
<file path=[Content_Types].xml><?xml version="1.0" encoding="utf-8"?>
<Types xmlns="http://schemas.openxmlformats.org/package/2006/content-types">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jpeg" ContentType="image/jpeg"/>
  <Default Extension="JPG" ContentType="image/.jpg"/>
  <Default Extension="wdp" ContentType="image/vnd.ms-photo"/>
  <Default Extension="gif" ContentType="image/gi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drawings/drawing1.xml" ContentType="application/vnd.openxmlformats-officedocument.drawingml.chartshapes+xml"/>
  <Override PartName="/ppt/handoutMasters/handoutMaster1.xml" ContentType="application/vnd.openxmlformats-officedocument.presentationml.handoutMaster+xml"/>
  <Override PartName="/ppt/media/image114.svg" ContentType="image/svg+xml"/>
  <Override PartName="/ppt/media/image116.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autoCompressPictures="0">
  <p:sldMasterIdLst>
    <p:sldMasterId id="2147483648" r:id="rId1"/>
  </p:sldMasterIdLst>
  <p:notesMasterIdLst>
    <p:notesMasterId r:id="rId9"/>
  </p:notesMasterIdLst>
  <p:handoutMasterIdLst>
    <p:handoutMasterId r:id="rId165"/>
  </p:handoutMasterIdLst>
  <p:sldIdLst>
    <p:sldId id="405" r:id="rId3"/>
    <p:sldId id="787" r:id="rId4"/>
    <p:sldId id="788" r:id="rId5"/>
    <p:sldId id="552" r:id="rId6"/>
    <p:sldId id="579" r:id="rId7"/>
    <p:sldId id="604" r:id="rId8"/>
    <p:sldId id="281" r:id="rId10"/>
    <p:sldId id="282" r:id="rId11"/>
    <p:sldId id="566" r:id="rId12"/>
    <p:sldId id="568" r:id="rId13"/>
    <p:sldId id="350" r:id="rId14"/>
    <p:sldId id="288" r:id="rId15"/>
    <p:sldId id="290" r:id="rId16"/>
    <p:sldId id="291" r:id="rId17"/>
    <p:sldId id="289" r:id="rId18"/>
    <p:sldId id="285" r:id="rId19"/>
    <p:sldId id="347" r:id="rId20"/>
    <p:sldId id="286" r:id="rId21"/>
    <p:sldId id="292" r:id="rId22"/>
    <p:sldId id="372" r:id="rId23"/>
    <p:sldId id="433" r:id="rId24"/>
    <p:sldId id="437" r:id="rId25"/>
    <p:sldId id="434" r:id="rId26"/>
    <p:sldId id="459" r:id="rId27"/>
    <p:sldId id="460" r:id="rId28"/>
    <p:sldId id="461" r:id="rId29"/>
    <p:sldId id="462" r:id="rId30"/>
    <p:sldId id="466" r:id="rId31"/>
    <p:sldId id="605" r:id="rId32"/>
    <p:sldId id="467" r:id="rId33"/>
    <p:sldId id="464" r:id="rId34"/>
    <p:sldId id="468" r:id="rId35"/>
    <p:sldId id="469" r:id="rId36"/>
    <p:sldId id="606" r:id="rId37"/>
    <p:sldId id="470" r:id="rId38"/>
    <p:sldId id="526" r:id="rId39"/>
    <p:sldId id="527" r:id="rId40"/>
    <p:sldId id="528" r:id="rId41"/>
    <p:sldId id="529" r:id="rId42"/>
    <p:sldId id="644" r:id="rId43"/>
    <p:sldId id="608" r:id="rId44"/>
    <p:sldId id="758" r:id="rId45"/>
    <p:sldId id="759" r:id="rId46"/>
    <p:sldId id="761" r:id="rId47"/>
    <p:sldId id="763" r:id="rId48"/>
    <p:sldId id="764" r:id="rId49"/>
    <p:sldId id="296" r:id="rId50"/>
    <p:sldId id="596" r:id="rId51"/>
    <p:sldId id="574" r:id="rId52"/>
    <p:sldId id="577" r:id="rId53"/>
    <p:sldId id="465" r:id="rId54"/>
    <p:sldId id="453" r:id="rId55"/>
    <p:sldId id="454" r:id="rId56"/>
    <p:sldId id="421" r:id="rId57"/>
    <p:sldId id="431" r:id="rId58"/>
    <p:sldId id="551" r:id="rId59"/>
    <p:sldId id="588" r:id="rId60"/>
    <p:sldId id="786" r:id="rId61"/>
    <p:sldId id="587" r:id="rId62"/>
    <p:sldId id="593" r:id="rId63"/>
    <p:sldId id="594" r:id="rId64"/>
    <p:sldId id="595" r:id="rId65"/>
    <p:sldId id="603" r:id="rId66"/>
    <p:sldId id="755" r:id="rId67"/>
    <p:sldId id="756" r:id="rId68"/>
    <p:sldId id="397" r:id="rId69"/>
    <p:sldId id="747" r:id="rId70"/>
    <p:sldId id="314" r:id="rId71"/>
    <p:sldId id="323" r:id="rId72"/>
    <p:sldId id="352" r:id="rId73"/>
    <p:sldId id="452" r:id="rId74"/>
    <p:sldId id="456" r:id="rId75"/>
    <p:sldId id="569" r:id="rId76"/>
    <p:sldId id="553" r:id="rId77"/>
    <p:sldId id="580" r:id="rId78"/>
    <p:sldId id="611" r:id="rId79"/>
    <p:sldId id="615" r:id="rId80"/>
    <p:sldId id="740" r:id="rId81"/>
    <p:sldId id="741" r:id="rId82"/>
    <p:sldId id="742" r:id="rId83"/>
    <p:sldId id="743" r:id="rId84"/>
    <p:sldId id="744" r:id="rId85"/>
    <p:sldId id="554" r:id="rId86"/>
    <p:sldId id="555" r:id="rId87"/>
    <p:sldId id="556" r:id="rId88"/>
    <p:sldId id="557" r:id="rId89"/>
    <p:sldId id="558" r:id="rId90"/>
    <p:sldId id="493" r:id="rId91"/>
    <p:sldId id="770" r:id="rId92"/>
    <p:sldId id="575" r:id="rId93"/>
    <p:sldId id="521" r:id="rId94"/>
    <p:sldId id="750" r:id="rId95"/>
    <p:sldId id="753" r:id="rId96"/>
    <p:sldId id="621" r:id="rId97"/>
    <p:sldId id="543" r:id="rId98"/>
    <p:sldId id="548" r:id="rId99"/>
    <p:sldId id="572" r:id="rId100"/>
    <p:sldId id="573" r:id="rId101"/>
    <p:sldId id="540" r:id="rId102"/>
    <p:sldId id="541" r:id="rId103"/>
    <p:sldId id="617" r:id="rId104"/>
    <p:sldId id="542" r:id="rId105"/>
    <p:sldId id="485" r:id="rId106"/>
    <p:sldId id="495" r:id="rId107"/>
    <p:sldId id="496" r:id="rId108"/>
    <p:sldId id="497" r:id="rId109"/>
    <p:sldId id="734" r:id="rId110"/>
    <p:sldId id="652" r:id="rId111"/>
    <p:sldId id="653" r:id="rId112"/>
    <p:sldId id="735" r:id="rId113"/>
    <p:sldId id="656" r:id="rId114"/>
    <p:sldId id="658" r:id="rId115"/>
    <p:sldId id="785" r:id="rId116"/>
    <p:sldId id="583" r:id="rId117"/>
    <p:sldId id="524" r:id="rId118"/>
    <p:sldId id="733" r:id="rId119"/>
    <p:sldId id="561" r:id="rId120"/>
    <p:sldId id="767" r:id="rId121"/>
    <p:sldId id="500" r:id="rId122"/>
    <p:sldId id="501" r:id="rId123"/>
    <p:sldId id="502" r:id="rId124"/>
    <p:sldId id="503" r:id="rId125"/>
    <p:sldId id="584" r:id="rId126"/>
    <p:sldId id="765" r:id="rId127"/>
    <p:sldId id="766" r:id="rId128"/>
    <p:sldId id="768" r:id="rId129"/>
    <p:sldId id="769" r:id="rId130"/>
    <p:sldId id="772" r:id="rId131"/>
    <p:sldId id="773" r:id="rId132"/>
    <p:sldId id="775" r:id="rId133"/>
    <p:sldId id="777" r:id="rId134"/>
    <p:sldId id="778" r:id="rId135"/>
    <p:sldId id="779" r:id="rId136"/>
    <p:sldId id="780" r:id="rId137"/>
    <p:sldId id="781" r:id="rId138"/>
    <p:sldId id="782" r:id="rId139"/>
    <p:sldId id="783" r:id="rId140"/>
    <p:sldId id="784" r:id="rId141"/>
    <p:sldId id="539" r:id="rId142"/>
    <p:sldId id="536" r:id="rId143"/>
    <p:sldId id="745" r:id="rId144"/>
    <p:sldId id="746" r:id="rId145"/>
    <p:sldId id="535" r:id="rId146"/>
    <p:sldId id="533" r:id="rId147"/>
    <p:sldId id="507" r:id="rId148"/>
    <p:sldId id="532" r:id="rId149"/>
    <p:sldId id="544" r:id="rId150"/>
    <p:sldId id="545" r:id="rId151"/>
    <p:sldId id="643" r:id="rId152"/>
    <p:sldId id="546" r:id="rId153"/>
    <p:sldId id="549" r:id="rId154"/>
    <p:sldId id="550" r:id="rId155"/>
    <p:sldId id="570" r:id="rId156"/>
    <p:sldId id="578" r:id="rId157"/>
    <p:sldId id="581" r:id="rId158"/>
    <p:sldId id="582" r:id="rId159"/>
    <p:sldId id="534" r:id="rId160"/>
    <p:sldId id="597" r:id="rId161"/>
    <p:sldId id="598" r:id="rId162"/>
    <p:sldId id="599" r:id="rId163"/>
    <p:sldId id="600" r:id="rId164"/>
  </p:sldIdLst>
  <p:sldSz cx="12192000" cy="6858000"/>
  <p:notesSz cx="9236075" cy="6950075"/>
  <p:custShowLst>
    <p:custShow name="Format Guide Workshop" id="0">
      <p:sldLst/>
    </p:custShow>
  </p:custShowLst>
  <p:custDataLst>
    <p:tags r:id="rId1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470E918D-9D0C-4D2C-81C5-5295599FC8C2}">
          <p14:sldIdLst>
            <p14:sldId id="405"/>
            <p14:sldId id="787"/>
            <p14:sldId id="788"/>
            <p14:sldId id="552"/>
            <p14:sldId id="579"/>
          </p14:sldIdLst>
        </p14:section>
        <p14:section name="图表" id="{0EEE8C10-066F-439A-8BB7-40C0885616FF}">
          <p14:sldIdLst>
            <p14:sldId id="604"/>
            <p14:sldId id="281"/>
            <p14:sldId id="282"/>
            <p14:sldId id="566"/>
            <p14:sldId id="568"/>
            <p14:sldId id="350"/>
            <p14:sldId id="288"/>
            <p14:sldId id="290"/>
            <p14:sldId id="291"/>
            <p14:sldId id="289"/>
          </p14:sldIdLst>
        </p14:section>
        <p14:section name="内容" id="{FDCA2006-4BA7-48C5-B253-3BA0CC3FFC94}">
          <p14:sldIdLst>
            <p14:sldId id="285"/>
            <p14:sldId id="347"/>
            <p14:sldId id="286"/>
            <p14:sldId id="292"/>
            <p14:sldId id="372"/>
            <p14:sldId id="433"/>
            <p14:sldId id="437"/>
            <p14:sldId id="434"/>
            <p14:sldId id="459"/>
            <p14:sldId id="460"/>
            <p14:sldId id="461"/>
            <p14:sldId id="462"/>
            <p14:sldId id="466"/>
            <p14:sldId id="605"/>
            <p14:sldId id="467"/>
            <p14:sldId id="464"/>
            <p14:sldId id="468"/>
            <p14:sldId id="469"/>
            <p14:sldId id="606"/>
            <p14:sldId id="470"/>
            <p14:sldId id="526"/>
            <p14:sldId id="527"/>
            <p14:sldId id="528"/>
            <p14:sldId id="529"/>
            <p14:sldId id="644"/>
            <p14:sldId id="608"/>
            <p14:sldId id="758"/>
            <p14:sldId id="759"/>
            <p14:sldId id="761"/>
            <p14:sldId id="763"/>
            <p14:sldId id="764"/>
          </p14:sldIdLst>
        </p14:section>
        <p14:section name="结构图" id="{7B4E5FC2-928F-4248-8E66-B629DD7B8B86}">
          <p14:sldIdLst>
            <p14:sldId id="296"/>
            <p14:sldId id="596"/>
            <p14:sldId id="574"/>
            <p14:sldId id="577"/>
          </p14:sldIdLst>
        </p14:section>
        <p14:section name="流程图" id="{5C6DF945-9CCF-4420-9E3C-BC0D21539EE9}">
          <p14:sldIdLst>
            <p14:sldId id="465"/>
            <p14:sldId id="453"/>
            <p14:sldId id="454"/>
            <p14:sldId id="421"/>
            <p14:sldId id="431"/>
            <p14:sldId id="551"/>
            <p14:sldId id="588"/>
            <p14:sldId id="786"/>
            <p14:sldId id="587"/>
            <p14:sldId id="593"/>
            <p14:sldId id="594"/>
            <p14:sldId id="595"/>
            <p14:sldId id="603"/>
            <p14:sldId id="755"/>
            <p14:sldId id="756"/>
          </p14:sldIdLst>
        </p14:section>
        <p14:section name="综合" id="{DFE55A64-28A9-44BC-A567-5273E9CAA14F}">
          <p14:sldIdLst>
            <p14:sldId id="397"/>
            <p14:sldId id="747"/>
            <p14:sldId id="314"/>
            <p14:sldId id="323"/>
            <p14:sldId id="352"/>
            <p14:sldId id="452"/>
            <p14:sldId id="456"/>
            <p14:sldId id="569"/>
            <p14:sldId id="553"/>
            <p14:sldId id="580"/>
          </p14:sldIdLst>
        </p14:section>
        <p14:section name="竞调" id="{15C67569-3403-46AC-A70D-D305789CBBB6}">
          <p14:sldIdLst>
            <p14:sldId id="611"/>
            <p14:sldId id="615"/>
            <p14:sldId id="740"/>
            <p14:sldId id="741"/>
            <p14:sldId id="742"/>
            <p14:sldId id="743"/>
            <p14:sldId id="744"/>
            <p14:sldId id="554"/>
            <p14:sldId id="555"/>
            <p14:sldId id="556"/>
            <p14:sldId id="557"/>
            <p14:sldId id="558"/>
            <p14:sldId id="493"/>
            <p14:sldId id="770"/>
            <p14:sldId id="575"/>
          </p14:sldIdLst>
        </p14:section>
        <p14:section name="行研" id="{C48FD130-A65D-475B-9666-B92BF10079E0}">
          <p14:sldIdLst>
            <p14:sldId id="521"/>
            <p14:sldId id="750"/>
            <p14:sldId id="753"/>
            <p14:sldId id="621"/>
            <p14:sldId id="543"/>
            <p14:sldId id="548"/>
            <p14:sldId id="572"/>
            <p14:sldId id="573"/>
          </p14:sldIdLst>
        </p14:section>
        <p14:section name="内诊" id="{ABAE4FFB-280B-4D01-BF25-A53F7DC037F4}">
          <p14:sldIdLst>
            <p14:sldId id="540"/>
            <p14:sldId id="541"/>
            <p14:sldId id="617"/>
            <p14:sldId id="542"/>
            <p14:sldId id="485"/>
            <p14:sldId id="495"/>
            <p14:sldId id="496"/>
            <p14:sldId id="497"/>
            <p14:sldId id="734"/>
            <p14:sldId id="652"/>
            <p14:sldId id="653"/>
            <p14:sldId id="735"/>
            <p14:sldId id="656"/>
            <p14:sldId id="658"/>
            <p14:sldId id="785"/>
          </p14:sldIdLst>
        </p14:section>
        <p14:section name="规划" id="{D0269FAD-6E0C-456F-8A25-3CA822967956}">
          <p14:sldIdLst>
            <p14:sldId id="583"/>
            <p14:sldId id="524"/>
            <p14:sldId id="733"/>
            <p14:sldId id="561"/>
            <p14:sldId id="767"/>
            <p14:sldId id="500"/>
            <p14:sldId id="501"/>
            <p14:sldId id="502"/>
            <p14:sldId id="503"/>
            <p14:sldId id="584"/>
            <p14:sldId id="765"/>
            <p14:sldId id="766"/>
            <p14:sldId id="768"/>
            <p14:sldId id="769"/>
            <p14:sldId id="772"/>
            <p14:sldId id="773"/>
            <p14:sldId id="775"/>
            <p14:sldId id="777"/>
            <p14:sldId id="778"/>
            <p14:sldId id="779"/>
            <p14:sldId id="780"/>
            <p14:sldId id="781"/>
            <p14:sldId id="782"/>
            <p14:sldId id="783"/>
            <p14:sldId id="784"/>
            <p14:sldId id="539"/>
            <p14:sldId id="536"/>
            <p14:sldId id="745"/>
            <p14:sldId id="746"/>
            <p14:sldId id="535"/>
            <p14:sldId id="533"/>
            <p14:sldId id="507"/>
            <p14:sldId id="532"/>
          </p14:sldIdLst>
        </p14:section>
        <p14:section name="管理" id="{BEEF55AA-E9CC-46F6-97ED-8D8E9311D289}">
          <p14:sldIdLst>
            <p14:sldId id="544"/>
            <p14:sldId id="545"/>
            <p14:sldId id="643"/>
            <p14:sldId id="546"/>
            <p14:sldId id="549"/>
            <p14:sldId id="550"/>
            <p14:sldId id="570"/>
            <p14:sldId id="578"/>
            <p14:sldId id="581"/>
            <p14:sldId id="582"/>
            <p14:sldId id="534"/>
            <p14:sldId id="597"/>
            <p14:sldId id="598"/>
            <p14:sldId id="599"/>
            <p14:sldId id="600"/>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5817"/>
    <a:srgbClr val="F4B183"/>
    <a:srgbClr val="FBE5D6"/>
    <a:srgbClr val="FFE0CC"/>
    <a:srgbClr val="FFDEDE"/>
    <a:srgbClr val="777C84"/>
    <a:srgbClr val="9A3D01"/>
    <a:srgbClr val="B32C16"/>
    <a:srgbClr val="FFC000"/>
    <a:srgbClr val="DEE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浅色样式 3 - 强调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839" autoAdjust="0"/>
    <p:restoredTop sz="94434" autoAdjust="0"/>
  </p:normalViewPr>
  <p:slideViewPr>
    <p:cSldViewPr snapToGrid="0">
      <p:cViewPr varScale="1">
        <p:scale>
          <a:sx n="66" d="100"/>
          <a:sy n="66" d="100"/>
        </p:scale>
        <p:origin x="332" y="5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slide" Target="slides/slide96.xml"/><Relationship Id="rId98" Type="http://schemas.openxmlformats.org/officeDocument/2006/relationships/slide" Target="slides/slide95.xml"/><Relationship Id="rId97" Type="http://schemas.openxmlformats.org/officeDocument/2006/relationships/slide" Target="slides/slide94.xml"/><Relationship Id="rId96" Type="http://schemas.openxmlformats.org/officeDocument/2006/relationships/slide" Target="slides/slide93.xml"/><Relationship Id="rId95" Type="http://schemas.openxmlformats.org/officeDocument/2006/relationships/slide" Target="slides/slide92.xml"/><Relationship Id="rId94" Type="http://schemas.openxmlformats.org/officeDocument/2006/relationships/slide" Target="slides/slide91.xml"/><Relationship Id="rId93" Type="http://schemas.openxmlformats.org/officeDocument/2006/relationships/slide" Target="slides/slide90.xml"/><Relationship Id="rId92" Type="http://schemas.openxmlformats.org/officeDocument/2006/relationships/slide" Target="slides/slide89.xml"/><Relationship Id="rId91" Type="http://schemas.openxmlformats.org/officeDocument/2006/relationships/slide" Target="slides/slide88.xml"/><Relationship Id="rId90" Type="http://schemas.openxmlformats.org/officeDocument/2006/relationships/slide" Target="slides/slide87.xml"/><Relationship Id="rId9" Type="http://schemas.openxmlformats.org/officeDocument/2006/relationships/notesMaster" Target="notesMasters/notesMaster1.xml"/><Relationship Id="rId89" Type="http://schemas.openxmlformats.org/officeDocument/2006/relationships/slide" Target="slides/slide86.xml"/><Relationship Id="rId88" Type="http://schemas.openxmlformats.org/officeDocument/2006/relationships/slide" Target="slides/slide85.xml"/><Relationship Id="rId87" Type="http://schemas.openxmlformats.org/officeDocument/2006/relationships/slide" Target="slides/slide84.xml"/><Relationship Id="rId86" Type="http://schemas.openxmlformats.org/officeDocument/2006/relationships/slide" Target="slides/slide83.xml"/><Relationship Id="rId85" Type="http://schemas.openxmlformats.org/officeDocument/2006/relationships/slide" Target="slides/slide82.xml"/><Relationship Id="rId84" Type="http://schemas.openxmlformats.org/officeDocument/2006/relationships/slide" Target="slides/slide81.xml"/><Relationship Id="rId83" Type="http://schemas.openxmlformats.org/officeDocument/2006/relationships/slide" Target="slides/slide80.xml"/><Relationship Id="rId82" Type="http://schemas.openxmlformats.org/officeDocument/2006/relationships/slide" Target="slides/slide79.xml"/><Relationship Id="rId81" Type="http://schemas.openxmlformats.org/officeDocument/2006/relationships/slide" Target="slides/slide78.xml"/><Relationship Id="rId80" Type="http://schemas.openxmlformats.org/officeDocument/2006/relationships/slide" Target="slides/slide77.xml"/><Relationship Id="rId8" Type="http://schemas.openxmlformats.org/officeDocument/2006/relationships/slide" Target="slides/slide6.xml"/><Relationship Id="rId79" Type="http://schemas.openxmlformats.org/officeDocument/2006/relationships/slide" Target="slides/slide76.xml"/><Relationship Id="rId78" Type="http://schemas.openxmlformats.org/officeDocument/2006/relationships/slide" Target="slides/slide75.xml"/><Relationship Id="rId77" Type="http://schemas.openxmlformats.org/officeDocument/2006/relationships/slide" Target="slides/slide74.xml"/><Relationship Id="rId76" Type="http://schemas.openxmlformats.org/officeDocument/2006/relationships/slide" Target="slides/slide73.xml"/><Relationship Id="rId75" Type="http://schemas.openxmlformats.org/officeDocument/2006/relationships/slide" Target="slides/slide72.xml"/><Relationship Id="rId74" Type="http://schemas.openxmlformats.org/officeDocument/2006/relationships/slide" Target="slides/slide71.xml"/><Relationship Id="rId73" Type="http://schemas.openxmlformats.org/officeDocument/2006/relationships/slide" Target="slides/slide70.xml"/><Relationship Id="rId72" Type="http://schemas.openxmlformats.org/officeDocument/2006/relationships/slide" Target="slides/slide69.xml"/><Relationship Id="rId71" Type="http://schemas.openxmlformats.org/officeDocument/2006/relationships/slide" Target="slides/slide68.xml"/><Relationship Id="rId70" Type="http://schemas.openxmlformats.org/officeDocument/2006/relationships/slide" Target="slides/slide67.xml"/><Relationship Id="rId7" Type="http://schemas.openxmlformats.org/officeDocument/2006/relationships/slide" Target="slides/slide5.xml"/><Relationship Id="rId69" Type="http://schemas.openxmlformats.org/officeDocument/2006/relationships/slide" Target="slides/slide66.xml"/><Relationship Id="rId68" Type="http://schemas.openxmlformats.org/officeDocument/2006/relationships/slide" Target="slides/slide65.xml"/><Relationship Id="rId67" Type="http://schemas.openxmlformats.org/officeDocument/2006/relationships/slide" Target="slides/slide64.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slide" Target="slides/slide60.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4.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3.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9" Type="http://schemas.openxmlformats.org/officeDocument/2006/relationships/tags" Target="tags/tag429.xml"/><Relationship Id="rId168" Type="http://schemas.openxmlformats.org/officeDocument/2006/relationships/tableStyles" Target="tableStyles.xml"/><Relationship Id="rId167" Type="http://schemas.openxmlformats.org/officeDocument/2006/relationships/viewProps" Target="viewProps.xml"/><Relationship Id="rId166" Type="http://schemas.openxmlformats.org/officeDocument/2006/relationships/presProps" Target="presProps.xml"/><Relationship Id="rId165" Type="http://schemas.openxmlformats.org/officeDocument/2006/relationships/handoutMaster" Target="handoutMasters/handoutMaster1.xml"/><Relationship Id="rId164" Type="http://schemas.openxmlformats.org/officeDocument/2006/relationships/slide" Target="slides/slide161.xml"/><Relationship Id="rId163" Type="http://schemas.openxmlformats.org/officeDocument/2006/relationships/slide" Target="slides/slide160.xml"/><Relationship Id="rId162" Type="http://schemas.openxmlformats.org/officeDocument/2006/relationships/slide" Target="slides/slide159.xml"/><Relationship Id="rId161" Type="http://schemas.openxmlformats.org/officeDocument/2006/relationships/slide" Target="slides/slide158.xml"/><Relationship Id="rId160" Type="http://schemas.openxmlformats.org/officeDocument/2006/relationships/slide" Target="slides/slide157.xml"/><Relationship Id="rId16" Type="http://schemas.openxmlformats.org/officeDocument/2006/relationships/slide" Target="slides/slide13.xml"/><Relationship Id="rId159" Type="http://schemas.openxmlformats.org/officeDocument/2006/relationships/slide" Target="slides/slide156.xml"/><Relationship Id="rId158" Type="http://schemas.openxmlformats.org/officeDocument/2006/relationships/slide" Target="slides/slide155.xml"/><Relationship Id="rId157" Type="http://schemas.openxmlformats.org/officeDocument/2006/relationships/slide" Target="slides/slide154.xml"/><Relationship Id="rId156" Type="http://schemas.openxmlformats.org/officeDocument/2006/relationships/slide" Target="slides/slide153.xml"/><Relationship Id="rId155" Type="http://schemas.openxmlformats.org/officeDocument/2006/relationships/slide" Target="slides/slide152.xml"/><Relationship Id="rId154" Type="http://schemas.openxmlformats.org/officeDocument/2006/relationships/slide" Target="slides/slide151.xml"/><Relationship Id="rId153" Type="http://schemas.openxmlformats.org/officeDocument/2006/relationships/slide" Target="slides/slide150.xml"/><Relationship Id="rId152" Type="http://schemas.openxmlformats.org/officeDocument/2006/relationships/slide" Target="slides/slide149.xml"/><Relationship Id="rId151" Type="http://schemas.openxmlformats.org/officeDocument/2006/relationships/slide" Target="slides/slide148.xml"/><Relationship Id="rId150" Type="http://schemas.openxmlformats.org/officeDocument/2006/relationships/slide" Target="slides/slide147.xml"/><Relationship Id="rId15" Type="http://schemas.openxmlformats.org/officeDocument/2006/relationships/slide" Target="slides/slide12.xml"/><Relationship Id="rId149" Type="http://schemas.openxmlformats.org/officeDocument/2006/relationships/slide" Target="slides/slide146.xml"/><Relationship Id="rId148" Type="http://schemas.openxmlformats.org/officeDocument/2006/relationships/slide" Target="slides/slide145.xml"/><Relationship Id="rId147" Type="http://schemas.openxmlformats.org/officeDocument/2006/relationships/slide" Target="slides/slide144.xml"/><Relationship Id="rId146" Type="http://schemas.openxmlformats.org/officeDocument/2006/relationships/slide" Target="slides/slide143.xml"/><Relationship Id="rId145" Type="http://schemas.openxmlformats.org/officeDocument/2006/relationships/slide" Target="slides/slide142.xml"/><Relationship Id="rId144" Type="http://schemas.openxmlformats.org/officeDocument/2006/relationships/slide" Target="slides/slide141.xml"/><Relationship Id="rId143" Type="http://schemas.openxmlformats.org/officeDocument/2006/relationships/slide" Target="slides/slide140.xml"/><Relationship Id="rId142" Type="http://schemas.openxmlformats.org/officeDocument/2006/relationships/slide" Target="slides/slide139.xml"/><Relationship Id="rId141" Type="http://schemas.openxmlformats.org/officeDocument/2006/relationships/slide" Target="slides/slide138.xml"/><Relationship Id="rId140" Type="http://schemas.openxmlformats.org/officeDocument/2006/relationships/slide" Target="slides/slide137.xml"/><Relationship Id="rId14" Type="http://schemas.openxmlformats.org/officeDocument/2006/relationships/slide" Target="slides/slide11.xml"/><Relationship Id="rId139" Type="http://schemas.openxmlformats.org/officeDocument/2006/relationships/slide" Target="slides/slide136.xml"/><Relationship Id="rId138" Type="http://schemas.openxmlformats.org/officeDocument/2006/relationships/slide" Target="slides/slide135.xml"/><Relationship Id="rId137" Type="http://schemas.openxmlformats.org/officeDocument/2006/relationships/slide" Target="slides/slide134.xml"/><Relationship Id="rId136" Type="http://schemas.openxmlformats.org/officeDocument/2006/relationships/slide" Target="slides/slide133.xml"/><Relationship Id="rId135" Type="http://schemas.openxmlformats.org/officeDocument/2006/relationships/slide" Target="slides/slide132.xml"/><Relationship Id="rId134" Type="http://schemas.openxmlformats.org/officeDocument/2006/relationships/slide" Target="slides/slide131.xml"/><Relationship Id="rId133" Type="http://schemas.openxmlformats.org/officeDocument/2006/relationships/slide" Target="slides/slide130.xml"/><Relationship Id="rId132" Type="http://schemas.openxmlformats.org/officeDocument/2006/relationships/slide" Target="slides/slide129.xml"/><Relationship Id="rId131" Type="http://schemas.openxmlformats.org/officeDocument/2006/relationships/slide" Target="slides/slide128.xml"/><Relationship Id="rId130" Type="http://schemas.openxmlformats.org/officeDocument/2006/relationships/slide" Target="slides/slide127.xml"/><Relationship Id="rId13" Type="http://schemas.openxmlformats.org/officeDocument/2006/relationships/slide" Target="slides/slide10.xml"/><Relationship Id="rId129" Type="http://schemas.openxmlformats.org/officeDocument/2006/relationships/slide" Target="slides/slide126.xml"/><Relationship Id="rId128" Type="http://schemas.openxmlformats.org/officeDocument/2006/relationships/slide" Target="slides/slide125.xml"/><Relationship Id="rId127" Type="http://schemas.openxmlformats.org/officeDocument/2006/relationships/slide" Target="slides/slide124.xml"/><Relationship Id="rId126" Type="http://schemas.openxmlformats.org/officeDocument/2006/relationships/slide" Target="slides/slide123.xml"/><Relationship Id="rId125" Type="http://schemas.openxmlformats.org/officeDocument/2006/relationships/slide" Target="slides/slide122.xml"/><Relationship Id="rId124" Type="http://schemas.openxmlformats.org/officeDocument/2006/relationships/slide" Target="slides/slide121.xml"/><Relationship Id="rId123" Type="http://schemas.openxmlformats.org/officeDocument/2006/relationships/slide" Target="slides/slide120.xml"/><Relationship Id="rId122" Type="http://schemas.openxmlformats.org/officeDocument/2006/relationships/slide" Target="slides/slide119.xml"/><Relationship Id="rId121" Type="http://schemas.openxmlformats.org/officeDocument/2006/relationships/slide" Target="slides/slide118.xml"/><Relationship Id="rId120" Type="http://schemas.openxmlformats.org/officeDocument/2006/relationships/slide" Target="slides/slide117.xml"/><Relationship Id="rId12" Type="http://schemas.openxmlformats.org/officeDocument/2006/relationships/slide" Target="slides/slide9.xml"/><Relationship Id="rId119" Type="http://schemas.openxmlformats.org/officeDocument/2006/relationships/slide" Target="slides/slide116.xml"/><Relationship Id="rId118" Type="http://schemas.openxmlformats.org/officeDocument/2006/relationships/slide" Target="slides/slide115.xml"/><Relationship Id="rId117" Type="http://schemas.openxmlformats.org/officeDocument/2006/relationships/slide" Target="slides/slide114.xml"/><Relationship Id="rId116" Type="http://schemas.openxmlformats.org/officeDocument/2006/relationships/slide" Target="slides/slide113.xml"/><Relationship Id="rId115" Type="http://schemas.openxmlformats.org/officeDocument/2006/relationships/slide" Target="slides/slide112.xml"/><Relationship Id="rId114" Type="http://schemas.openxmlformats.org/officeDocument/2006/relationships/slide" Target="slides/slide111.xml"/><Relationship Id="rId113" Type="http://schemas.openxmlformats.org/officeDocument/2006/relationships/slide" Target="slides/slide110.xml"/><Relationship Id="rId112" Type="http://schemas.openxmlformats.org/officeDocument/2006/relationships/slide" Target="slides/slide109.xml"/><Relationship Id="rId111" Type="http://schemas.openxmlformats.org/officeDocument/2006/relationships/slide" Target="slides/slide108.xml"/><Relationship Id="rId110" Type="http://schemas.openxmlformats.org/officeDocument/2006/relationships/slide" Target="slides/slide107.xml"/><Relationship Id="rId11" Type="http://schemas.openxmlformats.org/officeDocument/2006/relationships/slide" Target="slides/slide8.xml"/><Relationship Id="rId109" Type="http://schemas.openxmlformats.org/officeDocument/2006/relationships/slide" Target="slides/slide106.xml"/><Relationship Id="rId108" Type="http://schemas.openxmlformats.org/officeDocument/2006/relationships/slide" Target="slides/slide105.xml"/><Relationship Id="rId107" Type="http://schemas.openxmlformats.org/officeDocument/2006/relationships/slide" Target="slides/slide104.xml"/><Relationship Id="rId106" Type="http://schemas.openxmlformats.org/officeDocument/2006/relationships/slide" Target="slides/slide103.xml"/><Relationship Id="rId105" Type="http://schemas.openxmlformats.org/officeDocument/2006/relationships/slide" Target="slides/slide102.xml"/><Relationship Id="rId104" Type="http://schemas.openxmlformats.org/officeDocument/2006/relationships/slide" Target="slides/slide101.xml"/><Relationship Id="rId103" Type="http://schemas.openxmlformats.org/officeDocument/2006/relationships/slide" Target="slides/slide100.xml"/><Relationship Id="rId102" Type="http://schemas.openxmlformats.org/officeDocument/2006/relationships/slide" Target="slides/slide99.xml"/><Relationship Id="rId101" Type="http://schemas.openxmlformats.org/officeDocument/2006/relationships/slide" Target="slides/slide98.xml"/><Relationship Id="rId100" Type="http://schemas.openxmlformats.org/officeDocument/2006/relationships/slide" Target="slides/slide97.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Workbook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Workbook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Workbook11.xlsx"/></Relationships>
</file>

<file path=ppt/charts/_rels/chart12.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2.xlsx"/></Relationships>
</file>

<file path=ppt/charts/_rels/chart13.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13.xlsx"/></Relationships>
</file>

<file path=ppt/charts/_rels/chart14.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Workbook14.xlsx"/></Relationships>
</file>

<file path=ppt/charts/_rels/chart15.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Workbook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Workbook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Workbook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Workbook18.xlsx"/></Relationships>
</file>

<file path=ppt/charts/_rels/chart19.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Workbook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Workbook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Workbook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Workbook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Workbook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Workbook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Workbook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Workbook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Workbook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Workbook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Workbook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Workbook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Workbook3.xlsx"/></Relationships>
</file>

<file path=ppt/charts/_rels/chart30.xml.rels><?xml version="1.0" encoding="UTF-8" standalone="yes"?>
<Relationships xmlns="http://schemas.openxmlformats.org/package/2006/relationships"><Relationship Id="rId2" Type="http://schemas.openxmlformats.org/officeDocument/2006/relationships/themeOverride" Target="../theme/themeOverride1.xml"/><Relationship Id="rId1" Type="http://schemas.openxmlformats.org/officeDocument/2006/relationships/package" Target="../embeddings/Workbook30.xlsx"/></Relationships>
</file>

<file path=ppt/charts/_rels/chart3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D:\&#26234;&#24935;&#22478;&#24066;\05%20&#32463;&#33829;&#26376;&#25253;\8&#26376;&#32463;&#33829;&#20998;&#26512;&#25253;&#21578;\&#25105;&#30340;&#28145;&#22323;&#25968;&#25454;.xlsx" TargetMode="External"/></Relationships>
</file>

<file path=ppt/charts/_rels/chart32.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D:\&#26234;&#24935;&#22478;&#24066;\05%20&#32463;&#33829;&#26376;&#25253;\8&#26376;&#32463;&#33829;&#20998;&#26512;&#25253;&#21578;\&#25105;&#30340;&#28145;&#22323;&#25968;&#25454;.xlsx" TargetMode="External"/></Relationships>
</file>

<file path=ppt/charts/_rels/chart33.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file:///D:\&#26234;&#24935;&#22478;&#24066;\05%20&#32463;&#33829;&#26376;&#25253;\8&#26376;&#32463;&#33829;&#20998;&#26512;&#25253;&#21578;\&#25105;&#30340;&#28145;&#22323;&#25968;&#25454;.xlsx" TargetMode="External"/></Relationships>
</file>

<file path=ppt/charts/_rels/chart34.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oleObject" Target="file:///D:\&#26234;&#24935;&#22478;&#24066;\05%20&#32463;&#33829;&#26376;&#25253;\8&#26376;&#32463;&#33829;&#20998;&#26512;&#25253;&#21578;\&#25105;&#30340;&#28145;&#22323;&#25968;&#25454;.xlsx" TargetMode="External"/></Relationships>
</file>

<file path=ppt/charts/_rels/chart35.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oleObject" Target="file:///D:\&#26234;&#24935;&#22478;&#24066;\05%20&#32463;&#33829;&#26376;&#25253;\8&#26376;&#32463;&#33829;&#20998;&#26512;&#25253;&#21578;\&#25105;&#30340;&#28145;&#22323;&#25968;&#25454;.xlsx" TargetMode="External"/></Relationships>
</file>

<file path=ppt/charts/_rels/chart36.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oleObject" Target="file:///D:\&#26234;&#24935;&#22478;&#24066;\05%20&#32463;&#33829;&#26376;&#25253;\8&#26376;&#32463;&#33829;&#20998;&#26512;&#25253;&#21578;\&#25105;&#30340;&#28145;&#22323;&#25968;&#25454;.xlsx" TargetMode="External"/></Relationships>
</file>

<file path=ppt/charts/_rels/chart37.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oleObject" Target="file:///D:\Users\PANGTIANBO564\Desktop\&#29992;&#25143;&#21453;&#39304;\&#27599;&#26085;&#21453;&#39304;\9&#26376;\&#25105;&#30340;&#28145;&#22323;&#29992;&#25143;&#21453;&#39304;9.10.xlsx" TargetMode="External"/></Relationships>
</file>

<file path=ppt/charts/_rels/chart38.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oleObject" Target="&#24037;&#20316;&#31807;1" TargetMode="External"/></Relationships>
</file>

<file path=ppt/charts/_rels/chart39.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oleObject" Target="&#24037;&#20316;&#31807;1"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Workbook4.xlsx"/></Relationships>
</file>

<file path=ppt/charts/_rels/chart40.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oleObject" Target="file:///D:\Users\HUANGYONGZHEN249\Desktop\&#21608;&#25253;.xlsx" TargetMode="External"/></Relationships>
</file>

<file path=ppt/charts/_rels/chart41.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oleObject" Target="file:///D:\Users\HUANGYONGZHEN249\Desktop\&#21608;&#25253;.xlsx" TargetMode="External"/></Relationships>
</file>

<file path=ppt/charts/_rels/chart42.xml.rels><?xml version="1.0" encoding="UTF-8" standalone="yes"?>
<Relationships xmlns="http://schemas.openxmlformats.org/package/2006/relationships"><Relationship Id="rId1" Type="http://schemas.openxmlformats.org/officeDocument/2006/relationships/package" Target="../embeddings/Workbook3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Workbook3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Workbook3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Workbook3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Workbook5.xlsx"/></Relationships>
</file>

<file path=ppt/charts/_rels/chart6.xml.rels><?xml version="1.0" encoding="UTF-8" standalone="yes"?>
<Relationships xmlns="http://schemas.openxmlformats.org/package/2006/relationships"><Relationship Id="rId1" Type="http://schemas.openxmlformats.org/officeDocument/2006/relationships/package" Target="../embeddings/Workbook6.xlsx"/></Relationships>
</file>

<file path=ppt/charts/_rels/chart7.xml.rels><?xml version="1.0" encoding="UTF-8" standalone="yes"?>
<Relationships xmlns="http://schemas.openxmlformats.org/package/2006/relationships"><Relationship Id="rId1" Type="http://schemas.openxmlformats.org/officeDocument/2006/relationships/package" Target="../embeddings/Workbook7.xlsx"/></Relationships>
</file>

<file path=ppt/charts/_rels/chart8.xml.rels><?xml version="1.0" encoding="UTF-8" standalone="yes"?>
<Relationships xmlns="http://schemas.openxmlformats.org/package/2006/relationships"><Relationship Id="rId1" Type="http://schemas.openxmlformats.org/officeDocument/2006/relationships/package" Target="../embeddings/Workbook8.xlsx"/></Relationships>
</file>

<file path=ppt/charts/_rels/chart9.xml.rels><?xml version="1.0" encoding="UTF-8" standalone="yes"?>
<Relationships xmlns="http://schemas.openxmlformats.org/package/2006/relationships"><Relationship Id="rId1" Type="http://schemas.openxmlformats.org/officeDocument/2006/relationships/package" Target="../embeddings/Workbook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a:solidFill>
              <a:srgbClr val="CA000F"/>
            </a:solidFill>
            <a:ln>
              <a:noFill/>
            </a:ln>
          </c:spPr>
          <c:explosion val="0"/>
          <c:dPt>
            <c:idx val="0"/>
            <c:bubble3D val="0"/>
            <c:spPr>
              <a:solidFill>
                <a:schemeClr val="accent1"/>
              </a:solidFill>
              <a:ln w="19050">
                <a:noFill/>
              </a:ln>
              <a:effectLst/>
            </c:spPr>
          </c:dPt>
          <c:dPt>
            <c:idx val="1"/>
            <c:bubble3D val="0"/>
            <c:spPr>
              <a:solidFill>
                <a:schemeClr val="tx1">
                  <a:lumMod val="65000"/>
                  <a:lumOff val="35000"/>
                </a:schemeClr>
              </a:solidFill>
              <a:ln w="19050">
                <a:noFill/>
              </a:ln>
              <a:effectLst/>
            </c:spPr>
          </c:dPt>
          <c:dLbls>
            <c:delete val="1"/>
          </c:dLbls>
          <c:cat>
            <c:strRef>
              <c:f>Sheet1!$A$2:$A$3</c:f>
              <c:strCache>
                <c:ptCount val="2"/>
                <c:pt idx="0">
                  <c:v>第一季度</c:v>
                </c:pt>
                <c:pt idx="1">
                  <c:v>第二季度</c:v>
                </c:pt>
              </c:strCache>
            </c:strRef>
          </c:cat>
          <c:val>
            <c:numRef>
              <c:f>Sheet1!$B$2:$B$3</c:f>
              <c:numCache>
                <c:formatCode>General</c:formatCode>
                <c:ptCount val="2"/>
                <c:pt idx="0">
                  <c:v>0.05</c:v>
                </c:pt>
                <c:pt idx="1">
                  <c:v>0.95</c:v>
                </c:pt>
              </c:numCache>
            </c:numRef>
          </c:val>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bar"/>
        <c:grouping val="clustered"/>
        <c:varyColors val="0"/>
        <c:ser>
          <c:idx val="0"/>
          <c:order val="0"/>
          <c:tx>
            <c:strRef>
              <c:f>Sheet1!$B$1</c:f>
              <c:strCache>
                <c:ptCount val="1"/>
                <c:pt idx="0">
                  <c:v>营业收入</c:v>
                </c:pt>
              </c:strCache>
            </c:strRef>
          </c:tx>
          <c:spPr>
            <a:solidFill>
              <a:srgbClr val="394A57"/>
            </a:solidFill>
          </c:spPr>
          <c:invertIfNegative val="0"/>
          <c:dPt>
            <c:idx val="2"/>
            <c:invertIfNegative val="0"/>
            <c:bubble3D val="0"/>
            <c:spPr>
              <a:solidFill>
                <a:srgbClr val="FE5817"/>
              </a:solidFill>
            </c:spPr>
          </c:dPt>
          <c:dLbls>
            <c:delete val="1"/>
          </c:dLbls>
          <c:cat>
            <c:strRef>
              <c:f>Sheet1!$A$2:$A$5</c:f>
              <c:strCache>
                <c:ptCount val="4"/>
                <c:pt idx="0">
                  <c:v>公司A</c:v>
                </c:pt>
                <c:pt idx="1">
                  <c:v>公司B</c:v>
                </c:pt>
                <c:pt idx="2">
                  <c:v>××公司</c:v>
                </c:pt>
                <c:pt idx="3">
                  <c:v>公司C</c:v>
                </c:pt>
              </c:strCache>
            </c:strRef>
          </c:cat>
          <c:val>
            <c:numRef>
              <c:f>Sheet1!$B$2:$B$5</c:f>
              <c:numCache>
                <c:formatCode>General</c:formatCode>
                <c:ptCount val="4"/>
                <c:pt idx="0">
                  <c:v>123</c:v>
                </c:pt>
                <c:pt idx="1">
                  <c:v>145</c:v>
                </c:pt>
                <c:pt idx="2">
                  <c:v>180</c:v>
                </c:pt>
                <c:pt idx="3">
                  <c:v>290</c:v>
                </c:pt>
              </c:numCache>
            </c:numRef>
          </c:val>
        </c:ser>
        <c:dLbls>
          <c:showLegendKey val="0"/>
          <c:showVal val="0"/>
          <c:showCatName val="0"/>
          <c:showSerName val="0"/>
          <c:showPercent val="0"/>
          <c:showBubbleSize val="0"/>
        </c:dLbls>
        <c:gapWidth val="150"/>
        <c:axId val="43122048"/>
        <c:axId val="42337408"/>
      </c:barChart>
      <c:catAx>
        <c:axId val="43122048"/>
        <c:scaling>
          <c:orientation val="minMax"/>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1050" b="0" i="0" u="none" strike="noStrike" kern="1200" baseline="0">
                <a:solidFill>
                  <a:schemeClr val="tx1"/>
                </a:solidFill>
                <a:latin typeface="+mn-lt"/>
                <a:ea typeface="+mn-ea"/>
                <a:cs typeface="+mn-cs"/>
              </a:defRPr>
            </a:pPr>
          </a:p>
        </c:txPr>
        <c:crossAx val="42337408"/>
        <c:crosses val="autoZero"/>
        <c:auto val="1"/>
        <c:lblAlgn val="ctr"/>
        <c:lblOffset val="100"/>
        <c:noMultiLvlLbl val="0"/>
      </c:catAx>
      <c:valAx>
        <c:axId val="42337408"/>
        <c:scaling>
          <c:orientation val="minMax"/>
        </c:scaling>
        <c:delete val="0"/>
        <c:axPos val="b"/>
        <c:majorGridlines/>
        <c:numFmt formatCode="General" sourceLinked="1"/>
        <c:majorTickMark val="out"/>
        <c:minorTickMark val="none"/>
        <c:tickLblPos val="nextTo"/>
        <c:txPr>
          <a:bodyPr rot="-60000000" spcFirstLastPara="0" vertOverflow="ellipsis" vert="horz" wrap="square" anchor="ctr" anchorCtr="1"/>
          <a:lstStyle/>
          <a:p>
            <a:pPr>
              <a:defRPr lang="zh-CN" sz="1100" b="0" i="0" u="none" strike="noStrike" kern="1200" baseline="0">
                <a:solidFill>
                  <a:schemeClr val="tx1"/>
                </a:solidFill>
                <a:latin typeface="+mn-lt"/>
                <a:ea typeface="+mn-ea"/>
                <a:cs typeface="+mn-cs"/>
              </a:defRPr>
            </a:pPr>
          </a:p>
        </c:txPr>
        <c:crossAx val="43122048"/>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bar"/>
        <c:grouping val="clustered"/>
        <c:varyColors val="0"/>
        <c:ser>
          <c:idx val="0"/>
          <c:order val="0"/>
          <c:tx>
            <c:strRef>
              <c:f>Sheet1!$B$1</c:f>
              <c:strCache>
                <c:ptCount val="1"/>
                <c:pt idx="0">
                  <c:v>营业收入</c:v>
                </c:pt>
              </c:strCache>
            </c:strRef>
          </c:tx>
          <c:spPr>
            <a:solidFill>
              <a:srgbClr val="394A57"/>
            </a:solidFill>
          </c:spPr>
          <c:invertIfNegative val="0"/>
          <c:dPt>
            <c:idx val="2"/>
            <c:invertIfNegative val="0"/>
            <c:bubble3D val="0"/>
            <c:spPr>
              <a:solidFill>
                <a:srgbClr val="FE5817"/>
              </a:solidFill>
            </c:spPr>
          </c:dPt>
          <c:dLbls>
            <c:delete val="1"/>
          </c:dLbls>
          <c:cat>
            <c:strRef>
              <c:f>Sheet1!$A$2:$A$5</c:f>
              <c:strCache>
                <c:ptCount val="4"/>
                <c:pt idx="0">
                  <c:v>公司A</c:v>
                </c:pt>
                <c:pt idx="1">
                  <c:v>公司B</c:v>
                </c:pt>
                <c:pt idx="2">
                  <c:v>××公司</c:v>
                </c:pt>
                <c:pt idx="3">
                  <c:v>公司C</c:v>
                </c:pt>
              </c:strCache>
            </c:strRef>
          </c:cat>
          <c:val>
            <c:numRef>
              <c:f>Sheet1!$B$2:$B$5</c:f>
              <c:numCache>
                <c:formatCode>General</c:formatCode>
                <c:ptCount val="4"/>
                <c:pt idx="0">
                  <c:v>123</c:v>
                </c:pt>
                <c:pt idx="1">
                  <c:v>145</c:v>
                </c:pt>
                <c:pt idx="2">
                  <c:v>180</c:v>
                </c:pt>
                <c:pt idx="3">
                  <c:v>290</c:v>
                </c:pt>
              </c:numCache>
            </c:numRef>
          </c:val>
        </c:ser>
        <c:dLbls>
          <c:showLegendKey val="0"/>
          <c:showVal val="0"/>
          <c:showCatName val="0"/>
          <c:showSerName val="0"/>
          <c:showPercent val="0"/>
          <c:showBubbleSize val="0"/>
        </c:dLbls>
        <c:gapWidth val="150"/>
        <c:axId val="53043968"/>
        <c:axId val="53045504"/>
      </c:barChart>
      <c:catAx>
        <c:axId val="53043968"/>
        <c:scaling>
          <c:orientation val="minMax"/>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1050" b="0" i="0" u="none" strike="noStrike" kern="1200" baseline="0">
                <a:solidFill>
                  <a:schemeClr val="tx1"/>
                </a:solidFill>
                <a:latin typeface="+mn-lt"/>
                <a:ea typeface="+mn-ea"/>
                <a:cs typeface="+mn-cs"/>
              </a:defRPr>
            </a:pPr>
          </a:p>
        </c:txPr>
        <c:crossAx val="53045504"/>
        <c:crosses val="autoZero"/>
        <c:auto val="1"/>
        <c:lblAlgn val="ctr"/>
        <c:lblOffset val="100"/>
        <c:noMultiLvlLbl val="0"/>
      </c:catAx>
      <c:valAx>
        <c:axId val="53045504"/>
        <c:scaling>
          <c:orientation val="minMax"/>
        </c:scaling>
        <c:delete val="0"/>
        <c:axPos val="b"/>
        <c:majorGridlines/>
        <c:numFmt formatCode="General" sourceLinked="1"/>
        <c:majorTickMark val="out"/>
        <c:minorTickMark val="none"/>
        <c:tickLblPos val="nextTo"/>
        <c:txPr>
          <a:bodyPr rot="-60000000" spcFirstLastPara="0" vertOverflow="ellipsis" vert="horz" wrap="square" anchor="ctr" anchorCtr="1"/>
          <a:lstStyle/>
          <a:p>
            <a:pPr>
              <a:defRPr lang="zh-CN" sz="1100" b="0" i="0" u="none" strike="noStrike" kern="1200" baseline="0">
                <a:solidFill>
                  <a:schemeClr val="tx1"/>
                </a:solidFill>
                <a:latin typeface="+mn-lt"/>
                <a:ea typeface="+mn-ea"/>
                <a:cs typeface="+mn-cs"/>
              </a:defRPr>
            </a:pPr>
          </a:p>
        </c:txPr>
        <c:crossAx val="53043968"/>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营业收入</c:v>
                </c:pt>
              </c:strCache>
            </c:strRef>
          </c:tx>
          <c:spPr>
            <a:solidFill>
              <a:schemeClr val="bg1">
                <a:lumMod val="50000"/>
              </a:schemeClr>
            </a:solidFill>
            <a:ln>
              <a:noFill/>
            </a:ln>
            <a:effectLst/>
          </c:spPr>
          <c:invertIfNegative val="0"/>
          <c:dLbls>
            <c:dLbl>
              <c:idx val="0"/>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2015年</c:v>
                </c:pt>
                <c:pt idx="1">
                  <c:v>2016年</c:v>
                </c:pt>
                <c:pt idx="2">
                  <c:v>2017年</c:v>
                </c:pt>
                <c:pt idx="3">
                  <c:v>2018年9月</c:v>
                </c:pt>
              </c:strCache>
            </c:strRef>
          </c:cat>
          <c:val>
            <c:numRef>
              <c:f>Sheet1!$B$2:$E$2</c:f>
              <c:numCache>
                <c:formatCode>General</c:formatCode>
                <c:ptCount val="4"/>
                <c:pt idx="0">
                  <c:v>1.5</c:v>
                </c:pt>
                <c:pt idx="1">
                  <c:v>3.07</c:v>
                </c:pt>
                <c:pt idx="2">
                  <c:v>3.05</c:v>
                </c:pt>
                <c:pt idx="3">
                  <c:v>1.4</c:v>
                </c:pt>
              </c:numCache>
            </c:numRef>
          </c:val>
        </c:ser>
        <c:dLbls>
          <c:showLegendKey val="0"/>
          <c:showVal val="1"/>
          <c:showCatName val="0"/>
          <c:showSerName val="0"/>
          <c:showPercent val="0"/>
          <c:showBubbleSize val="0"/>
        </c:dLbls>
        <c:gapWidth val="150"/>
        <c:overlap val="-27"/>
        <c:axId val="613716480"/>
        <c:axId val="613716808"/>
      </c:barChart>
      <c:catAx>
        <c:axId val="613716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华文楷体" panose="02010600040101010101" charset="-122"/>
                <a:ea typeface="华文楷体" panose="02010600040101010101" charset="-122"/>
                <a:cs typeface="+mn-cs"/>
              </a:defRPr>
            </a:pPr>
          </a:p>
        </c:txPr>
        <c:crossAx val="613716808"/>
        <c:crosses val="autoZero"/>
        <c:auto val="1"/>
        <c:lblAlgn val="ctr"/>
        <c:lblOffset val="100"/>
        <c:tickMarkSkip val="2"/>
        <c:noMultiLvlLbl val="0"/>
      </c:catAx>
      <c:valAx>
        <c:axId val="613716808"/>
        <c:scaling>
          <c:orientation val="minMax"/>
        </c:scaling>
        <c:delete val="1"/>
        <c:axPos val="l"/>
        <c:numFmt formatCode="General" sourceLinked="1"/>
        <c:majorTickMark val="none"/>
        <c:minorTickMark val="none"/>
        <c:tickLblPos val="nextTo"/>
        <c:txPr>
          <a:bodyPr rot="-60000000" spcFirstLastPara="0" vertOverflow="ellipsis" vert="horz" wrap="square" anchor="ctr" anchorCtr="1"/>
          <a:lstStyle/>
          <a:p>
            <a:pPr>
              <a:defRPr lang="zh-CN" sz="1000" b="0" i="0" u="none" strike="noStrike" kern="1200" baseline="0">
                <a:solidFill>
                  <a:schemeClr val="tx1">
                    <a:lumMod val="65000"/>
                    <a:lumOff val="35000"/>
                  </a:schemeClr>
                </a:solidFill>
                <a:latin typeface="华文楷体" panose="02010600040101010101" charset="-122"/>
                <a:ea typeface="华文楷体" panose="02010600040101010101" charset="-122"/>
                <a:cs typeface="+mn-cs"/>
              </a:defRPr>
            </a:pPr>
          </a:p>
        </c:txPr>
        <c:crossAx val="613716480"/>
        <c:crosses val="autoZero"/>
        <c:crossBetween val="between"/>
      </c:valAx>
      <c:spPr>
        <a:noFill/>
        <a:ln w="25400">
          <a:noFill/>
        </a:ln>
        <a:effectLst/>
      </c:spPr>
    </c:plotArea>
    <c:plotVisOnly val="1"/>
    <c:dispBlanksAs val="gap"/>
    <c:showDLblsOverMax val="0"/>
  </c:chart>
  <c:spPr>
    <a:noFill/>
    <a:ln>
      <a:noFill/>
    </a:ln>
    <a:effectLst/>
  </c:spPr>
  <c:txPr>
    <a:bodyPr/>
    <a:lstStyle/>
    <a:p>
      <a:pPr>
        <a:defRPr lang="zh-CN" sz="1000">
          <a:latin typeface="华文楷体" panose="02010600040101010101" charset="-122"/>
          <a:ea typeface="华文楷体" panose="02010600040101010101" charset="-122"/>
        </a:defRPr>
      </a:pP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负债总额</c:v>
                </c:pt>
              </c:strCache>
            </c:strRef>
          </c:tx>
          <c:spPr>
            <a:solidFill>
              <a:schemeClr val="bg1">
                <a:lumMod val="50000"/>
              </a:schemeClr>
            </a:solidFill>
            <a:ln>
              <a:noFill/>
            </a:ln>
            <a:effectLst/>
          </c:spPr>
          <c:invertIfNegative val="0"/>
          <c:dLbls>
            <c:dLbl>
              <c:idx val="0"/>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5年</c:v>
                </c:pt>
                <c:pt idx="1">
                  <c:v>2016年</c:v>
                </c:pt>
                <c:pt idx="2">
                  <c:v>2017年</c:v>
                </c:pt>
                <c:pt idx="3">
                  <c:v>2018年9月</c:v>
                </c:pt>
              </c:strCache>
            </c:strRef>
          </c:cat>
          <c:val>
            <c:numRef>
              <c:f>Sheet1!$B$2:$B$5</c:f>
              <c:numCache>
                <c:formatCode>General</c:formatCode>
                <c:ptCount val="4"/>
                <c:pt idx="0">
                  <c:v>4.8</c:v>
                </c:pt>
                <c:pt idx="1">
                  <c:v>5.6</c:v>
                </c:pt>
                <c:pt idx="2">
                  <c:v>5.9</c:v>
                </c:pt>
                <c:pt idx="3">
                  <c:v>5.6</c:v>
                </c:pt>
              </c:numCache>
            </c:numRef>
          </c:val>
        </c:ser>
        <c:dLbls>
          <c:showLegendKey val="0"/>
          <c:showVal val="1"/>
          <c:showCatName val="0"/>
          <c:showSerName val="0"/>
          <c:showPercent val="0"/>
          <c:showBubbleSize val="0"/>
        </c:dLbls>
        <c:gapWidth val="150"/>
        <c:overlap val="-27"/>
        <c:axId val="784208424"/>
        <c:axId val="784208752"/>
      </c:barChart>
      <c:catAx>
        <c:axId val="784208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华文楷体" panose="02010600040101010101" charset="-122"/>
                <a:ea typeface="华文楷体" panose="02010600040101010101" charset="-122"/>
                <a:cs typeface="+mn-cs"/>
              </a:defRPr>
            </a:pPr>
          </a:p>
        </c:txPr>
        <c:crossAx val="784208752"/>
        <c:crosses val="autoZero"/>
        <c:auto val="1"/>
        <c:lblAlgn val="ctr"/>
        <c:lblOffset val="100"/>
        <c:noMultiLvlLbl val="0"/>
      </c:catAx>
      <c:valAx>
        <c:axId val="784208752"/>
        <c:scaling>
          <c:orientation val="minMax"/>
          <c:max val="6"/>
        </c:scaling>
        <c:delete val="1"/>
        <c:axPos val="l"/>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784208424"/>
        <c:crosses val="autoZero"/>
        <c:crossBetween val="between"/>
        <c:majorUnit val="3"/>
      </c:valAx>
      <c:spPr>
        <a:noFill/>
        <a:ln w="25400">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总资产</c:v>
                </c:pt>
              </c:strCache>
            </c:strRef>
          </c:tx>
          <c:spPr>
            <a:solidFill>
              <a:schemeClr val="bg1">
                <a:lumMod val="50000"/>
              </a:schemeClr>
            </a:solidFill>
            <a:ln>
              <a:noFill/>
            </a:ln>
            <a:effectLst/>
          </c:spPr>
          <c:invertIfNegative val="0"/>
          <c:dLbls>
            <c:dLbl>
              <c:idx val="0"/>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dirty="0" err="1"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5年</c:v>
                </c:pt>
                <c:pt idx="1">
                  <c:v>2016年</c:v>
                </c:pt>
                <c:pt idx="2">
                  <c:v>2017年</c:v>
                </c:pt>
                <c:pt idx="3">
                  <c:v>2018年9月</c:v>
                </c:pt>
              </c:strCache>
            </c:strRef>
          </c:cat>
          <c:val>
            <c:numRef>
              <c:f>Sheet1!$B$2:$B$5</c:f>
              <c:numCache>
                <c:formatCode>General</c:formatCode>
                <c:ptCount val="4"/>
                <c:pt idx="0">
                  <c:v>7.1</c:v>
                </c:pt>
                <c:pt idx="1">
                  <c:v>8.7</c:v>
                </c:pt>
                <c:pt idx="2">
                  <c:v>9.4</c:v>
                </c:pt>
                <c:pt idx="3">
                  <c:v>9.2</c:v>
                </c:pt>
              </c:numCache>
            </c:numRef>
          </c:val>
        </c:ser>
        <c:dLbls>
          <c:showLegendKey val="0"/>
          <c:showVal val="1"/>
          <c:showCatName val="0"/>
          <c:showSerName val="0"/>
          <c:showPercent val="0"/>
          <c:showBubbleSize val="0"/>
        </c:dLbls>
        <c:gapWidth val="150"/>
        <c:overlap val="-27"/>
        <c:axId val="806592024"/>
        <c:axId val="806591368"/>
      </c:barChart>
      <c:catAx>
        <c:axId val="806592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华文楷体" panose="02010600040101010101" charset="-122"/>
                <a:ea typeface="华文楷体" panose="02010600040101010101" charset="-122"/>
                <a:cs typeface="+mn-cs"/>
              </a:defRPr>
            </a:pPr>
          </a:p>
        </c:txPr>
        <c:crossAx val="806591368"/>
        <c:crosses val="autoZero"/>
        <c:auto val="1"/>
        <c:lblAlgn val="ctr"/>
        <c:lblOffset val="100"/>
        <c:noMultiLvlLbl val="0"/>
      </c:catAx>
      <c:valAx>
        <c:axId val="806591368"/>
        <c:scaling>
          <c:orientation val="minMax"/>
        </c:scaling>
        <c:delete val="1"/>
        <c:axPos val="l"/>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806592024"/>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净利润</c:v>
                </c:pt>
              </c:strCache>
            </c:strRef>
          </c:tx>
          <c:spPr>
            <a:solidFill>
              <a:schemeClr val="bg1">
                <a:lumMod val="50000"/>
              </a:schemeClr>
            </a:solidFill>
            <a:ln>
              <a:noFill/>
            </a:ln>
            <a:effectLst/>
          </c:spPr>
          <c:invertIfNegative val="0"/>
          <c:dLbls>
            <c:dLbl>
              <c:idx val="0"/>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r>
                      <a:rPr lang="en-US" altLang="zh-CN"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华文楷体" panose="02010600040101010101" charset="-122"/>
                    <a:ea typeface="华文楷体" panose="02010600040101010101" charset="-122"/>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5年</c:v>
                </c:pt>
                <c:pt idx="1">
                  <c:v>2016年</c:v>
                </c:pt>
                <c:pt idx="2">
                  <c:v>2017年</c:v>
                </c:pt>
                <c:pt idx="3">
                  <c:v>2018年9月</c:v>
                </c:pt>
              </c:strCache>
            </c:strRef>
          </c:cat>
          <c:val>
            <c:numRef>
              <c:f>Sheet1!$B$2:$B$5</c:f>
              <c:numCache>
                <c:formatCode>General</c:formatCode>
                <c:ptCount val="4"/>
                <c:pt idx="0">
                  <c:v>0.36</c:v>
                </c:pt>
                <c:pt idx="1">
                  <c:v>0.35</c:v>
                </c:pt>
                <c:pt idx="2">
                  <c:v>0.61</c:v>
                </c:pt>
                <c:pt idx="3">
                  <c:v>0.07</c:v>
                </c:pt>
              </c:numCache>
            </c:numRef>
          </c:val>
        </c:ser>
        <c:dLbls>
          <c:showLegendKey val="0"/>
          <c:showVal val="1"/>
          <c:showCatName val="0"/>
          <c:showSerName val="0"/>
          <c:showPercent val="0"/>
          <c:showBubbleSize val="0"/>
        </c:dLbls>
        <c:gapWidth val="150"/>
        <c:overlap val="-27"/>
        <c:axId val="505179536"/>
        <c:axId val="505169040"/>
      </c:barChart>
      <c:catAx>
        <c:axId val="505179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华文楷体" panose="02010600040101010101" charset="-122"/>
                <a:ea typeface="华文楷体" panose="02010600040101010101" charset="-122"/>
                <a:cs typeface="+mn-cs"/>
              </a:defRPr>
            </a:pPr>
          </a:p>
        </c:txPr>
        <c:crossAx val="505169040"/>
        <c:crosses val="autoZero"/>
        <c:auto val="1"/>
        <c:lblAlgn val="ctr"/>
        <c:lblOffset val="100"/>
        <c:noMultiLvlLbl val="0"/>
      </c:catAx>
      <c:valAx>
        <c:axId val="505169040"/>
        <c:scaling>
          <c:orientation val="minMax"/>
        </c:scaling>
        <c:delete val="1"/>
        <c:axPos val="l"/>
        <c:numFmt formatCode="General" sourceLinked="1"/>
        <c:majorTickMark val="none"/>
        <c:minorTickMark val="none"/>
        <c:tickLblPos val="nextTo"/>
        <c:txPr>
          <a:bodyPr rot="-60000000" spcFirstLastPara="0" vertOverflow="ellipsis" vert="horz" wrap="square" anchor="ctr" anchorCtr="1"/>
          <a:lstStyle/>
          <a:p>
            <a:pPr>
              <a:defRPr lang="zh-CN" sz="1000" b="0" i="0" u="none" strike="noStrike" kern="1200" baseline="0">
                <a:solidFill>
                  <a:schemeClr val="tx1">
                    <a:lumMod val="65000"/>
                    <a:lumOff val="35000"/>
                  </a:schemeClr>
                </a:solidFill>
                <a:latin typeface="华文楷体" panose="02010600040101010101" charset="-122"/>
                <a:ea typeface="华文楷体" panose="02010600040101010101" charset="-122"/>
                <a:cs typeface="+mn-cs"/>
              </a:defRPr>
            </a:pPr>
          </a:p>
        </c:txPr>
        <c:crossAx val="505179536"/>
        <c:crosses val="autoZero"/>
        <c:crossBetween val="between"/>
      </c:valAx>
      <c:spPr>
        <a:noFill/>
        <a:ln>
          <a:noFill/>
        </a:ln>
        <a:effectLst/>
      </c:spPr>
    </c:plotArea>
    <c:plotVisOnly val="1"/>
    <c:dispBlanksAs val="gap"/>
    <c:showDLblsOverMax val="0"/>
  </c:chart>
  <c:spPr>
    <a:noFill/>
    <a:ln>
      <a:noFill/>
    </a:ln>
    <a:effectLst/>
  </c:spPr>
  <c:txPr>
    <a:bodyPr/>
    <a:lstStyle/>
    <a:p>
      <a:pPr>
        <a:defRPr lang="zh-CN" sz="1000">
          <a:latin typeface="华文楷体" panose="02010600040101010101" charset="-122"/>
          <a:ea typeface="华文楷体" panose="02010600040101010101" charset="-122"/>
        </a:defRPr>
      </a:pP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42528936015"/>
          <c:y val="0.0403350757156727"/>
          <c:w val="0.57957471063985"/>
          <c:h val="0.922518511190825"/>
        </c:manualLayout>
      </c:layout>
      <c:barChart>
        <c:barDir val="bar"/>
        <c:grouping val="clustered"/>
        <c:varyColors val="0"/>
        <c:ser>
          <c:idx val="0"/>
          <c:order val="0"/>
          <c:tx>
            <c:strRef>
              <c:f>Sheet1!$B$1</c:f>
              <c:strCache>
                <c:ptCount val="1"/>
                <c:pt idx="0">
                  <c:v>系列 1</c:v>
                </c:pt>
              </c:strCache>
            </c:strRef>
          </c:tx>
          <c:spPr>
            <a:solidFill>
              <a:srgbClr val="FE5817"/>
            </a:solidFill>
          </c:spPr>
          <c:invertIfNegative val="0"/>
          <c:dPt>
            <c:idx val="0"/>
            <c:invertIfNegative val="0"/>
            <c:bubble3D val="0"/>
          </c:dPt>
          <c:dPt>
            <c:idx val="1"/>
            <c:invertIfNegative val="0"/>
            <c:bubble3D val="0"/>
          </c:dPt>
          <c:dPt>
            <c:idx val="4"/>
            <c:invertIfNegative val="0"/>
            <c:bubble3D val="0"/>
          </c:dPt>
          <c:dPt>
            <c:idx val="5"/>
            <c:invertIfNegative val="0"/>
            <c:bubble3D val="0"/>
          </c:dPt>
          <c:dLbls>
            <c:dLbl>
              <c:idx val="0"/>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4"/>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5"/>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6"/>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7"/>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8"/>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9"/>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dirty="0"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10"/>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11"/>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dirty="0"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noFill/>
              <a:ln>
                <a:noFill/>
              </a:ln>
              <a:effectLst/>
            </c:spPr>
            <c:txPr>
              <a:bodyPr rot="0" spcFirstLastPara="0" vertOverflow="ellipsis" vert="horz" wrap="square" lIns="38100" tIns="19050" rIns="38100" bIns="19050" anchor="ctr" anchorCtr="1"/>
              <a:lstStyle/>
              <a:p>
                <a:pPr>
                  <a:defRPr lang="zh-CN" sz="14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A$2:$A$13</c:f>
              <c:strCache>
                <c:ptCount val="12"/>
                <c:pt idx="0">
                  <c:v>净利润</c:v>
                </c:pt>
                <c:pt idx="1">
                  <c:v>所得税</c:v>
                </c:pt>
                <c:pt idx="2">
                  <c:v>营业外收入</c:v>
                </c:pt>
                <c:pt idx="3">
                  <c:v>营业利润</c:v>
                </c:pt>
                <c:pt idx="4">
                  <c:v>资产减值损失</c:v>
                </c:pt>
                <c:pt idx="5">
                  <c:v>业务及管理费</c:v>
                </c:pt>
                <c:pt idx="6">
                  <c:v>营业税金</c:v>
                </c:pt>
                <c:pt idx="7">
                  <c:v>营业支出</c:v>
                </c:pt>
                <c:pt idx="8">
                  <c:v>其他收入</c:v>
                </c:pt>
                <c:pt idx="9">
                  <c:v>中间业务收入</c:v>
                </c:pt>
                <c:pt idx="10">
                  <c:v>净利息收入</c:v>
                </c:pt>
                <c:pt idx="11">
                  <c:v>营业收入</c:v>
                </c:pt>
              </c:strCache>
            </c:strRef>
          </c:cat>
          <c:val>
            <c:numRef>
              <c:f>Sheet1!$B$2:$B$13</c:f>
              <c:numCache>
                <c:formatCode>0.00%</c:formatCode>
                <c:ptCount val="12"/>
                <c:pt idx="0">
                  <c:v>0.292</c:v>
                </c:pt>
                <c:pt idx="1">
                  <c:v>0.092</c:v>
                </c:pt>
                <c:pt idx="2">
                  <c:v>0.002</c:v>
                </c:pt>
                <c:pt idx="3">
                  <c:v>0.382</c:v>
                </c:pt>
                <c:pt idx="4">
                  <c:v>0.132</c:v>
                </c:pt>
                <c:pt idx="5">
                  <c:v>0.408</c:v>
                </c:pt>
                <c:pt idx="6">
                  <c:v>0.078</c:v>
                </c:pt>
                <c:pt idx="7">
                  <c:v>0.618</c:v>
                </c:pt>
                <c:pt idx="8" c:formatCode="0%">
                  <c:v>0.02</c:v>
                </c:pt>
                <c:pt idx="9" c:formatCode="0%">
                  <c:v>0.2</c:v>
                </c:pt>
                <c:pt idx="10">
                  <c:v>0.78</c:v>
                </c:pt>
                <c:pt idx="11" c:formatCode="0%">
                  <c:v>1</c:v>
                </c:pt>
              </c:numCache>
            </c:numRef>
          </c:val>
        </c:ser>
        <c:dLbls>
          <c:showLegendKey val="0"/>
          <c:showVal val="0"/>
          <c:showCatName val="0"/>
          <c:showSerName val="0"/>
          <c:showPercent val="0"/>
          <c:showBubbleSize val="0"/>
        </c:dLbls>
        <c:gapWidth val="150"/>
        <c:axId val="101421824"/>
        <c:axId val="101423360"/>
      </c:barChart>
      <c:catAx>
        <c:axId val="101421824"/>
        <c:scaling>
          <c:orientation val="minMax"/>
        </c:scaling>
        <c:delete val="0"/>
        <c:axPos val="l"/>
        <c:numFmt formatCode="General" sourceLinked="0"/>
        <c:majorTickMark val="out"/>
        <c:minorTickMark val="none"/>
        <c:tickLblPos val="nextTo"/>
        <c:txPr>
          <a:bodyPr rot="0" spcFirstLastPara="0" vertOverflow="ellipsis" vert="horz" wrap="square" anchor="ctr" anchorCtr="1"/>
          <a:lstStyle/>
          <a:p>
            <a:pPr>
              <a:defRPr lang="zh-CN" sz="1400" b="0" i="0" u="none" strike="noStrike" kern="1200" baseline="0">
                <a:solidFill>
                  <a:schemeClr val="tx1"/>
                </a:solidFill>
                <a:latin typeface="+mn-lt"/>
                <a:ea typeface="+mn-ea"/>
                <a:cs typeface="+mn-cs"/>
              </a:defRPr>
            </a:pPr>
          </a:p>
        </c:txPr>
        <c:crossAx val="101423360"/>
        <c:crosses val="autoZero"/>
        <c:auto val="1"/>
        <c:lblAlgn val="ctr"/>
        <c:lblOffset val="100"/>
        <c:noMultiLvlLbl val="0"/>
      </c:catAx>
      <c:valAx>
        <c:axId val="101423360"/>
        <c:scaling>
          <c:orientation val="minMax"/>
        </c:scaling>
        <c:delete val="1"/>
        <c:axPos val="b"/>
        <c:numFmt formatCode="0.00%" sourceLinked="1"/>
        <c:majorTickMark val="out"/>
        <c:minorTickMark val="none"/>
        <c:tickLblPos val="nextTo"/>
        <c:txPr>
          <a:bodyPr rot="-60000000" spcFirstLastPara="0" vertOverflow="ellipsis" vert="horz" wrap="square" anchor="ctr" anchorCtr="1"/>
          <a:lstStyle/>
          <a:p>
            <a:pPr>
              <a:defRPr lang="zh-CN" sz="1800" b="0" i="0" u="none" strike="noStrike" kern="1200" baseline="0">
                <a:solidFill>
                  <a:schemeClr val="tx1"/>
                </a:solidFill>
                <a:latin typeface="+mn-lt"/>
                <a:ea typeface="+mn-ea"/>
                <a:cs typeface="+mn-cs"/>
              </a:defRPr>
            </a:pPr>
          </a:p>
        </c:txPr>
        <c:crossAx val="101421824"/>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67371830066"/>
          <c:y val="0.0403350757156727"/>
          <c:w val="0.763158223933394"/>
          <c:h val="0.922518511190825"/>
        </c:manualLayout>
      </c:layout>
      <c:barChart>
        <c:barDir val="bar"/>
        <c:grouping val="clustered"/>
        <c:varyColors val="0"/>
        <c:ser>
          <c:idx val="0"/>
          <c:order val="0"/>
          <c:tx>
            <c:strRef>
              <c:f>Sheet1!$B$1</c:f>
              <c:strCache>
                <c:ptCount val="1"/>
                <c:pt idx="0">
                  <c:v>系列 1</c:v>
                </c:pt>
              </c:strCache>
            </c:strRef>
          </c:tx>
          <c:spPr>
            <a:solidFill>
              <a:srgbClr val="FE5817"/>
            </a:solidFill>
          </c:spPr>
          <c:invertIfNegative val="0"/>
          <c:dPt>
            <c:idx val="0"/>
            <c:invertIfNegative val="0"/>
            <c:bubble3D val="0"/>
          </c:dPt>
          <c:dPt>
            <c:idx val="1"/>
            <c:invertIfNegative val="0"/>
            <c:bubble3D val="0"/>
          </c:dPt>
          <c:dPt>
            <c:idx val="4"/>
            <c:invertIfNegative val="0"/>
            <c:bubble3D val="0"/>
          </c:dPt>
          <c:dPt>
            <c:idx val="5"/>
            <c:invertIfNegative val="0"/>
            <c:bubble3D val="0"/>
          </c:dPt>
          <c:dPt>
            <c:idx val="9"/>
            <c:invertIfNegative val="0"/>
            <c:bubble3D val="0"/>
          </c:dPt>
          <c:dLbls>
            <c:dLbl>
              <c:idx val="0"/>
              <c:layout>
                <c:manualLayout>
                  <c:x val="0.0179759758867145"/>
                  <c:y val="0.00957268633698759"/>
                </c:manualLayout>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dirty="0"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dirty="0"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4"/>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5"/>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6"/>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7"/>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8"/>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9"/>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0"/>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1"/>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noFill/>
              <a:ln>
                <a:noFill/>
              </a:ln>
              <a:effectLst/>
            </c:spPr>
            <c:txPr>
              <a:bodyPr rot="0" spcFirstLastPara="0" vertOverflow="ellipsis" vert="horz" wrap="square" lIns="38100" tIns="19050" rIns="38100" bIns="19050" anchor="ctr" anchorCtr="1"/>
              <a:lstStyle/>
              <a:p>
                <a:pPr>
                  <a:defRPr lang="zh-CN" sz="14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13</c:f>
              <c:numCache>
                <c:formatCode>General</c:formatCode>
                <c:ptCount val="12"/>
              </c:numCache>
            </c:numRef>
          </c:cat>
          <c:val>
            <c:numRef>
              <c:f>Sheet1!$B$2:$B$13</c:f>
              <c:numCache>
                <c:formatCode>0.00%</c:formatCode>
                <c:ptCount val="12"/>
                <c:pt idx="0">
                  <c:v>0.343</c:v>
                </c:pt>
                <c:pt idx="1">
                  <c:v>0.115</c:v>
                </c:pt>
                <c:pt idx="2">
                  <c:v>0.001</c:v>
                </c:pt>
                <c:pt idx="3">
                  <c:v>0.457</c:v>
                </c:pt>
                <c:pt idx="4">
                  <c:v>0.082</c:v>
                </c:pt>
                <c:pt idx="5">
                  <c:v>0.389</c:v>
                </c:pt>
                <c:pt idx="6">
                  <c:v>0.072</c:v>
                </c:pt>
                <c:pt idx="7">
                  <c:v>0.543</c:v>
                </c:pt>
                <c:pt idx="8" c:formatCode="0%">
                  <c:v>0.001</c:v>
                </c:pt>
                <c:pt idx="9" c:formatCode="0%">
                  <c:v>0.14</c:v>
                </c:pt>
                <c:pt idx="10">
                  <c:v>0.86</c:v>
                </c:pt>
                <c:pt idx="11" c:formatCode="0%">
                  <c:v>1</c:v>
                </c:pt>
              </c:numCache>
            </c:numRef>
          </c:val>
        </c:ser>
        <c:dLbls>
          <c:showLegendKey val="0"/>
          <c:showVal val="0"/>
          <c:showCatName val="0"/>
          <c:showSerName val="0"/>
          <c:showPercent val="0"/>
          <c:showBubbleSize val="0"/>
        </c:dLbls>
        <c:gapWidth val="150"/>
        <c:axId val="102231040"/>
        <c:axId val="102343424"/>
      </c:barChart>
      <c:catAx>
        <c:axId val="102231040"/>
        <c:scaling>
          <c:orientation val="minMax"/>
        </c:scaling>
        <c:delete val="0"/>
        <c:axPos val="l"/>
        <c:numFmt formatCode="General" sourceLinked="1"/>
        <c:majorTickMark val="out"/>
        <c:minorTickMark val="none"/>
        <c:tickLblPos val="nextTo"/>
        <c:spPr>
          <a:solidFill>
            <a:srgbClr val="FE5817"/>
          </a:solidFill>
        </c:spPr>
        <c:txPr>
          <a:bodyPr rot="0" spcFirstLastPara="0" vertOverflow="ellipsis" vert="horz" wrap="square" anchor="ctr" anchorCtr="1"/>
          <a:lstStyle/>
          <a:p>
            <a:pPr>
              <a:defRPr lang="zh-CN" sz="1400" b="0" i="0" u="none" strike="noStrike" kern="1200" baseline="0">
                <a:solidFill>
                  <a:schemeClr val="tx1"/>
                </a:solidFill>
                <a:latin typeface="+mn-lt"/>
                <a:ea typeface="+mn-ea"/>
                <a:cs typeface="+mn-cs"/>
              </a:defRPr>
            </a:pPr>
          </a:p>
        </c:txPr>
        <c:crossAx val="102343424"/>
        <c:crosses val="autoZero"/>
        <c:auto val="1"/>
        <c:lblAlgn val="ctr"/>
        <c:lblOffset val="100"/>
        <c:noMultiLvlLbl val="0"/>
      </c:catAx>
      <c:valAx>
        <c:axId val="102343424"/>
        <c:scaling>
          <c:orientation val="minMax"/>
        </c:scaling>
        <c:delete val="1"/>
        <c:axPos val="b"/>
        <c:numFmt formatCode="0.00%" sourceLinked="1"/>
        <c:majorTickMark val="out"/>
        <c:minorTickMark val="none"/>
        <c:tickLblPos val="nextTo"/>
        <c:txPr>
          <a:bodyPr rot="-60000000" spcFirstLastPara="0" vertOverflow="ellipsis" vert="horz" wrap="square" anchor="ctr" anchorCtr="1"/>
          <a:lstStyle/>
          <a:p>
            <a:pPr>
              <a:defRPr lang="zh-CN" sz="1800" b="0" i="0" u="none" strike="noStrike" kern="1200" baseline="0">
                <a:solidFill>
                  <a:schemeClr val="tx1"/>
                </a:solidFill>
                <a:latin typeface="+mn-lt"/>
                <a:ea typeface="+mn-ea"/>
                <a:cs typeface="+mn-cs"/>
              </a:defRPr>
            </a:pPr>
          </a:p>
        </c:txPr>
        <c:crossAx val="102231040"/>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5697592847759"/>
          <c:y val="0.0095726863369877"/>
          <c:w val="0.585500971566235"/>
          <c:h val="0.922518511190825"/>
        </c:manualLayout>
      </c:layout>
      <c:barChart>
        <c:barDir val="bar"/>
        <c:grouping val="clustered"/>
        <c:varyColors val="0"/>
        <c:ser>
          <c:idx val="0"/>
          <c:order val="0"/>
          <c:tx>
            <c:strRef>
              <c:f>Sheet1!$B$1</c:f>
              <c:strCache>
                <c:ptCount val="1"/>
                <c:pt idx="0">
                  <c:v>系列 1</c:v>
                </c:pt>
              </c:strCache>
            </c:strRef>
          </c:tx>
          <c:spPr>
            <a:solidFill>
              <a:srgbClr val="FE5817"/>
            </a:solidFill>
            <a:ln>
              <a:solidFill>
                <a:srgbClr val="FE5817"/>
              </a:solidFill>
            </a:ln>
          </c:spPr>
          <c:invertIfNegative val="0"/>
          <c:dPt>
            <c:idx val="0"/>
            <c:invertIfNegative val="0"/>
            <c:bubble3D val="0"/>
          </c:dPt>
          <c:dPt>
            <c:idx val="1"/>
            <c:invertIfNegative val="0"/>
            <c:bubble3D val="0"/>
          </c:dPt>
          <c:dPt>
            <c:idx val="4"/>
            <c:invertIfNegative val="0"/>
            <c:bubble3D val="0"/>
          </c:dPt>
          <c:dPt>
            <c:idx val="5"/>
            <c:invertIfNegative val="0"/>
            <c:bubble3D val="0"/>
          </c:dPt>
          <c:dLbls>
            <c:dLbl>
              <c:idx val="0"/>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4"/>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5"/>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6"/>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7"/>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8"/>
              <c:delete val="1"/>
            </c:dLbl>
            <c:dLbl>
              <c:idx val="9"/>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0"/>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1"/>
              <c:layout/>
              <c:tx>
                <c:rich>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noFill/>
              <a:ln>
                <a:noFill/>
              </a:ln>
              <a:effectLst/>
            </c:spPr>
            <c:txPr>
              <a:bodyPr rot="0" spcFirstLastPara="0" vertOverflow="ellipsis" vert="horz" wrap="square" lIns="38100" tIns="19050" rIns="38100" bIns="19050" anchor="ctr" anchorCtr="1"/>
              <a:lstStyle/>
              <a:p>
                <a:pPr>
                  <a:defRPr lang="zh-CN" sz="1400" b="0"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13</c:f>
              <c:numCache>
                <c:formatCode>General</c:formatCode>
                <c:ptCount val="12"/>
              </c:numCache>
            </c:numRef>
          </c:cat>
          <c:val>
            <c:numRef>
              <c:f>Sheet1!$B$2:$B$13</c:f>
              <c:numCache>
                <c:formatCode>0.00%</c:formatCode>
                <c:ptCount val="12"/>
                <c:pt idx="0">
                  <c:v>0.401</c:v>
                </c:pt>
                <c:pt idx="1">
                  <c:v>0.117</c:v>
                </c:pt>
                <c:pt idx="2">
                  <c:v>0.002</c:v>
                </c:pt>
                <c:pt idx="3">
                  <c:v>0.525</c:v>
                </c:pt>
                <c:pt idx="4">
                  <c:v>0.071</c:v>
                </c:pt>
                <c:pt idx="5">
                  <c:v>0.316</c:v>
                </c:pt>
                <c:pt idx="6">
                  <c:v>0.086</c:v>
                </c:pt>
                <c:pt idx="7">
                  <c:v>0.475</c:v>
                </c:pt>
                <c:pt idx="8" c:formatCode="0%">
                  <c:v>-0.008</c:v>
                </c:pt>
                <c:pt idx="9" c:formatCode="0%">
                  <c:v>0.229</c:v>
                </c:pt>
                <c:pt idx="10">
                  <c:v>0.779</c:v>
                </c:pt>
                <c:pt idx="11" c:formatCode="0%">
                  <c:v>1</c:v>
                </c:pt>
              </c:numCache>
            </c:numRef>
          </c:val>
        </c:ser>
        <c:dLbls>
          <c:showLegendKey val="0"/>
          <c:showVal val="0"/>
          <c:showCatName val="0"/>
          <c:showSerName val="0"/>
          <c:showPercent val="0"/>
          <c:showBubbleSize val="0"/>
        </c:dLbls>
        <c:gapWidth val="150"/>
        <c:axId val="102557184"/>
        <c:axId val="102558720"/>
      </c:barChart>
      <c:catAx>
        <c:axId val="102557184"/>
        <c:scaling>
          <c:orientation val="minMax"/>
        </c:scaling>
        <c:delete val="0"/>
        <c:axPos val="l"/>
        <c:numFmt formatCode="General" sourceLinked="1"/>
        <c:majorTickMark val="out"/>
        <c:minorTickMark val="none"/>
        <c:tickLblPos val="nextTo"/>
        <c:txPr>
          <a:bodyPr rot="0" spcFirstLastPara="0" vertOverflow="ellipsis" vert="horz" wrap="square" anchor="ctr" anchorCtr="1"/>
          <a:lstStyle/>
          <a:p>
            <a:pPr>
              <a:defRPr lang="zh-CN" sz="1400" b="0" i="0" u="none" strike="noStrike" kern="1200" baseline="0">
                <a:solidFill>
                  <a:schemeClr val="tx1"/>
                </a:solidFill>
                <a:latin typeface="+mn-lt"/>
                <a:ea typeface="+mn-ea"/>
                <a:cs typeface="+mn-cs"/>
              </a:defRPr>
            </a:pPr>
          </a:p>
        </c:txPr>
        <c:crossAx val="102558720"/>
        <c:crosses val="autoZero"/>
        <c:auto val="1"/>
        <c:lblAlgn val="ctr"/>
        <c:lblOffset val="100"/>
        <c:noMultiLvlLbl val="0"/>
      </c:catAx>
      <c:valAx>
        <c:axId val="102558720"/>
        <c:scaling>
          <c:orientation val="minMax"/>
        </c:scaling>
        <c:delete val="1"/>
        <c:axPos val="b"/>
        <c:numFmt formatCode="0.00%" sourceLinked="1"/>
        <c:majorTickMark val="out"/>
        <c:minorTickMark val="none"/>
        <c:tickLblPos val="nextTo"/>
        <c:txPr>
          <a:bodyPr rot="-60000000" spcFirstLastPara="0" vertOverflow="ellipsis" vert="horz" wrap="square" anchor="ctr" anchorCtr="1"/>
          <a:lstStyle/>
          <a:p>
            <a:pPr>
              <a:defRPr lang="zh-CN" sz="1800" b="0" i="0" u="none" strike="noStrike" kern="1200" baseline="0">
                <a:solidFill>
                  <a:schemeClr val="tx1"/>
                </a:solidFill>
                <a:latin typeface="+mn-lt"/>
                <a:ea typeface="+mn-ea"/>
                <a:cs typeface="+mn-cs"/>
              </a:defRPr>
            </a:pPr>
          </a:p>
        </c:txPr>
        <c:crossAx val="102557184"/>
        <c:crosses val="autoZero"/>
        <c:crossBetween val="between"/>
      </c:valAx>
      <c:spPr>
        <a:noFill/>
        <a:ln w="25400">
          <a:noFill/>
        </a:ln>
      </c:spPr>
    </c:plotArea>
    <c:plotVisOnly val="1"/>
    <c:dispBlanksAs val="gap"/>
    <c:showDLblsOverMax val="0"/>
  </c:chart>
  <c:txPr>
    <a:bodyPr/>
    <a:lstStyle/>
    <a:p>
      <a:pPr>
        <a:defRPr lang="zh-CN" sz="1800"/>
      </a:pP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0539328523516"/>
          <c:y val="0.0977310029147389"/>
          <c:w val="0.603707409124554"/>
          <c:h val="0.865122583991759"/>
        </c:manualLayout>
      </c:layout>
      <c:barChart>
        <c:barDir val="bar"/>
        <c:grouping val="clustered"/>
        <c:varyColors val="0"/>
        <c:ser>
          <c:idx val="0"/>
          <c:order val="0"/>
          <c:tx>
            <c:strRef>
              <c:f>Sheet1!$B$1</c:f>
              <c:strCache>
                <c:ptCount val="1"/>
                <c:pt idx="0">
                  <c:v>系列 1</c:v>
                </c:pt>
              </c:strCache>
            </c:strRef>
          </c:tx>
          <c:spPr>
            <a:solidFill>
              <a:srgbClr val="FE733C"/>
            </a:solidFill>
            <a:ln>
              <a:noFill/>
            </a:ln>
            <a:effectLst/>
          </c:spPr>
          <c:invertIfNegative val="0"/>
          <c:dPt>
            <c:idx val="1"/>
            <c:invertIfNegative val="0"/>
            <c:bubble3D val="0"/>
            <c:spPr>
              <a:solidFill>
                <a:srgbClr val="FE733C"/>
              </a:solidFill>
              <a:ln>
                <a:noFill/>
              </a:ln>
              <a:effectLst/>
            </c:spPr>
          </c:dPt>
          <c:dLbls>
            <c:dLbl>
              <c:idx val="1"/>
              <c:layout/>
              <c:tx>
                <c:rich>
                  <a:bodyPr rot="0" spcFirstLastPara="1" vertOverflow="ellipsis" vert="horz" wrap="square" lIns="38100" tIns="19050" rIns="38100" bIns="19050" anchor="ctr" anchorCtr="1"/>
                  <a:lstStyle/>
                  <a:p>
                    <a:fld id="{3c3aacad-ca36-41d1-a51b-06507e8f06dc}" type="VALUE">
                      <a:t>[VALUE]</a:t>
                    </a:fld>
                    <a:endParaRPr lang="zh-CN" altLang="en-US" b="0" i="0" u="none" strike="noStrike" baseline="0">
                      <a:latin typeface="Arial" panose="020B0604020202020204" pitchFamily="34" charset="0"/>
                      <a:ea typeface="Arial" panose="020B0604020202020204" pitchFamily="34" charset="0"/>
                      <a:cs typeface="+mn-ea"/>
                    </a:endParaRPr>
                  </a:p>
                </c:rich>
              </c:tx>
              <c:dLblPos val="inEnd"/>
              <c:showLegendKey val="0"/>
              <c:showVal val="1"/>
              <c:showCatName val="0"/>
              <c:showSerName val="0"/>
              <c:showPercent val="0"/>
              <c:showBubbleSize val="0"/>
              <c:extLst>
                <c:ext xmlns:c15="http://schemas.microsoft.com/office/drawing/2012/chart" uri="{CE6537A1-D6FC-4f65-9D91-7224C49458BB}"/>
              </c:extLst>
            </c:dLbl>
            <c:numFmt formatCode="#,##0.0_);[Red]\(#,##0.0\)" sourceLinked="0"/>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cap="flat" cmpd="sng" algn="ctr">
                      <a:solidFill>
                        <a:schemeClr val="tx1">
                          <a:lumMod val="35000"/>
                          <a:lumOff val="65000"/>
                        </a:schemeClr>
                      </a:solidFill>
                      <a:round/>
                    </a:ln>
                    <a:effectLst/>
                  </c:spPr>
                </c15:leaderLines>
              </c:ext>
            </c:extLst>
          </c:dLbls>
          <c:cat>
            <c:strRef>
              <c:f>Sheet1!$A$2:$A$9</c:f>
              <c:strCache>
                <c:ptCount val="8"/>
                <c:pt idx="0">
                  <c:v>x'x</c:v>
                </c:pt>
                <c:pt idx="1">
                  <c:v>平安</c:v>
                </c:pt>
                <c:pt idx="2">
                  <c:v>光大</c:v>
                </c:pt>
                <c:pt idx="3">
                  <c:v>中信</c:v>
                </c:pt>
                <c:pt idx="4">
                  <c:v>浦发</c:v>
                </c:pt>
                <c:pt idx="5">
                  <c:v>民生</c:v>
                </c:pt>
                <c:pt idx="6">
                  <c:v>兴业</c:v>
                </c:pt>
                <c:pt idx="7">
                  <c:v>招商</c:v>
                </c:pt>
              </c:strCache>
            </c:strRef>
          </c:cat>
          <c:val>
            <c:numRef>
              <c:f>Sheet1!$B$2:$B$9</c:f>
              <c:numCache>
                <c:formatCode>General</c:formatCode>
                <c:ptCount val="8"/>
                <c:pt idx="0">
                  <c:v>1.5</c:v>
                </c:pt>
                <c:pt idx="1">
                  <c:v>1.6</c:v>
                </c:pt>
                <c:pt idx="2">
                  <c:v>2.3</c:v>
                </c:pt>
                <c:pt idx="3">
                  <c:v>3</c:v>
                </c:pt>
                <c:pt idx="4">
                  <c:v>3.1</c:v>
                </c:pt>
                <c:pt idx="5">
                  <c:v>3.2</c:v>
                </c:pt>
                <c:pt idx="6">
                  <c:v>3.3</c:v>
                </c:pt>
                <c:pt idx="7">
                  <c:v>3.4</c:v>
                </c:pt>
              </c:numCache>
            </c:numRef>
          </c:val>
        </c:ser>
        <c:dLbls>
          <c:showLegendKey val="0"/>
          <c:showVal val="1"/>
          <c:showCatName val="0"/>
          <c:showSerName val="0"/>
          <c:showPercent val="0"/>
          <c:showBubbleSize val="0"/>
        </c:dLbls>
        <c:gapWidth val="182"/>
        <c:axId val="92170496"/>
        <c:axId val="92188672"/>
      </c:barChart>
      <c:catAx>
        <c:axId val="92170496"/>
        <c:scaling>
          <c:orientation val="minMax"/>
        </c:scaling>
        <c:delete val="0"/>
        <c:axPos val="l"/>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92188672"/>
        <c:crosses val="autoZero"/>
        <c:auto val="1"/>
        <c:lblAlgn val="ctr"/>
        <c:lblOffset val="100"/>
        <c:noMultiLvlLbl val="0"/>
      </c:catAx>
      <c:valAx>
        <c:axId val="9218867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9217049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a:solidFill>
              <a:schemeClr val="tx1">
                <a:lumMod val="65000"/>
                <a:lumOff val="35000"/>
              </a:schemeClr>
            </a:solidFill>
            <a:ln>
              <a:noFill/>
            </a:ln>
          </c:spPr>
          <c:explosion val="0"/>
          <c:dPt>
            <c:idx val="0"/>
            <c:bubble3D val="0"/>
            <c:spPr>
              <a:solidFill>
                <a:schemeClr val="accent2"/>
              </a:solidFill>
              <a:ln w="19050">
                <a:noFill/>
              </a:ln>
              <a:effectLst/>
            </c:spPr>
          </c:dPt>
          <c:dPt>
            <c:idx val="1"/>
            <c:bubble3D val="0"/>
            <c:spPr>
              <a:solidFill>
                <a:schemeClr val="tx1">
                  <a:lumMod val="65000"/>
                  <a:lumOff val="35000"/>
                </a:schemeClr>
              </a:solidFill>
              <a:ln w="19050">
                <a:noFill/>
              </a:ln>
              <a:effectLst/>
            </c:spPr>
          </c:dPt>
          <c:dLbls>
            <c:delete val="1"/>
          </c:dLbls>
          <c:cat>
            <c:strRef>
              <c:f>Sheet1!$A$2:$A$3</c:f>
              <c:strCache>
                <c:ptCount val="2"/>
                <c:pt idx="0">
                  <c:v>第一季度</c:v>
                </c:pt>
                <c:pt idx="1">
                  <c:v>第二季度</c:v>
                </c:pt>
              </c:strCache>
            </c:strRef>
          </c:cat>
          <c:val>
            <c:numRef>
              <c:f>Sheet1!$B$2:$B$3</c:f>
              <c:numCache>
                <c:formatCode>General</c:formatCode>
                <c:ptCount val="2"/>
                <c:pt idx="0">
                  <c:v>0.5</c:v>
                </c:pt>
                <c:pt idx="1">
                  <c:v>0.5</c:v>
                </c:pt>
              </c:numCache>
            </c:numRef>
          </c:val>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486275266355"/>
          <c:y val="0.0658644554699462"/>
          <c:w val="0.603707409124554"/>
          <c:h val="0.865122583991759"/>
        </c:manualLayout>
      </c:layout>
      <c:barChart>
        <c:barDir val="bar"/>
        <c:grouping val="clustered"/>
        <c:varyColors val="0"/>
        <c:ser>
          <c:idx val="0"/>
          <c:order val="0"/>
          <c:tx>
            <c:strRef>
              <c:f>Sheet1!$B$1</c:f>
              <c:strCache>
                <c:ptCount val="1"/>
                <c:pt idx="0">
                  <c:v>系列 1</c:v>
                </c:pt>
              </c:strCache>
            </c:strRef>
          </c:tx>
          <c:spPr>
            <a:solidFill>
              <a:srgbClr val="FE733C"/>
            </a:solidFill>
          </c:spPr>
          <c:invertIfNegative val="0"/>
          <c:dPt>
            <c:idx val="1"/>
            <c:invertIfNegative val="0"/>
            <c:bubble3D val="0"/>
          </c:dPt>
          <c:dLbls>
            <c:dLbl>
              <c:idx val="1"/>
              <c:layout/>
              <c:numFmt formatCode="#,##0.00_);[Red]\(#,##0.00\)" sourceLinked="0"/>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mn-lt"/>
                      <a:ea typeface="+mn-ea"/>
                      <a:cs typeface="+mn-cs"/>
                    </a:defRPr>
                  </a:pPr>
                </a:p>
              </c:txPr>
              <c:dLblPos val="ctr"/>
              <c:showLegendKey val="0"/>
              <c:showVal val="1"/>
              <c:showCatName val="0"/>
              <c:showSerName val="0"/>
              <c:showPercent val="0"/>
              <c:showBubbleSize val="0"/>
              <c:extLst>
                <c:ext xmlns:c15="http://schemas.microsoft.com/office/drawing/2012/chart" uri="{CE6537A1-D6FC-4f65-9D91-7224C49458BB}"/>
              </c:extLst>
            </c:dLbl>
            <c:numFmt formatCode="#,##0.00_);[Red]\(#,##0.00\)" sourceLinked="0"/>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tx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9</c:f>
              <c:numCache>
                <c:formatCode>General</c:formatCode>
                <c:ptCount val="8"/>
              </c:numCache>
            </c:numRef>
          </c:cat>
          <c:val>
            <c:numRef>
              <c:f>Sheet1!$B$2:$B$9</c:f>
              <c:numCache>
                <c:formatCode>General</c:formatCode>
                <c:ptCount val="8"/>
                <c:pt idx="0">
                  <c:v>0.94</c:v>
                </c:pt>
                <c:pt idx="1">
                  <c:v>0.94</c:v>
                </c:pt>
                <c:pt idx="2">
                  <c:v>1.18</c:v>
                </c:pt>
                <c:pt idx="3">
                  <c:v>1.1</c:v>
                </c:pt>
                <c:pt idx="4">
                  <c:v>1.18</c:v>
                </c:pt>
                <c:pt idx="5">
                  <c:v>1.41</c:v>
                </c:pt>
                <c:pt idx="6">
                  <c:v>1.23</c:v>
                </c:pt>
                <c:pt idx="7">
                  <c:v>1.46</c:v>
                </c:pt>
              </c:numCache>
            </c:numRef>
          </c:val>
        </c:ser>
        <c:dLbls>
          <c:showLegendKey val="0"/>
          <c:showVal val="0"/>
          <c:showCatName val="0"/>
          <c:showSerName val="0"/>
          <c:showPercent val="0"/>
          <c:showBubbleSize val="0"/>
        </c:dLbls>
        <c:gapWidth val="150"/>
        <c:axId val="92209536"/>
        <c:axId val="92211072"/>
      </c:barChart>
      <c:catAx>
        <c:axId val="92209536"/>
        <c:scaling>
          <c:orientation val="minMax"/>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1400" b="0" i="0" u="none" strike="noStrike" kern="1200" baseline="0">
                <a:solidFill>
                  <a:schemeClr val="tx1"/>
                </a:solidFill>
                <a:latin typeface="+mn-lt"/>
                <a:ea typeface="+mn-ea"/>
                <a:cs typeface="+mn-cs"/>
              </a:defRPr>
            </a:pPr>
          </a:p>
        </c:txPr>
        <c:crossAx val="92211072"/>
        <c:crosses val="autoZero"/>
        <c:auto val="1"/>
        <c:lblAlgn val="ctr"/>
        <c:lblOffset val="100"/>
        <c:noMultiLvlLbl val="0"/>
      </c:catAx>
      <c:valAx>
        <c:axId val="92211072"/>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1800" b="0" i="0" u="none" strike="noStrike" kern="1200" baseline="0">
                <a:solidFill>
                  <a:schemeClr val="tx1"/>
                </a:solidFill>
                <a:latin typeface="+mn-lt"/>
                <a:ea typeface="+mn-ea"/>
                <a:cs typeface="+mn-cs"/>
              </a:defRPr>
            </a:pPr>
          </a:p>
        </c:txPr>
        <c:crossAx val="92209536"/>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932795414677262"/>
          <c:y val="0.0977310029147389"/>
          <c:w val="0.906720458532274"/>
          <c:h val="0.865122583991759"/>
        </c:manualLayout>
      </c:layout>
      <c:barChart>
        <c:barDir val="bar"/>
        <c:grouping val="clustered"/>
        <c:varyColors val="0"/>
        <c:ser>
          <c:idx val="0"/>
          <c:order val="0"/>
          <c:tx>
            <c:strRef>
              <c:f>Sheet1!$B$1</c:f>
              <c:strCache>
                <c:ptCount val="1"/>
                <c:pt idx="0">
                  <c:v>系列 1</c:v>
                </c:pt>
              </c:strCache>
            </c:strRef>
          </c:tx>
          <c:spPr>
            <a:solidFill>
              <a:srgbClr val="FF976D"/>
            </a:solidFill>
          </c:spPr>
          <c:invertIfNegative val="0"/>
          <c:dPt>
            <c:idx val="1"/>
            <c:invertIfNegative val="0"/>
            <c:bubble3D val="0"/>
          </c:dPt>
          <c:dLbls>
            <c:dLbl>
              <c:idx val="1"/>
              <c:layout/>
              <c:numFmt formatCode="#,##0.0_);[Red]\(#,##0.0\)" sourceLinked="0"/>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mn-lt"/>
                      <a:ea typeface="+mn-ea"/>
                      <a:cs typeface="+mn-cs"/>
                    </a:defRPr>
                  </a:pPr>
                </a:p>
              </c:txPr>
              <c:dLblPos val="ctr"/>
              <c:showLegendKey val="0"/>
              <c:showVal val="1"/>
              <c:showCatName val="0"/>
              <c:showSerName val="0"/>
              <c:showPercent val="0"/>
              <c:showBubbleSize val="0"/>
              <c:extLst>
                <c:ext xmlns:c15="http://schemas.microsoft.com/office/drawing/2012/chart" uri="{CE6537A1-D6FC-4f65-9D91-7224C49458BB}"/>
              </c:extLst>
            </c:dLbl>
            <c:numFmt formatCode="#,##0.0_);[Red]\(#,##0.0\)" sourceLinked="0"/>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tx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9</c:f>
              <c:numCache>
                <c:formatCode>General</c:formatCode>
                <c:ptCount val="8"/>
              </c:numCache>
            </c:numRef>
          </c:cat>
          <c:val>
            <c:numRef>
              <c:f>Sheet1!$B$2:$B$9</c:f>
              <c:numCache>
                <c:formatCode>General</c:formatCode>
                <c:ptCount val="8"/>
                <c:pt idx="0">
                  <c:v>16.9</c:v>
                </c:pt>
                <c:pt idx="1">
                  <c:v>18.5</c:v>
                </c:pt>
                <c:pt idx="2">
                  <c:v>22.5</c:v>
                </c:pt>
                <c:pt idx="3">
                  <c:v>16.7</c:v>
                </c:pt>
                <c:pt idx="4">
                  <c:v>19.3</c:v>
                </c:pt>
                <c:pt idx="5">
                  <c:v>25.2</c:v>
                </c:pt>
                <c:pt idx="6">
                  <c:v>26.7</c:v>
                </c:pt>
                <c:pt idx="7">
                  <c:v>24.8</c:v>
                </c:pt>
              </c:numCache>
            </c:numRef>
          </c:val>
        </c:ser>
        <c:dLbls>
          <c:showLegendKey val="0"/>
          <c:showVal val="0"/>
          <c:showCatName val="0"/>
          <c:showSerName val="0"/>
          <c:showPercent val="0"/>
          <c:showBubbleSize val="0"/>
        </c:dLbls>
        <c:gapWidth val="150"/>
        <c:axId val="93038848"/>
        <c:axId val="93057024"/>
      </c:barChart>
      <c:catAx>
        <c:axId val="93038848"/>
        <c:scaling>
          <c:orientation val="minMax"/>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1400" b="0" i="0" u="none" strike="noStrike" kern="1200" baseline="0">
                <a:solidFill>
                  <a:schemeClr val="tx1"/>
                </a:solidFill>
                <a:latin typeface="+mn-lt"/>
                <a:ea typeface="+mn-ea"/>
                <a:cs typeface="+mn-cs"/>
              </a:defRPr>
            </a:pPr>
          </a:p>
        </c:txPr>
        <c:crossAx val="93057024"/>
        <c:crosses val="autoZero"/>
        <c:auto val="1"/>
        <c:lblAlgn val="ctr"/>
        <c:lblOffset val="100"/>
        <c:noMultiLvlLbl val="0"/>
      </c:catAx>
      <c:valAx>
        <c:axId val="93057024"/>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1800" b="0" i="0" u="none" strike="noStrike" kern="1200" baseline="0">
                <a:solidFill>
                  <a:schemeClr val="tx1"/>
                </a:solidFill>
                <a:latin typeface="+mn-lt"/>
                <a:ea typeface="+mn-ea"/>
                <a:cs typeface="+mn-cs"/>
              </a:defRPr>
            </a:pPr>
          </a:p>
        </c:txPr>
        <c:crossAx val="93038848"/>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987147129336"/>
          <c:y val="0.0623237304409792"/>
          <c:w val="0.479747525275941"/>
          <c:h val="0.865122583991759"/>
        </c:manualLayout>
      </c:layout>
      <c:barChart>
        <c:barDir val="bar"/>
        <c:grouping val="clustered"/>
        <c:varyColors val="0"/>
        <c:ser>
          <c:idx val="0"/>
          <c:order val="0"/>
          <c:tx>
            <c:strRef>
              <c:f>Sheet1!$B$1</c:f>
              <c:strCache>
                <c:ptCount val="1"/>
                <c:pt idx="0">
                  <c:v>系列 1</c:v>
                </c:pt>
              </c:strCache>
            </c:strRef>
          </c:tx>
          <c:spPr>
            <a:solidFill>
              <a:srgbClr val="FE733C"/>
            </a:solidFill>
          </c:spPr>
          <c:invertIfNegative val="0"/>
          <c:dPt>
            <c:idx val="1"/>
            <c:invertIfNegative val="0"/>
            <c:bubble3D val="0"/>
          </c:dPt>
          <c:dLbls>
            <c:dLbl>
              <c:idx val="1"/>
              <c:layout/>
              <c:numFmt formatCode="#,##0.00_);[Red]\(#,##0.00\)" sourceLinked="0"/>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mn-lt"/>
                      <a:ea typeface="+mn-ea"/>
                      <a:cs typeface="+mn-cs"/>
                    </a:defRPr>
                  </a:pPr>
                </a:p>
              </c:txPr>
              <c:dLblPos val="ctr"/>
              <c:showLegendKey val="0"/>
              <c:showVal val="1"/>
              <c:showCatName val="0"/>
              <c:showSerName val="0"/>
              <c:showPercent val="0"/>
              <c:showBubbleSize val="0"/>
              <c:extLst>
                <c:ext xmlns:c15="http://schemas.microsoft.com/office/drawing/2012/chart" uri="{CE6537A1-D6FC-4f65-9D91-7224C49458BB}"/>
              </c:extLst>
            </c:dLbl>
            <c:numFmt formatCode="#,##0.00_);[Red]\(#,##0.00\)" sourceLinked="0"/>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tx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9</c:f>
              <c:numCache>
                <c:formatCode>General</c:formatCode>
                <c:ptCount val="8"/>
              </c:numCache>
            </c:numRef>
          </c:cat>
          <c:val>
            <c:numRef>
              <c:f>Sheet1!$B$2:$B$9</c:f>
              <c:numCache>
                <c:formatCode>General</c:formatCode>
                <c:ptCount val="8"/>
                <c:pt idx="0">
                  <c:v>0.88</c:v>
                </c:pt>
                <c:pt idx="1">
                  <c:v>0.95</c:v>
                </c:pt>
                <c:pt idx="2">
                  <c:v>0.74</c:v>
                </c:pt>
                <c:pt idx="3">
                  <c:v>0.74</c:v>
                </c:pt>
                <c:pt idx="4">
                  <c:v>0.58</c:v>
                </c:pt>
                <c:pt idx="5">
                  <c:v>0.76</c:v>
                </c:pt>
                <c:pt idx="6">
                  <c:v>0.43</c:v>
                </c:pt>
                <c:pt idx="7">
                  <c:v>0.61</c:v>
                </c:pt>
              </c:numCache>
            </c:numRef>
          </c:val>
        </c:ser>
        <c:dLbls>
          <c:showLegendKey val="0"/>
          <c:showVal val="0"/>
          <c:showCatName val="0"/>
          <c:showSerName val="0"/>
          <c:showPercent val="0"/>
          <c:showBubbleSize val="0"/>
        </c:dLbls>
        <c:gapWidth val="150"/>
        <c:axId val="93790592"/>
        <c:axId val="93792128"/>
      </c:barChart>
      <c:catAx>
        <c:axId val="93790592"/>
        <c:scaling>
          <c:orientation val="minMax"/>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1400" b="0" i="0" u="none" strike="noStrike" kern="1200" baseline="0">
                <a:solidFill>
                  <a:schemeClr val="tx1"/>
                </a:solidFill>
                <a:latin typeface="+mn-lt"/>
                <a:ea typeface="+mn-ea"/>
                <a:cs typeface="+mn-cs"/>
              </a:defRPr>
            </a:pPr>
          </a:p>
        </c:txPr>
        <c:crossAx val="93792128"/>
        <c:crosses val="autoZero"/>
        <c:auto val="1"/>
        <c:lblAlgn val="ctr"/>
        <c:lblOffset val="100"/>
        <c:noMultiLvlLbl val="0"/>
      </c:catAx>
      <c:valAx>
        <c:axId val="93792128"/>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1800" b="0" i="0" u="none" strike="noStrike" kern="1200" baseline="0">
                <a:solidFill>
                  <a:schemeClr val="tx1"/>
                </a:solidFill>
                <a:latin typeface="+mn-lt"/>
                <a:ea typeface="+mn-ea"/>
                <a:cs typeface="+mn-cs"/>
              </a:defRPr>
            </a:pPr>
          </a:p>
        </c:txPr>
        <c:crossAx val="93790592"/>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170399919643"/>
          <c:y val="0.0623237304409792"/>
          <c:w val="0.562387447841683"/>
          <c:h val="0.865122583991759"/>
        </c:manualLayout>
      </c:layout>
      <c:barChart>
        <c:barDir val="bar"/>
        <c:grouping val="clustered"/>
        <c:varyColors val="0"/>
        <c:ser>
          <c:idx val="0"/>
          <c:order val="0"/>
          <c:tx>
            <c:strRef>
              <c:f>Sheet1!$B$1</c:f>
              <c:strCache>
                <c:ptCount val="1"/>
                <c:pt idx="0">
                  <c:v>系列 1</c:v>
                </c:pt>
              </c:strCache>
            </c:strRef>
          </c:tx>
          <c:spPr>
            <a:solidFill>
              <a:srgbClr val="FF976D"/>
            </a:solidFill>
          </c:spPr>
          <c:invertIfNegative val="0"/>
          <c:dPt>
            <c:idx val="1"/>
            <c:invertIfNegative val="0"/>
            <c:bubble3D val="0"/>
          </c:dPt>
          <c:dLbls>
            <c:dLbl>
              <c:idx val="1"/>
              <c:layout/>
              <c:numFmt formatCode="#,##0_);[Red]\(#,##0\)" sourceLinked="0"/>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mn-lt"/>
                      <a:ea typeface="+mn-ea"/>
                      <a:cs typeface="+mn-cs"/>
                    </a:defRPr>
                  </a:pPr>
                </a:p>
              </c:txPr>
              <c:dLblPos val="ctr"/>
              <c:showLegendKey val="0"/>
              <c:showVal val="1"/>
              <c:showCatName val="0"/>
              <c:showSerName val="0"/>
              <c:showPercent val="0"/>
              <c:showBubbleSize val="0"/>
              <c:extLst>
                <c:ext xmlns:c15="http://schemas.microsoft.com/office/drawing/2012/chart" uri="{CE6537A1-D6FC-4f65-9D91-7224C49458BB}"/>
              </c:extLst>
            </c:dLbl>
            <c:numFmt formatCode="#,##0_);[Red]\(#,##0\)" sourceLinked="0"/>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tx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9</c:f>
              <c:numCache>
                <c:formatCode>General</c:formatCode>
                <c:ptCount val="8"/>
              </c:numCache>
            </c:numRef>
          </c:cat>
          <c:val>
            <c:numRef>
              <c:f>Sheet1!$B$2:$B$9</c:f>
              <c:numCache>
                <c:formatCode>General</c:formatCode>
                <c:ptCount val="8"/>
                <c:pt idx="0">
                  <c:v>320</c:v>
                </c:pt>
                <c:pt idx="1">
                  <c:v>182</c:v>
                </c:pt>
                <c:pt idx="2">
                  <c:v>340</c:v>
                </c:pt>
                <c:pt idx="3">
                  <c:v>288</c:v>
                </c:pt>
                <c:pt idx="4">
                  <c:v>400</c:v>
                </c:pt>
                <c:pt idx="5">
                  <c:v>315</c:v>
                </c:pt>
                <c:pt idx="6">
                  <c:v>466</c:v>
                </c:pt>
                <c:pt idx="7">
                  <c:v>352</c:v>
                </c:pt>
              </c:numCache>
            </c:numRef>
          </c:val>
        </c:ser>
        <c:dLbls>
          <c:showLegendKey val="0"/>
          <c:showVal val="0"/>
          <c:showCatName val="0"/>
          <c:showSerName val="0"/>
          <c:showPercent val="0"/>
          <c:showBubbleSize val="0"/>
        </c:dLbls>
        <c:gapWidth val="150"/>
        <c:axId val="94370048"/>
        <c:axId val="94519296"/>
      </c:barChart>
      <c:catAx>
        <c:axId val="94370048"/>
        <c:scaling>
          <c:orientation val="minMax"/>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1400" b="0" i="0" u="none" strike="noStrike" kern="1200" baseline="0">
                <a:solidFill>
                  <a:schemeClr val="tx1"/>
                </a:solidFill>
                <a:latin typeface="+mn-lt"/>
                <a:ea typeface="+mn-ea"/>
                <a:cs typeface="+mn-cs"/>
              </a:defRPr>
            </a:pPr>
          </a:p>
        </c:txPr>
        <c:crossAx val="94519296"/>
        <c:crosses val="autoZero"/>
        <c:auto val="1"/>
        <c:lblAlgn val="ctr"/>
        <c:lblOffset val="100"/>
        <c:noMultiLvlLbl val="0"/>
      </c:catAx>
      <c:valAx>
        <c:axId val="94519296"/>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1800" b="0" i="0" u="none" strike="noStrike" kern="1200" baseline="0">
                <a:solidFill>
                  <a:schemeClr val="tx1"/>
                </a:solidFill>
                <a:latin typeface="+mn-lt"/>
                <a:ea typeface="+mn-ea"/>
                <a:cs typeface="+mn-cs"/>
              </a:defRPr>
            </a:pPr>
          </a:p>
        </c:txPr>
        <c:crossAx val="94370048"/>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786066171586"/>
          <c:y val="0.0977310029147389"/>
          <c:w val="0.603707409124554"/>
          <c:h val="0.865122583991759"/>
        </c:manualLayout>
      </c:layout>
      <c:barChart>
        <c:barDir val="bar"/>
        <c:grouping val="clustered"/>
        <c:varyColors val="0"/>
        <c:ser>
          <c:idx val="0"/>
          <c:order val="0"/>
          <c:tx>
            <c:strRef>
              <c:f>Sheet1!$B$1</c:f>
              <c:strCache>
                <c:ptCount val="1"/>
                <c:pt idx="0">
                  <c:v>系列 1</c:v>
                </c:pt>
              </c:strCache>
            </c:strRef>
          </c:tx>
          <c:spPr>
            <a:solidFill>
              <a:srgbClr val="FF976D"/>
            </a:solidFill>
          </c:spPr>
          <c:invertIfNegative val="0"/>
          <c:dPt>
            <c:idx val="1"/>
            <c:invertIfNegative val="0"/>
            <c:bubble3D val="0"/>
          </c:dPt>
          <c:dLbls>
            <c:dLbl>
              <c:idx val="1"/>
              <c:layout>
                <c:manualLayout>
                  <c:x val="-0.175834871986747"/>
                  <c:y val="0"/>
                </c:manualLayout>
              </c:layout>
              <c:numFmt formatCode="#,##0.0_);[Red]\(#,##0.0\)" sourceLinked="0"/>
              <c:spPr>
                <a:noFill/>
                <a:ln>
                  <a:noFill/>
                </a:ln>
                <a:effectLst/>
              </c:spPr>
              <c:txPr>
                <a:bodyPr rot="0" spcFirstLastPara="0" vertOverflow="ellipsis" vert="horz" wrap="square" lIns="38100" tIns="19050" rIns="38100" bIns="19050" anchor="ctr" anchorCtr="1"/>
                <a:lstStyle/>
                <a:p>
                  <a:pPr>
                    <a:defRPr lang="zh-CN" sz="1400"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_);[Red]\(#,##0.0\)" sourceLinked="0"/>
            <c:spPr>
              <a:noFill/>
              <a:ln>
                <a:noFill/>
              </a:ln>
              <a:effectLst/>
            </c:spPr>
            <c:txPr>
              <a:bodyPr rot="0" spcFirstLastPara="0" vertOverflow="ellipsis" vert="horz" wrap="square" lIns="38100" tIns="19050" rIns="38100" bIns="19050" anchor="ctr" anchorCtr="1"/>
              <a:lstStyle/>
              <a:p>
                <a:pPr>
                  <a:defRPr lang="zh-CN" sz="1400" b="0" i="0" u="none" strike="noStrike" kern="1200" baseline="0">
                    <a:solidFill>
                      <a:schemeClr val="tx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9</c:f>
              <c:numCache>
                <c:formatCode>General</c:formatCode>
                <c:ptCount val="8"/>
              </c:numCache>
            </c:numRef>
          </c:cat>
          <c:val>
            <c:numRef>
              <c:f>Sheet1!$B$2:$B$9</c:f>
              <c:numCache>
                <c:formatCode>General</c:formatCode>
                <c:ptCount val="8"/>
                <c:pt idx="0">
                  <c:v>1</c:v>
                </c:pt>
                <c:pt idx="1">
                  <c:v>1</c:v>
                </c:pt>
                <c:pt idx="2">
                  <c:v>1.4</c:v>
                </c:pt>
                <c:pt idx="3">
                  <c:v>2.3</c:v>
                </c:pt>
                <c:pt idx="4">
                  <c:v>2.1</c:v>
                </c:pt>
                <c:pt idx="5">
                  <c:v>1.9</c:v>
                </c:pt>
                <c:pt idx="6">
                  <c:v>1.8</c:v>
                </c:pt>
                <c:pt idx="7">
                  <c:v>2.5</c:v>
                </c:pt>
              </c:numCache>
            </c:numRef>
          </c:val>
        </c:ser>
        <c:dLbls>
          <c:showLegendKey val="0"/>
          <c:showVal val="0"/>
          <c:showCatName val="0"/>
          <c:showSerName val="0"/>
          <c:showPercent val="0"/>
          <c:showBubbleSize val="0"/>
        </c:dLbls>
        <c:gapWidth val="150"/>
        <c:axId val="94617984"/>
        <c:axId val="94619520"/>
      </c:barChart>
      <c:catAx>
        <c:axId val="94617984"/>
        <c:scaling>
          <c:orientation val="minMax"/>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1400" b="0" i="0" u="none" strike="noStrike" kern="1200" baseline="0">
                <a:solidFill>
                  <a:schemeClr val="tx1"/>
                </a:solidFill>
                <a:latin typeface="+mn-lt"/>
                <a:ea typeface="+mn-ea"/>
                <a:cs typeface="+mn-cs"/>
              </a:defRPr>
            </a:pPr>
          </a:p>
        </c:txPr>
        <c:crossAx val="94619520"/>
        <c:crosses val="autoZero"/>
        <c:auto val="1"/>
        <c:lblAlgn val="ctr"/>
        <c:lblOffset val="100"/>
        <c:noMultiLvlLbl val="0"/>
      </c:catAx>
      <c:valAx>
        <c:axId val="94619520"/>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1800" b="0" i="0" u="none" strike="noStrike" kern="1200" baseline="0">
                <a:solidFill>
                  <a:schemeClr val="tx1"/>
                </a:solidFill>
                <a:latin typeface="+mn-lt"/>
                <a:ea typeface="+mn-ea"/>
                <a:cs typeface="+mn-cs"/>
              </a:defRPr>
            </a:pPr>
          </a:p>
        </c:txPr>
        <c:crossAx val="94617984"/>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42465753424658"/>
          <c:y val="0.441860465116279"/>
          <c:w val="0.948630136986301"/>
          <c:h val="0.186046511627907"/>
        </c:manualLayout>
      </c:layout>
      <c:barChart>
        <c:barDir val="col"/>
        <c:grouping val="stacked"/>
        <c:varyColors val="0"/>
        <c:ser>
          <c:idx val="0"/>
          <c:order val="0"/>
          <c:tx>
            <c:strRef>
              <c:f>Sheet1!$B$1</c:f>
              <c:strCache>
                <c:ptCount val="1"/>
                <c:pt idx="0">
                  <c:v/>
                </c:pt>
              </c:strCache>
            </c:strRef>
          </c:tx>
          <c:spPr>
            <a:solidFill>
              <a:srgbClr val="FE5817"/>
            </a:solidFill>
            <a:ln w="8628">
              <a:solidFill>
                <a:srgbClr val="FFFFFF"/>
              </a:solidFill>
              <a:prstDash val="solid"/>
            </a:ln>
          </c:spPr>
          <c:invertIfNegative val="0"/>
          <c:dLbls>
            <c:dLbl>
              <c:idx val="0"/>
              <c:layout>
                <c:manualLayout>
                  <c:x val="-0.0192582098310276"/>
                  <c:y val="-0.257095017199495"/>
                </c:manualLayout>
              </c:layout>
              <c:numFmt formatCode="General" sourceLinked="1"/>
              <c:spPr>
                <a:noFill/>
                <a:ln w="17257">
                  <a:noFill/>
                </a:ln>
                <a:effectLst/>
              </c:spPr>
              <c:txPr>
                <a:bodyPr rot="0" spcFirstLastPara="0" vertOverflow="ellipsis" vert="horz" wrap="square" lIns="38100" tIns="19050" rIns="38100" bIns="19050" anchor="ctr" anchorCtr="1"/>
                <a:lstStyle/>
                <a:p>
                  <a:pPr>
                    <a:defRPr lang="zh-CN" sz="950"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20114476235895"/>
                  <c:y val="-0.28402191405223"/>
                </c:manualLayout>
              </c:layout>
              <c:numFmt formatCode="General" sourceLinked="1"/>
              <c:spPr>
                <a:noFill/>
                <a:ln w="17257">
                  <a:noFill/>
                </a:ln>
                <a:effectLst/>
              </c:spPr>
              <c:txPr>
                <a:bodyPr rot="0" spcFirstLastPara="0" vertOverflow="ellipsis" vert="horz" wrap="square" lIns="38100" tIns="19050" rIns="38100" bIns="19050" anchor="ctr" anchorCtr="1"/>
                <a:lstStyle/>
                <a:p>
                  <a:pPr>
                    <a:defRPr lang="zh-CN" sz="950"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175457763995597"/>
                  <c:y val="-0.308502373334228"/>
                </c:manualLayout>
              </c:layout>
              <c:numFmt formatCode="General" sourceLinked="1"/>
              <c:spPr>
                <a:noFill/>
                <a:ln w="17257">
                  <a:noFill/>
                </a:ln>
                <a:effectLst/>
              </c:spPr>
              <c:txPr>
                <a:bodyPr rot="0" spcFirstLastPara="0" vertOverflow="ellipsis" vert="horz" wrap="square" lIns="38100" tIns="19050" rIns="38100" bIns="19050" anchor="ctr" anchorCtr="1"/>
                <a:lstStyle/>
                <a:p>
                  <a:pPr>
                    <a:defRPr lang="zh-CN" sz="950"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184020428044269"/>
                  <c:y val="-0.347058379935374"/>
                </c:manualLayout>
              </c:layout>
              <c:numFmt formatCode="General" sourceLinked="1"/>
              <c:spPr>
                <a:noFill/>
                <a:ln w="17257">
                  <a:noFill/>
                </a:ln>
                <a:effectLst/>
              </c:spPr>
              <c:txPr>
                <a:bodyPr rot="0" spcFirstLastPara="0" vertOverflow="ellipsis" vert="horz" wrap="square" lIns="38100" tIns="19050" rIns="38100" bIns="19050" anchor="ctr" anchorCtr="1"/>
                <a:lstStyle/>
                <a:p>
                  <a:pPr>
                    <a:defRPr lang="zh-CN" sz="950"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w="17257">
                <a:noFill/>
              </a:ln>
              <a:effectLst/>
            </c:spPr>
            <c:txPr>
              <a:bodyPr rot="0" spcFirstLastPara="0" vertOverflow="ellipsis" vert="horz" wrap="square" lIns="38100" tIns="19050" rIns="38100" bIns="19050" anchor="ctr" anchorCtr="1">
                <a:spAutoFit/>
              </a:bodyPr>
              <a:lstStyle/>
              <a:p>
                <a:pPr>
                  <a:defRPr lang="zh-CN" sz="950"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5</c:f>
              <c:numCache>
                <c:formatCode>General</c:formatCode>
                <c:ptCount val="4"/>
              </c:numCache>
            </c:numRef>
          </c:cat>
          <c:val>
            <c:numRef>
              <c:f>Sheet1!$B$2:$B$5</c:f>
              <c:numCache>
                <c:formatCode>#,##0.0;\!\-#,##0.0;0</c:formatCode>
                <c:ptCount val="4"/>
                <c:pt idx="0">
                  <c:v>1.30000000000015</c:v>
                </c:pt>
                <c:pt idx="1">
                  <c:v>2.10000000000024</c:v>
                </c:pt>
                <c:pt idx="2">
                  <c:v>3.00000000000034</c:v>
                </c:pt>
                <c:pt idx="3">
                  <c:v>3.80000000000043</c:v>
                </c:pt>
              </c:numCache>
            </c:numRef>
          </c:val>
        </c:ser>
        <c:dLbls>
          <c:showLegendKey val="0"/>
          <c:showVal val="0"/>
          <c:showCatName val="0"/>
          <c:showSerName val="0"/>
          <c:showPercent val="0"/>
          <c:showBubbleSize val="0"/>
        </c:dLbls>
        <c:gapWidth val="40"/>
        <c:overlap val="100"/>
        <c:axId val="159168440"/>
        <c:axId val="1"/>
      </c:barChart>
      <c:catAx>
        <c:axId val="159168440"/>
        <c:scaling>
          <c:orientation val="minMax"/>
        </c:scaling>
        <c:delete val="0"/>
        <c:axPos val="b"/>
        <c:numFmt formatCode="General" sourceLinked="1"/>
        <c:majorTickMark val="none"/>
        <c:minorTickMark val="none"/>
        <c:tickLblPos val="none"/>
        <c:spPr>
          <a:ln w="25885" cap="flat" cmpd="sng" algn="ctr">
            <a:solidFill>
              <a:srgbClr val="808080"/>
            </a:solidFill>
            <a:prstDash val="solid"/>
            <a:round/>
          </a:ln>
        </c:spPr>
        <c:txPr>
          <a:bodyPr rot="-60000000" spcFirstLastPara="0" vertOverflow="ellipsis" vert="horz" wrap="square" anchor="ctr" anchorCtr="1"/>
          <a:lstStyle/>
          <a:p>
            <a:pPr>
              <a:defRPr lang="zh-CN" sz="815" b="1" i="0" u="none" strike="noStrike" kern="1200" baseline="0">
                <a:solidFill>
                  <a:schemeClr val="tx1"/>
                </a:solidFill>
                <a:latin typeface="Calibri" panose="020F0502020204030204"/>
                <a:ea typeface="Calibri" panose="020F0502020204030204"/>
                <a:cs typeface="Calibri" panose="020F0502020204030204"/>
              </a:defRPr>
            </a:pPr>
          </a:p>
        </c:txPr>
        <c:crossAx val="1"/>
        <c:crossesAt val="0"/>
        <c:auto val="1"/>
        <c:lblAlgn val="ctr"/>
        <c:lblOffset val="100"/>
        <c:tickLblSkip val="1"/>
        <c:noMultiLvlLbl val="0"/>
      </c:catAx>
      <c:valAx>
        <c:axId val="1"/>
        <c:scaling>
          <c:orientation val="minMax"/>
          <c:max val="3.8"/>
          <c:min val="0"/>
        </c:scaling>
        <c:delete val="0"/>
        <c:axPos val="l"/>
        <c:numFmt formatCode="#,##0.0;\!\-#,##0.0;0" sourceLinked="1"/>
        <c:majorTickMark val="none"/>
        <c:minorTickMark val="none"/>
        <c:tickLblPos val="none"/>
        <c:spPr>
          <a:ln w="4314" cap="flat" cmpd="sng" algn="ctr">
            <a:noFill/>
            <a:prstDash val="solid"/>
            <a:round/>
          </a:ln>
        </c:spPr>
        <c:txPr>
          <a:bodyPr rot="-60000000" spcFirstLastPara="0" vertOverflow="ellipsis" vert="horz" wrap="square" anchor="ctr" anchorCtr="1"/>
          <a:lstStyle/>
          <a:p>
            <a:pPr>
              <a:defRPr lang="zh-CN" sz="815" b="1" i="0" u="none" strike="noStrike" kern="1200" baseline="0">
                <a:solidFill>
                  <a:schemeClr val="tx1"/>
                </a:solidFill>
                <a:latin typeface="Calibri" panose="020F0502020204030204"/>
                <a:ea typeface="Calibri" panose="020F0502020204030204"/>
                <a:cs typeface="Calibri" panose="020F0502020204030204"/>
              </a:defRPr>
            </a:pPr>
          </a:p>
        </c:txPr>
        <c:crossAx val="159168440"/>
        <c:crosses val="autoZero"/>
        <c:crossBetween val="between"/>
      </c:valAx>
      <c:spPr>
        <a:noFill/>
        <a:ln w="17257">
          <a:noFill/>
        </a:ln>
      </c:spPr>
    </c:plotArea>
    <c:plotVisOnly val="1"/>
    <c:dispBlanksAs val="gap"/>
    <c:showDLblsOverMax val="0"/>
  </c:chart>
  <c:spPr>
    <a:noFill/>
    <a:ln>
      <a:noFill/>
    </a:ln>
  </c:spPr>
  <c:txPr>
    <a:bodyPr/>
    <a:lstStyle/>
    <a:p>
      <a:pPr>
        <a:defRPr lang="zh-CN" sz="815" b="1" i="0" u="none" strike="noStrike" baseline="0">
          <a:solidFill>
            <a:schemeClr val="tx1"/>
          </a:solidFill>
          <a:latin typeface="Calibri" panose="020F0502020204030204"/>
          <a:ea typeface="Calibri" panose="020F0502020204030204"/>
          <a:cs typeface="Calibri" panose="020F0502020204030204"/>
        </a:defRPr>
      </a:pPr>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42465753424658"/>
          <c:y val="0.430232558139535"/>
          <c:w val="0.948630136986301"/>
          <c:h val="0.186046511627907"/>
        </c:manualLayout>
      </c:layout>
      <c:barChart>
        <c:barDir val="col"/>
        <c:grouping val="stacked"/>
        <c:varyColors val="0"/>
        <c:ser>
          <c:idx val="0"/>
          <c:order val="0"/>
          <c:tx>
            <c:strRef>
              <c:f>Sheet1!$B$1</c:f>
              <c:strCache>
                <c:ptCount val="1"/>
                <c:pt idx="0">
                  <c:v/>
                </c:pt>
              </c:strCache>
            </c:strRef>
          </c:tx>
          <c:spPr>
            <a:solidFill>
              <a:srgbClr val="FE5817"/>
            </a:solidFill>
            <a:ln w="8628">
              <a:solidFill>
                <a:srgbClr val="FE5817"/>
              </a:solidFill>
              <a:prstDash val="solid"/>
            </a:ln>
          </c:spPr>
          <c:invertIfNegative val="0"/>
          <c:dLbls>
            <c:dLbl>
              <c:idx val="0"/>
              <c:layout>
                <c:manualLayout>
                  <c:x val="-0.0192486966526444"/>
                  <c:y val="-0.268575166249506"/>
                </c:manualLayout>
              </c:layout>
              <c:numFmt formatCode="General" sourceLinked="1"/>
              <c:spPr>
                <a:noFill/>
                <a:ln w="17257">
                  <a:noFill/>
                </a:ln>
                <a:effectLst/>
              </c:spPr>
              <c:txPr>
                <a:bodyPr rot="0" spcFirstLastPara="0" vertOverflow="ellipsis" vert="horz" wrap="square" lIns="38100" tIns="19050" rIns="38100" bIns="19050" anchor="ctr" anchorCtr="1"/>
                <a:lstStyle/>
                <a:p>
                  <a:pPr>
                    <a:defRPr lang="zh-CN" sz="950"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20104961497057"/>
                  <c:y val="-0.295502638292618"/>
                </c:manualLayout>
              </c:layout>
              <c:numFmt formatCode="General" sourceLinked="1"/>
              <c:spPr>
                <a:noFill/>
                <a:ln w="17257">
                  <a:noFill/>
                </a:ln>
                <a:effectLst/>
              </c:spPr>
              <c:txPr>
                <a:bodyPr rot="0" spcFirstLastPara="0" vertOverflow="ellipsis" vert="horz" wrap="square" lIns="38100" tIns="19050" rIns="38100" bIns="19050" anchor="ctr" anchorCtr="1"/>
                <a:lstStyle/>
                <a:p>
                  <a:pPr>
                    <a:defRPr lang="zh-CN" sz="950"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175365688072231"/>
                  <c:y val="-0.319982693071562"/>
                </c:manualLayout>
              </c:layout>
              <c:numFmt formatCode="General" sourceLinked="1"/>
              <c:spPr>
                <a:noFill/>
                <a:ln w="17257">
                  <a:noFill/>
                </a:ln>
                <a:effectLst/>
              </c:spPr>
              <c:txPr>
                <a:bodyPr rot="0" spcFirstLastPara="0" vertOverflow="ellipsis" vert="horz" wrap="square" lIns="38100" tIns="19050" rIns="38100" bIns="19050" anchor="ctr" anchorCtr="1"/>
                <a:lstStyle/>
                <a:p>
                  <a:pPr>
                    <a:defRPr lang="zh-CN" sz="950"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183928336516357"/>
                  <c:y val="-0.33528225813793"/>
                </c:manualLayout>
              </c:layout>
              <c:numFmt formatCode="General" sourceLinked="1"/>
              <c:spPr>
                <a:noFill/>
                <a:ln w="17257">
                  <a:noFill/>
                </a:ln>
                <a:effectLst/>
              </c:spPr>
              <c:txPr>
                <a:bodyPr rot="0" spcFirstLastPara="0" vertOverflow="ellipsis" vert="horz" wrap="square" lIns="38100" tIns="19050" rIns="38100" bIns="19050" anchor="ctr" anchorCtr="1"/>
                <a:lstStyle/>
                <a:p>
                  <a:pPr>
                    <a:defRPr lang="zh-CN" sz="950"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w="17257">
                <a:noFill/>
              </a:ln>
              <a:effectLst/>
            </c:spPr>
            <c:txPr>
              <a:bodyPr rot="0" spcFirstLastPara="0" vertOverflow="ellipsis" vert="horz" wrap="square" lIns="38100" tIns="19050" rIns="38100" bIns="19050" anchor="ctr" anchorCtr="1">
                <a:spAutoFit/>
              </a:bodyPr>
              <a:lstStyle/>
              <a:p>
                <a:pPr>
                  <a:defRPr lang="zh-CN" sz="950"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5</c:f>
              <c:numCache>
                <c:formatCode>General</c:formatCode>
                <c:ptCount val="4"/>
              </c:numCache>
            </c:numRef>
          </c:cat>
          <c:val>
            <c:numRef>
              <c:f>Sheet1!$B$2:$B$5</c:f>
              <c:numCache>
                <c:formatCode>#,##0.0;\!\-#,##0.0;0</c:formatCode>
                <c:ptCount val="4"/>
                <c:pt idx="0">
                  <c:v>1.30000000000015</c:v>
                </c:pt>
                <c:pt idx="1">
                  <c:v>2.10000000000024</c:v>
                </c:pt>
                <c:pt idx="2">
                  <c:v>3.00000000000034</c:v>
                </c:pt>
                <c:pt idx="3">
                  <c:v>3.80000000000043</c:v>
                </c:pt>
              </c:numCache>
            </c:numRef>
          </c:val>
        </c:ser>
        <c:dLbls>
          <c:showLegendKey val="0"/>
          <c:showVal val="0"/>
          <c:showCatName val="0"/>
          <c:showSerName val="0"/>
          <c:showPercent val="0"/>
          <c:showBubbleSize val="0"/>
        </c:dLbls>
        <c:gapWidth val="40"/>
        <c:overlap val="100"/>
        <c:axId val="154507920"/>
        <c:axId val="1"/>
      </c:barChart>
      <c:catAx>
        <c:axId val="154507920"/>
        <c:scaling>
          <c:orientation val="minMax"/>
        </c:scaling>
        <c:delete val="0"/>
        <c:axPos val="b"/>
        <c:numFmt formatCode="General" sourceLinked="1"/>
        <c:majorTickMark val="none"/>
        <c:minorTickMark val="none"/>
        <c:tickLblPos val="none"/>
        <c:spPr>
          <a:ln w="25885" cap="flat" cmpd="sng" algn="ctr">
            <a:solidFill>
              <a:srgbClr val="808080"/>
            </a:solidFill>
            <a:prstDash val="solid"/>
            <a:round/>
          </a:ln>
        </c:spPr>
        <c:txPr>
          <a:bodyPr rot="-60000000" spcFirstLastPara="0" vertOverflow="ellipsis" vert="horz" wrap="square" anchor="ctr" anchorCtr="1"/>
          <a:lstStyle/>
          <a:p>
            <a:pPr>
              <a:defRPr lang="zh-CN" sz="815" b="1" i="0" u="none" strike="noStrike" kern="1200" baseline="0">
                <a:solidFill>
                  <a:schemeClr val="tx1"/>
                </a:solidFill>
                <a:latin typeface="Calibri" panose="020F0502020204030204"/>
                <a:ea typeface="Calibri" panose="020F0502020204030204"/>
                <a:cs typeface="Calibri" panose="020F0502020204030204"/>
              </a:defRPr>
            </a:pPr>
          </a:p>
        </c:txPr>
        <c:crossAx val="1"/>
        <c:crossesAt val="0"/>
        <c:auto val="1"/>
        <c:lblAlgn val="ctr"/>
        <c:lblOffset val="100"/>
        <c:tickLblSkip val="1"/>
        <c:noMultiLvlLbl val="0"/>
      </c:catAx>
      <c:valAx>
        <c:axId val="1"/>
        <c:scaling>
          <c:orientation val="minMax"/>
          <c:max val="3.8"/>
          <c:min val="0"/>
        </c:scaling>
        <c:delete val="0"/>
        <c:axPos val="l"/>
        <c:numFmt formatCode="#,##0.0;\!\-#,##0.0;0" sourceLinked="1"/>
        <c:majorTickMark val="none"/>
        <c:minorTickMark val="none"/>
        <c:tickLblPos val="none"/>
        <c:spPr>
          <a:ln w="4314" cap="flat" cmpd="sng" algn="ctr">
            <a:noFill/>
            <a:prstDash val="solid"/>
            <a:round/>
          </a:ln>
        </c:spPr>
        <c:txPr>
          <a:bodyPr rot="-60000000" spcFirstLastPara="0" vertOverflow="ellipsis" vert="horz" wrap="square" anchor="ctr" anchorCtr="1"/>
          <a:lstStyle/>
          <a:p>
            <a:pPr>
              <a:defRPr lang="zh-CN" sz="815" b="1" i="0" u="none" strike="noStrike" kern="1200" baseline="0">
                <a:solidFill>
                  <a:schemeClr val="tx1"/>
                </a:solidFill>
                <a:latin typeface="Calibri" panose="020F0502020204030204"/>
                <a:ea typeface="Calibri" panose="020F0502020204030204"/>
                <a:cs typeface="Calibri" panose="020F0502020204030204"/>
              </a:defRPr>
            </a:pPr>
          </a:p>
        </c:txPr>
        <c:crossAx val="154507920"/>
        <c:crosses val="autoZero"/>
        <c:crossBetween val="between"/>
      </c:valAx>
      <c:spPr>
        <a:noFill/>
        <a:ln w="17257">
          <a:noFill/>
        </a:ln>
      </c:spPr>
    </c:plotArea>
    <c:plotVisOnly val="1"/>
    <c:dispBlanksAs val="gap"/>
    <c:showDLblsOverMax val="0"/>
  </c:chart>
  <c:spPr>
    <a:noFill/>
    <a:ln>
      <a:noFill/>
    </a:ln>
  </c:spPr>
  <c:txPr>
    <a:bodyPr/>
    <a:lstStyle/>
    <a:p>
      <a:pPr>
        <a:defRPr lang="zh-CN" sz="815" b="1" i="0" u="none" strike="noStrike" baseline="0">
          <a:solidFill>
            <a:schemeClr val="tx1"/>
          </a:solidFill>
          <a:latin typeface="Calibri" panose="020F0502020204030204"/>
          <a:ea typeface="Calibri" panose="020F0502020204030204"/>
          <a:cs typeface="Calibri" panose="020F0502020204030204"/>
        </a:defRPr>
      </a:pPr>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42465753424658"/>
          <c:y val="0.430232558139535"/>
          <c:w val="0.948630136986301"/>
          <c:h val="0.186046511627907"/>
        </c:manualLayout>
      </c:layout>
      <c:barChart>
        <c:barDir val="col"/>
        <c:grouping val="stacked"/>
        <c:varyColors val="0"/>
        <c:ser>
          <c:idx val="0"/>
          <c:order val="0"/>
          <c:tx>
            <c:strRef>
              <c:f>Sheet1!$B$1</c:f>
              <c:strCache>
                <c:ptCount val="1"/>
                <c:pt idx="0">
                  <c:v/>
                </c:pt>
              </c:strCache>
            </c:strRef>
          </c:tx>
          <c:spPr>
            <a:solidFill>
              <a:srgbClr val="FE5817"/>
            </a:solidFill>
            <a:ln w="8643">
              <a:solidFill>
                <a:srgbClr val="FFFFFF"/>
              </a:solidFill>
              <a:prstDash val="solid"/>
            </a:ln>
          </c:spPr>
          <c:invertIfNegative val="0"/>
          <c:dLbls>
            <c:dLbl>
              <c:idx val="0"/>
              <c:layout>
                <c:manualLayout>
                  <c:x val="-0.0191995555093463"/>
                  <c:y val="-0.268569682674429"/>
                </c:manualLayout>
              </c:layout>
              <c:numFmt formatCode="General" sourceLinked="1"/>
              <c:spPr>
                <a:noFill/>
                <a:ln w="17286">
                  <a:noFill/>
                </a:ln>
                <a:effectLst/>
              </c:spPr>
              <c:txPr>
                <a:bodyPr rot="0" spcFirstLastPara="0" vertOverflow="ellipsis" vert="horz" wrap="square" lIns="38100" tIns="19050" rIns="38100" bIns="19050" anchor="ctr" anchorCtr="1"/>
                <a:lstStyle/>
                <a:p>
                  <a:pPr>
                    <a:defRPr lang="zh-CN" sz="955"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200558219142137"/>
                  <c:y val="-0.295496579527165"/>
                </c:manualLayout>
              </c:layout>
              <c:numFmt formatCode="General" sourceLinked="1"/>
              <c:spPr>
                <a:noFill/>
                <a:ln w="17286">
                  <a:noFill/>
                </a:ln>
                <a:effectLst/>
              </c:spPr>
              <c:txPr>
                <a:bodyPr rot="0" spcFirstLastPara="0" vertOverflow="ellipsis" vert="horz" wrap="square" lIns="38100" tIns="19050" rIns="38100" bIns="19050" anchor="ctr" anchorCtr="1"/>
                <a:lstStyle/>
                <a:p>
                  <a:pPr>
                    <a:defRPr lang="zh-CN" sz="955"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174871220778784"/>
                  <c:y val="-0.319977038809162"/>
                </c:manualLayout>
              </c:layout>
              <c:numFmt formatCode="General" sourceLinked="1"/>
              <c:spPr>
                <a:noFill/>
                <a:ln w="17286">
                  <a:noFill/>
                </a:ln>
                <a:effectLst/>
              </c:spPr>
              <c:txPr>
                <a:bodyPr rot="0" spcFirstLastPara="0" vertOverflow="ellipsis" vert="horz" wrap="square" lIns="38100" tIns="19050" rIns="38100" bIns="19050" anchor="ctr" anchorCtr="1"/>
                <a:lstStyle/>
                <a:p>
                  <a:pPr>
                    <a:defRPr lang="zh-CN" sz="955"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183433884827456"/>
                  <c:y val="-0.33527723145682"/>
                </c:manualLayout>
              </c:layout>
              <c:numFmt formatCode="General" sourceLinked="1"/>
              <c:spPr>
                <a:noFill/>
                <a:ln w="17286">
                  <a:noFill/>
                </a:ln>
                <a:effectLst/>
              </c:spPr>
              <c:txPr>
                <a:bodyPr rot="0" spcFirstLastPara="0" vertOverflow="ellipsis" vert="horz" wrap="square" lIns="38100" tIns="19050" rIns="38100" bIns="19050" anchor="ctr" anchorCtr="1"/>
                <a:lstStyle/>
                <a:p>
                  <a:pPr>
                    <a:defRPr lang="zh-CN" sz="955"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w="17286">
                <a:noFill/>
              </a:ln>
              <a:effectLst/>
            </c:spPr>
            <c:txPr>
              <a:bodyPr rot="0" spcFirstLastPara="0" vertOverflow="ellipsis" vert="horz" wrap="square" lIns="38100" tIns="19050" rIns="38100" bIns="19050" anchor="ctr" anchorCtr="1">
                <a:spAutoFit/>
              </a:bodyPr>
              <a:lstStyle/>
              <a:p>
                <a:pPr>
                  <a:defRPr lang="zh-CN" sz="955" b="0" i="0" u="none" strike="noStrike" kern="1200" baseline="0">
                    <a:solidFill>
                      <a:schemeClr val="tx1"/>
                    </a:solidFill>
                    <a:latin typeface="Arial" panose="020B0604020202020204"/>
                    <a:ea typeface="Arial" panose="020B0604020202020204"/>
                    <a:cs typeface="Arial" panose="020B0604020202020204"/>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5</c:f>
              <c:numCache>
                <c:formatCode>General</c:formatCode>
                <c:ptCount val="4"/>
              </c:numCache>
            </c:numRef>
          </c:cat>
          <c:val>
            <c:numRef>
              <c:f>Sheet1!$B$2:$B$5</c:f>
              <c:numCache>
                <c:formatCode>#,##0.0;\!\-#,##0.0;0</c:formatCode>
                <c:ptCount val="4"/>
                <c:pt idx="0">
                  <c:v>1.30000000000015</c:v>
                </c:pt>
                <c:pt idx="1">
                  <c:v>2.10000000000024</c:v>
                </c:pt>
                <c:pt idx="2">
                  <c:v>3.00000000000034</c:v>
                </c:pt>
                <c:pt idx="3">
                  <c:v>3.80000000000043</c:v>
                </c:pt>
              </c:numCache>
            </c:numRef>
          </c:val>
        </c:ser>
        <c:dLbls>
          <c:showLegendKey val="0"/>
          <c:showVal val="0"/>
          <c:showCatName val="0"/>
          <c:showSerName val="0"/>
          <c:showPercent val="0"/>
          <c:showBubbleSize val="0"/>
        </c:dLbls>
        <c:gapWidth val="40"/>
        <c:overlap val="100"/>
        <c:axId val="159327936"/>
        <c:axId val="1"/>
      </c:barChart>
      <c:catAx>
        <c:axId val="159327936"/>
        <c:scaling>
          <c:orientation val="minMax"/>
        </c:scaling>
        <c:delete val="0"/>
        <c:axPos val="b"/>
        <c:numFmt formatCode="General" sourceLinked="1"/>
        <c:majorTickMark val="none"/>
        <c:minorTickMark val="none"/>
        <c:tickLblPos val="none"/>
        <c:spPr>
          <a:ln w="25929" cap="flat" cmpd="sng" algn="ctr">
            <a:solidFill>
              <a:srgbClr val="808080"/>
            </a:solidFill>
            <a:prstDash val="solid"/>
            <a:round/>
          </a:ln>
        </c:spPr>
        <c:txPr>
          <a:bodyPr rot="-60000000" spcFirstLastPara="0" vertOverflow="ellipsis" vert="horz" wrap="square" anchor="ctr" anchorCtr="1"/>
          <a:lstStyle/>
          <a:p>
            <a:pPr>
              <a:defRPr lang="zh-CN" sz="815" b="1" i="0" u="none" strike="noStrike" kern="1200" baseline="0">
                <a:solidFill>
                  <a:schemeClr val="tx1"/>
                </a:solidFill>
                <a:latin typeface="Calibri" panose="020F0502020204030204"/>
                <a:ea typeface="Calibri" panose="020F0502020204030204"/>
                <a:cs typeface="Calibri" panose="020F0502020204030204"/>
              </a:defRPr>
            </a:pPr>
          </a:p>
        </c:txPr>
        <c:crossAx val="1"/>
        <c:crossesAt val="0"/>
        <c:auto val="1"/>
        <c:lblAlgn val="ctr"/>
        <c:lblOffset val="100"/>
        <c:tickLblSkip val="1"/>
        <c:noMultiLvlLbl val="0"/>
      </c:catAx>
      <c:valAx>
        <c:axId val="1"/>
        <c:scaling>
          <c:orientation val="minMax"/>
          <c:max val="3.8"/>
          <c:min val="0"/>
        </c:scaling>
        <c:delete val="0"/>
        <c:axPos val="l"/>
        <c:numFmt formatCode="#,##0.0;\!\-#,##0.0;0" sourceLinked="1"/>
        <c:majorTickMark val="none"/>
        <c:minorTickMark val="none"/>
        <c:tickLblPos val="none"/>
        <c:spPr>
          <a:ln w="4322" cap="flat" cmpd="sng" algn="ctr">
            <a:noFill/>
            <a:prstDash val="solid"/>
            <a:round/>
          </a:ln>
        </c:spPr>
        <c:txPr>
          <a:bodyPr rot="-60000000" spcFirstLastPara="0" vertOverflow="ellipsis" vert="horz" wrap="square" anchor="ctr" anchorCtr="1"/>
          <a:lstStyle/>
          <a:p>
            <a:pPr>
              <a:defRPr lang="zh-CN" sz="815" b="1" i="0" u="none" strike="noStrike" kern="1200" baseline="0">
                <a:solidFill>
                  <a:schemeClr val="tx1"/>
                </a:solidFill>
                <a:latin typeface="Calibri" panose="020F0502020204030204"/>
                <a:ea typeface="Calibri" panose="020F0502020204030204"/>
                <a:cs typeface="Calibri" panose="020F0502020204030204"/>
              </a:defRPr>
            </a:pPr>
          </a:p>
        </c:txPr>
        <c:crossAx val="159327936"/>
        <c:crosses val="autoZero"/>
        <c:crossBetween val="between"/>
      </c:valAx>
      <c:spPr>
        <a:noFill/>
        <a:ln w="17286">
          <a:noFill/>
        </a:ln>
      </c:spPr>
    </c:plotArea>
    <c:plotVisOnly val="1"/>
    <c:dispBlanksAs val="gap"/>
    <c:showDLblsOverMax val="0"/>
  </c:chart>
  <c:spPr>
    <a:noFill/>
    <a:ln>
      <a:noFill/>
    </a:ln>
  </c:spPr>
  <c:txPr>
    <a:bodyPr/>
    <a:lstStyle/>
    <a:p>
      <a:pPr>
        <a:defRPr lang="zh-CN" sz="815" b="1" i="0" u="none" strike="noStrike" baseline="0">
          <a:solidFill>
            <a:schemeClr val="tx1"/>
          </a:solidFill>
          <a:latin typeface="Calibri" panose="020F0502020204030204"/>
          <a:ea typeface="Calibri" panose="020F0502020204030204"/>
          <a:cs typeface="Calibri" panose="020F0502020204030204"/>
        </a:defRPr>
      </a:pPr>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347341576207"/>
          <c:y val="0.0270320733480704"/>
          <c:w val="0.576714027369268"/>
          <c:h val="0.862750295431845"/>
        </c:manualLayout>
      </c:layout>
      <c:barChart>
        <c:barDir val="col"/>
        <c:grouping val="percentStacked"/>
        <c:varyColors val="0"/>
        <c:ser>
          <c:idx val="0"/>
          <c:order val="0"/>
          <c:tx>
            <c:strRef>
              <c:f>Sheet1!$B$1</c:f>
              <c:strCache>
                <c:ptCount val="1"/>
                <c:pt idx="0">
                  <c:v>其他</c:v>
                </c:pt>
              </c:strCache>
            </c:strRef>
          </c:tx>
          <c:invertIfNegative val="0"/>
          <c:dLbls>
            <c:spPr>
              <a:noFill/>
              <a:ln>
                <a:noFill/>
              </a:ln>
              <a:effectLst/>
            </c:spPr>
            <c:txPr>
              <a:bodyPr rot="0" spcFirstLastPara="0" vertOverflow="ellipsis" vert="horz" wrap="square" lIns="38100" tIns="19050" rIns="38100" bIns="19050" anchor="ctr" anchorCtr="1"/>
              <a:lstStyle/>
              <a:p>
                <a:pPr>
                  <a:defRPr lang="zh-CN" sz="1600" b="0" i="0" u="none" strike="noStrike" kern="1200" baseline="0">
                    <a:solidFill>
                      <a:schemeClr val="tx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5</c:f>
              <c:numCache>
                <c:formatCode>General</c:formatCode>
                <c:ptCount val="4"/>
                <c:pt idx="0">
                  <c:v>2009</c:v>
                </c:pt>
                <c:pt idx="1">
                  <c:v>2010</c:v>
                </c:pt>
                <c:pt idx="2">
                  <c:v>2011</c:v>
                </c:pt>
                <c:pt idx="3">
                  <c:v>2012</c:v>
                </c:pt>
              </c:numCache>
            </c:numRef>
          </c:cat>
          <c:val>
            <c:numRef>
              <c:f>Sheet1!$B$2:$B$5</c:f>
              <c:numCache>
                <c:formatCode>0.0%</c:formatCode>
                <c:ptCount val="4"/>
                <c:pt idx="0">
                  <c:v>0.265501194818262</c:v>
                </c:pt>
                <c:pt idx="1">
                  <c:v>0.269331654600776</c:v>
                </c:pt>
                <c:pt idx="2">
                  <c:v>0.276282107864772</c:v>
                </c:pt>
                <c:pt idx="3">
                  <c:v>0.282143391707828</c:v>
                </c:pt>
              </c:numCache>
            </c:numRef>
          </c:val>
        </c:ser>
        <c:ser>
          <c:idx val="1"/>
          <c:order val="1"/>
          <c:tx>
            <c:strRef>
              <c:f>Sheet1!$C$1</c:f>
              <c:strCache>
                <c:ptCount val="1"/>
                <c:pt idx="0">
                  <c:v>xx</c:v>
                </c:pt>
              </c:strCache>
            </c:strRef>
          </c:tx>
          <c:invertIfNegative val="0"/>
          <c:dLbls>
            <c:spPr>
              <a:noFill/>
              <a:ln>
                <a:noFill/>
              </a:ln>
              <a:effectLst/>
            </c:spPr>
            <c:txPr>
              <a:bodyPr rot="0" spcFirstLastPara="0" vertOverflow="ellipsis" vert="horz" wrap="square" lIns="38100" tIns="19050" rIns="38100" bIns="19050" anchor="ctr" anchorCtr="1"/>
              <a:lstStyle/>
              <a:p>
                <a:pPr>
                  <a:defRPr lang="zh-CN" sz="1600" b="0" i="0" u="none" strike="noStrike" kern="1200" baseline="0">
                    <a:solidFill>
                      <a:schemeClr val="bg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5</c:f>
              <c:numCache>
                <c:formatCode>General</c:formatCode>
                <c:ptCount val="4"/>
                <c:pt idx="0">
                  <c:v>2009</c:v>
                </c:pt>
                <c:pt idx="1">
                  <c:v>2010</c:v>
                </c:pt>
                <c:pt idx="2">
                  <c:v>2011</c:v>
                </c:pt>
                <c:pt idx="3">
                  <c:v>2012</c:v>
                </c:pt>
              </c:numCache>
            </c:numRef>
          </c:cat>
          <c:val>
            <c:numRef>
              <c:f>Sheet1!$C$2:$C$5</c:f>
              <c:numCache>
                <c:formatCode>0.0%</c:formatCode>
                <c:ptCount val="4"/>
                <c:pt idx="0">
                  <c:v>0.0714375550245252</c:v>
                </c:pt>
                <c:pt idx="1">
                  <c:v>0.0823628160738642</c:v>
                </c:pt>
                <c:pt idx="2">
                  <c:v>0.0880925059581605</c:v>
                </c:pt>
                <c:pt idx="3">
                  <c:v>0.0924262834904954</c:v>
                </c:pt>
              </c:numCache>
            </c:numRef>
          </c:val>
        </c:ser>
        <c:ser>
          <c:idx val="2"/>
          <c:order val="2"/>
          <c:tx>
            <c:strRef>
              <c:f>Sheet1!$D$1</c:f>
              <c:strCache>
                <c:ptCount val="1"/>
                <c:pt idx="0">
                  <c:v>xx2</c:v>
                </c:pt>
              </c:strCache>
            </c:strRef>
          </c:tx>
          <c:spPr>
            <a:solidFill>
              <a:srgbClr val="FF976D"/>
            </a:solidFill>
          </c:spPr>
          <c:invertIfNegative val="0"/>
          <c:dLbls>
            <c:spPr>
              <a:noFill/>
              <a:ln>
                <a:noFill/>
              </a:ln>
              <a:effectLst/>
            </c:spPr>
            <c:txPr>
              <a:bodyPr rot="0" spcFirstLastPara="0" vertOverflow="ellipsis" vert="horz" wrap="square" lIns="38100" tIns="19050" rIns="38100" bIns="19050" anchor="ctr" anchorCtr="1"/>
              <a:lstStyle/>
              <a:p>
                <a:pPr>
                  <a:defRPr lang="zh-CN" sz="1600" b="0" i="0" u="none" strike="noStrike" kern="1200" baseline="0">
                    <a:solidFill>
                      <a:schemeClr val="tx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5</c:f>
              <c:numCache>
                <c:formatCode>General</c:formatCode>
                <c:ptCount val="4"/>
                <c:pt idx="0">
                  <c:v>2009</c:v>
                </c:pt>
                <c:pt idx="1">
                  <c:v>2010</c:v>
                </c:pt>
                <c:pt idx="2">
                  <c:v>2011</c:v>
                </c:pt>
                <c:pt idx="3">
                  <c:v>2012</c:v>
                </c:pt>
              </c:numCache>
            </c:numRef>
          </c:cat>
          <c:val>
            <c:numRef>
              <c:f>Sheet1!$D$2:$D$5</c:f>
              <c:numCache>
                <c:formatCode>0.0%</c:formatCode>
                <c:ptCount val="4"/>
                <c:pt idx="0">
                  <c:v>0.14866054584329</c:v>
                </c:pt>
                <c:pt idx="1">
                  <c:v>0.156331969363131</c:v>
                </c:pt>
                <c:pt idx="2">
                  <c:v>0.162238502957013</c:v>
                </c:pt>
                <c:pt idx="3">
                  <c:v>0.176096392755576</c:v>
                </c:pt>
              </c:numCache>
            </c:numRef>
          </c:val>
        </c:ser>
        <c:ser>
          <c:idx val="3"/>
          <c:order val="3"/>
          <c:tx>
            <c:strRef>
              <c:f>Sheet1!$E$1</c:f>
              <c:strCache>
                <c:ptCount val="1"/>
                <c:pt idx="0">
                  <c:v>xx3</c:v>
                </c:pt>
              </c:strCache>
            </c:strRef>
          </c:tx>
          <c:invertIfNegative val="0"/>
          <c:dPt>
            <c:idx val="0"/>
            <c:invertIfNegative val="0"/>
            <c:bubble3D val="0"/>
            <c:spPr>
              <a:solidFill>
                <a:srgbClr val="FE5817"/>
              </a:solidFill>
            </c:spPr>
          </c:dPt>
          <c:dPt>
            <c:idx val="1"/>
            <c:invertIfNegative val="0"/>
            <c:bubble3D val="0"/>
            <c:spPr>
              <a:solidFill>
                <a:srgbClr val="FE5817"/>
              </a:solidFill>
            </c:spPr>
          </c:dPt>
          <c:dPt>
            <c:idx val="2"/>
            <c:invertIfNegative val="0"/>
            <c:bubble3D val="0"/>
            <c:spPr>
              <a:solidFill>
                <a:srgbClr val="FE5817"/>
              </a:solidFill>
            </c:spPr>
          </c:dPt>
          <c:dPt>
            <c:idx val="3"/>
            <c:invertIfNegative val="0"/>
            <c:bubble3D val="0"/>
            <c:spPr>
              <a:solidFill>
                <a:srgbClr val="FE5817"/>
              </a:solidFill>
            </c:spPr>
          </c:dPt>
          <c:dLbls>
            <c:spPr>
              <a:noFill/>
              <a:ln>
                <a:noFill/>
              </a:ln>
              <a:effectLst/>
            </c:spPr>
            <c:txPr>
              <a:bodyPr rot="0" spcFirstLastPara="0" vertOverflow="ellipsis" vert="horz" wrap="square" lIns="38100" tIns="19050" rIns="38100" bIns="19050" anchor="ctr" anchorCtr="1"/>
              <a:lstStyle/>
              <a:p>
                <a:pPr>
                  <a:defRPr lang="zh-CN" sz="1600" b="0" i="0" u="none" strike="noStrike" kern="1200" baseline="0">
                    <a:solidFill>
                      <a:schemeClr val="bg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A$2:$A$5</c:f>
              <c:numCache>
                <c:formatCode>General</c:formatCode>
                <c:ptCount val="4"/>
                <c:pt idx="0">
                  <c:v>2009</c:v>
                </c:pt>
                <c:pt idx="1">
                  <c:v>2010</c:v>
                </c:pt>
                <c:pt idx="2">
                  <c:v>2011</c:v>
                </c:pt>
                <c:pt idx="3">
                  <c:v>2012</c:v>
                </c:pt>
              </c:numCache>
            </c:numRef>
          </c:cat>
          <c:val>
            <c:numRef>
              <c:f>Sheet1!$E$2:$E$5</c:f>
              <c:numCache>
                <c:formatCode>0.0%</c:formatCode>
                <c:ptCount val="4"/>
                <c:pt idx="0">
                  <c:v>0.514400704313923</c:v>
                </c:pt>
                <c:pt idx="1">
                  <c:v>0.491973559962228</c:v>
                </c:pt>
                <c:pt idx="2">
                  <c:v>0.473386883220055</c:v>
                </c:pt>
                <c:pt idx="3">
                  <c:v>0.449333932046101</c:v>
                </c:pt>
              </c:numCache>
            </c:numRef>
          </c:val>
        </c:ser>
        <c:dLbls>
          <c:showLegendKey val="0"/>
          <c:showVal val="0"/>
          <c:showCatName val="0"/>
          <c:showSerName val="0"/>
          <c:showPercent val="0"/>
          <c:showBubbleSize val="0"/>
        </c:dLbls>
        <c:gapWidth val="60"/>
        <c:overlap val="100"/>
        <c:axId val="69801088"/>
        <c:axId val="69802624"/>
      </c:barChart>
      <c:catAx>
        <c:axId val="69801088"/>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1400" b="1" i="0" u="none" strike="noStrike" kern="1200" baseline="0">
                <a:solidFill>
                  <a:schemeClr val="tx1"/>
                </a:solidFill>
                <a:latin typeface="+mn-lt"/>
                <a:ea typeface="+mn-ea"/>
                <a:cs typeface="+mn-cs"/>
              </a:defRPr>
            </a:pPr>
          </a:p>
        </c:txPr>
        <c:crossAx val="69802624"/>
        <c:crosses val="autoZero"/>
        <c:auto val="1"/>
        <c:lblAlgn val="ctr"/>
        <c:lblOffset val="100"/>
        <c:noMultiLvlLbl val="0"/>
      </c:catAx>
      <c:valAx>
        <c:axId val="69802624"/>
        <c:scaling>
          <c:orientation val="minMax"/>
        </c:scaling>
        <c:delete val="0"/>
        <c:axPos val="l"/>
        <c:numFmt formatCode="0%" sourceLinked="1"/>
        <c:majorTickMark val="out"/>
        <c:minorTickMark val="none"/>
        <c:tickLblPos val="nextTo"/>
        <c:txPr>
          <a:bodyPr rot="-60000000" spcFirstLastPara="0" vertOverflow="ellipsis" vert="horz" wrap="square" anchor="ctr" anchorCtr="1"/>
          <a:lstStyle/>
          <a:p>
            <a:pPr>
              <a:defRPr lang="zh-CN" sz="1600" b="0" i="0" u="none" strike="noStrike" kern="1200" baseline="0">
                <a:solidFill>
                  <a:schemeClr val="tx1"/>
                </a:solidFill>
                <a:latin typeface="+mn-lt"/>
                <a:ea typeface="+mn-ea"/>
                <a:cs typeface="+mn-cs"/>
              </a:defRPr>
            </a:pPr>
          </a:p>
        </c:txPr>
        <c:crossAx val="69801088"/>
        <c:crosses val="autoZero"/>
        <c:crossBetween val="between"/>
        <c:majorUnit val="0.2"/>
      </c:valAx>
    </c:plotArea>
    <c:legend>
      <c:legendPos val="r"/>
      <c:layout>
        <c:manualLayout>
          <c:xMode val="edge"/>
          <c:yMode val="edge"/>
          <c:x val="0.699989815327523"/>
          <c:y val="0.0196437765930338"/>
          <c:w val="0.17316334262464"/>
          <c:h val="0.343699287772289"/>
        </c:manualLayout>
      </c:layout>
      <c:overlay val="0"/>
      <c:txPr>
        <a:bodyPr rot="0" spcFirstLastPara="0" vertOverflow="ellipsis" vert="horz" wrap="square" anchor="ctr" anchorCtr="1"/>
        <a:lstStyle/>
        <a:p>
          <a:pPr>
            <a:defRPr lang="zh-CN" sz="1200" b="0" i="0" u="none" strike="noStrike" kern="1200" baseline="0">
              <a:solidFill>
                <a:schemeClr val="tx1"/>
              </a:solidFill>
              <a:latin typeface="+mn-lt"/>
              <a:ea typeface="+mn-ea"/>
              <a:cs typeface="+mn-cs"/>
            </a:defRPr>
          </a:pPr>
        </a:p>
      </c:txPr>
    </c:legend>
    <c:plotVisOnly val="1"/>
    <c:dispBlanksAs val="gap"/>
    <c:showDLblsOverMax val="0"/>
  </c:chart>
  <c:txPr>
    <a:bodyPr/>
    <a:lstStyle/>
    <a:p>
      <a:pPr>
        <a:defRPr lang="zh-CN" sz="1800"/>
      </a:pPr>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92967676407877"/>
          <c:y val="0"/>
          <c:w val="0.955841770594328"/>
          <c:h val="1"/>
        </c:manualLayout>
      </c:layout>
      <c:barChart>
        <c:barDir val="bar"/>
        <c:grouping val="stacked"/>
        <c:varyColors val="0"/>
        <c:ser>
          <c:idx val="0"/>
          <c:order val="0"/>
          <c:spPr>
            <a:solidFill>
              <a:schemeClr val="accent4">
                <a:lumMod val="40000"/>
                <a:lumOff val="60000"/>
              </a:schemeClr>
            </a:solidFill>
            <a:ln>
              <a:noFill/>
            </a:ln>
          </c:spPr>
          <c:invertIfNegative val="0"/>
          <c:dLbls>
            <c:delete val="1"/>
          </c:dLbls>
          <c:val>
            <c:numRef>
              <c:f>Sheet1!$A$1</c:f>
              <c:numCache>
                <c:formatCode>General</c:formatCode>
                <c:ptCount val="1"/>
                <c:pt idx="0">
                  <c:v>30</c:v>
                </c:pt>
              </c:numCache>
            </c:numRef>
          </c:val>
        </c:ser>
        <c:ser>
          <c:idx val="1"/>
          <c:order val="1"/>
          <c:spPr>
            <a:solidFill>
              <a:schemeClr val="accent3">
                <a:lumMod val="20000"/>
                <a:lumOff val="80000"/>
              </a:schemeClr>
            </a:solidFill>
            <a:ln>
              <a:noFill/>
            </a:ln>
          </c:spPr>
          <c:invertIfNegative val="0"/>
          <c:dLbls>
            <c:dLbl>
              <c:idx val="0"/>
              <c:layout/>
              <c:tx>
                <c:rich>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mn-ea"/>
                        <a:cs typeface="+mn-cs"/>
                        <a:sym typeface="+mn-lt"/>
                      </a:defRPr>
                    </a:pPr>
                    <a:r>
                      <a:rPr lang="en-US" altLang="zh-CN" dirty="0" smtClean="0"/>
                      <a:t>XX</a:t>
                    </a:r>
                    <a:endParaRPr lang="en-US" altLang="zh-CN" dirty="0"/>
                  </a:p>
                </c:rich>
              </c:tx>
              <c:numFmt formatCode="#,##0;&quot;-&quot;#,##0" sourceLinked="0"/>
              <c:spPr>
                <a:noFill/>
                <a:ln>
                  <a:noFill/>
                </a:ln>
                <a:effectLst/>
              </c:spPr>
              <c:txPr>
                <a:bodyPr rot="0" spcFirstLastPara="0" vertOverflow="ellipsis" vert="horz" wrap="none" lIns="38100" tIns="19050" rIns="38100" bIns="19050" anchor="ctr" anchorCtr="1"/>
                <a:lstStyle/>
                <a:p>
                  <a:pPr>
                    <a:defRPr lang="zh-CN" sz="1400" b="0" i="0" u="none" strike="noStrike" kern="1200" baseline="0">
                      <a:solidFill>
                        <a:schemeClr val="tx1"/>
                      </a:solidFill>
                      <a:latin typeface="+mn-lt"/>
                      <a:ea typeface="+mn-ea"/>
                      <a:cs typeface="+mn-cs"/>
                      <a:sym typeface="+mn-lt"/>
                    </a:defRPr>
                  </a:pPr>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1400" b="0" i="0" u="none" strike="noStrike" kern="1200" baseline="0">
                    <a:solidFill>
                      <a:schemeClr val="tx1"/>
                    </a:solidFill>
                    <a:latin typeface="+mn-lt"/>
                    <a:ea typeface="+mn-ea"/>
                    <a:cs typeface="+mn-cs"/>
                  </a:defRPr>
                </a:pPr>
              </a:p>
            </c:txPr>
            <c:dLblPos val="ctr"/>
            <c:showLegendKey val="0"/>
            <c:showVal val="0"/>
            <c:showCatName val="0"/>
            <c:showSerName val="0"/>
            <c:showPercent val="0"/>
            <c:showBubbleSize val="0"/>
            <c:showLeaderLines val="0"/>
            <c:extLst>
              <c:ext xmlns:c15="http://schemas.microsoft.com/office/drawing/2012/chart" uri="{CE6537A1-D6FC-4f65-9D91-7224C49458BB}">
                <c15:layout/>
                <c15:showLeaderLines val="0"/>
                <c15:leaderLines/>
              </c:ext>
            </c:extLst>
          </c:dLbls>
          <c:val>
            <c:numRef>
              <c:f>Sheet1!$A$2</c:f>
              <c:numCache>
                <c:formatCode>General</c:formatCode>
                <c:ptCount val="1"/>
                <c:pt idx="0">
                  <c:v>120</c:v>
                </c:pt>
              </c:numCache>
            </c:numRef>
          </c:val>
        </c:ser>
        <c:ser>
          <c:idx val="2"/>
          <c:order val="2"/>
          <c:spPr>
            <a:solidFill>
              <a:schemeClr val="accent1"/>
            </a:solidFill>
            <a:ln>
              <a:noFill/>
            </a:ln>
          </c:spPr>
          <c:invertIfNegative val="0"/>
          <c:dLbls>
            <c:delete val="1"/>
          </c:dLbls>
          <c:val>
            <c:numRef>
              <c:f>Sheet1!$A$3</c:f>
              <c:numCache>
                <c:formatCode>General</c:formatCode>
                <c:ptCount val="1"/>
                <c:pt idx="0">
                  <c:v>90</c:v>
                </c:pt>
              </c:numCache>
            </c:numRef>
          </c:val>
        </c:ser>
        <c:dLbls>
          <c:showLegendKey val="0"/>
          <c:showVal val="0"/>
          <c:showCatName val="0"/>
          <c:showSerName val="0"/>
          <c:showPercent val="0"/>
          <c:showBubbleSize val="0"/>
        </c:dLbls>
        <c:gapWidth val="80"/>
        <c:overlap val="100"/>
        <c:axId val="33106944"/>
        <c:axId val="36883072"/>
      </c:barChart>
      <c:catAx>
        <c:axId val="33106944"/>
        <c:scaling>
          <c:orientation val="maxMin"/>
        </c:scaling>
        <c:delete val="0"/>
        <c:axPos val="l"/>
        <c:majorGridlines>
          <c:spPr>
            <a:ln w="9525" cap="flat" cmpd="sng" algn="ctr">
              <a:noFill/>
              <a:prstDash val="solid"/>
              <a:round/>
            </a:ln>
          </c:spPr>
        </c:majorGridlines>
        <c:majorTickMark val="none"/>
        <c:minorTickMark val="none"/>
        <c:tickLblPos val="none"/>
        <c:spPr>
          <a:ln w="9525" cap="flat" cmpd="sng" algn="ctr">
            <a:solidFill>
              <a:srgbClr val="7F7F7F"/>
            </a:solidFill>
            <a:prstDash val="solid"/>
            <a:round/>
          </a:ln>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36883072"/>
        <c:crosses val="min"/>
        <c:auto val="0"/>
        <c:lblAlgn val="ctr"/>
        <c:lblOffset val="100"/>
        <c:noMultiLvlLbl val="0"/>
      </c:catAx>
      <c:valAx>
        <c:axId val="36883072"/>
        <c:scaling>
          <c:orientation val="minMax"/>
          <c:max val="240"/>
          <c:min val="0"/>
        </c:scaling>
        <c:delete val="1"/>
        <c:axPos val="t"/>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33106944"/>
        <c:crosses val="min"/>
        <c:crossBetween val="between"/>
      </c:valAx>
    </c:plotArea>
    <c:plotVisOnly val="0"/>
    <c:dispBlanksAs val="gap"/>
    <c:showDLblsOverMax val="1"/>
  </c:chart>
  <c:txPr>
    <a:bodyPr/>
    <a:lstStyle/>
    <a:p>
      <a:pPr>
        <a:defRPr lang="zh-CN"/>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a:ln>
              <a:noFill/>
            </a:ln>
          </c:spPr>
          <c:explosion val="0"/>
          <c:dPt>
            <c:idx val="0"/>
            <c:bubble3D val="0"/>
            <c:spPr>
              <a:solidFill>
                <a:schemeClr val="accent3"/>
              </a:solidFill>
              <a:ln w="19050">
                <a:noFill/>
              </a:ln>
              <a:effectLst/>
            </c:spPr>
          </c:dPt>
          <c:dPt>
            <c:idx val="1"/>
            <c:bubble3D val="0"/>
            <c:spPr>
              <a:solidFill>
                <a:schemeClr val="tx1">
                  <a:lumMod val="65000"/>
                  <a:lumOff val="35000"/>
                </a:schemeClr>
              </a:solidFill>
              <a:ln w="19050">
                <a:noFill/>
              </a:ln>
              <a:effectLst/>
            </c:spPr>
          </c:dPt>
          <c:dLbls>
            <c:delete val="1"/>
          </c:dLbls>
          <c:cat>
            <c:strRef>
              <c:f>Sheet1!$A$2:$A$3</c:f>
              <c:strCache>
                <c:ptCount val="2"/>
                <c:pt idx="0">
                  <c:v>第一季度</c:v>
                </c:pt>
                <c:pt idx="1">
                  <c:v>第二季度</c:v>
                </c:pt>
              </c:strCache>
            </c:strRef>
          </c:cat>
          <c:val>
            <c:numRef>
              <c:f>Sheet1!$B$2:$B$3</c:f>
              <c:numCache>
                <c:formatCode>General</c:formatCode>
                <c:ptCount val="2"/>
                <c:pt idx="0">
                  <c:v>0.85</c:v>
                </c:pt>
                <c:pt idx="1">
                  <c:v>0.15</c:v>
                </c:pt>
              </c:numCache>
            </c:numRef>
          </c:val>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a:lstStyle/>
          <a:p>
            <a:pPr>
              <a:defRPr lang="zh-CN" sz="1200" b="1" i="0" u="none" strike="noStrike" kern="1200" baseline="0">
                <a:solidFill>
                  <a:schemeClr val="tx1"/>
                </a:solidFill>
                <a:latin typeface="华文楷体" panose="02010600040101010101" charset="-122"/>
                <a:ea typeface="华文楷体" panose="02010600040101010101" charset="-122"/>
                <a:cs typeface="+mn-cs"/>
              </a:defRPr>
            </a:pPr>
            <a:r>
              <a:rPr lang="zh-CN" altLang="en-US" sz="1200" dirty="0" smtClean="0">
                <a:latin typeface="华文楷体" panose="02010600040101010101" charset="-122"/>
                <a:ea typeface="华文楷体" panose="02010600040101010101" charset="-122"/>
              </a:rPr>
              <a:t>非人力科目占比</a:t>
            </a:r>
            <a:endParaRPr lang="zh-CN" sz="1200" dirty="0">
              <a:latin typeface="华文楷体" panose="02010600040101010101" charset="-122"/>
              <a:ea typeface="华文楷体" panose="02010600040101010101" charset="-122"/>
            </a:endParaRPr>
          </a:p>
        </c:rich>
      </c:tx>
      <c:layout/>
      <c:overlay val="0"/>
    </c:title>
    <c:autoTitleDeleted val="0"/>
    <c:plotArea>
      <c:layout/>
      <c:pieChart>
        <c:varyColors val="1"/>
        <c:ser>
          <c:idx val="0"/>
          <c:order val="0"/>
          <c:explosion val="25"/>
          <c:dPt>
            <c:idx val="0"/>
            <c:bubble3D val="0"/>
          </c:dPt>
          <c:dPt>
            <c:idx val="1"/>
            <c:bubble3D val="0"/>
          </c:dPt>
          <c:dPt>
            <c:idx val="2"/>
            <c:bubble3D val="0"/>
          </c:dPt>
          <c:dPt>
            <c:idx val="3"/>
            <c:bubble3D val="0"/>
          </c:dPt>
          <c:dPt>
            <c:idx val="4"/>
            <c:bubble3D val="0"/>
          </c:dPt>
          <c:dLbls>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微软雅黑" panose="020B0503020204020204" charset="-122"/>
                    <a:ea typeface="微软雅黑" panose="020B0503020204020204" charset="-122"/>
                    <a:cs typeface="+mn-cs"/>
                  </a:defRPr>
                </a:pPr>
              </a:p>
            </c:txPr>
            <c:dLblPos val="bestFit"/>
            <c:showLegendKey val="0"/>
            <c:showVal val="0"/>
            <c:showCatName val="0"/>
            <c:showSerName val="0"/>
            <c:showPercent val="1"/>
            <c:showBubbleSize val="0"/>
            <c:showLeaderLines val="1"/>
            <c:extLst>
              <c:ext xmlns:c15="http://schemas.microsoft.com/office/drawing/2012/chart" uri="{CE6537A1-D6FC-4f65-9D91-7224C49458BB}">
                <c15:layout/>
                <c15:showLeaderLines val="1"/>
                <c15:leaderLines/>
              </c:ext>
            </c:extLst>
          </c:dLbls>
          <c:cat>
            <c:strRef>
              <c:f>Sheet12!$A$102:$A$106</c:f>
              <c:strCache>
                <c:ptCount val="5"/>
                <c:pt idx="0">
                  <c:v>业务宣传费</c:v>
                </c:pt>
                <c:pt idx="1">
                  <c:v>差旅费</c:v>
                </c:pt>
                <c:pt idx="2">
                  <c:v>加班交通费</c:v>
                </c:pt>
                <c:pt idx="3">
                  <c:v>咨询费</c:v>
                </c:pt>
                <c:pt idx="4">
                  <c:v>其他</c:v>
                </c:pt>
              </c:strCache>
            </c:strRef>
          </c:cat>
          <c:val>
            <c:numRef>
              <c:f>Sheet12!$B$102:$B$106</c:f>
              <c:numCache>
                <c:formatCode>General</c:formatCode>
                <c:ptCount val="5"/>
                <c:pt idx="0">
                  <c:v>612169.809056604</c:v>
                </c:pt>
                <c:pt idx="1">
                  <c:v>494846.145</c:v>
                </c:pt>
                <c:pt idx="2">
                  <c:v>229618.43</c:v>
                </c:pt>
                <c:pt idx="3">
                  <c:v>96333.01</c:v>
                </c:pt>
                <c:pt idx="4">
                  <c:v>96907.7466666667</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664932132607103"/>
          <c:y val="0.337778434356118"/>
          <c:w val="0.31244738213896"/>
          <c:h val="0.572247418416038"/>
        </c:manualLayout>
      </c:layout>
      <c:overlay val="0"/>
      <c:txPr>
        <a:bodyPr rot="0" spcFirstLastPara="0" vertOverflow="ellipsis" vert="horz" wrap="square" anchor="ctr" anchorCtr="1"/>
        <a:lstStyle/>
        <a:p>
          <a:pPr>
            <a:defRPr lang="zh-CN" sz="1000" b="0" i="0" u="none" strike="noStrike" kern="1200" baseline="0">
              <a:solidFill>
                <a:schemeClr val="tx1"/>
              </a:solidFill>
              <a:latin typeface="华文楷体" panose="02010600040101010101" charset="-122"/>
              <a:ea typeface="华文楷体" panose="02010600040101010101" charset="-122"/>
              <a:cs typeface="+mn-cs"/>
            </a:defRPr>
          </a:pPr>
        </a:p>
      </c:txPr>
    </c:legend>
    <c:plotVisOnly val="1"/>
    <c:dispBlanksAs val="gap"/>
    <c:showDLblsOverMax val="0"/>
  </c:chart>
  <c:txPr>
    <a:bodyPr/>
    <a:lstStyle/>
    <a:p>
      <a:pPr>
        <a:defRPr lang="zh-CN">
          <a:latin typeface="微软雅黑" panose="020B0503020204020204" charset="-122"/>
          <a:ea typeface="微软雅黑" panose="020B0503020204020204" charset="-122"/>
        </a:defRPr>
      </a:pPr>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400" b="1" i="0" u="none" strike="noStrike" kern="1200" spc="0" baseline="0">
                <a:solidFill>
                  <a:schemeClr val="tx1">
                    <a:lumMod val="65000"/>
                    <a:lumOff val="35000"/>
                  </a:schemeClr>
                </a:solidFill>
                <a:latin typeface="+mn-lt"/>
                <a:ea typeface="+mn-ea"/>
                <a:cs typeface="+mn-cs"/>
              </a:defRPr>
            </a:pPr>
            <a:r>
              <a:rPr lang="en-US" altLang="zh-CN" b="1"/>
              <a:t>8</a:t>
            </a:r>
            <a:r>
              <a:rPr lang="zh-CN" altLang="en-US" b="1"/>
              <a:t>月注册用户数</a:t>
            </a:r>
            <a:endParaRPr lang="zh-CN" altLang="en-US" b="1"/>
          </a:p>
        </c:rich>
      </c:tx>
      <c:layout/>
      <c:overlay val="0"/>
      <c:spPr>
        <a:noFill/>
        <a:ln>
          <a:noFill/>
        </a:ln>
        <a:effectLst/>
      </c:spPr>
    </c:title>
    <c:autoTitleDeleted val="0"/>
    <c:plotArea>
      <c:layout/>
      <c:barChart>
        <c:barDir val="col"/>
        <c:grouping val="clustered"/>
        <c:varyColors val="0"/>
        <c:ser>
          <c:idx val="0"/>
          <c:order val="0"/>
          <c:tx>
            <c:strRef>
              <c:f>Sheet3!$B$1</c:f>
              <c:strCache>
                <c:ptCount val="1"/>
                <c:pt idx="0">
                  <c:v>累计注册用户</c:v>
                </c:pt>
              </c:strCache>
            </c:strRef>
          </c:tx>
          <c:spPr>
            <a:solidFill>
              <a:srgbClr val="FE5817"/>
            </a:solidFill>
            <a:ln>
              <a:noFill/>
            </a:ln>
            <a:effectLst/>
          </c:spPr>
          <c:invertIfNegative val="0"/>
          <c:dLbls>
            <c:dLbl>
              <c:idx val="0"/>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4"/>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A$2:$A$6</c:f>
              <c:strCache>
                <c:ptCount val="5"/>
                <c:pt idx="0">
                  <c:v>8/1 - 8/7</c:v>
                </c:pt>
                <c:pt idx="1">
                  <c:v>8/8 - 8/14</c:v>
                </c:pt>
                <c:pt idx="2">
                  <c:v>8/15 - 8/21</c:v>
                </c:pt>
                <c:pt idx="3">
                  <c:v>8/22 - 8/28</c:v>
                </c:pt>
                <c:pt idx="4">
                  <c:v>8/29 - 9/4</c:v>
                </c:pt>
              </c:strCache>
            </c:strRef>
          </c:cat>
          <c:val>
            <c:numRef>
              <c:f>Sheet3!$B$2:$B$6</c:f>
              <c:numCache>
                <c:formatCode>#,##0_ </c:formatCode>
                <c:ptCount val="5"/>
                <c:pt idx="0">
                  <c:v>54285</c:v>
                </c:pt>
                <c:pt idx="1">
                  <c:v>62373</c:v>
                </c:pt>
                <c:pt idx="2">
                  <c:v>193743</c:v>
                </c:pt>
                <c:pt idx="3">
                  <c:v>204323</c:v>
                </c:pt>
                <c:pt idx="4">
                  <c:v>216101</c:v>
                </c:pt>
              </c:numCache>
            </c:numRef>
          </c:val>
        </c:ser>
        <c:ser>
          <c:idx val="1"/>
          <c:order val="1"/>
          <c:tx>
            <c:strRef>
              <c:f>Sheet3!$D$1</c:f>
              <c:strCache>
                <c:ptCount val="1"/>
                <c:pt idx="0">
                  <c:v>日均注册用户</c:v>
                </c:pt>
              </c:strCache>
            </c:strRef>
          </c:tx>
          <c:spPr>
            <a:solidFill>
              <a:srgbClr val="FFC3AB"/>
            </a:solidFill>
            <a:ln>
              <a:noFill/>
            </a:ln>
            <a:effectLst/>
          </c:spPr>
          <c:invertIfNegative val="0"/>
          <c:dLbls>
            <c:dLbl>
              <c:idx val="0"/>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4"/>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A$2:$A$6</c:f>
              <c:strCache>
                <c:ptCount val="5"/>
                <c:pt idx="0">
                  <c:v>8/1 - 8/7</c:v>
                </c:pt>
                <c:pt idx="1">
                  <c:v>8/8 - 8/14</c:v>
                </c:pt>
                <c:pt idx="2">
                  <c:v>8/15 - 8/21</c:v>
                </c:pt>
                <c:pt idx="3">
                  <c:v>8/22 - 8/28</c:v>
                </c:pt>
                <c:pt idx="4">
                  <c:v>8/29 - 9/4</c:v>
                </c:pt>
              </c:strCache>
            </c:strRef>
          </c:cat>
          <c:val>
            <c:numRef>
              <c:f>Sheet3!$D$2:$D$6</c:f>
              <c:numCache>
                <c:formatCode>#,##0_ </c:formatCode>
                <c:ptCount val="5"/>
                <c:pt idx="0">
                  <c:v>7755</c:v>
                </c:pt>
                <c:pt idx="1">
                  <c:v>8910.42857142857</c:v>
                </c:pt>
                <c:pt idx="2">
                  <c:v>27677.5714285714</c:v>
                </c:pt>
                <c:pt idx="3">
                  <c:v>29189</c:v>
                </c:pt>
                <c:pt idx="4">
                  <c:v>30871.5714285714</c:v>
                </c:pt>
              </c:numCache>
            </c:numRef>
          </c:val>
        </c:ser>
        <c:dLbls>
          <c:showLegendKey val="0"/>
          <c:showVal val="1"/>
          <c:showCatName val="0"/>
          <c:showSerName val="0"/>
          <c:showPercent val="0"/>
          <c:showBubbleSize val="0"/>
        </c:dLbls>
        <c:gapWidth val="219"/>
        <c:overlap val="-27"/>
        <c:axId val="467508152"/>
        <c:axId val="467504544"/>
      </c:barChart>
      <c:catAx>
        <c:axId val="46750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467504544"/>
        <c:crosses val="autoZero"/>
        <c:auto val="1"/>
        <c:lblAlgn val="ctr"/>
        <c:lblOffset val="100"/>
        <c:noMultiLvlLbl val="0"/>
      </c:catAx>
      <c:valAx>
        <c:axId val="467504544"/>
        <c:scaling>
          <c:orientation val="minMax"/>
          <c:max val="220000"/>
          <c:min val="7000"/>
        </c:scaling>
        <c:delete val="1"/>
        <c:axPos val="l"/>
        <c:numFmt formatCode="#,##0_ "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46750815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solidFill>
        <a:schemeClr val="accent1"/>
      </a:solidFill>
      <a:prstDash val="dash"/>
    </a:ln>
    <a:effectLst/>
  </c:spPr>
  <c:txPr>
    <a:bodyPr/>
    <a:lstStyle/>
    <a:p>
      <a:pPr>
        <a:defRPr lang="zh-CN"/>
      </a:pPr>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功能量!$G$1</c:f>
              <c:strCache>
                <c:ptCount val="1"/>
                <c:pt idx="0">
                  <c:v>点击次数</c:v>
                </c:pt>
              </c:strCache>
            </c:strRef>
          </c:tx>
          <c:spPr/>
          <c:explosion val="0"/>
          <c:dPt>
            <c:idx val="0"/>
            <c:bubble3D val="0"/>
            <c:spPr>
              <a:solidFill>
                <a:schemeClr val="accent1">
                  <a:shade val="50000"/>
                </a:schemeClr>
              </a:solidFill>
              <a:ln w="19050">
                <a:solidFill>
                  <a:schemeClr val="lt1"/>
                </a:solidFill>
              </a:ln>
              <a:effectLst/>
            </c:spPr>
          </c:dPt>
          <c:dPt>
            <c:idx val="1"/>
            <c:bubble3D val="0"/>
            <c:spPr>
              <a:solidFill>
                <a:schemeClr val="accent1">
                  <a:shade val="70000"/>
                </a:schemeClr>
              </a:solidFill>
              <a:ln w="19050">
                <a:solidFill>
                  <a:schemeClr val="lt1"/>
                </a:solidFill>
              </a:ln>
              <a:effectLst/>
            </c:spPr>
          </c:dPt>
          <c:dPt>
            <c:idx val="2"/>
            <c:bubble3D val="0"/>
            <c:spPr>
              <a:solidFill>
                <a:schemeClr val="accent1">
                  <a:shade val="90000"/>
                </a:schemeClr>
              </a:solidFill>
              <a:ln w="19050">
                <a:solidFill>
                  <a:schemeClr val="lt1"/>
                </a:solidFill>
              </a:ln>
              <a:effectLst/>
            </c:spPr>
          </c:dPt>
          <c:dPt>
            <c:idx val="3"/>
            <c:bubble3D val="0"/>
            <c:spPr>
              <a:solidFill>
                <a:schemeClr val="accent1">
                  <a:tint val="90000"/>
                </a:schemeClr>
              </a:solidFill>
              <a:ln w="19050">
                <a:solidFill>
                  <a:schemeClr val="lt1"/>
                </a:solidFill>
              </a:ln>
              <a:effectLst/>
            </c:spPr>
          </c:dPt>
          <c:dPt>
            <c:idx val="4"/>
            <c:bubble3D val="0"/>
            <c:spPr>
              <a:solidFill>
                <a:schemeClr val="accent1">
                  <a:tint val="70000"/>
                </a:schemeClr>
              </a:solidFill>
              <a:ln w="19050">
                <a:solidFill>
                  <a:schemeClr val="lt1"/>
                </a:solidFill>
              </a:ln>
              <a:effectLst/>
            </c:spPr>
          </c:dPt>
          <c:dPt>
            <c:idx val="5"/>
            <c:bubble3D val="0"/>
            <c:spPr>
              <a:solidFill>
                <a:schemeClr val="accent1">
                  <a:tint val="50000"/>
                </a:schemeClr>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lstStyle/>
              <a:p>
                <a:pPr>
                  <a:defRPr lang="zh-CN" sz="1050" b="0" i="0" u="none" strike="noStrike" kern="1200" baseline="0">
                    <a:solidFill>
                      <a:schemeClr val="tx1">
                        <a:lumMod val="75000"/>
                        <a:lumOff val="25000"/>
                      </a:schemeClr>
                    </a:solidFill>
                    <a:latin typeface="+mn-lt"/>
                    <a:ea typeface="+mn-ea"/>
                    <a:cs typeface="+mn-cs"/>
                  </a:defRPr>
                </a:pPr>
              </a:p>
            </c:txPr>
            <c:dLblPos val="inEnd"/>
            <c:showLegendKey val="0"/>
            <c:showVal val="1"/>
            <c:showCatName val="0"/>
            <c:showSerName val="0"/>
            <c:showPercent val="0"/>
            <c:showBubbleSize val="0"/>
            <c:showLeaderLines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功能量!$F$2:$F$7</c:f>
              <c:strCache>
                <c:ptCount val="6"/>
                <c:pt idx="0">
                  <c:v>交通出行</c:v>
                </c:pt>
                <c:pt idx="1">
                  <c:v>电子证件</c:v>
                </c:pt>
                <c:pt idx="2">
                  <c:v>医疗健康</c:v>
                </c:pt>
                <c:pt idx="3">
                  <c:v>政务服务</c:v>
                </c:pt>
                <c:pt idx="4">
                  <c:v>文化教育</c:v>
                </c:pt>
                <c:pt idx="5">
                  <c:v>其他</c:v>
                </c:pt>
              </c:strCache>
            </c:strRef>
          </c:cat>
          <c:val>
            <c:numRef>
              <c:f>功能量!$G$2:$G$7</c:f>
              <c:numCache>
                <c:formatCode>#,##0_ </c:formatCode>
                <c:ptCount val="6"/>
                <c:pt idx="0">
                  <c:v>27785</c:v>
                </c:pt>
                <c:pt idx="1">
                  <c:v>16454</c:v>
                </c:pt>
                <c:pt idx="2">
                  <c:v>15798</c:v>
                </c:pt>
                <c:pt idx="3">
                  <c:v>11302</c:v>
                </c:pt>
                <c:pt idx="4">
                  <c:v>10460</c:v>
                </c:pt>
                <c:pt idx="5">
                  <c:v>12205</c:v>
                </c:pt>
              </c:numCache>
            </c:numRef>
          </c:val>
        </c:ser>
        <c:dLbls>
          <c:showLegendKey val="0"/>
          <c:showVal val="1"/>
          <c:showCatName val="0"/>
          <c:showSerName val="0"/>
          <c:showPercent val="0"/>
          <c:showBubbleSize val="0"/>
          <c:showLeaderLines val="1"/>
        </c:dLbls>
        <c:firstSliceAng val="0"/>
      </c:pieChart>
      <c:spPr>
        <a:noFill/>
        <a:ln>
          <a:noFill/>
        </a:ln>
        <a:effectLst/>
      </c:spPr>
    </c:plotArea>
    <c:legend>
      <c:legendPos val="l"/>
      <c:layout/>
      <c:overlay val="0"/>
      <c:spPr>
        <a:noFill/>
        <a:ln>
          <a:noFill/>
        </a:ln>
        <a:effectLst/>
      </c:spPr>
      <c:txPr>
        <a:bodyPr rot="0" spcFirstLastPara="1" vertOverflow="ellipsis" vert="horz" wrap="square" anchor="ctr" anchorCtr="1"/>
        <a:lstStyle/>
        <a:p>
          <a:pPr>
            <a:defRPr lang="zh-CN" sz="105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sz="1050"/>
      </a:pPr>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spPr/>
          <c:explosion val="0"/>
          <c:dPt>
            <c:idx val="0"/>
            <c:bubble3D val="0"/>
            <c:spPr>
              <a:solidFill>
                <a:schemeClr val="accent1">
                  <a:shade val="45000"/>
                </a:schemeClr>
              </a:solidFill>
              <a:ln w="19050">
                <a:solidFill>
                  <a:schemeClr val="lt1"/>
                </a:solidFill>
              </a:ln>
              <a:effectLst/>
            </c:spPr>
          </c:dPt>
          <c:dPt>
            <c:idx val="1"/>
            <c:bubble3D val="0"/>
            <c:spPr>
              <a:solidFill>
                <a:schemeClr val="accent1">
                  <a:shade val="61000"/>
                </a:schemeClr>
              </a:solidFill>
              <a:ln w="19050">
                <a:solidFill>
                  <a:schemeClr val="lt1"/>
                </a:solidFill>
              </a:ln>
              <a:effectLst/>
            </c:spPr>
          </c:dPt>
          <c:dPt>
            <c:idx val="2"/>
            <c:bubble3D val="0"/>
            <c:spPr>
              <a:solidFill>
                <a:schemeClr val="accent1">
                  <a:shade val="76000"/>
                </a:schemeClr>
              </a:solidFill>
              <a:ln w="19050">
                <a:solidFill>
                  <a:schemeClr val="lt1"/>
                </a:solidFill>
              </a:ln>
              <a:effectLst/>
            </c:spPr>
          </c:dPt>
          <c:dPt>
            <c:idx val="3"/>
            <c:bubble3D val="0"/>
            <c:spPr>
              <a:solidFill>
                <a:schemeClr val="accent1">
                  <a:shade val="92000"/>
                </a:schemeClr>
              </a:solidFill>
              <a:ln w="19050">
                <a:solidFill>
                  <a:schemeClr val="lt1"/>
                </a:solidFill>
              </a:ln>
              <a:effectLst/>
            </c:spPr>
          </c:dPt>
          <c:dPt>
            <c:idx val="4"/>
            <c:bubble3D val="0"/>
            <c:spPr>
              <a:solidFill>
                <a:schemeClr val="accent1">
                  <a:tint val="93000"/>
                </a:schemeClr>
              </a:solidFill>
              <a:ln w="19050">
                <a:solidFill>
                  <a:schemeClr val="lt1"/>
                </a:solidFill>
              </a:ln>
              <a:effectLst/>
            </c:spPr>
          </c:dPt>
          <c:dPt>
            <c:idx val="5"/>
            <c:bubble3D val="0"/>
            <c:spPr>
              <a:solidFill>
                <a:schemeClr val="accent1">
                  <a:tint val="77000"/>
                </a:schemeClr>
              </a:solidFill>
              <a:ln w="19050">
                <a:solidFill>
                  <a:schemeClr val="lt1"/>
                </a:solidFill>
              </a:ln>
              <a:effectLst/>
            </c:spPr>
          </c:dPt>
          <c:dPt>
            <c:idx val="6"/>
            <c:bubble3D val="0"/>
            <c:spPr>
              <a:solidFill>
                <a:schemeClr val="accent1">
                  <a:tint val="62000"/>
                </a:schemeClr>
              </a:solidFill>
              <a:ln w="19050">
                <a:solidFill>
                  <a:schemeClr val="lt1"/>
                </a:solidFill>
              </a:ln>
              <a:effectLst/>
            </c:spPr>
          </c:dPt>
          <c:dPt>
            <c:idx val="7"/>
            <c:bubble3D val="0"/>
            <c:spPr>
              <a:solidFill>
                <a:schemeClr val="accent1">
                  <a:tint val="46000"/>
                </a:schemeClr>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inEnd"/>
            <c:showLegendKey val="0"/>
            <c:showVal val="1"/>
            <c:showCatName val="0"/>
            <c:showSerName val="0"/>
            <c:showPercent val="0"/>
            <c:showBubbleSize val="0"/>
            <c:showLeaderLines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5!$A$1:$A$8</c:f>
              <c:strCache>
                <c:ptCount val="8"/>
                <c:pt idx="0">
                  <c:v>智慧交通更多</c:v>
                </c:pt>
                <c:pt idx="1">
                  <c:v>摇号查询</c:v>
                </c:pt>
                <c:pt idx="2">
                  <c:v>驾驶证业务</c:v>
                </c:pt>
                <c:pt idx="3">
                  <c:v>爱车估值</c:v>
                </c:pt>
                <c:pt idx="4">
                  <c:v>电子保单</c:v>
                </c:pt>
                <c:pt idx="5">
                  <c:v>车辆出行更多</c:v>
                </c:pt>
                <c:pt idx="6">
                  <c:v>远程事故处理</c:v>
                </c:pt>
                <c:pt idx="7">
                  <c:v>修理厂</c:v>
                </c:pt>
              </c:strCache>
            </c:strRef>
          </c:cat>
          <c:val>
            <c:numRef>
              <c:f>Sheet5!$B$1:$B$8</c:f>
              <c:numCache>
                <c:formatCode>#,##0_ </c:formatCode>
                <c:ptCount val="8"/>
                <c:pt idx="0">
                  <c:v>6487</c:v>
                </c:pt>
                <c:pt idx="1">
                  <c:v>5551</c:v>
                </c:pt>
                <c:pt idx="2">
                  <c:v>2961</c:v>
                </c:pt>
                <c:pt idx="3">
                  <c:v>2754</c:v>
                </c:pt>
                <c:pt idx="4">
                  <c:v>2626</c:v>
                </c:pt>
                <c:pt idx="5">
                  <c:v>1972</c:v>
                </c:pt>
                <c:pt idx="6">
                  <c:v>1920</c:v>
                </c:pt>
                <c:pt idx="7">
                  <c:v>1205</c:v>
                </c:pt>
              </c:numCache>
            </c:numRef>
          </c:val>
        </c:ser>
        <c:dLbls>
          <c:showLegendKey val="0"/>
          <c:showVal val="1"/>
          <c:showCatName val="0"/>
          <c:showSerName val="0"/>
          <c:showPercent val="0"/>
          <c:showBubbleSize val="0"/>
          <c:showLeaderLines val="1"/>
        </c:dLbls>
        <c:firstSliceAng val="0"/>
      </c:pieChart>
      <c:spPr>
        <a:noFill/>
        <a:ln>
          <a:noFill/>
        </a:ln>
        <a:effectLst/>
      </c:spPr>
    </c:plotArea>
    <c:legend>
      <c:legendPos val="r"/>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400" b="1" i="0" u="none" strike="noStrike" kern="1200" spc="0" baseline="0">
                <a:solidFill>
                  <a:schemeClr val="tx1">
                    <a:lumMod val="65000"/>
                    <a:lumOff val="35000"/>
                  </a:schemeClr>
                </a:solidFill>
                <a:latin typeface="+mn-lt"/>
                <a:ea typeface="+mn-ea"/>
                <a:cs typeface="+mn-cs"/>
              </a:defRPr>
            </a:pPr>
            <a:r>
              <a:rPr lang="en-US" altLang="zh-CN" b="1" dirty="0"/>
              <a:t>8</a:t>
            </a:r>
            <a:r>
              <a:rPr lang="zh-CN" altLang="en-US" b="1" dirty="0"/>
              <a:t>月份点击</a:t>
            </a:r>
            <a:r>
              <a:rPr lang="en-US" altLang="zh-CN" b="1" dirty="0"/>
              <a:t>TOP10</a:t>
            </a:r>
            <a:r>
              <a:rPr lang="zh-CN" altLang="en-US" b="1" dirty="0"/>
              <a:t>服务</a:t>
            </a:r>
            <a:endParaRPr lang="zh-CN" altLang="en-US" b="1" dirty="0"/>
          </a:p>
        </c:rich>
      </c:tx>
      <c:layout/>
      <c:overlay val="0"/>
      <c:spPr>
        <a:noFill/>
        <a:ln>
          <a:noFill/>
        </a:ln>
        <a:effectLst/>
      </c:spPr>
    </c:title>
    <c:autoTitleDeleted val="0"/>
    <c:plotArea>
      <c:layout/>
      <c:barChart>
        <c:barDir val="bar"/>
        <c:grouping val="clustered"/>
        <c:varyColors val="0"/>
        <c:ser>
          <c:idx val="0"/>
          <c:order val="0"/>
          <c:tx>
            <c:strRef>
              <c:f>Sheet4!$B$1</c:f>
              <c:strCache>
                <c:ptCount val="1"/>
                <c:pt idx="0">
                  <c:v>8月份点击次数</c:v>
                </c:pt>
              </c:strCache>
            </c:strRef>
          </c:tx>
          <c:spPr>
            <a:solidFill>
              <a:srgbClr val="FE5817"/>
            </a:solidFill>
            <a:ln>
              <a:noFill/>
            </a:ln>
            <a:effectLst/>
          </c:spPr>
          <c:invertIfNegative val="0"/>
          <c:dLbls>
            <c:dLbl>
              <c:idx val="0"/>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in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in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a:t>
                    </a:r>
                    <a:endParaRPr lang="en-US" altLang="zh-CN" dirty="0"/>
                  </a:p>
                </c:rich>
              </c:tx>
              <c:dLblPos val="in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inEnd"/>
              <c:showLegendKey val="0"/>
              <c:showVal val="1"/>
              <c:showCatName val="0"/>
              <c:showSerName val="0"/>
              <c:showPercent val="0"/>
              <c:showBubbleSize val="0"/>
              <c:extLst>
                <c:ext xmlns:c15="http://schemas.microsoft.com/office/drawing/2012/chart" uri="{CE6537A1-D6FC-4f65-9D91-7224C49458BB}"/>
              </c:extLst>
            </c:dLbl>
            <c:dLbl>
              <c:idx val="4"/>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a:p>
                </c:rich>
              </c:tx>
              <c:dLblPos val="inEnd"/>
              <c:showLegendKey val="0"/>
              <c:showVal val="1"/>
              <c:showCatName val="0"/>
              <c:showSerName val="0"/>
              <c:showPercent val="0"/>
              <c:showBubbleSize val="0"/>
              <c:extLst>
                <c:ext xmlns:c15="http://schemas.microsoft.com/office/drawing/2012/chart" uri="{CE6537A1-D6FC-4f65-9D91-7224C49458BB}"/>
              </c:extLst>
            </c:dLbl>
            <c:dLbl>
              <c:idx val="5"/>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x</a:t>
                    </a:r>
                    <a:endParaRPr lang="en-US" altLang="zh-CN"/>
                  </a:p>
                </c:rich>
              </c:tx>
              <c:dLblPos val="inEnd"/>
              <c:showLegendKey val="0"/>
              <c:showVal val="1"/>
              <c:showCatName val="0"/>
              <c:showSerName val="0"/>
              <c:showPercent val="0"/>
              <c:showBubbleSize val="0"/>
              <c:extLst>
                <c:ext xmlns:c15="http://schemas.microsoft.com/office/drawing/2012/chart" uri="{CE6537A1-D6FC-4f65-9D91-7224C49458BB}"/>
              </c:extLst>
            </c:dLbl>
            <c:dLbl>
              <c:idx val="6"/>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a:t>
                    </a:r>
                    <a:endParaRPr lang="en-US" altLang="zh-CN"/>
                  </a:p>
                </c:rich>
              </c:tx>
              <c:dLblPos val="inEnd"/>
              <c:showLegendKey val="0"/>
              <c:showVal val="1"/>
              <c:showCatName val="0"/>
              <c:showSerName val="0"/>
              <c:showPercent val="0"/>
              <c:showBubbleSize val="0"/>
              <c:extLst>
                <c:ext xmlns:c15="http://schemas.microsoft.com/office/drawing/2012/chart" uri="{CE6537A1-D6FC-4f65-9D91-7224C49458BB}"/>
              </c:extLst>
            </c:dLbl>
            <c:dLbl>
              <c:idx val="7"/>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dirty="0"/>
                  </a:p>
                </c:rich>
              </c:tx>
              <c:dLblPos val="inEnd"/>
              <c:showLegendKey val="0"/>
              <c:showVal val="1"/>
              <c:showCatName val="0"/>
              <c:showSerName val="0"/>
              <c:showPercent val="0"/>
              <c:showBubbleSize val="0"/>
              <c:extLst>
                <c:ext xmlns:c15="http://schemas.microsoft.com/office/drawing/2012/chart" uri="{CE6537A1-D6FC-4f65-9D91-7224C49458BB}"/>
              </c:extLst>
            </c:dLbl>
            <c:dLbl>
              <c:idx val="8"/>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dirty="0"/>
                  </a:p>
                </c:rich>
              </c:tx>
              <c:dLblPos val="inEnd"/>
              <c:showLegendKey val="0"/>
              <c:showVal val="1"/>
              <c:showCatName val="0"/>
              <c:showSerName val="0"/>
              <c:showPercent val="0"/>
              <c:showBubbleSize val="0"/>
              <c:extLst>
                <c:ext xmlns:c15="http://schemas.microsoft.com/office/drawing/2012/chart" uri="{CE6537A1-D6FC-4f65-9D91-7224C49458BB}"/>
              </c:extLst>
            </c:dLbl>
            <c:dLbl>
              <c:idx val="9"/>
              <c:layout/>
              <c:tx>
                <c:rich>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r>
                      <a:rPr lang="en-US" altLang="zh-CN" smtClean="0"/>
                      <a:t>xx</a:t>
                    </a:r>
                    <a:endParaRPr lang="en-US" altLang="zh-CN" dirty="0"/>
                  </a:p>
                </c:rich>
              </c:tx>
              <c:dLblPos val="in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A$2:$A$11</c:f>
              <c:strCache>
                <c:ptCount val="10"/>
                <c:pt idx="0">
                  <c:v>深圳电子证件</c:v>
                </c:pt>
                <c:pt idx="1">
                  <c:v>深圳印象</c:v>
                </c:pt>
                <c:pt idx="2">
                  <c:v>智慧交通更多</c:v>
                </c:pt>
                <c:pt idx="3">
                  <c:v>医疗健康更多</c:v>
                </c:pt>
                <c:pt idx="4">
                  <c:v>摇号查询</c:v>
                </c:pt>
                <c:pt idx="5">
                  <c:v>深圳公租房申请</c:v>
                </c:pt>
                <c:pt idx="6">
                  <c:v>药品助手</c:v>
                </c:pt>
                <c:pt idx="7">
                  <c:v>深圳教育</c:v>
                </c:pt>
                <c:pt idx="8">
                  <c:v>驾驶证业务</c:v>
                </c:pt>
                <c:pt idx="9">
                  <c:v>爱车估值</c:v>
                </c:pt>
              </c:strCache>
            </c:strRef>
          </c:cat>
          <c:val>
            <c:numRef>
              <c:f>Sheet4!$B$2:$B$11</c:f>
              <c:numCache>
                <c:formatCode>#,##0_ </c:formatCode>
                <c:ptCount val="10"/>
                <c:pt idx="0">
                  <c:v>11884</c:v>
                </c:pt>
                <c:pt idx="1">
                  <c:v>8120</c:v>
                </c:pt>
                <c:pt idx="2">
                  <c:v>6487</c:v>
                </c:pt>
                <c:pt idx="3">
                  <c:v>5740</c:v>
                </c:pt>
                <c:pt idx="4">
                  <c:v>5551</c:v>
                </c:pt>
                <c:pt idx="5">
                  <c:v>4452</c:v>
                </c:pt>
                <c:pt idx="6">
                  <c:v>4160</c:v>
                </c:pt>
                <c:pt idx="7">
                  <c:v>3414</c:v>
                </c:pt>
                <c:pt idx="8">
                  <c:v>2961</c:v>
                </c:pt>
                <c:pt idx="9">
                  <c:v>2754</c:v>
                </c:pt>
              </c:numCache>
            </c:numRef>
          </c:val>
        </c:ser>
        <c:dLbls>
          <c:showLegendKey val="0"/>
          <c:showVal val="1"/>
          <c:showCatName val="0"/>
          <c:showSerName val="0"/>
          <c:showPercent val="0"/>
          <c:showBubbleSize val="0"/>
        </c:dLbls>
        <c:gapWidth val="182"/>
        <c:axId val="429580600"/>
        <c:axId val="429580272"/>
      </c:barChart>
      <c:catAx>
        <c:axId val="4295806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429580272"/>
        <c:crosses val="autoZero"/>
        <c:auto val="1"/>
        <c:lblAlgn val="ctr"/>
        <c:lblOffset val="100"/>
        <c:noMultiLvlLbl val="0"/>
      </c:catAx>
      <c:valAx>
        <c:axId val="429580272"/>
        <c:scaling>
          <c:orientation val="minMax"/>
          <c:max val="12000"/>
          <c:min val="2500"/>
        </c:scaling>
        <c:delete val="1"/>
        <c:axPos val="t"/>
        <c:numFmt formatCode="#,##0_ "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429580600"/>
        <c:crosses val="autoZero"/>
        <c:crossBetween val="between"/>
      </c:valAx>
      <c:spPr>
        <a:noFill/>
        <a:ln>
          <a:noFill/>
        </a:ln>
        <a:effectLst/>
      </c:spPr>
    </c:plotArea>
    <c:plotVisOnly val="1"/>
    <c:dispBlanksAs val="gap"/>
    <c:showDLblsOverMax val="0"/>
  </c:chart>
  <c:spPr>
    <a:noFill/>
    <a:ln>
      <a:solidFill>
        <a:schemeClr val="accent1"/>
      </a:solidFill>
      <a:prstDash val="dash"/>
    </a:ln>
    <a:effectLst/>
  </c:spPr>
  <c:txPr>
    <a:bodyPr/>
    <a:lstStyle/>
    <a:p>
      <a:pPr>
        <a:defRPr lang="zh-CN"/>
      </a:pPr>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600" b="0" i="0" u="none" strike="noStrike" kern="1200" spc="0" baseline="0">
                <a:solidFill>
                  <a:schemeClr val="tx1">
                    <a:lumMod val="65000"/>
                    <a:lumOff val="35000"/>
                  </a:schemeClr>
                </a:solidFill>
                <a:latin typeface="+mn-lt"/>
                <a:ea typeface="+mn-ea"/>
                <a:cs typeface="+mn-cs"/>
              </a:defRPr>
            </a:pPr>
            <a:r>
              <a:rPr lang="en-US" altLang="zh-CN" sz="1600" dirty="0" smtClean="0"/>
              <a:t>   </a:t>
            </a:r>
            <a:r>
              <a:rPr lang="zh-CN" sz="1600" dirty="0" smtClean="0"/>
              <a:t>线</a:t>
            </a:r>
            <a:r>
              <a:rPr lang="zh-CN" sz="1600" dirty="0"/>
              <a:t>上互动游戏</a:t>
            </a:r>
            <a:endParaRPr lang="zh-CN" sz="1600" dirty="0"/>
          </a:p>
        </c:rich>
      </c:tx>
      <c:layout>
        <c:manualLayout>
          <c:xMode val="edge"/>
          <c:yMode val="edge"/>
          <c:x val="0.223570609921628"/>
          <c:y val="0.0678981440093486"/>
        </c:manualLayout>
      </c:layout>
      <c:overlay val="0"/>
      <c:spPr>
        <a:noFill/>
        <a:ln>
          <a:noFill/>
        </a:ln>
        <a:effectLst/>
      </c:spPr>
    </c:title>
    <c:autoTitleDeleted val="0"/>
    <c:plotArea>
      <c:layout/>
      <c:barChart>
        <c:barDir val="bar"/>
        <c:grouping val="stacked"/>
        <c:varyColors val="0"/>
        <c:ser>
          <c:idx val="0"/>
          <c:order val="0"/>
          <c:spPr>
            <a:noFill/>
            <a:ln>
              <a:noFill/>
            </a:ln>
            <a:effectLst/>
          </c:spPr>
          <c:invertIfNegative val="0"/>
          <c:dLbls>
            <c:delete val="1"/>
          </c:dLbls>
          <c:cat>
            <c:strRef>
              <c:f>智博会线上互动游戏!$A$2:$A$5</c:f>
              <c:strCache>
                <c:ptCount val="4"/>
                <c:pt idx="0">
                  <c:v>阅读量</c:v>
                </c:pt>
                <c:pt idx="1">
                  <c:v>活动PV</c:v>
                </c:pt>
                <c:pt idx="2">
                  <c:v>活动UV</c:v>
                </c:pt>
                <c:pt idx="3">
                  <c:v>下载APP</c:v>
                </c:pt>
              </c:strCache>
            </c:strRef>
          </c:cat>
          <c:val>
            <c:numRef>
              <c:f>智博会线上互动游戏!$B$2:$B$5</c:f>
              <c:numCache>
                <c:formatCode>General</c:formatCode>
                <c:ptCount val="4"/>
                <c:pt idx="0">
                  <c:v>0</c:v>
                </c:pt>
                <c:pt idx="1">
                  <c:v>27257</c:v>
                </c:pt>
                <c:pt idx="2">
                  <c:v>28450</c:v>
                </c:pt>
                <c:pt idx="3">
                  <c:v>29724.5</c:v>
                </c:pt>
              </c:numCache>
            </c:numRef>
          </c:val>
        </c:ser>
        <c:ser>
          <c:idx val="1"/>
          <c:order val="1"/>
          <c:spPr>
            <a:solidFill>
              <a:srgbClr val="FE5817"/>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400" b="1" i="0" u="none" strike="noStrike" kern="1200" baseline="0">
                    <a:solidFill>
                      <a:schemeClr val="tx1">
                        <a:lumMod val="75000"/>
                        <a:lumOff val="25000"/>
                      </a:schemeClr>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智博会线上互动游戏!$A$2:$A$5</c:f>
              <c:strCache>
                <c:ptCount val="4"/>
                <c:pt idx="0">
                  <c:v>阅读量</c:v>
                </c:pt>
                <c:pt idx="1">
                  <c:v>活动PV</c:v>
                </c:pt>
                <c:pt idx="2">
                  <c:v>活动UV</c:v>
                </c:pt>
                <c:pt idx="3">
                  <c:v>下载APP</c:v>
                </c:pt>
              </c:strCache>
            </c:strRef>
          </c:cat>
          <c:val>
            <c:numRef>
              <c:f>智博会线上互动游戏!$C$2:$C$5</c:f>
              <c:numCache>
                <c:formatCode>General</c:formatCode>
                <c:ptCount val="4"/>
                <c:pt idx="0">
                  <c:v>60577</c:v>
                </c:pt>
                <c:pt idx="1">
                  <c:v>6063</c:v>
                </c:pt>
                <c:pt idx="2">
                  <c:v>3677</c:v>
                </c:pt>
                <c:pt idx="3">
                  <c:v>1128</c:v>
                </c:pt>
              </c:numCache>
            </c:numRef>
          </c:val>
        </c:ser>
        <c:dLbls>
          <c:showLegendKey val="0"/>
          <c:showVal val="1"/>
          <c:showCatName val="0"/>
          <c:showSerName val="0"/>
          <c:showPercent val="0"/>
          <c:showBubbleSize val="0"/>
        </c:dLbls>
        <c:gapWidth val="150"/>
        <c:overlap val="100"/>
        <c:serLines>
          <c:spPr>
            <a:ln w="19050" cap="flat" cmpd="sng" algn="ctr">
              <a:solidFill>
                <a:schemeClr val="accent1"/>
              </a:solidFill>
              <a:round/>
            </a:ln>
            <a:effectLst/>
          </c:spPr>
        </c:serLines>
        <c:axId val="479195640"/>
        <c:axId val="479195968"/>
      </c:barChart>
      <c:catAx>
        <c:axId val="47919564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p>
        </c:txPr>
        <c:crossAx val="479195968"/>
        <c:crosses val="autoZero"/>
        <c:auto val="1"/>
        <c:lblAlgn val="ctr"/>
        <c:lblOffset val="100"/>
        <c:noMultiLvlLbl val="0"/>
      </c:catAx>
      <c:valAx>
        <c:axId val="479195968"/>
        <c:scaling>
          <c:orientation val="minMax"/>
        </c:scaling>
        <c:delete val="1"/>
        <c:axPos val="t"/>
        <c:numFmt formatCode="General" sourceLinked="1"/>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p>
        </c:txPr>
        <c:crossAx val="479195640"/>
        <c:crosses val="autoZero"/>
        <c:crossBetween val="between"/>
      </c:valAx>
      <c:spPr>
        <a:noFill/>
        <a:ln>
          <a:noFill/>
        </a:ln>
        <a:effectLst/>
      </c:spPr>
    </c:plotArea>
    <c:plotVisOnly val="1"/>
    <c:dispBlanksAs val="gap"/>
    <c:showDLblsOverMax val="0"/>
  </c:chart>
  <c:spPr>
    <a:noFill/>
    <a:ln>
      <a:noFill/>
    </a:ln>
    <a:effectLst/>
  </c:spPr>
  <c:txPr>
    <a:bodyPr/>
    <a:lstStyle/>
    <a:p>
      <a:pPr>
        <a:defRPr lang="zh-CN" sz="1400"/>
      </a:pPr>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600" b="0" i="0" u="none" strike="noStrike" kern="1200" spc="0" baseline="0">
                <a:solidFill>
                  <a:schemeClr val="tx1">
                    <a:lumMod val="65000"/>
                    <a:lumOff val="35000"/>
                  </a:schemeClr>
                </a:solidFill>
                <a:latin typeface="+mn-lt"/>
                <a:ea typeface="+mn-ea"/>
                <a:cs typeface="+mn-cs"/>
              </a:defRPr>
            </a:pPr>
            <a:r>
              <a:rPr lang="zh-CN" sz="1600" dirty="0" smtClean="0"/>
              <a:t>门票</a:t>
            </a:r>
            <a:r>
              <a:rPr lang="zh-CN" sz="1600" dirty="0"/>
              <a:t>领取</a:t>
            </a:r>
            <a:endParaRPr lang="zh-CN" sz="1600" dirty="0"/>
          </a:p>
        </c:rich>
      </c:tx>
      <c:layout>
        <c:manualLayout>
          <c:xMode val="edge"/>
          <c:yMode val="edge"/>
          <c:x val="0.354599274141712"/>
          <c:y val="0.0550093390745822"/>
        </c:manualLayout>
      </c:layout>
      <c:overlay val="0"/>
      <c:spPr>
        <a:noFill/>
        <a:ln>
          <a:noFill/>
        </a:ln>
        <a:effectLst/>
      </c:spPr>
    </c:title>
    <c:autoTitleDeleted val="0"/>
    <c:plotArea>
      <c:layout/>
      <c:barChart>
        <c:barDir val="bar"/>
        <c:grouping val="stacked"/>
        <c:varyColors val="0"/>
        <c:ser>
          <c:idx val="0"/>
          <c:order val="0"/>
          <c:spPr>
            <a:noFill/>
            <a:ln>
              <a:noFill/>
            </a:ln>
            <a:effectLst/>
          </c:spPr>
          <c:invertIfNegative val="0"/>
          <c:dLbls>
            <c:delete val="1"/>
          </c:dLbls>
          <c:cat>
            <c:strRef>
              <c:f>智博会门票领取活动!$A$2:$A$5</c:f>
              <c:strCache>
                <c:ptCount val="4"/>
                <c:pt idx="0">
                  <c:v>活动主页PV</c:v>
                </c:pt>
                <c:pt idx="1">
                  <c:v>个人票确认预约</c:v>
                </c:pt>
                <c:pt idx="2">
                  <c:v>抽奖活动</c:v>
                </c:pt>
                <c:pt idx="3">
                  <c:v>下载APP</c:v>
                </c:pt>
              </c:strCache>
            </c:strRef>
          </c:cat>
          <c:val>
            <c:numRef>
              <c:f>智博会门票领取活动!$B$2:$B$5</c:f>
              <c:numCache>
                <c:formatCode>General</c:formatCode>
                <c:ptCount val="4"/>
                <c:pt idx="0">
                  <c:v>0</c:v>
                </c:pt>
                <c:pt idx="1">
                  <c:v>7838</c:v>
                </c:pt>
                <c:pt idx="2">
                  <c:v>25733.5</c:v>
                </c:pt>
                <c:pt idx="3">
                  <c:v>27064.5</c:v>
                </c:pt>
              </c:numCache>
            </c:numRef>
          </c:val>
        </c:ser>
        <c:ser>
          <c:idx val="1"/>
          <c:order val="1"/>
          <c:spPr>
            <a:solidFill>
              <a:srgbClr val="FE5817"/>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400" b="1" i="0" u="none" strike="noStrike" kern="1200" baseline="0">
                    <a:solidFill>
                      <a:schemeClr val="bg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智博会门票领取活动!$A$2:$A$5</c:f>
              <c:strCache>
                <c:ptCount val="4"/>
                <c:pt idx="0">
                  <c:v>活动主页PV</c:v>
                </c:pt>
                <c:pt idx="1">
                  <c:v>个人票确认预约</c:v>
                </c:pt>
                <c:pt idx="2">
                  <c:v>抽奖活动</c:v>
                </c:pt>
                <c:pt idx="3">
                  <c:v>下载APP</c:v>
                </c:pt>
              </c:strCache>
            </c:strRef>
          </c:cat>
          <c:val>
            <c:numRef>
              <c:f>智博会门票领取活动!$C$2:$C$5</c:f>
              <c:numCache>
                <c:formatCode>General</c:formatCode>
                <c:ptCount val="4"/>
                <c:pt idx="0">
                  <c:v>71602</c:v>
                </c:pt>
                <c:pt idx="1">
                  <c:v>55926</c:v>
                </c:pt>
                <c:pt idx="2">
                  <c:v>20135</c:v>
                </c:pt>
                <c:pt idx="3">
                  <c:v>17473</c:v>
                </c:pt>
              </c:numCache>
            </c:numRef>
          </c:val>
        </c:ser>
        <c:dLbls>
          <c:showLegendKey val="0"/>
          <c:showVal val="1"/>
          <c:showCatName val="0"/>
          <c:showSerName val="0"/>
          <c:showPercent val="0"/>
          <c:showBubbleSize val="0"/>
        </c:dLbls>
        <c:gapWidth val="150"/>
        <c:overlap val="100"/>
        <c:serLines>
          <c:spPr>
            <a:ln w="19050" cap="flat" cmpd="sng" algn="ctr">
              <a:solidFill>
                <a:schemeClr val="accent1"/>
              </a:solidFill>
              <a:round/>
            </a:ln>
            <a:effectLst/>
          </c:spPr>
        </c:serLines>
        <c:axId val="479038424"/>
        <c:axId val="479038752"/>
      </c:barChart>
      <c:catAx>
        <c:axId val="47903842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p>
        </c:txPr>
        <c:crossAx val="479038752"/>
        <c:crosses val="autoZero"/>
        <c:auto val="1"/>
        <c:lblAlgn val="ctr"/>
        <c:lblOffset val="100"/>
        <c:noMultiLvlLbl val="0"/>
      </c:catAx>
      <c:valAx>
        <c:axId val="479038752"/>
        <c:scaling>
          <c:orientation val="minMax"/>
        </c:scaling>
        <c:delete val="1"/>
        <c:axPos val="t"/>
        <c:numFmt formatCode="General" sourceLinked="1"/>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65000"/>
                    <a:lumOff val="35000"/>
                  </a:schemeClr>
                </a:solidFill>
                <a:latin typeface="+mn-lt"/>
                <a:ea typeface="+mn-ea"/>
                <a:cs typeface="+mn-cs"/>
              </a:defRPr>
            </a:pPr>
          </a:p>
        </c:txPr>
        <c:crossAx val="479038424"/>
        <c:crosses val="autoZero"/>
        <c:crossBetween val="between"/>
      </c:valAx>
      <c:spPr>
        <a:noFill/>
        <a:ln>
          <a:noFill/>
        </a:ln>
        <a:effectLst/>
      </c:spPr>
    </c:plotArea>
    <c:plotVisOnly val="1"/>
    <c:dispBlanksAs val="gap"/>
    <c:showDLblsOverMax val="0"/>
  </c:chart>
  <c:spPr>
    <a:noFill/>
    <a:ln>
      <a:noFill/>
    </a:ln>
    <a:effectLst/>
  </c:spPr>
  <c:txPr>
    <a:bodyPr/>
    <a:lstStyle/>
    <a:p>
      <a:pPr>
        <a:defRPr lang="zh-CN" sz="1400"/>
      </a:pPr>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lang="zh-CN" sz="1400" b="0" i="0" u="none" strike="noStrike" kern="1200" spc="0" baseline="0">
                <a:solidFill>
                  <a:schemeClr val="tx1">
                    <a:lumMod val="65000"/>
                    <a:lumOff val="35000"/>
                  </a:schemeClr>
                </a:solidFill>
                <a:latin typeface="微软雅黑" panose="020B0503020204020204" charset="-122"/>
                <a:ea typeface="微软雅黑" panose="020B0503020204020204" charset="-122"/>
                <a:cs typeface="+mn-cs"/>
              </a:defRPr>
            </a:pPr>
            <a:r>
              <a:rPr lang="zh-CN"/>
              <a:t>反馈类型</a:t>
            </a:r>
            <a:endParaRPr lang="zh-CN"/>
          </a:p>
        </c:rich>
      </c:tx>
      <c:layout>
        <c:manualLayout>
          <c:xMode val="edge"/>
          <c:yMode val="edge"/>
          <c:x val="0.375547644464625"/>
          <c:y val="0.507246465101828"/>
        </c:manualLayout>
      </c:layout>
      <c:overlay val="0"/>
      <c:spPr>
        <a:noFill/>
        <a:ln>
          <a:noFill/>
        </a:ln>
        <a:effectLst/>
      </c:spPr>
    </c:title>
    <c:autoTitleDeleted val="0"/>
    <c:plotArea>
      <c:layout/>
      <c:doughnutChart>
        <c:varyColors val="1"/>
        <c:ser>
          <c:idx val="0"/>
          <c:order val="0"/>
          <c:spPr/>
          <c:explosion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Lbl>
              <c:idx val="0"/>
              <c:layout>
                <c:manualLayout>
                  <c:x val="0.130672980779913"/>
                  <c:y val="-0.0724775965738445"/>
                </c:manualLayout>
              </c:layout>
              <c:showLegendKey val="0"/>
              <c:showVal val="1"/>
              <c:showCatName val="1"/>
              <c:showSerName val="0"/>
              <c:showPercent val="0"/>
              <c:showBubbleSize val="0"/>
              <c:extLst>
                <c:ext xmlns:c15="http://schemas.microsoft.com/office/drawing/2012/chart" uri="{CE6537A1-D6FC-4f65-9D91-7224C49458BB}">
                  <c15:layout/>
                </c:ext>
              </c:extLst>
            </c:dLbl>
            <c:dLbl>
              <c:idx val="1"/>
              <c:layout>
                <c:manualLayout>
                  <c:x val="0.139671377093366"/>
                  <c:y val="0.0241685907315913"/>
                </c:manualLayout>
              </c:layout>
              <c:showLegendKey val="0"/>
              <c:showVal val="1"/>
              <c:showCatName val="1"/>
              <c:showSerName val="0"/>
              <c:showPercent val="0"/>
              <c:showBubbleSize val="0"/>
              <c:extLst>
                <c:ext xmlns:c15="http://schemas.microsoft.com/office/drawing/2012/chart" uri="{CE6537A1-D6FC-4f65-9D91-7224C49458BB}">
                  <c15:layout/>
                </c:ext>
              </c:extLst>
            </c:dLbl>
            <c:dLbl>
              <c:idx val="2"/>
              <c:layout>
                <c:manualLayout>
                  <c:x val="0.0138888888888889"/>
                  <c:y val="0.0869565217391303"/>
                </c:manualLayout>
              </c:layout>
              <c:showLegendKey val="0"/>
              <c:showVal val="1"/>
              <c:showCatName val="1"/>
              <c:showSerName val="0"/>
              <c:showPercent val="0"/>
              <c:showBubbleSize val="0"/>
              <c:extLst>
                <c:ext xmlns:c15="http://schemas.microsoft.com/office/drawing/2012/chart" uri="{CE6537A1-D6FC-4f65-9D91-7224C49458BB}">
                  <c15:layout/>
                </c:ext>
              </c:extLst>
            </c:dLbl>
            <c:dLbl>
              <c:idx val="3"/>
              <c:layout>
                <c:manualLayout>
                  <c:x val="-0.130007897673205"/>
                  <c:y val="-0.0869796648167214"/>
                </c:manualLayout>
              </c:layout>
              <c:showLegendKey val="0"/>
              <c:showVal val="1"/>
              <c:showCatName val="1"/>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mn-cs"/>
                  </a:defRPr>
                </a:pPr>
              </a:p>
            </c:txPr>
            <c:showLegendKey val="0"/>
            <c:showVal val="1"/>
            <c:showCatName val="1"/>
            <c:showSerName val="0"/>
            <c:showPercent val="0"/>
            <c:showBubbleSize val="0"/>
            <c:showLeaderLines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汇总!$A$67:$A$70</c:f>
              <c:strCache>
                <c:ptCount val="4"/>
                <c:pt idx="0">
                  <c:v>问题类</c:v>
                </c:pt>
                <c:pt idx="1">
                  <c:v>建议类</c:v>
                </c:pt>
                <c:pt idx="2">
                  <c:v>咨询类</c:v>
                </c:pt>
                <c:pt idx="3">
                  <c:v>好评类</c:v>
                </c:pt>
              </c:strCache>
            </c:strRef>
          </c:cat>
          <c:val>
            <c:numRef>
              <c:f>汇总!$B$67:$B$70</c:f>
              <c:numCache>
                <c:formatCode>General</c:formatCode>
                <c:ptCount val="4"/>
                <c:pt idx="0">
                  <c:v>17</c:v>
                </c:pt>
                <c:pt idx="1">
                  <c:v>12</c:v>
                </c:pt>
                <c:pt idx="2">
                  <c:v>16</c:v>
                </c:pt>
                <c:pt idx="3">
                  <c:v>26</c:v>
                </c:pt>
              </c:numCache>
            </c:numRef>
          </c:val>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solidFill>
        <a:schemeClr val="bg1">
          <a:lumMod val="85000"/>
        </a:schemeClr>
      </a:solidFill>
    </a:ln>
    <a:effectLst/>
  </c:spPr>
  <c:txPr>
    <a:bodyPr/>
    <a:lstStyle/>
    <a:p>
      <a:pPr>
        <a:defRPr lang="zh-CN">
          <a:latin typeface="微软雅黑" panose="020B0503020204020204" charset="-122"/>
          <a:ea typeface="微软雅黑" panose="020B0503020204020204" charset="-122"/>
        </a:defRPr>
      </a:pPr>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200" b="1" i="0" u="none" strike="noStrike" kern="1200" spc="0" baseline="0">
                <a:solidFill>
                  <a:schemeClr val="tx1">
                    <a:lumMod val="65000"/>
                    <a:lumOff val="35000"/>
                  </a:schemeClr>
                </a:solidFill>
                <a:latin typeface="微软雅黑" panose="020B0503020204020204" charset="-122"/>
                <a:ea typeface="微软雅黑" panose="020B0503020204020204" charset="-122"/>
                <a:cs typeface="+mn-cs"/>
              </a:defRPr>
            </a:pPr>
            <a:r>
              <a:rPr lang="zh-CN" sz="1200" b="1" dirty="0">
                <a:latin typeface="华文楷体" panose="02010600040101010101" charset="-122"/>
                <a:ea typeface="华文楷体" panose="02010600040101010101" charset="-122"/>
              </a:rPr>
              <a:t>订阅号阅读量趋势</a:t>
            </a:r>
            <a:endParaRPr lang="zh-CN" sz="1200" b="1" dirty="0">
              <a:latin typeface="华文楷体" panose="02010600040101010101" charset="-122"/>
              <a:ea typeface="华文楷体" panose="02010600040101010101" charset="-122"/>
            </a:endParaRPr>
          </a:p>
        </c:rich>
      </c:tx>
      <c:layout/>
      <c:overlay val="0"/>
      <c:spPr>
        <a:noFill/>
        <a:ln>
          <a:noFill/>
        </a:ln>
        <a:effectLst/>
      </c:spPr>
    </c:title>
    <c:autoTitleDeleted val="0"/>
    <c:plotArea>
      <c:layout/>
      <c:lineChart>
        <c:grouping val="standard"/>
        <c:varyColors val="0"/>
        <c:ser>
          <c:idx val="0"/>
          <c:order val="0"/>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mn-cs"/>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D$9:$D$15</c:f>
              <c:numCache>
                <c:formatCode>yyyy/m/d</c:formatCode>
                <c:ptCount val="7"/>
                <c:pt idx="0" c:formatCode="yyyy/m/d">
                  <c:v>43352</c:v>
                </c:pt>
                <c:pt idx="1" c:formatCode="yyyy/m/d">
                  <c:v>43351</c:v>
                </c:pt>
                <c:pt idx="2" c:formatCode="yyyy/m/d">
                  <c:v>43350</c:v>
                </c:pt>
                <c:pt idx="3" c:formatCode="yyyy/m/d">
                  <c:v>43349</c:v>
                </c:pt>
                <c:pt idx="4" c:formatCode="yyyy/m/d">
                  <c:v>43348</c:v>
                </c:pt>
                <c:pt idx="5" c:formatCode="yyyy/m/d">
                  <c:v>43347</c:v>
                </c:pt>
                <c:pt idx="6" c:formatCode="yyyy/m/d">
                  <c:v>43346</c:v>
                </c:pt>
              </c:numCache>
            </c:numRef>
          </c:cat>
          <c:val>
            <c:numRef>
              <c:f>Sheet1!$E$9:$E$15</c:f>
              <c:numCache>
                <c:formatCode>General</c:formatCode>
                <c:ptCount val="7"/>
                <c:pt idx="0">
                  <c:v>149</c:v>
                </c:pt>
                <c:pt idx="1">
                  <c:v>72</c:v>
                </c:pt>
                <c:pt idx="2">
                  <c:v>168</c:v>
                </c:pt>
                <c:pt idx="3">
                  <c:v>692</c:v>
                </c:pt>
                <c:pt idx="4">
                  <c:v>380</c:v>
                </c:pt>
                <c:pt idx="5">
                  <c:v>504</c:v>
                </c:pt>
                <c:pt idx="6">
                  <c:v>293</c:v>
                </c:pt>
              </c:numCache>
            </c:numRef>
          </c:val>
          <c:smooth val="0"/>
        </c:ser>
        <c:dLbls>
          <c:showLegendKey val="0"/>
          <c:showVal val="0"/>
          <c:showCatName val="0"/>
          <c:showSerName val="0"/>
          <c:showPercent val="0"/>
          <c:showBubbleSize val="0"/>
        </c:dLbls>
        <c:marker val="0"/>
        <c:smooth val="0"/>
        <c:axId val="458119232"/>
        <c:axId val="458119560"/>
      </c:lineChart>
      <c:dateAx>
        <c:axId val="458119232"/>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800" b="0" i="0" u="none" strike="noStrike" kern="1200" baseline="0">
                <a:solidFill>
                  <a:schemeClr val="tx1">
                    <a:lumMod val="65000"/>
                    <a:lumOff val="35000"/>
                  </a:schemeClr>
                </a:solidFill>
                <a:latin typeface="微软雅黑" panose="020B0503020204020204" charset="-122"/>
                <a:ea typeface="微软雅黑" panose="020B0503020204020204" charset="-122"/>
                <a:cs typeface="+mn-cs"/>
              </a:defRPr>
            </a:pPr>
          </a:p>
        </c:txPr>
        <c:crossAx val="458119560"/>
        <c:crosses val="autoZero"/>
        <c:auto val="1"/>
        <c:lblOffset val="100"/>
        <c:baseTimeUnit val="days"/>
      </c:dateAx>
      <c:valAx>
        <c:axId val="458119560"/>
        <c:scaling>
          <c:orientation val="minMax"/>
        </c:scaling>
        <c:delete val="1"/>
        <c:axPos val="l"/>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charset="-122"/>
                <a:ea typeface="微软雅黑" panose="020B0503020204020204" charset="-122"/>
                <a:cs typeface="+mn-cs"/>
              </a:defRPr>
            </a:pPr>
          </a:p>
        </c:txPr>
        <c:crossAx val="458119232"/>
        <c:crosses val="autoZero"/>
        <c:crossBetween val="between"/>
      </c:valAx>
      <c:spPr>
        <a:noFill/>
        <a:ln>
          <a:noFill/>
        </a:ln>
        <a:effectLst/>
      </c:spPr>
    </c:plotArea>
    <c:plotVisOnly val="1"/>
    <c:dispBlanksAs val="gap"/>
    <c:showDLblsOverMax val="0"/>
  </c:chart>
  <c:spPr>
    <a:noFill/>
    <a:ln>
      <a:solidFill>
        <a:schemeClr val="bg1">
          <a:lumMod val="85000"/>
        </a:schemeClr>
      </a:solidFill>
    </a:ln>
    <a:effectLst/>
  </c:spPr>
  <c:txPr>
    <a:bodyPr/>
    <a:lstStyle/>
    <a:p>
      <a:pPr>
        <a:defRPr lang="zh-CN">
          <a:latin typeface="微软雅黑" panose="020B0503020204020204" charset="-122"/>
          <a:ea typeface="微软雅黑" panose="020B0503020204020204" charset="-122"/>
        </a:defRPr>
      </a:pPr>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200" b="1" i="0" u="none" strike="noStrike" kern="1200" spc="0" baseline="0">
                <a:solidFill>
                  <a:schemeClr val="tx1">
                    <a:lumMod val="65000"/>
                    <a:lumOff val="35000"/>
                  </a:schemeClr>
                </a:solidFill>
                <a:latin typeface="微软雅黑" panose="020B0503020204020204" charset="-122"/>
                <a:ea typeface="微软雅黑" panose="020B0503020204020204" charset="-122"/>
                <a:cs typeface="+mn-cs"/>
              </a:defRPr>
            </a:pPr>
            <a:r>
              <a:rPr lang="zh-CN" sz="1200" b="1" dirty="0">
                <a:latin typeface="华文楷体" panose="02010600040101010101" charset="-122"/>
                <a:ea typeface="华文楷体" panose="02010600040101010101" charset="-122"/>
              </a:rPr>
              <a:t>订阅号文章阅读分类占比</a:t>
            </a:r>
            <a:endParaRPr lang="zh-CN" sz="1200" b="1" dirty="0">
              <a:latin typeface="华文楷体" panose="02010600040101010101" charset="-122"/>
              <a:ea typeface="华文楷体" panose="02010600040101010101" charset="-122"/>
            </a:endParaRPr>
          </a:p>
        </c:rich>
      </c:tx>
      <c:layout/>
      <c:overlay val="0"/>
      <c:spPr>
        <a:noFill/>
        <a:ln>
          <a:noFill/>
        </a:ln>
        <a:effectLst/>
      </c:spPr>
    </c:title>
    <c:autoTitleDeleted val="0"/>
    <c:plotArea>
      <c:layout/>
      <c:pieChart>
        <c:varyColors val="1"/>
        <c:ser>
          <c:idx val="0"/>
          <c:order val="0"/>
          <c:spPr/>
          <c:explosion val="0"/>
          <c:dPt>
            <c:idx val="0"/>
            <c:bubble3D val="0"/>
            <c:spPr>
              <a:solidFill>
                <a:srgbClr val="FE5817"/>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rgbClr val="FFC3AB"/>
              </a:solidFill>
              <a:ln w="19050">
                <a:solidFill>
                  <a:schemeClr val="lt1"/>
                </a:solidFill>
              </a:ln>
              <a:effectLst/>
            </c:spPr>
          </c:dPt>
          <c:dLbls>
            <c:dLbl>
              <c:idx val="0"/>
              <c:layout>
                <c:manualLayout>
                  <c:x val="0.0408654855643045"/>
                  <c:y val="-0.0132411052785069"/>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1"/>
              <c:layout>
                <c:manualLayout>
                  <c:x val="-0.0387084426946632"/>
                  <c:y val="-0.01419728783902"/>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2"/>
              <c:layout>
                <c:manualLayout>
                  <c:x val="-0.00798556430446194"/>
                  <c:y val="0.0128747448235637"/>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微软雅黑" panose="020B0503020204020204" charset="-122"/>
                    <a:ea typeface="微软雅黑" panose="020B0503020204020204" charset="-122"/>
                    <a:cs typeface="+mn-cs"/>
                  </a:defRPr>
                </a:pPr>
              </a:p>
            </c:txPr>
            <c:dLblPos val="bestFit"/>
            <c:showLegendKey val="0"/>
            <c:showVal val="0"/>
            <c:showCatName val="1"/>
            <c:showSerName val="0"/>
            <c:showPercent val="1"/>
            <c:showBubbleSize val="0"/>
            <c:showLeaderLines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P$9:$P$11</c:f>
              <c:strCache>
                <c:ptCount val="3"/>
                <c:pt idx="0">
                  <c:v>功能</c:v>
                </c:pt>
                <c:pt idx="1">
                  <c:v>热点</c:v>
                </c:pt>
                <c:pt idx="2">
                  <c:v>活动</c:v>
                </c:pt>
              </c:strCache>
            </c:strRef>
          </c:cat>
          <c:val>
            <c:numRef>
              <c:f>Sheet1!$Q$9:$Q$11</c:f>
              <c:numCache>
                <c:formatCode>General</c:formatCode>
                <c:ptCount val="3"/>
                <c:pt idx="0">
                  <c:v>460</c:v>
                </c:pt>
                <c:pt idx="1">
                  <c:v>636</c:v>
                </c:pt>
                <c:pt idx="2">
                  <c:v>236</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solidFill>
        <a:schemeClr val="bg1">
          <a:lumMod val="85000"/>
        </a:schemeClr>
      </a:solidFill>
    </a:ln>
    <a:effectLst/>
  </c:spPr>
  <c:txPr>
    <a:bodyPr/>
    <a:lstStyle/>
    <a:p>
      <a:pPr>
        <a:defRPr lang="zh-CN">
          <a:latin typeface="微软雅黑" panose="020B0503020204020204" charset="-122"/>
          <a:ea typeface="微软雅黑" panose="020B0503020204020204" charset="-122"/>
        </a:defRPr>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a:solidFill>
              <a:schemeClr val="tx1">
                <a:lumMod val="65000"/>
                <a:lumOff val="35000"/>
              </a:schemeClr>
            </a:solidFill>
            <a:ln>
              <a:noFill/>
            </a:ln>
          </c:spPr>
          <c:explosion val="0"/>
          <c:dPt>
            <c:idx val="0"/>
            <c:bubble3D val="0"/>
            <c:spPr>
              <a:solidFill>
                <a:schemeClr val="accent4"/>
              </a:solidFill>
              <a:ln w="19050">
                <a:noFill/>
              </a:ln>
              <a:effectLst/>
            </c:spPr>
          </c:dPt>
          <c:dPt>
            <c:idx val="1"/>
            <c:bubble3D val="0"/>
            <c:spPr>
              <a:solidFill>
                <a:schemeClr val="tx1">
                  <a:lumMod val="65000"/>
                  <a:lumOff val="35000"/>
                </a:schemeClr>
              </a:solidFill>
              <a:ln w="19050">
                <a:noFill/>
              </a:ln>
              <a:effectLst/>
            </c:spPr>
          </c:dPt>
          <c:dLbls>
            <c:delete val="1"/>
          </c:dLbls>
          <c:cat>
            <c:strRef>
              <c:f>Sheet1!$A$2:$A$3</c:f>
              <c:strCache>
                <c:ptCount val="2"/>
                <c:pt idx="0">
                  <c:v>第一季度</c:v>
                </c:pt>
                <c:pt idx="1">
                  <c:v>第二季度</c:v>
                </c:pt>
              </c:strCache>
            </c:strRef>
          </c:cat>
          <c:val>
            <c:numRef>
              <c:f>Sheet1!$B$2:$B$3</c:f>
              <c:numCache>
                <c:formatCode>General</c:formatCode>
                <c:ptCount val="2"/>
                <c:pt idx="0">
                  <c:v>0.95</c:v>
                </c:pt>
                <c:pt idx="1">
                  <c:v>0.05</c:v>
                </c:pt>
              </c:numCache>
            </c:numRef>
          </c:val>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400" b="0" i="0" u="none" strike="noStrike" kern="1200" spc="0" baseline="0">
                <a:solidFill>
                  <a:schemeClr val="tx1">
                    <a:lumMod val="65000"/>
                    <a:lumOff val="35000"/>
                  </a:schemeClr>
                </a:solidFill>
                <a:latin typeface="华文楷体" panose="02010600040101010101" charset="-122"/>
                <a:ea typeface="华文楷体" panose="02010600040101010101" charset="-122"/>
                <a:cs typeface="+mn-cs"/>
              </a:defRPr>
            </a:pPr>
            <a:r>
              <a:rPr lang="zh-CN" altLang="zh-CN" sz="1200" b="0" i="0" baseline="0" dirty="0" smtClean="0">
                <a:effectLst/>
                <a:latin typeface="华文楷体" panose="02010600040101010101" charset="-122"/>
                <a:ea typeface="华文楷体" panose="02010600040101010101" charset="-122"/>
              </a:rPr>
              <a:t>本周</a:t>
            </a:r>
            <a:r>
              <a:rPr lang="en-US" altLang="zh-CN" sz="1200" b="0" i="0" baseline="0" dirty="0" smtClean="0">
                <a:effectLst/>
                <a:latin typeface="华文楷体" panose="02010600040101010101" charset="-122"/>
                <a:ea typeface="华文楷体" panose="02010600040101010101" charset="-122"/>
              </a:rPr>
              <a:t>(9.03-9.09)</a:t>
            </a:r>
            <a:r>
              <a:rPr lang="zh-CN" altLang="zh-CN" sz="1200" b="0" i="0" baseline="0" dirty="0" smtClean="0">
                <a:effectLst/>
                <a:latin typeface="华文楷体" panose="02010600040101010101" charset="-122"/>
                <a:ea typeface="华文楷体" panose="02010600040101010101" charset="-122"/>
              </a:rPr>
              <a:t>热门服务点击次数</a:t>
            </a:r>
            <a:r>
              <a:rPr lang="en-US" altLang="zh-CN" sz="1200" b="0" i="0" baseline="0" dirty="0" smtClean="0">
                <a:effectLst/>
                <a:latin typeface="华文楷体" panose="02010600040101010101" charset="-122"/>
                <a:ea typeface="华文楷体" panose="02010600040101010101" charset="-122"/>
              </a:rPr>
              <a:t>TOP10</a:t>
            </a:r>
            <a:endParaRPr lang="zh-CN" altLang="zh-CN" sz="1050" dirty="0">
              <a:effectLst/>
              <a:latin typeface="华文楷体" panose="02010600040101010101" charset="-122"/>
              <a:ea typeface="华文楷体" panose="02010600040101010101" charset="-122"/>
            </a:endParaRPr>
          </a:p>
        </c:rich>
      </c:tx>
      <c:layout/>
      <c:overlay val="0"/>
      <c:spPr>
        <a:noFill/>
        <a:ln>
          <a:noFill/>
        </a:ln>
        <a:effectLst/>
      </c:spPr>
    </c:title>
    <c:autoTitleDeleted val="0"/>
    <c:plotArea>
      <c:layout/>
      <c:barChart>
        <c:barDir val="col"/>
        <c:grouping val="clustered"/>
        <c:varyColors val="0"/>
        <c:ser>
          <c:idx val="0"/>
          <c:order val="0"/>
          <c:spPr>
            <a:solidFill>
              <a:srgbClr val="FE581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周报TOP!$A$44:$A$53</c:f>
              <c:strCache>
                <c:ptCount val="10"/>
                <c:pt idx="0">
                  <c:v>预约挂号</c:v>
                </c:pt>
                <c:pt idx="1">
                  <c:v>社保</c:v>
                </c:pt>
                <c:pt idx="2">
                  <c:v>违章</c:v>
                </c:pt>
                <c:pt idx="3">
                  <c:v>去好评</c:v>
                </c:pt>
                <c:pt idx="4">
                  <c:v>车辆出行</c:v>
                </c:pt>
                <c:pt idx="5">
                  <c:v>智慧交通更多</c:v>
                </c:pt>
                <c:pt idx="6">
                  <c:v>机动车办理</c:v>
                </c:pt>
                <c:pt idx="7">
                  <c:v>深圳电子证件</c:v>
                </c:pt>
                <c:pt idx="8">
                  <c:v>我的卡包</c:v>
                </c:pt>
                <c:pt idx="9">
                  <c:v>车辆出行更多</c:v>
                </c:pt>
              </c:strCache>
            </c:strRef>
          </c:cat>
          <c:val>
            <c:numRef>
              <c:f>周报TOP!$B$44:$B$53</c:f>
              <c:numCache>
                <c:formatCode>General</c:formatCode>
                <c:ptCount val="10"/>
                <c:pt idx="0">
                  <c:v>1274</c:v>
                </c:pt>
                <c:pt idx="1">
                  <c:v>1107</c:v>
                </c:pt>
                <c:pt idx="2">
                  <c:v>939</c:v>
                </c:pt>
                <c:pt idx="3">
                  <c:v>809</c:v>
                </c:pt>
                <c:pt idx="4">
                  <c:v>802</c:v>
                </c:pt>
                <c:pt idx="5">
                  <c:v>789</c:v>
                </c:pt>
                <c:pt idx="6">
                  <c:v>772</c:v>
                </c:pt>
                <c:pt idx="7">
                  <c:v>740</c:v>
                </c:pt>
                <c:pt idx="8">
                  <c:v>589</c:v>
                </c:pt>
                <c:pt idx="9">
                  <c:v>572</c:v>
                </c:pt>
              </c:numCache>
            </c:numRef>
          </c:val>
        </c:ser>
        <c:dLbls>
          <c:showLegendKey val="0"/>
          <c:showVal val="0"/>
          <c:showCatName val="0"/>
          <c:showSerName val="0"/>
          <c:showPercent val="0"/>
          <c:showBubbleSize val="0"/>
        </c:dLbls>
        <c:gapWidth val="219"/>
        <c:overlap val="-27"/>
        <c:axId val="569860976"/>
        <c:axId val="569862616"/>
      </c:barChart>
      <c:catAx>
        <c:axId val="569860976"/>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569862616"/>
        <c:crosses val="autoZero"/>
        <c:auto val="1"/>
        <c:lblAlgn val="ctr"/>
        <c:lblOffset val="100"/>
        <c:noMultiLvlLbl val="0"/>
      </c:catAx>
      <c:valAx>
        <c:axId val="569862616"/>
        <c:scaling>
          <c:orientation val="minMax"/>
        </c:scaling>
        <c:delete val="1"/>
        <c:axPos val="l"/>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56986097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400" b="0" i="0" u="none" strike="noStrike" kern="1200" spc="0" baseline="0">
                <a:solidFill>
                  <a:schemeClr val="tx1">
                    <a:lumMod val="65000"/>
                    <a:lumOff val="35000"/>
                  </a:schemeClr>
                </a:solidFill>
                <a:latin typeface="华文楷体" panose="02010600040101010101" charset="-122"/>
                <a:ea typeface="华文楷体" panose="02010600040101010101" charset="-122"/>
                <a:cs typeface="+mn-cs"/>
              </a:defRPr>
            </a:pPr>
            <a:r>
              <a:rPr lang="en-US" altLang="zh-CN" sz="1200" b="0" i="0" baseline="0" dirty="0" smtClean="0">
                <a:effectLst/>
                <a:latin typeface="华文楷体" panose="02010600040101010101" charset="-122"/>
                <a:ea typeface="华文楷体" panose="02010600040101010101" charset="-122"/>
              </a:rPr>
              <a:t>TOP 3</a:t>
            </a:r>
            <a:r>
              <a:rPr lang="zh-CN" altLang="zh-CN" sz="1200" b="0" i="0" baseline="0" dirty="0" smtClean="0">
                <a:effectLst/>
                <a:latin typeface="华文楷体" panose="02010600040101010101" charset="-122"/>
                <a:ea typeface="华文楷体" panose="02010600040101010101" charset="-122"/>
              </a:rPr>
              <a:t>服务</a:t>
            </a:r>
            <a:r>
              <a:rPr lang="zh-CN" altLang="zh-CN" sz="1200" b="0" i="0" baseline="0" dirty="0">
                <a:effectLst/>
                <a:latin typeface="华文楷体" panose="02010600040101010101" charset="-122"/>
                <a:ea typeface="华文楷体" panose="02010600040101010101" charset="-122"/>
              </a:rPr>
              <a:t>每周点击次数</a:t>
            </a:r>
            <a:endParaRPr lang="zh-CN" altLang="zh-CN" sz="1050" dirty="0">
              <a:effectLst/>
              <a:latin typeface="华文楷体" panose="02010600040101010101" charset="-122"/>
              <a:ea typeface="华文楷体" panose="02010600040101010101" charset="-122"/>
            </a:endParaRPr>
          </a:p>
        </c:rich>
      </c:tx>
      <c:layout/>
      <c:overlay val="0"/>
      <c:spPr>
        <a:noFill/>
        <a:ln>
          <a:noFill/>
        </a:ln>
        <a:effectLst/>
      </c:spPr>
    </c:title>
    <c:autoTitleDeleted val="0"/>
    <c:plotArea>
      <c:layout/>
      <c:lineChart>
        <c:grouping val="standard"/>
        <c:varyColors val="0"/>
        <c:ser>
          <c:idx val="0"/>
          <c:order val="0"/>
          <c:tx>
            <c:strRef>
              <c:f>社保</c:f>
              <c:strCache>
                <c:ptCount val="1"/>
                <c:pt idx="0">
                  <c:v>社保</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elete val="1"/>
          </c:dLbls>
          <c:cat>
            <c:strRef>
              <c:f>周报TOP!$B$2:$B$7</c:f>
              <c:strCache>
                <c:ptCount val="6"/>
                <c:pt idx="0">
                  <c:v>7.30-8.05</c:v>
                </c:pt>
                <c:pt idx="1">
                  <c:v>8.06-8.12</c:v>
                </c:pt>
                <c:pt idx="2">
                  <c:v>8.13-8.19</c:v>
                </c:pt>
                <c:pt idx="3">
                  <c:v>8.20-8.26</c:v>
                </c:pt>
                <c:pt idx="4">
                  <c:v>8.27-9.2</c:v>
                </c:pt>
                <c:pt idx="5">
                  <c:v>9.3-9.9</c:v>
                </c:pt>
              </c:strCache>
            </c:strRef>
          </c:cat>
          <c:val>
            <c:numRef>
              <c:f>周报TOP!$F$2:$F$7</c:f>
              <c:numCache>
                <c:formatCode>General</c:formatCode>
                <c:ptCount val="6"/>
                <c:pt idx="0">
                  <c:v>221</c:v>
                </c:pt>
                <c:pt idx="1">
                  <c:v>1267</c:v>
                </c:pt>
                <c:pt idx="2">
                  <c:v>1239</c:v>
                </c:pt>
                <c:pt idx="3">
                  <c:v>2082</c:v>
                </c:pt>
                <c:pt idx="4">
                  <c:v>2404</c:v>
                </c:pt>
                <c:pt idx="5" c:formatCode="#,##0">
                  <c:v>1124</c:v>
                </c:pt>
              </c:numCache>
            </c:numRef>
          </c:val>
          <c:smooth val="0"/>
        </c:ser>
        <c:ser>
          <c:idx val="1"/>
          <c:order val="1"/>
          <c:tx>
            <c:strRef>
              <c:f>违章</c:f>
              <c:strCache>
                <c:ptCount val="1"/>
                <c:pt idx="0">
                  <c:v>违章</c:v>
                </c:pt>
              </c:strCache>
            </c:strRef>
          </c:tx>
          <c:spPr>
            <a:ln w="28575" cap="rnd">
              <a:solidFill>
                <a:schemeClr val="accent4">
                  <a:lumMod val="75000"/>
                </a:schemeClr>
              </a:solidFill>
              <a:round/>
            </a:ln>
            <a:effectLst/>
          </c:spPr>
          <c:marker>
            <c:symbol val="circle"/>
            <c:size val="5"/>
            <c:spPr>
              <a:solidFill>
                <a:schemeClr val="accent4">
                  <a:lumMod val="75000"/>
                </a:schemeClr>
              </a:solidFill>
              <a:ln w="9525">
                <a:noFill/>
              </a:ln>
              <a:effectLst/>
            </c:spPr>
          </c:marker>
          <c:dLbls>
            <c:delete val="1"/>
          </c:dLbls>
          <c:cat>
            <c:strRef>
              <c:f>周报TOP!$B$2:$B$7</c:f>
              <c:strCache>
                <c:ptCount val="6"/>
                <c:pt idx="0">
                  <c:v>7.30-8.05</c:v>
                </c:pt>
                <c:pt idx="1">
                  <c:v>8.06-8.12</c:v>
                </c:pt>
                <c:pt idx="2">
                  <c:v>8.13-8.19</c:v>
                </c:pt>
                <c:pt idx="3">
                  <c:v>8.20-8.26</c:v>
                </c:pt>
                <c:pt idx="4">
                  <c:v>8.27-9.2</c:v>
                </c:pt>
                <c:pt idx="5">
                  <c:v>9.3-9.9</c:v>
                </c:pt>
              </c:strCache>
            </c:strRef>
          </c:cat>
          <c:val>
            <c:numRef>
              <c:f>周报TOP!$L$2:$L$7</c:f>
              <c:numCache>
                <c:formatCode>General</c:formatCode>
                <c:ptCount val="6"/>
                <c:pt idx="0">
                  <c:v>1725</c:v>
                </c:pt>
                <c:pt idx="1">
                  <c:v>1622</c:v>
                </c:pt>
                <c:pt idx="2">
                  <c:v>1500</c:v>
                </c:pt>
                <c:pt idx="3">
                  <c:v>1676</c:v>
                </c:pt>
                <c:pt idx="4">
                  <c:v>2418</c:v>
                </c:pt>
                <c:pt idx="5">
                  <c:v>939</c:v>
                </c:pt>
              </c:numCache>
            </c:numRef>
          </c:val>
          <c:smooth val="0"/>
        </c:ser>
        <c:ser>
          <c:idx val="2"/>
          <c:order val="2"/>
          <c:tx>
            <c:strRef>
              <c:f>挂号</c:f>
              <c:strCache>
                <c:ptCount val="1"/>
                <c:pt idx="0">
                  <c:v>挂号</c:v>
                </c:pt>
              </c:strCache>
            </c:strRef>
          </c:tx>
          <c:spPr>
            <a:ln w="28575" cap="rnd">
              <a:solidFill>
                <a:schemeClr val="accent3">
                  <a:lumMod val="75000"/>
                </a:schemeClr>
              </a:solidFill>
              <a:round/>
            </a:ln>
            <a:effectLst/>
          </c:spPr>
          <c:marker>
            <c:symbol val="circle"/>
            <c:size val="5"/>
            <c:spPr>
              <a:solidFill>
                <a:schemeClr val="accent3"/>
              </a:solidFill>
              <a:ln w="9525">
                <a:solidFill>
                  <a:schemeClr val="accent3">
                    <a:lumMod val="75000"/>
                  </a:schemeClr>
                </a:solidFill>
              </a:ln>
              <a:effectLst/>
            </c:spPr>
          </c:marker>
          <c:dLbls>
            <c:delete val="1"/>
          </c:dLbls>
          <c:cat>
            <c:strRef>
              <c:f>周报TOP!$B$2:$B$7</c:f>
              <c:strCache>
                <c:ptCount val="6"/>
                <c:pt idx="0">
                  <c:v>7.30-8.05</c:v>
                </c:pt>
                <c:pt idx="1">
                  <c:v>8.06-8.12</c:v>
                </c:pt>
                <c:pt idx="2">
                  <c:v>8.13-8.19</c:v>
                </c:pt>
                <c:pt idx="3">
                  <c:v>8.20-8.26</c:v>
                </c:pt>
                <c:pt idx="4">
                  <c:v>8.27-9.2</c:v>
                </c:pt>
                <c:pt idx="5">
                  <c:v>9.3-9.9</c:v>
                </c:pt>
              </c:strCache>
            </c:strRef>
          </c:cat>
          <c:val>
            <c:numRef>
              <c:f>周报TOP!$M$2:$M$7</c:f>
              <c:numCache>
                <c:formatCode>General</c:formatCode>
                <c:ptCount val="6"/>
                <c:pt idx="0">
                  <c:v>1604</c:v>
                </c:pt>
                <c:pt idx="1">
                  <c:v>1925</c:v>
                </c:pt>
                <c:pt idx="2">
                  <c:v>2353</c:v>
                </c:pt>
                <c:pt idx="3">
                  <c:v>2887</c:v>
                </c:pt>
                <c:pt idx="4">
                  <c:v>1821</c:v>
                </c:pt>
                <c:pt idx="5" c:formatCode="#,##0">
                  <c:v>1274</c:v>
                </c:pt>
              </c:numCache>
            </c:numRef>
          </c:val>
          <c:smooth val="0"/>
        </c:ser>
        <c:dLbls>
          <c:showLegendKey val="0"/>
          <c:showVal val="0"/>
          <c:showCatName val="0"/>
          <c:showSerName val="0"/>
          <c:showPercent val="0"/>
          <c:showBubbleSize val="0"/>
        </c:dLbls>
        <c:marker val="1"/>
        <c:smooth val="0"/>
        <c:axId val="749416128"/>
        <c:axId val="749417112"/>
      </c:lineChart>
      <c:catAx>
        <c:axId val="749416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749417112"/>
        <c:crosses val="autoZero"/>
        <c:auto val="1"/>
        <c:lblAlgn val="ctr"/>
        <c:lblOffset val="100"/>
        <c:noMultiLvlLbl val="0"/>
      </c:catAx>
      <c:valAx>
        <c:axId val="7494171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7494161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tx1">
                  <a:lumMod val="65000"/>
                  <a:lumOff val="35000"/>
                </a:schemeClr>
              </a:solidFill>
              <a:latin typeface="微软雅黑" panose="020B0503020204020204" charset="-122"/>
              <a:ea typeface="微软雅黑" panose="020B0503020204020204" charset="-122"/>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filled"/>
        <c:varyColors val="0"/>
        <c:ser>
          <c:idx val="0"/>
          <c:order val="0"/>
          <c:tx>
            <c:strRef>
              <c:f>Sheet1!$B$1</c:f>
              <c:strCache>
                <c:ptCount val="1"/>
                <c:pt idx="0">
                  <c:v>系列 1</c:v>
                </c:pt>
              </c:strCache>
            </c:strRef>
          </c:tx>
          <c:spPr>
            <a:solidFill>
              <a:srgbClr val="FF5805"/>
            </a:solidFill>
            <a:ln w="31750">
              <a:solidFill>
                <a:srgbClr val="F05A23"/>
              </a:solidFill>
            </a:ln>
          </c:spPr>
          <c:dLbls>
            <c:delete val="1"/>
          </c:dLbls>
          <c:cat>
            <c:numRef>
              <c:f>Sheet1!$A$2:$A$10</c:f>
              <c:numCache>
                <c:formatCode>yyyy/m/d</c:formatCode>
                <c:ptCount val="9"/>
                <c:pt idx="0" c:formatCode="yyyy/m/d">
                  <c:v>37261</c:v>
                </c:pt>
                <c:pt idx="1" c:formatCode="yyyy/m/d">
                  <c:v>37262</c:v>
                </c:pt>
                <c:pt idx="2" c:formatCode="yyyy/m/d">
                  <c:v>37263</c:v>
                </c:pt>
                <c:pt idx="3" c:formatCode="yyyy/m/d">
                  <c:v>37264</c:v>
                </c:pt>
                <c:pt idx="4" c:formatCode="yyyy/m/d">
                  <c:v>37265</c:v>
                </c:pt>
              </c:numCache>
            </c:numRef>
          </c:cat>
          <c:val>
            <c:numRef>
              <c:f>Sheet1!$B$2:$B$10</c:f>
              <c:numCache>
                <c:formatCode>General</c:formatCode>
                <c:ptCount val="9"/>
                <c:pt idx="0">
                  <c:v>4.75</c:v>
                </c:pt>
                <c:pt idx="1">
                  <c:v>5</c:v>
                </c:pt>
                <c:pt idx="2">
                  <c:v>3</c:v>
                </c:pt>
                <c:pt idx="3">
                  <c:v>4</c:v>
                </c:pt>
                <c:pt idx="4">
                  <c:v>5</c:v>
                </c:pt>
                <c:pt idx="5">
                  <c:v>7</c:v>
                </c:pt>
                <c:pt idx="6">
                  <c:v>2</c:v>
                </c:pt>
                <c:pt idx="7">
                  <c:v>8</c:v>
                </c:pt>
                <c:pt idx="8">
                  <c:v>4</c:v>
                </c:pt>
              </c:numCache>
            </c:numRef>
          </c:val>
        </c:ser>
        <c:dLbls>
          <c:showLegendKey val="0"/>
          <c:showVal val="0"/>
          <c:showCatName val="0"/>
          <c:showSerName val="0"/>
          <c:showPercent val="0"/>
          <c:showBubbleSize val="0"/>
        </c:dLbls>
        <c:axId val="181013504"/>
        <c:axId val="181023488"/>
      </c:radarChart>
      <c:catAx>
        <c:axId val="181013504"/>
        <c:scaling>
          <c:orientation val="minMax"/>
        </c:scaling>
        <c:delete val="1"/>
        <c:axPos val="b"/>
        <c:majorGridlines/>
        <c:numFmt formatCode="m\/d\/yyyy" sourceLinked="1"/>
        <c:majorTickMark val="out"/>
        <c:minorTickMark val="none"/>
        <c:tickLblPos val="none"/>
        <c:txPr>
          <a:bodyPr rot="-60000000" spcFirstLastPara="0" vertOverflow="ellipsis" vert="horz" wrap="square" anchor="ctr" anchorCtr="1"/>
          <a:lstStyle/>
          <a:p>
            <a:pPr>
              <a:defRPr lang="zh-CN" sz="1800" b="0" i="0" u="none" strike="noStrike" kern="1200" baseline="0">
                <a:solidFill>
                  <a:schemeClr val="tx1"/>
                </a:solidFill>
                <a:latin typeface="+mn-lt"/>
                <a:ea typeface="+mn-ea"/>
                <a:cs typeface="+mn-cs"/>
              </a:defRPr>
            </a:pPr>
          </a:p>
        </c:txPr>
        <c:crossAx val="181023488"/>
        <c:crosses val="autoZero"/>
        <c:auto val="1"/>
        <c:lblAlgn val="ctr"/>
        <c:lblOffset val="100"/>
        <c:noMultiLvlLbl val="0"/>
      </c:catAx>
      <c:valAx>
        <c:axId val="181023488"/>
        <c:scaling>
          <c:orientation val="minMax"/>
        </c:scaling>
        <c:delete val="0"/>
        <c:axPos val="l"/>
        <c:majorGridlines/>
        <c:numFmt formatCode="General" sourceLinked="1"/>
        <c:majorTickMark val="cross"/>
        <c:minorTickMark val="none"/>
        <c:tickLblPos val="nextTo"/>
        <c:txPr>
          <a:bodyPr rot="-60000000" spcFirstLastPara="0" vertOverflow="ellipsis" vert="horz" wrap="square" anchor="ctr" anchorCtr="1"/>
          <a:lstStyle/>
          <a:p>
            <a:pPr>
              <a:defRPr lang="zh-CN" sz="1400" b="0" i="0" u="none" strike="noStrike" kern="1200" baseline="0">
                <a:noFill/>
                <a:latin typeface="+mn-lt"/>
                <a:ea typeface="+mn-ea"/>
                <a:cs typeface="+mn-cs"/>
              </a:defRPr>
            </a:pPr>
          </a:p>
        </c:txPr>
        <c:crossAx val="181013504"/>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97568389057751"/>
          <c:y val="0.0197568389057751"/>
          <c:w val="0.96048632218845"/>
          <c:h val="0.96048632218845"/>
        </c:manualLayout>
      </c:layout>
      <c:pieChart>
        <c:varyColors val="0"/>
        <c:ser>
          <c:idx val="0"/>
          <c:order val="0"/>
          <c:explosion val="0"/>
          <c:dPt>
            <c:idx val="0"/>
            <c:bubble3D val="0"/>
            <c:spPr>
              <a:solidFill>
                <a:schemeClr val="folHlink"/>
              </a:solidFill>
              <a:ln w="9525">
                <a:solidFill>
                  <a:schemeClr val="folHlink"/>
                </a:solidFill>
                <a:prstDash val="solid"/>
              </a:ln>
            </c:spPr>
          </c:dPt>
          <c:dPt>
            <c:idx val="1"/>
            <c:bubble3D val="0"/>
            <c:spPr>
              <a:solidFill>
                <a:schemeClr val="folHlink"/>
              </a:solidFill>
              <a:ln w="9525">
                <a:solidFill>
                  <a:schemeClr val="folHlink"/>
                </a:solidFill>
                <a:prstDash val="solid"/>
              </a:ln>
            </c:spPr>
          </c:dPt>
          <c:dPt>
            <c:idx val="2"/>
            <c:bubble3D val="0"/>
            <c:spPr>
              <a:solidFill>
                <a:schemeClr val="hlink"/>
              </a:solidFill>
              <a:ln w="9525">
                <a:solidFill>
                  <a:schemeClr val="hlink"/>
                </a:solidFill>
                <a:prstDash val="solid"/>
              </a:ln>
            </c:spPr>
          </c:dPt>
          <c:dPt>
            <c:idx val="3"/>
            <c:bubble3D val="0"/>
            <c:spPr>
              <a:solidFill>
                <a:schemeClr val="hlink"/>
              </a:solidFill>
              <a:ln w="9525">
                <a:solidFill>
                  <a:schemeClr val="hlink"/>
                </a:solidFill>
                <a:prstDash val="solid"/>
              </a:ln>
            </c:spPr>
          </c:dPt>
          <c:dPt>
            <c:idx val="4"/>
            <c:bubble3D val="0"/>
            <c:spPr>
              <a:solidFill>
                <a:schemeClr val="hlink"/>
              </a:solidFill>
              <a:ln w="9525">
                <a:solidFill>
                  <a:schemeClr val="hlink"/>
                </a:solidFill>
                <a:prstDash val="solid"/>
              </a:ln>
            </c:spPr>
          </c:dPt>
          <c:dPt>
            <c:idx val="5"/>
            <c:bubble3D val="0"/>
            <c:spPr>
              <a:solidFill>
                <a:schemeClr val="hlink"/>
              </a:solidFill>
              <a:ln w="9525">
                <a:solidFill>
                  <a:schemeClr val="hlink"/>
                </a:solidFill>
                <a:prstDash val="solid"/>
              </a:ln>
            </c:spPr>
          </c:dPt>
          <c:dPt>
            <c:idx val="6"/>
            <c:bubble3D val="0"/>
            <c:spPr>
              <a:solidFill>
                <a:schemeClr val="accent2"/>
              </a:solidFill>
              <a:ln w="9525">
                <a:solidFill>
                  <a:schemeClr val="accent2"/>
                </a:solidFill>
                <a:prstDash val="solid"/>
              </a:ln>
            </c:spPr>
          </c:dPt>
          <c:dPt>
            <c:idx val="7"/>
            <c:bubble3D val="0"/>
            <c:spPr>
              <a:solidFill>
                <a:schemeClr val="accent2"/>
              </a:solidFill>
              <a:ln w="9525">
                <a:solidFill>
                  <a:schemeClr val="accent2"/>
                </a:solidFill>
                <a:prstDash val="solid"/>
              </a:ln>
            </c:spPr>
          </c:dPt>
          <c:dPt>
            <c:idx val="8"/>
            <c:bubble3D val="0"/>
            <c:spPr>
              <a:solidFill>
                <a:srgbClr val="00B0F0"/>
              </a:solidFill>
              <a:ln w="9525">
                <a:solidFill>
                  <a:schemeClr val="accent2"/>
                </a:solidFill>
                <a:prstDash val="solid"/>
              </a:ln>
            </c:spPr>
          </c:dPt>
          <c:dPt>
            <c:idx val="9"/>
            <c:bubble3D val="0"/>
            <c:spPr>
              <a:solidFill>
                <a:schemeClr val="accent1"/>
              </a:solidFill>
              <a:ln w="9525">
                <a:solidFill>
                  <a:schemeClr val="accent1"/>
                </a:solidFill>
                <a:prstDash val="solid"/>
              </a:ln>
            </c:spPr>
          </c:dPt>
          <c:dLbls>
            <c:delete val="1"/>
          </c:dLbls>
          <c:val>
            <c:numRef>
              <c:f>Sheet1!$A$1:$A$10</c:f>
              <c:numCache>
                <c:formatCode>General</c:formatCode>
                <c:ptCount val="10"/>
                <c:pt idx="0">
                  <c:v>10</c:v>
                </c:pt>
                <c:pt idx="1">
                  <c:v>10</c:v>
                </c:pt>
                <c:pt idx="2">
                  <c:v>10</c:v>
                </c:pt>
                <c:pt idx="3">
                  <c:v>10</c:v>
                </c:pt>
                <c:pt idx="4">
                  <c:v>10</c:v>
                </c:pt>
                <c:pt idx="5">
                  <c:v>10</c:v>
                </c:pt>
                <c:pt idx="6">
                  <c:v>10</c:v>
                </c:pt>
                <c:pt idx="7">
                  <c:v>10</c:v>
                </c:pt>
                <c:pt idx="8">
                  <c:v>10</c:v>
                </c:pt>
                <c:pt idx="9">
                  <c:v>10</c:v>
                </c:pt>
              </c:numCache>
            </c:numRef>
          </c:val>
        </c:ser>
        <c:dLbls>
          <c:showLegendKey val="0"/>
          <c:showVal val="0"/>
          <c:showCatName val="0"/>
          <c:showSerName val="0"/>
          <c:showPercent val="0"/>
          <c:showBubbleSize val="0"/>
          <c:showLeaderLines val="0"/>
        </c:dLbls>
        <c:firstSliceAng val="0"/>
      </c:pieChart>
    </c:plotArea>
    <c:plotVisOnly val="0"/>
    <c:dispBlanksAs val="gap"/>
    <c:showDLblsOverMax val="1"/>
  </c:chart>
  <c:txPr>
    <a:bodyPr/>
    <a:lstStyle/>
    <a:p>
      <a:pPr>
        <a:defRPr lang="zh-CN"/>
      </a:pPr>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238970588235294"/>
          <c:y val="0.0238970588235294"/>
          <c:w val="0.952205882352941"/>
          <c:h val="0.952205882352941"/>
        </c:manualLayout>
      </c:layout>
      <c:pieChart>
        <c:varyColors val="0"/>
        <c:ser>
          <c:idx val="0"/>
          <c:order val="0"/>
          <c:explosion val="0"/>
          <c:dPt>
            <c:idx val="0"/>
            <c:bubble3D val="0"/>
            <c:spPr>
              <a:solidFill>
                <a:schemeClr val="folHlink"/>
              </a:solidFill>
              <a:ln w="9525">
                <a:solidFill>
                  <a:srgbClr val="FFFFFF"/>
                </a:solidFill>
                <a:prstDash val="solid"/>
              </a:ln>
            </c:spPr>
          </c:dPt>
          <c:dPt>
            <c:idx val="1"/>
            <c:bubble3D val="0"/>
            <c:spPr>
              <a:solidFill>
                <a:schemeClr val="folHlink"/>
              </a:solidFill>
              <a:ln w="9525">
                <a:solidFill>
                  <a:srgbClr val="FFFFFF"/>
                </a:solidFill>
                <a:prstDash val="solid"/>
              </a:ln>
            </c:spPr>
          </c:dPt>
          <c:dPt>
            <c:idx val="2"/>
            <c:bubble3D val="0"/>
            <c:spPr>
              <a:solidFill>
                <a:schemeClr val="hlink"/>
              </a:solidFill>
              <a:ln w="9525">
                <a:solidFill>
                  <a:srgbClr val="FFFFFF"/>
                </a:solidFill>
                <a:prstDash val="solid"/>
              </a:ln>
            </c:spPr>
          </c:dPt>
          <c:dPt>
            <c:idx val="3"/>
            <c:bubble3D val="0"/>
            <c:spPr>
              <a:solidFill>
                <a:schemeClr val="hlink"/>
              </a:solidFill>
              <a:ln w="9525">
                <a:solidFill>
                  <a:srgbClr val="FFFFFF"/>
                </a:solidFill>
                <a:prstDash val="solid"/>
              </a:ln>
            </c:spPr>
          </c:dPt>
          <c:dPt>
            <c:idx val="4"/>
            <c:bubble3D val="0"/>
            <c:spPr>
              <a:solidFill>
                <a:schemeClr val="hlink"/>
              </a:solidFill>
              <a:ln w="9525">
                <a:solidFill>
                  <a:srgbClr val="F2F2F2"/>
                </a:solidFill>
                <a:prstDash val="solid"/>
              </a:ln>
            </c:spPr>
          </c:dPt>
          <c:dPt>
            <c:idx val="5"/>
            <c:bubble3D val="0"/>
            <c:spPr>
              <a:solidFill>
                <a:schemeClr val="hlink"/>
              </a:solidFill>
              <a:ln w="9525">
                <a:solidFill>
                  <a:srgbClr val="FFFFFF"/>
                </a:solidFill>
                <a:prstDash val="solid"/>
              </a:ln>
            </c:spPr>
          </c:dPt>
          <c:dPt>
            <c:idx val="6"/>
            <c:bubble3D val="0"/>
            <c:spPr>
              <a:solidFill>
                <a:schemeClr val="accent2"/>
              </a:solidFill>
              <a:ln w="9525">
                <a:solidFill>
                  <a:srgbClr val="FFFFFF"/>
                </a:solidFill>
                <a:prstDash val="solid"/>
              </a:ln>
            </c:spPr>
          </c:dPt>
          <c:dPt>
            <c:idx val="7"/>
            <c:bubble3D val="0"/>
            <c:spPr>
              <a:solidFill>
                <a:schemeClr val="accent2"/>
              </a:solidFill>
              <a:ln w="9525">
                <a:solidFill>
                  <a:srgbClr val="FFFFFF"/>
                </a:solidFill>
                <a:prstDash val="solid"/>
              </a:ln>
            </c:spPr>
          </c:dPt>
          <c:dPt>
            <c:idx val="8"/>
            <c:bubble3D val="0"/>
            <c:spPr>
              <a:solidFill>
                <a:srgbClr val="00B0F0"/>
              </a:solidFill>
              <a:ln w="9525">
                <a:solidFill>
                  <a:srgbClr val="FFFFFF"/>
                </a:solidFill>
                <a:prstDash val="solid"/>
              </a:ln>
            </c:spPr>
          </c:dPt>
          <c:dPt>
            <c:idx val="9"/>
            <c:bubble3D val="0"/>
            <c:spPr>
              <a:solidFill>
                <a:schemeClr val="accent1"/>
              </a:solidFill>
              <a:ln w="9525">
                <a:solidFill>
                  <a:srgbClr val="FFFFFF"/>
                </a:solidFill>
                <a:prstDash val="solid"/>
              </a:ln>
            </c:spPr>
          </c:dPt>
          <c:dLbls>
            <c:delete val="1"/>
          </c:dLbls>
          <c:val>
            <c:numRef>
              <c:f>Sheet1!$A$1:$A$10</c:f>
              <c:numCache>
                <c:formatCode>General</c:formatCode>
                <c:ptCount val="10"/>
                <c:pt idx="0">
                  <c:v>10</c:v>
                </c:pt>
                <c:pt idx="1">
                  <c:v>10</c:v>
                </c:pt>
                <c:pt idx="2">
                  <c:v>10</c:v>
                </c:pt>
                <c:pt idx="3">
                  <c:v>10</c:v>
                </c:pt>
                <c:pt idx="4">
                  <c:v>10</c:v>
                </c:pt>
                <c:pt idx="5">
                  <c:v>10</c:v>
                </c:pt>
                <c:pt idx="6">
                  <c:v>10</c:v>
                </c:pt>
                <c:pt idx="7">
                  <c:v>10</c:v>
                </c:pt>
                <c:pt idx="8">
                  <c:v>10</c:v>
                </c:pt>
                <c:pt idx="9">
                  <c:v>10</c:v>
                </c:pt>
              </c:numCache>
            </c:numRef>
          </c:val>
        </c:ser>
        <c:dLbls>
          <c:showLegendKey val="0"/>
          <c:showVal val="0"/>
          <c:showCatName val="0"/>
          <c:showSerName val="0"/>
          <c:showPercent val="0"/>
          <c:showBubbleSize val="0"/>
          <c:showLeaderLines val="0"/>
        </c:dLbls>
        <c:firstSliceAng val="0"/>
      </c:pieChart>
    </c:plotArea>
    <c:plotVisOnly val="0"/>
    <c:dispBlanksAs val="gap"/>
    <c:showDLblsOverMax val="1"/>
  </c:chart>
  <c:txPr>
    <a:bodyPr/>
    <a:lstStyle/>
    <a:p>
      <a:pPr>
        <a:defRPr lang="zh-CN"/>
      </a:pPr>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61964904333203"/>
          <c:y val="0.0198100002360334"/>
          <c:w val="0.780914733757278"/>
          <c:h val="0.9000791784892"/>
        </c:manualLayout>
      </c:layout>
      <c:radarChart>
        <c:radarStyle val="marker"/>
        <c:varyColors val="0"/>
        <c:ser>
          <c:idx val="0"/>
          <c:order val="0"/>
          <c:tx>
            <c:strRef>
              <c:f>Sheet1!$B$1</c:f>
              <c:strCache>
                <c:ptCount val="1"/>
                <c:pt idx="0">
                  <c:v>系列 1</c:v>
                </c:pt>
              </c:strCache>
            </c:strRef>
          </c:tx>
          <c:spPr>
            <a:ln w="28575" cap="rnd" cmpd="sng" algn="ctr">
              <a:solidFill>
                <a:srgbClr val="F05A23"/>
              </a:solidFill>
              <a:prstDash val="solid"/>
              <a:round/>
            </a:ln>
            <a:effectLst/>
          </c:spPr>
          <c:marker>
            <c:symbol val="none"/>
          </c:marker>
          <c:dLbls>
            <c:delete val="1"/>
          </c:dLbls>
          <c:val>
            <c:numRef>
              <c:f>Sheet1!$B$2:$B$11</c:f>
              <c:numCache>
                <c:formatCode>General</c:formatCode>
                <c:ptCount val="10"/>
                <c:pt idx="0">
                  <c:v>4</c:v>
                </c:pt>
                <c:pt idx="1">
                  <c:v>9</c:v>
                </c:pt>
                <c:pt idx="2">
                  <c:v>6</c:v>
                </c:pt>
                <c:pt idx="3">
                  <c:v>7</c:v>
                </c:pt>
                <c:pt idx="4">
                  <c:v>4</c:v>
                </c:pt>
                <c:pt idx="5">
                  <c:v>5</c:v>
                </c:pt>
                <c:pt idx="6">
                  <c:v>7</c:v>
                </c:pt>
                <c:pt idx="7">
                  <c:v>2</c:v>
                </c:pt>
                <c:pt idx="8">
                  <c:v>6</c:v>
                </c:pt>
                <c:pt idx="9">
                  <c:v>6</c:v>
                </c:pt>
              </c:numCache>
            </c:numRef>
          </c:val>
          <c:extLst>
            <c:ext xmlns:c15="http://schemas.microsoft.com/office/drawing/2012/chart" uri="{02D57815-91ED-43cb-92C2-25804820EDAC}">
              <c15:filteredCategoryTitle>
                <c15:cat>
                  <c:numRef>
                    <c:extLst>
                      <c:ext uri="{02D57815-91ED-43cb-92C2-25804820EDAC}">
                        <c15:formulaRef>
                          <c15:sqref>Sheet1!#REF!</c15:sqref>
                        </c15:formulaRef>
                      </c:ext>
                    </c:extLst>
                    <c:numCache>
                      <c:ptCount val="0"/>
                    </c:numCache>
                  </c:numRef>
                </c15:cat>
              </c15:filteredCategoryTitle>
            </c:ext>
          </c:extLst>
        </c:ser>
        <c:ser>
          <c:idx val="1"/>
          <c:order val="1"/>
          <c:tx>
            <c:strRef>
              <c:f>Sheet1!$C$1</c:f>
              <c:strCache>
                <c:ptCount val="1"/>
                <c:pt idx="0">
                  <c:v>系列 2</c:v>
                </c:pt>
              </c:strCache>
            </c:strRef>
          </c:tx>
          <c:spPr>
            <a:ln w="28575" cap="rnd" cmpd="sng" algn="ctr">
              <a:solidFill>
                <a:schemeClr val="accent2"/>
              </a:solidFill>
              <a:prstDash val="solid"/>
              <a:round/>
            </a:ln>
            <a:effectLst/>
          </c:spPr>
          <c:marker>
            <c:symbol val="none"/>
          </c:marker>
          <c:dLbls>
            <c:delete val="1"/>
          </c:dLbls>
          <c:val>
            <c:numRef>
              <c:f>Sheet1!$C$2:$C$11</c:f>
              <c:numCache>
                <c:formatCode>General</c:formatCode>
                <c:ptCount val="10"/>
              </c:numCache>
            </c:numRef>
          </c:val>
          <c:extLst>
            <c:ext xmlns:c15="http://schemas.microsoft.com/office/drawing/2012/chart" uri="{02D57815-91ED-43cb-92C2-25804820EDAC}">
              <c15:filteredCategoryTitle>
                <c15:cat>
                  <c:numRef>
                    <c:extLst>
                      <c:ext uri="{02D57815-91ED-43cb-92C2-25804820EDAC}">
                        <c15:formulaRef>
                          <c15:sqref>Sheet1!#REF!</c15:sqref>
                        </c15:formulaRef>
                      </c:ext>
                    </c:extLst>
                    <c:numCache>
                      <c:ptCount val="0"/>
                    </c:numCache>
                  </c:numRef>
                </c15:cat>
              </c15:filteredCategoryTitle>
            </c:ext>
          </c:extLst>
        </c:ser>
        <c:dLbls>
          <c:showLegendKey val="0"/>
          <c:showVal val="0"/>
          <c:showCatName val="0"/>
          <c:showSerName val="0"/>
          <c:showPercent val="0"/>
          <c:showBubbleSize val="0"/>
        </c:dLbls>
        <c:axId val="464524032"/>
        <c:axId val="464525568"/>
      </c:radarChart>
      <c:catAx>
        <c:axId val="464524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464525568"/>
        <c:crosses val="autoZero"/>
        <c:auto val="1"/>
        <c:lblAlgn val="ctr"/>
        <c:lblOffset val="100"/>
        <c:noMultiLvlLbl val="0"/>
      </c:catAx>
      <c:valAx>
        <c:axId val="464525568"/>
        <c:scaling>
          <c:orientation val="minMax"/>
        </c:scaling>
        <c:delete val="1"/>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464524032"/>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074518153504018"/>
          <c:w val="0.851855308129294"/>
          <c:h val="0.819300162490549"/>
        </c:manualLayout>
      </c:layout>
      <c:doughnutChart>
        <c:varyColors val="1"/>
        <c:ser>
          <c:idx val="0"/>
          <c:order val="0"/>
          <c:tx>
            <c:strRef>
              <c:f>Sheet1!$B$1</c:f>
              <c:strCache>
                <c:ptCount val="1"/>
                <c:pt idx="0">
                  <c:v>销售额</c:v>
                </c:pt>
              </c:strCache>
            </c:strRef>
          </c:tx>
          <c:spPr>
            <a:solidFill>
              <a:schemeClr val="tx1">
                <a:lumMod val="65000"/>
                <a:lumOff val="35000"/>
              </a:schemeClr>
            </a:solidFill>
            <a:ln>
              <a:noFill/>
            </a:ln>
          </c:spPr>
          <c:explosion val="0"/>
          <c:dPt>
            <c:idx val="0"/>
            <c:bubble3D val="0"/>
            <c:spPr>
              <a:solidFill>
                <a:schemeClr val="accent4"/>
              </a:solidFill>
              <a:ln w="19050">
                <a:noFill/>
              </a:ln>
              <a:effectLst/>
            </c:spPr>
          </c:dPt>
          <c:dPt>
            <c:idx val="1"/>
            <c:bubble3D val="0"/>
            <c:spPr>
              <a:solidFill>
                <a:schemeClr val="tx1">
                  <a:lumMod val="65000"/>
                  <a:lumOff val="35000"/>
                </a:schemeClr>
              </a:solidFill>
              <a:ln w="19050">
                <a:noFill/>
              </a:ln>
              <a:effectLst/>
            </c:spPr>
          </c:dPt>
          <c:dLbls>
            <c:delete val="1"/>
          </c:dLbls>
          <c:cat>
            <c:strRef>
              <c:f>Sheet1!$A$2:$A$3</c:f>
              <c:strCache>
                <c:ptCount val="2"/>
                <c:pt idx="0">
                  <c:v>第一季度</c:v>
                </c:pt>
                <c:pt idx="1">
                  <c:v>第二季度</c:v>
                </c:pt>
              </c:strCache>
            </c:strRef>
          </c:cat>
          <c:val>
            <c:numRef>
              <c:f>Sheet1!$B$2:$B$3</c:f>
              <c:numCache>
                <c:formatCode>General</c:formatCode>
                <c:ptCount val="2"/>
                <c:pt idx="0">
                  <c:v>0.6</c:v>
                </c:pt>
                <c:pt idx="1">
                  <c:v>0.4</c:v>
                </c:pt>
              </c:numCache>
            </c:numRef>
          </c:val>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rgbClr val="FE5817"/>
            </a:solidFill>
          </c:spPr>
          <c:invertIfNegative val="0"/>
          <c:dLbls>
            <c:delete val="1"/>
          </c:dLbls>
          <c:cat>
            <c:numRef>
              <c:f>Sheet1!$A$2:$A$4</c:f>
              <c:numCache>
                <c:formatCode>General</c:formatCode>
                <c:ptCount val="3"/>
                <c:pt idx="0">
                  <c:v>2015</c:v>
                </c:pt>
                <c:pt idx="1">
                  <c:v>2016</c:v>
                </c:pt>
                <c:pt idx="2">
                  <c:v>2017</c:v>
                </c:pt>
              </c:numCache>
            </c:numRef>
          </c:cat>
          <c:val>
            <c:numRef>
              <c:f>Sheet1!$B$2:$B$4</c:f>
              <c:numCache>
                <c:formatCode>General</c:formatCode>
                <c:ptCount val="3"/>
                <c:pt idx="0">
                  <c:v>3</c:v>
                </c:pt>
                <c:pt idx="1">
                  <c:v>25</c:v>
                </c:pt>
                <c:pt idx="2">
                  <c:v>124</c:v>
                </c:pt>
              </c:numCache>
            </c:numRef>
          </c:val>
        </c:ser>
        <c:ser>
          <c:idx val="1"/>
          <c:order val="1"/>
          <c:tx>
            <c:strRef>
              <c:f>Sheet1!$C$1</c:f>
              <c:strCache>
                <c:ptCount val="1"/>
                <c:pt idx="0">
                  <c:v>系列 2</c:v>
                </c:pt>
              </c:strCache>
            </c:strRef>
          </c:tx>
          <c:invertIfNegative val="0"/>
          <c:dLbls>
            <c:delete val="1"/>
          </c:dLbls>
          <c:cat>
            <c:numRef>
              <c:f>Sheet1!$A$2:$A$4</c:f>
              <c:numCache>
                <c:formatCode>General</c:formatCode>
                <c:ptCount val="3"/>
                <c:pt idx="0">
                  <c:v>2015</c:v>
                </c:pt>
                <c:pt idx="1">
                  <c:v>2016</c:v>
                </c:pt>
                <c:pt idx="2">
                  <c:v>2017</c:v>
                </c:pt>
              </c:numCache>
            </c:numRef>
          </c:cat>
          <c:val>
            <c:numRef>
              <c:f>Sheet1!$C$2:$C$4</c:f>
              <c:numCache>
                <c:formatCode>General</c:formatCode>
                <c:ptCount val="3"/>
              </c:numCache>
            </c:numRef>
          </c:val>
        </c:ser>
        <c:dLbls>
          <c:showLegendKey val="0"/>
          <c:showVal val="0"/>
          <c:showCatName val="0"/>
          <c:showSerName val="0"/>
          <c:showPercent val="0"/>
          <c:showBubbleSize val="0"/>
        </c:dLbls>
        <c:gapWidth val="150"/>
        <c:axId val="102356480"/>
        <c:axId val="102358016"/>
      </c:barChart>
      <c:catAx>
        <c:axId val="102356480"/>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1050" b="0" i="0" u="none" strike="noStrike" kern="1200" baseline="0">
                <a:solidFill>
                  <a:schemeClr val="tx1"/>
                </a:solidFill>
                <a:latin typeface="+mn-ea"/>
                <a:ea typeface="+mn-ea"/>
                <a:cs typeface="+mn-cs"/>
              </a:defRPr>
            </a:pPr>
          </a:p>
        </c:txPr>
        <c:crossAx val="102358016"/>
        <c:crosses val="autoZero"/>
        <c:auto val="1"/>
        <c:lblAlgn val="ctr"/>
        <c:lblOffset val="100"/>
        <c:noMultiLvlLbl val="0"/>
      </c:catAx>
      <c:valAx>
        <c:axId val="102358016"/>
        <c:scaling>
          <c:orientation val="minMax"/>
        </c:scaling>
        <c:delete val="0"/>
        <c:axPos val="l"/>
        <c:majorGridlines/>
        <c:numFmt formatCode="General" sourceLinked="1"/>
        <c:majorTickMark val="out"/>
        <c:minorTickMark val="none"/>
        <c:tickLblPos val="nextTo"/>
        <c:txPr>
          <a:bodyPr rot="-60000000" spcFirstLastPara="0" vertOverflow="ellipsis" vert="horz" wrap="square" anchor="ctr" anchorCtr="1"/>
          <a:lstStyle/>
          <a:p>
            <a:pPr>
              <a:defRPr lang="zh-CN" sz="1100" b="0" i="0" u="none" strike="noStrike" kern="1200" baseline="0">
                <a:solidFill>
                  <a:schemeClr val="tx1"/>
                </a:solidFill>
                <a:latin typeface="+mj-ea"/>
                <a:ea typeface="+mj-ea"/>
                <a:cs typeface="+mn-cs"/>
              </a:defRPr>
            </a:pPr>
          </a:p>
        </c:txPr>
        <c:crossAx val="102356480"/>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rgbClr val="FE5817"/>
            </a:solidFill>
            <a:ln>
              <a:solidFill>
                <a:schemeClr val="accent1"/>
              </a:solidFill>
            </a:ln>
          </c:spPr>
          <c:invertIfNegative val="0"/>
          <c:dLbls>
            <c:delete val="1"/>
          </c:dLbls>
          <c:cat>
            <c:numRef>
              <c:f>Sheet1!$A$2:$A$4</c:f>
              <c:numCache>
                <c:formatCode>General</c:formatCode>
                <c:ptCount val="3"/>
                <c:pt idx="0">
                  <c:v>2015</c:v>
                </c:pt>
                <c:pt idx="1">
                  <c:v>2016</c:v>
                </c:pt>
                <c:pt idx="2">
                  <c:v>2017</c:v>
                </c:pt>
              </c:numCache>
            </c:numRef>
          </c:cat>
          <c:val>
            <c:numRef>
              <c:f>Sheet1!$B$2:$B$4</c:f>
              <c:numCache>
                <c:formatCode>General</c:formatCode>
                <c:ptCount val="3"/>
                <c:pt idx="0">
                  <c:v>3</c:v>
                </c:pt>
                <c:pt idx="1">
                  <c:v>25</c:v>
                </c:pt>
                <c:pt idx="2">
                  <c:v>124</c:v>
                </c:pt>
              </c:numCache>
            </c:numRef>
          </c:val>
        </c:ser>
        <c:ser>
          <c:idx val="1"/>
          <c:order val="1"/>
          <c:tx>
            <c:strRef>
              <c:f>Sheet1!$C$1</c:f>
              <c:strCache>
                <c:ptCount val="1"/>
                <c:pt idx="0">
                  <c:v>系列 2</c:v>
                </c:pt>
              </c:strCache>
            </c:strRef>
          </c:tx>
          <c:invertIfNegative val="0"/>
          <c:dLbls>
            <c:delete val="1"/>
          </c:dLbls>
          <c:cat>
            <c:numRef>
              <c:f>Sheet1!$A$2:$A$4</c:f>
              <c:numCache>
                <c:formatCode>General</c:formatCode>
                <c:ptCount val="3"/>
                <c:pt idx="0">
                  <c:v>2015</c:v>
                </c:pt>
                <c:pt idx="1">
                  <c:v>2016</c:v>
                </c:pt>
                <c:pt idx="2">
                  <c:v>2017</c:v>
                </c:pt>
              </c:numCache>
            </c:numRef>
          </c:cat>
          <c:val>
            <c:numRef>
              <c:f>Sheet1!$C$2:$C$4</c:f>
              <c:numCache>
                <c:formatCode>General</c:formatCode>
                <c:ptCount val="3"/>
              </c:numCache>
            </c:numRef>
          </c:val>
        </c:ser>
        <c:dLbls>
          <c:showLegendKey val="0"/>
          <c:showVal val="0"/>
          <c:showCatName val="0"/>
          <c:showSerName val="0"/>
          <c:showPercent val="0"/>
          <c:showBubbleSize val="0"/>
        </c:dLbls>
        <c:gapWidth val="150"/>
        <c:axId val="108170240"/>
        <c:axId val="108172032"/>
      </c:barChart>
      <c:catAx>
        <c:axId val="108170240"/>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1050" b="0" i="0" u="none" strike="noStrike" kern="1200" baseline="0">
                <a:solidFill>
                  <a:schemeClr val="tx1"/>
                </a:solidFill>
                <a:latin typeface="+mj-ea"/>
                <a:ea typeface="+mj-ea"/>
                <a:cs typeface="+mn-cs"/>
              </a:defRPr>
            </a:pPr>
          </a:p>
        </c:txPr>
        <c:crossAx val="108172032"/>
        <c:crosses val="autoZero"/>
        <c:auto val="1"/>
        <c:lblAlgn val="ctr"/>
        <c:lblOffset val="100"/>
        <c:noMultiLvlLbl val="0"/>
      </c:catAx>
      <c:valAx>
        <c:axId val="108172032"/>
        <c:scaling>
          <c:orientation val="minMax"/>
        </c:scaling>
        <c:delete val="0"/>
        <c:axPos val="l"/>
        <c:majorGridlines/>
        <c:numFmt formatCode="General" sourceLinked="1"/>
        <c:majorTickMark val="out"/>
        <c:minorTickMark val="none"/>
        <c:tickLblPos val="nextTo"/>
        <c:txPr>
          <a:bodyPr rot="-60000000" spcFirstLastPara="0" vertOverflow="ellipsis" vert="horz" wrap="square" anchor="ctr" anchorCtr="1"/>
          <a:lstStyle/>
          <a:p>
            <a:pPr>
              <a:defRPr lang="zh-CN" sz="1050" b="0" i="0" u="none" strike="noStrike" kern="1200" baseline="0">
                <a:solidFill>
                  <a:schemeClr val="tx1"/>
                </a:solidFill>
                <a:latin typeface="+mj-ea"/>
                <a:ea typeface="+mj-ea"/>
                <a:cs typeface="+mn-cs"/>
              </a:defRPr>
            </a:pPr>
          </a:p>
        </c:txPr>
        <c:crossAx val="108170240"/>
        <c:crosses val="autoZero"/>
        <c:crossBetween val="between"/>
      </c:valAx>
    </c:plotArea>
    <c:plotVisOnly val="1"/>
    <c:dispBlanksAs val="gap"/>
    <c:showDLblsOverMax val="0"/>
  </c:chart>
  <c:txPr>
    <a:bodyPr/>
    <a:lstStyle/>
    <a:p>
      <a:pPr>
        <a:defRPr lang="zh-CN" sz="1050">
          <a:latin typeface="+mj-ea"/>
          <a:ea typeface="+mj-ea"/>
        </a:defRPr>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rgbClr val="FE5817"/>
            </a:solidFill>
          </c:spPr>
          <c:invertIfNegative val="0"/>
          <c:dLbls>
            <c:delete val="1"/>
          </c:dLbls>
          <c:cat>
            <c:numRef>
              <c:f>Sheet1!$A$2:$A$4</c:f>
              <c:numCache>
                <c:formatCode>General</c:formatCode>
                <c:ptCount val="3"/>
                <c:pt idx="0">
                  <c:v>2015</c:v>
                </c:pt>
                <c:pt idx="1">
                  <c:v>2016</c:v>
                </c:pt>
                <c:pt idx="2">
                  <c:v>2017</c:v>
                </c:pt>
              </c:numCache>
            </c:numRef>
          </c:cat>
          <c:val>
            <c:numRef>
              <c:f>Sheet1!$B$2:$B$4</c:f>
              <c:numCache>
                <c:formatCode>General</c:formatCode>
                <c:ptCount val="3"/>
                <c:pt idx="0">
                  <c:v>3</c:v>
                </c:pt>
                <c:pt idx="1">
                  <c:v>25</c:v>
                </c:pt>
                <c:pt idx="2">
                  <c:v>124</c:v>
                </c:pt>
              </c:numCache>
            </c:numRef>
          </c:val>
        </c:ser>
        <c:ser>
          <c:idx val="1"/>
          <c:order val="1"/>
          <c:tx>
            <c:strRef>
              <c:f>Sheet1!$C$1</c:f>
              <c:strCache>
                <c:ptCount val="1"/>
                <c:pt idx="0">
                  <c:v>系列 2</c:v>
                </c:pt>
              </c:strCache>
            </c:strRef>
          </c:tx>
          <c:invertIfNegative val="0"/>
          <c:dLbls>
            <c:delete val="1"/>
          </c:dLbls>
          <c:cat>
            <c:numRef>
              <c:f>Sheet1!$A$2:$A$4</c:f>
              <c:numCache>
                <c:formatCode>General</c:formatCode>
                <c:ptCount val="3"/>
                <c:pt idx="0">
                  <c:v>2015</c:v>
                </c:pt>
                <c:pt idx="1">
                  <c:v>2016</c:v>
                </c:pt>
                <c:pt idx="2">
                  <c:v>2017</c:v>
                </c:pt>
              </c:numCache>
            </c:numRef>
          </c:cat>
          <c:val>
            <c:numRef>
              <c:f>Sheet1!$C$2:$C$4</c:f>
              <c:numCache>
                <c:formatCode>General</c:formatCode>
                <c:ptCount val="3"/>
              </c:numCache>
            </c:numRef>
          </c:val>
        </c:ser>
        <c:dLbls>
          <c:showLegendKey val="0"/>
          <c:showVal val="0"/>
          <c:showCatName val="0"/>
          <c:showSerName val="0"/>
          <c:showPercent val="0"/>
          <c:showBubbleSize val="0"/>
        </c:dLbls>
        <c:gapWidth val="150"/>
        <c:axId val="108192512"/>
        <c:axId val="108194048"/>
      </c:barChart>
      <c:catAx>
        <c:axId val="108192512"/>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1050" b="0" i="0" u="none" strike="noStrike" kern="1200" baseline="0">
                <a:solidFill>
                  <a:schemeClr val="tx1"/>
                </a:solidFill>
                <a:latin typeface="+mj-ea"/>
                <a:ea typeface="+mj-ea"/>
                <a:cs typeface="+mn-cs"/>
              </a:defRPr>
            </a:pPr>
          </a:p>
        </c:txPr>
        <c:crossAx val="108194048"/>
        <c:crosses val="autoZero"/>
        <c:auto val="1"/>
        <c:lblAlgn val="ctr"/>
        <c:lblOffset val="100"/>
        <c:noMultiLvlLbl val="0"/>
      </c:catAx>
      <c:valAx>
        <c:axId val="108194048"/>
        <c:scaling>
          <c:orientation val="minMax"/>
        </c:scaling>
        <c:delete val="0"/>
        <c:axPos val="l"/>
        <c:majorGridlines/>
        <c:numFmt formatCode="General" sourceLinked="1"/>
        <c:majorTickMark val="out"/>
        <c:minorTickMark val="none"/>
        <c:tickLblPos val="nextTo"/>
        <c:txPr>
          <a:bodyPr rot="-60000000" spcFirstLastPara="0" vertOverflow="ellipsis" vert="horz" wrap="square" anchor="ctr" anchorCtr="1"/>
          <a:lstStyle/>
          <a:p>
            <a:pPr>
              <a:defRPr lang="zh-CN" sz="1050" b="0" i="0" u="none" strike="noStrike" kern="1200" baseline="0">
                <a:solidFill>
                  <a:schemeClr val="tx1"/>
                </a:solidFill>
                <a:latin typeface="+mj-ea"/>
                <a:ea typeface="+mj-ea"/>
                <a:cs typeface="+mn-cs"/>
              </a:defRPr>
            </a:pPr>
          </a:p>
        </c:txPr>
        <c:crossAx val="108192512"/>
        <c:crosses val="autoZero"/>
        <c:crossBetween val="between"/>
      </c:valAx>
    </c:plotArea>
    <c:plotVisOnly val="1"/>
    <c:dispBlanksAs val="gap"/>
    <c:showDLblsOverMax val="0"/>
  </c:chart>
  <c:txPr>
    <a:bodyPr/>
    <a:lstStyle/>
    <a:p>
      <a:pPr>
        <a:defRPr lang="zh-CN" sz="1050">
          <a:latin typeface="+mj-ea"/>
          <a:ea typeface="+mj-ea"/>
        </a:defRPr>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rgbClr val="FE5817"/>
            </a:solidFill>
          </c:spPr>
          <c:invertIfNegative val="0"/>
          <c:dLbls>
            <c:delete val="1"/>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c:v>
                </c:pt>
                <c:pt idx="1">
                  <c:v>3</c:v>
                </c:pt>
                <c:pt idx="2">
                  <c:v>25</c:v>
                </c:pt>
                <c:pt idx="3">
                  <c:v>124</c:v>
                </c:pt>
              </c:numCache>
            </c:numRef>
          </c:val>
        </c:ser>
        <c:ser>
          <c:idx val="1"/>
          <c:order val="1"/>
          <c:tx>
            <c:strRef>
              <c:f>Sheet1!$C$1</c:f>
              <c:strCache>
                <c:ptCount val="1"/>
                <c:pt idx="0">
                  <c:v>系列 2</c:v>
                </c:pt>
              </c:strCache>
            </c:strRef>
          </c:tx>
          <c:spPr>
            <a:solidFill>
              <a:srgbClr val="394A57"/>
            </a:solidFill>
          </c:spPr>
          <c:invertIfNegative val="0"/>
          <c:dLbls>
            <c:delete val="1"/>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c:v>
                </c:pt>
                <c:pt idx="1">
                  <c:v>3</c:v>
                </c:pt>
                <c:pt idx="2">
                  <c:v>12</c:v>
                </c:pt>
                <c:pt idx="3">
                  <c:v>67</c:v>
                </c:pt>
              </c:numCache>
            </c:numRef>
          </c:val>
        </c:ser>
        <c:dLbls>
          <c:showLegendKey val="0"/>
          <c:showVal val="0"/>
          <c:showCatName val="0"/>
          <c:showSerName val="0"/>
          <c:showPercent val="0"/>
          <c:showBubbleSize val="0"/>
        </c:dLbls>
        <c:gapWidth val="150"/>
        <c:axId val="42210816"/>
        <c:axId val="42212352"/>
      </c:barChart>
      <c:catAx>
        <c:axId val="42210816"/>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1050" b="0" i="0" u="none" strike="noStrike" kern="1200" baseline="0">
                <a:solidFill>
                  <a:schemeClr val="tx1"/>
                </a:solidFill>
                <a:latin typeface="+mn-lt"/>
                <a:ea typeface="+mn-ea"/>
                <a:cs typeface="+mn-cs"/>
              </a:defRPr>
            </a:pPr>
          </a:p>
        </c:txPr>
        <c:crossAx val="42212352"/>
        <c:crosses val="autoZero"/>
        <c:auto val="1"/>
        <c:lblAlgn val="ctr"/>
        <c:lblOffset val="100"/>
        <c:noMultiLvlLbl val="0"/>
      </c:catAx>
      <c:valAx>
        <c:axId val="42212352"/>
        <c:scaling>
          <c:orientation val="minMax"/>
        </c:scaling>
        <c:delete val="0"/>
        <c:axPos val="l"/>
        <c:majorGridlines/>
        <c:numFmt formatCode="General" sourceLinked="1"/>
        <c:majorTickMark val="out"/>
        <c:minorTickMark val="none"/>
        <c:tickLblPos val="nextTo"/>
        <c:txPr>
          <a:bodyPr rot="-60000000" spcFirstLastPara="0" vertOverflow="ellipsis" vert="horz" wrap="square" anchor="ctr" anchorCtr="1"/>
          <a:lstStyle/>
          <a:p>
            <a:pPr>
              <a:defRPr lang="zh-CN" sz="1100" b="0" i="0" u="none" strike="noStrike" kern="1200" baseline="0">
                <a:solidFill>
                  <a:schemeClr val="tx1"/>
                </a:solidFill>
                <a:latin typeface="+mn-lt"/>
                <a:ea typeface="+mn-ea"/>
                <a:cs typeface="+mn-cs"/>
              </a:defRPr>
            </a:pPr>
          </a:p>
        </c:txPr>
        <c:crossAx val="42210816"/>
        <c:crosses val="autoZero"/>
        <c:crossBetween val="between"/>
      </c:valAx>
    </c:plotArea>
    <c:plotVisOnly val="1"/>
    <c:dispBlanksAs val="gap"/>
    <c:showDLblsOverMax val="0"/>
  </c:chart>
  <c:txPr>
    <a:bodyPr/>
    <a:lstStyle/>
    <a:p>
      <a:pPr>
        <a:defRPr lang="zh-CN" sz="1800"/>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D584E36A-AF1D-4F73-9484-DC9A67AC4B49}" type="doc">
      <dgm:prSet loTypeId="urn:microsoft.com/office/officeart/2008/layout/HorizontalMultiLevelHierarchy" loCatId="hierarchy" qsTypeId="urn:microsoft.com/office/officeart/2005/8/quickstyle/simple2" qsCatId="simple" csTypeId="urn:microsoft.com/office/officeart/2005/8/colors/accent1_2" csCatId="accent1" phldr="1"/>
      <dgm:spPr/>
      <dgm:t>
        <a:bodyPr/>
        <a:lstStyle/>
        <a:p>
          <a:endParaRPr lang="zh-CN" altLang="en-US"/>
        </a:p>
      </dgm:t>
    </dgm:pt>
    <dgm:pt modelId="{BD401F49-5594-4DD2-AF82-CB24661B30B7}">
      <dgm:prSet phldrT="[文本]" custT="1"/>
      <dgm:spPr>
        <a:solidFill>
          <a:srgbClr val="FE5817"/>
        </a:solidFill>
      </dgm:spPr>
      <dgm:t>
        <a:bodyPr vert="vert"/>
        <a:lstStyle/>
        <a:p>
          <a:r>
            <a:rPr lang="en-US" altLang="zh-CN" sz="1800" dirty="0" err="1" smtClean="0">
              <a:latin typeface="+mn-ea"/>
              <a:ea typeface="+mn-ea"/>
            </a:rPr>
            <a:t>xxxx</a:t>
          </a:r>
          <a:r>
            <a:rPr lang="zh-CN" altLang="en-US" sz="1800" dirty="0" smtClean="0">
              <a:latin typeface="+mn-ea"/>
              <a:ea typeface="+mn-ea"/>
            </a:rPr>
            <a:t>年</a:t>
          </a:r>
          <a:endParaRPr lang="en-US" altLang="zh-CN" sz="1800" dirty="0" smtClean="0">
            <a:latin typeface="+mn-ea"/>
            <a:ea typeface="+mn-ea"/>
          </a:endParaRPr>
        </a:p>
        <a:p>
          <a:r>
            <a:rPr lang="zh-CN" altLang="en-US" sz="1800" dirty="0" smtClean="0">
              <a:latin typeface="+mn-ea"/>
              <a:ea typeface="+mn-ea"/>
            </a:rPr>
            <a:t>人力规划</a:t>
          </a:r>
          <a:endParaRPr lang="zh-CN" altLang="en-US" sz="1800" dirty="0">
            <a:latin typeface="+mn-ea"/>
            <a:ea typeface="+mn-ea"/>
          </a:endParaRPr>
        </a:p>
      </dgm:t>
    </dgm:pt>
    <dgm:pt modelId="{EF0C0EC2-70AB-47A4-90D9-44952DA76DEA}" cxnId="{25BB813F-D122-4300-A887-6B09547FE12E}" type="parTrans">
      <dgm:prSet/>
      <dgm:spPr/>
      <dgm:t>
        <a:bodyPr/>
        <a:lstStyle/>
        <a:p>
          <a:endParaRPr lang="zh-CN" altLang="en-US">
            <a:latin typeface="+mn-ea"/>
            <a:ea typeface="+mn-ea"/>
          </a:endParaRPr>
        </a:p>
      </dgm:t>
    </dgm:pt>
    <dgm:pt modelId="{E57886AF-6E69-41CB-A271-1B6D854A33B1}" cxnId="{25BB813F-D122-4300-A887-6B09547FE12E}" type="sibTrans">
      <dgm:prSet/>
      <dgm:spPr/>
      <dgm:t>
        <a:bodyPr/>
        <a:lstStyle/>
        <a:p>
          <a:endParaRPr lang="zh-CN" altLang="en-US">
            <a:latin typeface="+mn-ea"/>
            <a:ea typeface="+mn-ea"/>
          </a:endParaRPr>
        </a:p>
      </dgm:t>
    </dgm:pt>
    <dgm:pt modelId="{B120D98A-B472-4EF3-A76E-6B7E0AFA430E}">
      <dgm:prSet phldrT="[文本]"/>
      <dgm:spPr>
        <a:solidFill>
          <a:srgbClr val="FE5817"/>
        </a:solidFill>
      </dgm:spPr>
      <dgm:t>
        <a:bodyPr/>
        <a:lstStyle/>
        <a:p>
          <a:r>
            <a:rPr lang="zh-CN" altLang="en-US" dirty="0" smtClean="0">
              <a:latin typeface="+mn-ea"/>
              <a:ea typeface="+mn-ea"/>
            </a:rPr>
            <a:t>项目拓展</a:t>
          </a:r>
          <a:r>
            <a:rPr lang="en-US" altLang="zh-CN" dirty="0" smtClean="0">
              <a:latin typeface="+mn-ea"/>
              <a:ea typeface="+mn-ea"/>
            </a:rPr>
            <a:t>10</a:t>
          </a:r>
          <a:r>
            <a:rPr lang="zh-CN" altLang="en-US" dirty="0" smtClean="0">
              <a:latin typeface="+mn-ea"/>
              <a:ea typeface="+mn-ea"/>
            </a:rPr>
            <a:t>人</a:t>
          </a:r>
          <a:endParaRPr lang="zh-CN" altLang="en-US" dirty="0">
            <a:latin typeface="+mn-ea"/>
            <a:ea typeface="+mn-ea"/>
          </a:endParaRPr>
        </a:p>
      </dgm:t>
    </dgm:pt>
    <dgm:pt modelId="{C5166C4E-ACF9-4C81-97C3-61DB8357C552}" cxnId="{305A40D3-744B-47B4-937A-54B1F279C93C}" type="parTrans">
      <dgm:prSet/>
      <dgm:spPr/>
      <dgm:t>
        <a:bodyPr/>
        <a:lstStyle/>
        <a:p>
          <a:endParaRPr lang="zh-CN" altLang="en-US">
            <a:latin typeface="+mn-ea"/>
            <a:ea typeface="+mn-ea"/>
          </a:endParaRPr>
        </a:p>
      </dgm:t>
    </dgm:pt>
    <dgm:pt modelId="{5D651DE0-4B93-4142-A072-EE85F5CB0142}" cxnId="{305A40D3-744B-47B4-937A-54B1F279C93C}" type="sibTrans">
      <dgm:prSet/>
      <dgm:spPr/>
      <dgm:t>
        <a:bodyPr/>
        <a:lstStyle/>
        <a:p>
          <a:endParaRPr lang="zh-CN" altLang="en-US">
            <a:latin typeface="+mn-ea"/>
            <a:ea typeface="+mn-ea"/>
          </a:endParaRPr>
        </a:p>
      </dgm:t>
    </dgm:pt>
    <dgm:pt modelId="{3EC324D6-9AAF-484E-8154-3536FF549576}">
      <dgm:prSet phldrT="[文本]"/>
      <dgm:spPr>
        <a:solidFill>
          <a:srgbClr val="FE5817"/>
        </a:solidFill>
      </dgm:spPr>
      <dgm:t>
        <a:bodyPr/>
        <a:lstStyle/>
        <a:p>
          <a:r>
            <a:rPr lang="zh-CN" altLang="en-US" dirty="0" smtClean="0">
              <a:latin typeface="+mn-ea"/>
              <a:ea typeface="+mn-ea"/>
            </a:rPr>
            <a:t>高级</a:t>
          </a:r>
          <a:r>
            <a:rPr lang="en-US" altLang="zh-CN" dirty="0" smtClean="0">
              <a:latin typeface="+mn-ea"/>
              <a:ea typeface="+mn-ea"/>
            </a:rPr>
            <a:t>2</a:t>
          </a:r>
          <a:r>
            <a:rPr lang="zh-CN" altLang="en-US" dirty="0" smtClean="0">
              <a:latin typeface="+mn-ea"/>
              <a:ea typeface="+mn-ea"/>
            </a:rPr>
            <a:t>人</a:t>
          </a:r>
          <a:endParaRPr lang="zh-CN" altLang="en-US" dirty="0">
            <a:latin typeface="+mn-ea"/>
            <a:ea typeface="+mn-ea"/>
          </a:endParaRPr>
        </a:p>
      </dgm:t>
    </dgm:pt>
    <dgm:pt modelId="{C1BAF433-71AE-491A-9043-B7692B90FC74}" cxnId="{B65CBC9A-E05C-4092-93EC-101E45309440}" type="parTrans">
      <dgm:prSet/>
      <dgm:spPr/>
      <dgm:t>
        <a:bodyPr/>
        <a:lstStyle/>
        <a:p>
          <a:endParaRPr lang="zh-CN" altLang="en-US">
            <a:latin typeface="+mn-ea"/>
            <a:ea typeface="+mn-ea"/>
          </a:endParaRPr>
        </a:p>
      </dgm:t>
    </dgm:pt>
    <dgm:pt modelId="{C5459A72-2CC9-4153-809E-54BE361D35D9}" cxnId="{B65CBC9A-E05C-4092-93EC-101E45309440}" type="sibTrans">
      <dgm:prSet/>
      <dgm:spPr/>
      <dgm:t>
        <a:bodyPr/>
        <a:lstStyle/>
        <a:p>
          <a:endParaRPr lang="zh-CN" altLang="en-US">
            <a:latin typeface="+mn-ea"/>
            <a:ea typeface="+mn-ea"/>
          </a:endParaRPr>
        </a:p>
      </dgm:t>
    </dgm:pt>
    <dgm:pt modelId="{7BF54F0A-401C-4A34-9CB0-3878A717718E}">
      <dgm:prSet phldrT="[文本]"/>
      <dgm:spPr>
        <a:solidFill>
          <a:srgbClr val="FE5817"/>
        </a:solidFill>
      </dgm:spPr>
      <dgm:t>
        <a:bodyPr/>
        <a:lstStyle/>
        <a:p>
          <a:r>
            <a:rPr lang="zh-CN" altLang="en-US" dirty="0" smtClean="0">
              <a:latin typeface="+mn-ea"/>
              <a:ea typeface="+mn-ea"/>
            </a:rPr>
            <a:t>中级</a:t>
          </a:r>
          <a:r>
            <a:rPr lang="en-US" altLang="zh-CN" dirty="0" smtClean="0">
              <a:latin typeface="+mn-ea"/>
              <a:ea typeface="+mn-ea"/>
            </a:rPr>
            <a:t>2</a:t>
          </a:r>
          <a:r>
            <a:rPr lang="zh-CN" altLang="en-US" dirty="0" smtClean="0">
              <a:latin typeface="+mn-ea"/>
              <a:ea typeface="+mn-ea"/>
            </a:rPr>
            <a:t>人</a:t>
          </a:r>
          <a:endParaRPr lang="zh-CN" altLang="en-US" dirty="0">
            <a:latin typeface="+mn-ea"/>
            <a:ea typeface="+mn-ea"/>
          </a:endParaRPr>
        </a:p>
      </dgm:t>
    </dgm:pt>
    <dgm:pt modelId="{6DA787AD-962A-47DA-B457-0108A29DDBA3}" cxnId="{A3BC6F41-F4A1-42DC-B591-969B62E7F89A}" type="parTrans">
      <dgm:prSet/>
      <dgm:spPr/>
      <dgm:t>
        <a:bodyPr/>
        <a:lstStyle/>
        <a:p>
          <a:endParaRPr lang="zh-CN" altLang="en-US">
            <a:latin typeface="+mn-ea"/>
            <a:ea typeface="+mn-ea"/>
          </a:endParaRPr>
        </a:p>
      </dgm:t>
    </dgm:pt>
    <dgm:pt modelId="{8D365522-41C6-4B88-B827-EFF9987CB202}" cxnId="{A3BC6F41-F4A1-42DC-B591-969B62E7F89A}" type="sibTrans">
      <dgm:prSet/>
      <dgm:spPr/>
      <dgm:t>
        <a:bodyPr/>
        <a:lstStyle/>
        <a:p>
          <a:endParaRPr lang="zh-CN" altLang="en-US">
            <a:latin typeface="+mn-ea"/>
            <a:ea typeface="+mn-ea"/>
          </a:endParaRPr>
        </a:p>
      </dgm:t>
    </dgm:pt>
    <dgm:pt modelId="{6C737AF0-C4C1-4A71-9848-D59FAA6D661E}">
      <dgm:prSet phldrT="[文本]"/>
      <dgm:spPr>
        <a:solidFill>
          <a:srgbClr val="FE5817"/>
        </a:solidFill>
      </dgm:spPr>
      <dgm:t>
        <a:bodyPr/>
        <a:lstStyle/>
        <a:p>
          <a:r>
            <a:rPr lang="zh-CN" altLang="en-US" dirty="0" smtClean="0">
              <a:latin typeface="+mn-ea"/>
              <a:ea typeface="+mn-ea"/>
            </a:rPr>
            <a:t>项目管理</a:t>
          </a:r>
          <a:r>
            <a:rPr lang="en-US" altLang="zh-CN" dirty="0" smtClean="0">
              <a:latin typeface="+mn-ea"/>
              <a:ea typeface="+mn-ea"/>
            </a:rPr>
            <a:t>10</a:t>
          </a:r>
          <a:r>
            <a:rPr lang="zh-CN" altLang="en-US" dirty="0" smtClean="0">
              <a:latin typeface="+mn-ea"/>
              <a:ea typeface="+mn-ea"/>
            </a:rPr>
            <a:t>人</a:t>
          </a:r>
          <a:endParaRPr lang="en-US" altLang="zh-CN" dirty="0" smtClean="0">
            <a:latin typeface="+mn-ea"/>
            <a:ea typeface="+mn-ea"/>
          </a:endParaRPr>
        </a:p>
      </dgm:t>
    </dgm:pt>
    <dgm:pt modelId="{00A1DB44-B16A-46EB-877F-377F3A86A95F}" cxnId="{0A096C93-B1BC-4842-9D11-522A5FDE92FE}" type="parTrans">
      <dgm:prSet/>
      <dgm:spPr/>
      <dgm:t>
        <a:bodyPr/>
        <a:lstStyle/>
        <a:p>
          <a:endParaRPr lang="zh-CN" altLang="en-US">
            <a:latin typeface="+mn-ea"/>
            <a:ea typeface="+mn-ea"/>
          </a:endParaRPr>
        </a:p>
      </dgm:t>
    </dgm:pt>
    <dgm:pt modelId="{DAB3DCC7-B45D-4F24-8FC2-189166776D4E}" cxnId="{0A096C93-B1BC-4842-9D11-522A5FDE92FE}" type="sibTrans">
      <dgm:prSet/>
      <dgm:spPr/>
      <dgm:t>
        <a:bodyPr/>
        <a:lstStyle/>
        <a:p>
          <a:endParaRPr lang="zh-CN" altLang="en-US">
            <a:latin typeface="+mn-ea"/>
            <a:ea typeface="+mn-ea"/>
          </a:endParaRPr>
        </a:p>
      </dgm:t>
    </dgm:pt>
    <dgm:pt modelId="{AF9B8EA0-613B-4FBD-980D-179312709D22}">
      <dgm:prSet phldrT="[文本]"/>
      <dgm:spPr>
        <a:solidFill>
          <a:srgbClr val="FE5817"/>
        </a:solidFill>
      </dgm:spPr>
      <dgm:t>
        <a:bodyPr/>
        <a:lstStyle/>
        <a:p>
          <a:r>
            <a:rPr lang="zh-CN" altLang="en-US" dirty="0" smtClean="0">
              <a:latin typeface="+mn-ea"/>
              <a:ea typeface="+mn-ea"/>
            </a:rPr>
            <a:t>项目规划</a:t>
          </a:r>
          <a:r>
            <a:rPr lang="en-US" altLang="zh-CN" dirty="0" smtClean="0">
              <a:latin typeface="+mn-ea"/>
              <a:ea typeface="+mn-ea"/>
            </a:rPr>
            <a:t>34</a:t>
          </a:r>
          <a:r>
            <a:rPr lang="zh-CN" altLang="en-US" dirty="0" smtClean="0">
              <a:latin typeface="+mn-ea"/>
              <a:ea typeface="+mn-ea"/>
            </a:rPr>
            <a:t>人</a:t>
          </a:r>
          <a:endParaRPr lang="zh-CN" altLang="en-US" dirty="0">
            <a:latin typeface="+mn-ea"/>
            <a:ea typeface="+mn-ea"/>
          </a:endParaRPr>
        </a:p>
      </dgm:t>
    </dgm:pt>
    <dgm:pt modelId="{7878502B-EB74-4CE1-BC5A-DEABAE9FCA44}" cxnId="{7D9A50F9-9F15-4F7C-95D2-FD15472D3F7C}" type="parTrans">
      <dgm:prSet/>
      <dgm:spPr/>
      <dgm:t>
        <a:bodyPr/>
        <a:lstStyle/>
        <a:p>
          <a:endParaRPr lang="zh-CN" altLang="en-US">
            <a:latin typeface="+mn-ea"/>
            <a:ea typeface="+mn-ea"/>
          </a:endParaRPr>
        </a:p>
      </dgm:t>
    </dgm:pt>
    <dgm:pt modelId="{15F1BB8E-3123-4FDE-8179-822E202C79F4}" cxnId="{7D9A50F9-9F15-4F7C-95D2-FD15472D3F7C}" type="sibTrans">
      <dgm:prSet/>
      <dgm:spPr/>
      <dgm:t>
        <a:bodyPr/>
        <a:lstStyle/>
        <a:p>
          <a:endParaRPr lang="zh-CN" altLang="en-US">
            <a:latin typeface="+mn-ea"/>
            <a:ea typeface="+mn-ea"/>
          </a:endParaRPr>
        </a:p>
      </dgm:t>
    </dgm:pt>
    <dgm:pt modelId="{40BE04F3-72FB-4217-B87C-31AF4CF7BC05}">
      <dgm:prSet phldrT="[文本]"/>
      <dgm:spPr>
        <a:solidFill>
          <a:srgbClr val="FE5817"/>
        </a:solidFill>
      </dgm:spPr>
      <dgm:t>
        <a:bodyPr/>
        <a:lstStyle/>
        <a:p>
          <a:r>
            <a:rPr lang="zh-CN" altLang="en-US" dirty="0" smtClean="0">
              <a:latin typeface="+mn-ea"/>
              <a:ea typeface="+mn-ea"/>
            </a:rPr>
            <a:t>高级</a:t>
          </a:r>
          <a:r>
            <a:rPr lang="en-US" altLang="zh-CN" dirty="0" smtClean="0">
              <a:latin typeface="+mn-ea"/>
              <a:ea typeface="+mn-ea"/>
            </a:rPr>
            <a:t>2</a:t>
          </a:r>
          <a:r>
            <a:rPr lang="zh-CN" altLang="en-US" dirty="0" smtClean="0">
              <a:latin typeface="+mn-ea"/>
              <a:ea typeface="+mn-ea"/>
            </a:rPr>
            <a:t>人</a:t>
          </a:r>
          <a:endParaRPr lang="zh-CN" altLang="en-US" dirty="0">
            <a:latin typeface="+mn-ea"/>
            <a:ea typeface="+mn-ea"/>
          </a:endParaRPr>
        </a:p>
      </dgm:t>
    </dgm:pt>
    <dgm:pt modelId="{DA33ADF0-D179-4145-B614-80ADB31783E8}" cxnId="{38F87BFD-E23E-4AE0-A69D-7D2A9CFB6938}" type="parTrans">
      <dgm:prSet/>
      <dgm:spPr/>
      <dgm:t>
        <a:bodyPr/>
        <a:lstStyle/>
        <a:p>
          <a:endParaRPr lang="zh-CN" altLang="en-US">
            <a:latin typeface="+mn-ea"/>
            <a:ea typeface="+mn-ea"/>
          </a:endParaRPr>
        </a:p>
      </dgm:t>
    </dgm:pt>
    <dgm:pt modelId="{9DBDEB9F-5494-4E75-AF84-2C754E2F1CA6}" cxnId="{38F87BFD-E23E-4AE0-A69D-7D2A9CFB6938}" type="sibTrans">
      <dgm:prSet/>
      <dgm:spPr/>
      <dgm:t>
        <a:bodyPr/>
        <a:lstStyle/>
        <a:p>
          <a:endParaRPr lang="zh-CN" altLang="en-US">
            <a:latin typeface="+mn-ea"/>
            <a:ea typeface="+mn-ea"/>
          </a:endParaRPr>
        </a:p>
      </dgm:t>
    </dgm:pt>
    <dgm:pt modelId="{3747AEB5-1CFC-4360-9187-28CA79E74FA0}">
      <dgm:prSet phldrT="[文本]"/>
      <dgm:spPr>
        <a:solidFill>
          <a:srgbClr val="FE5817"/>
        </a:solidFill>
      </dgm:spPr>
      <dgm:t>
        <a:bodyPr/>
        <a:lstStyle/>
        <a:p>
          <a:r>
            <a:rPr lang="zh-CN" altLang="en-US" dirty="0" smtClean="0">
              <a:latin typeface="+mn-ea"/>
              <a:ea typeface="+mn-ea"/>
            </a:rPr>
            <a:t>中级</a:t>
          </a:r>
          <a:r>
            <a:rPr lang="en-US" altLang="zh-CN" dirty="0" smtClean="0">
              <a:latin typeface="+mn-ea"/>
              <a:ea typeface="+mn-ea"/>
            </a:rPr>
            <a:t>12</a:t>
          </a:r>
          <a:r>
            <a:rPr lang="zh-CN" altLang="en-US" dirty="0" smtClean="0">
              <a:latin typeface="+mn-ea"/>
              <a:ea typeface="+mn-ea"/>
            </a:rPr>
            <a:t>人</a:t>
          </a:r>
          <a:endParaRPr lang="zh-CN" altLang="en-US" dirty="0">
            <a:latin typeface="+mn-ea"/>
            <a:ea typeface="+mn-ea"/>
          </a:endParaRPr>
        </a:p>
      </dgm:t>
    </dgm:pt>
    <dgm:pt modelId="{3FA2CB3C-FE35-448B-98A7-C0C7464D641D}" cxnId="{532A8181-2DB1-4B90-8C7D-D64504A48F9F}" type="parTrans">
      <dgm:prSet/>
      <dgm:spPr/>
      <dgm:t>
        <a:bodyPr/>
        <a:lstStyle/>
        <a:p>
          <a:endParaRPr lang="zh-CN" altLang="en-US">
            <a:latin typeface="+mn-ea"/>
            <a:ea typeface="+mn-ea"/>
          </a:endParaRPr>
        </a:p>
      </dgm:t>
    </dgm:pt>
    <dgm:pt modelId="{5E495B9C-1CC9-4430-9EA2-68C38DE406ED}" cxnId="{532A8181-2DB1-4B90-8C7D-D64504A48F9F}" type="sibTrans">
      <dgm:prSet/>
      <dgm:spPr/>
      <dgm:t>
        <a:bodyPr/>
        <a:lstStyle/>
        <a:p>
          <a:endParaRPr lang="zh-CN" altLang="en-US">
            <a:latin typeface="+mn-ea"/>
            <a:ea typeface="+mn-ea"/>
          </a:endParaRPr>
        </a:p>
      </dgm:t>
    </dgm:pt>
    <dgm:pt modelId="{A0127B35-0157-4022-B192-5FA6E98015DC}">
      <dgm:prSet phldrT="[文本]"/>
      <dgm:spPr>
        <a:solidFill>
          <a:srgbClr val="FE5817"/>
        </a:solidFill>
      </dgm:spPr>
      <dgm:t>
        <a:bodyPr/>
        <a:lstStyle/>
        <a:p>
          <a:r>
            <a:rPr lang="zh-CN" altLang="en-US" dirty="0" smtClean="0">
              <a:latin typeface="+mn-ea"/>
              <a:ea typeface="+mn-ea"/>
            </a:rPr>
            <a:t>初级</a:t>
          </a:r>
          <a:r>
            <a:rPr lang="en-US" altLang="zh-CN" dirty="0" smtClean="0">
              <a:latin typeface="+mn-ea"/>
              <a:ea typeface="+mn-ea"/>
            </a:rPr>
            <a:t>94</a:t>
          </a:r>
          <a:r>
            <a:rPr lang="zh-CN" altLang="en-US" dirty="0" smtClean="0">
              <a:latin typeface="+mn-ea"/>
              <a:ea typeface="+mn-ea"/>
            </a:rPr>
            <a:t>人</a:t>
          </a:r>
          <a:endParaRPr lang="zh-CN" altLang="en-US" dirty="0">
            <a:latin typeface="+mn-ea"/>
            <a:ea typeface="+mn-ea"/>
          </a:endParaRPr>
        </a:p>
      </dgm:t>
    </dgm:pt>
    <dgm:pt modelId="{911CD6AB-1709-41A6-B3AC-2D5F3EBB4766}" cxnId="{CCE0038D-DD9C-4511-B62D-1C55E783A518}" type="parTrans">
      <dgm:prSet/>
      <dgm:spPr/>
      <dgm:t>
        <a:bodyPr/>
        <a:lstStyle/>
        <a:p>
          <a:endParaRPr lang="zh-CN" altLang="en-US">
            <a:latin typeface="+mn-ea"/>
            <a:ea typeface="+mn-ea"/>
          </a:endParaRPr>
        </a:p>
      </dgm:t>
    </dgm:pt>
    <dgm:pt modelId="{F7E589A2-1168-4F5F-968E-C70255BB8AF1}" cxnId="{CCE0038D-DD9C-4511-B62D-1C55E783A518}" type="sibTrans">
      <dgm:prSet/>
      <dgm:spPr/>
      <dgm:t>
        <a:bodyPr/>
        <a:lstStyle/>
        <a:p>
          <a:endParaRPr lang="zh-CN" altLang="en-US">
            <a:latin typeface="+mn-ea"/>
            <a:ea typeface="+mn-ea"/>
          </a:endParaRPr>
        </a:p>
      </dgm:t>
    </dgm:pt>
    <dgm:pt modelId="{70241682-8B96-4D4D-A02D-31361484533F}">
      <dgm:prSet phldrT="[文本]"/>
      <dgm:spPr>
        <a:solidFill>
          <a:srgbClr val="FE5817"/>
        </a:solidFill>
      </dgm:spPr>
      <dgm:t>
        <a:bodyPr/>
        <a:lstStyle/>
        <a:p>
          <a:r>
            <a:rPr lang="zh-CN" altLang="en-US" dirty="0" smtClean="0">
              <a:latin typeface="+mn-ea"/>
              <a:ea typeface="+mn-ea"/>
            </a:rPr>
            <a:t>项目研发</a:t>
          </a:r>
          <a:r>
            <a:rPr lang="en-US" altLang="zh-CN" dirty="0" smtClean="0">
              <a:latin typeface="+mn-ea"/>
              <a:ea typeface="+mn-ea"/>
            </a:rPr>
            <a:t>108</a:t>
          </a:r>
          <a:r>
            <a:rPr lang="zh-CN" altLang="en-US" dirty="0" smtClean="0">
              <a:latin typeface="+mn-ea"/>
              <a:ea typeface="+mn-ea"/>
            </a:rPr>
            <a:t>人</a:t>
          </a:r>
          <a:endParaRPr lang="zh-CN" altLang="en-US" dirty="0">
            <a:latin typeface="+mn-ea"/>
            <a:ea typeface="+mn-ea"/>
          </a:endParaRPr>
        </a:p>
      </dgm:t>
    </dgm:pt>
    <dgm:pt modelId="{EB9976F8-E837-4B6E-8FD7-AC8D82232B9C}" cxnId="{5A36575D-722C-49D7-BEC7-B97EF3E5D1D0}" type="parTrans">
      <dgm:prSet/>
      <dgm:spPr/>
      <dgm:t>
        <a:bodyPr/>
        <a:lstStyle/>
        <a:p>
          <a:endParaRPr lang="zh-CN" altLang="en-US">
            <a:latin typeface="+mn-ea"/>
            <a:ea typeface="+mn-ea"/>
          </a:endParaRPr>
        </a:p>
      </dgm:t>
    </dgm:pt>
    <dgm:pt modelId="{9E366463-6528-4DB7-B01E-0E181E406B70}" cxnId="{5A36575D-722C-49D7-BEC7-B97EF3E5D1D0}" type="sibTrans">
      <dgm:prSet/>
      <dgm:spPr/>
      <dgm:t>
        <a:bodyPr/>
        <a:lstStyle/>
        <a:p>
          <a:endParaRPr lang="zh-CN" altLang="en-US">
            <a:latin typeface="+mn-ea"/>
            <a:ea typeface="+mn-ea"/>
          </a:endParaRPr>
        </a:p>
      </dgm:t>
    </dgm:pt>
    <dgm:pt modelId="{067C3EBB-6563-4FC5-94E4-E5A16B463573}">
      <dgm:prSet phldrT="[文本]"/>
      <dgm:spPr>
        <a:solidFill>
          <a:srgbClr val="FE5817"/>
        </a:solidFill>
      </dgm:spPr>
      <dgm:t>
        <a:bodyPr/>
        <a:lstStyle/>
        <a:p>
          <a:r>
            <a:rPr lang="zh-CN" altLang="en-US" dirty="0" smtClean="0">
              <a:latin typeface="+mn-ea"/>
              <a:ea typeface="+mn-ea"/>
            </a:rPr>
            <a:t>初级</a:t>
          </a:r>
          <a:r>
            <a:rPr lang="en-US" altLang="zh-CN" dirty="0" smtClean="0">
              <a:latin typeface="+mn-ea"/>
              <a:ea typeface="+mn-ea"/>
            </a:rPr>
            <a:t>6</a:t>
          </a:r>
          <a:r>
            <a:rPr lang="zh-CN" altLang="en-US" dirty="0" smtClean="0">
              <a:latin typeface="+mn-ea"/>
              <a:ea typeface="+mn-ea"/>
            </a:rPr>
            <a:t>人</a:t>
          </a:r>
          <a:endParaRPr lang="zh-CN" altLang="en-US" dirty="0">
            <a:latin typeface="+mn-ea"/>
            <a:ea typeface="+mn-ea"/>
          </a:endParaRPr>
        </a:p>
      </dgm:t>
    </dgm:pt>
    <dgm:pt modelId="{FA25953C-BC6C-464C-B2C1-48950D3A1B98}" cxnId="{C9BA996B-23A5-4C14-9F7D-9DE4E7268039}" type="parTrans">
      <dgm:prSet/>
      <dgm:spPr/>
      <dgm:t>
        <a:bodyPr/>
        <a:lstStyle/>
        <a:p>
          <a:endParaRPr lang="zh-CN" altLang="en-US">
            <a:latin typeface="+mn-ea"/>
            <a:ea typeface="+mn-ea"/>
          </a:endParaRPr>
        </a:p>
      </dgm:t>
    </dgm:pt>
    <dgm:pt modelId="{62DF9556-AE23-4C7A-9482-06D565F63759}" cxnId="{C9BA996B-23A5-4C14-9F7D-9DE4E7268039}" type="sibTrans">
      <dgm:prSet/>
      <dgm:spPr/>
      <dgm:t>
        <a:bodyPr/>
        <a:lstStyle/>
        <a:p>
          <a:endParaRPr lang="zh-CN" altLang="en-US">
            <a:latin typeface="+mn-ea"/>
            <a:ea typeface="+mn-ea"/>
          </a:endParaRPr>
        </a:p>
      </dgm:t>
    </dgm:pt>
    <dgm:pt modelId="{C1B84686-C1FF-4B18-9AE5-3E1FEE7926D9}">
      <dgm:prSet phldrT="[文本]"/>
      <dgm:spPr>
        <a:solidFill>
          <a:srgbClr val="FE5817"/>
        </a:solidFill>
      </dgm:spPr>
      <dgm:t>
        <a:bodyPr/>
        <a:lstStyle/>
        <a:p>
          <a:r>
            <a:rPr lang="zh-CN" altLang="en-US" dirty="0" smtClean="0">
              <a:latin typeface="+mn-ea"/>
              <a:ea typeface="+mn-ea"/>
            </a:rPr>
            <a:t>高级</a:t>
          </a:r>
          <a:r>
            <a:rPr lang="en-US" altLang="zh-CN" dirty="0" smtClean="0">
              <a:latin typeface="+mn-ea"/>
              <a:ea typeface="+mn-ea"/>
            </a:rPr>
            <a:t>1</a:t>
          </a:r>
          <a:r>
            <a:rPr lang="zh-CN" altLang="en-US" dirty="0" smtClean="0">
              <a:latin typeface="+mn-ea"/>
              <a:ea typeface="+mn-ea"/>
            </a:rPr>
            <a:t>人</a:t>
          </a:r>
          <a:endParaRPr lang="en-US" altLang="zh-CN" dirty="0" smtClean="0">
            <a:latin typeface="+mn-ea"/>
            <a:ea typeface="+mn-ea"/>
          </a:endParaRPr>
        </a:p>
      </dgm:t>
    </dgm:pt>
    <dgm:pt modelId="{7840C1A3-E5D3-48E6-9CA4-D1BCC4FAE375}" cxnId="{6582F9E7-951C-44CC-AD9F-ADA79579F22D}" type="parTrans">
      <dgm:prSet/>
      <dgm:spPr/>
      <dgm:t>
        <a:bodyPr/>
        <a:lstStyle/>
        <a:p>
          <a:endParaRPr lang="zh-CN" altLang="en-US">
            <a:latin typeface="+mn-ea"/>
            <a:ea typeface="+mn-ea"/>
          </a:endParaRPr>
        </a:p>
      </dgm:t>
    </dgm:pt>
    <dgm:pt modelId="{C477639F-390D-456C-B7D2-80813629C0A4}" cxnId="{6582F9E7-951C-44CC-AD9F-ADA79579F22D}" type="sibTrans">
      <dgm:prSet/>
      <dgm:spPr/>
      <dgm:t>
        <a:bodyPr/>
        <a:lstStyle/>
        <a:p>
          <a:endParaRPr lang="zh-CN" altLang="en-US">
            <a:latin typeface="+mn-ea"/>
            <a:ea typeface="+mn-ea"/>
          </a:endParaRPr>
        </a:p>
      </dgm:t>
    </dgm:pt>
    <dgm:pt modelId="{E2831459-ECB8-4549-B97B-0864B7B6A2C5}">
      <dgm:prSet phldrT="[文本]"/>
      <dgm:spPr>
        <a:solidFill>
          <a:srgbClr val="FE5817"/>
        </a:solidFill>
      </dgm:spPr>
      <dgm:t>
        <a:bodyPr/>
        <a:lstStyle/>
        <a:p>
          <a:r>
            <a:rPr lang="zh-CN" altLang="en-US" dirty="0" smtClean="0">
              <a:latin typeface="+mn-ea"/>
              <a:ea typeface="+mn-ea"/>
            </a:rPr>
            <a:t>中级</a:t>
          </a:r>
          <a:r>
            <a:rPr lang="en-US" altLang="zh-CN" dirty="0" smtClean="0">
              <a:latin typeface="+mn-ea"/>
              <a:ea typeface="+mn-ea"/>
            </a:rPr>
            <a:t>4</a:t>
          </a:r>
          <a:r>
            <a:rPr lang="zh-CN" altLang="en-US" dirty="0" smtClean="0">
              <a:latin typeface="+mn-ea"/>
              <a:ea typeface="+mn-ea"/>
            </a:rPr>
            <a:t>人</a:t>
          </a:r>
          <a:endParaRPr lang="en-US" altLang="zh-CN" dirty="0" smtClean="0">
            <a:latin typeface="+mn-ea"/>
            <a:ea typeface="+mn-ea"/>
          </a:endParaRPr>
        </a:p>
      </dgm:t>
    </dgm:pt>
    <dgm:pt modelId="{1386CBA8-58EF-473B-AB57-F2CD10B4C31B}" cxnId="{A555E450-1E76-4858-B5E9-ED31B2BBA152}" type="parTrans">
      <dgm:prSet/>
      <dgm:spPr/>
      <dgm:t>
        <a:bodyPr/>
        <a:lstStyle/>
        <a:p>
          <a:endParaRPr lang="zh-CN" altLang="en-US">
            <a:latin typeface="+mn-ea"/>
            <a:ea typeface="+mn-ea"/>
          </a:endParaRPr>
        </a:p>
      </dgm:t>
    </dgm:pt>
    <dgm:pt modelId="{103CD1DD-3FE2-4C0D-B97F-9745E947061E}" cxnId="{A555E450-1E76-4858-B5E9-ED31B2BBA152}" type="sibTrans">
      <dgm:prSet/>
      <dgm:spPr/>
      <dgm:t>
        <a:bodyPr/>
        <a:lstStyle/>
        <a:p>
          <a:endParaRPr lang="zh-CN" altLang="en-US">
            <a:latin typeface="+mn-ea"/>
            <a:ea typeface="+mn-ea"/>
          </a:endParaRPr>
        </a:p>
      </dgm:t>
    </dgm:pt>
    <dgm:pt modelId="{7FA233C6-27A4-461A-94EE-7052543F36F7}">
      <dgm:prSet phldrT="[文本]"/>
      <dgm:spPr>
        <a:solidFill>
          <a:srgbClr val="FE5817"/>
        </a:solidFill>
      </dgm:spPr>
      <dgm:t>
        <a:bodyPr/>
        <a:lstStyle/>
        <a:p>
          <a:r>
            <a:rPr lang="zh-CN" altLang="en-US" dirty="0" smtClean="0">
              <a:latin typeface="+mn-ea"/>
              <a:ea typeface="+mn-ea"/>
            </a:rPr>
            <a:t>初级</a:t>
          </a:r>
          <a:r>
            <a:rPr lang="en-US" altLang="zh-CN" dirty="0" smtClean="0">
              <a:latin typeface="+mn-ea"/>
              <a:ea typeface="+mn-ea"/>
            </a:rPr>
            <a:t>5</a:t>
          </a:r>
          <a:r>
            <a:rPr lang="zh-CN" altLang="en-US" dirty="0" smtClean="0">
              <a:latin typeface="+mn-ea"/>
              <a:ea typeface="+mn-ea"/>
            </a:rPr>
            <a:t>人</a:t>
          </a:r>
          <a:endParaRPr lang="en-US" altLang="zh-CN" dirty="0" smtClean="0">
            <a:latin typeface="+mn-ea"/>
            <a:ea typeface="+mn-ea"/>
          </a:endParaRPr>
        </a:p>
      </dgm:t>
    </dgm:pt>
    <dgm:pt modelId="{ED0D7FFB-C6C5-46BF-92B0-E7F6BF007041}" cxnId="{5004521E-50CF-47A7-915C-6FE7C941DD51}" type="parTrans">
      <dgm:prSet/>
      <dgm:spPr/>
      <dgm:t>
        <a:bodyPr/>
        <a:lstStyle/>
        <a:p>
          <a:endParaRPr lang="zh-CN" altLang="en-US">
            <a:latin typeface="+mn-ea"/>
            <a:ea typeface="+mn-ea"/>
          </a:endParaRPr>
        </a:p>
      </dgm:t>
    </dgm:pt>
    <dgm:pt modelId="{6ECB5DAF-652E-4F98-9B37-70DD51F37EE4}" cxnId="{5004521E-50CF-47A7-915C-6FE7C941DD51}" type="sibTrans">
      <dgm:prSet/>
      <dgm:spPr/>
      <dgm:t>
        <a:bodyPr/>
        <a:lstStyle/>
        <a:p>
          <a:endParaRPr lang="zh-CN" altLang="en-US">
            <a:latin typeface="+mn-ea"/>
            <a:ea typeface="+mn-ea"/>
          </a:endParaRPr>
        </a:p>
      </dgm:t>
    </dgm:pt>
    <dgm:pt modelId="{33BB3047-874B-489F-A295-9DF500832598}">
      <dgm:prSet phldrT="[文本]"/>
      <dgm:spPr>
        <a:solidFill>
          <a:srgbClr val="FE5817"/>
        </a:solidFill>
      </dgm:spPr>
      <dgm:t>
        <a:bodyPr/>
        <a:lstStyle/>
        <a:p>
          <a:r>
            <a:rPr lang="zh-CN" altLang="en-US" dirty="0" smtClean="0">
              <a:latin typeface="+mn-ea"/>
              <a:ea typeface="+mn-ea"/>
            </a:rPr>
            <a:t>高级</a:t>
          </a:r>
          <a:r>
            <a:rPr lang="en-US" altLang="zh-CN" dirty="0" smtClean="0">
              <a:latin typeface="+mn-ea"/>
              <a:ea typeface="+mn-ea"/>
            </a:rPr>
            <a:t>2</a:t>
          </a:r>
          <a:r>
            <a:rPr lang="zh-CN" altLang="en-US" dirty="0" smtClean="0">
              <a:latin typeface="+mn-ea"/>
              <a:ea typeface="+mn-ea"/>
            </a:rPr>
            <a:t>人</a:t>
          </a:r>
          <a:endParaRPr lang="zh-CN" altLang="en-US" dirty="0">
            <a:latin typeface="+mn-ea"/>
            <a:ea typeface="+mn-ea"/>
          </a:endParaRPr>
        </a:p>
      </dgm:t>
    </dgm:pt>
    <dgm:pt modelId="{6F09F479-9C75-4CBC-9084-3128519B1A8A}" cxnId="{66530846-83E3-4EA5-95B2-B6F9E41B83D4}" type="parTrans">
      <dgm:prSet/>
      <dgm:spPr/>
      <dgm:t>
        <a:bodyPr/>
        <a:lstStyle/>
        <a:p>
          <a:endParaRPr lang="zh-CN" altLang="en-US">
            <a:latin typeface="+mn-ea"/>
            <a:ea typeface="+mn-ea"/>
          </a:endParaRPr>
        </a:p>
      </dgm:t>
    </dgm:pt>
    <dgm:pt modelId="{4EE28465-4A63-4041-935A-D5B7A59429FC}" cxnId="{66530846-83E3-4EA5-95B2-B6F9E41B83D4}" type="sibTrans">
      <dgm:prSet/>
      <dgm:spPr/>
      <dgm:t>
        <a:bodyPr/>
        <a:lstStyle/>
        <a:p>
          <a:endParaRPr lang="zh-CN" altLang="en-US">
            <a:latin typeface="+mn-ea"/>
            <a:ea typeface="+mn-ea"/>
          </a:endParaRPr>
        </a:p>
      </dgm:t>
    </dgm:pt>
    <dgm:pt modelId="{96358C90-6474-4A3B-B400-11BEC63BD210}">
      <dgm:prSet phldrT="[文本]"/>
      <dgm:spPr>
        <a:solidFill>
          <a:srgbClr val="FE5817"/>
        </a:solidFill>
      </dgm:spPr>
      <dgm:t>
        <a:bodyPr/>
        <a:lstStyle/>
        <a:p>
          <a:r>
            <a:rPr lang="zh-CN" altLang="en-US" dirty="0" smtClean="0">
              <a:latin typeface="+mn-ea"/>
              <a:ea typeface="+mn-ea"/>
            </a:rPr>
            <a:t>中级</a:t>
          </a:r>
          <a:r>
            <a:rPr lang="en-US" altLang="zh-CN" dirty="0" smtClean="0">
              <a:latin typeface="+mn-ea"/>
              <a:ea typeface="+mn-ea"/>
            </a:rPr>
            <a:t>7</a:t>
          </a:r>
          <a:r>
            <a:rPr lang="zh-CN" altLang="en-US" dirty="0" smtClean="0">
              <a:latin typeface="+mn-ea"/>
              <a:ea typeface="+mn-ea"/>
            </a:rPr>
            <a:t>人</a:t>
          </a:r>
          <a:endParaRPr lang="zh-CN" altLang="en-US" dirty="0">
            <a:latin typeface="+mn-ea"/>
            <a:ea typeface="+mn-ea"/>
          </a:endParaRPr>
        </a:p>
      </dgm:t>
    </dgm:pt>
    <dgm:pt modelId="{A6E3247C-F233-477E-96FF-F52463D5D623}" cxnId="{66D06413-D61F-4B58-8F8E-CA6225A13E89}" type="parTrans">
      <dgm:prSet/>
      <dgm:spPr/>
      <dgm:t>
        <a:bodyPr/>
        <a:lstStyle/>
        <a:p>
          <a:endParaRPr lang="zh-CN" altLang="en-US">
            <a:latin typeface="+mn-ea"/>
            <a:ea typeface="+mn-ea"/>
          </a:endParaRPr>
        </a:p>
      </dgm:t>
    </dgm:pt>
    <dgm:pt modelId="{888C472F-61CA-4CA3-967A-454F46E62EF2}" cxnId="{66D06413-D61F-4B58-8F8E-CA6225A13E89}" type="sibTrans">
      <dgm:prSet/>
      <dgm:spPr/>
      <dgm:t>
        <a:bodyPr/>
        <a:lstStyle/>
        <a:p>
          <a:endParaRPr lang="zh-CN" altLang="en-US">
            <a:latin typeface="+mn-ea"/>
            <a:ea typeface="+mn-ea"/>
          </a:endParaRPr>
        </a:p>
      </dgm:t>
    </dgm:pt>
    <dgm:pt modelId="{EC689CC2-03F1-43D0-99B8-804A615B6289}">
      <dgm:prSet phldrT="[文本]"/>
      <dgm:spPr>
        <a:solidFill>
          <a:srgbClr val="FE5817"/>
        </a:solidFill>
      </dgm:spPr>
      <dgm:t>
        <a:bodyPr/>
        <a:lstStyle/>
        <a:p>
          <a:r>
            <a:rPr lang="zh-CN" altLang="en-US" dirty="0" smtClean="0">
              <a:latin typeface="+mn-ea"/>
              <a:ea typeface="+mn-ea"/>
            </a:rPr>
            <a:t>初级</a:t>
          </a:r>
          <a:r>
            <a:rPr lang="en-US" altLang="zh-CN" dirty="0" smtClean="0">
              <a:latin typeface="+mn-ea"/>
              <a:ea typeface="+mn-ea"/>
            </a:rPr>
            <a:t>25</a:t>
          </a:r>
          <a:r>
            <a:rPr lang="zh-CN" altLang="en-US" dirty="0" smtClean="0">
              <a:latin typeface="+mn-ea"/>
              <a:ea typeface="+mn-ea"/>
            </a:rPr>
            <a:t>人</a:t>
          </a:r>
          <a:endParaRPr lang="zh-CN" altLang="en-US" dirty="0">
            <a:latin typeface="+mn-ea"/>
            <a:ea typeface="+mn-ea"/>
          </a:endParaRPr>
        </a:p>
      </dgm:t>
    </dgm:pt>
    <dgm:pt modelId="{6CD6CEDC-3C59-4648-9510-515D258A9F8B}" cxnId="{DA6C7CE3-F95F-48C0-A30A-F300219371BC}" type="parTrans">
      <dgm:prSet/>
      <dgm:spPr/>
      <dgm:t>
        <a:bodyPr/>
        <a:lstStyle/>
        <a:p>
          <a:endParaRPr lang="zh-CN" altLang="en-US">
            <a:latin typeface="+mn-ea"/>
            <a:ea typeface="+mn-ea"/>
          </a:endParaRPr>
        </a:p>
      </dgm:t>
    </dgm:pt>
    <dgm:pt modelId="{5FF3A968-EDF2-48F1-92B8-EC19ED31EDB6}" cxnId="{DA6C7CE3-F95F-48C0-A30A-F300219371BC}" type="sibTrans">
      <dgm:prSet/>
      <dgm:spPr/>
      <dgm:t>
        <a:bodyPr/>
        <a:lstStyle/>
        <a:p>
          <a:endParaRPr lang="zh-CN" altLang="en-US">
            <a:latin typeface="+mn-ea"/>
            <a:ea typeface="+mn-ea"/>
          </a:endParaRPr>
        </a:p>
      </dgm:t>
    </dgm:pt>
    <dgm:pt modelId="{52C1FFA7-110A-43C3-8719-973E8215B040}" type="pres">
      <dgm:prSet presAssocID="{D584E36A-AF1D-4F73-9484-DC9A67AC4B49}" presName="Name0" presStyleCnt="0">
        <dgm:presLayoutVars>
          <dgm:chPref val="1"/>
          <dgm:dir/>
          <dgm:animOne val="branch"/>
          <dgm:animLvl val="lvl"/>
          <dgm:resizeHandles val="exact"/>
        </dgm:presLayoutVars>
      </dgm:prSet>
      <dgm:spPr/>
      <dgm:t>
        <a:bodyPr/>
        <a:lstStyle/>
        <a:p>
          <a:endParaRPr lang="zh-CN" altLang="en-US"/>
        </a:p>
      </dgm:t>
    </dgm:pt>
    <dgm:pt modelId="{664AC6B8-5C4A-439D-90A8-5610C0C87724}" type="pres">
      <dgm:prSet presAssocID="{BD401F49-5594-4DD2-AF82-CB24661B30B7}" presName="root1" presStyleCnt="0"/>
      <dgm:spPr/>
    </dgm:pt>
    <dgm:pt modelId="{446597BF-DDCE-420C-A8B5-0379CFCAE30A}" type="pres">
      <dgm:prSet presAssocID="{BD401F49-5594-4DD2-AF82-CB24661B30B7}" presName="LevelOneTextNode" presStyleLbl="node0" presStyleIdx="0" presStyleCnt="1" custScaleX="273381">
        <dgm:presLayoutVars>
          <dgm:chPref val="3"/>
        </dgm:presLayoutVars>
      </dgm:prSet>
      <dgm:spPr/>
      <dgm:t>
        <a:bodyPr/>
        <a:lstStyle/>
        <a:p>
          <a:endParaRPr lang="zh-CN" altLang="en-US"/>
        </a:p>
      </dgm:t>
    </dgm:pt>
    <dgm:pt modelId="{507D7304-919D-4EC0-8D15-936FFAF08BE1}" type="pres">
      <dgm:prSet presAssocID="{BD401F49-5594-4DD2-AF82-CB24661B30B7}" presName="level2hierChild" presStyleCnt="0"/>
      <dgm:spPr/>
    </dgm:pt>
    <dgm:pt modelId="{0BC0A0FB-D68E-48C7-99F1-276F1A88106E}" type="pres">
      <dgm:prSet presAssocID="{C5166C4E-ACF9-4C81-97C3-61DB8357C552}" presName="conn2-1" presStyleLbl="parChTrans1D2" presStyleIdx="0" presStyleCnt="4"/>
      <dgm:spPr/>
      <dgm:t>
        <a:bodyPr/>
        <a:lstStyle/>
        <a:p>
          <a:endParaRPr lang="zh-CN" altLang="en-US"/>
        </a:p>
      </dgm:t>
    </dgm:pt>
    <dgm:pt modelId="{54E08ECA-8590-4E03-899B-617173DDE8F3}" type="pres">
      <dgm:prSet presAssocID="{C5166C4E-ACF9-4C81-97C3-61DB8357C552}" presName="connTx" presStyleLbl="parChTrans1D2" presStyleIdx="0" presStyleCnt="4"/>
      <dgm:spPr/>
      <dgm:t>
        <a:bodyPr/>
        <a:lstStyle/>
        <a:p>
          <a:endParaRPr lang="zh-CN" altLang="en-US"/>
        </a:p>
      </dgm:t>
    </dgm:pt>
    <dgm:pt modelId="{B60010A3-6136-414C-A2A4-716564BA4A94}" type="pres">
      <dgm:prSet presAssocID="{B120D98A-B472-4EF3-A76E-6B7E0AFA430E}" presName="root2" presStyleCnt="0"/>
      <dgm:spPr/>
    </dgm:pt>
    <dgm:pt modelId="{E939A692-2391-47AA-A2E7-4ECB7E337A3E}" type="pres">
      <dgm:prSet presAssocID="{B120D98A-B472-4EF3-A76E-6B7E0AFA430E}" presName="LevelTwoTextNode" presStyleLbl="node2" presStyleIdx="0" presStyleCnt="4" custScaleY="178483">
        <dgm:presLayoutVars>
          <dgm:chPref val="3"/>
        </dgm:presLayoutVars>
      </dgm:prSet>
      <dgm:spPr/>
      <dgm:t>
        <a:bodyPr/>
        <a:lstStyle/>
        <a:p>
          <a:endParaRPr lang="zh-CN" altLang="en-US"/>
        </a:p>
      </dgm:t>
    </dgm:pt>
    <dgm:pt modelId="{867EFF41-0C87-40FE-A8F0-897841C1FFFF}" type="pres">
      <dgm:prSet presAssocID="{B120D98A-B472-4EF3-A76E-6B7E0AFA430E}" presName="level3hierChild" presStyleCnt="0"/>
      <dgm:spPr/>
    </dgm:pt>
    <dgm:pt modelId="{5DEB3504-52EF-4D28-A344-E430B6C1CD6C}" type="pres">
      <dgm:prSet presAssocID="{C1BAF433-71AE-491A-9043-B7692B90FC74}" presName="conn2-1" presStyleLbl="parChTrans1D3" presStyleIdx="0" presStyleCnt="12"/>
      <dgm:spPr/>
      <dgm:t>
        <a:bodyPr/>
        <a:lstStyle/>
        <a:p>
          <a:endParaRPr lang="zh-CN" altLang="en-US"/>
        </a:p>
      </dgm:t>
    </dgm:pt>
    <dgm:pt modelId="{A5B8D931-F926-4272-A6AD-41A735EFDADA}" type="pres">
      <dgm:prSet presAssocID="{C1BAF433-71AE-491A-9043-B7692B90FC74}" presName="connTx" presStyleLbl="parChTrans1D3" presStyleIdx="0" presStyleCnt="12"/>
      <dgm:spPr/>
      <dgm:t>
        <a:bodyPr/>
        <a:lstStyle/>
        <a:p>
          <a:endParaRPr lang="zh-CN" altLang="en-US"/>
        </a:p>
      </dgm:t>
    </dgm:pt>
    <dgm:pt modelId="{DB650E35-7A27-48D1-9CFD-7183F7A0DC46}" type="pres">
      <dgm:prSet presAssocID="{3EC324D6-9AAF-484E-8154-3536FF549576}" presName="root2" presStyleCnt="0"/>
      <dgm:spPr/>
    </dgm:pt>
    <dgm:pt modelId="{F43EB910-E94A-4224-BD5A-2A9DE62E1236}" type="pres">
      <dgm:prSet presAssocID="{3EC324D6-9AAF-484E-8154-3536FF549576}" presName="LevelTwoTextNode" presStyleLbl="node3" presStyleIdx="0" presStyleCnt="12">
        <dgm:presLayoutVars>
          <dgm:chPref val="3"/>
        </dgm:presLayoutVars>
      </dgm:prSet>
      <dgm:spPr/>
      <dgm:t>
        <a:bodyPr/>
        <a:lstStyle/>
        <a:p>
          <a:endParaRPr lang="zh-CN" altLang="en-US"/>
        </a:p>
      </dgm:t>
    </dgm:pt>
    <dgm:pt modelId="{A61EDEB5-5B5B-4F1C-9615-55097BE508D1}" type="pres">
      <dgm:prSet presAssocID="{3EC324D6-9AAF-484E-8154-3536FF549576}" presName="level3hierChild" presStyleCnt="0"/>
      <dgm:spPr/>
    </dgm:pt>
    <dgm:pt modelId="{7EFBB168-50A1-4DAC-A879-C5E4A6FF357C}" type="pres">
      <dgm:prSet presAssocID="{6DA787AD-962A-47DA-B457-0108A29DDBA3}" presName="conn2-1" presStyleLbl="parChTrans1D3" presStyleIdx="1" presStyleCnt="12"/>
      <dgm:spPr/>
      <dgm:t>
        <a:bodyPr/>
        <a:lstStyle/>
        <a:p>
          <a:endParaRPr lang="zh-CN" altLang="en-US"/>
        </a:p>
      </dgm:t>
    </dgm:pt>
    <dgm:pt modelId="{84FA524D-62DF-4AB3-9EA1-9BBA83DCA21D}" type="pres">
      <dgm:prSet presAssocID="{6DA787AD-962A-47DA-B457-0108A29DDBA3}" presName="connTx" presStyleLbl="parChTrans1D3" presStyleIdx="1" presStyleCnt="12"/>
      <dgm:spPr/>
      <dgm:t>
        <a:bodyPr/>
        <a:lstStyle/>
        <a:p>
          <a:endParaRPr lang="zh-CN" altLang="en-US"/>
        </a:p>
      </dgm:t>
    </dgm:pt>
    <dgm:pt modelId="{67A31955-C93F-4F3B-8377-8A54E290CF1B}" type="pres">
      <dgm:prSet presAssocID="{7BF54F0A-401C-4A34-9CB0-3878A717718E}" presName="root2" presStyleCnt="0"/>
      <dgm:spPr/>
    </dgm:pt>
    <dgm:pt modelId="{DE2E9A57-91BD-4256-BAC0-8C2DDF34ECF3}" type="pres">
      <dgm:prSet presAssocID="{7BF54F0A-401C-4A34-9CB0-3878A717718E}" presName="LevelTwoTextNode" presStyleLbl="node3" presStyleIdx="1" presStyleCnt="12">
        <dgm:presLayoutVars>
          <dgm:chPref val="3"/>
        </dgm:presLayoutVars>
      </dgm:prSet>
      <dgm:spPr/>
      <dgm:t>
        <a:bodyPr/>
        <a:lstStyle/>
        <a:p>
          <a:endParaRPr lang="zh-CN" altLang="en-US"/>
        </a:p>
      </dgm:t>
    </dgm:pt>
    <dgm:pt modelId="{AE9245ED-D1D5-452A-B209-11C08327598B}" type="pres">
      <dgm:prSet presAssocID="{7BF54F0A-401C-4A34-9CB0-3878A717718E}" presName="level3hierChild" presStyleCnt="0"/>
      <dgm:spPr/>
    </dgm:pt>
    <dgm:pt modelId="{775ABF30-03AD-4638-A799-E1735CC2C93E}" type="pres">
      <dgm:prSet presAssocID="{FA25953C-BC6C-464C-B2C1-48950D3A1B98}" presName="conn2-1" presStyleLbl="parChTrans1D3" presStyleIdx="2" presStyleCnt="12"/>
      <dgm:spPr/>
      <dgm:t>
        <a:bodyPr/>
        <a:lstStyle/>
        <a:p>
          <a:endParaRPr lang="zh-CN" altLang="en-US"/>
        </a:p>
      </dgm:t>
    </dgm:pt>
    <dgm:pt modelId="{666063C7-BB08-4070-8EB8-7C1F451CECEB}" type="pres">
      <dgm:prSet presAssocID="{FA25953C-BC6C-464C-B2C1-48950D3A1B98}" presName="connTx" presStyleLbl="parChTrans1D3" presStyleIdx="2" presStyleCnt="12"/>
      <dgm:spPr/>
      <dgm:t>
        <a:bodyPr/>
        <a:lstStyle/>
        <a:p>
          <a:endParaRPr lang="zh-CN" altLang="en-US"/>
        </a:p>
      </dgm:t>
    </dgm:pt>
    <dgm:pt modelId="{5A2CF19F-1C67-4CA3-9D21-E904BEB57EF9}" type="pres">
      <dgm:prSet presAssocID="{067C3EBB-6563-4FC5-94E4-E5A16B463573}" presName="root2" presStyleCnt="0"/>
      <dgm:spPr/>
    </dgm:pt>
    <dgm:pt modelId="{039958E4-5109-492C-9FF3-C66404965E2A}" type="pres">
      <dgm:prSet presAssocID="{067C3EBB-6563-4FC5-94E4-E5A16B463573}" presName="LevelTwoTextNode" presStyleLbl="node3" presStyleIdx="2" presStyleCnt="12">
        <dgm:presLayoutVars>
          <dgm:chPref val="3"/>
        </dgm:presLayoutVars>
      </dgm:prSet>
      <dgm:spPr/>
      <dgm:t>
        <a:bodyPr/>
        <a:lstStyle/>
        <a:p>
          <a:endParaRPr lang="zh-CN" altLang="en-US"/>
        </a:p>
      </dgm:t>
    </dgm:pt>
    <dgm:pt modelId="{2168ABDA-BA97-4AFB-9F61-20FAA2F54C43}" type="pres">
      <dgm:prSet presAssocID="{067C3EBB-6563-4FC5-94E4-E5A16B463573}" presName="level3hierChild" presStyleCnt="0"/>
      <dgm:spPr/>
    </dgm:pt>
    <dgm:pt modelId="{0A03B7D7-5F77-4037-832C-54F2036CF45F}" type="pres">
      <dgm:prSet presAssocID="{00A1DB44-B16A-46EB-877F-377F3A86A95F}" presName="conn2-1" presStyleLbl="parChTrans1D2" presStyleIdx="1" presStyleCnt="4"/>
      <dgm:spPr/>
      <dgm:t>
        <a:bodyPr/>
        <a:lstStyle/>
        <a:p>
          <a:endParaRPr lang="zh-CN" altLang="en-US"/>
        </a:p>
      </dgm:t>
    </dgm:pt>
    <dgm:pt modelId="{8E0B30E7-DE01-4A71-A6A4-396E71462126}" type="pres">
      <dgm:prSet presAssocID="{00A1DB44-B16A-46EB-877F-377F3A86A95F}" presName="connTx" presStyleLbl="parChTrans1D2" presStyleIdx="1" presStyleCnt="4"/>
      <dgm:spPr/>
      <dgm:t>
        <a:bodyPr/>
        <a:lstStyle/>
        <a:p>
          <a:endParaRPr lang="zh-CN" altLang="en-US"/>
        </a:p>
      </dgm:t>
    </dgm:pt>
    <dgm:pt modelId="{E3567BDE-4BB5-4E17-9E85-1625823348FB}" type="pres">
      <dgm:prSet presAssocID="{6C737AF0-C4C1-4A71-9848-D59FAA6D661E}" presName="root2" presStyleCnt="0"/>
      <dgm:spPr/>
    </dgm:pt>
    <dgm:pt modelId="{84895BC0-CDD5-45B2-B4D1-81772506041E}" type="pres">
      <dgm:prSet presAssocID="{6C737AF0-C4C1-4A71-9848-D59FAA6D661E}" presName="LevelTwoTextNode" presStyleLbl="node2" presStyleIdx="1" presStyleCnt="4" custScaleY="178483">
        <dgm:presLayoutVars>
          <dgm:chPref val="3"/>
        </dgm:presLayoutVars>
      </dgm:prSet>
      <dgm:spPr/>
      <dgm:t>
        <a:bodyPr/>
        <a:lstStyle/>
        <a:p>
          <a:endParaRPr lang="zh-CN" altLang="en-US"/>
        </a:p>
      </dgm:t>
    </dgm:pt>
    <dgm:pt modelId="{71C71616-9620-4FA9-B32A-386BF72BCF53}" type="pres">
      <dgm:prSet presAssocID="{6C737AF0-C4C1-4A71-9848-D59FAA6D661E}" presName="level3hierChild" presStyleCnt="0"/>
      <dgm:spPr/>
    </dgm:pt>
    <dgm:pt modelId="{C972F73C-EDBA-40A4-9189-E8AF3FF52E56}" type="pres">
      <dgm:prSet presAssocID="{7840C1A3-E5D3-48E6-9CA4-D1BCC4FAE375}" presName="conn2-1" presStyleLbl="parChTrans1D3" presStyleIdx="3" presStyleCnt="12"/>
      <dgm:spPr/>
      <dgm:t>
        <a:bodyPr/>
        <a:lstStyle/>
        <a:p>
          <a:endParaRPr lang="zh-CN" altLang="en-US"/>
        </a:p>
      </dgm:t>
    </dgm:pt>
    <dgm:pt modelId="{09125C42-DA5F-4DB4-8B0D-748FF529192D}" type="pres">
      <dgm:prSet presAssocID="{7840C1A3-E5D3-48E6-9CA4-D1BCC4FAE375}" presName="connTx" presStyleLbl="parChTrans1D3" presStyleIdx="3" presStyleCnt="12"/>
      <dgm:spPr/>
      <dgm:t>
        <a:bodyPr/>
        <a:lstStyle/>
        <a:p>
          <a:endParaRPr lang="zh-CN" altLang="en-US"/>
        </a:p>
      </dgm:t>
    </dgm:pt>
    <dgm:pt modelId="{2739E6E4-1E71-4A20-9C9D-C0171C341B9B}" type="pres">
      <dgm:prSet presAssocID="{C1B84686-C1FF-4B18-9AE5-3E1FEE7926D9}" presName="root2" presStyleCnt="0"/>
      <dgm:spPr/>
    </dgm:pt>
    <dgm:pt modelId="{05B5D788-6BE2-4660-99CE-83FFEDF2AD10}" type="pres">
      <dgm:prSet presAssocID="{C1B84686-C1FF-4B18-9AE5-3E1FEE7926D9}" presName="LevelTwoTextNode" presStyleLbl="node3" presStyleIdx="3" presStyleCnt="12">
        <dgm:presLayoutVars>
          <dgm:chPref val="3"/>
        </dgm:presLayoutVars>
      </dgm:prSet>
      <dgm:spPr/>
      <dgm:t>
        <a:bodyPr/>
        <a:lstStyle/>
        <a:p>
          <a:endParaRPr lang="zh-CN" altLang="en-US"/>
        </a:p>
      </dgm:t>
    </dgm:pt>
    <dgm:pt modelId="{07A92087-304D-41EB-BBE6-2D38DFA14CFA}" type="pres">
      <dgm:prSet presAssocID="{C1B84686-C1FF-4B18-9AE5-3E1FEE7926D9}" presName="level3hierChild" presStyleCnt="0"/>
      <dgm:spPr/>
    </dgm:pt>
    <dgm:pt modelId="{51952025-A284-4102-9B7F-1578380C081F}" type="pres">
      <dgm:prSet presAssocID="{1386CBA8-58EF-473B-AB57-F2CD10B4C31B}" presName="conn2-1" presStyleLbl="parChTrans1D3" presStyleIdx="4" presStyleCnt="12"/>
      <dgm:spPr/>
      <dgm:t>
        <a:bodyPr/>
        <a:lstStyle/>
        <a:p>
          <a:endParaRPr lang="zh-CN" altLang="en-US"/>
        </a:p>
      </dgm:t>
    </dgm:pt>
    <dgm:pt modelId="{C0994254-F42B-4024-BD60-563AE733FE2C}" type="pres">
      <dgm:prSet presAssocID="{1386CBA8-58EF-473B-AB57-F2CD10B4C31B}" presName="connTx" presStyleLbl="parChTrans1D3" presStyleIdx="4" presStyleCnt="12"/>
      <dgm:spPr/>
      <dgm:t>
        <a:bodyPr/>
        <a:lstStyle/>
        <a:p>
          <a:endParaRPr lang="zh-CN" altLang="en-US"/>
        </a:p>
      </dgm:t>
    </dgm:pt>
    <dgm:pt modelId="{87C5A045-E92F-4D17-9D12-3C81D509C123}" type="pres">
      <dgm:prSet presAssocID="{E2831459-ECB8-4549-B97B-0864B7B6A2C5}" presName="root2" presStyleCnt="0"/>
      <dgm:spPr/>
    </dgm:pt>
    <dgm:pt modelId="{B4D190B9-90EC-461D-BC5A-22694C44C1E0}" type="pres">
      <dgm:prSet presAssocID="{E2831459-ECB8-4549-B97B-0864B7B6A2C5}" presName="LevelTwoTextNode" presStyleLbl="node3" presStyleIdx="4" presStyleCnt="12">
        <dgm:presLayoutVars>
          <dgm:chPref val="3"/>
        </dgm:presLayoutVars>
      </dgm:prSet>
      <dgm:spPr/>
      <dgm:t>
        <a:bodyPr/>
        <a:lstStyle/>
        <a:p>
          <a:endParaRPr lang="zh-CN" altLang="en-US"/>
        </a:p>
      </dgm:t>
    </dgm:pt>
    <dgm:pt modelId="{811E7692-A534-4A58-9CCC-8F5AB00F7487}" type="pres">
      <dgm:prSet presAssocID="{E2831459-ECB8-4549-B97B-0864B7B6A2C5}" presName="level3hierChild" presStyleCnt="0"/>
      <dgm:spPr/>
    </dgm:pt>
    <dgm:pt modelId="{11916D1A-1072-459B-BD07-E40F7CA06F7F}" type="pres">
      <dgm:prSet presAssocID="{ED0D7FFB-C6C5-46BF-92B0-E7F6BF007041}" presName="conn2-1" presStyleLbl="parChTrans1D3" presStyleIdx="5" presStyleCnt="12"/>
      <dgm:spPr/>
      <dgm:t>
        <a:bodyPr/>
        <a:lstStyle/>
        <a:p>
          <a:endParaRPr lang="zh-CN" altLang="en-US"/>
        </a:p>
      </dgm:t>
    </dgm:pt>
    <dgm:pt modelId="{17C2DA58-225F-4B3B-9C82-F9E3BB1E7BF2}" type="pres">
      <dgm:prSet presAssocID="{ED0D7FFB-C6C5-46BF-92B0-E7F6BF007041}" presName="connTx" presStyleLbl="parChTrans1D3" presStyleIdx="5" presStyleCnt="12"/>
      <dgm:spPr/>
      <dgm:t>
        <a:bodyPr/>
        <a:lstStyle/>
        <a:p>
          <a:endParaRPr lang="zh-CN" altLang="en-US"/>
        </a:p>
      </dgm:t>
    </dgm:pt>
    <dgm:pt modelId="{0F18E012-E46F-41D9-B5C3-E41A63240F61}" type="pres">
      <dgm:prSet presAssocID="{7FA233C6-27A4-461A-94EE-7052543F36F7}" presName="root2" presStyleCnt="0"/>
      <dgm:spPr/>
    </dgm:pt>
    <dgm:pt modelId="{CCA03293-91DC-42DF-BC03-2001A356234E}" type="pres">
      <dgm:prSet presAssocID="{7FA233C6-27A4-461A-94EE-7052543F36F7}" presName="LevelTwoTextNode" presStyleLbl="node3" presStyleIdx="5" presStyleCnt="12">
        <dgm:presLayoutVars>
          <dgm:chPref val="3"/>
        </dgm:presLayoutVars>
      </dgm:prSet>
      <dgm:spPr/>
      <dgm:t>
        <a:bodyPr/>
        <a:lstStyle/>
        <a:p>
          <a:endParaRPr lang="zh-CN" altLang="en-US"/>
        </a:p>
      </dgm:t>
    </dgm:pt>
    <dgm:pt modelId="{8B719517-4464-4251-9F3C-E1E952C11270}" type="pres">
      <dgm:prSet presAssocID="{7FA233C6-27A4-461A-94EE-7052543F36F7}" presName="level3hierChild" presStyleCnt="0"/>
      <dgm:spPr/>
    </dgm:pt>
    <dgm:pt modelId="{88D2E54C-3026-4900-870E-E7C1F66414B8}" type="pres">
      <dgm:prSet presAssocID="{7878502B-EB74-4CE1-BC5A-DEABAE9FCA44}" presName="conn2-1" presStyleLbl="parChTrans1D2" presStyleIdx="2" presStyleCnt="4"/>
      <dgm:spPr/>
      <dgm:t>
        <a:bodyPr/>
        <a:lstStyle/>
        <a:p>
          <a:endParaRPr lang="zh-CN" altLang="en-US"/>
        </a:p>
      </dgm:t>
    </dgm:pt>
    <dgm:pt modelId="{151D6F22-ED07-41A0-B541-5455BA1A184E}" type="pres">
      <dgm:prSet presAssocID="{7878502B-EB74-4CE1-BC5A-DEABAE9FCA44}" presName="connTx" presStyleLbl="parChTrans1D2" presStyleIdx="2" presStyleCnt="4"/>
      <dgm:spPr/>
      <dgm:t>
        <a:bodyPr/>
        <a:lstStyle/>
        <a:p>
          <a:endParaRPr lang="zh-CN" altLang="en-US"/>
        </a:p>
      </dgm:t>
    </dgm:pt>
    <dgm:pt modelId="{C5EA8F90-9CC8-4DF7-A68B-EF32226659FB}" type="pres">
      <dgm:prSet presAssocID="{AF9B8EA0-613B-4FBD-980D-179312709D22}" presName="root2" presStyleCnt="0"/>
      <dgm:spPr/>
    </dgm:pt>
    <dgm:pt modelId="{D3C1E581-8B39-44CE-AF10-6EF5EBF04075}" type="pres">
      <dgm:prSet presAssocID="{AF9B8EA0-613B-4FBD-980D-179312709D22}" presName="LevelTwoTextNode" presStyleLbl="node2" presStyleIdx="2" presStyleCnt="4" custScaleY="178483">
        <dgm:presLayoutVars>
          <dgm:chPref val="3"/>
        </dgm:presLayoutVars>
      </dgm:prSet>
      <dgm:spPr/>
      <dgm:t>
        <a:bodyPr/>
        <a:lstStyle/>
        <a:p>
          <a:endParaRPr lang="zh-CN" altLang="en-US"/>
        </a:p>
      </dgm:t>
    </dgm:pt>
    <dgm:pt modelId="{39AE1704-C93A-4C21-BD42-2FADF297D26A}" type="pres">
      <dgm:prSet presAssocID="{AF9B8EA0-613B-4FBD-980D-179312709D22}" presName="level3hierChild" presStyleCnt="0"/>
      <dgm:spPr/>
    </dgm:pt>
    <dgm:pt modelId="{6060A8DB-85B9-42CD-A8E3-06806FDDBAA0}" type="pres">
      <dgm:prSet presAssocID="{6F09F479-9C75-4CBC-9084-3128519B1A8A}" presName="conn2-1" presStyleLbl="parChTrans1D3" presStyleIdx="6" presStyleCnt="12"/>
      <dgm:spPr/>
      <dgm:t>
        <a:bodyPr/>
        <a:lstStyle/>
        <a:p>
          <a:endParaRPr lang="zh-CN" altLang="en-US"/>
        </a:p>
      </dgm:t>
    </dgm:pt>
    <dgm:pt modelId="{2B3764FE-A5AD-48F0-8193-CEA2F8545091}" type="pres">
      <dgm:prSet presAssocID="{6F09F479-9C75-4CBC-9084-3128519B1A8A}" presName="connTx" presStyleLbl="parChTrans1D3" presStyleIdx="6" presStyleCnt="12"/>
      <dgm:spPr/>
      <dgm:t>
        <a:bodyPr/>
        <a:lstStyle/>
        <a:p>
          <a:endParaRPr lang="zh-CN" altLang="en-US"/>
        </a:p>
      </dgm:t>
    </dgm:pt>
    <dgm:pt modelId="{9FAFD265-DB53-459D-845E-D1A143E30C2F}" type="pres">
      <dgm:prSet presAssocID="{33BB3047-874B-489F-A295-9DF500832598}" presName="root2" presStyleCnt="0"/>
      <dgm:spPr/>
    </dgm:pt>
    <dgm:pt modelId="{9E7A28F0-6AEC-44BE-B6BB-C34BF9A980A3}" type="pres">
      <dgm:prSet presAssocID="{33BB3047-874B-489F-A295-9DF500832598}" presName="LevelTwoTextNode" presStyleLbl="node3" presStyleIdx="6" presStyleCnt="12">
        <dgm:presLayoutVars>
          <dgm:chPref val="3"/>
        </dgm:presLayoutVars>
      </dgm:prSet>
      <dgm:spPr/>
      <dgm:t>
        <a:bodyPr/>
        <a:lstStyle/>
        <a:p>
          <a:endParaRPr lang="zh-CN" altLang="en-US"/>
        </a:p>
      </dgm:t>
    </dgm:pt>
    <dgm:pt modelId="{44863A8C-6151-476B-ADB6-8FA0B5316F97}" type="pres">
      <dgm:prSet presAssocID="{33BB3047-874B-489F-A295-9DF500832598}" presName="level3hierChild" presStyleCnt="0"/>
      <dgm:spPr/>
    </dgm:pt>
    <dgm:pt modelId="{38AF46F3-40EC-473D-B080-C72C0BC7C4BC}" type="pres">
      <dgm:prSet presAssocID="{A6E3247C-F233-477E-96FF-F52463D5D623}" presName="conn2-1" presStyleLbl="parChTrans1D3" presStyleIdx="7" presStyleCnt="12"/>
      <dgm:spPr/>
      <dgm:t>
        <a:bodyPr/>
        <a:lstStyle/>
        <a:p>
          <a:endParaRPr lang="zh-CN" altLang="en-US"/>
        </a:p>
      </dgm:t>
    </dgm:pt>
    <dgm:pt modelId="{56B06760-0304-4F3E-9FA1-4CC7EA09E0EA}" type="pres">
      <dgm:prSet presAssocID="{A6E3247C-F233-477E-96FF-F52463D5D623}" presName="connTx" presStyleLbl="parChTrans1D3" presStyleIdx="7" presStyleCnt="12"/>
      <dgm:spPr/>
      <dgm:t>
        <a:bodyPr/>
        <a:lstStyle/>
        <a:p>
          <a:endParaRPr lang="zh-CN" altLang="en-US"/>
        </a:p>
      </dgm:t>
    </dgm:pt>
    <dgm:pt modelId="{89E3649B-64F3-45DE-874A-94448ED494ED}" type="pres">
      <dgm:prSet presAssocID="{96358C90-6474-4A3B-B400-11BEC63BD210}" presName="root2" presStyleCnt="0"/>
      <dgm:spPr/>
    </dgm:pt>
    <dgm:pt modelId="{0686E243-3C06-4DD9-BCF2-68A47C520556}" type="pres">
      <dgm:prSet presAssocID="{96358C90-6474-4A3B-B400-11BEC63BD210}" presName="LevelTwoTextNode" presStyleLbl="node3" presStyleIdx="7" presStyleCnt="12">
        <dgm:presLayoutVars>
          <dgm:chPref val="3"/>
        </dgm:presLayoutVars>
      </dgm:prSet>
      <dgm:spPr/>
      <dgm:t>
        <a:bodyPr/>
        <a:lstStyle/>
        <a:p>
          <a:endParaRPr lang="zh-CN" altLang="en-US"/>
        </a:p>
      </dgm:t>
    </dgm:pt>
    <dgm:pt modelId="{C6B37F37-3F95-4FC0-AD13-5BAA639378AB}" type="pres">
      <dgm:prSet presAssocID="{96358C90-6474-4A3B-B400-11BEC63BD210}" presName="level3hierChild" presStyleCnt="0"/>
      <dgm:spPr/>
    </dgm:pt>
    <dgm:pt modelId="{D64352E6-129D-4C28-9A49-F14270FBF599}" type="pres">
      <dgm:prSet presAssocID="{6CD6CEDC-3C59-4648-9510-515D258A9F8B}" presName="conn2-1" presStyleLbl="parChTrans1D3" presStyleIdx="8" presStyleCnt="12"/>
      <dgm:spPr/>
      <dgm:t>
        <a:bodyPr/>
        <a:lstStyle/>
        <a:p>
          <a:endParaRPr lang="zh-CN" altLang="en-US"/>
        </a:p>
      </dgm:t>
    </dgm:pt>
    <dgm:pt modelId="{7325DA6D-15C8-45D7-80F6-86A1C4802531}" type="pres">
      <dgm:prSet presAssocID="{6CD6CEDC-3C59-4648-9510-515D258A9F8B}" presName="connTx" presStyleLbl="parChTrans1D3" presStyleIdx="8" presStyleCnt="12"/>
      <dgm:spPr/>
      <dgm:t>
        <a:bodyPr/>
        <a:lstStyle/>
        <a:p>
          <a:endParaRPr lang="zh-CN" altLang="en-US"/>
        </a:p>
      </dgm:t>
    </dgm:pt>
    <dgm:pt modelId="{583494C2-4B88-4FEF-BEB6-D907BA888A61}" type="pres">
      <dgm:prSet presAssocID="{EC689CC2-03F1-43D0-99B8-804A615B6289}" presName="root2" presStyleCnt="0"/>
      <dgm:spPr/>
    </dgm:pt>
    <dgm:pt modelId="{D0EEC330-1D90-49B9-9914-871CEC4E0067}" type="pres">
      <dgm:prSet presAssocID="{EC689CC2-03F1-43D0-99B8-804A615B6289}" presName="LevelTwoTextNode" presStyleLbl="node3" presStyleIdx="8" presStyleCnt="12">
        <dgm:presLayoutVars>
          <dgm:chPref val="3"/>
        </dgm:presLayoutVars>
      </dgm:prSet>
      <dgm:spPr/>
      <dgm:t>
        <a:bodyPr/>
        <a:lstStyle/>
        <a:p>
          <a:endParaRPr lang="zh-CN" altLang="en-US"/>
        </a:p>
      </dgm:t>
    </dgm:pt>
    <dgm:pt modelId="{5853E6B4-4F8C-4A04-9E55-313B386A77D2}" type="pres">
      <dgm:prSet presAssocID="{EC689CC2-03F1-43D0-99B8-804A615B6289}" presName="level3hierChild" presStyleCnt="0"/>
      <dgm:spPr/>
    </dgm:pt>
    <dgm:pt modelId="{1355BEF6-E225-4346-BB0D-6261B6641130}" type="pres">
      <dgm:prSet presAssocID="{EB9976F8-E837-4B6E-8FD7-AC8D82232B9C}" presName="conn2-1" presStyleLbl="parChTrans1D2" presStyleIdx="3" presStyleCnt="4"/>
      <dgm:spPr/>
      <dgm:t>
        <a:bodyPr/>
        <a:lstStyle/>
        <a:p>
          <a:endParaRPr lang="zh-CN" altLang="en-US"/>
        </a:p>
      </dgm:t>
    </dgm:pt>
    <dgm:pt modelId="{E957B129-F4F5-42AB-9045-250EC162FE16}" type="pres">
      <dgm:prSet presAssocID="{EB9976F8-E837-4B6E-8FD7-AC8D82232B9C}" presName="connTx" presStyleLbl="parChTrans1D2" presStyleIdx="3" presStyleCnt="4"/>
      <dgm:spPr/>
      <dgm:t>
        <a:bodyPr/>
        <a:lstStyle/>
        <a:p>
          <a:endParaRPr lang="zh-CN" altLang="en-US"/>
        </a:p>
      </dgm:t>
    </dgm:pt>
    <dgm:pt modelId="{44B8F1A8-ED84-499C-9219-134DC3C65756}" type="pres">
      <dgm:prSet presAssocID="{70241682-8B96-4D4D-A02D-31361484533F}" presName="root2" presStyleCnt="0"/>
      <dgm:spPr/>
    </dgm:pt>
    <dgm:pt modelId="{2F3D62E1-8186-4FA9-9E01-F3C4F46F3EEA}" type="pres">
      <dgm:prSet presAssocID="{70241682-8B96-4D4D-A02D-31361484533F}" presName="LevelTwoTextNode" presStyleLbl="node2" presStyleIdx="3" presStyleCnt="4" custScaleY="178483">
        <dgm:presLayoutVars>
          <dgm:chPref val="3"/>
        </dgm:presLayoutVars>
      </dgm:prSet>
      <dgm:spPr/>
      <dgm:t>
        <a:bodyPr/>
        <a:lstStyle/>
        <a:p>
          <a:endParaRPr lang="zh-CN" altLang="en-US"/>
        </a:p>
      </dgm:t>
    </dgm:pt>
    <dgm:pt modelId="{50275C69-088A-4931-A23A-8142A387C200}" type="pres">
      <dgm:prSet presAssocID="{70241682-8B96-4D4D-A02D-31361484533F}" presName="level3hierChild" presStyleCnt="0"/>
      <dgm:spPr/>
    </dgm:pt>
    <dgm:pt modelId="{9BDDBA59-BE00-4A6F-A6AD-C81204EF07C0}" type="pres">
      <dgm:prSet presAssocID="{DA33ADF0-D179-4145-B614-80ADB31783E8}" presName="conn2-1" presStyleLbl="parChTrans1D3" presStyleIdx="9" presStyleCnt="12"/>
      <dgm:spPr/>
      <dgm:t>
        <a:bodyPr/>
        <a:lstStyle/>
        <a:p>
          <a:endParaRPr lang="zh-CN" altLang="en-US"/>
        </a:p>
      </dgm:t>
    </dgm:pt>
    <dgm:pt modelId="{0CE36728-D37B-4889-9E23-5AE17644410F}" type="pres">
      <dgm:prSet presAssocID="{DA33ADF0-D179-4145-B614-80ADB31783E8}" presName="connTx" presStyleLbl="parChTrans1D3" presStyleIdx="9" presStyleCnt="12"/>
      <dgm:spPr/>
      <dgm:t>
        <a:bodyPr/>
        <a:lstStyle/>
        <a:p>
          <a:endParaRPr lang="zh-CN" altLang="en-US"/>
        </a:p>
      </dgm:t>
    </dgm:pt>
    <dgm:pt modelId="{5E5A6789-BBB0-4D22-A8DE-C840CB4870C6}" type="pres">
      <dgm:prSet presAssocID="{40BE04F3-72FB-4217-B87C-31AF4CF7BC05}" presName="root2" presStyleCnt="0"/>
      <dgm:spPr/>
    </dgm:pt>
    <dgm:pt modelId="{CC7CC385-4C30-4E5A-877F-E922104628C7}" type="pres">
      <dgm:prSet presAssocID="{40BE04F3-72FB-4217-B87C-31AF4CF7BC05}" presName="LevelTwoTextNode" presStyleLbl="node3" presStyleIdx="9" presStyleCnt="12">
        <dgm:presLayoutVars>
          <dgm:chPref val="3"/>
        </dgm:presLayoutVars>
      </dgm:prSet>
      <dgm:spPr/>
      <dgm:t>
        <a:bodyPr/>
        <a:lstStyle/>
        <a:p>
          <a:endParaRPr lang="zh-CN" altLang="en-US"/>
        </a:p>
      </dgm:t>
    </dgm:pt>
    <dgm:pt modelId="{BC29B8F0-E081-42CD-97D4-EA091B603F92}" type="pres">
      <dgm:prSet presAssocID="{40BE04F3-72FB-4217-B87C-31AF4CF7BC05}" presName="level3hierChild" presStyleCnt="0"/>
      <dgm:spPr/>
    </dgm:pt>
    <dgm:pt modelId="{702A192E-878E-4740-A48A-BDCA84436A80}" type="pres">
      <dgm:prSet presAssocID="{3FA2CB3C-FE35-448B-98A7-C0C7464D641D}" presName="conn2-1" presStyleLbl="parChTrans1D3" presStyleIdx="10" presStyleCnt="12"/>
      <dgm:spPr/>
      <dgm:t>
        <a:bodyPr/>
        <a:lstStyle/>
        <a:p>
          <a:endParaRPr lang="zh-CN" altLang="en-US"/>
        </a:p>
      </dgm:t>
    </dgm:pt>
    <dgm:pt modelId="{A7EF20A9-3D96-4B42-97D0-33AB714C7CF0}" type="pres">
      <dgm:prSet presAssocID="{3FA2CB3C-FE35-448B-98A7-C0C7464D641D}" presName="connTx" presStyleLbl="parChTrans1D3" presStyleIdx="10" presStyleCnt="12"/>
      <dgm:spPr/>
      <dgm:t>
        <a:bodyPr/>
        <a:lstStyle/>
        <a:p>
          <a:endParaRPr lang="zh-CN" altLang="en-US"/>
        </a:p>
      </dgm:t>
    </dgm:pt>
    <dgm:pt modelId="{F8615755-9F78-44B9-B776-46E52AE09782}" type="pres">
      <dgm:prSet presAssocID="{3747AEB5-1CFC-4360-9187-28CA79E74FA0}" presName="root2" presStyleCnt="0"/>
      <dgm:spPr/>
    </dgm:pt>
    <dgm:pt modelId="{F8B8ED58-EA68-431F-A7CD-D6D45F1C2941}" type="pres">
      <dgm:prSet presAssocID="{3747AEB5-1CFC-4360-9187-28CA79E74FA0}" presName="LevelTwoTextNode" presStyleLbl="node3" presStyleIdx="10" presStyleCnt="12">
        <dgm:presLayoutVars>
          <dgm:chPref val="3"/>
        </dgm:presLayoutVars>
      </dgm:prSet>
      <dgm:spPr/>
      <dgm:t>
        <a:bodyPr/>
        <a:lstStyle/>
        <a:p>
          <a:endParaRPr lang="zh-CN" altLang="en-US"/>
        </a:p>
      </dgm:t>
    </dgm:pt>
    <dgm:pt modelId="{F88C2874-8F8F-4E1C-8D45-A101DA4FDCEB}" type="pres">
      <dgm:prSet presAssocID="{3747AEB5-1CFC-4360-9187-28CA79E74FA0}" presName="level3hierChild" presStyleCnt="0"/>
      <dgm:spPr/>
    </dgm:pt>
    <dgm:pt modelId="{6523CE0A-A72B-4F54-A014-09970D64AE8A}" type="pres">
      <dgm:prSet presAssocID="{911CD6AB-1709-41A6-B3AC-2D5F3EBB4766}" presName="conn2-1" presStyleLbl="parChTrans1D3" presStyleIdx="11" presStyleCnt="12"/>
      <dgm:spPr/>
      <dgm:t>
        <a:bodyPr/>
        <a:lstStyle/>
        <a:p>
          <a:endParaRPr lang="zh-CN" altLang="en-US"/>
        </a:p>
      </dgm:t>
    </dgm:pt>
    <dgm:pt modelId="{30CDAF49-41D3-4026-AA27-C645A0EE313D}" type="pres">
      <dgm:prSet presAssocID="{911CD6AB-1709-41A6-B3AC-2D5F3EBB4766}" presName="connTx" presStyleLbl="parChTrans1D3" presStyleIdx="11" presStyleCnt="12"/>
      <dgm:spPr/>
      <dgm:t>
        <a:bodyPr/>
        <a:lstStyle/>
        <a:p>
          <a:endParaRPr lang="zh-CN" altLang="en-US"/>
        </a:p>
      </dgm:t>
    </dgm:pt>
    <dgm:pt modelId="{28EAD27C-1421-43AE-8AA5-AB88BF1760AC}" type="pres">
      <dgm:prSet presAssocID="{A0127B35-0157-4022-B192-5FA6E98015DC}" presName="root2" presStyleCnt="0"/>
      <dgm:spPr/>
    </dgm:pt>
    <dgm:pt modelId="{C137CF62-DD77-4C7C-8DFA-1F650CADC47E}" type="pres">
      <dgm:prSet presAssocID="{A0127B35-0157-4022-B192-5FA6E98015DC}" presName="LevelTwoTextNode" presStyleLbl="node3" presStyleIdx="11" presStyleCnt="12">
        <dgm:presLayoutVars>
          <dgm:chPref val="3"/>
        </dgm:presLayoutVars>
      </dgm:prSet>
      <dgm:spPr/>
      <dgm:t>
        <a:bodyPr/>
        <a:lstStyle/>
        <a:p>
          <a:endParaRPr lang="zh-CN" altLang="en-US"/>
        </a:p>
      </dgm:t>
    </dgm:pt>
    <dgm:pt modelId="{B1D247A0-E907-4D64-9562-62709666170C}" type="pres">
      <dgm:prSet presAssocID="{A0127B35-0157-4022-B192-5FA6E98015DC}" presName="level3hierChild" presStyleCnt="0"/>
      <dgm:spPr/>
    </dgm:pt>
  </dgm:ptLst>
  <dgm:cxnLst>
    <dgm:cxn modelId="{5004521E-50CF-47A7-915C-6FE7C941DD51}" srcId="{6C737AF0-C4C1-4A71-9848-D59FAA6D661E}" destId="{7FA233C6-27A4-461A-94EE-7052543F36F7}" srcOrd="2" destOrd="0" parTransId="{ED0D7FFB-C6C5-46BF-92B0-E7F6BF007041}" sibTransId="{6ECB5DAF-652E-4F98-9B37-70DD51F37EE4}"/>
    <dgm:cxn modelId="{DA6C7CE3-F95F-48C0-A30A-F300219371BC}" srcId="{AF9B8EA0-613B-4FBD-980D-179312709D22}" destId="{EC689CC2-03F1-43D0-99B8-804A615B6289}" srcOrd="2" destOrd="0" parTransId="{6CD6CEDC-3C59-4648-9510-515D258A9F8B}" sibTransId="{5FF3A968-EDF2-48F1-92B8-EC19ED31EDB6}"/>
    <dgm:cxn modelId="{62B8AB32-7918-4D94-8773-3544A19EFA42}" type="presOf" srcId="{FA25953C-BC6C-464C-B2C1-48950D3A1B98}" destId="{666063C7-BB08-4070-8EB8-7C1F451CECEB}" srcOrd="1" destOrd="0" presId="urn:microsoft.com/office/officeart/2008/layout/HorizontalMultiLevelHierarchy"/>
    <dgm:cxn modelId="{7D9A50F9-9F15-4F7C-95D2-FD15472D3F7C}" srcId="{BD401F49-5594-4DD2-AF82-CB24661B30B7}" destId="{AF9B8EA0-613B-4FBD-980D-179312709D22}" srcOrd="2" destOrd="0" parTransId="{7878502B-EB74-4CE1-BC5A-DEABAE9FCA44}" sibTransId="{15F1BB8E-3123-4FDE-8179-822E202C79F4}"/>
    <dgm:cxn modelId="{E6CB667E-4262-44CE-8380-67190260DA48}" type="presOf" srcId="{00A1DB44-B16A-46EB-877F-377F3A86A95F}" destId="{8E0B30E7-DE01-4A71-A6A4-396E71462126}" srcOrd="1" destOrd="0" presId="urn:microsoft.com/office/officeart/2008/layout/HorizontalMultiLevelHierarchy"/>
    <dgm:cxn modelId="{C5F671DB-FC75-4A0D-A746-DE836D8F25CC}" type="presOf" srcId="{067C3EBB-6563-4FC5-94E4-E5A16B463573}" destId="{039958E4-5109-492C-9FF3-C66404965E2A}" srcOrd="0" destOrd="0" presId="urn:microsoft.com/office/officeart/2008/layout/HorizontalMultiLevelHierarchy"/>
    <dgm:cxn modelId="{CCE0038D-DD9C-4511-B62D-1C55E783A518}" srcId="{70241682-8B96-4D4D-A02D-31361484533F}" destId="{A0127B35-0157-4022-B192-5FA6E98015DC}" srcOrd="2" destOrd="0" parTransId="{911CD6AB-1709-41A6-B3AC-2D5F3EBB4766}" sibTransId="{F7E589A2-1168-4F5F-968E-C70255BB8AF1}"/>
    <dgm:cxn modelId="{C9BA996B-23A5-4C14-9F7D-9DE4E7268039}" srcId="{B120D98A-B472-4EF3-A76E-6B7E0AFA430E}" destId="{067C3EBB-6563-4FC5-94E4-E5A16B463573}" srcOrd="2" destOrd="0" parTransId="{FA25953C-BC6C-464C-B2C1-48950D3A1B98}" sibTransId="{62DF9556-AE23-4C7A-9482-06D565F63759}"/>
    <dgm:cxn modelId="{4B6F949A-1CBC-4E46-BB52-B701D6F98D26}" type="presOf" srcId="{7840C1A3-E5D3-48E6-9CA4-D1BCC4FAE375}" destId="{09125C42-DA5F-4DB4-8B0D-748FF529192D}" srcOrd="1" destOrd="0" presId="urn:microsoft.com/office/officeart/2008/layout/HorizontalMultiLevelHierarchy"/>
    <dgm:cxn modelId="{0A096C93-B1BC-4842-9D11-522A5FDE92FE}" srcId="{BD401F49-5594-4DD2-AF82-CB24661B30B7}" destId="{6C737AF0-C4C1-4A71-9848-D59FAA6D661E}" srcOrd="1" destOrd="0" parTransId="{00A1DB44-B16A-46EB-877F-377F3A86A95F}" sibTransId="{DAB3DCC7-B45D-4F24-8FC2-189166776D4E}"/>
    <dgm:cxn modelId="{6582F9E7-951C-44CC-AD9F-ADA79579F22D}" srcId="{6C737AF0-C4C1-4A71-9848-D59FAA6D661E}" destId="{C1B84686-C1FF-4B18-9AE5-3E1FEE7926D9}" srcOrd="0" destOrd="0" parTransId="{7840C1A3-E5D3-48E6-9CA4-D1BCC4FAE375}" sibTransId="{C477639F-390D-456C-B7D2-80813629C0A4}"/>
    <dgm:cxn modelId="{0BCF0327-A2E5-4080-A98E-A927A2D8C467}" type="presOf" srcId="{7878502B-EB74-4CE1-BC5A-DEABAE9FCA44}" destId="{151D6F22-ED07-41A0-B541-5455BA1A184E}" srcOrd="1" destOrd="0" presId="urn:microsoft.com/office/officeart/2008/layout/HorizontalMultiLevelHierarchy"/>
    <dgm:cxn modelId="{D9EF50F6-8D5D-41CF-BA8A-CFDA443D7E1F}" type="presOf" srcId="{EC689CC2-03F1-43D0-99B8-804A615B6289}" destId="{D0EEC330-1D90-49B9-9914-871CEC4E0067}" srcOrd="0" destOrd="0" presId="urn:microsoft.com/office/officeart/2008/layout/HorizontalMultiLevelHierarchy"/>
    <dgm:cxn modelId="{166DE66C-685F-4A4E-A1CD-748AF0D02FF6}" type="presOf" srcId="{00A1DB44-B16A-46EB-877F-377F3A86A95F}" destId="{0A03B7D7-5F77-4037-832C-54F2036CF45F}" srcOrd="0" destOrd="0" presId="urn:microsoft.com/office/officeart/2008/layout/HorizontalMultiLevelHierarchy"/>
    <dgm:cxn modelId="{887D045D-BAC4-4BED-94CD-332B78CB0479}" type="presOf" srcId="{3FA2CB3C-FE35-448B-98A7-C0C7464D641D}" destId="{A7EF20A9-3D96-4B42-97D0-33AB714C7CF0}" srcOrd="1" destOrd="0" presId="urn:microsoft.com/office/officeart/2008/layout/HorizontalMultiLevelHierarchy"/>
    <dgm:cxn modelId="{66D06413-D61F-4B58-8F8E-CA6225A13E89}" srcId="{AF9B8EA0-613B-4FBD-980D-179312709D22}" destId="{96358C90-6474-4A3B-B400-11BEC63BD210}" srcOrd="1" destOrd="0" parTransId="{A6E3247C-F233-477E-96FF-F52463D5D623}" sibTransId="{888C472F-61CA-4CA3-967A-454F46E62EF2}"/>
    <dgm:cxn modelId="{20F47E19-387D-49BE-8D63-6BC67F6A2645}" type="presOf" srcId="{C5166C4E-ACF9-4C81-97C3-61DB8357C552}" destId="{54E08ECA-8590-4E03-899B-617173DDE8F3}" srcOrd="1" destOrd="0" presId="urn:microsoft.com/office/officeart/2008/layout/HorizontalMultiLevelHierarchy"/>
    <dgm:cxn modelId="{E123ECE9-4CF6-4CF2-8372-1FDF53881BF8}" type="presOf" srcId="{7FA233C6-27A4-461A-94EE-7052543F36F7}" destId="{CCA03293-91DC-42DF-BC03-2001A356234E}" srcOrd="0" destOrd="0" presId="urn:microsoft.com/office/officeart/2008/layout/HorizontalMultiLevelHierarchy"/>
    <dgm:cxn modelId="{8A13E2CF-38DD-4963-AA67-1C0760810598}" type="presOf" srcId="{1386CBA8-58EF-473B-AB57-F2CD10B4C31B}" destId="{C0994254-F42B-4024-BD60-563AE733FE2C}" srcOrd="1" destOrd="0" presId="urn:microsoft.com/office/officeart/2008/layout/HorizontalMultiLevelHierarchy"/>
    <dgm:cxn modelId="{E69749D2-30DF-4A0E-A59A-7C50CBC26334}" type="presOf" srcId="{7840C1A3-E5D3-48E6-9CA4-D1BCC4FAE375}" destId="{C972F73C-EDBA-40A4-9189-E8AF3FF52E56}" srcOrd="0" destOrd="0" presId="urn:microsoft.com/office/officeart/2008/layout/HorizontalMultiLevelHierarchy"/>
    <dgm:cxn modelId="{5AF05CBE-028B-492A-AE33-035165A33A97}" type="presOf" srcId="{6DA787AD-962A-47DA-B457-0108A29DDBA3}" destId="{7EFBB168-50A1-4DAC-A879-C5E4A6FF357C}" srcOrd="0" destOrd="0" presId="urn:microsoft.com/office/officeart/2008/layout/HorizontalMultiLevelHierarchy"/>
    <dgm:cxn modelId="{25BB813F-D122-4300-A887-6B09547FE12E}" srcId="{D584E36A-AF1D-4F73-9484-DC9A67AC4B49}" destId="{BD401F49-5594-4DD2-AF82-CB24661B30B7}" srcOrd="0" destOrd="0" parTransId="{EF0C0EC2-70AB-47A4-90D9-44952DA76DEA}" sibTransId="{E57886AF-6E69-41CB-A271-1B6D854A33B1}"/>
    <dgm:cxn modelId="{62D300C7-18A2-4736-A766-2AC7B1FC343C}" type="presOf" srcId="{DA33ADF0-D179-4145-B614-80ADB31783E8}" destId="{9BDDBA59-BE00-4A6F-A6AD-C81204EF07C0}" srcOrd="0" destOrd="0" presId="urn:microsoft.com/office/officeart/2008/layout/HorizontalMultiLevelHierarchy"/>
    <dgm:cxn modelId="{9DF8E38B-5942-45CC-8C65-44950AC91C09}" type="presOf" srcId="{96358C90-6474-4A3B-B400-11BEC63BD210}" destId="{0686E243-3C06-4DD9-BCF2-68A47C520556}" srcOrd="0" destOrd="0" presId="urn:microsoft.com/office/officeart/2008/layout/HorizontalMultiLevelHierarchy"/>
    <dgm:cxn modelId="{305A40D3-744B-47B4-937A-54B1F279C93C}" srcId="{BD401F49-5594-4DD2-AF82-CB24661B30B7}" destId="{B120D98A-B472-4EF3-A76E-6B7E0AFA430E}" srcOrd="0" destOrd="0" parTransId="{C5166C4E-ACF9-4C81-97C3-61DB8357C552}" sibTransId="{5D651DE0-4B93-4142-A072-EE85F5CB0142}"/>
    <dgm:cxn modelId="{9AAE0FBA-D1AA-485D-8AE8-131F4E590FEA}" type="presOf" srcId="{E2831459-ECB8-4549-B97B-0864B7B6A2C5}" destId="{B4D190B9-90EC-461D-BC5A-22694C44C1E0}" srcOrd="0" destOrd="0" presId="urn:microsoft.com/office/officeart/2008/layout/HorizontalMultiLevelHierarchy"/>
    <dgm:cxn modelId="{3F3A8E5F-A470-4D4A-9A8B-A78E944B1DDD}" type="presOf" srcId="{3747AEB5-1CFC-4360-9187-28CA79E74FA0}" destId="{F8B8ED58-EA68-431F-A7CD-D6D45F1C2941}" srcOrd="0" destOrd="0" presId="urn:microsoft.com/office/officeart/2008/layout/HorizontalMultiLevelHierarchy"/>
    <dgm:cxn modelId="{B41DB108-CAE0-4CB5-88E9-6A771270F1D4}" type="presOf" srcId="{FA25953C-BC6C-464C-B2C1-48950D3A1B98}" destId="{775ABF30-03AD-4638-A799-E1735CC2C93E}" srcOrd="0" destOrd="0" presId="urn:microsoft.com/office/officeart/2008/layout/HorizontalMultiLevelHierarchy"/>
    <dgm:cxn modelId="{B344044C-A935-4DBE-A07F-DB4699187ED2}" type="presOf" srcId="{B120D98A-B472-4EF3-A76E-6B7E0AFA430E}" destId="{E939A692-2391-47AA-A2E7-4ECB7E337A3E}" srcOrd="0" destOrd="0" presId="urn:microsoft.com/office/officeart/2008/layout/HorizontalMultiLevelHierarchy"/>
    <dgm:cxn modelId="{992B2119-D0F7-4D09-8F37-DB248207CB29}" type="presOf" srcId="{6C737AF0-C4C1-4A71-9848-D59FAA6D661E}" destId="{84895BC0-CDD5-45B2-B4D1-81772506041E}" srcOrd="0" destOrd="0" presId="urn:microsoft.com/office/officeart/2008/layout/HorizontalMultiLevelHierarchy"/>
    <dgm:cxn modelId="{0816958B-9073-4FCD-AE97-C9928B9F4C7A}" type="presOf" srcId="{70241682-8B96-4D4D-A02D-31361484533F}" destId="{2F3D62E1-8186-4FA9-9E01-F3C4F46F3EEA}" srcOrd="0" destOrd="0" presId="urn:microsoft.com/office/officeart/2008/layout/HorizontalMultiLevelHierarchy"/>
    <dgm:cxn modelId="{CB5D11A0-6501-4991-938A-4477BB98AAC4}" type="presOf" srcId="{6CD6CEDC-3C59-4648-9510-515D258A9F8B}" destId="{D64352E6-129D-4C28-9A49-F14270FBF599}" srcOrd="0" destOrd="0" presId="urn:microsoft.com/office/officeart/2008/layout/HorizontalMultiLevelHierarchy"/>
    <dgm:cxn modelId="{A555E450-1E76-4858-B5E9-ED31B2BBA152}" srcId="{6C737AF0-C4C1-4A71-9848-D59FAA6D661E}" destId="{E2831459-ECB8-4549-B97B-0864B7B6A2C5}" srcOrd="1" destOrd="0" parTransId="{1386CBA8-58EF-473B-AB57-F2CD10B4C31B}" sibTransId="{103CD1DD-3FE2-4C0D-B97F-9745E947061E}"/>
    <dgm:cxn modelId="{AADE8054-4B00-4486-9279-4C755AC6688B}" type="presOf" srcId="{DA33ADF0-D179-4145-B614-80ADB31783E8}" destId="{0CE36728-D37B-4889-9E23-5AE17644410F}" srcOrd="1" destOrd="0" presId="urn:microsoft.com/office/officeart/2008/layout/HorizontalMultiLevelHierarchy"/>
    <dgm:cxn modelId="{66530846-83E3-4EA5-95B2-B6F9E41B83D4}" srcId="{AF9B8EA0-613B-4FBD-980D-179312709D22}" destId="{33BB3047-874B-489F-A295-9DF500832598}" srcOrd="0" destOrd="0" parTransId="{6F09F479-9C75-4CBC-9084-3128519B1A8A}" sibTransId="{4EE28465-4A63-4041-935A-D5B7A59429FC}"/>
    <dgm:cxn modelId="{13B3D406-EBFF-4398-96B4-849F6364AC74}" type="presOf" srcId="{7878502B-EB74-4CE1-BC5A-DEABAE9FCA44}" destId="{88D2E54C-3026-4900-870E-E7C1F66414B8}" srcOrd="0" destOrd="0" presId="urn:microsoft.com/office/officeart/2008/layout/HorizontalMultiLevelHierarchy"/>
    <dgm:cxn modelId="{532A8181-2DB1-4B90-8C7D-D64504A48F9F}" srcId="{70241682-8B96-4D4D-A02D-31361484533F}" destId="{3747AEB5-1CFC-4360-9187-28CA79E74FA0}" srcOrd="1" destOrd="0" parTransId="{3FA2CB3C-FE35-448B-98A7-C0C7464D641D}" sibTransId="{5E495B9C-1CC9-4430-9EA2-68C38DE406ED}"/>
    <dgm:cxn modelId="{F8F78149-C8A1-45AF-930F-6815DE3E53BB}" type="presOf" srcId="{EB9976F8-E837-4B6E-8FD7-AC8D82232B9C}" destId="{1355BEF6-E225-4346-BB0D-6261B6641130}" srcOrd="0" destOrd="0" presId="urn:microsoft.com/office/officeart/2008/layout/HorizontalMultiLevelHierarchy"/>
    <dgm:cxn modelId="{4F4F833A-E26B-4953-9395-09BECF8726DB}" type="presOf" srcId="{3FA2CB3C-FE35-448B-98A7-C0C7464D641D}" destId="{702A192E-878E-4740-A48A-BDCA84436A80}" srcOrd="0" destOrd="0" presId="urn:microsoft.com/office/officeart/2008/layout/HorizontalMultiLevelHierarchy"/>
    <dgm:cxn modelId="{B0AC842B-82A5-4546-B21E-EA84F9AE3642}" type="presOf" srcId="{C1BAF433-71AE-491A-9043-B7692B90FC74}" destId="{5DEB3504-52EF-4D28-A344-E430B6C1CD6C}" srcOrd="0" destOrd="0" presId="urn:microsoft.com/office/officeart/2008/layout/HorizontalMultiLevelHierarchy"/>
    <dgm:cxn modelId="{2028CA5B-EEC2-4277-9557-6C94DA8BA0C4}" type="presOf" srcId="{6CD6CEDC-3C59-4648-9510-515D258A9F8B}" destId="{7325DA6D-15C8-45D7-80F6-86A1C4802531}" srcOrd="1" destOrd="0" presId="urn:microsoft.com/office/officeart/2008/layout/HorizontalMultiLevelHierarchy"/>
    <dgm:cxn modelId="{A4AF08A5-A804-4F61-A3EF-A503CCFB1A63}" type="presOf" srcId="{A6E3247C-F233-477E-96FF-F52463D5D623}" destId="{56B06760-0304-4F3E-9FA1-4CC7EA09E0EA}" srcOrd="1" destOrd="0" presId="urn:microsoft.com/office/officeart/2008/layout/HorizontalMultiLevelHierarchy"/>
    <dgm:cxn modelId="{E3FBB01E-2076-49A3-A19F-760A545C5A96}" type="presOf" srcId="{A6E3247C-F233-477E-96FF-F52463D5D623}" destId="{38AF46F3-40EC-473D-B080-C72C0BC7C4BC}" srcOrd="0" destOrd="0" presId="urn:microsoft.com/office/officeart/2008/layout/HorizontalMultiLevelHierarchy"/>
    <dgm:cxn modelId="{B65CBC9A-E05C-4092-93EC-101E45309440}" srcId="{B120D98A-B472-4EF3-A76E-6B7E0AFA430E}" destId="{3EC324D6-9AAF-484E-8154-3536FF549576}" srcOrd="0" destOrd="0" parTransId="{C1BAF433-71AE-491A-9043-B7692B90FC74}" sibTransId="{C5459A72-2CC9-4153-809E-54BE361D35D9}"/>
    <dgm:cxn modelId="{83D4DA07-B484-432F-9EDA-3C914A276733}" type="presOf" srcId="{C5166C4E-ACF9-4C81-97C3-61DB8357C552}" destId="{0BC0A0FB-D68E-48C7-99F1-276F1A88106E}" srcOrd="0" destOrd="0" presId="urn:microsoft.com/office/officeart/2008/layout/HorizontalMultiLevelHierarchy"/>
    <dgm:cxn modelId="{C72B1CF2-B0FF-4C8B-BFE8-091755CD02EE}" type="presOf" srcId="{BD401F49-5594-4DD2-AF82-CB24661B30B7}" destId="{446597BF-DDCE-420C-A8B5-0379CFCAE30A}" srcOrd="0" destOrd="0" presId="urn:microsoft.com/office/officeart/2008/layout/HorizontalMultiLevelHierarchy"/>
    <dgm:cxn modelId="{1CDAB5CE-D2E4-49DC-BF48-6B234D9AC889}" type="presOf" srcId="{911CD6AB-1709-41A6-B3AC-2D5F3EBB4766}" destId="{30CDAF49-41D3-4026-AA27-C645A0EE313D}" srcOrd="1" destOrd="0" presId="urn:microsoft.com/office/officeart/2008/layout/HorizontalMultiLevelHierarchy"/>
    <dgm:cxn modelId="{AECECF65-268D-47EE-AEFC-2568D920C758}" type="presOf" srcId="{6DA787AD-962A-47DA-B457-0108A29DDBA3}" destId="{84FA524D-62DF-4AB3-9EA1-9BBA83DCA21D}" srcOrd="1" destOrd="0" presId="urn:microsoft.com/office/officeart/2008/layout/HorizontalMultiLevelHierarchy"/>
    <dgm:cxn modelId="{3D39EB29-D255-4A2D-96A4-65121AEEFFF0}" type="presOf" srcId="{A0127B35-0157-4022-B192-5FA6E98015DC}" destId="{C137CF62-DD77-4C7C-8DFA-1F650CADC47E}" srcOrd="0" destOrd="0" presId="urn:microsoft.com/office/officeart/2008/layout/HorizontalMultiLevelHierarchy"/>
    <dgm:cxn modelId="{A3BC6F41-F4A1-42DC-B591-969B62E7F89A}" srcId="{B120D98A-B472-4EF3-A76E-6B7E0AFA430E}" destId="{7BF54F0A-401C-4A34-9CB0-3878A717718E}" srcOrd="1" destOrd="0" parTransId="{6DA787AD-962A-47DA-B457-0108A29DDBA3}" sibTransId="{8D365522-41C6-4B88-B827-EFF9987CB202}"/>
    <dgm:cxn modelId="{7B7015C8-433A-4592-9704-919C15244BA0}" type="presOf" srcId="{ED0D7FFB-C6C5-46BF-92B0-E7F6BF007041}" destId="{17C2DA58-225F-4B3B-9C82-F9E3BB1E7BF2}" srcOrd="1" destOrd="0" presId="urn:microsoft.com/office/officeart/2008/layout/HorizontalMultiLevelHierarchy"/>
    <dgm:cxn modelId="{5A36575D-722C-49D7-BEC7-B97EF3E5D1D0}" srcId="{BD401F49-5594-4DD2-AF82-CB24661B30B7}" destId="{70241682-8B96-4D4D-A02D-31361484533F}" srcOrd="3" destOrd="0" parTransId="{EB9976F8-E837-4B6E-8FD7-AC8D82232B9C}" sibTransId="{9E366463-6528-4DB7-B01E-0E181E406B70}"/>
    <dgm:cxn modelId="{D3CB5063-CF8D-48D5-85CC-4EFA683D5CD0}" type="presOf" srcId="{911CD6AB-1709-41A6-B3AC-2D5F3EBB4766}" destId="{6523CE0A-A72B-4F54-A014-09970D64AE8A}" srcOrd="0" destOrd="0" presId="urn:microsoft.com/office/officeart/2008/layout/HorizontalMultiLevelHierarchy"/>
    <dgm:cxn modelId="{61E7916B-DD86-4815-A6AF-C7BD2F228307}" type="presOf" srcId="{3EC324D6-9AAF-484E-8154-3536FF549576}" destId="{F43EB910-E94A-4224-BD5A-2A9DE62E1236}" srcOrd="0" destOrd="0" presId="urn:microsoft.com/office/officeart/2008/layout/HorizontalMultiLevelHierarchy"/>
    <dgm:cxn modelId="{4E9DC0B3-5260-4286-96C4-34E6DED47DA5}" type="presOf" srcId="{AF9B8EA0-613B-4FBD-980D-179312709D22}" destId="{D3C1E581-8B39-44CE-AF10-6EF5EBF04075}" srcOrd="0" destOrd="0" presId="urn:microsoft.com/office/officeart/2008/layout/HorizontalMultiLevelHierarchy"/>
    <dgm:cxn modelId="{BF91E9FB-3744-453C-BC10-1F7C2ABB4A45}" type="presOf" srcId="{33BB3047-874B-489F-A295-9DF500832598}" destId="{9E7A28F0-6AEC-44BE-B6BB-C34BF9A980A3}" srcOrd="0" destOrd="0" presId="urn:microsoft.com/office/officeart/2008/layout/HorizontalMultiLevelHierarchy"/>
    <dgm:cxn modelId="{2BD0163A-5988-47B7-BD3A-015AB1A05703}" type="presOf" srcId="{C1B84686-C1FF-4B18-9AE5-3E1FEE7926D9}" destId="{05B5D788-6BE2-4660-99CE-83FFEDF2AD10}" srcOrd="0" destOrd="0" presId="urn:microsoft.com/office/officeart/2008/layout/HorizontalMultiLevelHierarchy"/>
    <dgm:cxn modelId="{BFEDE9C3-888B-47C0-82D5-F1626EE151DD}" type="presOf" srcId="{6F09F479-9C75-4CBC-9084-3128519B1A8A}" destId="{2B3764FE-A5AD-48F0-8193-CEA2F8545091}" srcOrd="1" destOrd="0" presId="urn:microsoft.com/office/officeart/2008/layout/HorizontalMultiLevelHierarchy"/>
    <dgm:cxn modelId="{C7A9A5B2-B6CB-4ABF-98CF-6A1C56429103}" type="presOf" srcId="{7BF54F0A-401C-4A34-9CB0-3878A717718E}" destId="{DE2E9A57-91BD-4256-BAC0-8C2DDF34ECF3}" srcOrd="0" destOrd="0" presId="urn:microsoft.com/office/officeart/2008/layout/HorizontalMultiLevelHierarchy"/>
    <dgm:cxn modelId="{1BE1B44F-B43C-4108-A3CA-0E3CB6F1F8D3}" type="presOf" srcId="{EB9976F8-E837-4B6E-8FD7-AC8D82232B9C}" destId="{E957B129-F4F5-42AB-9045-250EC162FE16}" srcOrd="1" destOrd="0" presId="urn:microsoft.com/office/officeart/2008/layout/HorizontalMultiLevelHierarchy"/>
    <dgm:cxn modelId="{9567142F-4D40-4E08-B582-3A06DFC04946}" type="presOf" srcId="{ED0D7FFB-C6C5-46BF-92B0-E7F6BF007041}" destId="{11916D1A-1072-459B-BD07-E40F7CA06F7F}" srcOrd="0" destOrd="0" presId="urn:microsoft.com/office/officeart/2008/layout/HorizontalMultiLevelHierarchy"/>
    <dgm:cxn modelId="{3C5210D4-9030-45E9-9145-16CF057E2F1D}" type="presOf" srcId="{1386CBA8-58EF-473B-AB57-F2CD10B4C31B}" destId="{51952025-A284-4102-9B7F-1578380C081F}" srcOrd="0" destOrd="0" presId="urn:microsoft.com/office/officeart/2008/layout/HorizontalMultiLevelHierarchy"/>
    <dgm:cxn modelId="{1C5B5E4E-9191-4590-9FD0-FB2FA155A5DC}" type="presOf" srcId="{6F09F479-9C75-4CBC-9084-3128519B1A8A}" destId="{6060A8DB-85B9-42CD-A8E3-06806FDDBAA0}" srcOrd="0" destOrd="0" presId="urn:microsoft.com/office/officeart/2008/layout/HorizontalMultiLevelHierarchy"/>
    <dgm:cxn modelId="{4AE13961-CE5E-4117-9B69-D04B60DA37FE}" type="presOf" srcId="{40BE04F3-72FB-4217-B87C-31AF4CF7BC05}" destId="{CC7CC385-4C30-4E5A-877F-E922104628C7}" srcOrd="0" destOrd="0" presId="urn:microsoft.com/office/officeart/2008/layout/HorizontalMultiLevelHierarchy"/>
    <dgm:cxn modelId="{C869AA78-6199-4902-A99D-9276541F92BC}" type="presOf" srcId="{D584E36A-AF1D-4F73-9484-DC9A67AC4B49}" destId="{52C1FFA7-110A-43C3-8719-973E8215B040}" srcOrd="0" destOrd="0" presId="urn:microsoft.com/office/officeart/2008/layout/HorizontalMultiLevelHierarchy"/>
    <dgm:cxn modelId="{87E05170-6E85-4B8C-9FD0-0A8FA4C73E51}" type="presOf" srcId="{C1BAF433-71AE-491A-9043-B7692B90FC74}" destId="{A5B8D931-F926-4272-A6AD-41A735EFDADA}" srcOrd="1" destOrd="0" presId="urn:microsoft.com/office/officeart/2008/layout/HorizontalMultiLevelHierarchy"/>
    <dgm:cxn modelId="{38F87BFD-E23E-4AE0-A69D-7D2A9CFB6938}" srcId="{70241682-8B96-4D4D-A02D-31361484533F}" destId="{40BE04F3-72FB-4217-B87C-31AF4CF7BC05}" srcOrd="0" destOrd="0" parTransId="{DA33ADF0-D179-4145-B614-80ADB31783E8}" sibTransId="{9DBDEB9F-5494-4E75-AF84-2C754E2F1CA6}"/>
    <dgm:cxn modelId="{EB677B36-E5D8-42FB-9409-C4A2AA710498}" type="presParOf" srcId="{52C1FFA7-110A-43C3-8719-973E8215B040}" destId="{664AC6B8-5C4A-439D-90A8-5610C0C87724}" srcOrd="0" destOrd="0" presId="urn:microsoft.com/office/officeart/2008/layout/HorizontalMultiLevelHierarchy"/>
    <dgm:cxn modelId="{D3E59125-ACA5-4552-A7A5-26D01C8C6B9D}" type="presParOf" srcId="{664AC6B8-5C4A-439D-90A8-5610C0C87724}" destId="{446597BF-DDCE-420C-A8B5-0379CFCAE30A}" srcOrd="0" destOrd="0" presId="urn:microsoft.com/office/officeart/2008/layout/HorizontalMultiLevelHierarchy"/>
    <dgm:cxn modelId="{5C992898-1A32-4821-9DEF-BA35EEFFF6C4}" type="presParOf" srcId="{664AC6B8-5C4A-439D-90A8-5610C0C87724}" destId="{507D7304-919D-4EC0-8D15-936FFAF08BE1}" srcOrd="1" destOrd="0" presId="urn:microsoft.com/office/officeart/2008/layout/HorizontalMultiLevelHierarchy"/>
    <dgm:cxn modelId="{A1FB83CF-EB72-43D4-9823-1E23196BA8F7}" type="presParOf" srcId="{507D7304-919D-4EC0-8D15-936FFAF08BE1}" destId="{0BC0A0FB-D68E-48C7-99F1-276F1A88106E}" srcOrd="0" destOrd="0" presId="urn:microsoft.com/office/officeart/2008/layout/HorizontalMultiLevelHierarchy"/>
    <dgm:cxn modelId="{BEAC001D-93D4-400D-86CA-5326E388A9B6}" type="presParOf" srcId="{0BC0A0FB-D68E-48C7-99F1-276F1A88106E}" destId="{54E08ECA-8590-4E03-899B-617173DDE8F3}" srcOrd="0" destOrd="0" presId="urn:microsoft.com/office/officeart/2008/layout/HorizontalMultiLevelHierarchy"/>
    <dgm:cxn modelId="{F6A80983-B88B-46C5-B305-135BB5FADAB1}" type="presParOf" srcId="{507D7304-919D-4EC0-8D15-936FFAF08BE1}" destId="{B60010A3-6136-414C-A2A4-716564BA4A94}" srcOrd="1" destOrd="0" presId="urn:microsoft.com/office/officeart/2008/layout/HorizontalMultiLevelHierarchy"/>
    <dgm:cxn modelId="{5C056EAA-DF47-4ABB-931E-802A9E9929E8}" type="presParOf" srcId="{B60010A3-6136-414C-A2A4-716564BA4A94}" destId="{E939A692-2391-47AA-A2E7-4ECB7E337A3E}" srcOrd="0" destOrd="0" presId="urn:microsoft.com/office/officeart/2008/layout/HorizontalMultiLevelHierarchy"/>
    <dgm:cxn modelId="{9F7E0167-B676-4A8B-AB93-469F72E922A4}" type="presParOf" srcId="{B60010A3-6136-414C-A2A4-716564BA4A94}" destId="{867EFF41-0C87-40FE-A8F0-897841C1FFFF}" srcOrd="1" destOrd="0" presId="urn:microsoft.com/office/officeart/2008/layout/HorizontalMultiLevelHierarchy"/>
    <dgm:cxn modelId="{0CFF42EA-73D3-4043-9361-D4ADC45E90AF}" type="presParOf" srcId="{867EFF41-0C87-40FE-A8F0-897841C1FFFF}" destId="{5DEB3504-52EF-4D28-A344-E430B6C1CD6C}" srcOrd="0" destOrd="0" presId="urn:microsoft.com/office/officeart/2008/layout/HorizontalMultiLevelHierarchy"/>
    <dgm:cxn modelId="{42E870E8-75CE-407B-A068-296E0BBC286A}" type="presParOf" srcId="{5DEB3504-52EF-4D28-A344-E430B6C1CD6C}" destId="{A5B8D931-F926-4272-A6AD-41A735EFDADA}" srcOrd="0" destOrd="0" presId="urn:microsoft.com/office/officeart/2008/layout/HorizontalMultiLevelHierarchy"/>
    <dgm:cxn modelId="{1E70773C-9AA6-4645-AE55-BBD9B9536967}" type="presParOf" srcId="{867EFF41-0C87-40FE-A8F0-897841C1FFFF}" destId="{DB650E35-7A27-48D1-9CFD-7183F7A0DC46}" srcOrd="1" destOrd="0" presId="urn:microsoft.com/office/officeart/2008/layout/HorizontalMultiLevelHierarchy"/>
    <dgm:cxn modelId="{49839DB6-B0AF-4596-BC97-98AF36B34317}" type="presParOf" srcId="{DB650E35-7A27-48D1-9CFD-7183F7A0DC46}" destId="{F43EB910-E94A-4224-BD5A-2A9DE62E1236}" srcOrd="0" destOrd="0" presId="urn:microsoft.com/office/officeart/2008/layout/HorizontalMultiLevelHierarchy"/>
    <dgm:cxn modelId="{6C174F3E-81DE-4960-956A-09153BB593E5}" type="presParOf" srcId="{DB650E35-7A27-48D1-9CFD-7183F7A0DC46}" destId="{A61EDEB5-5B5B-4F1C-9615-55097BE508D1}" srcOrd="1" destOrd="0" presId="urn:microsoft.com/office/officeart/2008/layout/HorizontalMultiLevelHierarchy"/>
    <dgm:cxn modelId="{FB2A8AFB-179D-4A37-BED1-8B1684D25048}" type="presParOf" srcId="{867EFF41-0C87-40FE-A8F0-897841C1FFFF}" destId="{7EFBB168-50A1-4DAC-A879-C5E4A6FF357C}" srcOrd="2" destOrd="0" presId="urn:microsoft.com/office/officeart/2008/layout/HorizontalMultiLevelHierarchy"/>
    <dgm:cxn modelId="{5A6B9736-6D6F-4F49-BF40-6B4BEDF3B383}" type="presParOf" srcId="{7EFBB168-50A1-4DAC-A879-C5E4A6FF357C}" destId="{84FA524D-62DF-4AB3-9EA1-9BBA83DCA21D}" srcOrd="0" destOrd="0" presId="urn:microsoft.com/office/officeart/2008/layout/HorizontalMultiLevelHierarchy"/>
    <dgm:cxn modelId="{E44976CD-F3C2-40B0-B37E-7AEE58BFFE27}" type="presParOf" srcId="{867EFF41-0C87-40FE-A8F0-897841C1FFFF}" destId="{67A31955-C93F-4F3B-8377-8A54E290CF1B}" srcOrd="3" destOrd="0" presId="urn:microsoft.com/office/officeart/2008/layout/HorizontalMultiLevelHierarchy"/>
    <dgm:cxn modelId="{1A6144B4-231E-4762-BE50-0913A5D35E8E}" type="presParOf" srcId="{67A31955-C93F-4F3B-8377-8A54E290CF1B}" destId="{DE2E9A57-91BD-4256-BAC0-8C2DDF34ECF3}" srcOrd="0" destOrd="0" presId="urn:microsoft.com/office/officeart/2008/layout/HorizontalMultiLevelHierarchy"/>
    <dgm:cxn modelId="{AE74C924-A4C4-4128-8922-92EC0B4153CA}" type="presParOf" srcId="{67A31955-C93F-4F3B-8377-8A54E290CF1B}" destId="{AE9245ED-D1D5-452A-B209-11C08327598B}" srcOrd="1" destOrd="0" presId="urn:microsoft.com/office/officeart/2008/layout/HorizontalMultiLevelHierarchy"/>
    <dgm:cxn modelId="{A4067636-E062-422F-9116-3F43302C5FCC}" type="presParOf" srcId="{867EFF41-0C87-40FE-A8F0-897841C1FFFF}" destId="{775ABF30-03AD-4638-A799-E1735CC2C93E}" srcOrd="4" destOrd="0" presId="urn:microsoft.com/office/officeart/2008/layout/HorizontalMultiLevelHierarchy"/>
    <dgm:cxn modelId="{B891B3CC-CA37-4610-BBB2-D40185780321}" type="presParOf" srcId="{775ABF30-03AD-4638-A799-E1735CC2C93E}" destId="{666063C7-BB08-4070-8EB8-7C1F451CECEB}" srcOrd="0" destOrd="0" presId="urn:microsoft.com/office/officeart/2008/layout/HorizontalMultiLevelHierarchy"/>
    <dgm:cxn modelId="{ED6982BF-1B4F-4210-A6F3-C73D6B2B12A6}" type="presParOf" srcId="{867EFF41-0C87-40FE-A8F0-897841C1FFFF}" destId="{5A2CF19F-1C67-4CA3-9D21-E904BEB57EF9}" srcOrd="5" destOrd="0" presId="urn:microsoft.com/office/officeart/2008/layout/HorizontalMultiLevelHierarchy"/>
    <dgm:cxn modelId="{C0921B1D-60A5-4CE7-98F9-0341E3514A0E}" type="presParOf" srcId="{5A2CF19F-1C67-4CA3-9D21-E904BEB57EF9}" destId="{039958E4-5109-492C-9FF3-C66404965E2A}" srcOrd="0" destOrd="0" presId="urn:microsoft.com/office/officeart/2008/layout/HorizontalMultiLevelHierarchy"/>
    <dgm:cxn modelId="{9AE59068-6DC4-49B9-A3B1-DD7FD4542A3E}" type="presParOf" srcId="{5A2CF19F-1C67-4CA3-9D21-E904BEB57EF9}" destId="{2168ABDA-BA97-4AFB-9F61-20FAA2F54C43}" srcOrd="1" destOrd="0" presId="urn:microsoft.com/office/officeart/2008/layout/HorizontalMultiLevelHierarchy"/>
    <dgm:cxn modelId="{CD52DE27-F96D-4A77-9960-CCCBFF376597}" type="presParOf" srcId="{507D7304-919D-4EC0-8D15-936FFAF08BE1}" destId="{0A03B7D7-5F77-4037-832C-54F2036CF45F}" srcOrd="2" destOrd="0" presId="urn:microsoft.com/office/officeart/2008/layout/HorizontalMultiLevelHierarchy"/>
    <dgm:cxn modelId="{8A82C8B5-F4D0-40DE-BEF2-D28642E3CCB6}" type="presParOf" srcId="{0A03B7D7-5F77-4037-832C-54F2036CF45F}" destId="{8E0B30E7-DE01-4A71-A6A4-396E71462126}" srcOrd="0" destOrd="0" presId="urn:microsoft.com/office/officeart/2008/layout/HorizontalMultiLevelHierarchy"/>
    <dgm:cxn modelId="{1FA07197-8E7E-4682-B26A-7514135143AE}" type="presParOf" srcId="{507D7304-919D-4EC0-8D15-936FFAF08BE1}" destId="{E3567BDE-4BB5-4E17-9E85-1625823348FB}" srcOrd="3" destOrd="0" presId="urn:microsoft.com/office/officeart/2008/layout/HorizontalMultiLevelHierarchy"/>
    <dgm:cxn modelId="{7C6A1193-62FF-4747-A7B9-344358B16741}" type="presParOf" srcId="{E3567BDE-4BB5-4E17-9E85-1625823348FB}" destId="{84895BC0-CDD5-45B2-B4D1-81772506041E}" srcOrd="0" destOrd="0" presId="urn:microsoft.com/office/officeart/2008/layout/HorizontalMultiLevelHierarchy"/>
    <dgm:cxn modelId="{526579C9-E87F-4563-AEE9-866BD3208E11}" type="presParOf" srcId="{E3567BDE-4BB5-4E17-9E85-1625823348FB}" destId="{71C71616-9620-4FA9-B32A-386BF72BCF53}" srcOrd="1" destOrd="0" presId="urn:microsoft.com/office/officeart/2008/layout/HorizontalMultiLevelHierarchy"/>
    <dgm:cxn modelId="{71462A03-E359-4C9E-9D8E-A18A23A7DC4F}" type="presParOf" srcId="{71C71616-9620-4FA9-B32A-386BF72BCF53}" destId="{C972F73C-EDBA-40A4-9189-E8AF3FF52E56}" srcOrd="0" destOrd="0" presId="urn:microsoft.com/office/officeart/2008/layout/HorizontalMultiLevelHierarchy"/>
    <dgm:cxn modelId="{82994E91-1FAC-49C8-875B-4B12CB5D9DEB}" type="presParOf" srcId="{C972F73C-EDBA-40A4-9189-E8AF3FF52E56}" destId="{09125C42-DA5F-4DB4-8B0D-748FF529192D}" srcOrd="0" destOrd="0" presId="urn:microsoft.com/office/officeart/2008/layout/HorizontalMultiLevelHierarchy"/>
    <dgm:cxn modelId="{DCA5B49A-6E6E-4309-A61D-2D38874F4FDB}" type="presParOf" srcId="{71C71616-9620-4FA9-B32A-386BF72BCF53}" destId="{2739E6E4-1E71-4A20-9C9D-C0171C341B9B}" srcOrd="1" destOrd="0" presId="urn:microsoft.com/office/officeart/2008/layout/HorizontalMultiLevelHierarchy"/>
    <dgm:cxn modelId="{C4C7E8D7-0D46-496E-9832-C371773B38D8}" type="presParOf" srcId="{2739E6E4-1E71-4A20-9C9D-C0171C341B9B}" destId="{05B5D788-6BE2-4660-99CE-83FFEDF2AD10}" srcOrd="0" destOrd="0" presId="urn:microsoft.com/office/officeart/2008/layout/HorizontalMultiLevelHierarchy"/>
    <dgm:cxn modelId="{60AE1767-F174-4D34-B6CF-A44B08085241}" type="presParOf" srcId="{2739E6E4-1E71-4A20-9C9D-C0171C341B9B}" destId="{07A92087-304D-41EB-BBE6-2D38DFA14CFA}" srcOrd="1" destOrd="0" presId="urn:microsoft.com/office/officeart/2008/layout/HorizontalMultiLevelHierarchy"/>
    <dgm:cxn modelId="{17EBD589-41B9-432C-89AC-D99BA6FBEF14}" type="presParOf" srcId="{71C71616-9620-4FA9-B32A-386BF72BCF53}" destId="{51952025-A284-4102-9B7F-1578380C081F}" srcOrd="2" destOrd="0" presId="urn:microsoft.com/office/officeart/2008/layout/HorizontalMultiLevelHierarchy"/>
    <dgm:cxn modelId="{C99C15CC-63C9-4153-882C-6DF58196D138}" type="presParOf" srcId="{51952025-A284-4102-9B7F-1578380C081F}" destId="{C0994254-F42B-4024-BD60-563AE733FE2C}" srcOrd="0" destOrd="0" presId="urn:microsoft.com/office/officeart/2008/layout/HorizontalMultiLevelHierarchy"/>
    <dgm:cxn modelId="{6A0E2923-B22B-4020-8741-FA660EA4D5BC}" type="presParOf" srcId="{71C71616-9620-4FA9-B32A-386BF72BCF53}" destId="{87C5A045-E92F-4D17-9D12-3C81D509C123}" srcOrd="3" destOrd="0" presId="urn:microsoft.com/office/officeart/2008/layout/HorizontalMultiLevelHierarchy"/>
    <dgm:cxn modelId="{384001B0-2C33-4282-9D1D-529410F21768}" type="presParOf" srcId="{87C5A045-E92F-4D17-9D12-3C81D509C123}" destId="{B4D190B9-90EC-461D-BC5A-22694C44C1E0}" srcOrd="0" destOrd="0" presId="urn:microsoft.com/office/officeart/2008/layout/HorizontalMultiLevelHierarchy"/>
    <dgm:cxn modelId="{58BCDB47-8F42-4EB0-B085-9A0B9BF71A32}" type="presParOf" srcId="{87C5A045-E92F-4D17-9D12-3C81D509C123}" destId="{811E7692-A534-4A58-9CCC-8F5AB00F7487}" srcOrd="1" destOrd="0" presId="urn:microsoft.com/office/officeart/2008/layout/HorizontalMultiLevelHierarchy"/>
    <dgm:cxn modelId="{07A85FE7-5F73-4D8C-81EE-30CDF2D95633}" type="presParOf" srcId="{71C71616-9620-4FA9-B32A-386BF72BCF53}" destId="{11916D1A-1072-459B-BD07-E40F7CA06F7F}" srcOrd="4" destOrd="0" presId="urn:microsoft.com/office/officeart/2008/layout/HorizontalMultiLevelHierarchy"/>
    <dgm:cxn modelId="{B9C5554F-45E2-4584-8915-F5D1E1DE36F0}" type="presParOf" srcId="{11916D1A-1072-459B-BD07-E40F7CA06F7F}" destId="{17C2DA58-225F-4B3B-9C82-F9E3BB1E7BF2}" srcOrd="0" destOrd="0" presId="urn:microsoft.com/office/officeart/2008/layout/HorizontalMultiLevelHierarchy"/>
    <dgm:cxn modelId="{78196F12-41E0-4BD1-A303-A557BC42146C}" type="presParOf" srcId="{71C71616-9620-4FA9-B32A-386BF72BCF53}" destId="{0F18E012-E46F-41D9-B5C3-E41A63240F61}" srcOrd="5" destOrd="0" presId="urn:microsoft.com/office/officeart/2008/layout/HorizontalMultiLevelHierarchy"/>
    <dgm:cxn modelId="{9E6B8D0F-C108-410D-B9E0-ED6B62836A77}" type="presParOf" srcId="{0F18E012-E46F-41D9-B5C3-E41A63240F61}" destId="{CCA03293-91DC-42DF-BC03-2001A356234E}" srcOrd="0" destOrd="0" presId="urn:microsoft.com/office/officeart/2008/layout/HorizontalMultiLevelHierarchy"/>
    <dgm:cxn modelId="{5DF7DAA3-B4BB-401C-B308-E48302624A83}" type="presParOf" srcId="{0F18E012-E46F-41D9-B5C3-E41A63240F61}" destId="{8B719517-4464-4251-9F3C-E1E952C11270}" srcOrd="1" destOrd="0" presId="urn:microsoft.com/office/officeart/2008/layout/HorizontalMultiLevelHierarchy"/>
    <dgm:cxn modelId="{70C1922A-40A0-4F89-8836-8A09FB5399C8}" type="presParOf" srcId="{507D7304-919D-4EC0-8D15-936FFAF08BE1}" destId="{88D2E54C-3026-4900-870E-E7C1F66414B8}" srcOrd="4" destOrd="0" presId="urn:microsoft.com/office/officeart/2008/layout/HorizontalMultiLevelHierarchy"/>
    <dgm:cxn modelId="{4DE3B716-07F1-47D6-A7DA-460C97ACA31C}" type="presParOf" srcId="{88D2E54C-3026-4900-870E-E7C1F66414B8}" destId="{151D6F22-ED07-41A0-B541-5455BA1A184E}" srcOrd="0" destOrd="0" presId="urn:microsoft.com/office/officeart/2008/layout/HorizontalMultiLevelHierarchy"/>
    <dgm:cxn modelId="{B5FDB700-F280-4179-A96E-FD86B2AC87A4}" type="presParOf" srcId="{507D7304-919D-4EC0-8D15-936FFAF08BE1}" destId="{C5EA8F90-9CC8-4DF7-A68B-EF32226659FB}" srcOrd="5" destOrd="0" presId="urn:microsoft.com/office/officeart/2008/layout/HorizontalMultiLevelHierarchy"/>
    <dgm:cxn modelId="{9C2AD766-40CA-4CEE-934E-143763D138F3}" type="presParOf" srcId="{C5EA8F90-9CC8-4DF7-A68B-EF32226659FB}" destId="{D3C1E581-8B39-44CE-AF10-6EF5EBF04075}" srcOrd="0" destOrd="0" presId="urn:microsoft.com/office/officeart/2008/layout/HorizontalMultiLevelHierarchy"/>
    <dgm:cxn modelId="{1CCF191B-D151-49C9-BAA0-E83A6A485C91}" type="presParOf" srcId="{C5EA8F90-9CC8-4DF7-A68B-EF32226659FB}" destId="{39AE1704-C93A-4C21-BD42-2FADF297D26A}" srcOrd="1" destOrd="0" presId="urn:microsoft.com/office/officeart/2008/layout/HorizontalMultiLevelHierarchy"/>
    <dgm:cxn modelId="{8ED7EA4F-1F83-4DFD-A95B-4EDB96B5EFD7}" type="presParOf" srcId="{39AE1704-C93A-4C21-BD42-2FADF297D26A}" destId="{6060A8DB-85B9-42CD-A8E3-06806FDDBAA0}" srcOrd="0" destOrd="0" presId="urn:microsoft.com/office/officeart/2008/layout/HorizontalMultiLevelHierarchy"/>
    <dgm:cxn modelId="{29C3A07A-988C-44CF-9C62-2F3FC178BB53}" type="presParOf" srcId="{6060A8DB-85B9-42CD-A8E3-06806FDDBAA0}" destId="{2B3764FE-A5AD-48F0-8193-CEA2F8545091}" srcOrd="0" destOrd="0" presId="urn:microsoft.com/office/officeart/2008/layout/HorizontalMultiLevelHierarchy"/>
    <dgm:cxn modelId="{2E27EEC5-D8A4-4FCE-8E64-6E7BF9706E82}" type="presParOf" srcId="{39AE1704-C93A-4C21-BD42-2FADF297D26A}" destId="{9FAFD265-DB53-459D-845E-D1A143E30C2F}" srcOrd="1" destOrd="0" presId="urn:microsoft.com/office/officeart/2008/layout/HorizontalMultiLevelHierarchy"/>
    <dgm:cxn modelId="{439FC4B2-667C-49A5-A8F5-DF6CB3E1FFF8}" type="presParOf" srcId="{9FAFD265-DB53-459D-845E-D1A143E30C2F}" destId="{9E7A28F0-6AEC-44BE-B6BB-C34BF9A980A3}" srcOrd="0" destOrd="0" presId="urn:microsoft.com/office/officeart/2008/layout/HorizontalMultiLevelHierarchy"/>
    <dgm:cxn modelId="{EFC4CC6D-CE7D-4D16-ACF1-5D60A835CBAB}" type="presParOf" srcId="{9FAFD265-DB53-459D-845E-D1A143E30C2F}" destId="{44863A8C-6151-476B-ADB6-8FA0B5316F97}" srcOrd="1" destOrd="0" presId="urn:microsoft.com/office/officeart/2008/layout/HorizontalMultiLevelHierarchy"/>
    <dgm:cxn modelId="{BBB0AB83-1614-4DCD-AFDB-E3313BDF291E}" type="presParOf" srcId="{39AE1704-C93A-4C21-BD42-2FADF297D26A}" destId="{38AF46F3-40EC-473D-B080-C72C0BC7C4BC}" srcOrd="2" destOrd="0" presId="urn:microsoft.com/office/officeart/2008/layout/HorizontalMultiLevelHierarchy"/>
    <dgm:cxn modelId="{2F43BED7-F5B9-45F5-90B6-082ACC3A9A70}" type="presParOf" srcId="{38AF46F3-40EC-473D-B080-C72C0BC7C4BC}" destId="{56B06760-0304-4F3E-9FA1-4CC7EA09E0EA}" srcOrd="0" destOrd="0" presId="urn:microsoft.com/office/officeart/2008/layout/HorizontalMultiLevelHierarchy"/>
    <dgm:cxn modelId="{44B4B8FD-AAF6-41D7-B871-C9BB49870572}" type="presParOf" srcId="{39AE1704-C93A-4C21-BD42-2FADF297D26A}" destId="{89E3649B-64F3-45DE-874A-94448ED494ED}" srcOrd="3" destOrd="0" presId="urn:microsoft.com/office/officeart/2008/layout/HorizontalMultiLevelHierarchy"/>
    <dgm:cxn modelId="{A7608D80-04EC-442D-A4A2-771E6E797006}" type="presParOf" srcId="{89E3649B-64F3-45DE-874A-94448ED494ED}" destId="{0686E243-3C06-4DD9-BCF2-68A47C520556}" srcOrd="0" destOrd="0" presId="urn:microsoft.com/office/officeart/2008/layout/HorizontalMultiLevelHierarchy"/>
    <dgm:cxn modelId="{9C2BFD01-DB4C-42D7-ACAE-A649B53BE14A}" type="presParOf" srcId="{89E3649B-64F3-45DE-874A-94448ED494ED}" destId="{C6B37F37-3F95-4FC0-AD13-5BAA639378AB}" srcOrd="1" destOrd="0" presId="urn:microsoft.com/office/officeart/2008/layout/HorizontalMultiLevelHierarchy"/>
    <dgm:cxn modelId="{EDD113E4-22EC-4513-BEF4-F5A69B57546B}" type="presParOf" srcId="{39AE1704-C93A-4C21-BD42-2FADF297D26A}" destId="{D64352E6-129D-4C28-9A49-F14270FBF599}" srcOrd="4" destOrd="0" presId="urn:microsoft.com/office/officeart/2008/layout/HorizontalMultiLevelHierarchy"/>
    <dgm:cxn modelId="{3513D6D2-7891-4CA5-A17A-A92E5834AE22}" type="presParOf" srcId="{D64352E6-129D-4C28-9A49-F14270FBF599}" destId="{7325DA6D-15C8-45D7-80F6-86A1C4802531}" srcOrd="0" destOrd="0" presId="urn:microsoft.com/office/officeart/2008/layout/HorizontalMultiLevelHierarchy"/>
    <dgm:cxn modelId="{59370A70-440B-4C15-82A4-FB6EAD34E99A}" type="presParOf" srcId="{39AE1704-C93A-4C21-BD42-2FADF297D26A}" destId="{583494C2-4B88-4FEF-BEB6-D907BA888A61}" srcOrd="5" destOrd="0" presId="urn:microsoft.com/office/officeart/2008/layout/HorizontalMultiLevelHierarchy"/>
    <dgm:cxn modelId="{16E32885-197B-4073-97AB-A0ADEAF5025F}" type="presParOf" srcId="{583494C2-4B88-4FEF-BEB6-D907BA888A61}" destId="{D0EEC330-1D90-49B9-9914-871CEC4E0067}" srcOrd="0" destOrd="0" presId="urn:microsoft.com/office/officeart/2008/layout/HorizontalMultiLevelHierarchy"/>
    <dgm:cxn modelId="{88441E88-11D0-412F-9477-5A31A759708D}" type="presParOf" srcId="{583494C2-4B88-4FEF-BEB6-D907BA888A61}" destId="{5853E6B4-4F8C-4A04-9E55-313B386A77D2}" srcOrd="1" destOrd="0" presId="urn:microsoft.com/office/officeart/2008/layout/HorizontalMultiLevelHierarchy"/>
    <dgm:cxn modelId="{CD231195-6525-4430-9331-C225FB6ACD5E}" type="presParOf" srcId="{507D7304-919D-4EC0-8D15-936FFAF08BE1}" destId="{1355BEF6-E225-4346-BB0D-6261B6641130}" srcOrd="6" destOrd="0" presId="urn:microsoft.com/office/officeart/2008/layout/HorizontalMultiLevelHierarchy"/>
    <dgm:cxn modelId="{D9375EE5-4686-4812-A8BF-E13223C9F26E}" type="presParOf" srcId="{1355BEF6-E225-4346-BB0D-6261B6641130}" destId="{E957B129-F4F5-42AB-9045-250EC162FE16}" srcOrd="0" destOrd="0" presId="urn:microsoft.com/office/officeart/2008/layout/HorizontalMultiLevelHierarchy"/>
    <dgm:cxn modelId="{22E22CB4-5C51-45F4-A343-54203FEC30BB}" type="presParOf" srcId="{507D7304-919D-4EC0-8D15-936FFAF08BE1}" destId="{44B8F1A8-ED84-499C-9219-134DC3C65756}" srcOrd="7" destOrd="0" presId="urn:microsoft.com/office/officeart/2008/layout/HorizontalMultiLevelHierarchy"/>
    <dgm:cxn modelId="{1C6233EF-E94B-4D16-971B-39A95D3D19BC}" type="presParOf" srcId="{44B8F1A8-ED84-499C-9219-134DC3C65756}" destId="{2F3D62E1-8186-4FA9-9E01-F3C4F46F3EEA}" srcOrd="0" destOrd="0" presId="urn:microsoft.com/office/officeart/2008/layout/HorizontalMultiLevelHierarchy"/>
    <dgm:cxn modelId="{DC7A1BB2-9925-42B7-912D-3DBFA98CA7FA}" type="presParOf" srcId="{44B8F1A8-ED84-499C-9219-134DC3C65756}" destId="{50275C69-088A-4931-A23A-8142A387C200}" srcOrd="1" destOrd="0" presId="urn:microsoft.com/office/officeart/2008/layout/HorizontalMultiLevelHierarchy"/>
    <dgm:cxn modelId="{49271618-9EA3-4034-B1AA-9697ABF73D0D}" type="presParOf" srcId="{50275C69-088A-4931-A23A-8142A387C200}" destId="{9BDDBA59-BE00-4A6F-A6AD-C81204EF07C0}" srcOrd="0" destOrd="0" presId="urn:microsoft.com/office/officeart/2008/layout/HorizontalMultiLevelHierarchy"/>
    <dgm:cxn modelId="{DFFEC8FC-593D-4EA5-BB99-D3381D13FF00}" type="presParOf" srcId="{9BDDBA59-BE00-4A6F-A6AD-C81204EF07C0}" destId="{0CE36728-D37B-4889-9E23-5AE17644410F}" srcOrd="0" destOrd="0" presId="urn:microsoft.com/office/officeart/2008/layout/HorizontalMultiLevelHierarchy"/>
    <dgm:cxn modelId="{751AD7AE-9EBF-48FE-9365-6E84582CD834}" type="presParOf" srcId="{50275C69-088A-4931-A23A-8142A387C200}" destId="{5E5A6789-BBB0-4D22-A8DE-C840CB4870C6}" srcOrd="1" destOrd="0" presId="urn:microsoft.com/office/officeart/2008/layout/HorizontalMultiLevelHierarchy"/>
    <dgm:cxn modelId="{C35A5F0A-938E-4D36-8D3B-2A9EB9E7EB04}" type="presParOf" srcId="{5E5A6789-BBB0-4D22-A8DE-C840CB4870C6}" destId="{CC7CC385-4C30-4E5A-877F-E922104628C7}" srcOrd="0" destOrd="0" presId="urn:microsoft.com/office/officeart/2008/layout/HorizontalMultiLevelHierarchy"/>
    <dgm:cxn modelId="{3A006209-BD48-4D77-856F-456D0394F9D4}" type="presParOf" srcId="{5E5A6789-BBB0-4D22-A8DE-C840CB4870C6}" destId="{BC29B8F0-E081-42CD-97D4-EA091B603F92}" srcOrd="1" destOrd="0" presId="urn:microsoft.com/office/officeart/2008/layout/HorizontalMultiLevelHierarchy"/>
    <dgm:cxn modelId="{3DC36561-1851-4AA1-8EA0-48D415503832}" type="presParOf" srcId="{50275C69-088A-4931-A23A-8142A387C200}" destId="{702A192E-878E-4740-A48A-BDCA84436A80}" srcOrd="2" destOrd="0" presId="urn:microsoft.com/office/officeart/2008/layout/HorizontalMultiLevelHierarchy"/>
    <dgm:cxn modelId="{B72F1F79-C4DD-40C4-BD7A-36AB85185575}" type="presParOf" srcId="{702A192E-878E-4740-A48A-BDCA84436A80}" destId="{A7EF20A9-3D96-4B42-97D0-33AB714C7CF0}" srcOrd="0" destOrd="0" presId="urn:microsoft.com/office/officeart/2008/layout/HorizontalMultiLevelHierarchy"/>
    <dgm:cxn modelId="{CCDFAE8F-8280-4BDF-A5BC-5598301E5DA2}" type="presParOf" srcId="{50275C69-088A-4931-A23A-8142A387C200}" destId="{F8615755-9F78-44B9-B776-46E52AE09782}" srcOrd="3" destOrd="0" presId="urn:microsoft.com/office/officeart/2008/layout/HorizontalMultiLevelHierarchy"/>
    <dgm:cxn modelId="{057F313C-2DB5-4730-B5C4-D29B1AF68C07}" type="presParOf" srcId="{F8615755-9F78-44B9-B776-46E52AE09782}" destId="{F8B8ED58-EA68-431F-A7CD-D6D45F1C2941}" srcOrd="0" destOrd="0" presId="urn:microsoft.com/office/officeart/2008/layout/HorizontalMultiLevelHierarchy"/>
    <dgm:cxn modelId="{D578B8AE-95A9-46B7-8144-7E12943E9954}" type="presParOf" srcId="{F8615755-9F78-44B9-B776-46E52AE09782}" destId="{F88C2874-8F8F-4E1C-8D45-A101DA4FDCEB}" srcOrd="1" destOrd="0" presId="urn:microsoft.com/office/officeart/2008/layout/HorizontalMultiLevelHierarchy"/>
    <dgm:cxn modelId="{CB647680-902A-49C1-80BF-9DA1F0DBA09A}" type="presParOf" srcId="{50275C69-088A-4931-A23A-8142A387C200}" destId="{6523CE0A-A72B-4F54-A014-09970D64AE8A}" srcOrd="4" destOrd="0" presId="urn:microsoft.com/office/officeart/2008/layout/HorizontalMultiLevelHierarchy"/>
    <dgm:cxn modelId="{911C7D87-03FC-42A9-B1A9-6725AE9E84C0}" type="presParOf" srcId="{6523CE0A-A72B-4F54-A014-09970D64AE8A}" destId="{30CDAF49-41D3-4026-AA27-C645A0EE313D}" srcOrd="0" destOrd="0" presId="urn:microsoft.com/office/officeart/2008/layout/HorizontalMultiLevelHierarchy"/>
    <dgm:cxn modelId="{E5AC6DC3-8C3D-4D05-8B3F-6B11D6F78E2C}" type="presParOf" srcId="{50275C69-088A-4931-A23A-8142A387C200}" destId="{28EAD27C-1421-43AE-8AA5-AB88BF1760AC}" srcOrd="5" destOrd="0" presId="urn:microsoft.com/office/officeart/2008/layout/HorizontalMultiLevelHierarchy"/>
    <dgm:cxn modelId="{4D69E40E-B8A3-4566-A149-A1ED6DE546D5}" type="presParOf" srcId="{28EAD27C-1421-43AE-8AA5-AB88BF1760AC}" destId="{C137CF62-DD77-4C7C-8DFA-1F650CADC47E}" srcOrd="0" destOrd="0" presId="urn:microsoft.com/office/officeart/2008/layout/HorizontalMultiLevelHierarchy"/>
    <dgm:cxn modelId="{6DAFF3F8-CBBF-4D39-9B80-D3549FC47A25}" type="presParOf" srcId="{28EAD27C-1421-43AE-8AA5-AB88BF1760AC}" destId="{B1D247A0-E907-4D64-9562-62709666170C}" srcOrd="1" destOrd="0" presId="urn:microsoft.com/office/officeart/2008/layout/HorizontalMultiLevelHierarchy"/>
  </dgm:cxnLst>
  <dgm:bg>
    <a:noFill/>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5679975" cy="5302024"/>
        <a:chOff x="0" y="0"/>
        <a:chExt cx="5679975" cy="5302024"/>
      </a:xfrm>
    </dsp:grpSpPr>
    <dsp:sp modelId="{0BC0A0FB-D68E-48C7-99F1-276F1A88106E}">
      <dsp:nvSpPr>
        <dsp:cNvPr id="4" name="任意多边形 3"/>
        <dsp:cNvSpPr/>
      </dsp:nvSpPr>
      <dsp:spPr bwMode="white">
        <a:xfrm>
          <a:off x="1916503" y="629054"/>
          <a:ext cx="235805" cy="2021958"/>
        </a:xfrm>
        <a:custGeom>
          <a:avLst/>
          <a:gdLst/>
          <a:ahLst/>
          <a:cxnLst/>
          <a:pathLst>
            <a:path w="371" h="3184">
              <a:moveTo>
                <a:pt x="0" y="3184"/>
              </a:moveTo>
              <a:lnTo>
                <a:pt x="186" y="3184"/>
              </a:lnTo>
              <a:lnTo>
                <a:pt x="186" y="0"/>
              </a:lnTo>
              <a:lnTo>
                <a:pt x="371" y="0"/>
              </a:lnTo>
            </a:path>
          </a:pathLst>
        </a:custGeom>
      </dsp:spPr>
      <dsp:style>
        <a:lnRef idx="2">
          <a:schemeClr val="accent1">
            <a:shade val="60000"/>
          </a:schemeClr>
        </a:lnRef>
        <a:fillRef idx="0">
          <a:schemeClr val="accent1"/>
        </a:fillRef>
        <a:effectRef idx="0">
          <a:scrgbClr r="0" g="0" b="0"/>
        </a:effectRef>
        <a:fontRef idx="minor"/>
      </dsp:style>
      <dsp:txBody>
        <a:bodyPr lIns="12700" tIns="0" rIns="12700" bIns="0" anchor="ctr"/>
        <a:lstStyle>
          <a:lvl1pPr algn="ctr">
            <a:defRPr sz="5000"/>
          </a:lvl1pPr>
          <a:lvl2pPr marL="285750" indent="-285750" algn="ctr">
            <a:defRPr sz="3900"/>
          </a:lvl2pPr>
          <a:lvl3pPr marL="571500" indent="-285750" algn="ctr">
            <a:defRPr sz="3900"/>
          </a:lvl3pPr>
          <a:lvl4pPr marL="857250" indent="-285750" algn="ctr">
            <a:defRPr sz="3900"/>
          </a:lvl4pPr>
          <a:lvl5pPr marL="1143000" indent="-285750" algn="ctr">
            <a:defRPr sz="3900"/>
          </a:lvl5pPr>
          <a:lvl6pPr marL="1428750" indent="-285750" algn="ctr">
            <a:defRPr sz="3900"/>
          </a:lvl6pPr>
          <a:lvl7pPr marL="1714500" indent="-285750" algn="ctr">
            <a:defRPr sz="3900"/>
          </a:lvl7pPr>
          <a:lvl8pPr marL="2000250" indent="-285750" algn="ctr">
            <a:defRPr sz="3900"/>
          </a:lvl8pPr>
          <a:lvl9pPr marL="2286000" indent="-285750" algn="ctr">
            <a:defRPr sz="39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1916503" y="629054"/>
        <a:ext cx="235805" cy="2021958"/>
      </dsp:txXfrm>
    </dsp:sp>
    <dsp:sp modelId="{5DEB3504-52EF-4D28-A344-E430B6C1CD6C}">
      <dsp:nvSpPr>
        <dsp:cNvPr id="6" name="任意多边形 5"/>
        <dsp:cNvSpPr/>
      </dsp:nvSpPr>
      <dsp:spPr bwMode="white">
        <a:xfrm>
          <a:off x="3331334" y="179730"/>
          <a:ext cx="235805" cy="449324"/>
        </a:xfrm>
        <a:custGeom>
          <a:avLst/>
          <a:gdLst/>
          <a:ahLst/>
          <a:cxnLst/>
          <a:pathLst>
            <a:path w="371" h="708">
              <a:moveTo>
                <a:pt x="0" y="708"/>
              </a:moveTo>
              <a:lnTo>
                <a:pt x="186" y="708"/>
              </a:lnTo>
              <a:lnTo>
                <a:pt x="186" y="0"/>
              </a:lnTo>
              <a:lnTo>
                <a:pt x="371" y="0"/>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2900"/>
          </a:lvl1pPr>
          <a:lvl2pPr marL="228600" indent="-228600" algn="ctr">
            <a:defRPr sz="2300"/>
          </a:lvl2pPr>
          <a:lvl3pPr marL="457200" indent="-228600" algn="ctr">
            <a:defRPr sz="2300"/>
          </a:lvl3pPr>
          <a:lvl4pPr marL="685800" indent="-228600" algn="ctr">
            <a:defRPr sz="2300"/>
          </a:lvl4pPr>
          <a:lvl5pPr marL="914400" indent="-228600" algn="ctr">
            <a:defRPr sz="2300"/>
          </a:lvl5pPr>
          <a:lvl6pPr marL="1143000" indent="-228600" algn="ctr">
            <a:defRPr sz="2300"/>
          </a:lvl6pPr>
          <a:lvl7pPr marL="1371600" indent="-228600" algn="ctr">
            <a:defRPr sz="2300"/>
          </a:lvl7pPr>
          <a:lvl8pPr marL="1600200" indent="-228600" algn="ctr">
            <a:defRPr sz="2300"/>
          </a:lvl8pPr>
          <a:lvl9pPr marL="1828800" indent="-228600" algn="ctr">
            <a:defRPr sz="23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179730"/>
        <a:ext cx="235805" cy="449324"/>
      </dsp:txXfrm>
    </dsp:sp>
    <dsp:sp modelId="{7EFBB168-50A1-4DAC-A879-C5E4A6FF357C}">
      <dsp:nvSpPr>
        <dsp:cNvPr id="8" name="任意多边形 7"/>
        <dsp:cNvSpPr/>
      </dsp:nvSpPr>
      <dsp:spPr bwMode="white">
        <a:xfrm>
          <a:off x="3331334" y="629054"/>
          <a:ext cx="235805" cy="0"/>
        </a:xfrm>
        <a:custGeom>
          <a:avLst/>
          <a:gdLst/>
          <a:ahLst/>
          <a:cxnLst/>
          <a:pathLst>
            <a:path w="371">
              <a:moveTo>
                <a:pt x="0" y="0"/>
              </a:moveTo>
              <a:lnTo>
                <a:pt x="371" y="0"/>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629054"/>
        <a:ext cx="235805" cy="0"/>
      </dsp:txXfrm>
    </dsp:sp>
    <dsp:sp modelId="{775ABF30-03AD-4638-A799-E1735CC2C93E}">
      <dsp:nvSpPr>
        <dsp:cNvPr id="10" name="任意多边形 9"/>
        <dsp:cNvSpPr/>
      </dsp:nvSpPr>
      <dsp:spPr bwMode="white">
        <a:xfrm>
          <a:off x="3331334" y="629054"/>
          <a:ext cx="235805" cy="449324"/>
        </a:xfrm>
        <a:custGeom>
          <a:avLst/>
          <a:gdLst/>
          <a:ahLst/>
          <a:cxnLst/>
          <a:pathLst>
            <a:path w="371" h="708">
              <a:moveTo>
                <a:pt x="0" y="0"/>
              </a:moveTo>
              <a:lnTo>
                <a:pt x="186" y="0"/>
              </a:lnTo>
              <a:lnTo>
                <a:pt x="186" y="708"/>
              </a:lnTo>
              <a:lnTo>
                <a:pt x="371" y="708"/>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2900"/>
          </a:lvl1pPr>
          <a:lvl2pPr marL="228600" indent="-228600" algn="ctr">
            <a:defRPr sz="2300"/>
          </a:lvl2pPr>
          <a:lvl3pPr marL="457200" indent="-228600" algn="ctr">
            <a:defRPr sz="2300"/>
          </a:lvl3pPr>
          <a:lvl4pPr marL="685800" indent="-228600" algn="ctr">
            <a:defRPr sz="2300"/>
          </a:lvl4pPr>
          <a:lvl5pPr marL="914400" indent="-228600" algn="ctr">
            <a:defRPr sz="2300"/>
          </a:lvl5pPr>
          <a:lvl6pPr marL="1143000" indent="-228600" algn="ctr">
            <a:defRPr sz="2300"/>
          </a:lvl6pPr>
          <a:lvl7pPr marL="1371600" indent="-228600" algn="ctr">
            <a:defRPr sz="2300"/>
          </a:lvl7pPr>
          <a:lvl8pPr marL="1600200" indent="-228600" algn="ctr">
            <a:defRPr sz="2300"/>
          </a:lvl8pPr>
          <a:lvl9pPr marL="1828800" indent="-228600" algn="ctr">
            <a:defRPr sz="23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629054"/>
        <a:ext cx="235805" cy="449324"/>
      </dsp:txXfrm>
    </dsp:sp>
    <dsp:sp modelId="{0A03B7D7-5F77-4037-832C-54F2036CF45F}">
      <dsp:nvSpPr>
        <dsp:cNvPr id="12" name="任意多边形 11"/>
        <dsp:cNvSpPr/>
      </dsp:nvSpPr>
      <dsp:spPr bwMode="white">
        <a:xfrm>
          <a:off x="1916503" y="1977026"/>
          <a:ext cx="235805" cy="673986"/>
        </a:xfrm>
        <a:custGeom>
          <a:avLst/>
          <a:gdLst/>
          <a:ahLst/>
          <a:cxnLst/>
          <a:pathLst>
            <a:path w="371" h="1061">
              <a:moveTo>
                <a:pt x="0" y="1061"/>
              </a:moveTo>
              <a:lnTo>
                <a:pt x="186" y="1061"/>
              </a:lnTo>
              <a:lnTo>
                <a:pt x="186" y="0"/>
              </a:lnTo>
              <a:lnTo>
                <a:pt x="371" y="0"/>
              </a:lnTo>
            </a:path>
          </a:pathLst>
        </a:custGeom>
      </dsp:spPr>
      <dsp:style>
        <a:lnRef idx="2">
          <a:schemeClr val="accent1">
            <a:shade val="60000"/>
          </a:schemeClr>
        </a:lnRef>
        <a:fillRef idx="0">
          <a:schemeClr val="accent1"/>
        </a:fillRef>
        <a:effectRef idx="0">
          <a:scrgbClr r="0" g="0" b="0"/>
        </a:effectRef>
        <a:fontRef idx="minor"/>
      </dsp:style>
      <dsp:txBody>
        <a:bodyPr lIns="12700" tIns="0" rIns="12700" bIns="0" anchor="ctr"/>
        <a:lstStyle>
          <a:lvl1pPr algn="ctr">
            <a:defRPr sz="4400"/>
          </a:lvl1pPr>
          <a:lvl2pPr marL="285750" indent="-285750" algn="ctr">
            <a:defRPr sz="3400"/>
          </a:lvl2pPr>
          <a:lvl3pPr marL="571500" indent="-285750" algn="ctr">
            <a:defRPr sz="3400"/>
          </a:lvl3pPr>
          <a:lvl4pPr marL="857250" indent="-285750" algn="ctr">
            <a:defRPr sz="3400"/>
          </a:lvl4pPr>
          <a:lvl5pPr marL="1143000" indent="-285750" algn="ctr">
            <a:defRPr sz="3400"/>
          </a:lvl5pPr>
          <a:lvl6pPr marL="1428750" indent="-285750" algn="ctr">
            <a:defRPr sz="3400"/>
          </a:lvl6pPr>
          <a:lvl7pPr marL="1714500" indent="-285750" algn="ctr">
            <a:defRPr sz="3400"/>
          </a:lvl7pPr>
          <a:lvl8pPr marL="2000250" indent="-285750" algn="ctr">
            <a:defRPr sz="3400"/>
          </a:lvl8pPr>
          <a:lvl9pPr marL="2286000" indent="-285750" algn="ctr">
            <a:defRPr sz="34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1916503" y="1977026"/>
        <a:ext cx="235805" cy="673986"/>
      </dsp:txXfrm>
    </dsp:sp>
    <dsp:sp modelId="{C972F73C-EDBA-40A4-9189-E8AF3FF52E56}">
      <dsp:nvSpPr>
        <dsp:cNvPr id="14" name="任意多边形 13"/>
        <dsp:cNvSpPr/>
      </dsp:nvSpPr>
      <dsp:spPr bwMode="white">
        <a:xfrm>
          <a:off x="3331334" y="1527702"/>
          <a:ext cx="235805" cy="449324"/>
        </a:xfrm>
        <a:custGeom>
          <a:avLst/>
          <a:gdLst/>
          <a:ahLst/>
          <a:cxnLst/>
          <a:pathLst>
            <a:path w="371" h="708">
              <a:moveTo>
                <a:pt x="0" y="708"/>
              </a:moveTo>
              <a:lnTo>
                <a:pt x="186" y="708"/>
              </a:lnTo>
              <a:lnTo>
                <a:pt x="186" y="0"/>
              </a:lnTo>
              <a:lnTo>
                <a:pt x="371" y="0"/>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2900"/>
          </a:lvl1pPr>
          <a:lvl2pPr marL="228600" indent="-228600" algn="ctr">
            <a:defRPr sz="2300"/>
          </a:lvl2pPr>
          <a:lvl3pPr marL="457200" indent="-228600" algn="ctr">
            <a:defRPr sz="2300"/>
          </a:lvl3pPr>
          <a:lvl4pPr marL="685800" indent="-228600" algn="ctr">
            <a:defRPr sz="2300"/>
          </a:lvl4pPr>
          <a:lvl5pPr marL="914400" indent="-228600" algn="ctr">
            <a:defRPr sz="2300"/>
          </a:lvl5pPr>
          <a:lvl6pPr marL="1143000" indent="-228600" algn="ctr">
            <a:defRPr sz="2300"/>
          </a:lvl6pPr>
          <a:lvl7pPr marL="1371600" indent="-228600" algn="ctr">
            <a:defRPr sz="2300"/>
          </a:lvl7pPr>
          <a:lvl8pPr marL="1600200" indent="-228600" algn="ctr">
            <a:defRPr sz="2300"/>
          </a:lvl8pPr>
          <a:lvl9pPr marL="1828800" indent="-228600" algn="ctr">
            <a:defRPr sz="23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1527702"/>
        <a:ext cx="235805" cy="449324"/>
      </dsp:txXfrm>
    </dsp:sp>
    <dsp:sp modelId="{51952025-A284-4102-9B7F-1578380C081F}">
      <dsp:nvSpPr>
        <dsp:cNvPr id="16" name="任意多边形 15"/>
        <dsp:cNvSpPr/>
      </dsp:nvSpPr>
      <dsp:spPr bwMode="white">
        <a:xfrm>
          <a:off x="3331334" y="1977026"/>
          <a:ext cx="235805" cy="0"/>
        </a:xfrm>
        <a:custGeom>
          <a:avLst/>
          <a:gdLst/>
          <a:ahLst/>
          <a:cxnLst/>
          <a:pathLst>
            <a:path w="371">
              <a:moveTo>
                <a:pt x="0" y="0"/>
              </a:moveTo>
              <a:lnTo>
                <a:pt x="371" y="0"/>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1977026"/>
        <a:ext cx="235805" cy="0"/>
      </dsp:txXfrm>
    </dsp:sp>
    <dsp:sp modelId="{11916D1A-1072-459B-BD07-E40F7CA06F7F}">
      <dsp:nvSpPr>
        <dsp:cNvPr id="18" name="任意多边形 17"/>
        <dsp:cNvSpPr/>
      </dsp:nvSpPr>
      <dsp:spPr bwMode="white">
        <a:xfrm>
          <a:off x="3331334" y="1977026"/>
          <a:ext cx="235805" cy="449324"/>
        </a:xfrm>
        <a:custGeom>
          <a:avLst/>
          <a:gdLst/>
          <a:ahLst/>
          <a:cxnLst/>
          <a:pathLst>
            <a:path w="371" h="708">
              <a:moveTo>
                <a:pt x="0" y="0"/>
              </a:moveTo>
              <a:lnTo>
                <a:pt x="186" y="0"/>
              </a:lnTo>
              <a:lnTo>
                <a:pt x="186" y="708"/>
              </a:lnTo>
              <a:lnTo>
                <a:pt x="371" y="708"/>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2900"/>
          </a:lvl1pPr>
          <a:lvl2pPr marL="228600" indent="-228600" algn="ctr">
            <a:defRPr sz="2300"/>
          </a:lvl2pPr>
          <a:lvl3pPr marL="457200" indent="-228600" algn="ctr">
            <a:defRPr sz="2300"/>
          </a:lvl3pPr>
          <a:lvl4pPr marL="685800" indent="-228600" algn="ctr">
            <a:defRPr sz="2300"/>
          </a:lvl4pPr>
          <a:lvl5pPr marL="914400" indent="-228600" algn="ctr">
            <a:defRPr sz="2300"/>
          </a:lvl5pPr>
          <a:lvl6pPr marL="1143000" indent="-228600" algn="ctr">
            <a:defRPr sz="2300"/>
          </a:lvl6pPr>
          <a:lvl7pPr marL="1371600" indent="-228600" algn="ctr">
            <a:defRPr sz="2300"/>
          </a:lvl7pPr>
          <a:lvl8pPr marL="1600200" indent="-228600" algn="ctr">
            <a:defRPr sz="2300"/>
          </a:lvl8pPr>
          <a:lvl9pPr marL="1828800" indent="-228600" algn="ctr">
            <a:defRPr sz="23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1977026"/>
        <a:ext cx="235805" cy="449324"/>
      </dsp:txXfrm>
    </dsp:sp>
    <dsp:sp modelId="{88D2E54C-3026-4900-870E-E7C1F66414B8}">
      <dsp:nvSpPr>
        <dsp:cNvPr id="20" name="任意多边形 19"/>
        <dsp:cNvSpPr/>
      </dsp:nvSpPr>
      <dsp:spPr bwMode="white">
        <a:xfrm>
          <a:off x="1916503" y="2651012"/>
          <a:ext cx="235805" cy="673986"/>
        </a:xfrm>
        <a:custGeom>
          <a:avLst/>
          <a:gdLst/>
          <a:ahLst/>
          <a:cxnLst/>
          <a:pathLst>
            <a:path w="371" h="1061">
              <a:moveTo>
                <a:pt x="0" y="0"/>
              </a:moveTo>
              <a:lnTo>
                <a:pt x="186" y="0"/>
              </a:lnTo>
              <a:lnTo>
                <a:pt x="186" y="1061"/>
              </a:lnTo>
              <a:lnTo>
                <a:pt x="371" y="1061"/>
              </a:lnTo>
            </a:path>
          </a:pathLst>
        </a:custGeom>
      </dsp:spPr>
      <dsp:style>
        <a:lnRef idx="2">
          <a:schemeClr val="accent1">
            <a:shade val="60000"/>
          </a:schemeClr>
        </a:lnRef>
        <a:fillRef idx="0">
          <a:schemeClr val="accent1"/>
        </a:fillRef>
        <a:effectRef idx="0">
          <a:scrgbClr r="0" g="0" b="0"/>
        </a:effectRef>
        <a:fontRef idx="minor"/>
      </dsp:style>
      <dsp:txBody>
        <a:bodyPr lIns="12700" tIns="0" rIns="12700" bIns="0" anchor="ctr"/>
        <a:lstStyle>
          <a:lvl1pPr algn="ctr">
            <a:defRPr sz="4400"/>
          </a:lvl1pPr>
          <a:lvl2pPr marL="285750" indent="-285750" algn="ctr">
            <a:defRPr sz="3400"/>
          </a:lvl2pPr>
          <a:lvl3pPr marL="571500" indent="-285750" algn="ctr">
            <a:defRPr sz="3400"/>
          </a:lvl3pPr>
          <a:lvl4pPr marL="857250" indent="-285750" algn="ctr">
            <a:defRPr sz="3400"/>
          </a:lvl4pPr>
          <a:lvl5pPr marL="1143000" indent="-285750" algn="ctr">
            <a:defRPr sz="3400"/>
          </a:lvl5pPr>
          <a:lvl6pPr marL="1428750" indent="-285750" algn="ctr">
            <a:defRPr sz="3400"/>
          </a:lvl6pPr>
          <a:lvl7pPr marL="1714500" indent="-285750" algn="ctr">
            <a:defRPr sz="3400"/>
          </a:lvl7pPr>
          <a:lvl8pPr marL="2000250" indent="-285750" algn="ctr">
            <a:defRPr sz="3400"/>
          </a:lvl8pPr>
          <a:lvl9pPr marL="2286000" indent="-285750" algn="ctr">
            <a:defRPr sz="34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1916503" y="2651012"/>
        <a:ext cx="235805" cy="673986"/>
      </dsp:txXfrm>
    </dsp:sp>
    <dsp:sp modelId="{6060A8DB-85B9-42CD-A8E3-06806FDDBAA0}">
      <dsp:nvSpPr>
        <dsp:cNvPr id="22" name="任意多边形 21"/>
        <dsp:cNvSpPr/>
      </dsp:nvSpPr>
      <dsp:spPr bwMode="white">
        <a:xfrm>
          <a:off x="3331334" y="2875674"/>
          <a:ext cx="235805" cy="449324"/>
        </a:xfrm>
        <a:custGeom>
          <a:avLst/>
          <a:gdLst/>
          <a:ahLst/>
          <a:cxnLst/>
          <a:pathLst>
            <a:path w="371" h="708">
              <a:moveTo>
                <a:pt x="0" y="708"/>
              </a:moveTo>
              <a:lnTo>
                <a:pt x="186" y="708"/>
              </a:lnTo>
              <a:lnTo>
                <a:pt x="186" y="0"/>
              </a:lnTo>
              <a:lnTo>
                <a:pt x="371" y="0"/>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2900"/>
          </a:lvl1pPr>
          <a:lvl2pPr marL="228600" indent="-228600" algn="ctr">
            <a:defRPr sz="2300"/>
          </a:lvl2pPr>
          <a:lvl3pPr marL="457200" indent="-228600" algn="ctr">
            <a:defRPr sz="2300"/>
          </a:lvl3pPr>
          <a:lvl4pPr marL="685800" indent="-228600" algn="ctr">
            <a:defRPr sz="2300"/>
          </a:lvl4pPr>
          <a:lvl5pPr marL="914400" indent="-228600" algn="ctr">
            <a:defRPr sz="2300"/>
          </a:lvl5pPr>
          <a:lvl6pPr marL="1143000" indent="-228600" algn="ctr">
            <a:defRPr sz="2300"/>
          </a:lvl6pPr>
          <a:lvl7pPr marL="1371600" indent="-228600" algn="ctr">
            <a:defRPr sz="2300"/>
          </a:lvl7pPr>
          <a:lvl8pPr marL="1600200" indent="-228600" algn="ctr">
            <a:defRPr sz="2300"/>
          </a:lvl8pPr>
          <a:lvl9pPr marL="1828800" indent="-228600" algn="ctr">
            <a:defRPr sz="23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2875674"/>
        <a:ext cx="235805" cy="449324"/>
      </dsp:txXfrm>
    </dsp:sp>
    <dsp:sp modelId="{38AF46F3-40EC-473D-B080-C72C0BC7C4BC}">
      <dsp:nvSpPr>
        <dsp:cNvPr id="24" name="任意多边形 23"/>
        <dsp:cNvSpPr/>
      </dsp:nvSpPr>
      <dsp:spPr bwMode="white">
        <a:xfrm>
          <a:off x="3331334" y="3324998"/>
          <a:ext cx="235805" cy="0"/>
        </a:xfrm>
        <a:custGeom>
          <a:avLst/>
          <a:gdLst/>
          <a:ahLst/>
          <a:cxnLst/>
          <a:pathLst>
            <a:path w="371">
              <a:moveTo>
                <a:pt x="0" y="0"/>
              </a:moveTo>
              <a:lnTo>
                <a:pt x="371" y="0"/>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3324998"/>
        <a:ext cx="235805" cy="0"/>
      </dsp:txXfrm>
    </dsp:sp>
    <dsp:sp modelId="{D64352E6-129D-4C28-9A49-F14270FBF599}">
      <dsp:nvSpPr>
        <dsp:cNvPr id="26" name="任意多边形 25"/>
        <dsp:cNvSpPr/>
      </dsp:nvSpPr>
      <dsp:spPr bwMode="white">
        <a:xfrm>
          <a:off x="3331334" y="3324998"/>
          <a:ext cx="235805" cy="449324"/>
        </a:xfrm>
        <a:custGeom>
          <a:avLst/>
          <a:gdLst/>
          <a:ahLst/>
          <a:cxnLst/>
          <a:pathLst>
            <a:path w="371" h="708">
              <a:moveTo>
                <a:pt x="0" y="0"/>
              </a:moveTo>
              <a:lnTo>
                <a:pt x="186" y="0"/>
              </a:lnTo>
              <a:lnTo>
                <a:pt x="186" y="708"/>
              </a:lnTo>
              <a:lnTo>
                <a:pt x="371" y="708"/>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2900"/>
          </a:lvl1pPr>
          <a:lvl2pPr marL="228600" indent="-228600" algn="ctr">
            <a:defRPr sz="2300"/>
          </a:lvl2pPr>
          <a:lvl3pPr marL="457200" indent="-228600" algn="ctr">
            <a:defRPr sz="2300"/>
          </a:lvl3pPr>
          <a:lvl4pPr marL="685800" indent="-228600" algn="ctr">
            <a:defRPr sz="2300"/>
          </a:lvl4pPr>
          <a:lvl5pPr marL="914400" indent="-228600" algn="ctr">
            <a:defRPr sz="2300"/>
          </a:lvl5pPr>
          <a:lvl6pPr marL="1143000" indent="-228600" algn="ctr">
            <a:defRPr sz="2300"/>
          </a:lvl6pPr>
          <a:lvl7pPr marL="1371600" indent="-228600" algn="ctr">
            <a:defRPr sz="2300"/>
          </a:lvl7pPr>
          <a:lvl8pPr marL="1600200" indent="-228600" algn="ctr">
            <a:defRPr sz="2300"/>
          </a:lvl8pPr>
          <a:lvl9pPr marL="1828800" indent="-228600" algn="ctr">
            <a:defRPr sz="23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3324998"/>
        <a:ext cx="235805" cy="449324"/>
      </dsp:txXfrm>
    </dsp:sp>
    <dsp:sp modelId="{1355BEF6-E225-4346-BB0D-6261B6641130}">
      <dsp:nvSpPr>
        <dsp:cNvPr id="28" name="任意多边形 27"/>
        <dsp:cNvSpPr/>
      </dsp:nvSpPr>
      <dsp:spPr bwMode="white">
        <a:xfrm>
          <a:off x="1916503" y="2651012"/>
          <a:ext cx="235805" cy="2021958"/>
        </a:xfrm>
        <a:custGeom>
          <a:avLst/>
          <a:gdLst/>
          <a:ahLst/>
          <a:cxnLst/>
          <a:pathLst>
            <a:path w="371" h="3184">
              <a:moveTo>
                <a:pt x="0" y="0"/>
              </a:moveTo>
              <a:lnTo>
                <a:pt x="186" y="0"/>
              </a:lnTo>
              <a:lnTo>
                <a:pt x="186" y="3184"/>
              </a:lnTo>
              <a:lnTo>
                <a:pt x="371" y="3184"/>
              </a:lnTo>
            </a:path>
          </a:pathLst>
        </a:custGeom>
      </dsp:spPr>
      <dsp:style>
        <a:lnRef idx="2">
          <a:schemeClr val="accent1">
            <a:shade val="60000"/>
          </a:schemeClr>
        </a:lnRef>
        <a:fillRef idx="0">
          <a:schemeClr val="accent1"/>
        </a:fillRef>
        <a:effectRef idx="0">
          <a:scrgbClr r="0" g="0" b="0"/>
        </a:effectRef>
        <a:fontRef idx="minor"/>
      </dsp:style>
      <dsp:txBody>
        <a:bodyPr lIns="12700" tIns="0" rIns="12700" bIns="0" anchor="ctr"/>
        <a:lstStyle>
          <a:lvl1pPr algn="ctr">
            <a:defRPr sz="5000"/>
          </a:lvl1pPr>
          <a:lvl2pPr marL="285750" indent="-285750" algn="ctr">
            <a:defRPr sz="3900"/>
          </a:lvl2pPr>
          <a:lvl3pPr marL="571500" indent="-285750" algn="ctr">
            <a:defRPr sz="3900"/>
          </a:lvl3pPr>
          <a:lvl4pPr marL="857250" indent="-285750" algn="ctr">
            <a:defRPr sz="3900"/>
          </a:lvl4pPr>
          <a:lvl5pPr marL="1143000" indent="-285750" algn="ctr">
            <a:defRPr sz="3900"/>
          </a:lvl5pPr>
          <a:lvl6pPr marL="1428750" indent="-285750" algn="ctr">
            <a:defRPr sz="3900"/>
          </a:lvl6pPr>
          <a:lvl7pPr marL="1714500" indent="-285750" algn="ctr">
            <a:defRPr sz="3900"/>
          </a:lvl7pPr>
          <a:lvl8pPr marL="2000250" indent="-285750" algn="ctr">
            <a:defRPr sz="3900"/>
          </a:lvl8pPr>
          <a:lvl9pPr marL="2286000" indent="-285750" algn="ctr">
            <a:defRPr sz="39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1916503" y="2651012"/>
        <a:ext cx="235805" cy="2021958"/>
      </dsp:txXfrm>
    </dsp:sp>
    <dsp:sp modelId="{9BDDBA59-BE00-4A6F-A6AD-C81204EF07C0}">
      <dsp:nvSpPr>
        <dsp:cNvPr id="30" name="任意多边形 29"/>
        <dsp:cNvSpPr/>
      </dsp:nvSpPr>
      <dsp:spPr bwMode="white">
        <a:xfrm>
          <a:off x="3331334" y="4223646"/>
          <a:ext cx="235805" cy="449324"/>
        </a:xfrm>
        <a:custGeom>
          <a:avLst/>
          <a:gdLst/>
          <a:ahLst/>
          <a:cxnLst/>
          <a:pathLst>
            <a:path w="371" h="708">
              <a:moveTo>
                <a:pt x="0" y="708"/>
              </a:moveTo>
              <a:lnTo>
                <a:pt x="186" y="708"/>
              </a:lnTo>
              <a:lnTo>
                <a:pt x="186" y="0"/>
              </a:lnTo>
              <a:lnTo>
                <a:pt x="371" y="0"/>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2900"/>
          </a:lvl1pPr>
          <a:lvl2pPr marL="228600" indent="-228600" algn="ctr">
            <a:defRPr sz="2300"/>
          </a:lvl2pPr>
          <a:lvl3pPr marL="457200" indent="-228600" algn="ctr">
            <a:defRPr sz="2300"/>
          </a:lvl3pPr>
          <a:lvl4pPr marL="685800" indent="-228600" algn="ctr">
            <a:defRPr sz="2300"/>
          </a:lvl4pPr>
          <a:lvl5pPr marL="914400" indent="-228600" algn="ctr">
            <a:defRPr sz="2300"/>
          </a:lvl5pPr>
          <a:lvl6pPr marL="1143000" indent="-228600" algn="ctr">
            <a:defRPr sz="2300"/>
          </a:lvl6pPr>
          <a:lvl7pPr marL="1371600" indent="-228600" algn="ctr">
            <a:defRPr sz="2300"/>
          </a:lvl7pPr>
          <a:lvl8pPr marL="1600200" indent="-228600" algn="ctr">
            <a:defRPr sz="2300"/>
          </a:lvl8pPr>
          <a:lvl9pPr marL="1828800" indent="-228600" algn="ctr">
            <a:defRPr sz="23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4223646"/>
        <a:ext cx="235805" cy="449324"/>
      </dsp:txXfrm>
    </dsp:sp>
    <dsp:sp modelId="{702A192E-878E-4740-A48A-BDCA84436A80}">
      <dsp:nvSpPr>
        <dsp:cNvPr id="32" name="任意多边形 31"/>
        <dsp:cNvSpPr/>
      </dsp:nvSpPr>
      <dsp:spPr bwMode="white">
        <a:xfrm>
          <a:off x="3331334" y="4672970"/>
          <a:ext cx="235805" cy="0"/>
        </a:xfrm>
        <a:custGeom>
          <a:avLst/>
          <a:gdLst/>
          <a:ahLst/>
          <a:cxnLst/>
          <a:pathLst>
            <a:path w="371">
              <a:moveTo>
                <a:pt x="0" y="0"/>
              </a:moveTo>
              <a:lnTo>
                <a:pt x="371" y="0"/>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500"/>
          </a:lvl1pPr>
          <a:lvl2pPr marL="57150" indent="-57150" algn="ctr">
            <a:defRPr sz="400"/>
          </a:lvl2pPr>
          <a:lvl3pPr marL="114300" indent="-57150" algn="ctr">
            <a:defRPr sz="400"/>
          </a:lvl3pPr>
          <a:lvl4pPr marL="171450" indent="-57150" algn="ctr">
            <a:defRPr sz="400"/>
          </a:lvl4pPr>
          <a:lvl5pPr marL="228600" indent="-57150" algn="ctr">
            <a:defRPr sz="400"/>
          </a:lvl5pPr>
          <a:lvl6pPr marL="285750" indent="-57150" algn="ctr">
            <a:defRPr sz="400"/>
          </a:lvl6pPr>
          <a:lvl7pPr marL="342900" indent="-57150" algn="ctr">
            <a:defRPr sz="400"/>
          </a:lvl7pPr>
          <a:lvl8pPr marL="400050" indent="-57150" algn="ctr">
            <a:defRPr sz="400"/>
          </a:lvl8pPr>
          <a:lvl9pPr marL="457200" indent="-57150" algn="ctr">
            <a:defRPr sz="4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4672970"/>
        <a:ext cx="235805" cy="0"/>
      </dsp:txXfrm>
    </dsp:sp>
    <dsp:sp modelId="{6523CE0A-A72B-4F54-A014-09970D64AE8A}">
      <dsp:nvSpPr>
        <dsp:cNvPr id="34" name="任意多边形 33"/>
        <dsp:cNvSpPr/>
      </dsp:nvSpPr>
      <dsp:spPr bwMode="white">
        <a:xfrm>
          <a:off x="3331334" y="4672970"/>
          <a:ext cx="235805" cy="449324"/>
        </a:xfrm>
        <a:custGeom>
          <a:avLst/>
          <a:gdLst/>
          <a:ahLst/>
          <a:cxnLst/>
          <a:pathLst>
            <a:path w="371" h="708">
              <a:moveTo>
                <a:pt x="0" y="0"/>
              </a:moveTo>
              <a:lnTo>
                <a:pt x="186" y="0"/>
              </a:lnTo>
              <a:lnTo>
                <a:pt x="186" y="708"/>
              </a:lnTo>
              <a:lnTo>
                <a:pt x="371" y="708"/>
              </a:lnTo>
            </a:path>
          </a:pathLst>
        </a:custGeom>
      </dsp:spPr>
      <dsp:style>
        <a:lnRef idx="2">
          <a:schemeClr val="accent1">
            <a:shade val="80000"/>
          </a:schemeClr>
        </a:lnRef>
        <a:fillRef idx="0">
          <a:schemeClr val="accent1"/>
        </a:fillRef>
        <a:effectRef idx="0">
          <a:scrgbClr r="0" g="0" b="0"/>
        </a:effectRef>
        <a:fontRef idx="minor"/>
      </dsp:style>
      <dsp:txBody>
        <a:bodyPr lIns="12700" tIns="0" rIns="12700" bIns="0" anchor="ctr"/>
        <a:lstStyle>
          <a:lvl1pPr algn="ctr">
            <a:defRPr sz="2900"/>
          </a:lvl1pPr>
          <a:lvl2pPr marL="228600" indent="-228600" algn="ctr">
            <a:defRPr sz="2300"/>
          </a:lvl2pPr>
          <a:lvl3pPr marL="457200" indent="-228600" algn="ctr">
            <a:defRPr sz="2300"/>
          </a:lvl3pPr>
          <a:lvl4pPr marL="685800" indent="-228600" algn="ctr">
            <a:defRPr sz="2300"/>
          </a:lvl4pPr>
          <a:lvl5pPr marL="914400" indent="-228600" algn="ctr">
            <a:defRPr sz="2300"/>
          </a:lvl5pPr>
          <a:lvl6pPr marL="1143000" indent="-228600" algn="ctr">
            <a:defRPr sz="2300"/>
          </a:lvl6pPr>
          <a:lvl7pPr marL="1371600" indent="-228600" algn="ctr">
            <a:defRPr sz="2300"/>
          </a:lvl7pPr>
          <a:lvl8pPr marL="1600200" indent="-228600" algn="ctr">
            <a:defRPr sz="2300"/>
          </a:lvl8pPr>
          <a:lvl9pPr marL="1828800" indent="-228600" algn="ctr">
            <a:defRPr sz="2300"/>
          </a:lvl9pPr>
        </a:lstStyle>
        <a:p>
          <a:pPr lvl="0">
            <a:lnSpc>
              <a:spcPct val="100000"/>
            </a:lnSpc>
            <a:spcBef>
              <a:spcPct val="0"/>
            </a:spcBef>
            <a:spcAft>
              <a:spcPct val="35000"/>
            </a:spcAft>
          </a:pPr>
          <a:endParaRPr lang="zh-CN" altLang="en-US">
            <a:solidFill>
              <a:schemeClr val="tx1"/>
            </a:solidFill>
            <a:latin typeface="+mn-ea"/>
            <a:ea typeface="+mn-ea"/>
          </a:endParaRPr>
        </a:p>
      </dsp:txBody>
      <dsp:txXfrm>
        <a:off x="3331334" y="4672970"/>
        <a:ext cx="235805" cy="449324"/>
      </dsp:txXfrm>
    </dsp:sp>
    <dsp:sp modelId="{446597BF-DDCE-420C-A8B5-0379CFCAE30A}">
      <dsp:nvSpPr>
        <dsp:cNvPr id="3" name="矩形 2"/>
        <dsp:cNvSpPr/>
      </dsp:nvSpPr>
      <dsp:spPr bwMode="white">
        <a:xfrm rot="16200000">
          <a:off x="479210" y="2159665"/>
          <a:ext cx="1891891" cy="982693"/>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vert="vert" lIns="11430" tIns="11430" rIns="11430" bIns="1143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altLang="zh-CN" sz="1800" dirty="0" err="1" smtClean="0">
              <a:latin typeface="+mn-ea"/>
              <a:ea typeface="+mn-ea"/>
            </a:rPr>
            <a:t>xxxx</a:t>
          </a:r>
          <a:r>
            <a:rPr lang="zh-CN" altLang="en-US" sz="1800" dirty="0" smtClean="0">
              <a:latin typeface="+mn-ea"/>
              <a:ea typeface="+mn-ea"/>
            </a:rPr>
            <a:t>年</a:t>
          </a:r>
          <a:endParaRPr lang="en-US" altLang="zh-CN" sz="1800" dirty="0" smtClean="0">
            <a:latin typeface="+mn-ea"/>
            <a:ea typeface="+mn-ea"/>
          </a:endParaRPr>
        </a:p>
        <a:p>
          <a:pPr lvl="0">
            <a:lnSpc>
              <a:spcPct val="100000"/>
            </a:lnSpc>
            <a:spcBef>
              <a:spcPct val="0"/>
            </a:spcBef>
            <a:spcAft>
              <a:spcPct val="35000"/>
            </a:spcAft>
          </a:pPr>
          <a:r>
            <a:rPr lang="zh-CN" altLang="en-US" sz="1800" dirty="0" smtClean="0">
              <a:latin typeface="+mn-ea"/>
              <a:ea typeface="+mn-ea"/>
            </a:rPr>
            <a:t>人力规划</a:t>
          </a:r>
          <a:endParaRPr lang="zh-CN" altLang="en-US" sz="1800" dirty="0">
            <a:latin typeface="+mn-ea"/>
            <a:ea typeface="+mn-ea"/>
          </a:endParaRPr>
        </a:p>
      </dsp:txBody>
      <dsp:txXfrm rot="16200000">
        <a:off x="479210" y="2159665"/>
        <a:ext cx="1891891" cy="982693"/>
      </dsp:txXfrm>
    </dsp:sp>
    <dsp:sp modelId="{E939A692-2391-47AA-A2E7-4ECB7E337A3E}">
      <dsp:nvSpPr>
        <dsp:cNvPr id="5" name="矩形 4"/>
        <dsp:cNvSpPr/>
      </dsp:nvSpPr>
      <dsp:spPr bwMode="white">
        <a:xfrm>
          <a:off x="2152308" y="308267"/>
          <a:ext cx="1179026" cy="641574"/>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项目拓展</a:t>
          </a:r>
          <a:r>
            <a:rPr lang="en-US" altLang="zh-CN" dirty="0" smtClean="0">
              <a:latin typeface="+mn-ea"/>
              <a:ea typeface="+mn-ea"/>
            </a:rPr>
            <a:t>10</a:t>
          </a:r>
          <a:r>
            <a:rPr lang="zh-CN" altLang="en-US" dirty="0" smtClean="0">
              <a:latin typeface="+mn-ea"/>
              <a:ea typeface="+mn-ea"/>
            </a:rPr>
            <a:t>人</a:t>
          </a:r>
          <a:endParaRPr lang="zh-CN" altLang="en-US" dirty="0">
            <a:latin typeface="+mn-ea"/>
            <a:ea typeface="+mn-ea"/>
          </a:endParaRPr>
        </a:p>
      </dsp:txBody>
      <dsp:txXfrm>
        <a:off x="2152308" y="308267"/>
        <a:ext cx="1179026" cy="641574"/>
      </dsp:txXfrm>
    </dsp:sp>
    <dsp:sp modelId="{F43EB910-E94A-4224-BD5A-2A9DE62E1236}">
      <dsp:nvSpPr>
        <dsp:cNvPr id="7" name="矩形 6"/>
        <dsp:cNvSpPr/>
      </dsp:nvSpPr>
      <dsp:spPr bwMode="white">
        <a:xfrm>
          <a:off x="3567139" y="0"/>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高级</a:t>
          </a:r>
          <a:r>
            <a:rPr lang="en-US" altLang="zh-CN" dirty="0" smtClean="0">
              <a:latin typeface="+mn-ea"/>
              <a:ea typeface="+mn-ea"/>
            </a:rPr>
            <a:t>2</a:t>
          </a:r>
          <a:r>
            <a:rPr lang="zh-CN" altLang="en-US" dirty="0" smtClean="0">
              <a:latin typeface="+mn-ea"/>
              <a:ea typeface="+mn-ea"/>
            </a:rPr>
            <a:t>人</a:t>
          </a:r>
          <a:endParaRPr lang="zh-CN" altLang="en-US" dirty="0">
            <a:latin typeface="+mn-ea"/>
            <a:ea typeface="+mn-ea"/>
          </a:endParaRPr>
        </a:p>
      </dsp:txBody>
      <dsp:txXfrm>
        <a:off x="3567139" y="0"/>
        <a:ext cx="1179026" cy="359459"/>
      </dsp:txXfrm>
    </dsp:sp>
    <dsp:sp modelId="{DE2E9A57-91BD-4256-BAC0-8C2DDF34ECF3}">
      <dsp:nvSpPr>
        <dsp:cNvPr id="9" name="矩形 8"/>
        <dsp:cNvSpPr/>
      </dsp:nvSpPr>
      <dsp:spPr bwMode="white">
        <a:xfrm>
          <a:off x="3567139" y="449324"/>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中级</a:t>
          </a:r>
          <a:r>
            <a:rPr lang="en-US" altLang="zh-CN" dirty="0" smtClean="0">
              <a:latin typeface="+mn-ea"/>
              <a:ea typeface="+mn-ea"/>
            </a:rPr>
            <a:t>2</a:t>
          </a:r>
          <a:r>
            <a:rPr lang="zh-CN" altLang="en-US" dirty="0" smtClean="0">
              <a:latin typeface="+mn-ea"/>
              <a:ea typeface="+mn-ea"/>
            </a:rPr>
            <a:t>人</a:t>
          </a:r>
          <a:endParaRPr lang="zh-CN" altLang="en-US" dirty="0">
            <a:latin typeface="+mn-ea"/>
            <a:ea typeface="+mn-ea"/>
          </a:endParaRPr>
        </a:p>
      </dsp:txBody>
      <dsp:txXfrm>
        <a:off x="3567139" y="449324"/>
        <a:ext cx="1179026" cy="359459"/>
      </dsp:txXfrm>
    </dsp:sp>
    <dsp:sp modelId="{039958E4-5109-492C-9FF3-C66404965E2A}">
      <dsp:nvSpPr>
        <dsp:cNvPr id="11" name="矩形 10"/>
        <dsp:cNvSpPr/>
      </dsp:nvSpPr>
      <dsp:spPr bwMode="white">
        <a:xfrm>
          <a:off x="3567139" y="898648"/>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初级</a:t>
          </a:r>
          <a:r>
            <a:rPr lang="en-US" altLang="zh-CN" dirty="0" smtClean="0">
              <a:latin typeface="+mn-ea"/>
              <a:ea typeface="+mn-ea"/>
            </a:rPr>
            <a:t>6</a:t>
          </a:r>
          <a:r>
            <a:rPr lang="zh-CN" altLang="en-US" dirty="0" smtClean="0">
              <a:latin typeface="+mn-ea"/>
              <a:ea typeface="+mn-ea"/>
            </a:rPr>
            <a:t>人</a:t>
          </a:r>
          <a:endParaRPr lang="zh-CN" altLang="en-US" dirty="0">
            <a:latin typeface="+mn-ea"/>
            <a:ea typeface="+mn-ea"/>
          </a:endParaRPr>
        </a:p>
      </dsp:txBody>
      <dsp:txXfrm>
        <a:off x="3567139" y="898648"/>
        <a:ext cx="1179026" cy="359459"/>
      </dsp:txXfrm>
    </dsp:sp>
    <dsp:sp modelId="{84895BC0-CDD5-45B2-B4D1-81772506041E}">
      <dsp:nvSpPr>
        <dsp:cNvPr id="13" name="矩形 12"/>
        <dsp:cNvSpPr/>
      </dsp:nvSpPr>
      <dsp:spPr bwMode="white">
        <a:xfrm>
          <a:off x="2152308" y="1656239"/>
          <a:ext cx="1179026" cy="641574"/>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项目管理</a:t>
          </a:r>
          <a:r>
            <a:rPr lang="en-US" altLang="zh-CN" dirty="0" smtClean="0">
              <a:latin typeface="+mn-ea"/>
              <a:ea typeface="+mn-ea"/>
            </a:rPr>
            <a:t>10</a:t>
          </a:r>
          <a:r>
            <a:rPr lang="zh-CN" altLang="en-US" dirty="0" smtClean="0">
              <a:latin typeface="+mn-ea"/>
              <a:ea typeface="+mn-ea"/>
            </a:rPr>
            <a:t>人</a:t>
          </a:r>
          <a:endParaRPr lang="en-US" altLang="zh-CN" dirty="0" smtClean="0">
            <a:latin typeface="+mn-ea"/>
            <a:ea typeface="+mn-ea"/>
          </a:endParaRPr>
        </a:p>
      </dsp:txBody>
      <dsp:txXfrm>
        <a:off x="2152308" y="1656239"/>
        <a:ext cx="1179026" cy="641574"/>
      </dsp:txXfrm>
    </dsp:sp>
    <dsp:sp modelId="{05B5D788-6BE2-4660-99CE-83FFEDF2AD10}">
      <dsp:nvSpPr>
        <dsp:cNvPr id="15" name="矩形 14"/>
        <dsp:cNvSpPr/>
      </dsp:nvSpPr>
      <dsp:spPr bwMode="white">
        <a:xfrm>
          <a:off x="3567139" y="1347972"/>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高级</a:t>
          </a:r>
          <a:r>
            <a:rPr lang="en-US" altLang="zh-CN" dirty="0" smtClean="0">
              <a:latin typeface="+mn-ea"/>
              <a:ea typeface="+mn-ea"/>
            </a:rPr>
            <a:t>1</a:t>
          </a:r>
          <a:r>
            <a:rPr lang="zh-CN" altLang="en-US" dirty="0" smtClean="0">
              <a:latin typeface="+mn-ea"/>
              <a:ea typeface="+mn-ea"/>
            </a:rPr>
            <a:t>人</a:t>
          </a:r>
          <a:endParaRPr lang="en-US" altLang="zh-CN" dirty="0" smtClean="0">
            <a:latin typeface="+mn-ea"/>
            <a:ea typeface="+mn-ea"/>
          </a:endParaRPr>
        </a:p>
      </dsp:txBody>
      <dsp:txXfrm>
        <a:off x="3567139" y="1347972"/>
        <a:ext cx="1179026" cy="359459"/>
      </dsp:txXfrm>
    </dsp:sp>
    <dsp:sp modelId="{B4D190B9-90EC-461D-BC5A-22694C44C1E0}">
      <dsp:nvSpPr>
        <dsp:cNvPr id="17" name="矩形 16"/>
        <dsp:cNvSpPr/>
      </dsp:nvSpPr>
      <dsp:spPr bwMode="white">
        <a:xfrm>
          <a:off x="3567139" y="1797296"/>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中级</a:t>
          </a:r>
          <a:r>
            <a:rPr lang="en-US" altLang="zh-CN" dirty="0" smtClean="0">
              <a:latin typeface="+mn-ea"/>
              <a:ea typeface="+mn-ea"/>
            </a:rPr>
            <a:t>4</a:t>
          </a:r>
          <a:r>
            <a:rPr lang="zh-CN" altLang="en-US" dirty="0" smtClean="0">
              <a:latin typeface="+mn-ea"/>
              <a:ea typeface="+mn-ea"/>
            </a:rPr>
            <a:t>人</a:t>
          </a:r>
          <a:endParaRPr lang="en-US" altLang="zh-CN" dirty="0" smtClean="0">
            <a:latin typeface="+mn-ea"/>
            <a:ea typeface="+mn-ea"/>
          </a:endParaRPr>
        </a:p>
      </dsp:txBody>
      <dsp:txXfrm>
        <a:off x="3567139" y="1797296"/>
        <a:ext cx="1179026" cy="359459"/>
      </dsp:txXfrm>
    </dsp:sp>
    <dsp:sp modelId="{CCA03293-91DC-42DF-BC03-2001A356234E}">
      <dsp:nvSpPr>
        <dsp:cNvPr id="19" name="矩形 18"/>
        <dsp:cNvSpPr/>
      </dsp:nvSpPr>
      <dsp:spPr bwMode="white">
        <a:xfrm>
          <a:off x="3567139" y="2246620"/>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初级</a:t>
          </a:r>
          <a:r>
            <a:rPr lang="en-US" altLang="zh-CN" dirty="0" smtClean="0">
              <a:latin typeface="+mn-ea"/>
              <a:ea typeface="+mn-ea"/>
            </a:rPr>
            <a:t>5</a:t>
          </a:r>
          <a:r>
            <a:rPr lang="zh-CN" altLang="en-US" dirty="0" smtClean="0">
              <a:latin typeface="+mn-ea"/>
              <a:ea typeface="+mn-ea"/>
            </a:rPr>
            <a:t>人</a:t>
          </a:r>
          <a:endParaRPr lang="en-US" altLang="zh-CN" dirty="0" smtClean="0">
            <a:latin typeface="+mn-ea"/>
            <a:ea typeface="+mn-ea"/>
          </a:endParaRPr>
        </a:p>
      </dsp:txBody>
      <dsp:txXfrm>
        <a:off x="3567139" y="2246620"/>
        <a:ext cx="1179026" cy="359459"/>
      </dsp:txXfrm>
    </dsp:sp>
    <dsp:sp modelId="{D3C1E581-8B39-44CE-AF10-6EF5EBF04075}">
      <dsp:nvSpPr>
        <dsp:cNvPr id="21" name="矩形 20"/>
        <dsp:cNvSpPr/>
      </dsp:nvSpPr>
      <dsp:spPr bwMode="white">
        <a:xfrm>
          <a:off x="2152308" y="3004211"/>
          <a:ext cx="1179026" cy="641574"/>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项目规划</a:t>
          </a:r>
          <a:r>
            <a:rPr lang="en-US" altLang="zh-CN" dirty="0" smtClean="0">
              <a:latin typeface="+mn-ea"/>
              <a:ea typeface="+mn-ea"/>
            </a:rPr>
            <a:t>34</a:t>
          </a:r>
          <a:r>
            <a:rPr lang="zh-CN" altLang="en-US" dirty="0" smtClean="0">
              <a:latin typeface="+mn-ea"/>
              <a:ea typeface="+mn-ea"/>
            </a:rPr>
            <a:t>人</a:t>
          </a:r>
          <a:endParaRPr lang="zh-CN" altLang="en-US" dirty="0">
            <a:latin typeface="+mn-ea"/>
            <a:ea typeface="+mn-ea"/>
          </a:endParaRPr>
        </a:p>
      </dsp:txBody>
      <dsp:txXfrm>
        <a:off x="2152308" y="3004211"/>
        <a:ext cx="1179026" cy="641574"/>
      </dsp:txXfrm>
    </dsp:sp>
    <dsp:sp modelId="{9E7A28F0-6AEC-44BE-B6BB-C34BF9A980A3}">
      <dsp:nvSpPr>
        <dsp:cNvPr id="23" name="矩形 22"/>
        <dsp:cNvSpPr/>
      </dsp:nvSpPr>
      <dsp:spPr bwMode="white">
        <a:xfrm>
          <a:off x="3567139" y="2695944"/>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高级</a:t>
          </a:r>
          <a:r>
            <a:rPr lang="en-US" altLang="zh-CN" dirty="0" smtClean="0">
              <a:latin typeface="+mn-ea"/>
              <a:ea typeface="+mn-ea"/>
            </a:rPr>
            <a:t>2</a:t>
          </a:r>
          <a:r>
            <a:rPr lang="zh-CN" altLang="en-US" dirty="0" smtClean="0">
              <a:latin typeface="+mn-ea"/>
              <a:ea typeface="+mn-ea"/>
            </a:rPr>
            <a:t>人</a:t>
          </a:r>
          <a:endParaRPr lang="zh-CN" altLang="en-US" dirty="0">
            <a:latin typeface="+mn-ea"/>
            <a:ea typeface="+mn-ea"/>
          </a:endParaRPr>
        </a:p>
      </dsp:txBody>
      <dsp:txXfrm>
        <a:off x="3567139" y="2695944"/>
        <a:ext cx="1179026" cy="359459"/>
      </dsp:txXfrm>
    </dsp:sp>
    <dsp:sp modelId="{0686E243-3C06-4DD9-BCF2-68A47C520556}">
      <dsp:nvSpPr>
        <dsp:cNvPr id="25" name="矩形 24"/>
        <dsp:cNvSpPr/>
      </dsp:nvSpPr>
      <dsp:spPr bwMode="white">
        <a:xfrm>
          <a:off x="3567139" y="3145268"/>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中级</a:t>
          </a:r>
          <a:r>
            <a:rPr lang="en-US" altLang="zh-CN" dirty="0" smtClean="0">
              <a:latin typeface="+mn-ea"/>
              <a:ea typeface="+mn-ea"/>
            </a:rPr>
            <a:t>7</a:t>
          </a:r>
          <a:r>
            <a:rPr lang="zh-CN" altLang="en-US" dirty="0" smtClean="0">
              <a:latin typeface="+mn-ea"/>
              <a:ea typeface="+mn-ea"/>
            </a:rPr>
            <a:t>人</a:t>
          </a:r>
          <a:endParaRPr lang="zh-CN" altLang="en-US" dirty="0">
            <a:latin typeface="+mn-ea"/>
            <a:ea typeface="+mn-ea"/>
          </a:endParaRPr>
        </a:p>
      </dsp:txBody>
      <dsp:txXfrm>
        <a:off x="3567139" y="3145268"/>
        <a:ext cx="1179026" cy="359459"/>
      </dsp:txXfrm>
    </dsp:sp>
    <dsp:sp modelId="{D0EEC330-1D90-49B9-9914-871CEC4E0067}">
      <dsp:nvSpPr>
        <dsp:cNvPr id="27" name="矩形 26"/>
        <dsp:cNvSpPr/>
      </dsp:nvSpPr>
      <dsp:spPr bwMode="white">
        <a:xfrm>
          <a:off x="3567139" y="3594593"/>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初级</a:t>
          </a:r>
          <a:r>
            <a:rPr lang="en-US" altLang="zh-CN" dirty="0" smtClean="0">
              <a:latin typeface="+mn-ea"/>
              <a:ea typeface="+mn-ea"/>
            </a:rPr>
            <a:t>25</a:t>
          </a:r>
          <a:r>
            <a:rPr lang="zh-CN" altLang="en-US" dirty="0" smtClean="0">
              <a:latin typeface="+mn-ea"/>
              <a:ea typeface="+mn-ea"/>
            </a:rPr>
            <a:t>人</a:t>
          </a:r>
          <a:endParaRPr lang="zh-CN" altLang="en-US" dirty="0">
            <a:latin typeface="+mn-ea"/>
            <a:ea typeface="+mn-ea"/>
          </a:endParaRPr>
        </a:p>
      </dsp:txBody>
      <dsp:txXfrm>
        <a:off x="3567139" y="3594593"/>
        <a:ext cx="1179026" cy="359459"/>
      </dsp:txXfrm>
    </dsp:sp>
    <dsp:sp modelId="{2F3D62E1-8186-4FA9-9E01-F3C4F46F3EEA}">
      <dsp:nvSpPr>
        <dsp:cNvPr id="29" name="矩形 28"/>
        <dsp:cNvSpPr/>
      </dsp:nvSpPr>
      <dsp:spPr bwMode="white">
        <a:xfrm>
          <a:off x="2152308" y="4352183"/>
          <a:ext cx="1179026" cy="641574"/>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项目研发</a:t>
          </a:r>
          <a:r>
            <a:rPr lang="en-US" altLang="zh-CN" dirty="0" smtClean="0">
              <a:latin typeface="+mn-ea"/>
              <a:ea typeface="+mn-ea"/>
            </a:rPr>
            <a:t>108</a:t>
          </a:r>
          <a:r>
            <a:rPr lang="zh-CN" altLang="en-US" dirty="0" smtClean="0">
              <a:latin typeface="+mn-ea"/>
              <a:ea typeface="+mn-ea"/>
            </a:rPr>
            <a:t>人</a:t>
          </a:r>
          <a:endParaRPr lang="zh-CN" altLang="en-US" dirty="0">
            <a:latin typeface="+mn-ea"/>
            <a:ea typeface="+mn-ea"/>
          </a:endParaRPr>
        </a:p>
      </dsp:txBody>
      <dsp:txXfrm>
        <a:off x="2152308" y="4352183"/>
        <a:ext cx="1179026" cy="641574"/>
      </dsp:txXfrm>
    </dsp:sp>
    <dsp:sp modelId="{CC7CC385-4C30-4E5A-877F-E922104628C7}">
      <dsp:nvSpPr>
        <dsp:cNvPr id="31" name="矩形 30"/>
        <dsp:cNvSpPr/>
      </dsp:nvSpPr>
      <dsp:spPr bwMode="white">
        <a:xfrm>
          <a:off x="3567139" y="4043917"/>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高级</a:t>
          </a:r>
          <a:r>
            <a:rPr lang="en-US" altLang="zh-CN" dirty="0" smtClean="0">
              <a:latin typeface="+mn-ea"/>
              <a:ea typeface="+mn-ea"/>
            </a:rPr>
            <a:t>2</a:t>
          </a:r>
          <a:r>
            <a:rPr lang="zh-CN" altLang="en-US" dirty="0" smtClean="0">
              <a:latin typeface="+mn-ea"/>
              <a:ea typeface="+mn-ea"/>
            </a:rPr>
            <a:t>人</a:t>
          </a:r>
          <a:endParaRPr lang="zh-CN" altLang="en-US" dirty="0">
            <a:latin typeface="+mn-ea"/>
            <a:ea typeface="+mn-ea"/>
          </a:endParaRPr>
        </a:p>
      </dsp:txBody>
      <dsp:txXfrm>
        <a:off x="3567139" y="4043917"/>
        <a:ext cx="1179026" cy="359459"/>
      </dsp:txXfrm>
    </dsp:sp>
    <dsp:sp modelId="{F8B8ED58-EA68-431F-A7CD-D6D45F1C2941}">
      <dsp:nvSpPr>
        <dsp:cNvPr id="33" name="矩形 32"/>
        <dsp:cNvSpPr/>
      </dsp:nvSpPr>
      <dsp:spPr bwMode="white">
        <a:xfrm>
          <a:off x="3567139" y="4493241"/>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中级</a:t>
          </a:r>
          <a:r>
            <a:rPr lang="en-US" altLang="zh-CN" dirty="0" smtClean="0">
              <a:latin typeface="+mn-ea"/>
              <a:ea typeface="+mn-ea"/>
            </a:rPr>
            <a:t>12</a:t>
          </a:r>
          <a:r>
            <a:rPr lang="zh-CN" altLang="en-US" dirty="0" smtClean="0">
              <a:latin typeface="+mn-ea"/>
              <a:ea typeface="+mn-ea"/>
            </a:rPr>
            <a:t>人</a:t>
          </a:r>
          <a:endParaRPr lang="zh-CN" altLang="en-US" dirty="0">
            <a:latin typeface="+mn-ea"/>
            <a:ea typeface="+mn-ea"/>
          </a:endParaRPr>
        </a:p>
      </dsp:txBody>
      <dsp:txXfrm>
        <a:off x="3567139" y="4493241"/>
        <a:ext cx="1179026" cy="359459"/>
      </dsp:txXfrm>
    </dsp:sp>
    <dsp:sp modelId="{C137CF62-DD77-4C7C-8DFA-1F650CADC47E}">
      <dsp:nvSpPr>
        <dsp:cNvPr id="35" name="矩形 34"/>
        <dsp:cNvSpPr/>
      </dsp:nvSpPr>
      <dsp:spPr bwMode="white">
        <a:xfrm>
          <a:off x="3567139" y="4942565"/>
          <a:ext cx="1179026" cy="359459"/>
        </a:xfrm>
        <a:prstGeom prst="rect">
          <a:avLst/>
        </a:prstGeom>
        <a:solidFill>
          <a:srgbClr val="FE5817"/>
        </a:solidFill>
      </dsp:spPr>
      <dsp:style>
        <a:lnRef idx="3">
          <a:schemeClr val="lt1"/>
        </a:lnRef>
        <a:fillRef idx="1">
          <a:schemeClr val="accent1"/>
        </a:fillRef>
        <a:effectRef idx="1">
          <a:scrgbClr r="0" g="0" b="0"/>
        </a:effectRef>
        <a:fontRef idx="minor">
          <a:schemeClr val="lt1"/>
        </a:fontRef>
      </dsp:style>
      <dsp:txBody>
        <a:bodyPr lIns="12700" tIns="12700" rIns="12700" bIns="12700" anchor="ctr"/>
        <a:lstStyle>
          <a:lvl1pPr algn="ctr">
            <a:defRPr sz="2000"/>
          </a:lvl1pPr>
          <a:lvl2pPr marL="114300" indent="-114300" algn="ctr">
            <a:defRPr sz="1500"/>
          </a:lvl2pPr>
          <a:lvl3pPr marL="228600" indent="-114300" algn="ctr">
            <a:defRPr sz="1500"/>
          </a:lvl3pPr>
          <a:lvl4pPr marL="342900" indent="-114300" algn="ctr">
            <a:defRPr sz="1500"/>
          </a:lvl4pPr>
          <a:lvl5pPr marL="457200" indent="-114300" algn="ctr">
            <a:defRPr sz="1500"/>
          </a:lvl5pPr>
          <a:lvl6pPr marL="571500" indent="-114300" algn="ctr">
            <a:defRPr sz="1500"/>
          </a:lvl6pPr>
          <a:lvl7pPr marL="685800" indent="-114300" algn="ctr">
            <a:defRPr sz="1500"/>
          </a:lvl7pPr>
          <a:lvl8pPr marL="800100" indent="-114300" algn="ctr">
            <a:defRPr sz="1500"/>
          </a:lvl8pPr>
          <a:lvl9pPr marL="914400" indent="-114300" algn="ctr">
            <a:defRPr sz="1500"/>
          </a:lvl9pPr>
        </a:lstStyle>
        <a:p>
          <a:pPr lvl="0">
            <a:lnSpc>
              <a:spcPct val="100000"/>
            </a:lnSpc>
            <a:spcBef>
              <a:spcPct val="0"/>
            </a:spcBef>
            <a:spcAft>
              <a:spcPct val="35000"/>
            </a:spcAft>
          </a:pPr>
          <a:r>
            <a:rPr lang="zh-CN" altLang="en-US" dirty="0" smtClean="0">
              <a:latin typeface="+mn-ea"/>
              <a:ea typeface="+mn-ea"/>
            </a:rPr>
            <a:t>初级</a:t>
          </a:r>
          <a:r>
            <a:rPr lang="en-US" altLang="zh-CN" dirty="0" smtClean="0">
              <a:latin typeface="+mn-ea"/>
              <a:ea typeface="+mn-ea"/>
            </a:rPr>
            <a:t>94</a:t>
          </a:r>
          <a:r>
            <a:rPr lang="zh-CN" altLang="en-US" dirty="0" smtClean="0">
              <a:latin typeface="+mn-ea"/>
              <a:ea typeface="+mn-ea"/>
            </a:rPr>
            <a:t>人</a:t>
          </a:r>
          <a:endParaRPr lang="zh-CN" altLang="en-US" dirty="0">
            <a:latin typeface="+mn-ea"/>
            <a:ea typeface="+mn-ea"/>
          </a:endParaRPr>
        </a:p>
      </dsp:txBody>
      <dsp:txXfrm>
        <a:off x="3567139" y="4942565"/>
        <a:ext cx="1179026" cy="359459"/>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type="rect" r:blip="" rot="270">
                  <dgm:adjLst/>
                </dgm:shape>
              </dgm:if>
              <dgm:else name="Name11">
                <dgm:shape xmlns:r="http://schemas.openxmlformats.org/officeDocument/2006/relationships" type="rect" r:blip="" rot="90">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endSty" val="noArr"/>
                        <dgm:param type="connRout" val="bend"/>
                        <dgm:param type="begPts" val="midR"/>
                        <dgm:param type="endPts" val="midL"/>
                      </dgm:alg>
                    </dgm:if>
                    <dgm:else name="Name18">
                      <dgm:alg type="conn">
                        <dgm:param type="dim" val="1D"/>
                        <dgm:param type="endSty" val="noArr"/>
                        <dgm:param type="connRout" val="bend"/>
                        <dgm:param type="begPts" val="midL"/>
                        <dgm:param type="endPts" val="midR"/>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3">
        <a:scrgbClr r="0" g="0" b="0"/>
      </a:lnRef>
      <a:fillRef idx="1">
        <a:scrgbClr r="0" g="0" b="0"/>
      </a:fillRef>
      <a:effectRef idx="1">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1">
        <a:scrgbClr r="0" g="0" b="0"/>
      </a:effectRef>
      <a:fontRef idx="minor">
        <a:schemeClr val="lt1"/>
      </a:fontRef>
    </dgm:style>
  </dgm:styleLbl>
  <dgm:styleLbl name="asst0">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3">
        <a:scrgbClr r="0" g="0" b="0"/>
      </a:lnRef>
      <a:fillRef idx="1">
        <a:scrgbClr r="0" g="0" b="0"/>
      </a:fillRef>
      <a:effectRef idx="1">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1">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1">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3">
        <a:scrgbClr r="0" g="0" b="0"/>
      </a:lnRef>
      <a:fillRef idx="1">
        <a:scrgbClr r="0" g="0" b="0"/>
      </a:fillRef>
      <a:effectRef idx="1">
        <a:scrgbClr r="0" g="0" b="0"/>
      </a:effectRef>
      <a:fontRef idx="minor"/>
    </dgm:style>
  </dgm:styleLbl>
  <dgm:styleLbl name="fgShp">
    <dgm:scene3d>
      <a:camera prst="orthographicFront"/>
      <a:lightRig rig="threePt" dir="t"/>
    </dgm:scene3d>
    <dgm:txPr/>
    <dgm:style>
      <a:lnRef idx="3">
        <a:scrgbClr r="0" g="0" b="0"/>
      </a:lnRef>
      <a:fillRef idx="1">
        <a:scrgbClr r="0" g="0" b="0"/>
      </a:fillRef>
      <a:effectRef idx="1">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node0">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1">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3">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06679</cdr:x>
      <cdr:y>0.22615</cdr:y>
    </cdr:from>
    <cdr:to>
      <cdr:x>0.77237</cdr:x>
      <cdr:y>0.76328</cdr:y>
    </cdr:to>
    <cdr:sp>
      <cdr:nvSpPr>
        <cdr:cNvPr id="2" name="矩形 1"/>
        <cdr:cNvSpPr/>
      </cdr:nvSpPr>
      <cdr:spPr xmlns:a="http://schemas.openxmlformats.org/drawingml/2006/main">
        <a:xfrm xmlns:a="http://schemas.openxmlformats.org/drawingml/2006/main">
          <a:off x="103060" y="362838"/>
          <a:ext cx="1088770" cy="861772"/>
        </a:xfrm>
        <a:prstGeom xmlns:a="http://schemas.openxmlformats.org/drawingml/2006/main" prst="rect">
          <a:avLst/>
        </a:prstGeom>
        <a:noFill/>
      </cdr:spPr>
      <cdr:txBody xmlns:a="http://schemas.openxmlformats.org/drawingml/2006/main">
        <a:bodyPr vert="horz" wrap="none" lIns="45720" tIns="45720" rIns="45720" bIns="45720" rtlCol="0" anchor="t" anchorCtr="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5000"/>
            </a:lnSpc>
            <a:spcAft>
              <a:spcPts val="800"/>
            </a:spcAft>
          </a:pPr>
          <a:r>
            <a:rPr lang="en-US" altLang="zh-CN" sz="4000" dirty="0">
              <a:solidFill>
                <a:schemeClr val="accent4"/>
              </a:solidFill>
              <a:latin typeface="Impact" panose="020B0806030902050204" pitchFamily="34" charset="0"/>
            </a:rPr>
            <a:t>3</a:t>
          </a:r>
          <a:r>
            <a:rPr lang="en-US" altLang="zh-CN" sz="4000" dirty="0" smtClean="0">
              <a:solidFill>
                <a:schemeClr val="accent4"/>
              </a:solidFill>
              <a:latin typeface="Impact" panose="020B0806030902050204" pitchFamily="34" charset="0"/>
            </a:rPr>
            <a:t>0%</a:t>
          </a:r>
          <a:endParaRPr lang="zh-CN" altLang="en-US" sz="4000" dirty="0">
            <a:solidFill>
              <a:schemeClr val="accent4"/>
            </a:solidFill>
            <a:latin typeface="Impact" panose="020B080603090205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latin typeface="Arial" panose="020B0604020202020204" pitchFamily="34" charset="0"/>
            </a:endParaRPr>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latin typeface="Arial" panose="020B0604020202020204" pitchFamily="34" charset="0"/>
              </a:rPr>
            </a:fld>
            <a:endParaRPr lang="en-US" sz="800">
              <a:latin typeface="Arial" panose="020B0604020202020204" pitchFamily="34" charset="0"/>
            </a:endParaRPr>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latin typeface="Arial" panose="020B0604020202020204" pitchFamily="34" charset="0"/>
            </a:endParaRPr>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latin typeface="Arial" panose="020B0604020202020204" pitchFamily="34" charset="0"/>
              </a:rPr>
            </a:fld>
            <a:endParaRPr lang="en-US" sz="800">
              <a:latin typeface="Arial" panose="020B0604020202020204"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Arial" panose="020B0604020202020204" pitchFamily="34" charset="0"/>
            </a:endParaRPr>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a:latin typeface="Arial" panose="020B0604020202020204" pitchFamily="34" charset="0"/>
            </a:endParaRPr>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latin typeface="Arial" panose="020B0604020202020204" pitchFamily="34" charset="0"/>
              </a:rPr>
            </a:fld>
            <a:endParaRPr lang="en-US">
              <a:latin typeface="Arial" panose="020B0604020202020204" pitchFamily="34" charset="0"/>
            </a:endParaRPr>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a:latin typeface="Arial" panose="020B0604020202020204" pitchFamily="34" charset="0"/>
            </a:endParaRPr>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a:latin typeface="Arial" panose="020B0604020202020204" pitchFamily="34" charset="0"/>
            </a:endParaRPr>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Arial" panose="020B0604020202020204" pitchFamily="34" charset="0"/>
        <a:ea typeface="+mn-ea"/>
        <a:cs typeface="+mn-cs"/>
        <a:sym typeface="Arial" panose="020B0604020202020204" pitchFamily="34" charset="0"/>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Arial" panose="020B0604020202020204" pitchFamily="34" charset="0"/>
        <a:ea typeface="+mn-ea"/>
        <a:cs typeface="+mn-cs"/>
        <a:sym typeface="Arial" panose="020B0604020202020204" pitchFamily="34" charset="0"/>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mn-cs"/>
        <a:sym typeface="Arial" panose="020B0604020202020204" pitchFamily="34" charset="0"/>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Arial" panose="020B0604020202020204" pitchFamily="34" charset="0"/>
        <a:ea typeface="+mn-ea"/>
        <a:cs typeface="+mn-cs"/>
        <a:sym typeface="Arial" panose="020B0604020202020204" pitchFamily="34" charset="0"/>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Arial" panose="020B0604020202020204" pitchFamily="34" charset="0"/>
        <a:ea typeface="+mn-ea"/>
        <a:cs typeface="+mn-cs"/>
        <a:sym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43.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notesMaster" Target="../notesMasters/notesMaster1.xml"/><Relationship Id="rId1" Type="http://schemas.openxmlformats.org/officeDocument/2006/relationships/slide" Target="../slides/slide91.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7.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8.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1.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5.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7.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0.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1.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2.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3.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9.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0.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3.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4.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5.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7.xml"/></Relationships>
</file>

<file path=ppt/notesSlides/_rels/notesSlide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8.xml"/></Relationships>
</file>

<file path=ppt/notesSlides/_rels/notesSlide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3.xml"/></Relationships>
</file>

<file path=ppt/notesSlides/_rels/notesSlide6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4.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dirty="0"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dirty="0">
              <a:latin typeface="Arial" panose="020B060402020202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fld>
            <a:endParaRPr kumimoji="0" lang="en-US" sz="8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fld>
            <a:endParaRPr kumimoji="0" lang="en-US" sz="8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4D0C4F2-65FE-4AAE-88D2-F4FB909D8AC0}" type="slidenum">
              <a:rPr kumimoji="0" lang="zh-CN" alt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fld>
            <a:endParaRPr kumimoji="0" lang="zh-CN" altLang="en-US" sz="8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en-US" alt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10B30F48-CE8F-C64A-B67A-861EEE1AD620}" type="slidenum">
              <a:rPr kumimoji="1" lang="zh-CN" altLang="en-US" smtClean="0">
                <a:latin typeface="Arial" panose="020B0604020202020204" pitchFamily="34" charset="0"/>
              </a:rPr>
            </a:fld>
            <a:endParaRPr kumimoji="1" lang="zh-CN" altLang="en-US">
              <a:latin typeface="Arial" panose="020B0604020202020204"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kumimoji="1" lang="en-US" altLang="zh-CN" dirty="0" smtClean="0">
                <a:solidFill>
                  <a:schemeClr val="tx1"/>
                </a:solidFill>
              </a:rPr>
              <a:t>@</a:t>
            </a:r>
            <a:r>
              <a:rPr kumimoji="1" lang="zh-CN" altLang="en-US" dirty="0" smtClean="0">
                <a:solidFill>
                  <a:schemeClr val="tx1"/>
                </a:solidFill>
              </a:rPr>
              <a:t>王内</a:t>
            </a:r>
            <a:endParaRPr kumimoji="1" lang="en-US" altLang="zh-CN" dirty="0" smtClean="0">
              <a:solidFill>
                <a:schemeClr val="tx1"/>
              </a:solidFill>
            </a:endParaRPr>
          </a:p>
          <a:p>
            <a:pPr algn="l"/>
            <a:r>
              <a:rPr kumimoji="1" lang="zh-CN" altLang="en-US" dirty="0" smtClean="0">
                <a:solidFill>
                  <a:schemeClr val="tx1"/>
                </a:solidFill>
              </a:rPr>
              <a:t>左边可以是医疗纠纷的数据</a:t>
            </a:r>
            <a:endParaRPr kumimoji="1" lang="en-US" altLang="zh-CN" dirty="0" smtClean="0">
              <a:solidFill>
                <a:schemeClr val="tx1"/>
              </a:solidFill>
            </a:endParaRPr>
          </a:p>
          <a:p>
            <a:pPr algn="l"/>
            <a:r>
              <a:rPr kumimoji="1" lang="zh-CN" altLang="en-US" dirty="0" smtClean="0">
                <a:solidFill>
                  <a:schemeClr val="tx1"/>
                </a:solidFill>
              </a:rPr>
              <a:t>右边是社会影响的一些列子</a:t>
            </a:r>
            <a:endParaRPr kumimoji="1" lang="zh-CN" altLang="en-US" dirty="0" smtClean="0">
              <a:solidFill>
                <a:schemeClr val="tx1"/>
              </a:solidFill>
            </a:endParaRPr>
          </a:p>
          <a:p>
            <a:endParaRPr lang="zh-CN" altLang="en-US" dirty="0">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dirty="0" smtClean="0">
                <a:solidFill>
                  <a:prstClr val="black"/>
                </a:solidFill>
                <a:latin typeface="Arial" panose="020B0604020202020204" pitchFamily="34" charset="0"/>
              </a:rPr>
              <a:t>Notes view: </a:t>
            </a:r>
            <a:fld id="{128CEAFE-FA94-43E5-B0FF-D47E1CCDD1B4}" type="slidenum">
              <a:rPr lang="en-US" smtClean="0">
                <a:solidFill>
                  <a:prstClr val="black"/>
                </a:solidFill>
                <a:latin typeface="Arial" panose="020B0604020202020204" pitchFamily="34" charset="0"/>
              </a:rPr>
            </a:fld>
            <a:endParaRPr lang="en-US" dirty="0">
              <a:solidFill>
                <a:prstClr val="black"/>
              </a:solidFill>
              <a:latin typeface="Arial" panose="020B0604020202020204"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东方网力对赌：共同承诺，中盟科技合并报表中 </a:t>
            </a:r>
            <a:r>
              <a:rPr lang="en-US" altLang="zh-CN" dirty="0" smtClean="0"/>
              <a:t>2015 </a:t>
            </a:r>
            <a:r>
              <a:rPr lang="zh-CN" altLang="en-US" dirty="0" smtClean="0"/>
              <a:t>年度、</a:t>
            </a:r>
            <a:r>
              <a:rPr lang="en-US" altLang="zh-CN" dirty="0" smtClean="0"/>
              <a:t>2016 </a:t>
            </a:r>
            <a:r>
              <a:rPr lang="zh-CN" altLang="en-US" dirty="0" smtClean="0"/>
              <a:t>年度和 </a:t>
            </a:r>
            <a:r>
              <a:rPr lang="en-US" altLang="zh-CN" dirty="0" smtClean="0"/>
              <a:t>2017 </a:t>
            </a:r>
            <a:r>
              <a:rPr lang="zh-CN" altLang="en-US" dirty="0" smtClean="0"/>
              <a:t>年度扣除 非经常性损益后归属于母公司股东的净利润分别不低于 </a:t>
            </a:r>
            <a:r>
              <a:rPr lang="en-US" altLang="zh-CN" dirty="0" smtClean="0"/>
              <a:t>3,630 </a:t>
            </a:r>
            <a:r>
              <a:rPr lang="zh-CN" altLang="en-US" dirty="0" smtClean="0"/>
              <a:t>万元、</a:t>
            </a:r>
            <a:r>
              <a:rPr lang="en-US" altLang="zh-CN" dirty="0" smtClean="0"/>
              <a:t>4,356 </a:t>
            </a:r>
            <a:r>
              <a:rPr lang="zh-CN" altLang="en-US" dirty="0" smtClean="0"/>
              <a:t>万元、 </a:t>
            </a:r>
            <a:r>
              <a:rPr lang="en-US" altLang="zh-CN" dirty="0" smtClean="0"/>
              <a:t>5,227 </a:t>
            </a:r>
            <a:r>
              <a:rPr lang="zh-CN" altLang="en-US" dirty="0" smtClean="0"/>
              <a:t>万元。 </a:t>
            </a:r>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6348F14-94D0-465A-B515-14F312A54C08}"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oc id"/>
          <p:cNvSpPr>
            <a:spLocks noGrp="1" noChangeArrowheads="1"/>
          </p:cNvSpPr>
          <p:nvPr>
            <p:ph type="ftr" sz="quarter" idx="4"/>
          </p:nvPr>
        </p:nvSpPr>
        <p:spPr>
          <a:xfrm>
            <a:off x="5387816" y="110252"/>
            <a:ext cx="1165384" cy="123111"/>
          </a:xfrm>
        </p:spPr>
        <p:txBody>
          <a:bodyPr/>
          <a:lstStyle/>
          <a:p>
            <a:r>
              <a:rPr lang="en-US"/>
              <a:t>NYO-AAA123-20060228-</a:t>
            </a:r>
            <a:endParaRPr lang="en-US"/>
          </a:p>
        </p:txBody>
      </p:sp>
      <p:sp>
        <p:nvSpPr>
          <p:cNvPr id="6" name="pg num"/>
          <p:cNvSpPr>
            <a:spLocks noGrp="1" noChangeArrowheads="1"/>
          </p:cNvSpPr>
          <p:nvPr>
            <p:ph type="sldNum" sz="quarter" idx="5"/>
          </p:nvPr>
        </p:nvSpPr>
        <p:spPr/>
        <p:txBody>
          <a:bodyPr/>
          <a:lstStyle/>
          <a:p>
            <a:fld id="{1456143E-B34F-4C89-9ADD-971E228D3A73}" type="slidenum">
              <a:rPr lang="en-US"/>
            </a:fld>
            <a:endParaRPr lang="en-US"/>
          </a:p>
        </p:txBody>
      </p:sp>
      <p:sp>
        <p:nvSpPr>
          <p:cNvPr id="49154" name="Rectangle 2"/>
          <p:cNvSpPr>
            <a:spLocks noGrp="1" noRot="1" noChangeAspect="1" noChangeArrowheads="1" noTextEdit="1"/>
          </p:cNvSpPr>
          <p:nvPr>
            <p:ph type="sldImg"/>
          </p:nvPr>
        </p:nvSpPr>
        <p:spPr>
          <a:xfrm>
            <a:off x="-4168775" y="1279525"/>
            <a:ext cx="15036800" cy="8458200"/>
          </a:xfrm>
        </p:spPr>
      </p:sp>
      <p:sp>
        <p:nvSpPr>
          <p:cNvPr id="49155" name="Rectangle 3"/>
          <p:cNvSpPr>
            <a:spLocks noGrp="1" noChangeArrowheads="1"/>
          </p:cNvSpPr>
          <p:nvPr>
            <p:ph type="body" idx="1"/>
          </p:nvPr>
        </p:nvSpPr>
        <p:spPr>
          <a:xfrm>
            <a:off x="541987" y="353466"/>
            <a:ext cx="3985333" cy="246221"/>
          </a:xfrm>
        </p:spPr>
        <p:txBody>
          <a:bodyPr/>
          <a:lstStyle/>
          <a:p>
            <a:endParaRPr lang="en-US"/>
          </a:p>
        </p:txBody>
      </p:sp>
      <p:sp>
        <p:nvSpPr>
          <p:cNvPr id="49156" name="McK Separator"/>
          <p:cNvSpPr>
            <a:spLocks noChangeShapeType="1"/>
          </p:cNvSpPr>
          <p:nvPr>
            <p:custDataLst>
              <p:tags r:id="rId3"/>
            </p:custDataLst>
          </p:nvPr>
        </p:nvSpPr>
        <p:spPr bwMode="auto">
          <a:xfrm>
            <a:off x="552366" y="1512916"/>
            <a:ext cx="5505202" cy="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风险在这体现</a:t>
            </a:r>
            <a:endParaRPr lang="zh-CN" altLang="en-US"/>
          </a:p>
        </p:txBody>
      </p:sp>
      <p:sp>
        <p:nvSpPr>
          <p:cNvPr id="4" name="灯片编号占位符 3"/>
          <p:cNvSpPr>
            <a:spLocks noGrp="1"/>
          </p:cNvSpPr>
          <p:nvPr>
            <p:ph type="sldNum" sz="quarter" idx="10"/>
          </p:nvPr>
        </p:nvSpPr>
        <p:spPr/>
        <p:txBody>
          <a:bodyPr/>
          <a:lstStyle/>
          <a:p>
            <a:fld id="{7DB3EDD0-3090-434A-BCAB-FD6D1D74348D}" type="slidenum">
              <a:rPr lang="zh-CN" altLang="en-US" smtClean="0"/>
            </a:fld>
            <a:endParaRPr lang="zh-CN"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p:txBody>
          <a:bodyPr/>
          <a:lstStyle/>
          <a:p>
            <a:fld id="{752559DB-FFFE-444B-A875-F237472E8C95}" type="slidenum">
              <a:rPr lang="en-US"/>
            </a:fld>
            <a:endParaRPr lang="en-US"/>
          </a:p>
        </p:txBody>
      </p:sp>
      <p:sp>
        <p:nvSpPr>
          <p:cNvPr id="88066" name="Rectangle 2"/>
          <p:cNvSpPr>
            <a:spLocks noGrp="1" noRot="1" noChangeAspect="1" noChangeArrowheads="1" noTextEdit="1"/>
          </p:cNvSpPr>
          <p:nvPr>
            <p:ph type="sldImg"/>
          </p:nvPr>
        </p:nvSpPr>
        <p:spPr>
          <a:xfrm>
            <a:off x="-312738" y="947738"/>
            <a:ext cx="7429501" cy="4179887"/>
          </a:xfrm>
        </p:spPr>
      </p:sp>
      <p:sp>
        <p:nvSpPr>
          <p:cNvPr id="88067" name="Rectangle 3"/>
          <p:cNvSpPr>
            <a:spLocks noGrp="1" noChangeArrowheads="1"/>
          </p:cNvSpPr>
          <p:nvPr>
            <p:ph type="body" idx="1"/>
          </p:nvPr>
        </p:nvSpPr>
        <p:spPr>
          <a:xfrm>
            <a:off x="613849" y="5440374"/>
            <a:ext cx="5540858" cy="246221"/>
          </a:xfrm>
        </p:spPr>
        <p:txBody>
          <a:bodyPr/>
          <a:lstStyle/>
          <a:p>
            <a:endParaRPr lang="en-US"/>
          </a:p>
        </p:txBody>
      </p:sp>
      <p:sp>
        <p:nvSpPr>
          <p:cNvPr id="88068" name="McK Separator"/>
          <p:cNvSpPr>
            <a:spLocks noChangeShapeType="1"/>
          </p:cNvSpPr>
          <p:nvPr/>
        </p:nvSpPr>
        <p:spPr bwMode="auto">
          <a:xfrm>
            <a:off x="808379" y="1504089"/>
            <a:ext cx="5157201" cy="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p:txBody>
          <a:bodyPr/>
          <a:lstStyle/>
          <a:p>
            <a:fld id="{BCEF0474-EF50-4EB8-B409-1519CB5A332D}" type="slidenum">
              <a:rPr lang="en-US"/>
            </a:fld>
            <a:endParaRPr lang="en-US"/>
          </a:p>
        </p:txBody>
      </p:sp>
      <p:sp>
        <p:nvSpPr>
          <p:cNvPr id="149506" name="Rectangle 2"/>
          <p:cNvSpPr>
            <a:spLocks noGrp="1" noRot="1" noChangeAspect="1" noChangeArrowheads="1" noTextEdit="1"/>
          </p:cNvSpPr>
          <p:nvPr>
            <p:ph type="sldImg"/>
          </p:nvPr>
        </p:nvSpPr>
        <p:spPr>
          <a:xfrm>
            <a:off x="-312738" y="947738"/>
            <a:ext cx="7429501" cy="4179887"/>
          </a:xfrm>
        </p:spPr>
      </p:sp>
      <p:sp>
        <p:nvSpPr>
          <p:cNvPr id="149507" name="Rectangle 3"/>
          <p:cNvSpPr>
            <a:spLocks noGrp="1" noChangeArrowheads="1"/>
          </p:cNvSpPr>
          <p:nvPr>
            <p:ph type="body" idx="1"/>
          </p:nvPr>
        </p:nvSpPr>
        <p:spPr>
          <a:xfrm>
            <a:off x="613849" y="5440374"/>
            <a:ext cx="5540858" cy="246221"/>
          </a:xfrm>
        </p:spPr>
        <p:txBody>
          <a:bodyPr/>
          <a:lstStyle/>
          <a:p>
            <a:endParaRPr lang="en-US"/>
          </a:p>
        </p:txBody>
      </p:sp>
      <p:sp>
        <p:nvSpPr>
          <p:cNvPr id="149508" name="McK Separator"/>
          <p:cNvSpPr>
            <a:spLocks noChangeShapeType="1"/>
          </p:cNvSpPr>
          <p:nvPr/>
        </p:nvSpPr>
        <p:spPr bwMode="auto">
          <a:xfrm>
            <a:off x="808379" y="1504089"/>
            <a:ext cx="5157201" cy="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p:txBody>
          <a:bodyPr/>
          <a:lstStyle/>
          <a:p>
            <a:fld id="{17614147-A848-4DD2-843E-5924030278F5}" type="slidenum">
              <a:rPr lang="en-US"/>
            </a:fld>
            <a:endParaRPr lang="en-US"/>
          </a:p>
        </p:txBody>
      </p:sp>
      <p:sp>
        <p:nvSpPr>
          <p:cNvPr id="159746" name="Rectangle 2"/>
          <p:cNvSpPr>
            <a:spLocks noGrp="1" noRot="1" noChangeAspect="1" noChangeArrowheads="1" noTextEdit="1"/>
          </p:cNvSpPr>
          <p:nvPr>
            <p:ph type="sldImg"/>
          </p:nvPr>
        </p:nvSpPr>
        <p:spPr>
          <a:xfrm>
            <a:off x="-312738" y="947738"/>
            <a:ext cx="7429501" cy="4179887"/>
          </a:xfrm>
        </p:spPr>
      </p:sp>
      <p:sp>
        <p:nvSpPr>
          <p:cNvPr id="159747" name="Rectangle 3"/>
          <p:cNvSpPr>
            <a:spLocks noGrp="1" noChangeArrowheads="1"/>
          </p:cNvSpPr>
          <p:nvPr>
            <p:ph type="body" idx="1"/>
          </p:nvPr>
        </p:nvSpPr>
        <p:spPr>
          <a:xfrm>
            <a:off x="613849" y="5440374"/>
            <a:ext cx="5540858" cy="246221"/>
          </a:xfrm>
        </p:spPr>
        <p:txBody>
          <a:bodyPr/>
          <a:lstStyle/>
          <a:p>
            <a:r>
              <a:rPr lang="zh-CN" altLang="en-US" dirty="0" smtClean="0"/>
              <a:t>常用维度：行业准入、监管要求、资源限制等。</a:t>
            </a:r>
            <a:endParaRPr lang="en-US" dirty="0"/>
          </a:p>
        </p:txBody>
      </p:sp>
      <p:sp>
        <p:nvSpPr>
          <p:cNvPr id="159748" name="McK Separator"/>
          <p:cNvSpPr>
            <a:spLocks noChangeShapeType="1"/>
          </p:cNvSpPr>
          <p:nvPr/>
        </p:nvSpPr>
        <p:spPr bwMode="auto">
          <a:xfrm>
            <a:off x="808379" y="1504089"/>
            <a:ext cx="5157201" cy="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p:txBody>
          <a:bodyPr/>
          <a:lstStyle/>
          <a:p>
            <a:fld id="{98FD8937-8796-46FA-A297-632FB1D407B7}" type="slidenum">
              <a:rPr lang="en-US"/>
            </a:fld>
            <a:endParaRPr lang="en-US"/>
          </a:p>
        </p:txBody>
      </p:sp>
      <p:sp>
        <p:nvSpPr>
          <p:cNvPr id="184322" name="Rectangle 2"/>
          <p:cNvSpPr>
            <a:spLocks noGrp="1" noRot="1" noChangeAspect="1" noChangeArrowheads="1" noTextEdit="1"/>
          </p:cNvSpPr>
          <p:nvPr>
            <p:ph type="sldImg"/>
          </p:nvPr>
        </p:nvSpPr>
        <p:spPr>
          <a:xfrm>
            <a:off x="-312738" y="947738"/>
            <a:ext cx="7429501" cy="4179887"/>
          </a:xfrm>
        </p:spPr>
      </p:sp>
      <p:sp>
        <p:nvSpPr>
          <p:cNvPr id="184323" name="Rectangle 3"/>
          <p:cNvSpPr>
            <a:spLocks noGrp="1" noChangeArrowheads="1"/>
          </p:cNvSpPr>
          <p:nvPr>
            <p:ph type="body" idx="1"/>
          </p:nvPr>
        </p:nvSpPr>
        <p:spPr>
          <a:xfrm>
            <a:off x="613849" y="5440374"/>
            <a:ext cx="5540858" cy="246221"/>
          </a:xfrm>
        </p:spPr>
        <p:txBody>
          <a:bodyPr/>
          <a:lstStyle/>
          <a:p>
            <a:r>
              <a:rPr lang="zh-CN" altLang="en-US" dirty="0" smtClean="0"/>
              <a:t>常用维度：市场规模、增速、利润率、可行性、长短期</a:t>
            </a:r>
            <a:endParaRPr lang="en-US" dirty="0"/>
          </a:p>
        </p:txBody>
      </p:sp>
      <p:sp>
        <p:nvSpPr>
          <p:cNvPr id="184324" name="McK Separator"/>
          <p:cNvSpPr>
            <a:spLocks noChangeShapeType="1"/>
          </p:cNvSpPr>
          <p:nvPr/>
        </p:nvSpPr>
        <p:spPr bwMode="auto">
          <a:xfrm>
            <a:off x="808379" y="1504089"/>
            <a:ext cx="5157201" cy="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EDFC1FED-84FF-40F6-A011-8682F4543B51}" type="slidenum">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346" name="Rectangle 2"/>
          <p:cNvSpPr>
            <a:spLocks noGrp="1" noRot="1" noChangeAspect="1" noChangeArrowheads="1" noTextEdit="1"/>
          </p:cNvSpPr>
          <p:nvPr>
            <p:ph type="sldImg"/>
          </p:nvPr>
        </p:nvSpPr>
        <p:spPr>
          <a:xfrm>
            <a:off x="-312738" y="947738"/>
            <a:ext cx="7429501" cy="4179887"/>
          </a:xfrm>
        </p:spPr>
      </p:sp>
      <p:sp>
        <p:nvSpPr>
          <p:cNvPr id="57347" name="Rectangle 3"/>
          <p:cNvSpPr>
            <a:spLocks noGrp="1" noChangeArrowheads="1"/>
          </p:cNvSpPr>
          <p:nvPr>
            <p:ph type="body" idx="1"/>
          </p:nvPr>
        </p:nvSpPr>
        <p:spPr>
          <a:xfrm>
            <a:off x="613849" y="5440374"/>
            <a:ext cx="5540858" cy="246221"/>
          </a:xfrm>
        </p:spPr>
        <p:txBody>
          <a:bodyPr/>
          <a:lstStyle/>
          <a:p>
            <a:endParaRPr lang="en-US"/>
          </a:p>
        </p:txBody>
      </p:sp>
      <p:sp>
        <p:nvSpPr>
          <p:cNvPr id="57348" name="McK Separator"/>
          <p:cNvSpPr>
            <a:spLocks noChangeShapeType="1"/>
          </p:cNvSpPr>
          <p:nvPr/>
        </p:nvSpPr>
        <p:spPr bwMode="auto">
          <a:xfrm>
            <a:off x="808379" y="1504089"/>
            <a:ext cx="5157201" cy="0"/>
          </a:xfrm>
          <a:prstGeom prst="line">
            <a:avLst/>
          </a:prstGeom>
          <a:noFill/>
          <a:ln w="9525">
            <a:solidFill>
              <a:schemeClr val="tx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fld>
            <a:endParaRPr kumimoji="0" lang="en-US" sz="8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latin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4D0C4F2-65FE-4AAE-88D2-F4FB909D8AC0}" type="slidenum">
              <a:rPr kumimoji="0" lang="zh-CN" alt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fld>
            <a:endParaRPr kumimoji="0" lang="zh-CN" altLang="en-US" sz="8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fld>
            <a:endParaRPr kumimoji="0" lang="en-US" sz="8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fld>
            <a:endParaRPr kumimoji="0" lang="en-US" sz="8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fld>
            <a:endParaRPr kumimoji="0" lang="en-US" sz="8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p:txBody>
          <a:bodyPr/>
          <a:lstStyle/>
          <a:p>
            <a:fld id="{0EDE4DE9-2810-4112-AF4B-69B9A8C51ED7}" type="slidenum">
              <a:rPr lang="zh-CN" altLang="en-US">
                <a:solidFill>
                  <a:prstClr val="black"/>
                </a:solidFill>
              </a:rPr>
            </a:fld>
            <a:endParaRPr lang="en-US" altLang="zh-CN">
              <a:solidFill>
                <a:prstClr val="black"/>
              </a:solidFill>
            </a:endParaRPr>
          </a:p>
        </p:txBody>
      </p:sp>
      <p:sp>
        <p:nvSpPr>
          <p:cNvPr id="6" name="doc id"/>
          <p:cNvSpPr>
            <a:spLocks noGrp="1" noChangeArrowheads="1"/>
          </p:cNvSpPr>
          <p:nvPr>
            <p:ph type="ftr" sz="quarter" idx="4"/>
          </p:nvPr>
        </p:nvSpPr>
        <p:spPr>
          <a:xfrm>
            <a:off x="4557461" y="110253"/>
            <a:ext cx="1995739" cy="123111"/>
          </a:xfrm>
        </p:spPr>
        <p:txBody>
          <a:bodyPr/>
          <a:lstStyle/>
          <a:p>
            <a:r>
              <a:rPr lang="en-US" altLang="zh-CN">
                <a:solidFill>
                  <a:prstClr val="black"/>
                </a:solidFill>
              </a:rPr>
              <a:t>SHA-IPC002-20111011-China team kick off</a:t>
            </a:r>
            <a:endParaRPr lang="en-US" altLang="zh-CN">
              <a:solidFill>
                <a:prstClr val="black"/>
              </a:solidFill>
            </a:endParaRPr>
          </a:p>
        </p:txBody>
      </p:sp>
      <p:sp>
        <p:nvSpPr>
          <p:cNvPr id="739330" name="Rectangle 7"/>
          <p:cNvSpPr txBox="1">
            <a:spLocks noGrp="1" noChangeArrowheads="1"/>
          </p:cNvSpPr>
          <p:nvPr/>
        </p:nvSpPr>
        <p:spPr bwMode="gray">
          <a:xfrm>
            <a:off x="3307749" y="9558011"/>
            <a:ext cx="12824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16305">
              <a:defRPr sz="2400">
                <a:solidFill>
                  <a:schemeClr val="tx1"/>
                </a:solidFill>
                <a:latin typeface="Arial" panose="020B0604020202020204" pitchFamily="34" charset="0"/>
              </a:defRPr>
            </a:lvl1pPr>
            <a:lvl2pPr marL="742950" indent="-285750" defTabSz="916305">
              <a:defRPr sz="2400">
                <a:solidFill>
                  <a:schemeClr val="tx1"/>
                </a:solidFill>
                <a:latin typeface="Arial" panose="020B0604020202020204" pitchFamily="34" charset="0"/>
              </a:defRPr>
            </a:lvl2pPr>
            <a:lvl3pPr marL="1143000" indent="-228600" defTabSz="916305">
              <a:defRPr sz="2400">
                <a:solidFill>
                  <a:schemeClr val="tx1"/>
                </a:solidFill>
                <a:latin typeface="Arial" panose="020B0604020202020204" pitchFamily="34" charset="0"/>
              </a:defRPr>
            </a:lvl3pPr>
            <a:lvl4pPr marL="1600200" indent="-228600" defTabSz="916305">
              <a:defRPr sz="2400">
                <a:solidFill>
                  <a:schemeClr val="tx1"/>
                </a:solidFill>
                <a:latin typeface="Arial" panose="020B0604020202020204" pitchFamily="34" charset="0"/>
              </a:defRPr>
            </a:lvl4pPr>
            <a:lvl5pPr marL="2057400" indent="-228600" defTabSz="916305">
              <a:defRPr sz="2400">
                <a:solidFill>
                  <a:schemeClr val="tx1"/>
                </a:solidFill>
                <a:latin typeface="Arial" panose="020B0604020202020204" pitchFamily="34" charset="0"/>
              </a:defRPr>
            </a:lvl5pPr>
            <a:lvl6pPr marL="2514600" indent="-228600" defTabSz="916305" fontAlgn="base">
              <a:spcBef>
                <a:spcPct val="0"/>
              </a:spcBef>
              <a:spcAft>
                <a:spcPct val="0"/>
              </a:spcAft>
              <a:defRPr sz="2400">
                <a:solidFill>
                  <a:schemeClr val="tx1"/>
                </a:solidFill>
                <a:latin typeface="Arial" panose="020B0604020202020204" pitchFamily="34" charset="0"/>
              </a:defRPr>
            </a:lvl6pPr>
            <a:lvl7pPr marL="2971800" indent="-228600" defTabSz="916305" fontAlgn="base">
              <a:spcBef>
                <a:spcPct val="0"/>
              </a:spcBef>
              <a:spcAft>
                <a:spcPct val="0"/>
              </a:spcAft>
              <a:defRPr sz="2400">
                <a:solidFill>
                  <a:schemeClr val="tx1"/>
                </a:solidFill>
                <a:latin typeface="Arial" panose="020B0604020202020204" pitchFamily="34" charset="0"/>
              </a:defRPr>
            </a:lvl7pPr>
            <a:lvl8pPr marL="3429000" indent="-228600" defTabSz="916305" fontAlgn="base">
              <a:spcBef>
                <a:spcPct val="0"/>
              </a:spcBef>
              <a:spcAft>
                <a:spcPct val="0"/>
              </a:spcAft>
              <a:defRPr sz="2400">
                <a:solidFill>
                  <a:schemeClr val="tx1"/>
                </a:solidFill>
                <a:latin typeface="Arial" panose="020B0604020202020204" pitchFamily="34" charset="0"/>
              </a:defRPr>
            </a:lvl8pPr>
            <a:lvl9pPr marL="3886200" indent="-228600" defTabSz="916305" fontAlgn="base">
              <a:spcBef>
                <a:spcPct val="0"/>
              </a:spcBef>
              <a:spcAft>
                <a:spcPct val="0"/>
              </a:spcAft>
              <a:defRPr sz="2400">
                <a:solidFill>
                  <a:schemeClr val="tx1"/>
                </a:solidFill>
                <a:latin typeface="Arial" panose="020B0604020202020204" pitchFamily="34" charset="0"/>
              </a:defRPr>
            </a:lvl9pPr>
          </a:lstStyle>
          <a:p>
            <a:pPr algn="r"/>
            <a:fld id="{9E3A641A-07FD-4C13-9DAC-BC40266988A5}" type="slidenum">
              <a:rPr lang="en-US" sz="1000">
                <a:solidFill>
                  <a:prstClr val="black"/>
                </a:solidFill>
                <a:latin typeface="Times New Roman" panose="02020603050405020304" pitchFamily="18" charset="0"/>
              </a:rPr>
            </a:fld>
            <a:endParaRPr lang="en-US" sz="1000">
              <a:solidFill>
                <a:prstClr val="black"/>
              </a:solidFill>
              <a:latin typeface="Times New Roman" panose="02020603050405020304" pitchFamily="18" charset="0"/>
            </a:endParaRPr>
          </a:p>
        </p:txBody>
      </p:sp>
      <p:sp>
        <p:nvSpPr>
          <p:cNvPr id="739331" name="Rectangle 9"/>
          <p:cNvSpPr>
            <a:spLocks noGrp="1" noRot="1" noChangeAspect="1" noChangeArrowheads="1" noTextEdit="1"/>
          </p:cNvSpPr>
          <p:nvPr>
            <p:ph type="sldImg"/>
          </p:nvPr>
        </p:nvSpPr>
        <p:spPr>
          <a:xfrm>
            <a:off x="71438" y="741363"/>
            <a:ext cx="6605587" cy="3716337"/>
          </a:xfrm>
          <a:solidFill>
            <a:srgbClr val="FFFFFF"/>
          </a:solidFill>
        </p:spPr>
      </p:sp>
      <p:sp>
        <p:nvSpPr>
          <p:cNvPr id="739332" name="Rectangle 10"/>
          <p:cNvSpPr>
            <a:spLocks noGrp="1" noChangeArrowheads="1"/>
          </p:cNvSpPr>
          <p:nvPr>
            <p:ph type="body" idx="1"/>
          </p:nvPr>
        </p:nvSpPr>
        <p:spPr>
          <a:xfrm>
            <a:off x="907102" y="4782737"/>
            <a:ext cx="4917281" cy="246221"/>
          </a:xfrm>
        </p:spPr>
        <p:txBody>
          <a:bodyPr>
            <a:spAutoFit/>
          </a:bodyPr>
          <a:lstStyle/>
          <a:p>
            <a:endParaRPr 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fld>
            <a:endParaRPr kumimoji="0" lang="en-US" sz="8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r>
              <a:rPr lang="en-US" smtClean="0"/>
              <a:t>Notes view: </a:t>
            </a:r>
            <a:fld id="{128CEAFE-FA94-43E5-B0FF-D47E1CCDD1B4}" type="slidenum">
              <a:rPr lang="en-US" smtClean="0"/>
            </a:fld>
            <a:endParaRPr lang="en-US"/>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fld>
            <a:endParaRPr kumimoji="0" lang="en-US" sz="8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fld>
            <a:endParaRPr kumimoji="0" lang="en-US" sz="8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p:txBody>
          <a:bodyPr/>
          <a:lstStyle/>
          <a:p>
            <a:fld id="{93A9B661-3FA6-4FF3-9952-A4E285DAC808}" type="slidenum">
              <a:rPr lang="en-US"/>
            </a:fld>
            <a:endParaRPr lang="en-US"/>
          </a:p>
        </p:txBody>
      </p:sp>
      <p:sp>
        <p:nvSpPr>
          <p:cNvPr id="470018" name="Rectangle 2"/>
          <p:cNvSpPr>
            <a:spLocks noGrp="1" noRot="1" noChangeAspect="1" noChangeArrowheads="1" noTextEdit="1"/>
          </p:cNvSpPr>
          <p:nvPr>
            <p:ph type="sldImg"/>
          </p:nvPr>
        </p:nvSpPr>
        <p:spPr>
          <a:xfrm>
            <a:off x="-498475" y="619125"/>
            <a:ext cx="7750175" cy="4360863"/>
          </a:xfrm>
        </p:spPr>
      </p:sp>
      <p:sp>
        <p:nvSpPr>
          <p:cNvPr id="470019" name="Rectangle 3"/>
          <p:cNvSpPr>
            <a:spLocks noGrp="1" noChangeArrowheads="1"/>
          </p:cNvSpPr>
          <p:nvPr>
            <p:ph type="body" idx="1"/>
          </p:nvPr>
        </p:nvSpPr>
        <p:spPr>
          <a:xfrm>
            <a:off x="546745" y="5323526"/>
            <a:ext cx="5746325" cy="246221"/>
          </a:xfrm>
        </p:spPr>
        <p:txBody>
          <a:bodyPr/>
          <a:lstStyle/>
          <a:p>
            <a:endParaRPr lang="en-AU"/>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r>
              <a:rPr lang="en-US" smtClean="0">
                <a:latin typeface="Arial" panose="020B0604020202020204" pitchFamily="34" charset="0"/>
              </a:rPr>
              <a:t>Notes view: </a:t>
            </a:r>
            <a:fld id="{128CEAFE-FA94-43E5-B0FF-D47E1CCDD1B4}" type="slidenum">
              <a:rPr lang="en-US" smtClean="0">
                <a:latin typeface="Arial" panose="020B0604020202020204" pitchFamily="34" charset="0"/>
              </a:rPr>
            </a:fld>
            <a:endParaRPr 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tags" Target="../tags/tag3.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tags" Target="../tags/tag5.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6" Type="http://schemas.openxmlformats.org/officeDocument/2006/relationships/vmlDrawing" Target="../drawings/vmlDrawing4.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5.emf"/><Relationship Id="rId3" Type="http://schemas.openxmlformats.org/officeDocument/2006/relationships/oleObject" Target="../embeddings/oleObject5.bin"/><Relationship Id="rId2" Type="http://schemas.openxmlformats.org/officeDocument/2006/relationships/tags" Target="../tags/tag7.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6" Type="http://schemas.openxmlformats.org/officeDocument/2006/relationships/vmlDrawing" Target="../drawings/vmlDrawing6.vml"/><Relationship Id="rId5" Type="http://schemas.openxmlformats.org/officeDocument/2006/relationships/tags" Target="../tags/tag9.x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8.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Cover page">
    <p:spTree>
      <p:nvGrpSpPr>
        <p:cNvPr id="1" name=""/>
        <p:cNvGrpSpPr/>
        <p:nvPr/>
      </p:nvGrpSpPr>
      <p:grpSpPr>
        <a:xfrm>
          <a:off x="0" y="0"/>
          <a:ext cx="0" cy="0"/>
          <a:chOff x="0" y="0"/>
          <a:chExt cx="0" cy="0"/>
        </a:xfrm>
      </p:grpSpPr>
      <p:sp>
        <p:nvSpPr>
          <p:cNvPr id="3" name="矩形 2"/>
          <p:cNvSpPr/>
          <p:nvPr userDrawn="1"/>
        </p:nvSpPr>
        <p:spPr>
          <a:xfrm>
            <a:off x="0" y="0"/>
            <a:ext cx="129309" cy="6858000"/>
          </a:xfrm>
          <a:prstGeom prst="rect">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400" dirty="0" smtClean="0">
              <a:solidFill>
                <a:schemeClr val="tx1"/>
              </a:solidFill>
            </a:endParaRPr>
          </a:p>
        </p:txBody>
      </p:sp>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315" name="think-cell Slide" r:id="rId3" imgW="12700" imgH="12700" progId="TCLayout.ActiveDocument.1">
                  <p:embed/>
                </p:oleObj>
              </mc:Choice>
              <mc:Fallback>
                <p:oleObj name="think-cell Slide" r:id="rId3" imgW="12700" imgH="12700" progId="TCLayout.ActiveDocument.1">
                  <p:embed/>
                  <p:pic>
                    <p:nvPicPr>
                      <p:cNvPr id="0" name="图片 86314"/>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3" name="Picture 2"/>
          <p:cNvPicPr>
            <a:picLocks noChangeAspect="1" noChangeArrowheads="1"/>
          </p:cNvPicPr>
          <p:nvPr userDrawn="1"/>
        </p:nvPicPr>
        <p:blipFill rotWithShape="1">
          <a:blip r:embed="rId5" cstate="email"/>
          <a:srcRect r="6177"/>
          <a:stretch>
            <a:fillRect/>
          </a:stretch>
        </p:blipFill>
        <p:spPr bwMode="auto">
          <a:xfrm>
            <a:off x="295564" y="0"/>
            <a:ext cx="1189643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userDrawn="1"/>
        </p:nvSpPr>
        <p:spPr bwMode="black">
          <a:xfrm>
            <a:off x="115021" y="2004291"/>
            <a:ext cx="9415624" cy="2292405"/>
          </a:xfrm>
          <a:prstGeom prst="rect">
            <a:avLst/>
          </a:prstGeom>
          <a:solidFill>
            <a:srgbClr val="EA5404">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7305368" y="6207842"/>
            <a:ext cx="4681760" cy="327148"/>
          </a:xfrm>
          <a:prstGeom prst="rect">
            <a:avLst/>
          </a:prstGeom>
          <a:noFill/>
        </p:spPr>
        <p:txBody>
          <a:bodyPr anchor="ctr"/>
          <a:lstStyle>
            <a:lvl1pPr algn="r">
              <a:lnSpc>
                <a:spcPct val="110000"/>
              </a:lnSpc>
              <a:buNone/>
              <a:defRPr sz="1600" b="1" cap="all" baseline="0">
                <a:solidFill>
                  <a:srgbClr val="FFFFF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957600" y="3834054"/>
            <a:ext cx="7607902" cy="436195"/>
          </a:xfrm>
          <a:prstGeom prst="rect">
            <a:avLst/>
          </a:prstGeom>
        </p:spPr>
        <p:txBody>
          <a:bodyPr anchor="ctr"/>
          <a:lstStyle>
            <a:lvl1pPr marL="0" indent="0" algn="l">
              <a:lnSpc>
                <a:spcPct val="110000"/>
              </a:lnSpc>
              <a:buNone/>
              <a:defRPr sz="2000" b="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Subtitle in sentence case</a:t>
            </a:r>
            <a:endParaRPr lang="en-US" dirty="0"/>
          </a:p>
        </p:txBody>
      </p:sp>
      <p:sp>
        <p:nvSpPr>
          <p:cNvPr id="27" name="Title 1"/>
          <p:cNvSpPr>
            <a:spLocks noGrp="1"/>
          </p:cNvSpPr>
          <p:nvPr>
            <p:ph type="ctrTitle" hasCustomPrompt="1"/>
          </p:nvPr>
        </p:nvSpPr>
        <p:spPr bwMode="ltGray">
          <a:xfrm>
            <a:off x="957600" y="2257799"/>
            <a:ext cx="7607902" cy="1431161"/>
          </a:xfrm>
          <a:prstGeom prst="rect">
            <a:avLst/>
          </a:prstGeom>
        </p:spPr>
        <p:txBody>
          <a:bodyPr wrap="square" anchor="ctr">
            <a:noAutofit/>
          </a:bodyPr>
          <a:lstStyle>
            <a:lvl1pPr algn="l">
              <a:lnSpc>
                <a:spcPct val="93000"/>
              </a:lnSpc>
              <a:defRPr sz="5000" b="1" baseline="0">
                <a:solidFill>
                  <a:schemeClr val="bg1"/>
                </a:solidFill>
                <a:latin typeface="+mj-lt"/>
                <a:sym typeface="Trebuchet MS" panose="020B0603020202020204" pitchFamily="34" charset="0"/>
              </a:defRPr>
            </a:lvl1pPr>
          </a:lstStyle>
          <a:p>
            <a:r>
              <a:rPr lang="en-US" altLang="zh-CN" dirty="0" smtClean="0"/>
              <a:t>Title in Title Case</a:t>
            </a:r>
            <a:endParaRPr lang="en-US" dirty="0"/>
          </a:p>
        </p:txBody>
      </p:sp>
      <p:grpSp>
        <p:nvGrpSpPr>
          <p:cNvPr id="16" name="组合 15"/>
          <p:cNvGrpSpPr>
            <a:grpSpLocks noChangeAspect="1"/>
          </p:cNvGrpSpPr>
          <p:nvPr userDrawn="1"/>
        </p:nvGrpSpPr>
        <p:grpSpPr>
          <a:xfrm>
            <a:off x="652637" y="297259"/>
            <a:ext cx="1150838" cy="432048"/>
            <a:chOff x="13103547" y="829734"/>
            <a:chExt cx="2203232" cy="827288"/>
          </a:xfrm>
        </p:grpSpPr>
        <p:pic>
          <p:nvPicPr>
            <p:cNvPr id="17" name="图片 16"/>
            <p:cNvPicPr>
              <a:picLocks noChangeAspect="1"/>
            </p:cNvPicPr>
            <p:nvPr/>
          </p:nvPicPr>
          <p:blipFill>
            <a:blip r:embed="rId6" cstate="email"/>
            <a:stretch>
              <a:fillRect/>
            </a:stretch>
          </p:blipFill>
          <p:spPr>
            <a:xfrm>
              <a:off x="13586494" y="885667"/>
              <a:ext cx="1720285" cy="720000"/>
            </a:xfrm>
            <a:prstGeom prst="rect">
              <a:avLst/>
            </a:prstGeom>
          </p:spPr>
        </p:pic>
        <p:grpSp>
          <p:nvGrpSpPr>
            <p:cNvPr id="19" name="组合 18"/>
            <p:cNvGrpSpPr/>
            <p:nvPr userDrawn="1"/>
          </p:nvGrpSpPr>
          <p:grpSpPr>
            <a:xfrm>
              <a:off x="13103547" y="829734"/>
              <a:ext cx="171450" cy="827288"/>
              <a:chOff x="12841961" y="829734"/>
              <a:chExt cx="171450" cy="827288"/>
            </a:xfrm>
          </p:grpSpPr>
          <p:cxnSp>
            <p:nvCxnSpPr>
              <p:cNvPr id="28" name="直接连接符 27"/>
              <p:cNvCxnSpPr/>
              <p:nvPr userDrawn="1"/>
            </p:nvCxnSpPr>
            <p:spPr>
              <a:xfrm>
                <a:off x="12841961" y="829734"/>
                <a:ext cx="0" cy="827288"/>
              </a:xfrm>
              <a:prstGeom prst="line">
                <a:avLst/>
              </a:prstGeom>
              <a:ln w="57150">
                <a:solidFill>
                  <a:srgbClr val="EA5404"/>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userDrawn="1"/>
            </p:nvCxnSpPr>
            <p:spPr>
              <a:xfrm>
                <a:off x="13013411" y="829734"/>
                <a:ext cx="0" cy="827288"/>
              </a:xfrm>
              <a:prstGeom prst="line">
                <a:avLst/>
              </a:prstGeom>
              <a:ln w="25400">
                <a:solidFill>
                  <a:srgbClr val="EA5404"/>
                </a:solidFill>
              </a:ln>
            </p:spPr>
            <p:style>
              <a:lnRef idx="1">
                <a:schemeClr val="accent1"/>
              </a:lnRef>
              <a:fillRef idx="0">
                <a:schemeClr val="accent1"/>
              </a:fillRef>
              <a:effectRef idx="0">
                <a:schemeClr val="accent1"/>
              </a:effectRef>
              <a:fontRef idx="minor">
                <a:schemeClr val="tx1"/>
              </a:fontRef>
            </p:style>
          </p:cxnSp>
        </p:grpSp>
      </p:grpSp>
      <p:cxnSp>
        <p:nvCxnSpPr>
          <p:cNvPr id="5" name="直接连接符 4"/>
          <p:cNvCxnSpPr/>
          <p:nvPr userDrawn="1"/>
        </p:nvCxnSpPr>
        <p:spPr>
          <a:xfrm>
            <a:off x="953729" y="3762866"/>
            <a:ext cx="860322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userDrawn="1"/>
        </p:nvCxnSpPr>
        <p:spPr>
          <a:xfrm>
            <a:off x="203200" y="0"/>
            <a:ext cx="0" cy="685800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Footer Placeholder 3"/>
          <p:cNvSpPr>
            <a:spLocks noGrp="1"/>
          </p:cNvSpPr>
          <p:nvPr>
            <p:ph type="ftr" sz="quarter" idx="10"/>
          </p:nvPr>
        </p:nvSpPr>
        <p:spPr>
          <a:xfrm>
            <a:off x="11887382" y="37255"/>
            <a:ext cx="88" cy="125612"/>
          </a:xfrm>
          <a:prstGeom prst="rect">
            <a:avLst/>
          </a:prstGeom>
        </p:spPr>
        <p:txBody>
          <a:bodyPr/>
          <a:lstStyle>
            <a:lvl1pPr>
              <a:defRPr/>
            </a:lvl1pPr>
          </a:lstStyle>
          <a:p>
            <a:pPr defTabSz="932815" fontAlgn="base">
              <a:spcBef>
                <a:spcPct val="0"/>
              </a:spcBef>
              <a:spcAft>
                <a:spcPct val="0"/>
              </a:spcAft>
            </a:pPr>
            <a:endParaRPr lang="en-US" sz="1630">
              <a:solidFill>
                <a:srgbClr val="000000"/>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404" name="think-cell Slide" r:id="rId3" imgW="12700" imgH="12700" progId="TCLayout.ActiveDocument.1">
                  <p:embed/>
                </p:oleObj>
              </mc:Choice>
              <mc:Fallback>
                <p:oleObj name="think-cell Slide" r:id="rId3" imgW="12700" imgH="1270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smtClean="0">
                <a:solidFill>
                  <a:schemeClr val="bg1">
                    <a:lumMod val="50000"/>
                  </a:schemeClr>
                </a:solidFill>
                <a:latin typeface="+mn-lt"/>
                <a:sym typeface="Trebuchet MS" panose="020B0603020202020204" pitchFamily="34" charset="0"/>
              </a:rPr>
              <a:t>【</a:t>
            </a:r>
            <a:r>
              <a:rPr lang="zh-CN" altLang="en-US" sz="700" smtClean="0">
                <a:solidFill>
                  <a:schemeClr val="bg1">
                    <a:lumMod val="50000"/>
                  </a:schemeClr>
                </a:solidFill>
                <a:latin typeface="+mn-lt"/>
                <a:sym typeface="Trebuchet MS" panose="020B0603020202020204" pitchFamily="34" charset="0"/>
              </a:rPr>
              <a:t>材料汇总</a:t>
            </a:r>
            <a:r>
              <a:rPr lang="en-US" altLang="zh-CN" sz="700" smtClean="0">
                <a:solidFill>
                  <a:schemeClr val="bg1">
                    <a:lumMod val="50000"/>
                  </a:schemeClr>
                </a:solidFill>
                <a:latin typeface="+mn-lt"/>
                <a:sym typeface="Trebuchet MS" panose="020B0603020202020204" pitchFamily="34" charset="0"/>
              </a:rPr>
              <a:t>】201809CIO office sample sldies v5.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solidFill>
                  <a:schemeClr val="tx1"/>
                </a:solidFill>
              </a:defRPr>
            </a:lvl1pPr>
          </a:lstStyle>
          <a:p>
            <a:r>
              <a:rPr lang="en-US" dirty="0" smtClean="0"/>
              <a:t>Agenda </a:t>
            </a:r>
            <a:r>
              <a:rPr lang="en-US" altLang="zh-CN" dirty="0" smtClean="0"/>
              <a:t>page</a:t>
            </a:r>
            <a:endParaRPr lang="en-US" dirty="0"/>
          </a:p>
        </p:txBody>
      </p:sp>
      <p:pic>
        <p:nvPicPr>
          <p:cNvPr id="3" name="图片 2"/>
          <p:cNvPicPr>
            <a:picLocks noChangeAspect="1"/>
          </p:cNvPicPr>
          <p:nvPr userDrawn="1"/>
        </p:nvPicPr>
        <p:blipFill rotWithShape="1">
          <a:blip r:embed="rId6" cstate="email"/>
          <a:srcRect r="570"/>
          <a:stretch>
            <a:fillRect/>
          </a:stretch>
        </p:blipFill>
        <p:spPr>
          <a:xfrm>
            <a:off x="0" y="1260057"/>
            <a:ext cx="12192000" cy="48760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prstClr val="black">
                  <a:tint val="75000"/>
                </a:prstClr>
              </a:solidFill>
              <a:effectLst/>
              <a:uLnTx/>
              <a:uFillTx/>
              <a:latin typeface="微软雅黑" panose="020B0503020204020204" charset="-122"/>
              <a:ea typeface="微软雅黑" panose="020B0503020204020204" charset="-122"/>
              <a:cs typeface="+mn-cs"/>
            </a:endParaRPr>
          </a:p>
        </p:txBody>
      </p:sp>
      <p:sp>
        <p:nvSpPr>
          <p:cNvPr id="3" name="页脚占位符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prstClr val="black">
                  <a:tint val="75000"/>
                </a:prstClr>
              </a:solidFill>
              <a:effectLst/>
              <a:uLnTx/>
              <a:uFillTx/>
              <a:latin typeface="微软雅黑" panose="020B0503020204020204" charset="-122"/>
              <a:ea typeface="微软雅黑" panose="020B0503020204020204" charset="-122"/>
              <a:cs typeface="+mn-cs"/>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15787B5-B6FD-4EB4-9C5F-EBED6F273D0C}" type="slidenum">
              <a:rPr kumimoji="0" lang="zh-CN" altLang="en-US" sz="1200" b="0" i="0" u="none" strike="noStrike" kern="1200" cap="none" spc="0" normalizeH="0" baseline="0" noProof="0" smtClean="0">
                <a:ln>
                  <a:noFill/>
                </a:ln>
                <a:solidFill>
                  <a:prstClr val="black">
                    <a:tint val="75000"/>
                  </a:prstClr>
                </a:solidFill>
                <a:effectLst/>
                <a:uLnTx/>
                <a:uFillTx/>
                <a:latin typeface="微软雅黑" panose="020B0503020204020204" charset="-122"/>
                <a:ea typeface="微软雅黑" panose="020B0503020204020204" charset="-122"/>
                <a:cs typeface="+mn-cs"/>
              </a:rPr>
            </a:fld>
            <a:endParaRPr kumimoji="0" lang="zh-CN" altLang="en-US" sz="1200" b="0" i="0" u="none" strike="noStrike" kern="1200" cap="none" spc="0" normalizeH="0" baseline="0" noProof="0">
              <a:ln>
                <a:noFill/>
              </a:ln>
              <a:solidFill>
                <a:prstClr val="black">
                  <a:tint val="75000"/>
                </a:prstClr>
              </a:solidFill>
              <a:effectLst/>
              <a:uLnTx/>
              <a:uFillTx/>
              <a:latin typeface="微软雅黑" panose="020B0503020204020204" charset="-122"/>
              <a:ea typeface="微软雅黑" panose="020B0503020204020204" charset="-122"/>
              <a:cs typeface="+mn-cs"/>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10" name="日期占位符 9"/>
          <p:cNvSpPr>
            <a:spLocks noGrp="1"/>
          </p:cNvSpPr>
          <p:nvPr>
            <p:ph type="dt" sz="half" idx="14"/>
          </p:nvPr>
        </p:nvSpPr>
        <p:spPr/>
        <p:txBody>
          <a:bodyPr/>
          <a:lstStyle/>
          <a:p>
            <a:fld id="{C84468E0-41B4-A344-B72F-C7ECA4A18522}" type="datetimeFigureOut">
              <a:rPr kumimoji="1" lang="zh-CN" altLang="en-US" smtClean="0"/>
            </a:fld>
            <a:endParaRPr kumimoji="1" lang="zh-CN" altLang="en-US"/>
          </a:p>
        </p:txBody>
      </p:sp>
      <p:sp>
        <p:nvSpPr>
          <p:cNvPr id="11" name="页脚占位符 10"/>
          <p:cNvSpPr>
            <a:spLocks noGrp="1"/>
          </p:cNvSpPr>
          <p:nvPr>
            <p:ph type="ftr" sz="quarter" idx="15"/>
          </p:nvPr>
        </p:nvSpPr>
        <p:spPr/>
        <p:txBody>
          <a:bodyPr/>
          <a:lstStyle/>
          <a:p>
            <a:endParaRPr kumimoji="1" lang="zh-CN" altLang="en-US"/>
          </a:p>
        </p:txBody>
      </p:sp>
      <p:sp>
        <p:nvSpPr>
          <p:cNvPr id="12" name="灯片编号占位符 11"/>
          <p:cNvSpPr>
            <a:spLocks noGrp="1"/>
          </p:cNvSpPr>
          <p:nvPr>
            <p:ph type="sldNum" sz="quarter" idx="16"/>
          </p:nvPr>
        </p:nvSpPr>
        <p:spPr/>
        <p:txBody>
          <a:bodyPr/>
          <a:lstStyle/>
          <a:p>
            <a:fld id="{10100FF3-2988-DF40-ADF5-FFD756EF2CFD}" type="slidenum">
              <a:rPr kumimoji="1" lang="zh-CN" altLang="en-US" smtClean="0"/>
            </a:fld>
            <a:endParaRPr kumimoji="1" lang="zh-CN" altLang="en-US" dirty="0"/>
          </a:p>
        </p:txBody>
      </p:sp>
      <p:pic>
        <p:nvPicPr>
          <p:cNvPr id="13" name="图片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15" name="标题 2"/>
          <p:cNvSpPr txBox="1"/>
          <p:nvPr userDrawn="1"/>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endParaRPr lang="zh-CN" altLang="en-US" sz="2400" dirty="0">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内容页_1">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383" name="think-cell Slide" r:id="rId3" imgW="12700" imgH="12700" progId="TCLayout.ActiveDocument.1">
                  <p:embed/>
                </p:oleObj>
              </mc:Choice>
              <mc:Fallback>
                <p:oleObj name="think-cell Slide" r:id="rId3" imgW="12700" imgH="12700" progId="TCLayout.ActiveDocument.1">
                  <p:embed/>
                  <p:pic>
                    <p:nvPicPr>
                      <p:cNvPr id="0" name="图片 89382"/>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smtClean="0">
                <a:solidFill>
                  <a:schemeClr val="bg1">
                    <a:lumMod val="50000"/>
                  </a:schemeClr>
                </a:solidFill>
                <a:latin typeface="+mn-lt"/>
                <a:sym typeface="Trebuchet MS" panose="020B0603020202020204" pitchFamily="34" charset="0"/>
              </a:rPr>
              <a:t>【</a:t>
            </a:r>
            <a:r>
              <a:rPr lang="zh-CN" altLang="en-US" sz="700" smtClean="0">
                <a:solidFill>
                  <a:schemeClr val="bg1">
                    <a:lumMod val="50000"/>
                  </a:schemeClr>
                </a:solidFill>
                <a:latin typeface="+mn-lt"/>
                <a:sym typeface="Trebuchet MS" panose="020B0603020202020204" pitchFamily="34" charset="0"/>
              </a:rPr>
              <a:t>材料汇总</a:t>
            </a:r>
            <a:r>
              <a:rPr lang="en-US" altLang="zh-CN" sz="700" smtClean="0">
                <a:solidFill>
                  <a:schemeClr val="bg1">
                    <a:lumMod val="50000"/>
                  </a:schemeClr>
                </a:solidFill>
                <a:latin typeface="+mn-lt"/>
                <a:sym typeface="Trebuchet MS" panose="020B0603020202020204" pitchFamily="34" charset="0"/>
              </a:rPr>
              <a:t>】201809CIO office sample sldies v5.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smtClean="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lang="en-US" altLang="zh-CN" dirty="0" smtClean="0"/>
              <a:t>Note:</a:t>
            </a:r>
            <a:br>
              <a:rPr lang="en-US" altLang="zh-CN" dirty="0" smtClean="0"/>
            </a:br>
            <a:r>
              <a:rPr lang="en-US" altLang="zh-CN" dirty="0" smtClean="0"/>
              <a:t>Source:</a:t>
            </a:r>
            <a:endParaRPr lang="zh-CN" altLang="en-US" dirty="0" smtClean="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hasCustomPrompt="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以编辑母版副标题样式</a:t>
            </a:r>
            <a:endParaRPr lang="zh-CN" altLang="en-US"/>
          </a:p>
        </p:txBody>
      </p:sp>
      <p:sp>
        <p:nvSpPr>
          <p:cNvPr id="4" name="日期占位符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DAC7F232-DB4C-49FD-9E8F-C36E9E7EB3E8}" type="datetimeFigureOut">
              <a:rPr kumimoji="0" lang="zh-CN" altLang="en-US" sz="18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fld>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 name="页脚占位符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 name="灯片编号占位符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03E0381A-EB9E-4ACA-8F23-4E725ACF2E60}" type="slidenum">
              <a:rPr kumimoji="0" lang="zh-CN" altLang="en-US" sz="18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fld>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336" name="think-cell Slide" r:id="rId3" imgW="12700" imgH="12700" progId="TCLayout.ActiveDocument.1">
                  <p:embed/>
                </p:oleObj>
              </mc:Choice>
              <mc:Fallback>
                <p:oleObj name="think-cell Slide" r:id="rId3" imgW="12700" imgH="12700" progId="TCLayout.ActiveDocument.1">
                  <p:embed/>
                  <p:pic>
                    <p:nvPicPr>
                      <p:cNvPr id="0" name="图片 87335"/>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2"/>
          <p:cNvPicPr>
            <a:picLocks noChangeAspect="1" noChangeArrowheads="1"/>
          </p:cNvPicPr>
          <p:nvPr userDrawn="1"/>
        </p:nvPicPr>
        <p:blipFill>
          <a:blip r:embed="rId5" cstate="email"/>
          <a:srcRect/>
          <a:stretch>
            <a:fillRect/>
          </a:stretch>
        </p:blipFill>
        <p:spPr bwMode="auto">
          <a:xfrm>
            <a:off x="-2377" y="2383"/>
            <a:ext cx="12194377" cy="6852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userDrawn="1"/>
        </p:nvSpPr>
        <p:spPr>
          <a:xfrm>
            <a:off x="-3174" y="2287437"/>
            <a:ext cx="12195173" cy="2282287"/>
          </a:xfrm>
          <a:prstGeom prst="rect">
            <a:avLst/>
          </a:prstGeom>
          <a:solidFill>
            <a:schemeClr val="accent1">
              <a:lumMod val="75000"/>
              <a:alpha val="85098"/>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200" dirty="0" err="1" smtClean="0">
              <a:solidFill>
                <a:srgbClr val="FFFFFF"/>
              </a:solidFill>
            </a:endParaRPr>
          </a:p>
        </p:txBody>
      </p:sp>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rgbClr val="FFFFFF"/>
                </a:solidFill>
              </a:defRPr>
            </a:lvl1pPr>
          </a:lstStyle>
          <a:p>
            <a:pPr lvl="0"/>
            <a:r>
              <a:rPr lang="en-US" altLang="zh-CN" dirty="0" smtClean="0"/>
              <a:t>Click to add content</a:t>
            </a:r>
            <a:endParaRPr lang="zh-CN" altLang="en-US" dirty="0" smtClean="0"/>
          </a:p>
        </p:txBody>
      </p:sp>
      <p:cxnSp>
        <p:nvCxnSpPr>
          <p:cNvPr id="6" name="直接连接符 5"/>
          <p:cNvCxnSpPr/>
          <p:nvPr userDrawn="1"/>
        </p:nvCxnSpPr>
        <p:spPr>
          <a:xfrm flipH="1">
            <a:off x="-3174" y="4643437"/>
            <a:ext cx="12195173" cy="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email"/>
          <a:stretch>
            <a:fillRect/>
          </a:stretch>
        </p:blipFill>
        <p:spPr>
          <a:xfrm>
            <a:off x="221512" y="6392647"/>
            <a:ext cx="702345" cy="293903"/>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仅标题">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5229" name="think-cell Slide" r:id="rId3" imgW="12700" imgH="12700" progId="TCLayout.ActiveDocument.1">
                  <p:embed/>
                </p:oleObj>
              </mc:Choice>
              <mc:Fallback>
                <p:oleObj name="think-cell Slide" r:id="rId3" imgW="12700" imgH="12700" progId="TCLayout.ActiveDocument.1">
                  <p:embed/>
                  <p:pic>
                    <p:nvPicPr>
                      <p:cNvPr id="0" name="对象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sz="2800" b="1"/>
            </a:lvl1pPr>
          </a:lstStyle>
          <a:p>
            <a:r>
              <a:rPr lang="en-US" altLang="zh-CN" dirty="0" smtClean="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a:prstGeom prst="rect">
            <a:avLst/>
          </a:prstGeo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lang="en-US" altLang="zh-CN" dirty="0" smtClean="0"/>
              <a:t>Note:</a:t>
            </a:r>
            <a:br>
              <a:rPr lang="en-US" altLang="zh-CN" dirty="0" smtClean="0"/>
            </a:br>
            <a:r>
              <a:rPr lang="en-US" altLang="zh-CN" dirty="0" smtClean="0"/>
              <a:t>Source:</a:t>
            </a:r>
            <a:endParaRPr lang="zh-CN" altLang="en-US" dirty="0" smtClean="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5976" name="think-cell Slide" r:id="rId3" imgW="12700" imgH="12700" progId="TCLayout.ActiveDocument.1">
                  <p:embed/>
                </p:oleObj>
              </mc:Choice>
              <mc:Fallback>
                <p:oleObj name="think-cell Slide" r:id="rId3" imgW="12700" imgH="1270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zh-CN" altLang="en-US" sz="700" smtClean="0">
                <a:solidFill>
                  <a:schemeClr val="bg1">
                    <a:lumMod val="50000"/>
                  </a:schemeClr>
                </a:solidFill>
                <a:latin typeface="+mn-lt"/>
                <a:sym typeface="Trebuchet MS" panose="020B0603020202020204" pitchFamily="34" charset="0"/>
              </a:rPr>
              <a:t>智慧城重大项目推进双周报</a:t>
            </a:r>
            <a:r>
              <a:rPr lang="en-US" altLang="zh-CN" sz="700" smtClean="0">
                <a:solidFill>
                  <a:schemeClr val="bg1">
                    <a:lumMod val="50000"/>
                  </a:schemeClr>
                </a:solidFill>
                <a:latin typeface="+mn-lt"/>
                <a:sym typeface="Trebuchet MS" panose="020B0603020202020204" pitchFamily="34" charset="0"/>
              </a:rPr>
              <a:t>_</a:t>
            </a:r>
            <a:r>
              <a:rPr lang="zh-CN" altLang="en-US" sz="700" smtClean="0">
                <a:solidFill>
                  <a:schemeClr val="bg1">
                    <a:lumMod val="50000"/>
                  </a:schemeClr>
                </a:solidFill>
                <a:latin typeface="+mn-lt"/>
                <a:sym typeface="Trebuchet MS" panose="020B0603020202020204" pitchFamily="34" charset="0"/>
              </a:rPr>
              <a:t>样稿</a:t>
            </a:r>
            <a:r>
              <a:rPr lang="en-US" altLang="zh-CN" sz="700" smtClean="0">
                <a:solidFill>
                  <a:schemeClr val="bg1">
                    <a:lumMod val="50000"/>
                  </a:schemeClr>
                </a:solidFill>
                <a:latin typeface="+mn-lt"/>
                <a:sym typeface="Trebuchet MS" panose="020B0603020202020204" pitchFamily="34" charset="0"/>
              </a:rPr>
              <a:t>_v1.4_02</a:t>
            </a:r>
            <a:r>
              <a:rPr lang="zh-CN" altLang="en-US" sz="700" smtClean="0">
                <a:solidFill>
                  <a:schemeClr val="bg1">
                    <a:lumMod val="50000"/>
                  </a:schemeClr>
                </a:solidFill>
                <a:latin typeface="+mn-lt"/>
                <a:sym typeface="Trebuchet MS" panose="020B0603020202020204" pitchFamily="34" charset="0"/>
              </a:rPr>
              <a:t>六月</a:t>
            </a:r>
            <a:r>
              <a:rPr lang="en-US" altLang="zh-CN" sz="700" smtClean="0">
                <a:solidFill>
                  <a:schemeClr val="bg1">
                    <a:lumMod val="50000"/>
                  </a:schemeClr>
                </a:solidFill>
                <a:latin typeface="+mn-lt"/>
                <a:sym typeface="Trebuchet MS" panose="020B0603020202020204" pitchFamily="34" charset="0"/>
              </a:rPr>
              <a:t>18_L_v01.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smtClean="0"/>
              <a:t>Click to add title</a:t>
            </a:r>
            <a:endParaRPr lang="en-US" dirty="0"/>
          </a:p>
        </p:txBody>
      </p:sp>
      <p:sp>
        <p:nvSpPr>
          <p:cNvPr id="8" name="文本占位符 6"/>
          <p:cNvSpPr>
            <a:spLocks noGrp="1"/>
          </p:cNvSpPr>
          <p:nvPr>
            <p:ph type="body" sz="quarter" idx="11" hasCustomPrompt="1"/>
          </p:nvPr>
        </p:nvSpPr>
        <p:spPr>
          <a:xfrm>
            <a:off x="360000" y="6435725"/>
            <a:ext cx="10934700" cy="422275"/>
          </a:xfrm>
        </p:spPr>
        <p:txBody>
          <a:bodyPr tIns="0" bIns="0" anchor="ct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lang="en-US" altLang="zh-CN" dirty="0" smtClean="0"/>
              <a:t>Note:</a:t>
            </a:r>
            <a:br>
              <a:rPr lang="en-US" altLang="zh-CN" dirty="0" smtClean="0"/>
            </a:br>
            <a:r>
              <a:rPr lang="en-US" altLang="zh-CN" dirty="0" smtClean="0"/>
              <a:t>Source:</a:t>
            </a:r>
            <a:endParaRPr lang="zh-CN" altLang="en-US" dirty="0" smtClean="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5" Type="http://schemas.openxmlformats.org/officeDocument/2006/relationships/theme" Target="../theme/theme1.xml"/><Relationship Id="rId34" Type="http://schemas.openxmlformats.org/officeDocument/2006/relationships/vmlDrawing" Target="../drawings/vmlDrawing7.vml"/><Relationship Id="rId33" Type="http://schemas.openxmlformats.org/officeDocument/2006/relationships/image" Target="../media/image7.emf"/><Relationship Id="rId32" Type="http://schemas.openxmlformats.org/officeDocument/2006/relationships/oleObject" Target="../embeddings/oleObject7.bin"/><Relationship Id="rId31" Type="http://schemas.openxmlformats.org/officeDocument/2006/relationships/tags" Target="../tags/tag10.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7" name="think-cell Slide" r:id="rId32" imgW="12700" imgH="12700" progId="TCLayout.ActiveDocument.1">
                  <p:embed/>
                </p:oleObj>
              </mc:Choice>
              <mc:Fallback>
                <p:oleObj name="think-cell Slide" r:id="rId32" imgW="12700" imgH="12700" progId="TCLayout.ActiveDocument.1">
                  <p:embed/>
                  <p:pic>
                    <p:nvPicPr>
                      <p:cNvPr id="0" name="图片 2746"/>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579382" y="6437745"/>
            <a:ext cx="612617" cy="420255"/>
          </a:xfrm>
          <a:prstGeom prst="rect">
            <a:avLst/>
          </a:prstGeom>
          <a:noFill/>
        </p:spPr>
        <p:txBody>
          <a:bodyPr wrap="square" lIns="0" tIns="0" rIns="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360000" y="140399"/>
            <a:ext cx="10934700" cy="720000"/>
          </a:xfrm>
          <a:prstGeom prst="rect">
            <a:avLst/>
          </a:prstGeom>
        </p:spPr>
        <p:txBody>
          <a:bodyPr vert="horz" wrap="square" lIns="0" tIns="0" rIns="0" bIns="0" rtlCol="0" anchor="ctr">
            <a:noAutofit/>
          </a:bodyPr>
          <a:lstStyle/>
          <a:p>
            <a:r>
              <a:rPr lang="en-US" dirty="0" smtClean="0"/>
              <a:t>Click to add title</a:t>
            </a:r>
            <a:endParaRPr lang="en-US" dirty="0"/>
          </a:p>
        </p:txBody>
      </p:sp>
      <p:sp>
        <p:nvSpPr>
          <p:cNvPr id="4" name="Text Placeholder 3"/>
          <p:cNvSpPr>
            <a:spLocks noGrp="1"/>
          </p:cNvSpPr>
          <p:nvPr>
            <p:ph type="body" idx="1"/>
          </p:nvPr>
        </p:nvSpPr>
        <p:spPr>
          <a:xfrm>
            <a:off x="360000" y="977153"/>
            <a:ext cx="10934700" cy="5031859"/>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a:t>
            </a:r>
            <a:r>
              <a:rPr lang="en-US" dirty="0" smtClean="0"/>
              <a:t>level</a:t>
            </a:r>
            <a:endParaRPr lang="en-US" dirty="0" smtClean="0"/>
          </a:p>
        </p:txBody>
      </p:sp>
      <p:cxnSp>
        <p:nvCxnSpPr>
          <p:cNvPr id="6" name="直接连接符 5"/>
          <p:cNvCxnSpPr/>
          <p:nvPr userDrawn="1"/>
        </p:nvCxnSpPr>
        <p:spPr>
          <a:xfrm>
            <a:off x="0" y="6390900"/>
            <a:ext cx="12192000" cy="0"/>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3.png"/><Relationship Id="rId1" Type="http://schemas.openxmlformats.org/officeDocument/2006/relationships/image" Target="../media/image2.png"/></Relationships>
</file>

<file path=ppt/slides/_rels/slide10.xml.rels><?xml version="1.0" encoding="UTF-8" standalone="yes"?>
<Relationships xmlns="http://schemas.openxmlformats.org/package/2006/relationships"><Relationship Id="rId7" Type="http://schemas.openxmlformats.org/officeDocument/2006/relationships/notesSlide" Target="../notesSlides/notesSlide5.xml"/><Relationship Id="rId6" Type="http://schemas.openxmlformats.org/officeDocument/2006/relationships/vmlDrawing" Target="../drawings/vmlDrawing13.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13.bin"/><Relationship Id="rId1" Type="http://schemas.openxmlformats.org/officeDocument/2006/relationships/tags" Target="../tags/tag19.xml"/></Relationships>
</file>

<file path=ppt/slides/_rels/slide100.xml.rels><?xml version="1.0" encoding="UTF-8" standalone="yes"?>
<Relationships xmlns="http://schemas.openxmlformats.org/package/2006/relationships"><Relationship Id="rId6" Type="http://schemas.openxmlformats.org/officeDocument/2006/relationships/vmlDrawing" Target="../drawings/vmlDrawing63.vml"/><Relationship Id="rId5" Type="http://schemas.openxmlformats.org/officeDocument/2006/relationships/slideLayout" Target="../slideLayouts/slideLayout24.xml"/><Relationship Id="rId4" Type="http://schemas.openxmlformats.org/officeDocument/2006/relationships/image" Target="../media/image6.png"/><Relationship Id="rId3" Type="http://schemas.openxmlformats.org/officeDocument/2006/relationships/image" Target="../media/image37.emf"/><Relationship Id="rId2" Type="http://schemas.openxmlformats.org/officeDocument/2006/relationships/oleObject" Target="../embeddings/oleObject63.bin"/><Relationship Id="rId1" Type="http://schemas.openxmlformats.org/officeDocument/2006/relationships/tags" Target="../tags/tag199.xml"/></Relationships>
</file>

<file path=ppt/slides/_rels/slide101.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image" Target="../media/image6.png"/></Relationships>
</file>

<file path=ppt/slides/_rels/slide102.xml.rels><?xml version="1.0" encoding="UTF-8" standalone="yes"?>
<Relationships xmlns="http://schemas.openxmlformats.org/package/2006/relationships"><Relationship Id="rId9" Type="http://schemas.openxmlformats.org/officeDocument/2006/relationships/tags" Target="../tags/tag206.xml"/><Relationship Id="rId8" Type="http://schemas.openxmlformats.org/officeDocument/2006/relationships/tags" Target="../tags/tag205.xml"/><Relationship Id="rId7" Type="http://schemas.openxmlformats.org/officeDocument/2006/relationships/tags" Target="../tags/tag204.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image" Target="../media/image65.emf"/><Relationship Id="rId3" Type="http://schemas.openxmlformats.org/officeDocument/2006/relationships/oleObject" Target="../embeddings/oleObject64.bin"/><Relationship Id="rId22" Type="http://schemas.openxmlformats.org/officeDocument/2006/relationships/vmlDrawing" Target="../drawings/vmlDrawing64.vml"/><Relationship Id="rId21" Type="http://schemas.openxmlformats.org/officeDocument/2006/relationships/slideLayout" Target="../slideLayouts/slideLayout13.xml"/><Relationship Id="rId20" Type="http://schemas.openxmlformats.org/officeDocument/2006/relationships/image" Target="../media/image6.png"/><Relationship Id="rId2" Type="http://schemas.openxmlformats.org/officeDocument/2006/relationships/tags" Target="../tags/tag201.xml"/><Relationship Id="rId19" Type="http://schemas.openxmlformats.org/officeDocument/2006/relationships/tags" Target="../tags/tag216.xml"/><Relationship Id="rId18" Type="http://schemas.openxmlformats.org/officeDocument/2006/relationships/tags" Target="../tags/tag215.xml"/><Relationship Id="rId17" Type="http://schemas.openxmlformats.org/officeDocument/2006/relationships/tags" Target="../tags/tag214.xml"/><Relationship Id="rId16" Type="http://schemas.openxmlformats.org/officeDocument/2006/relationships/tags" Target="../tags/tag213.xml"/><Relationship Id="rId15" Type="http://schemas.openxmlformats.org/officeDocument/2006/relationships/tags" Target="../tags/tag212.xml"/><Relationship Id="rId14" Type="http://schemas.openxmlformats.org/officeDocument/2006/relationships/tags" Target="../tags/tag211.xml"/><Relationship Id="rId13" Type="http://schemas.openxmlformats.org/officeDocument/2006/relationships/tags" Target="../tags/tag210.xml"/><Relationship Id="rId12" Type="http://schemas.openxmlformats.org/officeDocument/2006/relationships/tags" Target="../tags/tag209.xml"/><Relationship Id="rId11" Type="http://schemas.openxmlformats.org/officeDocument/2006/relationships/tags" Target="../tags/tag208.xml"/><Relationship Id="rId10" Type="http://schemas.openxmlformats.org/officeDocument/2006/relationships/tags" Target="../tags/tag207.xml"/><Relationship Id="rId1" Type="http://schemas.openxmlformats.org/officeDocument/2006/relationships/tags" Target="../tags/tag200.xml"/></Relationships>
</file>

<file path=ppt/slides/_rels/slide103.xml.rels><?xml version="1.0" encoding="UTF-8" standalone="yes"?>
<Relationships xmlns="http://schemas.openxmlformats.org/package/2006/relationships"><Relationship Id="rId9" Type="http://schemas.openxmlformats.org/officeDocument/2006/relationships/tags" Target="../tags/tag225.xml"/><Relationship Id="rId8" Type="http://schemas.openxmlformats.org/officeDocument/2006/relationships/tags" Target="../tags/tag224.xml"/><Relationship Id="rId7" Type="http://schemas.openxmlformats.org/officeDocument/2006/relationships/tags" Target="../tags/tag223.xml"/><Relationship Id="rId6" Type="http://schemas.openxmlformats.org/officeDocument/2006/relationships/tags" Target="../tags/tag222.xml"/><Relationship Id="rId5" Type="http://schemas.openxmlformats.org/officeDocument/2006/relationships/tags" Target="../tags/tag221.xml"/><Relationship Id="rId4" Type="http://schemas.openxmlformats.org/officeDocument/2006/relationships/tags" Target="../tags/tag220.xml"/><Relationship Id="rId3" Type="http://schemas.openxmlformats.org/officeDocument/2006/relationships/tags" Target="../tags/tag219.xml"/><Relationship Id="rId2" Type="http://schemas.openxmlformats.org/officeDocument/2006/relationships/tags" Target="../tags/tag218.xml"/><Relationship Id="rId15" Type="http://schemas.openxmlformats.org/officeDocument/2006/relationships/slideLayout" Target="../slideLayouts/slideLayout14.xml"/><Relationship Id="rId14" Type="http://schemas.openxmlformats.org/officeDocument/2006/relationships/image" Target="../media/image6.png"/><Relationship Id="rId13" Type="http://schemas.openxmlformats.org/officeDocument/2006/relationships/tags" Target="../tags/tag228.xml"/><Relationship Id="rId12" Type="http://schemas.openxmlformats.org/officeDocument/2006/relationships/tags" Target="../tags/tag227.xml"/><Relationship Id="rId11" Type="http://schemas.openxmlformats.org/officeDocument/2006/relationships/slide" Target="slide16.xml"/><Relationship Id="rId10" Type="http://schemas.openxmlformats.org/officeDocument/2006/relationships/tags" Target="../tags/tag226.xml"/><Relationship Id="rId1" Type="http://schemas.openxmlformats.org/officeDocument/2006/relationships/tags" Target="../tags/tag217.xml"/></Relationships>
</file>

<file path=ppt/slides/_rels/slide104.xml.rels><?xml version="1.0" encoding="UTF-8" standalone="yes"?>
<Relationships xmlns="http://schemas.openxmlformats.org/package/2006/relationships"><Relationship Id="rId9" Type="http://schemas.openxmlformats.org/officeDocument/2006/relationships/tags" Target="../tags/tag237.xml"/><Relationship Id="rId8" Type="http://schemas.openxmlformats.org/officeDocument/2006/relationships/tags" Target="../tags/tag236.xml"/><Relationship Id="rId7" Type="http://schemas.openxmlformats.org/officeDocument/2006/relationships/tags" Target="../tags/tag235.xml"/><Relationship Id="rId6" Type="http://schemas.openxmlformats.org/officeDocument/2006/relationships/tags" Target="../tags/tag234.xml"/><Relationship Id="rId5" Type="http://schemas.openxmlformats.org/officeDocument/2006/relationships/tags" Target="../tags/tag233.xml"/><Relationship Id="rId4" Type="http://schemas.openxmlformats.org/officeDocument/2006/relationships/tags" Target="../tags/tag232.xml"/><Relationship Id="rId3" Type="http://schemas.openxmlformats.org/officeDocument/2006/relationships/tags" Target="../tags/tag231.xml"/><Relationship Id="rId26" Type="http://schemas.openxmlformats.org/officeDocument/2006/relationships/slideLayout" Target="../slideLayouts/slideLayout15.xml"/><Relationship Id="rId25" Type="http://schemas.openxmlformats.org/officeDocument/2006/relationships/image" Target="../media/image6.png"/><Relationship Id="rId24" Type="http://schemas.openxmlformats.org/officeDocument/2006/relationships/tags" Target="../tags/tag252.xml"/><Relationship Id="rId23" Type="http://schemas.openxmlformats.org/officeDocument/2006/relationships/tags" Target="../tags/tag251.xml"/><Relationship Id="rId22" Type="http://schemas.openxmlformats.org/officeDocument/2006/relationships/tags" Target="../tags/tag250.xml"/><Relationship Id="rId21" Type="http://schemas.openxmlformats.org/officeDocument/2006/relationships/tags" Target="../tags/tag249.xml"/><Relationship Id="rId20" Type="http://schemas.openxmlformats.org/officeDocument/2006/relationships/tags" Target="../tags/tag248.xml"/><Relationship Id="rId2" Type="http://schemas.openxmlformats.org/officeDocument/2006/relationships/tags" Target="../tags/tag230.xml"/><Relationship Id="rId19" Type="http://schemas.openxmlformats.org/officeDocument/2006/relationships/tags" Target="../tags/tag247.xml"/><Relationship Id="rId18" Type="http://schemas.openxmlformats.org/officeDocument/2006/relationships/tags" Target="../tags/tag246.xml"/><Relationship Id="rId17" Type="http://schemas.openxmlformats.org/officeDocument/2006/relationships/tags" Target="../tags/tag245.xml"/><Relationship Id="rId16" Type="http://schemas.openxmlformats.org/officeDocument/2006/relationships/tags" Target="../tags/tag244.xml"/><Relationship Id="rId15" Type="http://schemas.openxmlformats.org/officeDocument/2006/relationships/tags" Target="../tags/tag243.xml"/><Relationship Id="rId14" Type="http://schemas.openxmlformats.org/officeDocument/2006/relationships/tags" Target="../tags/tag242.xml"/><Relationship Id="rId13" Type="http://schemas.openxmlformats.org/officeDocument/2006/relationships/tags" Target="../tags/tag241.xml"/><Relationship Id="rId12" Type="http://schemas.openxmlformats.org/officeDocument/2006/relationships/tags" Target="../tags/tag240.xml"/><Relationship Id="rId11" Type="http://schemas.openxmlformats.org/officeDocument/2006/relationships/tags" Target="../tags/tag239.xml"/><Relationship Id="rId10" Type="http://schemas.openxmlformats.org/officeDocument/2006/relationships/tags" Target="../tags/tag238.xml"/><Relationship Id="rId1" Type="http://schemas.openxmlformats.org/officeDocument/2006/relationships/tags" Target="../tags/tag229.xml"/></Relationships>
</file>

<file path=ppt/slides/_rels/slide105.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image" Target="../media/image6.png"/></Relationships>
</file>

<file path=ppt/slides/_rels/slide10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6.png"/></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6.png"/><Relationship Id="rId1" Type="http://schemas.openxmlformats.org/officeDocument/2006/relationships/chart" Target="../charts/chart30.xml"/></Relationships>
</file>

<file path=ppt/slides/_rels/slide108.xml.rels><?xml version="1.0" encoding="UTF-8" standalone="yes"?>
<Relationships xmlns="http://schemas.openxmlformats.org/package/2006/relationships"><Relationship Id="rId6" Type="http://schemas.openxmlformats.org/officeDocument/2006/relationships/slideLayout" Target="../slideLayouts/slideLayout18.xml"/><Relationship Id="rId5" Type="http://schemas.openxmlformats.org/officeDocument/2006/relationships/image" Target="../media/image6.png"/><Relationship Id="rId4" Type="http://schemas.openxmlformats.org/officeDocument/2006/relationships/chart" Target="../charts/chart34.xml"/><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chart" Target="../charts/chart31.xml"/></Relationships>
</file>

<file path=ppt/slides/_rels/slide109.xml.rels><?xml version="1.0" encoding="UTF-8" standalone="yes"?>
<Relationships xmlns="http://schemas.openxmlformats.org/package/2006/relationships"><Relationship Id="rId4" Type="http://schemas.openxmlformats.org/officeDocument/2006/relationships/slideLayout" Target="../slideLayouts/slideLayout18.xml"/><Relationship Id="rId3" Type="http://schemas.openxmlformats.org/officeDocument/2006/relationships/image" Target="../media/image6.png"/><Relationship Id="rId2" Type="http://schemas.openxmlformats.org/officeDocument/2006/relationships/chart" Target="../charts/chart36.xml"/><Relationship Id="rId1" Type="http://schemas.openxmlformats.org/officeDocument/2006/relationships/chart" Target="../charts/chart35.xml"/></Relationships>
</file>

<file path=ppt/slides/_rels/slide11.xml.rels><?xml version="1.0" encoding="UTF-8" standalone="yes"?>
<Relationships xmlns="http://schemas.openxmlformats.org/package/2006/relationships"><Relationship Id="rId7" Type="http://schemas.openxmlformats.org/officeDocument/2006/relationships/notesSlide" Target="../notesSlides/notesSlide6.xml"/><Relationship Id="rId6" Type="http://schemas.openxmlformats.org/officeDocument/2006/relationships/vmlDrawing" Target="../drawings/vmlDrawing14.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14.bin"/><Relationship Id="rId1" Type="http://schemas.openxmlformats.org/officeDocument/2006/relationships/tags" Target="../tags/tag20.xml"/></Relationships>
</file>

<file path=ppt/slides/_rels/slide110.xml.rels><?xml version="1.0" encoding="UTF-8" standalone="yes"?>
<Relationships xmlns="http://schemas.openxmlformats.org/package/2006/relationships"><Relationship Id="rId4" Type="http://schemas.openxmlformats.org/officeDocument/2006/relationships/slideLayout" Target="../slideLayouts/slideLayout18.xml"/><Relationship Id="rId3" Type="http://schemas.openxmlformats.org/officeDocument/2006/relationships/image" Target="../media/image6.png"/><Relationship Id="rId2" Type="http://schemas.openxmlformats.org/officeDocument/2006/relationships/image" Target="../media/image66.jpeg"/><Relationship Id="rId1" Type="http://schemas.openxmlformats.org/officeDocument/2006/relationships/chart" Target="../charts/chart37.xml"/></Relationships>
</file>

<file path=ppt/slides/_rels/slide111.xml.rels><?xml version="1.0" encoding="UTF-8" standalone="yes"?>
<Relationships xmlns="http://schemas.openxmlformats.org/package/2006/relationships"><Relationship Id="rId5" Type="http://schemas.openxmlformats.org/officeDocument/2006/relationships/notesSlide" Target="../notesSlides/notesSlide46.xml"/><Relationship Id="rId4" Type="http://schemas.openxmlformats.org/officeDocument/2006/relationships/slideLayout" Target="../slideLayouts/slideLayout22.xml"/><Relationship Id="rId3" Type="http://schemas.openxmlformats.org/officeDocument/2006/relationships/image" Target="../media/image6.png"/><Relationship Id="rId2" Type="http://schemas.openxmlformats.org/officeDocument/2006/relationships/chart" Target="../charts/chart39.xml"/><Relationship Id="rId1" Type="http://schemas.openxmlformats.org/officeDocument/2006/relationships/chart" Target="../charts/chart38.xml"/></Relationships>
</file>

<file path=ppt/slides/_rels/slide112.xml.rels><?xml version="1.0" encoding="UTF-8" standalone="yes"?>
<Relationships xmlns="http://schemas.openxmlformats.org/package/2006/relationships"><Relationship Id="rId4" Type="http://schemas.openxmlformats.org/officeDocument/2006/relationships/slideLayout" Target="../slideLayouts/slideLayout22.xml"/><Relationship Id="rId3" Type="http://schemas.openxmlformats.org/officeDocument/2006/relationships/image" Target="../media/image6.png"/><Relationship Id="rId2" Type="http://schemas.openxmlformats.org/officeDocument/2006/relationships/chart" Target="../charts/chart41.xml"/><Relationship Id="rId1" Type="http://schemas.openxmlformats.org/officeDocument/2006/relationships/chart" Target="../charts/chart40.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4.xml.rels><?xml version="1.0" encoding="UTF-8" standalone="yes"?>
<Relationships xmlns="http://schemas.openxmlformats.org/package/2006/relationships"><Relationship Id="rId6" Type="http://schemas.openxmlformats.org/officeDocument/2006/relationships/vmlDrawing" Target="../drawings/vmlDrawing65.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1.emf"/><Relationship Id="rId2" Type="http://schemas.openxmlformats.org/officeDocument/2006/relationships/oleObject" Target="../embeddings/oleObject65.bin"/><Relationship Id="rId1" Type="http://schemas.openxmlformats.org/officeDocument/2006/relationships/tags" Target="../tags/tag253.xml"/></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5.xml"/><Relationship Id="rId1" Type="http://schemas.openxmlformats.org/officeDocument/2006/relationships/image" Target="../media/image6.png"/></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image" Target="../media/image6.png"/></Relationships>
</file>

<file path=ppt/slides/_rels/slide117.xml.rels><?xml version="1.0" encoding="UTF-8" standalone="yes"?>
<Relationships xmlns="http://schemas.openxmlformats.org/package/2006/relationships"><Relationship Id="rId7" Type="http://schemas.openxmlformats.org/officeDocument/2006/relationships/notesSlide" Target="../notesSlides/notesSlide48.xml"/><Relationship Id="rId6" Type="http://schemas.openxmlformats.org/officeDocument/2006/relationships/slideLayout" Target="../slideLayouts/slideLayout18.xml"/><Relationship Id="rId5" Type="http://schemas.openxmlformats.org/officeDocument/2006/relationships/image" Target="../media/image6.png"/><Relationship Id="rId4" Type="http://schemas.openxmlformats.org/officeDocument/2006/relationships/tags" Target="../tags/tag257.xml"/><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s>
</file>

<file path=ppt/slides/_rels/slide118.xml.rels><?xml version="1.0" encoding="UTF-8" standalone="yes"?>
<Relationships xmlns="http://schemas.openxmlformats.org/package/2006/relationships"><Relationship Id="rId6" Type="http://schemas.openxmlformats.org/officeDocument/2006/relationships/slideLayout" Target="../slideLayouts/slideLayout23.xml"/><Relationship Id="rId5" Type="http://schemas.openxmlformats.org/officeDocument/2006/relationships/image" Target="../media/image71.png"/><Relationship Id="rId4" Type="http://schemas.openxmlformats.org/officeDocument/2006/relationships/image" Target="../media/image70.png"/><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image" Target="../media/image67.png"/></Relationships>
</file>

<file path=ppt/slides/_rels/slide119.xml.rels><?xml version="1.0" encoding="UTF-8" standalone="yes"?>
<Relationships xmlns="http://schemas.openxmlformats.org/package/2006/relationships"><Relationship Id="rId7" Type="http://schemas.openxmlformats.org/officeDocument/2006/relationships/notesSlide" Target="../notesSlides/notesSlide49.xml"/><Relationship Id="rId6" Type="http://schemas.openxmlformats.org/officeDocument/2006/relationships/slideLayout" Target="../slideLayouts/slideLayout19.xml"/><Relationship Id="rId5" Type="http://schemas.openxmlformats.org/officeDocument/2006/relationships/image" Target="../media/image6.png"/><Relationship Id="rId4" Type="http://schemas.openxmlformats.org/officeDocument/2006/relationships/tags" Target="../tags/tag261.xml"/><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tags" Target="../tags/tag258.xml"/></Relationships>
</file>

<file path=ppt/slides/_rels/slide12.xml.rels><?xml version="1.0" encoding="UTF-8" standalone="yes"?>
<Relationships xmlns="http://schemas.openxmlformats.org/package/2006/relationships"><Relationship Id="rId7" Type="http://schemas.openxmlformats.org/officeDocument/2006/relationships/notesSlide" Target="../notesSlides/notesSlide7.xml"/><Relationship Id="rId6" Type="http://schemas.openxmlformats.org/officeDocument/2006/relationships/vmlDrawing" Target="../drawings/vmlDrawing15.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15.bin"/><Relationship Id="rId1" Type="http://schemas.openxmlformats.org/officeDocument/2006/relationships/tags" Target="../tags/tag21.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8.xml"/><Relationship Id="rId1" Type="http://schemas.openxmlformats.org/officeDocument/2006/relationships/image" Target="../media/image6.png"/></Relationships>
</file>

<file path=ppt/slides/_rels/slide121.xml.rels><?xml version="1.0" encoding="UTF-8" standalone="yes"?>
<Relationships xmlns="http://schemas.openxmlformats.org/package/2006/relationships"><Relationship Id="rId9" Type="http://schemas.openxmlformats.org/officeDocument/2006/relationships/tags" Target="../tags/tag268.xml"/><Relationship Id="rId8" Type="http://schemas.openxmlformats.org/officeDocument/2006/relationships/tags" Target="../tags/tag267.xml"/><Relationship Id="rId7" Type="http://schemas.openxmlformats.org/officeDocument/2006/relationships/tags" Target="../tags/tag266.xml"/><Relationship Id="rId6" Type="http://schemas.openxmlformats.org/officeDocument/2006/relationships/tags" Target="../tags/tag265.xml"/><Relationship Id="rId5" Type="http://schemas.openxmlformats.org/officeDocument/2006/relationships/tags" Target="../tags/tag264.xml"/><Relationship Id="rId4" Type="http://schemas.openxmlformats.org/officeDocument/2006/relationships/tags" Target="../tags/tag263.xml"/><Relationship Id="rId3" Type="http://schemas.openxmlformats.org/officeDocument/2006/relationships/image" Target="../media/image8.emf"/><Relationship Id="rId25" Type="http://schemas.openxmlformats.org/officeDocument/2006/relationships/notesSlide" Target="../notesSlides/notesSlide51.xml"/><Relationship Id="rId24" Type="http://schemas.openxmlformats.org/officeDocument/2006/relationships/vmlDrawing" Target="../drawings/vmlDrawing66.vml"/><Relationship Id="rId23" Type="http://schemas.openxmlformats.org/officeDocument/2006/relationships/slideLayout" Target="../slideLayouts/slideLayout18.xml"/><Relationship Id="rId22" Type="http://schemas.openxmlformats.org/officeDocument/2006/relationships/image" Target="../media/image6.png"/><Relationship Id="rId21" Type="http://schemas.openxmlformats.org/officeDocument/2006/relationships/tags" Target="../tags/tag280.xml"/><Relationship Id="rId20" Type="http://schemas.openxmlformats.org/officeDocument/2006/relationships/tags" Target="../tags/tag279.xml"/><Relationship Id="rId2" Type="http://schemas.openxmlformats.org/officeDocument/2006/relationships/oleObject" Target="../embeddings/oleObject66.bin"/><Relationship Id="rId19" Type="http://schemas.openxmlformats.org/officeDocument/2006/relationships/tags" Target="../tags/tag278.xml"/><Relationship Id="rId18" Type="http://schemas.openxmlformats.org/officeDocument/2006/relationships/tags" Target="../tags/tag277.xml"/><Relationship Id="rId17" Type="http://schemas.openxmlformats.org/officeDocument/2006/relationships/tags" Target="../tags/tag276.xml"/><Relationship Id="rId16" Type="http://schemas.openxmlformats.org/officeDocument/2006/relationships/tags" Target="../tags/tag275.xml"/><Relationship Id="rId15" Type="http://schemas.openxmlformats.org/officeDocument/2006/relationships/tags" Target="../tags/tag274.xml"/><Relationship Id="rId14" Type="http://schemas.openxmlformats.org/officeDocument/2006/relationships/tags" Target="../tags/tag273.xml"/><Relationship Id="rId13" Type="http://schemas.openxmlformats.org/officeDocument/2006/relationships/tags" Target="../tags/tag272.xml"/><Relationship Id="rId12" Type="http://schemas.openxmlformats.org/officeDocument/2006/relationships/tags" Target="../tags/tag271.xml"/><Relationship Id="rId11" Type="http://schemas.openxmlformats.org/officeDocument/2006/relationships/tags" Target="../tags/tag270.xml"/><Relationship Id="rId10" Type="http://schemas.openxmlformats.org/officeDocument/2006/relationships/tags" Target="../tags/tag269.xml"/><Relationship Id="rId1" Type="http://schemas.openxmlformats.org/officeDocument/2006/relationships/tags" Target="../tags/tag262.xml"/></Relationships>
</file>

<file path=ppt/slides/_rels/slide122.xml.rels><?xml version="1.0" encoding="UTF-8" standalone="yes"?>
<Relationships xmlns="http://schemas.openxmlformats.org/package/2006/relationships"><Relationship Id="rId9" Type="http://schemas.openxmlformats.org/officeDocument/2006/relationships/tags" Target="../tags/tag289.xml"/><Relationship Id="rId8" Type="http://schemas.openxmlformats.org/officeDocument/2006/relationships/tags" Target="../tags/tag288.xml"/><Relationship Id="rId7" Type="http://schemas.openxmlformats.org/officeDocument/2006/relationships/tags" Target="../tags/tag287.xml"/><Relationship Id="rId6" Type="http://schemas.openxmlformats.org/officeDocument/2006/relationships/tags" Target="../tags/tag286.xml"/><Relationship Id="rId5" Type="http://schemas.openxmlformats.org/officeDocument/2006/relationships/tags" Target="../tags/tag285.xml"/><Relationship Id="rId4" Type="http://schemas.openxmlformats.org/officeDocument/2006/relationships/tags" Target="../tags/tag284.xml"/><Relationship Id="rId3" Type="http://schemas.openxmlformats.org/officeDocument/2006/relationships/tags" Target="../tags/tag283.xml"/><Relationship Id="rId25" Type="http://schemas.openxmlformats.org/officeDocument/2006/relationships/notesSlide" Target="../notesSlides/notesSlide52.xml"/><Relationship Id="rId24" Type="http://schemas.openxmlformats.org/officeDocument/2006/relationships/slideLayout" Target="../slideLayouts/slideLayout18.xml"/><Relationship Id="rId23" Type="http://schemas.openxmlformats.org/officeDocument/2006/relationships/image" Target="../media/image6.png"/><Relationship Id="rId22" Type="http://schemas.openxmlformats.org/officeDocument/2006/relationships/tags" Target="../tags/tag302.xml"/><Relationship Id="rId21" Type="http://schemas.openxmlformats.org/officeDocument/2006/relationships/tags" Target="../tags/tag301.xml"/><Relationship Id="rId20" Type="http://schemas.openxmlformats.org/officeDocument/2006/relationships/tags" Target="../tags/tag300.xml"/><Relationship Id="rId2" Type="http://schemas.openxmlformats.org/officeDocument/2006/relationships/tags" Target="../tags/tag282.xml"/><Relationship Id="rId19" Type="http://schemas.openxmlformats.org/officeDocument/2006/relationships/tags" Target="../tags/tag299.xml"/><Relationship Id="rId18" Type="http://schemas.openxmlformats.org/officeDocument/2006/relationships/tags" Target="../tags/tag298.xml"/><Relationship Id="rId17" Type="http://schemas.openxmlformats.org/officeDocument/2006/relationships/tags" Target="../tags/tag297.xml"/><Relationship Id="rId16" Type="http://schemas.openxmlformats.org/officeDocument/2006/relationships/tags" Target="../tags/tag296.xml"/><Relationship Id="rId15" Type="http://schemas.openxmlformats.org/officeDocument/2006/relationships/tags" Target="../tags/tag295.xml"/><Relationship Id="rId14" Type="http://schemas.openxmlformats.org/officeDocument/2006/relationships/tags" Target="../tags/tag294.xml"/><Relationship Id="rId13" Type="http://schemas.openxmlformats.org/officeDocument/2006/relationships/tags" Target="../tags/tag293.xml"/><Relationship Id="rId12" Type="http://schemas.openxmlformats.org/officeDocument/2006/relationships/tags" Target="../tags/tag292.xml"/><Relationship Id="rId11" Type="http://schemas.openxmlformats.org/officeDocument/2006/relationships/tags" Target="../tags/tag291.xml"/><Relationship Id="rId10" Type="http://schemas.openxmlformats.org/officeDocument/2006/relationships/tags" Target="../tags/tag290.xml"/><Relationship Id="rId1" Type="http://schemas.openxmlformats.org/officeDocument/2006/relationships/tags" Target="../tags/tag281.xml"/></Relationships>
</file>

<file path=ppt/slides/_rels/slide123.xml.rels><?xml version="1.0" encoding="UTF-8" standalone="yes"?>
<Relationships xmlns="http://schemas.openxmlformats.org/package/2006/relationships"><Relationship Id="rId7" Type="http://schemas.openxmlformats.org/officeDocument/2006/relationships/notesSlide" Target="../notesSlides/notesSlide53.xml"/><Relationship Id="rId6" Type="http://schemas.openxmlformats.org/officeDocument/2006/relationships/vmlDrawing" Target="../drawings/vmlDrawing67.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1.emf"/><Relationship Id="rId2" Type="http://schemas.openxmlformats.org/officeDocument/2006/relationships/oleObject" Target="../embeddings/oleObject67.bin"/><Relationship Id="rId1" Type="http://schemas.openxmlformats.org/officeDocument/2006/relationships/tags" Target="../tags/tag303.xml"/></Relationships>
</file>

<file path=ppt/slides/_rels/slide124.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6.png"/></Relationships>
</file>

<file path=ppt/slides/_rels/slide125.xml.rels><?xml version="1.0" encoding="UTF-8" standalone="yes"?>
<Relationships xmlns="http://schemas.openxmlformats.org/package/2006/relationships"><Relationship Id="rId4" Type="http://schemas.openxmlformats.org/officeDocument/2006/relationships/slideLayout" Target="../slideLayouts/slideLayout23.xml"/><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image" Target="../media/image72.png"/></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image" Target="../media/image76.png"/><Relationship Id="rId1" Type="http://schemas.openxmlformats.org/officeDocument/2006/relationships/image" Target="../media/image75.png"/></Relationships>
</file>

<file path=ppt/slides/_rels/slide127.xml.rels><?xml version="1.0" encoding="UTF-8" standalone="yes"?>
<Relationships xmlns="http://schemas.openxmlformats.org/package/2006/relationships"><Relationship Id="rId9" Type="http://schemas.openxmlformats.org/officeDocument/2006/relationships/image" Target="../media/image77.png"/><Relationship Id="rId8" Type="http://schemas.openxmlformats.org/officeDocument/2006/relationships/tags" Target="../tags/tag311.xml"/><Relationship Id="rId7" Type="http://schemas.openxmlformats.org/officeDocument/2006/relationships/tags" Target="../tags/tag310.xml"/><Relationship Id="rId6" Type="http://schemas.openxmlformats.org/officeDocument/2006/relationships/tags" Target="../tags/tag309.xml"/><Relationship Id="rId5" Type="http://schemas.openxmlformats.org/officeDocument/2006/relationships/tags" Target="../tags/tag308.xml"/><Relationship Id="rId4" Type="http://schemas.openxmlformats.org/officeDocument/2006/relationships/tags" Target="../tags/tag307.xml"/><Relationship Id="rId3" Type="http://schemas.openxmlformats.org/officeDocument/2006/relationships/tags" Target="../tags/tag306.xml"/><Relationship Id="rId2" Type="http://schemas.openxmlformats.org/officeDocument/2006/relationships/tags" Target="../tags/tag305.xml"/><Relationship Id="rId13" Type="http://schemas.openxmlformats.org/officeDocument/2006/relationships/slideLayout" Target="../slideLayouts/slideLayout23.xml"/><Relationship Id="rId12" Type="http://schemas.openxmlformats.org/officeDocument/2006/relationships/image" Target="../media/image80.png"/><Relationship Id="rId11" Type="http://schemas.openxmlformats.org/officeDocument/2006/relationships/image" Target="../media/image79.png"/><Relationship Id="rId10" Type="http://schemas.openxmlformats.org/officeDocument/2006/relationships/image" Target="../media/image78.png"/><Relationship Id="rId1" Type="http://schemas.openxmlformats.org/officeDocument/2006/relationships/tags" Target="../tags/tag304.xml"/></Relationships>
</file>

<file path=ppt/slides/_rels/slide128.xml.rels><?xml version="1.0" encoding="UTF-8" standalone="yes"?>
<Relationships xmlns="http://schemas.openxmlformats.org/package/2006/relationships"><Relationship Id="rId5" Type="http://schemas.openxmlformats.org/officeDocument/2006/relationships/slideLayout" Target="../slideLayouts/slideLayout23.xml"/><Relationship Id="rId4" Type="http://schemas.microsoft.com/office/2007/relationships/hdphoto" Target="../media/image84.wdp"/><Relationship Id="rId3" Type="http://schemas.openxmlformats.org/officeDocument/2006/relationships/image" Target="../media/image83.png"/><Relationship Id="rId2" Type="http://schemas.microsoft.com/office/2007/relationships/hdphoto" Target="../media/image82.wdp"/><Relationship Id="rId1" Type="http://schemas.openxmlformats.org/officeDocument/2006/relationships/image" Target="../media/image81.png"/></Relationships>
</file>

<file path=ppt/slides/_rels/slide129.xml.rels><?xml version="1.0" encoding="UTF-8" standalone="yes"?>
<Relationships xmlns="http://schemas.openxmlformats.org/package/2006/relationships"><Relationship Id="rId9" Type="http://schemas.openxmlformats.org/officeDocument/2006/relationships/image" Target="../media/image86.jpeg"/><Relationship Id="rId8" Type="http://schemas.openxmlformats.org/officeDocument/2006/relationships/image" Target="../media/image85.png"/><Relationship Id="rId7" Type="http://schemas.openxmlformats.org/officeDocument/2006/relationships/tags" Target="../tags/tag318.xml"/><Relationship Id="rId6" Type="http://schemas.openxmlformats.org/officeDocument/2006/relationships/tags" Target="../tags/tag317.xml"/><Relationship Id="rId5" Type="http://schemas.openxmlformats.org/officeDocument/2006/relationships/tags" Target="../tags/tag316.xml"/><Relationship Id="rId4" Type="http://schemas.openxmlformats.org/officeDocument/2006/relationships/tags" Target="../tags/tag315.xml"/><Relationship Id="rId3" Type="http://schemas.openxmlformats.org/officeDocument/2006/relationships/tags" Target="../tags/tag314.xml"/><Relationship Id="rId2" Type="http://schemas.openxmlformats.org/officeDocument/2006/relationships/tags" Target="../tags/tag313.xml"/><Relationship Id="rId12" Type="http://schemas.openxmlformats.org/officeDocument/2006/relationships/slideLayout" Target="../slideLayouts/slideLayout23.xml"/><Relationship Id="rId11" Type="http://schemas.openxmlformats.org/officeDocument/2006/relationships/tags" Target="../tags/tag319.xml"/><Relationship Id="rId10" Type="http://schemas.openxmlformats.org/officeDocument/2006/relationships/image" Target="../media/image87.png"/><Relationship Id="rId1" Type="http://schemas.openxmlformats.org/officeDocument/2006/relationships/tags" Target="../tags/tag312.xml"/></Relationships>
</file>

<file path=ppt/slides/_rels/slide13.xml.rels><?xml version="1.0" encoding="UTF-8" standalone="yes"?>
<Relationships xmlns="http://schemas.openxmlformats.org/package/2006/relationships"><Relationship Id="rId7" Type="http://schemas.openxmlformats.org/officeDocument/2006/relationships/notesSlide" Target="../notesSlides/notesSlide8.xml"/><Relationship Id="rId6" Type="http://schemas.openxmlformats.org/officeDocument/2006/relationships/vmlDrawing" Target="../drawings/vmlDrawing16.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16.bin"/><Relationship Id="rId1" Type="http://schemas.openxmlformats.org/officeDocument/2006/relationships/tags" Target="../tags/tag22.xml"/></Relationships>
</file>

<file path=ppt/slides/_rels/slide130.xml.rels><?xml version="1.0" encoding="UTF-8" standalone="yes"?>
<Relationships xmlns="http://schemas.openxmlformats.org/package/2006/relationships"><Relationship Id="rId6" Type="http://schemas.openxmlformats.org/officeDocument/2006/relationships/slideLayout" Target="../slideLayouts/slideLayout23.xml"/><Relationship Id="rId5" Type="http://schemas.openxmlformats.org/officeDocument/2006/relationships/image" Target="../media/image90.png"/><Relationship Id="rId4" Type="http://schemas.openxmlformats.org/officeDocument/2006/relationships/image" Target="../media/image89.png"/><Relationship Id="rId3" Type="http://schemas.openxmlformats.org/officeDocument/2006/relationships/image" Target="../media/image88.png"/><Relationship Id="rId2" Type="http://schemas.openxmlformats.org/officeDocument/2006/relationships/tags" Target="../tags/tag321.xml"/><Relationship Id="rId1" Type="http://schemas.openxmlformats.org/officeDocument/2006/relationships/tags" Target="../tags/tag320.xml"/></Relationships>
</file>

<file path=ppt/slides/_rels/slide131.xml.rels><?xml version="1.0" encoding="UTF-8" standalone="yes"?>
<Relationships xmlns="http://schemas.openxmlformats.org/package/2006/relationships"><Relationship Id="rId9" Type="http://schemas.openxmlformats.org/officeDocument/2006/relationships/image" Target="../media/image99.png"/><Relationship Id="rId8" Type="http://schemas.openxmlformats.org/officeDocument/2006/relationships/image" Target="../media/image98.png"/><Relationship Id="rId7" Type="http://schemas.openxmlformats.org/officeDocument/2006/relationships/image" Target="../media/image97.png"/><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 Id="rId34" Type="http://schemas.openxmlformats.org/officeDocument/2006/relationships/slideLayout" Target="../slideLayouts/slideLayout23.xml"/><Relationship Id="rId33" Type="http://schemas.openxmlformats.org/officeDocument/2006/relationships/image" Target="../media/image105.png"/><Relationship Id="rId32" Type="http://schemas.openxmlformats.org/officeDocument/2006/relationships/tags" Target="../tags/tag339.xml"/><Relationship Id="rId31" Type="http://schemas.openxmlformats.org/officeDocument/2006/relationships/tags" Target="../tags/tag338.xml"/><Relationship Id="rId30" Type="http://schemas.openxmlformats.org/officeDocument/2006/relationships/tags" Target="../tags/tag337.xml"/><Relationship Id="rId3" Type="http://schemas.openxmlformats.org/officeDocument/2006/relationships/image" Target="../media/image93.png"/><Relationship Id="rId29" Type="http://schemas.openxmlformats.org/officeDocument/2006/relationships/tags" Target="../tags/tag336.xml"/><Relationship Id="rId28" Type="http://schemas.openxmlformats.org/officeDocument/2006/relationships/tags" Target="../tags/tag335.xml"/><Relationship Id="rId27" Type="http://schemas.openxmlformats.org/officeDocument/2006/relationships/image" Target="../media/image104.png"/><Relationship Id="rId26" Type="http://schemas.openxmlformats.org/officeDocument/2006/relationships/image" Target="../media/image103.png"/><Relationship Id="rId25" Type="http://schemas.openxmlformats.org/officeDocument/2006/relationships/image" Target="../media/image102.png"/><Relationship Id="rId24" Type="http://schemas.openxmlformats.org/officeDocument/2006/relationships/tags" Target="../tags/tag334.xml"/><Relationship Id="rId23" Type="http://schemas.openxmlformats.org/officeDocument/2006/relationships/tags" Target="../tags/tag333.xml"/><Relationship Id="rId22" Type="http://schemas.openxmlformats.org/officeDocument/2006/relationships/tags" Target="../tags/tag332.xml"/><Relationship Id="rId21" Type="http://schemas.openxmlformats.org/officeDocument/2006/relationships/tags" Target="../tags/tag331.xml"/><Relationship Id="rId20" Type="http://schemas.openxmlformats.org/officeDocument/2006/relationships/tags" Target="../tags/tag330.xml"/><Relationship Id="rId2" Type="http://schemas.openxmlformats.org/officeDocument/2006/relationships/image" Target="../media/image92.png"/><Relationship Id="rId19" Type="http://schemas.openxmlformats.org/officeDocument/2006/relationships/tags" Target="../tags/tag329.xml"/><Relationship Id="rId18" Type="http://schemas.openxmlformats.org/officeDocument/2006/relationships/tags" Target="../tags/tag328.xml"/><Relationship Id="rId17" Type="http://schemas.openxmlformats.org/officeDocument/2006/relationships/tags" Target="../tags/tag327.xml"/><Relationship Id="rId16" Type="http://schemas.openxmlformats.org/officeDocument/2006/relationships/tags" Target="../tags/tag326.xml"/><Relationship Id="rId15" Type="http://schemas.openxmlformats.org/officeDocument/2006/relationships/tags" Target="../tags/tag325.xml"/><Relationship Id="rId14" Type="http://schemas.openxmlformats.org/officeDocument/2006/relationships/tags" Target="../tags/tag324.xml"/><Relationship Id="rId13" Type="http://schemas.openxmlformats.org/officeDocument/2006/relationships/tags" Target="../tags/tag323.xml"/><Relationship Id="rId12" Type="http://schemas.openxmlformats.org/officeDocument/2006/relationships/tags" Target="../tags/tag322.xml"/><Relationship Id="rId11" Type="http://schemas.openxmlformats.org/officeDocument/2006/relationships/image" Target="../media/image101.png"/><Relationship Id="rId10" Type="http://schemas.openxmlformats.org/officeDocument/2006/relationships/image" Target="../media/image100.png"/><Relationship Id="rId1" Type="http://schemas.openxmlformats.org/officeDocument/2006/relationships/image" Target="../media/image91.png"/></Relationships>
</file>

<file path=ppt/slides/_rels/slide132.xml.rels><?xml version="1.0" encoding="UTF-8" standalone="yes"?>
<Relationships xmlns="http://schemas.openxmlformats.org/package/2006/relationships"><Relationship Id="rId9" Type="http://schemas.openxmlformats.org/officeDocument/2006/relationships/tags" Target="../tags/tag347.xml"/><Relationship Id="rId8" Type="http://schemas.openxmlformats.org/officeDocument/2006/relationships/tags" Target="../tags/tag346.xml"/><Relationship Id="rId7" Type="http://schemas.openxmlformats.org/officeDocument/2006/relationships/tags" Target="../tags/tag345.xml"/><Relationship Id="rId6" Type="http://schemas.openxmlformats.org/officeDocument/2006/relationships/tags" Target="../tags/tag344.xml"/><Relationship Id="rId5" Type="http://schemas.openxmlformats.org/officeDocument/2006/relationships/tags" Target="../tags/tag343.xml"/><Relationship Id="rId4" Type="http://schemas.openxmlformats.org/officeDocument/2006/relationships/tags" Target="../tags/tag342.xml"/><Relationship Id="rId3" Type="http://schemas.openxmlformats.org/officeDocument/2006/relationships/tags" Target="../tags/tag341.xml"/><Relationship Id="rId2" Type="http://schemas.openxmlformats.org/officeDocument/2006/relationships/tags" Target="../tags/tag340.xml"/><Relationship Id="rId11" Type="http://schemas.openxmlformats.org/officeDocument/2006/relationships/slideLayout" Target="../slideLayouts/slideLayout23.xml"/><Relationship Id="rId10" Type="http://schemas.openxmlformats.org/officeDocument/2006/relationships/tags" Target="../tags/tag348.xml"/><Relationship Id="rId1" Type="http://schemas.openxmlformats.org/officeDocument/2006/relationships/chart" Target="../charts/chart42.xml"/></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image" Target="../media/image107.png"/><Relationship Id="rId1" Type="http://schemas.openxmlformats.org/officeDocument/2006/relationships/image" Target="../media/image106.png"/></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5.xml.rels><?xml version="1.0" encoding="UTF-8" standalone="yes"?>
<Relationships xmlns="http://schemas.openxmlformats.org/package/2006/relationships"><Relationship Id="rId4" Type="http://schemas.openxmlformats.org/officeDocument/2006/relationships/slideLayout" Target="../slideLayouts/slideLayout23.xml"/><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image" Target="../media/image108.png"/></Relationships>
</file>

<file path=ppt/slides/_rels/slide136.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111.png"/></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8.xml.rels><?xml version="1.0" encoding="UTF-8" standalone="yes"?>
<Relationships xmlns="http://schemas.openxmlformats.org/package/2006/relationships"><Relationship Id="rId8" Type="http://schemas.openxmlformats.org/officeDocument/2006/relationships/slideLayout" Target="../slideLayouts/slideLayout23.xml"/><Relationship Id="rId7" Type="http://schemas.openxmlformats.org/officeDocument/2006/relationships/image" Target="../media/image118.png"/><Relationship Id="rId6" Type="http://schemas.openxmlformats.org/officeDocument/2006/relationships/image" Target="../media/image117.png"/><Relationship Id="rId5" Type="http://schemas.openxmlformats.org/officeDocument/2006/relationships/image" Target="../media/image116.svg"/><Relationship Id="rId4" Type="http://schemas.openxmlformats.org/officeDocument/2006/relationships/image" Target="../media/image115.png"/><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image" Target="../media/image112.png"/></Relationships>
</file>

<file path=ppt/slides/_rels/slide139.xml.rels><?xml version="1.0" encoding="UTF-8" standalone="yes"?>
<Relationships xmlns="http://schemas.openxmlformats.org/package/2006/relationships"><Relationship Id="rId7" Type="http://schemas.openxmlformats.org/officeDocument/2006/relationships/notesSlide" Target="../notesSlides/notesSlide54.xml"/><Relationship Id="rId6" Type="http://schemas.openxmlformats.org/officeDocument/2006/relationships/vmlDrawing" Target="../drawings/vmlDrawing68.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1.emf"/><Relationship Id="rId2" Type="http://schemas.openxmlformats.org/officeDocument/2006/relationships/oleObject" Target="../embeddings/oleObject68.bin"/><Relationship Id="rId1" Type="http://schemas.openxmlformats.org/officeDocument/2006/relationships/tags" Target="../tags/tag349.xml"/></Relationships>
</file>

<file path=ppt/slides/_rels/slide14.xml.rels><?xml version="1.0" encoding="UTF-8" standalone="yes"?>
<Relationships xmlns="http://schemas.openxmlformats.org/package/2006/relationships"><Relationship Id="rId7" Type="http://schemas.openxmlformats.org/officeDocument/2006/relationships/notesSlide" Target="../notesSlides/notesSlide9.xml"/><Relationship Id="rId6" Type="http://schemas.openxmlformats.org/officeDocument/2006/relationships/vmlDrawing" Target="../drawings/vmlDrawing17.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17.bin"/><Relationship Id="rId1" Type="http://schemas.openxmlformats.org/officeDocument/2006/relationships/tags" Target="../tags/tag23.xml"/></Relationships>
</file>

<file path=ppt/slides/_rels/slide140.xml.rels><?xml version="1.0" encoding="UTF-8" standalone="yes"?>
<Relationships xmlns="http://schemas.openxmlformats.org/package/2006/relationships"><Relationship Id="rId8" Type="http://schemas.openxmlformats.org/officeDocument/2006/relationships/notesSlide" Target="../notesSlides/notesSlide55.xml"/><Relationship Id="rId7" Type="http://schemas.openxmlformats.org/officeDocument/2006/relationships/vmlDrawing" Target="../drawings/vmlDrawing69.vml"/><Relationship Id="rId6"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tags" Target="../tags/tag351.xml"/><Relationship Id="rId3" Type="http://schemas.openxmlformats.org/officeDocument/2006/relationships/image" Target="../media/image5.emf"/><Relationship Id="rId2" Type="http://schemas.openxmlformats.org/officeDocument/2006/relationships/oleObject" Target="../embeddings/oleObject69.bin"/><Relationship Id="rId1" Type="http://schemas.openxmlformats.org/officeDocument/2006/relationships/tags" Target="../tags/tag350.xml"/></Relationships>
</file>

<file path=ppt/slides/_rels/slide141.xml.rels><?xml version="1.0" encoding="UTF-8" standalone="yes"?>
<Relationships xmlns="http://schemas.openxmlformats.org/package/2006/relationships"><Relationship Id="rId8" Type="http://schemas.openxmlformats.org/officeDocument/2006/relationships/slideLayout" Target="../slideLayouts/slideLayout23.xml"/><Relationship Id="rId7" Type="http://schemas.openxmlformats.org/officeDocument/2006/relationships/image" Target="../media/image120.png"/><Relationship Id="rId6" Type="http://schemas.openxmlformats.org/officeDocument/2006/relationships/image" Target="../media/image119.png"/><Relationship Id="rId5" Type="http://schemas.openxmlformats.org/officeDocument/2006/relationships/tags" Target="../tags/tag354.xml"/><Relationship Id="rId4" Type="http://schemas.openxmlformats.org/officeDocument/2006/relationships/tags" Target="../tags/tag353.xml"/><Relationship Id="rId3" Type="http://schemas.openxmlformats.org/officeDocument/2006/relationships/tags" Target="../tags/tag352.xml"/><Relationship Id="rId2" Type="http://schemas.openxmlformats.org/officeDocument/2006/relationships/chart" Target="../charts/chart44.xml"/><Relationship Id="rId1" Type="http://schemas.openxmlformats.org/officeDocument/2006/relationships/chart" Target="../charts/chart43.xml"/></Relationships>
</file>

<file path=ppt/slides/_rels/slide142.xml.rels><?xml version="1.0" encoding="UTF-8" standalone="yes"?>
<Relationships xmlns="http://schemas.openxmlformats.org/package/2006/relationships"><Relationship Id="rId8" Type="http://schemas.openxmlformats.org/officeDocument/2006/relationships/slideLayout" Target="../slideLayouts/slideLayout23.xml"/><Relationship Id="rId7" Type="http://schemas.openxmlformats.org/officeDocument/2006/relationships/image" Target="../media/image126.png"/><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chart" Target="../charts/chart45.xml"/></Relationships>
</file>

<file path=ppt/slides/_rels/slide143.xml.rels><?xml version="1.0" encoding="UTF-8" standalone="yes"?>
<Relationships xmlns="http://schemas.openxmlformats.org/package/2006/relationships"><Relationship Id="rId9" Type="http://schemas.openxmlformats.org/officeDocument/2006/relationships/tags" Target="../tags/tag361.xml"/><Relationship Id="rId8" Type="http://schemas.openxmlformats.org/officeDocument/2006/relationships/tags" Target="../tags/tag360.xml"/><Relationship Id="rId7" Type="http://schemas.openxmlformats.org/officeDocument/2006/relationships/tags" Target="../tags/tag359.xml"/><Relationship Id="rId6" Type="http://schemas.openxmlformats.org/officeDocument/2006/relationships/tags" Target="../tags/tag358.xml"/><Relationship Id="rId5" Type="http://schemas.openxmlformats.org/officeDocument/2006/relationships/tags" Target="../tags/tag357.xml"/><Relationship Id="rId4" Type="http://schemas.openxmlformats.org/officeDocument/2006/relationships/tags" Target="../tags/tag356.xml"/><Relationship Id="rId3" Type="http://schemas.openxmlformats.org/officeDocument/2006/relationships/image" Target="../media/image5.emf"/><Relationship Id="rId2" Type="http://schemas.openxmlformats.org/officeDocument/2006/relationships/oleObject" Target="../embeddings/oleObject70.bin"/><Relationship Id="rId14" Type="http://schemas.openxmlformats.org/officeDocument/2006/relationships/notesSlide" Target="../notesSlides/notesSlide56.xml"/><Relationship Id="rId13" Type="http://schemas.openxmlformats.org/officeDocument/2006/relationships/vmlDrawing" Target="../drawings/vmlDrawing70.vml"/><Relationship Id="rId12" Type="http://schemas.openxmlformats.org/officeDocument/2006/relationships/slideLayout" Target="../slideLayouts/slideLayout3.xml"/><Relationship Id="rId11" Type="http://schemas.openxmlformats.org/officeDocument/2006/relationships/image" Target="../media/image6.png"/><Relationship Id="rId10" Type="http://schemas.openxmlformats.org/officeDocument/2006/relationships/tags" Target="../tags/tag362.xml"/><Relationship Id="rId1" Type="http://schemas.openxmlformats.org/officeDocument/2006/relationships/tags" Target="../tags/tag355.xml"/></Relationships>
</file>

<file path=ppt/slides/_rels/slide144.xml.rels><?xml version="1.0" encoding="UTF-8" standalone="yes"?>
<Relationships xmlns="http://schemas.openxmlformats.org/package/2006/relationships"><Relationship Id="rId7" Type="http://schemas.openxmlformats.org/officeDocument/2006/relationships/notesSlide" Target="../notesSlides/notesSlide57.xml"/><Relationship Id="rId6" Type="http://schemas.openxmlformats.org/officeDocument/2006/relationships/vmlDrawing" Target="../drawings/vmlDrawing71.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71.bin"/><Relationship Id="rId1" Type="http://schemas.openxmlformats.org/officeDocument/2006/relationships/tags" Target="../tags/tag363.xml"/></Relationships>
</file>

<file path=ppt/slides/_rels/slide145.xml.rels><?xml version="1.0" encoding="UTF-8" standalone="yes"?>
<Relationships xmlns="http://schemas.openxmlformats.org/package/2006/relationships"><Relationship Id="rId9" Type="http://schemas.openxmlformats.org/officeDocument/2006/relationships/vmlDrawing" Target="../drawings/vmlDrawing72.vml"/><Relationship Id="rId8" Type="http://schemas.openxmlformats.org/officeDocument/2006/relationships/slideLayout" Target="../slideLayouts/slideLayout20.xml"/><Relationship Id="rId7" Type="http://schemas.openxmlformats.org/officeDocument/2006/relationships/image" Target="../media/image6.png"/><Relationship Id="rId6" Type="http://schemas.openxmlformats.org/officeDocument/2006/relationships/tags" Target="../tags/tag368.xml"/><Relationship Id="rId5" Type="http://schemas.openxmlformats.org/officeDocument/2006/relationships/tags" Target="../tags/tag367.xml"/><Relationship Id="rId4" Type="http://schemas.openxmlformats.org/officeDocument/2006/relationships/tags" Target="../tags/tag366.xml"/><Relationship Id="rId3" Type="http://schemas.openxmlformats.org/officeDocument/2006/relationships/tags" Target="../tags/tag365.xml"/><Relationship Id="rId2" Type="http://schemas.openxmlformats.org/officeDocument/2006/relationships/oleObject" Target="../embeddings/oleObject72.bin"/><Relationship Id="rId10" Type="http://schemas.openxmlformats.org/officeDocument/2006/relationships/notesSlide" Target="../notesSlides/notesSlide58.xml"/><Relationship Id="rId1" Type="http://schemas.openxmlformats.org/officeDocument/2006/relationships/tags" Target="../tags/tag364.xml"/></Relationships>
</file>

<file path=ppt/slides/_rels/slide146.xml.rels><?xml version="1.0" encoding="UTF-8" standalone="yes"?>
<Relationships xmlns="http://schemas.openxmlformats.org/package/2006/relationships"><Relationship Id="rId7" Type="http://schemas.openxmlformats.org/officeDocument/2006/relationships/notesSlide" Target="../notesSlides/notesSlide59.xml"/><Relationship Id="rId6" Type="http://schemas.openxmlformats.org/officeDocument/2006/relationships/vmlDrawing" Target="../drawings/vmlDrawing73.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73.bin"/><Relationship Id="rId1" Type="http://schemas.openxmlformats.org/officeDocument/2006/relationships/tags" Target="../tags/tag369.xml"/></Relationships>
</file>

<file path=ppt/slides/_rels/slide147.xml.rels><?xml version="1.0" encoding="UTF-8" standalone="yes"?>
<Relationships xmlns="http://schemas.openxmlformats.org/package/2006/relationships"><Relationship Id="rId7" Type="http://schemas.openxmlformats.org/officeDocument/2006/relationships/notesSlide" Target="../notesSlides/notesSlide60.xml"/><Relationship Id="rId6" Type="http://schemas.openxmlformats.org/officeDocument/2006/relationships/vmlDrawing" Target="../drawings/vmlDrawing74.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74.bin"/><Relationship Id="rId1" Type="http://schemas.openxmlformats.org/officeDocument/2006/relationships/tags" Target="../tags/tag370.xml"/></Relationships>
</file>

<file path=ppt/slides/_rels/slide148.xml.rels><?xml version="1.0" encoding="UTF-8" standalone="yes"?>
<Relationships xmlns="http://schemas.openxmlformats.org/package/2006/relationships"><Relationship Id="rId7" Type="http://schemas.openxmlformats.org/officeDocument/2006/relationships/notesSlide" Target="../notesSlides/notesSlide61.xml"/><Relationship Id="rId6" Type="http://schemas.openxmlformats.org/officeDocument/2006/relationships/vmlDrawing" Target="../drawings/vmlDrawing75.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75.bin"/><Relationship Id="rId1" Type="http://schemas.openxmlformats.org/officeDocument/2006/relationships/tags" Target="../tags/tag371.xml"/></Relationships>
</file>

<file path=ppt/slides/_rels/slide149.xml.rels><?xml version="1.0" encoding="UTF-8" standalone="yes"?>
<Relationships xmlns="http://schemas.openxmlformats.org/package/2006/relationships"><Relationship Id="rId6" Type="http://schemas.openxmlformats.org/officeDocument/2006/relationships/vmlDrawing" Target="../drawings/vmlDrawing76.vml"/><Relationship Id="rId5" Type="http://schemas.openxmlformats.org/officeDocument/2006/relationships/slideLayout" Target="../slideLayouts/slideLayout8.xml"/><Relationship Id="rId4" Type="http://schemas.openxmlformats.org/officeDocument/2006/relationships/tags" Target="../tags/tag373.xml"/><Relationship Id="rId3" Type="http://schemas.openxmlformats.org/officeDocument/2006/relationships/image" Target="../media/image5.emf"/><Relationship Id="rId2" Type="http://schemas.openxmlformats.org/officeDocument/2006/relationships/oleObject" Target="../embeddings/oleObject76.bin"/><Relationship Id="rId1" Type="http://schemas.openxmlformats.org/officeDocument/2006/relationships/tags" Target="../tags/tag372.xml"/></Relationships>
</file>

<file path=ppt/slides/_rels/slide15.xml.rels><?xml version="1.0" encoding="UTF-8" standalone="yes"?>
<Relationships xmlns="http://schemas.openxmlformats.org/package/2006/relationships"><Relationship Id="rId7" Type="http://schemas.openxmlformats.org/officeDocument/2006/relationships/notesSlide" Target="../notesSlides/notesSlide10.xml"/><Relationship Id="rId6" Type="http://schemas.openxmlformats.org/officeDocument/2006/relationships/vmlDrawing" Target="../drawings/vmlDrawing18.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18.bin"/><Relationship Id="rId1" Type="http://schemas.openxmlformats.org/officeDocument/2006/relationships/tags" Target="../tags/tag24.xml"/></Relationships>
</file>

<file path=ppt/slides/_rels/slide150.xml.rels><?xml version="1.0" encoding="UTF-8" standalone="yes"?>
<Relationships xmlns="http://schemas.openxmlformats.org/package/2006/relationships"><Relationship Id="rId6" Type="http://schemas.openxmlformats.org/officeDocument/2006/relationships/vmlDrawing" Target="../drawings/vmlDrawing77.vml"/><Relationship Id="rId5" Type="http://schemas.openxmlformats.org/officeDocument/2006/relationships/slideLayout" Target="../slideLayouts/slideLayout8.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77.bin"/><Relationship Id="rId1" Type="http://schemas.openxmlformats.org/officeDocument/2006/relationships/tags" Target="../tags/tag374.xml"/></Relationships>
</file>

<file path=ppt/slides/_rels/slide151.xml.rels><?xml version="1.0" encoding="UTF-8" standalone="yes"?>
<Relationships xmlns="http://schemas.openxmlformats.org/package/2006/relationships"><Relationship Id="rId6" Type="http://schemas.openxmlformats.org/officeDocument/2006/relationships/vmlDrawing" Target="../drawings/vmlDrawing78.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78.bin"/><Relationship Id="rId1" Type="http://schemas.openxmlformats.org/officeDocument/2006/relationships/tags" Target="../tags/tag375.xml"/></Relationships>
</file>

<file path=ppt/slides/_rels/slide152.xml.rels><?xml version="1.0" encoding="UTF-8" standalone="yes"?>
<Relationships xmlns="http://schemas.openxmlformats.org/package/2006/relationships"><Relationship Id="rId6" Type="http://schemas.openxmlformats.org/officeDocument/2006/relationships/vmlDrawing" Target="../drawings/vmlDrawing79.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79.bin"/><Relationship Id="rId1" Type="http://schemas.openxmlformats.org/officeDocument/2006/relationships/tags" Target="../tags/tag376.xml"/></Relationships>
</file>

<file path=ppt/slides/_rels/slide153.xml.rels><?xml version="1.0" encoding="UTF-8" standalone="yes"?>
<Relationships xmlns="http://schemas.openxmlformats.org/package/2006/relationships"><Relationship Id="rId9" Type="http://schemas.openxmlformats.org/officeDocument/2006/relationships/tags" Target="../tags/tag383.xml"/><Relationship Id="rId8" Type="http://schemas.openxmlformats.org/officeDocument/2006/relationships/tags" Target="../tags/tag382.xml"/><Relationship Id="rId7" Type="http://schemas.openxmlformats.org/officeDocument/2006/relationships/tags" Target="../tags/tag381.xml"/><Relationship Id="rId6" Type="http://schemas.openxmlformats.org/officeDocument/2006/relationships/tags" Target="../tags/tag380.xml"/><Relationship Id="rId5" Type="http://schemas.openxmlformats.org/officeDocument/2006/relationships/tags" Target="../tags/tag379.xml"/><Relationship Id="rId4" Type="http://schemas.openxmlformats.org/officeDocument/2006/relationships/tags" Target="../tags/tag378.xml"/><Relationship Id="rId3" Type="http://schemas.openxmlformats.org/officeDocument/2006/relationships/image" Target="../media/image1.emf"/><Relationship Id="rId2" Type="http://schemas.openxmlformats.org/officeDocument/2006/relationships/oleObject" Target="../embeddings/oleObject80.bin"/><Relationship Id="rId17" Type="http://schemas.openxmlformats.org/officeDocument/2006/relationships/notesSlide" Target="../notesSlides/notesSlide62.xml"/><Relationship Id="rId16" Type="http://schemas.openxmlformats.org/officeDocument/2006/relationships/vmlDrawing" Target="../drawings/vmlDrawing80.vml"/><Relationship Id="rId15" Type="http://schemas.openxmlformats.org/officeDocument/2006/relationships/slideLayout" Target="../slideLayouts/slideLayout3.xml"/><Relationship Id="rId14" Type="http://schemas.openxmlformats.org/officeDocument/2006/relationships/image" Target="../media/image6.png"/><Relationship Id="rId13" Type="http://schemas.openxmlformats.org/officeDocument/2006/relationships/tags" Target="../tags/tag387.xml"/><Relationship Id="rId12" Type="http://schemas.openxmlformats.org/officeDocument/2006/relationships/tags" Target="../tags/tag386.xml"/><Relationship Id="rId11" Type="http://schemas.openxmlformats.org/officeDocument/2006/relationships/tags" Target="../tags/tag385.xml"/><Relationship Id="rId10" Type="http://schemas.openxmlformats.org/officeDocument/2006/relationships/tags" Target="../tags/tag384.xml"/><Relationship Id="rId1" Type="http://schemas.openxmlformats.org/officeDocument/2006/relationships/tags" Target="../tags/tag377.xml"/></Relationships>
</file>

<file path=ppt/slides/_rels/slide154.xml.rels><?xml version="1.0" encoding="UTF-8" standalone="yes"?>
<Relationships xmlns="http://schemas.openxmlformats.org/package/2006/relationships"><Relationship Id="rId9" Type="http://schemas.openxmlformats.org/officeDocument/2006/relationships/tags" Target="../tags/tag395.xml"/><Relationship Id="rId8" Type="http://schemas.openxmlformats.org/officeDocument/2006/relationships/tags" Target="../tags/tag394.xml"/><Relationship Id="rId7" Type="http://schemas.openxmlformats.org/officeDocument/2006/relationships/tags" Target="../tags/tag393.xml"/><Relationship Id="rId6" Type="http://schemas.openxmlformats.org/officeDocument/2006/relationships/tags" Target="../tags/tag392.xml"/><Relationship Id="rId5" Type="http://schemas.openxmlformats.org/officeDocument/2006/relationships/tags" Target="../tags/tag391.xml"/><Relationship Id="rId4" Type="http://schemas.openxmlformats.org/officeDocument/2006/relationships/tags" Target="../tags/tag390.xml"/><Relationship Id="rId3" Type="http://schemas.openxmlformats.org/officeDocument/2006/relationships/tags" Target="../tags/tag389.xml"/><Relationship Id="rId2" Type="http://schemas.openxmlformats.org/officeDocument/2006/relationships/oleObject" Target="../embeddings/oleObject81.bin"/><Relationship Id="rId14" Type="http://schemas.openxmlformats.org/officeDocument/2006/relationships/notesSlide" Target="../notesSlides/notesSlide63.xml"/><Relationship Id="rId13" Type="http://schemas.openxmlformats.org/officeDocument/2006/relationships/vmlDrawing" Target="../drawings/vmlDrawing81.vml"/><Relationship Id="rId12" Type="http://schemas.openxmlformats.org/officeDocument/2006/relationships/slideLayout" Target="../slideLayouts/slideLayout29.xml"/><Relationship Id="rId11" Type="http://schemas.openxmlformats.org/officeDocument/2006/relationships/image" Target="../media/image6.png"/><Relationship Id="rId10" Type="http://schemas.openxmlformats.org/officeDocument/2006/relationships/tags" Target="../tags/tag396.xml"/><Relationship Id="rId1" Type="http://schemas.openxmlformats.org/officeDocument/2006/relationships/tags" Target="../tags/tag388.xml"/></Relationships>
</file>

<file path=ppt/slides/_rels/slide155.xml.rels><?xml version="1.0" encoding="UTF-8" standalone="yes"?>
<Relationships xmlns="http://schemas.openxmlformats.org/package/2006/relationships"><Relationship Id="rId7" Type="http://schemas.openxmlformats.org/officeDocument/2006/relationships/slideLayout" Target="../slideLayouts/slideLayout30.xml"/><Relationship Id="rId6" Type="http://schemas.openxmlformats.org/officeDocument/2006/relationships/image" Target="../media/image6.png"/><Relationship Id="rId5" Type="http://schemas.openxmlformats.org/officeDocument/2006/relationships/tags" Target="../tags/tag401.xml"/><Relationship Id="rId4" Type="http://schemas.openxmlformats.org/officeDocument/2006/relationships/tags" Target="../tags/tag400.xml"/><Relationship Id="rId3" Type="http://schemas.openxmlformats.org/officeDocument/2006/relationships/tags" Target="../tags/tag399.xml"/><Relationship Id="rId2" Type="http://schemas.openxmlformats.org/officeDocument/2006/relationships/tags" Target="../tags/tag398.xml"/><Relationship Id="rId1" Type="http://schemas.openxmlformats.org/officeDocument/2006/relationships/tags" Target="../tags/tag397.xml"/></Relationships>
</file>

<file path=ppt/slides/_rels/slide156.xml.rels><?xml version="1.0" encoding="UTF-8" standalone="yes"?>
<Relationships xmlns="http://schemas.openxmlformats.org/package/2006/relationships"><Relationship Id="rId6" Type="http://schemas.openxmlformats.org/officeDocument/2006/relationships/vmlDrawing" Target="../drawings/vmlDrawing82.vml"/><Relationship Id="rId5" Type="http://schemas.openxmlformats.org/officeDocument/2006/relationships/slideLayout" Target="../slideLayouts/slideLayout26.xml"/><Relationship Id="rId4" Type="http://schemas.openxmlformats.org/officeDocument/2006/relationships/image" Target="../media/image6.png"/><Relationship Id="rId3" Type="http://schemas.openxmlformats.org/officeDocument/2006/relationships/image" Target="../media/image65.emf"/><Relationship Id="rId2" Type="http://schemas.openxmlformats.org/officeDocument/2006/relationships/oleObject" Target="../embeddings/oleObject82.bin"/><Relationship Id="rId1" Type="http://schemas.openxmlformats.org/officeDocument/2006/relationships/tags" Target="../tags/tag402.xml"/></Relationships>
</file>

<file path=ppt/slides/_rels/slide157.xml.rels><?xml version="1.0" encoding="UTF-8" standalone="yes"?>
<Relationships xmlns="http://schemas.openxmlformats.org/package/2006/relationships"><Relationship Id="rId6" Type="http://schemas.openxmlformats.org/officeDocument/2006/relationships/vmlDrawing" Target="../drawings/vmlDrawing83.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83.bin"/><Relationship Id="rId1" Type="http://schemas.openxmlformats.org/officeDocument/2006/relationships/tags" Target="../tags/tag403.xml"/></Relationships>
</file>

<file path=ppt/slides/_rels/slide158.xml.rels><?xml version="1.0" encoding="UTF-8" standalone="yes"?>
<Relationships xmlns="http://schemas.openxmlformats.org/package/2006/relationships"><Relationship Id="rId4" Type="http://schemas.openxmlformats.org/officeDocument/2006/relationships/slideLayout" Target="../slideLayouts/slideLayout6.xml"/><Relationship Id="rId3" Type="http://schemas.openxmlformats.org/officeDocument/2006/relationships/image" Target="../media/image6.png"/><Relationship Id="rId2" Type="http://schemas.openxmlformats.org/officeDocument/2006/relationships/image" Target="../media/image128.png"/><Relationship Id="rId1" Type="http://schemas.openxmlformats.org/officeDocument/2006/relationships/image" Target="../media/image127.png"/></Relationships>
</file>

<file path=ppt/slides/_rels/slide159.xml.rels><?xml version="1.0" encoding="UTF-8" standalone="yes"?>
<Relationships xmlns="http://schemas.openxmlformats.org/package/2006/relationships"><Relationship Id="rId4" Type="http://schemas.openxmlformats.org/officeDocument/2006/relationships/slideLayout" Target="../slideLayouts/slideLayout6.xml"/><Relationship Id="rId3" Type="http://schemas.openxmlformats.org/officeDocument/2006/relationships/image" Target="../media/image6.png"/><Relationship Id="rId2" Type="http://schemas.openxmlformats.org/officeDocument/2006/relationships/tags" Target="../tags/tag405.xml"/><Relationship Id="rId1" Type="http://schemas.openxmlformats.org/officeDocument/2006/relationships/tags" Target="../tags/tag404.xml"/></Relationships>
</file>

<file path=ppt/slides/_rels/slide16.xml.rels><?xml version="1.0" encoding="UTF-8" standalone="yes"?>
<Relationships xmlns="http://schemas.openxmlformats.org/package/2006/relationships"><Relationship Id="rId7" Type="http://schemas.openxmlformats.org/officeDocument/2006/relationships/notesSlide" Target="../notesSlides/notesSlide11.xml"/><Relationship Id="rId6" Type="http://schemas.openxmlformats.org/officeDocument/2006/relationships/vmlDrawing" Target="../drawings/vmlDrawing19.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19.bin"/><Relationship Id="rId1" Type="http://schemas.openxmlformats.org/officeDocument/2006/relationships/tags" Target="../tags/tag25.xml"/></Relationships>
</file>

<file path=ppt/slides/_rels/slide160.xml.rels><?xml version="1.0" encoding="UTF-8" standalone="yes"?>
<Relationships xmlns="http://schemas.openxmlformats.org/package/2006/relationships"><Relationship Id="rId9" Type="http://schemas.openxmlformats.org/officeDocument/2006/relationships/tags" Target="../tags/tag414.xml"/><Relationship Id="rId8" Type="http://schemas.openxmlformats.org/officeDocument/2006/relationships/tags" Target="../tags/tag413.xml"/><Relationship Id="rId7" Type="http://schemas.openxmlformats.org/officeDocument/2006/relationships/tags" Target="../tags/tag412.xml"/><Relationship Id="rId6" Type="http://schemas.openxmlformats.org/officeDocument/2006/relationships/tags" Target="../tags/tag411.xml"/><Relationship Id="rId5" Type="http://schemas.openxmlformats.org/officeDocument/2006/relationships/tags" Target="../tags/tag410.xml"/><Relationship Id="rId4" Type="http://schemas.openxmlformats.org/officeDocument/2006/relationships/tags" Target="../tags/tag409.xml"/><Relationship Id="rId3" Type="http://schemas.openxmlformats.org/officeDocument/2006/relationships/tags" Target="../tags/tag408.xml"/><Relationship Id="rId25" Type="http://schemas.openxmlformats.org/officeDocument/2006/relationships/slideLayout" Target="../slideLayouts/slideLayout23.xml"/><Relationship Id="rId24" Type="http://schemas.openxmlformats.org/officeDocument/2006/relationships/image" Target="../media/image6.png"/><Relationship Id="rId23" Type="http://schemas.openxmlformats.org/officeDocument/2006/relationships/tags" Target="../tags/tag428.xml"/><Relationship Id="rId22" Type="http://schemas.openxmlformats.org/officeDocument/2006/relationships/tags" Target="../tags/tag427.xml"/><Relationship Id="rId21" Type="http://schemas.openxmlformats.org/officeDocument/2006/relationships/tags" Target="../tags/tag426.xml"/><Relationship Id="rId20" Type="http://schemas.openxmlformats.org/officeDocument/2006/relationships/tags" Target="../tags/tag425.xml"/><Relationship Id="rId2" Type="http://schemas.openxmlformats.org/officeDocument/2006/relationships/tags" Target="../tags/tag407.xml"/><Relationship Id="rId19" Type="http://schemas.openxmlformats.org/officeDocument/2006/relationships/tags" Target="../tags/tag424.xml"/><Relationship Id="rId18" Type="http://schemas.openxmlformats.org/officeDocument/2006/relationships/tags" Target="../tags/tag423.xml"/><Relationship Id="rId17" Type="http://schemas.openxmlformats.org/officeDocument/2006/relationships/tags" Target="../tags/tag422.xml"/><Relationship Id="rId16" Type="http://schemas.openxmlformats.org/officeDocument/2006/relationships/tags" Target="../tags/tag421.xml"/><Relationship Id="rId15" Type="http://schemas.openxmlformats.org/officeDocument/2006/relationships/tags" Target="../tags/tag420.xml"/><Relationship Id="rId14" Type="http://schemas.openxmlformats.org/officeDocument/2006/relationships/tags" Target="../tags/tag419.xml"/><Relationship Id="rId13" Type="http://schemas.openxmlformats.org/officeDocument/2006/relationships/tags" Target="../tags/tag418.xml"/><Relationship Id="rId12" Type="http://schemas.openxmlformats.org/officeDocument/2006/relationships/tags" Target="../tags/tag417.xml"/><Relationship Id="rId11" Type="http://schemas.openxmlformats.org/officeDocument/2006/relationships/tags" Target="../tags/tag416.xml"/><Relationship Id="rId10" Type="http://schemas.openxmlformats.org/officeDocument/2006/relationships/tags" Target="../tags/tag415.xml"/><Relationship Id="rId1" Type="http://schemas.openxmlformats.org/officeDocument/2006/relationships/tags" Target="../tags/tag406.xml"/></Relationships>
</file>

<file path=ppt/slides/_rels/slide161.xml.rels><?xml version="1.0" encoding="UTF-8" standalone="yes"?>
<Relationships xmlns="http://schemas.openxmlformats.org/package/2006/relationships"><Relationship Id="rId7" Type="http://schemas.openxmlformats.org/officeDocument/2006/relationships/slideLayout" Target="../slideLayouts/slideLayout23.xml"/><Relationship Id="rId6" Type="http://schemas.openxmlformats.org/officeDocument/2006/relationships/image" Target="../media/image6.png"/><Relationship Id="rId5" Type="http://schemas.openxmlformats.org/officeDocument/2006/relationships/image" Target="../media/image133.png"/><Relationship Id="rId4" Type="http://schemas.openxmlformats.org/officeDocument/2006/relationships/image" Target="../media/image132.png"/><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image" Target="../media/image129.png"/></Relationships>
</file>

<file path=ppt/slides/_rels/slide17.xml.rels><?xml version="1.0" encoding="UTF-8" standalone="yes"?>
<Relationships xmlns="http://schemas.openxmlformats.org/package/2006/relationships"><Relationship Id="rId7" Type="http://schemas.openxmlformats.org/officeDocument/2006/relationships/notesSlide" Target="../notesSlides/notesSlide12.xml"/><Relationship Id="rId6" Type="http://schemas.openxmlformats.org/officeDocument/2006/relationships/vmlDrawing" Target="../drawings/vmlDrawing20.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20.bin"/><Relationship Id="rId1" Type="http://schemas.openxmlformats.org/officeDocument/2006/relationships/tags" Target="../tags/tag26.xml"/></Relationships>
</file>

<file path=ppt/slides/_rels/slide18.xml.rels><?xml version="1.0" encoding="UTF-8" standalone="yes"?>
<Relationships xmlns="http://schemas.openxmlformats.org/package/2006/relationships"><Relationship Id="rId7" Type="http://schemas.openxmlformats.org/officeDocument/2006/relationships/notesSlide" Target="../notesSlides/notesSlide13.xml"/><Relationship Id="rId6" Type="http://schemas.openxmlformats.org/officeDocument/2006/relationships/vmlDrawing" Target="../drawings/vmlDrawing21.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21.bin"/><Relationship Id="rId1" Type="http://schemas.openxmlformats.org/officeDocument/2006/relationships/tags" Target="../tags/tag27.xml"/></Relationships>
</file>

<file path=ppt/slides/_rels/slide19.xml.rels><?xml version="1.0" encoding="UTF-8" standalone="yes"?>
<Relationships xmlns="http://schemas.openxmlformats.org/package/2006/relationships"><Relationship Id="rId7" Type="http://schemas.openxmlformats.org/officeDocument/2006/relationships/notesSlide" Target="../notesSlides/notesSlide14.xml"/><Relationship Id="rId6" Type="http://schemas.openxmlformats.org/officeDocument/2006/relationships/vmlDrawing" Target="../drawings/vmlDrawing22.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22.bin"/><Relationship Id="rId1" Type="http://schemas.openxmlformats.org/officeDocument/2006/relationships/tags" Target="../tags/tag28.xml"/></Relationships>
</file>

<file path=ppt/slides/_rels/slide2.xml.rels><?xml version="1.0" encoding="UTF-8" standalone="yes"?>
<Relationships xmlns="http://schemas.openxmlformats.org/package/2006/relationships"><Relationship Id="rId4" Type="http://schemas.openxmlformats.org/officeDocument/2006/relationships/slideLayout" Target="../slideLayouts/slideLayout24.xml"/><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s>
</file>

<file path=ppt/slides/_rels/slide20.xml.rels><?xml version="1.0" encoding="UTF-8" standalone="yes"?>
<Relationships xmlns="http://schemas.openxmlformats.org/package/2006/relationships"><Relationship Id="rId6" Type="http://schemas.openxmlformats.org/officeDocument/2006/relationships/vmlDrawing" Target="../drawings/vmlDrawing23.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23.bin"/><Relationship Id="rId1" Type="http://schemas.openxmlformats.org/officeDocument/2006/relationships/tags" Target="../tags/tag29.xml"/></Relationships>
</file>

<file path=ppt/slides/_rels/slide21.xml.rels><?xml version="1.0" encoding="UTF-8" standalone="yes"?>
<Relationships xmlns="http://schemas.openxmlformats.org/package/2006/relationships"><Relationship Id="rId8" Type="http://schemas.openxmlformats.org/officeDocument/2006/relationships/vmlDrawing" Target="../drawings/vmlDrawing24.vml"/><Relationship Id="rId7"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10.png"/><Relationship Id="rId3" Type="http://schemas.openxmlformats.org/officeDocument/2006/relationships/image" Target="../media/image5.emf"/><Relationship Id="rId2" Type="http://schemas.openxmlformats.org/officeDocument/2006/relationships/oleObject" Target="../embeddings/oleObject24.bin"/><Relationship Id="rId1" Type="http://schemas.openxmlformats.org/officeDocument/2006/relationships/tags" Target="../tags/tag30.xml"/></Relationships>
</file>

<file path=ppt/slides/_rels/slide22.xml.rels><?xml version="1.0" encoding="UTF-8" standalone="yes"?>
<Relationships xmlns="http://schemas.openxmlformats.org/package/2006/relationships"><Relationship Id="rId9" Type="http://schemas.openxmlformats.org/officeDocument/2006/relationships/tags" Target="../tags/tag33.xml"/><Relationship Id="rId8" Type="http://schemas.openxmlformats.org/officeDocument/2006/relationships/tags" Target="../tags/tag32.xml"/><Relationship Id="rId7" Type="http://schemas.openxmlformats.org/officeDocument/2006/relationships/image" Target="../media/image15.jpeg"/><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3" Type="http://schemas.openxmlformats.org/officeDocument/2006/relationships/image" Target="../media/image1.emf"/><Relationship Id="rId2" Type="http://schemas.openxmlformats.org/officeDocument/2006/relationships/oleObject" Target="../embeddings/oleObject25.bin"/><Relationship Id="rId19" Type="http://schemas.openxmlformats.org/officeDocument/2006/relationships/notesSlide" Target="../notesSlides/notesSlide15.xml"/><Relationship Id="rId18" Type="http://schemas.openxmlformats.org/officeDocument/2006/relationships/vmlDrawing" Target="../drawings/vmlDrawing25.vml"/><Relationship Id="rId17" Type="http://schemas.openxmlformats.org/officeDocument/2006/relationships/slideLayout" Target="../slideLayouts/slideLayout3.xml"/><Relationship Id="rId16" Type="http://schemas.openxmlformats.org/officeDocument/2006/relationships/image" Target="../media/image6.png"/><Relationship Id="rId15" Type="http://schemas.openxmlformats.org/officeDocument/2006/relationships/tags" Target="../tags/tag39.xml"/><Relationship Id="rId14" Type="http://schemas.openxmlformats.org/officeDocument/2006/relationships/tags" Target="../tags/tag38.xml"/><Relationship Id="rId13" Type="http://schemas.openxmlformats.org/officeDocument/2006/relationships/tags" Target="../tags/tag37.xml"/><Relationship Id="rId12" Type="http://schemas.openxmlformats.org/officeDocument/2006/relationships/tags" Target="../tags/tag36.xml"/><Relationship Id="rId11" Type="http://schemas.openxmlformats.org/officeDocument/2006/relationships/tags" Target="../tags/tag35.xml"/><Relationship Id="rId10" Type="http://schemas.openxmlformats.org/officeDocument/2006/relationships/tags" Target="../tags/tag34.xml"/><Relationship Id="rId1" Type="http://schemas.openxmlformats.org/officeDocument/2006/relationships/tags" Target="../tags/tag31.xml"/></Relationships>
</file>

<file path=ppt/slides/_rels/slide23.xml.rels><?xml version="1.0" encoding="UTF-8" standalone="yes"?>
<Relationships xmlns="http://schemas.openxmlformats.org/package/2006/relationships"><Relationship Id="rId7" Type="http://schemas.openxmlformats.org/officeDocument/2006/relationships/notesSlide" Target="../notesSlides/notesSlide16.xml"/><Relationship Id="rId6" Type="http://schemas.openxmlformats.org/officeDocument/2006/relationships/vmlDrawing" Target="../drawings/vmlDrawing26.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26.bin"/><Relationship Id="rId1" Type="http://schemas.openxmlformats.org/officeDocument/2006/relationships/tags" Target="../tags/tag40.xml"/></Relationships>
</file>

<file path=ppt/slides/_rels/slide24.xml.rels><?xml version="1.0" encoding="UTF-8" standalone="yes"?>
<Relationships xmlns="http://schemas.openxmlformats.org/package/2006/relationships"><Relationship Id="rId7" Type="http://schemas.openxmlformats.org/officeDocument/2006/relationships/notesSlide" Target="../notesSlides/notesSlide17.xml"/><Relationship Id="rId6" Type="http://schemas.openxmlformats.org/officeDocument/2006/relationships/vmlDrawing" Target="../drawings/vmlDrawing27.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27.bin"/><Relationship Id="rId1" Type="http://schemas.openxmlformats.org/officeDocument/2006/relationships/tags" Target="../tags/tag41.xml"/></Relationships>
</file>

<file path=ppt/slides/_rels/slide25.xml.rels><?xml version="1.0" encoding="UTF-8" standalone="yes"?>
<Relationships xmlns="http://schemas.openxmlformats.org/package/2006/relationships"><Relationship Id="rId7" Type="http://schemas.openxmlformats.org/officeDocument/2006/relationships/notesSlide" Target="../notesSlides/notesSlide18.xml"/><Relationship Id="rId6" Type="http://schemas.openxmlformats.org/officeDocument/2006/relationships/vmlDrawing" Target="../drawings/vmlDrawing28.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28.bin"/><Relationship Id="rId1" Type="http://schemas.openxmlformats.org/officeDocument/2006/relationships/tags" Target="../tags/tag42.xml"/></Relationships>
</file>

<file path=ppt/slides/_rels/slide26.xml.rels><?xml version="1.0" encoding="UTF-8" standalone="yes"?>
<Relationships xmlns="http://schemas.openxmlformats.org/package/2006/relationships"><Relationship Id="rId7" Type="http://schemas.openxmlformats.org/officeDocument/2006/relationships/notesSlide" Target="../notesSlides/notesSlide19.xml"/><Relationship Id="rId6" Type="http://schemas.openxmlformats.org/officeDocument/2006/relationships/vmlDrawing" Target="../drawings/vmlDrawing29.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29.bin"/><Relationship Id="rId1" Type="http://schemas.openxmlformats.org/officeDocument/2006/relationships/tags" Target="../tags/tag43.xml"/></Relationships>
</file>

<file path=ppt/slides/_rels/slide27.xml.rels><?xml version="1.0" encoding="UTF-8" standalone="yes"?>
<Relationships xmlns="http://schemas.openxmlformats.org/package/2006/relationships"><Relationship Id="rId7" Type="http://schemas.openxmlformats.org/officeDocument/2006/relationships/notesSlide" Target="../notesSlides/notesSlide20.xml"/><Relationship Id="rId6" Type="http://schemas.openxmlformats.org/officeDocument/2006/relationships/vmlDrawing" Target="../drawings/vmlDrawing30.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30.bin"/><Relationship Id="rId1" Type="http://schemas.openxmlformats.org/officeDocument/2006/relationships/tags" Target="../tags/tag44.xml"/></Relationships>
</file>

<file path=ppt/slides/_rels/slide28.xml.rels><?xml version="1.0" encoding="UTF-8" standalone="yes"?>
<Relationships xmlns="http://schemas.openxmlformats.org/package/2006/relationships"><Relationship Id="rId7" Type="http://schemas.openxmlformats.org/officeDocument/2006/relationships/notesSlide" Target="../notesSlides/notesSlide21.xml"/><Relationship Id="rId6" Type="http://schemas.openxmlformats.org/officeDocument/2006/relationships/vmlDrawing" Target="../drawings/vmlDrawing31.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31.bin"/><Relationship Id="rId1" Type="http://schemas.openxmlformats.org/officeDocument/2006/relationships/tags" Target="../tags/tag45.xml"/></Relationships>
</file>

<file path=ppt/slides/_rels/slide29.xml.rels><?xml version="1.0" encoding="UTF-8" standalone="yes"?>
<Relationships xmlns="http://schemas.openxmlformats.org/package/2006/relationships"><Relationship Id="rId7" Type="http://schemas.openxmlformats.org/officeDocument/2006/relationships/notesSlide" Target="../notesSlides/notesSlide22.xml"/><Relationship Id="rId6" Type="http://schemas.openxmlformats.org/officeDocument/2006/relationships/vmlDrawing" Target="../drawings/vmlDrawing32.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32.bin"/><Relationship Id="rId1" Type="http://schemas.openxmlformats.org/officeDocument/2006/relationships/tags" Target="../tags/tag46.xml"/></Relationships>
</file>

<file path=ppt/slides/_rels/slide3.xml.rels><?xml version="1.0" encoding="UTF-8" standalone="yes"?>
<Relationships xmlns="http://schemas.openxmlformats.org/package/2006/relationships"><Relationship Id="rId6" Type="http://schemas.openxmlformats.org/officeDocument/2006/relationships/vmlDrawing" Target="../drawings/vmlDrawing8.vml"/><Relationship Id="rId5" Type="http://schemas.openxmlformats.org/officeDocument/2006/relationships/slideLayout" Target="../slideLayouts/slideLayout25.xml"/><Relationship Id="rId4" Type="http://schemas.openxmlformats.org/officeDocument/2006/relationships/image" Target="../media/image9.png"/><Relationship Id="rId3" Type="http://schemas.openxmlformats.org/officeDocument/2006/relationships/image" Target="../media/image8.emf"/><Relationship Id="rId2" Type="http://schemas.openxmlformats.org/officeDocument/2006/relationships/oleObject" Target="../embeddings/oleObject8.bin"/><Relationship Id="rId1" Type="http://schemas.openxmlformats.org/officeDocument/2006/relationships/tags" Target="../tags/tag14.xml"/></Relationships>
</file>

<file path=ppt/slides/_rels/slide30.xml.rels><?xml version="1.0" encoding="UTF-8" standalone="yes"?>
<Relationships xmlns="http://schemas.openxmlformats.org/package/2006/relationships"><Relationship Id="rId7" Type="http://schemas.openxmlformats.org/officeDocument/2006/relationships/notesSlide" Target="../notesSlides/notesSlide23.xml"/><Relationship Id="rId6" Type="http://schemas.openxmlformats.org/officeDocument/2006/relationships/vmlDrawing" Target="../drawings/vmlDrawing33.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33.bin"/><Relationship Id="rId1" Type="http://schemas.openxmlformats.org/officeDocument/2006/relationships/tags" Target="../tags/tag47.xml"/></Relationships>
</file>

<file path=ppt/slides/_rels/slide31.xml.rels><?xml version="1.0" encoding="UTF-8" standalone="yes"?>
<Relationships xmlns="http://schemas.openxmlformats.org/package/2006/relationships"><Relationship Id="rId9" Type="http://schemas.openxmlformats.org/officeDocument/2006/relationships/vmlDrawing" Target="../drawings/vmlDrawing34.vml"/><Relationship Id="rId8" Type="http://schemas.openxmlformats.org/officeDocument/2006/relationships/slideLayout" Target="../slideLayouts/slideLayout3.xml"/><Relationship Id="rId7" Type="http://schemas.openxmlformats.org/officeDocument/2006/relationships/image" Target="../media/image6.png"/><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3" Type="http://schemas.openxmlformats.org/officeDocument/2006/relationships/image" Target="../media/image5.emf"/><Relationship Id="rId2" Type="http://schemas.openxmlformats.org/officeDocument/2006/relationships/oleObject" Target="../embeddings/oleObject34.bin"/><Relationship Id="rId10" Type="http://schemas.openxmlformats.org/officeDocument/2006/relationships/notesSlide" Target="../notesSlides/notesSlide24.xml"/><Relationship Id="rId1" Type="http://schemas.openxmlformats.org/officeDocument/2006/relationships/tags" Target="../tags/tag48.xml"/></Relationships>
</file>

<file path=ppt/slides/_rels/slide32.xml.rels><?xml version="1.0" encoding="UTF-8" standalone="yes"?>
<Relationships xmlns="http://schemas.openxmlformats.org/package/2006/relationships"><Relationship Id="rId7" Type="http://schemas.openxmlformats.org/officeDocument/2006/relationships/notesSlide" Target="../notesSlides/notesSlide25.xml"/><Relationship Id="rId6" Type="http://schemas.openxmlformats.org/officeDocument/2006/relationships/vmlDrawing" Target="../drawings/vmlDrawing35.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35.bin"/><Relationship Id="rId1" Type="http://schemas.openxmlformats.org/officeDocument/2006/relationships/tags" Target="../tags/tag49.xml"/></Relationships>
</file>

<file path=ppt/slides/_rels/slide33.xml.rels><?xml version="1.0" encoding="UTF-8" standalone="yes"?>
<Relationships xmlns="http://schemas.openxmlformats.org/package/2006/relationships"><Relationship Id="rId7" Type="http://schemas.openxmlformats.org/officeDocument/2006/relationships/notesSlide" Target="../notesSlides/notesSlide26.xml"/><Relationship Id="rId6" Type="http://schemas.openxmlformats.org/officeDocument/2006/relationships/vmlDrawing" Target="../drawings/vmlDrawing36.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36.bin"/><Relationship Id="rId1" Type="http://schemas.openxmlformats.org/officeDocument/2006/relationships/tags" Target="../tags/tag5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7" Type="http://schemas.openxmlformats.org/officeDocument/2006/relationships/notesSlide" Target="../notesSlides/notesSlide27.xml"/><Relationship Id="rId6" Type="http://schemas.openxmlformats.org/officeDocument/2006/relationships/vmlDrawing" Target="../drawings/vmlDrawing37.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37.bin"/><Relationship Id="rId1" Type="http://schemas.openxmlformats.org/officeDocument/2006/relationships/tags" Target="../tags/tag51.xml"/></Relationships>
</file>

<file path=ppt/slides/_rels/slide36.xml.rels><?xml version="1.0" encoding="UTF-8" standalone="yes"?>
<Relationships xmlns="http://schemas.openxmlformats.org/package/2006/relationships"><Relationship Id="rId9" Type="http://schemas.openxmlformats.org/officeDocument/2006/relationships/vmlDrawing" Target="../drawings/vmlDrawing38.vml"/><Relationship Id="rId8" Type="http://schemas.openxmlformats.org/officeDocument/2006/relationships/slideLayout" Target="../slideLayouts/slideLayout3.xml"/><Relationship Id="rId7" Type="http://schemas.openxmlformats.org/officeDocument/2006/relationships/image" Target="../media/image6.png"/><Relationship Id="rId6" Type="http://schemas.openxmlformats.org/officeDocument/2006/relationships/image" Target="../media/image21.png"/><Relationship Id="rId5" Type="http://schemas.microsoft.com/office/2007/relationships/hdphoto" Target="../media/image20.wdp"/><Relationship Id="rId4" Type="http://schemas.openxmlformats.org/officeDocument/2006/relationships/image" Target="../media/image19.png"/><Relationship Id="rId3" Type="http://schemas.openxmlformats.org/officeDocument/2006/relationships/image" Target="../media/image5.emf"/><Relationship Id="rId2" Type="http://schemas.openxmlformats.org/officeDocument/2006/relationships/oleObject" Target="../embeddings/oleObject38.bin"/><Relationship Id="rId10" Type="http://schemas.openxmlformats.org/officeDocument/2006/relationships/notesSlide" Target="../notesSlides/notesSlide28.xml"/><Relationship Id="rId1" Type="http://schemas.openxmlformats.org/officeDocument/2006/relationships/tags" Target="../tags/tag52.xml"/></Relationships>
</file>

<file path=ppt/slides/_rels/slide37.xml.rels><?xml version="1.0" encoding="UTF-8" standalone="yes"?>
<Relationships xmlns="http://schemas.openxmlformats.org/package/2006/relationships"><Relationship Id="rId7" Type="http://schemas.openxmlformats.org/officeDocument/2006/relationships/notesSlide" Target="../notesSlides/notesSlide29.xml"/><Relationship Id="rId6" Type="http://schemas.openxmlformats.org/officeDocument/2006/relationships/vmlDrawing" Target="../drawings/vmlDrawing39.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39.bin"/><Relationship Id="rId1" Type="http://schemas.openxmlformats.org/officeDocument/2006/relationships/tags" Target="../tags/tag53.xml"/></Relationships>
</file>

<file path=ppt/slides/_rels/slide38.xml.rels><?xml version="1.0" encoding="UTF-8" standalone="yes"?>
<Relationships xmlns="http://schemas.openxmlformats.org/package/2006/relationships"><Relationship Id="rId7" Type="http://schemas.openxmlformats.org/officeDocument/2006/relationships/notesSlide" Target="../notesSlides/notesSlide30.xml"/><Relationship Id="rId6" Type="http://schemas.openxmlformats.org/officeDocument/2006/relationships/vmlDrawing" Target="../drawings/vmlDrawing40.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40.bin"/><Relationship Id="rId1" Type="http://schemas.openxmlformats.org/officeDocument/2006/relationships/tags" Target="../tags/tag54.xml"/></Relationships>
</file>

<file path=ppt/slides/_rels/slide39.xml.rels><?xml version="1.0" encoding="UTF-8" standalone="yes"?>
<Relationships xmlns="http://schemas.openxmlformats.org/package/2006/relationships"><Relationship Id="rId9" Type="http://schemas.openxmlformats.org/officeDocument/2006/relationships/image" Target="../media/image27.png"/><Relationship Id="rId8" Type="http://schemas.openxmlformats.org/officeDocument/2006/relationships/image" Target="../media/image26.png"/><Relationship Id="rId7" Type="http://schemas.openxmlformats.org/officeDocument/2006/relationships/image" Target="../media/image25.png"/><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jpeg"/><Relationship Id="rId3" Type="http://schemas.openxmlformats.org/officeDocument/2006/relationships/image" Target="../media/image5.emf"/><Relationship Id="rId2" Type="http://schemas.openxmlformats.org/officeDocument/2006/relationships/oleObject" Target="../embeddings/oleObject41.bin"/><Relationship Id="rId13" Type="http://schemas.openxmlformats.org/officeDocument/2006/relationships/vmlDrawing" Target="../drawings/vmlDrawing41.vml"/><Relationship Id="rId12" Type="http://schemas.openxmlformats.org/officeDocument/2006/relationships/slideLayout" Target="../slideLayouts/slideLayout3.xml"/><Relationship Id="rId11" Type="http://schemas.openxmlformats.org/officeDocument/2006/relationships/image" Target="../media/image6.png"/><Relationship Id="rId10" Type="http://schemas.openxmlformats.org/officeDocument/2006/relationships/tags" Target="../tags/tag56.xml"/><Relationship Id="rId1" Type="http://schemas.openxmlformats.org/officeDocument/2006/relationships/tags" Target="../tags/tag5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6.png"/></Relationships>
</file>

<file path=ppt/slides/_rels/slide40.xml.rels><?xml version="1.0" encoding="UTF-8" standalone="yes"?>
<Relationships xmlns="http://schemas.openxmlformats.org/package/2006/relationships"><Relationship Id="rId8" Type="http://schemas.openxmlformats.org/officeDocument/2006/relationships/notesSlide" Target="../notesSlides/notesSlide31.xml"/><Relationship Id="rId7" Type="http://schemas.openxmlformats.org/officeDocument/2006/relationships/slideLayout" Target="../slideLayouts/slideLayout2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image" Target="../media/image28.jpeg"/></Relationships>
</file>

<file path=ppt/slides/_rels/slide41.xml.rels><?xml version="1.0" encoding="UTF-8" standalone="yes"?>
<Relationships xmlns="http://schemas.openxmlformats.org/package/2006/relationships"><Relationship Id="rId6" Type="http://schemas.openxmlformats.org/officeDocument/2006/relationships/vmlDrawing" Target="../drawings/vmlDrawing42.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42.bin"/><Relationship Id="rId1" Type="http://schemas.openxmlformats.org/officeDocument/2006/relationships/tags" Target="../tags/tag5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6" Type="http://schemas.openxmlformats.org/officeDocument/2006/relationships/slideLayout" Target="../slideLayouts/slideLayout23.xml"/><Relationship Id="rId5" Type="http://schemas.openxmlformats.org/officeDocument/2006/relationships/chart" Target="../charts/chart5.xml"/><Relationship Id="rId4" Type="http://schemas.openxmlformats.org/officeDocument/2006/relationships/chart" Target="../charts/chart4.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7" Type="http://schemas.openxmlformats.org/officeDocument/2006/relationships/notesSlide" Target="../notesSlides/notesSlide32.xml"/><Relationship Id="rId6" Type="http://schemas.openxmlformats.org/officeDocument/2006/relationships/vmlDrawing" Target="../drawings/vmlDrawing43.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43.bin"/><Relationship Id="rId1" Type="http://schemas.openxmlformats.org/officeDocument/2006/relationships/tags" Target="../tags/tag58.xml"/></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6.png"/></Relationships>
</file>

<file path=ppt/slides/_rels/slide49.xml.rels><?xml version="1.0" encoding="UTF-8" standalone="yes"?>
<Relationships xmlns="http://schemas.openxmlformats.org/package/2006/relationships"><Relationship Id="rId7" Type="http://schemas.openxmlformats.org/officeDocument/2006/relationships/notesSlide" Target="../notesSlides/notesSlide33.xml"/><Relationship Id="rId6" Type="http://schemas.openxmlformats.org/officeDocument/2006/relationships/vmlDrawing" Target="../drawings/vmlDrawing44.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44.bin"/><Relationship Id="rId1" Type="http://schemas.openxmlformats.org/officeDocument/2006/relationships/tags" Target="../tags/tag59.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8.xml"/><Relationship Id="rId7" Type="http://schemas.openxmlformats.org/officeDocument/2006/relationships/slide" Target="slide47.xml"/><Relationship Id="rId6" Type="http://schemas.openxmlformats.org/officeDocument/2006/relationships/image" Target="../media/image6.png"/><Relationship Id="rId5" Type="http://schemas.openxmlformats.org/officeDocument/2006/relationships/slide" Target="slide66.xml"/><Relationship Id="rId4" Type="http://schemas.openxmlformats.org/officeDocument/2006/relationships/slide" Target="slide51.xml"/><Relationship Id="rId3" Type="http://schemas.openxmlformats.org/officeDocument/2006/relationships/slide" Target="slide16.xml"/><Relationship Id="rId2" Type="http://schemas.openxmlformats.org/officeDocument/2006/relationships/slide" Target="slide6.xml"/><Relationship Id="rId1" Type="http://schemas.openxmlformats.org/officeDocument/2006/relationships/hyperlink" Target="&#39033;&#30446;&#31649;&#29702;&#37096;-&#24037;&#20855;&#27169;&#26495;-20190521.pptx" TargetMode="External"/></Relationships>
</file>

<file path=ppt/slides/_rels/slide50.xml.rels><?xml version="1.0" encoding="UTF-8" standalone="yes"?>
<Relationships xmlns="http://schemas.openxmlformats.org/package/2006/relationships"><Relationship Id="rId7" Type="http://schemas.openxmlformats.org/officeDocument/2006/relationships/slideLayout" Target="../slideLayouts/slideLayout3.xml"/><Relationship Id="rId6" Type="http://schemas.openxmlformats.org/officeDocument/2006/relationships/image" Target="../media/image6.png"/><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51.xml.rels><?xml version="1.0" encoding="UTF-8" standalone="yes"?>
<Relationships xmlns="http://schemas.openxmlformats.org/package/2006/relationships"><Relationship Id="rId9" Type="http://schemas.openxmlformats.org/officeDocument/2006/relationships/tags" Target="../tags/tag66.xml"/><Relationship Id="rId8" Type="http://schemas.openxmlformats.org/officeDocument/2006/relationships/tags" Target="../tags/tag65.xml"/><Relationship Id="rId7" Type="http://schemas.openxmlformats.org/officeDocument/2006/relationships/tags" Target="../tags/tag64.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 Id="rId3" Type="http://schemas.openxmlformats.org/officeDocument/2006/relationships/image" Target="../media/image5.emf"/><Relationship Id="rId2" Type="http://schemas.openxmlformats.org/officeDocument/2006/relationships/oleObject" Target="../embeddings/oleObject45.bin"/><Relationship Id="rId12" Type="http://schemas.openxmlformats.org/officeDocument/2006/relationships/vmlDrawing" Target="../drawings/vmlDrawing45.vml"/><Relationship Id="rId11" Type="http://schemas.openxmlformats.org/officeDocument/2006/relationships/slideLayout" Target="../slideLayouts/slideLayout3.xml"/><Relationship Id="rId10" Type="http://schemas.openxmlformats.org/officeDocument/2006/relationships/image" Target="../media/image6.png"/><Relationship Id="rId1" Type="http://schemas.openxmlformats.org/officeDocument/2006/relationships/tags" Target="../tags/tag60.xml"/></Relationships>
</file>

<file path=ppt/slides/_rels/slide52.xml.rels><?xml version="1.0" encoding="UTF-8" standalone="yes"?>
<Relationships xmlns="http://schemas.openxmlformats.org/package/2006/relationships"><Relationship Id="rId6" Type="http://schemas.openxmlformats.org/officeDocument/2006/relationships/vmlDrawing" Target="../drawings/vmlDrawing46.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46.bin"/><Relationship Id="rId1" Type="http://schemas.openxmlformats.org/officeDocument/2006/relationships/tags" Target="../tags/tag67.xml"/></Relationships>
</file>

<file path=ppt/slides/_rels/slide53.xml.rels><?xml version="1.0" encoding="UTF-8" standalone="yes"?>
<Relationships xmlns="http://schemas.openxmlformats.org/package/2006/relationships"><Relationship Id="rId7" Type="http://schemas.openxmlformats.org/officeDocument/2006/relationships/notesSlide" Target="../notesSlides/notesSlide34.xml"/><Relationship Id="rId6" Type="http://schemas.openxmlformats.org/officeDocument/2006/relationships/vmlDrawing" Target="../drawings/vmlDrawing47.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47.bin"/><Relationship Id="rId1" Type="http://schemas.openxmlformats.org/officeDocument/2006/relationships/tags" Target="../tags/tag68.xml"/></Relationships>
</file>

<file path=ppt/slides/_rels/slide54.xml.rels><?xml version="1.0" encoding="UTF-8" standalone="yes"?>
<Relationships xmlns="http://schemas.openxmlformats.org/package/2006/relationships"><Relationship Id="rId7" Type="http://schemas.openxmlformats.org/officeDocument/2006/relationships/notesSlide" Target="../notesSlides/notesSlide35.xml"/><Relationship Id="rId6" Type="http://schemas.openxmlformats.org/officeDocument/2006/relationships/vmlDrawing" Target="../drawings/vmlDrawing48.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48.bin"/><Relationship Id="rId1" Type="http://schemas.openxmlformats.org/officeDocument/2006/relationships/tags" Target="../tags/tag69.xml"/></Relationships>
</file>

<file path=ppt/slides/_rels/slide55.xml.rels><?xml version="1.0" encoding="UTF-8" standalone="yes"?>
<Relationships xmlns="http://schemas.openxmlformats.org/package/2006/relationships"><Relationship Id="rId9" Type="http://schemas.openxmlformats.org/officeDocument/2006/relationships/vmlDrawing" Target="../drawings/vmlDrawing49.vml"/><Relationship Id="rId8" Type="http://schemas.openxmlformats.org/officeDocument/2006/relationships/slideLayout" Target="../slideLayouts/slideLayout3.xml"/><Relationship Id="rId7" Type="http://schemas.openxmlformats.org/officeDocument/2006/relationships/image" Target="../media/image6.png"/><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3" Type="http://schemas.openxmlformats.org/officeDocument/2006/relationships/image" Target="../media/image5.emf"/><Relationship Id="rId2" Type="http://schemas.openxmlformats.org/officeDocument/2006/relationships/oleObject" Target="../embeddings/oleObject49.bin"/><Relationship Id="rId10" Type="http://schemas.openxmlformats.org/officeDocument/2006/relationships/notesSlide" Target="../notesSlides/notesSlide36.xml"/><Relationship Id="rId1" Type="http://schemas.openxmlformats.org/officeDocument/2006/relationships/tags" Target="../tags/tag70.xml"/></Relationships>
</file>

<file path=ppt/slides/_rels/slide56.xml.rels><?xml version="1.0" encoding="UTF-8" standalone="yes"?>
<Relationships xmlns="http://schemas.openxmlformats.org/package/2006/relationships"><Relationship Id="rId6" Type="http://schemas.openxmlformats.org/officeDocument/2006/relationships/vmlDrawing" Target="../drawings/vmlDrawing50.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50.bin"/><Relationship Id="rId1" Type="http://schemas.openxmlformats.org/officeDocument/2006/relationships/tags" Target="../tags/tag74.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6.png"/></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6.png"/></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6.png"/></Relationships>
</file>

<file path=ppt/slides/_rels/slide6.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vmlDrawing" Target="../drawings/vmlDrawing9.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9.bin"/><Relationship Id="rId1" Type="http://schemas.openxmlformats.org/officeDocument/2006/relationships/tags" Target="../tags/tag15.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6.png"/></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6.png"/></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6.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7" Type="http://schemas.openxmlformats.org/officeDocument/2006/relationships/notesSlide" Target="../notesSlides/notesSlide37.xml"/><Relationship Id="rId6" Type="http://schemas.openxmlformats.org/officeDocument/2006/relationships/vmlDrawing" Target="../drawings/vmlDrawing51.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51.bin"/><Relationship Id="rId1" Type="http://schemas.openxmlformats.org/officeDocument/2006/relationships/tags" Target="../tags/tag7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9" Type="http://schemas.openxmlformats.org/officeDocument/2006/relationships/tags" Target="../tags/tag82.xml"/><Relationship Id="rId8" Type="http://schemas.openxmlformats.org/officeDocument/2006/relationships/tags" Target="../tags/tag81.xml"/><Relationship Id="rId7" Type="http://schemas.openxmlformats.org/officeDocument/2006/relationships/tags" Target="../tags/tag80.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 Id="rId3" Type="http://schemas.openxmlformats.org/officeDocument/2006/relationships/image" Target="../media/image1.emf"/><Relationship Id="rId22" Type="http://schemas.openxmlformats.org/officeDocument/2006/relationships/notesSlide" Target="../notesSlides/notesSlide38.xml"/><Relationship Id="rId21" Type="http://schemas.openxmlformats.org/officeDocument/2006/relationships/vmlDrawing" Target="../drawings/vmlDrawing52.vml"/><Relationship Id="rId20" Type="http://schemas.openxmlformats.org/officeDocument/2006/relationships/slideLayout" Target="../slideLayouts/slideLayout3.xml"/><Relationship Id="rId2" Type="http://schemas.openxmlformats.org/officeDocument/2006/relationships/oleObject" Target="../embeddings/oleObject52.bin"/><Relationship Id="rId19" Type="http://schemas.openxmlformats.org/officeDocument/2006/relationships/image" Target="../media/image6.png"/><Relationship Id="rId18" Type="http://schemas.openxmlformats.org/officeDocument/2006/relationships/tags" Target="../tags/tag91.xml"/><Relationship Id="rId17" Type="http://schemas.openxmlformats.org/officeDocument/2006/relationships/tags" Target="../tags/tag90.xml"/><Relationship Id="rId16" Type="http://schemas.openxmlformats.org/officeDocument/2006/relationships/tags" Target="../tags/tag89.xml"/><Relationship Id="rId15" Type="http://schemas.openxmlformats.org/officeDocument/2006/relationships/tags" Target="../tags/tag88.xml"/><Relationship Id="rId14" Type="http://schemas.openxmlformats.org/officeDocument/2006/relationships/tags" Target="../tags/tag87.xml"/><Relationship Id="rId13" Type="http://schemas.openxmlformats.org/officeDocument/2006/relationships/tags" Target="../tags/tag86.xml"/><Relationship Id="rId12" Type="http://schemas.openxmlformats.org/officeDocument/2006/relationships/tags" Target="../tags/tag85.xml"/><Relationship Id="rId11" Type="http://schemas.openxmlformats.org/officeDocument/2006/relationships/tags" Target="../tags/tag84.xml"/><Relationship Id="rId10" Type="http://schemas.openxmlformats.org/officeDocument/2006/relationships/tags" Target="../tags/tag83.xml"/><Relationship Id="rId1" Type="http://schemas.openxmlformats.org/officeDocument/2006/relationships/tags" Target="../tags/tag76.xml"/></Relationships>
</file>

<file path=ppt/slides/_rels/slide69.xml.rels><?xml version="1.0" encoding="UTF-8" standalone="yes"?>
<Relationships xmlns="http://schemas.openxmlformats.org/package/2006/relationships"><Relationship Id="rId9" Type="http://schemas.openxmlformats.org/officeDocument/2006/relationships/notesSlide" Target="../notesSlides/notesSlide39.xml"/><Relationship Id="rId8" Type="http://schemas.openxmlformats.org/officeDocument/2006/relationships/vmlDrawing" Target="../drawings/vmlDrawing53.vml"/><Relationship Id="rId7"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35.jpeg"/><Relationship Id="rId4" Type="http://schemas.openxmlformats.org/officeDocument/2006/relationships/image" Target="../media/image34.jpeg"/><Relationship Id="rId3" Type="http://schemas.openxmlformats.org/officeDocument/2006/relationships/image" Target="../media/image5.emf"/><Relationship Id="rId2" Type="http://schemas.openxmlformats.org/officeDocument/2006/relationships/oleObject" Target="../embeddings/oleObject53.bin"/><Relationship Id="rId1" Type="http://schemas.openxmlformats.org/officeDocument/2006/relationships/tags" Target="../tags/tag92.xml"/></Relationships>
</file>

<file path=ppt/slides/_rels/slide7.xml.rels><?xml version="1.0" encoding="UTF-8" standalone="yes"?>
<Relationships xmlns="http://schemas.openxmlformats.org/package/2006/relationships"><Relationship Id="rId7" Type="http://schemas.openxmlformats.org/officeDocument/2006/relationships/notesSlide" Target="../notesSlides/notesSlide2.xml"/><Relationship Id="rId6" Type="http://schemas.openxmlformats.org/officeDocument/2006/relationships/vmlDrawing" Target="../drawings/vmlDrawing10.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10.bin"/><Relationship Id="rId1" Type="http://schemas.openxmlformats.org/officeDocument/2006/relationships/tags" Target="../tags/tag16.xml"/></Relationships>
</file>

<file path=ppt/slides/_rels/slide70.xml.rels><?xml version="1.0" encoding="UTF-8" standalone="yes"?>
<Relationships xmlns="http://schemas.openxmlformats.org/package/2006/relationships"><Relationship Id="rId6" Type="http://schemas.openxmlformats.org/officeDocument/2006/relationships/vmlDrawing" Target="../drawings/vmlDrawing54.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1.emf"/><Relationship Id="rId2" Type="http://schemas.openxmlformats.org/officeDocument/2006/relationships/oleObject" Target="../embeddings/oleObject54.bin"/><Relationship Id="rId1" Type="http://schemas.openxmlformats.org/officeDocument/2006/relationships/tags" Target="../tags/tag93.xml"/></Relationships>
</file>

<file path=ppt/slides/_rels/slide71.xml.rels><?xml version="1.0" encoding="UTF-8" standalone="yes"?>
<Relationships xmlns="http://schemas.openxmlformats.org/package/2006/relationships"><Relationship Id="rId6" Type="http://schemas.openxmlformats.org/officeDocument/2006/relationships/vmlDrawing" Target="../drawings/vmlDrawing55.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1.emf"/><Relationship Id="rId2" Type="http://schemas.openxmlformats.org/officeDocument/2006/relationships/oleObject" Target="../embeddings/oleObject55.bin"/><Relationship Id="rId1" Type="http://schemas.openxmlformats.org/officeDocument/2006/relationships/tags" Target="../tags/tag94.xml"/></Relationships>
</file>

<file path=ppt/slides/_rels/slide72.xml.rels><?xml version="1.0" encoding="UTF-8" standalone="yes"?>
<Relationships xmlns="http://schemas.openxmlformats.org/package/2006/relationships"><Relationship Id="rId8" Type="http://schemas.openxmlformats.org/officeDocument/2006/relationships/notesSlide" Target="../notesSlides/notesSlide40.xml"/><Relationship Id="rId7" Type="http://schemas.openxmlformats.org/officeDocument/2006/relationships/vmlDrawing" Target="../drawings/vmlDrawing56.vml"/><Relationship Id="rId6"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tags" Target="../tags/tag96.xml"/><Relationship Id="rId3" Type="http://schemas.openxmlformats.org/officeDocument/2006/relationships/image" Target="../media/image1.emf"/><Relationship Id="rId2" Type="http://schemas.openxmlformats.org/officeDocument/2006/relationships/oleObject" Target="../embeddings/oleObject56.bin"/><Relationship Id="rId1" Type="http://schemas.openxmlformats.org/officeDocument/2006/relationships/tags" Target="../tags/tag95.xml"/></Relationships>
</file>

<file path=ppt/slides/_rels/slide73.xml.rels><?xml version="1.0" encoding="UTF-8" standalone="yes"?>
<Relationships xmlns="http://schemas.openxmlformats.org/package/2006/relationships"><Relationship Id="rId9" Type="http://schemas.openxmlformats.org/officeDocument/2006/relationships/image" Target="../media/image6.png"/><Relationship Id="rId8" Type="http://schemas.openxmlformats.org/officeDocument/2006/relationships/image" Target="../media/image36.png"/><Relationship Id="rId7" Type="http://schemas.openxmlformats.org/officeDocument/2006/relationships/tags" Target="../tags/tag101.xml"/><Relationship Id="rId6" Type="http://schemas.openxmlformats.org/officeDocument/2006/relationships/tags" Target="../tags/tag100.xml"/><Relationship Id="rId5" Type="http://schemas.openxmlformats.org/officeDocument/2006/relationships/tags" Target="../tags/tag99.xml"/><Relationship Id="rId4" Type="http://schemas.openxmlformats.org/officeDocument/2006/relationships/tags" Target="../tags/tag98.xml"/><Relationship Id="rId3" Type="http://schemas.openxmlformats.org/officeDocument/2006/relationships/image" Target="../media/image5.emf"/><Relationship Id="rId2" Type="http://schemas.openxmlformats.org/officeDocument/2006/relationships/oleObject" Target="../embeddings/oleObject57.bin"/><Relationship Id="rId12" Type="http://schemas.openxmlformats.org/officeDocument/2006/relationships/notesSlide" Target="../notesSlides/notesSlide41.xml"/><Relationship Id="rId11" Type="http://schemas.openxmlformats.org/officeDocument/2006/relationships/vmlDrawing" Target="../drawings/vmlDrawing57.vml"/><Relationship Id="rId10" Type="http://schemas.openxmlformats.org/officeDocument/2006/relationships/slideLayout" Target="../slideLayouts/slideLayout3.xml"/><Relationship Id="rId1" Type="http://schemas.openxmlformats.org/officeDocument/2006/relationships/tags" Target="../tags/tag97.xml"/></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6.png"/></Relationships>
</file>

<file path=ppt/slides/_rels/slide75.xml.rels><?xml version="1.0" encoding="UTF-8" standalone="yes"?>
<Relationships xmlns="http://schemas.openxmlformats.org/package/2006/relationships"><Relationship Id="rId7" Type="http://schemas.openxmlformats.org/officeDocument/2006/relationships/slideLayout" Target="../slideLayouts/slideLayout8.xml"/><Relationship Id="rId6" Type="http://schemas.openxmlformats.org/officeDocument/2006/relationships/image" Target="../media/image6.png"/><Relationship Id="rId5" Type="http://schemas.openxmlformats.org/officeDocument/2006/relationships/slide" Target="slide147.xml"/><Relationship Id="rId4" Type="http://schemas.openxmlformats.org/officeDocument/2006/relationships/slide" Target="slide114.xml"/><Relationship Id="rId3" Type="http://schemas.openxmlformats.org/officeDocument/2006/relationships/slide" Target="slide99.xml"/><Relationship Id="rId2" Type="http://schemas.openxmlformats.org/officeDocument/2006/relationships/slide" Target="slide91.xml"/><Relationship Id="rId1" Type="http://schemas.openxmlformats.org/officeDocument/2006/relationships/slide" Target="slide76.xml"/></Relationships>
</file>

<file path=ppt/slides/_rels/slide76.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6.png"/></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6.png"/></Relationships>
</file>

<file path=ppt/slides/_rels/slide78.xml.rels><?xml version="1.0" encoding="UTF-8" standalone="yes"?>
<Relationships xmlns="http://schemas.openxmlformats.org/package/2006/relationships"><Relationship Id="rId9" Type="http://schemas.openxmlformats.org/officeDocument/2006/relationships/tags" Target="../tags/tag107.xml"/><Relationship Id="rId8" Type="http://schemas.openxmlformats.org/officeDocument/2006/relationships/tags" Target="../tags/tag106.xml"/><Relationship Id="rId7" Type="http://schemas.openxmlformats.org/officeDocument/2006/relationships/tags" Target="../tags/tag105.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 Id="rId3" Type="http://schemas.openxmlformats.org/officeDocument/2006/relationships/chart" Target="../charts/chart8.xml"/><Relationship Id="rId2" Type="http://schemas.openxmlformats.org/officeDocument/2006/relationships/chart" Target="../charts/chart7.xml"/><Relationship Id="rId10" Type="http://schemas.openxmlformats.org/officeDocument/2006/relationships/slideLayout" Target="../slideLayouts/slideLayout23.xml"/><Relationship Id="rId1" Type="http://schemas.openxmlformats.org/officeDocument/2006/relationships/chart" Target="../charts/chart6.xml"/></Relationships>
</file>

<file path=ppt/slides/_rels/slide79.xml.rels><?xml version="1.0" encoding="UTF-8" standalone="yes"?>
<Relationships xmlns="http://schemas.openxmlformats.org/package/2006/relationships"><Relationship Id="rId9" Type="http://schemas.openxmlformats.org/officeDocument/2006/relationships/slideLayout" Target="../slideLayouts/slideLayout23.xml"/><Relationship Id="rId8" Type="http://schemas.openxmlformats.org/officeDocument/2006/relationships/tags" Target="../tags/tag115.xml"/><Relationship Id="rId7" Type="http://schemas.openxmlformats.org/officeDocument/2006/relationships/tags" Target="../tags/tag114.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s>
</file>

<file path=ppt/slides/_rels/slide8.xml.rels><?xml version="1.0" encoding="UTF-8" standalone="yes"?>
<Relationships xmlns="http://schemas.openxmlformats.org/package/2006/relationships"><Relationship Id="rId7" Type="http://schemas.openxmlformats.org/officeDocument/2006/relationships/notesSlide" Target="../notesSlides/notesSlide3.xml"/><Relationship Id="rId6" Type="http://schemas.openxmlformats.org/officeDocument/2006/relationships/vmlDrawing" Target="../drawings/vmlDrawing11.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11.bin"/><Relationship Id="rId1" Type="http://schemas.openxmlformats.org/officeDocument/2006/relationships/tags" Target="../tags/tag17.xml"/></Relationships>
</file>

<file path=ppt/slides/_rels/slide80.xml.rels><?xml version="1.0" encoding="UTF-8" standalone="yes"?>
<Relationships xmlns="http://schemas.openxmlformats.org/package/2006/relationships"><Relationship Id="rId4" Type="http://schemas.openxmlformats.org/officeDocument/2006/relationships/slideLayout" Target="../slideLayouts/slideLayout23.xml"/><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s>
</file>

<file path=ppt/slides/_rels/slide81.xml.rels><?xml version="1.0" encoding="UTF-8" standalone="yes"?>
<Relationships xmlns="http://schemas.openxmlformats.org/package/2006/relationships"><Relationship Id="rId4" Type="http://schemas.openxmlformats.org/officeDocument/2006/relationships/slideLayout" Target="../slideLayouts/slideLayout23.xml"/><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chart" Target="../charts/chart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3.xml.rels><?xml version="1.0" encoding="UTF-8" standalone="yes"?>
<Relationships xmlns="http://schemas.openxmlformats.org/package/2006/relationships"><Relationship Id="rId7" Type="http://schemas.openxmlformats.org/officeDocument/2006/relationships/notesSlide" Target="../notesSlides/notesSlide42.xml"/><Relationship Id="rId6" Type="http://schemas.openxmlformats.org/officeDocument/2006/relationships/slideLayout" Target="../slideLayouts/slideLayout30.xml"/><Relationship Id="rId5" Type="http://schemas.openxmlformats.org/officeDocument/2006/relationships/image" Target="../media/image6.png"/><Relationship Id="rId4" Type="http://schemas.openxmlformats.org/officeDocument/2006/relationships/chart" Target="../charts/chart15.xml"/><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chart" Target="../charts/chart12.xml"/></Relationships>
</file>

<file path=ppt/slides/_rels/slide84.xml.rels><?xml version="1.0" encoding="UTF-8" standalone="yes"?>
<Relationships xmlns="http://schemas.openxmlformats.org/package/2006/relationships"><Relationship Id="rId9" Type="http://schemas.openxmlformats.org/officeDocument/2006/relationships/tags" Target="../tags/tag127.xml"/><Relationship Id="rId8" Type="http://schemas.openxmlformats.org/officeDocument/2006/relationships/tags" Target="../tags/tag126.xml"/><Relationship Id="rId7" Type="http://schemas.openxmlformats.org/officeDocument/2006/relationships/tags" Target="../tags/tag125.xml"/><Relationship Id="rId6" Type="http://schemas.openxmlformats.org/officeDocument/2006/relationships/tags" Target="../tags/tag124.xml"/><Relationship Id="rId5" Type="http://schemas.openxmlformats.org/officeDocument/2006/relationships/tags" Target="../tags/tag123.xml"/><Relationship Id="rId4" Type="http://schemas.openxmlformats.org/officeDocument/2006/relationships/tags" Target="../tags/tag122.xml"/><Relationship Id="rId3" Type="http://schemas.openxmlformats.org/officeDocument/2006/relationships/tags" Target="../tags/tag121.xml"/><Relationship Id="rId28" Type="http://schemas.openxmlformats.org/officeDocument/2006/relationships/slideLayout" Target="../slideLayouts/slideLayout28.xml"/><Relationship Id="rId27" Type="http://schemas.openxmlformats.org/officeDocument/2006/relationships/image" Target="../media/image6.png"/><Relationship Id="rId26" Type="http://schemas.openxmlformats.org/officeDocument/2006/relationships/tags" Target="../tags/tag144.xml"/><Relationship Id="rId25" Type="http://schemas.openxmlformats.org/officeDocument/2006/relationships/tags" Target="../tags/tag143.xml"/><Relationship Id="rId24" Type="http://schemas.openxmlformats.org/officeDocument/2006/relationships/tags" Target="../tags/tag142.xml"/><Relationship Id="rId23" Type="http://schemas.openxmlformats.org/officeDocument/2006/relationships/tags" Target="../tags/tag141.xml"/><Relationship Id="rId22" Type="http://schemas.openxmlformats.org/officeDocument/2006/relationships/tags" Target="../tags/tag140.xml"/><Relationship Id="rId21" Type="http://schemas.openxmlformats.org/officeDocument/2006/relationships/tags" Target="../tags/tag139.xml"/><Relationship Id="rId20" Type="http://schemas.openxmlformats.org/officeDocument/2006/relationships/tags" Target="../tags/tag138.xml"/><Relationship Id="rId2" Type="http://schemas.openxmlformats.org/officeDocument/2006/relationships/tags" Target="../tags/tag120.xml"/><Relationship Id="rId19" Type="http://schemas.openxmlformats.org/officeDocument/2006/relationships/tags" Target="../tags/tag137.xml"/><Relationship Id="rId18" Type="http://schemas.openxmlformats.org/officeDocument/2006/relationships/tags" Target="../tags/tag136.xml"/><Relationship Id="rId17" Type="http://schemas.openxmlformats.org/officeDocument/2006/relationships/tags" Target="../tags/tag135.xml"/><Relationship Id="rId16" Type="http://schemas.openxmlformats.org/officeDocument/2006/relationships/tags" Target="../tags/tag134.xml"/><Relationship Id="rId15" Type="http://schemas.openxmlformats.org/officeDocument/2006/relationships/tags" Target="../tags/tag133.xml"/><Relationship Id="rId14" Type="http://schemas.openxmlformats.org/officeDocument/2006/relationships/tags" Target="../tags/tag132.xml"/><Relationship Id="rId13" Type="http://schemas.openxmlformats.org/officeDocument/2006/relationships/tags" Target="../tags/tag131.xml"/><Relationship Id="rId12" Type="http://schemas.openxmlformats.org/officeDocument/2006/relationships/tags" Target="../tags/tag130.xml"/><Relationship Id="rId11" Type="http://schemas.openxmlformats.org/officeDocument/2006/relationships/tags" Target="../tags/tag129.xml"/><Relationship Id="rId10" Type="http://schemas.openxmlformats.org/officeDocument/2006/relationships/tags" Target="../tags/tag128.xml"/><Relationship Id="rId1" Type="http://schemas.openxmlformats.org/officeDocument/2006/relationships/tags" Target="../tags/tag119.xml"/></Relationships>
</file>

<file path=ppt/slides/_rels/slide85.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6.png"/></Relationships>
</file>

<file path=ppt/slides/_rels/slide86.xml.rels><?xml version="1.0" encoding="UTF-8" standalone="yes"?>
<Relationships xmlns="http://schemas.openxmlformats.org/package/2006/relationships"><Relationship Id="rId6" Type="http://schemas.openxmlformats.org/officeDocument/2006/relationships/slideLayout" Target="../slideLayouts/slideLayout9.xml"/><Relationship Id="rId5" Type="http://schemas.openxmlformats.org/officeDocument/2006/relationships/image" Target="../media/image6.png"/><Relationship Id="rId4" Type="http://schemas.openxmlformats.org/officeDocument/2006/relationships/tags" Target="../tags/tag145.xml"/><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chart" Target="../charts/chart16.xml"/></Relationships>
</file>

<file path=ppt/slides/_rels/slide87.xml.rels><?xml version="1.0" encoding="UTF-8" standalone="yes"?>
<Relationships xmlns="http://schemas.openxmlformats.org/package/2006/relationships"><Relationship Id="rId9" Type="http://schemas.openxmlformats.org/officeDocument/2006/relationships/image" Target="../media/image8.emf"/><Relationship Id="rId8" Type="http://schemas.openxmlformats.org/officeDocument/2006/relationships/oleObject" Target="../embeddings/oleObject58.bin"/><Relationship Id="rId7" Type="http://schemas.openxmlformats.org/officeDocument/2006/relationships/tags" Target="../tags/tag146.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 Id="rId3" Type="http://schemas.openxmlformats.org/officeDocument/2006/relationships/chart" Target="../charts/chart21.xml"/><Relationship Id="rId2" Type="http://schemas.openxmlformats.org/officeDocument/2006/relationships/chart" Target="../charts/chart20.xml"/><Relationship Id="rId12" Type="http://schemas.openxmlformats.org/officeDocument/2006/relationships/vmlDrawing" Target="../drawings/vmlDrawing58.vml"/><Relationship Id="rId11" Type="http://schemas.openxmlformats.org/officeDocument/2006/relationships/slideLayout" Target="../slideLayouts/slideLayout10.xml"/><Relationship Id="rId10" Type="http://schemas.openxmlformats.org/officeDocument/2006/relationships/image" Target="../media/image6.png"/><Relationship Id="rId1" Type="http://schemas.openxmlformats.org/officeDocument/2006/relationships/chart" Target="../charts/chart19.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6.png"/><Relationship Id="rId1" Type="http://schemas.openxmlformats.org/officeDocument/2006/relationships/tags" Target="../tags/tag147.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vmlDrawing" Target="../drawings/vmlDrawing12.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12.bin"/><Relationship Id="rId1" Type="http://schemas.openxmlformats.org/officeDocument/2006/relationships/tags" Target="../tags/tag18.xml"/></Relationships>
</file>

<file path=ppt/slides/_rels/slide90.xml.rels><?xml version="1.0" encoding="UTF-8" standalone="yes"?>
<Relationships xmlns="http://schemas.openxmlformats.org/package/2006/relationships"><Relationship Id="rId9" Type="http://schemas.openxmlformats.org/officeDocument/2006/relationships/tags" Target="../tags/tag151.xml"/><Relationship Id="rId8" Type="http://schemas.openxmlformats.org/officeDocument/2006/relationships/tags" Target="../tags/tag150.xml"/><Relationship Id="rId7" Type="http://schemas.openxmlformats.org/officeDocument/2006/relationships/tags" Target="../tags/tag149.xml"/><Relationship Id="rId6" Type="http://schemas.openxmlformats.org/officeDocument/2006/relationships/image" Target="../media/image37.emf"/><Relationship Id="rId5" Type="http://schemas.openxmlformats.org/officeDocument/2006/relationships/oleObject" Target="../embeddings/oleObject59.bin"/><Relationship Id="rId4" Type="http://schemas.openxmlformats.org/officeDocument/2006/relationships/tags" Target="../tags/tag148.xml"/><Relationship Id="rId31" Type="http://schemas.openxmlformats.org/officeDocument/2006/relationships/vmlDrawing" Target="../drawings/vmlDrawing59.vml"/><Relationship Id="rId30" Type="http://schemas.openxmlformats.org/officeDocument/2006/relationships/slideLayout" Target="../slideLayouts/slideLayout21.xml"/><Relationship Id="rId3" Type="http://schemas.openxmlformats.org/officeDocument/2006/relationships/chart" Target="../charts/chart27.xml"/><Relationship Id="rId29" Type="http://schemas.openxmlformats.org/officeDocument/2006/relationships/image" Target="../media/image6.png"/><Relationship Id="rId28" Type="http://schemas.openxmlformats.org/officeDocument/2006/relationships/tags" Target="../tags/tag170.xml"/><Relationship Id="rId27" Type="http://schemas.openxmlformats.org/officeDocument/2006/relationships/tags" Target="../tags/tag169.xml"/><Relationship Id="rId26" Type="http://schemas.openxmlformats.org/officeDocument/2006/relationships/tags" Target="../tags/tag168.xml"/><Relationship Id="rId25" Type="http://schemas.openxmlformats.org/officeDocument/2006/relationships/tags" Target="../tags/tag167.xml"/><Relationship Id="rId24" Type="http://schemas.openxmlformats.org/officeDocument/2006/relationships/tags" Target="../tags/tag166.xml"/><Relationship Id="rId23" Type="http://schemas.openxmlformats.org/officeDocument/2006/relationships/tags" Target="../tags/tag165.xml"/><Relationship Id="rId22" Type="http://schemas.openxmlformats.org/officeDocument/2006/relationships/tags" Target="../tags/tag164.xml"/><Relationship Id="rId21" Type="http://schemas.openxmlformats.org/officeDocument/2006/relationships/tags" Target="../tags/tag163.xml"/><Relationship Id="rId20" Type="http://schemas.openxmlformats.org/officeDocument/2006/relationships/tags" Target="../tags/tag162.xml"/><Relationship Id="rId2" Type="http://schemas.openxmlformats.org/officeDocument/2006/relationships/chart" Target="../charts/chart26.xml"/><Relationship Id="rId19" Type="http://schemas.openxmlformats.org/officeDocument/2006/relationships/tags" Target="../tags/tag161.xml"/><Relationship Id="rId18" Type="http://schemas.openxmlformats.org/officeDocument/2006/relationships/tags" Target="../tags/tag160.xml"/><Relationship Id="rId17" Type="http://schemas.openxmlformats.org/officeDocument/2006/relationships/tags" Target="../tags/tag159.xml"/><Relationship Id="rId16" Type="http://schemas.openxmlformats.org/officeDocument/2006/relationships/tags" Target="../tags/tag158.xml"/><Relationship Id="rId15" Type="http://schemas.openxmlformats.org/officeDocument/2006/relationships/tags" Target="../tags/tag157.xml"/><Relationship Id="rId14" Type="http://schemas.openxmlformats.org/officeDocument/2006/relationships/tags" Target="../tags/tag156.xml"/><Relationship Id="rId13" Type="http://schemas.openxmlformats.org/officeDocument/2006/relationships/tags" Target="../tags/tag155.xml"/><Relationship Id="rId12" Type="http://schemas.openxmlformats.org/officeDocument/2006/relationships/tags" Target="../tags/tag154.xml"/><Relationship Id="rId11" Type="http://schemas.openxmlformats.org/officeDocument/2006/relationships/tags" Target="../tags/tag153.xml"/><Relationship Id="rId10" Type="http://schemas.openxmlformats.org/officeDocument/2006/relationships/tags" Target="../tags/tag152.xml"/><Relationship Id="rId1" Type="http://schemas.openxmlformats.org/officeDocument/2006/relationships/chart" Target="../charts/chart25.xml"/></Relationships>
</file>

<file path=ppt/slides/_rels/slide91.xml.rels><?xml version="1.0" encoding="UTF-8" standalone="yes"?>
<Relationships xmlns="http://schemas.openxmlformats.org/package/2006/relationships"><Relationship Id="rId8" Type="http://schemas.openxmlformats.org/officeDocument/2006/relationships/notesSlide" Target="../notesSlides/notesSlide43.xml"/><Relationship Id="rId7"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tags" Target="../tags/tag175.xml"/><Relationship Id="rId4" Type="http://schemas.openxmlformats.org/officeDocument/2006/relationships/tags" Target="../tags/tag174.xml"/><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ags" Target="../tags/tag17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microsoft.com/office/2007/relationships/hdphoto" Target="../media/image39.wdp"/><Relationship Id="rId1" Type="http://schemas.openxmlformats.org/officeDocument/2006/relationships/image" Target="../media/image38.png"/></Relationships>
</file>

<file path=ppt/slides/_rels/slide94.xml.rels><?xml version="1.0" encoding="UTF-8" standalone="yes"?>
<Relationships xmlns="http://schemas.openxmlformats.org/package/2006/relationships"><Relationship Id="rId9" Type="http://schemas.openxmlformats.org/officeDocument/2006/relationships/image" Target="../media/image48.png"/><Relationship Id="rId8" Type="http://schemas.openxmlformats.org/officeDocument/2006/relationships/image" Target="../media/image47.png"/><Relationship Id="rId7" Type="http://schemas.openxmlformats.org/officeDocument/2006/relationships/image" Target="../media/image46.jpeg"/><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3" Type="http://schemas.openxmlformats.org/officeDocument/2006/relationships/image" Target="../media/image42.png"/><Relationship Id="rId24" Type="http://schemas.openxmlformats.org/officeDocument/2006/relationships/slideLayout" Target="../slideLayouts/slideLayout7.xml"/><Relationship Id="rId23" Type="http://schemas.openxmlformats.org/officeDocument/2006/relationships/image" Target="../media/image62.png"/><Relationship Id="rId22" Type="http://schemas.openxmlformats.org/officeDocument/2006/relationships/image" Target="../media/image61.png"/><Relationship Id="rId21" Type="http://schemas.openxmlformats.org/officeDocument/2006/relationships/image" Target="../media/image60.png"/><Relationship Id="rId20" Type="http://schemas.openxmlformats.org/officeDocument/2006/relationships/image" Target="../media/image59.png"/><Relationship Id="rId2" Type="http://schemas.openxmlformats.org/officeDocument/2006/relationships/image" Target="../media/image41.png"/><Relationship Id="rId19" Type="http://schemas.openxmlformats.org/officeDocument/2006/relationships/image" Target="../media/image58.png"/><Relationship Id="rId18" Type="http://schemas.openxmlformats.org/officeDocument/2006/relationships/image" Target="../media/image57.png"/><Relationship Id="rId17" Type="http://schemas.openxmlformats.org/officeDocument/2006/relationships/image" Target="../media/image56.png"/><Relationship Id="rId16" Type="http://schemas.openxmlformats.org/officeDocument/2006/relationships/image" Target="../media/image55.GIF"/><Relationship Id="rId15" Type="http://schemas.openxmlformats.org/officeDocument/2006/relationships/image" Target="../media/image54.png"/><Relationship Id="rId14" Type="http://schemas.openxmlformats.org/officeDocument/2006/relationships/image" Target="../media/image53.png"/><Relationship Id="rId13" Type="http://schemas.openxmlformats.org/officeDocument/2006/relationships/image" Target="../media/image52.png"/><Relationship Id="rId12" Type="http://schemas.openxmlformats.org/officeDocument/2006/relationships/image" Target="../media/image51.png"/><Relationship Id="rId11" Type="http://schemas.openxmlformats.org/officeDocument/2006/relationships/image" Target="../media/image50.png"/><Relationship Id="rId10" Type="http://schemas.openxmlformats.org/officeDocument/2006/relationships/image" Target="../media/image49.png"/><Relationship Id="rId1" Type="http://schemas.openxmlformats.org/officeDocument/2006/relationships/image" Target="../media/image40.png"/></Relationships>
</file>

<file path=ppt/slides/_rels/slide95.xml.rels><?xml version="1.0" encoding="UTF-8" standalone="yes"?>
<Relationships xmlns="http://schemas.openxmlformats.org/package/2006/relationships"><Relationship Id="rId8" Type="http://schemas.openxmlformats.org/officeDocument/2006/relationships/vmlDrawing" Target="../drawings/vmlDrawing60.vml"/><Relationship Id="rId7"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tags" Target="../tags/tag178.xml"/><Relationship Id="rId4" Type="http://schemas.openxmlformats.org/officeDocument/2006/relationships/image" Target="../media/image63.emf"/><Relationship Id="rId3" Type="http://schemas.openxmlformats.org/officeDocument/2006/relationships/oleObject" Target="../embeddings/oleObject60.bin"/><Relationship Id="rId2" Type="http://schemas.openxmlformats.org/officeDocument/2006/relationships/tags" Target="../tags/tag177.xml"/><Relationship Id="rId1" Type="http://schemas.openxmlformats.org/officeDocument/2006/relationships/chart" Target="../charts/chart28.xml"/></Relationships>
</file>

<file path=ppt/slides/_rels/slide96.xml.rels><?xml version="1.0" encoding="UTF-8" standalone="yes"?>
<Relationships xmlns="http://schemas.openxmlformats.org/package/2006/relationships"><Relationship Id="rId9" Type="http://schemas.openxmlformats.org/officeDocument/2006/relationships/tags" Target="../tags/tag186.xml"/><Relationship Id="rId8" Type="http://schemas.openxmlformats.org/officeDocument/2006/relationships/tags" Target="../tags/tag185.xml"/><Relationship Id="rId7" Type="http://schemas.openxmlformats.org/officeDocument/2006/relationships/tags" Target="../tags/tag184.xml"/><Relationship Id="rId6" Type="http://schemas.openxmlformats.org/officeDocument/2006/relationships/tags" Target="../tags/tag183.xml"/><Relationship Id="rId5" Type="http://schemas.openxmlformats.org/officeDocument/2006/relationships/tags" Target="../tags/tag182.xml"/><Relationship Id="rId4" Type="http://schemas.openxmlformats.org/officeDocument/2006/relationships/tags" Target="../tags/tag181.xml"/><Relationship Id="rId3" Type="http://schemas.openxmlformats.org/officeDocument/2006/relationships/tags" Target="../tags/tag180.xml"/><Relationship Id="rId20" Type="http://schemas.openxmlformats.org/officeDocument/2006/relationships/slideLayout" Target="../slideLayouts/slideLayout3.xml"/><Relationship Id="rId2" Type="http://schemas.openxmlformats.org/officeDocument/2006/relationships/tags" Target="../tags/tag179.xml"/><Relationship Id="rId19" Type="http://schemas.openxmlformats.org/officeDocument/2006/relationships/image" Target="../media/image6.png"/><Relationship Id="rId18" Type="http://schemas.openxmlformats.org/officeDocument/2006/relationships/tags" Target="../tags/tag195.xml"/><Relationship Id="rId17" Type="http://schemas.openxmlformats.org/officeDocument/2006/relationships/tags" Target="../tags/tag194.xml"/><Relationship Id="rId16" Type="http://schemas.openxmlformats.org/officeDocument/2006/relationships/tags" Target="../tags/tag193.xml"/><Relationship Id="rId15" Type="http://schemas.openxmlformats.org/officeDocument/2006/relationships/tags" Target="../tags/tag192.xml"/><Relationship Id="rId14" Type="http://schemas.openxmlformats.org/officeDocument/2006/relationships/tags" Target="../tags/tag191.xml"/><Relationship Id="rId13" Type="http://schemas.openxmlformats.org/officeDocument/2006/relationships/tags" Target="../tags/tag190.xml"/><Relationship Id="rId12" Type="http://schemas.openxmlformats.org/officeDocument/2006/relationships/tags" Target="../tags/tag189.xml"/><Relationship Id="rId11" Type="http://schemas.openxmlformats.org/officeDocument/2006/relationships/tags" Target="../tags/tag188.xml"/><Relationship Id="rId10" Type="http://schemas.openxmlformats.org/officeDocument/2006/relationships/tags" Target="../tags/tag187.xml"/><Relationship Id="rId1" Type="http://schemas.openxmlformats.org/officeDocument/2006/relationships/chart" Target="../charts/chart29.xml"/></Relationships>
</file>

<file path=ppt/slides/_rels/slide97.xml.rels><?xml version="1.0" encoding="UTF-8" standalone="yes"?>
<Relationships xmlns="http://schemas.openxmlformats.org/package/2006/relationships"><Relationship Id="rId9" Type="http://schemas.openxmlformats.org/officeDocument/2006/relationships/notesSlide" Target="../notesSlides/notesSlide44.xml"/><Relationship Id="rId8" Type="http://schemas.openxmlformats.org/officeDocument/2006/relationships/vmlDrawing" Target="../drawings/vmlDrawing61.vml"/><Relationship Id="rId7" Type="http://schemas.openxmlformats.org/officeDocument/2006/relationships/slideLayout" Target="../slideLayouts/slideLayout6.xml"/><Relationship Id="rId6" Type="http://schemas.openxmlformats.org/officeDocument/2006/relationships/image" Target="../media/image6.png"/><Relationship Id="rId5" Type="http://schemas.openxmlformats.org/officeDocument/2006/relationships/image" Target="../media/image64.emf"/><Relationship Id="rId4" Type="http://schemas.openxmlformats.org/officeDocument/2006/relationships/tags" Target="../tags/tag197.xml"/><Relationship Id="rId3" Type="http://schemas.openxmlformats.org/officeDocument/2006/relationships/image" Target="../media/image1.emf"/><Relationship Id="rId2" Type="http://schemas.openxmlformats.org/officeDocument/2006/relationships/oleObject" Target="../embeddings/oleObject61.bin"/><Relationship Id="rId1" Type="http://schemas.openxmlformats.org/officeDocument/2006/relationships/tags" Target="../tags/tag196.xml"/></Relationships>
</file>

<file path=ppt/slides/_rels/slide98.xml.rels><?xml version="1.0" encoding="UTF-8" standalone="yes"?>
<Relationships xmlns="http://schemas.openxmlformats.org/package/2006/relationships"><Relationship Id="rId7" Type="http://schemas.openxmlformats.org/officeDocument/2006/relationships/notesSlide" Target="../notesSlides/notesSlide45.xml"/><Relationship Id="rId6" Type="http://schemas.openxmlformats.org/officeDocument/2006/relationships/vmlDrawing" Target="../drawings/vmlDrawing62.vml"/><Relationship Id="rId5" Type="http://schemas.openxmlformats.org/officeDocument/2006/relationships/slideLayout" Target="../slideLayouts/slideLayout3.xml"/><Relationship Id="rId4" Type="http://schemas.openxmlformats.org/officeDocument/2006/relationships/image" Target="../media/image6.png"/><Relationship Id="rId3" Type="http://schemas.openxmlformats.org/officeDocument/2006/relationships/image" Target="../media/image1.emf"/><Relationship Id="rId2" Type="http://schemas.openxmlformats.org/officeDocument/2006/relationships/oleObject" Target="../embeddings/oleObject62.bin"/><Relationship Id="rId1" Type="http://schemas.openxmlformats.org/officeDocument/2006/relationships/tags" Target="../tags/tag198.xml"/></Relationships>
</file>

<file path=ppt/slides/_rels/slide99.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p:cNvPicPr>
            <a:picLocks noChangeAspect="1" noChangeArrowheads="1"/>
          </p:cNvPicPr>
          <p:nvPr/>
        </p:nvPicPr>
        <p:blipFill>
          <a:blip r:embed="rId1" cstate="email"/>
          <a:srcRect/>
          <a:stretch>
            <a:fillRect/>
          </a:stretch>
        </p:blipFill>
        <p:spPr bwMode="auto">
          <a:xfrm>
            <a:off x="0" y="3174"/>
            <a:ext cx="12198703" cy="6854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椭圆 5"/>
          <p:cNvSpPr/>
          <p:nvPr/>
        </p:nvSpPr>
        <p:spPr>
          <a:xfrm>
            <a:off x="7787205" y="232398"/>
            <a:ext cx="4124072" cy="410593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latin typeface="华文楷体" panose="02010600040101010101" charset="-122"/>
              <a:ea typeface="华文楷体" panose="02010600040101010101" charset="-122"/>
              <a:cs typeface="+mn-ea"/>
              <a:sym typeface="+mn-lt"/>
            </a:endParaRPr>
          </a:p>
        </p:txBody>
      </p:sp>
      <p:sp>
        <p:nvSpPr>
          <p:cNvPr id="20" name="椭圆 19"/>
          <p:cNvSpPr/>
          <p:nvPr/>
        </p:nvSpPr>
        <p:spPr>
          <a:xfrm>
            <a:off x="8067243" y="512420"/>
            <a:ext cx="3581400" cy="3581400"/>
          </a:xfrm>
          <a:prstGeom prst="ellipse">
            <a:avLst/>
          </a:prstGeom>
          <a:solidFill>
            <a:srgbClr val="FE5817">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文本框 8"/>
          <p:cNvSpPr txBox="1"/>
          <p:nvPr/>
        </p:nvSpPr>
        <p:spPr>
          <a:xfrm>
            <a:off x="8316262" y="1639033"/>
            <a:ext cx="2975963" cy="64633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r>
              <a:rPr kumimoji="1" lang="zh-CN" altLang="en-US" sz="3600" b="1" i="0" u="none" strike="noStrike" kern="1200" cap="none" spc="0" normalizeH="0" baseline="0" noProof="0" dirty="0" smtClean="0">
                <a:ln>
                  <a:noFill/>
                </a:ln>
                <a:solidFill>
                  <a:schemeClr val="bg1"/>
                </a:solidFill>
                <a:effectLst/>
                <a:uLnTx/>
                <a:uFillTx/>
                <a:latin typeface="华文楷体" panose="02010600040101010101" charset="-122"/>
                <a:ea typeface="华文楷体" panose="02010600040101010101" charset="-122"/>
                <a:cs typeface="+mn-ea"/>
                <a:sym typeface="+mn-lt"/>
              </a:rPr>
              <a:t>通用</a:t>
            </a:r>
            <a:r>
              <a:rPr kumimoji="1" lang="zh-CN" altLang="en-US" sz="3600" b="1" noProof="0" dirty="0">
                <a:solidFill>
                  <a:schemeClr val="bg1"/>
                </a:solidFill>
                <a:latin typeface="华文楷体" panose="02010600040101010101" charset="-122"/>
                <a:ea typeface="华文楷体" panose="02010600040101010101" charset="-122"/>
                <a:cs typeface="+mn-ea"/>
                <a:sym typeface="+mn-lt"/>
              </a:rPr>
              <a:t>工具</a:t>
            </a:r>
            <a:r>
              <a:rPr kumimoji="1" lang="zh-CN" altLang="en-US" sz="3600" b="1" i="0" u="none" strike="noStrike" kern="1200" cap="none" spc="0" normalizeH="0" baseline="0" noProof="0" dirty="0" smtClean="0">
                <a:ln>
                  <a:noFill/>
                </a:ln>
                <a:solidFill>
                  <a:schemeClr val="bg1"/>
                </a:solidFill>
                <a:effectLst/>
                <a:uLnTx/>
                <a:uFillTx/>
                <a:latin typeface="华文楷体" panose="02010600040101010101" charset="-122"/>
                <a:ea typeface="华文楷体" panose="02010600040101010101" charset="-122"/>
                <a:cs typeface="+mn-ea"/>
                <a:sym typeface="+mn-lt"/>
              </a:rPr>
              <a:t>模板</a:t>
            </a:r>
            <a:endParaRPr kumimoji="1" lang="zh-CN" altLang="en-US" sz="3600" b="1" i="0" u="none" strike="noStrike" kern="1200" cap="none" spc="0" normalizeH="0" baseline="0" noProof="0" dirty="0">
              <a:ln>
                <a:noFill/>
              </a:ln>
              <a:solidFill>
                <a:schemeClr val="bg1"/>
              </a:solidFill>
              <a:effectLst/>
              <a:uLnTx/>
              <a:uFillTx/>
              <a:latin typeface="华文楷体" panose="02010600040101010101" charset="-122"/>
              <a:ea typeface="华文楷体" panose="02010600040101010101" charset="-122"/>
              <a:cs typeface="+mn-ea"/>
              <a:sym typeface="+mn-lt"/>
            </a:endParaRPr>
          </a:p>
        </p:txBody>
      </p:sp>
      <p:grpSp>
        <p:nvGrpSpPr>
          <p:cNvPr id="7" name="组合 6"/>
          <p:cNvGrpSpPr/>
          <p:nvPr/>
        </p:nvGrpSpPr>
        <p:grpSpPr>
          <a:xfrm>
            <a:off x="7919064" y="1318447"/>
            <a:ext cx="3522037" cy="2427154"/>
            <a:chOff x="2063111" y="930360"/>
            <a:chExt cx="8065769" cy="5446338"/>
          </a:xfrm>
        </p:grpSpPr>
        <p:sp>
          <p:nvSpPr>
            <p:cNvPr id="8" name="椭圆 7"/>
            <p:cNvSpPr/>
            <p:nvPr/>
          </p:nvSpPr>
          <p:spPr>
            <a:xfrm>
              <a:off x="2063111" y="930360"/>
              <a:ext cx="340938" cy="340938"/>
            </a:xfrm>
            <a:prstGeom prst="ellipse">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latin typeface="华文楷体" panose="02010600040101010101" charset="-122"/>
                <a:ea typeface="华文楷体" panose="02010600040101010101" charset="-122"/>
                <a:cs typeface="+mn-ea"/>
                <a:sym typeface="+mn-lt"/>
              </a:endParaRPr>
            </a:p>
          </p:txBody>
        </p:sp>
        <p:sp>
          <p:nvSpPr>
            <p:cNvPr id="9" name="椭圆 8"/>
            <p:cNvSpPr/>
            <p:nvPr/>
          </p:nvSpPr>
          <p:spPr>
            <a:xfrm>
              <a:off x="9787942" y="6035760"/>
              <a:ext cx="340938" cy="340938"/>
            </a:xfrm>
            <a:prstGeom prst="ellipse">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latin typeface="华文楷体" panose="02010600040101010101" charset="-122"/>
                <a:ea typeface="华文楷体" panose="02010600040101010101" charset="-122"/>
                <a:cs typeface="+mn-ea"/>
                <a:sym typeface="+mn-lt"/>
              </a:endParaRPr>
            </a:p>
          </p:txBody>
        </p:sp>
      </p:grpSp>
      <p:sp>
        <p:nvSpPr>
          <p:cNvPr id="10" name="自由: 形状 34"/>
          <p:cNvSpPr/>
          <p:nvPr/>
        </p:nvSpPr>
        <p:spPr>
          <a:xfrm rot="2700000">
            <a:off x="6184263" y="5915833"/>
            <a:ext cx="62526" cy="62526"/>
          </a:xfrm>
          <a:custGeom>
            <a:avLst/>
            <a:gdLst>
              <a:gd name="connsiteX0" fmla="*/ 75778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749181 h 914400"/>
              <a:gd name="connsiteX5" fmla="*/ 757780 w 914400"/>
              <a:gd name="connsiteY5" fmla="*/ 74918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 h="914400">
                <a:moveTo>
                  <a:pt x="757780" y="0"/>
                </a:moveTo>
                <a:lnTo>
                  <a:pt x="914400" y="0"/>
                </a:lnTo>
                <a:lnTo>
                  <a:pt x="914400" y="914400"/>
                </a:lnTo>
                <a:lnTo>
                  <a:pt x="0" y="914400"/>
                </a:lnTo>
                <a:lnTo>
                  <a:pt x="0" y="749181"/>
                </a:lnTo>
                <a:lnTo>
                  <a:pt x="757780" y="74918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latin typeface="华文楷体" panose="02010600040101010101" charset="-122"/>
              <a:ea typeface="华文楷体" panose="02010600040101010101" charset="-122"/>
            </a:endParaRPr>
          </a:p>
        </p:txBody>
      </p:sp>
      <p:sp>
        <p:nvSpPr>
          <p:cNvPr id="19" name="文本框 18"/>
          <p:cNvSpPr txBox="1"/>
          <p:nvPr/>
        </p:nvSpPr>
        <p:spPr>
          <a:xfrm>
            <a:off x="8756270" y="2616347"/>
            <a:ext cx="2095945" cy="646331"/>
          </a:xfrm>
          <a:prstGeom prst="rect">
            <a:avLst/>
          </a:prstGeom>
          <a:noFill/>
        </p:spPr>
        <p:txBody>
          <a:bodyPr wrap="square" rtlCol="0">
            <a:spAutoFit/>
          </a:bodyPr>
          <a:lstStyle/>
          <a:p>
            <a:pPr algn="ctr"/>
            <a:r>
              <a:rPr lang="zh-CN" altLang="en-US" smtClean="0">
                <a:solidFill>
                  <a:schemeClr val="bg1"/>
                </a:solidFill>
                <a:latin typeface="Arial" panose="020B0604020202020204" pitchFamily="34" charset="0"/>
                <a:ea typeface="华文楷体" panose="02010600040101010101" charset="-122"/>
                <a:cs typeface="Arial" panose="020B0604020202020204" pitchFamily="34" charset="0"/>
              </a:rPr>
              <a:t>智慧城项</a:t>
            </a:r>
            <a:r>
              <a:rPr lang="zh-CN" altLang="en-US" dirty="0" smtClean="0">
                <a:solidFill>
                  <a:schemeClr val="bg1"/>
                </a:solidFill>
                <a:latin typeface="Arial" panose="020B0604020202020204" pitchFamily="34" charset="0"/>
                <a:ea typeface="华文楷体" panose="02010600040101010101" charset="-122"/>
                <a:cs typeface="Arial" panose="020B0604020202020204" pitchFamily="34" charset="0"/>
              </a:rPr>
              <a:t>目管理</a:t>
            </a:r>
            <a:r>
              <a:rPr lang="zh-CN" altLang="en-US" dirty="0" smtClean="0">
                <a:solidFill>
                  <a:schemeClr val="bg1"/>
                </a:solidFill>
                <a:latin typeface="华文楷体" panose="02010600040101010101" charset="-122"/>
                <a:ea typeface="华文楷体" panose="02010600040101010101" charset="-122"/>
              </a:rPr>
              <a:t>部</a:t>
            </a:r>
            <a:endParaRPr lang="zh-CN" altLang="en-US" dirty="0">
              <a:solidFill>
                <a:schemeClr val="bg1"/>
              </a:solidFill>
              <a:latin typeface="华文楷体" panose="02010600040101010101" charset="-122"/>
              <a:ea typeface="华文楷体" panose="02010600040101010101" charset="-122"/>
            </a:endParaRPr>
          </a:p>
          <a:p>
            <a:pPr algn="ctr"/>
            <a:r>
              <a:rPr lang="en-US" altLang="zh-CN" dirty="0" smtClean="0">
                <a:solidFill>
                  <a:schemeClr val="bg1"/>
                </a:solidFill>
                <a:latin typeface="Arial" panose="020B0604020202020204" pitchFamily="34" charset="0"/>
                <a:ea typeface="华文楷体" panose="02010600040101010101" charset="-122"/>
                <a:cs typeface="Arial" panose="020B0604020202020204" pitchFamily="34" charset="0"/>
              </a:rPr>
              <a:t>2019.2</a:t>
            </a:r>
            <a:endParaRPr lang="en-US" altLang="zh-CN" dirty="0">
              <a:solidFill>
                <a:schemeClr val="bg1"/>
              </a:solidFill>
              <a:latin typeface="Arial" panose="020B0604020202020204" pitchFamily="34" charset="0"/>
              <a:ea typeface="华文楷体" panose="02010600040101010101" charset="-122"/>
              <a:cs typeface="Arial" panose="020B0604020202020204" pitchFamily="34" charset="0"/>
            </a:endParaRPr>
          </a:p>
        </p:txBody>
      </p:sp>
      <p:grpSp>
        <p:nvGrpSpPr>
          <p:cNvPr id="23" name="组合 22"/>
          <p:cNvGrpSpPr>
            <a:grpSpLocks noChangeAspect="1"/>
          </p:cNvGrpSpPr>
          <p:nvPr/>
        </p:nvGrpSpPr>
        <p:grpSpPr>
          <a:xfrm>
            <a:off x="299121" y="316862"/>
            <a:ext cx="1289982" cy="484285"/>
            <a:chOff x="13103547" y="829734"/>
            <a:chExt cx="2203232" cy="827288"/>
          </a:xfrm>
        </p:grpSpPr>
        <p:pic>
          <p:nvPicPr>
            <p:cNvPr id="24" name="图片 23"/>
            <p:cNvPicPr>
              <a:picLocks noChangeAspect="1"/>
            </p:cNvPicPr>
            <p:nvPr/>
          </p:nvPicPr>
          <p:blipFill>
            <a:blip r:embed="rId2" cstate="email"/>
            <a:stretch>
              <a:fillRect/>
            </a:stretch>
          </p:blipFill>
          <p:spPr>
            <a:xfrm>
              <a:off x="13586494" y="885667"/>
              <a:ext cx="1720285" cy="720000"/>
            </a:xfrm>
            <a:prstGeom prst="rect">
              <a:avLst/>
            </a:prstGeom>
          </p:spPr>
        </p:pic>
        <p:grpSp>
          <p:nvGrpSpPr>
            <p:cNvPr id="25" name="组合 24"/>
            <p:cNvGrpSpPr/>
            <p:nvPr userDrawn="1"/>
          </p:nvGrpSpPr>
          <p:grpSpPr>
            <a:xfrm>
              <a:off x="13103547" y="829734"/>
              <a:ext cx="171450" cy="827288"/>
              <a:chOff x="12841961" y="829734"/>
              <a:chExt cx="171450" cy="827288"/>
            </a:xfrm>
          </p:grpSpPr>
          <p:cxnSp>
            <p:nvCxnSpPr>
              <p:cNvPr id="26" name="直接连接符 25"/>
              <p:cNvCxnSpPr/>
              <p:nvPr userDrawn="1"/>
            </p:nvCxnSpPr>
            <p:spPr>
              <a:xfrm>
                <a:off x="12841961" y="829734"/>
                <a:ext cx="0" cy="827288"/>
              </a:xfrm>
              <a:prstGeom prst="line">
                <a:avLst/>
              </a:prstGeom>
              <a:ln w="57150">
                <a:solidFill>
                  <a:srgbClr val="EA5404"/>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userDrawn="1"/>
            </p:nvCxnSpPr>
            <p:spPr>
              <a:xfrm>
                <a:off x="13013411" y="829734"/>
                <a:ext cx="0" cy="827288"/>
              </a:xfrm>
              <a:prstGeom prst="line">
                <a:avLst/>
              </a:prstGeom>
              <a:ln w="25400">
                <a:solidFill>
                  <a:srgbClr val="EA5404"/>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603" name="think-cell Slide" r:id="rId2" imgW="12700" imgH="12700" progId="TCLayout.ActiveDocument.1">
                  <p:embed/>
                </p:oleObj>
              </mc:Choice>
              <mc:Fallback>
                <p:oleObj name="think-cell Slide" r:id="rId2" imgW="12700" imgH="12700" progId="TCLayout.ActiveDocument.1">
                  <p:embed/>
                  <p:pic>
                    <p:nvPicPr>
                      <p:cNvPr id="0" name="对象 2"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50" name="矩形 49"/>
          <p:cNvSpPr/>
          <p:nvPr/>
        </p:nvSpPr>
        <p:spPr>
          <a:xfrm>
            <a:off x="202952" y="1574800"/>
            <a:ext cx="646134" cy="564643"/>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altLang="zh-CN" sz="1400" b="1" dirty="0" smtClean="0">
                <a:solidFill>
                  <a:schemeClr val="bg1"/>
                </a:solidFill>
                <a:cs typeface="+mn-ea"/>
                <a:sym typeface="+mn-lt"/>
              </a:rPr>
              <a:t>XXX</a:t>
            </a:r>
            <a:endParaRPr lang="en-US" altLang="zh-CN" sz="1400" b="1" dirty="0" smtClean="0">
              <a:solidFill>
                <a:schemeClr val="bg1"/>
              </a:solidFill>
              <a:cs typeface="+mn-ea"/>
              <a:sym typeface="+mn-lt"/>
            </a:endParaRPr>
          </a:p>
        </p:txBody>
      </p:sp>
      <p:sp>
        <p:nvSpPr>
          <p:cNvPr id="51" name="矩形 50"/>
          <p:cNvSpPr/>
          <p:nvPr/>
        </p:nvSpPr>
        <p:spPr>
          <a:xfrm>
            <a:off x="202952" y="2213043"/>
            <a:ext cx="646134" cy="1843867"/>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altLang="zh-CN" sz="1200" b="1" dirty="0" smtClean="0">
                <a:solidFill>
                  <a:schemeClr val="bg1"/>
                </a:solidFill>
                <a:cs typeface="+mn-ea"/>
                <a:sym typeface="+mn-lt"/>
              </a:rPr>
              <a:t>XXX</a:t>
            </a:r>
            <a:endParaRPr lang="en-US" altLang="zh-CN" sz="1200" b="1" dirty="0" smtClean="0">
              <a:solidFill>
                <a:schemeClr val="bg1"/>
              </a:solidFill>
              <a:cs typeface="+mn-ea"/>
              <a:sym typeface="+mn-lt"/>
            </a:endParaRPr>
          </a:p>
        </p:txBody>
      </p:sp>
      <p:sp>
        <p:nvSpPr>
          <p:cNvPr id="52" name="矩形 51"/>
          <p:cNvSpPr/>
          <p:nvPr/>
        </p:nvSpPr>
        <p:spPr>
          <a:xfrm>
            <a:off x="202952" y="4156533"/>
            <a:ext cx="646134" cy="876916"/>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altLang="zh-CN" sz="1400" b="1" dirty="0" smtClean="0">
                <a:solidFill>
                  <a:schemeClr val="bg1"/>
                </a:solidFill>
                <a:cs typeface="+mn-ea"/>
                <a:sym typeface="+mn-lt"/>
              </a:rPr>
              <a:t>XXXX</a:t>
            </a:r>
            <a:endParaRPr lang="en-US" altLang="zh-CN" sz="1400" b="1" dirty="0" smtClean="0">
              <a:solidFill>
                <a:schemeClr val="bg1"/>
              </a:solidFill>
              <a:cs typeface="+mn-ea"/>
              <a:sym typeface="+mn-lt"/>
            </a:endParaRPr>
          </a:p>
        </p:txBody>
      </p:sp>
      <p:sp>
        <p:nvSpPr>
          <p:cNvPr id="53" name="矩形 52"/>
          <p:cNvSpPr/>
          <p:nvPr/>
        </p:nvSpPr>
        <p:spPr>
          <a:xfrm>
            <a:off x="202952" y="5123484"/>
            <a:ext cx="646134" cy="1196036"/>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altLang="zh-CN" sz="1400" b="1" dirty="0" smtClean="0">
                <a:solidFill>
                  <a:schemeClr val="bg1"/>
                </a:solidFill>
                <a:cs typeface="+mn-ea"/>
                <a:sym typeface="+mn-lt"/>
              </a:rPr>
              <a:t>XXX</a:t>
            </a:r>
            <a:endParaRPr lang="en-US" altLang="zh-CN" sz="1400" b="1" dirty="0" smtClean="0">
              <a:solidFill>
                <a:schemeClr val="bg1"/>
              </a:solidFill>
              <a:cs typeface="+mn-ea"/>
              <a:sym typeface="+mn-lt"/>
            </a:endParaRPr>
          </a:p>
        </p:txBody>
      </p:sp>
      <p:cxnSp>
        <p:nvCxnSpPr>
          <p:cNvPr id="78" name="直接连接符 77"/>
          <p:cNvCxnSpPr/>
          <p:nvPr/>
        </p:nvCxnSpPr>
        <p:spPr>
          <a:xfrm>
            <a:off x="904240" y="2177792"/>
            <a:ext cx="109321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9" name="矩形 28"/>
          <p:cNvSpPr/>
          <p:nvPr/>
        </p:nvSpPr>
        <p:spPr>
          <a:xfrm>
            <a:off x="889232" y="1574800"/>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dirty="0">
                <a:solidFill>
                  <a:schemeClr val="tx1"/>
                </a:solidFill>
                <a:cs typeface="+mn-ea"/>
                <a:sym typeface="+mn-lt"/>
              </a:rPr>
              <a:t>XXXX</a:t>
            </a:r>
            <a:endParaRPr lang="en-US" altLang="zh-CN" sz="1200" dirty="0">
              <a:solidFill>
                <a:schemeClr val="tx1"/>
              </a:solidFill>
              <a:cs typeface="+mn-ea"/>
              <a:sym typeface="+mn-lt"/>
            </a:endParaRPr>
          </a:p>
        </p:txBody>
      </p:sp>
      <p:sp>
        <p:nvSpPr>
          <p:cNvPr id="57" name="矩形 56"/>
          <p:cNvSpPr/>
          <p:nvPr/>
        </p:nvSpPr>
        <p:spPr>
          <a:xfrm>
            <a:off x="889232" y="1893921"/>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3" name="矩形 62"/>
          <p:cNvSpPr/>
          <p:nvPr/>
        </p:nvSpPr>
        <p:spPr>
          <a:xfrm>
            <a:off x="889232" y="3808649"/>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4" name="矩形 63"/>
          <p:cNvSpPr/>
          <p:nvPr/>
        </p:nvSpPr>
        <p:spPr>
          <a:xfrm>
            <a:off x="889232" y="4156533"/>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5" name="矩形 64"/>
          <p:cNvSpPr/>
          <p:nvPr/>
        </p:nvSpPr>
        <p:spPr>
          <a:xfrm>
            <a:off x="889232" y="4475654"/>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6" name="矩形 65"/>
          <p:cNvSpPr/>
          <p:nvPr/>
        </p:nvSpPr>
        <p:spPr>
          <a:xfrm>
            <a:off x="889232" y="4794775"/>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7" name="矩形 66"/>
          <p:cNvSpPr/>
          <p:nvPr/>
        </p:nvSpPr>
        <p:spPr>
          <a:xfrm>
            <a:off x="889232" y="5123484"/>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8" name="矩形 67"/>
          <p:cNvSpPr/>
          <p:nvPr/>
        </p:nvSpPr>
        <p:spPr>
          <a:xfrm>
            <a:off x="889232" y="5761727"/>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9" name="矩形 68"/>
          <p:cNvSpPr/>
          <p:nvPr/>
        </p:nvSpPr>
        <p:spPr>
          <a:xfrm>
            <a:off x="889232" y="5442605"/>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70" name="矩形 69"/>
          <p:cNvSpPr/>
          <p:nvPr/>
        </p:nvSpPr>
        <p:spPr>
          <a:xfrm>
            <a:off x="889232" y="6080846"/>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58" name="矩形 57"/>
          <p:cNvSpPr/>
          <p:nvPr/>
        </p:nvSpPr>
        <p:spPr>
          <a:xfrm>
            <a:off x="889232" y="2222630"/>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59" name="矩形 58"/>
          <p:cNvSpPr/>
          <p:nvPr/>
        </p:nvSpPr>
        <p:spPr>
          <a:xfrm>
            <a:off x="889232" y="3179994"/>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0" name="矩形 59"/>
          <p:cNvSpPr/>
          <p:nvPr/>
        </p:nvSpPr>
        <p:spPr>
          <a:xfrm>
            <a:off x="889232" y="2541751"/>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1" name="矩形 60"/>
          <p:cNvSpPr/>
          <p:nvPr/>
        </p:nvSpPr>
        <p:spPr>
          <a:xfrm>
            <a:off x="889232" y="3499115"/>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2" name="矩形 61"/>
          <p:cNvSpPr/>
          <p:nvPr/>
        </p:nvSpPr>
        <p:spPr>
          <a:xfrm>
            <a:off x="889232" y="2860873"/>
            <a:ext cx="2839488" cy="2386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cxnSp>
        <p:nvCxnSpPr>
          <p:cNvPr id="80" name="直接连接符 79"/>
          <p:cNvCxnSpPr/>
          <p:nvPr/>
        </p:nvCxnSpPr>
        <p:spPr>
          <a:xfrm>
            <a:off x="904240" y="4104846"/>
            <a:ext cx="109321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a:off x="904240" y="5082754"/>
            <a:ext cx="109321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9" name="ColumnHeader"/>
          <p:cNvSpPr>
            <a:spLocks noChangeArrowheads="1"/>
          </p:cNvSpPr>
          <p:nvPr/>
        </p:nvSpPr>
        <p:spPr bwMode="gray">
          <a:xfrm>
            <a:off x="3779520" y="934720"/>
            <a:ext cx="1565023" cy="574628"/>
          </a:xfrm>
          <a:prstGeom prst="rect">
            <a:avLst/>
          </a:prstGeom>
          <a:solidFill>
            <a:srgbClr val="E75C01"/>
          </a:solidFill>
          <a:ln w="9525" algn="ctr">
            <a:noFill/>
            <a:miter lim="800000"/>
            <a:headEnd type="none" w="lg" len="lg"/>
            <a:tailEnd type="none" w="lg" len="lg"/>
          </a:ln>
          <a:effectLst/>
        </p:spPr>
        <p:txBody>
          <a:bodyPr wrap="square" lIns="0" tIns="0" rIns="0" bIns="0" anchor="ctr">
            <a:noAutofit/>
          </a:bodyPr>
          <a:lstStyle/>
          <a:p>
            <a:pPr algn="ctr">
              <a:lnSpc>
                <a:spcPct val="150000"/>
              </a:lnSpc>
            </a:pP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sp>
        <p:nvSpPr>
          <p:cNvPr id="10" name="ColumnHeader"/>
          <p:cNvSpPr>
            <a:spLocks noChangeArrowheads="1"/>
          </p:cNvSpPr>
          <p:nvPr/>
        </p:nvSpPr>
        <p:spPr bwMode="gray">
          <a:xfrm>
            <a:off x="7081328" y="934720"/>
            <a:ext cx="1565023" cy="574628"/>
          </a:xfrm>
          <a:prstGeom prst="rect">
            <a:avLst/>
          </a:prstGeom>
          <a:solidFill>
            <a:schemeClr val="accent1">
              <a:lumMod val="75000"/>
            </a:schemeClr>
          </a:solidFill>
          <a:ln w="9525" algn="ctr">
            <a:noFill/>
            <a:miter lim="800000"/>
            <a:headEnd type="none" w="lg" len="lg"/>
            <a:tailEnd type="none" w="lg" len="lg"/>
          </a:ln>
          <a:effectLst/>
        </p:spPr>
        <p:txBody>
          <a:bodyPr wrap="square" lIns="0" tIns="0" rIns="0" bIns="0" anchor="ctr">
            <a:noAutofit/>
          </a:bodyPr>
          <a:lstStyle/>
          <a:p>
            <a:pPr algn="ctr"/>
            <a:r>
              <a:rPr lang="en-US" altLang="zh-CN" sz="1400" b="1" dirty="0" smtClean="0">
                <a:solidFill>
                  <a:schemeClr val="bg1"/>
                </a:solidFill>
                <a:cs typeface="+mn-ea"/>
                <a:sym typeface="+mn-lt"/>
              </a:rPr>
              <a:t>XXX</a:t>
            </a:r>
            <a:endParaRPr lang="en-US" altLang="zh-CN" sz="1400" b="1" dirty="0">
              <a:solidFill>
                <a:schemeClr val="bg1"/>
              </a:solidFill>
              <a:cs typeface="+mn-ea"/>
              <a:sym typeface="+mn-lt"/>
            </a:endParaRPr>
          </a:p>
        </p:txBody>
      </p:sp>
      <p:sp>
        <p:nvSpPr>
          <p:cNvPr id="13" name="ColumnHeader"/>
          <p:cNvSpPr>
            <a:spLocks noChangeArrowheads="1"/>
          </p:cNvSpPr>
          <p:nvPr/>
        </p:nvSpPr>
        <p:spPr bwMode="gray">
          <a:xfrm>
            <a:off x="5430424" y="934720"/>
            <a:ext cx="1565023" cy="574628"/>
          </a:xfrm>
          <a:prstGeom prst="rect">
            <a:avLst/>
          </a:prstGeom>
          <a:solidFill>
            <a:schemeClr val="accent1">
              <a:lumMod val="75000"/>
            </a:schemeClr>
          </a:solidFill>
          <a:ln w="9525" algn="ctr">
            <a:noFill/>
            <a:miter lim="800000"/>
            <a:headEnd type="none" w="lg" len="lg"/>
            <a:tailEnd type="none" w="lg" len="lg"/>
          </a:ln>
          <a:effectLst/>
        </p:spPr>
        <p:txBody>
          <a:bodyPr wrap="square" lIns="0" tIns="0" rIns="0" bIns="0" anchor="ctr">
            <a:noAutofit/>
          </a:bodyPr>
          <a:lstStyle/>
          <a:p>
            <a:pPr algn="ct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sp>
        <p:nvSpPr>
          <p:cNvPr id="12" name="ColumnHeader"/>
          <p:cNvSpPr>
            <a:spLocks noChangeArrowheads="1"/>
          </p:cNvSpPr>
          <p:nvPr/>
        </p:nvSpPr>
        <p:spPr bwMode="gray">
          <a:xfrm>
            <a:off x="8732232" y="1229360"/>
            <a:ext cx="1565023" cy="279988"/>
          </a:xfrm>
          <a:prstGeom prst="rect">
            <a:avLst/>
          </a:prstGeom>
          <a:solidFill>
            <a:schemeClr val="accent1">
              <a:lumMod val="60000"/>
              <a:lumOff val="40000"/>
            </a:schemeClr>
          </a:solidFill>
          <a:ln w="9525" algn="ctr">
            <a:noFill/>
            <a:miter lim="800000"/>
            <a:headEnd type="none" w="lg" len="lg"/>
            <a:tailEnd type="none" w="lg" len="lg"/>
          </a:ln>
          <a:effectLst/>
        </p:spPr>
        <p:txBody>
          <a:bodyPr wrap="square" lIns="0" tIns="0" rIns="0" bIns="0" anchor="ctr">
            <a:noAutofit/>
          </a:bodyPr>
          <a:lstStyle/>
          <a:p>
            <a:pPr algn="ctr"/>
            <a:r>
              <a:rPr lang="en-US" altLang="zh-CN" sz="1400" b="1" dirty="0">
                <a:solidFill>
                  <a:srgbClr val="000000"/>
                </a:solidFill>
                <a:cs typeface="+mn-ea"/>
                <a:sym typeface="+mn-lt"/>
              </a:rPr>
              <a:t>XXX</a:t>
            </a:r>
            <a:endParaRPr lang="en-US" altLang="zh-CN" sz="1400" b="1" dirty="0">
              <a:solidFill>
                <a:srgbClr val="000000"/>
              </a:solidFill>
              <a:cs typeface="+mn-ea"/>
              <a:sym typeface="+mn-lt"/>
            </a:endParaRPr>
          </a:p>
        </p:txBody>
      </p:sp>
      <p:sp>
        <p:nvSpPr>
          <p:cNvPr id="14" name="ColumnHeader"/>
          <p:cNvSpPr>
            <a:spLocks noChangeArrowheads="1"/>
          </p:cNvSpPr>
          <p:nvPr/>
        </p:nvSpPr>
        <p:spPr bwMode="gray">
          <a:xfrm>
            <a:off x="10383136" y="1229360"/>
            <a:ext cx="1565023" cy="279988"/>
          </a:xfrm>
          <a:prstGeom prst="rect">
            <a:avLst/>
          </a:prstGeom>
          <a:solidFill>
            <a:schemeClr val="accent1">
              <a:lumMod val="60000"/>
              <a:lumOff val="40000"/>
            </a:schemeClr>
          </a:solidFill>
          <a:ln w="9525" algn="ctr">
            <a:noFill/>
            <a:miter lim="800000"/>
            <a:headEnd type="none" w="lg" len="lg"/>
            <a:tailEnd type="none" w="lg" len="lg"/>
          </a:ln>
          <a:effectLst/>
        </p:spPr>
        <p:txBody>
          <a:bodyPr wrap="square" lIns="0" tIns="0" rIns="0" bIns="0" anchor="ctr">
            <a:noAutofit/>
          </a:bodyPr>
          <a:lstStyle/>
          <a:p>
            <a:pPr algn="ctr"/>
            <a:r>
              <a:rPr lang="en-US" altLang="zh-CN" sz="1400" b="1" dirty="0">
                <a:solidFill>
                  <a:srgbClr val="000000"/>
                </a:solidFill>
                <a:cs typeface="+mn-ea"/>
                <a:sym typeface="+mn-lt"/>
              </a:rPr>
              <a:t>XXX</a:t>
            </a:r>
            <a:endParaRPr lang="en-US" altLang="zh-CN" sz="1400" b="1" dirty="0">
              <a:solidFill>
                <a:srgbClr val="000000"/>
              </a:solidFill>
              <a:cs typeface="+mn-ea"/>
              <a:sym typeface="+mn-lt"/>
            </a:endParaRPr>
          </a:p>
        </p:txBody>
      </p:sp>
      <p:sp>
        <p:nvSpPr>
          <p:cNvPr id="89" name="ColumnHeader"/>
          <p:cNvSpPr>
            <a:spLocks noChangeArrowheads="1"/>
          </p:cNvSpPr>
          <p:nvPr/>
        </p:nvSpPr>
        <p:spPr bwMode="gray">
          <a:xfrm>
            <a:off x="8732232" y="934720"/>
            <a:ext cx="3215927" cy="243840"/>
          </a:xfrm>
          <a:prstGeom prst="rect">
            <a:avLst/>
          </a:prstGeom>
          <a:solidFill>
            <a:schemeClr val="accent1">
              <a:lumMod val="75000"/>
            </a:schemeClr>
          </a:solidFill>
          <a:ln w="9525" algn="ctr">
            <a:noFill/>
            <a:miter lim="800000"/>
            <a:headEnd type="none" w="lg" len="lg"/>
            <a:tailEnd type="none" w="lg" len="lg"/>
          </a:ln>
          <a:effectLst/>
        </p:spPr>
        <p:txBody>
          <a:bodyPr wrap="square" lIns="0" tIns="0" rIns="0" bIns="0" anchor="ctr">
            <a:noAutofit/>
          </a:bodyPr>
          <a:lstStyle/>
          <a:p>
            <a:pPr algn="ct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sp>
        <p:nvSpPr>
          <p:cNvPr id="94" name="矩形 93"/>
          <p:cNvSpPr/>
          <p:nvPr/>
        </p:nvSpPr>
        <p:spPr>
          <a:xfrm>
            <a:off x="3779520" y="157480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altLang="zh-CN" sz="1200" dirty="0" smtClean="0">
                <a:solidFill>
                  <a:schemeClr val="tx1"/>
                </a:solidFill>
                <a:cs typeface="+mn-ea"/>
                <a:sym typeface="+mn-lt"/>
              </a:rPr>
              <a:t>XXXX</a:t>
            </a:r>
            <a:endParaRPr lang="en-US" altLang="zh-CN" sz="1200" dirty="0" smtClean="0">
              <a:solidFill>
                <a:schemeClr val="tx1"/>
              </a:solidFill>
              <a:cs typeface="+mn-ea"/>
              <a:sym typeface="+mn-lt"/>
            </a:endParaRPr>
          </a:p>
        </p:txBody>
      </p:sp>
      <p:sp>
        <p:nvSpPr>
          <p:cNvPr id="95" name="矩形 94"/>
          <p:cNvSpPr/>
          <p:nvPr/>
        </p:nvSpPr>
        <p:spPr>
          <a:xfrm>
            <a:off x="3779520" y="189392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96" name="矩形 95"/>
          <p:cNvSpPr/>
          <p:nvPr/>
        </p:nvSpPr>
        <p:spPr>
          <a:xfrm>
            <a:off x="3779520" y="3808649"/>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97" name="矩形 96"/>
          <p:cNvSpPr/>
          <p:nvPr/>
        </p:nvSpPr>
        <p:spPr>
          <a:xfrm>
            <a:off x="3779520" y="415653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98" name="矩形 97"/>
          <p:cNvSpPr/>
          <p:nvPr/>
        </p:nvSpPr>
        <p:spPr>
          <a:xfrm>
            <a:off x="3779520" y="447565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99" name="矩形 98"/>
          <p:cNvSpPr/>
          <p:nvPr/>
        </p:nvSpPr>
        <p:spPr>
          <a:xfrm>
            <a:off x="3779520" y="479477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0" name="矩形 99"/>
          <p:cNvSpPr/>
          <p:nvPr/>
        </p:nvSpPr>
        <p:spPr>
          <a:xfrm>
            <a:off x="3779520" y="512348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1" name="矩形 100"/>
          <p:cNvSpPr/>
          <p:nvPr/>
        </p:nvSpPr>
        <p:spPr>
          <a:xfrm>
            <a:off x="3779520" y="5761727"/>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2" name="矩形 101"/>
          <p:cNvSpPr/>
          <p:nvPr/>
        </p:nvSpPr>
        <p:spPr>
          <a:xfrm>
            <a:off x="3779520" y="544260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3" name="矩形 102"/>
          <p:cNvSpPr/>
          <p:nvPr/>
        </p:nvSpPr>
        <p:spPr>
          <a:xfrm>
            <a:off x="3779520" y="6080846"/>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4" name="矩形 103"/>
          <p:cNvSpPr/>
          <p:nvPr/>
        </p:nvSpPr>
        <p:spPr>
          <a:xfrm>
            <a:off x="3779520" y="222263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5" name="矩形 104"/>
          <p:cNvSpPr/>
          <p:nvPr/>
        </p:nvSpPr>
        <p:spPr>
          <a:xfrm>
            <a:off x="3779520" y="317999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6" name="矩形 105"/>
          <p:cNvSpPr/>
          <p:nvPr/>
        </p:nvSpPr>
        <p:spPr>
          <a:xfrm>
            <a:off x="3779520" y="254175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7" name="矩形 106"/>
          <p:cNvSpPr/>
          <p:nvPr/>
        </p:nvSpPr>
        <p:spPr>
          <a:xfrm>
            <a:off x="3779520" y="349911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8" name="矩形 107"/>
          <p:cNvSpPr/>
          <p:nvPr/>
        </p:nvSpPr>
        <p:spPr>
          <a:xfrm>
            <a:off x="3779520" y="286087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9" name="矩形 108"/>
          <p:cNvSpPr/>
          <p:nvPr/>
        </p:nvSpPr>
        <p:spPr>
          <a:xfrm>
            <a:off x="7081328" y="157480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0" name="矩形 109"/>
          <p:cNvSpPr/>
          <p:nvPr/>
        </p:nvSpPr>
        <p:spPr>
          <a:xfrm>
            <a:off x="7081328" y="189392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1" name="矩形 110"/>
          <p:cNvSpPr/>
          <p:nvPr/>
        </p:nvSpPr>
        <p:spPr>
          <a:xfrm>
            <a:off x="7081328" y="3808649"/>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2" name="矩形 111"/>
          <p:cNvSpPr/>
          <p:nvPr/>
        </p:nvSpPr>
        <p:spPr>
          <a:xfrm>
            <a:off x="7081328" y="415653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3" name="矩形 112"/>
          <p:cNvSpPr/>
          <p:nvPr/>
        </p:nvSpPr>
        <p:spPr>
          <a:xfrm>
            <a:off x="7081328" y="447565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4" name="矩形 113"/>
          <p:cNvSpPr/>
          <p:nvPr/>
        </p:nvSpPr>
        <p:spPr>
          <a:xfrm>
            <a:off x="7081328" y="479477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5" name="矩形 114"/>
          <p:cNvSpPr/>
          <p:nvPr/>
        </p:nvSpPr>
        <p:spPr>
          <a:xfrm>
            <a:off x="7081328" y="512348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6" name="矩形 115"/>
          <p:cNvSpPr/>
          <p:nvPr/>
        </p:nvSpPr>
        <p:spPr>
          <a:xfrm>
            <a:off x="7081328" y="5761727"/>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7" name="矩形 116"/>
          <p:cNvSpPr/>
          <p:nvPr/>
        </p:nvSpPr>
        <p:spPr>
          <a:xfrm>
            <a:off x="7081328" y="544260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8" name="矩形 117"/>
          <p:cNvSpPr/>
          <p:nvPr/>
        </p:nvSpPr>
        <p:spPr>
          <a:xfrm>
            <a:off x="7081328" y="6080846"/>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9" name="矩形 118"/>
          <p:cNvSpPr/>
          <p:nvPr/>
        </p:nvSpPr>
        <p:spPr>
          <a:xfrm>
            <a:off x="7081328" y="222263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0" name="矩形 119"/>
          <p:cNvSpPr/>
          <p:nvPr/>
        </p:nvSpPr>
        <p:spPr>
          <a:xfrm>
            <a:off x="7081328" y="317999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1" name="矩形 120"/>
          <p:cNvSpPr/>
          <p:nvPr/>
        </p:nvSpPr>
        <p:spPr>
          <a:xfrm>
            <a:off x="7081328" y="254175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2" name="矩形 121"/>
          <p:cNvSpPr/>
          <p:nvPr/>
        </p:nvSpPr>
        <p:spPr>
          <a:xfrm>
            <a:off x="7081328" y="349911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3" name="矩形 122"/>
          <p:cNvSpPr/>
          <p:nvPr/>
        </p:nvSpPr>
        <p:spPr>
          <a:xfrm>
            <a:off x="7081328" y="286087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7" name="矩形 126"/>
          <p:cNvSpPr/>
          <p:nvPr/>
        </p:nvSpPr>
        <p:spPr>
          <a:xfrm>
            <a:off x="10383136" y="157480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8" name="矩形 127"/>
          <p:cNvSpPr/>
          <p:nvPr/>
        </p:nvSpPr>
        <p:spPr>
          <a:xfrm>
            <a:off x="10383136" y="189392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prstClr val="black"/>
                </a:solidFill>
                <a:cs typeface="+mn-ea"/>
                <a:sym typeface="+mn-lt"/>
              </a:rPr>
              <a:t>XXXX</a:t>
            </a:r>
            <a:endParaRPr lang="en-US" altLang="zh-CN" sz="1200" dirty="0">
              <a:solidFill>
                <a:prstClr val="black"/>
              </a:solidFill>
              <a:cs typeface="+mn-ea"/>
              <a:sym typeface="+mn-lt"/>
            </a:endParaRPr>
          </a:p>
        </p:txBody>
      </p:sp>
      <p:sp>
        <p:nvSpPr>
          <p:cNvPr id="129" name="矩形 128"/>
          <p:cNvSpPr/>
          <p:nvPr/>
        </p:nvSpPr>
        <p:spPr>
          <a:xfrm>
            <a:off x="10383136" y="3808649"/>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0" name="矩形 129"/>
          <p:cNvSpPr/>
          <p:nvPr/>
        </p:nvSpPr>
        <p:spPr>
          <a:xfrm>
            <a:off x="10383136" y="415653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1" name="矩形 130"/>
          <p:cNvSpPr/>
          <p:nvPr/>
        </p:nvSpPr>
        <p:spPr>
          <a:xfrm>
            <a:off x="10383136" y="447565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2" name="矩形 131"/>
          <p:cNvSpPr/>
          <p:nvPr/>
        </p:nvSpPr>
        <p:spPr>
          <a:xfrm>
            <a:off x="10383136" y="479477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3" name="矩形 132"/>
          <p:cNvSpPr/>
          <p:nvPr/>
        </p:nvSpPr>
        <p:spPr>
          <a:xfrm>
            <a:off x="10383136" y="512348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4" name="矩形 133"/>
          <p:cNvSpPr/>
          <p:nvPr/>
        </p:nvSpPr>
        <p:spPr>
          <a:xfrm>
            <a:off x="10383136" y="5761727"/>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5" name="矩形 134"/>
          <p:cNvSpPr/>
          <p:nvPr/>
        </p:nvSpPr>
        <p:spPr>
          <a:xfrm>
            <a:off x="10383136" y="544260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6" name="矩形 135"/>
          <p:cNvSpPr/>
          <p:nvPr/>
        </p:nvSpPr>
        <p:spPr>
          <a:xfrm>
            <a:off x="10383136" y="6080846"/>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7" name="矩形 136"/>
          <p:cNvSpPr/>
          <p:nvPr/>
        </p:nvSpPr>
        <p:spPr>
          <a:xfrm>
            <a:off x="10383136" y="222263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8" name="矩形 137"/>
          <p:cNvSpPr/>
          <p:nvPr/>
        </p:nvSpPr>
        <p:spPr>
          <a:xfrm>
            <a:off x="10383136" y="317999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9" name="矩形 138"/>
          <p:cNvSpPr/>
          <p:nvPr/>
        </p:nvSpPr>
        <p:spPr>
          <a:xfrm>
            <a:off x="10383136" y="254175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0" name="矩形 139"/>
          <p:cNvSpPr/>
          <p:nvPr/>
        </p:nvSpPr>
        <p:spPr>
          <a:xfrm>
            <a:off x="10383136" y="349911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1" name="矩形 140"/>
          <p:cNvSpPr/>
          <p:nvPr/>
        </p:nvSpPr>
        <p:spPr>
          <a:xfrm>
            <a:off x="10383136" y="286087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2" name="矩形 141"/>
          <p:cNvSpPr/>
          <p:nvPr/>
        </p:nvSpPr>
        <p:spPr>
          <a:xfrm>
            <a:off x="8732232" y="157480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3" name="矩形 142"/>
          <p:cNvSpPr/>
          <p:nvPr/>
        </p:nvSpPr>
        <p:spPr>
          <a:xfrm>
            <a:off x="8732232" y="189392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4" name="矩形 143"/>
          <p:cNvSpPr/>
          <p:nvPr/>
        </p:nvSpPr>
        <p:spPr>
          <a:xfrm>
            <a:off x="8732232" y="3808649"/>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5" name="矩形 144"/>
          <p:cNvSpPr/>
          <p:nvPr/>
        </p:nvSpPr>
        <p:spPr>
          <a:xfrm>
            <a:off x="8732232" y="415653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6" name="矩形 145"/>
          <p:cNvSpPr/>
          <p:nvPr/>
        </p:nvSpPr>
        <p:spPr>
          <a:xfrm>
            <a:off x="8732232" y="447565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7" name="矩形 146"/>
          <p:cNvSpPr/>
          <p:nvPr/>
        </p:nvSpPr>
        <p:spPr>
          <a:xfrm>
            <a:off x="8732232" y="479477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8" name="矩形 147"/>
          <p:cNvSpPr/>
          <p:nvPr/>
        </p:nvSpPr>
        <p:spPr>
          <a:xfrm>
            <a:off x="8732232" y="512348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9" name="矩形 148"/>
          <p:cNvSpPr/>
          <p:nvPr/>
        </p:nvSpPr>
        <p:spPr>
          <a:xfrm>
            <a:off x="8732232" y="5761727"/>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0" name="矩形 149"/>
          <p:cNvSpPr/>
          <p:nvPr/>
        </p:nvSpPr>
        <p:spPr>
          <a:xfrm>
            <a:off x="8732232" y="544260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1" name="矩形 150"/>
          <p:cNvSpPr/>
          <p:nvPr/>
        </p:nvSpPr>
        <p:spPr>
          <a:xfrm>
            <a:off x="8732232" y="6080846"/>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2" name="矩形 151"/>
          <p:cNvSpPr/>
          <p:nvPr/>
        </p:nvSpPr>
        <p:spPr>
          <a:xfrm>
            <a:off x="8732232" y="222263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3" name="矩形 152"/>
          <p:cNvSpPr/>
          <p:nvPr/>
        </p:nvSpPr>
        <p:spPr>
          <a:xfrm>
            <a:off x="8732232" y="317999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4" name="矩形 153"/>
          <p:cNvSpPr/>
          <p:nvPr/>
        </p:nvSpPr>
        <p:spPr>
          <a:xfrm>
            <a:off x="8732232" y="254175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5" name="矩形 154"/>
          <p:cNvSpPr/>
          <p:nvPr/>
        </p:nvSpPr>
        <p:spPr>
          <a:xfrm>
            <a:off x="8732232" y="349911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6" name="矩形 155"/>
          <p:cNvSpPr/>
          <p:nvPr/>
        </p:nvSpPr>
        <p:spPr>
          <a:xfrm>
            <a:off x="8732232" y="286087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7" name="矩形 156"/>
          <p:cNvSpPr/>
          <p:nvPr/>
        </p:nvSpPr>
        <p:spPr>
          <a:xfrm>
            <a:off x="5430424" y="157480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8" name="矩形 157"/>
          <p:cNvSpPr/>
          <p:nvPr/>
        </p:nvSpPr>
        <p:spPr>
          <a:xfrm>
            <a:off x="5430424" y="189392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9" name="矩形 158"/>
          <p:cNvSpPr/>
          <p:nvPr/>
        </p:nvSpPr>
        <p:spPr>
          <a:xfrm>
            <a:off x="5430424" y="3808649"/>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0" name="矩形 159"/>
          <p:cNvSpPr/>
          <p:nvPr/>
        </p:nvSpPr>
        <p:spPr>
          <a:xfrm>
            <a:off x="5430424" y="415653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1" name="矩形 160"/>
          <p:cNvSpPr/>
          <p:nvPr/>
        </p:nvSpPr>
        <p:spPr>
          <a:xfrm>
            <a:off x="5430424" y="447565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2" name="矩形 161"/>
          <p:cNvSpPr/>
          <p:nvPr/>
        </p:nvSpPr>
        <p:spPr>
          <a:xfrm>
            <a:off x="5430424" y="479477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3" name="矩形 162"/>
          <p:cNvSpPr/>
          <p:nvPr/>
        </p:nvSpPr>
        <p:spPr>
          <a:xfrm>
            <a:off x="5430424" y="512348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4" name="矩形 163"/>
          <p:cNvSpPr/>
          <p:nvPr/>
        </p:nvSpPr>
        <p:spPr>
          <a:xfrm>
            <a:off x="5430424" y="5761727"/>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5" name="矩形 164"/>
          <p:cNvSpPr/>
          <p:nvPr/>
        </p:nvSpPr>
        <p:spPr>
          <a:xfrm>
            <a:off x="5430424" y="544260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6" name="矩形 165"/>
          <p:cNvSpPr/>
          <p:nvPr/>
        </p:nvSpPr>
        <p:spPr>
          <a:xfrm>
            <a:off x="5430424" y="6080846"/>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7" name="矩形 166"/>
          <p:cNvSpPr/>
          <p:nvPr/>
        </p:nvSpPr>
        <p:spPr>
          <a:xfrm>
            <a:off x="5430424" y="222263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8" name="矩形 167"/>
          <p:cNvSpPr/>
          <p:nvPr/>
        </p:nvSpPr>
        <p:spPr>
          <a:xfrm>
            <a:off x="5430424" y="317999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9" name="矩形 168"/>
          <p:cNvSpPr/>
          <p:nvPr/>
        </p:nvSpPr>
        <p:spPr>
          <a:xfrm>
            <a:off x="5430424" y="254175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70" name="矩形 169"/>
          <p:cNvSpPr/>
          <p:nvPr/>
        </p:nvSpPr>
        <p:spPr>
          <a:xfrm>
            <a:off x="5430424" y="349911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71" name="矩形 170"/>
          <p:cNvSpPr/>
          <p:nvPr/>
        </p:nvSpPr>
        <p:spPr>
          <a:xfrm>
            <a:off x="5430424" y="286087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图表</a:t>
            </a:r>
            <a:endParaRPr lang="zh-CN" altLang="en-US" sz="2400" dirty="0">
              <a:solidFill>
                <a:prstClr val="black"/>
              </a:solidFill>
              <a:latin typeface="华文楷体" panose="02010600040101010101" charset="-122"/>
              <a:ea typeface="华文楷体" panose="02010600040101010101" charset="-122"/>
            </a:endParaRPr>
          </a:p>
        </p:txBody>
      </p:sp>
      <p:pic>
        <p:nvPicPr>
          <p:cNvPr id="172" name="图片 1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451709" name="think-cell Slide" r:id="rId2" imgW="12700" imgH="12700" progId="TCLayout.ActiveDocument.1">
                  <p:embed/>
                </p:oleObj>
              </mc:Choice>
              <mc:Fallback>
                <p:oleObj name="think-cell Slide" r:id="rId2" imgW="12700" imgH="12700" progId="TCLayout.ActiveDocument.1">
                  <p:embed/>
                  <p:pic>
                    <p:nvPicPr>
                      <p:cNvPr id="0" name="Object 4" hidden="1"/>
                      <p:cNvPicPr/>
                      <p:nvPr/>
                    </p:nvPicPr>
                    <p:blipFill>
                      <a:blip r:embed="rId3"/>
                      <a:stretch>
                        <a:fillRect/>
                      </a:stretch>
                    </p:blipFill>
                    <p:spPr>
                      <a:xfrm>
                        <a:off x="1525891" y="1621"/>
                        <a:ext cx="1619" cy="1619"/>
                      </a:xfrm>
                      <a:prstGeom prst="rect">
                        <a:avLst/>
                      </a:prstGeom>
                    </p:spPr>
                  </p:pic>
                </p:oleObj>
              </mc:Fallback>
            </mc:AlternateContent>
          </a:graphicData>
        </a:graphic>
      </p:graphicFrame>
      <p:grpSp>
        <p:nvGrpSpPr>
          <p:cNvPr id="8" name="组合 7"/>
          <p:cNvGrpSpPr/>
          <p:nvPr/>
        </p:nvGrpSpPr>
        <p:grpSpPr>
          <a:xfrm>
            <a:off x="1051560" y="901774"/>
            <a:ext cx="10092016" cy="5418901"/>
            <a:chOff x="1888650" y="708700"/>
            <a:chExt cx="8550695" cy="5611975"/>
          </a:xfrm>
        </p:grpSpPr>
        <p:sp>
          <p:nvSpPr>
            <p:cNvPr id="3" name="Rectangle 2"/>
            <p:cNvSpPr/>
            <p:nvPr/>
          </p:nvSpPr>
          <p:spPr>
            <a:xfrm>
              <a:off x="1888650" y="708700"/>
              <a:ext cx="8550695" cy="4960579"/>
            </a:xfrm>
            <a:prstGeom prst="rect">
              <a:avLst/>
            </a:prstGeom>
            <a:noFill/>
            <a:ln w="19050">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24" name="TextBox 23"/>
            <p:cNvSpPr txBox="1"/>
            <p:nvPr/>
          </p:nvSpPr>
          <p:spPr>
            <a:xfrm>
              <a:off x="2097455" y="4853379"/>
              <a:ext cx="8133083" cy="1467296"/>
            </a:xfrm>
            <a:prstGeom prst="rect">
              <a:avLst/>
            </a:prstGeom>
            <a:solidFill>
              <a:srgbClr val="FE5817"/>
            </a:solidFill>
            <a:ln>
              <a:noFill/>
            </a:ln>
          </p:spPr>
          <p:txBody>
            <a:bodyPr wrap="square" lIns="73472" tIns="73472" rIns="73472" bIns="73472" rtlCol="0" anchor="ctr" anchorCtr="0">
              <a:noAutofit/>
            </a:bodyPr>
            <a:lstStyle/>
            <a:p>
              <a:pPr marL="291465" marR="0" lvl="0" indent="-291465" algn="l" defTabSz="914400" rtl="0" eaLnBrk="1" fontAlgn="auto" latinLnBrk="0" hangingPunct="1">
                <a:lnSpc>
                  <a:spcPct val="100000"/>
                </a:lnSpc>
                <a:spcBef>
                  <a:spcPts val="0"/>
                </a:spcBef>
                <a:spcAft>
                  <a:spcPts val="0"/>
                </a:spcAft>
                <a:buClr>
                  <a:prstClr val="white"/>
                </a:buClr>
                <a:buSzTx/>
                <a:buFont typeface="Wingdings" panose="05000000000000000000" pitchFamily="2" charset="2"/>
                <a:buChar char="§"/>
                <a:defRPr/>
              </a:pPr>
              <a:r>
                <a:rPr kumimoji="0" lang="zh-CN" altLang="en-US"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该分析框架通过横纵轴坐标定位，可判断该业务的基本业务类型</a:t>
              </a:r>
              <a:endParaRPr kumimoji="0" lang="zh-CN" altLang="en-US"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a:p>
              <a:pPr marL="523240" marR="0" lvl="0" indent="-17018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Char char="‒"/>
                <a:defRPr/>
              </a:pPr>
              <a:r>
                <a:rPr kumimoji="0" lang="zh-CN" altLang="en-US"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横轴代表市场吸引力，可选取指标包括市场规模、行业利润率、行业增速等；纵轴代表客户竞争力，可选指标包括各业务的市场份额，业务利润率与行业利润率的差值，业务增长率与行业增长率的差值</a:t>
              </a:r>
              <a:endParaRPr kumimoji="0" lang="en-US" altLang="zh-CN"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a:p>
              <a:pPr marL="523240" marR="0" lvl="0" indent="-17018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Char char="‒"/>
                <a:defRPr/>
              </a:pPr>
              <a:r>
                <a:rPr kumimoji="0" lang="zh-CN" altLang="en-US"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横纵轴指标需一一对应，如横轴选取市场规模，则纵轴选取市场份额</a:t>
              </a:r>
              <a:endParaRPr kumimoji="0" lang="en-US" altLang="zh-CN"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a:p>
              <a:pPr marL="296545" marR="0" lvl="0" indent="-296545" algn="l" defTabSz="914400" rtl="0" eaLnBrk="1" fontAlgn="auto" latinLnBrk="0" hangingPunct="1">
                <a:lnSpc>
                  <a:spcPct val="100000"/>
                </a:lnSpc>
                <a:spcBef>
                  <a:spcPts val="0"/>
                </a:spcBef>
                <a:spcAft>
                  <a:spcPts val="0"/>
                </a:spcAft>
                <a:buClr>
                  <a:prstClr val="white"/>
                </a:buClr>
                <a:buSzTx/>
                <a:buFont typeface="Wingdings" panose="05000000000000000000" pitchFamily="2" charset="2"/>
                <a:buChar char="§"/>
                <a:defRPr/>
              </a:pPr>
              <a:r>
                <a:rPr kumimoji="0" lang="zh-CN" altLang="en-US"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圆圈大小代表业务收入规模</a:t>
              </a:r>
              <a:endParaRPr kumimoji="0" lang="zh-CN" altLang="en-US"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4" name="矩形 3"/>
            <p:cNvSpPr/>
            <p:nvPr/>
          </p:nvSpPr>
          <p:spPr>
            <a:xfrm>
              <a:off x="2697320" y="814634"/>
              <a:ext cx="7360033" cy="3708609"/>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30"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cxnSp>
          <p:nvCxnSpPr>
            <p:cNvPr id="6" name="直接连接符 5"/>
            <p:cNvCxnSpPr>
              <a:stCxn id="4" idx="0"/>
              <a:endCxn id="4" idx="2"/>
            </p:cNvCxnSpPr>
            <p:nvPr/>
          </p:nvCxnSpPr>
          <p:spPr>
            <a:xfrm>
              <a:off x="6377337" y="814634"/>
              <a:ext cx="0" cy="3708609"/>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7" name="直接连接符 6"/>
            <p:cNvCxnSpPr>
              <a:stCxn id="4" idx="1"/>
              <a:endCxn id="4" idx="3"/>
            </p:cNvCxnSpPr>
            <p:nvPr/>
          </p:nvCxnSpPr>
          <p:spPr>
            <a:xfrm>
              <a:off x="2697320" y="2668938"/>
              <a:ext cx="7360033" cy="0"/>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8657894" y="4040059"/>
              <a:ext cx="1399460" cy="362823"/>
            </a:xfrm>
            <a:prstGeom prst="rect">
              <a:avLst/>
            </a:prstGeom>
            <a:solidFill>
              <a:srgbClr val="FE733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prstClr val="white"/>
                </a:buClr>
                <a:buSzTx/>
                <a:buFontTx/>
                <a:buNone/>
                <a:defRPr/>
              </a:pPr>
              <a:r>
                <a:rPr kumimoji="0" lang="zh-CN" altLang="en-US"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潜力业务</a:t>
              </a:r>
              <a:endParaRPr kumimoji="0" lang="zh-CN" altLang="en-US"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15" name="矩形 14"/>
            <p:cNvSpPr/>
            <p:nvPr/>
          </p:nvSpPr>
          <p:spPr>
            <a:xfrm>
              <a:off x="2697321" y="4040059"/>
              <a:ext cx="1399460" cy="362823"/>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575F6D"/>
                </a:buClr>
                <a:buSzTx/>
                <a:buFontTx/>
                <a:buNone/>
                <a:defRPr/>
              </a:pPr>
              <a:r>
                <a:rPr kumimoji="0" lang="zh-CN" altLang="en-US" sz="143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退出业务</a:t>
              </a:r>
              <a:endParaRPr kumimoji="0" lang="zh-CN" altLang="en-US" sz="143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6" name="椭圆 15"/>
            <p:cNvSpPr/>
            <p:nvPr/>
          </p:nvSpPr>
          <p:spPr>
            <a:xfrm>
              <a:off x="6896867" y="1281773"/>
              <a:ext cx="1279606" cy="1565872"/>
            </a:xfrm>
            <a:prstGeom prst="ellipse">
              <a:avLst/>
            </a:prstGeom>
            <a:solidFill>
              <a:srgbClr val="FE5817"/>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prstClr val="white"/>
                </a:buClr>
                <a:buSzTx/>
                <a:buFontTx/>
                <a:buNone/>
                <a:defRPr/>
              </a:pPr>
              <a:r>
                <a:rPr kumimoji="0" lang="en-US" altLang="zh-CN"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A</a:t>
              </a:r>
              <a:endParaRPr kumimoji="0" lang="zh-CN" altLang="en-US" sz="1430" b="1" i="0" u="none" strike="noStrike" kern="1200" cap="none" spc="0" normalizeH="0" baseline="0" noProof="0" dirty="0" err="1">
                <a:ln>
                  <a:noFill/>
                </a:ln>
                <a:solidFill>
                  <a:prstClr val="white"/>
                </a:solidFill>
                <a:effectLst/>
                <a:uLnTx/>
                <a:uFillTx/>
                <a:latin typeface="Arial" panose="020B0604020202020204"/>
                <a:ea typeface="华文楷体" panose="02010600040101010101" charset="-122"/>
                <a:cs typeface="+mn-cs"/>
              </a:endParaRPr>
            </a:p>
          </p:txBody>
        </p:sp>
        <p:sp>
          <p:nvSpPr>
            <p:cNvPr id="17" name="椭圆 16"/>
            <p:cNvSpPr/>
            <p:nvPr/>
          </p:nvSpPr>
          <p:spPr>
            <a:xfrm>
              <a:off x="6621503" y="2094888"/>
              <a:ext cx="1354107" cy="1655351"/>
            </a:xfrm>
            <a:prstGeom prst="ellipse">
              <a:avLst/>
            </a:prstGeom>
            <a:solidFill>
              <a:srgbClr val="FE5817"/>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prstClr val="white"/>
                </a:buClr>
                <a:buSzTx/>
                <a:buFontTx/>
                <a:buNone/>
                <a:defRPr/>
              </a:pPr>
              <a:r>
                <a:rPr kumimoji="0" lang="en-US" altLang="zh-CN"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B</a:t>
              </a:r>
              <a:endParaRPr kumimoji="0" lang="zh-CN" altLang="en-US" sz="1430" b="1" i="0" u="none" strike="noStrike" kern="1200" cap="none" spc="0" normalizeH="0" baseline="0" noProof="0" dirty="0" err="1">
                <a:ln>
                  <a:noFill/>
                </a:ln>
                <a:solidFill>
                  <a:prstClr val="white"/>
                </a:solidFill>
                <a:effectLst/>
                <a:uLnTx/>
                <a:uFillTx/>
                <a:latin typeface="Arial" panose="020B0604020202020204"/>
                <a:ea typeface="华文楷体" panose="02010600040101010101" charset="-122"/>
                <a:cs typeface="+mn-cs"/>
              </a:endParaRPr>
            </a:p>
          </p:txBody>
        </p:sp>
        <p:sp>
          <p:nvSpPr>
            <p:cNvPr id="18" name="椭圆 17"/>
            <p:cNvSpPr/>
            <p:nvPr/>
          </p:nvSpPr>
          <p:spPr>
            <a:xfrm>
              <a:off x="5066549" y="2537346"/>
              <a:ext cx="996995" cy="1219143"/>
            </a:xfrm>
            <a:prstGeom prst="ellipse">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575F6D"/>
                </a:buClr>
                <a:buSzTx/>
                <a:buFontTx/>
                <a:buNone/>
                <a:defRPr/>
              </a:pPr>
              <a:r>
                <a:rPr kumimoji="0" lang="en-US" altLang="zh-CN" sz="143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D</a:t>
              </a:r>
              <a:endParaRPr kumimoji="0" lang="zh-CN" altLang="en-US" sz="1430"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19" name="椭圆 18"/>
            <p:cNvSpPr/>
            <p:nvPr/>
          </p:nvSpPr>
          <p:spPr>
            <a:xfrm>
              <a:off x="4026681" y="1700648"/>
              <a:ext cx="609016" cy="745653"/>
            </a:xfrm>
            <a:prstGeom prst="ellipse">
              <a:avLst/>
            </a:prstGeom>
            <a:solidFill>
              <a:srgbClr val="FEAB8A"/>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575F6D"/>
                </a:buClr>
                <a:buSzTx/>
                <a:buFontTx/>
                <a:buNone/>
                <a:defRPr/>
              </a:pPr>
              <a:r>
                <a:rPr kumimoji="0" lang="en-US" altLang="zh-CN" sz="143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C</a:t>
              </a:r>
              <a:endParaRPr kumimoji="0" lang="zh-CN" altLang="en-US" sz="1430"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20" name="椭圆 19"/>
            <p:cNvSpPr/>
            <p:nvPr/>
          </p:nvSpPr>
          <p:spPr>
            <a:xfrm>
              <a:off x="3744836" y="2908867"/>
              <a:ext cx="890861" cy="1088654"/>
            </a:xfrm>
            <a:prstGeom prst="ellipse">
              <a:avLst/>
            </a:prstGeom>
            <a:solidFill>
              <a:schemeClr val="accent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575F6D"/>
                </a:buClr>
                <a:buSzTx/>
                <a:buFontTx/>
                <a:buNone/>
                <a:defRPr/>
              </a:pPr>
              <a:r>
                <a:rPr kumimoji="0" lang="en-US" altLang="zh-CN" sz="143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E</a:t>
              </a:r>
              <a:endParaRPr kumimoji="0" lang="zh-CN" altLang="en-US" sz="1430"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21" name="椭圆 20"/>
            <p:cNvSpPr/>
            <p:nvPr/>
          </p:nvSpPr>
          <p:spPr>
            <a:xfrm>
              <a:off x="8176473" y="3035841"/>
              <a:ext cx="427598" cy="521957"/>
            </a:xfrm>
            <a:prstGeom prst="ellipse">
              <a:avLst/>
            </a:prstGeom>
            <a:solidFill>
              <a:srgbClr val="FE733C"/>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prstClr val="white"/>
                </a:buClr>
                <a:buSzTx/>
                <a:buFontTx/>
                <a:buNone/>
                <a:defRPr/>
              </a:pPr>
              <a:r>
                <a:rPr kumimoji="0" lang="en-US" altLang="zh-CN"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F</a:t>
              </a:r>
              <a:endParaRPr kumimoji="0" lang="zh-CN" altLang="en-US" sz="1430" b="1" i="0" u="none" strike="noStrike" kern="1200" cap="none" spc="0" normalizeH="0" baseline="0" noProof="0" dirty="0" err="1">
                <a:ln>
                  <a:noFill/>
                </a:ln>
                <a:solidFill>
                  <a:prstClr val="white"/>
                </a:solidFill>
                <a:effectLst/>
                <a:uLnTx/>
                <a:uFillTx/>
                <a:latin typeface="Arial" panose="020B0604020202020204"/>
                <a:ea typeface="华文楷体" panose="02010600040101010101" charset="-122"/>
                <a:cs typeface="+mn-cs"/>
              </a:endParaRPr>
            </a:p>
          </p:txBody>
        </p:sp>
        <p:sp>
          <p:nvSpPr>
            <p:cNvPr id="22" name="TextBox 21"/>
            <p:cNvSpPr txBox="1"/>
            <p:nvPr/>
          </p:nvSpPr>
          <p:spPr>
            <a:xfrm>
              <a:off x="5375721" y="4523242"/>
              <a:ext cx="2050997" cy="22420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3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市场吸引力（行业增速）</a:t>
              </a:r>
              <a:endParaRPr kumimoji="0" lang="zh-CN" altLang="en-US" sz="143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6" name="Rectangle 26"/>
            <p:cNvSpPr txBox="1"/>
            <p:nvPr/>
          </p:nvSpPr>
          <p:spPr>
            <a:xfrm>
              <a:off x="2111157" y="1597735"/>
              <a:ext cx="390714" cy="224202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575F6D"/>
                </a:buClr>
                <a:buSzTx/>
                <a:buFontTx/>
                <a:buNone/>
                <a:defRPr/>
              </a:pPr>
              <a:r>
                <a:rPr kumimoji="0" lang="zh-CN" altLang="en-US" sz="143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客户竞争力（业务线增速与与行业增速之差）</a:t>
              </a:r>
              <a:endParaRPr kumimoji="0" lang="zh-CN" altLang="en-US" sz="143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4" name="矩形 13"/>
            <p:cNvSpPr/>
            <p:nvPr/>
          </p:nvSpPr>
          <p:spPr>
            <a:xfrm>
              <a:off x="2697321" y="875122"/>
              <a:ext cx="1399460" cy="362823"/>
            </a:xfrm>
            <a:prstGeom prst="rect">
              <a:avLst/>
            </a:prstGeom>
            <a:solidFill>
              <a:srgbClr val="FEAB8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3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收获业务</a:t>
              </a:r>
              <a:endParaRPr kumimoji="0" lang="zh-CN" altLang="en-US" sz="143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0" name="矩形 9"/>
            <p:cNvSpPr/>
            <p:nvPr/>
          </p:nvSpPr>
          <p:spPr>
            <a:xfrm>
              <a:off x="8657894" y="875122"/>
              <a:ext cx="1399460" cy="362823"/>
            </a:xfrm>
            <a:prstGeom prst="rect">
              <a:avLst/>
            </a:prstGeom>
            <a:solidFill>
              <a:srgbClr val="FE5817"/>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prstClr val="white"/>
                </a:buClr>
                <a:buSzTx/>
                <a:buFontTx/>
                <a:buNone/>
                <a:defRPr/>
              </a:pPr>
              <a:r>
                <a:rPr kumimoji="0" lang="zh-CN" altLang="en-US"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核心业务</a:t>
              </a:r>
              <a:endParaRPr kumimoji="0" lang="zh-CN" altLang="en-US" sz="143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grpSp>
      <p:sp>
        <p:nvSpPr>
          <p:cNvPr id="25"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内诊</a:t>
            </a:r>
            <a:r>
              <a:rPr lang="en-US" altLang="zh-CN" sz="2400" dirty="0" smtClean="0">
                <a:solidFill>
                  <a:prstClr val="black"/>
                </a:solidFill>
                <a:latin typeface="华文楷体" panose="02010600040101010101" charset="-122"/>
              </a:rPr>
              <a:t>-</a:t>
            </a:r>
            <a:r>
              <a:rPr lang="zh-CN" altLang="en-US" sz="2400" dirty="0">
                <a:solidFill>
                  <a:prstClr val="black"/>
                </a:solidFill>
                <a:latin typeface="华文楷体" panose="02010600040101010101" charset="-122"/>
              </a:rPr>
              <a:t>竞争力</a:t>
            </a:r>
            <a:r>
              <a:rPr lang="zh-CN" altLang="en-US" sz="2400" dirty="0" smtClean="0">
                <a:solidFill>
                  <a:prstClr val="black"/>
                </a:solidFill>
                <a:latin typeface="华文楷体" panose="02010600040101010101" charset="-122"/>
              </a:rPr>
              <a:t>吸引力</a:t>
            </a:r>
            <a:endParaRPr lang="zh-CN" altLang="en-US" sz="2400" dirty="0">
              <a:solidFill>
                <a:prstClr val="black"/>
              </a:solidFill>
              <a:latin typeface="华文楷体" panose="02010600040101010101" charset="-122"/>
            </a:endParaRPr>
          </a:p>
        </p:txBody>
      </p:sp>
      <p:pic>
        <p:nvPicPr>
          <p:cNvPr id="29" name="图片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148879" y="1468490"/>
            <a:ext cx="9193904" cy="4945562"/>
            <a:chOff x="148879" y="1468490"/>
            <a:chExt cx="8930871" cy="4896976"/>
          </a:xfrm>
        </p:grpSpPr>
        <p:grpSp>
          <p:nvGrpSpPr>
            <p:cNvPr id="4" name="组合 3"/>
            <p:cNvGrpSpPr/>
            <p:nvPr/>
          </p:nvGrpSpPr>
          <p:grpSpPr>
            <a:xfrm>
              <a:off x="148879" y="1468490"/>
              <a:ext cx="8930871" cy="4618593"/>
              <a:chOff x="624967" y="796915"/>
              <a:chExt cx="7887340" cy="5640698"/>
            </a:xfrm>
          </p:grpSpPr>
          <p:grpSp>
            <p:nvGrpSpPr>
              <p:cNvPr id="121" name="组合 120"/>
              <p:cNvGrpSpPr/>
              <p:nvPr/>
            </p:nvGrpSpPr>
            <p:grpSpPr>
              <a:xfrm>
                <a:off x="928257" y="1052945"/>
                <a:ext cx="6982690" cy="4911932"/>
                <a:chOff x="928256" y="658368"/>
                <a:chExt cx="6982690" cy="5465341"/>
              </a:xfrm>
            </p:grpSpPr>
            <p:sp>
              <p:nvSpPr>
                <p:cNvPr id="131" name="矩形 130"/>
                <p:cNvSpPr/>
                <p:nvPr/>
              </p:nvSpPr>
              <p:spPr>
                <a:xfrm>
                  <a:off x="928256" y="658368"/>
                  <a:ext cx="6982690" cy="5465341"/>
                </a:xfrm>
                <a:prstGeom prst="rect">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smtClean="0">
                    <a:solidFill>
                      <a:schemeClr val="tx1"/>
                    </a:solidFill>
                  </a:endParaRPr>
                </a:p>
              </p:txBody>
            </p:sp>
            <p:cxnSp>
              <p:nvCxnSpPr>
                <p:cNvPr id="132" name="直接连接符 131"/>
                <p:cNvCxnSpPr/>
                <p:nvPr/>
              </p:nvCxnSpPr>
              <p:spPr>
                <a:xfrm>
                  <a:off x="4419600" y="6015709"/>
                  <a:ext cx="1" cy="108000"/>
                </a:xfrm>
                <a:prstGeom prst="line">
                  <a:avLst/>
                </a:prstGeom>
              </p:spPr>
              <p:style>
                <a:lnRef idx="1">
                  <a:schemeClr val="dk1"/>
                </a:lnRef>
                <a:fillRef idx="0">
                  <a:schemeClr val="dk1"/>
                </a:fillRef>
                <a:effectRef idx="0">
                  <a:schemeClr val="dk1"/>
                </a:effectRef>
                <a:fontRef idx="minor">
                  <a:schemeClr val="tx1"/>
                </a:fontRef>
              </p:style>
            </p:cxnSp>
            <p:cxnSp>
              <p:nvCxnSpPr>
                <p:cNvPr id="133" name="直接连接符 132"/>
                <p:cNvCxnSpPr>
                  <a:stCxn id="131" idx="1"/>
                </p:cNvCxnSpPr>
                <p:nvPr/>
              </p:nvCxnSpPr>
              <p:spPr>
                <a:xfrm>
                  <a:off x="928256" y="3391039"/>
                  <a:ext cx="108000" cy="3325"/>
                </a:xfrm>
                <a:prstGeom prst="line">
                  <a:avLst/>
                </a:prstGeom>
              </p:spPr>
              <p:style>
                <a:lnRef idx="1">
                  <a:schemeClr val="dk1"/>
                </a:lnRef>
                <a:fillRef idx="0">
                  <a:schemeClr val="dk1"/>
                </a:fillRef>
                <a:effectRef idx="0">
                  <a:schemeClr val="dk1"/>
                </a:effectRef>
                <a:fontRef idx="minor">
                  <a:schemeClr val="tx1"/>
                </a:fontRef>
              </p:style>
            </p:cxnSp>
          </p:grpSp>
          <p:sp>
            <p:nvSpPr>
              <p:cNvPr id="122" name="矩形 121"/>
              <p:cNvSpPr/>
              <p:nvPr/>
            </p:nvSpPr>
            <p:spPr>
              <a:xfrm>
                <a:off x="803051" y="796915"/>
                <a:ext cx="914914" cy="39457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nSpc>
                    <a:spcPct val="90000"/>
                  </a:lnSpc>
                  <a:spcAft>
                    <a:spcPts val="1000"/>
                  </a:spcAft>
                </a:pPr>
                <a:r>
                  <a:rPr lang="zh-CN" altLang="en-US" sz="900" b="1" dirty="0">
                    <a:solidFill>
                      <a:schemeClr val="tx1"/>
                    </a:solidFill>
                  </a:rPr>
                  <a:t>重要性</a:t>
                </a:r>
                <a:endParaRPr lang="zh-CN" altLang="en-US" sz="900" b="1" dirty="0" smtClean="0">
                  <a:solidFill>
                    <a:schemeClr val="tx1"/>
                  </a:solidFill>
                </a:endParaRPr>
              </a:p>
            </p:txBody>
          </p:sp>
          <p:sp>
            <p:nvSpPr>
              <p:cNvPr id="123" name="矩形 122"/>
              <p:cNvSpPr/>
              <p:nvPr/>
            </p:nvSpPr>
            <p:spPr>
              <a:xfrm>
                <a:off x="7854576" y="6043036"/>
                <a:ext cx="657731" cy="39457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nSpc>
                    <a:spcPct val="90000"/>
                  </a:lnSpc>
                  <a:spcAft>
                    <a:spcPts val="1000"/>
                  </a:spcAft>
                </a:pPr>
                <a:r>
                  <a:rPr lang="zh-CN" altLang="en-US" sz="900" b="1" dirty="0">
                    <a:solidFill>
                      <a:schemeClr val="tx1"/>
                    </a:solidFill>
                  </a:rPr>
                  <a:t>严重性</a:t>
                </a:r>
                <a:endParaRPr lang="zh-CN" altLang="en-US" sz="900" b="1" dirty="0" smtClean="0">
                  <a:solidFill>
                    <a:schemeClr val="tx1"/>
                  </a:solidFill>
                </a:endParaRPr>
              </a:p>
            </p:txBody>
          </p:sp>
          <p:sp>
            <p:nvSpPr>
              <p:cNvPr id="124" name="文本框 123"/>
              <p:cNvSpPr txBox="1"/>
              <p:nvPr/>
            </p:nvSpPr>
            <p:spPr>
              <a:xfrm flipH="1">
                <a:off x="624967" y="1041131"/>
                <a:ext cx="255918" cy="2559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en-US" altLang="zh-CN" sz="900" dirty="0" smtClean="0">
                    <a:solidFill>
                      <a:schemeClr val="tx1"/>
                    </a:solidFill>
                  </a:rPr>
                  <a:t>10</a:t>
                </a:r>
                <a:endParaRPr lang="zh-CN" altLang="en-US" sz="900" dirty="0" smtClean="0">
                  <a:solidFill>
                    <a:schemeClr val="tx1"/>
                  </a:solidFill>
                </a:endParaRPr>
              </a:p>
            </p:txBody>
          </p:sp>
          <p:sp>
            <p:nvSpPr>
              <p:cNvPr id="125" name="文本框 124"/>
              <p:cNvSpPr txBox="1"/>
              <p:nvPr/>
            </p:nvSpPr>
            <p:spPr>
              <a:xfrm flipH="1">
                <a:off x="7706920" y="6068402"/>
                <a:ext cx="255918" cy="2559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en-US" altLang="zh-CN" sz="900" dirty="0" smtClean="0">
                    <a:solidFill>
                      <a:schemeClr val="tx1"/>
                    </a:solidFill>
                  </a:rPr>
                  <a:t>10</a:t>
                </a:r>
                <a:endParaRPr lang="zh-CN" altLang="en-US" sz="900" dirty="0" smtClean="0">
                  <a:solidFill>
                    <a:schemeClr val="tx1"/>
                  </a:solidFill>
                </a:endParaRPr>
              </a:p>
            </p:txBody>
          </p:sp>
          <p:sp>
            <p:nvSpPr>
              <p:cNvPr id="126" name="文本框 125"/>
              <p:cNvSpPr txBox="1"/>
              <p:nvPr/>
            </p:nvSpPr>
            <p:spPr>
              <a:xfrm flipH="1">
                <a:off x="624967" y="3554766"/>
                <a:ext cx="255918" cy="2559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en-US" altLang="zh-CN" sz="900" dirty="0" smtClean="0">
                    <a:solidFill>
                      <a:schemeClr val="tx1"/>
                    </a:solidFill>
                  </a:rPr>
                  <a:t>5</a:t>
                </a:r>
                <a:endParaRPr lang="zh-CN" altLang="en-US" sz="900" dirty="0" smtClean="0">
                  <a:solidFill>
                    <a:schemeClr val="tx1"/>
                  </a:solidFill>
                </a:endParaRPr>
              </a:p>
            </p:txBody>
          </p:sp>
          <p:sp>
            <p:nvSpPr>
              <p:cNvPr id="127" name="文本框 126"/>
              <p:cNvSpPr txBox="1"/>
              <p:nvPr/>
            </p:nvSpPr>
            <p:spPr>
              <a:xfrm flipH="1">
                <a:off x="4165942" y="6067264"/>
                <a:ext cx="255918" cy="2559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en-US" altLang="zh-CN" sz="900" dirty="0" smtClean="0">
                    <a:solidFill>
                      <a:schemeClr val="tx1"/>
                    </a:solidFill>
                  </a:rPr>
                  <a:t>5</a:t>
                </a:r>
                <a:endParaRPr lang="zh-CN" altLang="en-US" sz="900" dirty="0" smtClean="0">
                  <a:solidFill>
                    <a:schemeClr val="tx1"/>
                  </a:solidFill>
                </a:endParaRPr>
              </a:p>
            </p:txBody>
          </p:sp>
          <p:sp>
            <p:nvSpPr>
              <p:cNvPr id="128" name="文本框 127"/>
              <p:cNvSpPr txBox="1"/>
              <p:nvPr/>
            </p:nvSpPr>
            <p:spPr>
              <a:xfrm flipH="1">
                <a:off x="624967" y="6067264"/>
                <a:ext cx="255918" cy="2559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en-US" altLang="zh-CN" sz="900" dirty="0" smtClean="0">
                    <a:solidFill>
                      <a:schemeClr val="tx1"/>
                    </a:solidFill>
                  </a:rPr>
                  <a:t>0</a:t>
                </a:r>
                <a:endParaRPr lang="zh-CN" altLang="en-US" sz="900" dirty="0" smtClean="0">
                  <a:solidFill>
                    <a:schemeClr val="tx1"/>
                  </a:solidFill>
                </a:endParaRPr>
              </a:p>
            </p:txBody>
          </p:sp>
          <p:cxnSp>
            <p:nvCxnSpPr>
              <p:cNvPr id="129" name="直接连接符 128"/>
              <p:cNvCxnSpPr/>
              <p:nvPr/>
            </p:nvCxnSpPr>
            <p:spPr>
              <a:xfrm>
                <a:off x="4412914" y="1052945"/>
                <a:ext cx="0" cy="4911932"/>
              </a:xfrm>
              <a:prstGeom prst="line">
                <a:avLst/>
              </a:prstGeom>
              <a:ln w="9525" cap="rnd">
                <a:solidFill>
                  <a:schemeClr val="tx1">
                    <a:lumMod val="85000"/>
                    <a:lumOff val="1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30" name="直接连接符 129"/>
              <p:cNvCxnSpPr>
                <a:stCxn id="131" idx="3"/>
                <a:endCxn id="131" idx="1"/>
              </p:cNvCxnSpPr>
              <p:nvPr/>
            </p:nvCxnSpPr>
            <p:spPr>
              <a:xfrm flipH="1">
                <a:off x="928257" y="3508911"/>
                <a:ext cx="6982690" cy="0"/>
              </a:xfrm>
              <a:prstGeom prst="line">
                <a:avLst/>
              </a:prstGeom>
              <a:ln w="9525" cap="rnd">
                <a:solidFill>
                  <a:schemeClr val="tx1">
                    <a:lumMod val="85000"/>
                    <a:lumOff val="15000"/>
                  </a:schemeClr>
                </a:solidFill>
                <a:prstDash val="dash"/>
                <a:round/>
              </a:ln>
            </p:spPr>
            <p:style>
              <a:lnRef idx="1">
                <a:schemeClr val="accent1"/>
              </a:lnRef>
              <a:fillRef idx="0">
                <a:schemeClr val="accent1"/>
              </a:fillRef>
              <a:effectRef idx="0">
                <a:schemeClr val="accent1"/>
              </a:effectRef>
              <a:fontRef idx="minor">
                <a:schemeClr val="tx1"/>
              </a:fontRef>
            </p:style>
          </p:cxnSp>
        </p:grpSp>
        <p:grpSp>
          <p:nvGrpSpPr>
            <p:cNvPr id="5" name="组合 4"/>
            <p:cNvGrpSpPr/>
            <p:nvPr/>
          </p:nvGrpSpPr>
          <p:grpSpPr>
            <a:xfrm>
              <a:off x="516811" y="1709993"/>
              <a:ext cx="8052139" cy="4655473"/>
              <a:chOff x="516811" y="1709993"/>
              <a:chExt cx="8052139" cy="4655473"/>
            </a:xfrm>
          </p:grpSpPr>
          <p:sp>
            <p:nvSpPr>
              <p:cNvPr id="6" name="矩形 5"/>
              <p:cNvSpPr/>
              <p:nvPr/>
            </p:nvSpPr>
            <p:spPr>
              <a:xfrm>
                <a:off x="4451798" y="3698107"/>
                <a:ext cx="3925777" cy="1997431"/>
              </a:xfrm>
              <a:prstGeom prst="rect">
                <a:avLst/>
              </a:prstGeom>
              <a:solidFill>
                <a:srgbClr val="FFE7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7" name="矩形 6"/>
              <p:cNvSpPr/>
              <p:nvPr/>
            </p:nvSpPr>
            <p:spPr>
              <a:xfrm>
                <a:off x="516811" y="1709993"/>
                <a:ext cx="3923652" cy="1970646"/>
              </a:xfrm>
              <a:prstGeom prst="rect">
                <a:avLst/>
              </a:prstGeom>
              <a:solidFill>
                <a:schemeClr val="accent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8" name="矩形 7"/>
              <p:cNvSpPr/>
              <p:nvPr/>
            </p:nvSpPr>
            <p:spPr>
              <a:xfrm>
                <a:off x="4453042" y="1710826"/>
                <a:ext cx="3945782" cy="1970646"/>
              </a:xfrm>
              <a:prstGeom prst="rect">
                <a:avLst/>
              </a:prstGeom>
              <a:solidFill>
                <a:srgbClr val="F19E9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9" name="矩形 8"/>
              <p:cNvSpPr/>
              <p:nvPr/>
            </p:nvSpPr>
            <p:spPr>
              <a:xfrm>
                <a:off x="3887716" y="3095899"/>
                <a:ext cx="312906" cy="369332"/>
              </a:xfrm>
              <a:prstGeom prst="rect">
                <a:avLst/>
              </a:prstGeom>
            </p:spPr>
            <p:txBody>
              <a:bodyPr wrap="none">
                <a:spAutoFit/>
              </a:bodyPr>
              <a:lstStyle/>
              <a:p>
                <a:pPr algn="ctr"/>
                <a:r>
                  <a:rPr lang="en-US" altLang="zh-CN" b="1" dirty="0" smtClean="0">
                    <a:solidFill>
                      <a:schemeClr val="bg1"/>
                    </a:solidFill>
                  </a:rPr>
                  <a:t>2</a:t>
                </a:r>
                <a:endParaRPr lang="en-US" altLang="zh-CN" b="1" dirty="0">
                  <a:solidFill>
                    <a:schemeClr val="bg1"/>
                  </a:solidFill>
                </a:endParaRPr>
              </a:p>
            </p:txBody>
          </p:sp>
          <p:sp>
            <p:nvSpPr>
              <p:cNvPr id="10" name="矩形 9"/>
              <p:cNvSpPr/>
              <p:nvPr/>
            </p:nvSpPr>
            <p:spPr>
              <a:xfrm>
                <a:off x="4618750" y="3095899"/>
                <a:ext cx="312906" cy="369332"/>
              </a:xfrm>
              <a:prstGeom prst="rect">
                <a:avLst/>
              </a:prstGeom>
            </p:spPr>
            <p:txBody>
              <a:bodyPr wrap="none">
                <a:spAutoFit/>
              </a:bodyPr>
              <a:lstStyle/>
              <a:p>
                <a:pPr algn="ctr"/>
                <a:r>
                  <a:rPr lang="en-US" altLang="zh-CN" b="1" dirty="0">
                    <a:solidFill>
                      <a:schemeClr val="bg1"/>
                    </a:solidFill>
                  </a:rPr>
                  <a:t>1</a:t>
                </a:r>
                <a:endParaRPr lang="en-US" altLang="zh-CN" b="1" dirty="0">
                  <a:solidFill>
                    <a:schemeClr val="bg1"/>
                  </a:solidFill>
                </a:endParaRPr>
              </a:p>
            </p:txBody>
          </p:sp>
          <p:sp>
            <p:nvSpPr>
              <p:cNvPr id="11" name="矩形 10"/>
              <p:cNvSpPr/>
              <p:nvPr/>
            </p:nvSpPr>
            <p:spPr>
              <a:xfrm>
                <a:off x="4618750" y="3792741"/>
                <a:ext cx="312906" cy="369332"/>
              </a:xfrm>
              <a:prstGeom prst="rect">
                <a:avLst/>
              </a:prstGeom>
            </p:spPr>
            <p:txBody>
              <a:bodyPr wrap="none">
                <a:spAutoFit/>
              </a:bodyPr>
              <a:lstStyle/>
              <a:p>
                <a:pPr algn="ctr"/>
                <a:r>
                  <a:rPr lang="en-US" altLang="zh-CN" b="1" dirty="0">
                    <a:solidFill>
                      <a:schemeClr val="accent2">
                        <a:lumMod val="40000"/>
                        <a:lumOff val="60000"/>
                      </a:schemeClr>
                    </a:solidFill>
                  </a:rPr>
                  <a:t>3</a:t>
                </a:r>
                <a:endParaRPr lang="en-US" altLang="zh-CN" b="1" dirty="0">
                  <a:solidFill>
                    <a:schemeClr val="accent2">
                      <a:lumMod val="40000"/>
                      <a:lumOff val="60000"/>
                    </a:schemeClr>
                  </a:solidFill>
                </a:endParaRPr>
              </a:p>
            </p:txBody>
          </p:sp>
          <p:sp>
            <p:nvSpPr>
              <p:cNvPr id="12" name="矩形 11"/>
              <p:cNvSpPr/>
              <p:nvPr/>
            </p:nvSpPr>
            <p:spPr>
              <a:xfrm>
                <a:off x="3887717" y="3792741"/>
                <a:ext cx="312906" cy="369332"/>
              </a:xfrm>
              <a:prstGeom prst="rect">
                <a:avLst/>
              </a:prstGeom>
            </p:spPr>
            <p:txBody>
              <a:bodyPr wrap="none">
                <a:spAutoFit/>
              </a:bodyPr>
              <a:lstStyle/>
              <a:p>
                <a:pPr algn="ctr"/>
                <a:r>
                  <a:rPr lang="en-US" altLang="zh-CN" b="1" dirty="0">
                    <a:solidFill>
                      <a:schemeClr val="accent2">
                        <a:lumMod val="40000"/>
                        <a:lumOff val="60000"/>
                      </a:schemeClr>
                    </a:solidFill>
                  </a:rPr>
                  <a:t>4</a:t>
                </a:r>
                <a:endParaRPr lang="en-US" altLang="zh-CN" b="1" dirty="0">
                  <a:solidFill>
                    <a:schemeClr val="accent2">
                      <a:lumMod val="40000"/>
                      <a:lumOff val="60000"/>
                    </a:schemeClr>
                  </a:solidFill>
                </a:endParaRPr>
              </a:p>
            </p:txBody>
          </p:sp>
          <p:sp>
            <p:nvSpPr>
              <p:cNvPr id="13" name="椭圆 12"/>
              <p:cNvSpPr/>
              <p:nvPr/>
            </p:nvSpPr>
            <p:spPr>
              <a:xfrm>
                <a:off x="1346455" y="4867688"/>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4" name="矩形 13"/>
              <p:cNvSpPr/>
              <p:nvPr/>
            </p:nvSpPr>
            <p:spPr>
              <a:xfrm>
                <a:off x="1470344" y="4854145"/>
                <a:ext cx="730529" cy="1981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15" name="椭圆 14"/>
              <p:cNvSpPr/>
              <p:nvPr/>
            </p:nvSpPr>
            <p:spPr>
              <a:xfrm>
                <a:off x="1021299" y="5232425"/>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6" name="矩形 15"/>
              <p:cNvSpPr/>
              <p:nvPr/>
            </p:nvSpPr>
            <p:spPr>
              <a:xfrm>
                <a:off x="1145188" y="5218882"/>
                <a:ext cx="730529" cy="1981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17" name="椭圆 16"/>
              <p:cNvSpPr/>
              <p:nvPr/>
            </p:nvSpPr>
            <p:spPr>
              <a:xfrm>
                <a:off x="4907706" y="4980749"/>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8" name="矩形 17"/>
              <p:cNvSpPr/>
              <p:nvPr/>
            </p:nvSpPr>
            <p:spPr>
              <a:xfrm>
                <a:off x="5031595" y="4967206"/>
                <a:ext cx="730529" cy="1981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明确</a:t>
                </a:r>
                <a:endParaRPr lang="zh-CN" altLang="en-US" sz="900" dirty="0" smtClean="0">
                  <a:solidFill>
                    <a:schemeClr val="tx1"/>
                  </a:solidFill>
                </a:endParaRPr>
              </a:p>
            </p:txBody>
          </p:sp>
          <p:sp>
            <p:nvSpPr>
              <p:cNvPr id="19" name="椭圆 18"/>
              <p:cNvSpPr/>
              <p:nvPr/>
            </p:nvSpPr>
            <p:spPr>
              <a:xfrm>
                <a:off x="5805862" y="5235990"/>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20" name="矩形 19"/>
              <p:cNvSpPr/>
              <p:nvPr/>
            </p:nvSpPr>
            <p:spPr>
              <a:xfrm>
                <a:off x="5929751" y="5222447"/>
                <a:ext cx="730529" cy="19815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创建</a:t>
                </a:r>
                <a:endParaRPr lang="zh-CN" altLang="en-US" sz="900" dirty="0" smtClean="0">
                  <a:solidFill>
                    <a:schemeClr val="tx1"/>
                  </a:solidFill>
                </a:endParaRPr>
              </a:p>
            </p:txBody>
          </p:sp>
          <p:sp>
            <p:nvSpPr>
              <p:cNvPr id="21" name="椭圆 20"/>
              <p:cNvSpPr/>
              <p:nvPr/>
            </p:nvSpPr>
            <p:spPr>
              <a:xfrm>
                <a:off x="5052595" y="2504963"/>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22" name="矩形 21"/>
              <p:cNvSpPr/>
              <p:nvPr/>
            </p:nvSpPr>
            <p:spPr>
              <a:xfrm>
                <a:off x="5176484" y="2504963"/>
                <a:ext cx="761566" cy="17106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23" name="椭圆 22"/>
              <p:cNvSpPr/>
              <p:nvPr/>
            </p:nvSpPr>
            <p:spPr>
              <a:xfrm>
                <a:off x="1850042" y="4151189"/>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24" name="矩形 23"/>
              <p:cNvSpPr/>
              <p:nvPr/>
            </p:nvSpPr>
            <p:spPr>
              <a:xfrm>
                <a:off x="1973930" y="4151189"/>
                <a:ext cx="1052827" cy="17106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合规评估</a:t>
                </a:r>
                <a:endParaRPr lang="zh-CN" altLang="en-US" sz="900" dirty="0" smtClean="0">
                  <a:solidFill>
                    <a:schemeClr val="tx1"/>
                  </a:solidFill>
                </a:endParaRPr>
              </a:p>
            </p:txBody>
          </p:sp>
          <p:sp>
            <p:nvSpPr>
              <p:cNvPr id="25" name="椭圆 24"/>
              <p:cNvSpPr/>
              <p:nvPr/>
            </p:nvSpPr>
            <p:spPr>
              <a:xfrm>
                <a:off x="6405585" y="3249752"/>
                <a:ext cx="175596" cy="171064"/>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26" name="矩形 25"/>
              <p:cNvSpPr/>
              <p:nvPr/>
            </p:nvSpPr>
            <p:spPr>
              <a:xfrm>
                <a:off x="6529473" y="3247306"/>
                <a:ext cx="836436"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27" name="椭圆 26"/>
              <p:cNvSpPr/>
              <p:nvPr/>
            </p:nvSpPr>
            <p:spPr>
              <a:xfrm>
                <a:off x="2594279" y="5215621"/>
                <a:ext cx="175596" cy="171064"/>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28" name="矩形 27"/>
              <p:cNvSpPr/>
              <p:nvPr/>
            </p:nvSpPr>
            <p:spPr>
              <a:xfrm>
                <a:off x="2718167" y="5213175"/>
                <a:ext cx="836436"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29" name="椭圆 28"/>
              <p:cNvSpPr/>
              <p:nvPr/>
            </p:nvSpPr>
            <p:spPr>
              <a:xfrm>
                <a:off x="1752663" y="3480119"/>
                <a:ext cx="175596" cy="171064"/>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30" name="矩形 29"/>
              <p:cNvSpPr/>
              <p:nvPr/>
            </p:nvSpPr>
            <p:spPr>
              <a:xfrm>
                <a:off x="1876551" y="3477673"/>
                <a:ext cx="836436"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31" name="椭圆 30"/>
              <p:cNvSpPr/>
              <p:nvPr/>
            </p:nvSpPr>
            <p:spPr>
              <a:xfrm>
                <a:off x="7173580" y="2412972"/>
                <a:ext cx="175596" cy="171064"/>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32" name="矩形 31"/>
              <p:cNvSpPr/>
              <p:nvPr/>
            </p:nvSpPr>
            <p:spPr>
              <a:xfrm>
                <a:off x="7297468" y="2410526"/>
                <a:ext cx="836436"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33" name="椭圆 32"/>
              <p:cNvSpPr/>
              <p:nvPr/>
            </p:nvSpPr>
            <p:spPr>
              <a:xfrm>
                <a:off x="6853960" y="2346464"/>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34" name="矩形 33"/>
              <p:cNvSpPr/>
              <p:nvPr/>
            </p:nvSpPr>
            <p:spPr>
              <a:xfrm>
                <a:off x="6268564" y="2477416"/>
                <a:ext cx="836436"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35" name="椭圆 34"/>
              <p:cNvSpPr/>
              <p:nvPr/>
            </p:nvSpPr>
            <p:spPr>
              <a:xfrm>
                <a:off x="6978423" y="2586579"/>
                <a:ext cx="175596" cy="171064"/>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36" name="矩形 35"/>
              <p:cNvSpPr/>
              <p:nvPr/>
            </p:nvSpPr>
            <p:spPr>
              <a:xfrm>
                <a:off x="7102311" y="2584133"/>
                <a:ext cx="836436"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37" name="椭圆 36"/>
              <p:cNvSpPr/>
              <p:nvPr/>
            </p:nvSpPr>
            <p:spPr>
              <a:xfrm>
                <a:off x="3534082" y="2848188"/>
                <a:ext cx="175596" cy="171064"/>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38" name="矩形 37"/>
              <p:cNvSpPr/>
              <p:nvPr/>
            </p:nvSpPr>
            <p:spPr>
              <a:xfrm>
                <a:off x="3657970" y="2845742"/>
                <a:ext cx="836436"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模式</a:t>
                </a:r>
                <a:endParaRPr lang="zh-CN" altLang="en-US" sz="900" dirty="0" smtClean="0">
                  <a:solidFill>
                    <a:schemeClr val="tx1"/>
                  </a:solidFill>
                </a:endParaRPr>
              </a:p>
            </p:txBody>
          </p:sp>
          <p:sp>
            <p:nvSpPr>
              <p:cNvPr id="39" name="椭圆 38"/>
              <p:cNvSpPr/>
              <p:nvPr/>
            </p:nvSpPr>
            <p:spPr>
              <a:xfrm>
                <a:off x="4557211" y="1847614"/>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40" name="矩形 39"/>
              <p:cNvSpPr/>
              <p:nvPr/>
            </p:nvSpPr>
            <p:spPr>
              <a:xfrm>
                <a:off x="4681099" y="1845168"/>
                <a:ext cx="806432" cy="159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41" name="椭圆 40"/>
              <p:cNvSpPr/>
              <p:nvPr/>
            </p:nvSpPr>
            <p:spPr>
              <a:xfrm>
                <a:off x="8046106" y="1750263"/>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42" name="矩形 41"/>
              <p:cNvSpPr/>
              <p:nvPr/>
            </p:nvSpPr>
            <p:spPr>
              <a:xfrm>
                <a:off x="7243577" y="1755026"/>
                <a:ext cx="890327" cy="15578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43" name="椭圆 42"/>
              <p:cNvSpPr/>
              <p:nvPr/>
            </p:nvSpPr>
            <p:spPr>
              <a:xfrm>
                <a:off x="6305688" y="1804396"/>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44" name="矩形 43"/>
              <p:cNvSpPr/>
              <p:nvPr/>
            </p:nvSpPr>
            <p:spPr>
              <a:xfrm>
                <a:off x="6429576" y="1801950"/>
                <a:ext cx="806432" cy="159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45" name="椭圆 44"/>
              <p:cNvSpPr/>
              <p:nvPr/>
            </p:nvSpPr>
            <p:spPr>
              <a:xfrm>
                <a:off x="1725084" y="3768192"/>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46" name="矩形 45"/>
              <p:cNvSpPr/>
              <p:nvPr/>
            </p:nvSpPr>
            <p:spPr>
              <a:xfrm>
                <a:off x="1848972" y="3765746"/>
                <a:ext cx="920903" cy="1050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47" name="椭圆 46"/>
              <p:cNvSpPr/>
              <p:nvPr/>
            </p:nvSpPr>
            <p:spPr>
              <a:xfrm>
                <a:off x="6755361" y="3464060"/>
                <a:ext cx="175596" cy="171064"/>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48" name="矩形 47"/>
              <p:cNvSpPr/>
              <p:nvPr/>
            </p:nvSpPr>
            <p:spPr>
              <a:xfrm>
                <a:off x="6879249" y="3461614"/>
                <a:ext cx="836436"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49" name="椭圆 48"/>
              <p:cNvSpPr/>
              <p:nvPr/>
            </p:nvSpPr>
            <p:spPr>
              <a:xfrm>
                <a:off x="6885746" y="2006397"/>
                <a:ext cx="175596" cy="171064"/>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50" name="矩形 49"/>
              <p:cNvSpPr/>
              <p:nvPr/>
            </p:nvSpPr>
            <p:spPr>
              <a:xfrm>
                <a:off x="7009634" y="2003951"/>
                <a:ext cx="836436"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51" name="椭圆 50"/>
              <p:cNvSpPr/>
              <p:nvPr/>
            </p:nvSpPr>
            <p:spPr>
              <a:xfrm>
                <a:off x="922093" y="5038752"/>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52" name="矩形 51"/>
              <p:cNvSpPr/>
              <p:nvPr/>
            </p:nvSpPr>
            <p:spPr>
              <a:xfrm>
                <a:off x="1045981" y="5038752"/>
                <a:ext cx="1052827" cy="17106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需求分析</a:t>
                </a:r>
                <a:endParaRPr lang="zh-CN" altLang="en-US" sz="900" dirty="0" smtClean="0">
                  <a:solidFill>
                    <a:schemeClr val="tx1"/>
                  </a:solidFill>
                </a:endParaRPr>
              </a:p>
            </p:txBody>
          </p:sp>
          <p:sp>
            <p:nvSpPr>
              <p:cNvPr id="53" name="椭圆 52"/>
              <p:cNvSpPr/>
              <p:nvPr/>
            </p:nvSpPr>
            <p:spPr>
              <a:xfrm>
                <a:off x="5863478" y="2004708"/>
                <a:ext cx="175596" cy="171064"/>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54" name="矩形 53"/>
              <p:cNvSpPr/>
              <p:nvPr/>
            </p:nvSpPr>
            <p:spPr>
              <a:xfrm>
                <a:off x="5987366" y="2002262"/>
                <a:ext cx="836436"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55" name="椭圆 54"/>
              <p:cNvSpPr/>
              <p:nvPr/>
            </p:nvSpPr>
            <p:spPr>
              <a:xfrm>
                <a:off x="4809825" y="3397610"/>
                <a:ext cx="175596" cy="171064"/>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56" name="矩形 55"/>
              <p:cNvSpPr/>
              <p:nvPr/>
            </p:nvSpPr>
            <p:spPr>
              <a:xfrm>
                <a:off x="4933713" y="3395164"/>
                <a:ext cx="1105362"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57" name="椭圆 56"/>
              <p:cNvSpPr/>
              <p:nvPr/>
            </p:nvSpPr>
            <p:spPr>
              <a:xfrm>
                <a:off x="5052595" y="2047281"/>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58" name="矩形 57"/>
              <p:cNvSpPr/>
              <p:nvPr/>
            </p:nvSpPr>
            <p:spPr>
              <a:xfrm>
                <a:off x="5176484" y="2044835"/>
                <a:ext cx="810879" cy="1542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59" name="椭圆 58"/>
              <p:cNvSpPr/>
              <p:nvPr/>
            </p:nvSpPr>
            <p:spPr>
              <a:xfrm>
                <a:off x="5256426" y="2244785"/>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60" name="矩形 59"/>
              <p:cNvSpPr/>
              <p:nvPr/>
            </p:nvSpPr>
            <p:spPr>
              <a:xfrm>
                <a:off x="5380315" y="2242339"/>
                <a:ext cx="810879" cy="1542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61" name="椭圆 60"/>
              <p:cNvSpPr/>
              <p:nvPr/>
            </p:nvSpPr>
            <p:spPr>
              <a:xfrm>
                <a:off x="4504338" y="4140952"/>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62" name="矩形 61"/>
              <p:cNvSpPr/>
              <p:nvPr/>
            </p:nvSpPr>
            <p:spPr>
              <a:xfrm>
                <a:off x="4628226" y="4138506"/>
                <a:ext cx="1045166" cy="173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x</a:t>
                </a:r>
                <a:endParaRPr lang="zh-CN" altLang="en-US" sz="900" dirty="0" smtClean="0">
                  <a:solidFill>
                    <a:schemeClr val="tx1"/>
                  </a:solidFill>
                </a:endParaRPr>
              </a:p>
            </p:txBody>
          </p:sp>
          <p:sp>
            <p:nvSpPr>
              <p:cNvPr id="63" name="椭圆 62"/>
              <p:cNvSpPr/>
              <p:nvPr/>
            </p:nvSpPr>
            <p:spPr>
              <a:xfrm>
                <a:off x="2153689" y="2970059"/>
                <a:ext cx="175605" cy="164746"/>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64" name="矩形 63"/>
              <p:cNvSpPr/>
              <p:nvPr/>
            </p:nvSpPr>
            <p:spPr>
              <a:xfrm>
                <a:off x="2275633" y="2956032"/>
                <a:ext cx="1057847" cy="16171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合规评审</a:t>
                </a:r>
                <a:endParaRPr lang="zh-CN" altLang="en-US" sz="900" dirty="0" smtClean="0">
                  <a:solidFill>
                    <a:schemeClr val="tx1"/>
                  </a:solidFill>
                </a:endParaRPr>
              </a:p>
            </p:txBody>
          </p:sp>
          <p:sp>
            <p:nvSpPr>
              <p:cNvPr id="65" name="椭圆 64"/>
              <p:cNvSpPr/>
              <p:nvPr/>
            </p:nvSpPr>
            <p:spPr>
              <a:xfrm>
                <a:off x="6581181" y="3068558"/>
                <a:ext cx="175605" cy="164746"/>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66" name="矩形 65"/>
              <p:cNvSpPr/>
              <p:nvPr/>
            </p:nvSpPr>
            <p:spPr>
              <a:xfrm>
                <a:off x="6703126" y="3054530"/>
                <a:ext cx="786365" cy="21364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67" name="椭圆 66"/>
              <p:cNvSpPr/>
              <p:nvPr/>
            </p:nvSpPr>
            <p:spPr>
              <a:xfrm>
                <a:off x="2661342" y="3981473"/>
                <a:ext cx="175605" cy="164746"/>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68" name="矩形 67"/>
              <p:cNvSpPr/>
              <p:nvPr/>
            </p:nvSpPr>
            <p:spPr>
              <a:xfrm>
                <a:off x="2783286" y="3967445"/>
                <a:ext cx="1093729" cy="21319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69" name="椭圆 68"/>
              <p:cNvSpPr/>
              <p:nvPr/>
            </p:nvSpPr>
            <p:spPr>
              <a:xfrm>
                <a:off x="3980723" y="4962585"/>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70" name="矩形 69"/>
              <p:cNvSpPr/>
              <p:nvPr/>
            </p:nvSpPr>
            <p:spPr>
              <a:xfrm>
                <a:off x="4104611" y="4960139"/>
                <a:ext cx="806432" cy="159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71" name="椭圆 70"/>
              <p:cNvSpPr/>
              <p:nvPr/>
            </p:nvSpPr>
            <p:spPr>
              <a:xfrm>
                <a:off x="4556073" y="3534379"/>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72" name="矩形 71"/>
              <p:cNvSpPr/>
              <p:nvPr/>
            </p:nvSpPr>
            <p:spPr>
              <a:xfrm>
                <a:off x="4679961" y="3531933"/>
                <a:ext cx="1082163" cy="1469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73" name="椭圆 72"/>
              <p:cNvSpPr/>
              <p:nvPr/>
            </p:nvSpPr>
            <p:spPr>
              <a:xfrm>
                <a:off x="1464822" y="3965758"/>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74" name="矩形 73"/>
              <p:cNvSpPr/>
              <p:nvPr/>
            </p:nvSpPr>
            <p:spPr>
              <a:xfrm>
                <a:off x="1588710" y="3963312"/>
                <a:ext cx="1045166" cy="17350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比例</a:t>
                </a:r>
                <a:endParaRPr lang="zh-CN" altLang="en-US" sz="900" dirty="0" smtClean="0">
                  <a:solidFill>
                    <a:schemeClr val="tx1"/>
                  </a:solidFill>
                </a:endParaRPr>
              </a:p>
            </p:txBody>
          </p:sp>
          <p:sp>
            <p:nvSpPr>
              <p:cNvPr id="75" name="椭圆 74"/>
              <p:cNvSpPr/>
              <p:nvPr/>
            </p:nvSpPr>
            <p:spPr>
              <a:xfrm>
                <a:off x="4587435" y="5181346"/>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76" name="矩形 75"/>
              <p:cNvSpPr/>
              <p:nvPr/>
            </p:nvSpPr>
            <p:spPr>
              <a:xfrm>
                <a:off x="4711323" y="5178900"/>
                <a:ext cx="806432" cy="159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变更</a:t>
                </a:r>
                <a:endParaRPr lang="zh-CN" altLang="en-US" sz="900" dirty="0" smtClean="0">
                  <a:solidFill>
                    <a:schemeClr val="tx1"/>
                  </a:solidFill>
                </a:endParaRPr>
              </a:p>
            </p:txBody>
          </p:sp>
          <p:sp>
            <p:nvSpPr>
              <p:cNvPr id="77" name="椭圆 76"/>
              <p:cNvSpPr/>
              <p:nvPr/>
            </p:nvSpPr>
            <p:spPr>
              <a:xfrm>
                <a:off x="3493462" y="3382475"/>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78" name="矩形 77"/>
              <p:cNvSpPr/>
              <p:nvPr/>
            </p:nvSpPr>
            <p:spPr>
              <a:xfrm>
                <a:off x="3550644" y="3391130"/>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用印</a:t>
                </a:r>
                <a:endParaRPr lang="zh-CN" altLang="en-US" sz="900" dirty="0" smtClean="0">
                  <a:solidFill>
                    <a:schemeClr val="tx1"/>
                  </a:solidFill>
                </a:endParaRPr>
              </a:p>
            </p:txBody>
          </p:sp>
          <p:sp>
            <p:nvSpPr>
              <p:cNvPr id="79" name="椭圆 78"/>
              <p:cNvSpPr/>
              <p:nvPr/>
            </p:nvSpPr>
            <p:spPr>
              <a:xfrm>
                <a:off x="1773664" y="2558400"/>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80" name="矩形 79"/>
              <p:cNvSpPr/>
              <p:nvPr/>
            </p:nvSpPr>
            <p:spPr>
              <a:xfrm>
                <a:off x="1897553" y="2555954"/>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x</a:t>
                </a:r>
                <a:endParaRPr lang="zh-CN" altLang="en-US" sz="900" dirty="0" smtClean="0">
                  <a:solidFill>
                    <a:schemeClr val="tx1"/>
                  </a:solidFill>
                </a:endParaRPr>
              </a:p>
            </p:txBody>
          </p:sp>
          <p:sp>
            <p:nvSpPr>
              <p:cNvPr id="81" name="椭圆 80"/>
              <p:cNvSpPr/>
              <p:nvPr/>
            </p:nvSpPr>
            <p:spPr>
              <a:xfrm>
                <a:off x="5178571" y="3808543"/>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82" name="矩形 81"/>
              <p:cNvSpPr/>
              <p:nvPr/>
            </p:nvSpPr>
            <p:spPr>
              <a:xfrm>
                <a:off x="5302460" y="3806097"/>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交接</a:t>
                </a:r>
                <a:endParaRPr lang="zh-CN" altLang="en-US" sz="900" dirty="0" smtClean="0">
                  <a:solidFill>
                    <a:schemeClr val="tx1"/>
                  </a:solidFill>
                </a:endParaRPr>
              </a:p>
            </p:txBody>
          </p:sp>
          <p:sp>
            <p:nvSpPr>
              <p:cNvPr id="83" name="椭圆 82"/>
              <p:cNvSpPr/>
              <p:nvPr/>
            </p:nvSpPr>
            <p:spPr>
              <a:xfrm>
                <a:off x="5202148" y="4545441"/>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84" name="矩形 83"/>
              <p:cNvSpPr/>
              <p:nvPr/>
            </p:nvSpPr>
            <p:spPr>
              <a:xfrm>
                <a:off x="5326037" y="4542996"/>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85" name="椭圆 84"/>
              <p:cNvSpPr/>
              <p:nvPr/>
            </p:nvSpPr>
            <p:spPr>
              <a:xfrm>
                <a:off x="5099713" y="1713270"/>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86" name="矩形 85"/>
              <p:cNvSpPr/>
              <p:nvPr/>
            </p:nvSpPr>
            <p:spPr>
              <a:xfrm>
                <a:off x="5223602" y="1710825"/>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87" name="椭圆 86"/>
              <p:cNvSpPr/>
              <p:nvPr/>
            </p:nvSpPr>
            <p:spPr>
              <a:xfrm>
                <a:off x="2689229" y="4361136"/>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88" name="矩形 87"/>
              <p:cNvSpPr/>
              <p:nvPr/>
            </p:nvSpPr>
            <p:spPr>
              <a:xfrm>
                <a:off x="2813116" y="4358690"/>
                <a:ext cx="806432" cy="159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进度</a:t>
                </a:r>
                <a:endParaRPr lang="zh-CN" altLang="en-US" sz="900" dirty="0" smtClean="0">
                  <a:solidFill>
                    <a:schemeClr val="tx1"/>
                  </a:solidFill>
                </a:endParaRPr>
              </a:p>
            </p:txBody>
          </p:sp>
          <p:sp>
            <p:nvSpPr>
              <p:cNvPr id="89" name="椭圆 88"/>
              <p:cNvSpPr/>
              <p:nvPr/>
            </p:nvSpPr>
            <p:spPr>
              <a:xfrm>
                <a:off x="4951101" y="4743613"/>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90" name="矩形 89"/>
              <p:cNvSpPr/>
              <p:nvPr/>
            </p:nvSpPr>
            <p:spPr>
              <a:xfrm>
                <a:off x="5074989" y="4741168"/>
                <a:ext cx="806432" cy="159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91" name="椭圆 90"/>
              <p:cNvSpPr/>
              <p:nvPr/>
            </p:nvSpPr>
            <p:spPr>
              <a:xfrm>
                <a:off x="1754182" y="3295457"/>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92" name="矩形 91"/>
              <p:cNvSpPr/>
              <p:nvPr/>
            </p:nvSpPr>
            <p:spPr>
              <a:xfrm>
                <a:off x="1878070" y="3293012"/>
                <a:ext cx="806432" cy="1599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93" name="椭圆 92"/>
              <p:cNvSpPr/>
              <p:nvPr/>
            </p:nvSpPr>
            <p:spPr>
              <a:xfrm>
                <a:off x="3068478" y="3293946"/>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94" name="矩形 93"/>
              <p:cNvSpPr/>
              <p:nvPr/>
            </p:nvSpPr>
            <p:spPr>
              <a:xfrm>
                <a:off x="2554555" y="3417033"/>
                <a:ext cx="991048" cy="17693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r>
                  <a:rPr lang="zh-CN" altLang="en-US" sz="900" dirty="0" smtClean="0">
                    <a:solidFill>
                      <a:schemeClr val="tx1"/>
                    </a:solidFill>
                  </a:rPr>
                  <a:t>管理</a:t>
                </a:r>
                <a:endParaRPr lang="zh-CN" altLang="en-US" sz="900" dirty="0" smtClean="0">
                  <a:solidFill>
                    <a:schemeClr val="tx1"/>
                  </a:solidFill>
                </a:endParaRPr>
              </a:p>
            </p:txBody>
          </p:sp>
          <p:sp>
            <p:nvSpPr>
              <p:cNvPr id="95" name="椭圆 94"/>
              <p:cNvSpPr/>
              <p:nvPr/>
            </p:nvSpPr>
            <p:spPr>
              <a:xfrm>
                <a:off x="2587654" y="2628986"/>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96" name="矩形 95"/>
              <p:cNvSpPr/>
              <p:nvPr/>
            </p:nvSpPr>
            <p:spPr>
              <a:xfrm>
                <a:off x="2711543" y="2626541"/>
                <a:ext cx="810880" cy="15422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97" name="椭圆 96"/>
              <p:cNvSpPr/>
              <p:nvPr/>
            </p:nvSpPr>
            <p:spPr>
              <a:xfrm>
                <a:off x="1832619" y="4406273"/>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98" name="矩形 97"/>
              <p:cNvSpPr/>
              <p:nvPr/>
            </p:nvSpPr>
            <p:spPr>
              <a:xfrm>
                <a:off x="1956508" y="4403827"/>
                <a:ext cx="810880" cy="15422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99" name="椭圆 98"/>
              <p:cNvSpPr/>
              <p:nvPr/>
            </p:nvSpPr>
            <p:spPr>
              <a:xfrm>
                <a:off x="1647087" y="4611483"/>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00" name="矩形 99"/>
              <p:cNvSpPr/>
              <p:nvPr/>
            </p:nvSpPr>
            <p:spPr>
              <a:xfrm>
                <a:off x="1770975" y="4609036"/>
                <a:ext cx="836436" cy="1735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101" name="椭圆 100"/>
              <p:cNvSpPr/>
              <p:nvPr/>
            </p:nvSpPr>
            <p:spPr>
              <a:xfrm>
                <a:off x="1009902" y="5465513"/>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02" name="矩形 101"/>
              <p:cNvSpPr/>
              <p:nvPr/>
            </p:nvSpPr>
            <p:spPr>
              <a:xfrm>
                <a:off x="1133791" y="5463067"/>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103" name="椭圆 102"/>
              <p:cNvSpPr/>
              <p:nvPr/>
            </p:nvSpPr>
            <p:spPr>
              <a:xfrm>
                <a:off x="2631572" y="4870498"/>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04" name="矩形 103"/>
              <p:cNvSpPr/>
              <p:nvPr/>
            </p:nvSpPr>
            <p:spPr>
              <a:xfrm>
                <a:off x="2755461" y="4868052"/>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x</a:t>
                </a:r>
                <a:endParaRPr lang="zh-CN" altLang="en-US" sz="900" dirty="0" smtClean="0">
                  <a:solidFill>
                    <a:schemeClr val="tx1"/>
                  </a:solidFill>
                </a:endParaRPr>
              </a:p>
            </p:txBody>
          </p:sp>
          <p:sp>
            <p:nvSpPr>
              <p:cNvPr id="105" name="椭圆 104"/>
              <p:cNvSpPr/>
              <p:nvPr/>
            </p:nvSpPr>
            <p:spPr>
              <a:xfrm>
                <a:off x="4009973" y="4488976"/>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06" name="矩形 105"/>
              <p:cNvSpPr/>
              <p:nvPr/>
            </p:nvSpPr>
            <p:spPr>
              <a:xfrm>
                <a:off x="4133862" y="4486530"/>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107" name="椭圆 106"/>
              <p:cNvSpPr/>
              <p:nvPr/>
            </p:nvSpPr>
            <p:spPr>
              <a:xfrm>
                <a:off x="4475425" y="2339263"/>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08" name="矩形 107"/>
              <p:cNvSpPr/>
              <p:nvPr/>
            </p:nvSpPr>
            <p:spPr>
              <a:xfrm>
                <a:off x="4599314" y="2336817"/>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109" name="椭圆 108"/>
              <p:cNvSpPr/>
              <p:nvPr/>
            </p:nvSpPr>
            <p:spPr>
              <a:xfrm>
                <a:off x="3568748" y="5202078"/>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10" name="矩形 109"/>
              <p:cNvSpPr/>
              <p:nvPr/>
            </p:nvSpPr>
            <p:spPr>
              <a:xfrm>
                <a:off x="3692637" y="5199632"/>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111" name="椭圆 110"/>
              <p:cNvSpPr/>
              <p:nvPr/>
            </p:nvSpPr>
            <p:spPr>
              <a:xfrm>
                <a:off x="1924092" y="5411594"/>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12" name="矩形 111"/>
              <p:cNvSpPr/>
              <p:nvPr/>
            </p:nvSpPr>
            <p:spPr>
              <a:xfrm>
                <a:off x="2047981" y="5409148"/>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113" name="椭圆 112"/>
              <p:cNvSpPr/>
              <p:nvPr/>
            </p:nvSpPr>
            <p:spPr>
              <a:xfrm>
                <a:off x="4774179" y="4369555"/>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14" name="矩形 113"/>
              <p:cNvSpPr/>
              <p:nvPr/>
            </p:nvSpPr>
            <p:spPr>
              <a:xfrm>
                <a:off x="4898068" y="4367109"/>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115" name="椭圆 114"/>
              <p:cNvSpPr/>
              <p:nvPr/>
            </p:nvSpPr>
            <p:spPr>
              <a:xfrm>
                <a:off x="4661296" y="2965795"/>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16" name="矩形 115"/>
              <p:cNvSpPr/>
              <p:nvPr/>
            </p:nvSpPr>
            <p:spPr>
              <a:xfrm>
                <a:off x="4785185" y="2963349"/>
                <a:ext cx="763761" cy="12929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en-US" altLang="zh-CN" sz="900" dirty="0" smtClean="0">
                    <a:solidFill>
                      <a:schemeClr val="tx1"/>
                    </a:solidFill>
                  </a:rPr>
                  <a:t>xx</a:t>
                </a:r>
                <a:endParaRPr lang="zh-CN" altLang="en-US" sz="900" dirty="0" smtClean="0">
                  <a:solidFill>
                    <a:schemeClr val="tx1"/>
                  </a:solidFill>
                </a:endParaRPr>
              </a:p>
            </p:txBody>
          </p:sp>
          <p:sp>
            <p:nvSpPr>
              <p:cNvPr id="117" name="椭圆 116"/>
              <p:cNvSpPr/>
              <p:nvPr/>
            </p:nvSpPr>
            <p:spPr>
              <a:xfrm>
                <a:off x="6233628" y="6115003"/>
                <a:ext cx="175596" cy="171063"/>
              </a:xfrm>
              <a:prstGeom prst="ellipse">
                <a:avLst/>
              </a:prstGeom>
              <a:solidFill>
                <a:srgbClr val="FE581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a:solidFill>
                    <a:schemeClr val="tx1"/>
                  </a:solidFill>
                </a:endParaRPr>
              </a:p>
            </p:txBody>
          </p:sp>
          <p:sp>
            <p:nvSpPr>
              <p:cNvPr id="118" name="椭圆 117"/>
              <p:cNvSpPr/>
              <p:nvPr/>
            </p:nvSpPr>
            <p:spPr>
              <a:xfrm>
                <a:off x="7466643" y="6115003"/>
                <a:ext cx="175596" cy="171063"/>
              </a:xfrm>
              <a:prstGeom prst="ellipse">
                <a:avLst/>
              </a:prstGeom>
              <a:solidFill>
                <a:schemeClr val="accent6"/>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900" dirty="0" smtClean="0">
                  <a:solidFill>
                    <a:schemeClr val="tx1"/>
                  </a:solidFill>
                </a:endParaRPr>
              </a:p>
            </p:txBody>
          </p:sp>
          <p:sp>
            <p:nvSpPr>
              <p:cNvPr id="119" name="矩形 118"/>
              <p:cNvSpPr/>
              <p:nvPr/>
            </p:nvSpPr>
            <p:spPr>
              <a:xfrm>
                <a:off x="7523261" y="6095915"/>
                <a:ext cx="1045689" cy="20924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zh-CN" altLang="en-US" sz="900" dirty="0" smtClean="0">
                    <a:solidFill>
                      <a:schemeClr val="tx1"/>
                    </a:solidFill>
                  </a:rPr>
                  <a:t>后端实施流程</a:t>
                </a:r>
                <a:endParaRPr lang="zh-CN" altLang="en-US" sz="900" dirty="0" smtClean="0">
                  <a:solidFill>
                    <a:schemeClr val="tx1"/>
                  </a:solidFill>
                </a:endParaRPr>
              </a:p>
            </p:txBody>
          </p:sp>
          <p:sp>
            <p:nvSpPr>
              <p:cNvPr id="120" name="矩形 119"/>
              <p:cNvSpPr/>
              <p:nvPr/>
            </p:nvSpPr>
            <p:spPr>
              <a:xfrm>
                <a:off x="6267718" y="6101440"/>
                <a:ext cx="1047588" cy="2640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r>
                  <a:rPr lang="zh-CN" altLang="en-US" sz="900" dirty="0" smtClean="0">
                    <a:solidFill>
                      <a:schemeClr val="tx1"/>
                    </a:solidFill>
                  </a:rPr>
                  <a:t>前端商务流程</a:t>
                </a:r>
                <a:endParaRPr lang="zh-CN" altLang="en-US" sz="900" dirty="0" smtClean="0">
                  <a:solidFill>
                    <a:schemeClr val="tx1"/>
                  </a:solidFill>
                </a:endParaRPr>
              </a:p>
            </p:txBody>
          </p:sp>
        </p:grpSp>
      </p:grpSp>
      <p:sp>
        <p:nvSpPr>
          <p:cNvPr id="134" name="išľíďè"/>
          <p:cNvSpPr/>
          <p:nvPr/>
        </p:nvSpPr>
        <p:spPr bwMode="auto">
          <a:xfrm>
            <a:off x="8978625" y="2586682"/>
            <a:ext cx="2590524" cy="423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marL="285750" indent="-285750">
              <a:lnSpc>
                <a:spcPct val="150000"/>
              </a:lnSpc>
              <a:buFont typeface="Arial" panose="020B0604020202020204" pitchFamily="34" charset="0"/>
              <a:buChar char="•"/>
            </a:pPr>
            <a:r>
              <a:rPr lang="zh-CN" altLang="en-US" sz="1200" dirty="0" smtClean="0"/>
              <a:t>部分流程无</a:t>
            </a:r>
            <a:r>
              <a:rPr lang="zh-CN" altLang="en-US" sz="1200" dirty="0"/>
              <a:t>主责部门，或主责部门</a:t>
            </a:r>
            <a:r>
              <a:rPr lang="zh-CN" altLang="en-US" sz="1200" dirty="0" smtClean="0"/>
              <a:t>有争议</a:t>
            </a:r>
            <a:endParaRPr lang="en-US" altLang="zh-CN" sz="1200" dirty="0" smtClean="0"/>
          </a:p>
        </p:txBody>
      </p:sp>
      <p:sp>
        <p:nvSpPr>
          <p:cNvPr id="135" name="iSlíďè"/>
          <p:cNvSpPr txBox="1"/>
          <p:nvPr/>
        </p:nvSpPr>
        <p:spPr bwMode="auto">
          <a:xfrm>
            <a:off x="9720327" y="2288079"/>
            <a:ext cx="1079456" cy="311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r>
              <a:rPr lang="zh-CN" altLang="en-US" sz="1400" b="1" dirty="0">
                <a:solidFill>
                  <a:srgbClr val="FE5817"/>
                </a:solidFill>
                <a:cs typeface="Arial" panose="020B0604020202020204" pitchFamily="34" charset="0"/>
              </a:rPr>
              <a:t>分工不清类</a:t>
            </a:r>
            <a:endParaRPr lang="zh-CN" altLang="en-US" sz="1400" b="1" dirty="0">
              <a:solidFill>
                <a:srgbClr val="FE5817"/>
              </a:solidFill>
              <a:cs typeface="Arial" panose="020B0604020202020204" pitchFamily="34" charset="0"/>
            </a:endParaRPr>
          </a:p>
        </p:txBody>
      </p:sp>
      <p:sp>
        <p:nvSpPr>
          <p:cNvPr id="136" name="išľíďè"/>
          <p:cNvSpPr/>
          <p:nvPr/>
        </p:nvSpPr>
        <p:spPr bwMode="auto">
          <a:xfrm>
            <a:off x="8985004" y="5032070"/>
            <a:ext cx="2590524" cy="430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marL="285750" indent="-285750">
              <a:lnSpc>
                <a:spcPct val="150000"/>
              </a:lnSpc>
              <a:buFont typeface="Arial" panose="020B0604020202020204" pitchFamily="34" charset="0"/>
              <a:buChar char="•"/>
            </a:pPr>
            <a:r>
              <a:rPr lang="zh-CN" altLang="en-US" sz="1200" dirty="0" smtClean="0"/>
              <a:t>部分流程业务</a:t>
            </a:r>
            <a:r>
              <a:rPr lang="zh-CN" altLang="en-US" sz="1200" dirty="0"/>
              <a:t>运行无标准，或标准未全公司推广</a:t>
            </a:r>
            <a:r>
              <a:rPr lang="zh-CN" altLang="en-US" sz="1200" dirty="0" smtClean="0"/>
              <a:t>统一</a:t>
            </a:r>
            <a:endParaRPr lang="en-US" altLang="zh-CN" sz="1200" dirty="0" smtClean="0"/>
          </a:p>
        </p:txBody>
      </p:sp>
      <p:sp>
        <p:nvSpPr>
          <p:cNvPr id="137" name="iSlíďè"/>
          <p:cNvSpPr txBox="1"/>
          <p:nvPr/>
        </p:nvSpPr>
        <p:spPr bwMode="auto">
          <a:xfrm>
            <a:off x="9721685" y="4717154"/>
            <a:ext cx="1089499" cy="263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r>
              <a:rPr lang="zh-CN" altLang="en-US" sz="1400" b="1" dirty="0">
                <a:solidFill>
                  <a:srgbClr val="FE5817"/>
                </a:solidFill>
                <a:cs typeface="Arial" panose="020B0604020202020204" pitchFamily="34" charset="0"/>
              </a:rPr>
              <a:t>标准不明类</a:t>
            </a:r>
            <a:endParaRPr lang="zh-CN" altLang="en-US" sz="1400" b="1" dirty="0">
              <a:solidFill>
                <a:srgbClr val="FE5817"/>
              </a:solidFill>
              <a:cs typeface="Arial" panose="020B0604020202020204" pitchFamily="34" charset="0"/>
            </a:endParaRPr>
          </a:p>
        </p:txBody>
      </p:sp>
      <p:sp>
        <p:nvSpPr>
          <p:cNvPr id="138" name="iSlíďè"/>
          <p:cNvSpPr txBox="1"/>
          <p:nvPr/>
        </p:nvSpPr>
        <p:spPr bwMode="auto">
          <a:xfrm>
            <a:off x="9702408" y="3497352"/>
            <a:ext cx="1104823" cy="25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r>
              <a:rPr lang="zh-CN" altLang="en-US" sz="1400" b="1" dirty="0">
                <a:solidFill>
                  <a:srgbClr val="FE5817"/>
                </a:solidFill>
                <a:cs typeface="Arial" panose="020B0604020202020204" pitchFamily="34" charset="0"/>
              </a:rPr>
              <a:t>流程不畅类</a:t>
            </a:r>
            <a:endParaRPr lang="zh-CN" altLang="en-US" sz="1400" b="1" dirty="0">
              <a:solidFill>
                <a:srgbClr val="FE5817"/>
              </a:solidFill>
              <a:cs typeface="Arial" panose="020B0604020202020204" pitchFamily="34" charset="0"/>
            </a:endParaRPr>
          </a:p>
        </p:txBody>
      </p:sp>
      <p:sp>
        <p:nvSpPr>
          <p:cNvPr id="139" name="išľíďè"/>
          <p:cNvSpPr/>
          <p:nvPr/>
        </p:nvSpPr>
        <p:spPr bwMode="auto">
          <a:xfrm>
            <a:off x="8973389" y="3792396"/>
            <a:ext cx="2590524" cy="424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marL="285750" indent="-285750">
              <a:lnSpc>
                <a:spcPct val="150000"/>
              </a:lnSpc>
              <a:buFont typeface="Arial" panose="020B0604020202020204" pitchFamily="34" charset="0"/>
              <a:buChar char="•"/>
            </a:pPr>
            <a:r>
              <a:rPr lang="zh-CN" altLang="en-US" sz="1200" dirty="0" smtClean="0"/>
              <a:t>部分流程缺乏</a:t>
            </a:r>
            <a:r>
              <a:rPr lang="zh-CN" altLang="en-US" sz="1200" dirty="0"/>
              <a:t>统一流程规范</a:t>
            </a:r>
            <a:r>
              <a:rPr lang="zh-CN" altLang="en-US" sz="1200" dirty="0" smtClean="0"/>
              <a:t>或清晰流程指导</a:t>
            </a:r>
            <a:endParaRPr lang="en-US" altLang="zh-CN" sz="1200" dirty="0"/>
          </a:p>
        </p:txBody>
      </p:sp>
      <p:grpSp>
        <p:nvGrpSpPr>
          <p:cNvPr id="140" name="组合 139"/>
          <p:cNvGrpSpPr>
            <a:grpSpLocks noChangeAspect="1"/>
          </p:cNvGrpSpPr>
          <p:nvPr/>
        </p:nvGrpSpPr>
        <p:grpSpPr>
          <a:xfrm>
            <a:off x="510437" y="834901"/>
            <a:ext cx="316396" cy="216000"/>
            <a:chOff x="2498710" y="2311467"/>
            <a:chExt cx="1748840" cy="1777866"/>
          </a:xfrm>
        </p:grpSpPr>
        <p:sp>
          <p:nvSpPr>
            <p:cNvPr id="141" name="椭圆 127"/>
            <p:cNvSpPr/>
            <p:nvPr/>
          </p:nvSpPr>
          <p:spPr>
            <a:xfrm>
              <a:off x="2644792" y="2457549"/>
              <a:ext cx="1456676" cy="1456676"/>
            </a:xfrm>
            <a:prstGeom prst="flowChartPunchedTap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200" dirty="0" smtClean="0">
                  <a:latin typeface="Arial" panose="020B0604020202020204" pitchFamily="34" charset="0"/>
                  <a:ea typeface="华文楷体" panose="02010600040101010101" charset="-122"/>
                  <a:cs typeface="Arial" panose="020B0604020202020204" pitchFamily="34" charset="0"/>
                </a:rPr>
                <a:t>1</a:t>
              </a:r>
              <a:endParaRPr lang="zh-CN" altLang="en-US" sz="1200" dirty="0">
                <a:latin typeface="Arial" panose="020B0604020202020204" pitchFamily="34" charset="0"/>
                <a:ea typeface="华文楷体" panose="02010600040101010101" charset="-122"/>
                <a:cs typeface="Arial" panose="020B0604020202020204" pitchFamily="34" charset="0"/>
              </a:endParaRPr>
            </a:p>
          </p:txBody>
        </p:sp>
        <p:sp>
          <p:nvSpPr>
            <p:cNvPr id="142" name="椭圆 128"/>
            <p:cNvSpPr/>
            <p:nvPr/>
          </p:nvSpPr>
          <p:spPr>
            <a:xfrm>
              <a:off x="2498710" y="2311467"/>
              <a:ext cx="1748840" cy="1748840"/>
            </a:xfrm>
            <a:prstGeom prst="flowChartPunchedTap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b="1" dirty="0">
                <a:latin typeface="华文楷体" panose="02010600040101010101" charset="-122"/>
                <a:ea typeface="华文楷体" panose="02010600040101010101" charset="-122"/>
              </a:endParaRPr>
            </a:p>
          </p:txBody>
        </p:sp>
        <p:sp>
          <p:nvSpPr>
            <p:cNvPr id="143" name="椭圆 142"/>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a:latin typeface="华文楷体" panose="02010600040101010101" charset="-122"/>
                <a:ea typeface="华文楷体" panose="02010600040101010101" charset="-122"/>
                <a:cs typeface="+mn-ea"/>
                <a:sym typeface="+mn-lt"/>
              </a:endParaRPr>
            </a:p>
          </p:txBody>
        </p:sp>
        <p:sp>
          <p:nvSpPr>
            <p:cNvPr id="144" name="椭圆 143"/>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a:latin typeface="华文楷体" panose="02010600040101010101" charset="-122"/>
                <a:ea typeface="华文楷体" panose="02010600040101010101" charset="-122"/>
                <a:cs typeface="+mn-ea"/>
                <a:sym typeface="+mn-lt"/>
              </a:endParaRPr>
            </a:p>
          </p:txBody>
        </p:sp>
      </p:grpSp>
      <p:sp>
        <p:nvSpPr>
          <p:cNvPr id="145" name="矩形 144"/>
          <p:cNvSpPr/>
          <p:nvPr/>
        </p:nvSpPr>
        <p:spPr>
          <a:xfrm>
            <a:off x="416120" y="1103957"/>
            <a:ext cx="1887002" cy="5292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nSpc>
                <a:spcPct val="90000"/>
              </a:lnSpc>
              <a:spcAft>
                <a:spcPts val="1000"/>
              </a:spcAft>
            </a:pPr>
            <a:r>
              <a:rPr lang="zh-CN" altLang="en-US" sz="1400" b="1" dirty="0" smtClean="0">
                <a:solidFill>
                  <a:srgbClr val="FE5817"/>
                </a:solidFill>
              </a:rPr>
              <a:t>总体统筹、先</a:t>
            </a:r>
            <a:r>
              <a:rPr lang="zh-CN" altLang="en-US" sz="1400" b="1" dirty="0">
                <a:solidFill>
                  <a:srgbClr val="FE5817"/>
                </a:solidFill>
              </a:rPr>
              <a:t>试先行</a:t>
            </a:r>
            <a:endParaRPr lang="zh-CN" altLang="en-US" sz="1400" b="1" dirty="0" smtClean="0">
              <a:solidFill>
                <a:srgbClr val="FE5817"/>
              </a:solidFill>
            </a:endParaRPr>
          </a:p>
        </p:txBody>
      </p:sp>
      <p:sp>
        <p:nvSpPr>
          <p:cNvPr id="146" name="矩形 145"/>
          <p:cNvSpPr/>
          <p:nvPr/>
        </p:nvSpPr>
        <p:spPr>
          <a:xfrm>
            <a:off x="889547" y="762404"/>
            <a:ext cx="1442020" cy="3313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nSpc>
                <a:spcPct val="90000"/>
              </a:lnSpc>
              <a:spcAft>
                <a:spcPts val="1000"/>
              </a:spcAft>
            </a:pPr>
            <a:r>
              <a:rPr lang="zh-CN" altLang="en-US" b="1" dirty="0" smtClean="0">
                <a:solidFill>
                  <a:schemeClr val="tx1">
                    <a:lumMod val="85000"/>
                    <a:lumOff val="15000"/>
                  </a:schemeClr>
                </a:solidFill>
              </a:rPr>
              <a:t>急</a:t>
            </a:r>
            <a:endParaRPr lang="zh-CN" altLang="en-US" b="1" dirty="0" smtClean="0">
              <a:solidFill>
                <a:schemeClr val="tx1">
                  <a:lumMod val="85000"/>
                  <a:lumOff val="15000"/>
                </a:schemeClr>
              </a:solidFill>
            </a:endParaRPr>
          </a:p>
        </p:txBody>
      </p:sp>
      <p:sp>
        <p:nvSpPr>
          <p:cNvPr id="147" name="矩形 146"/>
          <p:cNvSpPr/>
          <p:nvPr/>
        </p:nvSpPr>
        <p:spPr>
          <a:xfrm>
            <a:off x="3412852" y="762404"/>
            <a:ext cx="1442020" cy="3313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nSpc>
                <a:spcPct val="90000"/>
              </a:lnSpc>
              <a:spcAft>
                <a:spcPts val="1000"/>
              </a:spcAft>
            </a:pPr>
            <a:r>
              <a:rPr lang="zh-CN" altLang="en-US" b="1" dirty="0" smtClean="0">
                <a:solidFill>
                  <a:schemeClr val="tx1">
                    <a:lumMod val="85000"/>
                    <a:lumOff val="15000"/>
                  </a:schemeClr>
                </a:solidFill>
              </a:rPr>
              <a:t>重</a:t>
            </a:r>
            <a:endParaRPr lang="zh-CN" altLang="en-US" b="1" dirty="0" smtClean="0">
              <a:solidFill>
                <a:schemeClr val="tx1">
                  <a:lumMod val="85000"/>
                  <a:lumOff val="15000"/>
                </a:schemeClr>
              </a:solidFill>
            </a:endParaRPr>
          </a:p>
        </p:txBody>
      </p:sp>
      <p:sp>
        <p:nvSpPr>
          <p:cNvPr id="148" name="矩形 147"/>
          <p:cNvSpPr/>
          <p:nvPr/>
        </p:nvSpPr>
        <p:spPr>
          <a:xfrm>
            <a:off x="5936157" y="762404"/>
            <a:ext cx="1442020" cy="3313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nSpc>
                <a:spcPct val="90000"/>
              </a:lnSpc>
              <a:spcAft>
                <a:spcPts val="1000"/>
              </a:spcAft>
            </a:pPr>
            <a:r>
              <a:rPr lang="zh-CN" altLang="en-US" b="1" dirty="0" smtClean="0">
                <a:solidFill>
                  <a:schemeClr val="tx1">
                    <a:lumMod val="85000"/>
                    <a:lumOff val="15000"/>
                  </a:schemeClr>
                </a:solidFill>
              </a:rPr>
              <a:t>缓</a:t>
            </a:r>
            <a:endParaRPr lang="zh-CN" altLang="en-US" b="1" dirty="0" smtClean="0">
              <a:solidFill>
                <a:schemeClr val="tx1">
                  <a:lumMod val="85000"/>
                  <a:lumOff val="15000"/>
                </a:schemeClr>
              </a:solidFill>
            </a:endParaRPr>
          </a:p>
        </p:txBody>
      </p:sp>
      <p:sp>
        <p:nvSpPr>
          <p:cNvPr id="149" name="矩形 148"/>
          <p:cNvSpPr/>
          <p:nvPr/>
        </p:nvSpPr>
        <p:spPr>
          <a:xfrm>
            <a:off x="8459463" y="762404"/>
            <a:ext cx="1442020" cy="33137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nSpc>
                <a:spcPct val="90000"/>
              </a:lnSpc>
              <a:spcAft>
                <a:spcPts val="1000"/>
              </a:spcAft>
            </a:pPr>
            <a:r>
              <a:rPr lang="zh-CN" altLang="en-US" b="1" dirty="0" smtClean="0">
                <a:solidFill>
                  <a:schemeClr val="tx1">
                    <a:lumMod val="85000"/>
                    <a:lumOff val="15000"/>
                  </a:schemeClr>
                </a:solidFill>
              </a:rPr>
              <a:t>轻</a:t>
            </a:r>
            <a:endParaRPr lang="zh-CN" altLang="en-US" b="1" dirty="0" smtClean="0">
              <a:solidFill>
                <a:schemeClr val="tx1">
                  <a:lumMod val="85000"/>
                  <a:lumOff val="15000"/>
                </a:schemeClr>
              </a:solidFill>
            </a:endParaRPr>
          </a:p>
        </p:txBody>
      </p:sp>
      <p:grpSp>
        <p:nvGrpSpPr>
          <p:cNvPr id="150" name="组合 149"/>
          <p:cNvGrpSpPr>
            <a:grpSpLocks noChangeAspect="1"/>
          </p:cNvGrpSpPr>
          <p:nvPr/>
        </p:nvGrpSpPr>
        <p:grpSpPr>
          <a:xfrm>
            <a:off x="3042911" y="834901"/>
            <a:ext cx="316396" cy="216000"/>
            <a:chOff x="2498710" y="2311467"/>
            <a:chExt cx="1748840" cy="1777866"/>
          </a:xfrm>
        </p:grpSpPr>
        <p:sp>
          <p:nvSpPr>
            <p:cNvPr id="151" name="椭圆 127"/>
            <p:cNvSpPr/>
            <p:nvPr/>
          </p:nvSpPr>
          <p:spPr>
            <a:xfrm>
              <a:off x="2644792" y="2457549"/>
              <a:ext cx="1456676" cy="1456676"/>
            </a:xfrm>
            <a:prstGeom prst="flowChartPunchedTap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200" b="1" dirty="0" smtClean="0">
                  <a:latin typeface="Arial" panose="020B0604020202020204" pitchFamily="34" charset="0"/>
                  <a:ea typeface="华文楷体" panose="02010600040101010101" charset="-122"/>
                  <a:cs typeface="Arial" panose="020B0604020202020204" pitchFamily="34" charset="0"/>
                </a:rPr>
                <a:t>2</a:t>
              </a:r>
              <a:endParaRPr lang="zh-CN" altLang="en-US" sz="1200" b="1" dirty="0">
                <a:latin typeface="Arial" panose="020B0604020202020204" pitchFamily="34" charset="0"/>
                <a:ea typeface="华文楷体" panose="02010600040101010101" charset="-122"/>
                <a:cs typeface="Arial" panose="020B0604020202020204" pitchFamily="34" charset="0"/>
              </a:endParaRPr>
            </a:p>
          </p:txBody>
        </p:sp>
        <p:sp>
          <p:nvSpPr>
            <p:cNvPr id="152" name="椭圆 128"/>
            <p:cNvSpPr/>
            <p:nvPr/>
          </p:nvSpPr>
          <p:spPr>
            <a:xfrm>
              <a:off x="2498710" y="2311467"/>
              <a:ext cx="1748840" cy="1748840"/>
            </a:xfrm>
            <a:prstGeom prst="flowChartPunchedTap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dirty="0">
                <a:latin typeface="华文楷体" panose="02010600040101010101" charset="-122"/>
                <a:ea typeface="华文楷体" panose="02010600040101010101" charset="-122"/>
              </a:endParaRPr>
            </a:p>
          </p:txBody>
        </p:sp>
        <p:sp>
          <p:nvSpPr>
            <p:cNvPr id="153" name="椭圆 152"/>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a:latin typeface="华文楷体" panose="02010600040101010101" charset="-122"/>
                <a:ea typeface="华文楷体" panose="02010600040101010101" charset="-122"/>
                <a:cs typeface="+mn-ea"/>
                <a:sym typeface="+mn-lt"/>
              </a:endParaRPr>
            </a:p>
          </p:txBody>
        </p:sp>
        <p:sp>
          <p:nvSpPr>
            <p:cNvPr id="154" name="椭圆 153"/>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a:latin typeface="华文楷体" panose="02010600040101010101" charset="-122"/>
                <a:ea typeface="华文楷体" panose="02010600040101010101" charset="-122"/>
                <a:cs typeface="+mn-ea"/>
                <a:sym typeface="+mn-lt"/>
              </a:endParaRPr>
            </a:p>
          </p:txBody>
        </p:sp>
      </p:grpSp>
      <p:sp>
        <p:nvSpPr>
          <p:cNvPr id="155" name="矩形 154"/>
          <p:cNvSpPr/>
          <p:nvPr/>
        </p:nvSpPr>
        <p:spPr>
          <a:xfrm>
            <a:off x="2954043" y="1103957"/>
            <a:ext cx="1887002" cy="5292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nSpc>
                <a:spcPct val="90000"/>
              </a:lnSpc>
              <a:spcAft>
                <a:spcPts val="1000"/>
              </a:spcAft>
            </a:pPr>
            <a:r>
              <a:rPr lang="zh-CN" altLang="en-US" sz="1400" b="1" dirty="0" smtClean="0">
                <a:solidFill>
                  <a:srgbClr val="FE5817"/>
                </a:solidFill>
              </a:rPr>
              <a:t>追踪验收，有序推进</a:t>
            </a:r>
            <a:endParaRPr lang="zh-CN" altLang="en-US" sz="1400" b="1" dirty="0" smtClean="0">
              <a:solidFill>
                <a:srgbClr val="FE5817"/>
              </a:solidFill>
            </a:endParaRPr>
          </a:p>
        </p:txBody>
      </p:sp>
      <p:grpSp>
        <p:nvGrpSpPr>
          <p:cNvPr id="156" name="组合 155"/>
          <p:cNvGrpSpPr>
            <a:grpSpLocks noChangeAspect="1"/>
          </p:cNvGrpSpPr>
          <p:nvPr/>
        </p:nvGrpSpPr>
        <p:grpSpPr>
          <a:xfrm>
            <a:off x="5575385" y="834901"/>
            <a:ext cx="316396" cy="216000"/>
            <a:chOff x="2498710" y="2311467"/>
            <a:chExt cx="1748840" cy="1777866"/>
          </a:xfrm>
        </p:grpSpPr>
        <p:sp>
          <p:nvSpPr>
            <p:cNvPr id="157" name="椭圆 127"/>
            <p:cNvSpPr/>
            <p:nvPr/>
          </p:nvSpPr>
          <p:spPr>
            <a:xfrm>
              <a:off x="2644792" y="2457549"/>
              <a:ext cx="1456676" cy="1456676"/>
            </a:xfrm>
            <a:prstGeom prst="flowChartPunchedTap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200" b="1" dirty="0" smtClean="0">
                  <a:latin typeface="Arial" panose="020B0604020202020204" pitchFamily="34" charset="0"/>
                  <a:ea typeface="华文楷体" panose="02010600040101010101" charset="-122"/>
                  <a:cs typeface="Arial" panose="020B0604020202020204" pitchFamily="34" charset="0"/>
                </a:rPr>
                <a:t>3</a:t>
              </a:r>
              <a:endParaRPr lang="zh-CN" altLang="en-US" sz="1200" b="1" dirty="0">
                <a:latin typeface="Arial" panose="020B0604020202020204" pitchFamily="34" charset="0"/>
                <a:ea typeface="华文楷体" panose="02010600040101010101" charset="-122"/>
                <a:cs typeface="Arial" panose="020B0604020202020204" pitchFamily="34" charset="0"/>
              </a:endParaRPr>
            </a:p>
          </p:txBody>
        </p:sp>
        <p:sp>
          <p:nvSpPr>
            <p:cNvPr id="158" name="椭圆 128"/>
            <p:cNvSpPr/>
            <p:nvPr/>
          </p:nvSpPr>
          <p:spPr>
            <a:xfrm>
              <a:off x="2498710" y="2311467"/>
              <a:ext cx="1748840" cy="1748840"/>
            </a:xfrm>
            <a:prstGeom prst="flowChartPunchedTap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dirty="0">
                <a:latin typeface="华文楷体" panose="02010600040101010101" charset="-122"/>
                <a:ea typeface="华文楷体" panose="02010600040101010101" charset="-122"/>
              </a:endParaRPr>
            </a:p>
          </p:txBody>
        </p:sp>
        <p:sp>
          <p:nvSpPr>
            <p:cNvPr id="159" name="椭圆 158"/>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a:latin typeface="华文楷体" panose="02010600040101010101" charset="-122"/>
                <a:ea typeface="华文楷体" panose="02010600040101010101" charset="-122"/>
                <a:cs typeface="+mn-ea"/>
                <a:sym typeface="+mn-lt"/>
              </a:endParaRPr>
            </a:p>
          </p:txBody>
        </p:sp>
        <p:sp>
          <p:nvSpPr>
            <p:cNvPr id="160" name="椭圆 159"/>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a:latin typeface="华文楷体" panose="02010600040101010101" charset="-122"/>
                <a:ea typeface="华文楷体" panose="02010600040101010101" charset="-122"/>
                <a:cs typeface="+mn-ea"/>
                <a:sym typeface="+mn-lt"/>
              </a:endParaRPr>
            </a:p>
          </p:txBody>
        </p:sp>
      </p:grpSp>
      <p:sp>
        <p:nvSpPr>
          <p:cNvPr id="161" name="矩形 160"/>
          <p:cNvSpPr/>
          <p:nvPr/>
        </p:nvSpPr>
        <p:spPr>
          <a:xfrm>
            <a:off x="5491966" y="1103957"/>
            <a:ext cx="1887002" cy="5292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nSpc>
                <a:spcPct val="90000"/>
              </a:lnSpc>
              <a:spcAft>
                <a:spcPts val="1000"/>
              </a:spcAft>
            </a:pPr>
            <a:r>
              <a:rPr lang="zh-CN" altLang="en-US" sz="1400" b="1" dirty="0" smtClean="0">
                <a:solidFill>
                  <a:srgbClr val="FE5817"/>
                </a:solidFill>
              </a:rPr>
              <a:t>分工</a:t>
            </a:r>
            <a:r>
              <a:rPr lang="zh-CN" altLang="en-US" sz="1400" b="1" dirty="0">
                <a:solidFill>
                  <a:srgbClr val="FE5817"/>
                </a:solidFill>
              </a:rPr>
              <a:t>设计，逐步完善</a:t>
            </a:r>
            <a:endParaRPr lang="zh-CN" altLang="en-US" sz="1400" b="1" dirty="0">
              <a:solidFill>
                <a:srgbClr val="FE5817"/>
              </a:solidFill>
            </a:endParaRPr>
          </a:p>
        </p:txBody>
      </p:sp>
      <p:grpSp>
        <p:nvGrpSpPr>
          <p:cNvPr id="162" name="组合 161"/>
          <p:cNvGrpSpPr>
            <a:grpSpLocks noChangeAspect="1"/>
          </p:cNvGrpSpPr>
          <p:nvPr/>
        </p:nvGrpSpPr>
        <p:grpSpPr>
          <a:xfrm>
            <a:off x="8107858" y="834901"/>
            <a:ext cx="316396" cy="216000"/>
            <a:chOff x="2498710" y="2311467"/>
            <a:chExt cx="1748840" cy="1777866"/>
          </a:xfrm>
        </p:grpSpPr>
        <p:sp>
          <p:nvSpPr>
            <p:cNvPr id="163" name="椭圆 127"/>
            <p:cNvSpPr/>
            <p:nvPr/>
          </p:nvSpPr>
          <p:spPr>
            <a:xfrm>
              <a:off x="2644792" y="2457549"/>
              <a:ext cx="1456676" cy="1456676"/>
            </a:xfrm>
            <a:prstGeom prst="flowChartPunchedTap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200" b="1" dirty="0" smtClean="0">
                  <a:latin typeface="Arial" panose="020B0604020202020204" pitchFamily="34" charset="0"/>
                  <a:ea typeface="华文楷体" panose="02010600040101010101" charset="-122"/>
                  <a:cs typeface="Arial" panose="020B0604020202020204" pitchFamily="34" charset="0"/>
                </a:rPr>
                <a:t>4</a:t>
              </a:r>
              <a:endParaRPr lang="zh-CN" altLang="en-US" sz="1200" b="1" dirty="0">
                <a:latin typeface="Arial" panose="020B0604020202020204" pitchFamily="34" charset="0"/>
                <a:ea typeface="华文楷体" panose="02010600040101010101" charset="-122"/>
                <a:cs typeface="Arial" panose="020B0604020202020204" pitchFamily="34" charset="0"/>
              </a:endParaRPr>
            </a:p>
          </p:txBody>
        </p:sp>
        <p:sp>
          <p:nvSpPr>
            <p:cNvPr id="164" name="椭圆 128"/>
            <p:cNvSpPr/>
            <p:nvPr/>
          </p:nvSpPr>
          <p:spPr>
            <a:xfrm>
              <a:off x="2498710" y="2311467"/>
              <a:ext cx="1748840" cy="1748840"/>
            </a:xfrm>
            <a:prstGeom prst="flowChartPunchedTap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dirty="0">
                <a:latin typeface="华文楷体" panose="02010600040101010101" charset="-122"/>
                <a:ea typeface="华文楷体" panose="02010600040101010101" charset="-122"/>
              </a:endParaRPr>
            </a:p>
          </p:txBody>
        </p:sp>
        <p:sp>
          <p:nvSpPr>
            <p:cNvPr id="165" name="椭圆 164"/>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a:latin typeface="华文楷体" panose="02010600040101010101" charset="-122"/>
                <a:ea typeface="华文楷体" panose="02010600040101010101" charset="-122"/>
                <a:cs typeface="+mn-ea"/>
                <a:sym typeface="+mn-lt"/>
              </a:endParaRPr>
            </a:p>
          </p:txBody>
        </p:sp>
        <p:sp>
          <p:nvSpPr>
            <p:cNvPr id="166" name="椭圆 165"/>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200">
                <a:latin typeface="华文楷体" panose="02010600040101010101" charset="-122"/>
                <a:ea typeface="华文楷体" panose="02010600040101010101" charset="-122"/>
                <a:cs typeface="+mn-ea"/>
                <a:sym typeface="+mn-lt"/>
              </a:endParaRPr>
            </a:p>
          </p:txBody>
        </p:sp>
      </p:grpSp>
      <p:sp>
        <p:nvSpPr>
          <p:cNvPr id="167" name="矩形 166"/>
          <p:cNvSpPr/>
          <p:nvPr/>
        </p:nvSpPr>
        <p:spPr>
          <a:xfrm>
            <a:off x="8029888" y="1103957"/>
            <a:ext cx="1887002" cy="52923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nSpc>
                <a:spcPct val="90000"/>
              </a:lnSpc>
              <a:spcAft>
                <a:spcPts val="1000"/>
              </a:spcAft>
            </a:pPr>
            <a:r>
              <a:rPr lang="zh-CN" altLang="en-US" sz="1400" b="1" dirty="0" smtClean="0">
                <a:solidFill>
                  <a:srgbClr val="FE5817"/>
                </a:solidFill>
              </a:rPr>
              <a:t>梳理</a:t>
            </a:r>
            <a:r>
              <a:rPr lang="zh-CN" altLang="en-US" sz="1400" b="1" dirty="0">
                <a:solidFill>
                  <a:srgbClr val="FE5817"/>
                </a:solidFill>
              </a:rPr>
              <a:t>需求，二</a:t>
            </a:r>
            <a:r>
              <a:rPr lang="zh-CN" altLang="en-US" sz="1400" b="1" dirty="0" smtClean="0">
                <a:solidFill>
                  <a:srgbClr val="FE5817"/>
                </a:solidFill>
              </a:rPr>
              <a:t>期</a:t>
            </a:r>
            <a:r>
              <a:rPr lang="zh-CN" altLang="en-US" sz="1400" b="1" dirty="0">
                <a:solidFill>
                  <a:srgbClr val="FE5817"/>
                </a:solidFill>
              </a:rPr>
              <a:t>建设</a:t>
            </a:r>
            <a:endParaRPr lang="zh-CN" altLang="en-US" sz="1400" b="1" dirty="0">
              <a:solidFill>
                <a:srgbClr val="FE5817"/>
              </a:solidFill>
            </a:endParaRPr>
          </a:p>
        </p:txBody>
      </p:sp>
      <p:pic>
        <p:nvPicPr>
          <p:cNvPr id="168" name="图片 16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169"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内诊</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优先级分类</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26"/>
          <p:cNvSpPr>
            <a:spLocks noChangeArrowheads="1"/>
          </p:cNvSpPr>
          <p:nvPr>
            <p:custDataLst>
              <p:tags r:id="rId1"/>
            </p:custDataLst>
          </p:nvPr>
        </p:nvSpPr>
        <p:spPr bwMode="gray">
          <a:xfrm>
            <a:off x="7834214" y="2862878"/>
            <a:ext cx="1902997" cy="556439"/>
          </a:xfrm>
          <a:prstGeom prst="chevron">
            <a:avLst>
              <a:gd name="adj" fmla="val 18199"/>
            </a:avLst>
          </a:prstGeom>
          <a:solidFill>
            <a:srgbClr val="FE5817"/>
          </a:solidFill>
          <a:ln w="9525">
            <a:solidFill>
              <a:schemeClr val="bg1"/>
            </a:solidFill>
            <a:miter lim="800000"/>
          </a:ln>
          <a:effectLst/>
        </p:spPr>
        <p:txBody>
          <a:bodyPr wrap="square" lIns="270562" tIns="73472" rIns="73472" bIns="73472" anchor="ctr" anchorCtr="0">
            <a:spAutoFit/>
          </a:bodyPr>
          <a:lstStyle/>
          <a:p>
            <a:pPr defTabSz="913765">
              <a:buClr>
                <a:srgbClr val="002960"/>
              </a:buClr>
            </a:pPr>
            <a:r>
              <a:rPr lang="zh-CN" altLang="en-US" sz="1325" b="1" dirty="0" smtClean="0">
                <a:solidFill>
                  <a:schemeClr val="bg1"/>
                </a:solidFill>
                <a:latin typeface="Arial" panose="020B0604020202020204"/>
                <a:ea typeface="楷体" panose="02010609060101010101" pitchFamily="49" charset="-122"/>
                <a:cs typeface="Arial" panose="020B0604020202020204" pitchFamily="34" charset="0"/>
              </a:rPr>
              <a:t>战略实施</a:t>
            </a:r>
            <a:endParaRPr lang="en-US" altLang="zh-CN" sz="1325" b="1" dirty="0" smtClean="0">
              <a:solidFill>
                <a:schemeClr val="bg1"/>
              </a:solidFill>
              <a:latin typeface="Arial" panose="020B0604020202020204"/>
              <a:ea typeface="楷体" panose="02010609060101010101" pitchFamily="49" charset="-122"/>
              <a:cs typeface="Arial" panose="020B0604020202020204" pitchFamily="34" charset="0"/>
            </a:endParaRPr>
          </a:p>
          <a:p>
            <a:pPr defTabSz="913765">
              <a:buClr>
                <a:srgbClr val="002960"/>
              </a:buClr>
            </a:pPr>
            <a:r>
              <a:rPr lang="zh-CN" altLang="en-US" sz="1325" b="1" dirty="0" smtClean="0">
                <a:solidFill>
                  <a:schemeClr val="bg1"/>
                </a:solidFill>
                <a:latin typeface="Arial" panose="020B0604020202020204"/>
                <a:ea typeface="楷体" panose="02010609060101010101" pitchFamily="49" charset="-122"/>
                <a:cs typeface="Arial" panose="020B0604020202020204" pitchFamily="34" charset="0"/>
              </a:rPr>
              <a:t>路径图</a:t>
            </a:r>
            <a:endParaRPr lang="en-US" altLang="zh-CN" sz="1325" b="1" dirty="0" smtClean="0">
              <a:solidFill>
                <a:schemeClr val="bg1"/>
              </a:solidFill>
              <a:latin typeface="Arial" panose="020B0604020202020204"/>
              <a:ea typeface="楷体" panose="02010609060101010101" pitchFamily="49" charset="-122"/>
              <a:cs typeface="Arial" panose="020B0604020202020204" pitchFamily="34" charset="0"/>
            </a:endParaRPr>
          </a:p>
        </p:txBody>
      </p:sp>
      <p:graphicFrame>
        <p:nvGraphicFramePr>
          <p:cNvPr id="3" name="Object 2" hidden="1"/>
          <p:cNvGraphicFramePr>
            <a:graphicFrameLocks noChangeAspect="1"/>
          </p:cNvGraphicFramePr>
          <p:nvPr>
            <p:custDataLst>
              <p:tags r:id="rId2"/>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460924"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25891" y="1621"/>
                        <a:ext cx="1619" cy="1619"/>
                      </a:xfrm>
                      <a:prstGeom prst="rect">
                        <a:avLst/>
                      </a:prstGeom>
                    </p:spPr>
                  </p:pic>
                </p:oleObj>
              </mc:Fallback>
            </mc:AlternateContent>
          </a:graphicData>
        </a:graphic>
      </p:graphicFrame>
      <p:grpSp>
        <p:nvGrpSpPr>
          <p:cNvPr id="2" name="组合 1"/>
          <p:cNvGrpSpPr/>
          <p:nvPr/>
        </p:nvGrpSpPr>
        <p:grpSpPr>
          <a:xfrm>
            <a:off x="172754" y="711477"/>
            <a:ext cx="11376118" cy="5707954"/>
            <a:chOff x="800100" y="711477"/>
            <a:chExt cx="10272091" cy="5707954"/>
          </a:xfrm>
        </p:grpSpPr>
        <p:grpSp>
          <p:nvGrpSpPr>
            <p:cNvPr id="76" name="Group 75"/>
            <p:cNvGrpSpPr/>
            <p:nvPr>
              <p:custDataLst>
                <p:tags r:id="rId5"/>
              </p:custDataLst>
            </p:nvPr>
          </p:nvGrpSpPr>
          <p:grpSpPr>
            <a:xfrm>
              <a:off x="2504952" y="4995091"/>
              <a:ext cx="1829570" cy="556615"/>
              <a:chOff x="5905500" y="3124200"/>
              <a:chExt cx="1828800" cy="914400"/>
            </a:xfrm>
            <a:solidFill>
              <a:srgbClr val="FE5817"/>
            </a:solidFill>
          </p:grpSpPr>
          <p:sp>
            <p:nvSpPr>
              <p:cNvPr id="77" name="Freeform 76"/>
              <p:cNvSpPr/>
              <p:nvPr>
                <p:custDataLst>
                  <p:tags r:id="rId6"/>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rgbClr val="FE581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latin typeface="Arial" panose="020B0604020202020204"/>
                  <a:ea typeface="楷体" panose="02010609060101010101" pitchFamily="49" charset="-122"/>
                </a:endParaRPr>
              </a:p>
            </p:txBody>
          </p:sp>
          <p:sp>
            <p:nvSpPr>
              <p:cNvPr id="78" name="Rectangle 28"/>
              <p:cNvSpPr txBox="1"/>
              <p:nvPr>
                <p:custDataLst>
                  <p:tags r:id="rId7"/>
                </p:custDataLst>
              </p:nvPr>
            </p:nvSpPr>
            <p:spPr>
              <a:xfrm>
                <a:off x="5969000" y="3187700"/>
                <a:ext cx="1524000" cy="787400"/>
              </a:xfrm>
              <a:prstGeom prst="rect">
                <a:avLst/>
              </a:prstGeom>
              <a:no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noAutofit/>
              </a:bodyPr>
              <a:lstStyle>
                <a:defPPr>
                  <a:defRPr lang="en-US"/>
                </a:defPPr>
                <a:lvl1pPr marL="238125" marR="0" lvl="0" indent="0" defTabSz="895350" fontAlgn="auto">
                  <a:lnSpc>
                    <a:spcPct val="100000"/>
                  </a:lnSpc>
                  <a:spcBef>
                    <a:spcPts val="0"/>
                  </a:spcBef>
                  <a:spcAft>
                    <a:spcPts val="0"/>
                  </a:spcAft>
                  <a:buClr>
                    <a:srgbClr val="002960"/>
                  </a:buClr>
                  <a:buSzTx/>
                  <a:buFontTx/>
                  <a:buNone/>
                  <a:defRPr kumimoji="0" sz="1325" b="1" i="0" u="none" strike="noStrike" cap="none" spc="0" normalizeH="0" baseline="0">
                    <a:ln>
                      <a:noFill/>
                    </a:ln>
                    <a:solidFill>
                      <a:schemeClr val="bg1"/>
                    </a:solidFill>
                    <a:effectLst/>
                    <a:uLnTx/>
                    <a:uFillTx/>
                    <a:latin typeface="Arial" panose="020B0604020202020204"/>
                    <a:ea typeface="楷体" panose="02010609060101010101" pitchFamily="49" charset="-122"/>
                  </a:defRPr>
                </a:lvl1pPr>
                <a:lvl2pPr marL="193675" lvl="1" indent="-192405" defTabSz="895350">
                  <a:buClr>
                    <a:schemeClr val="tx2"/>
                  </a:buClr>
                  <a:buSzPct val="125000"/>
                  <a:buFont typeface="Arial" panose="020B0604020202020204" pitchFamily="34" charset="0"/>
                  <a:buChar char="▪"/>
                  <a:defRPr baseline="0"/>
                </a:lvl2pPr>
                <a:lvl3pPr marL="457200" lvl="2" indent="-262255" defTabSz="895350">
                  <a:buClr>
                    <a:schemeClr val="tx2"/>
                  </a:buClr>
                  <a:buSzPct val="120000"/>
                  <a:buFont typeface="Arial" panose="020B0604020202020204" pitchFamily="34" charset="0"/>
                  <a:buChar char="–"/>
                  <a:defRPr baseline="0"/>
                </a:lvl3pPr>
                <a:lvl4pPr marL="614680" lvl="3" indent="-155575" defTabSz="895350">
                  <a:buClr>
                    <a:schemeClr val="tx2"/>
                  </a:buClr>
                  <a:buSzPct val="120000"/>
                  <a:buFont typeface="Arial" panose="020B0604020202020204" pitchFamily="34" charset="0"/>
                  <a:buChar char="▫"/>
                  <a:defRPr baseline="0"/>
                </a:lvl4pPr>
                <a:lvl5pPr marL="749935" lvl="4" indent="-130175" defTabSz="895350">
                  <a:buClr>
                    <a:schemeClr val="tx2"/>
                  </a:buClr>
                  <a:buSzPct val="89000"/>
                  <a:buFont typeface="Arial" panose="020B0604020202020204" pitchFamily="34" charset="0"/>
                  <a:buChar char="-"/>
                  <a:defRPr baseline="0"/>
                </a:lvl5pPr>
                <a:lvl6pPr marL="749935" indent="-130175" defTabSz="895350" fontAlgn="base">
                  <a:spcBef>
                    <a:spcPct val="0"/>
                  </a:spcBef>
                  <a:spcAft>
                    <a:spcPct val="0"/>
                  </a:spcAft>
                  <a:buClr>
                    <a:schemeClr val="tx2"/>
                  </a:buClr>
                  <a:buSzPct val="89000"/>
                  <a:buFont typeface="Arial" panose="020B0604020202020204" pitchFamily="34" charset="0"/>
                  <a:buChar char="-"/>
                </a:lvl6pPr>
                <a:lvl7pPr marL="749935" indent="-130175" defTabSz="895350" fontAlgn="base">
                  <a:spcBef>
                    <a:spcPct val="0"/>
                  </a:spcBef>
                  <a:spcAft>
                    <a:spcPct val="0"/>
                  </a:spcAft>
                  <a:buClr>
                    <a:schemeClr val="tx2"/>
                  </a:buClr>
                  <a:buSzPct val="89000"/>
                  <a:buFont typeface="Arial" panose="020B0604020202020204" pitchFamily="34" charset="0"/>
                  <a:buChar char="-"/>
                </a:lvl7pPr>
                <a:lvl8pPr marL="749935" indent="-130175" defTabSz="895350" fontAlgn="base">
                  <a:spcBef>
                    <a:spcPct val="0"/>
                  </a:spcBef>
                  <a:spcAft>
                    <a:spcPct val="0"/>
                  </a:spcAft>
                  <a:buClr>
                    <a:schemeClr val="tx2"/>
                  </a:buClr>
                  <a:buSzPct val="89000"/>
                  <a:buFont typeface="Arial" panose="020B0604020202020204" pitchFamily="34" charset="0"/>
                  <a:buChar char="-"/>
                </a:lvl8pPr>
                <a:lvl9pPr marL="749935" indent="-130175" defTabSz="895350" fontAlgn="base">
                  <a:spcBef>
                    <a:spcPct val="0"/>
                  </a:spcBef>
                  <a:spcAft>
                    <a:spcPct val="0"/>
                  </a:spcAft>
                  <a:buClr>
                    <a:schemeClr val="tx2"/>
                  </a:buClr>
                  <a:buSzPct val="89000"/>
                  <a:buFont typeface="Arial" panose="020B0604020202020204" pitchFamily="34" charset="0"/>
                  <a:buChar char="-"/>
                </a:lvl9pPr>
              </a:lstStyle>
              <a:p>
                <a:r>
                  <a:rPr lang="zh-CN" altLang="en-US" dirty="0"/>
                  <a:t>内部情况诊断</a:t>
                </a:r>
                <a:endParaRPr lang="en-US" dirty="0"/>
              </a:p>
            </p:txBody>
          </p:sp>
        </p:grpSp>
        <p:grpSp>
          <p:nvGrpSpPr>
            <p:cNvPr id="73" name="Group 72"/>
            <p:cNvGrpSpPr/>
            <p:nvPr>
              <p:custDataLst>
                <p:tags r:id="rId8"/>
              </p:custDataLst>
            </p:nvPr>
          </p:nvGrpSpPr>
          <p:grpSpPr>
            <a:xfrm>
              <a:off x="2560250" y="711477"/>
              <a:ext cx="1829570" cy="556615"/>
              <a:chOff x="5905500" y="3124200"/>
              <a:chExt cx="1828800" cy="914400"/>
            </a:xfrm>
            <a:solidFill>
              <a:srgbClr val="FE5817"/>
            </a:solidFill>
          </p:grpSpPr>
          <p:sp>
            <p:nvSpPr>
              <p:cNvPr id="74" name="Freeform 73"/>
              <p:cNvSpPr/>
              <p:nvPr>
                <p:custDataLst>
                  <p:tags r:id="rId9"/>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rgbClr val="FE581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latin typeface="Arial" panose="020B0604020202020204"/>
                  <a:ea typeface="楷体" panose="02010609060101010101" pitchFamily="49" charset="-122"/>
                </a:endParaRPr>
              </a:p>
            </p:txBody>
          </p:sp>
          <p:sp>
            <p:nvSpPr>
              <p:cNvPr id="75" name="Rectangle 28"/>
              <p:cNvSpPr txBox="1"/>
              <p:nvPr>
                <p:custDataLst>
                  <p:tags r:id="rId10"/>
                </p:custDataLst>
              </p:nvPr>
            </p:nvSpPr>
            <p:spPr>
              <a:xfrm>
                <a:off x="5969000" y="3187700"/>
                <a:ext cx="1524000" cy="787400"/>
              </a:xfrm>
              <a:prstGeom prst="rect">
                <a:avLst/>
              </a:prstGeom>
              <a:no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noAutofit/>
              </a:bodyPr>
              <a:lstStyle>
                <a:defPPr>
                  <a:defRPr lang="en-US"/>
                </a:defPPr>
                <a:lvl1pPr marL="238125" marR="0" lvl="0" indent="0" defTabSz="895350" fontAlgn="auto">
                  <a:lnSpc>
                    <a:spcPct val="100000"/>
                  </a:lnSpc>
                  <a:spcBef>
                    <a:spcPts val="0"/>
                  </a:spcBef>
                  <a:spcAft>
                    <a:spcPts val="0"/>
                  </a:spcAft>
                  <a:buClr>
                    <a:srgbClr val="002960"/>
                  </a:buClr>
                  <a:buSzTx/>
                  <a:buFontTx/>
                  <a:buNone/>
                  <a:defRPr kumimoji="0" sz="1325" b="1" i="0" u="none" strike="noStrike" cap="none" spc="0" normalizeH="0" baseline="0">
                    <a:ln>
                      <a:noFill/>
                    </a:ln>
                    <a:solidFill>
                      <a:schemeClr val="bg1"/>
                    </a:solidFill>
                    <a:effectLst/>
                    <a:uLnTx/>
                    <a:uFillTx/>
                    <a:latin typeface="Arial" panose="020B0604020202020204"/>
                    <a:ea typeface="楷体" panose="02010609060101010101" pitchFamily="49" charset="-122"/>
                  </a:defRPr>
                </a:lvl1pPr>
                <a:lvl2pPr marL="193675" lvl="1" indent="-192405" defTabSz="895350">
                  <a:buClr>
                    <a:schemeClr val="tx2"/>
                  </a:buClr>
                  <a:buSzPct val="125000"/>
                  <a:buFont typeface="Arial" panose="020B0604020202020204" pitchFamily="34" charset="0"/>
                  <a:buChar char="▪"/>
                  <a:defRPr baseline="0"/>
                </a:lvl2pPr>
                <a:lvl3pPr marL="457200" lvl="2" indent="-262255" defTabSz="895350">
                  <a:buClr>
                    <a:schemeClr val="tx2"/>
                  </a:buClr>
                  <a:buSzPct val="120000"/>
                  <a:buFont typeface="Arial" panose="020B0604020202020204" pitchFamily="34" charset="0"/>
                  <a:buChar char="–"/>
                  <a:defRPr baseline="0"/>
                </a:lvl3pPr>
                <a:lvl4pPr marL="614680" lvl="3" indent="-155575" defTabSz="895350">
                  <a:buClr>
                    <a:schemeClr val="tx2"/>
                  </a:buClr>
                  <a:buSzPct val="120000"/>
                  <a:buFont typeface="Arial" panose="020B0604020202020204" pitchFamily="34" charset="0"/>
                  <a:buChar char="▫"/>
                  <a:defRPr baseline="0"/>
                </a:lvl4pPr>
                <a:lvl5pPr marL="749935" lvl="4" indent="-130175" defTabSz="895350">
                  <a:buClr>
                    <a:schemeClr val="tx2"/>
                  </a:buClr>
                  <a:buSzPct val="89000"/>
                  <a:buFont typeface="Arial" panose="020B0604020202020204" pitchFamily="34" charset="0"/>
                  <a:buChar char="-"/>
                  <a:defRPr baseline="0"/>
                </a:lvl5pPr>
                <a:lvl6pPr marL="749935" indent="-130175" defTabSz="895350" fontAlgn="base">
                  <a:spcBef>
                    <a:spcPct val="0"/>
                  </a:spcBef>
                  <a:spcAft>
                    <a:spcPct val="0"/>
                  </a:spcAft>
                  <a:buClr>
                    <a:schemeClr val="tx2"/>
                  </a:buClr>
                  <a:buSzPct val="89000"/>
                  <a:buFont typeface="Arial" panose="020B0604020202020204" pitchFamily="34" charset="0"/>
                  <a:buChar char="-"/>
                </a:lvl6pPr>
                <a:lvl7pPr marL="749935" indent="-130175" defTabSz="895350" fontAlgn="base">
                  <a:spcBef>
                    <a:spcPct val="0"/>
                  </a:spcBef>
                  <a:spcAft>
                    <a:spcPct val="0"/>
                  </a:spcAft>
                  <a:buClr>
                    <a:schemeClr val="tx2"/>
                  </a:buClr>
                  <a:buSzPct val="89000"/>
                  <a:buFont typeface="Arial" panose="020B0604020202020204" pitchFamily="34" charset="0"/>
                  <a:buChar char="-"/>
                </a:lvl7pPr>
                <a:lvl8pPr marL="749935" indent="-130175" defTabSz="895350" fontAlgn="base">
                  <a:spcBef>
                    <a:spcPct val="0"/>
                  </a:spcBef>
                  <a:spcAft>
                    <a:spcPct val="0"/>
                  </a:spcAft>
                  <a:buClr>
                    <a:schemeClr val="tx2"/>
                  </a:buClr>
                  <a:buSzPct val="89000"/>
                  <a:buFont typeface="Arial" panose="020B0604020202020204" pitchFamily="34" charset="0"/>
                  <a:buChar char="-"/>
                </a:lvl8pPr>
                <a:lvl9pPr marL="749935" indent="-130175" defTabSz="895350" fontAlgn="base">
                  <a:spcBef>
                    <a:spcPct val="0"/>
                  </a:spcBef>
                  <a:spcAft>
                    <a:spcPct val="0"/>
                  </a:spcAft>
                  <a:buClr>
                    <a:schemeClr val="tx2"/>
                  </a:buClr>
                  <a:buSzPct val="89000"/>
                  <a:buFont typeface="Arial" panose="020B0604020202020204" pitchFamily="34" charset="0"/>
                  <a:buChar char="-"/>
                </a:lvl9pPr>
              </a:lstStyle>
              <a:p>
                <a:r>
                  <a:rPr lang="zh-CN" altLang="en-US" dirty="0"/>
                  <a:t>行业分析</a:t>
                </a:r>
                <a:endParaRPr lang="en-US" dirty="0"/>
              </a:p>
            </p:txBody>
          </p:sp>
        </p:grpSp>
        <p:grpSp>
          <p:nvGrpSpPr>
            <p:cNvPr id="66" name="Group 65"/>
            <p:cNvGrpSpPr/>
            <p:nvPr>
              <p:custDataLst>
                <p:tags r:id="rId11"/>
              </p:custDataLst>
            </p:nvPr>
          </p:nvGrpSpPr>
          <p:grpSpPr>
            <a:xfrm>
              <a:off x="2504952" y="2861703"/>
              <a:ext cx="1829570" cy="556615"/>
              <a:chOff x="5905500" y="3124200"/>
              <a:chExt cx="1828800" cy="914400"/>
            </a:xfrm>
            <a:solidFill>
              <a:srgbClr val="FE5817"/>
            </a:solidFill>
          </p:grpSpPr>
          <p:sp>
            <p:nvSpPr>
              <p:cNvPr id="68" name="Freeform 67"/>
              <p:cNvSpPr/>
              <p:nvPr>
                <p:custDataLst>
                  <p:tags r:id="rId12"/>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rgbClr val="FE581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latin typeface="Arial" panose="020B0604020202020204"/>
                  <a:ea typeface="楷体" panose="02010609060101010101" pitchFamily="49" charset="-122"/>
                </a:endParaRPr>
              </a:p>
            </p:txBody>
          </p:sp>
          <p:sp>
            <p:nvSpPr>
              <p:cNvPr id="72" name="Rectangle 28"/>
              <p:cNvSpPr txBox="1"/>
              <p:nvPr>
                <p:custDataLst>
                  <p:tags r:id="rId13"/>
                </p:custDataLst>
              </p:nvPr>
            </p:nvSpPr>
            <p:spPr>
              <a:xfrm>
                <a:off x="5969000" y="3187700"/>
                <a:ext cx="1524000" cy="787400"/>
              </a:xfrm>
              <a:prstGeom prst="rect">
                <a:avLst/>
              </a:prstGeom>
              <a:no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noAutofit/>
              </a:bodyPr>
              <a:lstStyle>
                <a:defPPr>
                  <a:defRPr lang="en-US"/>
                </a:defPPr>
                <a:lvl1pPr marL="238125" marR="0" lvl="0" indent="0" defTabSz="895350" fontAlgn="auto">
                  <a:lnSpc>
                    <a:spcPct val="100000"/>
                  </a:lnSpc>
                  <a:spcBef>
                    <a:spcPts val="0"/>
                  </a:spcBef>
                  <a:spcAft>
                    <a:spcPts val="0"/>
                  </a:spcAft>
                  <a:buClr>
                    <a:srgbClr val="002960"/>
                  </a:buClr>
                  <a:buSzTx/>
                  <a:buFontTx/>
                  <a:buNone/>
                  <a:defRPr kumimoji="0" sz="1325" b="1" i="0" u="none" strike="noStrike" cap="none" spc="0" normalizeH="0" baseline="0">
                    <a:ln>
                      <a:noFill/>
                    </a:ln>
                    <a:solidFill>
                      <a:schemeClr val="bg1"/>
                    </a:solidFill>
                    <a:effectLst/>
                    <a:uLnTx/>
                    <a:uFillTx/>
                    <a:latin typeface="Arial" panose="020B0604020202020204"/>
                    <a:ea typeface="楷体" panose="02010609060101010101" pitchFamily="49" charset="-122"/>
                  </a:defRPr>
                </a:lvl1pPr>
                <a:lvl2pPr marL="193675" lvl="1" indent="-192405" defTabSz="895350">
                  <a:buClr>
                    <a:schemeClr val="tx2"/>
                  </a:buClr>
                  <a:buSzPct val="125000"/>
                  <a:buFont typeface="Arial" panose="020B0604020202020204" pitchFamily="34" charset="0"/>
                  <a:buChar char="▪"/>
                  <a:defRPr baseline="0"/>
                </a:lvl2pPr>
                <a:lvl3pPr marL="457200" lvl="2" indent="-262255" defTabSz="895350">
                  <a:buClr>
                    <a:schemeClr val="tx2"/>
                  </a:buClr>
                  <a:buSzPct val="120000"/>
                  <a:buFont typeface="Arial" panose="020B0604020202020204" pitchFamily="34" charset="0"/>
                  <a:buChar char="–"/>
                  <a:defRPr baseline="0"/>
                </a:lvl3pPr>
                <a:lvl4pPr marL="614680" lvl="3" indent="-155575" defTabSz="895350">
                  <a:buClr>
                    <a:schemeClr val="tx2"/>
                  </a:buClr>
                  <a:buSzPct val="120000"/>
                  <a:buFont typeface="Arial" panose="020B0604020202020204" pitchFamily="34" charset="0"/>
                  <a:buChar char="▫"/>
                  <a:defRPr baseline="0"/>
                </a:lvl4pPr>
                <a:lvl5pPr marL="749935" lvl="4" indent="-130175" defTabSz="895350">
                  <a:buClr>
                    <a:schemeClr val="tx2"/>
                  </a:buClr>
                  <a:buSzPct val="89000"/>
                  <a:buFont typeface="Arial" panose="020B0604020202020204" pitchFamily="34" charset="0"/>
                  <a:buChar char="-"/>
                  <a:defRPr baseline="0"/>
                </a:lvl5pPr>
                <a:lvl6pPr marL="749935" indent="-130175" defTabSz="895350" fontAlgn="base">
                  <a:spcBef>
                    <a:spcPct val="0"/>
                  </a:spcBef>
                  <a:spcAft>
                    <a:spcPct val="0"/>
                  </a:spcAft>
                  <a:buClr>
                    <a:schemeClr val="tx2"/>
                  </a:buClr>
                  <a:buSzPct val="89000"/>
                  <a:buFont typeface="Arial" panose="020B0604020202020204" pitchFamily="34" charset="0"/>
                  <a:buChar char="-"/>
                </a:lvl6pPr>
                <a:lvl7pPr marL="749935" indent="-130175" defTabSz="895350" fontAlgn="base">
                  <a:spcBef>
                    <a:spcPct val="0"/>
                  </a:spcBef>
                  <a:spcAft>
                    <a:spcPct val="0"/>
                  </a:spcAft>
                  <a:buClr>
                    <a:schemeClr val="tx2"/>
                  </a:buClr>
                  <a:buSzPct val="89000"/>
                  <a:buFont typeface="Arial" panose="020B0604020202020204" pitchFamily="34" charset="0"/>
                  <a:buChar char="-"/>
                </a:lvl7pPr>
                <a:lvl8pPr marL="749935" indent="-130175" defTabSz="895350" fontAlgn="base">
                  <a:spcBef>
                    <a:spcPct val="0"/>
                  </a:spcBef>
                  <a:spcAft>
                    <a:spcPct val="0"/>
                  </a:spcAft>
                  <a:buClr>
                    <a:schemeClr val="tx2"/>
                  </a:buClr>
                  <a:buSzPct val="89000"/>
                  <a:buFont typeface="Arial" panose="020B0604020202020204" pitchFamily="34" charset="0"/>
                  <a:buChar char="-"/>
                </a:lvl8pPr>
                <a:lvl9pPr marL="749935" indent="-130175" defTabSz="895350" fontAlgn="base">
                  <a:spcBef>
                    <a:spcPct val="0"/>
                  </a:spcBef>
                  <a:spcAft>
                    <a:spcPct val="0"/>
                  </a:spcAft>
                  <a:buClr>
                    <a:schemeClr val="tx2"/>
                  </a:buClr>
                  <a:buSzPct val="89000"/>
                  <a:buFont typeface="Arial" panose="020B0604020202020204" pitchFamily="34" charset="0"/>
                  <a:buChar char="-"/>
                </a:lvl9pPr>
              </a:lstStyle>
              <a:p>
                <a:r>
                  <a:rPr lang="zh-CN" altLang="en-US" dirty="0"/>
                  <a:t>竞争对手分析</a:t>
                </a:r>
                <a:endParaRPr lang="en-US" dirty="0"/>
              </a:p>
            </p:txBody>
          </p:sp>
        </p:grpSp>
        <p:sp>
          <p:nvSpPr>
            <p:cNvPr id="67" name="Rectangle 19"/>
            <p:cNvSpPr>
              <a:spLocks noChangeArrowheads="1"/>
            </p:cNvSpPr>
            <p:nvPr/>
          </p:nvSpPr>
          <p:spPr bwMode="gray">
            <a:xfrm>
              <a:off x="9635374" y="3457145"/>
              <a:ext cx="1329419" cy="1040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78435" marR="0" lvl="1" indent="-176530" algn="l" defTabSz="803275" rtl="0" eaLnBrk="1" fontAlgn="auto" latinLnBrk="0" hangingPunct="1">
                <a:lnSpc>
                  <a:spcPct val="100000"/>
                </a:lnSpc>
                <a:spcBef>
                  <a:spcPts val="0"/>
                </a:spcBef>
                <a:spcAft>
                  <a:spcPts val="0"/>
                </a:spcAft>
                <a:buClr>
                  <a:srgbClr val="002960"/>
                </a:buClr>
                <a:buSzPct val="125000"/>
                <a:buFont typeface="Arial" panose="020B0604020202020204" pitchFamily="34" charset="0"/>
                <a:buChar char="▪"/>
                <a:defRPr/>
              </a:pPr>
              <a:r>
                <a:rPr kumimoji="0" lang="zh-CN" altLang="en-US"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如何跟踪战略举措是否有效落实？</a:t>
              </a:r>
              <a:endParaRPr kumimoji="0" lang="en-GB"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定期汇报模板</a:t>
              </a:r>
              <a:endParaRPr kumimoji="0" lang="en-GB"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p:txBody>
        </p:sp>
        <p:sp>
          <p:nvSpPr>
            <p:cNvPr id="70" name="Rectangle 26"/>
            <p:cNvSpPr>
              <a:spLocks noChangeArrowheads="1"/>
            </p:cNvSpPr>
            <p:nvPr>
              <p:custDataLst>
                <p:tags r:id="rId14"/>
              </p:custDataLst>
            </p:nvPr>
          </p:nvSpPr>
          <p:spPr bwMode="gray">
            <a:xfrm>
              <a:off x="9353876" y="2857649"/>
              <a:ext cx="1718315" cy="564727"/>
            </a:xfrm>
            <a:prstGeom prst="chevron">
              <a:avLst>
                <a:gd name="adj" fmla="val 18199"/>
              </a:avLst>
            </a:prstGeom>
            <a:solidFill>
              <a:srgbClr val="FE5817"/>
            </a:solidFill>
            <a:ln w="9525">
              <a:solidFill>
                <a:schemeClr val="bg1"/>
              </a:solidFill>
              <a:miter lim="800000"/>
            </a:ln>
            <a:effectLst/>
          </p:spPr>
          <p:txBody>
            <a:bodyPr wrap="square" lIns="270562" tIns="73472" rIns="73472" bIns="73472" anchor="ctr" anchorCtr="0">
              <a:spAutoFit/>
            </a:bodyPr>
            <a:lstStyle/>
            <a:p>
              <a:pPr defTabSz="913765">
                <a:buClr>
                  <a:srgbClr val="002960"/>
                </a:buClr>
              </a:pPr>
              <a:r>
                <a:rPr lang="zh-CN" altLang="en-US" sz="1325" b="1" dirty="0">
                  <a:solidFill>
                    <a:schemeClr val="bg1"/>
                  </a:solidFill>
                  <a:latin typeface="Arial" panose="020B0604020202020204"/>
                  <a:ea typeface="楷体" panose="02010609060101010101" pitchFamily="49" charset="-122"/>
                  <a:cs typeface="Arial" panose="020B0604020202020204" pitchFamily="34" charset="0"/>
                </a:rPr>
                <a:t>战略实施</a:t>
              </a:r>
              <a:br>
                <a:rPr lang="en-US" altLang="zh-CN" sz="1325" b="1" dirty="0">
                  <a:solidFill>
                    <a:schemeClr val="bg1"/>
                  </a:solidFill>
                  <a:latin typeface="Arial" panose="020B0604020202020204"/>
                  <a:ea typeface="楷体" panose="02010609060101010101" pitchFamily="49" charset="-122"/>
                  <a:cs typeface="Arial" panose="020B0604020202020204" pitchFamily="34" charset="0"/>
                </a:rPr>
              </a:br>
              <a:r>
                <a:rPr lang="zh-CN" altLang="en-US" sz="1325" b="1" dirty="0">
                  <a:solidFill>
                    <a:schemeClr val="bg1"/>
                  </a:solidFill>
                  <a:latin typeface="Arial" panose="020B0604020202020204"/>
                  <a:ea typeface="楷体" panose="02010609060101010101" pitchFamily="49" charset="-122"/>
                  <a:cs typeface="Arial" panose="020B0604020202020204" pitchFamily="34" charset="0"/>
                </a:rPr>
                <a:t>管理</a:t>
              </a:r>
              <a:endParaRPr lang="zh-CN" altLang="en-US" sz="1325" b="1" dirty="0">
                <a:solidFill>
                  <a:schemeClr val="bg1"/>
                </a:solidFill>
                <a:latin typeface="Arial" panose="020B0604020202020204"/>
                <a:ea typeface="楷体" panose="02010609060101010101" pitchFamily="49" charset="-122"/>
                <a:cs typeface="Arial" panose="020B0604020202020204" pitchFamily="34" charset="0"/>
              </a:endParaRPr>
            </a:p>
          </p:txBody>
        </p:sp>
        <p:sp>
          <p:nvSpPr>
            <p:cNvPr id="58" name="Rectangle 19"/>
            <p:cNvSpPr>
              <a:spLocks noChangeArrowheads="1"/>
            </p:cNvSpPr>
            <p:nvPr/>
          </p:nvSpPr>
          <p:spPr bwMode="gray">
            <a:xfrm>
              <a:off x="7797642" y="3457145"/>
              <a:ext cx="1556233" cy="1040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78435" marR="0" lvl="1" indent="-176530" algn="l" defTabSz="803275" rtl="0" eaLnBrk="1" fontAlgn="auto" latinLnBrk="0" hangingPunct="1">
                <a:lnSpc>
                  <a:spcPct val="100000"/>
                </a:lnSpc>
                <a:spcBef>
                  <a:spcPts val="0"/>
                </a:spcBef>
                <a:spcAft>
                  <a:spcPts val="0"/>
                </a:spcAft>
                <a:buClr>
                  <a:srgbClr val="002960"/>
                </a:buClr>
                <a:buSzPct val="125000"/>
                <a:buFont typeface="Arial" panose="020B0604020202020204" pitchFamily="34" charset="0"/>
                <a:buChar char="▪"/>
                <a:defRPr/>
              </a:pPr>
              <a:r>
                <a:rPr kumimoji="0" lang="zh-CN" altLang="en-US"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如何将战略举措落地？</a:t>
              </a:r>
              <a:endParaRPr kumimoji="0" lang="en-GB"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分阶段实施</a:t>
              </a:r>
              <a:endPar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甘特图</a:t>
              </a:r>
              <a:endPar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进度追踪图</a:t>
              </a:r>
              <a:endParaRPr kumimoji="0" lang="en-GB"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p:txBody>
        </p:sp>
        <p:sp>
          <p:nvSpPr>
            <p:cNvPr id="53" name="Rectangle 19"/>
            <p:cNvSpPr>
              <a:spLocks noChangeArrowheads="1"/>
            </p:cNvSpPr>
            <p:nvPr/>
          </p:nvSpPr>
          <p:spPr bwMode="gray">
            <a:xfrm>
              <a:off x="6145416" y="3457146"/>
              <a:ext cx="1482505" cy="1249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78435" marR="0" lvl="1" indent="-176530" algn="l" defTabSz="803275" rtl="0" eaLnBrk="1" fontAlgn="auto" latinLnBrk="0" hangingPunct="1">
                <a:lnSpc>
                  <a:spcPct val="100000"/>
                </a:lnSpc>
                <a:spcBef>
                  <a:spcPts val="0"/>
                </a:spcBef>
                <a:spcAft>
                  <a:spcPts val="0"/>
                </a:spcAft>
                <a:buClr>
                  <a:srgbClr val="002960"/>
                </a:buClr>
                <a:buSzPct val="125000"/>
                <a:buFont typeface="Arial" panose="020B0604020202020204" pitchFamily="34" charset="0"/>
                <a:buChar char="▪"/>
                <a:defRPr/>
              </a:pPr>
              <a:r>
                <a:rPr kumimoji="0" lang="zh-CN" altLang="en-US"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如何筛选最重要的战略举措，并对其进行优先排序？</a:t>
              </a:r>
              <a:endParaRPr kumimoji="0" lang="en-GB"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多层筛选</a:t>
              </a:r>
              <a:endPar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二维图排序</a:t>
              </a:r>
              <a:endParaRPr kumimoji="0" lang="en-GB"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p:txBody>
        </p:sp>
        <p:sp>
          <p:nvSpPr>
            <p:cNvPr id="56" name="Rectangle 26"/>
            <p:cNvSpPr>
              <a:spLocks noChangeArrowheads="1"/>
            </p:cNvSpPr>
            <p:nvPr>
              <p:custDataLst>
                <p:tags r:id="rId15"/>
              </p:custDataLst>
            </p:nvPr>
          </p:nvSpPr>
          <p:spPr bwMode="gray">
            <a:xfrm>
              <a:off x="6069747" y="2857649"/>
              <a:ext cx="1718315" cy="564727"/>
            </a:xfrm>
            <a:prstGeom prst="chevron">
              <a:avLst>
                <a:gd name="adj" fmla="val 18199"/>
              </a:avLst>
            </a:prstGeom>
            <a:solidFill>
              <a:srgbClr val="FE5817"/>
            </a:solidFill>
            <a:ln w="9525">
              <a:solidFill>
                <a:schemeClr val="bg1"/>
              </a:solidFill>
              <a:miter lim="800000"/>
            </a:ln>
            <a:effectLst/>
          </p:spPr>
          <p:txBody>
            <a:bodyPr wrap="square" lIns="270562" tIns="73472" rIns="73472" bIns="73472" anchor="ctr" anchorCtr="0">
              <a:spAutoFit/>
            </a:bodyPr>
            <a:lstStyle/>
            <a:p>
              <a:pPr defTabSz="913765">
                <a:buClr>
                  <a:srgbClr val="002960"/>
                </a:buClr>
              </a:pPr>
              <a:r>
                <a:rPr lang="zh-CN" altLang="en-US" sz="1325" b="1" dirty="0">
                  <a:solidFill>
                    <a:schemeClr val="bg1"/>
                  </a:solidFill>
                  <a:latin typeface="Arial" panose="020B0604020202020204"/>
                  <a:ea typeface="楷体" panose="02010609060101010101" pitchFamily="49" charset="-122"/>
                  <a:cs typeface="Arial" panose="020B0604020202020204" pitchFamily="34" charset="0"/>
                </a:rPr>
                <a:t>战略举措筛选与排序</a:t>
              </a:r>
              <a:endParaRPr lang="zh-CN" altLang="en-US" sz="1325" b="1" dirty="0">
                <a:solidFill>
                  <a:schemeClr val="bg1"/>
                </a:solidFill>
                <a:latin typeface="Arial" panose="020B0604020202020204"/>
                <a:ea typeface="楷体" panose="02010609060101010101" pitchFamily="49" charset="-122"/>
                <a:cs typeface="Arial" panose="020B0604020202020204" pitchFamily="34" charset="0"/>
              </a:endParaRPr>
            </a:p>
          </p:txBody>
        </p:sp>
        <p:sp>
          <p:nvSpPr>
            <p:cNvPr id="62" name="Oval 36"/>
            <p:cNvSpPr>
              <a:spLocks noChangeArrowheads="1"/>
            </p:cNvSpPr>
            <p:nvPr/>
          </p:nvSpPr>
          <p:spPr bwMode="auto">
            <a:xfrm>
              <a:off x="7820545" y="3028055"/>
              <a:ext cx="195038" cy="216000"/>
            </a:xfrm>
            <a:prstGeom prst="ellipse">
              <a:avLst/>
            </a:prstGeom>
            <a:solidFill>
              <a:srgbClr val="FE5817"/>
            </a:solidFill>
            <a:ln w="9525">
              <a:solidFill>
                <a:schemeClr val="bg1"/>
              </a:solidFill>
              <a:round/>
            </a:ln>
            <a:effectLst/>
          </p:spPr>
          <p:txBody>
            <a:bodyPr wrap="none" anchor="ctr"/>
            <a:lstStyle/>
            <a:p>
              <a:pPr algn="ctr">
                <a:defRPr/>
              </a:pPr>
              <a:r>
                <a:rPr lang="en-GB" sz="1325" b="1" dirty="0">
                  <a:solidFill>
                    <a:schemeClr val="bg1"/>
                  </a:solidFill>
                  <a:latin typeface="Arial" panose="020B0604020202020204"/>
                  <a:ea typeface="楷体" panose="02010609060101010101" pitchFamily="49" charset="-122"/>
                </a:rPr>
                <a:t>7</a:t>
              </a:r>
              <a:endParaRPr lang="en-US" sz="1325" b="1" dirty="0">
                <a:solidFill>
                  <a:schemeClr val="bg1"/>
                </a:solidFill>
                <a:latin typeface="Arial" panose="020B0604020202020204"/>
                <a:ea typeface="楷体" panose="02010609060101010101" pitchFamily="49" charset="-122"/>
              </a:endParaRPr>
            </a:p>
          </p:txBody>
        </p:sp>
        <p:sp>
          <p:nvSpPr>
            <p:cNvPr id="48" name="Rectangle 19"/>
            <p:cNvSpPr>
              <a:spLocks noChangeArrowheads="1"/>
            </p:cNvSpPr>
            <p:nvPr/>
          </p:nvSpPr>
          <p:spPr bwMode="gray">
            <a:xfrm>
              <a:off x="4608828" y="3457146"/>
              <a:ext cx="1329419" cy="1457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78435" marR="0" lvl="1" indent="-176530" algn="l" defTabSz="803275" rtl="0" eaLnBrk="1" fontAlgn="auto" latinLnBrk="0" hangingPunct="1">
                <a:lnSpc>
                  <a:spcPct val="100000"/>
                </a:lnSpc>
                <a:spcBef>
                  <a:spcPts val="0"/>
                </a:spcBef>
                <a:spcAft>
                  <a:spcPts val="0"/>
                </a:spcAft>
                <a:buClr>
                  <a:srgbClr val="002960"/>
                </a:buClr>
                <a:buSzPct val="125000"/>
                <a:buFont typeface="Arial" panose="020B0604020202020204" pitchFamily="34" charset="0"/>
                <a:buChar char="▪"/>
                <a:defRPr/>
              </a:pPr>
              <a:r>
                <a:rPr kumimoji="0" lang="zh-CN" altLang="en-US"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战略愿景是什么？哪些举措可以帮助我们实现该战略愿景？</a:t>
              </a:r>
              <a:endParaRPr kumimoji="0" lang="en-GB"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战略愿景</a:t>
              </a:r>
              <a:endPar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举措制定</a:t>
              </a:r>
              <a:endParaRPr kumimoji="0" lang="en-GB"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p:txBody>
        </p:sp>
        <p:sp>
          <p:nvSpPr>
            <p:cNvPr id="51" name="Rectangle 26"/>
            <p:cNvSpPr>
              <a:spLocks noChangeArrowheads="1"/>
            </p:cNvSpPr>
            <p:nvPr>
              <p:custDataLst>
                <p:tags r:id="rId16"/>
              </p:custDataLst>
            </p:nvPr>
          </p:nvSpPr>
          <p:spPr bwMode="gray">
            <a:xfrm>
              <a:off x="4566999" y="2857649"/>
              <a:ext cx="1585441" cy="564727"/>
            </a:xfrm>
            <a:prstGeom prst="homePlate">
              <a:avLst>
                <a:gd name="adj" fmla="val 18199"/>
              </a:avLst>
            </a:prstGeom>
            <a:solidFill>
              <a:srgbClr val="FE5817"/>
            </a:solidFill>
            <a:ln w="9525">
              <a:solidFill>
                <a:schemeClr val="bg1"/>
              </a:solidFill>
              <a:miter lim="800000"/>
            </a:ln>
            <a:effectLst/>
          </p:spPr>
          <p:txBody>
            <a:bodyPr wrap="square" lIns="270562" tIns="73472" rIns="73472" bIns="73472" anchor="ctr" anchorCtr="0">
              <a:spAutoFit/>
            </a:bodyPr>
            <a:lstStyle/>
            <a:p>
              <a:pPr marL="0" marR="0" lvl="0" indent="0" algn="l" defTabSz="913765" rtl="0" eaLnBrk="1" fontAlgn="auto" latinLnBrk="0" hangingPunct="1">
                <a:lnSpc>
                  <a:spcPct val="100000"/>
                </a:lnSpc>
                <a:spcBef>
                  <a:spcPts val="0"/>
                </a:spcBef>
                <a:spcAft>
                  <a:spcPts val="0"/>
                </a:spcAft>
                <a:buClr>
                  <a:srgbClr val="002960"/>
                </a:buClr>
                <a:buSzTx/>
                <a:buFontTx/>
                <a:buNone/>
                <a:defRPr/>
              </a:pPr>
              <a:r>
                <a:rPr kumimoji="0" lang="zh-CN" altLang="en-US" sz="13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Arial" panose="020B0604020202020204" pitchFamily="34" charset="0"/>
                </a:rPr>
                <a:t>战略举措</a:t>
              </a:r>
              <a:br>
                <a:rPr kumimoji="0" lang="en-US" altLang="zh-CN" sz="13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Arial" panose="020B0604020202020204" pitchFamily="34" charset="0"/>
                </a:rPr>
              </a:br>
              <a:r>
                <a:rPr kumimoji="0" lang="zh-CN" altLang="en-US" sz="13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Arial" panose="020B0604020202020204" pitchFamily="34" charset="0"/>
                </a:rPr>
                <a:t>制定</a:t>
              </a:r>
              <a:endParaRPr kumimoji="0" lang="en-US" sz="13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Arial" panose="020B0604020202020204" pitchFamily="34" charset="0"/>
              </a:endParaRPr>
            </a:p>
          </p:txBody>
        </p:sp>
        <p:sp>
          <p:nvSpPr>
            <p:cNvPr id="52" name="Oval 36"/>
            <p:cNvSpPr>
              <a:spLocks noChangeArrowheads="1"/>
            </p:cNvSpPr>
            <p:nvPr/>
          </p:nvSpPr>
          <p:spPr bwMode="auto">
            <a:xfrm>
              <a:off x="4575400" y="3028055"/>
              <a:ext cx="195038" cy="216000"/>
            </a:xfrm>
            <a:prstGeom prst="ellipse">
              <a:avLst/>
            </a:prstGeom>
            <a:solidFill>
              <a:srgbClr val="FE5817"/>
            </a:solidFill>
            <a:ln w="9525">
              <a:solidFill>
                <a:schemeClr val="bg1"/>
              </a:solidFill>
              <a:round/>
            </a:ln>
            <a:effectLst/>
          </p:spPr>
          <p:txBody>
            <a:bodyPr wrap="none" anchor="ctr"/>
            <a:lstStyle/>
            <a:p>
              <a:pPr algn="ctr">
                <a:defRPr/>
              </a:pPr>
              <a:r>
                <a:rPr lang="en-GB" sz="1325" b="1" dirty="0">
                  <a:solidFill>
                    <a:schemeClr val="bg1"/>
                  </a:solidFill>
                  <a:latin typeface="Arial" panose="020B0604020202020204"/>
                  <a:ea typeface="楷体" panose="02010609060101010101" pitchFamily="49" charset="-122"/>
                </a:rPr>
                <a:t>5</a:t>
              </a:r>
              <a:endParaRPr lang="en-US" sz="1325" b="1" dirty="0">
                <a:solidFill>
                  <a:schemeClr val="bg1"/>
                </a:solidFill>
                <a:latin typeface="Arial" panose="020B0604020202020204"/>
                <a:ea typeface="楷体" panose="02010609060101010101" pitchFamily="49" charset="-122"/>
              </a:endParaRPr>
            </a:p>
          </p:txBody>
        </p:sp>
        <p:sp>
          <p:nvSpPr>
            <p:cNvPr id="57" name="Oval 36"/>
            <p:cNvSpPr>
              <a:spLocks noChangeArrowheads="1"/>
            </p:cNvSpPr>
            <p:nvPr/>
          </p:nvSpPr>
          <p:spPr bwMode="auto">
            <a:xfrm>
              <a:off x="6178481" y="3028055"/>
              <a:ext cx="195038" cy="216000"/>
            </a:xfrm>
            <a:prstGeom prst="ellipse">
              <a:avLst/>
            </a:prstGeom>
            <a:solidFill>
              <a:srgbClr val="FE5817"/>
            </a:solidFill>
            <a:ln w="9525">
              <a:solidFill>
                <a:schemeClr val="bg1"/>
              </a:solidFill>
              <a:round/>
            </a:ln>
            <a:effectLst/>
          </p:spPr>
          <p:txBody>
            <a:bodyPr wrap="none" anchor="ctr"/>
            <a:lstStyle/>
            <a:p>
              <a:pPr algn="ctr">
                <a:defRPr/>
              </a:pPr>
              <a:r>
                <a:rPr lang="en-GB" sz="1325" b="1" dirty="0">
                  <a:solidFill>
                    <a:schemeClr val="bg1"/>
                  </a:solidFill>
                  <a:latin typeface="Arial" panose="020B0604020202020204"/>
                  <a:ea typeface="楷体" panose="02010609060101010101" pitchFamily="49" charset="-122"/>
                </a:rPr>
                <a:t>6</a:t>
              </a:r>
              <a:endParaRPr lang="en-US" sz="1325" b="1" dirty="0">
                <a:solidFill>
                  <a:schemeClr val="bg1"/>
                </a:solidFill>
                <a:latin typeface="Arial" panose="020B0604020202020204"/>
                <a:ea typeface="楷体" panose="02010609060101010101" pitchFamily="49" charset="-122"/>
              </a:endParaRPr>
            </a:p>
          </p:txBody>
        </p:sp>
        <p:sp>
          <p:nvSpPr>
            <p:cNvPr id="71" name="Oval 36"/>
            <p:cNvSpPr>
              <a:spLocks noChangeArrowheads="1"/>
            </p:cNvSpPr>
            <p:nvPr/>
          </p:nvSpPr>
          <p:spPr bwMode="auto">
            <a:xfrm>
              <a:off x="9466929" y="3028055"/>
              <a:ext cx="195038" cy="216000"/>
            </a:xfrm>
            <a:prstGeom prst="ellipse">
              <a:avLst/>
            </a:prstGeom>
            <a:solidFill>
              <a:srgbClr val="FE5817"/>
            </a:solidFill>
            <a:ln w="9525">
              <a:solidFill>
                <a:schemeClr val="bg1"/>
              </a:solidFill>
              <a:round/>
            </a:ln>
            <a:effectLst/>
          </p:spPr>
          <p:txBody>
            <a:bodyPr wrap="none" anchor="ctr"/>
            <a:lstStyle/>
            <a:p>
              <a:pPr algn="ctr">
                <a:defRPr/>
              </a:pPr>
              <a:r>
                <a:rPr lang="en-GB" sz="1325" b="1" dirty="0">
                  <a:solidFill>
                    <a:schemeClr val="bg1"/>
                  </a:solidFill>
                  <a:latin typeface="Arial" panose="020B0604020202020204"/>
                  <a:ea typeface="楷体" panose="02010609060101010101" pitchFamily="49" charset="-122"/>
                </a:rPr>
                <a:t>8</a:t>
              </a:r>
              <a:endParaRPr lang="en-US" sz="1325" b="1" dirty="0">
                <a:solidFill>
                  <a:schemeClr val="bg1"/>
                </a:solidFill>
                <a:latin typeface="Arial" panose="020B0604020202020204"/>
                <a:ea typeface="楷体" panose="02010609060101010101" pitchFamily="49" charset="-122"/>
              </a:endParaRPr>
            </a:p>
          </p:txBody>
        </p:sp>
        <p:cxnSp>
          <p:nvCxnSpPr>
            <p:cNvPr id="69" name="Elbow Connector 68"/>
            <p:cNvCxnSpPr/>
            <p:nvPr/>
          </p:nvCxnSpPr>
          <p:spPr>
            <a:xfrm>
              <a:off x="4424874" y="3140012"/>
              <a:ext cx="166962" cy="0"/>
            </a:xfrm>
            <a:prstGeom prst="straightConnector1">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Rectangle 19"/>
            <p:cNvSpPr>
              <a:spLocks noChangeArrowheads="1"/>
            </p:cNvSpPr>
            <p:nvPr/>
          </p:nvSpPr>
          <p:spPr bwMode="gray">
            <a:xfrm>
              <a:off x="813122" y="3457145"/>
              <a:ext cx="1417199" cy="832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78435" marR="0" lvl="1" indent="-176530" algn="l" defTabSz="803275" rtl="0" eaLnBrk="1" fontAlgn="auto" latinLnBrk="0" hangingPunct="1">
                <a:lnSpc>
                  <a:spcPct val="100000"/>
                </a:lnSpc>
                <a:spcBef>
                  <a:spcPts val="0"/>
                </a:spcBef>
                <a:spcAft>
                  <a:spcPts val="0"/>
                </a:spcAft>
                <a:buClr>
                  <a:srgbClr val="002960"/>
                </a:buClr>
                <a:buSzPct val="125000"/>
                <a:buFont typeface="Arial" panose="020B0604020202020204" pitchFamily="34" charset="0"/>
                <a:buChar char="▪"/>
                <a:defRPr/>
              </a:pPr>
              <a:r>
                <a:rPr kumimoji="0" lang="zh-CN" altLang="en-US"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该项目要解决什么问题？</a:t>
              </a:r>
              <a:endParaRPr kumimoji="0" lang="en-GB"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问题界定</a:t>
              </a:r>
              <a:br>
                <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b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模板</a:t>
              </a:r>
              <a:endParaRPr kumimoji="0" lang="en-GB"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p:txBody>
        </p:sp>
        <p:sp>
          <p:nvSpPr>
            <p:cNvPr id="17" name="Rectangle 19"/>
            <p:cNvSpPr>
              <a:spLocks noChangeArrowheads="1"/>
            </p:cNvSpPr>
            <p:nvPr/>
          </p:nvSpPr>
          <p:spPr bwMode="gray">
            <a:xfrm>
              <a:off x="2470901" y="1301592"/>
              <a:ext cx="1953972" cy="1457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78435" marR="0" lvl="1" indent="-176530" algn="l" defTabSz="803275" rtl="0" eaLnBrk="1" fontAlgn="auto" latinLnBrk="0" hangingPunct="1">
                <a:lnSpc>
                  <a:spcPct val="100000"/>
                </a:lnSpc>
                <a:spcBef>
                  <a:spcPts val="0"/>
                </a:spcBef>
                <a:spcAft>
                  <a:spcPts val="0"/>
                </a:spcAft>
                <a:buClr>
                  <a:srgbClr val="002960"/>
                </a:buClr>
                <a:buSzPct val="125000"/>
                <a:buFont typeface="Arial" panose="020B0604020202020204" pitchFamily="34" charset="0"/>
                <a:buChar char="▪"/>
                <a:defRPr/>
              </a:pPr>
              <a:r>
                <a:rPr kumimoji="0" lang="zh-CN" altLang="en-US"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行业是否有吸引力？</a:t>
              </a:r>
              <a:endParaRPr kumimoji="0" lang="en-GB"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市场规模、利润水平、行业增速</a:t>
              </a:r>
              <a:endPar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财务结构</a:t>
              </a:r>
              <a:endPar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基本竞争态势</a:t>
              </a:r>
              <a:endPar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供求现状和行业行为</a:t>
              </a:r>
              <a:endParaRPr kumimoji="0" lang="en-GB"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p:txBody>
        </p:sp>
        <p:sp>
          <p:nvSpPr>
            <p:cNvPr id="38" name="Rectangle 19"/>
            <p:cNvSpPr>
              <a:spLocks noChangeArrowheads="1"/>
            </p:cNvSpPr>
            <p:nvPr/>
          </p:nvSpPr>
          <p:spPr bwMode="gray">
            <a:xfrm>
              <a:off x="2470901" y="3457146"/>
              <a:ext cx="1953972" cy="1457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78435" marR="0" lvl="1" indent="-176530" algn="l" defTabSz="803275" rtl="0" eaLnBrk="1" fontAlgn="auto" latinLnBrk="0" hangingPunct="1">
                <a:lnSpc>
                  <a:spcPct val="100000"/>
                </a:lnSpc>
                <a:spcBef>
                  <a:spcPts val="0"/>
                </a:spcBef>
                <a:spcAft>
                  <a:spcPts val="0"/>
                </a:spcAft>
                <a:buClr>
                  <a:srgbClr val="002960"/>
                </a:buClr>
                <a:buSzPct val="125000"/>
                <a:buFont typeface="Arial" panose="020B0604020202020204" pitchFamily="34" charset="0"/>
                <a:buChar char="▪"/>
                <a:defRPr/>
              </a:pPr>
              <a:r>
                <a:rPr kumimoji="0" lang="zh-CN" altLang="en-US"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谁是最有力的竞争对手？它的强项是什么？</a:t>
              </a:r>
              <a:endParaRPr kumimoji="0" lang="en-GB"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竞争格局</a:t>
              </a:r>
              <a:endPar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财务对标</a:t>
              </a:r>
              <a:endPar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竞争对手分群</a:t>
              </a:r>
              <a:endPar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竞争对手简介</a:t>
              </a:r>
              <a:endParaRPr kumimoji="0" lang="en-GB"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p:txBody>
        </p:sp>
        <p:sp>
          <p:nvSpPr>
            <p:cNvPr id="43" name="Rectangle 19"/>
            <p:cNvSpPr>
              <a:spLocks noChangeArrowheads="1"/>
            </p:cNvSpPr>
            <p:nvPr/>
          </p:nvSpPr>
          <p:spPr bwMode="gray">
            <a:xfrm>
              <a:off x="2470901" y="5586733"/>
              <a:ext cx="1953972" cy="832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78435" marR="0" lvl="1" indent="-176530" algn="l" defTabSz="803275" rtl="0" eaLnBrk="1" fontAlgn="auto" latinLnBrk="0" hangingPunct="1">
                <a:lnSpc>
                  <a:spcPct val="100000"/>
                </a:lnSpc>
                <a:spcBef>
                  <a:spcPts val="0"/>
                </a:spcBef>
                <a:spcAft>
                  <a:spcPts val="0"/>
                </a:spcAft>
                <a:buClr>
                  <a:srgbClr val="002960"/>
                </a:buClr>
                <a:buSzPct val="125000"/>
                <a:buFont typeface="Arial" panose="020B0604020202020204" pitchFamily="34" charset="0"/>
                <a:buChar char="▪"/>
                <a:defRPr/>
              </a:pPr>
              <a:r>
                <a:rPr kumimoji="0" lang="zh-CN" altLang="en-US"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我们的强项和弱项在哪儿？</a:t>
              </a:r>
              <a:endParaRPr kumimoji="0" lang="en-GB" sz="13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产品组合分析</a:t>
              </a:r>
              <a:endParaRPr kumimoji="0" lang="en-US" altLang="zh-CN"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a:p>
              <a:pPr marL="354965" marR="0" lvl="2" indent="-200660" algn="l" defTabSz="803275" rtl="0" eaLnBrk="1" fontAlgn="auto" latinLnBrk="0" hangingPunct="1">
                <a:lnSpc>
                  <a:spcPct val="100000"/>
                </a:lnSpc>
                <a:spcBef>
                  <a:spcPts val="0"/>
                </a:spcBef>
                <a:spcAft>
                  <a:spcPts val="0"/>
                </a:spcAft>
                <a:buClr>
                  <a:srgbClr val="002960"/>
                </a:buClr>
                <a:buSzPct val="120000"/>
                <a:buFont typeface="Arial" panose="020B0604020202020204" pitchFamily="34" charset="0"/>
                <a:buChar char="–"/>
                <a:defRPr/>
              </a:pPr>
              <a:r>
                <a:rPr kumimoji="0" lang="zh-CN" altLang="en-US"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rPr>
                <a:t>关键能力分析</a:t>
              </a:r>
              <a:endParaRPr kumimoji="0" lang="en-GB" sz="13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Arial" panose="020B0604020202020204" pitchFamily="34" charset="0"/>
              </a:endParaRPr>
            </a:p>
          </p:txBody>
        </p:sp>
        <p:cxnSp>
          <p:nvCxnSpPr>
            <p:cNvPr id="88" name="Elbow Connector 87"/>
            <p:cNvCxnSpPr>
              <a:endCxn id="51" idx="1"/>
            </p:cNvCxnSpPr>
            <p:nvPr/>
          </p:nvCxnSpPr>
          <p:spPr>
            <a:xfrm>
              <a:off x="4334522" y="979889"/>
              <a:ext cx="232477" cy="2160123"/>
            </a:xfrm>
            <a:prstGeom prst="bentConnector3">
              <a:avLst/>
            </a:prstGeom>
            <a:ln w="28575">
              <a:solidFill>
                <a:srgbClr val="FF976D"/>
              </a:solidFill>
            </a:ln>
          </p:spPr>
          <p:style>
            <a:lnRef idx="1">
              <a:schemeClr val="accent1"/>
            </a:lnRef>
            <a:fillRef idx="0">
              <a:schemeClr val="accent1"/>
            </a:fillRef>
            <a:effectRef idx="0">
              <a:schemeClr val="accent1"/>
            </a:effectRef>
            <a:fontRef idx="minor">
              <a:schemeClr val="tx1"/>
            </a:fontRef>
          </p:style>
        </p:cxnSp>
        <p:cxnSp>
          <p:nvCxnSpPr>
            <p:cNvPr id="89" name="Elbow Connector 88"/>
            <p:cNvCxnSpPr>
              <a:endCxn id="51" idx="1"/>
            </p:cNvCxnSpPr>
            <p:nvPr/>
          </p:nvCxnSpPr>
          <p:spPr>
            <a:xfrm flipV="1">
              <a:off x="4334522" y="3140012"/>
              <a:ext cx="232477" cy="2143283"/>
            </a:xfrm>
            <a:prstGeom prst="bentConnector3">
              <a:avLst>
                <a:gd name="adj1" fmla="val 50000"/>
              </a:avLst>
            </a:prstGeom>
            <a:ln w="28575">
              <a:solidFill>
                <a:srgbClr val="FF976D"/>
              </a:solidFill>
            </a:ln>
          </p:spPr>
          <p:style>
            <a:lnRef idx="1">
              <a:schemeClr val="accent1"/>
            </a:lnRef>
            <a:fillRef idx="0">
              <a:schemeClr val="accent1"/>
            </a:fillRef>
            <a:effectRef idx="0">
              <a:schemeClr val="accent1"/>
            </a:effectRef>
            <a:fontRef idx="minor">
              <a:schemeClr val="tx1"/>
            </a:fontRef>
          </p:style>
        </p:cxnSp>
        <p:cxnSp>
          <p:nvCxnSpPr>
            <p:cNvPr id="59" name="Elbow Connector 58"/>
            <p:cNvCxnSpPr/>
            <p:nvPr/>
          </p:nvCxnSpPr>
          <p:spPr>
            <a:xfrm flipV="1">
              <a:off x="2293727" y="979888"/>
              <a:ext cx="274751" cy="2160122"/>
            </a:xfrm>
            <a:prstGeom prst="bentConnector3">
              <a:avLst>
                <a:gd name="adj1" fmla="val 50000"/>
              </a:avLst>
            </a:prstGeom>
            <a:ln w="28575">
              <a:solidFill>
                <a:srgbClr val="FF976D"/>
              </a:solidFill>
            </a:ln>
          </p:spPr>
          <p:style>
            <a:lnRef idx="1">
              <a:schemeClr val="accent1"/>
            </a:lnRef>
            <a:fillRef idx="0">
              <a:schemeClr val="accent1"/>
            </a:fillRef>
            <a:effectRef idx="0">
              <a:schemeClr val="accent1"/>
            </a:effectRef>
            <a:fontRef idx="minor">
              <a:schemeClr val="tx1"/>
            </a:fontRef>
          </p:style>
        </p:cxnSp>
        <p:cxnSp>
          <p:nvCxnSpPr>
            <p:cNvPr id="65" name="Elbow Connector 64"/>
            <p:cNvCxnSpPr>
              <a:endCxn id="47" idx="2"/>
            </p:cNvCxnSpPr>
            <p:nvPr/>
          </p:nvCxnSpPr>
          <p:spPr>
            <a:xfrm rot="16200000" flipH="1">
              <a:off x="1332627" y="4074188"/>
              <a:ext cx="2117630" cy="249274"/>
            </a:xfrm>
            <a:prstGeom prst="bentConnector2">
              <a:avLst/>
            </a:prstGeom>
            <a:ln w="28575">
              <a:solidFill>
                <a:srgbClr val="FF976D"/>
              </a:solidFill>
            </a:ln>
          </p:spPr>
          <p:style>
            <a:lnRef idx="1">
              <a:schemeClr val="accent1"/>
            </a:lnRef>
            <a:fillRef idx="0">
              <a:schemeClr val="accent1"/>
            </a:fillRef>
            <a:effectRef idx="0">
              <a:schemeClr val="accent1"/>
            </a:effectRef>
            <a:fontRef idx="minor">
              <a:schemeClr val="tx1"/>
            </a:fontRef>
          </p:style>
        </p:cxnSp>
        <p:sp>
          <p:nvSpPr>
            <p:cNvPr id="30" name="Oval 36"/>
            <p:cNvSpPr>
              <a:spLocks noChangeArrowheads="1"/>
            </p:cNvSpPr>
            <p:nvPr/>
          </p:nvSpPr>
          <p:spPr bwMode="auto">
            <a:xfrm>
              <a:off x="2528761" y="873922"/>
              <a:ext cx="195038" cy="216000"/>
            </a:xfrm>
            <a:prstGeom prst="ellipse">
              <a:avLst/>
            </a:prstGeom>
            <a:solidFill>
              <a:srgbClr val="FE5817"/>
            </a:solidFill>
            <a:ln w="9525">
              <a:solidFill>
                <a:schemeClr val="bg1"/>
              </a:solidFill>
              <a:round/>
            </a:ln>
            <a:effectLst/>
          </p:spPr>
          <p:txBody>
            <a:bodyPr wrap="none" anchor="ctr"/>
            <a:lstStyle/>
            <a:p>
              <a:pPr algn="ctr">
                <a:defRPr/>
              </a:pPr>
              <a:r>
                <a:rPr lang="en-GB" sz="1325" b="1" dirty="0">
                  <a:solidFill>
                    <a:schemeClr val="bg1"/>
                  </a:solidFill>
                  <a:latin typeface="Arial" panose="020B0604020202020204"/>
                  <a:ea typeface="楷体" panose="02010609060101010101" pitchFamily="49" charset="-122"/>
                </a:rPr>
                <a:t>2</a:t>
              </a:r>
              <a:endParaRPr lang="en-US" sz="1325" b="1" dirty="0">
                <a:solidFill>
                  <a:schemeClr val="bg1"/>
                </a:solidFill>
                <a:latin typeface="Arial" panose="020B0604020202020204"/>
                <a:ea typeface="楷体" panose="02010609060101010101" pitchFamily="49" charset="-122"/>
              </a:endParaRPr>
            </a:p>
          </p:txBody>
        </p:sp>
        <p:cxnSp>
          <p:nvCxnSpPr>
            <p:cNvPr id="63" name="Elbow Connector 62"/>
            <p:cNvCxnSpPr>
              <a:stCxn id="27" idx="2"/>
              <a:endCxn id="68" idx="5"/>
            </p:cNvCxnSpPr>
            <p:nvPr/>
          </p:nvCxnSpPr>
          <p:spPr>
            <a:xfrm>
              <a:off x="2293726" y="3140011"/>
              <a:ext cx="211225" cy="0"/>
            </a:xfrm>
            <a:prstGeom prst="straightConnector1">
              <a:avLst/>
            </a:prstGeom>
            <a:ln w="28575">
              <a:solidFill>
                <a:srgbClr val="FF976D"/>
              </a:solidFill>
            </a:ln>
          </p:spPr>
          <p:style>
            <a:lnRef idx="1">
              <a:schemeClr val="accent1"/>
            </a:lnRef>
            <a:fillRef idx="0">
              <a:schemeClr val="accent1"/>
            </a:fillRef>
            <a:effectRef idx="0">
              <a:schemeClr val="accent1"/>
            </a:effectRef>
            <a:fontRef idx="minor">
              <a:schemeClr val="tx1"/>
            </a:fontRef>
          </p:style>
        </p:cxnSp>
        <p:sp>
          <p:nvSpPr>
            <p:cNvPr id="42" name="Oval 36"/>
            <p:cNvSpPr>
              <a:spLocks noChangeArrowheads="1"/>
            </p:cNvSpPr>
            <p:nvPr/>
          </p:nvSpPr>
          <p:spPr bwMode="auto">
            <a:xfrm>
              <a:off x="2516072" y="3028055"/>
              <a:ext cx="195038" cy="216000"/>
            </a:xfrm>
            <a:prstGeom prst="ellipse">
              <a:avLst/>
            </a:prstGeom>
            <a:solidFill>
              <a:srgbClr val="FE5817"/>
            </a:solidFill>
            <a:ln w="9525">
              <a:solidFill>
                <a:schemeClr val="bg1"/>
              </a:solidFill>
              <a:round/>
            </a:ln>
            <a:effectLst/>
          </p:spPr>
          <p:txBody>
            <a:bodyPr wrap="none" anchor="ctr"/>
            <a:lstStyle/>
            <a:p>
              <a:pPr algn="ctr">
                <a:defRPr/>
              </a:pPr>
              <a:r>
                <a:rPr lang="en-GB" sz="1325" b="1" dirty="0">
                  <a:solidFill>
                    <a:schemeClr val="bg1"/>
                  </a:solidFill>
                  <a:latin typeface="Arial" panose="020B0604020202020204"/>
                  <a:ea typeface="楷体" panose="02010609060101010101" pitchFamily="49" charset="-122"/>
                </a:rPr>
                <a:t>3</a:t>
              </a:r>
              <a:endParaRPr lang="en-US" sz="1325" b="1" dirty="0">
                <a:solidFill>
                  <a:schemeClr val="bg1"/>
                </a:solidFill>
                <a:latin typeface="Arial" panose="020B0604020202020204"/>
                <a:ea typeface="楷体" panose="02010609060101010101" pitchFamily="49" charset="-122"/>
              </a:endParaRPr>
            </a:p>
          </p:txBody>
        </p:sp>
        <p:sp>
          <p:nvSpPr>
            <p:cNvPr id="47" name="Oval 36"/>
            <p:cNvSpPr>
              <a:spLocks noChangeArrowheads="1"/>
            </p:cNvSpPr>
            <p:nvPr/>
          </p:nvSpPr>
          <p:spPr bwMode="auto">
            <a:xfrm>
              <a:off x="2516079" y="5149640"/>
              <a:ext cx="195038" cy="216000"/>
            </a:xfrm>
            <a:prstGeom prst="ellipse">
              <a:avLst/>
            </a:prstGeom>
            <a:solidFill>
              <a:srgbClr val="FE5817"/>
            </a:solidFill>
            <a:ln w="9525">
              <a:solidFill>
                <a:schemeClr val="bg1"/>
              </a:solidFill>
              <a:round/>
            </a:ln>
            <a:effectLst/>
          </p:spPr>
          <p:txBody>
            <a:bodyPr wrap="none" anchor="ctr"/>
            <a:lstStyle/>
            <a:p>
              <a:pPr algn="ctr">
                <a:defRPr/>
              </a:pPr>
              <a:r>
                <a:rPr lang="en-GB" sz="1325" b="1" dirty="0">
                  <a:solidFill>
                    <a:schemeClr val="bg1"/>
                  </a:solidFill>
                  <a:latin typeface="Arial" panose="020B0604020202020204"/>
                  <a:ea typeface="楷体" panose="02010609060101010101" pitchFamily="49" charset="-122"/>
                </a:rPr>
                <a:t>4</a:t>
              </a:r>
              <a:endParaRPr lang="en-US" sz="1325" b="1" dirty="0">
                <a:solidFill>
                  <a:schemeClr val="bg1"/>
                </a:solidFill>
                <a:latin typeface="Arial" panose="020B0604020202020204"/>
                <a:ea typeface="楷体" panose="02010609060101010101" pitchFamily="49" charset="-122"/>
              </a:endParaRPr>
            </a:p>
          </p:txBody>
        </p:sp>
        <p:cxnSp>
          <p:nvCxnSpPr>
            <p:cNvPr id="50" name="Elbow Connector 49"/>
            <p:cNvCxnSpPr>
              <a:stCxn id="68" idx="2"/>
              <a:endCxn id="51" idx="1"/>
            </p:cNvCxnSpPr>
            <p:nvPr/>
          </p:nvCxnSpPr>
          <p:spPr>
            <a:xfrm>
              <a:off x="4334522" y="3140011"/>
              <a:ext cx="232477" cy="1"/>
            </a:xfrm>
            <a:prstGeom prst="bentConnector3">
              <a:avLst>
                <a:gd name="adj1" fmla="val 50000"/>
              </a:avLst>
            </a:prstGeom>
            <a:ln w="28575">
              <a:solidFill>
                <a:srgbClr val="FF976D"/>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p:custDataLst>
                <p:tags r:id="rId17"/>
              </p:custDataLst>
            </p:nvPr>
          </p:nvGrpSpPr>
          <p:grpSpPr>
            <a:xfrm>
              <a:off x="800100" y="2861703"/>
              <a:ext cx="1493626" cy="556615"/>
              <a:chOff x="5905500" y="3124200"/>
              <a:chExt cx="1828800" cy="914400"/>
            </a:xfrm>
            <a:solidFill>
              <a:srgbClr val="FE5817"/>
            </a:solidFill>
          </p:grpSpPr>
          <p:sp>
            <p:nvSpPr>
              <p:cNvPr id="27" name="Freeform 26"/>
              <p:cNvSpPr/>
              <p:nvPr>
                <p:custDataLst>
                  <p:tags r:id="rId18"/>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664208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0"/>
                  <a:gd name="connsiteX1-15" fmla="*/ 1664208 w 1828800"/>
                  <a:gd name="connsiteY1-16" fmla="*/ 0 h 914400"/>
                  <a:gd name="connsiteX2-17" fmla="*/ 1828800 w 1828800"/>
                  <a:gd name="connsiteY2-18" fmla="*/ 457200 h 914400"/>
                  <a:gd name="connsiteX3-19" fmla="*/ 1664208 w 1828800"/>
                  <a:gd name="connsiteY3-20" fmla="*/ 914400 h 914400"/>
                  <a:gd name="connsiteX4-21" fmla="*/ 0 w 1828800"/>
                  <a:gd name="connsiteY4-22" fmla="*/ 914400 h 914400"/>
                  <a:gd name="connsiteX5-23" fmla="*/ 0 w 1828800"/>
                  <a:gd name="connsiteY5-24" fmla="*/ 457200 h 914400"/>
                  <a:gd name="connsiteX0-25" fmla="*/ 0 w 1828800"/>
                  <a:gd name="connsiteY0-26" fmla="*/ 0 h 914400"/>
                  <a:gd name="connsiteX1-27" fmla="*/ 1664208 w 1828800"/>
                  <a:gd name="connsiteY1-28" fmla="*/ 0 h 914400"/>
                  <a:gd name="connsiteX2-29" fmla="*/ 1828800 w 1828800"/>
                  <a:gd name="connsiteY2-30" fmla="*/ 457200 h 914400"/>
                  <a:gd name="connsiteX3-31" fmla="*/ 1664208 w 1828800"/>
                  <a:gd name="connsiteY3-32" fmla="*/ 914400 h 914400"/>
                  <a:gd name="connsiteX4-33" fmla="*/ 0 w 1828800"/>
                  <a:gd name="connsiteY4-34" fmla="*/ 914400 h 914400"/>
                  <a:gd name="connsiteX5-35" fmla="*/ 0 w 1828800"/>
                  <a:gd name="connsiteY5-36" fmla="*/ 457200 h 914400"/>
                  <a:gd name="connsiteX0-37" fmla="*/ 0 w 1828800"/>
                  <a:gd name="connsiteY0-38" fmla="*/ 0 h 914400"/>
                  <a:gd name="connsiteX1-39" fmla="*/ 1664208 w 1828800"/>
                  <a:gd name="connsiteY1-40" fmla="*/ 0 h 914400"/>
                  <a:gd name="connsiteX2-41" fmla="*/ 1828800 w 1828800"/>
                  <a:gd name="connsiteY2-42" fmla="*/ 457200 h 914400"/>
                  <a:gd name="connsiteX3-43" fmla="*/ 1664208 w 1828800"/>
                  <a:gd name="connsiteY3-44" fmla="*/ 914400 h 914400"/>
                  <a:gd name="connsiteX4-45" fmla="*/ 0 w 1828800"/>
                  <a:gd name="connsiteY4-46" fmla="*/ 914400 h 914400"/>
                  <a:gd name="connsiteX5-47" fmla="*/ 0 w 1828800"/>
                  <a:gd name="connsiteY5-48" fmla="*/ 457200 h 914400"/>
                  <a:gd name="connsiteX0-49" fmla="*/ 0 w 1828800"/>
                  <a:gd name="connsiteY0-50" fmla="*/ 0 h 914400"/>
                  <a:gd name="connsiteX1-51" fmla="*/ 1664208 w 1828800"/>
                  <a:gd name="connsiteY1-52" fmla="*/ 0 h 914400"/>
                  <a:gd name="connsiteX2-53" fmla="*/ 1828800 w 1828800"/>
                  <a:gd name="connsiteY2-54" fmla="*/ 457200 h 914400"/>
                  <a:gd name="connsiteX3-55" fmla="*/ 1664208 w 1828800"/>
                  <a:gd name="connsiteY3-56" fmla="*/ 914400 h 914400"/>
                  <a:gd name="connsiteX4-57" fmla="*/ 0 w 1828800"/>
                  <a:gd name="connsiteY4-58" fmla="*/ 914400 h 914400"/>
                  <a:gd name="connsiteX5-59" fmla="*/ 0 w 1828800"/>
                  <a:gd name="connsiteY5-60" fmla="*/ 457200 h 9144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rgbClr val="FE581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endParaRPr>
              </a:p>
            </p:txBody>
          </p:sp>
          <p:sp>
            <p:nvSpPr>
              <p:cNvPr id="64" name="Rectangle 28"/>
              <p:cNvSpPr txBox="1"/>
              <p:nvPr>
                <p:custDataLst>
                  <p:tags r:id="rId19"/>
                </p:custDataLst>
              </p:nvPr>
            </p:nvSpPr>
            <p:spPr>
              <a:xfrm>
                <a:off x="5969000" y="3187700"/>
                <a:ext cx="1524000" cy="787400"/>
              </a:xfrm>
              <a:prstGeom prst="rect">
                <a:avLst/>
              </a:prstGeom>
              <a:no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no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marL="238125" marR="0" lvl="0" indent="0" algn="l" defTabSz="895350" rtl="0" eaLnBrk="1" fontAlgn="auto" latinLnBrk="0" hangingPunct="1">
                  <a:lnSpc>
                    <a:spcPct val="100000"/>
                  </a:lnSpc>
                  <a:spcBef>
                    <a:spcPts val="0"/>
                  </a:spcBef>
                  <a:spcAft>
                    <a:spcPts val="0"/>
                  </a:spcAft>
                  <a:buClr>
                    <a:srgbClr val="002960"/>
                  </a:buClr>
                  <a:buSzTx/>
                  <a:buFontTx/>
                  <a:buNone/>
                  <a:defRPr/>
                </a:pPr>
                <a:r>
                  <a:rPr kumimoji="0" lang="zh-CN" altLang="en-US" sz="13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rPr>
                  <a:t>问题界定</a:t>
                </a:r>
                <a:endParaRPr kumimoji="0" lang="en-US" sz="13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endParaRPr>
              </a:p>
            </p:txBody>
          </p:sp>
        </p:grpSp>
        <p:sp>
          <p:nvSpPr>
            <p:cNvPr id="54" name="Oval 36"/>
            <p:cNvSpPr>
              <a:spLocks noChangeArrowheads="1"/>
            </p:cNvSpPr>
            <p:nvPr/>
          </p:nvSpPr>
          <p:spPr bwMode="auto">
            <a:xfrm>
              <a:off x="807170" y="3028055"/>
              <a:ext cx="195038" cy="216000"/>
            </a:xfrm>
            <a:prstGeom prst="ellipse">
              <a:avLst/>
            </a:prstGeom>
            <a:solidFill>
              <a:srgbClr val="FE5817"/>
            </a:solidFill>
            <a:ln w="9525">
              <a:solidFill>
                <a:schemeClr val="bg1"/>
              </a:solidFill>
              <a:rou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13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rPr>
                <a:t>1</a:t>
              </a:r>
              <a:endParaRPr kumimoji="0" lang="en-US" sz="13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endParaRPr>
            </a:p>
          </p:txBody>
        </p:sp>
      </p:grpSp>
      <p:sp>
        <p:nvSpPr>
          <p:cNvPr id="55"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内诊</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战略分析框架</a:t>
            </a:r>
            <a:endParaRPr lang="zh-CN" altLang="en-US" sz="2400" dirty="0">
              <a:solidFill>
                <a:prstClr val="black"/>
              </a:solidFill>
              <a:latin typeface="华文楷体" panose="02010600040101010101" charset="-122"/>
            </a:endParaRPr>
          </a:p>
        </p:txBody>
      </p:sp>
      <p:pic>
        <p:nvPicPr>
          <p:cNvPr id="60" name="图片 5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37683" y="813816"/>
            <a:ext cx="11097116" cy="5440680"/>
            <a:chOff x="637683" y="699069"/>
            <a:chExt cx="11097116" cy="5659995"/>
          </a:xfrm>
        </p:grpSpPr>
        <p:sp>
          <p:nvSpPr>
            <p:cNvPr id="4" name="Rectangle 3"/>
            <p:cNvSpPr>
              <a:spLocks noChangeArrowheads="1"/>
            </p:cNvSpPr>
            <p:nvPr>
              <p:custDataLst>
                <p:tags r:id="rId1"/>
              </p:custDataLst>
            </p:nvPr>
          </p:nvSpPr>
          <p:spPr bwMode="gray">
            <a:xfrm>
              <a:off x="637683" y="5543303"/>
              <a:ext cx="11097113" cy="815761"/>
            </a:xfrm>
            <a:prstGeom prst="rect">
              <a:avLst/>
            </a:prstGeom>
            <a:solidFill>
              <a:schemeClr val="bg1"/>
            </a:solidFill>
            <a:ln w="19050">
              <a:solidFill>
                <a:srgbClr val="FE5817"/>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5"/>
            </a:p>
          </p:txBody>
        </p:sp>
        <p:sp>
          <p:nvSpPr>
            <p:cNvPr id="5" name="Rectangle 4"/>
            <p:cNvSpPr>
              <a:spLocks noChangeArrowheads="1"/>
            </p:cNvSpPr>
            <p:nvPr>
              <p:custDataLst>
                <p:tags r:id="rId2"/>
              </p:custDataLst>
            </p:nvPr>
          </p:nvSpPr>
          <p:spPr bwMode="gray">
            <a:xfrm>
              <a:off x="774421" y="5602315"/>
              <a:ext cx="4245277" cy="19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63930">
                <a:spcAft>
                  <a:spcPct val="0"/>
                </a:spcAft>
                <a:tabLst>
                  <a:tab pos="190500" algn="l"/>
                </a:tabLst>
                <a:defRPr sz="2400">
                  <a:solidFill>
                    <a:schemeClr val="tx1"/>
                  </a:solidFill>
                  <a:latin typeface="Arial" panose="020B0604020202020204" pitchFamily="34" charset="0"/>
                </a:defRPr>
              </a:lvl1pPr>
              <a:lvl2pPr marL="114300" defTabSz="963930">
                <a:spcAft>
                  <a:spcPct val="0"/>
                </a:spcAft>
                <a:tabLst>
                  <a:tab pos="190500" algn="l"/>
                </a:tabLst>
                <a:defRPr sz="2400">
                  <a:solidFill>
                    <a:schemeClr val="tx1"/>
                  </a:solidFill>
                  <a:latin typeface="Arial" panose="020B0604020202020204" pitchFamily="34" charset="0"/>
                </a:defRPr>
              </a:lvl2pPr>
              <a:lvl3pPr marL="228600" defTabSz="963930">
                <a:spcAft>
                  <a:spcPct val="0"/>
                </a:spcAft>
                <a:tabLst>
                  <a:tab pos="190500" algn="l"/>
                </a:tabLst>
                <a:defRPr sz="2400">
                  <a:solidFill>
                    <a:schemeClr val="tx1"/>
                  </a:solidFill>
                  <a:latin typeface="Arial" panose="020B0604020202020204" pitchFamily="34" charset="0"/>
                </a:defRPr>
              </a:lvl3pPr>
              <a:lvl4pPr marL="342900" defTabSz="963930">
                <a:spcAft>
                  <a:spcPct val="0"/>
                </a:spcAft>
                <a:tabLst>
                  <a:tab pos="190500" algn="l"/>
                </a:tabLst>
                <a:defRPr sz="2400">
                  <a:solidFill>
                    <a:schemeClr val="tx1"/>
                  </a:solidFill>
                  <a:latin typeface="Arial" panose="020B0604020202020204" pitchFamily="34" charset="0"/>
                </a:defRPr>
              </a:lvl4pPr>
              <a:lvl5pPr marL="457200" defTabSz="963930">
                <a:spcAft>
                  <a:spcPct val="0"/>
                </a:spcAft>
                <a:tabLst>
                  <a:tab pos="190500" algn="l"/>
                </a:tabLst>
                <a:defRPr sz="2400">
                  <a:solidFill>
                    <a:schemeClr val="tx1"/>
                  </a:solidFill>
                  <a:latin typeface="Arial" panose="020B0604020202020204" pitchFamily="34" charset="0"/>
                </a:defRPr>
              </a:lvl5pPr>
              <a:lvl6pPr marL="914400" defTabSz="963930" fontAlgn="base">
                <a:spcBef>
                  <a:spcPct val="0"/>
                </a:spcBef>
                <a:spcAft>
                  <a:spcPct val="0"/>
                </a:spcAft>
                <a:tabLst>
                  <a:tab pos="190500" algn="l"/>
                </a:tabLst>
                <a:defRPr sz="2400">
                  <a:solidFill>
                    <a:schemeClr val="tx1"/>
                  </a:solidFill>
                  <a:latin typeface="Arial" panose="020B0604020202020204" pitchFamily="34" charset="0"/>
                </a:defRPr>
              </a:lvl6pPr>
              <a:lvl7pPr marL="1371600" defTabSz="963930" fontAlgn="base">
                <a:spcBef>
                  <a:spcPct val="0"/>
                </a:spcBef>
                <a:spcAft>
                  <a:spcPct val="0"/>
                </a:spcAft>
                <a:tabLst>
                  <a:tab pos="190500" algn="l"/>
                </a:tabLst>
                <a:defRPr sz="2400">
                  <a:solidFill>
                    <a:schemeClr val="tx1"/>
                  </a:solidFill>
                  <a:latin typeface="Arial" panose="020B0604020202020204" pitchFamily="34" charset="0"/>
                </a:defRPr>
              </a:lvl7pPr>
              <a:lvl8pPr marL="1828800" defTabSz="963930" fontAlgn="base">
                <a:spcBef>
                  <a:spcPct val="0"/>
                </a:spcBef>
                <a:spcAft>
                  <a:spcPct val="0"/>
                </a:spcAft>
                <a:tabLst>
                  <a:tab pos="190500" algn="l"/>
                </a:tabLst>
                <a:defRPr sz="2400">
                  <a:solidFill>
                    <a:schemeClr val="tx1"/>
                  </a:solidFill>
                  <a:latin typeface="Arial" panose="020B0604020202020204" pitchFamily="34" charset="0"/>
                </a:defRPr>
              </a:lvl8pPr>
              <a:lvl9pPr marL="2286000" defTabSz="963930" fontAlgn="base">
                <a:spcBef>
                  <a:spcPct val="0"/>
                </a:spcBef>
                <a:spcAft>
                  <a:spcPct val="0"/>
                </a:spcAft>
                <a:tabLst>
                  <a:tab pos="190500" algn="l"/>
                </a:tabLst>
                <a:defRPr sz="2400">
                  <a:solidFill>
                    <a:schemeClr val="tx1"/>
                  </a:solidFill>
                  <a:latin typeface="Arial" panose="020B0604020202020204" pitchFamily="34" charset="0"/>
                </a:defRPr>
              </a:lvl9pPr>
            </a:lstStyle>
            <a:p>
              <a:pPr eaLnBrk="0" hangingPunct="0">
                <a:lnSpc>
                  <a:spcPct val="90000"/>
                </a:lnSpc>
              </a:pPr>
              <a:r>
                <a:rPr lang="en-US" altLang="zh-CN" sz="1430" b="1" dirty="0">
                  <a:latin typeface="华文楷体" panose="02010600040101010101" charset="-122"/>
                </a:rPr>
                <a:t>5	</a:t>
              </a:r>
              <a:r>
                <a:rPr lang="zh-CN" altLang="en-US" sz="1430" b="1" dirty="0">
                  <a:latin typeface="华文楷体" panose="02010600040101010101" charset="-122"/>
                </a:rPr>
                <a:t>取得成效的障碍</a:t>
              </a:r>
              <a:endParaRPr lang="zh-CN" altLang="en-US" sz="1430" b="1" dirty="0">
                <a:latin typeface="华文楷体" panose="02010600040101010101" charset="-122"/>
              </a:endParaRPr>
            </a:p>
          </p:txBody>
        </p:sp>
        <p:sp>
          <p:nvSpPr>
            <p:cNvPr id="6" name="Rectangle 5"/>
            <p:cNvSpPr>
              <a:spLocks noChangeArrowheads="1"/>
            </p:cNvSpPr>
            <p:nvPr>
              <p:custDataLst>
                <p:tags r:id="rId3"/>
              </p:custDataLst>
            </p:nvPr>
          </p:nvSpPr>
          <p:spPr bwMode="gray">
            <a:xfrm>
              <a:off x="637683" y="3576798"/>
              <a:ext cx="5493008" cy="1884929"/>
            </a:xfrm>
            <a:prstGeom prst="rect">
              <a:avLst/>
            </a:prstGeom>
            <a:solidFill>
              <a:schemeClr val="bg1"/>
            </a:solidFill>
            <a:ln w="19050">
              <a:solidFill>
                <a:srgbClr val="FE5817"/>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5"/>
            </a:p>
          </p:txBody>
        </p:sp>
        <p:sp>
          <p:nvSpPr>
            <p:cNvPr id="7" name="Rectangle 6"/>
            <p:cNvSpPr>
              <a:spLocks noChangeArrowheads="1"/>
            </p:cNvSpPr>
            <p:nvPr>
              <p:custDataLst>
                <p:tags r:id="rId4"/>
              </p:custDataLst>
            </p:nvPr>
          </p:nvSpPr>
          <p:spPr bwMode="gray">
            <a:xfrm>
              <a:off x="774420" y="3641016"/>
              <a:ext cx="4255959" cy="19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63930">
                <a:spcAft>
                  <a:spcPct val="0"/>
                </a:spcAft>
                <a:tabLst>
                  <a:tab pos="190500" algn="l"/>
                </a:tabLst>
                <a:defRPr sz="2400">
                  <a:solidFill>
                    <a:schemeClr val="tx1"/>
                  </a:solidFill>
                  <a:latin typeface="Arial" panose="020B0604020202020204" pitchFamily="34" charset="0"/>
                </a:defRPr>
              </a:lvl1pPr>
              <a:lvl2pPr marL="114300" defTabSz="963930">
                <a:spcAft>
                  <a:spcPct val="0"/>
                </a:spcAft>
                <a:tabLst>
                  <a:tab pos="190500" algn="l"/>
                </a:tabLst>
                <a:defRPr sz="2400">
                  <a:solidFill>
                    <a:schemeClr val="tx1"/>
                  </a:solidFill>
                  <a:latin typeface="Arial" panose="020B0604020202020204" pitchFamily="34" charset="0"/>
                </a:defRPr>
              </a:lvl2pPr>
              <a:lvl3pPr marL="228600" defTabSz="963930">
                <a:spcAft>
                  <a:spcPct val="0"/>
                </a:spcAft>
                <a:tabLst>
                  <a:tab pos="190500" algn="l"/>
                </a:tabLst>
                <a:defRPr sz="2400">
                  <a:solidFill>
                    <a:schemeClr val="tx1"/>
                  </a:solidFill>
                  <a:latin typeface="Arial" panose="020B0604020202020204" pitchFamily="34" charset="0"/>
                </a:defRPr>
              </a:lvl3pPr>
              <a:lvl4pPr marL="342900" defTabSz="963930">
                <a:spcAft>
                  <a:spcPct val="0"/>
                </a:spcAft>
                <a:tabLst>
                  <a:tab pos="190500" algn="l"/>
                </a:tabLst>
                <a:defRPr sz="2400">
                  <a:solidFill>
                    <a:schemeClr val="tx1"/>
                  </a:solidFill>
                  <a:latin typeface="Arial" panose="020B0604020202020204" pitchFamily="34" charset="0"/>
                </a:defRPr>
              </a:lvl4pPr>
              <a:lvl5pPr marL="457200" defTabSz="963930">
                <a:spcAft>
                  <a:spcPct val="0"/>
                </a:spcAft>
                <a:tabLst>
                  <a:tab pos="190500" algn="l"/>
                </a:tabLst>
                <a:defRPr sz="2400">
                  <a:solidFill>
                    <a:schemeClr val="tx1"/>
                  </a:solidFill>
                  <a:latin typeface="Arial" panose="020B0604020202020204" pitchFamily="34" charset="0"/>
                </a:defRPr>
              </a:lvl5pPr>
              <a:lvl6pPr marL="914400" defTabSz="963930" fontAlgn="base">
                <a:spcBef>
                  <a:spcPct val="0"/>
                </a:spcBef>
                <a:spcAft>
                  <a:spcPct val="0"/>
                </a:spcAft>
                <a:tabLst>
                  <a:tab pos="190500" algn="l"/>
                </a:tabLst>
                <a:defRPr sz="2400">
                  <a:solidFill>
                    <a:schemeClr val="tx1"/>
                  </a:solidFill>
                  <a:latin typeface="Arial" panose="020B0604020202020204" pitchFamily="34" charset="0"/>
                </a:defRPr>
              </a:lvl6pPr>
              <a:lvl7pPr marL="1371600" defTabSz="963930" fontAlgn="base">
                <a:spcBef>
                  <a:spcPct val="0"/>
                </a:spcBef>
                <a:spcAft>
                  <a:spcPct val="0"/>
                </a:spcAft>
                <a:tabLst>
                  <a:tab pos="190500" algn="l"/>
                </a:tabLst>
                <a:defRPr sz="2400">
                  <a:solidFill>
                    <a:schemeClr val="tx1"/>
                  </a:solidFill>
                  <a:latin typeface="Arial" panose="020B0604020202020204" pitchFamily="34" charset="0"/>
                </a:defRPr>
              </a:lvl7pPr>
              <a:lvl8pPr marL="1828800" defTabSz="963930" fontAlgn="base">
                <a:spcBef>
                  <a:spcPct val="0"/>
                </a:spcBef>
                <a:spcAft>
                  <a:spcPct val="0"/>
                </a:spcAft>
                <a:tabLst>
                  <a:tab pos="190500" algn="l"/>
                </a:tabLst>
                <a:defRPr sz="2400">
                  <a:solidFill>
                    <a:schemeClr val="tx1"/>
                  </a:solidFill>
                  <a:latin typeface="Arial" panose="020B0604020202020204" pitchFamily="34" charset="0"/>
                </a:defRPr>
              </a:lvl8pPr>
              <a:lvl9pPr marL="2286000" defTabSz="963930" fontAlgn="base">
                <a:spcBef>
                  <a:spcPct val="0"/>
                </a:spcBef>
                <a:spcAft>
                  <a:spcPct val="0"/>
                </a:spcAft>
                <a:tabLst>
                  <a:tab pos="190500" algn="l"/>
                </a:tabLst>
                <a:defRPr sz="2400">
                  <a:solidFill>
                    <a:schemeClr val="tx1"/>
                  </a:solidFill>
                  <a:latin typeface="Arial" panose="020B0604020202020204" pitchFamily="34" charset="0"/>
                </a:defRPr>
              </a:lvl9pPr>
            </a:lstStyle>
            <a:p>
              <a:pPr eaLnBrk="0" hangingPunct="0">
                <a:lnSpc>
                  <a:spcPct val="90000"/>
                </a:lnSpc>
              </a:pPr>
              <a:r>
                <a:rPr lang="en-US" altLang="zh-CN" sz="1430" b="1" dirty="0">
                  <a:latin typeface="华文楷体" panose="02010600040101010101" charset="-122"/>
                </a:rPr>
                <a:t>3	</a:t>
              </a:r>
              <a:r>
                <a:rPr lang="zh-CN" altLang="en-US" sz="1430" b="1" dirty="0">
                  <a:latin typeface="华文楷体" panose="02010600040101010101" charset="-122"/>
                </a:rPr>
                <a:t>成功的标准</a:t>
              </a:r>
              <a:endParaRPr lang="zh-CN" altLang="en-US" sz="1430" b="1" dirty="0">
                <a:latin typeface="华文楷体" panose="02010600040101010101" charset="-122"/>
              </a:endParaRPr>
            </a:p>
          </p:txBody>
        </p:sp>
        <p:sp>
          <p:nvSpPr>
            <p:cNvPr id="8" name="Rectangle 7"/>
            <p:cNvSpPr>
              <a:spLocks noChangeArrowheads="1"/>
            </p:cNvSpPr>
            <p:nvPr>
              <p:custDataLst>
                <p:tags r:id="rId5"/>
              </p:custDataLst>
            </p:nvPr>
          </p:nvSpPr>
          <p:spPr bwMode="gray">
            <a:xfrm>
              <a:off x="6241791" y="3576798"/>
              <a:ext cx="5493008" cy="1884929"/>
            </a:xfrm>
            <a:prstGeom prst="rect">
              <a:avLst/>
            </a:prstGeom>
            <a:solidFill>
              <a:schemeClr val="bg1"/>
            </a:solidFill>
            <a:ln w="19050">
              <a:solidFill>
                <a:srgbClr val="FE5817"/>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5"/>
            </a:p>
          </p:txBody>
        </p:sp>
        <p:sp>
          <p:nvSpPr>
            <p:cNvPr id="9" name="Rectangle 8"/>
            <p:cNvSpPr>
              <a:spLocks noChangeArrowheads="1"/>
            </p:cNvSpPr>
            <p:nvPr>
              <p:custDataLst>
                <p:tags r:id="rId6"/>
              </p:custDataLst>
            </p:nvPr>
          </p:nvSpPr>
          <p:spPr bwMode="gray">
            <a:xfrm>
              <a:off x="637683" y="1610292"/>
              <a:ext cx="5493008" cy="1884929"/>
            </a:xfrm>
            <a:prstGeom prst="rect">
              <a:avLst/>
            </a:prstGeom>
            <a:solidFill>
              <a:schemeClr val="bg1"/>
            </a:solidFill>
            <a:ln w="19050">
              <a:solidFill>
                <a:srgbClr val="FE5817"/>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5"/>
            </a:p>
          </p:txBody>
        </p:sp>
        <p:sp>
          <p:nvSpPr>
            <p:cNvPr id="10" name="Rectangle 9"/>
            <p:cNvSpPr>
              <a:spLocks noChangeArrowheads="1"/>
            </p:cNvSpPr>
            <p:nvPr>
              <p:custDataLst>
                <p:tags r:id="rId7"/>
              </p:custDataLst>
            </p:nvPr>
          </p:nvSpPr>
          <p:spPr bwMode="gray">
            <a:xfrm>
              <a:off x="774420" y="1677982"/>
              <a:ext cx="4255959" cy="19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63930">
                <a:spcAft>
                  <a:spcPct val="0"/>
                </a:spcAft>
                <a:tabLst>
                  <a:tab pos="190500" algn="l"/>
                </a:tabLst>
                <a:defRPr sz="2400">
                  <a:solidFill>
                    <a:schemeClr val="tx1"/>
                  </a:solidFill>
                  <a:latin typeface="Arial" panose="020B0604020202020204" pitchFamily="34" charset="0"/>
                </a:defRPr>
              </a:lvl1pPr>
              <a:lvl2pPr marL="114300" defTabSz="963930">
                <a:spcAft>
                  <a:spcPct val="0"/>
                </a:spcAft>
                <a:tabLst>
                  <a:tab pos="190500" algn="l"/>
                </a:tabLst>
                <a:defRPr sz="2400">
                  <a:solidFill>
                    <a:schemeClr val="tx1"/>
                  </a:solidFill>
                  <a:latin typeface="Arial" panose="020B0604020202020204" pitchFamily="34" charset="0"/>
                </a:defRPr>
              </a:lvl2pPr>
              <a:lvl3pPr marL="228600" defTabSz="963930">
                <a:spcAft>
                  <a:spcPct val="0"/>
                </a:spcAft>
                <a:tabLst>
                  <a:tab pos="190500" algn="l"/>
                </a:tabLst>
                <a:defRPr sz="2400">
                  <a:solidFill>
                    <a:schemeClr val="tx1"/>
                  </a:solidFill>
                  <a:latin typeface="Arial" panose="020B0604020202020204" pitchFamily="34" charset="0"/>
                </a:defRPr>
              </a:lvl3pPr>
              <a:lvl4pPr marL="342900" defTabSz="963930">
                <a:spcAft>
                  <a:spcPct val="0"/>
                </a:spcAft>
                <a:tabLst>
                  <a:tab pos="190500" algn="l"/>
                </a:tabLst>
                <a:defRPr sz="2400">
                  <a:solidFill>
                    <a:schemeClr val="tx1"/>
                  </a:solidFill>
                  <a:latin typeface="Arial" panose="020B0604020202020204" pitchFamily="34" charset="0"/>
                </a:defRPr>
              </a:lvl4pPr>
              <a:lvl5pPr marL="457200" defTabSz="963930">
                <a:spcAft>
                  <a:spcPct val="0"/>
                </a:spcAft>
                <a:tabLst>
                  <a:tab pos="190500" algn="l"/>
                </a:tabLst>
                <a:defRPr sz="2400">
                  <a:solidFill>
                    <a:schemeClr val="tx1"/>
                  </a:solidFill>
                  <a:latin typeface="Arial" panose="020B0604020202020204" pitchFamily="34" charset="0"/>
                </a:defRPr>
              </a:lvl5pPr>
              <a:lvl6pPr marL="914400" defTabSz="963930" fontAlgn="base">
                <a:spcBef>
                  <a:spcPct val="0"/>
                </a:spcBef>
                <a:spcAft>
                  <a:spcPct val="0"/>
                </a:spcAft>
                <a:tabLst>
                  <a:tab pos="190500" algn="l"/>
                </a:tabLst>
                <a:defRPr sz="2400">
                  <a:solidFill>
                    <a:schemeClr val="tx1"/>
                  </a:solidFill>
                  <a:latin typeface="Arial" panose="020B0604020202020204" pitchFamily="34" charset="0"/>
                </a:defRPr>
              </a:lvl6pPr>
              <a:lvl7pPr marL="1371600" defTabSz="963930" fontAlgn="base">
                <a:spcBef>
                  <a:spcPct val="0"/>
                </a:spcBef>
                <a:spcAft>
                  <a:spcPct val="0"/>
                </a:spcAft>
                <a:tabLst>
                  <a:tab pos="190500" algn="l"/>
                </a:tabLst>
                <a:defRPr sz="2400">
                  <a:solidFill>
                    <a:schemeClr val="tx1"/>
                  </a:solidFill>
                  <a:latin typeface="Arial" panose="020B0604020202020204" pitchFamily="34" charset="0"/>
                </a:defRPr>
              </a:lvl7pPr>
              <a:lvl8pPr marL="1828800" defTabSz="963930" fontAlgn="base">
                <a:spcBef>
                  <a:spcPct val="0"/>
                </a:spcBef>
                <a:spcAft>
                  <a:spcPct val="0"/>
                </a:spcAft>
                <a:tabLst>
                  <a:tab pos="190500" algn="l"/>
                </a:tabLst>
                <a:defRPr sz="2400">
                  <a:solidFill>
                    <a:schemeClr val="tx1"/>
                  </a:solidFill>
                  <a:latin typeface="Arial" panose="020B0604020202020204" pitchFamily="34" charset="0"/>
                </a:defRPr>
              </a:lvl8pPr>
              <a:lvl9pPr marL="2286000" defTabSz="963930" fontAlgn="base">
                <a:spcBef>
                  <a:spcPct val="0"/>
                </a:spcBef>
                <a:spcAft>
                  <a:spcPct val="0"/>
                </a:spcAft>
                <a:tabLst>
                  <a:tab pos="190500" algn="l"/>
                </a:tabLst>
                <a:defRPr sz="2400">
                  <a:solidFill>
                    <a:schemeClr val="tx1"/>
                  </a:solidFill>
                  <a:latin typeface="Arial" panose="020B0604020202020204" pitchFamily="34" charset="0"/>
                </a:defRPr>
              </a:lvl9pPr>
            </a:lstStyle>
            <a:p>
              <a:pPr eaLnBrk="0" hangingPunct="0">
                <a:lnSpc>
                  <a:spcPct val="90000"/>
                </a:lnSpc>
              </a:pPr>
              <a:r>
                <a:rPr lang="en-US" altLang="zh-CN" sz="1430" b="1" dirty="0">
                  <a:latin typeface="华文楷体" panose="02010600040101010101" charset="-122"/>
                </a:rPr>
                <a:t>1	</a:t>
              </a:r>
              <a:r>
                <a:rPr lang="zh-CN" altLang="en-US" sz="1430" b="1" dirty="0">
                  <a:latin typeface="华文楷体" panose="02010600040101010101" charset="-122"/>
                </a:rPr>
                <a:t>项目整体情况</a:t>
              </a:r>
              <a:r>
                <a:rPr lang="en-US" altLang="zh-CN" sz="1430" b="1" dirty="0">
                  <a:latin typeface="华文楷体" panose="02010600040101010101" charset="-122"/>
                </a:rPr>
                <a:t>/</a:t>
              </a:r>
              <a:r>
                <a:rPr lang="zh-CN" altLang="en-US" sz="1430" b="1" dirty="0">
                  <a:latin typeface="华文楷体" panose="02010600040101010101" charset="-122"/>
                </a:rPr>
                <a:t>背景</a:t>
              </a:r>
              <a:endParaRPr lang="zh-CN" altLang="en-US" sz="1430" b="1" dirty="0">
                <a:latin typeface="华文楷体" panose="02010600040101010101" charset="-122"/>
              </a:endParaRPr>
            </a:p>
          </p:txBody>
        </p:sp>
        <p:sp>
          <p:nvSpPr>
            <p:cNvPr id="11" name="Rectangle 10"/>
            <p:cNvSpPr>
              <a:spLocks noChangeArrowheads="1"/>
            </p:cNvSpPr>
            <p:nvPr>
              <p:custDataLst>
                <p:tags r:id="rId8"/>
              </p:custDataLst>
            </p:nvPr>
          </p:nvSpPr>
          <p:spPr bwMode="gray">
            <a:xfrm>
              <a:off x="6241791" y="1610292"/>
              <a:ext cx="5493008" cy="1884929"/>
            </a:xfrm>
            <a:prstGeom prst="rect">
              <a:avLst/>
            </a:prstGeom>
            <a:solidFill>
              <a:schemeClr val="bg1"/>
            </a:solidFill>
            <a:ln w="19050">
              <a:solidFill>
                <a:srgbClr val="FE5817"/>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5"/>
            </a:p>
          </p:txBody>
        </p:sp>
        <p:sp>
          <p:nvSpPr>
            <p:cNvPr id="12" name="Rectangle 11"/>
            <p:cNvSpPr>
              <a:spLocks noChangeArrowheads="1"/>
            </p:cNvSpPr>
            <p:nvPr>
              <p:custDataLst>
                <p:tags r:id="rId9"/>
              </p:custDataLst>
            </p:nvPr>
          </p:nvSpPr>
          <p:spPr bwMode="gray">
            <a:xfrm>
              <a:off x="6365709" y="1677982"/>
              <a:ext cx="5347724" cy="19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63930">
                <a:spcAft>
                  <a:spcPct val="0"/>
                </a:spcAft>
                <a:tabLst>
                  <a:tab pos="190500" algn="l"/>
                </a:tabLst>
                <a:defRPr sz="2400">
                  <a:solidFill>
                    <a:schemeClr val="tx1"/>
                  </a:solidFill>
                  <a:latin typeface="Arial" panose="020B0604020202020204" pitchFamily="34" charset="0"/>
                </a:defRPr>
              </a:lvl1pPr>
              <a:lvl2pPr marL="114300" defTabSz="963930">
                <a:spcAft>
                  <a:spcPct val="0"/>
                </a:spcAft>
                <a:tabLst>
                  <a:tab pos="190500" algn="l"/>
                </a:tabLst>
                <a:defRPr sz="2400">
                  <a:solidFill>
                    <a:schemeClr val="tx1"/>
                  </a:solidFill>
                  <a:latin typeface="Arial" panose="020B0604020202020204" pitchFamily="34" charset="0"/>
                </a:defRPr>
              </a:lvl2pPr>
              <a:lvl3pPr marL="228600" defTabSz="963930">
                <a:spcAft>
                  <a:spcPct val="0"/>
                </a:spcAft>
                <a:tabLst>
                  <a:tab pos="190500" algn="l"/>
                </a:tabLst>
                <a:defRPr sz="2400">
                  <a:solidFill>
                    <a:schemeClr val="tx1"/>
                  </a:solidFill>
                  <a:latin typeface="Arial" panose="020B0604020202020204" pitchFamily="34" charset="0"/>
                </a:defRPr>
              </a:lvl3pPr>
              <a:lvl4pPr marL="342900" defTabSz="963930">
                <a:spcAft>
                  <a:spcPct val="0"/>
                </a:spcAft>
                <a:tabLst>
                  <a:tab pos="190500" algn="l"/>
                </a:tabLst>
                <a:defRPr sz="2400">
                  <a:solidFill>
                    <a:schemeClr val="tx1"/>
                  </a:solidFill>
                  <a:latin typeface="Arial" panose="020B0604020202020204" pitchFamily="34" charset="0"/>
                </a:defRPr>
              </a:lvl4pPr>
              <a:lvl5pPr marL="457200" defTabSz="963930">
                <a:spcAft>
                  <a:spcPct val="0"/>
                </a:spcAft>
                <a:tabLst>
                  <a:tab pos="190500" algn="l"/>
                </a:tabLst>
                <a:defRPr sz="2400">
                  <a:solidFill>
                    <a:schemeClr val="tx1"/>
                  </a:solidFill>
                  <a:latin typeface="Arial" panose="020B0604020202020204" pitchFamily="34" charset="0"/>
                </a:defRPr>
              </a:lvl5pPr>
              <a:lvl6pPr marL="914400" defTabSz="963930" fontAlgn="base">
                <a:spcBef>
                  <a:spcPct val="0"/>
                </a:spcBef>
                <a:spcAft>
                  <a:spcPct val="0"/>
                </a:spcAft>
                <a:tabLst>
                  <a:tab pos="190500" algn="l"/>
                </a:tabLst>
                <a:defRPr sz="2400">
                  <a:solidFill>
                    <a:schemeClr val="tx1"/>
                  </a:solidFill>
                  <a:latin typeface="Arial" panose="020B0604020202020204" pitchFamily="34" charset="0"/>
                </a:defRPr>
              </a:lvl6pPr>
              <a:lvl7pPr marL="1371600" defTabSz="963930" fontAlgn="base">
                <a:spcBef>
                  <a:spcPct val="0"/>
                </a:spcBef>
                <a:spcAft>
                  <a:spcPct val="0"/>
                </a:spcAft>
                <a:tabLst>
                  <a:tab pos="190500" algn="l"/>
                </a:tabLst>
                <a:defRPr sz="2400">
                  <a:solidFill>
                    <a:schemeClr val="tx1"/>
                  </a:solidFill>
                  <a:latin typeface="Arial" panose="020B0604020202020204" pitchFamily="34" charset="0"/>
                </a:defRPr>
              </a:lvl7pPr>
              <a:lvl8pPr marL="1828800" defTabSz="963930" fontAlgn="base">
                <a:spcBef>
                  <a:spcPct val="0"/>
                </a:spcBef>
                <a:spcAft>
                  <a:spcPct val="0"/>
                </a:spcAft>
                <a:tabLst>
                  <a:tab pos="190500" algn="l"/>
                </a:tabLst>
                <a:defRPr sz="2400">
                  <a:solidFill>
                    <a:schemeClr val="tx1"/>
                  </a:solidFill>
                  <a:latin typeface="Arial" panose="020B0604020202020204" pitchFamily="34" charset="0"/>
                </a:defRPr>
              </a:lvl8pPr>
              <a:lvl9pPr marL="2286000" defTabSz="963930" fontAlgn="base">
                <a:spcBef>
                  <a:spcPct val="0"/>
                </a:spcBef>
                <a:spcAft>
                  <a:spcPct val="0"/>
                </a:spcAft>
                <a:tabLst>
                  <a:tab pos="190500" algn="l"/>
                </a:tabLst>
                <a:defRPr sz="2400">
                  <a:solidFill>
                    <a:schemeClr val="tx1"/>
                  </a:solidFill>
                  <a:latin typeface="Arial" panose="020B0604020202020204" pitchFamily="34" charset="0"/>
                </a:defRPr>
              </a:lvl9pPr>
            </a:lstStyle>
            <a:p>
              <a:pPr eaLnBrk="0" hangingPunct="0">
                <a:lnSpc>
                  <a:spcPct val="90000"/>
                </a:lnSpc>
              </a:pPr>
              <a:r>
                <a:rPr lang="en-US" altLang="zh-CN" sz="1430" b="1" dirty="0">
                  <a:latin typeface="华文楷体" panose="02010600040101010101" charset="-122"/>
                </a:rPr>
                <a:t>2	</a:t>
              </a:r>
              <a:r>
                <a:rPr lang="zh-CN" altLang="en-US" sz="1430" b="1" dirty="0">
                  <a:latin typeface="华文楷体" panose="02010600040101010101" charset="-122"/>
                </a:rPr>
                <a:t>关键决策人和利益相关人</a:t>
              </a:r>
              <a:endParaRPr lang="zh-CN" altLang="en-US" sz="1430" b="1" dirty="0">
                <a:latin typeface="华文楷体" panose="02010600040101010101" charset="-122"/>
              </a:endParaRPr>
            </a:p>
          </p:txBody>
        </p:sp>
        <p:sp>
          <p:nvSpPr>
            <p:cNvPr id="13" name="Rectangle 12"/>
            <p:cNvSpPr>
              <a:spLocks noChangeArrowheads="1"/>
            </p:cNvSpPr>
            <p:nvPr>
              <p:custDataLst>
                <p:tags r:id="rId10"/>
              </p:custDataLst>
            </p:nvPr>
          </p:nvSpPr>
          <p:spPr bwMode="gray">
            <a:xfrm>
              <a:off x="6365709" y="3641016"/>
              <a:ext cx="4928965" cy="19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63930">
                <a:spcAft>
                  <a:spcPct val="0"/>
                </a:spcAft>
                <a:tabLst>
                  <a:tab pos="190500" algn="l"/>
                </a:tabLst>
                <a:defRPr sz="2400">
                  <a:solidFill>
                    <a:schemeClr val="tx1"/>
                  </a:solidFill>
                  <a:latin typeface="Arial" panose="020B0604020202020204" pitchFamily="34" charset="0"/>
                </a:defRPr>
              </a:lvl1pPr>
              <a:lvl2pPr marL="114300" defTabSz="963930">
                <a:spcAft>
                  <a:spcPct val="0"/>
                </a:spcAft>
                <a:tabLst>
                  <a:tab pos="190500" algn="l"/>
                </a:tabLst>
                <a:defRPr sz="2400">
                  <a:solidFill>
                    <a:schemeClr val="tx1"/>
                  </a:solidFill>
                  <a:latin typeface="Arial" panose="020B0604020202020204" pitchFamily="34" charset="0"/>
                </a:defRPr>
              </a:lvl2pPr>
              <a:lvl3pPr marL="228600" defTabSz="963930">
                <a:spcAft>
                  <a:spcPct val="0"/>
                </a:spcAft>
                <a:tabLst>
                  <a:tab pos="190500" algn="l"/>
                </a:tabLst>
                <a:defRPr sz="2400">
                  <a:solidFill>
                    <a:schemeClr val="tx1"/>
                  </a:solidFill>
                  <a:latin typeface="Arial" panose="020B0604020202020204" pitchFamily="34" charset="0"/>
                </a:defRPr>
              </a:lvl3pPr>
              <a:lvl4pPr marL="342900" defTabSz="963930">
                <a:spcAft>
                  <a:spcPct val="0"/>
                </a:spcAft>
                <a:tabLst>
                  <a:tab pos="190500" algn="l"/>
                </a:tabLst>
                <a:defRPr sz="2400">
                  <a:solidFill>
                    <a:schemeClr val="tx1"/>
                  </a:solidFill>
                  <a:latin typeface="Arial" panose="020B0604020202020204" pitchFamily="34" charset="0"/>
                </a:defRPr>
              </a:lvl4pPr>
              <a:lvl5pPr marL="457200" defTabSz="963930">
                <a:spcAft>
                  <a:spcPct val="0"/>
                </a:spcAft>
                <a:tabLst>
                  <a:tab pos="190500" algn="l"/>
                </a:tabLst>
                <a:defRPr sz="2400">
                  <a:solidFill>
                    <a:schemeClr val="tx1"/>
                  </a:solidFill>
                  <a:latin typeface="Arial" panose="020B0604020202020204" pitchFamily="34" charset="0"/>
                </a:defRPr>
              </a:lvl5pPr>
              <a:lvl6pPr marL="914400" defTabSz="963930" fontAlgn="base">
                <a:spcBef>
                  <a:spcPct val="0"/>
                </a:spcBef>
                <a:spcAft>
                  <a:spcPct val="0"/>
                </a:spcAft>
                <a:tabLst>
                  <a:tab pos="190500" algn="l"/>
                </a:tabLst>
                <a:defRPr sz="2400">
                  <a:solidFill>
                    <a:schemeClr val="tx1"/>
                  </a:solidFill>
                  <a:latin typeface="Arial" panose="020B0604020202020204" pitchFamily="34" charset="0"/>
                </a:defRPr>
              </a:lvl6pPr>
              <a:lvl7pPr marL="1371600" defTabSz="963930" fontAlgn="base">
                <a:spcBef>
                  <a:spcPct val="0"/>
                </a:spcBef>
                <a:spcAft>
                  <a:spcPct val="0"/>
                </a:spcAft>
                <a:tabLst>
                  <a:tab pos="190500" algn="l"/>
                </a:tabLst>
                <a:defRPr sz="2400">
                  <a:solidFill>
                    <a:schemeClr val="tx1"/>
                  </a:solidFill>
                  <a:latin typeface="Arial" panose="020B0604020202020204" pitchFamily="34" charset="0"/>
                </a:defRPr>
              </a:lvl7pPr>
              <a:lvl8pPr marL="1828800" defTabSz="963930" fontAlgn="base">
                <a:spcBef>
                  <a:spcPct val="0"/>
                </a:spcBef>
                <a:spcAft>
                  <a:spcPct val="0"/>
                </a:spcAft>
                <a:tabLst>
                  <a:tab pos="190500" algn="l"/>
                </a:tabLst>
                <a:defRPr sz="2400">
                  <a:solidFill>
                    <a:schemeClr val="tx1"/>
                  </a:solidFill>
                  <a:latin typeface="Arial" panose="020B0604020202020204" pitchFamily="34" charset="0"/>
                </a:defRPr>
              </a:lvl8pPr>
              <a:lvl9pPr marL="2286000" defTabSz="963930" fontAlgn="base">
                <a:spcBef>
                  <a:spcPct val="0"/>
                </a:spcBef>
                <a:spcAft>
                  <a:spcPct val="0"/>
                </a:spcAft>
                <a:tabLst>
                  <a:tab pos="190500" algn="l"/>
                </a:tabLst>
                <a:defRPr sz="2400">
                  <a:solidFill>
                    <a:schemeClr val="tx1"/>
                  </a:solidFill>
                  <a:latin typeface="Arial" panose="020B0604020202020204" pitchFamily="34" charset="0"/>
                </a:defRPr>
              </a:lvl9pPr>
            </a:lstStyle>
            <a:p>
              <a:pPr eaLnBrk="0" hangingPunct="0">
                <a:lnSpc>
                  <a:spcPct val="90000"/>
                </a:lnSpc>
              </a:pPr>
              <a:r>
                <a:rPr lang="en-US" altLang="zh-CN" sz="1430" b="1" dirty="0">
                  <a:latin typeface="华文楷体" panose="02010600040101010101" charset="-122"/>
                </a:rPr>
                <a:t>4	</a:t>
              </a:r>
              <a:r>
                <a:rPr lang="zh-CN" altLang="en-US" sz="1430" b="1" dirty="0">
                  <a:latin typeface="华文楷体" panose="02010600040101010101" charset="-122"/>
                </a:rPr>
                <a:t>解决方案的范围</a:t>
              </a:r>
              <a:r>
                <a:rPr lang="en-US" altLang="zh-CN" sz="1430" b="1" dirty="0">
                  <a:latin typeface="华文楷体" panose="02010600040101010101" charset="-122"/>
                </a:rPr>
                <a:t> </a:t>
              </a:r>
              <a:endParaRPr lang="en-US" altLang="zh-CN" sz="1430" b="1" dirty="0">
                <a:latin typeface="华文楷体" panose="02010600040101010101" charset="-122"/>
              </a:endParaRPr>
            </a:p>
          </p:txBody>
        </p:sp>
        <p:sp>
          <p:nvSpPr>
            <p:cNvPr id="14" name="Rectangle 13">
              <a:hlinkClick r:id="rId11" action="ppaction://hlinksldjump"/>
            </p:cNvPr>
            <p:cNvSpPr>
              <a:spLocks noChangeArrowheads="1"/>
            </p:cNvSpPr>
            <p:nvPr>
              <p:custDataLst>
                <p:tags r:id="rId12"/>
              </p:custDataLst>
            </p:nvPr>
          </p:nvSpPr>
          <p:spPr bwMode="gray">
            <a:xfrm>
              <a:off x="637683" y="699069"/>
              <a:ext cx="11097113" cy="831381"/>
            </a:xfrm>
            <a:prstGeom prst="rect">
              <a:avLst/>
            </a:prstGeom>
            <a:solidFill>
              <a:schemeClr val="bg1"/>
            </a:solidFill>
            <a:ln w="19050">
              <a:solidFill>
                <a:srgbClr val="FE5817"/>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5"/>
            </a:p>
          </p:txBody>
        </p:sp>
        <p:sp>
          <p:nvSpPr>
            <p:cNvPr id="15" name="Rectangle 14"/>
            <p:cNvSpPr>
              <a:spLocks noChangeArrowheads="1"/>
            </p:cNvSpPr>
            <p:nvPr>
              <p:custDataLst>
                <p:tags r:id="rId13"/>
              </p:custDataLst>
            </p:nvPr>
          </p:nvSpPr>
          <p:spPr bwMode="gray">
            <a:xfrm>
              <a:off x="774421" y="763288"/>
              <a:ext cx="4879824" cy="19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63930">
                <a:spcAft>
                  <a:spcPct val="0"/>
                </a:spcAft>
                <a:defRPr sz="2400">
                  <a:solidFill>
                    <a:schemeClr val="tx1"/>
                  </a:solidFill>
                  <a:latin typeface="Arial" panose="020B0604020202020204" pitchFamily="34" charset="0"/>
                </a:defRPr>
              </a:lvl1pPr>
              <a:lvl2pPr marL="114300" defTabSz="963930">
                <a:spcAft>
                  <a:spcPct val="0"/>
                </a:spcAft>
                <a:defRPr sz="2400">
                  <a:solidFill>
                    <a:schemeClr val="tx1"/>
                  </a:solidFill>
                  <a:latin typeface="Arial" panose="020B0604020202020204" pitchFamily="34" charset="0"/>
                </a:defRPr>
              </a:lvl2pPr>
              <a:lvl3pPr marL="228600" defTabSz="963930">
                <a:spcAft>
                  <a:spcPct val="0"/>
                </a:spcAft>
                <a:defRPr sz="2400">
                  <a:solidFill>
                    <a:schemeClr val="tx1"/>
                  </a:solidFill>
                  <a:latin typeface="Arial" panose="020B0604020202020204" pitchFamily="34" charset="0"/>
                </a:defRPr>
              </a:lvl3pPr>
              <a:lvl4pPr marL="342900" defTabSz="963930">
                <a:spcAft>
                  <a:spcPct val="0"/>
                </a:spcAft>
                <a:defRPr sz="2400">
                  <a:solidFill>
                    <a:schemeClr val="tx1"/>
                  </a:solidFill>
                  <a:latin typeface="Arial" panose="020B0604020202020204" pitchFamily="34" charset="0"/>
                </a:defRPr>
              </a:lvl4pPr>
              <a:lvl5pPr marL="457200" defTabSz="963930">
                <a:spcAft>
                  <a:spcPct val="0"/>
                </a:spcAft>
                <a:defRPr sz="2400">
                  <a:solidFill>
                    <a:schemeClr val="tx1"/>
                  </a:solidFill>
                  <a:latin typeface="Arial" panose="020B0604020202020204" pitchFamily="34" charset="0"/>
                </a:defRPr>
              </a:lvl5pPr>
              <a:lvl6pPr marL="914400" defTabSz="963930" fontAlgn="base">
                <a:spcBef>
                  <a:spcPct val="0"/>
                </a:spcBef>
                <a:spcAft>
                  <a:spcPct val="0"/>
                </a:spcAft>
                <a:defRPr sz="2400">
                  <a:solidFill>
                    <a:schemeClr val="tx1"/>
                  </a:solidFill>
                  <a:latin typeface="Arial" panose="020B0604020202020204" pitchFamily="34" charset="0"/>
                </a:defRPr>
              </a:lvl6pPr>
              <a:lvl7pPr marL="1371600" defTabSz="963930" fontAlgn="base">
                <a:spcBef>
                  <a:spcPct val="0"/>
                </a:spcBef>
                <a:spcAft>
                  <a:spcPct val="0"/>
                </a:spcAft>
                <a:defRPr sz="2400">
                  <a:solidFill>
                    <a:schemeClr val="tx1"/>
                  </a:solidFill>
                  <a:latin typeface="Arial" panose="020B0604020202020204" pitchFamily="34" charset="0"/>
                </a:defRPr>
              </a:lvl7pPr>
              <a:lvl8pPr marL="1828800" defTabSz="963930" fontAlgn="base">
                <a:spcBef>
                  <a:spcPct val="0"/>
                </a:spcBef>
                <a:spcAft>
                  <a:spcPct val="0"/>
                </a:spcAft>
                <a:defRPr sz="2400">
                  <a:solidFill>
                    <a:schemeClr val="tx1"/>
                  </a:solidFill>
                  <a:latin typeface="Arial" panose="020B0604020202020204" pitchFamily="34" charset="0"/>
                </a:defRPr>
              </a:lvl8pPr>
              <a:lvl9pPr marL="2286000" defTabSz="963930" fontAlgn="base">
                <a:spcBef>
                  <a:spcPct val="0"/>
                </a:spcBef>
                <a:spcAft>
                  <a:spcPct val="0"/>
                </a:spcAft>
                <a:defRPr sz="2400">
                  <a:solidFill>
                    <a:schemeClr val="tx1"/>
                  </a:solidFill>
                  <a:latin typeface="Arial" panose="020B0604020202020204" pitchFamily="34" charset="0"/>
                </a:defRPr>
              </a:lvl9pPr>
            </a:lstStyle>
            <a:p>
              <a:pPr eaLnBrk="0" hangingPunct="0">
                <a:lnSpc>
                  <a:spcPct val="90000"/>
                </a:lnSpc>
                <a:buClrTx/>
              </a:pPr>
              <a:r>
                <a:rPr lang="zh-CN" altLang="en-US" sz="1430" b="1" dirty="0">
                  <a:latin typeface="华文楷体" panose="02010600040101010101" charset="-122"/>
                </a:rPr>
                <a:t>待解决的基本问题</a:t>
              </a:r>
              <a:endParaRPr lang="zh-CN" altLang="en-US" sz="1430" b="1" dirty="0">
                <a:latin typeface="华文楷体" panose="02010600040101010101" charset="-122"/>
              </a:endParaRPr>
            </a:p>
          </p:txBody>
        </p:sp>
      </p:grpSp>
      <p:sp>
        <p:nvSpPr>
          <p:cNvPr id="2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内诊</a:t>
            </a:r>
            <a:r>
              <a:rPr lang="en-US" altLang="zh-CN" sz="2400" dirty="0" smtClean="0">
                <a:solidFill>
                  <a:prstClr val="black"/>
                </a:solidFill>
                <a:latin typeface="华文楷体" panose="02010600040101010101" charset="-122"/>
              </a:rPr>
              <a:t>-</a:t>
            </a:r>
            <a:r>
              <a:rPr lang="zh-CN" altLang="en-US" sz="2400" dirty="0">
                <a:solidFill>
                  <a:prstClr val="black"/>
                </a:solidFill>
                <a:latin typeface="华文楷体" panose="02010600040101010101" charset="-122"/>
              </a:rPr>
              <a:t>目标</a:t>
            </a:r>
            <a:r>
              <a:rPr lang="zh-CN" altLang="en-US" sz="2400" dirty="0" smtClean="0">
                <a:solidFill>
                  <a:prstClr val="black"/>
                </a:solidFill>
                <a:latin typeface="华文楷体" panose="02010600040101010101" charset="-122"/>
              </a:rPr>
              <a:t>分析</a:t>
            </a:r>
            <a:endParaRPr lang="zh-CN" altLang="en-US" sz="2400" dirty="0">
              <a:solidFill>
                <a:prstClr val="black"/>
              </a:solidFill>
              <a:latin typeface="华文楷体" panose="02010600040101010101" charset="-122"/>
            </a:endParaRPr>
          </a:p>
        </p:txBody>
      </p:sp>
      <p:pic>
        <p:nvPicPr>
          <p:cNvPr id="22" name="图片 2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2" name="Group 141"/>
          <p:cNvGrpSpPr/>
          <p:nvPr/>
        </p:nvGrpSpPr>
        <p:grpSpPr>
          <a:xfrm>
            <a:off x="11452864" y="46213"/>
            <a:ext cx="656639" cy="216647"/>
            <a:chOff x="8094033" y="285750"/>
            <a:chExt cx="643567" cy="212335"/>
          </a:xfrm>
        </p:grpSpPr>
        <p:sp>
          <p:nvSpPr>
            <p:cNvPr id="139" name="StickerRectangle"/>
            <p:cNvSpPr>
              <a:spLocks noChangeArrowheads="1"/>
            </p:cNvSpPr>
            <p:nvPr/>
          </p:nvSpPr>
          <p:spPr bwMode="auto">
            <a:xfrm>
              <a:off x="8094033" y="285750"/>
              <a:ext cx="643567" cy="2123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989" tIns="0" rIns="0" bIns="27989">
              <a:spAutoFit/>
            </a:bodyPr>
            <a:lstStyle/>
            <a:p>
              <a:pPr algn="r" defTabSz="913765">
                <a:buClr>
                  <a:schemeClr val="tx2"/>
                </a:buClr>
              </a:pPr>
              <a:r>
                <a:rPr lang="en-US" altLang="zh-CN" sz="1225" dirty="0" smtClean="0">
                  <a:solidFill>
                    <a:srgbClr val="808080"/>
                  </a:solidFill>
                </a:rPr>
                <a:t>xx</a:t>
              </a:r>
              <a:r>
                <a:rPr lang="zh-CN" altLang="en-US" sz="1225" dirty="0" smtClean="0">
                  <a:solidFill>
                    <a:srgbClr val="808080"/>
                  </a:solidFill>
                </a:rPr>
                <a:t>业</a:t>
              </a:r>
              <a:r>
                <a:rPr lang="zh-CN" altLang="en-US" sz="1225" dirty="0">
                  <a:solidFill>
                    <a:srgbClr val="808080"/>
                  </a:solidFill>
                </a:rPr>
                <a:t>案例</a:t>
              </a:r>
              <a:endParaRPr lang="en-US" sz="1225" dirty="0">
                <a:solidFill>
                  <a:srgbClr val="808080"/>
                </a:solidFill>
              </a:endParaRPr>
            </a:p>
          </p:txBody>
        </p:sp>
        <p:cxnSp>
          <p:nvCxnSpPr>
            <p:cNvPr id="140" name="AutoShape 31"/>
            <p:cNvCxnSpPr>
              <a:cxnSpLocks noChangeShapeType="1"/>
              <a:stCxn id="139" idx="2"/>
              <a:endCxn id="139" idx="4"/>
            </p:cNvCxnSpPr>
            <p:nvPr/>
          </p:nvCxnSpPr>
          <p:spPr bwMode="auto">
            <a:xfrm>
              <a:off x="8094033" y="285750"/>
              <a:ext cx="0" cy="212335"/>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141" name="AutoShape 32"/>
            <p:cNvCxnSpPr>
              <a:cxnSpLocks noChangeShapeType="1"/>
              <a:stCxn id="139" idx="4"/>
              <a:endCxn id="139" idx="6"/>
            </p:cNvCxnSpPr>
            <p:nvPr/>
          </p:nvCxnSpPr>
          <p:spPr bwMode="auto">
            <a:xfrm>
              <a:off x="8094033" y="498085"/>
              <a:ext cx="643567"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sp>
        <p:nvSpPr>
          <p:cNvPr id="14" name="TextBox 12"/>
          <p:cNvSpPr txBox="1"/>
          <p:nvPr>
            <p:custDataLst>
              <p:tags r:id="rId1"/>
            </p:custDataLst>
          </p:nvPr>
        </p:nvSpPr>
        <p:spPr>
          <a:xfrm>
            <a:off x="4941685" y="291555"/>
            <a:ext cx="1332130" cy="352623"/>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zh-CN" altLang="en-US" sz="1225" dirty="0"/>
              <a:t>个人</a:t>
            </a:r>
            <a:endParaRPr lang="en-US" sz="1225" dirty="0"/>
          </a:p>
        </p:txBody>
      </p:sp>
      <p:sp>
        <p:nvSpPr>
          <p:cNvPr id="4" name="TextBox 12"/>
          <p:cNvSpPr txBox="1"/>
          <p:nvPr>
            <p:custDataLst>
              <p:tags r:id="rId2"/>
            </p:custDataLst>
          </p:nvPr>
        </p:nvSpPr>
        <p:spPr>
          <a:xfrm>
            <a:off x="715616" y="2681270"/>
            <a:ext cx="1332130" cy="1259408"/>
          </a:xfrm>
          <a:prstGeom prst="rect">
            <a:avLst/>
          </a:prstGeom>
          <a:solidFill>
            <a:srgbClr val="D53E01"/>
          </a:solidFill>
          <a:ln w="9525">
            <a:noFill/>
            <a:miter lim="800000"/>
          </a:ln>
          <a:effectLst/>
        </p:spPr>
        <p:txBody>
          <a:bodyPr wrap="square" lIns="73472" tIns="73472" rIns="73472" bIns="73472" anchor="ctr" anchorCtr="0">
            <a:noAutofit/>
          </a:bodyPr>
          <a:lstStyle>
            <a:defPPr>
              <a:defRPr lang="en-US"/>
            </a:defPPr>
            <a:lvl1pPr>
              <a:defRPr>
                <a:latin typeface="+mn-lt"/>
              </a:defRPr>
            </a:lvl1pPr>
          </a:lstStyle>
          <a:p>
            <a:r>
              <a:rPr lang="en-US" altLang="zh-CN" sz="1225" b="1" dirty="0" smtClean="0">
                <a:solidFill>
                  <a:schemeClr val="bg1"/>
                </a:solidFill>
              </a:rPr>
              <a:t>xx</a:t>
            </a:r>
            <a:endParaRPr lang="en-US" altLang="zh-CN" sz="1225" b="1" dirty="0">
              <a:solidFill>
                <a:schemeClr val="bg1"/>
              </a:solidFill>
            </a:endParaRPr>
          </a:p>
          <a:p>
            <a:r>
              <a:rPr lang="zh-CN" altLang="en-US" sz="1225" b="1" dirty="0">
                <a:solidFill>
                  <a:schemeClr val="bg1"/>
                </a:solidFill>
              </a:rPr>
              <a:t>分析框架</a:t>
            </a:r>
            <a:endParaRPr lang="en-US" sz="1225" b="1" dirty="0">
              <a:solidFill>
                <a:schemeClr val="bg1"/>
              </a:solidFill>
            </a:endParaRPr>
          </a:p>
        </p:txBody>
      </p:sp>
      <p:sp>
        <p:nvSpPr>
          <p:cNvPr id="7" name="TextBox 12"/>
          <p:cNvSpPr txBox="1"/>
          <p:nvPr>
            <p:custDataLst>
              <p:tags r:id="rId3"/>
            </p:custDataLst>
          </p:nvPr>
        </p:nvSpPr>
        <p:spPr>
          <a:xfrm>
            <a:off x="2828651" y="1326029"/>
            <a:ext cx="1332130" cy="1288386"/>
          </a:xfrm>
          <a:prstGeom prst="rect">
            <a:avLst/>
          </a:prstGeom>
          <a:solidFill>
            <a:srgbClr val="FFC3AB"/>
          </a:solidFill>
          <a:ln w="9525">
            <a:noFill/>
            <a:miter lim="800000"/>
          </a:ln>
          <a:effectLst/>
        </p:spPr>
        <p:txBody>
          <a:bodyPr wrap="none" anchor="ctr"/>
          <a:lstStyle>
            <a:defPPr>
              <a:defRPr lang="en-US"/>
            </a:defPPr>
            <a:lvl1pPr>
              <a:buClr>
                <a:schemeClr val="tx2"/>
              </a:buClr>
              <a:defRPr sz="1225" b="1"/>
            </a:lvl1pPr>
          </a:lstStyle>
          <a:p>
            <a:r>
              <a:rPr lang="zh-CN" altLang="en-US" dirty="0"/>
              <a:t>业务</a:t>
            </a:r>
            <a:r>
              <a:rPr lang="en-US" altLang="zh-CN" dirty="0"/>
              <a:t>/</a:t>
            </a:r>
            <a:r>
              <a:rPr lang="zh-CN" altLang="en-US" dirty="0"/>
              <a:t>产品</a:t>
            </a:r>
            <a:endParaRPr lang="en-US" dirty="0"/>
          </a:p>
        </p:txBody>
      </p:sp>
      <p:sp>
        <p:nvSpPr>
          <p:cNvPr id="8" name="TextBox 12"/>
          <p:cNvSpPr txBox="1"/>
          <p:nvPr>
            <p:custDataLst>
              <p:tags r:id="rId4"/>
            </p:custDataLst>
          </p:nvPr>
        </p:nvSpPr>
        <p:spPr>
          <a:xfrm>
            <a:off x="2828651" y="2681270"/>
            <a:ext cx="1332130" cy="1259408"/>
          </a:xfrm>
          <a:prstGeom prst="rect">
            <a:avLst/>
          </a:prstGeom>
          <a:solidFill>
            <a:srgbClr val="FFC3AB"/>
          </a:solidFill>
          <a:ln w="9525">
            <a:noFill/>
            <a:miter lim="800000"/>
          </a:ln>
          <a:effectLst/>
        </p:spPr>
        <p:txBody>
          <a:bodyPr wrap="none" anchor="ctr"/>
          <a:lstStyle>
            <a:defPPr>
              <a:defRPr lang="en-US"/>
            </a:defPPr>
            <a:lvl1pPr>
              <a:buClr>
                <a:schemeClr val="tx2"/>
              </a:buClr>
              <a:defRPr sz="1225" b="1"/>
            </a:lvl1pPr>
          </a:lstStyle>
          <a:p>
            <a:r>
              <a:rPr lang="zh-CN" altLang="en-US" dirty="0"/>
              <a:t>渠道</a:t>
            </a:r>
            <a:endParaRPr lang="en-US" dirty="0"/>
          </a:p>
        </p:txBody>
      </p:sp>
      <p:sp>
        <p:nvSpPr>
          <p:cNvPr id="20" name="TextBox 12"/>
          <p:cNvSpPr txBox="1"/>
          <p:nvPr>
            <p:custDataLst>
              <p:tags r:id="rId5"/>
            </p:custDataLst>
          </p:nvPr>
        </p:nvSpPr>
        <p:spPr>
          <a:xfrm>
            <a:off x="4941685" y="1977934"/>
            <a:ext cx="1332130" cy="336764"/>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en-US" altLang="zh-CN" sz="1225" dirty="0" smtClean="0"/>
              <a:t>xx</a:t>
            </a:r>
            <a:endParaRPr lang="en-US" sz="1225" dirty="0"/>
          </a:p>
        </p:txBody>
      </p:sp>
      <p:grpSp>
        <p:nvGrpSpPr>
          <p:cNvPr id="160" name="Group 159"/>
          <p:cNvGrpSpPr/>
          <p:nvPr/>
        </p:nvGrpSpPr>
        <p:grpSpPr>
          <a:xfrm>
            <a:off x="4941685" y="1294609"/>
            <a:ext cx="1332130" cy="1343298"/>
            <a:chOff x="3822271" y="1537370"/>
            <a:chExt cx="1104900" cy="1271626"/>
          </a:xfrm>
        </p:grpSpPr>
        <p:sp>
          <p:nvSpPr>
            <p:cNvPr id="18" name="TextBox 12"/>
            <p:cNvSpPr txBox="1"/>
            <p:nvPr>
              <p:custDataLst>
                <p:tags r:id="rId6"/>
              </p:custDataLst>
            </p:nvPr>
          </p:nvSpPr>
          <p:spPr>
            <a:xfrm>
              <a:off x="3822271" y="1537370"/>
              <a:ext cx="1104900" cy="333809"/>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zh-CN" altLang="en-US" sz="1225" dirty="0"/>
                <a:t>大中企业</a:t>
              </a:r>
              <a:endParaRPr lang="en-US" sz="1225" dirty="0"/>
            </a:p>
          </p:txBody>
        </p:sp>
        <p:sp>
          <p:nvSpPr>
            <p:cNvPr id="21" name="TextBox 12"/>
            <p:cNvSpPr txBox="1"/>
            <p:nvPr>
              <p:custDataLst>
                <p:tags r:id="rId7"/>
              </p:custDataLst>
            </p:nvPr>
          </p:nvSpPr>
          <p:spPr>
            <a:xfrm>
              <a:off x="3822271" y="2490200"/>
              <a:ext cx="1104900" cy="318796"/>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en-US" altLang="zh-CN" sz="1225" dirty="0" smtClean="0"/>
                <a:t>xx</a:t>
              </a:r>
              <a:endParaRPr lang="en-US" sz="1225" dirty="0"/>
            </a:p>
          </p:txBody>
        </p:sp>
      </p:grpSp>
      <p:sp>
        <p:nvSpPr>
          <p:cNvPr id="27" name="TextBox 12"/>
          <p:cNvSpPr txBox="1"/>
          <p:nvPr>
            <p:custDataLst>
              <p:tags r:id="rId8"/>
            </p:custDataLst>
          </p:nvPr>
        </p:nvSpPr>
        <p:spPr>
          <a:xfrm>
            <a:off x="4941685" y="2980988"/>
            <a:ext cx="1332130" cy="336764"/>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en-US" altLang="zh-CN" sz="1225" dirty="0" smtClean="0"/>
              <a:t>xx</a:t>
            </a:r>
            <a:endParaRPr lang="en-US" sz="1225" dirty="0"/>
          </a:p>
        </p:txBody>
      </p:sp>
      <p:sp>
        <p:nvSpPr>
          <p:cNvPr id="28" name="TextBox 12"/>
          <p:cNvSpPr txBox="1"/>
          <p:nvPr>
            <p:custDataLst>
              <p:tags r:id="rId9"/>
            </p:custDataLst>
          </p:nvPr>
        </p:nvSpPr>
        <p:spPr>
          <a:xfrm>
            <a:off x="4941685" y="3304198"/>
            <a:ext cx="1332130" cy="336764"/>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en-US" altLang="zh-CN" sz="1225" dirty="0" smtClean="0"/>
              <a:t>xx</a:t>
            </a:r>
            <a:endParaRPr lang="en-US" sz="1225" dirty="0"/>
          </a:p>
        </p:txBody>
      </p:sp>
      <p:grpSp>
        <p:nvGrpSpPr>
          <p:cNvPr id="161" name="Group 160"/>
          <p:cNvGrpSpPr/>
          <p:nvPr/>
        </p:nvGrpSpPr>
        <p:grpSpPr>
          <a:xfrm>
            <a:off x="4941685" y="2657779"/>
            <a:ext cx="1332130" cy="1306391"/>
            <a:chOff x="3822271" y="2827808"/>
            <a:chExt cx="1104900" cy="1236688"/>
          </a:xfrm>
        </p:grpSpPr>
        <p:sp>
          <p:nvSpPr>
            <p:cNvPr id="26" name="TextBox 12"/>
            <p:cNvSpPr txBox="1"/>
            <p:nvPr>
              <p:custDataLst>
                <p:tags r:id="rId10"/>
              </p:custDataLst>
            </p:nvPr>
          </p:nvSpPr>
          <p:spPr>
            <a:xfrm>
              <a:off x="3822271" y="2827808"/>
              <a:ext cx="1104900" cy="318796"/>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en-US" altLang="zh-CN" sz="1225" dirty="0" smtClean="0"/>
                <a:t>xx</a:t>
              </a:r>
              <a:endParaRPr lang="en-US" sz="1225" dirty="0"/>
            </a:p>
          </p:txBody>
        </p:sp>
        <p:sp>
          <p:nvSpPr>
            <p:cNvPr id="29" name="TextBox 12"/>
            <p:cNvSpPr txBox="1"/>
            <p:nvPr>
              <p:custDataLst>
                <p:tags r:id="rId11"/>
              </p:custDataLst>
            </p:nvPr>
          </p:nvSpPr>
          <p:spPr>
            <a:xfrm>
              <a:off x="3822271" y="3745700"/>
              <a:ext cx="1104900" cy="318796"/>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en-US" altLang="zh-CN" sz="1225" dirty="0" smtClean="0"/>
                <a:t>xx</a:t>
              </a:r>
              <a:endParaRPr lang="en-US" sz="1225" dirty="0"/>
            </a:p>
          </p:txBody>
        </p:sp>
      </p:grpSp>
      <p:sp>
        <p:nvSpPr>
          <p:cNvPr id="33" name="TextBox 12"/>
          <p:cNvSpPr txBox="1"/>
          <p:nvPr>
            <p:custDataLst>
              <p:tags r:id="rId12"/>
            </p:custDataLst>
          </p:nvPr>
        </p:nvSpPr>
        <p:spPr>
          <a:xfrm>
            <a:off x="4941685" y="3976114"/>
            <a:ext cx="1332130" cy="352623"/>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en-US" sz="1225" dirty="0"/>
              <a:t> </a:t>
            </a:r>
            <a:r>
              <a:rPr lang="zh-CN" altLang="en-US" sz="1225" dirty="0"/>
              <a:t>品牌形象</a:t>
            </a:r>
            <a:endParaRPr lang="en-US" sz="1225" dirty="0"/>
          </a:p>
        </p:txBody>
      </p:sp>
      <p:sp>
        <p:nvSpPr>
          <p:cNvPr id="34" name="TextBox 12"/>
          <p:cNvSpPr txBox="1"/>
          <p:nvPr>
            <p:custDataLst>
              <p:tags r:id="rId13"/>
            </p:custDataLst>
          </p:nvPr>
        </p:nvSpPr>
        <p:spPr>
          <a:xfrm>
            <a:off x="4941685" y="4299323"/>
            <a:ext cx="1332130" cy="352623"/>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zh-CN" altLang="en-US" sz="1225" dirty="0"/>
              <a:t>营销策略</a:t>
            </a:r>
            <a:endParaRPr lang="en-US" sz="1225" dirty="0"/>
          </a:p>
        </p:txBody>
      </p:sp>
      <p:sp>
        <p:nvSpPr>
          <p:cNvPr id="9" name="TextBox 12"/>
          <p:cNvSpPr txBox="1"/>
          <p:nvPr>
            <p:custDataLst>
              <p:tags r:id="rId14"/>
            </p:custDataLst>
          </p:nvPr>
        </p:nvSpPr>
        <p:spPr>
          <a:xfrm>
            <a:off x="2828651" y="4007533"/>
            <a:ext cx="1332130" cy="612991"/>
          </a:xfrm>
          <a:prstGeom prst="rect">
            <a:avLst/>
          </a:prstGeom>
          <a:solidFill>
            <a:srgbClr val="FFC3AB"/>
          </a:solidFill>
          <a:ln w="9525">
            <a:noFill/>
            <a:miter lim="800000"/>
          </a:ln>
          <a:effectLst/>
        </p:spPr>
        <p:txBody>
          <a:bodyPr wrap="none" anchor="ctr"/>
          <a:lstStyle>
            <a:defPPr>
              <a:defRPr lang="en-US"/>
            </a:defPPr>
            <a:lvl1pPr>
              <a:buClr>
                <a:schemeClr val="tx2"/>
              </a:buClr>
              <a:defRPr sz="1225" b="1"/>
            </a:lvl1pPr>
          </a:lstStyle>
          <a:p>
            <a:r>
              <a:rPr lang="zh-CN" altLang="en-US" dirty="0"/>
              <a:t>营销</a:t>
            </a:r>
            <a:endParaRPr lang="en-US" dirty="0"/>
          </a:p>
        </p:txBody>
      </p:sp>
      <p:sp>
        <p:nvSpPr>
          <p:cNvPr id="6" name="TextBox 12"/>
          <p:cNvSpPr txBox="1"/>
          <p:nvPr>
            <p:custDataLst>
              <p:tags r:id="rId15"/>
            </p:custDataLst>
          </p:nvPr>
        </p:nvSpPr>
        <p:spPr>
          <a:xfrm>
            <a:off x="2828651" y="322975"/>
            <a:ext cx="1332130" cy="936199"/>
          </a:xfrm>
          <a:prstGeom prst="rect">
            <a:avLst/>
          </a:prstGeom>
          <a:solidFill>
            <a:srgbClr val="FFC3AB"/>
          </a:solidFill>
          <a:ln w="9525">
            <a:noFill/>
            <a:miter lim="800000"/>
          </a:ln>
          <a:effectLst/>
        </p:spPr>
        <p:txBody>
          <a:bodyPr wrap="none" anchor="ctr"/>
          <a:lstStyle>
            <a:defPPr>
              <a:defRPr lang="en-US"/>
            </a:defPPr>
            <a:lvl1pPr>
              <a:defRPr>
                <a:latin typeface="+mn-lt"/>
              </a:defRPr>
            </a:lvl1pPr>
          </a:lstStyle>
          <a:p>
            <a:pPr>
              <a:buClr>
                <a:schemeClr val="tx2"/>
              </a:buClr>
            </a:pPr>
            <a:r>
              <a:rPr lang="zh-CN" altLang="en-US" sz="1225" b="1" dirty="0"/>
              <a:t>客户</a:t>
            </a:r>
            <a:endParaRPr lang="en-US" sz="1225" b="1" dirty="0"/>
          </a:p>
        </p:txBody>
      </p:sp>
      <p:sp>
        <p:nvSpPr>
          <p:cNvPr id="37" name="TextBox 36"/>
          <p:cNvSpPr txBox="1"/>
          <p:nvPr/>
        </p:nvSpPr>
        <p:spPr>
          <a:xfrm>
            <a:off x="6581814" y="370329"/>
            <a:ext cx="3858585" cy="199002"/>
          </a:xfrm>
          <a:prstGeom prst="rect">
            <a:avLst/>
          </a:prstGeom>
          <a:noFill/>
          <a:effectLst/>
        </p:spPr>
        <p:txBody>
          <a:bodyPr wrap="square" lIns="0" tIns="0" rIns="0" bIns="0" rtlCol="0">
            <a:spAutoFit/>
          </a:bodyPr>
          <a:lstStyle/>
          <a:p>
            <a:r>
              <a:rPr lang="zh-CN" altLang="en-US" sz="1225" dirty="0"/>
              <a:t>资产规模、职业、年龄、区域 </a:t>
            </a:r>
            <a:r>
              <a:rPr lang="en-US" altLang="zh-CN" sz="1225" dirty="0"/>
              <a:t>…</a:t>
            </a:r>
            <a:endParaRPr lang="zh-CN" altLang="en-US" sz="1225" dirty="0"/>
          </a:p>
        </p:txBody>
      </p:sp>
      <p:sp>
        <p:nvSpPr>
          <p:cNvPr id="15" name="TextBox 12"/>
          <p:cNvSpPr txBox="1"/>
          <p:nvPr>
            <p:custDataLst>
              <p:tags r:id="rId16"/>
            </p:custDataLst>
          </p:nvPr>
        </p:nvSpPr>
        <p:spPr>
          <a:xfrm>
            <a:off x="4941685" y="614764"/>
            <a:ext cx="1332130" cy="352623"/>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zh-CN" altLang="en-US" sz="1225" dirty="0"/>
              <a:t>企业</a:t>
            </a:r>
            <a:endParaRPr lang="en-US" sz="1225" dirty="0"/>
          </a:p>
        </p:txBody>
      </p:sp>
      <p:sp>
        <p:nvSpPr>
          <p:cNvPr id="38" name="TextBox 37"/>
          <p:cNvSpPr txBox="1"/>
          <p:nvPr/>
        </p:nvSpPr>
        <p:spPr>
          <a:xfrm>
            <a:off x="6581814" y="701403"/>
            <a:ext cx="3858585" cy="199002"/>
          </a:xfrm>
          <a:prstGeom prst="rect">
            <a:avLst/>
          </a:prstGeom>
          <a:noFill/>
          <a:effectLst/>
        </p:spPr>
        <p:txBody>
          <a:bodyPr wrap="square" lIns="0" tIns="0" rIns="0" bIns="0" rtlCol="0">
            <a:spAutoFit/>
          </a:bodyPr>
          <a:lstStyle/>
          <a:p>
            <a:r>
              <a:rPr lang="zh-CN" altLang="en-US" sz="1225" dirty="0"/>
              <a:t>行业、资产规模、区域  </a:t>
            </a:r>
            <a:r>
              <a:rPr lang="en-US" altLang="zh-CN" sz="1225" dirty="0"/>
              <a:t>…</a:t>
            </a:r>
            <a:endParaRPr lang="zh-CN" altLang="en-US" sz="1225" dirty="0"/>
          </a:p>
        </p:txBody>
      </p:sp>
      <p:sp>
        <p:nvSpPr>
          <p:cNvPr id="16" name="TextBox 12"/>
          <p:cNvSpPr txBox="1"/>
          <p:nvPr>
            <p:custDataLst>
              <p:tags r:id="rId17"/>
            </p:custDataLst>
          </p:nvPr>
        </p:nvSpPr>
        <p:spPr>
          <a:xfrm>
            <a:off x="4941685" y="937972"/>
            <a:ext cx="1332130" cy="352623"/>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zh-CN" altLang="en-US" sz="1225" dirty="0"/>
              <a:t>同业</a:t>
            </a:r>
            <a:endParaRPr lang="en-US" sz="1225" dirty="0"/>
          </a:p>
        </p:txBody>
      </p:sp>
      <p:sp>
        <p:nvSpPr>
          <p:cNvPr id="39" name="TextBox 38"/>
          <p:cNvSpPr txBox="1"/>
          <p:nvPr/>
        </p:nvSpPr>
        <p:spPr>
          <a:xfrm>
            <a:off x="6581814" y="1032476"/>
            <a:ext cx="3858585" cy="199002"/>
          </a:xfrm>
          <a:prstGeom prst="rect">
            <a:avLst/>
          </a:prstGeom>
          <a:noFill/>
          <a:effectLst/>
        </p:spPr>
        <p:txBody>
          <a:bodyPr wrap="square" lIns="0" tIns="0" rIns="0" bIns="0" rtlCol="0">
            <a:spAutoFit/>
          </a:bodyPr>
          <a:lstStyle/>
          <a:p>
            <a:r>
              <a:rPr lang="zh-CN" altLang="en-US" sz="1225" dirty="0"/>
              <a:t>类型、规模 </a:t>
            </a:r>
            <a:r>
              <a:rPr lang="en-US" altLang="zh-CN" sz="1225" dirty="0"/>
              <a:t>…</a:t>
            </a:r>
            <a:endParaRPr lang="zh-CN" altLang="en-US" sz="1225" dirty="0"/>
          </a:p>
        </p:txBody>
      </p:sp>
      <p:sp>
        <p:nvSpPr>
          <p:cNvPr id="19" name="TextBox 12"/>
          <p:cNvSpPr txBox="1"/>
          <p:nvPr>
            <p:custDataLst>
              <p:tags r:id="rId18"/>
            </p:custDataLst>
          </p:nvPr>
        </p:nvSpPr>
        <p:spPr>
          <a:xfrm>
            <a:off x="4941685" y="1632307"/>
            <a:ext cx="1332130" cy="352623"/>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zh-CN" altLang="en-US" sz="1225" dirty="0"/>
              <a:t>小微企业</a:t>
            </a:r>
            <a:endParaRPr lang="en-US" sz="1225" dirty="0"/>
          </a:p>
        </p:txBody>
      </p:sp>
      <p:sp>
        <p:nvSpPr>
          <p:cNvPr id="41" name="TextBox 40"/>
          <p:cNvSpPr txBox="1"/>
          <p:nvPr/>
        </p:nvSpPr>
        <p:spPr>
          <a:xfrm>
            <a:off x="6581814" y="1775148"/>
            <a:ext cx="3858585" cy="398006"/>
          </a:xfrm>
          <a:prstGeom prst="rect">
            <a:avLst/>
          </a:prstGeom>
          <a:noFill/>
          <a:effectLst/>
        </p:spPr>
        <p:txBody>
          <a:bodyPr wrap="square" lIns="0" tIns="0" rIns="0" bIns="0" rtlCol="0">
            <a:spAutoFit/>
          </a:bodyPr>
          <a:lstStyle/>
          <a:p>
            <a:r>
              <a:rPr lang="zh-CN" altLang="en-US" sz="1225" dirty="0"/>
              <a:t>规模、市场份额、产品丰富度、产品竞争力、客户构成 </a:t>
            </a:r>
            <a:r>
              <a:rPr lang="en-US" altLang="zh-CN" sz="1225" dirty="0"/>
              <a:t>…</a:t>
            </a:r>
            <a:endParaRPr lang="zh-CN" altLang="en-US" sz="1225" dirty="0"/>
          </a:p>
        </p:txBody>
      </p:sp>
      <p:sp>
        <p:nvSpPr>
          <p:cNvPr id="42" name="TextBox 41"/>
          <p:cNvSpPr txBox="1"/>
          <p:nvPr/>
        </p:nvSpPr>
        <p:spPr>
          <a:xfrm>
            <a:off x="6581814" y="3213438"/>
            <a:ext cx="3858585" cy="199002"/>
          </a:xfrm>
          <a:prstGeom prst="rect">
            <a:avLst/>
          </a:prstGeom>
          <a:noFill/>
          <a:effectLst/>
        </p:spPr>
        <p:txBody>
          <a:bodyPr wrap="square" lIns="0" tIns="0" rIns="0" bIns="0" rtlCol="0">
            <a:spAutoFit/>
          </a:bodyPr>
          <a:lstStyle/>
          <a:p>
            <a:r>
              <a:rPr lang="zh-CN" altLang="en-US" sz="1225" dirty="0"/>
              <a:t>渠道依赖度、成本结构、客户满意度 </a:t>
            </a:r>
            <a:r>
              <a:rPr lang="en-US" altLang="zh-CN" sz="1225" dirty="0"/>
              <a:t>…</a:t>
            </a:r>
            <a:endParaRPr lang="zh-CN" altLang="en-US" sz="1225" dirty="0"/>
          </a:p>
        </p:txBody>
      </p:sp>
      <p:sp>
        <p:nvSpPr>
          <p:cNvPr id="43" name="TextBox 42"/>
          <p:cNvSpPr txBox="1"/>
          <p:nvPr/>
        </p:nvSpPr>
        <p:spPr>
          <a:xfrm>
            <a:off x="6581814" y="4007534"/>
            <a:ext cx="3858585" cy="199002"/>
          </a:xfrm>
          <a:prstGeom prst="rect">
            <a:avLst/>
          </a:prstGeom>
          <a:noFill/>
          <a:effectLst/>
        </p:spPr>
        <p:txBody>
          <a:bodyPr wrap="square" lIns="0" tIns="0" rIns="0" bIns="0" rtlCol="0">
            <a:spAutoFit/>
          </a:bodyPr>
          <a:lstStyle/>
          <a:p>
            <a:r>
              <a:rPr lang="zh-CN" altLang="en-US" sz="1225" dirty="0"/>
              <a:t>品牌知名度、品牌影响力 </a:t>
            </a:r>
            <a:r>
              <a:rPr lang="en-US" altLang="zh-CN" sz="1225" dirty="0"/>
              <a:t>…</a:t>
            </a:r>
            <a:endParaRPr lang="zh-CN" altLang="en-US" sz="1225" dirty="0"/>
          </a:p>
        </p:txBody>
      </p:sp>
      <p:sp>
        <p:nvSpPr>
          <p:cNvPr id="44" name="TextBox 43"/>
          <p:cNvSpPr txBox="1"/>
          <p:nvPr/>
        </p:nvSpPr>
        <p:spPr>
          <a:xfrm>
            <a:off x="6581814" y="4330743"/>
            <a:ext cx="3858585" cy="199002"/>
          </a:xfrm>
          <a:prstGeom prst="rect">
            <a:avLst/>
          </a:prstGeom>
          <a:noFill/>
          <a:effectLst/>
        </p:spPr>
        <p:txBody>
          <a:bodyPr wrap="square" lIns="0" tIns="0" rIns="0" bIns="0" rtlCol="0">
            <a:spAutoFit/>
          </a:bodyPr>
          <a:lstStyle/>
          <a:p>
            <a:r>
              <a:rPr lang="zh-CN" altLang="en-US" sz="1225" dirty="0"/>
              <a:t>营销工具、营销渠道、营销人员 </a:t>
            </a:r>
            <a:r>
              <a:rPr lang="en-US" altLang="zh-CN" sz="1225" dirty="0"/>
              <a:t>…</a:t>
            </a:r>
            <a:endParaRPr lang="zh-CN" altLang="en-US" sz="1225" dirty="0"/>
          </a:p>
        </p:txBody>
      </p:sp>
      <p:cxnSp>
        <p:nvCxnSpPr>
          <p:cNvPr id="5" name="Elbow Connector 4"/>
          <p:cNvCxnSpPr>
            <a:stCxn id="4" idx="3"/>
            <a:endCxn id="6" idx="1"/>
          </p:cNvCxnSpPr>
          <p:nvPr/>
        </p:nvCxnSpPr>
        <p:spPr>
          <a:xfrm flipV="1">
            <a:off x="2047746" y="791074"/>
            <a:ext cx="780904" cy="2519900"/>
          </a:xfrm>
          <a:prstGeom prst="bentConnector3">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4" idx="3"/>
            <a:endCxn id="7" idx="1"/>
          </p:cNvCxnSpPr>
          <p:nvPr/>
        </p:nvCxnSpPr>
        <p:spPr>
          <a:xfrm flipV="1">
            <a:off x="2047746" y="1970222"/>
            <a:ext cx="780904" cy="1340752"/>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4" idx="3"/>
            <a:endCxn id="8" idx="1"/>
          </p:cNvCxnSpPr>
          <p:nvPr/>
        </p:nvCxnSpPr>
        <p:spPr>
          <a:xfrm>
            <a:off x="2047746" y="3310974"/>
            <a:ext cx="780904" cy="0"/>
          </a:xfrm>
          <a:prstGeom prst="straightConnector1">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4" idx="3"/>
            <a:endCxn id="9" idx="1"/>
          </p:cNvCxnSpPr>
          <p:nvPr/>
        </p:nvCxnSpPr>
        <p:spPr>
          <a:xfrm>
            <a:off x="2047746" y="3310974"/>
            <a:ext cx="780904" cy="1003055"/>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6" idx="3"/>
            <a:endCxn id="14" idx="1"/>
          </p:cNvCxnSpPr>
          <p:nvPr/>
        </p:nvCxnSpPr>
        <p:spPr>
          <a:xfrm flipV="1">
            <a:off x="4160781" y="467865"/>
            <a:ext cx="780904" cy="323209"/>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6" idx="3"/>
            <a:endCxn id="15" idx="1"/>
          </p:cNvCxnSpPr>
          <p:nvPr/>
        </p:nvCxnSpPr>
        <p:spPr>
          <a:xfrm>
            <a:off x="4160781" y="791074"/>
            <a:ext cx="780904" cy="0"/>
          </a:xfrm>
          <a:prstGeom prst="straightConnector1">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6" idx="3"/>
            <a:endCxn id="16" idx="1"/>
          </p:cNvCxnSpPr>
          <p:nvPr/>
        </p:nvCxnSpPr>
        <p:spPr>
          <a:xfrm>
            <a:off x="4160781" y="791074"/>
            <a:ext cx="780904" cy="323209"/>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 name="Elbow Connector 56"/>
          <p:cNvCxnSpPr>
            <a:stCxn id="7" idx="3"/>
            <a:endCxn id="21" idx="1"/>
          </p:cNvCxnSpPr>
          <p:nvPr/>
        </p:nvCxnSpPr>
        <p:spPr>
          <a:xfrm>
            <a:off x="4160781" y="1970222"/>
            <a:ext cx="780904" cy="499303"/>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7" idx="3"/>
            <a:endCxn id="18" idx="1"/>
          </p:cNvCxnSpPr>
          <p:nvPr/>
        </p:nvCxnSpPr>
        <p:spPr>
          <a:xfrm flipV="1">
            <a:off x="4160781" y="1470919"/>
            <a:ext cx="780904" cy="499303"/>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7" idx="3"/>
            <a:endCxn id="19" idx="1"/>
          </p:cNvCxnSpPr>
          <p:nvPr/>
        </p:nvCxnSpPr>
        <p:spPr>
          <a:xfrm flipV="1">
            <a:off x="4160781" y="1808618"/>
            <a:ext cx="780904" cy="161604"/>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7" idx="3"/>
            <a:endCxn id="20" idx="1"/>
          </p:cNvCxnSpPr>
          <p:nvPr/>
        </p:nvCxnSpPr>
        <p:spPr>
          <a:xfrm>
            <a:off x="4160781" y="1970222"/>
            <a:ext cx="780904" cy="176094"/>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 name="Elbow Connector 69"/>
          <p:cNvCxnSpPr>
            <a:stCxn id="8" idx="3"/>
            <a:endCxn id="26" idx="1"/>
          </p:cNvCxnSpPr>
          <p:nvPr/>
        </p:nvCxnSpPr>
        <p:spPr>
          <a:xfrm flipV="1">
            <a:off x="4160781" y="2826161"/>
            <a:ext cx="780904" cy="484813"/>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 name="Elbow Connector 72"/>
          <p:cNvCxnSpPr>
            <a:stCxn id="8" idx="3"/>
            <a:endCxn id="27" idx="1"/>
          </p:cNvCxnSpPr>
          <p:nvPr/>
        </p:nvCxnSpPr>
        <p:spPr>
          <a:xfrm flipV="1">
            <a:off x="4160781" y="3149370"/>
            <a:ext cx="780904" cy="161604"/>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 name="Elbow Connector 75"/>
          <p:cNvCxnSpPr>
            <a:stCxn id="8" idx="3"/>
            <a:endCxn id="28" idx="1"/>
          </p:cNvCxnSpPr>
          <p:nvPr/>
        </p:nvCxnSpPr>
        <p:spPr>
          <a:xfrm>
            <a:off x="4160781" y="3310974"/>
            <a:ext cx="780904" cy="161606"/>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8" idx="3"/>
            <a:endCxn id="29" idx="1"/>
          </p:cNvCxnSpPr>
          <p:nvPr/>
        </p:nvCxnSpPr>
        <p:spPr>
          <a:xfrm>
            <a:off x="4160781" y="3310974"/>
            <a:ext cx="780904" cy="484814"/>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9" idx="3"/>
            <a:endCxn id="33" idx="1"/>
          </p:cNvCxnSpPr>
          <p:nvPr/>
        </p:nvCxnSpPr>
        <p:spPr>
          <a:xfrm flipV="1">
            <a:off x="4160781" y="4152425"/>
            <a:ext cx="780904" cy="161604"/>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9" idx="3"/>
            <a:endCxn id="34" idx="1"/>
          </p:cNvCxnSpPr>
          <p:nvPr/>
        </p:nvCxnSpPr>
        <p:spPr>
          <a:xfrm>
            <a:off x="4160781" y="4314029"/>
            <a:ext cx="780904" cy="161604"/>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92" name="TextBox 12"/>
          <p:cNvSpPr txBox="1"/>
          <p:nvPr>
            <p:custDataLst>
              <p:tags r:id="rId19"/>
            </p:custDataLst>
          </p:nvPr>
        </p:nvSpPr>
        <p:spPr>
          <a:xfrm>
            <a:off x="4941685" y="4979168"/>
            <a:ext cx="1332130" cy="352623"/>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en-US" altLang="zh-CN" sz="1225" dirty="0"/>
              <a:t>IT</a:t>
            </a:r>
            <a:endParaRPr lang="en-US" sz="1225" dirty="0"/>
          </a:p>
        </p:txBody>
      </p:sp>
      <p:sp>
        <p:nvSpPr>
          <p:cNvPr id="93" name="TextBox 12"/>
          <p:cNvSpPr txBox="1"/>
          <p:nvPr>
            <p:custDataLst>
              <p:tags r:id="rId20"/>
            </p:custDataLst>
          </p:nvPr>
        </p:nvSpPr>
        <p:spPr>
          <a:xfrm>
            <a:off x="2828651" y="4687379"/>
            <a:ext cx="1332130" cy="1582608"/>
          </a:xfrm>
          <a:prstGeom prst="rect">
            <a:avLst/>
          </a:prstGeom>
          <a:solidFill>
            <a:srgbClr val="FFC3AB"/>
          </a:solidFill>
          <a:ln w="9525">
            <a:noFill/>
            <a:miter lim="800000"/>
          </a:ln>
          <a:effectLst/>
        </p:spPr>
        <p:txBody>
          <a:bodyPr wrap="none" anchor="ctr"/>
          <a:lstStyle>
            <a:defPPr>
              <a:defRPr lang="en-US"/>
            </a:defPPr>
            <a:lvl1pPr>
              <a:buClr>
                <a:schemeClr val="tx2"/>
              </a:buClr>
              <a:defRPr sz="1225" b="1"/>
            </a:lvl1pPr>
          </a:lstStyle>
          <a:p>
            <a:r>
              <a:rPr lang="zh-CN" altLang="en-US" dirty="0"/>
              <a:t>能力</a:t>
            </a:r>
            <a:endParaRPr lang="en-US" dirty="0"/>
          </a:p>
        </p:txBody>
      </p:sp>
      <p:cxnSp>
        <p:nvCxnSpPr>
          <p:cNvPr id="96" name="Elbow Connector 95"/>
          <p:cNvCxnSpPr>
            <a:stCxn id="93" idx="3"/>
            <a:endCxn id="91" idx="1"/>
          </p:cNvCxnSpPr>
          <p:nvPr/>
        </p:nvCxnSpPr>
        <p:spPr>
          <a:xfrm flipV="1">
            <a:off x="4160781" y="4832270"/>
            <a:ext cx="780904" cy="646413"/>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7" name="Elbow Connector 96"/>
          <p:cNvCxnSpPr>
            <a:stCxn id="93" idx="3"/>
            <a:endCxn id="92" idx="1"/>
          </p:cNvCxnSpPr>
          <p:nvPr/>
        </p:nvCxnSpPr>
        <p:spPr>
          <a:xfrm flipV="1">
            <a:off x="4160781" y="5155478"/>
            <a:ext cx="780904" cy="323205"/>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00" name="TextBox 12"/>
          <p:cNvSpPr txBox="1"/>
          <p:nvPr>
            <p:custDataLst>
              <p:tags r:id="rId21"/>
            </p:custDataLst>
          </p:nvPr>
        </p:nvSpPr>
        <p:spPr>
          <a:xfrm>
            <a:off x="4941685" y="5302377"/>
            <a:ext cx="1332130" cy="352623"/>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zh-CN" altLang="en-US" sz="1225" dirty="0"/>
              <a:t>组织架构</a:t>
            </a:r>
            <a:endParaRPr lang="en-US" sz="1225" dirty="0"/>
          </a:p>
        </p:txBody>
      </p:sp>
      <p:sp>
        <p:nvSpPr>
          <p:cNvPr id="101" name="TextBox 12"/>
          <p:cNvSpPr txBox="1"/>
          <p:nvPr>
            <p:custDataLst>
              <p:tags r:id="rId22"/>
            </p:custDataLst>
          </p:nvPr>
        </p:nvSpPr>
        <p:spPr>
          <a:xfrm>
            <a:off x="4941685" y="5625586"/>
            <a:ext cx="1332130" cy="352623"/>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zh-CN" altLang="en-US" sz="1225" dirty="0"/>
              <a:t>财务</a:t>
            </a:r>
            <a:endParaRPr lang="en-US" sz="1225" dirty="0"/>
          </a:p>
        </p:txBody>
      </p:sp>
      <p:sp>
        <p:nvSpPr>
          <p:cNvPr id="91" name="TextBox 12"/>
          <p:cNvSpPr txBox="1"/>
          <p:nvPr>
            <p:custDataLst>
              <p:tags r:id="rId23"/>
            </p:custDataLst>
          </p:nvPr>
        </p:nvSpPr>
        <p:spPr>
          <a:xfrm>
            <a:off x="4941685" y="4655959"/>
            <a:ext cx="1332130" cy="352623"/>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zh-CN" altLang="en-US" sz="1225" dirty="0"/>
              <a:t>人力资源</a:t>
            </a:r>
            <a:endParaRPr lang="en-US" sz="1225" dirty="0"/>
          </a:p>
        </p:txBody>
      </p:sp>
      <p:sp>
        <p:nvSpPr>
          <p:cNvPr id="104" name="TextBox 12"/>
          <p:cNvSpPr txBox="1"/>
          <p:nvPr>
            <p:custDataLst>
              <p:tags r:id="rId24"/>
            </p:custDataLst>
          </p:nvPr>
        </p:nvSpPr>
        <p:spPr>
          <a:xfrm>
            <a:off x="4941685" y="5948786"/>
            <a:ext cx="1332130" cy="352623"/>
          </a:xfrm>
          <a:prstGeom prst="rect">
            <a:avLst/>
          </a:prstGeom>
          <a:solidFill>
            <a:schemeClr val="accent1"/>
          </a:solidFill>
          <a:ln w="9525">
            <a:noFill/>
            <a:miter lim="800000"/>
          </a:ln>
          <a:effectLst/>
        </p:spPr>
        <p:txBody>
          <a:bodyPr wrap="square" lIns="73472" tIns="73472" rIns="73472" bIns="73472" anchor="ctr" anchorCtr="0">
            <a:spAutoFit/>
          </a:bodyPr>
          <a:lstStyle>
            <a:defPPr>
              <a:defRPr lang="en-US"/>
            </a:defPPr>
            <a:lvl1pPr>
              <a:defRPr>
                <a:latin typeface="+mn-lt"/>
              </a:defRPr>
            </a:lvl1pPr>
          </a:lstStyle>
          <a:p>
            <a:r>
              <a:rPr lang="zh-CN" altLang="en-US" sz="1225" dirty="0"/>
              <a:t>风险管理</a:t>
            </a:r>
            <a:endParaRPr lang="en-US" sz="1225" dirty="0"/>
          </a:p>
        </p:txBody>
      </p:sp>
      <p:cxnSp>
        <p:nvCxnSpPr>
          <p:cNvPr id="106" name="Elbow Connector 105"/>
          <p:cNvCxnSpPr>
            <a:stCxn id="93" idx="3"/>
            <a:endCxn id="100" idx="1"/>
          </p:cNvCxnSpPr>
          <p:nvPr/>
        </p:nvCxnSpPr>
        <p:spPr>
          <a:xfrm>
            <a:off x="4160781" y="5478684"/>
            <a:ext cx="780904" cy="4"/>
          </a:xfrm>
          <a:prstGeom prst="straightConnector1">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0" name="Elbow Connector 109"/>
          <p:cNvCxnSpPr>
            <a:stCxn id="93" idx="3"/>
            <a:endCxn id="101" idx="1"/>
          </p:cNvCxnSpPr>
          <p:nvPr/>
        </p:nvCxnSpPr>
        <p:spPr>
          <a:xfrm>
            <a:off x="4160781" y="5478684"/>
            <a:ext cx="780904" cy="323213"/>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93" idx="3"/>
            <a:endCxn id="104" idx="1"/>
          </p:cNvCxnSpPr>
          <p:nvPr/>
        </p:nvCxnSpPr>
        <p:spPr>
          <a:xfrm>
            <a:off x="4160781" y="5478684"/>
            <a:ext cx="780904" cy="646413"/>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4" idx="3"/>
            <a:endCxn id="93" idx="1"/>
          </p:cNvCxnSpPr>
          <p:nvPr/>
        </p:nvCxnSpPr>
        <p:spPr>
          <a:xfrm>
            <a:off x="2047746" y="3310974"/>
            <a:ext cx="780904" cy="2167709"/>
          </a:xfrm>
          <a:prstGeom prst="bentConnector3">
            <a:avLst>
              <a:gd name="adj1"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86" name="Group 185"/>
          <p:cNvGrpSpPr/>
          <p:nvPr/>
        </p:nvGrpSpPr>
        <p:grpSpPr>
          <a:xfrm>
            <a:off x="11296171" y="369333"/>
            <a:ext cx="940153" cy="182225"/>
            <a:chOff x="6966352" y="313450"/>
            <a:chExt cx="779785" cy="172502"/>
          </a:xfrm>
        </p:grpSpPr>
        <p:sp>
          <p:nvSpPr>
            <p:cNvPr id="128" name="Legend1"/>
            <p:cNvSpPr>
              <a:spLocks noChangeArrowheads="1"/>
            </p:cNvSpPr>
            <p:nvPr/>
          </p:nvSpPr>
          <p:spPr bwMode="auto">
            <a:xfrm>
              <a:off x="7220352" y="313450"/>
              <a:ext cx="525785"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765">
                <a:buClr>
                  <a:schemeClr val="tx2"/>
                </a:buClr>
              </a:pPr>
              <a:r>
                <a:rPr lang="zh-CN" altLang="en-US" sz="1020" dirty="0"/>
                <a:t>重点展开</a:t>
              </a:r>
              <a:endParaRPr lang="en-US" sz="1020" dirty="0"/>
            </a:p>
          </p:txBody>
        </p:sp>
        <p:sp>
          <p:nvSpPr>
            <p:cNvPr id="129" name="LegendRectangle1"/>
            <p:cNvSpPr>
              <a:spLocks noChangeArrowheads="1"/>
            </p:cNvSpPr>
            <p:nvPr/>
          </p:nvSpPr>
          <p:spPr bwMode="auto">
            <a:xfrm>
              <a:off x="6966352" y="325614"/>
              <a:ext cx="165100" cy="160338"/>
            </a:xfrm>
            <a:prstGeom prst="rect">
              <a:avLst/>
            </a:prstGeom>
            <a:noFill/>
            <a:ln w="19050">
              <a:solidFill>
                <a:srgbClr val="FF0000"/>
              </a:solidFill>
              <a:prstDash val="dash"/>
              <a:miter lim="800000"/>
            </a:ln>
            <a:effectLst/>
          </p:spPr>
          <p:txBody>
            <a:bodyPr vert="horz" wrap="square" lIns="77748" tIns="77748" rIns="77748" bIns="77748" numCol="1" anchor="t" anchorCtr="0" compatLnSpc="1">
              <a:noAutofit/>
            </a:bodyPr>
            <a:lstStyle/>
            <a:p>
              <a:pPr defTabSz="913765">
                <a:buClr>
                  <a:schemeClr val="tx2"/>
                </a:buClr>
              </a:pPr>
              <a:endParaRPr lang="en-US" sz="1020"/>
            </a:p>
          </p:txBody>
        </p:sp>
      </p:grpSp>
      <p:grpSp>
        <p:nvGrpSpPr>
          <p:cNvPr id="185" name="Group 184"/>
          <p:cNvGrpSpPr/>
          <p:nvPr/>
        </p:nvGrpSpPr>
        <p:grpSpPr>
          <a:xfrm>
            <a:off x="2828650" y="1292602"/>
            <a:ext cx="7611749" cy="3361350"/>
            <a:chOff x="2069671" y="1535470"/>
            <a:chExt cx="6574696" cy="3182004"/>
          </a:xfrm>
        </p:grpSpPr>
        <p:cxnSp>
          <p:nvCxnSpPr>
            <p:cNvPr id="31" name="直接连接符 30"/>
            <p:cNvCxnSpPr/>
            <p:nvPr/>
          </p:nvCxnSpPr>
          <p:spPr>
            <a:xfrm>
              <a:off x="2069671" y="1535470"/>
              <a:ext cx="6574696" cy="0"/>
            </a:xfrm>
            <a:prstGeom prst="line">
              <a:avLst/>
            </a:prstGeom>
            <a:ln w="19050">
              <a:solidFill>
                <a:schemeClr val="tx1">
                  <a:lumMod val="50000"/>
                  <a:lumOff val="5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2069671" y="4073902"/>
              <a:ext cx="6574696" cy="0"/>
            </a:xfrm>
            <a:prstGeom prst="line">
              <a:avLst/>
            </a:prstGeom>
            <a:ln w="19050">
              <a:solidFill>
                <a:schemeClr val="tx1">
                  <a:lumMod val="50000"/>
                  <a:lumOff val="5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2069671" y="4717474"/>
              <a:ext cx="6574696" cy="0"/>
            </a:xfrm>
            <a:prstGeom prst="line">
              <a:avLst/>
            </a:prstGeom>
            <a:ln w="19050">
              <a:solidFill>
                <a:schemeClr val="tx1">
                  <a:lumMod val="50000"/>
                  <a:lumOff val="5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58" name="直接连接符 31"/>
            <p:cNvCxnSpPr/>
            <p:nvPr/>
          </p:nvCxnSpPr>
          <p:spPr>
            <a:xfrm>
              <a:off x="2069671" y="2818402"/>
              <a:ext cx="6574696" cy="0"/>
            </a:xfrm>
            <a:prstGeom prst="line">
              <a:avLst/>
            </a:prstGeom>
            <a:ln w="19050">
              <a:solidFill>
                <a:schemeClr val="tx1">
                  <a:lumMod val="50000"/>
                  <a:lumOff val="50000"/>
                </a:schemeClr>
              </a:solidFill>
              <a:prstDash val="sysDot"/>
            </a:ln>
            <a:effectLst/>
          </p:spPr>
          <p:style>
            <a:lnRef idx="1">
              <a:schemeClr val="accent1"/>
            </a:lnRef>
            <a:fillRef idx="0">
              <a:schemeClr val="accent1"/>
            </a:fillRef>
            <a:effectRef idx="0">
              <a:schemeClr val="accent1"/>
            </a:effectRef>
            <a:fontRef idx="minor">
              <a:schemeClr val="tx1"/>
            </a:fontRef>
          </p:style>
        </p:cxnSp>
      </p:grpSp>
      <p:sp>
        <p:nvSpPr>
          <p:cNvPr id="187" name="LegendRectangle1"/>
          <p:cNvSpPr>
            <a:spLocks noChangeArrowheads="1"/>
          </p:cNvSpPr>
          <p:nvPr/>
        </p:nvSpPr>
        <p:spPr bwMode="auto">
          <a:xfrm>
            <a:off x="2828650" y="1326029"/>
            <a:ext cx="7765977" cy="1288386"/>
          </a:xfrm>
          <a:prstGeom prst="rect">
            <a:avLst/>
          </a:prstGeom>
          <a:noFill/>
          <a:ln w="19050">
            <a:solidFill>
              <a:srgbClr val="FF0000"/>
            </a:solidFill>
            <a:prstDash val="dash"/>
            <a:miter lim="800000"/>
          </a:ln>
          <a:effectLst/>
        </p:spPr>
        <p:txBody>
          <a:bodyPr vert="horz" wrap="square" lIns="77748" tIns="77748" rIns="77748" bIns="77748" numCol="1" anchor="t" anchorCtr="0" compatLnSpc="1">
            <a:noAutofit/>
          </a:bodyPr>
          <a:lstStyle/>
          <a:p>
            <a:pPr defTabSz="913765">
              <a:buClr>
                <a:schemeClr val="tx2"/>
              </a:buClr>
            </a:pPr>
            <a:endParaRPr lang="en-US" sz="1225"/>
          </a:p>
        </p:txBody>
      </p:sp>
      <p:sp>
        <p:nvSpPr>
          <p:cNvPr id="7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内诊</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分析框架</a:t>
            </a:r>
            <a:endParaRPr lang="zh-CN" altLang="en-US" sz="2400" dirty="0">
              <a:solidFill>
                <a:prstClr val="black"/>
              </a:solidFill>
              <a:latin typeface="华文楷体" panose="02010600040101010101" charset="-122"/>
            </a:endParaRPr>
          </a:p>
        </p:txBody>
      </p:sp>
      <p:pic>
        <p:nvPicPr>
          <p:cNvPr id="78" name="图片 77"/>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02918" y="928381"/>
            <a:ext cx="11091674" cy="1279201"/>
          </a:xfrm>
          <a:prstGeom prst="rect">
            <a:avLst/>
          </a:prstGeom>
          <a:solidFill>
            <a:srgbClr val="FE5817"/>
          </a:solidFill>
          <a:ln>
            <a:noFill/>
          </a:ln>
        </p:spPr>
        <p:txBody>
          <a:bodyPr wrap="square" lIns="73472" tIns="73472" rIns="73472" bIns="73472" rtlCol="0" anchor="ctr" anchorCtr="0">
            <a:spAutoFit/>
          </a:bodyPr>
          <a:lstStyle/>
          <a:p>
            <a:pPr marL="291465" indent="-291465">
              <a:buClr>
                <a:schemeClr val="lt1"/>
              </a:buClr>
              <a:buFont typeface="Wingdings" panose="05000000000000000000" pitchFamily="2" charset="2"/>
              <a:buChar char="§"/>
            </a:pPr>
            <a:r>
              <a:rPr lang="zh-CN" altLang="en-US" sz="1835" b="1" dirty="0">
                <a:solidFill>
                  <a:schemeClr val="lt1"/>
                </a:solidFill>
              </a:rPr>
              <a:t>色块越深代表业务</a:t>
            </a:r>
            <a:r>
              <a:rPr lang="en-US" altLang="zh-CN" sz="1835" b="1" dirty="0">
                <a:solidFill>
                  <a:schemeClr val="lt1"/>
                </a:solidFill>
              </a:rPr>
              <a:t>/</a:t>
            </a:r>
            <a:r>
              <a:rPr lang="zh-CN" altLang="en-US" sz="1835" b="1" dirty="0">
                <a:solidFill>
                  <a:schemeClr val="lt1"/>
                </a:solidFill>
              </a:rPr>
              <a:t>产品表现越好，色块选取一版有两种方法：</a:t>
            </a:r>
            <a:endParaRPr lang="en-US" altLang="zh-CN" sz="1835" b="1" dirty="0">
              <a:solidFill>
                <a:schemeClr val="lt1"/>
              </a:solidFill>
            </a:endParaRPr>
          </a:p>
          <a:p>
            <a:pPr marL="578485" indent="-223520">
              <a:buClr>
                <a:schemeClr val="lt1"/>
              </a:buClr>
              <a:buFont typeface="Arial" panose="020B0604020202020204" pitchFamily="34" charset="0"/>
              <a:buChar char="‒"/>
            </a:pPr>
            <a:r>
              <a:rPr lang="zh-CN" altLang="en-US" sz="1835" b="1" dirty="0">
                <a:solidFill>
                  <a:schemeClr val="lt1"/>
                </a:solidFill>
              </a:rPr>
              <a:t>将客户的各项业务</a:t>
            </a:r>
            <a:r>
              <a:rPr lang="en-US" altLang="zh-CN" sz="1835" b="1" dirty="0">
                <a:solidFill>
                  <a:schemeClr val="lt1"/>
                </a:solidFill>
              </a:rPr>
              <a:t>/</a:t>
            </a:r>
            <a:r>
              <a:rPr lang="zh-CN" altLang="en-US" sz="1835" b="1" dirty="0">
                <a:solidFill>
                  <a:schemeClr val="lt1"/>
                </a:solidFill>
              </a:rPr>
              <a:t>产品在各关键财务指标上与行业平均水平进行比较，分析其相对优势及劣势，若优于行业平均水平则色块颜色深</a:t>
            </a:r>
            <a:endParaRPr lang="en-US" altLang="zh-CN" sz="1835" b="1" dirty="0">
              <a:solidFill>
                <a:schemeClr val="lt1"/>
              </a:solidFill>
            </a:endParaRPr>
          </a:p>
          <a:p>
            <a:pPr marL="578485" indent="-223520">
              <a:buClr>
                <a:schemeClr val="lt1"/>
              </a:buClr>
              <a:buFont typeface="Arial" panose="020B0604020202020204" pitchFamily="34" charset="0"/>
              <a:buChar char="‒"/>
            </a:pPr>
            <a:r>
              <a:rPr lang="zh-CN" altLang="en-US" sz="1835" b="1" dirty="0">
                <a:solidFill>
                  <a:schemeClr val="lt1"/>
                </a:solidFill>
              </a:rPr>
              <a:t>在同一维度上（如收入贡献度、利润率），将客户的各个业务</a:t>
            </a:r>
            <a:r>
              <a:rPr lang="en-US" altLang="zh-CN" sz="1835" b="1" dirty="0">
                <a:solidFill>
                  <a:schemeClr val="lt1"/>
                </a:solidFill>
              </a:rPr>
              <a:t>/</a:t>
            </a:r>
            <a:r>
              <a:rPr lang="zh-CN" altLang="en-US" sz="1835" b="1" dirty="0">
                <a:solidFill>
                  <a:schemeClr val="lt1"/>
                </a:solidFill>
              </a:rPr>
              <a:t>产品进行对比，排名靠前的色块颜色深</a:t>
            </a:r>
            <a:endParaRPr lang="zh-CN" altLang="en-US" sz="1835" b="1" dirty="0">
              <a:solidFill>
                <a:schemeClr val="lt1"/>
              </a:solidFill>
            </a:endParaRPr>
          </a:p>
        </p:txBody>
      </p:sp>
      <p:graphicFrame>
        <p:nvGraphicFramePr>
          <p:cNvPr id="3" name="Table 2"/>
          <p:cNvGraphicFramePr>
            <a:graphicFrameLocks noGrp="1"/>
          </p:cNvGraphicFramePr>
          <p:nvPr/>
        </p:nvGraphicFramePr>
        <p:xfrm>
          <a:off x="1344167" y="2436894"/>
          <a:ext cx="9162288" cy="3567538"/>
        </p:xfrm>
        <a:graphic>
          <a:graphicData uri="http://schemas.openxmlformats.org/drawingml/2006/table">
            <a:tbl>
              <a:tblPr>
                <a:tableStyleId>{5C22544A-7EE6-4342-B048-85BDC9FD1C3A}</a:tableStyleId>
              </a:tblPr>
              <a:tblGrid>
                <a:gridCol w="1928903"/>
                <a:gridCol w="1446677"/>
                <a:gridCol w="1446677"/>
                <a:gridCol w="1446677"/>
                <a:gridCol w="1446677"/>
                <a:gridCol w="1446677"/>
              </a:tblGrid>
              <a:tr h="603608">
                <a:tc>
                  <a:txBody>
                    <a:bodyPr/>
                    <a:lstStyle/>
                    <a:p>
                      <a:pPr algn="l" fontAlgn="b"/>
                      <a:r>
                        <a:rPr lang="zh-CN" altLang="en-US" sz="1600" b="1" u="none" strike="noStrike" dirty="0">
                          <a:effectLst/>
                        </a:rPr>
                        <a:t>业务</a:t>
                      </a:r>
                      <a:r>
                        <a:rPr lang="en-US" altLang="zh-CN" sz="1600" b="1" u="none" strike="noStrike" dirty="0">
                          <a:effectLst/>
                        </a:rPr>
                        <a:t>/</a:t>
                      </a:r>
                      <a:r>
                        <a:rPr lang="zh-CN" altLang="en-US" sz="1600" b="1" u="none" strike="noStrike" dirty="0">
                          <a:effectLst/>
                        </a:rPr>
                        <a:t>产品</a:t>
                      </a:r>
                      <a:endParaRPr lang="zh-CN" altLang="en-US" sz="1600" b="1" i="0" u="none" strike="noStrike" dirty="0">
                        <a:solidFill>
                          <a:srgbClr val="000000"/>
                        </a:solidFill>
                        <a:effectLst/>
                        <a:latin typeface="Calibri" panose="020F0502020204030204"/>
                      </a:endParaRPr>
                    </a:p>
                  </a:txBody>
                  <a:tcPr marL="9229" marR="9229" marT="9229" marB="0" anchor="ctr">
                    <a:solidFill>
                      <a:schemeClr val="bg1">
                        <a:lumMod val="85000"/>
                      </a:schemeClr>
                    </a:solidFill>
                  </a:tcPr>
                </a:tc>
                <a:tc>
                  <a:txBody>
                    <a:bodyPr/>
                    <a:lstStyle/>
                    <a:p>
                      <a:pPr algn="l" fontAlgn="b"/>
                      <a:r>
                        <a:rPr lang="zh-CN" altLang="en-US" sz="1600" b="1" u="none" strike="noStrike" dirty="0">
                          <a:effectLst/>
                        </a:rPr>
                        <a:t>收入贡献度</a:t>
                      </a:r>
                      <a:endParaRPr lang="zh-CN" altLang="en-US" sz="1600" b="1" i="0" u="none" strike="noStrike" dirty="0">
                        <a:solidFill>
                          <a:srgbClr val="000000"/>
                        </a:solidFill>
                        <a:effectLst/>
                        <a:latin typeface="Calibri" panose="020F0502020204030204"/>
                      </a:endParaRPr>
                    </a:p>
                  </a:txBody>
                  <a:tcPr marL="9229" marR="9229" marT="9229" marB="0" anchor="ctr">
                    <a:solidFill>
                      <a:schemeClr val="bg1">
                        <a:lumMod val="85000"/>
                      </a:schemeClr>
                    </a:solidFill>
                  </a:tcPr>
                </a:tc>
                <a:tc>
                  <a:txBody>
                    <a:bodyPr/>
                    <a:lstStyle/>
                    <a:p>
                      <a:pPr algn="l" fontAlgn="b"/>
                      <a:r>
                        <a:rPr lang="zh-CN" altLang="en-US" sz="1600" b="1" u="none" strike="noStrike" dirty="0">
                          <a:effectLst/>
                        </a:rPr>
                        <a:t>利润率</a:t>
                      </a:r>
                      <a:endParaRPr lang="zh-CN" altLang="en-US" sz="1600" b="1" i="0" u="none" strike="noStrike" dirty="0">
                        <a:solidFill>
                          <a:srgbClr val="000000"/>
                        </a:solidFill>
                        <a:effectLst/>
                        <a:latin typeface="Calibri" panose="020F0502020204030204"/>
                      </a:endParaRPr>
                    </a:p>
                  </a:txBody>
                  <a:tcPr marL="9229" marR="9229" marT="9229" marB="0" anchor="ctr">
                    <a:solidFill>
                      <a:schemeClr val="bg1">
                        <a:lumMod val="85000"/>
                      </a:schemeClr>
                    </a:solidFill>
                  </a:tcPr>
                </a:tc>
                <a:tc>
                  <a:txBody>
                    <a:bodyPr/>
                    <a:lstStyle/>
                    <a:p>
                      <a:pPr algn="l" fontAlgn="b"/>
                      <a:r>
                        <a:rPr lang="zh-CN" altLang="en-US" sz="1600" b="1" u="none" strike="noStrike" dirty="0">
                          <a:effectLst/>
                        </a:rPr>
                        <a:t>增速</a:t>
                      </a:r>
                      <a:endParaRPr lang="zh-CN" altLang="en-US" sz="1600" b="1" i="0" u="none" strike="noStrike" dirty="0">
                        <a:solidFill>
                          <a:srgbClr val="000000"/>
                        </a:solidFill>
                        <a:effectLst/>
                        <a:latin typeface="Calibri" panose="020F0502020204030204"/>
                      </a:endParaRPr>
                    </a:p>
                  </a:txBody>
                  <a:tcPr marL="9229" marR="9229" marT="9229" marB="0" anchor="ctr">
                    <a:solidFill>
                      <a:schemeClr val="bg1">
                        <a:lumMod val="85000"/>
                      </a:schemeClr>
                    </a:solidFill>
                  </a:tcPr>
                </a:tc>
                <a:tc>
                  <a:txBody>
                    <a:bodyPr/>
                    <a:lstStyle/>
                    <a:p>
                      <a:pPr algn="l" fontAlgn="b"/>
                      <a:r>
                        <a:rPr lang="zh-CN" altLang="en-US" sz="1600" b="1" u="none" strike="noStrike" dirty="0">
                          <a:effectLst/>
                        </a:rPr>
                        <a:t>资本消耗</a:t>
                      </a:r>
                      <a:endParaRPr lang="zh-CN" altLang="en-US" sz="1600" b="1" i="0" u="none" strike="noStrike" dirty="0">
                        <a:solidFill>
                          <a:srgbClr val="000000"/>
                        </a:solidFill>
                        <a:effectLst/>
                        <a:latin typeface="Calibri" panose="020F0502020204030204"/>
                      </a:endParaRPr>
                    </a:p>
                  </a:txBody>
                  <a:tcPr marL="9229" marR="9229" marT="9229" marB="0" anchor="ctr">
                    <a:solidFill>
                      <a:schemeClr val="bg1">
                        <a:lumMod val="85000"/>
                      </a:schemeClr>
                    </a:solidFill>
                  </a:tcPr>
                </a:tc>
                <a:tc>
                  <a:txBody>
                    <a:bodyPr/>
                    <a:lstStyle/>
                    <a:p>
                      <a:pPr algn="l" fontAlgn="b"/>
                      <a:r>
                        <a:rPr lang="zh-CN" altLang="en-US" sz="1600" b="1" u="none" strike="noStrike" dirty="0">
                          <a:effectLst/>
                        </a:rPr>
                        <a:t>市场占有率</a:t>
                      </a:r>
                      <a:endParaRPr lang="zh-CN" altLang="en-US" sz="1600" b="1" i="0" u="none" strike="noStrike" dirty="0">
                        <a:solidFill>
                          <a:srgbClr val="000000"/>
                        </a:solidFill>
                        <a:effectLst/>
                        <a:latin typeface="Calibri" panose="020F0502020204030204"/>
                      </a:endParaRPr>
                    </a:p>
                  </a:txBody>
                  <a:tcPr marL="9229" marR="9229" marT="9229" marB="0" anchor="ctr">
                    <a:solidFill>
                      <a:schemeClr val="bg1">
                        <a:lumMod val="85000"/>
                      </a:schemeClr>
                    </a:solidFill>
                  </a:tcPr>
                </a:tc>
              </a:tr>
              <a:tr h="592786">
                <a:tc>
                  <a:txBody>
                    <a:bodyPr/>
                    <a:lstStyle/>
                    <a:p>
                      <a:pPr algn="l" fontAlgn="b"/>
                      <a:r>
                        <a:rPr lang="zh-CN" altLang="en-US" sz="1600" b="1" u="none" strike="noStrike" dirty="0">
                          <a:effectLst/>
                        </a:rPr>
                        <a:t>业务</a:t>
                      </a:r>
                      <a:r>
                        <a:rPr lang="en-US" altLang="zh-CN" sz="1600" b="1" u="none" strike="noStrike" dirty="0">
                          <a:effectLst/>
                        </a:rPr>
                        <a:t>/</a:t>
                      </a:r>
                      <a:r>
                        <a:rPr lang="zh-CN" altLang="en-US" sz="1600" b="1" u="none" strike="noStrike" dirty="0">
                          <a:effectLst/>
                        </a:rPr>
                        <a:t>产品 </a:t>
                      </a:r>
                      <a:r>
                        <a:rPr lang="en-US" sz="1600" b="1" u="none" strike="noStrike" dirty="0">
                          <a:effectLst/>
                        </a:rPr>
                        <a:t>A</a:t>
                      </a:r>
                      <a:endParaRPr lang="en-US" sz="1600" b="1" i="0" u="none" strike="noStrike" dirty="0">
                        <a:solidFill>
                          <a:srgbClr val="000000"/>
                        </a:solidFill>
                        <a:effectLst/>
                        <a:latin typeface="Calibri" panose="020F0502020204030204"/>
                      </a:endParaRPr>
                    </a:p>
                  </a:txBody>
                  <a:tcPr marL="9229" marR="9229" marT="9229" marB="0" anchor="ctr">
                    <a:solidFill>
                      <a:schemeClr val="bg1">
                        <a:lumMod val="85000"/>
                      </a:schemeClr>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B32C16"/>
                    </a:solidFill>
                  </a:tcPr>
                </a:tc>
                <a:tc>
                  <a:txBody>
                    <a:bodyPr/>
                    <a:lstStyle/>
                    <a:p>
                      <a:pPr algn="l" fontAlgn="b"/>
                      <a:endParaRPr lang="en-US" sz="1600" b="0" i="0" u="none" strike="noStrike" kern="1200" dirty="0">
                        <a:solidFill>
                          <a:srgbClr val="000000"/>
                        </a:solidFill>
                        <a:effectLst/>
                        <a:latin typeface="Calibri" panose="020F0502020204030204"/>
                        <a:ea typeface="+mn-ea"/>
                        <a:cs typeface="+mn-cs"/>
                      </a:endParaRPr>
                    </a:p>
                  </a:txBody>
                  <a:tcPr marL="9229" marR="9229" marT="9229" marB="0" anchor="b">
                    <a:solidFill>
                      <a:srgbClr val="FE5817"/>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F976D"/>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E5817"/>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F976D"/>
                    </a:solidFill>
                  </a:tcPr>
                </a:tc>
              </a:tr>
              <a:tr h="592786">
                <a:tc>
                  <a:txBody>
                    <a:bodyPr/>
                    <a:lstStyle/>
                    <a:p>
                      <a:pPr algn="l" fontAlgn="b"/>
                      <a:r>
                        <a:rPr lang="zh-CN" altLang="en-US" sz="1600" b="1" u="none" strike="noStrike" dirty="0">
                          <a:effectLst/>
                        </a:rPr>
                        <a:t>业务</a:t>
                      </a:r>
                      <a:r>
                        <a:rPr lang="en-US" altLang="zh-CN" sz="1600" b="1" u="none" strike="noStrike" dirty="0">
                          <a:effectLst/>
                        </a:rPr>
                        <a:t>/</a:t>
                      </a:r>
                      <a:r>
                        <a:rPr lang="zh-CN" altLang="en-US" sz="1600" b="1" u="none" strike="noStrike" dirty="0">
                          <a:effectLst/>
                        </a:rPr>
                        <a:t>产品 </a:t>
                      </a:r>
                      <a:r>
                        <a:rPr lang="en-US" sz="1600" b="1" u="none" strike="noStrike" dirty="0">
                          <a:effectLst/>
                        </a:rPr>
                        <a:t>B</a:t>
                      </a:r>
                      <a:endParaRPr lang="en-US" sz="1600" b="1" i="0" u="none" strike="noStrike" dirty="0">
                        <a:solidFill>
                          <a:srgbClr val="000000"/>
                        </a:solidFill>
                        <a:effectLst/>
                        <a:latin typeface="Calibri" panose="020F0502020204030204"/>
                      </a:endParaRPr>
                    </a:p>
                  </a:txBody>
                  <a:tcPr marL="9229" marR="9229" marT="9229" marB="0" anchor="ctr">
                    <a:solidFill>
                      <a:schemeClr val="bg1">
                        <a:lumMod val="85000"/>
                      </a:schemeClr>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F976D"/>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B32C16"/>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B32C16"/>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F976D"/>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E5817"/>
                    </a:solidFill>
                  </a:tcPr>
                </a:tc>
              </a:tr>
              <a:tr h="592786">
                <a:tc>
                  <a:txBody>
                    <a:bodyPr/>
                    <a:lstStyle/>
                    <a:p>
                      <a:pPr algn="l" fontAlgn="b"/>
                      <a:r>
                        <a:rPr lang="zh-CN" altLang="en-US" sz="1600" b="1" u="none" strike="noStrike" dirty="0">
                          <a:effectLst/>
                        </a:rPr>
                        <a:t>业务</a:t>
                      </a:r>
                      <a:r>
                        <a:rPr lang="en-US" altLang="zh-CN" sz="1600" b="1" u="none" strike="noStrike" dirty="0">
                          <a:effectLst/>
                        </a:rPr>
                        <a:t>/</a:t>
                      </a:r>
                      <a:r>
                        <a:rPr lang="zh-CN" altLang="en-US" sz="1600" b="1" u="none" strike="noStrike" dirty="0">
                          <a:effectLst/>
                        </a:rPr>
                        <a:t>产品 </a:t>
                      </a:r>
                      <a:r>
                        <a:rPr lang="en-US" sz="1600" b="1" u="none" strike="noStrike" dirty="0">
                          <a:effectLst/>
                        </a:rPr>
                        <a:t>C</a:t>
                      </a:r>
                      <a:endParaRPr lang="en-US" sz="1600" b="1" i="0" u="none" strike="noStrike" dirty="0">
                        <a:solidFill>
                          <a:srgbClr val="000000"/>
                        </a:solidFill>
                        <a:effectLst/>
                        <a:latin typeface="Calibri" panose="020F0502020204030204"/>
                      </a:endParaRPr>
                    </a:p>
                  </a:txBody>
                  <a:tcPr marL="9229" marR="9229" marT="9229" marB="0" anchor="ctr">
                    <a:solidFill>
                      <a:schemeClr val="bg1">
                        <a:lumMod val="85000"/>
                      </a:schemeClr>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E5817"/>
                    </a:solidFill>
                  </a:tcPr>
                </a:tc>
                <a:tc>
                  <a:txBody>
                    <a:bodyPr/>
                    <a:lstStyle/>
                    <a:p>
                      <a:pPr algn="l" fontAlgn="b"/>
                      <a:endParaRPr lang="en-US" sz="1600" b="0" i="0" u="none" strike="noStrike" kern="1200" dirty="0">
                        <a:solidFill>
                          <a:srgbClr val="000000"/>
                        </a:solidFill>
                        <a:effectLst/>
                        <a:latin typeface="Calibri" panose="020F0502020204030204"/>
                        <a:ea typeface="+mn-ea"/>
                        <a:cs typeface="+mn-cs"/>
                      </a:endParaRPr>
                    </a:p>
                  </a:txBody>
                  <a:tcPr marL="9229" marR="9229" marT="9229" marB="0" anchor="b">
                    <a:solidFill>
                      <a:srgbClr val="FE5817"/>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E5817"/>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E5817"/>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F976D"/>
                    </a:solidFill>
                  </a:tcPr>
                </a:tc>
              </a:tr>
              <a:tr h="592786">
                <a:tc>
                  <a:txBody>
                    <a:bodyPr/>
                    <a:lstStyle/>
                    <a:p>
                      <a:pPr algn="l" fontAlgn="b"/>
                      <a:r>
                        <a:rPr lang="zh-CN" altLang="en-US" sz="1600" b="1" u="none" strike="noStrike" dirty="0">
                          <a:effectLst/>
                        </a:rPr>
                        <a:t>业务</a:t>
                      </a:r>
                      <a:r>
                        <a:rPr lang="en-US" altLang="zh-CN" sz="1600" b="1" u="none" strike="noStrike" dirty="0">
                          <a:effectLst/>
                        </a:rPr>
                        <a:t>/</a:t>
                      </a:r>
                      <a:r>
                        <a:rPr lang="zh-CN" altLang="en-US" sz="1600" b="1" u="none" strike="noStrike" dirty="0">
                          <a:effectLst/>
                        </a:rPr>
                        <a:t>产品 </a:t>
                      </a:r>
                      <a:r>
                        <a:rPr lang="en-US" sz="1600" b="1" u="none" strike="noStrike" dirty="0">
                          <a:effectLst/>
                        </a:rPr>
                        <a:t>D</a:t>
                      </a:r>
                      <a:endParaRPr lang="en-US" sz="1600" b="1" i="0" u="none" strike="noStrike" dirty="0">
                        <a:solidFill>
                          <a:srgbClr val="000000"/>
                        </a:solidFill>
                        <a:effectLst/>
                        <a:latin typeface="Calibri" panose="020F0502020204030204"/>
                      </a:endParaRPr>
                    </a:p>
                  </a:txBody>
                  <a:tcPr marL="9229" marR="9229" marT="9229" marB="0" anchor="ctr">
                    <a:solidFill>
                      <a:schemeClr val="bg1">
                        <a:lumMod val="85000"/>
                      </a:schemeClr>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F976D"/>
                    </a:solidFill>
                  </a:tcPr>
                </a:tc>
                <a:tc>
                  <a:txBody>
                    <a:bodyPr/>
                    <a:lstStyle/>
                    <a:p>
                      <a:pPr algn="l" fontAlgn="b"/>
                      <a:endParaRPr lang="en-US" sz="1600" b="0" i="0" u="none" strike="noStrike" kern="1200" dirty="0">
                        <a:solidFill>
                          <a:srgbClr val="000000"/>
                        </a:solidFill>
                        <a:effectLst/>
                        <a:latin typeface="Calibri" panose="020F0502020204030204"/>
                        <a:ea typeface="+mn-ea"/>
                        <a:cs typeface="+mn-cs"/>
                      </a:endParaRPr>
                    </a:p>
                  </a:txBody>
                  <a:tcPr marL="9229" marR="9229" marT="9229" marB="0" anchor="b">
                    <a:solidFill>
                      <a:srgbClr val="FE5817"/>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F976D"/>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B32C16"/>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E5817"/>
                    </a:solidFill>
                  </a:tcPr>
                </a:tc>
              </a:tr>
              <a:tr h="592786">
                <a:tc>
                  <a:txBody>
                    <a:bodyPr/>
                    <a:lstStyle/>
                    <a:p>
                      <a:pPr algn="l" fontAlgn="b"/>
                      <a:r>
                        <a:rPr lang="zh-CN" altLang="en-US" sz="1600" b="1" u="none" strike="noStrike" dirty="0">
                          <a:effectLst/>
                        </a:rPr>
                        <a:t>业务</a:t>
                      </a:r>
                      <a:r>
                        <a:rPr lang="en-US" altLang="zh-CN" sz="1600" b="1" u="none" strike="noStrike" dirty="0">
                          <a:effectLst/>
                        </a:rPr>
                        <a:t>/</a:t>
                      </a:r>
                      <a:r>
                        <a:rPr lang="zh-CN" altLang="en-US" sz="1600" b="1" u="none" strike="noStrike" dirty="0">
                          <a:effectLst/>
                        </a:rPr>
                        <a:t>产品 </a:t>
                      </a:r>
                      <a:r>
                        <a:rPr lang="en-US" sz="1600" b="1" u="none" strike="noStrike" dirty="0">
                          <a:effectLst/>
                        </a:rPr>
                        <a:t>E</a:t>
                      </a:r>
                      <a:endParaRPr lang="en-US" sz="1600" b="1" i="0" u="none" strike="noStrike" dirty="0">
                        <a:solidFill>
                          <a:srgbClr val="000000"/>
                        </a:solidFill>
                        <a:effectLst/>
                        <a:latin typeface="Calibri" panose="020F0502020204030204"/>
                      </a:endParaRPr>
                    </a:p>
                  </a:txBody>
                  <a:tcPr marL="9229" marR="9229" marT="9229" marB="0" anchor="ctr">
                    <a:solidFill>
                      <a:schemeClr val="bg1">
                        <a:lumMod val="85000"/>
                      </a:schemeClr>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E5817"/>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F976D"/>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E5817"/>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E5817"/>
                    </a:solidFill>
                  </a:tcPr>
                </a:tc>
                <a:tc>
                  <a:txBody>
                    <a:bodyPr/>
                    <a:lstStyle/>
                    <a:p>
                      <a:pPr algn="l" fontAlgn="b"/>
                      <a:endParaRPr lang="en-US" sz="1600" b="0" i="0" u="none" strike="noStrike" dirty="0">
                        <a:solidFill>
                          <a:srgbClr val="000000"/>
                        </a:solidFill>
                        <a:effectLst/>
                        <a:latin typeface="Calibri" panose="020F0502020204030204"/>
                      </a:endParaRPr>
                    </a:p>
                  </a:txBody>
                  <a:tcPr marL="9229" marR="9229" marT="9229" marB="0" anchor="b">
                    <a:solidFill>
                      <a:srgbClr val="FE5817"/>
                    </a:solidFill>
                  </a:tcPr>
                </a:tc>
              </a:tr>
            </a:tbl>
          </a:graphicData>
        </a:graphic>
      </p:graphicFrame>
      <p:sp>
        <p:nvSpPr>
          <p:cNvPr id="10"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内诊</a:t>
            </a:r>
            <a:r>
              <a:rPr lang="en-US" altLang="zh-CN" sz="2400" dirty="0" smtClean="0">
                <a:solidFill>
                  <a:prstClr val="black"/>
                </a:solidFill>
                <a:latin typeface="华文楷体" panose="02010600040101010101" charset="-122"/>
              </a:rPr>
              <a:t>--</a:t>
            </a:r>
            <a:r>
              <a:rPr lang="zh-CN" altLang="en-US" sz="2400" dirty="0" smtClean="0"/>
              <a:t>业务</a:t>
            </a:r>
            <a:r>
              <a:rPr lang="zh-CN" altLang="en-US" sz="2400" dirty="0"/>
              <a:t>热点图：发现各业务</a:t>
            </a:r>
            <a:r>
              <a:rPr lang="en-US" altLang="zh-CN" sz="2400" dirty="0"/>
              <a:t>/</a:t>
            </a:r>
            <a:r>
              <a:rPr lang="zh-CN" altLang="en-US" sz="2400" dirty="0"/>
              <a:t>产品的的优劣</a:t>
            </a:r>
            <a:r>
              <a:rPr lang="zh-CN" altLang="en-US" sz="2400" dirty="0" smtClean="0"/>
              <a:t>势</a:t>
            </a:r>
            <a:endParaRPr lang="en-US" altLang="zh-CN" sz="2400" dirty="0" smtClean="0"/>
          </a:p>
        </p:txBody>
      </p:sp>
      <p:pic>
        <p:nvPicPr>
          <p:cNvPr id="7" name="图片 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800099" y="2998484"/>
            <a:ext cx="10304491" cy="0"/>
          </a:xfrm>
          <a:prstGeom prst="line">
            <a:avLst/>
          </a:prstGeom>
          <a:ln w="19050">
            <a:solidFill>
              <a:srgbClr val="FE5817"/>
            </a:solidFill>
            <a:prstDash val="sysDot"/>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a:off x="800099" y="3839828"/>
            <a:ext cx="10304491" cy="0"/>
          </a:xfrm>
          <a:prstGeom prst="line">
            <a:avLst/>
          </a:prstGeom>
          <a:ln w="19050">
            <a:solidFill>
              <a:srgbClr val="FE5817"/>
            </a:solidFill>
            <a:prstDash val="sysDot"/>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800099" y="4681172"/>
            <a:ext cx="10304491" cy="0"/>
          </a:xfrm>
          <a:prstGeom prst="line">
            <a:avLst/>
          </a:prstGeom>
          <a:ln w="19050">
            <a:solidFill>
              <a:srgbClr val="FE5817"/>
            </a:solidFill>
            <a:prstDash val="sysDot"/>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800099" y="5537324"/>
            <a:ext cx="10304491" cy="0"/>
          </a:xfrm>
          <a:prstGeom prst="line">
            <a:avLst/>
          </a:prstGeom>
          <a:ln w="19050">
            <a:solidFill>
              <a:srgbClr val="FE5817"/>
            </a:solidFill>
            <a:prstDash val="sysDot"/>
          </a:ln>
        </p:spPr>
        <p:style>
          <a:lnRef idx="1">
            <a:schemeClr val="accent1"/>
          </a:lnRef>
          <a:fillRef idx="0">
            <a:schemeClr val="accent1"/>
          </a:fillRef>
          <a:effectRef idx="0">
            <a:schemeClr val="accent1"/>
          </a:effectRef>
          <a:fontRef idx="minor">
            <a:schemeClr val="tx1"/>
          </a:fontRef>
        </p:style>
      </p:cxnSp>
      <p:sp>
        <p:nvSpPr>
          <p:cNvPr id="3" name="矩形 2"/>
          <p:cNvSpPr/>
          <p:nvPr/>
        </p:nvSpPr>
        <p:spPr>
          <a:xfrm>
            <a:off x="836817" y="1782657"/>
            <a:ext cx="602556" cy="28844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spAutoFit/>
          </a:bodyPr>
          <a:lstStyle/>
          <a:p>
            <a:pPr>
              <a:buClr>
                <a:schemeClr val="tx2"/>
              </a:buClr>
            </a:pPr>
            <a:r>
              <a:rPr lang="zh-CN" altLang="en-US" sz="1835" b="1" dirty="0">
                <a:solidFill>
                  <a:schemeClr val="tx1"/>
                </a:solidFill>
              </a:rPr>
              <a:t>能力</a:t>
            </a:r>
            <a:endParaRPr lang="zh-CN" altLang="en-US" sz="1835" b="1" dirty="0">
              <a:solidFill>
                <a:schemeClr val="tx1"/>
              </a:solidFill>
            </a:endParaRPr>
          </a:p>
        </p:txBody>
      </p:sp>
      <p:sp>
        <p:nvSpPr>
          <p:cNvPr id="13" name="TextBox 12"/>
          <p:cNvSpPr txBox="1"/>
          <p:nvPr/>
        </p:nvSpPr>
        <p:spPr>
          <a:xfrm>
            <a:off x="836817" y="2248083"/>
            <a:ext cx="1514850" cy="659459"/>
          </a:xfrm>
          <a:prstGeom prst="rect">
            <a:avLst/>
          </a:prstGeom>
          <a:solidFill>
            <a:srgbClr val="FFC3AB"/>
          </a:solidFill>
          <a:ln>
            <a:noFill/>
          </a:ln>
        </p:spPr>
        <p:txBody>
          <a:bodyPr wrap="square" lIns="73472" tIns="73472" rIns="73472" bIns="73472" rtlCol="0" anchor="ctr" anchorCtr="0">
            <a:noAutofit/>
          </a:bodyPr>
          <a:lstStyle/>
          <a:p>
            <a:r>
              <a:rPr lang="zh-CN" altLang="en-US" sz="1835" b="1" dirty="0"/>
              <a:t>人力资源</a:t>
            </a:r>
            <a:endParaRPr lang="zh-CN" altLang="en-US" sz="1835" b="1" dirty="0"/>
          </a:p>
        </p:txBody>
      </p:sp>
      <p:sp>
        <p:nvSpPr>
          <p:cNvPr id="17" name="TextBox 16"/>
          <p:cNvSpPr txBox="1"/>
          <p:nvPr/>
        </p:nvSpPr>
        <p:spPr>
          <a:xfrm>
            <a:off x="836817" y="3089427"/>
            <a:ext cx="1514850" cy="659459"/>
          </a:xfrm>
          <a:prstGeom prst="rect">
            <a:avLst/>
          </a:prstGeom>
          <a:solidFill>
            <a:srgbClr val="FFC3AB"/>
          </a:solidFill>
          <a:ln>
            <a:noFill/>
          </a:ln>
        </p:spPr>
        <p:txBody>
          <a:bodyPr wrap="square" lIns="73472" tIns="73472" rIns="73472" bIns="73472" rtlCol="0" anchor="ctr" anchorCtr="0">
            <a:noAutofit/>
          </a:bodyPr>
          <a:lstStyle>
            <a:defPPr>
              <a:defRPr lang="en-US"/>
            </a:defPPr>
            <a:lvl1pPr>
              <a:defRPr sz="1835" b="1"/>
            </a:lvl1pPr>
          </a:lstStyle>
          <a:p>
            <a:r>
              <a:rPr lang="en-US" altLang="zh-CN" dirty="0"/>
              <a:t>IT</a:t>
            </a:r>
            <a:endParaRPr lang="zh-CN" altLang="en-US" dirty="0"/>
          </a:p>
        </p:txBody>
      </p:sp>
      <p:sp>
        <p:nvSpPr>
          <p:cNvPr id="21" name="TextBox 20"/>
          <p:cNvSpPr txBox="1"/>
          <p:nvPr/>
        </p:nvSpPr>
        <p:spPr>
          <a:xfrm>
            <a:off x="836817" y="3930771"/>
            <a:ext cx="1514850" cy="659459"/>
          </a:xfrm>
          <a:prstGeom prst="rect">
            <a:avLst/>
          </a:prstGeom>
          <a:solidFill>
            <a:srgbClr val="FFC3AB"/>
          </a:solidFill>
          <a:ln>
            <a:noFill/>
          </a:ln>
        </p:spPr>
        <p:txBody>
          <a:bodyPr wrap="square" lIns="73472" tIns="73472" rIns="73472" bIns="73472" rtlCol="0" anchor="ctr" anchorCtr="0">
            <a:noAutofit/>
          </a:bodyPr>
          <a:lstStyle>
            <a:defPPr>
              <a:defRPr lang="en-US"/>
            </a:defPPr>
            <a:lvl1pPr>
              <a:defRPr sz="1835" b="1"/>
            </a:lvl1pPr>
          </a:lstStyle>
          <a:p>
            <a:r>
              <a:rPr lang="zh-CN" altLang="en-US" dirty="0"/>
              <a:t>组织架构</a:t>
            </a:r>
            <a:endParaRPr lang="zh-CN" altLang="en-US" dirty="0"/>
          </a:p>
        </p:txBody>
      </p:sp>
      <p:sp>
        <p:nvSpPr>
          <p:cNvPr id="25" name="TextBox 24"/>
          <p:cNvSpPr txBox="1"/>
          <p:nvPr/>
        </p:nvSpPr>
        <p:spPr>
          <a:xfrm>
            <a:off x="836817" y="4786923"/>
            <a:ext cx="1514850" cy="659459"/>
          </a:xfrm>
          <a:prstGeom prst="rect">
            <a:avLst/>
          </a:prstGeom>
          <a:solidFill>
            <a:srgbClr val="FFC3AB"/>
          </a:solidFill>
          <a:ln>
            <a:noFill/>
          </a:ln>
        </p:spPr>
        <p:txBody>
          <a:bodyPr wrap="square" lIns="73472" tIns="73472" rIns="73472" bIns="73472" rtlCol="0" anchor="ctr" anchorCtr="0">
            <a:noAutofit/>
          </a:bodyPr>
          <a:lstStyle>
            <a:defPPr>
              <a:defRPr lang="en-US"/>
            </a:defPPr>
            <a:lvl1pPr>
              <a:defRPr sz="1835" b="1"/>
            </a:lvl1pPr>
          </a:lstStyle>
          <a:p>
            <a:r>
              <a:rPr lang="zh-CN" altLang="en-US" dirty="0"/>
              <a:t>计划财务</a:t>
            </a:r>
            <a:endParaRPr lang="zh-CN" altLang="en-US" dirty="0"/>
          </a:p>
        </p:txBody>
      </p:sp>
      <p:sp>
        <p:nvSpPr>
          <p:cNvPr id="29" name="TextBox 28"/>
          <p:cNvSpPr txBox="1"/>
          <p:nvPr/>
        </p:nvSpPr>
        <p:spPr>
          <a:xfrm>
            <a:off x="836817" y="5643072"/>
            <a:ext cx="1514850" cy="659459"/>
          </a:xfrm>
          <a:prstGeom prst="rect">
            <a:avLst/>
          </a:prstGeom>
          <a:solidFill>
            <a:srgbClr val="FFC3AB"/>
          </a:solidFill>
          <a:ln>
            <a:noFill/>
          </a:ln>
        </p:spPr>
        <p:txBody>
          <a:bodyPr wrap="square" lIns="73472" tIns="73472" rIns="73472" bIns="73472" rtlCol="0" anchor="ctr" anchorCtr="0">
            <a:noAutofit/>
          </a:bodyPr>
          <a:lstStyle>
            <a:defPPr>
              <a:defRPr lang="en-US"/>
            </a:defPPr>
            <a:lvl1pPr>
              <a:defRPr sz="1835" b="1"/>
            </a:lvl1pPr>
          </a:lstStyle>
          <a:p>
            <a:r>
              <a:rPr lang="zh-CN" altLang="en-US" dirty="0"/>
              <a:t>风险管理</a:t>
            </a:r>
            <a:endParaRPr lang="zh-CN" altLang="en-US" dirty="0"/>
          </a:p>
        </p:txBody>
      </p:sp>
      <p:cxnSp>
        <p:nvCxnSpPr>
          <p:cNvPr id="34" name="Straight Connector 33"/>
          <p:cNvCxnSpPr/>
          <p:nvPr/>
        </p:nvCxnSpPr>
        <p:spPr>
          <a:xfrm>
            <a:off x="836817" y="2109979"/>
            <a:ext cx="1514850" cy="0"/>
          </a:xfrm>
          <a:prstGeom prst="line">
            <a:avLst/>
          </a:prstGeom>
          <a:ln>
            <a:solidFill>
              <a:srgbClr val="FE5817"/>
            </a:solidFill>
          </a:ln>
        </p:spPr>
        <p:style>
          <a:lnRef idx="1">
            <a:schemeClr val="accent1"/>
          </a:lnRef>
          <a:fillRef idx="0">
            <a:schemeClr val="accent1"/>
          </a:fillRef>
          <a:effectRef idx="0">
            <a:schemeClr val="accent1"/>
          </a:effectRef>
          <a:fontRef idx="minor">
            <a:schemeClr val="tx1"/>
          </a:fontRef>
        </p:style>
      </p:cxnSp>
      <p:sp>
        <p:nvSpPr>
          <p:cNvPr id="5" name="矩形 4"/>
          <p:cNvSpPr/>
          <p:nvPr/>
        </p:nvSpPr>
        <p:spPr>
          <a:xfrm>
            <a:off x="2797868" y="1782657"/>
            <a:ext cx="1205111" cy="28844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spAutoFit/>
          </a:bodyPr>
          <a:lstStyle/>
          <a:p>
            <a:pPr>
              <a:buClr>
                <a:schemeClr val="tx2"/>
              </a:buClr>
            </a:pPr>
            <a:r>
              <a:rPr lang="zh-CN" altLang="en-US" sz="1835" b="1" dirty="0">
                <a:solidFill>
                  <a:schemeClr val="tx1"/>
                </a:solidFill>
              </a:rPr>
              <a:t>客户现状</a:t>
            </a:r>
            <a:endParaRPr lang="zh-CN" altLang="en-US" sz="1835" b="1" dirty="0">
              <a:solidFill>
                <a:schemeClr val="tx1"/>
              </a:solidFill>
            </a:endParaRPr>
          </a:p>
        </p:txBody>
      </p:sp>
      <p:sp>
        <p:nvSpPr>
          <p:cNvPr id="14" name="TextBox 13"/>
          <p:cNvSpPr txBox="1"/>
          <p:nvPr/>
        </p:nvSpPr>
        <p:spPr>
          <a:xfrm>
            <a:off x="2797868" y="2248083"/>
            <a:ext cx="2483679" cy="659459"/>
          </a:xfrm>
          <a:prstGeom prst="rect">
            <a:avLst/>
          </a:prstGeom>
          <a:noFill/>
        </p:spPr>
        <p:txBody>
          <a:bodyPr wrap="square" lIns="0" tIns="0" rIns="0" bIns="0" rtlCol="0">
            <a:noAutofit/>
          </a:bodyPr>
          <a:lstStyle/>
          <a:p>
            <a:r>
              <a:rPr lang="zh-CN" altLang="en-US" sz="1430" dirty="0"/>
              <a:t>存在岗位职责不清，晋升渠道不畅</a:t>
            </a:r>
            <a:r>
              <a:rPr lang="zh-CN" altLang="en-US" sz="1430" dirty="0" smtClean="0"/>
              <a:t>，岗位序列单一的问题</a:t>
            </a:r>
            <a:endParaRPr lang="zh-CN" altLang="en-US" sz="1430" dirty="0"/>
          </a:p>
        </p:txBody>
      </p:sp>
      <p:sp>
        <p:nvSpPr>
          <p:cNvPr id="18" name="TextBox 17"/>
          <p:cNvSpPr txBox="1"/>
          <p:nvPr/>
        </p:nvSpPr>
        <p:spPr>
          <a:xfrm>
            <a:off x="2797868" y="3089427"/>
            <a:ext cx="2483679" cy="439639"/>
          </a:xfrm>
          <a:prstGeom prst="rect">
            <a:avLst/>
          </a:prstGeom>
          <a:noFill/>
        </p:spPr>
        <p:txBody>
          <a:bodyPr wrap="square" lIns="0" tIns="0" rIns="0" bIns="0" rtlCol="0">
            <a:noAutofit/>
          </a:bodyPr>
          <a:lstStyle/>
          <a:p>
            <a:r>
              <a:rPr lang="en-US" altLang="zh-CN" sz="1430" dirty="0"/>
              <a:t>IT</a:t>
            </a:r>
            <a:r>
              <a:rPr lang="zh-CN" altLang="en-US" sz="1430" dirty="0"/>
              <a:t>系统仍然挂靠于省联社，</a:t>
            </a:r>
            <a:r>
              <a:rPr lang="en-US" altLang="zh-CN" sz="1430" dirty="0"/>
              <a:t>IT</a:t>
            </a:r>
            <a:r>
              <a:rPr lang="zh-CN" altLang="en-US" sz="1430" dirty="0"/>
              <a:t>部门人员力量十分薄弱</a:t>
            </a:r>
            <a:endParaRPr lang="zh-CN" altLang="en-US" sz="1430" dirty="0"/>
          </a:p>
        </p:txBody>
      </p:sp>
      <p:sp>
        <p:nvSpPr>
          <p:cNvPr id="22" name="TextBox 21"/>
          <p:cNvSpPr txBox="1"/>
          <p:nvPr/>
        </p:nvSpPr>
        <p:spPr>
          <a:xfrm>
            <a:off x="2797868" y="3930771"/>
            <a:ext cx="2483679" cy="659459"/>
          </a:xfrm>
          <a:prstGeom prst="rect">
            <a:avLst/>
          </a:prstGeom>
          <a:noFill/>
        </p:spPr>
        <p:txBody>
          <a:bodyPr wrap="square" lIns="0" tIns="0" rIns="0" bIns="0" rtlCol="0">
            <a:noAutofit/>
          </a:bodyPr>
          <a:lstStyle/>
          <a:p>
            <a:r>
              <a:rPr lang="zh-CN" altLang="en-US" sz="1430" dirty="0"/>
              <a:t>总行各部门职责划分不清，存在重叠现象；同时部门设置不合理</a:t>
            </a:r>
            <a:endParaRPr lang="zh-CN" altLang="en-US" sz="1430" dirty="0"/>
          </a:p>
        </p:txBody>
      </p:sp>
      <p:sp>
        <p:nvSpPr>
          <p:cNvPr id="26" name="TextBox 25"/>
          <p:cNvSpPr txBox="1"/>
          <p:nvPr/>
        </p:nvSpPr>
        <p:spPr>
          <a:xfrm>
            <a:off x="2797868" y="4786923"/>
            <a:ext cx="2483679" cy="659459"/>
          </a:xfrm>
          <a:prstGeom prst="rect">
            <a:avLst/>
          </a:prstGeom>
          <a:noFill/>
        </p:spPr>
        <p:txBody>
          <a:bodyPr wrap="square" lIns="0" tIns="0" rIns="0" bIns="0" rtlCol="0">
            <a:noAutofit/>
          </a:bodyPr>
          <a:lstStyle/>
          <a:p>
            <a:r>
              <a:rPr lang="zh-CN" altLang="en-US" sz="1430" dirty="0"/>
              <a:t>计划财务规范仍然沿用省联社制度，同时缺乏</a:t>
            </a:r>
            <a:r>
              <a:rPr lang="en-US" altLang="zh-CN" sz="1430" dirty="0"/>
              <a:t>FTP</a:t>
            </a:r>
            <a:r>
              <a:rPr lang="zh-CN" altLang="en-US" sz="1430" dirty="0"/>
              <a:t>等系统</a:t>
            </a:r>
            <a:endParaRPr lang="zh-CN" altLang="en-US" sz="1430" dirty="0"/>
          </a:p>
        </p:txBody>
      </p:sp>
      <p:sp>
        <p:nvSpPr>
          <p:cNvPr id="30" name="TextBox 29"/>
          <p:cNvSpPr txBox="1"/>
          <p:nvPr/>
        </p:nvSpPr>
        <p:spPr>
          <a:xfrm>
            <a:off x="2797868" y="5643072"/>
            <a:ext cx="2483679" cy="659459"/>
          </a:xfrm>
          <a:prstGeom prst="rect">
            <a:avLst/>
          </a:prstGeom>
          <a:noFill/>
        </p:spPr>
        <p:txBody>
          <a:bodyPr wrap="square" lIns="0" tIns="0" rIns="0" bIns="0" rtlCol="0">
            <a:noAutofit/>
          </a:bodyPr>
          <a:lstStyle/>
          <a:p>
            <a:r>
              <a:rPr lang="zh-CN" altLang="en-US" sz="1430" dirty="0"/>
              <a:t>尚未开始按照巴</a:t>
            </a:r>
            <a:r>
              <a:rPr lang="en-US" altLang="zh-CN" sz="1430" dirty="0"/>
              <a:t>III</a:t>
            </a:r>
            <a:r>
              <a:rPr lang="zh-CN" altLang="en-US" sz="1430" dirty="0"/>
              <a:t>要求开展相关工作，信用风险管理能力弱</a:t>
            </a:r>
            <a:endParaRPr lang="zh-CN" altLang="en-US" sz="1430" dirty="0"/>
          </a:p>
        </p:txBody>
      </p:sp>
      <p:cxnSp>
        <p:nvCxnSpPr>
          <p:cNvPr id="35" name="Straight Connector 34"/>
          <p:cNvCxnSpPr/>
          <p:nvPr/>
        </p:nvCxnSpPr>
        <p:spPr>
          <a:xfrm>
            <a:off x="2797868" y="2109979"/>
            <a:ext cx="2483679" cy="0"/>
          </a:xfrm>
          <a:prstGeom prst="line">
            <a:avLst/>
          </a:prstGeom>
          <a:ln>
            <a:solidFill>
              <a:srgbClr val="FE5817"/>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5727749" y="1782657"/>
            <a:ext cx="1807666" cy="28844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spAutoFit/>
          </a:bodyPr>
          <a:lstStyle/>
          <a:p>
            <a:pPr>
              <a:buClr>
                <a:schemeClr val="tx2"/>
              </a:buClr>
            </a:pPr>
            <a:r>
              <a:rPr lang="zh-CN" altLang="en-US" sz="1835" b="1" dirty="0">
                <a:solidFill>
                  <a:schemeClr val="tx1"/>
                </a:solidFill>
              </a:rPr>
              <a:t>对标对象现状</a:t>
            </a:r>
            <a:endParaRPr lang="zh-CN" altLang="en-US" sz="1835" b="1" dirty="0">
              <a:solidFill>
                <a:schemeClr val="tx1"/>
              </a:solidFill>
            </a:endParaRPr>
          </a:p>
        </p:txBody>
      </p:sp>
      <p:sp>
        <p:nvSpPr>
          <p:cNvPr id="15" name="TextBox 14"/>
          <p:cNvSpPr txBox="1"/>
          <p:nvPr/>
        </p:nvSpPr>
        <p:spPr>
          <a:xfrm>
            <a:off x="5727748" y="2248083"/>
            <a:ext cx="2483679" cy="659459"/>
          </a:xfrm>
          <a:prstGeom prst="rect">
            <a:avLst/>
          </a:prstGeom>
          <a:noFill/>
        </p:spPr>
        <p:txBody>
          <a:bodyPr wrap="square" lIns="0" tIns="0" rIns="0" bIns="0" rtlCol="0">
            <a:noAutofit/>
          </a:bodyPr>
          <a:lstStyle/>
          <a:p>
            <a:r>
              <a:rPr lang="zh-CN" altLang="en-US" sz="1430" dirty="0"/>
              <a:t>拥有技术序列、管理系列等丰富的岗位序列及职等架构体系</a:t>
            </a:r>
            <a:endParaRPr lang="zh-CN" altLang="en-US" sz="1430" dirty="0"/>
          </a:p>
        </p:txBody>
      </p:sp>
      <p:sp>
        <p:nvSpPr>
          <p:cNvPr id="19" name="TextBox 18"/>
          <p:cNvSpPr txBox="1"/>
          <p:nvPr/>
        </p:nvSpPr>
        <p:spPr>
          <a:xfrm>
            <a:off x="5727748" y="3089427"/>
            <a:ext cx="2483679" cy="659459"/>
          </a:xfrm>
          <a:prstGeom prst="rect">
            <a:avLst/>
          </a:prstGeom>
          <a:noFill/>
        </p:spPr>
        <p:txBody>
          <a:bodyPr wrap="square" lIns="0" tIns="0" rIns="0" bIns="0" rtlCol="0">
            <a:noAutofit/>
          </a:bodyPr>
          <a:lstStyle/>
          <a:p>
            <a:r>
              <a:rPr lang="zh-CN" altLang="en-US" sz="1430" dirty="0"/>
              <a:t>总行</a:t>
            </a:r>
            <a:r>
              <a:rPr lang="en-US" altLang="zh-CN" sz="1430" dirty="0"/>
              <a:t>IT</a:t>
            </a:r>
            <a:r>
              <a:rPr lang="zh-CN" altLang="en-US" sz="1430" dirty="0"/>
              <a:t>部拥有</a:t>
            </a:r>
            <a:r>
              <a:rPr lang="en-US" altLang="zh-CN" sz="1430" dirty="0"/>
              <a:t>50</a:t>
            </a:r>
            <a:r>
              <a:rPr lang="zh-CN" altLang="en-US" sz="1430" dirty="0"/>
              <a:t>多名人员，自建数据仓库，拥有一百多系统</a:t>
            </a:r>
            <a:endParaRPr lang="zh-CN" altLang="en-US" sz="1430" dirty="0"/>
          </a:p>
        </p:txBody>
      </p:sp>
      <p:sp>
        <p:nvSpPr>
          <p:cNvPr id="23" name="TextBox 22"/>
          <p:cNvSpPr txBox="1"/>
          <p:nvPr/>
        </p:nvSpPr>
        <p:spPr>
          <a:xfrm>
            <a:off x="5727748" y="3930771"/>
            <a:ext cx="2483679" cy="439639"/>
          </a:xfrm>
          <a:prstGeom prst="rect">
            <a:avLst/>
          </a:prstGeom>
          <a:noFill/>
        </p:spPr>
        <p:txBody>
          <a:bodyPr wrap="square" lIns="0" tIns="0" rIns="0" bIns="0" rtlCol="0">
            <a:noAutofit/>
          </a:bodyPr>
          <a:lstStyle/>
          <a:p>
            <a:r>
              <a:rPr lang="zh-CN" altLang="en-US" sz="1430" dirty="0"/>
              <a:t>总行部门设置合理，部门职责划分清晰</a:t>
            </a:r>
            <a:endParaRPr lang="zh-CN" altLang="en-US" sz="1430" dirty="0"/>
          </a:p>
        </p:txBody>
      </p:sp>
      <p:sp>
        <p:nvSpPr>
          <p:cNvPr id="27" name="TextBox 26"/>
          <p:cNvSpPr txBox="1"/>
          <p:nvPr/>
        </p:nvSpPr>
        <p:spPr>
          <a:xfrm>
            <a:off x="5727748" y="4786923"/>
            <a:ext cx="2483679" cy="659459"/>
          </a:xfrm>
          <a:prstGeom prst="rect">
            <a:avLst/>
          </a:prstGeom>
          <a:noFill/>
        </p:spPr>
        <p:txBody>
          <a:bodyPr wrap="square" lIns="0" tIns="0" rIns="0" bIns="0" rtlCol="0">
            <a:noAutofit/>
          </a:bodyPr>
          <a:lstStyle/>
          <a:p>
            <a:r>
              <a:rPr lang="zh-CN" altLang="en-US" sz="1430" dirty="0"/>
              <a:t>已拥有成熟的计划财务规划，</a:t>
            </a:r>
            <a:r>
              <a:rPr lang="en-US" altLang="zh-CN" sz="1430" dirty="0"/>
              <a:t>FTP</a:t>
            </a:r>
            <a:r>
              <a:rPr lang="zh-CN" altLang="en-US" sz="1430" dirty="0"/>
              <a:t>等系统可为经营决策提供依据</a:t>
            </a:r>
            <a:endParaRPr lang="zh-CN" altLang="en-US" sz="1430" dirty="0"/>
          </a:p>
        </p:txBody>
      </p:sp>
      <p:sp>
        <p:nvSpPr>
          <p:cNvPr id="31" name="TextBox 30"/>
          <p:cNvSpPr txBox="1"/>
          <p:nvPr/>
        </p:nvSpPr>
        <p:spPr>
          <a:xfrm>
            <a:off x="5727748" y="5643072"/>
            <a:ext cx="2483679" cy="659459"/>
          </a:xfrm>
          <a:prstGeom prst="rect">
            <a:avLst/>
          </a:prstGeom>
          <a:noFill/>
        </p:spPr>
        <p:txBody>
          <a:bodyPr wrap="square" lIns="0" tIns="0" rIns="0" bIns="0" rtlCol="0">
            <a:noAutofit/>
          </a:bodyPr>
          <a:lstStyle/>
          <a:p>
            <a:r>
              <a:rPr lang="zh-CN" altLang="en-US" sz="1430" dirty="0"/>
              <a:t>设立巴办专职推进巴</a:t>
            </a:r>
            <a:r>
              <a:rPr lang="en-US" altLang="zh-CN" sz="1430" dirty="0"/>
              <a:t>III</a:t>
            </a:r>
            <a:r>
              <a:rPr lang="zh-CN" altLang="en-US" sz="1430" dirty="0"/>
              <a:t>达标事宜，建立零售及对公打分卡体系</a:t>
            </a:r>
            <a:endParaRPr lang="zh-CN" altLang="en-US" sz="1430" dirty="0"/>
          </a:p>
        </p:txBody>
      </p:sp>
      <p:cxnSp>
        <p:nvCxnSpPr>
          <p:cNvPr id="36" name="Straight Connector 35"/>
          <p:cNvCxnSpPr/>
          <p:nvPr/>
        </p:nvCxnSpPr>
        <p:spPr>
          <a:xfrm>
            <a:off x="5727748" y="2109979"/>
            <a:ext cx="2483679" cy="0"/>
          </a:xfrm>
          <a:prstGeom prst="line">
            <a:avLst/>
          </a:prstGeom>
          <a:ln>
            <a:solidFill>
              <a:srgbClr val="FE5817"/>
            </a:solidFill>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8657629" y="1782657"/>
            <a:ext cx="2108944" cy="28844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spAutoFit/>
          </a:bodyPr>
          <a:lstStyle/>
          <a:p>
            <a:pPr>
              <a:buClr>
                <a:schemeClr val="tx2"/>
              </a:buClr>
            </a:pPr>
            <a:r>
              <a:rPr lang="zh-CN" altLang="en-US" sz="1835" b="1" dirty="0">
                <a:solidFill>
                  <a:schemeClr val="tx1"/>
                </a:solidFill>
              </a:rPr>
              <a:t>差距及改进建议</a:t>
            </a:r>
            <a:endParaRPr lang="zh-CN" altLang="en-US" sz="1835" b="1" dirty="0">
              <a:solidFill>
                <a:schemeClr val="tx1"/>
              </a:solidFill>
            </a:endParaRPr>
          </a:p>
        </p:txBody>
      </p:sp>
      <p:sp>
        <p:nvSpPr>
          <p:cNvPr id="16" name="TextBox 15"/>
          <p:cNvSpPr txBox="1"/>
          <p:nvPr/>
        </p:nvSpPr>
        <p:spPr>
          <a:xfrm>
            <a:off x="8657629" y="2248083"/>
            <a:ext cx="2483679" cy="439639"/>
          </a:xfrm>
          <a:prstGeom prst="rect">
            <a:avLst/>
          </a:prstGeom>
          <a:noFill/>
        </p:spPr>
        <p:txBody>
          <a:bodyPr wrap="square" lIns="0" tIns="0" rIns="0" bIns="0" rtlCol="0">
            <a:noAutofit/>
          </a:bodyPr>
          <a:lstStyle/>
          <a:p>
            <a:r>
              <a:rPr lang="zh-CN" altLang="en-US" sz="1430" dirty="0"/>
              <a:t>尽快建立较为完善的职等架构体系，丰富岗位序列</a:t>
            </a:r>
            <a:endParaRPr lang="zh-CN" altLang="en-US" sz="1430" dirty="0"/>
          </a:p>
        </p:txBody>
      </p:sp>
      <p:sp>
        <p:nvSpPr>
          <p:cNvPr id="20" name="TextBox 19"/>
          <p:cNvSpPr txBox="1"/>
          <p:nvPr/>
        </p:nvSpPr>
        <p:spPr>
          <a:xfrm>
            <a:off x="8657629" y="3089427"/>
            <a:ext cx="2483679" cy="659459"/>
          </a:xfrm>
          <a:prstGeom prst="rect">
            <a:avLst/>
          </a:prstGeom>
          <a:noFill/>
        </p:spPr>
        <p:txBody>
          <a:bodyPr wrap="square" lIns="0" tIns="0" rIns="0" bIns="0" rtlCol="0">
            <a:noAutofit/>
          </a:bodyPr>
          <a:lstStyle/>
          <a:p>
            <a:r>
              <a:rPr lang="zh-CN" altLang="en-US" sz="1430" dirty="0"/>
              <a:t>在依托省联社的基础上加入自建系统模块，充实</a:t>
            </a:r>
            <a:r>
              <a:rPr lang="en-US" altLang="zh-CN" sz="1430" dirty="0"/>
              <a:t>IT</a:t>
            </a:r>
            <a:r>
              <a:rPr lang="zh-CN" altLang="en-US" sz="1430" dirty="0"/>
              <a:t>部门人力</a:t>
            </a:r>
            <a:endParaRPr lang="zh-CN" altLang="en-US" sz="1430" dirty="0"/>
          </a:p>
        </p:txBody>
      </p:sp>
      <p:sp>
        <p:nvSpPr>
          <p:cNvPr id="24" name="TextBox 23"/>
          <p:cNvSpPr txBox="1"/>
          <p:nvPr/>
        </p:nvSpPr>
        <p:spPr>
          <a:xfrm>
            <a:off x="8657629" y="3930771"/>
            <a:ext cx="2483679" cy="659459"/>
          </a:xfrm>
          <a:prstGeom prst="rect">
            <a:avLst/>
          </a:prstGeom>
          <a:noFill/>
        </p:spPr>
        <p:txBody>
          <a:bodyPr wrap="square" lIns="0" tIns="0" rIns="0" bIns="0" rtlCol="0">
            <a:noAutofit/>
          </a:bodyPr>
          <a:lstStyle/>
          <a:p>
            <a:r>
              <a:rPr lang="zh-CN" altLang="en-US" sz="1430" dirty="0"/>
              <a:t>按照现代银行要求重现进行组织架构调整，实现前中后台分离</a:t>
            </a:r>
            <a:endParaRPr lang="zh-CN" altLang="en-US" sz="1430" dirty="0"/>
          </a:p>
        </p:txBody>
      </p:sp>
      <p:sp>
        <p:nvSpPr>
          <p:cNvPr id="28" name="TextBox 27"/>
          <p:cNvSpPr txBox="1"/>
          <p:nvPr/>
        </p:nvSpPr>
        <p:spPr>
          <a:xfrm>
            <a:off x="8657629" y="4786923"/>
            <a:ext cx="2483679" cy="659459"/>
          </a:xfrm>
          <a:prstGeom prst="rect">
            <a:avLst/>
          </a:prstGeom>
          <a:noFill/>
        </p:spPr>
        <p:txBody>
          <a:bodyPr wrap="square" lIns="0" tIns="0" rIns="0" bIns="0" rtlCol="0">
            <a:noAutofit/>
          </a:bodyPr>
          <a:lstStyle/>
          <a:p>
            <a:r>
              <a:rPr lang="zh-CN" altLang="en-US" sz="1430" dirty="0"/>
              <a:t>尽快制定符合本行实际的计划财务规范，并上线</a:t>
            </a:r>
            <a:r>
              <a:rPr lang="en-US" altLang="zh-CN" sz="1430" dirty="0"/>
              <a:t>FTP</a:t>
            </a:r>
            <a:r>
              <a:rPr lang="zh-CN" altLang="en-US" sz="1430" dirty="0"/>
              <a:t>系统</a:t>
            </a:r>
            <a:endParaRPr lang="zh-CN" altLang="en-US" sz="1430" dirty="0"/>
          </a:p>
        </p:txBody>
      </p:sp>
      <p:sp>
        <p:nvSpPr>
          <p:cNvPr id="32" name="TextBox 31"/>
          <p:cNvSpPr txBox="1"/>
          <p:nvPr/>
        </p:nvSpPr>
        <p:spPr>
          <a:xfrm>
            <a:off x="8657629" y="5643072"/>
            <a:ext cx="2483679" cy="439639"/>
          </a:xfrm>
          <a:prstGeom prst="rect">
            <a:avLst/>
          </a:prstGeom>
          <a:noFill/>
        </p:spPr>
        <p:txBody>
          <a:bodyPr wrap="square" lIns="0" tIns="0" rIns="0" bIns="0" rtlCol="0">
            <a:noAutofit/>
          </a:bodyPr>
          <a:lstStyle/>
          <a:p>
            <a:r>
              <a:rPr lang="zh-CN" altLang="en-US" sz="1430" dirty="0"/>
              <a:t>设立专门的巴办推进巴</a:t>
            </a:r>
            <a:r>
              <a:rPr lang="en-US" altLang="zh-CN" sz="1430" dirty="0"/>
              <a:t>III</a:t>
            </a:r>
            <a:r>
              <a:rPr lang="zh-CN" altLang="en-US" sz="1430" dirty="0"/>
              <a:t>达标事宜</a:t>
            </a:r>
            <a:endParaRPr lang="zh-CN" altLang="en-US" sz="1430" dirty="0"/>
          </a:p>
        </p:txBody>
      </p:sp>
      <p:cxnSp>
        <p:nvCxnSpPr>
          <p:cNvPr id="37" name="Straight Connector 36"/>
          <p:cNvCxnSpPr/>
          <p:nvPr/>
        </p:nvCxnSpPr>
        <p:spPr>
          <a:xfrm>
            <a:off x="8657629" y="2109979"/>
            <a:ext cx="2483679" cy="0"/>
          </a:xfrm>
          <a:prstGeom prst="line">
            <a:avLst/>
          </a:prstGeom>
          <a:ln>
            <a:solidFill>
              <a:srgbClr val="FE5817"/>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927749" y="1041934"/>
            <a:ext cx="10122627" cy="725274"/>
          </a:xfrm>
          <a:prstGeom prst="rect">
            <a:avLst/>
          </a:prstGeom>
          <a:solidFill>
            <a:srgbClr val="FE5817"/>
          </a:solidFill>
          <a:ln>
            <a:noFill/>
          </a:ln>
        </p:spPr>
        <p:txBody>
          <a:bodyPr wrap="square" lIns="73472" tIns="73472" rIns="73472" bIns="73472" rtlCol="0" anchor="ctr" anchorCtr="0">
            <a:spAutoFit/>
          </a:bodyPr>
          <a:lstStyle/>
          <a:p>
            <a:pPr>
              <a:buClr>
                <a:schemeClr val="lt1"/>
              </a:buClr>
            </a:pPr>
            <a:r>
              <a:rPr lang="zh-CN" altLang="en-US" sz="1835" b="1" dirty="0">
                <a:solidFill>
                  <a:schemeClr val="lt1"/>
                </a:solidFill>
              </a:rPr>
              <a:t>在识别成功关键能力的基础上，将客户各项关键能力与最佳实践或主要竞争对手进行对标，分析差距并提出改进建议</a:t>
            </a:r>
            <a:endParaRPr lang="zh-CN" altLang="en-US" sz="1835" b="1" dirty="0">
              <a:solidFill>
                <a:schemeClr val="lt1"/>
              </a:solidFill>
            </a:endParaRPr>
          </a:p>
        </p:txBody>
      </p:sp>
      <p:sp>
        <p:nvSpPr>
          <p:cNvPr id="39" name="标题 2"/>
          <p:cNvSpPr txBox="1"/>
          <p:nvPr/>
        </p:nvSpPr>
        <p:spPr>
          <a:xfrm>
            <a:off x="169890" y="312671"/>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内诊</a:t>
            </a:r>
            <a:r>
              <a:rPr lang="en-US" altLang="zh-CN" sz="2400" dirty="0" smtClean="0">
                <a:solidFill>
                  <a:prstClr val="black"/>
                </a:solidFill>
                <a:latin typeface="华文楷体" panose="02010600040101010101" charset="-122"/>
              </a:rPr>
              <a:t>-</a:t>
            </a:r>
            <a:r>
              <a:rPr lang="zh-CN" altLang="en-US" sz="2400" dirty="0" smtClean="0"/>
              <a:t>关键</a:t>
            </a:r>
            <a:r>
              <a:rPr lang="zh-CN" altLang="en-US" sz="2400" dirty="0"/>
              <a:t>能力分析：与行业最佳实践或主要竞争对手进行能力对标，识别客户的优势与短板</a:t>
            </a:r>
            <a:endParaRPr lang="zh-CN" altLang="en-US" sz="2400" dirty="0">
              <a:solidFill>
                <a:prstClr val="black"/>
              </a:solidFill>
              <a:latin typeface="华文楷体" panose="02010600040101010101" charset="-122"/>
            </a:endParaRPr>
          </a:p>
        </p:txBody>
      </p:sp>
      <p:pic>
        <p:nvPicPr>
          <p:cNvPr id="38" name="图片 3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4" name="矩形 3"/>
          <p:cNvSpPr/>
          <p:nvPr/>
        </p:nvSpPr>
        <p:spPr>
          <a:xfrm>
            <a:off x="407988" y="1469382"/>
            <a:ext cx="1116013" cy="1359345"/>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prstClr val="white"/>
                </a:solidFill>
                <a:effectLst/>
                <a:uLnTx/>
                <a:uFillTx/>
                <a:latin typeface="+mj-ea"/>
                <a:ea typeface="+mj-ea"/>
                <a:cs typeface="+mn-ea"/>
                <a:sym typeface="+mn-lt"/>
              </a:rPr>
              <a:t>K12</a:t>
            </a:r>
            <a:endParaRPr kumimoji="0" lang="en-US" altLang="zh-CN" sz="1400" b="1" i="0" u="none" strike="noStrike" kern="1200" cap="none" spc="0" normalizeH="0" baseline="0" noProof="0" dirty="0" smtClean="0">
              <a:ln>
                <a:noFill/>
              </a:ln>
              <a:solidFill>
                <a:prstClr val="white"/>
              </a:solidFill>
              <a:effectLst/>
              <a:uLnTx/>
              <a:uFillTx/>
              <a:latin typeface="+mj-ea"/>
              <a:ea typeface="+mj-ea"/>
              <a:cs typeface="+mn-ea"/>
              <a:sym typeface="+mn-lt"/>
            </a:endParaRPr>
          </a:p>
        </p:txBody>
      </p:sp>
      <p:sp>
        <p:nvSpPr>
          <p:cNvPr id="5" name="矩形 4"/>
          <p:cNvSpPr/>
          <p:nvPr/>
        </p:nvSpPr>
        <p:spPr>
          <a:xfrm>
            <a:off x="9191142" y="1476610"/>
            <a:ext cx="2579586" cy="13593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marR="0" lvl="1" indent="-171450" algn="l" defTabSz="914400" rtl="0" eaLnBrk="1" fontAlgn="auto" latinLnBrk="0" hangingPunct="1">
              <a:lnSpc>
                <a:spcPts val="1900"/>
              </a:lnSpc>
              <a:spcBef>
                <a:spcPts val="0"/>
              </a:spcBef>
              <a:spcAft>
                <a:spcPts val="0"/>
              </a:spcAft>
              <a:buClrTx/>
              <a:buSzPct val="100000"/>
              <a:buFont typeface="Arial" panose="020B0604020202020204" pitchFamily="34" charset="0"/>
              <a:buChar char="•"/>
              <a:defRPr/>
            </a:pPr>
            <a:r>
              <a:rPr kumimoji="0" lang="en-US" altLang="zh-CN" sz="1200" b="0" i="0" u="none" strike="noStrike" kern="1200" cap="none" spc="0" normalizeH="0" baseline="0" noProof="0" dirty="0" smtClean="0">
                <a:ln>
                  <a:noFill/>
                </a:ln>
                <a:solidFill>
                  <a:prstClr val="black"/>
                </a:solidFill>
                <a:effectLst/>
                <a:uLnTx/>
                <a:uFillTx/>
                <a:latin typeface="+mj-ea"/>
                <a:ea typeface="+mj-ea"/>
                <a:cs typeface="+mn-cs"/>
                <a:sym typeface="+mn-lt"/>
              </a:rPr>
              <a:t>xxx</a:t>
            </a:r>
            <a:r>
              <a:rPr kumimoji="0" lang="zh-CN" altLang="en-US" sz="1200" b="0" i="0" u="none" strike="noStrike" kern="1200" cap="none" spc="0" normalizeH="0" baseline="0" noProof="0" dirty="0" smtClean="0">
                <a:ln>
                  <a:noFill/>
                </a:ln>
                <a:solidFill>
                  <a:prstClr val="black"/>
                </a:solidFill>
                <a:effectLst/>
                <a:uLnTx/>
                <a:uFillTx/>
                <a:latin typeface="+mj-ea"/>
                <a:ea typeface="+mj-ea"/>
                <a:cs typeface="+mn-cs"/>
                <a:sym typeface="+mn-lt"/>
              </a:rPr>
              <a:t>建设进展</a:t>
            </a:r>
            <a:endParaRPr kumimoji="0" lang="en-US" altLang="zh-CN" sz="1200" b="0" i="0" u="none" strike="noStrike" kern="1200" cap="none" spc="0" normalizeH="0" baseline="0" noProof="0" dirty="0" smtClean="0">
              <a:ln>
                <a:noFill/>
              </a:ln>
              <a:solidFill>
                <a:prstClr val="black"/>
              </a:solidFill>
              <a:effectLst/>
              <a:uLnTx/>
              <a:uFillTx/>
              <a:latin typeface="+mj-ea"/>
              <a:ea typeface="+mj-ea"/>
              <a:cs typeface="+mn-cs"/>
              <a:sym typeface="+mn-lt"/>
            </a:endParaRPr>
          </a:p>
          <a:p>
            <a:pPr marL="171450" marR="0" lvl="1" indent="-171450" algn="l" defTabSz="914400" rtl="0" eaLnBrk="1" fontAlgn="auto" latinLnBrk="0" hangingPunct="1">
              <a:lnSpc>
                <a:spcPts val="1900"/>
              </a:lnSpc>
              <a:spcBef>
                <a:spcPts val="0"/>
              </a:spcBef>
              <a:spcAft>
                <a:spcPts val="0"/>
              </a:spcAft>
              <a:buClrTx/>
              <a:buSzPct val="100000"/>
              <a:buFont typeface="Arial" panose="020B0604020202020204" pitchFamily="34" charset="0"/>
              <a:buChar char="•"/>
              <a:defRPr/>
            </a:pPr>
            <a:endParaRPr kumimoji="0" lang="en-US" altLang="zh-CN" sz="1200" b="0" i="0" u="none" strike="noStrike" kern="1200" cap="none" spc="0" normalizeH="0" baseline="0" noProof="0" dirty="0">
              <a:ln>
                <a:noFill/>
              </a:ln>
              <a:solidFill>
                <a:prstClr val="black"/>
              </a:solidFill>
              <a:effectLst/>
              <a:uLnTx/>
              <a:uFillTx/>
              <a:latin typeface="+mj-ea"/>
              <a:ea typeface="+mj-ea"/>
              <a:cs typeface="+mn-cs"/>
              <a:sym typeface="+mn-lt"/>
            </a:endParaRPr>
          </a:p>
          <a:p>
            <a:pPr marL="171450" marR="0" lvl="1" indent="-171450" algn="l" defTabSz="914400" rtl="0" eaLnBrk="1" fontAlgn="auto" latinLnBrk="0" hangingPunct="1">
              <a:lnSpc>
                <a:spcPts val="1900"/>
              </a:lnSpc>
              <a:spcBef>
                <a:spcPts val="0"/>
              </a:spcBef>
              <a:spcAft>
                <a:spcPts val="0"/>
              </a:spcAft>
              <a:buClrTx/>
              <a:buSzPct val="100000"/>
              <a:buFont typeface="Arial" panose="020B0604020202020204" pitchFamily="34" charset="0"/>
              <a:buChar char="•"/>
              <a:defRPr/>
            </a:pPr>
            <a:r>
              <a:rPr kumimoji="0" lang="en-US" altLang="zh-CN" sz="1200" b="0" i="0" u="none" strike="noStrike" kern="1200" cap="none" spc="0" normalizeH="0" baseline="0" noProof="0" dirty="0" smtClean="0">
                <a:ln>
                  <a:noFill/>
                </a:ln>
                <a:solidFill>
                  <a:prstClr val="black"/>
                </a:solidFill>
                <a:effectLst/>
                <a:uLnTx/>
                <a:uFillTx/>
                <a:latin typeface="+mj-ea"/>
                <a:ea typeface="+mj-ea"/>
                <a:cs typeface="+mn-cs"/>
                <a:sym typeface="+mn-lt"/>
              </a:rPr>
              <a:t>xx</a:t>
            </a:r>
            <a:r>
              <a:rPr kumimoji="0" lang="zh-CN" altLang="en-US" sz="1200" b="0" i="0" u="none" strike="noStrike" kern="1200" cap="none" spc="0" normalizeH="0" baseline="0" noProof="0" dirty="0" smtClean="0">
                <a:ln>
                  <a:noFill/>
                </a:ln>
                <a:solidFill>
                  <a:prstClr val="black"/>
                </a:solidFill>
                <a:effectLst/>
                <a:uLnTx/>
                <a:uFillTx/>
                <a:latin typeface="+mj-ea"/>
                <a:ea typeface="+mj-ea"/>
                <a:cs typeface="+mn-cs"/>
                <a:sym typeface="+mn-lt"/>
              </a:rPr>
              <a:t>系统招投标进展、</a:t>
            </a:r>
            <a:r>
              <a:rPr kumimoji="0" lang="en-US" altLang="zh-CN" sz="1200" b="0" i="0" u="none" strike="noStrike" kern="1200" cap="none" spc="0" normalizeH="0" baseline="0" noProof="0" dirty="0" smtClean="0">
                <a:ln>
                  <a:noFill/>
                </a:ln>
                <a:solidFill>
                  <a:prstClr val="black"/>
                </a:solidFill>
                <a:effectLst/>
                <a:uLnTx/>
                <a:uFillTx/>
                <a:latin typeface="+mj-ea"/>
                <a:ea typeface="+mj-ea"/>
                <a:cs typeface="+mn-cs"/>
                <a:sym typeface="+mn-lt"/>
              </a:rPr>
              <a:t>xx</a:t>
            </a:r>
            <a:r>
              <a:rPr kumimoji="0" lang="zh-CN" altLang="en-US" sz="1200" b="0" i="0" u="none" strike="noStrike" kern="1200" cap="none" spc="0" normalizeH="0" baseline="0" noProof="0" dirty="0" smtClean="0">
                <a:ln>
                  <a:noFill/>
                </a:ln>
                <a:solidFill>
                  <a:prstClr val="black"/>
                </a:solidFill>
                <a:effectLst/>
                <a:uLnTx/>
                <a:uFillTx/>
                <a:latin typeface="+mj-ea"/>
                <a:ea typeface="+mj-ea"/>
                <a:cs typeface="+mn-cs"/>
                <a:sym typeface="+mn-lt"/>
              </a:rPr>
              <a:t>项目收入情况</a:t>
            </a:r>
            <a:endParaRPr kumimoji="0" lang="en-US" altLang="zh-CN" sz="1200" b="0" i="0" u="none" strike="noStrike" kern="1200" cap="none" spc="0" normalizeH="0" baseline="0" noProof="0" dirty="0">
              <a:ln>
                <a:noFill/>
              </a:ln>
              <a:solidFill>
                <a:prstClr val="black"/>
              </a:solidFill>
              <a:effectLst/>
              <a:uLnTx/>
              <a:uFillTx/>
              <a:latin typeface="+mj-ea"/>
              <a:ea typeface="+mj-ea"/>
              <a:cs typeface="+mn-cs"/>
              <a:sym typeface="+mn-lt"/>
            </a:endParaRPr>
          </a:p>
        </p:txBody>
      </p:sp>
      <p:sp>
        <p:nvSpPr>
          <p:cNvPr id="6" name="矩形 5"/>
          <p:cNvSpPr/>
          <p:nvPr/>
        </p:nvSpPr>
        <p:spPr>
          <a:xfrm>
            <a:off x="5323095" y="1479164"/>
            <a:ext cx="3735431" cy="13593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marR="0" lvl="0" indent="-171450" algn="l" defTabSz="914400" rtl="0" eaLnBrk="1" fontAlgn="auto" latinLnBrk="0" hangingPunct="1">
              <a:lnSpc>
                <a:spcPts val="1900"/>
              </a:lnSpc>
              <a:spcBef>
                <a:spcPts val="0"/>
              </a:spcBef>
              <a:spcAft>
                <a:spcPts val="0"/>
              </a:spcAft>
              <a:buClrTx/>
              <a:buSzTx/>
              <a:buFont typeface="Arial" panose="020B0604020202020204" pitchFamily="34" charset="0"/>
              <a:buChar char="•"/>
              <a:defRPr/>
            </a:pPr>
            <a:r>
              <a:rPr lang="en-US" altLang="zh-CN" sz="1200" dirty="0" smtClean="0">
                <a:solidFill>
                  <a:prstClr val="black"/>
                </a:solidFill>
                <a:latin typeface="+mj-ea"/>
                <a:ea typeface="+mj-ea"/>
                <a:sym typeface="+mn-lt"/>
              </a:rPr>
              <a:t>……</a:t>
            </a:r>
            <a:endParaRPr kumimoji="0" lang="zh-CN" altLang="en-US" sz="1200" b="0" i="0" u="none" strike="noStrike" kern="1200" cap="none" spc="0" normalizeH="0" baseline="0" noProof="0" dirty="0">
              <a:ln>
                <a:noFill/>
              </a:ln>
              <a:solidFill>
                <a:prstClr val="black"/>
              </a:solidFill>
              <a:effectLst/>
              <a:uLnTx/>
              <a:uFillTx/>
              <a:latin typeface="+mj-ea"/>
              <a:ea typeface="+mj-ea"/>
              <a:sym typeface="+mn-lt"/>
            </a:endParaRPr>
          </a:p>
        </p:txBody>
      </p:sp>
      <p:sp>
        <p:nvSpPr>
          <p:cNvPr id="7" name="ColumnHeader"/>
          <p:cNvSpPr>
            <a:spLocks noChangeArrowheads="1"/>
          </p:cNvSpPr>
          <p:nvPr/>
        </p:nvSpPr>
        <p:spPr bwMode="gray">
          <a:xfrm>
            <a:off x="435096" y="887406"/>
            <a:ext cx="1068629"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lIns="0" tIns="91440" rIns="0" bIns="91440" anchor="b">
            <a:noAutofit/>
          </a:body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rgbClr val="000000"/>
                </a:solidFill>
                <a:effectLst/>
                <a:uLnTx/>
                <a:uFillTx/>
                <a:latin typeface="+mj-ea"/>
                <a:ea typeface="+mj-ea"/>
                <a:cs typeface="+mn-ea"/>
                <a:sym typeface="+mn-lt"/>
              </a:rPr>
              <a:t>业务线</a:t>
            </a:r>
            <a:endParaRPr kumimoji="0" lang="zh-CN" altLang="en-US" sz="1400" b="1" i="0" u="none" strike="noStrike" kern="1200" cap="none" spc="0" normalizeH="0" baseline="0" noProof="0" dirty="0">
              <a:ln>
                <a:noFill/>
              </a:ln>
              <a:solidFill>
                <a:srgbClr val="000000"/>
              </a:solidFill>
              <a:effectLst/>
              <a:uLnTx/>
              <a:uFillTx/>
              <a:latin typeface="+mj-ea"/>
              <a:ea typeface="+mj-ea"/>
              <a:cs typeface="+mn-ea"/>
              <a:sym typeface="+mn-lt"/>
            </a:endParaRPr>
          </a:p>
        </p:txBody>
      </p:sp>
      <p:sp>
        <p:nvSpPr>
          <p:cNvPr id="8" name="ColumnHeader"/>
          <p:cNvSpPr>
            <a:spLocks noChangeArrowheads="1"/>
          </p:cNvSpPr>
          <p:nvPr/>
        </p:nvSpPr>
        <p:spPr bwMode="gray">
          <a:xfrm>
            <a:off x="5323095" y="887406"/>
            <a:ext cx="3735431"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lIns="0" tIns="91440" rIns="0" bIns="91440" anchor="b">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rgbClr val="000000"/>
                </a:solidFill>
                <a:effectLst/>
                <a:uLnTx/>
                <a:uFillTx/>
                <a:latin typeface="+mj-ea"/>
                <a:ea typeface="+mj-ea"/>
                <a:cs typeface="+mn-ea"/>
                <a:sym typeface="+mn-lt"/>
              </a:rPr>
              <a:t>本期进展</a:t>
            </a:r>
            <a:endParaRPr kumimoji="0" lang="zh-CN" altLang="en-US" sz="1400" b="1" i="0" u="none" strike="noStrike" kern="1200" cap="none" spc="0" normalizeH="0" baseline="0" noProof="0" dirty="0">
              <a:ln>
                <a:noFill/>
              </a:ln>
              <a:solidFill>
                <a:srgbClr val="000000"/>
              </a:solidFill>
              <a:effectLst/>
              <a:uLnTx/>
              <a:uFillTx/>
              <a:latin typeface="+mj-ea"/>
              <a:ea typeface="+mj-ea"/>
              <a:cs typeface="+mn-ea"/>
              <a:sym typeface="+mn-lt"/>
            </a:endParaRPr>
          </a:p>
        </p:txBody>
      </p:sp>
      <p:sp>
        <p:nvSpPr>
          <p:cNvPr id="9" name="ColumnHeader"/>
          <p:cNvSpPr>
            <a:spLocks noChangeArrowheads="1"/>
          </p:cNvSpPr>
          <p:nvPr/>
        </p:nvSpPr>
        <p:spPr bwMode="gray">
          <a:xfrm>
            <a:off x="9191142" y="887406"/>
            <a:ext cx="2579587"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lIns="0" tIns="91440" rIns="0" bIns="91440" anchor="b">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rgbClr val="000000"/>
                </a:solidFill>
                <a:effectLst/>
                <a:uLnTx/>
                <a:uFillTx/>
                <a:latin typeface="+mj-ea"/>
                <a:ea typeface="+mj-ea"/>
                <a:cs typeface="+mn-ea"/>
                <a:sym typeface="+mn-lt"/>
              </a:rPr>
              <a:t>关注事项</a:t>
            </a:r>
            <a:endParaRPr kumimoji="0" lang="zh-CN" altLang="en-US" sz="1400" b="1" i="0" u="none" strike="noStrike" kern="1200" cap="none" spc="0" normalizeH="0" baseline="0" noProof="0" dirty="0">
              <a:ln>
                <a:noFill/>
              </a:ln>
              <a:solidFill>
                <a:srgbClr val="000000"/>
              </a:solidFill>
              <a:effectLst/>
              <a:uLnTx/>
              <a:uFillTx/>
              <a:latin typeface="+mj-ea"/>
              <a:ea typeface="+mj-ea"/>
              <a:cs typeface="+mn-ea"/>
              <a:sym typeface="+mn-lt"/>
            </a:endParaRPr>
          </a:p>
        </p:txBody>
      </p:sp>
      <p:sp>
        <p:nvSpPr>
          <p:cNvPr id="10" name="矩形 9"/>
          <p:cNvSpPr/>
          <p:nvPr/>
        </p:nvSpPr>
        <p:spPr>
          <a:xfrm>
            <a:off x="4093192" y="1476610"/>
            <a:ext cx="1097287" cy="13593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35890" marR="0" lvl="1" indent="-135890" algn="l" defTabSz="914400" rtl="0" eaLnBrk="1" fontAlgn="auto" latinLnBrk="0" hangingPunct="1">
              <a:lnSpc>
                <a:spcPct val="150000"/>
              </a:lnSpc>
              <a:spcBef>
                <a:spcPts val="0"/>
              </a:spcBef>
              <a:spcAft>
                <a:spcPts val="0"/>
              </a:spcAft>
              <a:buClr>
                <a:srgbClr val="575F6D">
                  <a:lumMod val="100000"/>
                </a:srgbClr>
              </a:buClr>
              <a:buSzPct val="100000"/>
              <a:buFont typeface="Trebuchet MS" panose="020B0603020202020204"/>
              <a:buChar char="•"/>
              <a:defRPr/>
            </a:pPr>
            <a:r>
              <a:rPr kumimoji="0" lang="en-US" altLang="zh-CN" sz="1400" b="0" i="0" u="none" strike="noStrike" kern="1200" cap="none" spc="0" normalizeH="0" baseline="0" noProof="0" dirty="0" smtClean="0">
                <a:ln>
                  <a:noFill/>
                </a:ln>
                <a:solidFill>
                  <a:prstClr val="black"/>
                </a:solidFill>
                <a:effectLst/>
                <a:uLnTx/>
                <a:uFillTx/>
                <a:latin typeface="+mj-ea"/>
                <a:ea typeface="+mj-ea"/>
                <a:cs typeface="+mn-ea"/>
                <a:sym typeface="+mn-lt"/>
              </a:rPr>
              <a:t>Xx</a:t>
            </a:r>
            <a:endParaRPr kumimoji="0" lang="en-US" altLang="zh-CN" sz="1400" b="0" i="0" u="none" strike="noStrike" kern="1200" cap="none" spc="0" normalizeH="0" baseline="0" noProof="0" dirty="0" smtClean="0">
              <a:ln>
                <a:noFill/>
              </a:ln>
              <a:solidFill>
                <a:prstClr val="black"/>
              </a:solidFill>
              <a:effectLst/>
              <a:uLnTx/>
              <a:uFillTx/>
              <a:latin typeface="+mj-ea"/>
              <a:ea typeface="+mj-ea"/>
              <a:cs typeface="+mn-ea"/>
              <a:sym typeface="+mn-lt"/>
            </a:endParaRPr>
          </a:p>
          <a:p>
            <a:pPr marL="135890" marR="0" lvl="1" indent="-135890" algn="l" defTabSz="914400" rtl="0" eaLnBrk="1" fontAlgn="auto" latinLnBrk="0" hangingPunct="1">
              <a:lnSpc>
                <a:spcPct val="150000"/>
              </a:lnSpc>
              <a:spcBef>
                <a:spcPts val="0"/>
              </a:spcBef>
              <a:spcAft>
                <a:spcPts val="0"/>
              </a:spcAft>
              <a:buClr>
                <a:srgbClr val="575F6D">
                  <a:lumMod val="100000"/>
                </a:srgbClr>
              </a:buClr>
              <a:buSzPct val="100000"/>
              <a:buFont typeface="Trebuchet MS" panose="020B0603020202020204"/>
              <a:buChar char="•"/>
              <a:defRPr/>
            </a:pPr>
            <a:r>
              <a:rPr lang="en-US" altLang="zh-CN" sz="1400" dirty="0" smtClean="0">
                <a:solidFill>
                  <a:prstClr val="black"/>
                </a:solidFill>
                <a:latin typeface="+mj-ea"/>
                <a:ea typeface="+mj-ea"/>
                <a:cs typeface="+mn-ea"/>
                <a:sym typeface="+mn-lt"/>
              </a:rPr>
              <a:t>Xx</a:t>
            </a:r>
            <a:endParaRPr lang="en-US" altLang="zh-CN" sz="1400" dirty="0" smtClean="0">
              <a:solidFill>
                <a:prstClr val="black"/>
              </a:solidFill>
              <a:latin typeface="+mj-ea"/>
              <a:ea typeface="+mj-ea"/>
              <a:cs typeface="+mn-ea"/>
              <a:sym typeface="+mn-lt"/>
            </a:endParaRPr>
          </a:p>
          <a:p>
            <a:pPr marL="135890" marR="0" lvl="1" indent="-135890" algn="l" defTabSz="914400" rtl="0" eaLnBrk="1" fontAlgn="auto" latinLnBrk="0" hangingPunct="1">
              <a:lnSpc>
                <a:spcPct val="150000"/>
              </a:lnSpc>
              <a:spcBef>
                <a:spcPts val="0"/>
              </a:spcBef>
              <a:spcAft>
                <a:spcPts val="0"/>
              </a:spcAft>
              <a:buClr>
                <a:srgbClr val="575F6D">
                  <a:lumMod val="100000"/>
                </a:srgbClr>
              </a:buClr>
              <a:buSzPct val="100000"/>
              <a:buFont typeface="Trebuchet MS" panose="020B0603020202020204"/>
              <a:buChar char="•"/>
              <a:defRPr/>
            </a:pPr>
            <a:r>
              <a:rPr kumimoji="0" lang="en-US" altLang="zh-CN" sz="1400" b="0" i="0" u="none" strike="noStrike" kern="1200" cap="none" spc="0" normalizeH="0" baseline="0" noProof="0" dirty="0" smtClean="0">
                <a:ln>
                  <a:noFill/>
                </a:ln>
                <a:solidFill>
                  <a:prstClr val="black"/>
                </a:solidFill>
                <a:effectLst/>
                <a:uLnTx/>
                <a:uFillTx/>
                <a:latin typeface="+mj-ea"/>
                <a:ea typeface="+mj-ea"/>
                <a:cs typeface="+mn-ea"/>
                <a:sym typeface="+mn-lt"/>
              </a:rPr>
              <a:t>xx</a:t>
            </a:r>
            <a:endParaRPr kumimoji="0" lang="en-US" altLang="zh-CN" sz="1400" b="0" i="0" u="none" strike="noStrike" kern="1200" cap="none" spc="0" normalizeH="0" baseline="0" noProof="0" dirty="0">
              <a:ln>
                <a:noFill/>
              </a:ln>
              <a:solidFill>
                <a:prstClr val="black"/>
              </a:solidFill>
              <a:effectLst/>
              <a:uLnTx/>
              <a:uFillTx/>
              <a:latin typeface="+mj-ea"/>
              <a:ea typeface="+mj-ea"/>
              <a:cs typeface="+mn-ea"/>
              <a:sym typeface="+mn-lt"/>
            </a:endParaRPr>
          </a:p>
        </p:txBody>
      </p:sp>
      <p:sp>
        <p:nvSpPr>
          <p:cNvPr id="11" name="ColumnHeader"/>
          <p:cNvSpPr>
            <a:spLocks noChangeArrowheads="1"/>
          </p:cNvSpPr>
          <p:nvPr/>
        </p:nvSpPr>
        <p:spPr bwMode="gray">
          <a:xfrm>
            <a:off x="1648297" y="887406"/>
            <a:ext cx="1088905"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lIns="0" tIns="91440" rIns="0" bIns="91440" anchor="b">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rgbClr val="000000"/>
                </a:solidFill>
                <a:effectLst/>
                <a:uLnTx/>
                <a:uFillTx/>
                <a:latin typeface="+mj-ea"/>
                <a:ea typeface="+mj-ea"/>
                <a:cs typeface="+mn-ea"/>
                <a:sym typeface="+mn-lt"/>
              </a:rPr>
              <a:t>核心指标</a:t>
            </a:r>
            <a:endParaRPr kumimoji="0" lang="zh-CN" altLang="en-US" sz="1400" b="1" i="0" u="none" strike="noStrike" kern="1200" cap="none" spc="0" normalizeH="0" baseline="0" noProof="0" dirty="0">
              <a:ln>
                <a:noFill/>
              </a:ln>
              <a:solidFill>
                <a:srgbClr val="000000"/>
              </a:solidFill>
              <a:effectLst/>
              <a:uLnTx/>
              <a:uFillTx/>
              <a:latin typeface="+mj-ea"/>
              <a:ea typeface="+mj-ea"/>
              <a:cs typeface="+mn-ea"/>
              <a:sym typeface="+mn-lt"/>
            </a:endParaRPr>
          </a:p>
        </p:txBody>
      </p:sp>
      <p:sp>
        <p:nvSpPr>
          <p:cNvPr id="12" name="矩形 11"/>
          <p:cNvSpPr/>
          <p:nvPr/>
        </p:nvSpPr>
        <p:spPr>
          <a:xfrm>
            <a:off x="1639915" y="1469382"/>
            <a:ext cx="1097287" cy="13593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240665" marR="0" lvl="1" indent="-171450" algn="l" defTabSz="914400" rtl="0" eaLnBrk="1" fontAlgn="auto" latinLnBrk="0" hangingPunct="1">
              <a:lnSpc>
                <a:spcPct val="150000"/>
              </a:lnSpc>
              <a:spcBef>
                <a:spcPts val="0"/>
              </a:spcBef>
              <a:spcAft>
                <a:spcPts val="0"/>
              </a:spcAft>
              <a:buClr>
                <a:srgbClr val="575F6D">
                  <a:lumMod val="100000"/>
                </a:srgbClr>
              </a:buClr>
              <a:buSzPct val="100000"/>
              <a:buFont typeface="Arial" panose="020B0604020202020204" pitchFamily="34" charset="0"/>
              <a:buChar char="•"/>
              <a:defRPr/>
            </a:pPr>
            <a:r>
              <a:rPr kumimoji="0" lang="zh-CN" altLang="en-US" sz="1400" b="0" i="0" u="none" strike="noStrike" kern="1200" cap="none" spc="0" normalizeH="0" baseline="0" noProof="0" dirty="0">
                <a:ln>
                  <a:noFill/>
                </a:ln>
                <a:solidFill>
                  <a:prstClr val="black">
                    <a:lumMod val="100000"/>
                  </a:prstClr>
                </a:solidFill>
                <a:effectLst/>
                <a:uLnTx/>
                <a:uFillTx/>
                <a:latin typeface="+mj-ea"/>
                <a:ea typeface="+mj-ea"/>
                <a:cs typeface="+mn-ea"/>
                <a:sym typeface="+mn-lt"/>
              </a:rPr>
              <a:t>标杆城市</a:t>
            </a:r>
            <a:endParaRPr kumimoji="0" lang="en-US" altLang="zh-CN" sz="1400" b="0" i="0" u="none" strike="noStrike" kern="1200" cap="none" spc="0" normalizeH="0" baseline="0" noProof="0" dirty="0">
              <a:ln>
                <a:noFill/>
              </a:ln>
              <a:solidFill>
                <a:prstClr val="black">
                  <a:lumMod val="100000"/>
                </a:prstClr>
              </a:solidFill>
              <a:effectLst/>
              <a:uLnTx/>
              <a:uFillTx/>
              <a:latin typeface="+mj-ea"/>
              <a:ea typeface="+mj-ea"/>
              <a:cs typeface="+mn-ea"/>
              <a:sym typeface="+mn-lt"/>
            </a:endParaRPr>
          </a:p>
          <a:p>
            <a:pPr marL="240665" marR="0" lvl="1" indent="-171450" algn="l" defTabSz="914400" rtl="0" eaLnBrk="1" fontAlgn="auto" latinLnBrk="0" hangingPunct="1">
              <a:lnSpc>
                <a:spcPct val="150000"/>
              </a:lnSpc>
              <a:spcBef>
                <a:spcPts val="0"/>
              </a:spcBef>
              <a:spcAft>
                <a:spcPts val="0"/>
              </a:spcAft>
              <a:buClr>
                <a:srgbClr val="575F6D">
                  <a:lumMod val="100000"/>
                </a:srgbClr>
              </a:buClr>
              <a:buSzPct val="100000"/>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lumMod val="100000"/>
                  </a:prstClr>
                </a:solidFill>
                <a:effectLst/>
                <a:uLnTx/>
                <a:uFillTx/>
                <a:latin typeface="+mj-ea"/>
                <a:ea typeface="+mj-ea"/>
                <a:cs typeface="+mn-ea"/>
                <a:sym typeface="+mn-lt"/>
              </a:rPr>
              <a:t>xx</a:t>
            </a:r>
            <a:r>
              <a:rPr kumimoji="0" lang="zh-CN" altLang="en-US" sz="1400" b="0" i="0" u="none" strike="noStrike" kern="1200" cap="none" spc="0" normalizeH="0" baseline="0" noProof="0" dirty="0" smtClean="0">
                <a:ln>
                  <a:noFill/>
                </a:ln>
                <a:solidFill>
                  <a:prstClr val="black">
                    <a:lumMod val="100000"/>
                  </a:prstClr>
                </a:solidFill>
                <a:effectLst/>
                <a:uLnTx/>
                <a:uFillTx/>
                <a:latin typeface="+mj-ea"/>
                <a:ea typeface="+mj-ea"/>
                <a:cs typeface="+mn-ea"/>
                <a:sym typeface="+mn-lt"/>
              </a:rPr>
              <a:t>转换率</a:t>
            </a:r>
            <a:endParaRPr kumimoji="0" lang="en-US" altLang="zh-CN" sz="1400" b="0" i="0" u="none" strike="noStrike" kern="1200" cap="none" spc="0" normalizeH="0" baseline="0" noProof="0" dirty="0">
              <a:ln>
                <a:noFill/>
              </a:ln>
              <a:solidFill>
                <a:prstClr val="black">
                  <a:lumMod val="100000"/>
                </a:prstClr>
              </a:solidFill>
              <a:effectLst/>
              <a:uLnTx/>
              <a:uFillTx/>
              <a:latin typeface="+mj-ea"/>
              <a:ea typeface="+mj-ea"/>
              <a:cs typeface="+mn-ea"/>
              <a:sym typeface="+mn-lt"/>
            </a:endParaRPr>
          </a:p>
          <a:p>
            <a:pPr marL="240665" marR="0" lvl="1" indent="-171450" algn="l" defTabSz="914400" rtl="0" eaLnBrk="1" fontAlgn="auto" latinLnBrk="0" hangingPunct="1">
              <a:lnSpc>
                <a:spcPct val="150000"/>
              </a:lnSpc>
              <a:spcBef>
                <a:spcPts val="0"/>
              </a:spcBef>
              <a:spcAft>
                <a:spcPts val="0"/>
              </a:spcAft>
              <a:buClr>
                <a:srgbClr val="575F6D">
                  <a:lumMod val="100000"/>
                </a:srgbClr>
              </a:buClr>
              <a:buSzPct val="100000"/>
              <a:buFont typeface="Arial" panose="020B0604020202020204" pitchFamily="34" charset="0"/>
              <a:buChar char="•"/>
              <a:defRPr/>
            </a:pPr>
            <a:r>
              <a:rPr kumimoji="0" lang="zh-CN" altLang="en-US" sz="1400" b="0" i="0" u="none" strike="noStrike" kern="1200" cap="none" spc="0" normalizeH="0" baseline="0" noProof="0" dirty="0">
                <a:ln>
                  <a:noFill/>
                </a:ln>
                <a:solidFill>
                  <a:prstClr val="black">
                    <a:lumMod val="100000"/>
                  </a:prstClr>
                </a:solidFill>
                <a:effectLst/>
                <a:uLnTx/>
                <a:uFillTx/>
                <a:latin typeface="+mj-ea"/>
                <a:ea typeface="+mj-ea"/>
                <a:cs typeface="+mn-ea"/>
                <a:sym typeface="+mn-lt"/>
              </a:rPr>
              <a:t>日活跃率</a:t>
            </a:r>
            <a:endParaRPr kumimoji="0" lang="en-US" altLang="zh-CN" sz="1400" b="0" i="0" u="none" strike="noStrike" kern="1200" cap="none" spc="0" normalizeH="0" baseline="0" noProof="0" dirty="0">
              <a:ln>
                <a:noFill/>
              </a:ln>
              <a:solidFill>
                <a:prstClr val="black">
                  <a:lumMod val="100000"/>
                </a:prstClr>
              </a:solidFill>
              <a:effectLst/>
              <a:uLnTx/>
              <a:uFillTx/>
              <a:latin typeface="+mj-ea"/>
              <a:ea typeface="+mj-ea"/>
              <a:cs typeface="+mn-ea"/>
              <a:sym typeface="+mn-lt"/>
            </a:endParaRPr>
          </a:p>
        </p:txBody>
      </p:sp>
      <p:sp>
        <p:nvSpPr>
          <p:cNvPr id="13" name="矩形 12"/>
          <p:cNvSpPr/>
          <p:nvPr/>
        </p:nvSpPr>
        <p:spPr>
          <a:xfrm>
            <a:off x="2863877" y="1476610"/>
            <a:ext cx="1097287" cy="13593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35890" marR="0" lvl="1" indent="-135890" algn="l" defTabSz="914400" rtl="0" eaLnBrk="1" fontAlgn="auto" latinLnBrk="0" hangingPunct="1">
              <a:lnSpc>
                <a:spcPct val="150000"/>
              </a:lnSpc>
              <a:spcBef>
                <a:spcPts val="0"/>
              </a:spcBef>
              <a:spcAft>
                <a:spcPts val="0"/>
              </a:spcAft>
              <a:buClr>
                <a:srgbClr val="575F6D">
                  <a:lumMod val="100000"/>
                </a:srgbClr>
              </a:buClr>
              <a:buSzPct val="100000"/>
              <a:buFont typeface="Trebuchet MS" panose="020B0603020202020204"/>
              <a:buChar char="•"/>
              <a:defRPr/>
            </a:pPr>
            <a:r>
              <a:rPr kumimoji="0" lang="en-US" altLang="zh-CN" sz="1400" b="0" i="0" u="none" strike="noStrike" kern="1200" cap="none" spc="0" normalizeH="0" baseline="0" noProof="0" dirty="0" smtClean="0">
                <a:ln>
                  <a:noFill/>
                </a:ln>
                <a:solidFill>
                  <a:prstClr val="black">
                    <a:lumMod val="100000"/>
                  </a:prstClr>
                </a:solidFill>
                <a:effectLst/>
                <a:uLnTx/>
                <a:uFillTx/>
                <a:latin typeface="+mj-ea"/>
                <a:ea typeface="+mj-ea"/>
                <a:cs typeface="+mn-ea"/>
                <a:sym typeface="+mn-lt"/>
              </a:rPr>
              <a:t>x</a:t>
            </a:r>
            <a:endParaRPr kumimoji="0" lang="en-US" altLang="zh-CN" sz="1400" b="0" i="0" u="none" strike="noStrike" kern="1200" cap="none" spc="0" normalizeH="0" baseline="0" noProof="0" dirty="0">
              <a:ln>
                <a:noFill/>
              </a:ln>
              <a:solidFill>
                <a:prstClr val="black">
                  <a:lumMod val="100000"/>
                </a:prstClr>
              </a:solidFill>
              <a:effectLst/>
              <a:uLnTx/>
              <a:uFillTx/>
              <a:latin typeface="+mj-ea"/>
              <a:ea typeface="+mj-ea"/>
              <a:cs typeface="+mn-ea"/>
              <a:sym typeface="+mn-lt"/>
            </a:endParaRPr>
          </a:p>
          <a:p>
            <a:pPr marL="135890" marR="0" lvl="1" indent="-135890" algn="l" defTabSz="914400" rtl="0" eaLnBrk="1" fontAlgn="auto" latinLnBrk="0" hangingPunct="1">
              <a:lnSpc>
                <a:spcPct val="150000"/>
              </a:lnSpc>
              <a:spcBef>
                <a:spcPts val="0"/>
              </a:spcBef>
              <a:spcAft>
                <a:spcPts val="0"/>
              </a:spcAft>
              <a:buClr>
                <a:srgbClr val="575F6D">
                  <a:lumMod val="100000"/>
                </a:srgbClr>
              </a:buClr>
              <a:buSzPct val="100000"/>
              <a:buFont typeface="Trebuchet MS" panose="020B0603020202020204"/>
              <a:buChar char="•"/>
              <a:defRPr/>
            </a:pPr>
            <a:r>
              <a:rPr kumimoji="0" lang="en-US" altLang="zh-CN" sz="1400" b="0" i="0" u="none" strike="noStrike" kern="1200" cap="none" spc="0" normalizeH="0" baseline="0" noProof="0" dirty="0" smtClean="0">
                <a:ln>
                  <a:noFill/>
                </a:ln>
                <a:solidFill>
                  <a:prstClr val="black">
                    <a:lumMod val="100000"/>
                  </a:prstClr>
                </a:solidFill>
                <a:effectLst/>
                <a:uLnTx/>
                <a:uFillTx/>
                <a:latin typeface="+mj-ea"/>
                <a:ea typeface="+mj-ea"/>
                <a:cs typeface="+mn-ea"/>
                <a:sym typeface="+mn-lt"/>
              </a:rPr>
              <a:t>x%</a:t>
            </a:r>
            <a:endParaRPr kumimoji="0" lang="en-US" altLang="zh-CN" sz="1400" b="0" i="0" u="none" strike="noStrike" kern="1200" cap="none" spc="0" normalizeH="0" baseline="0" noProof="0" dirty="0">
              <a:ln>
                <a:noFill/>
              </a:ln>
              <a:solidFill>
                <a:prstClr val="black">
                  <a:lumMod val="100000"/>
                </a:prstClr>
              </a:solidFill>
              <a:effectLst/>
              <a:uLnTx/>
              <a:uFillTx/>
              <a:latin typeface="+mj-ea"/>
              <a:ea typeface="+mj-ea"/>
              <a:cs typeface="+mn-ea"/>
              <a:sym typeface="+mn-lt"/>
            </a:endParaRPr>
          </a:p>
          <a:p>
            <a:pPr marL="135890" marR="0" lvl="1" indent="-135890" algn="l" defTabSz="914400" rtl="0" eaLnBrk="1" fontAlgn="auto" latinLnBrk="0" hangingPunct="1">
              <a:lnSpc>
                <a:spcPct val="150000"/>
              </a:lnSpc>
              <a:spcBef>
                <a:spcPts val="0"/>
              </a:spcBef>
              <a:spcAft>
                <a:spcPts val="0"/>
              </a:spcAft>
              <a:buClr>
                <a:srgbClr val="575F6D">
                  <a:lumMod val="100000"/>
                </a:srgbClr>
              </a:buClr>
              <a:buSzPct val="100000"/>
              <a:buFont typeface="Trebuchet MS" panose="020B0603020202020204"/>
              <a:buChar char="•"/>
              <a:defRPr/>
            </a:pPr>
            <a:r>
              <a:rPr kumimoji="0" lang="en-US" altLang="zh-CN" sz="1400" b="0" i="0" u="none" strike="noStrike" kern="1200" cap="none" spc="0" normalizeH="0" baseline="0" noProof="0" dirty="0" smtClean="0">
                <a:ln>
                  <a:noFill/>
                </a:ln>
                <a:solidFill>
                  <a:prstClr val="black">
                    <a:lumMod val="100000"/>
                  </a:prstClr>
                </a:solidFill>
                <a:effectLst/>
                <a:uLnTx/>
                <a:uFillTx/>
                <a:latin typeface="+mj-ea"/>
                <a:ea typeface="+mj-ea"/>
                <a:cs typeface="+mn-ea"/>
                <a:sym typeface="+mn-lt"/>
              </a:rPr>
              <a:t>x%</a:t>
            </a:r>
            <a:endParaRPr kumimoji="0" lang="en-US" altLang="zh-CN" sz="1400" b="0" i="0" u="none" strike="noStrike" kern="1200" cap="none" spc="0" normalizeH="0" baseline="0" noProof="0" dirty="0">
              <a:ln>
                <a:noFill/>
              </a:ln>
              <a:solidFill>
                <a:prstClr val="black">
                  <a:lumMod val="100000"/>
                </a:prstClr>
              </a:solidFill>
              <a:effectLst/>
              <a:uLnTx/>
              <a:uFillTx/>
              <a:latin typeface="+mj-ea"/>
              <a:ea typeface="+mj-ea"/>
              <a:cs typeface="+mn-ea"/>
              <a:sym typeface="+mn-lt"/>
            </a:endParaRPr>
          </a:p>
        </p:txBody>
      </p:sp>
      <p:sp>
        <p:nvSpPr>
          <p:cNvPr id="14" name="ColumnHeader"/>
          <p:cNvSpPr>
            <a:spLocks noChangeArrowheads="1"/>
          </p:cNvSpPr>
          <p:nvPr/>
        </p:nvSpPr>
        <p:spPr bwMode="gray">
          <a:xfrm>
            <a:off x="2863877" y="896002"/>
            <a:ext cx="1088905"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lIns="0" tIns="91440" rIns="0" bIns="91440" anchor="b">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000000"/>
                </a:solidFill>
                <a:effectLst/>
                <a:uLnTx/>
                <a:uFillTx/>
                <a:latin typeface="+mj-ea"/>
                <a:ea typeface="+mj-ea"/>
                <a:cs typeface="+mn-ea"/>
                <a:sym typeface="+mn-lt"/>
              </a:rPr>
              <a:t>全年目标</a:t>
            </a:r>
            <a:endParaRPr kumimoji="0" lang="zh-CN" altLang="en-US" sz="1400" b="1" i="0" u="none" strike="noStrike" kern="1200" cap="none" spc="0" normalizeH="0" baseline="0" noProof="0" dirty="0">
              <a:ln>
                <a:noFill/>
              </a:ln>
              <a:solidFill>
                <a:srgbClr val="000000"/>
              </a:solidFill>
              <a:effectLst/>
              <a:uLnTx/>
              <a:uFillTx/>
              <a:latin typeface="+mj-ea"/>
              <a:ea typeface="+mj-ea"/>
              <a:cs typeface="+mn-ea"/>
              <a:sym typeface="+mn-lt"/>
            </a:endParaRPr>
          </a:p>
        </p:txBody>
      </p:sp>
      <p:sp>
        <p:nvSpPr>
          <p:cNvPr id="15" name="ColumnHeader"/>
          <p:cNvSpPr>
            <a:spLocks noChangeArrowheads="1"/>
          </p:cNvSpPr>
          <p:nvPr/>
        </p:nvSpPr>
        <p:spPr bwMode="gray">
          <a:xfrm>
            <a:off x="4101574" y="911621"/>
            <a:ext cx="1088905"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lIns="0" tIns="91440" rIns="0" bIns="91440" anchor="b">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rgbClr val="000000"/>
                </a:solidFill>
                <a:effectLst/>
                <a:uLnTx/>
                <a:uFillTx/>
                <a:latin typeface="+mj-ea"/>
                <a:ea typeface="+mj-ea"/>
                <a:cs typeface="+mn-ea"/>
                <a:sym typeface="+mn-lt"/>
              </a:rPr>
              <a:t>至</a:t>
            </a:r>
            <a:r>
              <a:rPr kumimoji="0" lang="en-US" altLang="zh-CN" sz="1400" b="1" i="0" u="none" strike="noStrike" kern="1200" cap="none" spc="0" normalizeH="0" baseline="0" noProof="0" dirty="0">
                <a:ln>
                  <a:noFill/>
                </a:ln>
                <a:solidFill>
                  <a:srgbClr val="000000"/>
                </a:solidFill>
                <a:effectLst/>
                <a:uLnTx/>
                <a:uFillTx/>
                <a:latin typeface="+mj-ea"/>
                <a:ea typeface="+mj-ea"/>
                <a:cs typeface="+mn-ea"/>
                <a:sym typeface="+mn-lt"/>
              </a:rPr>
              <a:t>8</a:t>
            </a:r>
            <a:r>
              <a:rPr kumimoji="0" lang="en-US" altLang="zh-CN" sz="1400" b="1" i="0" u="none" strike="noStrike" kern="1200" cap="none" spc="0" normalizeH="0" baseline="0" noProof="0" dirty="0" smtClean="0">
                <a:ln>
                  <a:noFill/>
                </a:ln>
                <a:solidFill>
                  <a:srgbClr val="000000"/>
                </a:solidFill>
                <a:effectLst/>
                <a:uLnTx/>
                <a:uFillTx/>
                <a:latin typeface="+mj-ea"/>
                <a:ea typeface="+mj-ea"/>
                <a:cs typeface="+mn-ea"/>
                <a:sym typeface="+mn-lt"/>
              </a:rPr>
              <a:t>.31</a:t>
            </a:r>
            <a:r>
              <a:rPr kumimoji="0" lang="zh-CN" altLang="en-US" sz="1400" b="1" i="0" u="none" strike="noStrike" kern="1200" cap="none" spc="0" normalizeH="0" baseline="0" noProof="0" dirty="0" smtClean="0">
                <a:ln>
                  <a:noFill/>
                </a:ln>
                <a:solidFill>
                  <a:srgbClr val="000000"/>
                </a:solidFill>
                <a:effectLst/>
                <a:uLnTx/>
                <a:uFillTx/>
                <a:latin typeface="+mj-ea"/>
                <a:ea typeface="+mj-ea"/>
                <a:cs typeface="+mn-ea"/>
                <a:sym typeface="+mn-lt"/>
              </a:rPr>
              <a:t>达成</a:t>
            </a:r>
            <a:endParaRPr kumimoji="0" lang="zh-CN" altLang="en-US" sz="1400" b="1" i="0" u="none" strike="noStrike" kern="1200" cap="none" spc="0" normalizeH="0" baseline="0" noProof="0" dirty="0">
              <a:ln>
                <a:noFill/>
              </a:ln>
              <a:solidFill>
                <a:srgbClr val="000000"/>
              </a:solidFill>
              <a:effectLst/>
              <a:uLnTx/>
              <a:uFillTx/>
              <a:latin typeface="+mj-ea"/>
              <a:ea typeface="+mj-ea"/>
              <a:cs typeface="+mn-ea"/>
              <a:sym typeface="+mn-lt"/>
            </a:endParaRPr>
          </a:p>
        </p:txBody>
      </p:sp>
      <p:sp>
        <p:nvSpPr>
          <p:cNvPr id="16" name="矩形 15"/>
          <p:cNvSpPr/>
          <p:nvPr/>
        </p:nvSpPr>
        <p:spPr>
          <a:xfrm>
            <a:off x="6521825" y="3197658"/>
            <a:ext cx="5248904" cy="299722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j-ea"/>
              <a:ea typeface="+mj-ea"/>
              <a:cs typeface="+mn-cs"/>
            </a:endParaRPr>
          </a:p>
        </p:txBody>
      </p:sp>
      <p:graphicFrame>
        <p:nvGraphicFramePr>
          <p:cNvPr id="17" name="内容占位符 30"/>
          <p:cNvGraphicFramePr/>
          <p:nvPr/>
        </p:nvGraphicFramePr>
        <p:xfrm>
          <a:off x="429497" y="2986249"/>
          <a:ext cx="5983864" cy="3385760"/>
        </p:xfrm>
        <a:graphic>
          <a:graphicData uri="http://schemas.openxmlformats.org/drawingml/2006/table">
            <a:tbl>
              <a:tblPr>
                <a:tableStyleId>{5FD0F851-EC5A-4D38-B0AD-8093EC10F338}</a:tableStyleId>
              </a:tblPr>
              <a:tblGrid>
                <a:gridCol w="1621536"/>
                <a:gridCol w="987697"/>
                <a:gridCol w="1119391"/>
                <a:gridCol w="1226390"/>
                <a:gridCol w="1028850"/>
              </a:tblGrid>
              <a:tr h="196138">
                <a:tc>
                  <a:txBody>
                    <a:bodyPr/>
                    <a:lstStyle/>
                    <a:p>
                      <a:pPr algn="l" rtl="0" fontAlgn="ctr"/>
                      <a:r>
                        <a:rPr lang="zh-CN" altLang="en-US" sz="1400" b="0" i="0" u="none" strike="noStrike" dirty="0" smtClean="0">
                          <a:solidFill>
                            <a:schemeClr val="bg1"/>
                          </a:solidFill>
                          <a:effectLst/>
                          <a:latin typeface="+mn-lt"/>
                          <a:ea typeface="+mn-ea"/>
                        </a:rPr>
                        <a:t>环保</a:t>
                      </a:r>
                      <a:endParaRPr lang="en-US" sz="1400" b="0" i="0" u="none" strike="noStrike" dirty="0">
                        <a:solidFill>
                          <a:schemeClr val="bg1"/>
                        </a:solidFill>
                        <a:effectLst/>
                        <a:latin typeface="微软雅黑" panose="020B0503020204020204" charset="-122"/>
                        <a:ea typeface="微软雅黑" panose="020B0503020204020204" charset="-122"/>
                      </a:endParaRPr>
                    </a:p>
                  </a:txBody>
                  <a:tcPr marL="1240" marR="1240" marT="1240" marB="0" anchor="ctr">
                    <a:solidFill>
                      <a:srgbClr val="FE5817"/>
                    </a:solidFill>
                  </a:tcPr>
                </a:tc>
                <a:tc>
                  <a:txBody>
                    <a:bodyPr/>
                    <a:lstStyle/>
                    <a:p>
                      <a:pPr algn="l" rtl="0" fontAlgn="ctr"/>
                      <a:r>
                        <a:rPr lang="en-US" altLang="zh-CN" sz="1400" u="none" strike="noStrike" dirty="0">
                          <a:solidFill>
                            <a:schemeClr val="bg1"/>
                          </a:solidFill>
                          <a:effectLst/>
                        </a:rPr>
                        <a:t>2018</a:t>
                      </a:r>
                      <a:r>
                        <a:rPr lang="zh-CN" altLang="en-US" sz="1400" u="none" strike="noStrike" dirty="0">
                          <a:solidFill>
                            <a:schemeClr val="bg1"/>
                          </a:solidFill>
                          <a:effectLst/>
                        </a:rPr>
                        <a:t>预算</a:t>
                      </a:r>
                      <a:endParaRPr lang="zh-CN" altLang="en-US" sz="1400" b="0" i="0" u="none" strike="noStrike" dirty="0">
                        <a:solidFill>
                          <a:schemeClr val="bg1"/>
                        </a:solidFill>
                        <a:effectLst/>
                        <a:latin typeface="微软雅黑" panose="020B0503020204020204" charset="-122"/>
                        <a:ea typeface="微软雅黑" panose="020B0503020204020204" charset="-122"/>
                      </a:endParaRPr>
                    </a:p>
                  </a:txBody>
                  <a:tcPr marL="1240" marR="1240" marT="1240" marB="0" anchor="ctr">
                    <a:solidFill>
                      <a:srgbClr val="FE5817"/>
                    </a:solidFill>
                  </a:tcPr>
                </a:tc>
                <a:tc>
                  <a:txBody>
                    <a:bodyPr/>
                    <a:lstStyle/>
                    <a:p>
                      <a:pPr algn="l" rtl="0" fontAlgn="ctr"/>
                      <a:r>
                        <a:rPr lang="en-US" altLang="zh-CN" sz="1400" u="none" strike="noStrike" dirty="0">
                          <a:solidFill>
                            <a:schemeClr val="bg1"/>
                          </a:solidFill>
                          <a:effectLst/>
                        </a:rPr>
                        <a:t>1-8</a:t>
                      </a:r>
                      <a:r>
                        <a:rPr lang="zh-CN" altLang="en-US" sz="1400" u="none" strike="noStrike" dirty="0">
                          <a:solidFill>
                            <a:schemeClr val="bg1"/>
                          </a:solidFill>
                          <a:effectLst/>
                        </a:rPr>
                        <a:t>月累计</a:t>
                      </a:r>
                      <a:endParaRPr lang="zh-CN" altLang="en-US" sz="1400" b="0" i="0" u="none" strike="noStrike" dirty="0">
                        <a:solidFill>
                          <a:schemeClr val="bg1"/>
                        </a:solidFill>
                        <a:effectLst/>
                        <a:latin typeface="微软雅黑" panose="020B0503020204020204" charset="-122"/>
                        <a:ea typeface="微软雅黑" panose="020B0503020204020204" charset="-122"/>
                      </a:endParaRPr>
                    </a:p>
                  </a:txBody>
                  <a:tcPr marL="1240" marR="1240" marT="1240" marB="0" anchor="ctr">
                    <a:solidFill>
                      <a:srgbClr val="FE5817"/>
                    </a:solidFill>
                  </a:tcPr>
                </a:tc>
                <a:tc>
                  <a:txBody>
                    <a:bodyPr/>
                    <a:lstStyle/>
                    <a:p>
                      <a:pPr algn="l" rtl="0" fontAlgn="ctr"/>
                      <a:r>
                        <a:rPr lang="en-US" altLang="zh-CN" sz="1400" u="none" strike="noStrike" dirty="0">
                          <a:solidFill>
                            <a:schemeClr val="bg1"/>
                          </a:solidFill>
                          <a:effectLst/>
                        </a:rPr>
                        <a:t>1-8</a:t>
                      </a:r>
                      <a:r>
                        <a:rPr lang="zh-CN" altLang="en-US" sz="1400" u="none" strike="noStrike" dirty="0">
                          <a:solidFill>
                            <a:schemeClr val="bg1"/>
                          </a:solidFill>
                          <a:effectLst/>
                        </a:rPr>
                        <a:t>月执行率</a:t>
                      </a:r>
                      <a:endParaRPr lang="zh-CN" altLang="en-US" sz="1400" b="0" i="0" u="none" strike="noStrike" dirty="0">
                        <a:solidFill>
                          <a:schemeClr val="bg1"/>
                        </a:solidFill>
                        <a:effectLst/>
                        <a:latin typeface="微软雅黑" panose="020B0503020204020204" charset="-122"/>
                        <a:ea typeface="微软雅黑" panose="020B0503020204020204" charset="-122"/>
                      </a:endParaRPr>
                    </a:p>
                  </a:txBody>
                  <a:tcPr marL="1240" marR="1240" marT="1240" marB="0" anchor="ctr">
                    <a:solidFill>
                      <a:srgbClr val="FE5817"/>
                    </a:solidFill>
                  </a:tcPr>
                </a:tc>
                <a:tc>
                  <a:txBody>
                    <a:bodyPr/>
                    <a:lstStyle/>
                    <a:p>
                      <a:pPr algn="l" rtl="0" fontAlgn="ctr"/>
                      <a:r>
                        <a:rPr lang="en-US" altLang="zh-CN" sz="1400" u="none" strike="noStrike" dirty="0">
                          <a:solidFill>
                            <a:schemeClr val="bg1"/>
                          </a:solidFill>
                          <a:effectLst/>
                        </a:rPr>
                        <a:t>8</a:t>
                      </a:r>
                      <a:r>
                        <a:rPr lang="zh-CN" altLang="en-US" sz="1400" u="none" strike="noStrike" dirty="0">
                          <a:solidFill>
                            <a:schemeClr val="bg1"/>
                          </a:solidFill>
                          <a:effectLst/>
                        </a:rPr>
                        <a:t>月达成</a:t>
                      </a:r>
                      <a:endParaRPr lang="zh-CN" altLang="en-US" sz="1400" b="0" i="0" u="none" strike="noStrike" dirty="0">
                        <a:solidFill>
                          <a:schemeClr val="bg1"/>
                        </a:solidFill>
                        <a:effectLst/>
                        <a:latin typeface="微软雅黑" panose="020B0503020204020204" charset="-122"/>
                        <a:ea typeface="微软雅黑" panose="020B0503020204020204" charset="-122"/>
                      </a:endParaRPr>
                    </a:p>
                  </a:txBody>
                  <a:tcPr marL="1240" marR="1240" marT="1240" marB="0" anchor="ctr">
                    <a:solidFill>
                      <a:srgbClr val="FE5817"/>
                    </a:solidFill>
                  </a:tcPr>
                </a:tc>
              </a:tr>
              <a:tr h="250721">
                <a:tc>
                  <a:txBody>
                    <a:bodyPr/>
                    <a:lstStyle/>
                    <a:p>
                      <a:pPr algn="l" rtl="0" fontAlgn="ctr"/>
                      <a:r>
                        <a:rPr lang="zh-CN" altLang="en-US" sz="1400" u="none" strike="noStrike" dirty="0" smtClean="0">
                          <a:effectLst/>
                        </a:rPr>
                        <a:t>总</a:t>
                      </a:r>
                      <a:r>
                        <a:rPr lang="zh-CN" altLang="en-US" sz="1400" u="none" strike="noStrike" dirty="0">
                          <a:effectLst/>
                        </a:rPr>
                        <a:t>人数（人）</a:t>
                      </a: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1240" marR="1240" marT="1240" marB="0" anchor="ctr">
                    <a:solidFill>
                      <a:schemeClr val="bg2"/>
                    </a:solidFill>
                  </a:tcPr>
                </a:tc>
                <a:tc>
                  <a:txBody>
                    <a:bodyPr/>
                    <a:lstStyle/>
                    <a:p>
                      <a:endParaRPr lang="zh-CN" altLang="en-US" dirty="0"/>
                    </a:p>
                  </a:txBody>
                  <a:tcPr marL="0" marR="0" marT="0" marB="0" anchor="ctr">
                    <a:solidFill>
                      <a:schemeClr val="bg2"/>
                    </a:solidFill>
                  </a:tcPr>
                </a:tc>
                <a:tc>
                  <a:txBody>
                    <a:bodyPr/>
                    <a:lstStyle/>
                    <a:p>
                      <a:endParaRPr lang="zh-CN" altLang="en-US"/>
                    </a:p>
                  </a:txBody>
                  <a:tcPr marL="0" marR="0" marT="0" marB="0" anchor="ctr">
                    <a:solidFill>
                      <a:schemeClr val="bg2"/>
                    </a:solidFill>
                  </a:tcPr>
                </a:tc>
                <a:tc>
                  <a:txBody>
                    <a:bodyPr/>
                    <a:lstStyle/>
                    <a:p>
                      <a:endParaRPr lang="zh-CN" altLang="en-US"/>
                    </a:p>
                  </a:txBody>
                  <a:tcPr marL="0" marR="0" marT="0" marB="0" anchor="ctr">
                    <a:solidFill>
                      <a:schemeClr val="bg2"/>
                    </a:solidFill>
                  </a:tcPr>
                </a:tc>
                <a:tc>
                  <a:txBody>
                    <a:bodyPr/>
                    <a:lstStyle/>
                    <a:p>
                      <a:endParaRPr lang="zh-CN" altLang="en-US"/>
                    </a:p>
                  </a:txBody>
                  <a:tcPr marL="0" marR="0" marT="0" marB="0" anchor="ctr">
                    <a:solidFill>
                      <a:schemeClr val="bg2"/>
                    </a:solidFill>
                  </a:tcPr>
                </a:tc>
              </a:tr>
              <a:tr h="250721">
                <a:tc>
                  <a:txBody>
                    <a:bodyPr/>
                    <a:lstStyle/>
                    <a:p>
                      <a:pPr algn="l" rtl="0" fontAlgn="ctr"/>
                      <a:r>
                        <a:rPr lang="zh-CN" altLang="en-US" sz="1400" u="none" strike="noStrike" dirty="0">
                          <a:effectLst/>
                        </a:rPr>
                        <a:t>营业收入</a:t>
                      </a: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1240" marR="1240" marT="1240" marB="0" anchor="ctr"/>
                </a:tc>
                <a:tc>
                  <a:txBody>
                    <a:bodyPr/>
                    <a:lstStyle/>
                    <a:p>
                      <a:endParaRPr lang="zh-CN" altLang="en-US" dirty="0"/>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r>
              <a:tr h="250721">
                <a:tc>
                  <a:txBody>
                    <a:bodyPr/>
                    <a:lstStyle/>
                    <a:p>
                      <a:pPr algn="l" rtl="0" fontAlgn="ctr"/>
                      <a:r>
                        <a:rPr lang="zh-CN" altLang="en-US" sz="1400" u="none" strike="noStrike">
                          <a:effectLst/>
                        </a:rPr>
                        <a:t>直接支出</a:t>
                      </a:r>
                      <a:endParaRPr lang="zh-CN" altLang="en-US" sz="1400" b="0" i="0" u="none" strike="noStrike">
                        <a:solidFill>
                          <a:srgbClr val="000000"/>
                        </a:solidFill>
                        <a:effectLst/>
                        <a:latin typeface="微软雅黑" panose="020B0503020204020204" charset="-122"/>
                        <a:ea typeface="微软雅黑" panose="020B0503020204020204" charset="-122"/>
                      </a:endParaRPr>
                    </a:p>
                  </a:txBody>
                  <a:tcPr marL="1240" marR="1240" marT="124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r>
              <a:tr h="250721">
                <a:tc>
                  <a:txBody>
                    <a:bodyPr/>
                    <a:lstStyle/>
                    <a:p>
                      <a:pPr algn="l" rtl="0" fontAlgn="ctr"/>
                      <a:r>
                        <a:rPr lang="zh-CN" altLang="en-US" sz="1400" u="none" strike="noStrike" dirty="0">
                          <a:solidFill>
                            <a:schemeClr val="accent3"/>
                          </a:solidFill>
                          <a:effectLst/>
                        </a:rPr>
                        <a:t>人力费用</a:t>
                      </a:r>
                      <a:r>
                        <a:rPr lang="zh-CN" altLang="en-US" sz="1400" u="none" strike="noStrike" dirty="0" smtClean="0">
                          <a:solidFill>
                            <a:schemeClr val="accent3"/>
                          </a:solidFill>
                          <a:effectLst/>
                        </a:rPr>
                        <a:t>合计）</a:t>
                      </a:r>
                      <a:endParaRPr lang="zh-CN" altLang="en-US" sz="1400" b="0" i="0" u="none" strike="noStrike" dirty="0">
                        <a:solidFill>
                          <a:schemeClr val="accent3"/>
                        </a:solidFill>
                        <a:effectLst/>
                        <a:latin typeface="微软雅黑" panose="020B0503020204020204" charset="-122"/>
                        <a:ea typeface="微软雅黑" panose="020B0503020204020204" charset="-122"/>
                      </a:endParaRPr>
                    </a:p>
                  </a:txBody>
                  <a:tcPr marL="1240" marR="1240" marT="124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r>
              <a:tr h="250721">
                <a:tc>
                  <a:txBody>
                    <a:bodyPr/>
                    <a:lstStyle/>
                    <a:p>
                      <a:pPr algn="l" rtl="0" fontAlgn="ctr"/>
                      <a:r>
                        <a:rPr lang="zh-CN" altLang="en-US" sz="1400" u="none" strike="noStrike" dirty="0">
                          <a:solidFill>
                            <a:schemeClr val="accent3"/>
                          </a:solidFill>
                          <a:effectLst/>
                        </a:rPr>
                        <a:t>非人力费用</a:t>
                      </a:r>
                      <a:r>
                        <a:rPr lang="zh-CN" altLang="en-US" sz="1400" u="none" strike="noStrike" dirty="0" smtClean="0">
                          <a:solidFill>
                            <a:schemeClr val="accent3"/>
                          </a:solidFill>
                          <a:effectLst/>
                        </a:rPr>
                        <a:t>合计</a:t>
                      </a:r>
                      <a:endParaRPr lang="zh-CN" altLang="en-US" sz="1400" b="0" i="0" u="none" strike="noStrike" dirty="0">
                        <a:solidFill>
                          <a:schemeClr val="accent3"/>
                        </a:solidFill>
                        <a:effectLst/>
                        <a:latin typeface="微软雅黑" panose="020B0503020204020204" charset="-122"/>
                        <a:ea typeface="微软雅黑" panose="020B0503020204020204" charset="-122"/>
                      </a:endParaRPr>
                    </a:p>
                  </a:txBody>
                  <a:tcPr marL="1240" marR="1240" marT="1240" marB="0" anchor="ctr"/>
                </a:tc>
                <a:tc>
                  <a:txBody>
                    <a:bodyPr/>
                    <a:lstStyle/>
                    <a:p>
                      <a:endParaRPr lang="zh-CN" altLang="en-US" dirty="0"/>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r>
              <a:tr h="250721">
                <a:tc>
                  <a:txBody>
                    <a:bodyPr/>
                    <a:lstStyle/>
                    <a:p>
                      <a:pPr algn="l" rtl="0" fontAlgn="ctr"/>
                      <a:r>
                        <a:rPr lang="en-US" sz="1400" u="none" strike="noStrike" dirty="0">
                          <a:solidFill>
                            <a:schemeClr val="accent3">
                              <a:lumMod val="60000"/>
                              <a:lumOff val="40000"/>
                            </a:schemeClr>
                          </a:solidFill>
                          <a:effectLst/>
                        </a:rPr>
                        <a:t>——IT</a:t>
                      </a:r>
                      <a:r>
                        <a:rPr lang="zh-CN" altLang="en-US" sz="1400" u="none" strike="noStrike" dirty="0">
                          <a:solidFill>
                            <a:schemeClr val="accent3">
                              <a:lumMod val="60000"/>
                              <a:lumOff val="40000"/>
                            </a:schemeClr>
                          </a:solidFill>
                          <a:effectLst/>
                        </a:rPr>
                        <a:t>费用</a:t>
                      </a:r>
                      <a:endParaRPr lang="zh-CN" altLang="en-US" sz="1400" b="0" i="0" u="none" strike="noStrike" dirty="0">
                        <a:solidFill>
                          <a:schemeClr val="accent3">
                            <a:lumMod val="60000"/>
                            <a:lumOff val="40000"/>
                          </a:schemeClr>
                        </a:solidFill>
                        <a:effectLst/>
                        <a:latin typeface="微软雅黑" panose="020B0503020204020204" charset="-122"/>
                        <a:ea typeface="微软雅黑" panose="020B0503020204020204" charset="-122"/>
                      </a:endParaRPr>
                    </a:p>
                  </a:txBody>
                  <a:tcPr marL="1240" marR="1240" marT="124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r>
              <a:tr h="250721">
                <a:tc>
                  <a:txBody>
                    <a:bodyPr/>
                    <a:lstStyle/>
                    <a:p>
                      <a:pPr algn="l" rtl="0" fontAlgn="ctr"/>
                      <a:r>
                        <a:rPr lang="en-US" altLang="zh-CN" sz="1400" u="none" strike="noStrike" dirty="0">
                          <a:solidFill>
                            <a:schemeClr val="accent3">
                              <a:lumMod val="60000"/>
                              <a:lumOff val="40000"/>
                            </a:schemeClr>
                          </a:solidFill>
                          <a:effectLst/>
                        </a:rPr>
                        <a:t>——</a:t>
                      </a:r>
                      <a:r>
                        <a:rPr lang="zh-CN" altLang="en-US" sz="1400" u="none" strike="noStrike" dirty="0">
                          <a:solidFill>
                            <a:schemeClr val="accent3">
                              <a:lumMod val="60000"/>
                              <a:lumOff val="40000"/>
                            </a:schemeClr>
                          </a:solidFill>
                          <a:effectLst/>
                        </a:rPr>
                        <a:t>业务费用</a:t>
                      </a:r>
                      <a:endParaRPr lang="zh-CN" altLang="en-US" sz="1400" b="0" i="0" u="none" strike="noStrike" dirty="0">
                        <a:solidFill>
                          <a:schemeClr val="accent3">
                            <a:lumMod val="60000"/>
                            <a:lumOff val="40000"/>
                          </a:schemeClr>
                        </a:solidFill>
                        <a:effectLst/>
                        <a:latin typeface="微软雅黑" panose="020B0503020204020204" charset="-122"/>
                        <a:ea typeface="微软雅黑" panose="020B0503020204020204" charset="-122"/>
                      </a:endParaRPr>
                    </a:p>
                  </a:txBody>
                  <a:tcPr marL="1240" marR="1240" marT="124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r>
              <a:tr h="250721">
                <a:tc>
                  <a:txBody>
                    <a:bodyPr/>
                    <a:lstStyle/>
                    <a:p>
                      <a:pPr algn="l" rtl="0" fontAlgn="ctr"/>
                      <a:r>
                        <a:rPr lang="en-US" altLang="zh-CN" sz="1400" u="none" strike="noStrike">
                          <a:solidFill>
                            <a:schemeClr val="accent3">
                              <a:lumMod val="60000"/>
                              <a:lumOff val="40000"/>
                            </a:schemeClr>
                          </a:solidFill>
                          <a:effectLst/>
                        </a:rPr>
                        <a:t>——</a:t>
                      </a:r>
                      <a:r>
                        <a:rPr lang="zh-CN" altLang="en-US" sz="1400" u="none" strike="noStrike">
                          <a:solidFill>
                            <a:schemeClr val="accent3">
                              <a:lumMod val="60000"/>
                              <a:lumOff val="40000"/>
                            </a:schemeClr>
                          </a:solidFill>
                          <a:effectLst/>
                        </a:rPr>
                        <a:t>日常费用</a:t>
                      </a:r>
                      <a:endParaRPr lang="zh-CN" altLang="en-US" sz="1400" b="0" i="0" u="none" strike="noStrike">
                        <a:solidFill>
                          <a:schemeClr val="accent3">
                            <a:lumMod val="60000"/>
                            <a:lumOff val="40000"/>
                          </a:schemeClr>
                        </a:solidFill>
                        <a:effectLst/>
                        <a:latin typeface="微软雅黑" panose="020B0503020204020204" charset="-122"/>
                        <a:ea typeface="微软雅黑" panose="020B0503020204020204" charset="-122"/>
                      </a:endParaRPr>
                    </a:p>
                  </a:txBody>
                  <a:tcPr marL="1240" marR="1240" marT="124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r>
              <a:tr h="391143">
                <a:tc>
                  <a:txBody>
                    <a:bodyPr/>
                    <a:lstStyle/>
                    <a:p>
                      <a:pPr algn="l" rtl="0" fontAlgn="ctr"/>
                      <a:r>
                        <a:rPr lang="zh-CN" altLang="en-US" sz="1400" u="none" strike="noStrike" dirty="0">
                          <a:solidFill>
                            <a:schemeClr val="tx1"/>
                          </a:solidFill>
                          <a:effectLst/>
                        </a:rPr>
                        <a:t>间接支出（分摊职场费用）</a:t>
                      </a:r>
                      <a:endParaRPr lang="zh-CN" altLang="en-US" sz="1400" b="0" i="0" u="none" strike="noStrike" dirty="0">
                        <a:solidFill>
                          <a:schemeClr val="tx1"/>
                        </a:solidFill>
                        <a:effectLst/>
                        <a:latin typeface="微软雅黑" panose="020B0503020204020204" charset="-122"/>
                        <a:ea typeface="微软雅黑" panose="020B0503020204020204" charset="-122"/>
                      </a:endParaRPr>
                    </a:p>
                  </a:txBody>
                  <a:tcPr marL="1240" marR="1240" marT="124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r>
              <a:tr h="250721">
                <a:tc>
                  <a:txBody>
                    <a:bodyPr/>
                    <a:lstStyle/>
                    <a:p>
                      <a:pPr algn="l" rtl="0" fontAlgn="ctr"/>
                      <a:r>
                        <a:rPr lang="zh-CN" altLang="en-US" sz="1400" u="none" strike="noStrike">
                          <a:effectLst/>
                        </a:rPr>
                        <a:t>营业利润</a:t>
                      </a:r>
                      <a:endParaRPr lang="zh-CN" altLang="en-US" sz="1400" b="0" i="0" u="none" strike="noStrike">
                        <a:solidFill>
                          <a:srgbClr val="000000"/>
                        </a:solidFill>
                        <a:effectLst/>
                        <a:latin typeface="微软雅黑" panose="020B0503020204020204" charset="-122"/>
                        <a:ea typeface="微软雅黑" panose="020B0503020204020204" charset="-122"/>
                      </a:endParaRPr>
                    </a:p>
                  </a:txBody>
                  <a:tcPr marL="1240" marR="1240" marT="1240" marB="0" anchor="ctr"/>
                </a:tc>
                <a:tc>
                  <a:txBody>
                    <a:bodyPr/>
                    <a:lstStyle/>
                    <a:p>
                      <a:endParaRPr lang="zh-CN" altLang="en-US"/>
                    </a:p>
                  </a:txBody>
                  <a:tcPr marL="0" marR="0" marT="0" marB="0" anchor="ctr"/>
                </a:tc>
                <a:tc>
                  <a:txBody>
                    <a:bodyPr/>
                    <a:lstStyle/>
                    <a:p>
                      <a:endParaRPr lang="zh-CN" altLang="en-US" dirty="0"/>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r>
              <a:tr h="250721">
                <a:tc>
                  <a:txBody>
                    <a:bodyPr/>
                    <a:lstStyle/>
                    <a:p>
                      <a:pPr algn="l" rtl="0" fontAlgn="ctr"/>
                      <a:r>
                        <a:rPr lang="zh-CN" altLang="en-US" sz="1400" u="none" strike="noStrike">
                          <a:effectLst/>
                        </a:rPr>
                        <a:t>资本性支出合计</a:t>
                      </a:r>
                      <a:endParaRPr lang="zh-CN" altLang="en-US" sz="1400" b="0" i="0" u="none" strike="noStrike">
                        <a:solidFill>
                          <a:srgbClr val="000000"/>
                        </a:solidFill>
                        <a:effectLst/>
                        <a:latin typeface="微软雅黑" panose="020B0503020204020204" charset="-122"/>
                        <a:ea typeface="微软雅黑" panose="020B0503020204020204" charset="-122"/>
                      </a:endParaRPr>
                    </a:p>
                  </a:txBody>
                  <a:tcPr marL="1240" marR="1240" marT="124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a:p>
                  </a:txBody>
                  <a:tcPr marL="0" marR="0" marT="0" marB="0" anchor="ctr"/>
                </a:tc>
                <a:tc>
                  <a:txBody>
                    <a:bodyPr/>
                    <a:lstStyle/>
                    <a:p>
                      <a:endParaRPr lang="zh-CN" altLang="en-US" dirty="0"/>
                    </a:p>
                  </a:txBody>
                  <a:tcPr marL="0" marR="0" marT="0" marB="0" anchor="ctr"/>
                </a:tc>
              </a:tr>
            </a:tbl>
          </a:graphicData>
        </a:graphic>
      </p:graphicFrame>
      <p:sp>
        <p:nvSpPr>
          <p:cNvPr id="18" name="椭圆 17"/>
          <p:cNvSpPr/>
          <p:nvPr/>
        </p:nvSpPr>
        <p:spPr>
          <a:xfrm>
            <a:off x="4385691" y="3639331"/>
            <a:ext cx="804788" cy="251216"/>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j-ea"/>
              <a:ea typeface="+mj-ea"/>
              <a:cs typeface="+mn-cs"/>
            </a:endParaRPr>
          </a:p>
        </p:txBody>
      </p:sp>
      <p:sp>
        <p:nvSpPr>
          <p:cNvPr id="19" name="椭圆 18"/>
          <p:cNvSpPr/>
          <p:nvPr/>
        </p:nvSpPr>
        <p:spPr>
          <a:xfrm>
            <a:off x="4363866" y="4249956"/>
            <a:ext cx="804788" cy="2761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j-ea"/>
              <a:ea typeface="+mj-ea"/>
              <a:cs typeface="+mn-cs"/>
            </a:endParaRPr>
          </a:p>
        </p:txBody>
      </p:sp>
      <p:sp>
        <p:nvSpPr>
          <p:cNvPr id="20" name="文本框 19"/>
          <p:cNvSpPr txBox="1"/>
          <p:nvPr/>
        </p:nvSpPr>
        <p:spPr>
          <a:xfrm>
            <a:off x="8875350" y="3172669"/>
            <a:ext cx="2952177" cy="14927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300" b="1" i="0" u="none" strike="noStrike" kern="1200" cap="none" spc="0" normalizeH="0" baseline="0" noProof="0" dirty="0" smtClean="0">
                <a:ln>
                  <a:noFill/>
                </a:ln>
                <a:solidFill>
                  <a:prstClr val="black"/>
                </a:solidFill>
                <a:effectLst/>
                <a:uLnTx/>
                <a:uFillTx/>
                <a:latin typeface="+mj-ea"/>
                <a:ea typeface="+mj-ea"/>
                <a:cs typeface="+mn-cs"/>
              </a:rPr>
              <a:t>                投入产出分析</a:t>
            </a:r>
            <a:endParaRPr kumimoji="0" lang="en-US" altLang="zh-CN" sz="1300" b="0" i="0" u="none" strike="noStrike" kern="1200" cap="none" spc="0" normalizeH="0" baseline="0" noProof="0" dirty="0" smtClean="0">
              <a:ln>
                <a:noFill/>
              </a:ln>
              <a:solidFill>
                <a:srgbClr val="5B9BD5">
                  <a:lumMod val="75000"/>
                </a:srgbClr>
              </a:solidFill>
              <a:effectLst/>
              <a:uLnTx/>
              <a:uFillTx/>
              <a:latin typeface="+mj-ea"/>
              <a:ea typeface="+mj-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300" b="0" i="0" u="none" strike="noStrike" kern="1200" cap="none" spc="0" normalizeH="0" baseline="0" noProof="0" dirty="0" smtClean="0">
                <a:ln>
                  <a:noFill/>
                </a:ln>
                <a:solidFill>
                  <a:srgbClr val="5B9BD5">
                    <a:lumMod val="75000"/>
                  </a:srgbClr>
                </a:solidFill>
                <a:effectLst/>
                <a:uLnTx/>
                <a:uFillTx/>
                <a:latin typeface="+mj-ea"/>
                <a:ea typeface="+mj-ea"/>
                <a:cs typeface="+mn-cs"/>
              </a:rPr>
              <a:t>人员到岗</a:t>
            </a:r>
            <a:r>
              <a:rPr kumimoji="0" lang="en-US" altLang="zh-CN" sz="1300" b="0" i="0" u="none" strike="noStrike" kern="1200" cap="none" spc="0" normalizeH="0" baseline="0" noProof="0" dirty="0">
                <a:ln>
                  <a:noFill/>
                </a:ln>
                <a:solidFill>
                  <a:srgbClr val="5B9BD5">
                    <a:lumMod val="75000"/>
                  </a:srgbClr>
                </a:solidFill>
                <a:effectLst/>
                <a:uLnTx/>
                <a:uFillTx/>
                <a:latin typeface="+mj-ea"/>
                <a:ea typeface="+mj-ea"/>
                <a:cs typeface="+mn-cs"/>
              </a:rPr>
              <a:t> </a:t>
            </a:r>
            <a:r>
              <a:rPr kumimoji="0" lang="en-US" altLang="zh-CN" sz="1300" b="0" i="0" u="none" strike="noStrike" kern="1200" cap="none" spc="0" normalizeH="0" baseline="0" noProof="0" dirty="0" smtClean="0">
                <a:ln>
                  <a:noFill/>
                </a:ln>
                <a:solidFill>
                  <a:srgbClr val="5B9BD5">
                    <a:lumMod val="75000"/>
                  </a:srgbClr>
                </a:solidFill>
                <a:effectLst/>
                <a:uLnTx/>
                <a:uFillTx/>
                <a:latin typeface="+mj-ea"/>
                <a:ea typeface="+mj-ea"/>
                <a:cs typeface="+mn-cs"/>
              </a:rPr>
              <a:t> xx%</a:t>
            </a:r>
            <a:endParaRPr kumimoji="0" lang="en-US" altLang="zh-CN" sz="1300" b="0" i="0" u="none" strike="noStrike" kern="1200" cap="none" spc="0" normalizeH="0" baseline="0" noProof="0" dirty="0" smtClean="0">
              <a:ln>
                <a:noFill/>
              </a:ln>
              <a:solidFill>
                <a:srgbClr val="5B9BD5">
                  <a:lumMod val="75000"/>
                </a:srgbClr>
              </a:solidFill>
              <a:effectLst/>
              <a:uLnTx/>
              <a:uFillTx/>
              <a:latin typeface="+mj-ea"/>
              <a:ea typeface="+mj-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300" b="0" i="0" u="none" strike="noStrike" kern="1200" cap="none" spc="0" normalizeH="0" baseline="0" noProof="0" dirty="0" smtClean="0">
                <a:ln>
                  <a:noFill/>
                </a:ln>
                <a:solidFill>
                  <a:prstClr val="black"/>
                </a:solidFill>
                <a:effectLst/>
                <a:uLnTx/>
                <a:uFillTx/>
                <a:latin typeface="+mj-ea"/>
                <a:ea typeface="+mj-ea"/>
                <a:cs typeface="+mn-cs"/>
              </a:rPr>
              <a:t>截止</a:t>
            </a:r>
            <a:r>
              <a:rPr kumimoji="0" lang="en-US" altLang="zh-CN" sz="1300" b="0" i="0" u="none" strike="noStrike" kern="1200" cap="none" spc="0" normalizeH="0" baseline="0" noProof="0" dirty="0" smtClean="0">
                <a:ln>
                  <a:noFill/>
                </a:ln>
                <a:solidFill>
                  <a:prstClr val="black"/>
                </a:solidFill>
                <a:effectLst/>
                <a:uLnTx/>
                <a:uFillTx/>
                <a:latin typeface="+mj-ea"/>
                <a:ea typeface="+mj-ea"/>
                <a:cs typeface="+mn-cs"/>
              </a:rPr>
              <a:t>7</a:t>
            </a:r>
            <a:r>
              <a:rPr kumimoji="0" lang="zh-CN" altLang="en-US" sz="1300" b="0" i="0" u="none" strike="noStrike" kern="1200" cap="none" spc="0" normalizeH="0" baseline="0" noProof="0" dirty="0" smtClean="0">
                <a:ln>
                  <a:noFill/>
                </a:ln>
                <a:solidFill>
                  <a:prstClr val="black"/>
                </a:solidFill>
                <a:effectLst/>
                <a:uLnTx/>
                <a:uFillTx/>
                <a:latin typeface="+mj-ea"/>
                <a:ea typeface="+mj-ea"/>
                <a:cs typeface="+mn-cs"/>
              </a:rPr>
              <a:t>月实际到岗</a:t>
            </a:r>
            <a:r>
              <a:rPr kumimoji="0" lang="en-US" altLang="zh-CN" sz="1300" b="0" i="0" u="none" strike="noStrike" kern="1200" cap="none" spc="0" normalizeH="0" baseline="0" noProof="0" dirty="0" smtClean="0">
                <a:ln>
                  <a:noFill/>
                </a:ln>
                <a:solidFill>
                  <a:prstClr val="black"/>
                </a:solidFill>
                <a:effectLst/>
                <a:uLnTx/>
                <a:uFillTx/>
                <a:latin typeface="+mj-ea"/>
                <a:ea typeface="+mj-ea"/>
                <a:cs typeface="+mn-cs"/>
              </a:rPr>
              <a:t>xx</a:t>
            </a:r>
            <a:r>
              <a:rPr kumimoji="0" lang="zh-CN" altLang="en-US" sz="1300" b="0" i="0" u="none" strike="noStrike" kern="1200" cap="none" spc="0" normalizeH="0" baseline="0" noProof="0" dirty="0" smtClean="0">
                <a:ln>
                  <a:noFill/>
                </a:ln>
                <a:solidFill>
                  <a:prstClr val="black"/>
                </a:solidFill>
                <a:effectLst/>
                <a:uLnTx/>
                <a:uFillTx/>
                <a:latin typeface="+mj-ea"/>
                <a:ea typeface="+mj-ea"/>
                <a:cs typeface="+mn-cs"/>
              </a:rPr>
              <a:t>人，进展良好</a:t>
            </a:r>
            <a:endParaRPr kumimoji="0" lang="en-US" altLang="zh-CN" sz="1300" b="0" i="0" u="none" strike="noStrike" kern="1200" cap="none" spc="0" normalizeH="0" baseline="0" noProof="0" dirty="0" smtClean="0">
              <a:ln>
                <a:noFill/>
              </a:ln>
              <a:solidFill>
                <a:prstClr val="black"/>
              </a:solidFill>
              <a:effectLst/>
              <a:uLnTx/>
              <a:uFillTx/>
              <a:latin typeface="+mj-ea"/>
              <a:ea typeface="+mj-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300" b="0" i="0" u="none" strike="noStrike" kern="1200" cap="none" spc="0" normalizeH="0" baseline="0" noProof="0" dirty="0" smtClean="0">
                <a:ln>
                  <a:noFill/>
                </a:ln>
                <a:solidFill>
                  <a:srgbClr val="5B9BD5">
                    <a:lumMod val="75000"/>
                  </a:srgbClr>
                </a:solidFill>
                <a:effectLst/>
                <a:uLnTx/>
                <a:uFillTx/>
                <a:latin typeface="+mj-ea"/>
                <a:ea typeface="+mj-ea"/>
                <a:cs typeface="+mn-cs"/>
              </a:rPr>
              <a:t>支出</a:t>
            </a:r>
            <a:r>
              <a:rPr kumimoji="0" lang="en-US" altLang="zh-CN" sz="1300" b="0" i="0" u="none" strike="noStrike" kern="1200" cap="none" spc="0" normalizeH="0" baseline="0" noProof="0" dirty="0" smtClean="0">
                <a:ln>
                  <a:noFill/>
                </a:ln>
                <a:solidFill>
                  <a:srgbClr val="5B9BD5">
                    <a:lumMod val="75000"/>
                  </a:srgbClr>
                </a:solidFill>
                <a:effectLst/>
                <a:uLnTx/>
                <a:uFillTx/>
                <a:latin typeface="+mj-ea"/>
                <a:ea typeface="+mj-ea"/>
                <a:cs typeface="+mn-cs"/>
              </a:rPr>
              <a:t>—</a:t>
            </a:r>
            <a:r>
              <a:rPr kumimoji="0" lang="zh-CN" altLang="en-US" sz="1300" b="0" i="0" u="none" strike="noStrike" kern="1200" cap="none" spc="0" normalizeH="0" baseline="0" noProof="0" dirty="0" smtClean="0">
                <a:ln>
                  <a:noFill/>
                </a:ln>
                <a:solidFill>
                  <a:srgbClr val="5B9BD5">
                    <a:lumMod val="75000"/>
                  </a:srgbClr>
                </a:solidFill>
                <a:effectLst/>
                <a:uLnTx/>
                <a:uFillTx/>
                <a:latin typeface="+mj-ea"/>
                <a:ea typeface="+mj-ea"/>
                <a:cs typeface="+mn-cs"/>
              </a:rPr>
              <a:t>非人力成本</a:t>
            </a:r>
            <a:r>
              <a:rPr kumimoji="0" lang="en-US" altLang="zh-CN" sz="1300" b="0" i="0" u="none" strike="noStrike" kern="1200" cap="none" spc="0" normalizeH="0" baseline="0" noProof="0" dirty="0" smtClean="0">
                <a:ln>
                  <a:noFill/>
                </a:ln>
                <a:solidFill>
                  <a:srgbClr val="5B9BD5">
                    <a:lumMod val="75000"/>
                  </a:srgbClr>
                </a:solidFill>
                <a:effectLst/>
                <a:uLnTx/>
                <a:uFillTx/>
                <a:latin typeface="+mj-ea"/>
                <a:ea typeface="+mj-ea"/>
                <a:cs typeface="+mn-cs"/>
              </a:rPr>
              <a:t>x%</a:t>
            </a:r>
            <a:r>
              <a:rPr kumimoji="0" lang="zh-CN" altLang="en-US" sz="1300" b="0" i="0" u="none" strike="noStrike" kern="1200" cap="none" spc="0" normalizeH="0" baseline="0" noProof="0" dirty="0" smtClean="0">
                <a:ln>
                  <a:noFill/>
                </a:ln>
                <a:solidFill>
                  <a:srgbClr val="5B9BD5">
                    <a:lumMod val="75000"/>
                  </a:srgbClr>
                </a:solidFill>
                <a:effectLst/>
                <a:uLnTx/>
                <a:uFillTx/>
                <a:latin typeface="+mj-ea"/>
                <a:ea typeface="+mj-ea"/>
                <a:cs typeface="+mn-cs"/>
              </a:rPr>
              <a:t>：</a:t>
            </a:r>
            <a:endParaRPr kumimoji="0" lang="en-US" altLang="zh-CN" sz="1300" b="0" i="0" u="none" strike="noStrike" kern="1200" cap="none" spc="0" normalizeH="0" baseline="0" noProof="0" dirty="0" smtClean="0">
              <a:ln>
                <a:noFill/>
              </a:ln>
              <a:solidFill>
                <a:srgbClr val="5B9BD5">
                  <a:lumMod val="75000"/>
                </a:srgbClr>
              </a:solidFill>
              <a:effectLst/>
              <a:uLnTx/>
              <a:uFillTx/>
              <a:latin typeface="+mj-ea"/>
              <a:ea typeface="+mj-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300" b="0" i="0" u="none" strike="noStrike" kern="1200" cap="none" spc="0" normalizeH="0" baseline="0" noProof="0" dirty="0">
                <a:ln>
                  <a:noFill/>
                </a:ln>
                <a:solidFill>
                  <a:prstClr val="black"/>
                </a:solidFill>
                <a:effectLst/>
                <a:uLnTx/>
                <a:uFillTx/>
                <a:latin typeface="+mj-ea"/>
                <a:ea typeface="+mj-ea"/>
                <a:cs typeface="+mn-cs"/>
              </a:rPr>
              <a:t>预算执行率偏低，主要原因</a:t>
            </a:r>
            <a:r>
              <a:rPr kumimoji="0" lang="zh-CN" altLang="en-US" sz="1300" b="0" i="0" u="none" strike="noStrike" kern="1200" cap="none" spc="0" normalizeH="0" baseline="0" noProof="0" dirty="0" smtClean="0">
                <a:ln>
                  <a:noFill/>
                </a:ln>
                <a:solidFill>
                  <a:prstClr val="black"/>
                </a:solidFill>
                <a:effectLst/>
                <a:uLnTx/>
                <a:uFillTx/>
                <a:latin typeface="+mj-ea"/>
                <a:ea typeface="+mj-ea"/>
                <a:cs typeface="+mn-cs"/>
              </a:rPr>
              <a:t>：</a:t>
            </a:r>
            <a:r>
              <a:rPr kumimoji="0" lang="en-US" altLang="zh-CN" sz="1300" b="0" i="0" u="none" strike="noStrike" kern="1200" cap="none" spc="0" normalizeH="0" baseline="0" noProof="0" dirty="0" smtClean="0">
                <a:ln>
                  <a:noFill/>
                </a:ln>
                <a:solidFill>
                  <a:prstClr val="black"/>
                </a:solidFill>
                <a:effectLst/>
                <a:uLnTx/>
                <a:uFillTx/>
                <a:latin typeface="+mj-ea"/>
                <a:ea typeface="+mj-ea"/>
                <a:cs typeface="+mn-cs"/>
              </a:rPr>
              <a:t>xxx</a:t>
            </a:r>
            <a:endParaRPr kumimoji="0" lang="en-US" altLang="zh-CN" sz="1300" b="0" i="0" u="none" strike="noStrike" kern="1200" cap="none" spc="0" normalizeH="0" baseline="0" noProof="0" dirty="0">
              <a:ln>
                <a:noFill/>
              </a:ln>
              <a:solidFill>
                <a:prstClr val="black"/>
              </a:solidFill>
              <a:effectLst/>
              <a:uLnTx/>
              <a:uFillTx/>
              <a:latin typeface="+mj-ea"/>
              <a:ea typeface="+mj-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300" b="0" i="0" u="none" strike="noStrike" kern="1200" cap="none" spc="0" normalizeH="0" baseline="0" noProof="0" dirty="0" smtClean="0">
              <a:ln>
                <a:noFill/>
              </a:ln>
              <a:solidFill>
                <a:srgbClr val="5B9BD5">
                  <a:lumMod val="75000"/>
                </a:srgbClr>
              </a:solidFill>
              <a:effectLst/>
              <a:uLnTx/>
              <a:uFillTx/>
              <a:latin typeface="+mj-ea"/>
              <a:ea typeface="+mj-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300" b="0" i="0" u="none" strike="noStrike" kern="1200" cap="none" spc="0" normalizeH="0" baseline="0" noProof="0" dirty="0" smtClean="0">
              <a:ln>
                <a:noFill/>
              </a:ln>
              <a:solidFill>
                <a:srgbClr val="5B9BD5">
                  <a:lumMod val="75000"/>
                </a:srgbClr>
              </a:solidFill>
              <a:effectLst/>
              <a:uLnTx/>
              <a:uFillTx/>
              <a:latin typeface="+mj-ea"/>
              <a:ea typeface="+mj-ea"/>
              <a:cs typeface="+mn-cs"/>
            </a:endParaRPr>
          </a:p>
        </p:txBody>
      </p:sp>
      <p:graphicFrame>
        <p:nvGraphicFramePr>
          <p:cNvPr id="21" name="表格 20"/>
          <p:cNvGraphicFramePr>
            <a:graphicFrameLocks noGrp="1"/>
          </p:cNvGraphicFramePr>
          <p:nvPr/>
        </p:nvGraphicFramePr>
        <p:xfrm>
          <a:off x="6578623" y="3231739"/>
          <a:ext cx="2296727" cy="2848997"/>
        </p:xfrm>
        <a:graphic>
          <a:graphicData uri="http://schemas.openxmlformats.org/drawingml/2006/table">
            <a:tbl>
              <a:tblPr>
                <a:tableStyleId>{5940675A-B579-460E-94D1-54222C63F5DA}</a:tableStyleId>
              </a:tblPr>
              <a:tblGrid>
                <a:gridCol w="1011514"/>
                <a:gridCol w="658906"/>
                <a:gridCol w="626307"/>
              </a:tblGrid>
              <a:tr h="314602">
                <a:tc>
                  <a:txBody>
                    <a:bodyPr/>
                    <a:lstStyle/>
                    <a:p>
                      <a:pPr algn="ctr" rtl="0" fontAlgn="ctr"/>
                      <a:r>
                        <a:rPr lang="zh-CN" altLang="en-US" sz="1050" b="1" u="none" strike="noStrike" dirty="0">
                          <a:effectLst/>
                        </a:rPr>
                        <a:t>项目名称</a:t>
                      </a:r>
                      <a:endParaRPr lang="zh-CN" altLang="en-US" sz="1050" b="1" i="0"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zh-CN" sz="1050" b="1" u="none" strike="noStrike" dirty="0">
                          <a:effectLst/>
                        </a:rPr>
                        <a:t>18</a:t>
                      </a:r>
                      <a:r>
                        <a:rPr lang="zh-CN" altLang="en-US" sz="1050" b="1" u="none" strike="noStrike" dirty="0">
                          <a:effectLst/>
                        </a:rPr>
                        <a:t>年预算收入（万）</a:t>
                      </a:r>
                      <a:endParaRPr lang="zh-CN" altLang="en-US" sz="1050" b="1" i="0"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zh-CN" altLang="en-US" sz="1050" b="1" i="0" u="none" strike="noStrike" dirty="0" smtClean="0">
                          <a:solidFill>
                            <a:srgbClr val="000000"/>
                          </a:solidFill>
                          <a:effectLst/>
                          <a:latin typeface="+mn-ea"/>
                          <a:ea typeface="+mn-ea"/>
                        </a:rPr>
                        <a:t>实际收入</a:t>
                      </a:r>
                      <a:endParaRPr lang="zh-CN" altLang="en-US" sz="1050" b="1" i="0" u="none" strike="noStrike" dirty="0">
                        <a:solidFill>
                          <a:srgbClr val="000000"/>
                        </a:solidFill>
                        <a:effectLst/>
                        <a:latin typeface="+mn-ea"/>
                        <a:ea typeface="+mn-ea"/>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202905">
                <a:tc>
                  <a:txBody>
                    <a:bodyPr/>
                    <a:lstStyle/>
                    <a:p>
                      <a:pPr algn="ctr" rtl="0" fontAlgn="ctr"/>
                      <a:endParaRPr lang="zh-CN" altLang="en-US" sz="1050" b="0" i="0"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dirty="0"/>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202905">
                <a:tc>
                  <a:txBody>
                    <a:bodyPr/>
                    <a:lstStyle/>
                    <a:p>
                      <a:pPr algn="ctr" rtl="0" fontAlgn="ctr"/>
                      <a:endParaRPr lang="zh-CN" altLang="en-US" sz="1050" b="0" i="0"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405812">
                <a:tc>
                  <a:txBody>
                    <a:bodyPr/>
                    <a:lstStyle/>
                    <a:p>
                      <a:pPr algn="ctr" rtl="0" fontAlgn="ctr"/>
                      <a:endParaRPr lang="zh-CN" altLang="en-US" sz="1050" b="0" i="0"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202905">
                <a:tc>
                  <a:txBody>
                    <a:bodyPr/>
                    <a:lstStyle/>
                    <a:p>
                      <a:pPr algn="ctr" rtl="0" fontAlgn="ctr"/>
                      <a:endParaRPr lang="zh-CN" altLang="en-US" sz="1050" b="0" i="0"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202905">
                <a:tc>
                  <a:txBody>
                    <a:bodyPr/>
                    <a:lstStyle/>
                    <a:p>
                      <a:pPr algn="ctr" rtl="0" fontAlgn="ctr"/>
                      <a:endParaRPr lang="zh-CN" altLang="en-US" sz="1050" b="0" i="0" u="none" strike="noStrike">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202905">
                <a:tc>
                  <a:txBody>
                    <a:bodyPr/>
                    <a:lstStyle/>
                    <a:p>
                      <a:pPr algn="ctr" rtl="0" fontAlgn="ctr"/>
                      <a:endParaRPr lang="zh-CN" altLang="en-US" sz="1050" b="0" i="0"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202905">
                <a:tc>
                  <a:txBody>
                    <a:bodyPr/>
                    <a:lstStyle/>
                    <a:p>
                      <a:pPr algn="ctr" rtl="0" fontAlgn="ctr"/>
                      <a:endParaRPr lang="zh-CN" altLang="en-US" sz="1050" b="0" i="0"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202905">
                <a:tc>
                  <a:txBody>
                    <a:bodyPr/>
                    <a:lstStyle/>
                    <a:p>
                      <a:pPr algn="ctr" rtl="0" fontAlgn="ctr"/>
                      <a:endParaRPr lang="zh-CN" altLang="en-US" sz="1050" b="0" i="0"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202905">
                <a:tc>
                  <a:txBody>
                    <a:bodyPr/>
                    <a:lstStyle/>
                    <a:p>
                      <a:pPr algn="ctr" rtl="0" fontAlgn="ctr"/>
                      <a:r>
                        <a:rPr lang="zh-CN" altLang="en-US" sz="1050" u="none" strike="noStrike" dirty="0">
                          <a:effectLst/>
                        </a:rPr>
                        <a:t>总计</a:t>
                      </a:r>
                      <a:endParaRPr lang="zh-CN" altLang="en-US" sz="1050" b="1" i="1"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zh-CN" altLang="en-US" sz="1050" u="none" strike="noStrike" dirty="0">
                          <a:effectLst/>
                        </a:rPr>
                        <a:t>  </a:t>
                      </a:r>
                      <a:r>
                        <a:rPr lang="en-US" altLang="zh-CN" sz="1050" u="none" strike="noStrike" dirty="0">
                          <a:effectLst/>
                        </a:rPr>
                        <a:t>5,285 </a:t>
                      </a:r>
                      <a:endParaRPr lang="en-US" altLang="zh-CN" sz="1050" b="1" i="1"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zh-CN" sz="1050" b="0" i="0" u="none" strike="noStrike" dirty="0" smtClean="0">
                          <a:solidFill>
                            <a:srgbClr val="000000"/>
                          </a:solidFill>
                          <a:effectLst/>
                          <a:latin typeface="楷体" panose="02010609060101010101" pitchFamily="49" charset="-122"/>
                          <a:ea typeface="楷体" panose="02010609060101010101" pitchFamily="49" charset="-122"/>
                        </a:rPr>
                        <a:t>142</a:t>
                      </a:r>
                      <a:endParaRPr lang="en-US" altLang="zh-CN" sz="1050" b="0" i="0"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22" name="图表 21"/>
          <p:cNvGraphicFramePr/>
          <p:nvPr/>
        </p:nvGraphicFramePr>
        <p:xfrm>
          <a:off x="8479898" y="4576670"/>
          <a:ext cx="3368628" cy="1436781"/>
        </p:xfrm>
        <a:graphic>
          <a:graphicData uri="http://schemas.openxmlformats.org/drawingml/2006/chart">
            <c:chart xmlns:c="http://schemas.openxmlformats.org/drawingml/2006/chart" xmlns:r="http://schemas.openxmlformats.org/officeDocument/2006/relationships" r:id="rId1"/>
          </a:graphicData>
        </a:graphic>
      </p:graphicFrame>
      <p:sp>
        <p:nvSpPr>
          <p:cNvPr id="23"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mj-ea"/>
              </a:rPr>
              <a:t>内诊</a:t>
            </a:r>
            <a:r>
              <a:rPr lang="en-US" altLang="zh-CN" sz="2400" dirty="0" smtClean="0">
                <a:solidFill>
                  <a:prstClr val="black"/>
                </a:solidFill>
                <a:latin typeface="+mj-ea"/>
              </a:rPr>
              <a:t>-</a:t>
            </a:r>
            <a:r>
              <a:rPr lang="zh-CN" altLang="en-US" sz="2400" dirty="0" smtClean="0">
                <a:solidFill>
                  <a:prstClr val="black"/>
                </a:solidFill>
                <a:latin typeface="+mj-ea"/>
              </a:rPr>
              <a:t>投产分析</a:t>
            </a:r>
            <a:endParaRPr lang="en-US" altLang="zh-CN" sz="2400" dirty="0" smtClean="0">
              <a:solidFill>
                <a:prstClr val="black"/>
              </a:solidFill>
              <a:latin typeface="+mj-ea"/>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图表 11"/>
          <p:cNvGraphicFramePr/>
          <p:nvPr/>
        </p:nvGraphicFramePr>
        <p:xfrm>
          <a:off x="277596" y="974242"/>
          <a:ext cx="5809695" cy="2503063"/>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20" name="图表 19"/>
          <p:cNvGraphicFramePr/>
          <p:nvPr/>
        </p:nvGraphicFramePr>
        <p:xfrm>
          <a:off x="692331" y="3864185"/>
          <a:ext cx="4610773" cy="24688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图表 20"/>
          <p:cNvGraphicFramePr/>
          <p:nvPr/>
        </p:nvGraphicFramePr>
        <p:xfrm>
          <a:off x="5717839" y="3864184"/>
          <a:ext cx="4732446" cy="236437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图表 21"/>
          <p:cNvGraphicFramePr/>
          <p:nvPr/>
        </p:nvGraphicFramePr>
        <p:xfrm>
          <a:off x="6524649" y="974242"/>
          <a:ext cx="5140482" cy="2503063"/>
        </p:xfrm>
        <a:graphic>
          <a:graphicData uri="http://schemas.openxmlformats.org/drawingml/2006/chart">
            <c:chart xmlns:c="http://schemas.openxmlformats.org/drawingml/2006/chart" xmlns:r="http://schemas.openxmlformats.org/officeDocument/2006/relationships" r:id="rId4"/>
          </a:graphicData>
        </a:graphic>
      </p:graphicFrame>
      <p:sp>
        <p:nvSpPr>
          <p:cNvPr id="3" name="矩形 2"/>
          <p:cNvSpPr/>
          <p:nvPr/>
        </p:nvSpPr>
        <p:spPr>
          <a:xfrm>
            <a:off x="277596" y="3733557"/>
            <a:ext cx="11387535" cy="2495006"/>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4" name="文本框 3"/>
          <p:cNvSpPr txBox="1"/>
          <p:nvPr/>
        </p:nvSpPr>
        <p:spPr>
          <a:xfrm>
            <a:off x="4774171" y="3607932"/>
            <a:ext cx="1887335" cy="307777"/>
          </a:xfrm>
          <a:prstGeom prst="rect">
            <a:avLst/>
          </a:prstGeom>
          <a:solidFill>
            <a:schemeClr val="bg1"/>
          </a:solidFill>
        </p:spPr>
        <p:txBody>
          <a:bodyPr wrap="square" rtlCol="0">
            <a:spAutoFit/>
          </a:bodyPr>
          <a:lstStyle/>
          <a:p>
            <a:pPr algn="ctr"/>
            <a:r>
              <a:rPr lang="en-US" altLang="zh-CN" sz="1400" b="1" dirty="0" smtClean="0">
                <a:latin typeface="+mn-ea"/>
              </a:rPr>
              <a:t>8</a:t>
            </a:r>
            <a:r>
              <a:rPr lang="zh-CN" altLang="en-US" sz="1400" b="1" dirty="0" smtClean="0">
                <a:latin typeface="+mn-ea"/>
              </a:rPr>
              <a:t>月点击功能</a:t>
            </a:r>
            <a:endParaRPr lang="zh-CN" altLang="en-US" sz="1400" b="1" dirty="0">
              <a:latin typeface="+mn-ea"/>
            </a:endParaRPr>
          </a:p>
        </p:txBody>
      </p:sp>
      <p:cxnSp>
        <p:nvCxnSpPr>
          <p:cNvPr id="6" name="直接连接符 5"/>
          <p:cNvCxnSpPr/>
          <p:nvPr/>
        </p:nvCxnSpPr>
        <p:spPr>
          <a:xfrm>
            <a:off x="3422469" y="4007876"/>
            <a:ext cx="4180114" cy="13063"/>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4502993" y="5392539"/>
            <a:ext cx="3021213" cy="684273"/>
          </a:xfrm>
          <a:prstGeom prst="line">
            <a:avLst/>
          </a:prstGeom>
        </p:spPr>
        <p:style>
          <a:lnRef idx="1">
            <a:schemeClr val="accent1"/>
          </a:lnRef>
          <a:fillRef idx="0">
            <a:schemeClr val="accent1"/>
          </a:fillRef>
          <a:effectRef idx="0">
            <a:schemeClr val="accent1"/>
          </a:effectRef>
          <a:fontRef idx="minor">
            <a:schemeClr val="tx1"/>
          </a:fontRef>
        </p:style>
      </p:cxnSp>
      <p:sp>
        <p:nvSpPr>
          <p:cNvPr id="13"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mj-ea"/>
              </a:rPr>
              <a:t>内诊</a:t>
            </a:r>
            <a:r>
              <a:rPr lang="en-US" altLang="zh-CN" sz="2400" dirty="0">
                <a:solidFill>
                  <a:prstClr val="black"/>
                </a:solidFill>
                <a:latin typeface="+mj-ea"/>
              </a:rPr>
              <a:t>-</a:t>
            </a:r>
            <a:r>
              <a:rPr lang="zh-CN" altLang="en-US" sz="2400" dirty="0">
                <a:solidFill>
                  <a:prstClr val="black"/>
                </a:solidFill>
                <a:latin typeface="+mj-ea"/>
              </a:rPr>
              <a:t>投产</a:t>
            </a:r>
            <a:r>
              <a:rPr lang="zh-CN" altLang="en-US" sz="2400" dirty="0" smtClean="0">
                <a:solidFill>
                  <a:prstClr val="black"/>
                </a:solidFill>
                <a:latin typeface="+mj-ea"/>
              </a:rPr>
              <a:t>分析</a:t>
            </a:r>
            <a:endParaRPr lang="en-US" altLang="zh-CN" sz="2400" dirty="0">
              <a:solidFill>
                <a:prstClr val="black"/>
              </a:solidFill>
              <a:latin typeface="+mj-ea"/>
            </a:endParaRPr>
          </a:p>
        </p:txBody>
      </p:sp>
      <p:pic>
        <p:nvPicPr>
          <p:cNvPr id="14" name="图片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图表 14"/>
          <p:cNvGraphicFramePr/>
          <p:nvPr/>
        </p:nvGraphicFramePr>
        <p:xfrm>
          <a:off x="6877627" y="986002"/>
          <a:ext cx="5605048" cy="3874804"/>
        </p:xfrm>
        <a:graphic>
          <a:graphicData uri="http://schemas.openxmlformats.org/drawingml/2006/chart">
            <c:chart xmlns:c="http://schemas.openxmlformats.org/drawingml/2006/chart" xmlns:r="http://schemas.openxmlformats.org/officeDocument/2006/relationships" r:id="rId1"/>
          </a:graphicData>
        </a:graphic>
      </p:graphicFrame>
      <p:sp>
        <p:nvSpPr>
          <p:cNvPr id="10" name="文本框 9"/>
          <p:cNvSpPr txBox="1"/>
          <p:nvPr/>
        </p:nvSpPr>
        <p:spPr>
          <a:xfrm>
            <a:off x="1084225" y="2164668"/>
            <a:ext cx="1018903" cy="368082"/>
          </a:xfrm>
          <a:prstGeom prst="downArrow">
            <a:avLst/>
          </a:prstGeom>
          <a:solidFill>
            <a:schemeClr val="accent1">
              <a:lumMod val="60000"/>
              <a:lumOff val="40000"/>
            </a:schemeClr>
          </a:solidFill>
          <a:ln>
            <a:noFill/>
          </a:ln>
        </p:spPr>
        <p:txBody>
          <a:bodyPr wrap="square" rtlCol="0">
            <a:spAutoFit/>
          </a:bodyPr>
          <a:lstStyle/>
          <a:p>
            <a:r>
              <a:rPr lang="en-US" altLang="zh-CN" sz="1200" dirty="0" smtClean="0">
                <a:latin typeface="+mj-ea"/>
                <a:ea typeface="+mj-ea"/>
              </a:rPr>
              <a:t>78%</a:t>
            </a:r>
            <a:endParaRPr lang="zh-CN" altLang="en-US" sz="1200" dirty="0">
              <a:latin typeface="+mj-ea"/>
              <a:ea typeface="+mj-ea"/>
            </a:endParaRPr>
          </a:p>
        </p:txBody>
      </p:sp>
      <p:sp>
        <p:nvSpPr>
          <p:cNvPr id="28" name="文本框 27"/>
          <p:cNvSpPr txBox="1"/>
          <p:nvPr/>
        </p:nvSpPr>
        <p:spPr>
          <a:xfrm>
            <a:off x="1084224" y="3081896"/>
            <a:ext cx="1018903" cy="368082"/>
          </a:xfrm>
          <a:prstGeom prst="downArrow">
            <a:avLst/>
          </a:prstGeom>
          <a:solidFill>
            <a:schemeClr val="accent1">
              <a:lumMod val="60000"/>
              <a:lumOff val="40000"/>
            </a:schemeClr>
          </a:solidFill>
          <a:ln>
            <a:noFill/>
          </a:ln>
        </p:spPr>
        <p:txBody>
          <a:bodyPr wrap="square" rtlCol="0">
            <a:spAutoFit/>
          </a:bodyPr>
          <a:lstStyle/>
          <a:p>
            <a:r>
              <a:rPr lang="en-US" altLang="zh-CN" sz="1200" dirty="0" smtClean="0">
                <a:latin typeface="+mj-ea"/>
                <a:ea typeface="+mj-ea"/>
              </a:rPr>
              <a:t>36%</a:t>
            </a:r>
            <a:endParaRPr lang="zh-CN" altLang="en-US" sz="1200" dirty="0">
              <a:latin typeface="+mj-ea"/>
              <a:ea typeface="+mj-ea"/>
            </a:endParaRPr>
          </a:p>
        </p:txBody>
      </p:sp>
      <p:sp>
        <p:nvSpPr>
          <p:cNvPr id="29" name="文本框 28"/>
          <p:cNvSpPr txBox="1"/>
          <p:nvPr/>
        </p:nvSpPr>
        <p:spPr>
          <a:xfrm>
            <a:off x="1084224" y="3915652"/>
            <a:ext cx="1018903" cy="368082"/>
          </a:xfrm>
          <a:prstGeom prst="downArrow">
            <a:avLst/>
          </a:prstGeom>
          <a:solidFill>
            <a:schemeClr val="accent1">
              <a:lumMod val="60000"/>
              <a:lumOff val="40000"/>
            </a:schemeClr>
          </a:solidFill>
          <a:ln>
            <a:noFill/>
          </a:ln>
        </p:spPr>
        <p:txBody>
          <a:bodyPr wrap="square" rtlCol="0">
            <a:spAutoFit/>
          </a:bodyPr>
          <a:lstStyle/>
          <a:p>
            <a:r>
              <a:rPr lang="en-US" altLang="zh-CN" sz="1200" dirty="0" smtClean="0">
                <a:latin typeface="+mj-ea"/>
                <a:ea typeface="+mj-ea"/>
              </a:rPr>
              <a:t>87%</a:t>
            </a:r>
            <a:endParaRPr lang="zh-CN" altLang="en-US" sz="1200" dirty="0">
              <a:latin typeface="+mj-ea"/>
              <a:ea typeface="+mj-ea"/>
            </a:endParaRPr>
          </a:p>
        </p:txBody>
      </p:sp>
      <p:graphicFrame>
        <p:nvGraphicFramePr>
          <p:cNvPr id="14" name="图表 13"/>
          <p:cNvGraphicFramePr/>
          <p:nvPr/>
        </p:nvGraphicFramePr>
        <p:xfrm>
          <a:off x="662145" y="1054984"/>
          <a:ext cx="5502727" cy="3873441"/>
        </p:xfrm>
        <a:graphic>
          <a:graphicData uri="http://schemas.openxmlformats.org/drawingml/2006/chart">
            <c:chart xmlns:c="http://schemas.openxmlformats.org/drawingml/2006/chart" xmlns:r="http://schemas.openxmlformats.org/officeDocument/2006/relationships" r:id="rId2"/>
          </a:graphicData>
        </a:graphic>
      </p:graphicFrame>
      <p:sp>
        <p:nvSpPr>
          <p:cNvPr id="16" name="文本框 15"/>
          <p:cNvSpPr txBox="1"/>
          <p:nvPr/>
        </p:nvSpPr>
        <p:spPr>
          <a:xfrm>
            <a:off x="6877629" y="2164668"/>
            <a:ext cx="1018903" cy="368082"/>
          </a:xfrm>
          <a:prstGeom prst="downArrow">
            <a:avLst/>
          </a:prstGeom>
          <a:solidFill>
            <a:schemeClr val="accent1">
              <a:lumMod val="60000"/>
              <a:lumOff val="40000"/>
            </a:schemeClr>
          </a:solidFill>
          <a:ln>
            <a:noFill/>
          </a:ln>
        </p:spPr>
        <p:txBody>
          <a:bodyPr wrap="square" rtlCol="0">
            <a:spAutoFit/>
          </a:bodyPr>
          <a:lstStyle/>
          <a:p>
            <a:r>
              <a:rPr lang="en-US" altLang="zh-CN" sz="1200" dirty="0" smtClean="0">
                <a:latin typeface="+mj-ea"/>
                <a:ea typeface="+mj-ea"/>
              </a:rPr>
              <a:t>10%</a:t>
            </a:r>
            <a:endParaRPr lang="zh-CN" altLang="en-US" sz="1200" dirty="0">
              <a:latin typeface="+mj-ea"/>
              <a:ea typeface="+mj-ea"/>
            </a:endParaRPr>
          </a:p>
        </p:txBody>
      </p:sp>
      <p:sp>
        <p:nvSpPr>
          <p:cNvPr id="17" name="文本框 16"/>
          <p:cNvSpPr txBox="1"/>
          <p:nvPr/>
        </p:nvSpPr>
        <p:spPr>
          <a:xfrm>
            <a:off x="6877628" y="2991705"/>
            <a:ext cx="1018903" cy="368082"/>
          </a:xfrm>
          <a:prstGeom prst="downArrow">
            <a:avLst/>
          </a:prstGeom>
          <a:solidFill>
            <a:schemeClr val="accent1">
              <a:lumMod val="60000"/>
              <a:lumOff val="40000"/>
            </a:schemeClr>
          </a:solidFill>
          <a:ln>
            <a:noFill/>
          </a:ln>
        </p:spPr>
        <p:txBody>
          <a:bodyPr wrap="square" rtlCol="0">
            <a:spAutoFit/>
          </a:bodyPr>
          <a:lstStyle/>
          <a:p>
            <a:r>
              <a:rPr lang="en-US" altLang="zh-CN" sz="1200" dirty="0" smtClean="0">
                <a:latin typeface="+mj-ea"/>
                <a:ea typeface="+mj-ea"/>
              </a:rPr>
              <a:t>61%</a:t>
            </a:r>
            <a:endParaRPr lang="zh-CN" altLang="en-US" sz="1200" dirty="0">
              <a:latin typeface="+mj-ea"/>
              <a:ea typeface="+mj-ea"/>
            </a:endParaRPr>
          </a:p>
        </p:txBody>
      </p:sp>
      <p:sp>
        <p:nvSpPr>
          <p:cNvPr id="18" name="文本框 17"/>
          <p:cNvSpPr txBox="1"/>
          <p:nvPr/>
        </p:nvSpPr>
        <p:spPr>
          <a:xfrm>
            <a:off x="6877627" y="3818742"/>
            <a:ext cx="1018903" cy="368082"/>
          </a:xfrm>
          <a:prstGeom prst="downArrow">
            <a:avLst/>
          </a:prstGeom>
          <a:solidFill>
            <a:schemeClr val="accent1">
              <a:lumMod val="60000"/>
              <a:lumOff val="40000"/>
            </a:schemeClr>
          </a:solidFill>
          <a:ln>
            <a:noFill/>
          </a:ln>
        </p:spPr>
        <p:txBody>
          <a:bodyPr wrap="square" rtlCol="0">
            <a:spAutoFit/>
          </a:bodyPr>
          <a:lstStyle/>
          <a:p>
            <a:r>
              <a:rPr lang="en-US" altLang="zh-CN" sz="1200" dirty="0" smtClean="0">
                <a:latin typeface="+mj-ea"/>
                <a:ea typeface="+mj-ea"/>
              </a:rPr>
              <a:t>31%</a:t>
            </a:r>
            <a:endParaRPr lang="zh-CN" altLang="en-US" sz="1200" dirty="0">
              <a:latin typeface="+mj-ea"/>
              <a:ea typeface="+mj-ea"/>
            </a:endParaRPr>
          </a:p>
        </p:txBody>
      </p:sp>
      <p:sp>
        <p:nvSpPr>
          <p:cNvPr id="3" name="文本框 2"/>
          <p:cNvSpPr txBox="1"/>
          <p:nvPr/>
        </p:nvSpPr>
        <p:spPr>
          <a:xfrm>
            <a:off x="1047873" y="4716997"/>
            <a:ext cx="1188727" cy="307777"/>
          </a:xfrm>
          <a:prstGeom prst="rect">
            <a:avLst/>
          </a:prstGeom>
          <a:noFill/>
        </p:spPr>
        <p:txBody>
          <a:bodyPr wrap="square" rtlCol="0">
            <a:spAutoFit/>
          </a:bodyPr>
          <a:lstStyle/>
          <a:p>
            <a:r>
              <a:rPr lang="zh-CN" altLang="en-US" sz="1400" dirty="0" smtClean="0">
                <a:latin typeface="+mj-ea"/>
                <a:ea typeface="+mj-ea"/>
              </a:rPr>
              <a:t>上线时间</a:t>
            </a:r>
            <a:endParaRPr lang="zh-CN" altLang="en-US" sz="1400" dirty="0">
              <a:latin typeface="+mj-ea"/>
              <a:ea typeface="+mj-ea"/>
            </a:endParaRPr>
          </a:p>
        </p:txBody>
      </p:sp>
      <p:sp>
        <p:nvSpPr>
          <p:cNvPr id="13" name="文本框 12"/>
          <p:cNvSpPr txBox="1"/>
          <p:nvPr/>
        </p:nvSpPr>
        <p:spPr>
          <a:xfrm>
            <a:off x="3462055" y="4716997"/>
            <a:ext cx="1533254" cy="307777"/>
          </a:xfrm>
          <a:prstGeom prst="rect">
            <a:avLst/>
          </a:prstGeom>
          <a:noFill/>
        </p:spPr>
        <p:txBody>
          <a:bodyPr wrap="square" rtlCol="0">
            <a:spAutoFit/>
          </a:bodyPr>
          <a:lstStyle/>
          <a:p>
            <a:r>
              <a:rPr lang="en-US" altLang="zh-CN" sz="1400" dirty="0" smtClean="0">
                <a:latin typeface="+mj-ea"/>
                <a:ea typeface="+mj-ea"/>
              </a:rPr>
              <a:t>7.12-8.12</a:t>
            </a:r>
            <a:endParaRPr lang="zh-CN" altLang="en-US" sz="1400" dirty="0">
              <a:latin typeface="+mj-ea"/>
              <a:ea typeface="+mj-ea"/>
            </a:endParaRPr>
          </a:p>
        </p:txBody>
      </p:sp>
      <p:sp>
        <p:nvSpPr>
          <p:cNvPr id="19" name="文本框 18"/>
          <p:cNvSpPr txBox="1"/>
          <p:nvPr/>
        </p:nvSpPr>
        <p:spPr>
          <a:xfrm>
            <a:off x="6938320" y="4632844"/>
            <a:ext cx="1188727" cy="307777"/>
          </a:xfrm>
          <a:prstGeom prst="rect">
            <a:avLst/>
          </a:prstGeom>
          <a:noFill/>
        </p:spPr>
        <p:txBody>
          <a:bodyPr wrap="square" rtlCol="0">
            <a:spAutoFit/>
          </a:bodyPr>
          <a:lstStyle/>
          <a:p>
            <a:r>
              <a:rPr lang="zh-CN" altLang="en-US" sz="1400" dirty="0" smtClean="0">
                <a:latin typeface="+mj-ea"/>
                <a:ea typeface="+mj-ea"/>
              </a:rPr>
              <a:t>上线时间</a:t>
            </a:r>
            <a:endParaRPr lang="zh-CN" altLang="en-US" sz="1400" dirty="0">
              <a:latin typeface="+mj-ea"/>
              <a:ea typeface="+mj-ea"/>
            </a:endParaRPr>
          </a:p>
        </p:txBody>
      </p:sp>
      <p:sp>
        <p:nvSpPr>
          <p:cNvPr id="20" name="文本框 19"/>
          <p:cNvSpPr txBox="1"/>
          <p:nvPr/>
        </p:nvSpPr>
        <p:spPr>
          <a:xfrm>
            <a:off x="9188129" y="4632844"/>
            <a:ext cx="1801326" cy="307777"/>
          </a:xfrm>
          <a:prstGeom prst="rect">
            <a:avLst/>
          </a:prstGeom>
          <a:noFill/>
        </p:spPr>
        <p:txBody>
          <a:bodyPr wrap="square" rtlCol="0">
            <a:spAutoFit/>
          </a:bodyPr>
          <a:lstStyle/>
          <a:p>
            <a:r>
              <a:rPr lang="en-US" altLang="zh-CN" sz="1400" dirty="0" smtClean="0">
                <a:latin typeface="+mj-ea"/>
                <a:ea typeface="+mj-ea"/>
              </a:rPr>
              <a:t>7.29-8.23</a:t>
            </a:r>
            <a:endParaRPr lang="zh-CN" altLang="en-US" sz="1400" dirty="0">
              <a:latin typeface="+mj-ea"/>
              <a:ea typeface="+mj-ea"/>
            </a:endParaRPr>
          </a:p>
        </p:txBody>
      </p:sp>
      <p:sp>
        <p:nvSpPr>
          <p:cNvPr id="21" name="文本框 20"/>
          <p:cNvSpPr txBox="1"/>
          <p:nvPr/>
        </p:nvSpPr>
        <p:spPr>
          <a:xfrm>
            <a:off x="914400" y="5059885"/>
            <a:ext cx="1672046" cy="307777"/>
          </a:xfrm>
          <a:prstGeom prst="rect">
            <a:avLst/>
          </a:prstGeom>
          <a:noFill/>
        </p:spPr>
        <p:txBody>
          <a:bodyPr wrap="square" rtlCol="0">
            <a:spAutoFit/>
          </a:bodyPr>
          <a:lstStyle/>
          <a:p>
            <a:r>
              <a:rPr lang="zh-CN" altLang="en-US" sz="1400" dirty="0" smtClean="0">
                <a:latin typeface="+mj-ea"/>
                <a:ea typeface="+mj-ea"/>
              </a:rPr>
              <a:t>门票预约人数</a:t>
            </a:r>
            <a:endParaRPr lang="zh-CN" altLang="en-US" sz="1400" dirty="0">
              <a:latin typeface="+mj-ea"/>
              <a:ea typeface="+mj-ea"/>
            </a:endParaRPr>
          </a:p>
        </p:txBody>
      </p:sp>
      <p:sp>
        <p:nvSpPr>
          <p:cNvPr id="22" name="文本框 21"/>
          <p:cNvSpPr txBox="1"/>
          <p:nvPr/>
        </p:nvSpPr>
        <p:spPr>
          <a:xfrm>
            <a:off x="3462055" y="5059885"/>
            <a:ext cx="1188727" cy="307777"/>
          </a:xfrm>
          <a:prstGeom prst="rect">
            <a:avLst/>
          </a:prstGeom>
          <a:noFill/>
        </p:spPr>
        <p:txBody>
          <a:bodyPr wrap="square" rtlCol="0">
            <a:spAutoFit/>
          </a:bodyPr>
          <a:lstStyle/>
          <a:p>
            <a:r>
              <a:rPr lang="en-US" altLang="zh-CN" sz="1400" dirty="0" smtClean="0">
                <a:latin typeface="+mj-ea"/>
                <a:ea typeface="+mj-ea"/>
              </a:rPr>
              <a:t>13785</a:t>
            </a:r>
            <a:endParaRPr lang="zh-CN" altLang="en-US" sz="1400" dirty="0">
              <a:latin typeface="+mj-ea"/>
              <a:ea typeface="+mj-ea"/>
            </a:endParaRPr>
          </a:p>
        </p:txBody>
      </p:sp>
      <p:sp>
        <p:nvSpPr>
          <p:cNvPr id="23" name="文本框 22"/>
          <p:cNvSpPr txBox="1"/>
          <p:nvPr/>
        </p:nvSpPr>
        <p:spPr>
          <a:xfrm>
            <a:off x="6938320" y="4994570"/>
            <a:ext cx="1188727" cy="307777"/>
          </a:xfrm>
          <a:prstGeom prst="rect">
            <a:avLst/>
          </a:prstGeom>
          <a:noFill/>
        </p:spPr>
        <p:txBody>
          <a:bodyPr wrap="square" rtlCol="0">
            <a:spAutoFit/>
          </a:bodyPr>
          <a:lstStyle/>
          <a:p>
            <a:r>
              <a:rPr lang="zh-CN" altLang="en-US" sz="1400" dirty="0" smtClean="0">
                <a:latin typeface="+mj-ea"/>
                <a:ea typeface="+mj-ea"/>
              </a:rPr>
              <a:t>注册用户</a:t>
            </a:r>
            <a:endParaRPr lang="zh-CN" altLang="en-US" sz="1400" dirty="0">
              <a:latin typeface="+mj-ea"/>
              <a:ea typeface="+mj-ea"/>
            </a:endParaRPr>
          </a:p>
        </p:txBody>
      </p:sp>
      <p:sp>
        <p:nvSpPr>
          <p:cNvPr id="24" name="文本框 23"/>
          <p:cNvSpPr txBox="1"/>
          <p:nvPr/>
        </p:nvSpPr>
        <p:spPr>
          <a:xfrm>
            <a:off x="9418495" y="4981507"/>
            <a:ext cx="1188727" cy="307777"/>
          </a:xfrm>
          <a:prstGeom prst="rect">
            <a:avLst/>
          </a:prstGeom>
          <a:noFill/>
        </p:spPr>
        <p:txBody>
          <a:bodyPr wrap="square" rtlCol="0">
            <a:spAutoFit/>
          </a:bodyPr>
          <a:lstStyle/>
          <a:p>
            <a:r>
              <a:rPr lang="en-US" altLang="zh-CN" sz="1400" dirty="0" smtClean="0">
                <a:latin typeface="+mj-ea"/>
                <a:ea typeface="+mj-ea"/>
              </a:rPr>
              <a:t>1128</a:t>
            </a:r>
            <a:endParaRPr lang="zh-CN" altLang="en-US" sz="1400" dirty="0">
              <a:latin typeface="+mj-ea"/>
              <a:ea typeface="+mj-ea"/>
            </a:endParaRPr>
          </a:p>
        </p:txBody>
      </p:sp>
      <p:sp>
        <p:nvSpPr>
          <p:cNvPr id="4" name="矩形 3"/>
          <p:cNvSpPr/>
          <p:nvPr/>
        </p:nvSpPr>
        <p:spPr>
          <a:xfrm>
            <a:off x="431074" y="1079919"/>
            <a:ext cx="5656217" cy="4621535"/>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25" name="矩形 24"/>
          <p:cNvSpPr/>
          <p:nvPr/>
        </p:nvSpPr>
        <p:spPr>
          <a:xfrm>
            <a:off x="6242454" y="1079919"/>
            <a:ext cx="5656217" cy="4642655"/>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26" name="文本框 25"/>
          <p:cNvSpPr txBox="1"/>
          <p:nvPr/>
        </p:nvSpPr>
        <p:spPr>
          <a:xfrm>
            <a:off x="1084224" y="5396864"/>
            <a:ext cx="1672046" cy="307777"/>
          </a:xfrm>
          <a:prstGeom prst="rect">
            <a:avLst/>
          </a:prstGeom>
          <a:noFill/>
        </p:spPr>
        <p:txBody>
          <a:bodyPr wrap="square" rtlCol="0">
            <a:spAutoFit/>
          </a:bodyPr>
          <a:lstStyle/>
          <a:p>
            <a:r>
              <a:rPr lang="zh-CN" altLang="en-US" sz="1400" dirty="0" smtClean="0">
                <a:latin typeface="+mj-ea"/>
                <a:ea typeface="+mj-ea"/>
              </a:rPr>
              <a:t>人均成本</a:t>
            </a:r>
            <a:endParaRPr lang="zh-CN" altLang="en-US" sz="1400" dirty="0">
              <a:latin typeface="+mj-ea"/>
              <a:ea typeface="+mj-ea"/>
            </a:endParaRPr>
          </a:p>
        </p:txBody>
      </p:sp>
      <p:sp>
        <p:nvSpPr>
          <p:cNvPr id="30" name="文本框 29"/>
          <p:cNvSpPr txBox="1"/>
          <p:nvPr/>
        </p:nvSpPr>
        <p:spPr>
          <a:xfrm>
            <a:off x="3462054" y="5375677"/>
            <a:ext cx="1188727" cy="307777"/>
          </a:xfrm>
          <a:prstGeom prst="rect">
            <a:avLst/>
          </a:prstGeom>
          <a:noFill/>
        </p:spPr>
        <p:txBody>
          <a:bodyPr wrap="square" rtlCol="0">
            <a:spAutoFit/>
          </a:bodyPr>
          <a:lstStyle/>
          <a:p>
            <a:r>
              <a:rPr lang="en-US" altLang="zh-CN" sz="1400" dirty="0" smtClean="0">
                <a:latin typeface="+mj-ea"/>
                <a:ea typeface="+mj-ea"/>
              </a:rPr>
              <a:t>0.64</a:t>
            </a:r>
            <a:r>
              <a:rPr lang="zh-CN" altLang="en-US" sz="1400" dirty="0" smtClean="0">
                <a:latin typeface="+mj-ea"/>
                <a:ea typeface="+mj-ea"/>
              </a:rPr>
              <a:t>元</a:t>
            </a:r>
            <a:endParaRPr lang="zh-CN" altLang="en-US" sz="1400" dirty="0">
              <a:latin typeface="+mj-ea"/>
              <a:ea typeface="+mj-ea"/>
            </a:endParaRPr>
          </a:p>
        </p:txBody>
      </p:sp>
      <p:sp>
        <p:nvSpPr>
          <p:cNvPr id="31" name="文本框 30"/>
          <p:cNvSpPr txBox="1"/>
          <p:nvPr/>
        </p:nvSpPr>
        <p:spPr>
          <a:xfrm>
            <a:off x="6938320" y="5342310"/>
            <a:ext cx="1188727" cy="307777"/>
          </a:xfrm>
          <a:prstGeom prst="rect">
            <a:avLst/>
          </a:prstGeom>
          <a:noFill/>
        </p:spPr>
        <p:txBody>
          <a:bodyPr wrap="square" rtlCol="0">
            <a:spAutoFit/>
          </a:bodyPr>
          <a:lstStyle/>
          <a:p>
            <a:r>
              <a:rPr lang="zh-CN" altLang="en-US" sz="1400" dirty="0" smtClean="0">
                <a:latin typeface="+mj-ea"/>
                <a:ea typeface="+mj-ea"/>
              </a:rPr>
              <a:t>人均成本</a:t>
            </a:r>
            <a:endParaRPr lang="zh-CN" altLang="en-US" sz="1400" dirty="0">
              <a:latin typeface="+mj-ea"/>
              <a:ea typeface="+mj-ea"/>
            </a:endParaRPr>
          </a:p>
        </p:txBody>
      </p:sp>
      <p:sp>
        <p:nvSpPr>
          <p:cNvPr id="32" name="文本框 31"/>
          <p:cNvSpPr txBox="1"/>
          <p:nvPr/>
        </p:nvSpPr>
        <p:spPr>
          <a:xfrm>
            <a:off x="9418495" y="5342310"/>
            <a:ext cx="1188727" cy="307777"/>
          </a:xfrm>
          <a:prstGeom prst="rect">
            <a:avLst/>
          </a:prstGeom>
          <a:noFill/>
        </p:spPr>
        <p:txBody>
          <a:bodyPr wrap="square" rtlCol="0">
            <a:spAutoFit/>
          </a:bodyPr>
          <a:lstStyle/>
          <a:p>
            <a:r>
              <a:rPr lang="en-US" altLang="zh-CN" sz="1400" dirty="0" smtClean="0">
                <a:latin typeface="+mj-ea"/>
                <a:ea typeface="+mj-ea"/>
              </a:rPr>
              <a:t>1.3</a:t>
            </a:r>
            <a:r>
              <a:rPr lang="zh-CN" altLang="en-US" sz="1400" dirty="0" smtClean="0">
                <a:latin typeface="+mj-ea"/>
                <a:ea typeface="+mj-ea"/>
              </a:rPr>
              <a:t>元</a:t>
            </a:r>
            <a:endParaRPr lang="zh-CN" altLang="en-US" sz="1400" dirty="0">
              <a:latin typeface="+mj-ea"/>
              <a:ea typeface="+mj-ea"/>
            </a:endParaRPr>
          </a:p>
        </p:txBody>
      </p:sp>
      <p:sp>
        <p:nvSpPr>
          <p:cNvPr id="33"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mj-ea"/>
              </a:rPr>
              <a:t>内诊</a:t>
            </a:r>
            <a:r>
              <a:rPr lang="en-US" altLang="zh-CN" sz="2400" dirty="0">
                <a:solidFill>
                  <a:prstClr val="black"/>
                </a:solidFill>
                <a:latin typeface="+mj-ea"/>
              </a:rPr>
              <a:t>-</a:t>
            </a:r>
            <a:r>
              <a:rPr lang="zh-CN" altLang="en-US" sz="2400" dirty="0">
                <a:solidFill>
                  <a:prstClr val="black"/>
                </a:solidFill>
                <a:latin typeface="+mj-ea"/>
              </a:rPr>
              <a:t>投产</a:t>
            </a:r>
            <a:r>
              <a:rPr lang="zh-CN" altLang="en-US" sz="2400" dirty="0" smtClean="0">
                <a:solidFill>
                  <a:prstClr val="black"/>
                </a:solidFill>
                <a:latin typeface="+mj-ea"/>
              </a:rPr>
              <a:t>分析</a:t>
            </a:r>
            <a:endParaRPr lang="en-US" altLang="zh-CN" sz="2400" dirty="0">
              <a:solidFill>
                <a:prstClr val="black"/>
              </a:solidFill>
              <a:latin typeface="+mj-ea"/>
            </a:endParaRPr>
          </a:p>
        </p:txBody>
      </p:sp>
      <p:pic>
        <p:nvPicPr>
          <p:cNvPr id="34" name="图片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对象 5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295" name="think-cell Slide" r:id="rId2" imgW="12700" imgH="12700" progId="TCLayout.ActiveDocument.1">
                  <p:embed/>
                </p:oleObj>
              </mc:Choice>
              <mc:Fallback>
                <p:oleObj name="think-cell Slide" r:id="rId2" imgW="12700" imgH="12700" progId="TCLayout.ActiveDocument.1">
                  <p:embed/>
                  <p:pic>
                    <p:nvPicPr>
                      <p:cNvPr id="0" name="对象 52"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 name="五边形 3"/>
          <p:cNvSpPr/>
          <p:nvPr/>
        </p:nvSpPr>
        <p:spPr>
          <a:xfrm rot="5400000">
            <a:off x="1578627" y="151562"/>
            <a:ext cx="581030" cy="2967317"/>
          </a:xfrm>
          <a:prstGeom prst="homePlate">
            <a:avLst>
              <a:gd name="adj" fmla="val 28125"/>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 name="矩形 4"/>
          <p:cNvSpPr/>
          <p:nvPr/>
        </p:nvSpPr>
        <p:spPr>
          <a:xfrm>
            <a:off x="499022" y="1440932"/>
            <a:ext cx="2791026" cy="3177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en-US" altLang="zh-CN" sz="1400" b="1" dirty="0" smtClean="0">
                <a:solidFill>
                  <a:schemeClr val="bg1"/>
                </a:solidFill>
              </a:rPr>
              <a:t>XXXXXXXXXXXXXXXX</a:t>
            </a:r>
            <a:endParaRPr lang="zh-CN" altLang="en-US" sz="1400" b="1" dirty="0" smtClean="0">
              <a:solidFill>
                <a:schemeClr val="bg1"/>
              </a:solidFill>
            </a:endParaRPr>
          </a:p>
        </p:txBody>
      </p:sp>
      <p:sp>
        <p:nvSpPr>
          <p:cNvPr id="6" name="燕尾形 5"/>
          <p:cNvSpPr/>
          <p:nvPr/>
        </p:nvSpPr>
        <p:spPr>
          <a:xfrm rot="5400000">
            <a:off x="1565010" y="629197"/>
            <a:ext cx="608265" cy="2967317"/>
          </a:xfrm>
          <a:prstGeom prst="chevron">
            <a:avLst>
              <a:gd name="adj" fmla="val 26866"/>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7" name="燕尾形 6"/>
          <p:cNvSpPr/>
          <p:nvPr/>
        </p:nvSpPr>
        <p:spPr>
          <a:xfrm rot="5400000">
            <a:off x="1565010" y="1120450"/>
            <a:ext cx="608265" cy="2967317"/>
          </a:xfrm>
          <a:prstGeom prst="chevron">
            <a:avLst>
              <a:gd name="adj" fmla="val 26866"/>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8" name="燕尾形 7"/>
          <p:cNvSpPr/>
          <p:nvPr/>
        </p:nvSpPr>
        <p:spPr>
          <a:xfrm rot="5400000">
            <a:off x="1565010" y="1611703"/>
            <a:ext cx="608265" cy="2967317"/>
          </a:xfrm>
          <a:prstGeom prst="chevron">
            <a:avLst>
              <a:gd name="adj" fmla="val 26866"/>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10" name="燕尾形 9"/>
          <p:cNvSpPr/>
          <p:nvPr/>
        </p:nvSpPr>
        <p:spPr>
          <a:xfrm rot="5400000">
            <a:off x="1565010" y="2102956"/>
            <a:ext cx="608265" cy="2967317"/>
          </a:xfrm>
          <a:prstGeom prst="chevron">
            <a:avLst>
              <a:gd name="adj" fmla="val 26866"/>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11" name="燕尾形 10"/>
          <p:cNvSpPr/>
          <p:nvPr/>
        </p:nvSpPr>
        <p:spPr>
          <a:xfrm rot="5400000">
            <a:off x="1565010" y="2594209"/>
            <a:ext cx="608265" cy="2967317"/>
          </a:xfrm>
          <a:prstGeom prst="chevron">
            <a:avLst>
              <a:gd name="adj" fmla="val 26866"/>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12" name="燕尾形 11"/>
          <p:cNvSpPr/>
          <p:nvPr/>
        </p:nvSpPr>
        <p:spPr>
          <a:xfrm rot="5400000">
            <a:off x="1565010" y="3085462"/>
            <a:ext cx="608265" cy="2967317"/>
          </a:xfrm>
          <a:prstGeom prst="chevron">
            <a:avLst>
              <a:gd name="adj" fmla="val 26866"/>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13" name="燕尾形 12"/>
          <p:cNvSpPr/>
          <p:nvPr/>
        </p:nvSpPr>
        <p:spPr>
          <a:xfrm rot="5400000">
            <a:off x="1565010" y="3576716"/>
            <a:ext cx="608265" cy="2967317"/>
          </a:xfrm>
          <a:prstGeom prst="chevron">
            <a:avLst>
              <a:gd name="adj" fmla="val 26866"/>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14" name="燕尾形 13"/>
          <p:cNvSpPr/>
          <p:nvPr/>
        </p:nvSpPr>
        <p:spPr>
          <a:xfrm rot="5400000">
            <a:off x="1565010" y="4067969"/>
            <a:ext cx="608265" cy="2967317"/>
          </a:xfrm>
          <a:prstGeom prst="chevron">
            <a:avLst>
              <a:gd name="adj" fmla="val 26866"/>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15" name="燕尾形 14"/>
          <p:cNvSpPr/>
          <p:nvPr/>
        </p:nvSpPr>
        <p:spPr>
          <a:xfrm rot="5400000">
            <a:off x="1565010" y="4559221"/>
            <a:ext cx="608265" cy="2967317"/>
          </a:xfrm>
          <a:prstGeom prst="chevron">
            <a:avLst>
              <a:gd name="adj" fmla="val 26866"/>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17" name="矩形 16"/>
          <p:cNvSpPr/>
          <p:nvPr/>
        </p:nvSpPr>
        <p:spPr>
          <a:xfrm>
            <a:off x="499022" y="1972536"/>
            <a:ext cx="2791026" cy="3177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rPr>
              <a:t>XXXXXXXXXXXXXXXX</a:t>
            </a:r>
            <a:endParaRPr lang="zh-CN" altLang="en-US" sz="1400" b="1" dirty="0">
              <a:solidFill>
                <a:schemeClr val="bg1"/>
              </a:solidFill>
            </a:endParaRPr>
          </a:p>
        </p:txBody>
      </p:sp>
      <p:sp>
        <p:nvSpPr>
          <p:cNvPr id="18" name="矩形 17"/>
          <p:cNvSpPr/>
          <p:nvPr/>
        </p:nvSpPr>
        <p:spPr>
          <a:xfrm>
            <a:off x="499022" y="2460566"/>
            <a:ext cx="2791026" cy="3177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rPr>
              <a:t>XXXXXXXXXXXXXXXX</a:t>
            </a:r>
            <a:endParaRPr lang="zh-CN" altLang="en-US" sz="1400" b="1" dirty="0">
              <a:solidFill>
                <a:schemeClr val="bg1"/>
              </a:solidFill>
            </a:endParaRPr>
          </a:p>
        </p:txBody>
      </p:sp>
      <p:sp>
        <p:nvSpPr>
          <p:cNvPr id="19" name="矩形 18"/>
          <p:cNvSpPr/>
          <p:nvPr/>
        </p:nvSpPr>
        <p:spPr>
          <a:xfrm>
            <a:off x="499022" y="2957311"/>
            <a:ext cx="2791026" cy="3177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rPr>
              <a:t>XXXXXXXXXXXXXXXX</a:t>
            </a:r>
            <a:endParaRPr lang="zh-CN" altLang="en-US" sz="1400" b="1" dirty="0">
              <a:solidFill>
                <a:schemeClr val="bg1"/>
              </a:solidFill>
            </a:endParaRPr>
          </a:p>
        </p:txBody>
      </p:sp>
      <p:sp>
        <p:nvSpPr>
          <p:cNvPr id="20" name="矩形 19"/>
          <p:cNvSpPr/>
          <p:nvPr/>
        </p:nvSpPr>
        <p:spPr>
          <a:xfrm>
            <a:off x="499022" y="3454055"/>
            <a:ext cx="2791026" cy="3177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rPr>
              <a:t>XXXXXXXXXXXXXXXX</a:t>
            </a:r>
            <a:endParaRPr lang="zh-CN" altLang="en-US" sz="1400" b="1" dirty="0">
              <a:solidFill>
                <a:schemeClr val="bg1"/>
              </a:solidFill>
            </a:endParaRPr>
          </a:p>
        </p:txBody>
      </p:sp>
      <p:sp>
        <p:nvSpPr>
          <p:cNvPr id="21" name="矩形 20"/>
          <p:cNvSpPr/>
          <p:nvPr/>
        </p:nvSpPr>
        <p:spPr>
          <a:xfrm>
            <a:off x="499022" y="3942086"/>
            <a:ext cx="2791026" cy="3177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rPr>
              <a:t>XXXXXXXXXXXXXXXX</a:t>
            </a:r>
            <a:endParaRPr lang="zh-CN" altLang="en-US" sz="1400" b="1" dirty="0">
              <a:solidFill>
                <a:schemeClr val="bg1"/>
              </a:solidFill>
            </a:endParaRPr>
          </a:p>
        </p:txBody>
      </p:sp>
      <p:sp>
        <p:nvSpPr>
          <p:cNvPr id="22" name="矩形 21"/>
          <p:cNvSpPr/>
          <p:nvPr/>
        </p:nvSpPr>
        <p:spPr>
          <a:xfrm>
            <a:off x="499022" y="4456261"/>
            <a:ext cx="2791026" cy="3177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rPr>
              <a:t>XXXXXXXXXXXXXXXX</a:t>
            </a:r>
            <a:endParaRPr lang="zh-CN" altLang="en-US" sz="1400" b="1" dirty="0">
              <a:solidFill>
                <a:schemeClr val="bg1"/>
              </a:solidFill>
            </a:endParaRPr>
          </a:p>
        </p:txBody>
      </p:sp>
      <p:sp>
        <p:nvSpPr>
          <p:cNvPr id="23" name="矩形 22"/>
          <p:cNvSpPr/>
          <p:nvPr/>
        </p:nvSpPr>
        <p:spPr>
          <a:xfrm>
            <a:off x="499022" y="4926861"/>
            <a:ext cx="2791026" cy="3177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rPr>
              <a:t>XXXXXXXXXXXXXXXX</a:t>
            </a:r>
            <a:endParaRPr lang="zh-CN" altLang="en-US" sz="1400" b="1" dirty="0">
              <a:solidFill>
                <a:schemeClr val="bg1"/>
              </a:solidFill>
            </a:endParaRPr>
          </a:p>
        </p:txBody>
      </p:sp>
      <p:sp>
        <p:nvSpPr>
          <p:cNvPr id="24" name="矩形 23"/>
          <p:cNvSpPr/>
          <p:nvPr/>
        </p:nvSpPr>
        <p:spPr>
          <a:xfrm>
            <a:off x="499022" y="5414890"/>
            <a:ext cx="2791026" cy="3177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rPr>
              <a:t>XXXXXXXXXXXXXXXX</a:t>
            </a:r>
            <a:endParaRPr lang="zh-CN" altLang="en-US" sz="1400" b="1" dirty="0">
              <a:solidFill>
                <a:schemeClr val="bg1"/>
              </a:solidFill>
            </a:endParaRPr>
          </a:p>
        </p:txBody>
      </p:sp>
      <p:sp>
        <p:nvSpPr>
          <p:cNvPr id="25" name="矩形 24"/>
          <p:cNvSpPr/>
          <p:nvPr/>
        </p:nvSpPr>
        <p:spPr>
          <a:xfrm>
            <a:off x="499022" y="5920350"/>
            <a:ext cx="2791026" cy="31775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rPr>
              <a:t>XXXXXXXXXXXXXXXX</a:t>
            </a:r>
            <a:endParaRPr lang="zh-CN" altLang="en-US" sz="1400" b="1" dirty="0">
              <a:solidFill>
                <a:schemeClr val="bg1"/>
              </a:solidFill>
            </a:endParaRPr>
          </a:p>
        </p:txBody>
      </p:sp>
      <p:sp>
        <p:nvSpPr>
          <p:cNvPr id="28" name="矩形 27"/>
          <p:cNvSpPr/>
          <p:nvPr/>
        </p:nvSpPr>
        <p:spPr>
          <a:xfrm>
            <a:off x="3385658" y="1347640"/>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latin typeface="Arial" panose="020B0604020202020204" pitchFamily="34" charset="0"/>
              </a:rPr>
              <a:t>XXX</a:t>
            </a:r>
            <a:endParaRPr lang="en-US" altLang="zh-CN" sz="1400" dirty="0" smtClean="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latin typeface="Arial" panose="020B0604020202020204" pitchFamily="34" charset="0"/>
              </a:rPr>
              <a:t>XXX</a:t>
            </a:r>
            <a:endParaRPr lang="en-US" altLang="zh-CN" sz="1400" dirty="0" smtClean="0">
              <a:solidFill>
                <a:srgbClr val="000000">
                  <a:lumMod val="100000"/>
                </a:srgbClr>
              </a:solidFill>
              <a:latin typeface="Arial" panose="020B0604020202020204" pitchFamily="34" charset="0"/>
            </a:endParaRPr>
          </a:p>
        </p:txBody>
      </p:sp>
      <p:sp>
        <p:nvSpPr>
          <p:cNvPr id="29" name="矩形 28"/>
          <p:cNvSpPr/>
          <p:nvPr/>
        </p:nvSpPr>
        <p:spPr>
          <a:xfrm>
            <a:off x="3385658" y="1836388"/>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latin typeface="Arial" panose="020B0604020202020204" pitchFamily="34" charset="0"/>
              </a:rPr>
              <a:t>XXX</a:t>
            </a:r>
            <a:endParaRPr lang="zh-CN" altLang="en-US" sz="1400" dirty="0">
              <a:solidFill>
                <a:schemeClr val="bg1"/>
              </a:solidFill>
            </a:endParaRPr>
          </a:p>
        </p:txBody>
      </p:sp>
      <p:sp>
        <p:nvSpPr>
          <p:cNvPr id="30" name="矩形 29"/>
          <p:cNvSpPr/>
          <p:nvPr/>
        </p:nvSpPr>
        <p:spPr>
          <a:xfrm>
            <a:off x="3385658" y="2325136"/>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latin typeface="Arial" panose="020B0604020202020204" pitchFamily="34" charset="0"/>
              </a:rPr>
              <a:t>XXX</a:t>
            </a:r>
            <a:endParaRPr lang="zh-CN" altLang="en-US" sz="1400" dirty="0">
              <a:solidFill>
                <a:schemeClr val="bg1"/>
              </a:solidFill>
            </a:endParaRPr>
          </a:p>
        </p:txBody>
      </p:sp>
      <p:sp>
        <p:nvSpPr>
          <p:cNvPr id="31" name="矩形 30"/>
          <p:cNvSpPr/>
          <p:nvPr/>
        </p:nvSpPr>
        <p:spPr>
          <a:xfrm>
            <a:off x="3385658" y="2813884"/>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32" name="矩形 31"/>
          <p:cNvSpPr/>
          <p:nvPr/>
        </p:nvSpPr>
        <p:spPr>
          <a:xfrm>
            <a:off x="3385658" y="3302632"/>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33" name="矩形 32"/>
          <p:cNvSpPr/>
          <p:nvPr/>
        </p:nvSpPr>
        <p:spPr>
          <a:xfrm>
            <a:off x="3385658" y="3791380"/>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34" name="矩形 33"/>
          <p:cNvSpPr/>
          <p:nvPr/>
        </p:nvSpPr>
        <p:spPr>
          <a:xfrm>
            <a:off x="3385658" y="4280128"/>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35" name="矩形 34"/>
          <p:cNvSpPr/>
          <p:nvPr/>
        </p:nvSpPr>
        <p:spPr>
          <a:xfrm>
            <a:off x="3385658" y="4768876"/>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36" name="矩形 35"/>
          <p:cNvSpPr/>
          <p:nvPr/>
        </p:nvSpPr>
        <p:spPr>
          <a:xfrm>
            <a:off x="3385658" y="5257624"/>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37" name="矩形 36"/>
          <p:cNvSpPr/>
          <p:nvPr/>
        </p:nvSpPr>
        <p:spPr>
          <a:xfrm>
            <a:off x="3385658" y="5746375"/>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38" name="矩形 37"/>
          <p:cNvSpPr/>
          <p:nvPr/>
        </p:nvSpPr>
        <p:spPr>
          <a:xfrm>
            <a:off x="7604441" y="1347640"/>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latin typeface="Arial" panose="020B0604020202020204" pitchFamily="34" charset="0"/>
              </a:rPr>
              <a:t>XXX</a:t>
            </a:r>
            <a:endParaRPr lang="zh-CN" altLang="en-US" sz="1400" dirty="0" smtClean="0">
              <a:solidFill>
                <a:schemeClr val="bg1"/>
              </a:solidFill>
            </a:endParaRPr>
          </a:p>
        </p:txBody>
      </p:sp>
      <p:sp>
        <p:nvSpPr>
          <p:cNvPr id="39" name="矩形 38"/>
          <p:cNvSpPr/>
          <p:nvPr/>
        </p:nvSpPr>
        <p:spPr>
          <a:xfrm>
            <a:off x="7604441" y="1836388"/>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40" name="矩形 39"/>
          <p:cNvSpPr/>
          <p:nvPr/>
        </p:nvSpPr>
        <p:spPr>
          <a:xfrm>
            <a:off x="7604441" y="2325136"/>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41" name="矩形 40"/>
          <p:cNvSpPr/>
          <p:nvPr/>
        </p:nvSpPr>
        <p:spPr>
          <a:xfrm>
            <a:off x="7604441" y="2813884"/>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42" name="矩形 41"/>
          <p:cNvSpPr/>
          <p:nvPr/>
        </p:nvSpPr>
        <p:spPr>
          <a:xfrm>
            <a:off x="7604441" y="3302632"/>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43" name="矩形 42"/>
          <p:cNvSpPr/>
          <p:nvPr/>
        </p:nvSpPr>
        <p:spPr>
          <a:xfrm>
            <a:off x="7604441" y="3791380"/>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44" name="矩形 43"/>
          <p:cNvSpPr/>
          <p:nvPr/>
        </p:nvSpPr>
        <p:spPr>
          <a:xfrm>
            <a:off x="7604441" y="4280128"/>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45" name="矩形 44"/>
          <p:cNvSpPr/>
          <p:nvPr/>
        </p:nvSpPr>
        <p:spPr>
          <a:xfrm>
            <a:off x="7604441" y="4768876"/>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46" name="矩形 45"/>
          <p:cNvSpPr/>
          <p:nvPr/>
        </p:nvSpPr>
        <p:spPr>
          <a:xfrm>
            <a:off x="7604441" y="5257624"/>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47" name="矩形 46"/>
          <p:cNvSpPr/>
          <p:nvPr/>
        </p:nvSpPr>
        <p:spPr>
          <a:xfrm>
            <a:off x="7604441" y="5746375"/>
            <a:ext cx="4130359" cy="41104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a:solidFill>
                <a:srgbClr val="000000">
                  <a:lumMod val="100000"/>
                </a:srgbClr>
              </a:solidFill>
              <a:latin typeface="Arial" panose="020B0604020202020204" pitchFamily="34" charset="0"/>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a:solidFill>
                  <a:srgbClr val="000000">
                    <a:lumMod val="100000"/>
                  </a:srgbClr>
                </a:solidFill>
                <a:latin typeface="Arial" panose="020B0604020202020204" pitchFamily="34" charset="0"/>
              </a:rPr>
              <a:t>XXX</a:t>
            </a:r>
            <a:endParaRPr lang="en-US" altLang="zh-CN" sz="1400" dirty="0">
              <a:solidFill>
                <a:srgbClr val="000000">
                  <a:lumMod val="100000"/>
                </a:srgbClr>
              </a:solidFill>
              <a:latin typeface="Arial" panose="020B0604020202020204" pitchFamily="34" charset="0"/>
            </a:endParaRPr>
          </a:p>
        </p:txBody>
      </p:sp>
      <p:sp>
        <p:nvSpPr>
          <p:cNvPr id="49" name="ColumnHeader"/>
          <p:cNvSpPr>
            <a:spLocks noChangeArrowheads="1"/>
          </p:cNvSpPr>
          <p:nvPr/>
        </p:nvSpPr>
        <p:spPr bwMode="gray">
          <a:xfrm>
            <a:off x="3385658" y="838760"/>
            <a:ext cx="4130359"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tIns="91440" bIns="91440" anchor="b">
            <a:spAutoFit/>
          </a:bodyPr>
          <a:lstStyle/>
          <a:p>
            <a:pPr algn="ctr"/>
            <a:r>
              <a:rPr lang="zh-CN" altLang="en-US" sz="1600" b="1" dirty="0" smtClean="0">
                <a:solidFill>
                  <a:srgbClr val="000000"/>
                </a:solidFill>
                <a:latin typeface="Arial" panose="020B0604020202020204" pitchFamily="34" charset="0"/>
                <a:cs typeface="Arial" panose="020B0604020202020204" pitchFamily="34" charset="0"/>
              </a:rPr>
              <a:t>业务方职责</a:t>
            </a:r>
            <a:endParaRPr lang="zh-CN" altLang="en-US" sz="1600" b="1" dirty="0">
              <a:solidFill>
                <a:srgbClr val="000000"/>
              </a:solidFill>
              <a:latin typeface="Arial" panose="020B0604020202020204" pitchFamily="34" charset="0"/>
              <a:cs typeface="Arial" panose="020B0604020202020204" pitchFamily="34" charset="0"/>
            </a:endParaRPr>
          </a:p>
        </p:txBody>
      </p:sp>
      <p:sp>
        <p:nvSpPr>
          <p:cNvPr id="51" name="ColumnHeader"/>
          <p:cNvSpPr>
            <a:spLocks noChangeArrowheads="1"/>
          </p:cNvSpPr>
          <p:nvPr/>
        </p:nvSpPr>
        <p:spPr bwMode="gray">
          <a:xfrm>
            <a:off x="7604441" y="838760"/>
            <a:ext cx="4130359"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tIns="91440" bIns="91440" anchor="b">
            <a:spAutoFit/>
          </a:bodyPr>
          <a:lstStyle/>
          <a:p>
            <a:pPr algn="ctr"/>
            <a:r>
              <a:rPr lang="zh-CN" altLang="en-US" sz="1600" b="1" dirty="0" smtClean="0">
                <a:solidFill>
                  <a:srgbClr val="000000"/>
                </a:solidFill>
                <a:latin typeface="Arial" panose="020B0604020202020204" pitchFamily="34" charset="0"/>
                <a:cs typeface="Arial" panose="020B0604020202020204" pitchFamily="34" charset="0"/>
              </a:rPr>
              <a:t>集团</a:t>
            </a:r>
            <a:r>
              <a:rPr lang="en-US" altLang="zh-CN" sz="1600" b="1" dirty="0" smtClean="0">
                <a:solidFill>
                  <a:srgbClr val="000000"/>
                </a:solidFill>
                <a:latin typeface="Arial" panose="020B0604020202020204" pitchFamily="34" charset="0"/>
                <a:cs typeface="Arial" panose="020B0604020202020204" pitchFamily="34" charset="0"/>
              </a:rPr>
              <a:t>XXX</a:t>
            </a:r>
            <a:endParaRPr lang="zh-CN" altLang="en-US" sz="1600" b="1" dirty="0">
              <a:solidFill>
                <a:srgbClr val="000000"/>
              </a:solidFill>
              <a:latin typeface="Arial" panose="020B0604020202020204" pitchFamily="34" charset="0"/>
              <a:cs typeface="Arial" panose="020B0604020202020204" pitchFamily="34" charset="0"/>
            </a:endParaRPr>
          </a:p>
        </p:txBody>
      </p:sp>
      <p:grpSp>
        <p:nvGrpSpPr>
          <p:cNvPr id="56" name="组合 55"/>
          <p:cNvGrpSpPr/>
          <p:nvPr/>
        </p:nvGrpSpPr>
        <p:grpSpPr>
          <a:xfrm>
            <a:off x="10463780" y="479503"/>
            <a:ext cx="1427356" cy="189570"/>
            <a:chOff x="10013795" y="479503"/>
            <a:chExt cx="1427356" cy="312234"/>
          </a:xfrm>
        </p:grpSpPr>
        <p:sp>
          <p:nvSpPr>
            <p:cNvPr id="54" name="矩形 53"/>
            <p:cNvSpPr/>
            <p:nvPr/>
          </p:nvSpPr>
          <p:spPr>
            <a:xfrm>
              <a:off x="10013795" y="479503"/>
              <a:ext cx="301083" cy="312234"/>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55" name="矩形 54"/>
            <p:cNvSpPr/>
            <p:nvPr/>
          </p:nvSpPr>
          <p:spPr>
            <a:xfrm>
              <a:off x="10426390" y="479503"/>
              <a:ext cx="1014761" cy="31223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nSpc>
                  <a:spcPct val="90000"/>
                </a:lnSpc>
                <a:spcAft>
                  <a:spcPts val="1000"/>
                </a:spcAft>
              </a:pPr>
              <a:r>
                <a:rPr lang="zh-CN" altLang="en-US" sz="1400" dirty="0" smtClean="0">
                  <a:solidFill>
                    <a:schemeClr val="tx1"/>
                  </a:solidFill>
                </a:rPr>
                <a:t>主要审核</a:t>
              </a:r>
              <a:endParaRPr lang="zh-CN" altLang="en-US" sz="1400" dirty="0">
                <a:solidFill>
                  <a:schemeClr val="tx1"/>
                </a:solidFill>
              </a:endParaRPr>
            </a:p>
          </p:txBody>
        </p:sp>
      </p:grpSp>
      <p:sp>
        <p:nvSpPr>
          <p:cNvPr id="59"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图表</a:t>
            </a:r>
            <a:endParaRPr lang="zh-CN" altLang="en-US" sz="2400" dirty="0">
              <a:solidFill>
                <a:prstClr val="black"/>
              </a:solidFill>
              <a:latin typeface="华文楷体" panose="02010600040101010101" charset="-122"/>
              <a:ea typeface="华文楷体" panose="02010600040101010101" charset="-122"/>
            </a:endParaRPr>
          </a:p>
        </p:txBody>
      </p:sp>
      <p:pic>
        <p:nvPicPr>
          <p:cNvPr id="60" name="图片 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ea typeface="华文楷体" panose="02010600040101010101" charset="-122"/>
              </a:rPr>
              <a:t>内诊</a:t>
            </a:r>
            <a:r>
              <a:rPr lang="en-US" altLang="zh-CN" sz="2400" dirty="0">
                <a:solidFill>
                  <a:prstClr val="black"/>
                </a:solidFill>
                <a:latin typeface="+mj-ea"/>
              </a:rPr>
              <a:t>-</a:t>
            </a:r>
            <a:r>
              <a:rPr lang="zh-CN" altLang="en-US" sz="2400" dirty="0">
                <a:solidFill>
                  <a:prstClr val="black"/>
                </a:solidFill>
                <a:latin typeface="+mj-ea"/>
              </a:rPr>
              <a:t>运营</a:t>
            </a:r>
            <a:r>
              <a:rPr lang="zh-CN" altLang="en-US" sz="2400" dirty="0" smtClean="0">
                <a:solidFill>
                  <a:prstClr val="black"/>
                </a:solidFill>
                <a:latin typeface="+mj-ea"/>
              </a:rPr>
              <a:t>分析</a:t>
            </a:r>
            <a:endParaRPr lang="en-US" altLang="zh-CN" sz="2400" dirty="0">
              <a:latin typeface="+mj-ea"/>
            </a:endParaRPr>
          </a:p>
        </p:txBody>
      </p:sp>
      <p:sp>
        <p:nvSpPr>
          <p:cNvPr id="6" name="文本框 5"/>
          <p:cNvSpPr txBox="1"/>
          <p:nvPr/>
        </p:nvSpPr>
        <p:spPr>
          <a:xfrm>
            <a:off x="260499" y="2727881"/>
            <a:ext cx="1763624" cy="379656"/>
          </a:xfrm>
          <a:prstGeom prst="rect">
            <a:avLst/>
          </a:prstGeom>
          <a:noFill/>
        </p:spPr>
        <p:txBody>
          <a:bodyPr wrap="none" rtlCol="0">
            <a:spAutoFit/>
          </a:bodyPr>
          <a:lstStyle/>
          <a:p>
            <a:pPr marL="381000" indent="-381000">
              <a:buFont typeface="Wingdings" panose="05000000000000000000" pitchFamily="2" charset="2"/>
              <a:buChar char="n"/>
            </a:pPr>
            <a:r>
              <a:rPr lang="zh-CN" altLang="en-US" b="1">
                <a:solidFill>
                  <a:srgbClr val="C00000"/>
                </a:solidFill>
                <a:latin typeface="华文楷体" panose="02010600040101010101" charset="-122"/>
                <a:ea typeface="华文楷体" panose="02010600040101010101" charset="-122"/>
              </a:rPr>
              <a:t>用户好评：</a:t>
            </a:r>
            <a:endParaRPr lang="zh-CN" altLang="en-US" b="1">
              <a:solidFill>
                <a:srgbClr val="C00000"/>
              </a:solidFill>
              <a:latin typeface="华文楷体" panose="02010600040101010101" charset="-122"/>
              <a:ea typeface="华文楷体" panose="02010600040101010101" charset="-122"/>
            </a:endParaRPr>
          </a:p>
        </p:txBody>
      </p:sp>
      <p:sp>
        <p:nvSpPr>
          <p:cNvPr id="7" name="文本框 6"/>
          <p:cNvSpPr txBox="1"/>
          <p:nvPr/>
        </p:nvSpPr>
        <p:spPr>
          <a:xfrm>
            <a:off x="260498" y="3128183"/>
            <a:ext cx="3122220" cy="346249"/>
          </a:xfrm>
          <a:prstGeom prst="rect">
            <a:avLst/>
          </a:prstGeom>
          <a:noFill/>
        </p:spPr>
        <p:txBody>
          <a:bodyPr wrap="square" rtlCol="0">
            <a:spAutoFit/>
          </a:bodyPr>
          <a:lstStyle/>
          <a:p>
            <a:pPr marL="304800" indent="-304800" fontAlgn="ctr">
              <a:lnSpc>
                <a:spcPct val="150000"/>
              </a:lnSpc>
              <a:buFont typeface="+mj-lt"/>
              <a:buAutoNum type="alphaLcParenR"/>
            </a:pPr>
            <a:r>
              <a:rPr lang="zh-CN" altLang="en-US" sz="1100">
                <a:solidFill>
                  <a:schemeClr val="tx1">
                    <a:lumMod val="75000"/>
                    <a:lumOff val="25000"/>
                  </a:schemeClr>
                </a:solidFill>
                <a:latin typeface="华文楷体" panose="02010600040101010101" charset="-122"/>
                <a:ea typeface="华文楷体" panose="02010600040101010101" charset="-122"/>
              </a:rPr>
              <a:t>用了几个功能，还是挺方便的</a:t>
            </a:r>
            <a:endParaRPr lang="zh-CN" altLang="en-US" sz="1100">
              <a:solidFill>
                <a:schemeClr val="tx1">
                  <a:lumMod val="75000"/>
                  <a:lumOff val="25000"/>
                </a:schemeClr>
              </a:solidFill>
              <a:latin typeface="华文楷体" panose="02010600040101010101" charset="-122"/>
              <a:ea typeface="华文楷体" panose="02010600040101010101" charset="-122"/>
            </a:endParaRPr>
          </a:p>
        </p:txBody>
      </p:sp>
      <p:pic>
        <p:nvPicPr>
          <p:cNvPr id="8" name="Picture 2" descr="https://ss3.bdstatic.com/70cFv8Sh_Q1YnxGkpoWK1HF6hhy/it/u=956006554,122145917&amp;fm=27&amp;gp=0.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91976" y="2722465"/>
            <a:ext cx="620107" cy="367931"/>
          </a:xfrm>
          <a:prstGeom prst="rect">
            <a:avLst/>
          </a:prstGeom>
          <a:noFill/>
          <a:extLst>
            <a:ext uri="{909E8E84-426E-40DD-AFC4-6F175D3DCCD1}">
              <a14:hiddenFill xmlns:a14="http://schemas.microsoft.com/office/drawing/2010/main">
                <a:solidFill>
                  <a:srgbClr val="FFFFFF"/>
                </a:solidFill>
              </a14:hiddenFill>
            </a:ext>
          </a:extLst>
        </p:spPr>
      </p:pic>
      <p:sp>
        <p:nvSpPr>
          <p:cNvPr id="9" name="文本框 8"/>
          <p:cNvSpPr txBox="1"/>
          <p:nvPr/>
        </p:nvSpPr>
        <p:spPr>
          <a:xfrm>
            <a:off x="260499" y="4417210"/>
            <a:ext cx="1763624" cy="379656"/>
          </a:xfrm>
          <a:prstGeom prst="rect">
            <a:avLst/>
          </a:prstGeom>
          <a:noFill/>
        </p:spPr>
        <p:txBody>
          <a:bodyPr wrap="none" rtlCol="0">
            <a:spAutoFit/>
          </a:bodyPr>
          <a:lstStyle/>
          <a:p>
            <a:pPr marL="381000" indent="-381000">
              <a:buFont typeface="Wingdings" panose="05000000000000000000" pitchFamily="2" charset="2"/>
              <a:buChar char="n"/>
            </a:pPr>
            <a:r>
              <a:rPr lang="zh-CN" altLang="en-US" b="1">
                <a:solidFill>
                  <a:srgbClr val="C00000"/>
                </a:solidFill>
                <a:latin typeface="华文楷体" panose="02010600040101010101" charset="-122"/>
                <a:ea typeface="华文楷体" panose="02010600040101010101" charset="-122"/>
              </a:rPr>
              <a:t>意见建议：</a:t>
            </a:r>
            <a:endParaRPr lang="zh-CN" altLang="en-US" b="1">
              <a:solidFill>
                <a:srgbClr val="C00000"/>
              </a:solidFill>
              <a:latin typeface="华文楷体" panose="02010600040101010101" charset="-122"/>
              <a:ea typeface="华文楷体" panose="02010600040101010101" charset="-122"/>
            </a:endParaRPr>
          </a:p>
        </p:txBody>
      </p:sp>
      <p:sp>
        <p:nvSpPr>
          <p:cNvPr id="10" name="文本框 9"/>
          <p:cNvSpPr txBox="1"/>
          <p:nvPr/>
        </p:nvSpPr>
        <p:spPr>
          <a:xfrm>
            <a:off x="260498" y="4685575"/>
            <a:ext cx="3496516" cy="600164"/>
          </a:xfrm>
          <a:prstGeom prst="rect">
            <a:avLst/>
          </a:prstGeom>
          <a:noFill/>
        </p:spPr>
        <p:txBody>
          <a:bodyPr wrap="square" rtlCol="0">
            <a:spAutoFit/>
          </a:bodyPr>
          <a:lstStyle>
            <a:defPPr>
              <a:defRPr lang="zh-CN"/>
            </a:defPPr>
            <a:lvl1pPr marL="228600" indent="-228600" fontAlgn="ctr">
              <a:lnSpc>
                <a:spcPct val="150000"/>
              </a:lnSpc>
              <a:buFont typeface="+mj-lt"/>
              <a:buAutoNum type="alphaLcParenR"/>
              <a:defRPr sz="1200">
                <a:solidFill>
                  <a:schemeClr val="tx1">
                    <a:lumMod val="75000"/>
                    <a:lumOff val="25000"/>
                  </a:schemeClr>
                </a:solidFill>
                <a:latin typeface="微软雅黑" panose="020B0503020204020204" charset="-122"/>
                <a:ea typeface="微软雅黑" panose="020B0503020204020204" charset="-122"/>
              </a:defRPr>
            </a:lvl1pPr>
          </a:lstStyle>
          <a:p>
            <a:r>
              <a:rPr lang="en-US" altLang="zh-CN" sz="1100" dirty="0" smtClean="0">
                <a:latin typeface="华文楷体" panose="02010600040101010101" charset="-122"/>
                <a:ea typeface="华文楷体" panose="02010600040101010101" charset="-122"/>
              </a:rPr>
              <a:t>…</a:t>
            </a:r>
            <a:endParaRPr lang="en-US" altLang="zh-CN" sz="1100" dirty="0" smtClean="0">
              <a:latin typeface="华文楷体" panose="02010600040101010101" charset="-122"/>
              <a:ea typeface="华文楷体" panose="02010600040101010101" charset="-122"/>
            </a:endParaRPr>
          </a:p>
          <a:p>
            <a:r>
              <a:rPr lang="en-US" altLang="zh-CN" sz="1100" dirty="0" smtClean="0">
                <a:solidFill>
                  <a:srgbClr val="000000"/>
                </a:solidFill>
                <a:latin typeface="华文楷体" panose="02010600040101010101" charset="-122"/>
                <a:ea typeface="华文楷体" panose="02010600040101010101" charset="-122"/>
              </a:rPr>
              <a:t>…</a:t>
            </a:r>
            <a:endParaRPr lang="zh-CN" altLang="en-US" sz="1100" dirty="0">
              <a:solidFill>
                <a:srgbClr val="000000"/>
              </a:solidFill>
              <a:latin typeface="华文楷体" panose="02010600040101010101" charset="-122"/>
              <a:ea typeface="华文楷体" panose="02010600040101010101" charset="-122"/>
            </a:endParaRPr>
          </a:p>
        </p:txBody>
      </p:sp>
      <p:graphicFrame>
        <p:nvGraphicFramePr>
          <p:cNvPr id="11" name="表格 10"/>
          <p:cNvGraphicFramePr>
            <a:graphicFrameLocks noGrp="1"/>
          </p:cNvGraphicFramePr>
          <p:nvPr/>
        </p:nvGraphicFramePr>
        <p:xfrm>
          <a:off x="8425241" y="785796"/>
          <a:ext cx="3467785" cy="5190530"/>
        </p:xfrm>
        <a:graphic>
          <a:graphicData uri="http://schemas.openxmlformats.org/drawingml/2006/table">
            <a:tbl>
              <a:tblPr>
                <a:tableStyleId>{5C22544A-7EE6-4342-B048-85BDC9FD1C3A}</a:tableStyleId>
              </a:tblPr>
              <a:tblGrid>
                <a:gridCol w="971508"/>
                <a:gridCol w="1362408"/>
                <a:gridCol w="1133869"/>
              </a:tblGrid>
              <a:tr h="368165">
                <a:tc>
                  <a:txBody>
                    <a:bodyPr/>
                    <a:lstStyle/>
                    <a:p>
                      <a:pPr algn="ctr" fontAlgn="ctr"/>
                      <a:r>
                        <a:rPr lang="zh-CN" altLang="en-US" sz="1500" b="1" u="none" strike="noStrike">
                          <a:solidFill>
                            <a:schemeClr val="bg1"/>
                          </a:solidFill>
                          <a:effectLst/>
                          <a:latin typeface="华文楷体" panose="02010600040101010101" charset="-122"/>
                          <a:ea typeface="华文楷体" panose="02010600040101010101" charset="-122"/>
                        </a:rPr>
                        <a:t>反馈类型</a:t>
                      </a:r>
                      <a:endParaRPr lang="zh-CN" altLang="en-US" sz="1500" b="1" i="0" u="none" strike="noStrike">
                        <a:solidFill>
                          <a:schemeClr val="bg1"/>
                        </a:solidFill>
                        <a:effectLst/>
                        <a:latin typeface="华文楷体" panose="02010600040101010101" charset="-122"/>
                        <a:ea typeface="华文楷体" panose="02010600040101010101" charset="-122"/>
                      </a:endParaRPr>
                    </a:p>
                  </a:txBody>
                  <a:tcPr marL="0" marR="0" marT="0" marB="0" anchor="ctr">
                    <a:solidFill>
                      <a:schemeClr val="tx2">
                        <a:lumMod val="60000"/>
                        <a:lumOff val="40000"/>
                      </a:schemeClr>
                    </a:solidFill>
                  </a:tcPr>
                </a:tc>
                <a:tc>
                  <a:txBody>
                    <a:bodyPr/>
                    <a:lstStyle/>
                    <a:p>
                      <a:pPr algn="ctr" fontAlgn="ctr"/>
                      <a:r>
                        <a:rPr lang="zh-CN" altLang="en-US" sz="1500" b="1" u="none" strike="noStrike">
                          <a:solidFill>
                            <a:schemeClr val="bg1"/>
                          </a:solidFill>
                          <a:effectLst/>
                          <a:latin typeface="华文楷体" panose="02010600040101010101" charset="-122"/>
                          <a:ea typeface="华文楷体" panose="02010600040101010101" charset="-122"/>
                        </a:rPr>
                        <a:t>板块</a:t>
                      </a:r>
                      <a:endParaRPr lang="zh-CN" altLang="en-US" sz="1500" b="1" i="0" u="none" strike="noStrike">
                        <a:solidFill>
                          <a:schemeClr val="bg1"/>
                        </a:solidFill>
                        <a:effectLst/>
                        <a:latin typeface="华文楷体" panose="02010600040101010101" charset="-122"/>
                        <a:ea typeface="华文楷体" panose="02010600040101010101" charset="-122"/>
                      </a:endParaRPr>
                    </a:p>
                  </a:txBody>
                  <a:tcPr marL="0" marR="0" marT="0" marB="0" anchor="ctr">
                    <a:solidFill>
                      <a:schemeClr val="tx2">
                        <a:lumMod val="60000"/>
                        <a:lumOff val="40000"/>
                      </a:schemeClr>
                    </a:solidFill>
                  </a:tcPr>
                </a:tc>
                <a:tc>
                  <a:txBody>
                    <a:bodyPr/>
                    <a:lstStyle/>
                    <a:p>
                      <a:pPr algn="ctr" fontAlgn="ctr"/>
                      <a:r>
                        <a:rPr lang="zh-CN" altLang="en-US" sz="1500" b="1" u="none" strike="noStrike">
                          <a:solidFill>
                            <a:schemeClr val="bg1"/>
                          </a:solidFill>
                          <a:effectLst/>
                          <a:latin typeface="华文楷体" panose="02010600040101010101" charset="-122"/>
                          <a:ea typeface="华文楷体" panose="02010600040101010101" charset="-122"/>
                        </a:rPr>
                        <a:t>数量</a:t>
                      </a:r>
                      <a:endParaRPr lang="zh-CN" altLang="en-US" sz="1500" b="1" i="0" u="none" strike="noStrike">
                        <a:solidFill>
                          <a:schemeClr val="bg1"/>
                        </a:solidFill>
                        <a:effectLst/>
                        <a:latin typeface="华文楷体" panose="02010600040101010101" charset="-122"/>
                        <a:ea typeface="华文楷体" panose="02010600040101010101" charset="-122"/>
                      </a:endParaRPr>
                    </a:p>
                  </a:txBody>
                  <a:tcPr marL="0" marR="0" marT="0" marB="0" anchor="ctr">
                    <a:solidFill>
                      <a:schemeClr val="tx2">
                        <a:lumMod val="60000"/>
                        <a:lumOff val="40000"/>
                      </a:schemeClr>
                    </a:solidFill>
                  </a:tcPr>
                </a:tc>
              </a:tr>
              <a:tr h="257835">
                <a:tc rowSpan="7">
                  <a:txBody>
                    <a:bodyPr/>
                    <a:lstStyle/>
                    <a:p>
                      <a:pPr algn="ctr" fontAlgn="ctr"/>
                      <a:r>
                        <a:rPr lang="zh-CN" altLang="en-US" sz="1200" u="none" strike="noStrike" dirty="0">
                          <a:effectLst/>
                          <a:latin typeface="华文楷体" panose="02010600040101010101" charset="-122"/>
                          <a:ea typeface="华文楷体" panose="02010600040101010101" charset="-122"/>
                        </a:rPr>
                        <a:t>建议类</a:t>
                      </a: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zh-CN" altLang="en-US" sz="1200" u="none" strike="noStrike" dirty="0">
                          <a:effectLst/>
                          <a:latin typeface="华文楷体" panose="02010600040101010101" charset="-122"/>
                          <a:ea typeface="华文楷体" panose="02010600040101010101" charset="-122"/>
                        </a:rPr>
                        <a:t>功能建议</a:t>
                      </a: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4</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a:tc>
                <a:tc>
                  <a:txBody>
                    <a:bodyPr/>
                    <a:lstStyle/>
                    <a:p>
                      <a:pPr algn="ctr" fontAlgn="ctr"/>
                      <a:r>
                        <a:rPr lang="zh-CN" altLang="en-US" sz="1200" b="0" i="0" u="none" strike="noStrike" dirty="0" smtClean="0">
                          <a:solidFill>
                            <a:srgbClr val="000000"/>
                          </a:solidFill>
                          <a:effectLst/>
                          <a:latin typeface="华文楷体" panose="02010600040101010101" charset="-122"/>
                          <a:ea typeface="华文楷体" panose="02010600040101010101" charset="-122"/>
                        </a:rPr>
                        <a:t>个人中心</a:t>
                      </a: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1</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a:tc>
                <a:tc>
                  <a:txBody>
                    <a:bodyPr/>
                    <a:lstStyle/>
                    <a:p>
                      <a:endParaRPr lang="zh-CN" altLang="en-US" dirty="0">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en-US" altLang="zh-CN" sz="1200" u="none" strike="noStrike" smtClean="0">
                          <a:effectLst/>
                          <a:latin typeface="华文楷体" panose="02010600040101010101" charset="-122"/>
                          <a:ea typeface="华文楷体" panose="02010600040101010101" charset="-122"/>
                        </a:rPr>
                        <a:t>2</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a:tc>
                <a:tc>
                  <a:txBody>
                    <a:bodyPr/>
                    <a:lstStyle/>
                    <a:p>
                      <a:endParaRPr lang="zh-CN" altLang="en-US">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1</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a:tc>
                <a:tc>
                  <a:txBody>
                    <a:bodyPr/>
                    <a:lstStyle/>
                    <a:p>
                      <a:endParaRPr lang="zh-CN" altLang="en-US">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1</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a:tc>
                <a:tc>
                  <a:txBody>
                    <a:bodyPr/>
                    <a:lstStyle/>
                    <a:p>
                      <a:endParaRPr lang="zh-CN" altLang="en-US" dirty="0">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3</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a:tc>
                <a:tc>
                  <a:txBody>
                    <a:bodyPr/>
                    <a:lstStyle/>
                    <a:p>
                      <a:pPr algn="ctr" fontAlgn="ctr"/>
                      <a:r>
                        <a:rPr lang="zh-CN" altLang="en-US" sz="1200" b="1" u="none" strike="noStrike" dirty="0">
                          <a:effectLst/>
                          <a:latin typeface="华文楷体" panose="02010600040101010101" charset="-122"/>
                          <a:ea typeface="华文楷体" panose="02010600040101010101" charset="-122"/>
                        </a:rPr>
                        <a:t>合计</a:t>
                      </a:r>
                      <a:endParaRPr lang="zh-CN" altLang="en-US" sz="12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en-US" altLang="zh-CN" sz="1200" b="1" i="0" u="none" strike="noStrike" smtClean="0">
                          <a:solidFill>
                            <a:schemeClr val="dk1"/>
                          </a:solidFill>
                          <a:effectLst/>
                          <a:latin typeface="华文楷体" panose="02010600040101010101" charset="-122"/>
                          <a:ea typeface="华文楷体" panose="02010600040101010101" charset="-122"/>
                        </a:rPr>
                        <a:t>12</a:t>
                      </a:r>
                      <a:endParaRPr lang="en-US" altLang="zh-CN" sz="1200" b="1"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rowSpan="5">
                  <a:txBody>
                    <a:bodyPr/>
                    <a:lstStyle/>
                    <a:p>
                      <a:pPr algn="ctr" fontAlgn="ctr"/>
                      <a:r>
                        <a:rPr lang="zh-CN" altLang="en-US" sz="1200" u="none" strike="noStrike" dirty="0" smtClean="0">
                          <a:effectLst/>
                          <a:latin typeface="华文楷体" panose="02010600040101010101" charset="-122"/>
                          <a:ea typeface="华文楷体" panose="02010600040101010101" charset="-122"/>
                        </a:rPr>
                        <a:t>问题类</a:t>
                      </a: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zh-CN" altLang="en-US" sz="1200" b="0" i="0" u="none" strike="noStrike" dirty="0" smtClean="0">
                          <a:solidFill>
                            <a:srgbClr val="000000"/>
                          </a:solidFill>
                          <a:effectLst/>
                          <a:latin typeface="华文楷体" panose="02010600040101010101" charset="-122"/>
                          <a:ea typeface="华文楷体" panose="02010600040101010101" charset="-122"/>
                        </a:rPr>
                        <a:t>其他</a:t>
                      </a: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4</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a:tc>
                <a:tc>
                  <a:txBody>
                    <a:bodyPr/>
                    <a:lstStyle/>
                    <a:p>
                      <a:endParaRPr lang="zh-CN" altLang="en-US" dirty="0">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1</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a:tc>
                <a:tc>
                  <a:txBody>
                    <a:bodyPr/>
                    <a:lstStyle/>
                    <a:p>
                      <a:endParaRPr lang="zh-CN" altLang="en-US">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en-US" altLang="zh-CN" sz="1200" b="0" i="0" u="none" strike="noStrike" smtClean="0">
                          <a:solidFill>
                            <a:schemeClr val="dk1"/>
                          </a:solidFill>
                          <a:effectLst/>
                          <a:latin typeface="华文楷体" panose="02010600040101010101" charset="-122"/>
                          <a:ea typeface="华文楷体" panose="02010600040101010101" charset="-122"/>
                        </a:rPr>
                        <a:t>4</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a:tc>
                <a:tc>
                  <a:txBody>
                    <a:bodyPr/>
                    <a:lstStyle/>
                    <a:p>
                      <a:endParaRPr lang="zh-CN" altLang="en-US" dirty="0">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3</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a:solidFill>
                      <a:schemeClr val="tx2">
                        <a:lumMod val="20000"/>
                        <a:lumOff val="80000"/>
                      </a:schemeClr>
                    </a:solidFill>
                  </a:tcPr>
                </a:tc>
                <a:tc>
                  <a:txBody>
                    <a:bodyPr/>
                    <a:lstStyle/>
                    <a:p>
                      <a:pPr marL="0" algn="ctr" defTabSz="914400" rtl="0" eaLnBrk="1" fontAlgn="ctr" latinLnBrk="0" hangingPunct="1"/>
                      <a:r>
                        <a:rPr lang="zh-CN" altLang="en-US" sz="1200" b="1" i="0" u="none" strike="noStrike" kern="1200" smtClean="0">
                          <a:solidFill>
                            <a:schemeClr val="dk1"/>
                          </a:solidFill>
                          <a:effectLst/>
                          <a:latin typeface="华文楷体" panose="02010600040101010101" charset="-122"/>
                          <a:ea typeface="华文楷体" panose="02010600040101010101" charset="-122"/>
                          <a:cs typeface="+mn-cs"/>
                        </a:rPr>
                        <a:t>合计</a:t>
                      </a:r>
                      <a:endParaRPr lang="zh-CN" altLang="en-US" sz="1200" b="1" i="0" u="none" strike="noStrike" kern="1200">
                        <a:solidFill>
                          <a:schemeClr val="dk1"/>
                        </a:solidFill>
                        <a:effectLst/>
                        <a:latin typeface="华文楷体" panose="02010600040101010101" charset="-122"/>
                        <a:ea typeface="华文楷体" panose="02010600040101010101" charset="-122"/>
                        <a:cs typeface="+mn-cs"/>
                      </a:endParaRPr>
                    </a:p>
                  </a:txBody>
                  <a:tcPr marL="0" marR="0" marT="0" marB="0" anchor="b">
                    <a:solidFill>
                      <a:schemeClr val="tx2">
                        <a:lumMod val="20000"/>
                        <a:lumOff val="80000"/>
                      </a:schemeClr>
                    </a:solidFill>
                  </a:tcPr>
                </a:tc>
                <a:tc>
                  <a:txBody>
                    <a:bodyPr/>
                    <a:lstStyle/>
                    <a:p>
                      <a:pPr marL="0" algn="ctr" defTabSz="914400" rtl="0" eaLnBrk="1" fontAlgn="ctr" latinLnBrk="0" hangingPunct="1"/>
                      <a:r>
                        <a:rPr lang="en-US" altLang="zh-CN" sz="1200" b="1" i="0" u="none" strike="noStrike" kern="1200" smtClean="0">
                          <a:solidFill>
                            <a:schemeClr val="dk1"/>
                          </a:solidFill>
                          <a:effectLst/>
                          <a:latin typeface="华文楷体" panose="02010600040101010101" charset="-122"/>
                          <a:ea typeface="华文楷体" panose="02010600040101010101" charset="-122"/>
                          <a:cs typeface="+mn-cs"/>
                        </a:rPr>
                        <a:t>17</a:t>
                      </a:r>
                      <a:endParaRPr lang="en-US" altLang="zh-CN" sz="1200" b="1" i="0" u="none" strike="noStrike" kern="1200">
                        <a:solidFill>
                          <a:schemeClr val="dk1"/>
                        </a:solidFill>
                        <a:effectLst/>
                        <a:latin typeface="华文楷体" panose="02010600040101010101" charset="-122"/>
                        <a:ea typeface="华文楷体" panose="02010600040101010101" charset="-122"/>
                        <a:cs typeface="+mn-cs"/>
                      </a:endParaRPr>
                    </a:p>
                  </a:txBody>
                  <a:tcPr marL="0" marR="0" marT="0" marB="0" anchor="ctr">
                    <a:solidFill>
                      <a:schemeClr val="tx2">
                        <a:lumMod val="20000"/>
                        <a:lumOff val="80000"/>
                      </a:schemeClr>
                    </a:solidFill>
                  </a:tcPr>
                </a:tc>
              </a:tr>
              <a:tr h="257835">
                <a:tc rowSpan="6">
                  <a:txBody>
                    <a:bodyPr/>
                    <a:lstStyle/>
                    <a:p>
                      <a:pPr marL="0" algn="ctr" defTabSz="914400" rtl="0" eaLnBrk="1" fontAlgn="b" latinLnBrk="0" hangingPunct="1"/>
                      <a:r>
                        <a:rPr lang="zh-CN" altLang="en-US" sz="1200" b="0" i="0" u="none" strike="noStrike" kern="1200" smtClean="0">
                          <a:solidFill>
                            <a:srgbClr val="000000"/>
                          </a:solidFill>
                          <a:effectLst/>
                          <a:latin typeface="华文楷体" panose="02010600040101010101" charset="-122"/>
                          <a:ea typeface="华文楷体" panose="02010600040101010101" charset="-122"/>
                          <a:cs typeface="+mn-cs"/>
                        </a:rPr>
                        <a:t>咨询类</a:t>
                      </a:r>
                      <a:endParaRPr lang="zh-CN" altLang="en-US" sz="1200" b="0" i="0" u="none" strike="noStrike" kern="1200">
                        <a:solidFill>
                          <a:srgbClr val="000000"/>
                        </a:solidFill>
                        <a:effectLst/>
                        <a:latin typeface="华文楷体" panose="02010600040101010101" charset="-122"/>
                        <a:ea typeface="华文楷体" panose="02010600040101010101" charset="-122"/>
                        <a:cs typeface="+mn-cs"/>
                      </a:endParaRPr>
                    </a:p>
                  </a:txBody>
                  <a:tcPr marL="0" marR="0" marT="0" marB="0" anchor="ctr">
                    <a:solidFill>
                      <a:schemeClr val="tx2">
                        <a:lumMod val="20000"/>
                        <a:lumOff val="80000"/>
                      </a:schemeClr>
                    </a:solidFill>
                  </a:tcPr>
                </a:tc>
                <a:tc>
                  <a:txBody>
                    <a:bodyPr/>
                    <a:lstStyle/>
                    <a:p>
                      <a:pPr algn="ctr" fontAlgn="b"/>
                      <a:r>
                        <a:rPr lang="zh-CN" altLang="en-US" sz="1200" b="0" i="0" u="none" strike="noStrike" smtClean="0">
                          <a:solidFill>
                            <a:srgbClr val="000000"/>
                          </a:solidFill>
                          <a:effectLst/>
                          <a:latin typeface="华文楷体" panose="02010600040101010101" charset="-122"/>
                          <a:ea typeface="华文楷体" panose="02010600040101010101" charset="-122"/>
                        </a:rPr>
                        <a:t>实名认证</a:t>
                      </a:r>
                      <a:endParaRPr lang="zh-CN" altLang="en-US" sz="1200" b="0" i="0" u="none" strike="noStrike">
                        <a:solidFill>
                          <a:srgbClr val="000000"/>
                        </a:solidFill>
                        <a:effectLst/>
                        <a:latin typeface="华文楷体" panose="02010600040101010101" charset="-122"/>
                        <a:ea typeface="华文楷体" panose="02010600040101010101" charset="-122"/>
                      </a:endParaRPr>
                    </a:p>
                  </a:txBody>
                  <a:tcPr marL="0" marR="0" marT="0" marB="0" anchor="b">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1</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marL="0" marR="0" marT="0" marB="0" anchor="ctr">
                    <a:solidFill>
                      <a:schemeClr val="tx2">
                        <a:lumMod val="20000"/>
                        <a:lumOff val="80000"/>
                      </a:schemeClr>
                    </a:solidFill>
                  </a:tcPr>
                </a:tc>
                <a:tc>
                  <a:txBody>
                    <a:bodyPr/>
                    <a:lstStyle/>
                    <a:p>
                      <a:endParaRPr lang="zh-CN" altLang="en-US" dirty="0">
                        <a:latin typeface="华文楷体" panose="02010600040101010101" charset="-122"/>
                        <a:ea typeface="华文楷体" panose="02010600040101010101" charset="-122"/>
                      </a:endParaRPr>
                    </a:p>
                  </a:txBody>
                  <a:tcPr marL="0" marR="0" marT="0" marB="0" anchor="b">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6</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marL="0" marR="0" marT="0" marB="0" anchor="ctr">
                    <a:solidFill>
                      <a:schemeClr val="tx2">
                        <a:lumMod val="20000"/>
                        <a:lumOff val="80000"/>
                      </a:schemeClr>
                    </a:solidFill>
                  </a:tcPr>
                </a:tc>
                <a:tc>
                  <a:txBody>
                    <a:bodyPr/>
                    <a:lstStyle/>
                    <a:p>
                      <a:endParaRPr lang="zh-CN" altLang="en-US">
                        <a:latin typeface="华文楷体" panose="02010600040101010101" charset="-122"/>
                        <a:ea typeface="华文楷体" panose="02010600040101010101" charset="-122"/>
                      </a:endParaRPr>
                    </a:p>
                  </a:txBody>
                  <a:tcPr marL="0" marR="0" marT="0" marB="0" anchor="b">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1</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marL="0" marR="0" marT="0" marB="0" anchor="ctr">
                    <a:solidFill>
                      <a:schemeClr val="tx2">
                        <a:lumMod val="20000"/>
                        <a:lumOff val="80000"/>
                      </a:schemeClr>
                    </a:solidFill>
                  </a:tcPr>
                </a:tc>
                <a:tc>
                  <a:txBody>
                    <a:bodyPr/>
                    <a:lstStyle/>
                    <a:p>
                      <a:endParaRPr lang="zh-CN" altLang="en-US">
                        <a:latin typeface="华文楷体" panose="02010600040101010101" charset="-122"/>
                        <a:ea typeface="华文楷体" panose="02010600040101010101" charset="-122"/>
                      </a:endParaRPr>
                    </a:p>
                  </a:txBody>
                  <a:tcPr marL="0" marR="0" marT="0" marB="0" anchor="b">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2</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a:tc>
                <a:tc>
                  <a:txBody>
                    <a:bodyPr/>
                    <a:lstStyle/>
                    <a:p>
                      <a:endParaRPr lang="zh-CN" altLang="en-US" dirty="0">
                        <a:latin typeface="华文楷体" panose="02010600040101010101" charset="-122"/>
                        <a:ea typeface="华文楷体" panose="02010600040101010101" charset="-122"/>
                      </a:endParaRPr>
                    </a:p>
                  </a:txBody>
                  <a:tcPr marL="0" marR="0" marT="0" marB="0" anchor="b">
                    <a:solidFill>
                      <a:schemeClr val="tx2">
                        <a:lumMod val="20000"/>
                        <a:lumOff val="80000"/>
                      </a:schemeClr>
                    </a:solidFill>
                  </a:tcPr>
                </a:tc>
                <a:tc>
                  <a:txBody>
                    <a:bodyPr/>
                    <a:lstStyle/>
                    <a:p>
                      <a:pPr algn="ctr" fontAlgn="ctr"/>
                      <a:r>
                        <a:rPr lang="en-US" altLang="zh-CN" sz="1200" b="0" i="0" u="none" strike="noStrike" smtClean="0">
                          <a:solidFill>
                            <a:srgbClr val="000000"/>
                          </a:solidFill>
                          <a:effectLst/>
                          <a:latin typeface="华文楷体" panose="02010600040101010101" charset="-122"/>
                          <a:ea typeface="华文楷体" panose="02010600040101010101" charset="-122"/>
                        </a:rPr>
                        <a:t>6</a:t>
                      </a:r>
                      <a:endParaRPr lang="en-US" altLang="zh-CN" sz="1200" b="0" i="0" u="none" strike="noStrike">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r h="257835">
                <a:tc vMerge="1">
                  <a:tcPr marL="0" marR="0" marT="0" marB="0" anchor="ctr">
                    <a:solidFill>
                      <a:schemeClr val="tx2">
                        <a:lumMod val="20000"/>
                        <a:lumOff val="80000"/>
                      </a:schemeClr>
                    </a:solidFill>
                  </a:tcPr>
                </a:tc>
                <a:tc>
                  <a:txBody>
                    <a:bodyPr/>
                    <a:lstStyle/>
                    <a:p>
                      <a:pPr algn="ctr" fontAlgn="b"/>
                      <a:r>
                        <a:rPr lang="zh-CN" altLang="en-US" sz="1200" b="1" i="0" u="none" strike="noStrike" dirty="0" smtClean="0">
                          <a:solidFill>
                            <a:srgbClr val="000000"/>
                          </a:solidFill>
                          <a:effectLst/>
                          <a:latin typeface="华文楷体" panose="02010600040101010101" charset="-122"/>
                          <a:ea typeface="华文楷体" panose="02010600040101010101" charset="-122"/>
                        </a:rPr>
                        <a:t>合计</a:t>
                      </a:r>
                      <a:endParaRPr lang="zh-CN" altLang="en-US" sz="1200" b="1" i="0" u="none" strike="noStrike" dirty="0">
                        <a:solidFill>
                          <a:srgbClr val="000000"/>
                        </a:solidFill>
                        <a:effectLst/>
                        <a:latin typeface="华文楷体" panose="02010600040101010101" charset="-122"/>
                        <a:ea typeface="华文楷体" panose="02010600040101010101" charset="-122"/>
                      </a:endParaRPr>
                    </a:p>
                  </a:txBody>
                  <a:tcPr marL="0" marR="0" marT="0" marB="0" anchor="b">
                    <a:solidFill>
                      <a:schemeClr val="tx2">
                        <a:lumMod val="20000"/>
                        <a:lumOff val="80000"/>
                      </a:schemeClr>
                    </a:solidFill>
                  </a:tcPr>
                </a:tc>
                <a:tc>
                  <a:txBody>
                    <a:bodyPr/>
                    <a:lstStyle/>
                    <a:p>
                      <a:pPr algn="ctr" fontAlgn="ctr"/>
                      <a:r>
                        <a:rPr lang="en-US" altLang="zh-CN" sz="1200" b="1" i="0" u="none" strike="noStrike" dirty="0" smtClean="0">
                          <a:solidFill>
                            <a:srgbClr val="000000"/>
                          </a:solidFill>
                          <a:effectLst/>
                          <a:latin typeface="华文楷体" panose="02010600040101010101" charset="-122"/>
                          <a:ea typeface="华文楷体" panose="02010600040101010101" charset="-122"/>
                        </a:rPr>
                        <a:t>16</a:t>
                      </a:r>
                      <a:endParaRPr lang="en-US" altLang="zh-CN" sz="12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solidFill>
                      <a:schemeClr val="tx2">
                        <a:lumMod val="20000"/>
                        <a:lumOff val="80000"/>
                      </a:schemeClr>
                    </a:solidFill>
                  </a:tcPr>
                </a:tc>
              </a:tr>
            </a:tbl>
          </a:graphicData>
        </a:graphic>
      </p:graphicFrame>
      <p:sp>
        <p:nvSpPr>
          <p:cNvPr id="12" name="文本框 11"/>
          <p:cNvSpPr txBox="1"/>
          <p:nvPr/>
        </p:nvSpPr>
        <p:spPr>
          <a:xfrm>
            <a:off x="222791" y="1057759"/>
            <a:ext cx="7985444" cy="1384995"/>
          </a:xfrm>
          <a:prstGeom prst="rect">
            <a:avLst/>
          </a:prstGeom>
          <a:noFill/>
        </p:spPr>
        <p:txBody>
          <a:bodyPr wrap="square" rtlCol="0">
            <a:spAutoFit/>
          </a:bodyPr>
          <a:lstStyle/>
          <a:p>
            <a:pPr>
              <a:lnSpc>
                <a:spcPct val="150000"/>
              </a:lnSpc>
            </a:pPr>
            <a:r>
              <a:rPr lang="zh-CN" altLang="en-US" sz="1400">
                <a:solidFill>
                  <a:schemeClr val="tx1">
                    <a:lumMod val="75000"/>
                    <a:lumOff val="25000"/>
                  </a:schemeClr>
                </a:solidFill>
                <a:latin typeface="华文楷体" panose="02010600040101010101" charset="-122"/>
                <a:ea typeface="华文楷体" panose="02010600040101010101" charset="-122"/>
              </a:rPr>
              <a:t>累计有效反馈</a:t>
            </a:r>
            <a:r>
              <a:rPr lang="en-US" altLang="zh-CN" sz="1400" b="1">
                <a:solidFill>
                  <a:srgbClr val="C00000"/>
                </a:solidFill>
                <a:latin typeface="华文楷体" panose="02010600040101010101" charset="-122"/>
                <a:ea typeface="华文楷体" panose="02010600040101010101" charset="-122"/>
              </a:rPr>
              <a:t>71</a:t>
            </a:r>
            <a:r>
              <a:rPr lang="zh-CN" altLang="en-US" sz="1400">
                <a:solidFill>
                  <a:schemeClr val="tx1">
                    <a:lumMod val="75000"/>
                    <a:lumOff val="25000"/>
                  </a:schemeClr>
                </a:solidFill>
                <a:latin typeface="华文楷体" panose="02010600040101010101" charset="-122"/>
                <a:ea typeface="华文楷体" panose="02010600040101010101" charset="-122"/>
              </a:rPr>
              <a:t>条，</a:t>
            </a:r>
            <a:r>
              <a:rPr lang="zh-CN" altLang="zh-CN" sz="1400">
                <a:latin typeface="华文楷体" panose="02010600040101010101" charset="-122"/>
                <a:ea typeface="华文楷体" panose="02010600040101010101" charset="-122"/>
              </a:rPr>
              <a:t>新增</a:t>
            </a:r>
            <a:r>
              <a:rPr lang="zh-CN" altLang="en-US" sz="1400">
                <a:latin typeface="华文楷体" panose="02010600040101010101" charset="-122"/>
                <a:ea typeface="华文楷体" panose="02010600040101010101" charset="-122"/>
              </a:rPr>
              <a:t>反馈</a:t>
            </a:r>
            <a:r>
              <a:rPr lang="en-US" altLang="zh-CN" sz="1400" b="1">
                <a:solidFill>
                  <a:srgbClr val="C00000"/>
                </a:solidFill>
                <a:latin typeface="华文楷体" panose="02010600040101010101" charset="-122"/>
                <a:ea typeface="华文楷体" panose="02010600040101010101" charset="-122"/>
              </a:rPr>
              <a:t>3</a:t>
            </a:r>
            <a:r>
              <a:rPr lang="zh-CN" altLang="zh-CN" sz="1400">
                <a:latin typeface="华文楷体" panose="02010600040101010101" charset="-122"/>
                <a:ea typeface="华文楷体" panose="02010600040101010101" charset="-122"/>
              </a:rPr>
              <a:t>条，其中</a:t>
            </a:r>
            <a:r>
              <a:rPr lang="zh-CN" altLang="en-US" sz="1400">
                <a:latin typeface="华文楷体" panose="02010600040101010101" charset="-122"/>
                <a:ea typeface="华文楷体" panose="02010600040101010101" charset="-122"/>
              </a:rPr>
              <a:t>问题类类</a:t>
            </a:r>
            <a:r>
              <a:rPr lang="en-US" altLang="zh-CN" sz="1400" b="1">
                <a:latin typeface="华文楷体" panose="02010600040101010101" charset="-122"/>
                <a:ea typeface="华文楷体" panose="02010600040101010101" charset="-122"/>
              </a:rPr>
              <a:t>2</a:t>
            </a:r>
            <a:r>
              <a:rPr lang="zh-CN" altLang="en-US" sz="1400">
                <a:latin typeface="华文楷体" panose="02010600040101010101" charset="-122"/>
                <a:ea typeface="华文楷体" panose="02010600040101010101" charset="-122"/>
              </a:rPr>
              <a:t>条、好评类</a:t>
            </a:r>
            <a:r>
              <a:rPr lang="en-US" altLang="zh-CN" sz="1400" b="1">
                <a:solidFill>
                  <a:srgbClr val="C00000"/>
                </a:solidFill>
                <a:latin typeface="华文楷体" panose="02010600040101010101" charset="-122"/>
                <a:ea typeface="华文楷体" panose="02010600040101010101" charset="-122"/>
              </a:rPr>
              <a:t>1</a:t>
            </a:r>
            <a:r>
              <a:rPr lang="zh-CN" altLang="en-US" sz="1400">
                <a:latin typeface="华文楷体" panose="02010600040101010101" charset="-122"/>
                <a:ea typeface="华文楷体" panose="02010600040101010101" charset="-122"/>
              </a:rPr>
              <a:t>条</a:t>
            </a:r>
            <a:endParaRPr lang="en-US" altLang="zh-CN" sz="1400">
              <a:solidFill>
                <a:schemeClr val="tx1">
                  <a:lumMod val="75000"/>
                  <a:lumOff val="25000"/>
                </a:schemeClr>
              </a:solidFill>
              <a:latin typeface="华文楷体" panose="02010600040101010101" charset="-122"/>
              <a:ea typeface="华文楷体" panose="02010600040101010101" charset="-122"/>
            </a:endParaRPr>
          </a:p>
          <a:p>
            <a:pPr marL="228600" indent="-228600">
              <a:lnSpc>
                <a:spcPct val="150000"/>
              </a:lnSpc>
              <a:buFont typeface="Arial" panose="020B0604020202020204" pitchFamily="34" charset="0"/>
              <a:buChar char="•"/>
            </a:pPr>
            <a:r>
              <a:rPr lang="zh-CN" altLang="en-US" sz="1400">
                <a:solidFill>
                  <a:schemeClr val="tx1">
                    <a:lumMod val="75000"/>
                    <a:lumOff val="25000"/>
                  </a:schemeClr>
                </a:solidFill>
                <a:latin typeface="华文楷体" panose="02010600040101010101" charset="-122"/>
                <a:ea typeface="华文楷体" panose="02010600040101010101" charset="-122"/>
              </a:rPr>
              <a:t>建议类</a:t>
            </a:r>
            <a:r>
              <a:rPr lang="en-US" altLang="zh-CN" sz="1400" b="1">
                <a:solidFill>
                  <a:schemeClr val="tx1">
                    <a:lumMod val="75000"/>
                    <a:lumOff val="25000"/>
                  </a:schemeClr>
                </a:solidFill>
                <a:latin typeface="华文楷体" panose="02010600040101010101" charset="-122"/>
                <a:ea typeface="华文楷体" panose="02010600040101010101" charset="-122"/>
              </a:rPr>
              <a:t>12</a:t>
            </a:r>
            <a:r>
              <a:rPr lang="zh-CN" altLang="en-US" sz="1400">
                <a:solidFill>
                  <a:schemeClr val="tx1">
                    <a:lumMod val="75000"/>
                    <a:lumOff val="25000"/>
                  </a:schemeClr>
                </a:solidFill>
                <a:latin typeface="华文楷体" panose="02010600040101010101" charset="-122"/>
                <a:ea typeface="华文楷体" panose="02010600040101010101" charset="-122"/>
              </a:rPr>
              <a:t>条，集中在功能建议上，已处理</a:t>
            </a:r>
            <a:r>
              <a:rPr lang="en-US" altLang="zh-CN" sz="1400" b="1">
                <a:solidFill>
                  <a:schemeClr val="tx1">
                    <a:lumMod val="75000"/>
                    <a:lumOff val="25000"/>
                  </a:schemeClr>
                </a:solidFill>
                <a:latin typeface="华文楷体" panose="02010600040101010101" charset="-122"/>
                <a:ea typeface="华文楷体" panose="02010600040101010101" charset="-122"/>
              </a:rPr>
              <a:t>9</a:t>
            </a:r>
            <a:r>
              <a:rPr lang="zh-CN" altLang="en-US" sz="1400">
                <a:solidFill>
                  <a:schemeClr val="tx1">
                    <a:lumMod val="75000"/>
                    <a:lumOff val="25000"/>
                  </a:schemeClr>
                </a:solidFill>
                <a:latin typeface="华文楷体" panose="02010600040101010101" charset="-122"/>
                <a:ea typeface="华文楷体" panose="02010600040101010101" charset="-122"/>
              </a:rPr>
              <a:t>条，处理中</a:t>
            </a:r>
            <a:r>
              <a:rPr lang="en-US" altLang="zh-CN" sz="1400" b="1">
                <a:solidFill>
                  <a:schemeClr val="tx1">
                    <a:lumMod val="75000"/>
                    <a:lumOff val="25000"/>
                  </a:schemeClr>
                </a:solidFill>
                <a:latin typeface="华文楷体" panose="02010600040101010101" charset="-122"/>
                <a:ea typeface="华文楷体" panose="02010600040101010101" charset="-122"/>
              </a:rPr>
              <a:t>3</a:t>
            </a:r>
            <a:r>
              <a:rPr lang="zh-CN" altLang="en-US" sz="1400">
                <a:solidFill>
                  <a:schemeClr val="tx1">
                    <a:lumMod val="75000"/>
                    <a:lumOff val="25000"/>
                  </a:schemeClr>
                </a:solidFill>
                <a:latin typeface="华文楷体" panose="02010600040101010101" charset="-122"/>
                <a:ea typeface="华文楷体" panose="02010600040101010101" charset="-122"/>
              </a:rPr>
              <a:t>条</a:t>
            </a:r>
            <a:endParaRPr lang="en-US" altLang="zh-CN" sz="1400">
              <a:solidFill>
                <a:schemeClr val="tx1">
                  <a:lumMod val="75000"/>
                  <a:lumOff val="25000"/>
                </a:schemeClr>
              </a:solidFill>
              <a:latin typeface="华文楷体" panose="02010600040101010101" charset="-122"/>
              <a:ea typeface="华文楷体" panose="02010600040101010101" charset="-122"/>
            </a:endParaRPr>
          </a:p>
          <a:p>
            <a:pPr marL="228600" indent="-228600">
              <a:lnSpc>
                <a:spcPct val="150000"/>
              </a:lnSpc>
              <a:buFont typeface="Arial" panose="020B0604020202020204" pitchFamily="34" charset="0"/>
              <a:buChar char="•"/>
            </a:pPr>
            <a:r>
              <a:rPr lang="zh-CN" altLang="en-US" sz="1400">
                <a:solidFill>
                  <a:schemeClr val="tx1">
                    <a:lumMod val="75000"/>
                    <a:lumOff val="25000"/>
                  </a:schemeClr>
                </a:solidFill>
                <a:latin typeface="华文楷体" panose="02010600040101010101" charset="-122"/>
                <a:ea typeface="华文楷体" panose="02010600040101010101" charset="-122"/>
              </a:rPr>
              <a:t>问题类</a:t>
            </a:r>
            <a:r>
              <a:rPr lang="en-US" altLang="zh-CN" sz="1400" b="1">
                <a:solidFill>
                  <a:schemeClr val="tx1">
                    <a:lumMod val="75000"/>
                    <a:lumOff val="25000"/>
                  </a:schemeClr>
                </a:solidFill>
                <a:latin typeface="华文楷体" panose="02010600040101010101" charset="-122"/>
                <a:ea typeface="华文楷体" panose="02010600040101010101" charset="-122"/>
              </a:rPr>
              <a:t>17</a:t>
            </a:r>
            <a:r>
              <a:rPr lang="zh-CN" altLang="en-US" sz="1400">
                <a:solidFill>
                  <a:schemeClr val="tx1">
                    <a:lumMod val="75000"/>
                    <a:lumOff val="25000"/>
                  </a:schemeClr>
                </a:solidFill>
                <a:latin typeface="华文楷体" panose="02010600040101010101" charset="-122"/>
                <a:ea typeface="华文楷体" panose="02010600040101010101" charset="-122"/>
              </a:rPr>
              <a:t>条，集中在个人信用问题上，已处理</a:t>
            </a:r>
            <a:r>
              <a:rPr lang="en-US" altLang="zh-CN" sz="1400" b="1">
                <a:solidFill>
                  <a:schemeClr val="tx1">
                    <a:lumMod val="75000"/>
                    <a:lumOff val="25000"/>
                  </a:schemeClr>
                </a:solidFill>
                <a:latin typeface="华文楷体" panose="02010600040101010101" charset="-122"/>
                <a:ea typeface="华文楷体" panose="02010600040101010101" charset="-122"/>
              </a:rPr>
              <a:t>12</a:t>
            </a:r>
            <a:r>
              <a:rPr lang="zh-CN" altLang="en-US" sz="1400">
                <a:solidFill>
                  <a:schemeClr val="tx1">
                    <a:lumMod val="75000"/>
                    <a:lumOff val="25000"/>
                  </a:schemeClr>
                </a:solidFill>
                <a:latin typeface="华文楷体" panose="02010600040101010101" charset="-122"/>
                <a:ea typeface="华文楷体" panose="02010600040101010101" charset="-122"/>
              </a:rPr>
              <a:t>条，处理中</a:t>
            </a:r>
            <a:r>
              <a:rPr lang="en-US" altLang="zh-CN" sz="1400" b="1">
                <a:solidFill>
                  <a:schemeClr val="tx1">
                    <a:lumMod val="75000"/>
                    <a:lumOff val="25000"/>
                  </a:schemeClr>
                </a:solidFill>
                <a:latin typeface="华文楷体" panose="02010600040101010101" charset="-122"/>
                <a:ea typeface="华文楷体" panose="02010600040101010101" charset="-122"/>
              </a:rPr>
              <a:t>3</a:t>
            </a:r>
            <a:r>
              <a:rPr lang="zh-CN" altLang="en-US" sz="1400">
                <a:solidFill>
                  <a:schemeClr val="tx1">
                    <a:lumMod val="75000"/>
                    <a:lumOff val="25000"/>
                  </a:schemeClr>
                </a:solidFill>
                <a:latin typeface="华文楷体" panose="02010600040101010101" charset="-122"/>
                <a:ea typeface="华文楷体" panose="02010600040101010101" charset="-122"/>
              </a:rPr>
              <a:t>条</a:t>
            </a:r>
            <a:endParaRPr lang="en-US" altLang="zh-CN" sz="1400">
              <a:solidFill>
                <a:schemeClr val="tx1">
                  <a:lumMod val="75000"/>
                  <a:lumOff val="25000"/>
                </a:schemeClr>
              </a:solidFill>
              <a:latin typeface="华文楷体" panose="02010600040101010101" charset="-122"/>
              <a:ea typeface="华文楷体" panose="02010600040101010101" charset="-122"/>
            </a:endParaRPr>
          </a:p>
          <a:p>
            <a:pPr marL="228600" indent="-228600">
              <a:lnSpc>
                <a:spcPct val="150000"/>
              </a:lnSpc>
              <a:buFont typeface="Arial" panose="020B0604020202020204" pitchFamily="34" charset="0"/>
              <a:buChar char="•"/>
            </a:pPr>
            <a:r>
              <a:rPr lang="zh-CN" altLang="en-US" sz="1400">
                <a:solidFill>
                  <a:schemeClr val="tx1">
                    <a:lumMod val="75000"/>
                    <a:lumOff val="25000"/>
                  </a:schemeClr>
                </a:solidFill>
                <a:latin typeface="华文楷体" panose="02010600040101010101" charset="-122"/>
                <a:ea typeface="华文楷体" panose="02010600040101010101" charset="-122"/>
              </a:rPr>
              <a:t>咨询类</a:t>
            </a:r>
            <a:r>
              <a:rPr lang="en-US" altLang="zh-CN" sz="1400" b="1">
                <a:solidFill>
                  <a:schemeClr val="tx1">
                    <a:lumMod val="75000"/>
                    <a:lumOff val="25000"/>
                  </a:schemeClr>
                </a:solidFill>
                <a:latin typeface="华文楷体" panose="02010600040101010101" charset="-122"/>
                <a:ea typeface="华文楷体" panose="02010600040101010101" charset="-122"/>
              </a:rPr>
              <a:t>16</a:t>
            </a:r>
            <a:r>
              <a:rPr lang="zh-CN" altLang="en-US" sz="1400">
                <a:solidFill>
                  <a:schemeClr val="tx1">
                    <a:lumMod val="75000"/>
                    <a:lumOff val="25000"/>
                  </a:schemeClr>
                </a:solidFill>
                <a:latin typeface="华文楷体" panose="02010600040101010101" charset="-122"/>
                <a:ea typeface="华文楷体" panose="02010600040101010101" charset="-122"/>
              </a:rPr>
              <a:t>条，集中在车辆出行问题上，已处理</a:t>
            </a:r>
            <a:r>
              <a:rPr lang="en-US" altLang="zh-CN" sz="1400" b="1">
                <a:solidFill>
                  <a:schemeClr val="tx1">
                    <a:lumMod val="75000"/>
                    <a:lumOff val="25000"/>
                  </a:schemeClr>
                </a:solidFill>
                <a:latin typeface="华文楷体" panose="02010600040101010101" charset="-122"/>
                <a:ea typeface="华文楷体" panose="02010600040101010101" charset="-122"/>
              </a:rPr>
              <a:t>16</a:t>
            </a:r>
            <a:r>
              <a:rPr lang="zh-CN" altLang="en-US" sz="1400">
                <a:solidFill>
                  <a:schemeClr val="tx1">
                    <a:lumMod val="75000"/>
                    <a:lumOff val="25000"/>
                  </a:schemeClr>
                </a:solidFill>
                <a:latin typeface="华文楷体" panose="02010600040101010101" charset="-122"/>
                <a:ea typeface="华文楷体" panose="02010600040101010101" charset="-122"/>
              </a:rPr>
              <a:t>条</a:t>
            </a:r>
            <a:endParaRPr lang="zh-CN" altLang="en-US" sz="1200">
              <a:solidFill>
                <a:schemeClr val="tx1">
                  <a:lumMod val="50000"/>
                  <a:lumOff val="50000"/>
                </a:schemeClr>
              </a:solidFill>
              <a:latin typeface="华文楷体" panose="02010600040101010101" charset="-122"/>
              <a:ea typeface="华文楷体" panose="02010600040101010101" charset="-122"/>
            </a:endParaRPr>
          </a:p>
        </p:txBody>
      </p:sp>
      <p:graphicFrame>
        <p:nvGraphicFramePr>
          <p:cNvPr id="13" name="图表 12"/>
          <p:cNvGraphicFramePr/>
          <p:nvPr/>
        </p:nvGraphicFramePr>
        <p:xfrm>
          <a:off x="3695733" y="2742283"/>
          <a:ext cx="4416491" cy="3610621"/>
        </p:xfrm>
        <a:graphic>
          <a:graphicData uri="http://schemas.openxmlformats.org/drawingml/2006/chart">
            <c:chart xmlns:c="http://schemas.openxmlformats.org/drawingml/2006/chart" xmlns:r="http://schemas.openxmlformats.org/officeDocument/2006/relationships" r:id="rId1"/>
          </a:graphicData>
        </a:graphic>
      </p:graphicFrame>
      <p:pic>
        <p:nvPicPr>
          <p:cNvPr id="15" name="图片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图表 28"/>
          <p:cNvGraphicFramePr/>
          <p:nvPr/>
        </p:nvGraphicFramePr>
        <p:xfrm>
          <a:off x="276829" y="2733810"/>
          <a:ext cx="5819171" cy="3299209"/>
        </p:xfrm>
        <a:graphic>
          <a:graphicData uri="http://schemas.openxmlformats.org/drawingml/2006/chart">
            <c:chart xmlns:c="http://schemas.openxmlformats.org/drawingml/2006/chart" xmlns:r="http://schemas.openxmlformats.org/officeDocument/2006/relationships" r:id="rId1"/>
          </a:graphicData>
        </a:graphic>
      </p:graphicFrame>
      <p:sp>
        <p:nvSpPr>
          <p:cNvPr id="21" name="文本框 20"/>
          <p:cNvSpPr txBox="1"/>
          <p:nvPr/>
        </p:nvSpPr>
        <p:spPr>
          <a:xfrm>
            <a:off x="7761551" y="3169217"/>
            <a:ext cx="184731" cy="461665"/>
          </a:xfrm>
          <a:prstGeom prst="rect">
            <a:avLst/>
          </a:prstGeom>
          <a:noFill/>
        </p:spPr>
        <p:txBody>
          <a:bodyPr wrap="none" rtlCol="0">
            <a:spAutoFit/>
          </a:bodyPr>
          <a:lstStyle/>
          <a:p>
            <a:endParaRPr lang="zh-CN" altLang="en-US" sz="2400">
              <a:latin typeface="华文楷体" panose="02010600040101010101" charset="-122"/>
              <a:ea typeface="华文楷体" panose="02010600040101010101" charset="-122"/>
            </a:endParaRPr>
          </a:p>
        </p:txBody>
      </p:sp>
      <p:sp>
        <p:nvSpPr>
          <p:cNvPr id="23" name="矩形标注 22"/>
          <p:cNvSpPr/>
          <p:nvPr/>
        </p:nvSpPr>
        <p:spPr>
          <a:xfrm>
            <a:off x="3904835" y="3401874"/>
            <a:ext cx="1494749" cy="554062"/>
          </a:xfrm>
          <a:prstGeom prst="wedgeRectCallout">
            <a:avLst>
              <a:gd name="adj1" fmla="val -68924"/>
              <a:gd name="adj2" fmla="val -3545"/>
            </a:avLst>
          </a:prstGeom>
          <a:noFill/>
          <a:ln>
            <a:solidFill>
              <a:schemeClr val="bg1">
                <a:lumMod val="85000"/>
              </a:schemeClr>
            </a:solidFill>
          </a:ln>
        </p:spPr>
        <p:txBody>
          <a:bodyPr wrap="square" rtlCol="0" anchor="ctr">
            <a:spAutoFit/>
          </a:bodyPr>
          <a:lstStyle/>
          <a:p>
            <a:pPr fontAlgn="ctr">
              <a:lnSpc>
                <a:spcPct val="150000"/>
              </a:lnSpc>
            </a:pPr>
            <a:r>
              <a:rPr lang="zh-CN" altLang="en-US" sz="1065" dirty="0">
                <a:solidFill>
                  <a:schemeClr val="bg1">
                    <a:lumMod val="65000"/>
                  </a:schemeClr>
                </a:solidFill>
                <a:latin typeface="华文楷体" panose="02010600040101010101" charset="-122"/>
                <a:ea typeface="华文楷体" panose="02010600040101010101" charset="-122"/>
              </a:rPr>
              <a:t>推广</a:t>
            </a:r>
            <a:r>
              <a:rPr lang="en-US" altLang="zh-CN" sz="1065" dirty="0">
                <a:solidFill>
                  <a:schemeClr val="bg1">
                    <a:lumMod val="65000"/>
                  </a:schemeClr>
                </a:solidFill>
                <a:latin typeface="华文楷体" panose="02010600040101010101" charset="-122"/>
                <a:ea typeface="华文楷体" panose="02010600040101010101" charset="-122"/>
              </a:rPr>
              <a:t>PR</a:t>
            </a:r>
            <a:r>
              <a:rPr lang="zh-CN" altLang="en-US" sz="1065" dirty="0">
                <a:solidFill>
                  <a:schemeClr val="bg1">
                    <a:lumMod val="65000"/>
                  </a:schemeClr>
                </a:solidFill>
                <a:latin typeface="华文楷体" panose="02010600040101010101" charset="-122"/>
                <a:ea typeface="华文楷体" panose="02010600040101010101" charset="-122"/>
              </a:rPr>
              <a:t>文：</a:t>
            </a:r>
            <a:endParaRPr lang="en-US" altLang="zh-CN" sz="1065" dirty="0">
              <a:solidFill>
                <a:schemeClr val="bg1">
                  <a:lumMod val="65000"/>
                </a:schemeClr>
              </a:solidFill>
              <a:latin typeface="华文楷体" panose="02010600040101010101" charset="-122"/>
              <a:ea typeface="华文楷体" panose="02010600040101010101" charset="-122"/>
            </a:endParaRPr>
          </a:p>
          <a:p>
            <a:pPr fontAlgn="ctr">
              <a:lnSpc>
                <a:spcPct val="150000"/>
              </a:lnSpc>
            </a:pPr>
            <a:r>
              <a:rPr lang="en-US" altLang="zh-CN" sz="935" dirty="0" smtClean="0">
                <a:solidFill>
                  <a:schemeClr val="bg1">
                    <a:lumMod val="65000"/>
                  </a:schemeClr>
                </a:solidFill>
                <a:latin typeface="华文楷体" panose="02010600040101010101" charset="-122"/>
                <a:ea typeface="华文楷体" panose="02010600040101010101" charset="-122"/>
              </a:rPr>
              <a:t>xxx</a:t>
            </a:r>
            <a:endParaRPr lang="zh-CN" altLang="en-US" sz="935" dirty="0">
              <a:solidFill>
                <a:schemeClr val="bg1">
                  <a:lumMod val="65000"/>
                </a:schemeClr>
              </a:solidFill>
              <a:latin typeface="华文楷体" panose="02010600040101010101" charset="-122"/>
              <a:ea typeface="华文楷体" panose="02010600040101010101" charset="-122"/>
            </a:endParaRPr>
          </a:p>
        </p:txBody>
      </p:sp>
      <p:sp>
        <p:nvSpPr>
          <p:cNvPr id="24" name="文本框 23"/>
          <p:cNvSpPr txBox="1"/>
          <p:nvPr/>
        </p:nvSpPr>
        <p:spPr>
          <a:xfrm>
            <a:off x="239352" y="1255275"/>
            <a:ext cx="11617289" cy="1061829"/>
          </a:xfrm>
          <a:prstGeom prst="rect">
            <a:avLst/>
          </a:prstGeom>
          <a:noFill/>
        </p:spPr>
        <p:txBody>
          <a:bodyPr wrap="square" rtlCol="0">
            <a:spAutoFit/>
          </a:bodyPr>
          <a:lstStyle/>
          <a:p>
            <a:pPr>
              <a:lnSpc>
                <a:spcPct val="150000"/>
              </a:lnSpc>
              <a:tabLst>
                <a:tab pos="428625" algn="l"/>
              </a:tabLst>
            </a:pPr>
            <a:r>
              <a:rPr lang="zh-CN" altLang="en-US" sz="1400" b="1" dirty="0">
                <a:latin typeface="华文楷体" panose="02010600040101010101" charset="-122"/>
                <a:ea typeface="华文楷体" panose="02010600040101010101" charset="-122"/>
              </a:rPr>
              <a:t>微信公众号运营：</a:t>
            </a:r>
            <a:r>
              <a:rPr lang="zh-CN" altLang="en-US" sz="1400" dirty="0">
                <a:latin typeface="华文楷体" panose="02010600040101010101" charset="-122"/>
                <a:ea typeface="华文楷体" panose="02010600040101010101" charset="-122"/>
              </a:rPr>
              <a:t>本周订阅号推送</a:t>
            </a:r>
            <a:r>
              <a:rPr lang="en-US" altLang="zh-CN" sz="1400" b="1" dirty="0">
                <a:latin typeface="华文楷体" panose="02010600040101010101" charset="-122"/>
                <a:ea typeface="华文楷体" panose="02010600040101010101" charset="-122"/>
              </a:rPr>
              <a:t>3</a:t>
            </a:r>
            <a:r>
              <a:rPr lang="zh-CN" altLang="en-US" sz="1400" dirty="0">
                <a:latin typeface="华文楷体" panose="02010600040101010101" charset="-122"/>
                <a:ea typeface="华文楷体" panose="02010600040101010101" charset="-122"/>
              </a:rPr>
              <a:t>条，服务号推送上周及本周集合共</a:t>
            </a:r>
            <a:r>
              <a:rPr lang="en-US" altLang="zh-CN" sz="1400" b="1" dirty="0">
                <a:latin typeface="华文楷体" panose="02010600040101010101" charset="-122"/>
                <a:ea typeface="华文楷体" panose="02010600040101010101" charset="-122"/>
              </a:rPr>
              <a:t>5</a:t>
            </a:r>
            <a:r>
              <a:rPr lang="zh-CN" altLang="en-US" sz="1400" dirty="0">
                <a:latin typeface="华文楷体" panose="02010600040101010101" charset="-122"/>
                <a:ea typeface="华文楷体" panose="02010600040101010101" charset="-122"/>
              </a:rPr>
              <a:t>条</a:t>
            </a:r>
            <a:endParaRPr lang="en-US" altLang="zh-CN" sz="1400" dirty="0">
              <a:latin typeface="华文楷体" panose="02010600040101010101" charset="-122"/>
              <a:ea typeface="华文楷体" panose="02010600040101010101" charset="-122"/>
            </a:endParaRPr>
          </a:p>
          <a:p>
            <a:pPr marL="406400" lvl="1" indent="-406400">
              <a:lnSpc>
                <a:spcPct val="150000"/>
              </a:lnSpc>
              <a:buFont typeface="Arial" panose="020B0604020202020204" pitchFamily="34" charset="0"/>
              <a:buChar char="•"/>
              <a:tabLst>
                <a:tab pos="635635" algn="l"/>
              </a:tabLst>
            </a:pPr>
            <a:r>
              <a:rPr lang="zh-CN" altLang="en-US" sz="1400" b="1" dirty="0">
                <a:latin typeface="华文楷体" panose="02010600040101010101" charset="-122"/>
                <a:ea typeface="华文楷体" panose="02010600040101010101" charset="-122"/>
              </a:rPr>
              <a:t>订阅号：</a:t>
            </a:r>
            <a:r>
              <a:rPr lang="zh-CN" altLang="en-US" sz="1400" dirty="0">
                <a:latin typeface="华文楷体" panose="02010600040101010101" charset="-122"/>
                <a:ea typeface="华文楷体" panose="02010600040101010101" charset="-122"/>
              </a:rPr>
              <a:t>累计粉丝</a:t>
            </a:r>
            <a:r>
              <a:rPr lang="en-US" altLang="zh-CN" sz="1400" b="1" dirty="0">
                <a:latin typeface="华文楷体" panose="02010600040101010101" charset="-122"/>
                <a:ea typeface="华文楷体" panose="02010600040101010101" charset="-122"/>
              </a:rPr>
              <a:t> </a:t>
            </a:r>
            <a:r>
              <a:rPr lang="en-US" altLang="zh-CN" sz="1400" b="1" dirty="0" smtClean="0">
                <a:solidFill>
                  <a:srgbClr val="C00000"/>
                </a:solidFill>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a:t>
            </a:r>
            <a:r>
              <a:rPr lang="zh-CN" altLang="en-US" sz="1400" dirty="0">
                <a:latin typeface="华文楷体" panose="02010600040101010101" charset="-122"/>
                <a:ea typeface="华文楷体" panose="02010600040101010101" charset="-122"/>
              </a:rPr>
              <a:t>本周增</a:t>
            </a:r>
            <a:r>
              <a:rPr lang="zh-CN" altLang="en-US" sz="1400" dirty="0" smtClean="0">
                <a:latin typeface="华文楷体" panose="02010600040101010101" charset="-122"/>
                <a:ea typeface="华文楷体" panose="02010600040101010101" charset="-122"/>
              </a:rPr>
              <a:t>粉</a:t>
            </a:r>
            <a:r>
              <a:rPr lang="en-US" altLang="zh-CN" sz="1400" b="1" dirty="0" smtClean="0">
                <a:solidFill>
                  <a:srgbClr val="C00000"/>
                </a:solidFill>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人</a:t>
            </a:r>
            <a:r>
              <a:rPr lang="zh-CN" altLang="en-US" sz="1400" dirty="0">
                <a:latin typeface="华文楷体" panose="02010600040101010101" charset="-122"/>
                <a:ea typeface="华文楷体" panose="02010600040101010101" charset="-122"/>
              </a:rPr>
              <a:t>，对比上周</a:t>
            </a:r>
            <a:r>
              <a:rPr lang="zh-CN" altLang="en-US" sz="1400" b="1" dirty="0">
                <a:solidFill>
                  <a:srgbClr val="FF0000"/>
                </a:solidFill>
                <a:latin typeface="华文楷体" panose="02010600040101010101" charset="-122"/>
                <a:ea typeface="华文楷体" panose="02010600040101010101" charset="-122"/>
              </a:rPr>
              <a:t>↑</a:t>
            </a:r>
            <a:r>
              <a:rPr lang="zh-CN" altLang="en-US" sz="1400" b="1" dirty="0">
                <a:solidFill>
                  <a:srgbClr val="00B050"/>
                </a:solidFill>
                <a:latin typeface="华文楷体" panose="02010600040101010101" charset="-122"/>
                <a:ea typeface="华文楷体" panose="02010600040101010101" charset="-122"/>
              </a:rPr>
              <a:t> </a:t>
            </a:r>
            <a:r>
              <a:rPr lang="en-US" altLang="zh-CN" sz="1400" dirty="0">
                <a:latin typeface="华文楷体" panose="02010600040101010101" charset="-122"/>
                <a:ea typeface="华文楷体" panose="02010600040101010101" charset="-122"/>
              </a:rPr>
              <a:t>8%</a:t>
            </a:r>
            <a:r>
              <a:rPr lang="zh-CN" altLang="en-US" sz="1400" dirty="0">
                <a:latin typeface="华文楷体" panose="02010600040101010101" charset="-122"/>
                <a:ea typeface="华文楷体" panose="02010600040101010101" charset="-122"/>
              </a:rPr>
              <a:t>；本周阅读量</a:t>
            </a:r>
            <a:r>
              <a:rPr lang="en-US" altLang="zh-CN" sz="1400" b="1" dirty="0">
                <a:latin typeface="华文楷体" panose="02010600040101010101" charset="-122"/>
                <a:ea typeface="华文楷体" panose="02010600040101010101" charset="-122"/>
              </a:rPr>
              <a:t>2258</a:t>
            </a:r>
            <a:r>
              <a:rPr lang="zh-CN" altLang="en-US" sz="1400" dirty="0">
                <a:latin typeface="华文楷体" panose="02010600040101010101" charset="-122"/>
                <a:ea typeface="华文楷体" panose="02010600040101010101" charset="-122"/>
              </a:rPr>
              <a:t>，对比上周</a:t>
            </a:r>
            <a:r>
              <a:rPr lang="zh-CN" altLang="en-US" sz="1400" b="1" dirty="0">
                <a:solidFill>
                  <a:srgbClr val="00B050"/>
                </a:solidFill>
                <a:latin typeface="华文楷体" panose="02010600040101010101" charset="-122"/>
                <a:ea typeface="华文楷体" panose="02010600040101010101" charset="-122"/>
              </a:rPr>
              <a:t>↓</a:t>
            </a:r>
            <a:r>
              <a:rPr lang="zh-CN" altLang="en-US" sz="1400" b="1" dirty="0">
                <a:solidFill>
                  <a:srgbClr val="FF0000"/>
                </a:solidFill>
                <a:latin typeface="华文楷体" panose="02010600040101010101" charset="-122"/>
                <a:ea typeface="华文楷体" panose="02010600040101010101" charset="-122"/>
              </a:rPr>
              <a:t> </a:t>
            </a:r>
            <a:r>
              <a:rPr lang="en-US" altLang="zh-CN" sz="1400" dirty="0">
                <a:latin typeface="华文楷体" panose="02010600040101010101" charset="-122"/>
                <a:ea typeface="华文楷体" panose="02010600040101010101" charset="-122"/>
              </a:rPr>
              <a:t>60%</a:t>
            </a:r>
            <a:r>
              <a:rPr lang="zh-CN" altLang="en-US" sz="1400" dirty="0">
                <a:solidFill>
                  <a:schemeClr val="bg1">
                    <a:lumMod val="65000"/>
                  </a:schemeClr>
                </a:solidFill>
                <a:latin typeface="华文楷体" panose="02010600040101010101" charset="-122"/>
                <a:ea typeface="华文楷体" panose="02010600040101010101" charset="-122"/>
              </a:rPr>
              <a:t>（因一键报警功能未上线，准备好的推文未发布 ）</a:t>
            </a:r>
            <a:endParaRPr lang="en-US" altLang="zh-CN" sz="1400" dirty="0">
              <a:solidFill>
                <a:schemeClr val="bg1">
                  <a:lumMod val="65000"/>
                </a:schemeClr>
              </a:solidFill>
              <a:latin typeface="华文楷体" panose="02010600040101010101" charset="-122"/>
              <a:ea typeface="华文楷体" panose="02010600040101010101" charset="-122"/>
            </a:endParaRPr>
          </a:p>
          <a:p>
            <a:pPr marL="406400" lvl="1" indent="-406400">
              <a:lnSpc>
                <a:spcPct val="150000"/>
              </a:lnSpc>
              <a:buFont typeface="Arial" panose="020B0604020202020204" pitchFamily="34" charset="0"/>
              <a:buChar char="•"/>
              <a:tabLst>
                <a:tab pos="635635" algn="l"/>
              </a:tabLst>
            </a:pPr>
            <a:r>
              <a:rPr lang="zh-CN" altLang="en-US" sz="1400" b="1" dirty="0">
                <a:latin typeface="华文楷体" panose="02010600040101010101" charset="-122"/>
                <a:ea typeface="华文楷体" panose="02010600040101010101" charset="-122"/>
              </a:rPr>
              <a:t>服务号：</a:t>
            </a:r>
            <a:r>
              <a:rPr lang="zh-CN" altLang="en-US" sz="1400" dirty="0">
                <a:latin typeface="华文楷体" panose="02010600040101010101" charset="-122"/>
                <a:ea typeface="华文楷体" panose="02010600040101010101" charset="-122"/>
              </a:rPr>
              <a:t>累计</a:t>
            </a:r>
            <a:r>
              <a:rPr lang="zh-CN" altLang="en-US" sz="1400" dirty="0" smtClean="0">
                <a:latin typeface="华文楷体" panose="02010600040101010101" charset="-122"/>
                <a:ea typeface="华文楷体" panose="02010600040101010101" charset="-122"/>
              </a:rPr>
              <a:t>粉丝</a:t>
            </a:r>
            <a:r>
              <a:rPr lang="en-US" altLang="zh-CN" sz="1400" b="1" dirty="0" smtClean="0">
                <a:solidFill>
                  <a:srgbClr val="C00000"/>
                </a:solidFill>
                <a:latin typeface="华文楷体" panose="02010600040101010101" charset="-122"/>
                <a:ea typeface="华文楷体" panose="02010600040101010101" charset="-122"/>
              </a:rPr>
              <a:t>xxx</a:t>
            </a:r>
            <a:r>
              <a:rPr lang="zh-CN" altLang="en-US" sz="1400" dirty="0" smtClean="0">
                <a:latin typeface="华文楷体" panose="02010600040101010101" charset="-122"/>
                <a:ea typeface="华文楷体" panose="02010600040101010101" charset="-122"/>
              </a:rPr>
              <a:t>，</a:t>
            </a:r>
            <a:r>
              <a:rPr lang="zh-CN" altLang="en-US" sz="1400" dirty="0">
                <a:latin typeface="华文楷体" panose="02010600040101010101" charset="-122"/>
                <a:ea typeface="华文楷体" panose="02010600040101010101" charset="-122"/>
              </a:rPr>
              <a:t>本周增</a:t>
            </a:r>
            <a:r>
              <a:rPr lang="zh-CN" altLang="en-US" sz="1400" dirty="0" smtClean="0">
                <a:latin typeface="华文楷体" panose="02010600040101010101" charset="-122"/>
                <a:ea typeface="华文楷体" panose="02010600040101010101" charset="-122"/>
              </a:rPr>
              <a:t>粉</a:t>
            </a:r>
            <a:r>
              <a:rPr lang="en-US" altLang="zh-CN" sz="1400" b="1" dirty="0" smtClean="0">
                <a:solidFill>
                  <a:srgbClr val="C00000"/>
                </a:solidFill>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人</a:t>
            </a:r>
            <a:r>
              <a:rPr lang="zh-CN" altLang="en-US" sz="1400" dirty="0">
                <a:latin typeface="华文楷体" panose="02010600040101010101" charset="-122"/>
                <a:ea typeface="华文楷体" panose="02010600040101010101" charset="-122"/>
              </a:rPr>
              <a:t>，对比上周</a:t>
            </a:r>
            <a:r>
              <a:rPr lang="zh-CN" altLang="en-US" sz="1400" b="1" dirty="0">
                <a:solidFill>
                  <a:srgbClr val="FF0000"/>
                </a:solidFill>
                <a:latin typeface="华文楷体" panose="02010600040101010101" charset="-122"/>
                <a:ea typeface="华文楷体" panose="02010600040101010101" charset="-122"/>
              </a:rPr>
              <a:t>↑</a:t>
            </a:r>
            <a:r>
              <a:rPr lang="en-US" altLang="zh-CN" sz="1400" dirty="0">
                <a:latin typeface="华文楷体" panose="02010600040101010101" charset="-122"/>
                <a:ea typeface="华文楷体" panose="02010600040101010101" charset="-122"/>
              </a:rPr>
              <a:t>5.2%</a:t>
            </a:r>
            <a:r>
              <a:rPr lang="zh-CN" altLang="en-US" sz="1400" dirty="0">
                <a:latin typeface="华文楷体" panose="02010600040101010101" charset="-122"/>
                <a:ea typeface="华文楷体" panose="02010600040101010101" charset="-122"/>
              </a:rPr>
              <a:t>；本周阅读量</a:t>
            </a:r>
            <a:r>
              <a:rPr lang="en-US" altLang="zh-CN" sz="1400" b="1" dirty="0">
                <a:latin typeface="华文楷体" panose="02010600040101010101" charset="-122"/>
                <a:ea typeface="华文楷体" panose="02010600040101010101" charset="-122"/>
              </a:rPr>
              <a:t>198</a:t>
            </a:r>
            <a:r>
              <a:rPr lang="zh-CN" altLang="en-US" sz="1400" dirty="0">
                <a:latin typeface="华文楷体" panose="02010600040101010101" charset="-122"/>
                <a:ea typeface="华文楷体" panose="02010600040101010101" charset="-122"/>
              </a:rPr>
              <a:t>，对比上周</a:t>
            </a:r>
            <a:r>
              <a:rPr lang="zh-CN" altLang="en-US" sz="1400" b="1" dirty="0">
                <a:solidFill>
                  <a:srgbClr val="00B050"/>
                </a:solidFill>
                <a:latin typeface="华文楷体" panose="02010600040101010101" charset="-122"/>
                <a:ea typeface="华文楷体" panose="02010600040101010101" charset="-122"/>
              </a:rPr>
              <a:t>↓</a:t>
            </a:r>
            <a:r>
              <a:rPr lang="zh-CN" altLang="en-US" sz="1400" dirty="0">
                <a:latin typeface="华文楷体" panose="02010600040101010101" charset="-122"/>
                <a:ea typeface="华文楷体" panose="02010600040101010101" charset="-122"/>
              </a:rPr>
              <a:t> </a:t>
            </a:r>
            <a:r>
              <a:rPr lang="en-US" altLang="zh-CN" sz="1400" dirty="0">
                <a:latin typeface="华文楷体" panose="02010600040101010101" charset="-122"/>
                <a:ea typeface="华文楷体" panose="02010600040101010101" charset="-122"/>
              </a:rPr>
              <a:t>28%</a:t>
            </a:r>
            <a:endParaRPr lang="en-US" altLang="zh-CN" sz="1400" dirty="0">
              <a:latin typeface="华文楷体" panose="02010600040101010101" charset="-122"/>
              <a:ea typeface="华文楷体" panose="02010600040101010101" charset="-122"/>
            </a:endParaRPr>
          </a:p>
        </p:txBody>
      </p:sp>
      <p:graphicFrame>
        <p:nvGraphicFramePr>
          <p:cNvPr id="30" name="图表 29"/>
          <p:cNvGraphicFramePr/>
          <p:nvPr/>
        </p:nvGraphicFramePr>
        <p:xfrm>
          <a:off x="6532093" y="2728972"/>
          <a:ext cx="5036515" cy="3304047"/>
        </p:xfrm>
        <a:graphic>
          <a:graphicData uri="http://schemas.openxmlformats.org/drawingml/2006/chart">
            <c:chart xmlns:c="http://schemas.openxmlformats.org/drawingml/2006/chart" xmlns:r="http://schemas.openxmlformats.org/officeDocument/2006/relationships" r:id="rId2"/>
          </a:graphicData>
        </a:graphic>
      </p:graphicFrame>
      <p:pic>
        <p:nvPicPr>
          <p:cNvPr id="25" name="图片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26"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mj-ea"/>
              </a:rPr>
              <a:t>内诊</a:t>
            </a:r>
            <a:r>
              <a:rPr lang="en-US" altLang="zh-CN" sz="2400" dirty="0">
                <a:solidFill>
                  <a:prstClr val="black"/>
                </a:solidFill>
                <a:latin typeface="+mj-ea"/>
              </a:rPr>
              <a:t>-</a:t>
            </a:r>
            <a:r>
              <a:rPr lang="zh-CN" altLang="en-US" sz="2400" dirty="0">
                <a:solidFill>
                  <a:prstClr val="black"/>
                </a:solidFill>
                <a:latin typeface="+mj-ea"/>
              </a:rPr>
              <a:t>运营</a:t>
            </a:r>
            <a:r>
              <a:rPr lang="zh-CN" altLang="en-US" sz="2400" dirty="0" smtClean="0">
                <a:solidFill>
                  <a:prstClr val="black"/>
                </a:solidFill>
                <a:latin typeface="+mj-ea"/>
              </a:rPr>
              <a:t>分析</a:t>
            </a:r>
            <a:endParaRPr lang="en-US" altLang="zh-CN" sz="2400" dirty="0">
              <a:latin typeface="+mj-ea"/>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文本框 22"/>
          <p:cNvSpPr txBox="1"/>
          <p:nvPr/>
        </p:nvSpPr>
        <p:spPr>
          <a:xfrm>
            <a:off x="500204" y="4554492"/>
            <a:ext cx="6036825" cy="1815882"/>
          </a:xfrm>
          <a:prstGeom prst="rect">
            <a:avLst/>
          </a:prstGeom>
          <a:noFill/>
        </p:spPr>
        <p:txBody>
          <a:bodyPr wrap="square" rtlCol="0">
            <a:spAutoFit/>
          </a:bodyPr>
          <a:lstStyle/>
          <a:p>
            <a:pPr marL="228600" indent="-228600">
              <a:buFont typeface="Wingdings" panose="05000000000000000000" pitchFamily="2" charset="2"/>
              <a:buChar char="l"/>
            </a:pPr>
            <a:r>
              <a:rPr lang="zh-CN" altLang="en-US" sz="1600" dirty="0">
                <a:latin typeface="华文楷体" panose="02010600040101010101" charset="-122"/>
                <a:ea typeface="华文楷体" panose="02010600040101010101" charset="-122"/>
              </a:rPr>
              <a:t>本周用户点击次数最高的服务</a:t>
            </a:r>
            <a:r>
              <a:rPr lang="zh-CN" altLang="en-US" sz="1600" dirty="0" smtClean="0">
                <a:latin typeface="华文楷体" panose="02010600040101010101" charset="-122"/>
                <a:ea typeface="华文楷体" panose="02010600040101010101" charset="-122"/>
              </a:rPr>
              <a:t>为</a:t>
            </a:r>
            <a:r>
              <a:rPr lang="en-US" altLang="zh-CN" sz="1600" dirty="0" smtClean="0">
                <a:latin typeface="华文楷体" panose="02010600040101010101" charset="-122"/>
                <a:ea typeface="华文楷体" panose="02010600040101010101" charset="-122"/>
              </a:rPr>
              <a:t>xxx</a:t>
            </a:r>
            <a:r>
              <a:rPr lang="zh-CN" altLang="en-US" sz="1600" dirty="0" smtClean="0">
                <a:latin typeface="华文楷体" panose="02010600040101010101" charset="-122"/>
                <a:ea typeface="华文楷体" panose="02010600040101010101" charset="-122"/>
              </a:rPr>
              <a:t>，</a:t>
            </a:r>
            <a:r>
              <a:rPr lang="zh-CN" altLang="en-US" sz="1600" dirty="0">
                <a:latin typeface="华文楷体" panose="02010600040101010101" charset="-122"/>
                <a:ea typeface="华文楷体" panose="02010600040101010101" charset="-122"/>
              </a:rPr>
              <a:t>其次</a:t>
            </a:r>
            <a:r>
              <a:rPr lang="zh-CN" altLang="en-US" sz="1600" dirty="0" smtClean="0">
                <a:latin typeface="华文楷体" panose="02010600040101010101" charset="-122"/>
                <a:ea typeface="华文楷体" panose="02010600040101010101" charset="-122"/>
              </a:rPr>
              <a:t>为</a:t>
            </a:r>
            <a:r>
              <a:rPr lang="en-US" altLang="zh-CN" sz="1600" dirty="0" err="1" smtClean="0">
                <a:latin typeface="华文楷体" panose="02010600040101010101" charset="-122"/>
                <a:ea typeface="华文楷体" panose="02010600040101010101" charset="-122"/>
              </a:rPr>
              <a:t>xxxx</a:t>
            </a:r>
            <a:r>
              <a:rPr lang="zh-CN" altLang="en-US" sz="1600" dirty="0" smtClean="0">
                <a:latin typeface="华文楷体" panose="02010600040101010101" charset="-122"/>
                <a:ea typeface="华文楷体" panose="02010600040101010101" charset="-122"/>
              </a:rPr>
              <a:t>，</a:t>
            </a:r>
            <a:r>
              <a:rPr lang="zh-CN" altLang="en-US" sz="1600" dirty="0">
                <a:latin typeface="华文楷体" panose="02010600040101010101" charset="-122"/>
                <a:ea typeface="华文楷体" panose="02010600040101010101" charset="-122"/>
              </a:rPr>
              <a:t>由于推广策略调整，本周的新增用户和活跃用户减少，</a:t>
            </a:r>
            <a:r>
              <a:rPr lang="en-US" altLang="zh-CN" sz="1600" dirty="0">
                <a:latin typeface="华文楷体" panose="02010600040101010101" charset="-122"/>
                <a:ea typeface="华文楷体" panose="02010600040101010101" charset="-122"/>
              </a:rPr>
              <a:t>APP</a:t>
            </a:r>
            <a:r>
              <a:rPr lang="zh-CN" altLang="en-US" sz="1600" dirty="0">
                <a:latin typeface="华文楷体" panose="02010600040101010101" charset="-122"/>
                <a:ea typeface="华文楷体" panose="02010600040101010101" charset="-122"/>
              </a:rPr>
              <a:t>内各服务的点击次数也随之下降</a:t>
            </a:r>
            <a:endParaRPr lang="en-US" altLang="zh-CN" sz="1600" dirty="0">
              <a:latin typeface="华文楷体" panose="02010600040101010101" charset="-122"/>
              <a:ea typeface="华文楷体" panose="02010600040101010101" charset="-122"/>
            </a:endParaRPr>
          </a:p>
          <a:p>
            <a:pPr marL="228600" indent="-228600">
              <a:buFont typeface="Wingdings" panose="05000000000000000000" pitchFamily="2" charset="2"/>
              <a:buChar char="l"/>
            </a:pPr>
            <a:r>
              <a:rPr lang="zh-CN" altLang="en-US" sz="1600" dirty="0">
                <a:latin typeface="华文楷体" panose="02010600040101010101" charset="-122"/>
                <a:ea typeface="华文楷体" panose="02010600040101010101" charset="-122"/>
              </a:rPr>
              <a:t>右图</a:t>
            </a:r>
            <a:r>
              <a:rPr lang="zh-CN" altLang="en-US" sz="1600" dirty="0" smtClean="0">
                <a:latin typeface="华文楷体" panose="02010600040101010101" charset="-122"/>
                <a:ea typeface="华文楷体" panose="02010600040101010101" charset="-122"/>
              </a:rPr>
              <a:t>为</a:t>
            </a:r>
            <a:r>
              <a:rPr lang="en-US" altLang="zh-CN" sz="1600" dirty="0" smtClean="0">
                <a:latin typeface="华文楷体" panose="02010600040101010101" charset="-122"/>
                <a:ea typeface="华文楷体" panose="02010600040101010101" charset="-122"/>
              </a:rPr>
              <a:t>xxx</a:t>
            </a:r>
            <a:r>
              <a:rPr lang="zh-CN" altLang="en-US" sz="1600" dirty="0" smtClean="0">
                <a:latin typeface="华文楷体" panose="02010600040101010101" charset="-122"/>
                <a:ea typeface="华文楷体" panose="02010600040101010101" charset="-122"/>
              </a:rPr>
              <a:t>功能</a:t>
            </a:r>
            <a:r>
              <a:rPr lang="zh-CN" altLang="en-US" sz="1600" dirty="0">
                <a:latin typeface="华文楷体" panose="02010600040101010101" charset="-122"/>
                <a:ea typeface="华文楷体" panose="02010600040101010101" charset="-122"/>
              </a:rPr>
              <a:t>上线至今的订单数据，</a:t>
            </a:r>
            <a:r>
              <a:rPr lang="zh-CN" altLang="en-US" sz="1600" dirty="0" smtClean="0">
                <a:latin typeface="华文楷体" panose="02010600040101010101" charset="-122"/>
                <a:ea typeface="华文楷体" panose="02010600040101010101" charset="-122"/>
              </a:rPr>
              <a:t>使用</a:t>
            </a:r>
            <a:r>
              <a:rPr lang="en-US" altLang="zh-CN" sz="1600" dirty="0" smtClean="0">
                <a:latin typeface="华文楷体" panose="02010600040101010101" charset="-122"/>
                <a:ea typeface="华文楷体" panose="02010600040101010101" charset="-122"/>
              </a:rPr>
              <a:t>xx</a:t>
            </a:r>
            <a:r>
              <a:rPr lang="zh-CN" altLang="en-US" sz="1600" dirty="0" smtClean="0">
                <a:latin typeface="华文楷体" panose="02010600040101010101" charset="-122"/>
                <a:ea typeface="华文楷体" panose="02010600040101010101" charset="-122"/>
              </a:rPr>
              <a:t>功能</a:t>
            </a:r>
            <a:r>
              <a:rPr lang="zh-CN" altLang="en-US" sz="1600" dirty="0">
                <a:latin typeface="华文楷体" panose="02010600040101010101" charset="-122"/>
                <a:ea typeface="华文楷体" panose="02010600040101010101" charset="-122"/>
              </a:rPr>
              <a:t>的用户最多</a:t>
            </a:r>
            <a:r>
              <a:rPr lang="zh-CN" altLang="en-US" sz="1600" dirty="0">
                <a:solidFill>
                  <a:schemeClr val="bg1">
                    <a:lumMod val="50000"/>
                  </a:schemeClr>
                </a:solidFill>
                <a:latin typeface="华文楷体" panose="02010600040101010101" charset="-122"/>
                <a:ea typeface="华文楷体" panose="02010600040101010101" charset="-122"/>
              </a:rPr>
              <a:t>（数据来源</a:t>
            </a:r>
            <a:r>
              <a:rPr lang="zh-CN" altLang="en-US" sz="1600" dirty="0" smtClean="0">
                <a:solidFill>
                  <a:schemeClr val="bg1">
                    <a:lumMod val="50000"/>
                  </a:schemeClr>
                </a:solidFill>
                <a:latin typeface="华文楷体" panose="02010600040101010101" charset="-122"/>
                <a:ea typeface="华文楷体" panose="02010600040101010101" charset="-122"/>
              </a:rPr>
              <a:t>：</a:t>
            </a:r>
            <a:r>
              <a:rPr lang="en-US" altLang="zh-CN" sz="1600" dirty="0" smtClean="0">
                <a:solidFill>
                  <a:schemeClr val="bg1">
                    <a:lumMod val="50000"/>
                  </a:schemeClr>
                </a:solidFill>
                <a:latin typeface="华文楷体" panose="02010600040101010101" charset="-122"/>
                <a:ea typeface="华文楷体" panose="02010600040101010101" charset="-122"/>
              </a:rPr>
              <a:t>xxx</a:t>
            </a:r>
            <a:r>
              <a:rPr lang="zh-CN" altLang="en-US" sz="1600" dirty="0" smtClean="0">
                <a:solidFill>
                  <a:schemeClr val="bg1">
                    <a:lumMod val="50000"/>
                  </a:schemeClr>
                </a:solidFill>
                <a:latin typeface="华文楷体" panose="02010600040101010101" charset="-122"/>
                <a:ea typeface="华文楷体" panose="02010600040101010101" charset="-122"/>
              </a:rPr>
              <a:t>）</a:t>
            </a:r>
            <a:endParaRPr lang="en-US" altLang="zh-CN" sz="1600" dirty="0">
              <a:solidFill>
                <a:schemeClr val="bg1">
                  <a:lumMod val="50000"/>
                </a:schemeClr>
              </a:solidFill>
              <a:latin typeface="华文楷体" panose="02010600040101010101" charset="-122"/>
              <a:ea typeface="华文楷体" panose="02010600040101010101" charset="-122"/>
            </a:endParaRPr>
          </a:p>
          <a:p>
            <a:pPr marL="228600" indent="-228600">
              <a:buFont typeface="Wingdings" panose="05000000000000000000" pitchFamily="2" charset="2"/>
              <a:buChar char="l"/>
            </a:pPr>
            <a:r>
              <a:rPr lang="zh-CN" altLang="en-US" sz="1600" dirty="0" smtClean="0">
                <a:latin typeface="华文楷体" panose="02010600040101010101" charset="-122"/>
                <a:ea typeface="华文楷体" panose="02010600040101010101" charset="-122"/>
              </a:rPr>
              <a:t>“</a:t>
            </a:r>
            <a:r>
              <a:rPr lang="en-US" altLang="zh-CN" sz="1600" dirty="0" smtClean="0">
                <a:latin typeface="华文楷体" panose="02010600040101010101" charset="-122"/>
                <a:ea typeface="华文楷体" panose="02010600040101010101" charset="-122"/>
              </a:rPr>
              <a:t>xxx</a:t>
            </a:r>
            <a:r>
              <a:rPr lang="zh-CN" altLang="en-US" sz="1600" dirty="0" smtClean="0">
                <a:latin typeface="华文楷体" panose="02010600040101010101" charset="-122"/>
                <a:ea typeface="华文楷体" panose="02010600040101010101" charset="-122"/>
              </a:rPr>
              <a:t>”</a:t>
            </a:r>
            <a:r>
              <a:rPr lang="zh-CN" altLang="en-US" sz="1600" dirty="0">
                <a:latin typeface="华文楷体" panose="02010600040101010101" charset="-122"/>
                <a:ea typeface="华文楷体" panose="02010600040101010101" charset="-122"/>
              </a:rPr>
              <a:t>功能</a:t>
            </a:r>
            <a:r>
              <a:rPr lang="en-US" altLang="zh-CN" sz="1600" dirty="0">
                <a:latin typeface="华文楷体" panose="02010600040101010101" charset="-122"/>
                <a:ea typeface="华文楷体" panose="02010600040101010101" charset="-122"/>
              </a:rPr>
              <a:t>9</a:t>
            </a:r>
            <a:r>
              <a:rPr lang="zh-CN" altLang="en-US" sz="1600" dirty="0">
                <a:latin typeface="华文楷体" panose="02010600040101010101" charset="-122"/>
                <a:ea typeface="华文楷体" panose="02010600040101010101" charset="-122"/>
              </a:rPr>
              <a:t>月</a:t>
            </a:r>
            <a:r>
              <a:rPr lang="en-US" altLang="zh-CN" sz="1600" dirty="0">
                <a:latin typeface="华文楷体" panose="02010600040101010101" charset="-122"/>
                <a:ea typeface="华文楷体" panose="02010600040101010101" charset="-122"/>
              </a:rPr>
              <a:t>6</a:t>
            </a:r>
            <a:r>
              <a:rPr lang="zh-CN" altLang="en-US" sz="1600" dirty="0">
                <a:latin typeface="华文楷体" panose="02010600040101010101" charset="-122"/>
                <a:ea typeface="华文楷体" panose="02010600040101010101" charset="-122"/>
              </a:rPr>
              <a:t>日上线，入口总点击次数为</a:t>
            </a:r>
            <a:r>
              <a:rPr lang="en-US" altLang="zh-CN" sz="1600" dirty="0">
                <a:latin typeface="华文楷体" panose="02010600040101010101" charset="-122"/>
                <a:ea typeface="华文楷体" panose="02010600040101010101" charset="-122"/>
              </a:rPr>
              <a:t>152</a:t>
            </a:r>
            <a:endParaRPr lang="en-US" altLang="zh-CN" sz="1600" dirty="0">
              <a:latin typeface="华文楷体" panose="02010600040101010101" charset="-122"/>
              <a:ea typeface="华文楷体" panose="02010600040101010101" charset="-122"/>
            </a:endParaRPr>
          </a:p>
          <a:p>
            <a:pPr marL="228600" indent="-228600">
              <a:buFont typeface="Wingdings" panose="05000000000000000000" pitchFamily="2" charset="2"/>
              <a:buChar char="l"/>
            </a:pPr>
            <a:endParaRPr lang="en-US" altLang="zh-CN" sz="1600" dirty="0">
              <a:latin typeface="华文楷体" panose="02010600040101010101" charset="-122"/>
              <a:ea typeface="华文楷体" panose="02010600040101010101" charset="-122"/>
            </a:endParaRPr>
          </a:p>
        </p:txBody>
      </p:sp>
      <p:graphicFrame>
        <p:nvGraphicFramePr>
          <p:cNvPr id="21" name="图表 20"/>
          <p:cNvGraphicFramePr/>
          <p:nvPr/>
        </p:nvGraphicFramePr>
        <p:xfrm>
          <a:off x="186488" y="1121365"/>
          <a:ext cx="6096000" cy="2566054"/>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22" name="图表 21"/>
          <p:cNvGraphicFramePr/>
          <p:nvPr/>
        </p:nvGraphicFramePr>
        <p:xfrm>
          <a:off x="6282488" y="1121365"/>
          <a:ext cx="5631093" cy="304159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表格 5"/>
          <p:cNvGraphicFramePr>
            <a:graphicFrameLocks noGrp="1"/>
          </p:cNvGraphicFramePr>
          <p:nvPr/>
        </p:nvGraphicFramePr>
        <p:xfrm>
          <a:off x="6749587" y="4566939"/>
          <a:ext cx="5192979" cy="1749896"/>
        </p:xfrm>
        <a:graphic>
          <a:graphicData uri="http://schemas.openxmlformats.org/drawingml/2006/table">
            <a:tbl>
              <a:tblPr>
                <a:tableStyleId>{5C22544A-7EE6-4342-B048-85BDC9FD1C3A}</a:tableStyleId>
              </a:tblPr>
              <a:tblGrid>
                <a:gridCol w="1373296"/>
                <a:gridCol w="1015303"/>
                <a:gridCol w="1015303"/>
                <a:gridCol w="1789077"/>
              </a:tblGrid>
              <a:tr h="335961">
                <a:tc>
                  <a:txBody>
                    <a:bodyPr/>
                    <a:lstStyle/>
                    <a:p>
                      <a:pPr algn="ctr" fontAlgn="ctr"/>
                      <a:r>
                        <a:rPr lang="zh-CN" altLang="en-US" sz="1300" b="1" u="none" strike="noStrike" dirty="0">
                          <a:solidFill>
                            <a:schemeClr val="bg1"/>
                          </a:solidFill>
                          <a:effectLst/>
                          <a:latin typeface="华文楷体" panose="02010600040101010101" charset="-122"/>
                          <a:ea typeface="华文楷体" panose="02010600040101010101" charset="-122"/>
                        </a:rPr>
                        <a:t>分类</a:t>
                      </a:r>
                      <a:endParaRPr lang="zh-CN" altLang="en-US" sz="1300" b="1" i="0" u="none" strike="noStrike" dirty="0">
                        <a:solidFill>
                          <a:schemeClr val="bg1"/>
                        </a:solidFill>
                        <a:effectLst/>
                        <a:latin typeface="华文楷体" panose="02010600040101010101" charset="-122"/>
                        <a:ea typeface="华文楷体" panose="02010600040101010101" charset="-122"/>
                      </a:endParaRPr>
                    </a:p>
                  </a:txBody>
                  <a:tcPr marL="8467" marR="8467" marT="8467" marB="0" anchor="ctr">
                    <a:solidFill>
                      <a:schemeClr val="tx2">
                        <a:lumMod val="60000"/>
                        <a:lumOff val="40000"/>
                      </a:schemeClr>
                    </a:solidFill>
                  </a:tcPr>
                </a:tc>
                <a:tc>
                  <a:txBody>
                    <a:bodyPr/>
                    <a:lstStyle/>
                    <a:p>
                      <a:pPr algn="ctr" fontAlgn="ctr"/>
                      <a:r>
                        <a:rPr lang="zh-CN" altLang="en-US" sz="1300" b="1" u="none" strike="noStrike" dirty="0">
                          <a:solidFill>
                            <a:schemeClr val="bg1"/>
                          </a:solidFill>
                          <a:effectLst/>
                          <a:latin typeface="华文楷体" panose="02010600040101010101" charset="-122"/>
                          <a:ea typeface="华文楷体" panose="02010600040101010101" charset="-122"/>
                        </a:rPr>
                        <a:t>订单数</a:t>
                      </a:r>
                      <a:endParaRPr lang="zh-CN" altLang="en-US" sz="1300" b="1" i="0" u="none" strike="noStrike" dirty="0">
                        <a:solidFill>
                          <a:schemeClr val="bg1"/>
                        </a:solidFill>
                        <a:effectLst/>
                        <a:latin typeface="华文楷体" panose="02010600040101010101" charset="-122"/>
                        <a:ea typeface="华文楷体" panose="02010600040101010101" charset="-122"/>
                      </a:endParaRPr>
                    </a:p>
                  </a:txBody>
                  <a:tcPr marL="8467" marR="8467" marT="8467" marB="0" anchor="ctr">
                    <a:solidFill>
                      <a:schemeClr val="tx2">
                        <a:lumMod val="60000"/>
                        <a:lumOff val="40000"/>
                      </a:schemeClr>
                    </a:solidFill>
                  </a:tcPr>
                </a:tc>
                <a:tc>
                  <a:txBody>
                    <a:bodyPr/>
                    <a:lstStyle/>
                    <a:p>
                      <a:pPr algn="ctr" fontAlgn="ctr"/>
                      <a:r>
                        <a:rPr lang="zh-CN" altLang="en-US" sz="1300" b="1" u="none" strike="noStrike" dirty="0">
                          <a:solidFill>
                            <a:schemeClr val="bg1"/>
                          </a:solidFill>
                          <a:effectLst/>
                          <a:latin typeface="华文楷体" panose="02010600040101010101" charset="-122"/>
                          <a:ea typeface="华文楷体" panose="02010600040101010101" charset="-122"/>
                        </a:rPr>
                        <a:t>订单</a:t>
                      </a:r>
                      <a:r>
                        <a:rPr lang="zh-CN" altLang="en-US" sz="1300" b="1" u="none" strike="noStrike" dirty="0" smtClean="0">
                          <a:solidFill>
                            <a:schemeClr val="bg1"/>
                          </a:solidFill>
                          <a:effectLst/>
                          <a:latin typeface="华文楷体" panose="02010600040101010101" charset="-122"/>
                          <a:ea typeface="华文楷体" panose="02010600040101010101" charset="-122"/>
                        </a:rPr>
                        <a:t>用户数</a:t>
                      </a:r>
                      <a:endParaRPr lang="zh-CN" altLang="en-US" sz="1300" b="1" i="0" u="none" strike="noStrike" dirty="0">
                        <a:solidFill>
                          <a:schemeClr val="bg1"/>
                        </a:solidFill>
                        <a:effectLst/>
                        <a:latin typeface="华文楷体" panose="02010600040101010101" charset="-122"/>
                        <a:ea typeface="华文楷体" panose="02010600040101010101" charset="-122"/>
                      </a:endParaRPr>
                    </a:p>
                  </a:txBody>
                  <a:tcPr marL="8467" marR="8467" marT="8467" marB="0" anchor="ctr">
                    <a:solidFill>
                      <a:schemeClr val="tx2">
                        <a:lumMod val="60000"/>
                        <a:lumOff val="40000"/>
                      </a:schemeClr>
                    </a:solidFill>
                  </a:tcPr>
                </a:tc>
                <a:tc>
                  <a:txBody>
                    <a:bodyPr/>
                    <a:lstStyle/>
                    <a:p>
                      <a:pPr algn="ctr" fontAlgn="ctr"/>
                      <a:r>
                        <a:rPr lang="zh-CN" altLang="en-US" sz="1300" b="1" u="none" strike="noStrike" dirty="0">
                          <a:solidFill>
                            <a:schemeClr val="bg1"/>
                          </a:solidFill>
                          <a:effectLst/>
                          <a:latin typeface="华文楷体" panose="02010600040101010101" charset="-122"/>
                          <a:ea typeface="华文楷体" panose="02010600040101010101" charset="-122"/>
                        </a:rPr>
                        <a:t>订单金额</a:t>
                      </a:r>
                      <a:r>
                        <a:rPr lang="en-US" altLang="zh-CN" sz="1300" b="1" u="none" strike="noStrike" dirty="0">
                          <a:solidFill>
                            <a:schemeClr val="bg1"/>
                          </a:solidFill>
                          <a:effectLst/>
                          <a:latin typeface="华文楷体" panose="02010600040101010101" charset="-122"/>
                          <a:ea typeface="华文楷体" panose="02010600040101010101" charset="-122"/>
                        </a:rPr>
                        <a:t>(</a:t>
                      </a:r>
                      <a:r>
                        <a:rPr lang="zh-CN" altLang="en-US" sz="1300" b="1" u="none" strike="noStrike" dirty="0">
                          <a:solidFill>
                            <a:schemeClr val="bg1"/>
                          </a:solidFill>
                          <a:effectLst/>
                          <a:latin typeface="华文楷体" panose="02010600040101010101" charset="-122"/>
                          <a:ea typeface="华文楷体" panose="02010600040101010101" charset="-122"/>
                        </a:rPr>
                        <a:t>元</a:t>
                      </a:r>
                      <a:r>
                        <a:rPr lang="en-US" altLang="zh-CN" sz="1300" b="1" u="none" strike="noStrike" dirty="0">
                          <a:solidFill>
                            <a:schemeClr val="bg1"/>
                          </a:solidFill>
                          <a:effectLst/>
                          <a:latin typeface="华文楷体" panose="02010600040101010101" charset="-122"/>
                          <a:ea typeface="华文楷体" panose="02010600040101010101" charset="-122"/>
                        </a:rPr>
                        <a:t>)</a:t>
                      </a:r>
                      <a:endParaRPr lang="en-US" altLang="zh-CN" sz="1300" b="1" i="0" u="none" strike="noStrike" dirty="0">
                        <a:solidFill>
                          <a:schemeClr val="bg1"/>
                        </a:solidFill>
                        <a:effectLst/>
                        <a:latin typeface="华文楷体" panose="02010600040101010101" charset="-122"/>
                        <a:ea typeface="华文楷体" panose="02010600040101010101" charset="-122"/>
                      </a:endParaRPr>
                    </a:p>
                  </a:txBody>
                  <a:tcPr marL="8467" marR="8467" marT="8467" marB="0" anchor="ctr">
                    <a:solidFill>
                      <a:schemeClr val="tx2">
                        <a:lumMod val="60000"/>
                        <a:lumOff val="40000"/>
                      </a:schemeClr>
                    </a:solidFill>
                  </a:tcPr>
                </a:tc>
              </a:tr>
              <a:tr h="251872">
                <a:tc>
                  <a:txBody>
                    <a:bodyPr/>
                    <a:lstStyle/>
                    <a:p>
                      <a:pPr algn="ctr" fontAlgn="ctr"/>
                      <a:r>
                        <a:rPr lang="zh-CN" altLang="en-US" sz="1300" u="none" strike="noStrike" dirty="0">
                          <a:effectLst/>
                          <a:latin typeface="华文楷体" panose="02010600040101010101" charset="-122"/>
                          <a:ea typeface="华文楷体" panose="02010600040101010101" charset="-122"/>
                        </a:rPr>
                        <a:t>话费充值</a:t>
                      </a:r>
                      <a:endParaRPr lang="zh-CN" altLang="en-US" sz="1300" b="0" i="0" u="none" strike="noStrike" dirty="0">
                        <a:solidFill>
                          <a:srgbClr val="000000"/>
                        </a:solidFill>
                        <a:effectLst/>
                        <a:latin typeface="华文楷体" panose="02010600040101010101" charset="-122"/>
                        <a:ea typeface="华文楷体" panose="02010600040101010101" charset="-122"/>
                      </a:endParaRPr>
                    </a:p>
                  </a:txBody>
                  <a:tcPr marL="8467" marR="8467" marT="8467" marB="0" anchor="ctr">
                    <a:solidFill>
                      <a:srgbClr val="F2F2F2"/>
                    </a:solidFill>
                  </a:tcPr>
                </a:tc>
                <a:tc>
                  <a:txBody>
                    <a:bodyPr/>
                    <a:lstStyle/>
                    <a:p>
                      <a:endParaRPr lang="zh-CN" altLang="en-US" dirty="0"/>
                    </a:p>
                  </a:txBody>
                  <a:tcPr marL="8467" marR="8467" marT="8467" marB="0" anchor="ctr">
                    <a:solidFill>
                      <a:srgbClr val="F2F2F2"/>
                    </a:solidFill>
                  </a:tcPr>
                </a:tc>
                <a:tc>
                  <a:txBody>
                    <a:bodyPr/>
                    <a:lstStyle/>
                    <a:p>
                      <a:endParaRPr lang="zh-CN" altLang="en-US"/>
                    </a:p>
                  </a:txBody>
                  <a:tcPr marL="8467" marR="8467" marT="8467" marB="0" anchor="ctr">
                    <a:solidFill>
                      <a:srgbClr val="F2F2F2"/>
                    </a:solidFill>
                  </a:tcPr>
                </a:tc>
                <a:tc>
                  <a:txBody>
                    <a:bodyPr/>
                    <a:lstStyle/>
                    <a:p>
                      <a:endParaRPr lang="zh-CN" altLang="en-US"/>
                    </a:p>
                  </a:txBody>
                  <a:tcPr marL="8467" marR="8467" marT="8467" marB="0" anchor="ctr">
                    <a:solidFill>
                      <a:srgbClr val="F2F2F2"/>
                    </a:solidFill>
                  </a:tcPr>
                </a:tc>
              </a:tr>
              <a:tr h="251872">
                <a:tc>
                  <a:txBody>
                    <a:bodyPr/>
                    <a:lstStyle/>
                    <a:p>
                      <a:pPr algn="ctr" fontAlgn="ctr"/>
                      <a:r>
                        <a:rPr lang="zh-CN" altLang="en-US" sz="1300" u="none" strike="noStrike" dirty="0">
                          <a:effectLst/>
                          <a:latin typeface="华文楷体" panose="02010600040101010101" charset="-122"/>
                          <a:ea typeface="华文楷体" panose="02010600040101010101" charset="-122"/>
                        </a:rPr>
                        <a:t>流量缴费</a:t>
                      </a:r>
                      <a:endParaRPr lang="zh-CN" altLang="en-US" sz="1300" b="0" i="0" u="none" strike="noStrike" dirty="0">
                        <a:solidFill>
                          <a:srgbClr val="000000"/>
                        </a:solidFill>
                        <a:effectLst/>
                        <a:latin typeface="华文楷体" panose="02010600040101010101" charset="-122"/>
                        <a:ea typeface="华文楷体" panose="02010600040101010101" charset="-122"/>
                      </a:endParaRPr>
                    </a:p>
                  </a:txBody>
                  <a:tcPr marL="8467" marR="8467" marT="8467" marB="0" anchor="ctr">
                    <a:solidFill>
                      <a:srgbClr val="F8F8F8"/>
                    </a:solidFill>
                  </a:tcPr>
                </a:tc>
                <a:tc>
                  <a:txBody>
                    <a:bodyPr/>
                    <a:lstStyle/>
                    <a:p>
                      <a:endParaRPr lang="zh-CN" altLang="en-US"/>
                    </a:p>
                  </a:txBody>
                  <a:tcPr marL="8467" marR="8467" marT="8467" marB="0" anchor="ctr">
                    <a:solidFill>
                      <a:srgbClr val="F8F8F8"/>
                    </a:solidFill>
                  </a:tcPr>
                </a:tc>
                <a:tc>
                  <a:txBody>
                    <a:bodyPr/>
                    <a:lstStyle/>
                    <a:p>
                      <a:endParaRPr lang="zh-CN" altLang="en-US"/>
                    </a:p>
                  </a:txBody>
                  <a:tcPr marL="8467" marR="8467" marT="8467" marB="0" anchor="ctr">
                    <a:solidFill>
                      <a:srgbClr val="F8F8F8"/>
                    </a:solidFill>
                  </a:tcPr>
                </a:tc>
                <a:tc>
                  <a:txBody>
                    <a:bodyPr/>
                    <a:lstStyle/>
                    <a:p>
                      <a:endParaRPr lang="zh-CN" altLang="en-US"/>
                    </a:p>
                  </a:txBody>
                  <a:tcPr marL="8467" marR="8467" marT="8467" marB="0" anchor="ctr">
                    <a:solidFill>
                      <a:srgbClr val="F8F8F8"/>
                    </a:solidFill>
                  </a:tcPr>
                </a:tc>
              </a:tr>
              <a:tr h="251872">
                <a:tc>
                  <a:txBody>
                    <a:bodyPr/>
                    <a:lstStyle/>
                    <a:p>
                      <a:pPr algn="ctr" fontAlgn="ctr"/>
                      <a:r>
                        <a:rPr lang="zh-CN" altLang="en-US" sz="1300" u="none" strike="noStrike" dirty="0">
                          <a:effectLst/>
                          <a:latin typeface="华文楷体" panose="02010600040101010101" charset="-122"/>
                          <a:ea typeface="华文楷体" panose="02010600040101010101" charset="-122"/>
                        </a:rPr>
                        <a:t>水电煤</a:t>
                      </a:r>
                      <a:endParaRPr lang="zh-CN" altLang="en-US" sz="1300" b="0" i="0" u="none" strike="noStrike" dirty="0">
                        <a:solidFill>
                          <a:srgbClr val="000000"/>
                        </a:solidFill>
                        <a:effectLst/>
                        <a:latin typeface="华文楷体" panose="02010600040101010101" charset="-122"/>
                        <a:ea typeface="华文楷体" panose="02010600040101010101" charset="-122"/>
                      </a:endParaRPr>
                    </a:p>
                  </a:txBody>
                  <a:tcPr marL="8467" marR="8467" marT="8467" marB="0" anchor="ctr">
                    <a:solidFill>
                      <a:srgbClr val="F2F2F2"/>
                    </a:solidFill>
                  </a:tcPr>
                </a:tc>
                <a:tc>
                  <a:txBody>
                    <a:bodyPr/>
                    <a:lstStyle/>
                    <a:p>
                      <a:endParaRPr lang="zh-CN" altLang="en-US"/>
                    </a:p>
                  </a:txBody>
                  <a:tcPr marL="8467" marR="8467" marT="8467" marB="0" anchor="ctr">
                    <a:solidFill>
                      <a:srgbClr val="F2F2F2"/>
                    </a:solidFill>
                  </a:tcPr>
                </a:tc>
                <a:tc>
                  <a:txBody>
                    <a:bodyPr/>
                    <a:lstStyle/>
                    <a:p>
                      <a:endParaRPr lang="zh-CN" altLang="en-US"/>
                    </a:p>
                  </a:txBody>
                  <a:tcPr marL="8467" marR="8467" marT="8467" marB="0" anchor="ctr">
                    <a:solidFill>
                      <a:srgbClr val="F2F2F2"/>
                    </a:solidFill>
                  </a:tcPr>
                </a:tc>
                <a:tc>
                  <a:txBody>
                    <a:bodyPr/>
                    <a:lstStyle/>
                    <a:p>
                      <a:endParaRPr lang="zh-CN" altLang="en-US"/>
                    </a:p>
                  </a:txBody>
                  <a:tcPr marL="8467" marR="8467" marT="8467" marB="0" anchor="ctr">
                    <a:solidFill>
                      <a:srgbClr val="F2F2F2"/>
                    </a:solidFill>
                  </a:tcPr>
                </a:tc>
              </a:tr>
              <a:tr h="251872">
                <a:tc>
                  <a:txBody>
                    <a:bodyPr/>
                    <a:lstStyle/>
                    <a:p>
                      <a:pPr algn="ctr" fontAlgn="ctr"/>
                      <a:r>
                        <a:rPr lang="zh-CN" altLang="en-US" sz="1300" u="none" strike="noStrike" dirty="0">
                          <a:effectLst/>
                          <a:latin typeface="华文楷体" panose="02010600040101010101" charset="-122"/>
                          <a:ea typeface="华文楷体" panose="02010600040101010101" charset="-122"/>
                        </a:rPr>
                        <a:t>油卡充值</a:t>
                      </a:r>
                      <a:endParaRPr lang="zh-CN" altLang="en-US" sz="1300" b="0" i="0" u="none" strike="noStrike" dirty="0">
                        <a:solidFill>
                          <a:srgbClr val="000000"/>
                        </a:solidFill>
                        <a:effectLst/>
                        <a:latin typeface="华文楷体" panose="02010600040101010101" charset="-122"/>
                        <a:ea typeface="华文楷体" panose="02010600040101010101" charset="-122"/>
                      </a:endParaRPr>
                    </a:p>
                  </a:txBody>
                  <a:tcPr marL="8467" marR="8467" marT="8467" marB="0" anchor="ctr">
                    <a:solidFill>
                      <a:srgbClr val="F8F8F8"/>
                    </a:solidFill>
                  </a:tcPr>
                </a:tc>
                <a:tc>
                  <a:txBody>
                    <a:bodyPr/>
                    <a:lstStyle/>
                    <a:p>
                      <a:endParaRPr lang="zh-CN" altLang="en-US"/>
                    </a:p>
                  </a:txBody>
                  <a:tcPr marL="8467" marR="8467" marT="8467" marB="0" anchor="ctr">
                    <a:solidFill>
                      <a:srgbClr val="F8F8F8"/>
                    </a:solidFill>
                  </a:tcPr>
                </a:tc>
                <a:tc>
                  <a:txBody>
                    <a:bodyPr/>
                    <a:lstStyle/>
                    <a:p>
                      <a:endParaRPr lang="zh-CN" altLang="en-US"/>
                    </a:p>
                  </a:txBody>
                  <a:tcPr marL="8467" marR="8467" marT="8467" marB="0" anchor="ctr">
                    <a:solidFill>
                      <a:srgbClr val="F8F8F8"/>
                    </a:solidFill>
                  </a:tcPr>
                </a:tc>
                <a:tc>
                  <a:txBody>
                    <a:bodyPr/>
                    <a:lstStyle/>
                    <a:p>
                      <a:endParaRPr lang="zh-CN" altLang="en-US"/>
                    </a:p>
                  </a:txBody>
                  <a:tcPr marL="8467" marR="8467" marT="8467" marB="0" anchor="ctr">
                    <a:solidFill>
                      <a:srgbClr val="F8F8F8"/>
                    </a:solidFill>
                  </a:tcPr>
                </a:tc>
              </a:tr>
              <a:tr h="251872">
                <a:tc>
                  <a:txBody>
                    <a:bodyPr/>
                    <a:lstStyle/>
                    <a:p>
                      <a:pPr algn="ctr" fontAlgn="ctr"/>
                      <a:r>
                        <a:rPr lang="zh-CN" altLang="en-US" sz="1300" b="1" u="none" strike="noStrike" dirty="0">
                          <a:effectLst/>
                          <a:latin typeface="华文楷体" panose="02010600040101010101" charset="-122"/>
                          <a:ea typeface="华文楷体" panose="02010600040101010101" charset="-122"/>
                        </a:rPr>
                        <a:t>合计</a:t>
                      </a:r>
                      <a:endParaRPr lang="zh-CN" altLang="en-US" sz="1300" b="1" i="0" u="none" strike="noStrike" dirty="0">
                        <a:solidFill>
                          <a:srgbClr val="000000"/>
                        </a:solidFill>
                        <a:effectLst/>
                        <a:latin typeface="华文楷体" panose="02010600040101010101" charset="-122"/>
                        <a:ea typeface="华文楷体" panose="02010600040101010101" charset="-122"/>
                      </a:endParaRPr>
                    </a:p>
                  </a:txBody>
                  <a:tcPr marL="8467" marR="8467" marT="8467" marB="0" anchor="ctr">
                    <a:solidFill>
                      <a:srgbClr val="F2F2F2"/>
                    </a:solidFill>
                  </a:tcPr>
                </a:tc>
                <a:tc>
                  <a:txBody>
                    <a:bodyPr/>
                    <a:lstStyle/>
                    <a:p>
                      <a:endParaRPr lang="zh-CN" altLang="en-US"/>
                    </a:p>
                  </a:txBody>
                  <a:tcPr marL="8467" marR="8467" marT="8467" marB="0" anchor="ctr">
                    <a:solidFill>
                      <a:srgbClr val="F2F2F2"/>
                    </a:solidFill>
                  </a:tcPr>
                </a:tc>
                <a:tc>
                  <a:txBody>
                    <a:bodyPr/>
                    <a:lstStyle/>
                    <a:p>
                      <a:endParaRPr lang="zh-CN" altLang="en-US"/>
                    </a:p>
                  </a:txBody>
                  <a:tcPr marL="8467" marR="8467" marT="8467" marB="0" anchor="ctr">
                    <a:solidFill>
                      <a:srgbClr val="F2F2F2"/>
                    </a:solidFill>
                  </a:tcPr>
                </a:tc>
                <a:tc>
                  <a:txBody>
                    <a:bodyPr/>
                    <a:lstStyle/>
                    <a:p>
                      <a:endParaRPr lang="zh-CN" altLang="en-US" dirty="0"/>
                    </a:p>
                  </a:txBody>
                  <a:tcPr marL="8467" marR="8467" marT="8467" marB="0" anchor="ctr">
                    <a:solidFill>
                      <a:srgbClr val="F2F2F2"/>
                    </a:solidFill>
                  </a:tcPr>
                </a:tc>
              </a:tr>
            </a:tbl>
          </a:graphicData>
        </a:graphic>
      </p:graphicFrame>
      <p:sp>
        <p:nvSpPr>
          <p:cNvPr id="8" name="文本框 7"/>
          <p:cNvSpPr txBox="1"/>
          <p:nvPr/>
        </p:nvSpPr>
        <p:spPr>
          <a:xfrm>
            <a:off x="7536160" y="4233464"/>
            <a:ext cx="3103387" cy="338554"/>
          </a:xfrm>
          <a:prstGeom prst="rect">
            <a:avLst/>
          </a:prstGeom>
          <a:noFill/>
        </p:spPr>
        <p:txBody>
          <a:bodyPr wrap="square" rtlCol="0">
            <a:spAutoFit/>
          </a:bodyPr>
          <a:lstStyle/>
          <a:p>
            <a:pPr algn="ctr"/>
            <a:r>
              <a:rPr lang="en-US" altLang="zh-CN" sz="1600" dirty="0" smtClean="0">
                <a:latin typeface="华文楷体" panose="02010600040101010101" charset="-122"/>
                <a:ea typeface="华文楷体" panose="02010600040101010101" charset="-122"/>
              </a:rPr>
              <a:t>xx</a:t>
            </a:r>
            <a:r>
              <a:rPr lang="zh-CN" altLang="en-US" sz="1600" dirty="0" smtClean="0">
                <a:latin typeface="华文楷体" panose="02010600040101010101" charset="-122"/>
                <a:ea typeface="华文楷体" panose="02010600040101010101" charset="-122"/>
              </a:rPr>
              <a:t>功能</a:t>
            </a:r>
            <a:r>
              <a:rPr lang="zh-CN" altLang="en-US" sz="1600" dirty="0">
                <a:latin typeface="华文楷体" panose="02010600040101010101" charset="-122"/>
                <a:ea typeface="华文楷体" panose="02010600040101010101" charset="-122"/>
              </a:rPr>
              <a:t>订单数据</a:t>
            </a:r>
            <a:endParaRPr lang="zh-CN" altLang="en-US" sz="1600" dirty="0">
              <a:latin typeface="华文楷体" panose="02010600040101010101" charset="-122"/>
              <a:ea typeface="华文楷体" panose="02010600040101010101" charset="-122"/>
            </a:endParaRPr>
          </a:p>
        </p:txBody>
      </p:sp>
      <p:sp>
        <p:nvSpPr>
          <p:cNvPr id="2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mj-ea"/>
              </a:rPr>
              <a:t>内诊</a:t>
            </a:r>
            <a:r>
              <a:rPr lang="en-US" altLang="zh-CN" sz="2400" dirty="0" smtClean="0">
                <a:solidFill>
                  <a:prstClr val="black"/>
                </a:solidFill>
                <a:latin typeface="+mj-ea"/>
              </a:rPr>
              <a:t>-</a:t>
            </a:r>
            <a:r>
              <a:rPr lang="zh-CN" altLang="en-US" sz="2400" dirty="0" smtClean="0">
                <a:solidFill>
                  <a:prstClr val="black"/>
                </a:solidFill>
                <a:latin typeface="+mj-ea"/>
              </a:rPr>
              <a:t>运营分析</a:t>
            </a:r>
            <a:endParaRPr lang="en-US" altLang="zh-CN" sz="2400" dirty="0" smtClean="0">
              <a:latin typeface="+mj-ea"/>
            </a:endParaRPr>
          </a:p>
        </p:txBody>
      </p:sp>
      <p:sp>
        <p:nvSpPr>
          <p:cNvPr id="15" name="文本框 14"/>
          <p:cNvSpPr txBox="1"/>
          <p:nvPr/>
        </p:nvSpPr>
        <p:spPr>
          <a:xfrm>
            <a:off x="337930" y="3687419"/>
            <a:ext cx="5724940" cy="3776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r>
              <a:rPr lang="en-US" altLang="zh-CN" dirty="0" smtClean="0">
                <a:solidFill>
                  <a:srgbClr val="575757"/>
                </a:solidFill>
              </a:rPr>
              <a:t>…      ….     …      …      …     …      …     …     …. </a:t>
            </a:r>
            <a:r>
              <a:rPr lang="en-US" altLang="zh-CN" dirty="0">
                <a:solidFill>
                  <a:srgbClr val="575757"/>
                </a:solidFill>
              </a:rPr>
              <a:t> </a:t>
            </a:r>
            <a:r>
              <a:rPr lang="en-US" altLang="zh-CN" dirty="0" smtClean="0">
                <a:solidFill>
                  <a:srgbClr val="575757"/>
                </a:solidFill>
              </a:rPr>
              <a:t>   …</a:t>
            </a:r>
            <a:endParaRPr lang="zh-CN" altLang="en-US" dirty="0" err="1" smtClean="0">
              <a:solidFill>
                <a:srgbClr val="575757"/>
              </a:solidFill>
            </a:endParaRPr>
          </a:p>
        </p:txBody>
      </p:sp>
      <p:pic>
        <p:nvPicPr>
          <p:cNvPr id="25" name="图片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007433" y="908634"/>
            <a:ext cx="3240000" cy="396000"/>
          </a:xfrm>
          <a:prstGeom prst="rect">
            <a:avLst/>
          </a:prstGeom>
          <a:solidFill>
            <a:srgbClr val="FE5817"/>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1" i="0" u="none" strike="noStrike" kern="1200" cap="none" spc="0" normalizeH="0" baseline="0" noProof="0" dirty="0">
              <a:ln>
                <a:noFill/>
              </a:ln>
              <a:solidFill>
                <a:schemeClr val="bg1"/>
              </a:solidFill>
              <a:effectLst/>
              <a:uLnTx/>
              <a:uFillTx/>
              <a:latin typeface="+mj-ea"/>
              <a:ea typeface="+mj-ea"/>
              <a:cs typeface="+mn-cs"/>
            </a:endParaRPr>
          </a:p>
        </p:txBody>
      </p:sp>
      <p:sp>
        <p:nvSpPr>
          <p:cNvPr id="4" name="矩形 3"/>
          <p:cNvSpPr/>
          <p:nvPr/>
        </p:nvSpPr>
        <p:spPr>
          <a:xfrm>
            <a:off x="4406635" y="908634"/>
            <a:ext cx="6444000" cy="396000"/>
          </a:xfrm>
          <a:prstGeom prst="rect">
            <a:avLst/>
          </a:prstGeom>
          <a:solidFill>
            <a:srgbClr val="FE5817"/>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1" i="0" u="none" strike="noStrike" kern="1200" cap="none" spc="0" normalizeH="0" baseline="0" noProof="0" dirty="0">
              <a:ln>
                <a:noFill/>
              </a:ln>
              <a:solidFill>
                <a:schemeClr val="bg1"/>
              </a:solidFill>
              <a:effectLst/>
              <a:uLnTx/>
              <a:uFillTx/>
              <a:latin typeface="+mj-ea"/>
              <a:ea typeface="+mj-ea"/>
              <a:cs typeface="+mn-cs"/>
            </a:endParaRPr>
          </a:p>
        </p:txBody>
      </p:sp>
      <p:sp>
        <p:nvSpPr>
          <p:cNvPr id="6" name="矩形 5"/>
          <p:cNvSpPr/>
          <p:nvPr/>
        </p:nvSpPr>
        <p:spPr>
          <a:xfrm>
            <a:off x="1021285" y="1444834"/>
            <a:ext cx="3218213" cy="4752000"/>
          </a:xfrm>
          <a:prstGeom prst="rect">
            <a:avLst/>
          </a:prstGeom>
          <a:noFill/>
          <a:ln w="19050">
            <a:solidFill>
              <a:srgbClr val="ED7D31"/>
            </a:solidFill>
            <a:miter lim="800000"/>
          </a:ln>
          <a:effectLst/>
        </p:spPr>
        <p:txBody>
          <a:bodyPr vert="horz" wrap="square" lIns="76200" tIns="76200" rIns="76200" bIns="76200" numCol="1" anchor="t" anchorCtr="0" compatLnSpc="1">
            <a:noAutofit/>
          </a:bodyPr>
          <a:lstStyle/>
          <a:p>
            <a:pPr marL="0" marR="0" lvl="0" indent="0" algn="l" defTabSz="895350" rtl="0" eaLnBrk="1" fontAlgn="auto" latinLnBrk="0" hangingPunct="1">
              <a:lnSpc>
                <a:spcPct val="100000"/>
              </a:lnSpc>
              <a:spcBef>
                <a:spcPts val="0"/>
              </a:spcBef>
              <a:spcAft>
                <a:spcPts val="0"/>
              </a:spcAft>
              <a:buClr>
                <a:srgbClr val="002960"/>
              </a:buClr>
              <a:buSzTx/>
              <a:buFontTx/>
              <a:buNone/>
              <a:defRPr/>
            </a:pPr>
            <a:endParaRPr kumimoji="0" lang="en-US" altLang="zh-CN" sz="1400" b="0" i="0" u="none" strike="noStrike" kern="1200" cap="none" spc="0" normalizeH="0" baseline="0" noProof="0" dirty="0">
              <a:ln>
                <a:noFill/>
              </a:ln>
              <a:solidFill>
                <a:srgbClr val="000000"/>
              </a:solidFill>
              <a:effectLst/>
              <a:uLnTx/>
              <a:uFillTx/>
              <a:latin typeface="+mj-ea"/>
              <a:ea typeface="+mj-ea"/>
              <a:cs typeface="+mn-cs"/>
            </a:endParaRPr>
          </a:p>
        </p:txBody>
      </p:sp>
      <p:cxnSp>
        <p:nvCxnSpPr>
          <p:cNvPr id="7" name="直接连接符 6"/>
          <p:cNvCxnSpPr/>
          <p:nvPr/>
        </p:nvCxnSpPr>
        <p:spPr>
          <a:xfrm>
            <a:off x="1155699" y="4176676"/>
            <a:ext cx="29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1155699" y="2449388"/>
            <a:ext cx="29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9" name="矩形 8"/>
          <p:cNvSpPr/>
          <p:nvPr/>
        </p:nvSpPr>
        <p:spPr>
          <a:xfrm>
            <a:off x="4781899" y="2639594"/>
            <a:ext cx="2978723" cy="492443"/>
          </a:xfrm>
          <a:prstGeom prst="rect">
            <a:avLst/>
          </a:prstGeom>
        </p:spPr>
        <p:txBody>
          <a:bodyPr wrap="square">
            <a:sp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300" b="1" i="0" u="none" strike="noStrike" kern="1200" cap="none" spc="0" normalizeH="0" baseline="0" noProof="0" dirty="0" smtClean="0">
                <a:ln>
                  <a:noFill/>
                </a:ln>
                <a:solidFill>
                  <a:prstClr val="black"/>
                </a:solidFill>
                <a:effectLst/>
                <a:uLnTx/>
                <a:uFillTx/>
                <a:latin typeface="+mj-ea"/>
                <a:ea typeface="+mj-ea"/>
                <a:cs typeface="+mn-cs"/>
              </a:rPr>
              <a:t>项目中出现的问题占所有环节</a:t>
            </a:r>
            <a:r>
              <a:rPr kumimoji="0" lang="en-US" altLang="zh-CN" sz="1300" b="1" i="0" u="none" strike="noStrike" kern="1200" cap="none" spc="0" normalizeH="0" baseline="0" noProof="0" dirty="0" smtClean="0">
                <a:ln>
                  <a:noFill/>
                </a:ln>
                <a:solidFill>
                  <a:prstClr val="black"/>
                </a:solidFill>
                <a:effectLst/>
                <a:uLnTx/>
                <a:uFillTx/>
                <a:latin typeface="+mj-ea"/>
                <a:ea typeface="+mj-ea"/>
                <a:cs typeface="+mn-cs"/>
              </a:rPr>
              <a:t>33.3%</a:t>
            </a:r>
            <a:endParaRPr kumimoji="0" lang="en-US" altLang="zh-CN" sz="1300" b="1" i="0" u="none" strike="noStrike" kern="1200" cap="none" spc="0" normalizeH="0" baseline="0" noProof="0" dirty="0" smtClean="0">
              <a:ln>
                <a:noFill/>
              </a:ln>
              <a:solidFill>
                <a:prstClr val="black"/>
              </a:solidFill>
              <a:effectLst/>
              <a:uLnTx/>
              <a:uFillTx/>
              <a:latin typeface="+mj-ea"/>
              <a:ea typeface="+mj-ea"/>
              <a:cs typeface="+mn-cs"/>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300" b="0" i="0" u="none" strike="noStrike" kern="1200" cap="none" spc="0" normalizeH="0" baseline="0" noProof="0" dirty="0">
                <a:ln>
                  <a:noFill/>
                </a:ln>
                <a:solidFill>
                  <a:prstClr val="black"/>
                </a:solidFill>
                <a:effectLst/>
                <a:uLnTx/>
                <a:uFillTx/>
                <a:latin typeface="+mj-ea"/>
                <a:ea typeface="+mj-ea"/>
                <a:cs typeface="+mn-cs"/>
              </a:rPr>
              <a:t>主</a:t>
            </a:r>
            <a:r>
              <a:rPr kumimoji="0" lang="zh-CN" altLang="en-US" sz="1300" b="0" i="0" u="none" strike="noStrike" kern="1200" cap="none" spc="0" normalizeH="0" baseline="0" noProof="0" dirty="0" smtClean="0">
                <a:ln>
                  <a:noFill/>
                </a:ln>
                <a:solidFill>
                  <a:prstClr val="black"/>
                </a:solidFill>
                <a:effectLst/>
                <a:uLnTx/>
                <a:uFillTx/>
                <a:latin typeface="+mj-ea"/>
                <a:ea typeface="+mj-ea"/>
                <a:cs typeface="+mn-cs"/>
              </a:rPr>
              <a:t>要由于</a:t>
            </a:r>
            <a:r>
              <a:rPr kumimoji="0" lang="en-US" altLang="zh-CN" sz="1200" b="0" i="0" u="none" strike="noStrike" kern="1200" cap="none" spc="0" normalizeH="0" baseline="0" noProof="0" dirty="0" smtClean="0">
                <a:ln>
                  <a:noFill/>
                </a:ln>
                <a:solidFill>
                  <a:prstClr val="black"/>
                </a:solidFill>
                <a:effectLst/>
                <a:uLnTx/>
                <a:uFillTx/>
                <a:latin typeface="+mj-ea"/>
                <a:ea typeface="+mj-ea"/>
                <a:cs typeface="+mn-cs"/>
              </a:rPr>
              <a:t>xxx</a:t>
            </a:r>
            <a:endParaRPr kumimoji="0" lang="en-US" altLang="zh-CN" sz="1300" b="0" i="0" u="none" strike="noStrike" kern="1200" cap="none" spc="0" normalizeH="0" baseline="0" noProof="0" dirty="0">
              <a:ln>
                <a:noFill/>
              </a:ln>
              <a:solidFill>
                <a:prstClr val="black"/>
              </a:solidFill>
              <a:effectLst/>
              <a:uLnTx/>
              <a:uFillTx/>
              <a:latin typeface="+mj-ea"/>
              <a:ea typeface="+mj-ea"/>
              <a:cs typeface="+mn-cs"/>
            </a:endParaRPr>
          </a:p>
        </p:txBody>
      </p:sp>
      <p:sp>
        <p:nvSpPr>
          <p:cNvPr id="10" name="矩形 9"/>
          <p:cNvSpPr/>
          <p:nvPr/>
        </p:nvSpPr>
        <p:spPr>
          <a:xfrm>
            <a:off x="4781900" y="4556570"/>
            <a:ext cx="2978722" cy="692497"/>
          </a:xfrm>
          <a:prstGeom prst="rect">
            <a:avLst/>
          </a:prstGeom>
        </p:spPr>
        <p:txBody>
          <a:bodyPr wrap="square">
            <a:sp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300" b="1" i="0" u="none" strike="noStrike" kern="1200" cap="none" spc="0" normalizeH="0" baseline="0" noProof="0" dirty="0" smtClean="0">
                <a:ln>
                  <a:noFill/>
                </a:ln>
                <a:solidFill>
                  <a:prstClr val="black"/>
                </a:solidFill>
                <a:effectLst/>
                <a:uLnTx/>
                <a:uFillTx/>
                <a:latin typeface="+mj-ea"/>
                <a:ea typeface="+mj-ea"/>
                <a:cs typeface="+mn-cs"/>
              </a:rPr>
              <a:t>项目后出现的问题占</a:t>
            </a:r>
            <a:r>
              <a:rPr kumimoji="0" lang="zh-CN" altLang="en-US" sz="1300" b="1" i="0" u="none" strike="noStrike" kern="1200" cap="none" spc="0" normalizeH="0" baseline="0" noProof="0" dirty="0">
                <a:ln>
                  <a:noFill/>
                </a:ln>
                <a:solidFill>
                  <a:prstClr val="black"/>
                </a:solidFill>
                <a:effectLst/>
                <a:uLnTx/>
                <a:uFillTx/>
                <a:latin typeface="+mj-ea"/>
                <a:ea typeface="+mj-ea"/>
                <a:cs typeface="+mn-cs"/>
              </a:rPr>
              <a:t>所有环</a:t>
            </a:r>
            <a:r>
              <a:rPr kumimoji="0" lang="zh-CN" altLang="en-US" sz="1300" b="1" i="0" u="none" strike="noStrike" kern="1200" cap="none" spc="0" normalizeH="0" baseline="0" noProof="0" dirty="0" smtClean="0">
                <a:ln>
                  <a:noFill/>
                </a:ln>
                <a:solidFill>
                  <a:prstClr val="black"/>
                </a:solidFill>
                <a:effectLst/>
                <a:uLnTx/>
                <a:uFillTx/>
                <a:latin typeface="+mj-ea"/>
                <a:ea typeface="+mj-ea"/>
                <a:cs typeface="+mn-cs"/>
              </a:rPr>
              <a:t>节</a:t>
            </a:r>
            <a:r>
              <a:rPr kumimoji="0" lang="en-US" altLang="zh-CN" sz="1300" b="1" i="0" u="none" strike="noStrike" kern="1200" cap="none" spc="0" normalizeH="0" baseline="0" noProof="0" dirty="0" smtClean="0">
                <a:ln>
                  <a:noFill/>
                </a:ln>
                <a:solidFill>
                  <a:prstClr val="black"/>
                </a:solidFill>
                <a:effectLst/>
                <a:uLnTx/>
                <a:uFillTx/>
                <a:latin typeface="+mj-ea"/>
                <a:ea typeface="+mj-ea"/>
                <a:cs typeface="+mn-cs"/>
              </a:rPr>
              <a:t>61.9%</a:t>
            </a:r>
            <a:endParaRPr kumimoji="0" lang="en-US" altLang="zh-CN" sz="1300" b="1" i="0" u="none" strike="noStrike" kern="1200" cap="none" spc="0" normalizeH="0" baseline="0" noProof="0" dirty="0" smtClean="0">
              <a:ln>
                <a:noFill/>
              </a:ln>
              <a:solidFill>
                <a:prstClr val="black"/>
              </a:solidFill>
              <a:effectLst/>
              <a:uLnTx/>
              <a:uFillTx/>
              <a:latin typeface="+mj-ea"/>
              <a:ea typeface="+mj-ea"/>
              <a:cs typeface="+mn-cs"/>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300" b="0" i="0" u="none" strike="noStrike" kern="1200" cap="none" spc="0" normalizeH="0" baseline="0" noProof="0" dirty="0" smtClean="0">
                <a:ln>
                  <a:noFill/>
                </a:ln>
                <a:solidFill>
                  <a:prstClr val="black"/>
                </a:solidFill>
                <a:effectLst/>
                <a:uLnTx/>
                <a:uFillTx/>
                <a:latin typeface="+mj-ea"/>
                <a:ea typeface="+mj-ea"/>
                <a:cs typeface="+mn-cs"/>
              </a:rPr>
              <a:t>主要由于</a:t>
            </a:r>
            <a:r>
              <a:rPr kumimoji="0" lang="en-US" altLang="zh-CN" sz="1300" b="0" i="0" u="none" strike="noStrike" kern="1200" cap="none" spc="0" normalizeH="0" baseline="0" noProof="0" dirty="0" smtClean="0">
                <a:ln>
                  <a:noFill/>
                </a:ln>
                <a:solidFill>
                  <a:prstClr val="black"/>
                </a:solidFill>
                <a:effectLst/>
                <a:uLnTx/>
                <a:uFillTx/>
                <a:latin typeface="+mj-ea"/>
                <a:ea typeface="+mj-ea"/>
                <a:cs typeface="+mn-cs"/>
              </a:rPr>
              <a:t>xxx</a:t>
            </a:r>
            <a:endParaRPr kumimoji="0" lang="en-US" altLang="zh-CN" sz="1300" b="0" i="0" u="none" strike="noStrike" kern="1200" cap="none" spc="0" normalizeH="0" baseline="0" noProof="0" dirty="0" smtClean="0">
              <a:ln>
                <a:noFill/>
              </a:ln>
              <a:solidFill>
                <a:prstClr val="black"/>
              </a:solidFill>
              <a:effectLst/>
              <a:uLnTx/>
              <a:uFillTx/>
              <a:latin typeface="+mj-ea"/>
              <a:ea typeface="+mj-ea"/>
              <a:cs typeface="+mn-cs"/>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kumimoji="0" lang="en-US" altLang="zh-CN" sz="1300" b="0" i="0" u="none" strike="noStrike" kern="1200" cap="none" spc="0" normalizeH="0" baseline="0" noProof="0" dirty="0">
              <a:ln>
                <a:noFill/>
              </a:ln>
              <a:solidFill>
                <a:prstClr val="black"/>
              </a:solidFill>
              <a:effectLst/>
              <a:uLnTx/>
              <a:uFillTx/>
              <a:latin typeface="+mj-ea"/>
              <a:ea typeface="+mj-ea"/>
              <a:cs typeface="+mn-cs"/>
            </a:endParaRPr>
          </a:p>
        </p:txBody>
      </p:sp>
      <p:sp>
        <p:nvSpPr>
          <p:cNvPr id="11" name="矩形 10"/>
          <p:cNvSpPr/>
          <p:nvPr/>
        </p:nvSpPr>
        <p:spPr>
          <a:xfrm>
            <a:off x="7994134" y="2639594"/>
            <a:ext cx="2628000" cy="292388"/>
          </a:xfrm>
          <a:prstGeom prst="rect">
            <a:avLst/>
          </a:prstGeom>
        </p:spPr>
        <p:txBody>
          <a:bodyPr wrap="square">
            <a:sp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300" b="0" i="0" u="none" strike="noStrike" kern="1200" cap="none" spc="0" normalizeH="0" baseline="0" noProof="0" dirty="0" smtClean="0">
                <a:ln>
                  <a:noFill/>
                </a:ln>
                <a:solidFill>
                  <a:prstClr val="black"/>
                </a:solidFill>
                <a:effectLst/>
                <a:uLnTx/>
                <a:uFillTx/>
                <a:latin typeface="+mj-ea"/>
                <a:ea typeface="+mj-ea"/>
                <a:cs typeface="+mn-cs"/>
              </a:rPr>
              <a:t>xxx</a:t>
            </a:r>
            <a:endParaRPr kumimoji="0" lang="en-US" altLang="zh-CN" sz="1300" b="0" i="0" u="none" strike="noStrike" kern="1200" cap="none" spc="0" normalizeH="0" baseline="0" noProof="0" dirty="0">
              <a:ln>
                <a:noFill/>
              </a:ln>
              <a:solidFill>
                <a:prstClr val="black"/>
              </a:solidFill>
              <a:effectLst/>
              <a:uLnTx/>
              <a:uFillTx/>
              <a:latin typeface="+mj-ea"/>
              <a:ea typeface="+mj-ea"/>
              <a:cs typeface="+mn-cs"/>
            </a:endParaRPr>
          </a:p>
        </p:txBody>
      </p:sp>
      <p:sp>
        <p:nvSpPr>
          <p:cNvPr id="12" name="矩形 11"/>
          <p:cNvSpPr/>
          <p:nvPr/>
        </p:nvSpPr>
        <p:spPr>
          <a:xfrm>
            <a:off x="7994134" y="4556570"/>
            <a:ext cx="2628000" cy="292388"/>
          </a:xfrm>
          <a:prstGeom prst="rect">
            <a:avLst/>
          </a:prstGeom>
        </p:spPr>
        <p:txBody>
          <a:bodyPr wrap="square">
            <a:sp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300" b="0" i="0" u="none" strike="noStrike" kern="1200" cap="none" spc="0" normalizeH="0" baseline="0" noProof="0" dirty="0" smtClean="0">
                <a:ln>
                  <a:noFill/>
                </a:ln>
                <a:solidFill>
                  <a:prstClr val="black"/>
                </a:solidFill>
                <a:effectLst/>
                <a:uLnTx/>
                <a:uFillTx/>
                <a:latin typeface="+mj-ea"/>
                <a:ea typeface="+mj-ea"/>
                <a:cs typeface="+mn-cs"/>
              </a:rPr>
              <a:t>xxx</a:t>
            </a:r>
            <a:endParaRPr kumimoji="0" lang="en-US" altLang="zh-CN"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13" name="灯片编号占位符 5"/>
          <p:cNvSpPr>
            <a:spLocks noGrp="1"/>
          </p:cNvSpPr>
          <p:nvPr>
            <p:ph type="sldNum" sz="quarter" idx="4294967295"/>
          </p:nvPr>
        </p:nvSpPr>
        <p:spPr>
          <a:xfrm>
            <a:off x="9554415" y="6012839"/>
            <a:ext cx="2608554"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ea typeface="+mn-ea"/>
              </a:defRPr>
            </a:lvl1pPr>
          </a:lstStyle>
          <a:p>
            <a:pPr marL="0" marR="0" lvl="0" indent="0" algn="r" defTabSz="914400" rtl="0" eaLnBrk="1" fontAlgn="auto" latinLnBrk="0" hangingPunct="1">
              <a:lnSpc>
                <a:spcPct val="100000"/>
              </a:lnSpc>
              <a:spcBef>
                <a:spcPts val="0"/>
              </a:spcBef>
              <a:spcAft>
                <a:spcPts val="0"/>
              </a:spcAft>
              <a:buClrTx/>
              <a:buSzTx/>
              <a:buFontTx/>
              <a:buNone/>
              <a:defRPr/>
            </a:pPr>
            <a:fld id="{30C59A0A-2995-4370-A357-9205D0E828F4}" type="slidenum">
              <a:rPr kumimoji="0" lang="zh-CN" altLang="en-US" sz="1400" b="1" i="0" u="none" strike="noStrike" kern="1200" cap="none" spc="0" normalizeH="0" baseline="0" noProof="0">
                <a:ln>
                  <a:noFill/>
                </a:ln>
                <a:solidFill>
                  <a:prstClr val="black">
                    <a:tint val="75000"/>
                  </a:prstClr>
                </a:solidFill>
                <a:effectLst/>
                <a:uLnTx/>
                <a:uFillTx/>
                <a:latin typeface="+mj-ea"/>
                <a:ea typeface="+mj-ea"/>
                <a:cs typeface="Arial Unicode MS" pitchFamily="34" charset="-122"/>
              </a:rPr>
            </a:fld>
            <a:endParaRPr kumimoji="0" lang="zh-CN" altLang="en-US" sz="1400" b="1" i="0" u="none" strike="noStrike" kern="1200" cap="none" spc="0" normalizeH="0" baseline="0" noProof="0" dirty="0">
              <a:ln>
                <a:noFill/>
              </a:ln>
              <a:solidFill>
                <a:prstClr val="black">
                  <a:tint val="75000"/>
                </a:prstClr>
              </a:solidFill>
              <a:effectLst/>
              <a:uLnTx/>
              <a:uFillTx/>
              <a:latin typeface="+mj-ea"/>
              <a:ea typeface="+mj-ea"/>
              <a:cs typeface="Arial Unicode MS" pitchFamily="34" charset="-122"/>
            </a:endParaRPr>
          </a:p>
        </p:txBody>
      </p:sp>
      <p:sp>
        <p:nvSpPr>
          <p:cNvPr id="14" name="矩形 13"/>
          <p:cNvSpPr/>
          <p:nvPr/>
        </p:nvSpPr>
        <p:spPr>
          <a:xfrm>
            <a:off x="298769" y="4310483"/>
            <a:ext cx="607611" cy="1800000"/>
          </a:xfrm>
          <a:prstGeom prst="rect">
            <a:avLst/>
          </a:prstGeom>
          <a:solidFill>
            <a:srgbClr val="B32C16"/>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smtClean="0">
                <a:ln>
                  <a:noFill/>
                </a:ln>
                <a:solidFill>
                  <a:prstClr val="white"/>
                </a:solidFill>
                <a:effectLst/>
                <a:uLnTx/>
                <a:uFillTx/>
                <a:latin typeface="+mj-ea"/>
                <a:ea typeface="+mj-ea"/>
                <a:cs typeface="+mn-cs"/>
              </a:rPr>
              <a:t>项目后</a:t>
            </a:r>
            <a:endParaRPr kumimoji="0" lang="zh-CN" altLang="en-US" sz="1600" b="1" i="0" u="none" strike="noStrike" kern="1200" cap="none" spc="0" normalizeH="0" baseline="0" noProof="0" dirty="0">
              <a:ln>
                <a:noFill/>
              </a:ln>
              <a:solidFill>
                <a:prstClr val="white"/>
              </a:solidFill>
              <a:effectLst/>
              <a:uLnTx/>
              <a:uFillTx/>
              <a:latin typeface="+mj-ea"/>
              <a:ea typeface="+mj-ea"/>
              <a:cs typeface="+mn-cs"/>
            </a:endParaRPr>
          </a:p>
        </p:txBody>
      </p:sp>
      <p:sp>
        <p:nvSpPr>
          <p:cNvPr id="15" name="矩形 14"/>
          <p:cNvSpPr/>
          <p:nvPr/>
        </p:nvSpPr>
        <p:spPr>
          <a:xfrm>
            <a:off x="298768" y="1545436"/>
            <a:ext cx="607611" cy="720000"/>
          </a:xfrm>
          <a:prstGeom prst="rect">
            <a:avLst/>
          </a:prstGeom>
          <a:solidFill>
            <a:schemeClr val="tx2"/>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smtClean="0">
                <a:ln>
                  <a:noFill/>
                </a:ln>
                <a:solidFill>
                  <a:prstClr val="white"/>
                </a:solidFill>
                <a:effectLst/>
                <a:uLnTx/>
                <a:uFillTx/>
                <a:latin typeface="+mj-ea"/>
                <a:ea typeface="+mj-ea"/>
                <a:cs typeface="+mn-cs"/>
              </a:rPr>
              <a:t>项目前</a:t>
            </a:r>
            <a:endParaRPr kumimoji="0" lang="zh-CN" altLang="en-US" sz="1600" b="1" i="0" u="none" strike="noStrike" kern="1200" cap="none" spc="0" normalizeH="0" baseline="0" noProof="0" dirty="0">
              <a:ln>
                <a:noFill/>
              </a:ln>
              <a:solidFill>
                <a:prstClr val="white"/>
              </a:solidFill>
              <a:effectLst/>
              <a:uLnTx/>
              <a:uFillTx/>
              <a:latin typeface="+mj-ea"/>
              <a:ea typeface="+mj-ea"/>
              <a:cs typeface="+mn-cs"/>
            </a:endParaRPr>
          </a:p>
        </p:txBody>
      </p:sp>
      <p:sp>
        <p:nvSpPr>
          <p:cNvPr id="16" name="矩形 15"/>
          <p:cNvSpPr/>
          <p:nvPr/>
        </p:nvSpPr>
        <p:spPr>
          <a:xfrm>
            <a:off x="298769" y="2610570"/>
            <a:ext cx="607611" cy="1440000"/>
          </a:xfrm>
          <a:prstGeom prst="rect">
            <a:avLst/>
          </a:prstGeom>
          <a:solidFill>
            <a:srgbClr val="ED7D3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smtClean="0">
                <a:ln>
                  <a:noFill/>
                </a:ln>
                <a:solidFill>
                  <a:prstClr val="white"/>
                </a:solidFill>
                <a:effectLst/>
                <a:uLnTx/>
                <a:uFillTx/>
                <a:latin typeface="+mj-ea"/>
                <a:ea typeface="+mj-ea"/>
                <a:cs typeface="+mn-cs"/>
              </a:rPr>
              <a:t>项目</a:t>
            </a:r>
            <a:r>
              <a:rPr kumimoji="0" lang="zh-CN" altLang="en-US" sz="1600" b="1" i="0" u="none" strike="noStrike" kern="1200" cap="none" spc="0" normalizeH="0" baseline="0" noProof="0" dirty="0">
                <a:ln>
                  <a:noFill/>
                </a:ln>
                <a:solidFill>
                  <a:prstClr val="white"/>
                </a:solidFill>
                <a:effectLst/>
                <a:uLnTx/>
                <a:uFillTx/>
                <a:latin typeface="+mj-ea"/>
                <a:ea typeface="+mj-ea"/>
                <a:cs typeface="+mn-cs"/>
              </a:rPr>
              <a:t>中</a:t>
            </a:r>
            <a:endParaRPr kumimoji="0" lang="zh-CN" altLang="en-US" sz="1600" b="1" i="0" u="none" strike="noStrike" kern="1200" cap="none" spc="0" normalizeH="0" baseline="0" noProof="0" dirty="0">
              <a:ln>
                <a:noFill/>
              </a:ln>
              <a:solidFill>
                <a:prstClr val="white"/>
              </a:solidFill>
              <a:effectLst/>
              <a:uLnTx/>
              <a:uFillTx/>
              <a:latin typeface="+mj-ea"/>
              <a:ea typeface="+mj-ea"/>
              <a:cs typeface="+mn-cs"/>
            </a:endParaRPr>
          </a:p>
        </p:txBody>
      </p:sp>
      <p:sp>
        <p:nvSpPr>
          <p:cNvPr id="17" name="矩形 16"/>
          <p:cNvSpPr/>
          <p:nvPr/>
        </p:nvSpPr>
        <p:spPr>
          <a:xfrm>
            <a:off x="4420484" y="1445323"/>
            <a:ext cx="6423681" cy="4752000"/>
          </a:xfrm>
          <a:prstGeom prst="rect">
            <a:avLst/>
          </a:prstGeom>
          <a:noFill/>
          <a:ln w="19050">
            <a:solidFill>
              <a:srgbClr val="ED7D31"/>
            </a:solidFill>
            <a:miter lim="800000"/>
          </a:ln>
          <a:effectLst/>
        </p:spPr>
        <p:txBody>
          <a:bodyPr vert="horz" wrap="square" lIns="76200" tIns="76200" rIns="76200" bIns="76200" numCol="1" anchor="t" anchorCtr="0" compatLnSpc="1">
            <a:noAutofit/>
          </a:bodyPr>
          <a:lstStyle/>
          <a:p>
            <a:pPr marL="0" marR="0" lvl="0" indent="0" algn="l" defTabSz="895350" rtl="0" eaLnBrk="1" fontAlgn="auto" latinLnBrk="0" hangingPunct="1">
              <a:lnSpc>
                <a:spcPct val="100000"/>
              </a:lnSpc>
              <a:spcBef>
                <a:spcPts val="0"/>
              </a:spcBef>
              <a:spcAft>
                <a:spcPts val="0"/>
              </a:spcAft>
              <a:buClr>
                <a:srgbClr val="002960"/>
              </a:buClr>
              <a:buSzTx/>
              <a:buFontTx/>
              <a:buNone/>
              <a:defRPr/>
            </a:pPr>
            <a:endParaRPr kumimoji="0" lang="en-US" altLang="zh-CN" sz="1400" b="0" i="0" u="none" strike="noStrike" kern="1200" cap="none" spc="0" normalizeH="0" baseline="0" noProof="0" dirty="0">
              <a:ln>
                <a:noFill/>
              </a:ln>
              <a:solidFill>
                <a:srgbClr val="000000"/>
              </a:solidFill>
              <a:effectLst/>
              <a:uLnTx/>
              <a:uFillTx/>
              <a:latin typeface="+mj-ea"/>
              <a:ea typeface="+mj-ea"/>
              <a:cs typeface="+mn-cs"/>
            </a:endParaRPr>
          </a:p>
        </p:txBody>
      </p:sp>
      <p:cxnSp>
        <p:nvCxnSpPr>
          <p:cNvPr id="18" name="直接连接符 17"/>
          <p:cNvCxnSpPr/>
          <p:nvPr/>
        </p:nvCxnSpPr>
        <p:spPr>
          <a:xfrm>
            <a:off x="4562984" y="4174903"/>
            <a:ext cx="608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4598609" y="2447794"/>
            <a:ext cx="608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4542434" y="951570"/>
            <a:ext cx="308988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chemeClr val="bg1"/>
                </a:solidFill>
                <a:effectLst/>
                <a:uLnTx/>
                <a:uFillTx/>
                <a:latin typeface="+mj-ea"/>
                <a:ea typeface="+mj-ea"/>
                <a:cs typeface="+mn-cs"/>
              </a:rPr>
              <a:t>问题分</a:t>
            </a:r>
            <a:r>
              <a:rPr kumimoji="0" lang="zh-CN" altLang="en-US" sz="1400" b="1" i="0" u="none" strike="noStrike" kern="1200" cap="none" spc="0" normalizeH="0" baseline="0" noProof="0" dirty="0" smtClean="0">
                <a:ln>
                  <a:noFill/>
                </a:ln>
                <a:solidFill>
                  <a:schemeClr val="bg1"/>
                </a:solidFill>
                <a:effectLst/>
                <a:uLnTx/>
                <a:uFillTx/>
                <a:latin typeface="+mj-ea"/>
                <a:ea typeface="+mj-ea"/>
                <a:cs typeface="+mn-cs"/>
              </a:rPr>
              <a:t>析</a:t>
            </a:r>
            <a:endParaRPr kumimoji="0" lang="zh-CN" altLang="en-US" sz="1400" b="1" i="0" u="none" strike="noStrike" kern="1200" cap="none" spc="0" normalizeH="0" baseline="0" noProof="0" dirty="0">
              <a:ln>
                <a:noFill/>
              </a:ln>
              <a:solidFill>
                <a:schemeClr val="bg1"/>
              </a:solidFill>
              <a:effectLst/>
              <a:uLnTx/>
              <a:uFillTx/>
              <a:latin typeface="+mj-ea"/>
              <a:ea typeface="+mj-ea"/>
              <a:cs typeface="+mn-cs"/>
            </a:endParaRPr>
          </a:p>
        </p:txBody>
      </p:sp>
      <p:sp>
        <p:nvSpPr>
          <p:cNvPr id="21" name="矩形 20"/>
          <p:cNvSpPr/>
          <p:nvPr/>
        </p:nvSpPr>
        <p:spPr>
          <a:xfrm>
            <a:off x="8017866" y="951570"/>
            <a:ext cx="258051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chemeClr val="bg1"/>
                </a:solidFill>
                <a:effectLst/>
                <a:uLnTx/>
                <a:uFillTx/>
                <a:latin typeface="+mj-ea"/>
                <a:ea typeface="+mj-ea"/>
                <a:cs typeface="+mn-cs"/>
              </a:rPr>
              <a:t>应</a:t>
            </a:r>
            <a:r>
              <a:rPr kumimoji="0" lang="zh-CN" altLang="en-US" sz="1400" b="1" i="0" u="none" strike="noStrike" kern="1200" cap="none" spc="0" normalizeH="0" baseline="0" noProof="0" dirty="0">
                <a:ln>
                  <a:noFill/>
                </a:ln>
                <a:solidFill>
                  <a:schemeClr val="bg1"/>
                </a:solidFill>
                <a:effectLst/>
                <a:uLnTx/>
                <a:uFillTx/>
                <a:latin typeface="+mj-ea"/>
                <a:ea typeface="+mj-ea"/>
                <a:cs typeface="+mn-cs"/>
              </a:rPr>
              <a:t>对策略</a:t>
            </a:r>
            <a:endParaRPr kumimoji="0" lang="zh-CN" altLang="en-US" sz="1400" b="1" i="0" u="none" strike="noStrike" kern="1200" cap="none" spc="0" normalizeH="0" baseline="0" noProof="0" dirty="0">
              <a:ln>
                <a:noFill/>
              </a:ln>
              <a:solidFill>
                <a:schemeClr val="bg1"/>
              </a:solidFill>
              <a:effectLst/>
              <a:uLnTx/>
              <a:uFillTx/>
              <a:latin typeface="+mj-ea"/>
              <a:ea typeface="+mj-ea"/>
              <a:cs typeface="+mn-cs"/>
            </a:endParaRPr>
          </a:p>
        </p:txBody>
      </p:sp>
      <p:sp>
        <p:nvSpPr>
          <p:cNvPr id="22" name="矩形 21"/>
          <p:cNvSpPr/>
          <p:nvPr/>
        </p:nvSpPr>
        <p:spPr>
          <a:xfrm>
            <a:off x="1330784" y="951570"/>
            <a:ext cx="262800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chemeClr val="bg1"/>
                </a:solidFill>
                <a:effectLst/>
                <a:uLnTx/>
                <a:uFillTx/>
                <a:latin typeface="+mj-ea"/>
                <a:ea typeface="+mj-ea"/>
                <a:cs typeface="+mn-cs"/>
              </a:rPr>
              <a:t>主</a:t>
            </a:r>
            <a:r>
              <a:rPr kumimoji="0" lang="zh-CN" altLang="en-US" sz="1400" b="1" i="0" u="none" strike="noStrike" kern="1200" cap="none" spc="0" normalizeH="0" baseline="0" noProof="0" dirty="0" smtClean="0">
                <a:ln>
                  <a:noFill/>
                </a:ln>
                <a:solidFill>
                  <a:schemeClr val="bg1"/>
                </a:solidFill>
                <a:effectLst/>
                <a:uLnTx/>
                <a:uFillTx/>
                <a:latin typeface="+mj-ea"/>
                <a:ea typeface="+mj-ea"/>
                <a:cs typeface="+mn-cs"/>
              </a:rPr>
              <a:t>要问题</a:t>
            </a:r>
            <a:r>
              <a:rPr kumimoji="0" lang="zh-CN" altLang="en-US" sz="1400" b="1" i="0" u="none" strike="noStrike" kern="1200" cap="none" spc="0" normalizeH="0" baseline="0" noProof="0" dirty="0">
                <a:ln>
                  <a:noFill/>
                </a:ln>
                <a:solidFill>
                  <a:schemeClr val="bg1"/>
                </a:solidFill>
                <a:effectLst/>
                <a:uLnTx/>
                <a:uFillTx/>
                <a:latin typeface="+mj-ea"/>
                <a:ea typeface="+mj-ea"/>
                <a:cs typeface="+mn-cs"/>
              </a:rPr>
              <a:t>标</a:t>
            </a:r>
            <a:r>
              <a:rPr kumimoji="0" lang="zh-CN" altLang="en-US" sz="1400" b="1" i="0" u="none" strike="noStrike" kern="1200" cap="none" spc="0" normalizeH="0" baseline="0" noProof="0" dirty="0" smtClean="0">
                <a:ln>
                  <a:noFill/>
                </a:ln>
                <a:solidFill>
                  <a:schemeClr val="bg1"/>
                </a:solidFill>
                <a:effectLst/>
                <a:uLnTx/>
                <a:uFillTx/>
                <a:latin typeface="+mj-ea"/>
                <a:ea typeface="+mj-ea"/>
                <a:cs typeface="+mn-cs"/>
              </a:rPr>
              <a:t>签分布</a:t>
            </a:r>
            <a:endParaRPr kumimoji="0" lang="en-US" altLang="zh-CN" sz="1400" b="1" i="0" u="none" strike="noStrike" kern="1200" cap="none" spc="0" normalizeH="0" baseline="30000" noProof="0" dirty="0" smtClean="0">
              <a:ln>
                <a:noFill/>
              </a:ln>
              <a:solidFill>
                <a:schemeClr val="bg1"/>
              </a:solidFill>
              <a:effectLst/>
              <a:uLnTx/>
              <a:uFillTx/>
              <a:latin typeface="+mj-ea"/>
              <a:ea typeface="+mj-ea"/>
              <a:cs typeface="+mn-cs"/>
            </a:endParaRPr>
          </a:p>
        </p:txBody>
      </p:sp>
      <p:sp>
        <p:nvSpPr>
          <p:cNvPr id="23" name="矩形 22"/>
          <p:cNvSpPr/>
          <p:nvPr/>
        </p:nvSpPr>
        <p:spPr>
          <a:xfrm rot="10800000" flipV="1">
            <a:off x="2029897" y="2617924"/>
            <a:ext cx="1548000" cy="216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j-ea"/>
                <a:ea typeface="+mj-ea"/>
                <a:cs typeface="+mn-cs"/>
              </a:rPr>
              <a:t>业务模式设计脱离实际</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24" name="矩形 23"/>
          <p:cNvSpPr/>
          <p:nvPr/>
        </p:nvSpPr>
        <p:spPr>
          <a:xfrm rot="10800000" flipV="1">
            <a:off x="1096893" y="4327133"/>
            <a:ext cx="1598400" cy="216000"/>
          </a:xfrm>
          <a:prstGeom prst="rect">
            <a:avLst/>
          </a:prstGeom>
          <a:solidFill>
            <a:srgbClr val="B32C16"/>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19.0%</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25" name="矩形 24"/>
          <p:cNvSpPr/>
          <p:nvPr/>
        </p:nvSpPr>
        <p:spPr>
          <a:xfrm rot="10800000" flipV="1">
            <a:off x="2405782" y="4611077"/>
            <a:ext cx="1440000" cy="252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j-ea"/>
                <a:ea typeface="+mj-ea"/>
                <a:cs typeface="+mn-cs"/>
              </a:rPr>
              <a:t>政策监管调整</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26" name="矩形 25"/>
          <p:cNvSpPr/>
          <p:nvPr/>
        </p:nvSpPr>
        <p:spPr>
          <a:xfrm rot="10800000" flipV="1">
            <a:off x="1097464" y="2608797"/>
            <a:ext cx="799200" cy="216000"/>
          </a:xfrm>
          <a:prstGeom prst="rect">
            <a:avLst/>
          </a:prstGeom>
          <a:solidFill>
            <a:srgbClr val="ED7D3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9.5%</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27" name="矩形 26"/>
          <p:cNvSpPr/>
          <p:nvPr/>
        </p:nvSpPr>
        <p:spPr>
          <a:xfrm>
            <a:off x="4842374" y="1541815"/>
            <a:ext cx="2918247" cy="892552"/>
          </a:xfrm>
          <a:prstGeom prst="rect">
            <a:avLst/>
          </a:prstGeom>
        </p:spPr>
        <p:txBody>
          <a:bodyPr wrap="square">
            <a:sp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300" b="1" i="0" u="none" strike="noStrike" kern="1200" cap="none" spc="0" normalizeH="0" baseline="0" noProof="0" dirty="0" smtClean="0">
                <a:ln>
                  <a:noFill/>
                </a:ln>
                <a:solidFill>
                  <a:prstClr val="black"/>
                </a:solidFill>
                <a:effectLst/>
                <a:uLnTx/>
                <a:uFillTx/>
                <a:latin typeface="+mj-ea"/>
                <a:ea typeface="+mj-ea"/>
                <a:cs typeface="+mn-cs"/>
              </a:rPr>
              <a:t>项目前出现的问题占</a:t>
            </a:r>
            <a:r>
              <a:rPr kumimoji="0" lang="zh-CN" altLang="en-US" sz="1300" b="1" i="0" u="none" strike="noStrike" kern="1200" cap="none" spc="0" normalizeH="0" baseline="0" noProof="0" dirty="0">
                <a:ln>
                  <a:noFill/>
                </a:ln>
                <a:solidFill>
                  <a:prstClr val="black"/>
                </a:solidFill>
                <a:effectLst/>
                <a:uLnTx/>
                <a:uFillTx/>
                <a:latin typeface="+mj-ea"/>
                <a:ea typeface="+mj-ea"/>
                <a:cs typeface="+mn-cs"/>
              </a:rPr>
              <a:t>所有环</a:t>
            </a:r>
            <a:r>
              <a:rPr kumimoji="0" lang="zh-CN" altLang="en-US" sz="1300" b="1" i="0" u="none" strike="noStrike" kern="1200" cap="none" spc="0" normalizeH="0" baseline="0" noProof="0" dirty="0" smtClean="0">
                <a:ln>
                  <a:noFill/>
                </a:ln>
                <a:solidFill>
                  <a:prstClr val="black"/>
                </a:solidFill>
                <a:effectLst/>
                <a:uLnTx/>
                <a:uFillTx/>
                <a:latin typeface="+mj-ea"/>
                <a:ea typeface="+mj-ea"/>
                <a:cs typeface="+mn-cs"/>
              </a:rPr>
              <a:t>节</a:t>
            </a:r>
            <a:r>
              <a:rPr kumimoji="0" lang="en-US" altLang="zh-CN" sz="1300" b="1" i="0" u="none" strike="noStrike" kern="1200" cap="none" spc="0" normalizeH="0" baseline="0" noProof="0" dirty="0" smtClean="0">
                <a:ln>
                  <a:noFill/>
                </a:ln>
                <a:solidFill>
                  <a:prstClr val="black"/>
                </a:solidFill>
                <a:effectLst/>
                <a:uLnTx/>
                <a:uFillTx/>
                <a:latin typeface="+mj-ea"/>
                <a:ea typeface="+mj-ea"/>
                <a:cs typeface="+mn-cs"/>
              </a:rPr>
              <a:t>4.8%</a:t>
            </a:r>
            <a:endParaRPr kumimoji="0" lang="en-US" altLang="zh-CN" sz="1300" b="1" i="0" u="none" strike="noStrike" kern="1200" cap="none" spc="0" normalizeH="0" baseline="0" noProof="0" dirty="0">
              <a:ln>
                <a:noFill/>
              </a:ln>
              <a:solidFill>
                <a:prstClr val="black"/>
              </a:solidFill>
              <a:effectLst/>
              <a:uLnTx/>
              <a:uFillTx/>
              <a:latin typeface="+mj-ea"/>
              <a:ea typeface="+mj-ea"/>
              <a:cs typeface="+mn-cs"/>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300" b="0" i="0" u="none" strike="noStrike" kern="1200" cap="none" spc="0" normalizeH="0" baseline="0" noProof="0" dirty="0">
                <a:ln>
                  <a:noFill/>
                </a:ln>
                <a:solidFill>
                  <a:prstClr val="black"/>
                </a:solidFill>
                <a:effectLst/>
                <a:uLnTx/>
                <a:uFillTx/>
                <a:latin typeface="+mj-ea"/>
                <a:ea typeface="+mj-ea"/>
                <a:cs typeface="+mn-cs"/>
              </a:rPr>
              <a:t>问题主要在于立项必要性以及交付物在项目开始前未充分考虑清楚，导致后期项目未达预</a:t>
            </a:r>
            <a:r>
              <a:rPr kumimoji="0" lang="zh-CN" altLang="en-US" sz="1300" b="0" i="0" u="none" strike="noStrike" kern="1200" cap="none" spc="0" normalizeH="0" baseline="0" noProof="0" dirty="0" smtClean="0">
                <a:ln>
                  <a:noFill/>
                </a:ln>
                <a:solidFill>
                  <a:prstClr val="black"/>
                </a:solidFill>
                <a:effectLst/>
                <a:uLnTx/>
                <a:uFillTx/>
                <a:latin typeface="+mj-ea"/>
                <a:ea typeface="+mj-ea"/>
                <a:cs typeface="+mn-cs"/>
              </a:rPr>
              <a:t>期。</a:t>
            </a:r>
            <a:endParaRPr kumimoji="0" lang="en-US" altLang="zh-CN" sz="1300" b="0" i="0" u="none" strike="noStrike" kern="1200" cap="none" spc="0" normalizeH="0" baseline="0" noProof="0" dirty="0">
              <a:ln>
                <a:noFill/>
              </a:ln>
              <a:solidFill>
                <a:prstClr val="black"/>
              </a:solidFill>
              <a:effectLst/>
              <a:uLnTx/>
              <a:uFillTx/>
              <a:latin typeface="+mj-ea"/>
              <a:ea typeface="+mj-ea"/>
              <a:cs typeface="+mn-cs"/>
            </a:endParaRPr>
          </a:p>
        </p:txBody>
      </p:sp>
      <p:sp>
        <p:nvSpPr>
          <p:cNvPr id="28" name="矩形 27"/>
          <p:cNvSpPr/>
          <p:nvPr/>
        </p:nvSpPr>
        <p:spPr>
          <a:xfrm>
            <a:off x="8054609" y="1565564"/>
            <a:ext cx="2628000" cy="292388"/>
          </a:xfrm>
          <a:prstGeom prst="rect">
            <a:avLst/>
          </a:prstGeom>
        </p:spPr>
        <p:txBody>
          <a:bodyPr wrap="square">
            <a:sp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300" b="0" i="0" u="none" strike="noStrike" kern="1200" cap="none" spc="0" normalizeH="0" baseline="0" noProof="0" dirty="0" smtClean="0">
                <a:ln>
                  <a:noFill/>
                </a:ln>
                <a:solidFill>
                  <a:prstClr val="black"/>
                </a:solidFill>
                <a:effectLst/>
                <a:uLnTx/>
                <a:uFillTx/>
                <a:latin typeface="+mj-ea"/>
                <a:ea typeface="+mj-ea"/>
                <a:cs typeface="+mn-cs"/>
              </a:rPr>
              <a:t>xxx</a:t>
            </a:r>
            <a:endParaRPr kumimoji="0" lang="en-US" altLang="zh-CN" sz="1300" b="0" i="0" u="none" strike="noStrike" kern="1200" cap="none" spc="0" normalizeH="0" baseline="0" noProof="0" dirty="0">
              <a:ln>
                <a:noFill/>
              </a:ln>
              <a:solidFill>
                <a:prstClr val="black"/>
              </a:solidFill>
              <a:effectLst/>
              <a:uLnTx/>
              <a:uFillTx/>
              <a:latin typeface="+mj-ea"/>
              <a:ea typeface="+mj-ea"/>
              <a:cs typeface="+mn-cs"/>
            </a:endParaRPr>
          </a:p>
        </p:txBody>
      </p:sp>
      <p:sp>
        <p:nvSpPr>
          <p:cNvPr id="29" name="矩形 28"/>
          <p:cNvSpPr/>
          <p:nvPr/>
        </p:nvSpPr>
        <p:spPr>
          <a:xfrm rot="10800000" flipV="1">
            <a:off x="1096893" y="4642682"/>
            <a:ext cx="1198800" cy="216000"/>
          </a:xfrm>
          <a:prstGeom prst="rect">
            <a:avLst/>
          </a:prstGeom>
          <a:solidFill>
            <a:srgbClr val="B32C16"/>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14.3%</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30" name="矩形 29"/>
          <p:cNvSpPr/>
          <p:nvPr/>
        </p:nvSpPr>
        <p:spPr>
          <a:xfrm rot="10800000" flipV="1">
            <a:off x="2772228" y="4295485"/>
            <a:ext cx="1440000" cy="247648"/>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j-ea"/>
                <a:ea typeface="+mj-ea"/>
                <a:cs typeface="+mn-cs"/>
              </a:rPr>
              <a:t>公司战略调整</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31" name="矩形 30"/>
          <p:cNvSpPr/>
          <p:nvPr/>
        </p:nvSpPr>
        <p:spPr>
          <a:xfrm rot="10800000" flipV="1">
            <a:off x="1096892" y="4958231"/>
            <a:ext cx="799200" cy="216000"/>
          </a:xfrm>
          <a:prstGeom prst="rect">
            <a:avLst/>
          </a:prstGeom>
          <a:solidFill>
            <a:srgbClr val="B32C16"/>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9.5%</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32" name="矩形 31"/>
          <p:cNvSpPr/>
          <p:nvPr/>
        </p:nvSpPr>
        <p:spPr>
          <a:xfrm rot="10800000" flipV="1">
            <a:off x="2012525" y="5250965"/>
            <a:ext cx="2016000" cy="252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j-ea"/>
                <a:ea typeface="+mj-ea"/>
                <a:cs typeface="+mn-cs"/>
              </a:rPr>
              <a:t>执行团队和规划团队脱节</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33" name="矩形 32"/>
          <p:cNvSpPr/>
          <p:nvPr/>
        </p:nvSpPr>
        <p:spPr>
          <a:xfrm rot="10800000" flipV="1">
            <a:off x="1096892" y="5273780"/>
            <a:ext cx="799200" cy="216000"/>
          </a:xfrm>
          <a:prstGeom prst="rect">
            <a:avLst/>
          </a:prstGeom>
          <a:solidFill>
            <a:srgbClr val="B32C16"/>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9.5%</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34" name="矩形 33"/>
          <p:cNvSpPr/>
          <p:nvPr/>
        </p:nvSpPr>
        <p:spPr>
          <a:xfrm rot="10800000" flipV="1">
            <a:off x="2025411" y="4931021"/>
            <a:ext cx="1440000" cy="252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j-ea"/>
                <a:ea typeface="+mj-ea"/>
                <a:cs typeface="+mn-cs"/>
              </a:rPr>
              <a:t>缺乏执行追踪管理</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35" name="矩形 34"/>
          <p:cNvSpPr/>
          <p:nvPr/>
        </p:nvSpPr>
        <p:spPr>
          <a:xfrm rot="10800000" flipV="1">
            <a:off x="1096892" y="5589329"/>
            <a:ext cx="399600" cy="216000"/>
          </a:xfrm>
          <a:prstGeom prst="rect">
            <a:avLst/>
          </a:prstGeom>
          <a:solidFill>
            <a:srgbClr val="B32C16"/>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4.8%</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36" name="矩形 35"/>
          <p:cNvSpPr/>
          <p:nvPr/>
        </p:nvSpPr>
        <p:spPr>
          <a:xfrm rot="10800000" flipV="1">
            <a:off x="1611414" y="5570909"/>
            <a:ext cx="2016000" cy="252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j-ea"/>
                <a:ea typeface="+mj-ea"/>
                <a:cs typeface="+mn-cs"/>
              </a:rPr>
              <a:t>执</a:t>
            </a:r>
            <a:r>
              <a:rPr kumimoji="0" lang="zh-CN" altLang="en-US" sz="1200" b="0" i="0" u="none" strike="noStrike" kern="1200" cap="none" spc="0" normalizeH="0" baseline="0" noProof="0" dirty="0" smtClean="0">
                <a:ln>
                  <a:noFill/>
                </a:ln>
                <a:solidFill>
                  <a:prstClr val="black"/>
                </a:solidFill>
                <a:effectLst/>
                <a:uLnTx/>
                <a:uFillTx/>
                <a:latin typeface="+mj-ea"/>
                <a:ea typeface="+mj-ea"/>
                <a:cs typeface="+mn-cs"/>
              </a:rPr>
              <a:t>行团队能力不</a:t>
            </a:r>
            <a:r>
              <a:rPr kumimoji="0" lang="zh-CN" altLang="en-US" sz="1200" b="0" i="0" u="none" strike="noStrike" kern="1200" cap="none" spc="0" normalizeH="0" baseline="0" noProof="0" dirty="0">
                <a:ln>
                  <a:noFill/>
                </a:ln>
                <a:solidFill>
                  <a:prstClr val="black"/>
                </a:solidFill>
                <a:effectLst/>
                <a:uLnTx/>
                <a:uFillTx/>
                <a:latin typeface="+mj-ea"/>
                <a:ea typeface="+mj-ea"/>
                <a:cs typeface="+mn-cs"/>
              </a:rPr>
              <a:t>足</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37" name="矩形 36"/>
          <p:cNvSpPr/>
          <p:nvPr/>
        </p:nvSpPr>
        <p:spPr>
          <a:xfrm rot="10800000" flipV="1">
            <a:off x="1096892" y="5904876"/>
            <a:ext cx="399600" cy="216000"/>
          </a:xfrm>
          <a:prstGeom prst="rect">
            <a:avLst/>
          </a:prstGeom>
          <a:solidFill>
            <a:srgbClr val="B32C16"/>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4.8%</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38" name="矩形 37"/>
          <p:cNvSpPr/>
          <p:nvPr/>
        </p:nvSpPr>
        <p:spPr>
          <a:xfrm rot="10800000" flipV="1">
            <a:off x="1599539" y="5867103"/>
            <a:ext cx="2016000" cy="252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smtClean="0">
                <a:ln>
                  <a:noFill/>
                </a:ln>
                <a:solidFill>
                  <a:prstClr val="black"/>
                </a:solidFill>
                <a:effectLst/>
                <a:uLnTx/>
                <a:uFillTx/>
                <a:latin typeface="+mj-ea"/>
                <a:ea typeface="+mj-ea"/>
                <a:cs typeface="+mn-cs"/>
              </a:rPr>
              <a:t>实</a:t>
            </a:r>
            <a:r>
              <a:rPr kumimoji="0" lang="zh-CN" altLang="en-US" sz="1200" b="0" i="0" u="none" strike="noStrike" kern="1200" cap="none" spc="0" normalizeH="0" baseline="0" noProof="0" dirty="0">
                <a:ln>
                  <a:noFill/>
                </a:ln>
                <a:solidFill>
                  <a:prstClr val="black"/>
                </a:solidFill>
                <a:effectLst/>
                <a:uLnTx/>
                <a:uFillTx/>
                <a:latin typeface="+mj-ea"/>
                <a:ea typeface="+mj-ea"/>
                <a:cs typeface="+mn-cs"/>
              </a:rPr>
              <a:t>施资源配置不</a:t>
            </a:r>
            <a:r>
              <a:rPr kumimoji="0" lang="zh-CN" altLang="en-US" sz="1200" b="0" i="0" u="none" strike="noStrike" kern="1200" cap="none" spc="0" normalizeH="0" baseline="0" noProof="0" dirty="0" smtClean="0">
                <a:ln>
                  <a:noFill/>
                </a:ln>
                <a:solidFill>
                  <a:prstClr val="black"/>
                </a:solidFill>
                <a:effectLst/>
                <a:uLnTx/>
                <a:uFillTx/>
                <a:latin typeface="+mj-ea"/>
                <a:ea typeface="+mj-ea"/>
                <a:cs typeface="+mn-cs"/>
              </a:rPr>
              <a:t>足</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39" name="矩形 38"/>
          <p:cNvSpPr/>
          <p:nvPr/>
        </p:nvSpPr>
        <p:spPr>
          <a:xfrm rot="10800000" flipV="1">
            <a:off x="1626609" y="1823479"/>
            <a:ext cx="2016000" cy="252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j-ea"/>
                <a:ea typeface="+mj-ea"/>
                <a:cs typeface="+mn-cs"/>
              </a:rPr>
              <a:t>项目立项必要性论证不足</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40" name="矩形 39"/>
          <p:cNvSpPr/>
          <p:nvPr/>
        </p:nvSpPr>
        <p:spPr>
          <a:xfrm rot="10800000" flipV="1">
            <a:off x="1097464" y="2922075"/>
            <a:ext cx="799200" cy="216000"/>
          </a:xfrm>
          <a:prstGeom prst="rect">
            <a:avLst/>
          </a:prstGeom>
          <a:solidFill>
            <a:srgbClr val="ED7D3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9.5%</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41" name="矩形 40"/>
          <p:cNvSpPr/>
          <p:nvPr/>
        </p:nvSpPr>
        <p:spPr>
          <a:xfrm rot="10800000" flipV="1">
            <a:off x="1097464" y="3223478"/>
            <a:ext cx="399600" cy="216000"/>
          </a:xfrm>
          <a:prstGeom prst="rect">
            <a:avLst/>
          </a:prstGeom>
          <a:solidFill>
            <a:srgbClr val="ED7D3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4.8%</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42" name="矩形 41"/>
          <p:cNvSpPr/>
          <p:nvPr/>
        </p:nvSpPr>
        <p:spPr>
          <a:xfrm rot="10800000" flipV="1">
            <a:off x="1097463" y="3524881"/>
            <a:ext cx="399600" cy="216000"/>
          </a:xfrm>
          <a:prstGeom prst="rect">
            <a:avLst/>
          </a:prstGeom>
          <a:solidFill>
            <a:srgbClr val="ED7D3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4.8%</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43" name="矩形 42"/>
          <p:cNvSpPr/>
          <p:nvPr/>
        </p:nvSpPr>
        <p:spPr>
          <a:xfrm rot="10800000" flipV="1">
            <a:off x="1097463" y="3850033"/>
            <a:ext cx="399600" cy="216000"/>
          </a:xfrm>
          <a:prstGeom prst="rect">
            <a:avLst/>
          </a:prstGeom>
          <a:solidFill>
            <a:srgbClr val="ED7D3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4.8%</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44" name="矩形 43"/>
          <p:cNvSpPr/>
          <p:nvPr/>
        </p:nvSpPr>
        <p:spPr>
          <a:xfrm rot="10800000" flipV="1">
            <a:off x="2029897" y="2919819"/>
            <a:ext cx="1548000" cy="216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j-ea"/>
                <a:ea typeface="+mj-ea"/>
                <a:cs typeface="+mn-cs"/>
              </a:rPr>
              <a:t>咨询团队专业经验不足</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45" name="矩形 44"/>
          <p:cNvSpPr/>
          <p:nvPr/>
        </p:nvSpPr>
        <p:spPr>
          <a:xfrm rot="10800000" flipV="1">
            <a:off x="1575967" y="3227300"/>
            <a:ext cx="1548000" cy="216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j-ea"/>
                <a:ea typeface="+mj-ea"/>
                <a:cs typeface="+mn-cs"/>
              </a:rPr>
              <a:t>方案专业性不足</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46" name="矩形 45"/>
          <p:cNvSpPr/>
          <p:nvPr/>
        </p:nvSpPr>
        <p:spPr>
          <a:xfrm rot="10800000" flipV="1">
            <a:off x="1575967" y="3523131"/>
            <a:ext cx="1548000" cy="216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j-ea"/>
                <a:ea typeface="+mj-ea"/>
                <a:cs typeface="+mn-cs"/>
              </a:rPr>
              <a:t>外部信息收集不全面</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47" name="矩形 46"/>
          <p:cNvSpPr/>
          <p:nvPr/>
        </p:nvSpPr>
        <p:spPr>
          <a:xfrm rot="10800000" flipV="1">
            <a:off x="1578381" y="3833826"/>
            <a:ext cx="1548000" cy="216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mj-ea"/>
                <a:ea typeface="+mj-ea"/>
                <a:cs typeface="+mn-cs"/>
              </a:rPr>
              <a:t>政策监管</a:t>
            </a:r>
            <a:r>
              <a:rPr kumimoji="0" lang="zh-CN" altLang="en-US" sz="1200" b="0" i="0" u="none" strike="noStrike" kern="1200" cap="none" spc="0" normalizeH="0" baseline="0" noProof="0" dirty="0" smtClean="0">
                <a:ln>
                  <a:noFill/>
                </a:ln>
                <a:solidFill>
                  <a:prstClr val="black"/>
                </a:solidFill>
                <a:effectLst/>
                <a:uLnTx/>
                <a:uFillTx/>
                <a:latin typeface="+mj-ea"/>
                <a:ea typeface="+mj-ea"/>
                <a:cs typeface="+mn-cs"/>
              </a:rPr>
              <a:t>调整</a:t>
            </a:r>
            <a:endParaRPr kumimoji="0" lang="zh-CN"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48" name="矩形 47"/>
          <p:cNvSpPr/>
          <p:nvPr/>
        </p:nvSpPr>
        <p:spPr>
          <a:xfrm rot="10800000" flipV="1">
            <a:off x="1093710" y="1852125"/>
            <a:ext cx="399600" cy="21600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mj-ea"/>
                <a:ea typeface="+mj-ea"/>
                <a:cs typeface="+mn-cs"/>
              </a:rPr>
              <a:t>4.8%</a:t>
            </a:r>
            <a:endParaRPr kumimoji="0" lang="zh-CN" altLang="en-US" sz="1100" b="1" i="0" u="none" strike="noStrike" kern="1200" cap="none" spc="0" normalizeH="0" baseline="0" noProof="0" dirty="0">
              <a:ln>
                <a:noFill/>
              </a:ln>
              <a:solidFill>
                <a:prstClr val="white"/>
              </a:solidFill>
              <a:effectLst/>
              <a:uLnTx/>
              <a:uFillTx/>
              <a:latin typeface="+mj-ea"/>
              <a:ea typeface="+mj-ea"/>
              <a:cs typeface="+mn-cs"/>
            </a:endParaRPr>
          </a:p>
        </p:txBody>
      </p:sp>
      <p:sp>
        <p:nvSpPr>
          <p:cNvPr id="49" name="矩形 48"/>
          <p:cNvSpPr/>
          <p:nvPr/>
        </p:nvSpPr>
        <p:spPr>
          <a:xfrm>
            <a:off x="10962798" y="4715570"/>
            <a:ext cx="972000" cy="360000"/>
          </a:xfrm>
          <a:prstGeom prst="rect">
            <a:avLst/>
          </a:prstGeom>
          <a:noFill/>
          <a:ln w="1905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100" b="0" i="0" u="none" strike="noStrike" kern="1200" cap="none" spc="0" normalizeH="0" baseline="0" noProof="0" dirty="0">
              <a:ln>
                <a:noFill/>
              </a:ln>
              <a:solidFill>
                <a:prstClr val="black"/>
              </a:solidFill>
              <a:effectLst/>
              <a:uLnTx/>
              <a:uFillTx/>
              <a:latin typeface="+mj-ea"/>
              <a:ea typeface="+mj-ea"/>
              <a:cs typeface="+mn-cs"/>
            </a:endParaRPr>
          </a:p>
        </p:txBody>
      </p:sp>
      <p:sp>
        <p:nvSpPr>
          <p:cNvPr id="50" name="矩形 49"/>
          <p:cNvSpPr/>
          <p:nvPr/>
        </p:nvSpPr>
        <p:spPr>
          <a:xfrm>
            <a:off x="977629" y="4922652"/>
            <a:ext cx="3201320" cy="926580"/>
          </a:xfrm>
          <a:prstGeom prst="rect">
            <a:avLst/>
          </a:prstGeom>
          <a:noFill/>
          <a:ln w="19050">
            <a:solidFill>
              <a:schemeClr val="accent5">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j-ea"/>
              <a:ea typeface="+mj-ea"/>
              <a:cs typeface="+mn-cs"/>
            </a:endParaRPr>
          </a:p>
        </p:txBody>
      </p:sp>
      <p:sp>
        <p:nvSpPr>
          <p:cNvPr id="51" name="矩形 50"/>
          <p:cNvSpPr/>
          <p:nvPr/>
        </p:nvSpPr>
        <p:spPr>
          <a:xfrm>
            <a:off x="10988469" y="5443229"/>
            <a:ext cx="972000" cy="360000"/>
          </a:xfrm>
          <a:prstGeom prst="rect">
            <a:avLst/>
          </a:prstGeom>
          <a:noFill/>
          <a:ln w="19050">
            <a:solidFill>
              <a:schemeClr val="accent5">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100" b="0" i="0" u="none" strike="noStrike" kern="1200" cap="none" spc="0" normalizeH="0" baseline="0" noProof="0" dirty="0">
              <a:ln>
                <a:noFill/>
              </a:ln>
              <a:solidFill>
                <a:prstClr val="black"/>
              </a:solidFill>
              <a:effectLst/>
              <a:uLnTx/>
              <a:uFillTx/>
              <a:latin typeface="+mj-ea"/>
              <a:ea typeface="+mj-ea"/>
              <a:cs typeface="+mn-cs"/>
            </a:endParaRPr>
          </a:p>
        </p:txBody>
      </p:sp>
      <p:sp>
        <p:nvSpPr>
          <p:cNvPr id="52" name="矩形 51"/>
          <p:cNvSpPr/>
          <p:nvPr/>
        </p:nvSpPr>
        <p:spPr>
          <a:xfrm>
            <a:off x="962698" y="2570349"/>
            <a:ext cx="3201320" cy="1224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j-ea"/>
              <a:ea typeface="+mj-ea"/>
              <a:cs typeface="+mn-cs"/>
            </a:endParaRPr>
          </a:p>
        </p:txBody>
      </p:sp>
      <p:sp>
        <p:nvSpPr>
          <p:cNvPr id="53" name="TextBox 2"/>
          <p:cNvSpPr txBox="1"/>
          <p:nvPr/>
        </p:nvSpPr>
        <p:spPr>
          <a:xfrm>
            <a:off x="10772797" y="4433539"/>
            <a:ext cx="156566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black"/>
                </a:solidFill>
                <a:effectLst/>
                <a:uLnTx/>
                <a:uFillTx/>
                <a:latin typeface="+mj-ea"/>
                <a:ea typeface="+mj-ea"/>
                <a:cs typeface="+mn-cs"/>
              </a:rPr>
              <a:t>xx</a:t>
            </a:r>
            <a:r>
              <a:rPr kumimoji="0" lang="zh-CN" altLang="en-US" sz="1100" b="1" i="0" u="none" strike="noStrike" kern="1200" cap="none" spc="0" normalizeH="0" baseline="0" noProof="0" dirty="0" smtClean="0">
                <a:ln>
                  <a:noFill/>
                </a:ln>
                <a:solidFill>
                  <a:prstClr val="black"/>
                </a:solidFill>
                <a:effectLst/>
                <a:uLnTx/>
                <a:uFillTx/>
                <a:latin typeface="+mj-ea"/>
                <a:ea typeface="+mj-ea"/>
                <a:cs typeface="+mn-cs"/>
              </a:rPr>
              <a:t>调整问题</a:t>
            </a:r>
            <a:endParaRPr kumimoji="0" lang="zh-CN" altLang="en-US" sz="1100" b="1" i="0" u="none" strike="noStrike" kern="1200" cap="none" spc="0" normalizeH="0" baseline="0" noProof="0" dirty="0">
              <a:ln>
                <a:noFill/>
              </a:ln>
              <a:solidFill>
                <a:prstClr val="black"/>
              </a:solidFill>
              <a:effectLst/>
              <a:uLnTx/>
              <a:uFillTx/>
              <a:latin typeface="+mj-ea"/>
              <a:ea typeface="+mj-ea"/>
              <a:cs typeface="+mn-cs"/>
            </a:endParaRPr>
          </a:p>
        </p:txBody>
      </p:sp>
      <p:sp>
        <p:nvSpPr>
          <p:cNvPr id="54" name="TextBox 71"/>
          <p:cNvSpPr txBox="1"/>
          <p:nvPr/>
        </p:nvSpPr>
        <p:spPr>
          <a:xfrm>
            <a:off x="10860829" y="5168161"/>
            <a:ext cx="117978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100" b="1" i="0" u="none" strike="noStrike" kern="1200" cap="none" spc="0" normalizeH="0" baseline="0" noProof="0" dirty="0" smtClean="0">
                <a:ln>
                  <a:noFill/>
                </a:ln>
                <a:solidFill>
                  <a:prstClr val="black"/>
                </a:solidFill>
                <a:effectLst/>
                <a:uLnTx/>
                <a:uFillTx/>
                <a:latin typeface="+mj-ea"/>
                <a:ea typeface="+mj-ea"/>
                <a:cs typeface="+mn-cs"/>
              </a:rPr>
              <a:t>执行能力问题</a:t>
            </a:r>
            <a:endParaRPr kumimoji="0" lang="zh-CN" altLang="en-US" sz="1100" b="1" i="0" u="none" strike="noStrike" kern="1200" cap="none" spc="0" normalizeH="0" baseline="0" noProof="0" dirty="0">
              <a:ln>
                <a:noFill/>
              </a:ln>
              <a:solidFill>
                <a:prstClr val="black"/>
              </a:solidFill>
              <a:effectLst/>
              <a:uLnTx/>
              <a:uFillTx/>
              <a:latin typeface="+mj-ea"/>
              <a:ea typeface="+mj-ea"/>
              <a:cs typeface="+mn-cs"/>
            </a:endParaRPr>
          </a:p>
        </p:txBody>
      </p:sp>
      <p:sp>
        <p:nvSpPr>
          <p:cNvPr id="55" name="矩形 54"/>
          <p:cNvSpPr/>
          <p:nvPr/>
        </p:nvSpPr>
        <p:spPr>
          <a:xfrm>
            <a:off x="972598" y="4244944"/>
            <a:ext cx="3201320" cy="616179"/>
          </a:xfrm>
          <a:prstGeom prst="rect">
            <a:avLst/>
          </a:prstGeom>
          <a:noFill/>
          <a:ln w="1905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j-ea"/>
              <a:ea typeface="+mj-ea"/>
              <a:cs typeface="+mn-cs"/>
            </a:endParaRPr>
          </a:p>
        </p:txBody>
      </p:sp>
      <p:sp>
        <p:nvSpPr>
          <p:cNvPr id="56" name="矩形 55"/>
          <p:cNvSpPr/>
          <p:nvPr/>
        </p:nvSpPr>
        <p:spPr>
          <a:xfrm>
            <a:off x="10957697" y="4028871"/>
            <a:ext cx="972000" cy="360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mj-ea"/>
              <a:ea typeface="+mj-ea"/>
              <a:cs typeface="+mn-cs"/>
            </a:endParaRPr>
          </a:p>
        </p:txBody>
      </p:sp>
      <p:sp>
        <p:nvSpPr>
          <p:cNvPr id="57" name="TextBox 75"/>
          <p:cNvSpPr txBox="1"/>
          <p:nvPr/>
        </p:nvSpPr>
        <p:spPr>
          <a:xfrm>
            <a:off x="10784673" y="3684124"/>
            <a:ext cx="131232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prstClr val="black"/>
                </a:solidFill>
                <a:effectLst/>
                <a:uLnTx/>
                <a:uFillTx/>
                <a:latin typeface="+mj-ea"/>
                <a:ea typeface="+mj-ea"/>
                <a:cs typeface="+mn-cs"/>
              </a:rPr>
              <a:t>xx</a:t>
            </a:r>
            <a:r>
              <a:rPr kumimoji="0" lang="zh-CN" altLang="en-US" sz="1100" b="1" i="0" u="none" strike="noStrike" kern="1200" cap="none" spc="0" normalizeH="0" baseline="0" noProof="0" dirty="0" smtClean="0">
                <a:ln>
                  <a:noFill/>
                </a:ln>
                <a:solidFill>
                  <a:prstClr val="black"/>
                </a:solidFill>
                <a:effectLst/>
                <a:uLnTx/>
                <a:uFillTx/>
                <a:latin typeface="+mj-ea"/>
                <a:ea typeface="+mj-ea"/>
                <a:cs typeface="+mn-cs"/>
              </a:rPr>
              <a:t>公司选择问题</a:t>
            </a:r>
            <a:endParaRPr kumimoji="0" lang="zh-CN" altLang="en-US" sz="1100" b="1" i="0" u="none" strike="noStrike" kern="1200" cap="none" spc="0" normalizeH="0" baseline="0" noProof="0" dirty="0">
              <a:ln>
                <a:noFill/>
              </a:ln>
              <a:solidFill>
                <a:prstClr val="black"/>
              </a:solidFill>
              <a:effectLst/>
              <a:uLnTx/>
              <a:uFillTx/>
              <a:latin typeface="+mj-ea"/>
              <a:ea typeface="+mj-ea"/>
              <a:cs typeface="+mn-cs"/>
            </a:endParaRPr>
          </a:p>
        </p:txBody>
      </p:sp>
      <p:sp>
        <p:nvSpPr>
          <p:cNvPr id="5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内诊</a:t>
            </a:r>
            <a:r>
              <a:rPr lang="en-US" altLang="zh-CN" sz="2400" dirty="0" smtClean="0">
                <a:latin typeface="+mj-ea"/>
              </a:rPr>
              <a:t>-</a:t>
            </a:r>
            <a:r>
              <a:rPr lang="zh-CN" altLang="en-US" sz="2400" dirty="0" smtClean="0">
                <a:latin typeface="+mj-ea"/>
              </a:rPr>
              <a:t>咨询项目管理</a:t>
            </a:r>
            <a:endParaRPr lang="zh-CN" altLang="en-US" sz="2400" dirty="0">
              <a:solidFill>
                <a:prstClr val="black"/>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对象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013" name="think-cell Slide" r:id="rId2" imgW="12700" imgH="12700" progId="TCLayout.ActiveDocument.1">
                  <p:embed/>
                </p:oleObj>
              </mc:Choice>
              <mc:Fallback>
                <p:oleObj name="think-cell Slide" r:id="rId2" imgW="12700" imgH="12700" progId="TCLayout.ActiveDocument.1">
                  <p:embed/>
                  <p:pic>
                    <p:nvPicPr>
                      <p:cNvPr id="0" name="对象 12"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118" name="竖排文字占位符 2"/>
          <p:cNvSpPr txBox="1"/>
          <p:nvPr/>
        </p:nvSpPr>
        <p:spPr>
          <a:xfrm>
            <a:off x="11265317" y="680729"/>
            <a:ext cx="643412" cy="215444"/>
          </a:xfrm>
          <a:prstGeom prst="rect">
            <a:avLst/>
          </a:prstGeom>
        </p:spPr>
        <p:txBody>
          <a:bodyPr vert="horz" wrap="square" lIns="0" tIns="0" rIns="0" bIns="0">
            <a:sp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27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defRPr/>
            </a:pPr>
            <a:r>
              <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rPr>
              <a:t>举例</a:t>
            </a:r>
            <a:endParaRPr kumimoji="0" lang="zh-CN" altLang="en-US"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sym typeface="Trebuchet MS" panose="020B0603020202020204" pitchFamily="34" charset="0"/>
            </a:endParaRPr>
          </a:p>
        </p:txBody>
      </p:sp>
      <p:sp>
        <p:nvSpPr>
          <p:cNvPr id="121" name="矩形 120"/>
          <p:cNvSpPr/>
          <p:nvPr/>
        </p:nvSpPr>
        <p:spPr>
          <a:xfrm>
            <a:off x="10792976" y="683347"/>
            <a:ext cx="380609" cy="210207"/>
          </a:xfrm>
          <a:prstGeom prst="rect">
            <a:avLst/>
          </a:prstGeom>
          <a:solidFill>
            <a:schemeClr val="bg1"/>
          </a:solidFill>
          <a:ln w="12700">
            <a:solidFill>
              <a:schemeClr val="bg1">
                <a:lumMod val="65000"/>
              </a:schemeClr>
            </a:solidFill>
          </a:ln>
        </p:spPr>
        <p:txBody>
          <a:bodyPr vert="horz" wrap="square" lIns="72000" tIns="36000" rIns="72000" bIns="36000">
            <a:noAutofit/>
          </a:bodyPr>
          <a:lstStyle/>
          <a:p>
            <a:pPr marL="88900" marR="0" lvl="0" indent="-8763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kumimoji="0" lang="zh-CN" altLang="en-US"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微软雅黑 Light" panose="020B0502040204020203" charset="-122"/>
            </a:endParaRPr>
          </a:p>
        </p:txBody>
      </p:sp>
      <p:sp>
        <p:nvSpPr>
          <p:cNvPr id="95" name="Rectangle 51"/>
          <p:cNvSpPr/>
          <p:nvPr/>
        </p:nvSpPr>
        <p:spPr>
          <a:xfrm>
            <a:off x="504497" y="5289789"/>
            <a:ext cx="1253656" cy="643030"/>
          </a:xfrm>
          <a:prstGeom prst="rect">
            <a:avLst/>
          </a:prstGeom>
          <a:solidFill>
            <a:srgbClr val="FFFFFF"/>
          </a:solidFill>
        </p:spPr>
        <p:txBody>
          <a:bodyPr wrap="square" lIns="45720" tIns="0" rIns="45720" bIns="0" anchor="ctr">
            <a:noAutofit/>
          </a:bodyPr>
          <a:lstStyle/>
          <a:p>
            <a:pPr marL="0" marR="0" lvl="0" indent="0" algn="r" defTabSz="9144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XX</a:t>
            </a:r>
            <a:endParaRPr kumimoji="0" lang="zh-CN" altLang="en-US" sz="20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endParaRPr>
          </a:p>
        </p:txBody>
      </p:sp>
      <p:sp>
        <p:nvSpPr>
          <p:cNvPr id="115" name="Rectangle 52"/>
          <p:cNvSpPr/>
          <p:nvPr/>
        </p:nvSpPr>
        <p:spPr>
          <a:xfrm>
            <a:off x="504497" y="3184636"/>
            <a:ext cx="1253656" cy="643030"/>
          </a:xfrm>
          <a:prstGeom prst="rect">
            <a:avLst/>
          </a:prstGeom>
          <a:solidFill>
            <a:srgbClr val="FFFFFF"/>
          </a:solidFill>
        </p:spPr>
        <p:txBody>
          <a:bodyPr wrap="square" lIns="45720" tIns="0" rIns="45720" bIns="0" anchor="ctr">
            <a:noAutofit/>
          </a:bodyPr>
          <a:lstStyle/>
          <a:p>
            <a:pPr marL="0" marR="0" lvl="0" indent="0" algn="r" defTabSz="9144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XX</a:t>
            </a:r>
            <a:endParaRPr kumimoji="0" lang="zh-CN" altLang="en-US" sz="20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endParaRPr>
          </a:p>
        </p:txBody>
      </p:sp>
      <p:cxnSp>
        <p:nvCxnSpPr>
          <p:cNvPr id="94" name="Straight Connector 48"/>
          <p:cNvCxnSpPr/>
          <p:nvPr/>
        </p:nvCxnSpPr>
        <p:spPr>
          <a:xfrm>
            <a:off x="685842" y="4742192"/>
            <a:ext cx="0" cy="1109293"/>
          </a:xfrm>
          <a:prstGeom prst="line">
            <a:avLst/>
          </a:prstGeom>
          <a:noFill/>
          <a:ln w="9525" cap="flat" cmpd="sng" algn="ctr">
            <a:solidFill>
              <a:srgbClr val="4D4D4D"/>
            </a:solidFill>
            <a:prstDash val="solid"/>
            <a:round/>
            <a:headEnd type="oval" w="sm" len="sm"/>
            <a:tailEnd type="oval" w="sm" len="sm"/>
          </a:ln>
          <a:effectLst/>
        </p:spPr>
      </p:cxnSp>
      <p:cxnSp>
        <p:nvCxnSpPr>
          <p:cNvPr id="112" name="Straight Connector 47"/>
          <p:cNvCxnSpPr/>
          <p:nvPr/>
        </p:nvCxnSpPr>
        <p:spPr>
          <a:xfrm>
            <a:off x="685842" y="1729955"/>
            <a:ext cx="0" cy="2916463"/>
          </a:xfrm>
          <a:prstGeom prst="line">
            <a:avLst/>
          </a:prstGeom>
          <a:noFill/>
          <a:ln w="9525" cap="flat" cmpd="sng" algn="ctr">
            <a:solidFill>
              <a:srgbClr val="4D4D4D"/>
            </a:solidFill>
            <a:prstDash val="solid"/>
            <a:round/>
            <a:headEnd type="oval" w="sm" len="sm"/>
            <a:tailEnd type="oval" w="sm" len="sm"/>
          </a:ln>
          <a:effectLst/>
        </p:spPr>
      </p:cxnSp>
      <p:sp>
        <p:nvSpPr>
          <p:cNvPr id="103" name="Freeform 46"/>
          <p:cNvSpPr/>
          <p:nvPr/>
        </p:nvSpPr>
        <p:spPr>
          <a:xfrm>
            <a:off x="1103129" y="808725"/>
            <a:ext cx="10214612" cy="505042"/>
          </a:xfrm>
          <a:custGeom>
            <a:avLst/>
            <a:gdLst>
              <a:gd name="connsiteX0" fmla="*/ 0 w 8214732"/>
              <a:gd name="connsiteY0" fmla="*/ 1011043 h 1011043"/>
              <a:gd name="connsiteX1" fmla="*/ 4088781 w 8214732"/>
              <a:gd name="connsiteY1" fmla="*/ 0 h 1011043"/>
              <a:gd name="connsiteX2" fmla="*/ 8214732 w 8214732"/>
              <a:gd name="connsiteY2" fmla="*/ 1003609 h 1011043"/>
            </a:gdLst>
            <a:ahLst/>
            <a:cxnLst>
              <a:cxn ang="0">
                <a:pos x="connsiteX0" y="connsiteY0"/>
              </a:cxn>
              <a:cxn ang="0">
                <a:pos x="connsiteX1" y="connsiteY1"/>
              </a:cxn>
              <a:cxn ang="0">
                <a:pos x="connsiteX2" y="connsiteY2"/>
              </a:cxn>
            </a:cxnLst>
            <a:rect l="l" t="t" r="r" b="b"/>
            <a:pathLst>
              <a:path w="8214732" h="1011043">
                <a:moveTo>
                  <a:pt x="0" y="1011043"/>
                </a:moveTo>
                <a:lnTo>
                  <a:pt x="4088781" y="0"/>
                </a:lnTo>
                <a:lnTo>
                  <a:pt x="8214732" y="1003609"/>
                </a:lnTo>
              </a:path>
            </a:pathLst>
          </a:custGeom>
          <a:noFill/>
          <a:ln w="44450" cap="rnd" cmpd="sng">
            <a:solidFill>
              <a:schemeClr val="accent1">
                <a:lumMod val="75000"/>
              </a:schemeClr>
            </a:solidFill>
            <a:prstDash val="solid"/>
            <a:round/>
            <a:headEnd type="none" w="lg" len="lg"/>
            <a:tailEnd type="none" w="lg" len="lg"/>
          </a:ln>
          <a:effectLst>
            <a:outerShdw blurRad="50800" dist="38100" dir="2700000" algn="tl" rotWithShape="0">
              <a:prstClr val="black">
                <a:alpha val="40000"/>
              </a:prstClr>
            </a:outerShdw>
          </a:effectLst>
        </p:spPr>
        <p:txBody>
          <a:bodyPr wrap="none" lIns="0" tIns="0" rIns="0" bIns="0" anchor="ctr"/>
          <a:lstStyle/>
          <a:p>
            <a:pPr marL="0" marR="0" lvl="0" indent="0" algn="l" defTabSz="779145"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srgbClr val="000000"/>
              </a:solidFill>
              <a:effectLst/>
              <a:uLnTx/>
              <a:uFillTx/>
              <a:latin typeface="Arial" panose="020B0604020202020204"/>
              <a:ea typeface="华文楷体" panose="02010600040101010101" charset="-122"/>
              <a:cs typeface="+mn-cs"/>
            </a:endParaRPr>
          </a:p>
        </p:txBody>
      </p:sp>
      <p:sp>
        <p:nvSpPr>
          <p:cNvPr id="128" name="矩形 127"/>
          <p:cNvSpPr/>
          <p:nvPr/>
        </p:nvSpPr>
        <p:spPr>
          <a:xfrm>
            <a:off x="3393889" y="1753716"/>
            <a:ext cx="7595341" cy="313701"/>
          </a:xfrm>
          <a:prstGeom prst="rect">
            <a:avLst/>
          </a:prstGeom>
          <a:solidFill>
            <a:srgbClr val="FE5817"/>
          </a:solidFill>
          <a:ln w="9525" cap="flat" cmpd="sng" algn="ctr">
            <a:noFill/>
            <a:prstDash val="solid"/>
            <a:round/>
            <a:headEnd type="none" w="med" len="med"/>
            <a:tailEnd type="none" w="med" len="me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1" lang="en-US" altLang="zh-CN"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XX</a:t>
            </a:r>
            <a:endParaRPr kumimoji="1" lang="zh-CN" altLang="en-US" sz="18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102" name="Rectangle 45"/>
          <p:cNvSpPr/>
          <p:nvPr/>
        </p:nvSpPr>
        <p:spPr>
          <a:xfrm>
            <a:off x="1620258" y="926075"/>
            <a:ext cx="9080456" cy="680719"/>
          </a:xfrm>
          <a:prstGeom prst="rect">
            <a:avLst/>
          </a:prstGeom>
          <a:noFill/>
          <a:ln w="9525" algn="ctr">
            <a:noFill/>
            <a:miter lim="800000"/>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B2B2B2"/>
                </a:solidFill>
                <a:miter lim="800000"/>
                <a:headEnd/>
                <a:tailEnd/>
              </a14:hiddenLine>
            </a:ext>
          </a:extLst>
        </p:spPr>
        <p:txBody>
          <a:bodyPr lIns="0" tIns="0" rIns="0" bIns="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22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22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07" name="Rectangle 35"/>
          <p:cNvSpPr/>
          <p:nvPr/>
        </p:nvSpPr>
        <p:spPr>
          <a:xfrm>
            <a:off x="1255326" y="1556499"/>
            <a:ext cx="9853015" cy="135074"/>
          </a:xfrm>
          <a:prstGeom prst="rect">
            <a:avLst/>
          </a:prstGeom>
          <a:solidFill>
            <a:schemeClr val="accent1">
              <a:lumMod val="75000"/>
            </a:schemeClr>
          </a:solidFill>
          <a:ln w="19050" cap="flat" cmpd="sng" algn="ctr">
            <a:solidFill>
              <a:srgbClr val="FFFFFF"/>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000000"/>
              </a:solidFill>
              <a:effectLst/>
              <a:uLnTx/>
              <a:uFillTx/>
              <a:latin typeface="Arial" panose="020B0604020202020204"/>
              <a:ea typeface="华文楷体" panose="02010600040101010101" charset="-122"/>
              <a:cs typeface="Arial" panose="020B0604020202020204" pitchFamily="34" charset="0"/>
            </a:endParaRPr>
          </a:p>
        </p:txBody>
      </p:sp>
      <p:grpSp>
        <p:nvGrpSpPr>
          <p:cNvPr id="11" name="组合 10"/>
          <p:cNvGrpSpPr/>
          <p:nvPr/>
        </p:nvGrpSpPr>
        <p:grpSpPr>
          <a:xfrm>
            <a:off x="1369889" y="1753716"/>
            <a:ext cx="1915808" cy="2917455"/>
            <a:chOff x="2728809" y="1931546"/>
            <a:chExt cx="1536134" cy="2917455"/>
          </a:xfrm>
        </p:grpSpPr>
        <p:sp>
          <p:nvSpPr>
            <p:cNvPr id="127" name="Rectangle 31"/>
            <p:cNvSpPr/>
            <p:nvPr/>
          </p:nvSpPr>
          <p:spPr>
            <a:xfrm>
              <a:off x="2728809" y="1931546"/>
              <a:ext cx="1536134" cy="2917455"/>
            </a:xfrm>
            <a:prstGeom prst="rect">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000000"/>
                </a:solidFill>
                <a:effectLst/>
                <a:uLnTx/>
                <a:uFillTx/>
                <a:latin typeface="Arial" panose="020B0604020202020204"/>
                <a:ea typeface="华文楷体" panose="02010600040101010101" charset="-122"/>
                <a:cs typeface="Arial" panose="020B0604020202020204" pitchFamily="34" charset="0"/>
                <a:sym typeface="Arial" panose="020B0604020202020204"/>
              </a:endParaRPr>
            </a:p>
          </p:txBody>
        </p:sp>
        <p:sp>
          <p:nvSpPr>
            <p:cNvPr id="131" name="矩形 130"/>
            <p:cNvSpPr/>
            <p:nvPr/>
          </p:nvSpPr>
          <p:spPr>
            <a:xfrm>
              <a:off x="2728809" y="1976269"/>
              <a:ext cx="1536134" cy="36933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60000"/>
                      <a:lumOff val="40000"/>
                    </a:schemeClr>
                  </a:solidFill>
                </a14:hiddenFill>
              </a:ext>
            </a:extLst>
          </p:spPr>
          <p:txBody>
            <a:bodyPr wrap="square" rtlCol="0" anchor="t">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kumimoji="1" lang="en-US" altLang="zh-CN" sz="1800" b="1" i="0" u="sng"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1"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grpSp>
        <p:nvGrpSpPr>
          <p:cNvPr id="12" name="组合 11"/>
          <p:cNvGrpSpPr/>
          <p:nvPr/>
        </p:nvGrpSpPr>
        <p:grpSpPr>
          <a:xfrm>
            <a:off x="2050575" y="3817024"/>
            <a:ext cx="662857" cy="574072"/>
            <a:chOff x="3369320" y="4069497"/>
            <a:chExt cx="669402" cy="584434"/>
          </a:xfrm>
        </p:grpSpPr>
        <p:sp>
          <p:nvSpPr>
            <p:cNvPr id="148" name="Freeform 237"/>
            <p:cNvSpPr>
              <a:spLocks noEditPoints="1"/>
            </p:cNvSpPr>
            <p:nvPr/>
          </p:nvSpPr>
          <p:spPr bwMode="auto">
            <a:xfrm>
              <a:off x="3547371" y="4425971"/>
              <a:ext cx="155794" cy="139224"/>
            </a:xfrm>
            <a:custGeom>
              <a:avLst/>
              <a:gdLst>
                <a:gd name="T0" fmla="*/ 23 w 46"/>
                <a:gd name="T1" fmla="*/ 46 h 46"/>
                <a:gd name="T2" fmla="*/ 0 w 46"/>
                <a:gd name="T3" fmla="*/ 23 h 46"/>
                <a:gd name="T4" fmla="*/ 7 w 46"/>
                <a:gd name="T5" fmla="*/ 7 h 46"/>
                <a:gd name="T6" fmla="*/ 23 w 46"/>
                <a:gd name="T7" fmla="*/ 0 h 46"/>
                <a:gd name="T8" fmla="*/ 46 w 46"/>
                <a:gd name="T9" fmla="*/ 23 h 46"/>
                <a:gd name="T10" fmla="*/ 39 w 46"/>
                <a:gd name="T11" fmla="*/ 39 h 46"/>
                <a:gd name="T12" fmla="*/ 23 w 46"/>
                <a:gd name="T13" fmla="*/ 46 h 46"/>
                <a:gd name="T14" fmla="*/ 23 w 46"/>
                <a:gd name="T15" fmla="*/ 12 h 46"/>
                <a:gd name="T16" fmla="*/ 15 w 46"/>
                <a:gd name="T17" fmla="*/ 15 h 46"/>
                <a:gd name="T18" fmla="*/ 12 w 46"/>
                <a:gd name="T19" fmla="*/ 23 h 46"/>
                <a:gd name="T20" fmla="*/ 23 w 46"/>
                <a:gd name="T21" fmla="*/ 34 h 46"/>
                <a:gd name="T22" fmla="*/ 31 w 46"/>
                <a:gd name="T23" fmla="*/ 31 h 46"/>
                <a:gd name="T24" fmla="*/ 34 w 46"/>
                <a:gd name="T25" fmla="*/ 23 h 46"/>
                <a:gd name="T26" fmla="*/ 23 w 46"/>
                <a:gd name="T27"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46">
                  <a:moveTo>
                    <a:pt x="23" y="46"/>
                  </a:moveTo>
                  <a:cubicBezTo>
                    <a:pt x="10" y="46"/>
                    <a:pt x="0" y="36"/>
                    <a:pt x="0" y="23"/>
                  </a:cubicBezTo>
                  <a:cubicBezTo>
                    <a:pt x="0" y="17"/>
                    <a:pt x="2" y="11"/>
                    <a:pt x="7" y="7"/>
                  </a:cubicBezTo>
                  <a:cubicBezTo>
                    <a:pt x="11" y="3"/>
                    <a:pt x="17" y="0"/>
                    <a:pt x="23" y="0"/>
                  </a:cubicBezTo>
                  <a:cubicBezTo>
                    <a:pt x="35" y="0"/>
                    <a:pt x="46" y="10"/>
                    <a:pt x="46" y="23"/>
                  </a:cubicBezTo>
                  <a:cubicBezTo>
                    <a:pt x="46" y="29"/>
                    <a:pt x="43" y="35"/>
                    <a:pt x="39" y="39"/>
                  </a:cubicBezTo>
                  <a:cubicBezTo>
                    <a:pt x="35" y="44"/>
                    <a:pt x="29" y="46"/>
                    <a:pt x="23" y="46"/>
                  </a:cubicBezTo>
                  <a:close/>
                  <a:moveTo>
                    <a:pt x="23" y="12"/>
                  </a:moveTo>
                  <a:cubicBezTo>
                    <a:pt x="20" y="12"/>
                    <a:pt x="17" y="13"/>
                    <a:pt x="15" y="15"/>
                  </a:cubicBezTo>
                  <a:cubicBezTo>
                    <a:pt x="13" y="17"/>
                    <a:pt x="12" y="20"/>
                    <a:pt x="12" y="23"/>
                  </a:cubicBezTo>
                  <a:cubicBezTo>
                    <a:pt x="12" y="29"/>
                    <a:pt x="17" y="34"/>
                    <a:pt x="23" y="34"/>
                  </a:cubicBezTo>
                  <a:cubicBezTo>
                    <a:pt x="26" y="34"/>
                    <a:pt x="28" y="33"/>
                    <a:pt x="31" y="31"/>
                  </a:cubicBezTo>
                  <a:cubicBezTo>
                    <a:pt x="33" y="29"/>
                    <a:pt x="34" y="26"/>
                    <a:pt x="34" y="23"/>
                  </a:cubicBezTo>
                  <a:cubicBezTo>
                    <a:pt x="34" y="17"/>
                    <a:pt x="29" y="12"/>
                    <a:pt x="23" y="12"/>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9" name="Freeform 238"/>
            <p:cNvSpPr/>
            <p:nvPr/>
          </p:nvSpPr>
          <p:spPr bwMode="auto">
            <a:xfrm>
              <a:off x="3600443" y="4239320"/>
              <a:ext cx="251668" cy="201951"/>
            </a:xfrm>
            <a:custGeom>
              <a:avLst/>
              <a:gdLst>
                <a:gd name="T0" fmla="*/ 12 w 74"/>
                <a:gd name="T1" fmla="*/ 66 h 66"/>
                <a:gd name="T2" fmla="*/ 0 w 74"/>
                <a:gd name="T3" fmla="*/ 65 h 66"/>
                <a:gd name="T4" fmla="*/ 72 w 74"/>
                <a:gd name="T5" fmla="*/ 0 h 66"/>
                <a:gd name="T6" fmla="*/ 74 w 74"/>
                <a:gd name="T7" fmla="*/ 11 h 66"/>
                <a:gd name="T8" fmla="*/ 12 w 74"/>
                <a:gd name="T9" fmla="*/ 66 h 66"/>
              </a:gdLst>
              <a:ahLst/>
              <a:cxnLst>
                <a:cxn ang="0">
                  <a:pos x="T0" y="T1"/>
                </a:cxn>
                <a:cxn ang="0">
                  <a:pos x="T2" y="T3"/>
                </a:cxn>
                <a:cxn ang="0">
                  <a:pos x="T4" y="T5"/>
                </a:cxn>
                <a:cxn ang="0">
                  <a:pos x="T6" y="T7"/>
                </a:cxn>
                <a:cxn ang="0">
                  <a:pos x="T8" y="T9"/>
                </a:cxn>
              </a:cxnLst>
              <a:rect l="0" t="0" r="r" b="b"/>
              <a:pathLst>
                <a:path w="74" h="66">
                  <a:moveTo>
                    <a:pt x="12" y="66"/>
                  </a:moveTo>
                  <a:cubicBezTo>
                    <a:pt x="0" y="65"/>
                    <a:pt x="0" y="65"/>
                    <a:pt x="0" y="65"/>
                  </a:cubicBezTo>
                  <a:cubicBezTo>
                    <a:pt x="0" y="64"/>
                    <a:pt x="8" y="8"/>
                    <a:pt x="72" y="0"/>
                  </a:cubicBezTo>
                  <a:cubicBezTo>
                    <a:pt x="74" y="11"/>
                    <a:pt x="74" y="11"/>
                    <a:pt x="74" y="11"/>
                  </a:cubicBezTo>
                  <a:cubicBezTo>
                    <a:pt x="19" y="19"/>
                    <a:pt x="12" y="66"/>
                    <a:pt x="12" y="66"/>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0" name="Freeform 239"/>
            <p:cNvSpPr/>
            <p:nvPr/>
          </p:nvSpPr>
          <p:spPr bwMode="auto">
            <a:xfrm>
              <a:off x="3706589" y="4198011"/>
              <a:ext cx="169491" cy="166763"/>
            </a:xfrm>
            <a:custGeom>
              <a:avLst/>
              <a:gdLst>
                <a:gd name="T0" fmla="*/ 17 w 50"/>
                <a:gd name="T1" fmla="*/ 55 h 55"/>
                <a:gd name="T2" fmla="*/ 13 w 50"/>
                <a:gd name="T3" fmla="*/ 53 h 55"/>
                <a:gd name="T4" fmla="*/ 12 w 50"/>
                <a:gd name="T5" fmla="*/ 45 h 55"/>
                <a:gd name="T6" fmla="*/ 33 w 50"/>
                <a:gd name="T7" fmla="*/ 21 h 55"/>
                <a:gd name="T8" fmla="*/ 5 w 50"/>
                <a:gd name="T9" fmla="*/ 12 h 55"/>
                <a:gd name="T10" fmla="*/ 1 w 50"/>
                <a:gd name="T11" fmla="*/ 5 h 55"/>
                <a:gd name="T12" fmla="*/ 8 w 50"/>
                <a:gd name="T13" fmla="*/ 1 h 55"/>
                <a:gd name="T14" fmla="*/ 46 w 50"/>
                <a:gd name="T15" fmla="*/ 13 h 55"/>
                <a:gd name="T16" fmla="*/ 50 w 50"/>
                <a:gd name="T17" fmla="*/ 17 h 55"/>
                <a:gd name="T18" fmla="*/ 48 w 50"/>
                <a:gd name="T19" fmla="*/ 22 h 55"/>
                <a:gd name="T20" fmla="*/ 21 w 50"/>
                <a:gd name="T21" fmla="*/ 53 h 55"/>
                <a:gd name="T22" fmla="*/ 17 w 50"/>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5">
                  <a:moveTo>
                    <a:pt x="17" y="55"/>
                  </a:moveTo>
                  <a:cubicBezTo>
                    <a:pt x="15" y="55"/>
                    <a:pt x="14" y="54"/>
                    <a:pt x="13" y="53"/>
                  </a:cubicBezTo>
                  <a:cubicBezTo>
                    <a:pt x="10" y="51"/>
                    <a:pt x="10" y="47"/>
                    <a:pt x="12" y="45"/>
                  </a:cubicBezTo>
                  <a:cubicBezTo>
                    <a:pt x="33" y="21"/>
                    <a:pt x="33" y="21"/>
                    <a:pt x="33" y="21"/>
                  </a:cubicBezTo>
                  <a:cubicBezTo>
                    <a:pt x="5" y="12"/>
                    <a:pt x="5" y="12"/>
                    <a:pt x="5" y="12"/>
                  </a:cubicBezTo>
                  <a:cubicBezTo>
                    <a:pt x="2" y="11"/>
                    <a:pt x="0" y="8"/>
                    <a:pt x="1" y="5"/>
                  </a:cubicBezTo>
                  <a:cubicBezTo>
                    <a:pt x="2" y="1"/>
                    <a:pt x="5" y="0"/>
                    <a:pt x="8" y="1"/>
                  </a:cubicBezTo>
                  <a:cubicBezTo>
                    <a:pt x="46" y="13"/>
                    <a:pt x="46" y="13"/>
                    <a:pt x="46" y="13"/>
                  </a:cubicBezTo>
                  <a:cubicBezTo>
                    <a:pt x="48" y="13"/>
                    <a:pt x="49" y="15"/>
                    <a:pt x="50" y="17"/>
                  </a:cubicBezTo>
                  <a:cubicBezTo>
                    <a:pt x="50" y="19"/>
                    <a:pt x="50" y="21"/>
                    <a:pt x="48" y="22"/>
                  </a:cubicBezTo>
                  <a:cubicBezTo>
                    <a:pt x="21" y="53"/>
                    <a:pt x="21" y="53"/>
                    <a:pt x="21" y="53"/>
                  </a:cubicBezTo>
                  <a:cubicBezTo>
                    <a:pt x="20" y="54"/>
                    <a:pt x="18" y="55"/>
                    <a:pt x="17" y="55"/>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1" name="Freeform 240"/>
            <p:cNvSpPr/>
            <p:nvPr/>
          </p:nvSpPr>
          <p:spPr bwMode="auto">
            <a:xfrm>
              <a:off x="3727134" y="4395372"/>
              <a:ext cx="145522" cy="130044"/>
            </a:xfrm>
            <a:custGeom>
              <a:avLst/>
              <a:gdLst>
                <a:gd name="T0" fmla="*/ 69 w 85"/>
                <a:gd name="T1" fmla="*/ 85 h 85"/>
                <a:gd name="T2" fmla="*/ 0 w 85"/>
                <a:gd name="T3" fmla="*/ 16 h 85"/>
                <a:gd name="T4" fmla="*/ 18 w 85"/>
                <a:gd name="T5" fmla="*/ 0 h 85"/>
                <a:gd name="T6" fmla="*/ 85 w 85"/>
                <a:gd name="T7" fmla="*/ 69 h 85"/>
                <a:gd name="T8" fmla="*/ 69 w 85"/>
                <a:gd name="T9" fmla="*/ 85 h 85"/>
                <a:gd name="T10" fmla="*/ 69 w 85"/>
                <a:gd name="T11" fmla="*/ 85 h 85"/>
              </a:gdLst>
              <a:ahLst/>
              <a:cxnLst>
                <a:cxn ang="0">
                  <a:pos x="T0" y="T1"/>
                </a:cxn>
                <a:cxn ang="0">
                  <a:pos x="T2" y="T3"/>
                </a:cxn>
                <a:cxn ang="0">
                  <a:pos x="T4" y="T5"/>
                </a:cxn>
                <a:cxn ang="0">
                  <a:pos x="T6" y="T7"/>
                </a:cxn>
                <a:cxn ang="0">
                  <a:pos x="T8" y="T9"/>
                </a:cxn>
                <a:cxn ang="0">
                  <a:pos x="T10" y="T11"/>
                </a:cxn>
              </a:cxnLst>
              <a:rect l="0" t="0" r="r" b="b"/>
              <a:pathLst>
                <a:path w="85" h="85">
                  <a:moveTo>
                    <a:pt x="69" y="85"/>
                  </a:moveTo>
                  <a:lnTo>
                    <a:pt x="0" y="16"/>
                  </a:lnTo>
                  <a:lnTo>
                    <a:pt x="18" y="0"/>
                  </a:lnTo>
                  <a:lnTo>
                    <a:pt x="85" y="69"/>
                  </a:lnTo>
                  <a:lnTo>
                    <a:pt x="69" y="85"/>
                  </a:lnTo>
                  <a:lnTo>
                    <a:pt x="69" y="85"/>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2" name="Freeform 241"/>
            <p:cNvSpPr/>
            <p:nvPr/>
          </p:nvSpPr>
          <p:spPr bwMode="auto">
            <a:xfrm>
              <a:off x="3727134" y="4395372"/>
              <a:ext cx="148946" cy="130044"/>
            </a:xfrm>
            <a:custGeom>
              <a:avLst/>
              <a:gdLst>
                <a:gd name="T0" fmla="*/ 16 w 87"/>
                <a:gd name="T1" fmla="*/ 85 h 85"/>
                <a:gd name="T2" fmla="*/ 0 w 87"/>
                <a:gd name="T3" fmla="*/ 67 h 85"/>
                <a:gd name="T4" fmla="*/ 69 w 87"/>
                <a:gd name="T5" fmla="*/ 0 h 85"/>
                <a:gd name="T6" fmla="*/ 87 w 87"/>
                <a:gd name="T7" fmla="*/ 18 h 85"/>
                <a:gd name="T8" fmla="*/ 16 w 87"/>
                <a:gd name="T9" fmla="*/ 85 h 85"/>
                <a:gd name="T10" fmla="*/ 16 w 87"/>
                <a:gd name="T11" fmla="*/ 85 h 85"/>
              </a:gdLst>
              <a:ahLst/>
              <a:cxnLst>
                <a:cxn ang="0">
                  <a:pos x="T0" y="T1"/>
                </a:cxn>
                <a:cxn ang="0">
                  <a:pos x="T2" y="T3"/>
                </a:cxn>
                <a:cxn ang="0">
                  <a:pos x="T4" y="T5"/>
                </a:cxn>
                <a:cxn ang="0">
                  <a:pos x="T6" y="T7"/>
                </a:cxn>
                <a:cxn ang="0">
                  <a:pos x="T8" y="T9"/>
                </a:cxn>
                <a:cxn ang="0">
                  <a:pos x="T10" y="T11"/>
                </a:cxn>
              </a:cxnLst>
              <a:rect l="0" t="0" r="r" b="b"/>
              <a:pathLst>
                <a:path w="87" h="85">
                  <a:moveTo>
                    <a:pt x="16" y="85"/>
                  </a:moveTo>
                  <a:lnTo>
                    <a:pt x="0" y="67"/>
                  </a:lnTo>
                  <a:lnTo>
                    <a:pt x="69" y="0"/>
                  </a:lnTo>
                  <a:lnTo>
                    <a:pt x="87" y="18"/>
                  </a:lnTo>
                  <a:lnTo>
                    <a:pt x="16" y="85"/>
                  </a:lnTo>
                  <a:lnTo>
                    <a:pt x="16" y="85"/>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3" name="Freeform 242"/>
            <p:cNvSpPr/>
            <p:nvPr/>
          </p:nvSpPr>
          <p:spPr bwMode="auto">
            <a:xfrm>
              <a:off x="3489162" y="4219430"/>
              <a:ext cx="145522" cy="133104"/>
            </a:xfrm>
            <a:custGeom>
              <a:avLst/>
              <a:gdLst>
                <a:gd name="T0" fmla="*/ 69 w 85"/>
                <a:gd name="T1" fmla="*/ 87 h 87"/>
                <a:gd name="T2" fmla="*/ 0 w 85"/>
                <a:gd name="T3" fmla="*/ 17 h 87"/>
                <a:gd name="T4" fmla="*/ 18 w 85"/>
                <a:gd name="T5" fmla="*/ 0 h 87"/>
                <a:gd name="T6" fmla="*/ 85 w 85"/>
                <a:gd name="T7" fmla="*/ 71 h 87"/>
                <a:gd name="T8" fmla="*/ 69 w 85"/>
                <a:gd name="T9" fmla="*/ 87 h 87"/>
                <a:gd name="T10" fmla="*/ 69 w 85"/>
                <a:gd name="T11" fmla="*/ 87 h 87"/>
              </a:gdLst>
              <a:ahLst/>
              <a:cxnLst>
                <a:cxn ang="0">
                  <a:pos x="T0" y="T1"/>
                </a:cxn>
                <a:cxn ang="0">
                  <a:pos x="T2" y="T3"/>
                </a:cxn>
                <a:cxn ang="0">
                  <a:pos x="T4" y="T5"/>
                </a:cxn>
                <a:cxn ang="0">
                  <a:pos x="T6" y="T7"/>
                </a:cxn>
                <a:cxn ang="0">
                  <a:pos x="T8" y="T9"/>
                </a:cxn>
                <a:cxn ang="0">
                  <a:pos x="T10" y="T11"/>
                </a:cxn>
              </a:cxnLst>
              <a:rect l="0" t="0" r="r" b="b"/>
              <a:pathLst>
                <a:path w="85" h="87">
                  <a:moveTo>
                    <a:pt x="69" y="87"/>
                  </a:moveTo>
                  <a:lnTo>
                    <a:pt x="0" y="17"/>
                  </a:lnTo>
                  <a:lnTo>
                    <a:pt x="18" y="0"/>
                  </a:lnTo>
                  <a:lnTo>
                    <a:pt x="85" y="71"/>
                  </a:lnTo>
                  <a:lnTo>
                    <a:pt x="69" y="87"/>
                  </a:lnTo>
                  <a:lnTo>
                    <a:pt x="69" y="87"/>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4" name="Freeform 243"/>
            <p:cNvSpPr/>
            <p:nvPr/>
          </p:nvSpPr>
          <p:spPr bwMode="auto">
            <a:xfrm>
              <a:off x="3489162" y="4222490"/>
              <a:ext cx="148946" cy="130044"/>
            </a:xfrm>
            <a:custGeom>
              <a:avLst/>
              <a:gdLst>
                <a:gd name="T0" fmla="*/ 16 w 87"/>
                <a:gd name="T1" fmla="*/ 85 h 85"/>
                <a:gd name="T2" fmla="*/ 0 w 87"/>
                <a:gd name="T3" fmla="*/ 67 h 85"/>
                <a:gd name="T4" fmla="*/ 69 w 87"/>
                <a:gd name="T5" fmla="*/ 0 h 85"/>
                <a:gd name="T6" fmla="*/ 87 w 87"/>
                <a:gd name="T7" fmla="*/ 15 h 85"/>
                <a:gd name="T8" fmla="*/ 16 w 87"/>
                <a:gd name="T9" fmla="*/ 85 h 85"/>
                <a:gd name="T10" fmla="*/ 16 w 87"/>
                <a:gd name="T11" fmla="*/ 85 h 85"/>
              </a:gdLst>
              <a:ahLst/>
              <a:cxnLst>
                <a:cxn ang="0">
                  <a:pos x="T0" y="T1"/>
                </a:cxn>
                <a:cxn ang="0">
                  <a:pos x="T2" y="T3"/>
                </a:cxn>
                <a:cxn ang="0">
                  <a:pos x="T4" y="T5"/>
                </a:cxn>
                <a:cxn ang="0">
                  <a:pos x="T6" y="T7"/>
                </a:cxn>
                <a:cxn ang="0">
                  <a:pos x="T8" y="T9"/>
                </a:cxn>
                <a:cxn ang="0">
                  <a:pos x="T10" y="T11"/>
                </a:cxn>
              </a:cxnLst>
              <a:rect l="0" t="0" r="r" b="b"/>
              <a:pathLst>
                <a:path w="87" h="85">
                  <a:moveTo>
                    <a:pt x="16" y="85"/>
                  </a:moveTo>
                  <a:lnTo>
                    <a:pt x="0" y="67"/>
                  </a:lnTo>
                  <a:lnTo>
                    <a:pt x="69" y="0"/>
                  </a:lnTo>
                  <a:lnTo>
                    <a:pt x="87" y="15"/>
                  </a:lnTo>
                  <a:lnTo>
                    <a:pt x="16" y="85"/>
                  </a:lnTo>
                  <a:lnTo>
                    <a:pt x="16" y="85"/>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5" name="Freeform 244"/>
            <p:cNvSpPr/>
            <p:nvPr/>
          </p:nvSpPr>
          <p:spPr bwMode="auto">
            <a:xfrm>
              <a:off x="3369320" y="4069497"/>
              <a:ext cx="653994" cy="584434"/>
            </a:xfrm>
            <a:custGeom>
              <a:avLst/>
              <a:gdLst>
                <a:gd name="T0" fmla="*/ 187 w 192"/>
                <a:gd name="T1" fmla="*/ 65 h 192"/>
                <a:gd name="T2" fmla="*/ 174 w 192"/>
                <a:gd name="T3" fmla="*/ 71 h 192"/>
                <a:gd name="T4" fmla="*/ 171 w 192"/>
                <a:gd name="T5" fmla="*/ 71 h 192"/>
                <a:gd name="T6" fmla="*/ 176 w 192"/>
                <a:gd name="T7" fmla="*/ 96 h 192"/>
                <a:gd name="T8" fmla="*/ 96 w 192"/>
                <a:gd name="T9" fmla="*/ 176 h 192"/>
                <a:gd name="T10" fmla="*/ 16 w 192"/>
                <a:gd name="T11" fmla="*/ 96 h 192"/>
                <a:gd name="T12" fmla="*/ 96 w 192"/>
                <a:gd name="T13" fmla="*/ 16 h 192"/>
                <a:gd name="T14" fmla="*/ 159 w 192"/>
                <a:gd name="T15" fmla="*/ 47 h 192"/>
                <a:gd name="T16" fmla="*/ 171 w 192"/>
                <a:gd name="T17" fmla="*/ 37 h 192"/>
                <a:gd name="T18" fmla="*/ 96 w 192"/>
                <a:gd name="T19" fmla="*/ 0 h 192"/>
                <a:gd name="T20" fmla="*/ 0 w 192"/>
                <a:gd name="T21" fmla="*/ 96 h 192"/>
                <a:gd name="T22" fmla="*/ 96 w 192"/>
                <a:gd name="T23" fmla="*/ 192 h 192"/>
                <a:gd name="T24" fmla="*/ 192 w 192"/>
                <a:gd name="T25" fmla="*/ 96 h 192"/>
                <a:gd name="T26" fmla="*/ 187 w 192"/>
                <a:gd name="T27" fmla="*/ 6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92">
                  <a:moveTo>
                    <a:pt x="187" y="65"/>
                  </a:moveTo>
                  <a:cubicBezTo>
                    <a:pt x="184" y="69"/>
                    <a:pt x="179" y="71"/>
                    <a:pt x="174" y="71"/>
                  </a:cubicBezTo>
                  <a:cubicBezTo>
                    <a:pt x="173" y="71"/>
                    <a:pt x="172" y="71"/>
                    <a:pt x="171" y="71"/>
                  </a:cubicBezTo>
                  <a:cubicBezTo>
                    <a:pt x="174" y="78"/>
                    <a:pt x="176" y="87"/>
                    <a:pt x="176" y="96"/>
                  </a:cubicBezTo>
                  <a:cubicBezTo>
                    <a:pt x="176" y="140"/>
                    <a:pt x="140" y="176"/>
                    <a:pt x="96" y="176"/>
                  </a:cubicBezTo>
                  <a:cubicBezTo>
                    <a:pt x="52" y="176"/>
                    <a:pt x="16" y="140"/>
                    <a:pt x="16" y="96"/>
                  </a:cubicBezTo>
                  <a:cubicBezTo>
                    <a:pt x="16" y="52"/>
                    <a:pt x="52" y="16"/>
                    <a:pt x="96" y="16"/>
                  </a:cubicBezTo>
                  <a:cubicBezTo>
                    <a:pt x="121" y="16"/>
                    <a:pt x="144" y="28"/>
                    <a:pt x="159" y="47"/>
                  </a:cubicBezTo>
                  <a:cubicBezTo>
                    <a:pt x="161" y="42"/>
                    <a:pt x="166" y="38"/>
                    <a:pt x="171" y="37"/>
                  </a:cubicBezTo>
                  <a:cubicBezTo>
                    <a:pt x="154" y="14"/>
                    <a:pt x="126" y="0"/>
                    <a:pt x="96" y="0"/>
                  </a:cubicBezTo>
                  <a:cubicBezTo>
                    <a:pt x="43" y="0"/>
                    <a:pt x="0" y="43"/>
                    <a:pt x="0" y="96"/>
                  </a:cubicBezTo>
                  <a:cubicBezTo>
                    <a:pt x="0" y="149"/>
                    <a:pt x="43" y="192"/>
                    <a:pt x="96" y="192"/>
                  </a:cubicBezTo>
                  <a:cubicBezTo>
                    <a:pt x="149" y="192"/>
                    <a:pt x="192" y="149"/>
                    <a:pt x="192" y="96"/>
                  </a:cubicBezTo>
                  <a:cubicBezTo>
                    <a:pt x="192" y="85"/>
                    <a:pt x="190" y="75"/>
                    <a:pt x="187" y="65"/>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6" name="Freeform 245"/>
            <p:cNvSpPr>
              <a:spLocks noEditPoints="1"/>
            </p:cNvSpPr>
            <p:nvPr/>
          </p:nvSpPr>
          <p:spPr bwMode="auto">
            <a:xfrm>
              <a:off x="3882928" y="4164353"/>
              <a:ext cx="155794" cy="139224"/>
            </a:xfrm>
            <a:custGeom>
              <a:avLst/>
              <a:gdLst>
                <a:gd name="T0" fmla="*/ 23 w 46"/>
                <a:gd name="T1" fmla="*/ 46 h 46"/>
                <a:gd name="T2" fmla="*/ 7 w 46"/>
                <a:gd name="T3" fmla="*/ 39 h 46"/>
                <a:gd name="T4" fmla="*/ 0 w 46"/>
                <a:gd name="T5" fmla="*/ 23 h 46"/>
                <a:gd name="T6" fmla="*/ 7 w 46"/>
                <a:gd name="T7" fmla="*/ 7 h 46"/>
                <a:gd name="T8" fmla="*/ 23 w 46"/>
                <a:gd name="T9" fmla="*/ 0 h 46"/>
                <a:gd name="T10" fmla="*/ 46 w 46"/>
                <a:gd name="T11" fmla="*/ 23 h 46"/>
                <a:gd name="T12" fmla="*/ 39 w 46"/>
                <a:gd name="T13" fmla="*/ 39 h 46"/>
                <a:gd name="T14" fmla="*/ 23 w 46"/>
                <a:gd name="T15" fmla="*/ 46 h 46"/>
                <a:gd name="T16" fmla="*/ 23 w 46"/>
                <a:gd name="T17" fmla="*/ 12 h 46"/>
                <a:gd name="T18" fmla="*/ 15 w 46"/>
                <a:gd name="T19" fmla="*/ 15 h 46"/>
                <a:gd name="T20" fmla="*/ 12 w 46"/>
                <a:gd name="T21" fmla="*/ 23 h 46"/>
                <a:gd name="T22" fmla="*/ 15 w 46"/>
                <a:gd name="T23" fmla="*/ 31 h 46"/>
                <a:gd name="T24" fmla="*/ 31 w 46"/>
                <a:gd name="T25" fmla="*/ 31 h 46"/>
                <a:gd name="T26" fmla="*/ 34 w 46"/>
                <a:gd name="T27" fmla="*/ 23 h 46"/>
                <a:gd name="T28" fmla="*/ 23 w 46"/>
                <a:gd name="T29"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6">
                  <a:moveTo>
                    <a:pt x="23" y="46"/>
                  </a:moveTo>
                  <a:cubicBezTo>
                    <a:pt x="17" y="46"/>
                    <a:pt x="11" y="43"/>
                    <a:pt x="7" y="39"/>
                  </a:cubicBezTo>
                  <a:cubicBezTo>
                    <a:pt x="3" y="35"/>
                    <a:pt x="0" y="29"/>
                    <a:pt x="0" y="23"/>
                  </a:cubicBezTo>
                  <a:cubicBezTo>
                    <a:pt x="0" y="17"/>
                    <a:pt x="3" y="11"/>
                    <a:pt x="7" y="7"/>
                  </a:cubicBezTo>
                  <a:cubicBezTo>
                    <a:pt x="11" y="2"/>
                    <a:pt x="17" y="0"/>
                    <a:pt x="23" y="0"/>
                  </a:cubicBezTo>
                  <a:cubicBezTo>
                    <a:pt x="36" y="0"/>
                    <a:pt x="46" y="10"/>
                    <a:pt x="46" y="23"/>
                  </a:cubicBezTo>
                  <a:cubicBezTo>
                    <a:pt x="46" y="29"/>
                    <a:pt x="44" y="35"/>
                    <a:pt x="39" y="39"/>
                  </a:cubicBezTo>
                  <a:cubicBezTo>
                    <a:pt x="35" y="43"/>
                    <a:pt x="29" y="46"/>
                    <a:pt x="23" y="46"/>
                  </a:cubicBezTo>
                  <a:close/>
                  <a:moveTo>
                    <a:pt x="23" y="12"/>
                  </a:moveTo>
                  <a:cubicBezTo>
                    <a:pt x="20" y="12"/>
                    <a:pt x="18" y="13"/>
                    <a:pt x="15" y="15"/>
                  </a:cubicBezTo>
                  <a:cubicBezTo>
                    <a:pt x="13" y="17"/>
                    <a:pt x="12" y="20"/>
                    <a:pt x="12" y="23"/>
                  </a:cubicBezTo>
                  <a:cubicBezTo>
                    <a:pt x="12" y="26"/>
                    <a:pt x="13" y="29"/>
                    <a:pt x="15" y="31"/>
                  </a:cubicBezTo>
                  <a:cubicBezTo>
                    <a:pt x="20" y="35"/>
                    <a:pt x="27" y="35"/>
                    <a:pt x="31" y="31"/>
                  </a:cubicBezTo>
                  <a:cubicBezTo>
                    <a:pt x="33" y="29"/>
                    <a:pt x="34" y="26"/>
                    <a:pt x="34" y="23"/>
                  </a:cubicBezTo>
                  <a:cubicBezTo>
                    <a:pt x="34" y="17"/>
                    <a:pt x="29" y="12"/>
                    <a:pt x="23" y="12"/>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72" name="Rectangle 43"/>
          <p:cNvSpPr/>
          <p:nvPr/>
        </p:nvSpPr>
        <p:spPr>
          <a:xfrm>
            <a:off x="1255379" y="4733315"/>
            <a:ext cx="9910115" cy="506573"/>
          </a:xfrm>
          <a:prstGeom prst="rect">
            <a:avLst/>
          </a:prstGeom>
          <a:solidFill>
            <a:srgbClr val="B2B2B2"/>
          </a:solidFill>
          <a:ln w="9525" cap="flat" cmpd="sng" algn="ctr">
            <a:noFill/>
            <a:prstDash val="solid"/>
          </a:ln>
          <a:effectLst/>
          <a:extLst>
            <a:ext uri="{91240B29-F687-4F45-9708-019B960494DF}">
              <a14:hiddenLine xmlns:a14="http://schemas.microsoft.com/office/drawing/2010/main" w="9525">
                <a:solidFill>
                  <a:srgbClr val="B2B2B2"/>
                </a:solidFill>
                <a:prstDash val="solid"/>
              </a14:hiddenLine>
            </a:ext>
          </a:ex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500" b="1" i="0" u="none" strike="noStrike" kern="0" cap="none" spc="0" normalizeH="0" baseline="0" noProof="0" dirty="0" smtClean="0">
              <a:ln>
                <a:noFill/>
              </a:ln>
              <a:solidFill>
                <a:srgbClr val="FFFFFF"/>
              </a:solidFill>
              <a:effectLst/>
              <a:uLnTx/>
              <a:uFillTx/>
              <a:latin typeface="Arial" panose="020B0604020202020204"/>
              <a:ea typeface="华文楷体" panose="02010600040101010101" charset="-122"/>
              <a:cs typeface="Arial" panose="020B0604020202020204" pitchFamily="34" charset="0"/>
            </a:endParaRPr>
          </a:p>
        </p:txBody>
      </p:sp>
      <p:sp>
        <p:nvSpPr>
          <p:cNvPr id="73" name="Rectangle 44"/>
          <p:cNvSpPr/>
          <p:nvPr/>
        </p:nvSpPr>
        <p:spPr>
          <a:xfrm>
            <a:off x="1105305" y="5344912"/>
            <a:ext cx="10210261" cy="506573"/>
          </a:xfrm>
          <a:prstGeom prst="rect">
            <a:avLst/>
          </a:prstGeom>
          <a:solidFill>
            <a:srgbClr val="B2B2B2"/>
          </a:solidFill>
          <a:ln w="9525" cap="flat" cmpd="sng" algn="ctr">
            <a:noFill/>
            <a:prstDash val="solid"/>
          </a:ln>
          <a:effectLst/>
          <a:extLst>
            <a:ext uri="{91240B29-F687-4F45-9708-019B960494DF}">
              <a14:hiddenLine xmlns:a14="http://schemas.microsoft.com/office/drawing/2010/main" w="9525">
                <a:solidFill>
                  <a:srgbClr val="B2B2B2"/>
                </a:solidFill>
                <a:prstDash val="solid"/>
              </a14:hiddenLine>
            </a:ext>
          </a:ex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500" b="1" i="0" u="none" strike="noStrike" kern="0" cap="none" spc="0" normalizeH="0" baseline="0" noProof="0" dirty="0" smtClean="0">
              <a:ln>
                <a:noFill/>
              </a:ln>
              <a:solidFill>
                <a:srgbClr val="FFFFFF"/>
              </a:solidFill>
              <a:effectLst/>
              <a:uLnTx/>
              <a:uFillTx/>
              <a:latin typeface="Arial" panose="020B0604020202020204"/>
              <a:ea typeface="华文楷体" panose="02010600040101010101" charset="-122"/>
              <a:cs typeface="Arial" panose="020B0604020202020204" pitchFamily="34" charset="0"/>
            </a:endParaRPr>
          </a:p>
        </p:txBody>
      </p:sp>
      <p:sp>
        <p:nvSpPr>
          <p:cNvPr id="69" name="Rectangle 18"/>
          <p:cNvSpPr>
            <a:spLocks noChangeArrowheads="1"/>
          </p:cNvSpPr>
          <p:nvPr/>
        </p:nvSpPr>
        <p:spPr bwMode="auto">
          <a:xfrm>
            <a:off x="1653447" y="4836080"/>
            <a:ext cx="9164384" cy="937740"/>
          </a:xfrm>
          <a:prstGeom prst="rect">
            <a:avLst/>
          </a:prstGeom>
          <a:solidFill>
            <a:srgbClr val="808080">
              <a:alpha val="69804"/>
            </a:srgbClr>
          </a:solidFill>
          <a:ln w="9525" algn="ctr">
            <a:noFill/>
            <a:round/>
            <a:headEnd type="none" w="lg" len="lg"/>
            <a:tailEnd type="none" w="lg" len="lg"/>
          </a:ln>
          <a:effectLst/>
        </p:spPr>
        <p:txBody>
          <a:bodyPr wrap="square" lIns="0" tIns="91440" rIns="0" bIns="9144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srgbClr val="FFFFFF"/>
              </a:solidFill>
              <a:effectLst/>
              <a:uLnTx/>
              <a:uFillTx/>
              <a:latin typeface="Arial" panose="020B0604020202020204"/>
              <a:ea typeface="华文楷体" panose="02010600040101010101" charset="-122"/>
              <a:cs typeface="+mn-cs"/>
            </a:endParaRPr>
          </a:p>
        </p:txBody>
      </p:sp>
      <p:sp>
        <p:nvSpPr>
          <p:cNvPr id="78" name="Rounded Rectangle 56"/>
          <p:cNvSpPr/>
          <p:nvPr/>
        </p:nvSpPr>
        <p:spPr>
          <a:xfrm>
            <a:off x="1809595" y="4915008"/>
            <a:ext cx="2724957" cy="779882"/>
          </a:xfrm>
          <a:prstGeom prst="roundRect">
            <a:avLst>
              <a:gd name="adj" fmla="val 9064"/>
            </a:avLst>
          </a:prstGeom>
          <a:solidFill>
            <a:srgbClr val="E2E2E2"/>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marL="1905"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79" name="Rounded Rectangle 56"/>
          <p:cNvSpPr/>
          <p:nvPr/>
        </p:nvSpPr>
        <p:spPr>
          <a:xfrm>
            <a:off x="4862844" y="4915008"/>
            <a:ext cx="2724957" cy="779882"/>
          </a:xfrm>
          <a:prstGeom prst="roundRect">
            <a:avLst>
              <a:gd name="adj" fmla="val 9064"/>
            </a:avLst>
          </a:prstGeom>
          <a:solidFill>
            <a:srgbClr val="E2E2E2"/>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marL="1905"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80" name="Rounded Rectangle 56"/>
          <p:cNvSpPr/>
          <p:nvPr/>
        </p:nvSpPr>
        <p:spPr>
          <a:xfrm>
            <a:off x="7916094" y="4915008"/>
            <a:ext cx="2724957" cy="779882"/>
          </a:xfrm>
          <a:prstGeom prst="roundRect">
            <a:avLst>
              <a:gd name="adj" fmla="val 9064"/>
            </a:avLst>
          </a:prstGeom>
          <a:solidFill>
            <a:srgbClr val="E2E2E2"/>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marL="1905"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82" name="等腰三角形 81"/>
          <p:cNvSpPr/>
          <p:nvPr/>
        </p:nvSpPr>
        <p:spPr bwMode="auto">
          <a:xfrm rot="5400000">
            <a:off x="4415538" y="5222522"/>
            <a:ext cx="566320" cy="146255"/>
          </a:xfrm>
          <a:prstGeom prst="triangle">
            <a:avLst/>
          </a:prstGeom>
          <a:solidFill>
            <a:schemeClr val="tx1">
              <a:lumMod val="75000"/>
              <a:lumOff val="2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marL="0" marR="0" lvl="0" indent="0" algn="ctr" defTabSz="914400" rtl="0" eaLnBrk="1" fontAlgn="base" latinLnBrk="1" hangingPunct="1">
              <a:lnSpc>
                <a:spcPct val="100000"/>
              </a:lnSpc>
              <a:spcBef>
                <a:spcPct val="0"/>
              </a:spcBef>
              <a:spcAft>
                <a:spcPct val="0"/>
              </a:spcAft>
              <a:buClrTx/>
              <a:buSzTx/>
              <a:buFontTx/>
              <a:buNone/>
              <a:defRPr/>
            </a:pPr>
            <a:r>
              <a:rPr kumimoji="1" lang="en-US" altLang="zh-CN"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 </a:t>
            </a:r>
            <a:endParaRPr kumimoji="1" lang="zh-CN"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83" name="等腰三角形 82"/>
          <p:cNvSpPr/>
          <p:nvPr/>
        </p:nvSpPr>
        <p:spPr bwMode="auto">
          <a:xfrm rot="5400000">
            <a:off x="7468788" y="5222523"/>
            <a:ext cx="566318" cy="146255"/>
          </a:xfrm>
          <a:prstGeom prst="triangle">
            <a:avLst/>
          </a:prstGeom>
          <a:solidFill>
            <a:schemeClr val="tx1">
              <a:lumMod val="75000"/>
              <a:lumOff val="2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marL="0" marR="0" lvl="0" indent="0" algn="ctr" defTabSz="914400" rtl="0" eaLnBrk="1" fontAlgn="base" latinLnBrk="1" hangingPunct="1">
              <a:lnSpc>
                <a:spcPct val="100000"/>
              </a:lnSpc>
              <a:spcBef>
                <a:spcPct val="0"/>
              </a:spcBef>
              <a:spcAft>
                <a:spcPct val="0"/>
              </a:spcAft>
              <a:buClrTx/>
              <a:buSzTx/>
              <a:buFontTx/>
              <a:buNone/>
              <a:defRPr/>
            </a:pPr>
            <a:r>
              <a:rPr kumimoji="1" lang="en-US" altLang="zh-CN"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 </a:t>
            </a:r>
            <a:endParaRPr kumimoji="1" lang="zh-CN"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87" name="燕尾形 86"/>
          <p:cNvSpPr/>
          <p:nvPr/>
        </p:nvSpPr>
        <p:spPr>
          <a:xfrm>
            <a:off x="5626485" y="2123937"/>
            <a:ext cx="1833977" cy="338483"/>
          </a:xfrm>
          <a:prstGeom prst="chevron">
            <a:avLst>
              <a:gd name="adj" fmla="val 21595"/>
            </a:avLst>
          </a:prstGeom>
          <a:solidFill>
            <a:schemeClr val="accent1">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XX</a:t>
            </a:r>
            <a:endPar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88" name="燕尾形 87"/>
          <p:cNvSpPr/>
          <p:nvPr/>
        </p:nvSpPr>
        <p:spPr>
          <a:xfrm>
            <a:off x="7460260" y="2123937"/>
            <a:ext cx="1833977" cy="338483"/>
          </a:xfrm>
          <a:prstGeom prst="chevron">
            <a:avLst>
              <a:gd name="adj" fmla="val 21595"/>
            </a:avLst>
          </a:prstGeom>
          <a:solidFill>
            <a:schemeClr val="accent1">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XX</a:t>
            </a:r>
            <a:endPar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89" name="燕尾形 88"/>
          <p:cNvSpPr/>
          <p:nvPr/>
        </p:nvSpPr>
        <p:spPr>
          <a:xfrm>
            <a:off x="9294034" y="2123937"/>
            <a:ext cx="1833977" cy="338483"/>
          </a:xfrm>
          <a:prstGeom prst="chevron">
            <a:avLst>
              <a:gd name="adj" fmla="val 21595"/>
            </a:avLst>
          </a:prstGeom>
          <a:solidFill>
            <a:schemeClr val="accent1">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XX</a:t>
            </a:r>
            <a:endPar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91" name="五边形 90"/>
          <p:cNvSpPr/>
          <p:nvPr/>
        </p:nvSpPr>
        <p:spPr>
          <a:xfrm>
            <a:off x="3792711" y="2123937"/>
            <a:ext cx="1833977" cy="338483"/>
          </a:xfrm>
          <a:prstGeom prst="homePlate">
            <a:avLst>
              <a:gd name="adj" fmla="val 21595"/>
            </a:avLst>
          </a:prstGeom>
          <a:solidFill>
            <a:schemeClr val="accent1">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sym typeface="+mn-lt"/>
              </a:rPr>
              <a:t>XXX</a:t>
            </a:r>
            <a:endPar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sym typeface="+mn-lt"/>
            </a:endParaRPr>
          </a:p>
        </p:txBody>
      </p:sp>
      <p:sp>
        <p:nvSpPr>
          <p:cNvPr id="92" name="TextBox 91"/>
          <p:cNvSpPr txBox="1"/>
          <p:nvPr/>
        </p:nvSpPr>
        <p:spPr>
          <a:xfrm>
            <a:off x="3393888" y="2131051"/>
            <a:ext cx="346915" cy="1296167"/>
          </a:xfrm>
          <a:prstGeom prst="rect">
            <a:avLst/>
          </a:prstGeom>
          <a:solidFill>
            <a:schemeClr val="accent1">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lnSpc>
                <a:spcPct val="90000"/>
              </a:lnSpc>
              <a:spcAft>
                <a:spcPts val="1000"/>
              </a:spcAft>
              <a:defRPr sz="1400" b="1">
                <a:solidFill>
                  <a:schemeClr val="bg1"/>
                </a:solidFill>
              </a:defRPr>
            </a:lvl1p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en-US" altLang="zh-CN"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7" name="竖排文字占位符 2"/>
          <p:cNvSpPr txBox="1"/>
          <p:nvPr/>
        </p:nvSpPr>
        <p:spPr>
          <a:xfrm>
            <a:off x="3791255" y="2490664"/>
            <a:ext cx="1735503" cy="926043"/>
          </a:xfrm>
          <a:prstGeom prst="rect">
            <a:avLst/>
          </a:prstGeom>
          <a:solidFill>
            <a:schemeClr val="bg1"/>
          </a:solidFill>
          <a:ln w="12700">
            <a:solidFill>
              <a:schemeClr val="bg1">
                <a:lumMod val="65000"/>
              </a:schemeClr>
            </a:solidFill>
          </a:ln>
        </p:spPr>
        <p:txBody>
          <a:bodyPr vert="horz" wrap="square" lIns="72000" tIns="36000" rIns="72000" bIns="36000">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8900" marR="0" lvl="0" indent="-87630" algn="l" defTabSz="914400" rtl="0" eaLnBrk="1" fontAlgn="auto" latinLnBrk="0" hangingPunct="1">
              <a:lnSpc>
                <a:spcPct val="100000"/>
              </a:lnSpc>
              <a:spcBef>
                <a:spcPts val="400"/>
              </a:spcBef>
              <a:spcAft>
                <a:spcPts val="0"/>
              </a:spcAft>
              <a:buClrTx/>
              <a:buSzTx/>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rPr>
              <a:t>XXXX</a:t>
            </a:r>
            <a:endParaRPr kumimoji="0" lang="zh-CN" altLang="en-US"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sym typeface="Trebuchet MS" panose="020B0603020202020204" pitchFamily="34" charset="0"/>
            </a:endParaRPr>
          </a:p>
        </p:txBody>
      </p:sp>
      <p:sp>
        <p:nvSpPr>
          <p:cNvPr id="119" name="竖排文字占位符 2"/>
          <p:cNvSpPr txBox="1"/>
          <p:nvPr/>
        </p:nvSpPr>
        <p:spPr>
          <a:xfrm>
            <a:off x="5624894" y="2490664"/>
            <a:ext cx="1735503" cy="926043"/>
          </a:xfrm>
          <a:prstGeom prst="rect">
            <a:avLst/>
          </a:prstGeom>
          <a:solidFill>
            <a:schemeClr val="bg1"/>
          </a:solidFill>
          <a:ln w="12700">
            <a:solidFill>
              <a:schemeClr val="bg1">
                <a:lumMod val="65000"/>
              </a:schemeClr>
            </a:solidFill>
          </a:ln>
        </p:spPr>
        <p:txBody>
          <a:bodyPr vert="horz" wrap="square" lIns="72000" tIns="36000" rIns="72000" bIns="36000">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8900" marR="0" lvl="0" indent="-87630" algn="l" defTabSz="914400" rtl="0" eaLnBrk="1" fontAlgn="auto" latinLnBrk="0" hangingPunct="1">
              <a:lnSpc>
                <a:spcPct val="100000"/>
              </a:lnSpc>
              <a:spcBef>
                <a:spcPts val="400"/>
              </a:spcBef>
              <a:spcAft>
                <a:spcPts val="0"/>
              </a:spcAft>
              <a:buClrTx/>
              <a:buSzTx/>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rPr>
              <a:t>XXX</a:t>
            </a:r>
            <a:endParaRPr kumimoji="0" lang="en-US" altLang="zh-CN"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sym typeface="Trebuchet MS" panose="020B0603020202020204" pitchFamily="34" charset="0"/>
            </a:endParaRPr>
          </a:p>
        </p:txBody>
      </p:sp>
      <p:sp>
        <p:nvSpPr>
          <p:cNvPr id="120" name="竖排文字占位符 2"/>
          <p:cNvSpPr txBox="1"/>
          <p:nvPr/>
        </p:nvSpPr>
        <p:spPr>
          <a:xfrm>
            <a:off x="7458533" y="2490664"/>
            <a:ext cx="1735503" cy="926043"/>
          </a:xfrm>
          <a:prstGeom prst="rect">
            <a:avLst/>
          </a:prstGeom>
          <a:solidFill>
            <a:schemeClr val="bg1"/>
          </a:solidFill>
          <a:ln w="12700">
            <a:solidFill>
              <a:schemeClr val="bg1">
                <a:lumMod val="65000"/>
              </a:schemeClr>
            </a:solidFill>
          </a:ln>
        </p:spPr>
        <p:txBody>
          <a:bodyPr vert="horz" wrap="square" lIns="72000" tIns="36000" rIns="72000" bIns="36000">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8900" marR="0" lvl="0" indent="-87630" algn="l" defTabSz="914400" rtl="0" eaLnBrk="1" fontAlgn="auto" latinLnBrk="0" hangingPunct="1">
              <a:lnSpc>
                <a:spcPct val="100000"/>
              </a:lnSpc>
              <a:spcBef>
                <a:spcPts val="400"/>
              </a:spcBef>
              <a:spcAft>
                <a:spcPts val="0"/>
              </a:spcAft>
              <a:buClrTx/>
              <a:buSzTx/>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rPr>
              <a:t>X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endParaRPr>
          </a:p>
        </p:txBody>
      </p:sp>
      <p:sp>
        <p:nvSpPr>
          <p:cNvPr id="122" name="竖排文字占位符 2"/>
          <p:cNvSpPr txBox="1"/>
          <p:nvPr/>
        </p:nvSpPr>
        <p:spPr>
          <a:xfrm>
            <a:off x="9292172" y="2490664"/>
            <a:ext cx="1735503" cy="926043"/>
          </a:xfrm>
          <a:prstGeom prst="rect">
            <a:avLst/>
          </a:prstGeom>
          <a:solidFill>
            <a:schemeClr val="bg1"/>
          </a:solidFill>
          <a:ln w="12700">
            <a:solidFill>
              <a:schemeClr val="bg1">
                <a:lumMod val="65000"/>
              </a:schemeClr>
            </a:solidFill>
          </a:ln>
        </p:spPr>
        <p:txBody>
          <a:bodyPr vert="horz" wrap="square" lIns="72000" tIns="36000" rIns="72000" bIns="36000">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8900" marR="0" lvl="0" indent="-87630" algn="l" defTabSz="914400" rtl="0" eaLnBrk="1" fontAlgn="auto" latinLnBrk="0" hangingPunct="1">
              <a:lnSpc>
                <a:spcPct val="100000"/>
              </a:lnSpc>
              <a:spcBef>
                <a:spcPts val="400"/>
              </a:spcBef>
              <a:spcAft>
                <a:spcPts val="0"/>
              </a:spcAft>
              <a:buClrTx/>
              <a:buSzTx/>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rPr>
              <a:t>XXX</a:t>
            </a:r>
            <a:endParaRPr kumimoji="0" lang="zh-CN" altLang="en-US"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sym typeface="Trebuchet MS" panose="020B0603020202020204" pitchFamily="34" charset="0"/>
            </a:endParaRPr>
          </a:p>
        </p:txBody>
      </p:sp>
      <p:grpSp>
        <p:nvGrpSpPr>
          <p:cNvPr id="18" name="组合 17"/>
          <p:cNvGrpSpPr/>
          <p:nvPr/>
        </p:nvGrpSpPr>
        <p:grpSpPr>
          <a:xfrm>
            <a:off x="3393888" y="3510395"/>
            <a:ext cx="7633787" cy="1160776"/>
            <a:chOff x="4057891" y="3654611"/>
            <a:chExt cx="7084763" cy="1160776"/>
          </a:xfrm>
        </p:grpSpPr>
        <p:sp>
          <p:nvSpPr>
            <p:cNvPr id="96" name="TextBox 95"/>
            <p:cNvSpPr txBox="1"/>
            <p:nvPr/>
          </p:nvSpPr>
          <p:spPr>
            <a:xfrm>
              <a:off x="4057891" y="3654611"/>
              <a:ext cx="321965" cy="1160776"/>
            </a:xfrm>
            <a:prstGeom prst="rect">
              <a:avLst/>
            </a:prstGeom>
            <a:solidFill>
              <a:schemeClr val="accent1">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lnSpc>
                  <a:spcPct val="90000"/>
                </a:lnSpc>
                <a:spcAft>
                  <a:spcPts val="1000"/>
                </a:spcAft>
                <a:defRPr sz="1400" b="1">
                  <a:solidFill>
                    <a:schemeClr val="bg1"/>
                  </a:solidFill>
                </a:defRPr>
              </a:lvl1p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a:t>
              </a:r>
              <a:endParaRPr kumimoji="0" lang="en-US" altLang="zh-CN"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00" name="TextBox 99"/>
            <p:cNvSpPr txBox="1"/>
            <p:nvPr/>
          </p:nvSpPr>
          <p:spPr>
            <a:xfrm>
              <a:off x="6716039" y="3654611"/>
              <a:ext cx="2137253" cy="299803"/>
            </a:xfrm>
            <a:prstGeom prst="rect">
              <a:avLst/>
            </a:prstGeom>
            <a:solidFill>
              <a:schemeClr val="accent1">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3" name="竖排文字占位符 2"/>
            <p:cNvSpPr txBox="1"/>
            <p:nvPr/>
          </p:nvSpPr>
          <p:spPr>
            <a:xfrm>
              <a:off x="6716039" y="3996262"/>
              <a:ext cx="2137253" cy="819125"/>
            </a:xfrm>
            <a:prstGeom prst="rect">
              <a:avLst/>
            </a:prstGeom>
            <a:solidFill>
              <a:schemeClr val="bg1"/>
            </a:solidFill>
            <a:ln>
              <a:solidFill>
                <a:schemeClr val="bg1">
                  <a:lumMod val="65000"/>
                </a:schemeClr>
              </a:solidFill>
            </a:ln>
          </p:spPr>
          <p:txBody>
            <a:bodyPr vert="horz" wrap="square">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8900" marR="0" lvl="0" indent="-87630" algn="l" defTabSz="914400" rtl="0" eaLnBrk="1" fontAlgn="auto" latinLnBrk="0" hangingPunct="1">
                <a:lnSpc>
                  <a:spcPct val="100000"/>
                </a:lnSpc>
                <a:spcBef>
                  <a:spcPts val="400"/>
                </a:spcBef>
                <a:spcAft>
                  <a:spcPts val="0"/>
                </a:spcAft>
                <a:buClrTx/>
                <a:buSzTx/>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rPr>
                <a:t>X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endParaRPr>
            </a:p>
          </p:txBody>
        </p:sp>
        <p:sp>
          <p:nvSpPr>
            <p:cNvPr id="99" name="TextBox 98"/>
            <p:cNvSpPr txBox="1"/>
            <p:nvPr/>
          </p:nvSpPr>
          <p:spPr>
            <a:xfrm>
              <a:off x="9005401" y="3654611"/>
              <a:ext cx="2137253" cy="299803"/>
            </a:xfrm>
            <a:prstGeom prst="rect">
              <a:avLst/>
            </a:prstGeom>
            <a:solidFill>
              <a:schemeClr val="accent1">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4" name="竖排文字占位符 2"/>
            <p:cNvSpPr txBox="1"/>
            <p:nvPr/>
          </p:nvSpPr>
          <p:spPr>
            <a:xfrm>
              <a:off x="9005401" y="3996262"/>
              <a:ext cx="2137253" cy="819125"/>
            </a:xfrm>
            <a:prstGeom prst="rect">
              <a:avLst/>
            </a:prstGeom>
            <a:solidFill>
              <a:schemeClr val="bg1"/>
            </a:solidFill>
            <a:ln>
              <a:solidFill>
                <a:schemeClr val="bg1">
                  <a:lumMod val="65000"/>
                </a:schemeClr>
              </a:solidFill>
            </a:ln>
          </p:spPr>
          <p:txBody>
            <a:bodyPr vert="horz" wrap="square">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8900" marR="0" lvl="0" indent="-87630" algn="l" defTabSz="914400" rtl="0" eaLnBrk="1" fontAlgn="auto" latinLnBrk="0" hangingPunct="1">
                <a:lnSpc>
                  <a:spcPct val="100000"/>
                </a:lnSpc>
                <a:spcBef>
                  <a:spcPts val="400"/>
                </a:spcBef>
                <a:spcAft>
                  <a:spcPts val="0"/>
                </a:spcAft>
                <a:buClrTx/>
                <a:buSzTx/>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rPr>
                <a:t>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endParaRPr>
            </a:p>
          </p:txBody>
        </p:sp>
        <p:grpSp>
          <p:nvGrpSpPr>
            <p:cNvPr id="10" name="组合 9"/>
            <p:cNvGrpSpPr/>
            <p:nvPr/>
          </p:nvGrpSpPr>
          <p:grpSpPr>
            <a:xfrm>
              <a:off x="4426679" y="3654611"/>
              <a:ext cx="2137253" cy="1160776"/>
              <a:chOff x="4792717" y="3639671"/>
              <a:chExt cx="1962910" cy="1133880"/>
            </a:xfrm>
          </p:grpSpPr>
          <p:sp>
            <p:nvSpPr>
              <p:cNvPr id="97" name="TextBox 96"/>
              <p:cNvSpPr txBox="1"/>
              <p:nvPr/>
            </p:nvSpPr>
            <p:spPr>
              <a:xfrm>
                <a:off x="4792717" y="3639671"/>
                <a:ext cx="1962910" cy="292856"/>
              </a:xfrm>
              <a:prstGeom prst="rect">
                <a:avLst/>
              </a:prstGeom>
              <a:solidFill>
                <a:schemeClr val="accent1">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5" name="竖排文字占位符 2"/>
              <p:cNvSpPr txBox="1"/>
              <p:nvPr/>
            </p:nvSpPr>
            <p:spPr>
              <a:xfrm>
                <a:off x="4792717" y="3973406"/>
                <a:ext cx="1962910" cy="800145"/>
              </a:xfrm>
              <a:prstGeom prst="rect">
                <a:avLst/>
              </a:prstGeom>
              <a:solidFill>
                <a:schemeClr val="bg1"/>
              </a:solidFill>
              <a:ln>
                <a:solidFill>
                  <a:schemeClr val="bg1">
                    <a:lumMod val="65000"/>
                  </a:schemeClr>
                </a:solidFill>
              </a:ln>
            </p:spPr>
            <p:txBody>
              <a:bodyPr vert="horz" wrap="square">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88900" marR="0" lvl="0" indent="-87630" algn="l" defTabSz="914400" rtl="0" eaLnBrk="1" fontAlgn="auto" latinLnBrk="0" hangingPunct="1">
                  <a:lnSpc>
                    <a:spcPct val="100000"/>
                  </a:lnSpc>
                  <a:spcBef>
                    <a:spcPts val="400"/>
                  </a:spcBef>
                  <a:spcAft>
                    <a:spcPts val="0"/>
                  </a:spcAft>
                  <a:buClrTx/>
                  <a:buSzTx/>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rPr>
                  <a:t>X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endParaRPr>
              </a:p>
            </p:txBody>
          </p:sp>
        </p:grpSp>
      </p:grpSp>
      <p:sp>
        <p:nvSpPr>
          <p:cNvPr id="59"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a:defRPr/>
            </a:pPr>
            <a:r>
              <a:rPr kumimoji="0" lang="zh-CN" altLang="en-US" sz="24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j-cs"/>
                <a:sym typeface="Trebuchet MS" panose="020B0603020202020204" pitchFamily="34" charset="0"/>
              </a:rPr>
              <a:t>规划</a:t>
            </a:r>
            <a:r>
              <a:rPr lang="en-US" altLang="zh-CN" sz="2400" dirty="0" smtClean="0">
                <a:solidFill>
                  <a:prstClr val="black"/>
                </a:solidFill>
                <a:latin typeface="华文楷体" panose="02010600040101010101" charset="-122"/>
              </a:rPr>
              <a:t>-</a:t>
            </a:r>
            <a:r>
              <a:rPr lang="zh-CN" altLang="en-US" sz="2400" dirty="0">
                <a:solidFill>
                  <a:prstClr val="black"/>
                </a:solidFill>
                <a:latin typeface="华文楷体" panose="02010600040101010101" charset="-122"/>
              </a:rPr>
              <a:t>房子</a:t>
            </a:r>
            <a:r>
              <a:rPr lang="zh-CN" altLang="en-US" sz="2400" dirty="0" smtClean="0">
                <a:solidFill>
                  <a:prstClr val="black"/>
                </a:solidFill>
                <a:latin typeface="华文楷体" panose="02010600040101010101" charset="-122"/>
              </a:rPr>
              <a:t>图</a:t>
            </a:r>
            <a:endParaRPr lang="zh-CN" altLang="en-US" sz="2400" dirty="0">
              <a:solidFill>
                <a:prstClr val="black"/>
              </a:solidFill>
              <a:latin typeface="华文楷体" panose="02010600040101010101" charset="-122"/>
            </a:endParaRPr>
          </a:p>
        </p:txBody>
      </p:sp>
      <p:pic>
        <p:nvPicPr>
          <p:cNvPr id="60" name="图片 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Line 11"/>
          <p:cNvSpPr>
            <a:spLocks noChangeShapeType="1"/>
          </p:cNvSpPr>
          <p:nvPr/>
        </p:nvSpPr>
        <p:spPr bwMode="auto">
          <a:xfrm>
            <a:off x="9291943" y="1085581"/>
            <a:ext cx="1820005" cy="1642"/>
          </a:xfrm>
          <a:prstGeom prst="line">
            <a:avLst/>
          </a:prstGeom>
          <a:noFill/>
          <a:ln w="9525">
            <a:solidFill>
              <a:schemeClr val="accent6"/>
            </a:solidFill>
            <a:round/>
          </a:ln>
          <a:effectLst>
            <a:outerShdw dist="35921" dir="2700000" algn="ctr" rotWithShape="0">
              <a:schemeClr val="bg2"/>
            </a:outerShdw>
          </a:effectLst>
          <a:extLst>
            <a:ext uri="{909E8E84-426E-40DD-AFC4-6F175D3DCCD1}">
              <a14:hiddenFill xmlns:a14="http://schemas.microsoft.com/office/drawing/2010/main">
                <a:noFill/>
              </a14:hiddenFill>
            </a:ext>
          </a:extLst>
        </p:spPr>
        <p:txBody>
          <a:bodyPr wrap="none" anchor="ctr">
            <a:noAutofit/>
          </a:bodyPr>
          <a:lstStyle/>
          <a:p>
            <a:endParaRPr lang="en-US" sz="1835"/>
          </a:p>
        </p:txBody>
      </p:sp>
      <p:sp>
        <p:nvSpPr>
          <p:cNvPr id="3" name="五边形 2"/>
          <p:cNvSpPr/>
          <p:nvPr/>
        </p:nvSpPr>
        <p:spPr>
          <a:xfrm flipH="1">
            <a:off x="9291943" y="1262238"/>
            <a:ext cx="1820005" cy="2076225"/>
          </a:xfrm>
          <a:prstGeom prst="homePlate">
            <a:avLst>
              <a:gd name="adj" fmla="val 25445"/>
            </a:avLst>
          </a:prstGeom>
          <a:solidFill>
            <a:srgbClr val="FFC3AB"/>
          </a:solidFill>
          <a:ln w="9525">
            <a:solidFill>
              <a:schemeClr val="bg1"/>
            </a:solidFill>
            <a:miter lim="800000"/>
          </a:ln>
          <a:effectLst/>
        </p:spPr>
        <p:txBody>
          <a:bodyPr wrap="none" anchor="ctr">
            <a:noAutofit/>
          </a:bodyPr>
          <a:lstStyle/>
          <a:p>
            <a:endParaRPr lang="zh-CN" altLang="en-US" sz="1835" dirty="0" err="1">
              <a:solidFill>
                <a:schemeClr val="tx1"/>
              </a:solidFill>
            </a:endParaRPr>
          </a:p>
        </p:txBody>
      </p:sp>
      <p:sp>
        <p:nvSpPr>
          <p:cNvPr id="29" name="Rectangle 8"/>
          <p:cNvSpPr txBox="1">
            <a:spLocks noChangeArrowheads="1"/>
          </p:cNvSpPr>
          <p:nvPr/>
        </p:nvSpPr>
        <p:spPr bwMode="auto">
          <a:xfrm>
            <a:off x="9743664" y="2045647"/>
            <a:ext cx="1067400" cy="519624"/>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defTabSz="803275">
              <a:buNone/>
            </a:pPr>
            <a:r>
              <a:rPr lang="zh-CN" altLang="en-US" sz="1630" b="1" dirty="0"/>
              <a:t>公司最高</a:t>
            </a:r>
            <a:endParaRPr lang="en-US" altLang="zh-CN" sz="1630" b="1" dirty="0"/>
          </a:p>
          <a:p>
            <a:pPr marL="1905" lvl="1" indent="0" defTabSz="803275">
              <a:buNone/>
            </a:pPr>
            <a:r>
              <a:rPr lang="zh-CN" altLang="en-US" sz="1630" b="1" dirty="0"/>
              <a:t>决策层</a:t>
            </a:r>
            <a:endParaRPr lang="en-US" sz="1630" b="1" dirty="0"/>
          </a:p>
        </p:txBody>
      </p:sp>
      <p:sp>
        <p:nvSpPr>
          <p:cNvPr id="33" name="五边形 32"/>
          <p:cNvSpPr/>
          <p:nvPr/>
        </p:nvSpPr>
        <p:spPr>
          <a:xfrm flipH="1">
            <a:off x="9291943" y="3743664"/>
            <a:ext cx="1820005" cy="2076228"/>
          </a:xfrm>
          <a:prstGeom prst="homePlate">
            <a:avLst>
              <a:gd name="adj" fmla="val 25445"/>
            </a:avLst>
          </a:prstGeom>
          <a:solidFill>
            <a:srgbClr val="FFC3AB"/>
          </a:solidFill>
          <a:ln w="9525">
            <a:solidFill>
              <a:schemeClr val="bg1"/>
            </a:solidFill>
            <a:miter lim="800000"/>
          </a:ln>
          <a:effectLst/>
        </p:spPr>
        <p:txBody>
          <a:bodyPr wrap="none" anchor="ctr">
            <a:noAutofit/>
          </a:bodyPr>
          <a:lstStyle/>
          <a:p>
            <a:endParaRPr lang="zh-CN" altLang="en-US" sz="1835" dirty="0" err="1">
              <a:solidFill>
                <a:schemeClr val="tx1"/>
              </a:solidFill>
            </a:endParaRPr>
          </a:p>
        </p:txBody>
      </p:sp>
      <p:sp>
        <p:nvSpPr>
          <p:cNvPr id="34" name="Rectangle 8"/>
          <p:cNvSpPr txBox="1">
            <a:spLocks noChangeArrowheads="1"/>
          </p:cNvSpPr>
          <p:nvPr/>
        </p:nvSpPr>
        <p:spPr bwMode="auto">
          <a:xfrm>
            <a:off x="9743664" y="4399721"/>
            <a:ext cx="1184420" cy="1273199"/>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defTabSz="803275">
              <a:buNone/>
            </a:pPr>
            <a:r>
              <a:rPr lang="zh-CN" altLang="en-US" sz="1630" b="1" dirty="0"/>
              <a:t>行业分析、</a:t>
            </a:r>
            <a:endParaRPr lang="en-US" altLang="zh-CN" sz="1630" b="1" dirty="0"/>
          </a:p>
          <a:p>
            <a:pPr marL="1905" lvl="1" indent="0" defTabSz="803275">
              <a:buNone/>
            </a:pPr>
            <a:r>
              <a:rPr lang="zh-CN" altLang="en-US" sz="1630" b="1" dirty="0"/>
              <a:t>竞争对手分析、内部诊断</a:t>
            </a:r>
            <a:endParaRPr lang="en-US" sz="1630" b="1" dirty="0"/>
          </a:p>
        </p:txBody>
      </p:sp>
      <p:sp>
        <p:nvSpPr>
          <p:cNvPr id="38" name="Rectangle 8"/>
          <p:cNvSpPr txBox="1">
            <a:spLocks noChangeArrowheads="1"/>
          </p:cNvSpPr>
          <p:nvPr/>
        </p:nvSpPr>
        <p:spPr bwMode="auto">
          <a:xfrm>
            <a:off x="2725684" y="1262238"/>
            <a:ext cx="6183005" cy="25115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81610" lvl="1" indent="-179705" defTabSz="803275"/>
            <a:r>
              <a:rPr lang="zh-CN" altLang="en-US" sz="1630" dirty="0"/>
              <a:t>用</a:t>
            </a:r>
            <a:r>
              <a:rPr lang="en-US" altLang="zh-CN" sz="1630" dirty="0"/>
              <a:t>8</a:t>
            </a:r>
            <a:r>
              <a:rPr lang="zh-CN" altLang="en-US" sz="1630" dirty="0"/>
              <a:t>到</a:t>
            </a:r>
            <a:r>
              <a:rPr lang="en-US" altLang="zh-CN" sz="1630" dirty="0"/>
              <a:t>10</a:t>
            </a:r>
            <a:r>
              <a:rPr lang="zh-CN" altLang="en-US" sz="1630" dirty="0"/>
              <a:t>年的时间，将</a:t>
            </a:r>
            <a:r>
              <a:rPr lang="en-US" altLang="zh-CN" sz="1630" dirty="0" smtClean="0"/>
              <a:t>***</a:t>
            </a:r>
            <a:r>
              <a:rPr lang="zh-CN" altLang="en-US" sz="1630" dirty="0"/>
              <a:t>建成</a:t>
            </a:r>
            <a:r>
              <a:rPr lang="zh-CN" altLang="en-US" sz="1630" dirty="0" smtClean="0"/>
              <a:t>的</a:t>
            </a:r>
            <a:r>
              <a:rPr lang="zh-CN" altLang="en-US" sz="1630" dirty="0"/>
              <a:t>中国</a:t>
            </a:r>
            <a:r>
              <a:rPr lang="zh-CN" altLang="en-US" sz="1630" dirty="0" smtClean="0"/>
              <a:t>“最佳</a:t>
            </a:r>
            <a:r>
              <a:rPr lang="en-US" altLang="zh-CN" sz="1630" dirty="0" smtClean="0"/>
              <a:t>xx</a:t>
            </a:r>
            <a:r>
              <a:rPr lang="zh-CN" altLang="en-US" sz="1630" dirty="0" smtClean="0"/>
              <a:t>”</a:t>
            </a:r>
            <a:r>
              <a:rPr lang="zh-CN" altLang="en-US" sz="1630" dirty="0"/>
              <a:t>！</a:t>
            </a:r>
            <a:endParaRPr lang="en-US" sz="1630" dirty="0"/>
          </a:p>
        </p:txBody>
      </p:sp>
      <p:sp>
        <p:nvSpPr>
          <p:cNvPr id="39" name="Rectangle 9"/>
          <p:cNvSpPr txBox="1">
            <a:spLocks noChangeArrowheads="1"/>
          </p:cNvSpPr>
          <p:nvPr/>
        </p:nvSpPr>
        <p:spPr bwMode="auto">
          <a:xfrm>
            <a:off x="2725684" y="2456111"/>
            <a:ext cx="6183005" cy="76392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81610" lvl="1" indent="-179705" defTabSz="803275"/>
            <a:r>
              <a:rPr lang="en-US" altLang="zh-CN" sz="1630" dirty="0" smtClean="0"/>
              <a:t>xx</a:t>
            </a:r>
            <a:r>
              <a:rPr lang="zh-CN" altLang="en-US" sz="1630" dirty="0" smtClean="0"/>
              <a:t>等</a:t>
            </a:r>
            <a:r>
              <a:rPr lang="zh-CN" altLang="en-US" sz="1630" dirty="0"/>
              <a:t>业务规模年增长率不</a:t>
            </a:r>
            <a:r>
              <a:rPr lang="zh-CN" altLang="en-US" sz="1630" dirty="0" smtClean="0"/>
              <a:t>低于</a:t>
            </a:r>
            <a:r>
              <a:rPr lang="en-US" altLang="zh-CN" sz="1630" dirty="0" smtClean="0"/>
              <a:t>xxx%</a:t>
            </a:r>
            <a:endParaRPr lang="en-US" altLang="zh-CN" sz="1630" dirty="0"/>
          </a:p>
          <a:p>
            <a:pPr marL="181610" lvl="1" indent="-179705" defTabSz="803275"/>
            <a:r>
              <a:rPr lang="zh-CN" altLang="en-US" sz="1630" dirty="0"/>
              <a:t>净利润复合</a:t>
            </a:r>
            <a:r>
              <a:rPr lang="zh-CN" altLang="en-US" sz="1630" dirty="0" smtClean="0"/>
              <a:t>增长率</a:t>
            </a:r>
            <a:r>
              <a:rPr lang="en-US" altLang="zh-CN" sz="1630" dirty="0" smtClean="0"/>
              <a:t>xxx%</a:t>
            </a:r>
            <a:endParaRPr lang="en-US" altLang="zh-CN" sz="1630" dirty="0"/>
          </a:p>
          <a:p>
            <a:pPr marL="181610" lvl="1" indent="-179705" defTabSz="803275"/>
            <a:r>
              <a:rPr lang="en-US" altLang="zh-CN" sz="1630" dirty="0" smtClean="0"/>
              <a:t>xx</a:t>
            </a:r>
            <a:r>
              <a:rPr lang="zh-CN" altLang="en-US" sz="1630" dirty="0" smtClean="0"/>
              <a:t>占</a:t>
            </a:r>
            <a:r>
              <a:rPr lang="zh-CN" altLang="en-US" sz="1630" dirty="0"/>
              <a:t>比</a:t>
            </a:r>
            <a:r>
              <a:rPr lang="zh-CN" altLang="en-US" sz="1630" dirty="0" smtClean="0"/>
              <a:t>从</a:t>
            </a:r>
            <a:r>
              <a:rPr lang="en-US" altLang="zh-CN" sz="1630" dirty="0" smtClean="0"/>
              <a:t>xxx%</a:t>
            </a:r>
            <a:r>
              <a:rPr lang="zh-CN" altLang="en-US" sz="1630" dirty="0"/>
              <a:t>提升</a:t>
            </a:r>
            <a:r>
              <a:rPr lang="zh-CN" altLang="en-US" sz="1630" dirty="0" smtClean="0"/>
              <a:t>到</a:t>
            </a:r>
            <a:r>
              <a:rPr lang="en-US" altLang="zh-CN" sz="1630" dirty="0" smtClean="0"/>
              <a:t>xxx%</a:t>
            </a:r>
            <a:endParaRPr lang="en-US" sz="1630" dirty="0"/>
          </a:p>
        </p:txBody>
      </p:sp>
      <p:sp>
        <p:nvSpPr>
          <p:cNvPr id="40" name="Rectangle 10"/>
          <p:cNvSpPr txBox="1">
            <a:spLocks noChangeArrowheads="1"/>
          </p:cNvSpPr>
          <p:nvPr/>
        </p:nvSpPr>
        <p:spPr bwMode="auto">
          <a:xfrm>
            <a:off x="2725684" y="3636847"/>
            <a:ext cx="6183005" cy="103924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defTabSz="803275">
              <a:buNone/>
            </a:pPr>
            <a:r>
              <a:rPr lang="zh-CN" altLang="en-US" sz="1630" dirty="0"/>
              <a:t>三步走战略：</a:t>
            </a:r>
            <a:endParaRPr lang="en-US" altLang="zh-CN" sz="1630" dirty="0"/>
          </a:p>
          <a:p>
            <a:pPr marL="181610" lvl="1" indent="-179705" defTabSz="803275"/>
            <a:r>
              <a:rPr lang="zh-CN" altLang="en-US" sz="1630" dirty="0"/>
              <a:t>未来</a:t>
            </a:r>
            <a:r>
              <a:rPr lang="en-US" altLang="zh-CN" sz="1630" dirty="0"/>
              <a:t>3-5</a:t>
            </a:r>
            <a:r>
              <a:rPr lang="zh-CN" altLang="en-US" sz="1630" dirty="0"/>
              <a:t>年</a:t>
            </a:r>
            <a:r>
              <a:rPr lang="zh-CN" altLang="en-US" sz="1630" dirty="0" smtClean="0"/>
              <a:t>，业务</a:t>
            </a:r>
            <a:r>
              <a:rPr lang="zh-CN" altLang="en-US" sz="1630" dirty="0"/>
              <a:t>为主，</a:t>
            </a:r>
            <a:r>
              <a:rPr lang="zh-CN" altLang="en-US" sz="1630" dirty="0" smtClean="0"/>
              <a:t>打造</a:t>
            </a:r>
            <a:r>
              <a:rPr lang="en-US" altLang="zh-CN" sz="1630" dirty="0" smtClean="0"/>
              <a:t>xx</a:t>
            </a:r>
            <a:endParaRPr lang="en-US" altLang="zh-CN" sz="1630" dirty="0"/>
          </a:p>
          <a:p>
            <a:pPr marL="181610" lvl="1" indent="-179705" defTabSz="803275"/>
            <a:r>
              <a:rPr lang="zh-CN" altLang="en-US" sz="1630" dirty="0"/>
              <a:t>未来</a:t>
            </a:r>
            <a:r>
              <a:rPr lang="en-US" altLang="zh-CN" sz="1630" dirty="0"/>
              <a:t>5-8</a:t>
            </a:r>
            <a:r>
              <a:rPr lang="zh-CN" altLang="en-US" sz="1630" dirty="0"/>
              <a:t>年</a:t>
            </a:r>
            <a:r>
              <a:rPr lang="zh-CN" altLang="en-US" sz="1630" dirty="0" smtClean="0"/>
              <a:t>，</a:t>
            </a:r>
            <a:r>
              <a:rPr lang="en-US" altLang="zh-CN" sz="1630" dirty="0" err="1" smtClean="0"/>
              <a:t>xxxx</a:t>
            </a:r>
            <a:r>
              <a:rPr lang="zh-CN" altLang="en-US" sz="1630" dirty="0" smtClean="0"/>
              <a:t>业务</a:t>
            </a:r>
            <a:r>
              <a:rPr lang="zh-CN" altLang="en-US" sz="1630" dirty="0"/>
              <a:t>并重</a:t>
            </a:r>
            <a:endParaRPr lang="en-US" altLang="zh-CN" sz="1630" dirty="0"/>
          </a:p>
          <a:p>
            <a:pPr marL="181610" lvl="1" indent="-179705" defTabSz="803275"/>
            <a:r>
              <a:rPr lang="zh-CN" altLang="en-US" sz="1630" dirty="0"/>
              <a:t>未来</a:t>
            </a:r>
            <a:r>
              <a:rPr lang="en-US" altLang="zh-CN" sz="1630" dirty="0"/>
              <a:t>8-10</a:t>
            </a:r>
            <a:r>
              <a:rPr lang="zh-CN" altLang="en-US" sz="1630" dirty="0"/>
              <a:t>年</a:t>
            </a:r>
            <a:r>
              <a:rPr lang="zh-CN" altLang="en-US" sz="1630" dirty="0" smtClean="0"/>
              <a:t>，</a:t>
            </a:r>
            <a:r>
              <a:rPr lang="en-US" altLang="zh-CN" sz="1630" dirty="0" smtClean="0"/>
              <a:t>xx</a:t>
            </a:r>
            <a:r>
              <a:rPr lang="zh-CN" altLang="en-US" sz="1630" dirty="0" smtClean="0"/>
              <a:t>业务</a:t>
            </a:r>
            <a:r>
              <a:rPr lang="zh-CN" altLang="en-US" sz="1630" dirty="0"/>
              <a:t>成为利润主要来源</a:t>
            </a:r>
            <a:endParaRPr lang="en-US" sz="1630" dirty="0"/>
          </a:p>
        </p:txBody>
      </p:sp>
      <p:sp>
        <p:nvSpPr>
          <p:cNvPr id="28" name="Rectangle 12"/>
          <p:cNvSpPr txBox="1">
            <a:spLocks noChangeArrowheads="1"/>
          </p:cNvSpPr>
          <p:nvPr/>
        </p:nvSpPr>
        <p:spPr bwMode="auto">
          <a:xfrm>
            <a:off x="9291943" y="775252"/>
            <a:ext cx="1820005" cy="31032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r>
              <a:rPr lang="zh-CN" altLang="en-US" sz="1630" b="1" dirty="0"/>
              <a:t>信息来源</a:t>
            </a:r>
            <a:endParaRPr lang="en-US" altLang="ko-KR" sz="1630" b="1" dirty="0"/>
          </a:p>
        </p:txBody>
      </p:sp>
      <p:sp>
        <p:nvSpPr>
          <p:cNvPr id="41" name="Rectangle 12"/>
          <p:cNvSpPr txBox="1">
            <a:spLocks noChangeArrowheads="1"/>
          </p:cNvSpPr>
          <p:nvPr/>
        </p:nvSpPr>
        <p:spPr bwMode="auto">
          <a:xfrm>
            <a:off x="2725684" y="775386"/>
            <a:ext cx="6183005" cy="31201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r>
              <a:rPr lang="zh-CN" altLang="en-US" sz="1630" b="1" dirty="0"/>
              <a:t>举例</a:t>
            </a:r>
            <a:endParaRPr lang="en-US" altLang="ko-KR" sz="1630" b="1" dirty="0"/>
          </a:p>
        </p:txBody>
      </p:sp>
      <p:sp>
        <p:nvSpPr>
          <p:cNvPr id="42" name="Line 11"/>
          <p:cNvSpPr>
            <a:spLocks noChangeShapeType="1"/>
          </p:cNvSpPr>
          <p:nvPr/>
        </p:nvSpPr>
        <p:spPr bwMode="auto">
          <a:xfrm>
            <a:off x="2725684" y="1085581"/>
            <a:ext cx="6183005" cy="1642"/>
          </a:xfrm>
          <a:prstGeom prst="line">
            <a:avLst/>
          </a:prstGeom>
          <a:noFill/>
          <a:ln w="9525">
            <a:solidFill>
              <a:srgbClr val="FE5817"/>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835"/>
          </a:p>
        </p:txBody>
      </p:sp>
      <p:sp>
        <p:nvSpPr>
          <p:cNvPr id="43" name="Rectangle 10"/>
          <p:cNvSpPr txBox="1">
            <a:spLocks noChangeArrowheads="1"/>
          </p:cNvSpPr>
          <p:nvPr/>
        </p:nvSpPr>
        <p:spPr bwMode="auto">
          <a:xfrm>
            <a:off x="2725684" y="4954052"/>
            <a:ext cx="6183005" cy="51962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81610" lvl="1" indent="-179705" defTabSz="803275"/>
            <a:r>
              <a:rPr lang="en-US" altLang="zh-CN" sz="1630" dirty="0" smtClean="0"/>
              <a:t>xx</a:t>
            </a:r>
            <a:r>
              <a:rPr lang="zh-CN" altLang="en-US" sz="1630" dirty="0" smtClean="0"/>
              <a:t>业务</a:t>
            </a:r>
            <a:r>
              <a:rPr lang="zh-CN" altLang="en-US" sz="1630" dirty="0"/>
              <a:t>，</a:t>
            </a:r>
            <a:r>
              <a:rPr lang="zh-CN" altLang="en-US" sz="1630" dirty="0" smtClean="0"/>
              <a:t>围绕</a:t>
            </a:r>
            <a:r>
              <a:rPr lang="en-US" altLang="zh-CN" sz="1630" dirty="0" err="1" smtClean="0"/>
              <a:t>xxxx</a:t>
            </a:r>
            <a:r>
              <a:rPr lang="zh-CN" altLang="en-US" sz="1630" dirty="0" smtClean="0"/>
              <a:t>专业化</a:t>
            </a:r>
            <a:r>
              <a:rPr lang="zh-CN" altLang="en-US" sz="1630" dirty="0"/>
              <a:t>经营</a:t>
            </a:r>
            <a:endParaRPr lang="en-US" altLang="zh-CN" sz="1630" dirty="0"/>
          </a:p>
          <a:p>
            <a:pPr marL="181610" lvl="1" indent="-179705" defTabSz="803275"/>
            <a:r>
              <a:rPr lang="en-US" altLang="zh-CN" sz="1630" dirty="0" smtClean="0"/>
              <a:t>xx</a:t>
            </a:r>
            <a:r>
              <a:rPr lang="zh-CN" altLang="en-US" sz="1630" dirty="0" smtClean="0"/>
              <a:t>业务</a:t>
            </a:r>
            <a:r>
              <a:rPr lang="zh-CN" altLang="en-US" sz="1630" dirty="0"/>
              <a:t>，做</a:t>
            </a:r>
            <a:r>
              <a:rPr lang="zh-CN" altLang="en-US" sz="1630" dirty="0" smtClean="0"/>
              <a:t>响</a:t>
            </a:r>
            <a:r>
              <a:rPr lang="en-US" altLang="zh-CN" sz="1630" dirty="0" smtClean="0"/>
              <a:t>xxx</a:t>
            </a:r>
            <a:r>
              <a:rPr lang="zh-CN" altLang="en-US" sz="1630" dirty="0" smtClean="0"/>
              <a:t>业务</a:t>
            </a:r>
            <a:r>
              <a:rPr lang="zh-CN" altLang="en-US" sz="1630" dirty="0"/>
              <a:t>品牌</a:t>
            </a:r>
            <a:endParaRPr lang="en-US" sz="1630" dirty="0"/>
          </a:p>
        </p:txBody>
      </p:sp>
      <p:cxnSp>
        <p:nvCxnSpPr>
          <p:cNvPr id="21" name="Straight Connector 20"/>
          <p:cNvCxnSpPr/>
          <p:nvPr/>
        </p:nvCxnSpPr>
        <p:spPr>
          <a:xfrm>
            <a:off x="2725684" y="2300350"/>
            <a:ext cx="6183005" cy="0"/>
          </a:xfrm>
          <a:prstGeom prst="line">
            <a:avLst/>
          </a:prstGeom>
          <a:ln w="19050">
            <a:solidFill>
              <a:srgbClr val="FE5817"/>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2725686" y="3533636"/>
            <a:ext cx="8386262" cy="0"/>
          </a:xfrm>
          <a:prstGeom prst="line">
            <a:avLst/>
          </a:prstGeom>
          <a:ln w="19050">
            <a:solidFill>
              <a:srgbClr val="FE5817"/>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2725684" y="4811426"/>
            <a:ext cx="6183005" cy="0"/>
          </a:xfrm>
          <a:prstGeom prst="line">
            <a:avLst/>
          </a:prstGeom>
          <a:ln w="19050">
            <a:solidFill>
              <a:srgbClr val="FE5817"/>
            </a:solidFill>
            <a:prstDash val="sysDot"/>
          </a:ln>
        </p:spPr>
        <p:style>
          <a:lnRef idx="1">
            <a:schemeClr val="accent1"/>
          </a:lnRef>
          <a:fillRef idx="0">
            <a:schemeClr val="accent1"/>
          </a:fillRef>
          <a:effectRef idx="0">
            <a:schemeClr val="accent1"/>
          </a:effectRef>
          <a:fontRef idx="minor">
            <a:schemeClr val="tx1"/>
          </a:fontRef>
        </p:style>
      </p:cxnSp>
      <p:sp>
        <p:nvSpPr>
          <p:cNvPr id="31" name="AutoShape 2"/>
          <p:cNvSpPr>
            <a:spLocks noChangeArrowheads="1"/>
          </p:cNvSpPr>
          <p:nvPr/>
        </p:nvSpPr>
        <p:spPr bwMode="auto">
          <a:xfrm rot="5400000">
            <a:off x="1017613" y="985277"/>
            <a:ext cx="1352266" cy="1787293"/>
          </a:xfrm>
          <a:prstGeom prst="homePlate">
            <a:avLst>
              <a:gd name="adj" fmla="val 18676"/>
            </a:avLst>
          </a:prstGeom>
          <a:solidFill>
            <a:srgbClr val="FFC3AB"/>
          </a:solidFill>
          <a:ln w="9525">
            <a:solidFill>
              <a:schemeClr val="bg1"/>
            </a:solidFill>
            <a:miter lim="800000"/>
          </a:ln>
          <a:effectLst/>
        </p:spPr>
        <p:txBody>
          <a:bodyPr wrap="none" anchor="ctr">
            <a:noAutofit/>
          </a:bodyPr>
          <a:lstStyle/>
          <a:p>
            <a:endParaRPr lang="en-US" sz="1835"/>
          </a:p>
        </p:txBody>
      </p:sp>
      <p:sp>
        <p:nvSpPr>
          <p:cNvPr id="32" name="AutoShape 3"/>
          <p:cNvSpPr>
            <a:spLocks noChangeArrowheads="1"/>
          </p:cNvSpPr>
          <p:nvPr/>
        </p:nvSpPr>
        <p:spPr bwMode="auto">
          <a:xfrm rot="5400000">
            <a:off x="894914" y="2181735"/>
            <a:ext cx="1599323" cy="1787293"/>
          </a:xfrm>
          <a:prstGeom prst="chevron">
            <a:avLst>
              <a:gd name="adj" fmla="val 18375"/>
            </a:avLst>
          </a:prstGeom>
          <a:solidFill>
            <a:srgbClr val="FFC3AB"/>
          </a:solidFill>
          <a:ln w="9525">
            <a:solidFill>
              <a:schemeClr val="bg1"/>
            </a:solidFill>
            <a:miter lim="800000"/>
          </a:ln>
          <a:effectLst/>
        </p:spPr>
        <p:txBody>
          <a:bodyPr wrap="none" anchor="ctr">
            <a:noAutofit/>
          </a:bodyPr>
          <a:lstStyle/>
          <a:p>
            <a:endParaRPr lang="en-US" sz="1835"/>
          </a:p>
        </p:txBody>
      </p:sp>
      <p:sp>
        <p:nvSpPr>
          <p:cNvPr id="44" name="AutoShape 4"/>
          <p:cNvSpPr>
            <a:spLocks noChangeArrowheads="1"/>
          </p:cNvSpPr>
          <p:nvPr/>
        </p:nvSpPr>
        <p:spPr bwMode="auto">
          <a:xfrm rot="5400000">
            <a:off x="929675" y="3403734"/>
            <a:ext cx="1529802" cy="1787293"/>
          </a:xfrm>
          <a:prstGeom prst="chevron">
            <a:avLst>
              <a:gd name="adj" fmla="val 18375"/>
            </a:avLst>
          </a:prstGeom>
          <a:solidFill>
            <a:srgbClr val="FFC3AB"/>
          </a:solidFill>
          <a:ln w="9525">
            <a:solidFill>
              <a:schemeClr val="bg1"/>
            </a:solidFill>
            <a:miter lim="800000"/>
          </a:ln>
          <a:effectLst/>
        </p:spPr>
        <p:txBody>
          <a:bodyPr wrap="none" anchor="ctr">
            <a:noAutofit/>
          </a:bodyPr>
          <a:lstStyle/>
          <a:p>
            <a:endParaRPr lang="en-US" sz="1835"/>
          </a:p>
        </p:txBody>
      </p:sp>
      <p:sp>
        <p:nvSpPr>
          <p:cNvPr id="45" name="Rectangle 13"/>
          <p:cNvSpPr>
            <a:spLocks noChangeArrowheads="1"/>
          </p:cNvSpPr>
          <p:nvPr/>
        </p:nvSpPr>
        <p:spPr bwMode="auto">
          <a:xfrm>
            <a:off x="909425" y="1674430"/>
            <a:ext cx="1571957" cy="252898"/>
          </a:xfrm>
          <a:prstGeom prst="rect">
            <a:avLst/>
          </a:prstGeom>
          <a:noFill/>
          <a:ln>
            <a:noFill/>
          </a:ln>
          <a:effectLst/>
        </p:spPr>
        <p:txBody>
          <a:bodyPr lIns="0" tIns="0" rIns="0" bIns="0">
            <a:noAutofit/>
          </a:bodyPr>
          <a:lstStyle/>
          <a:p>
            <a:pPr algn="ctr" defTabSz="803275">
              <a:buSzPct val="120000"/>
            </a:pPr>
            <a:r>
              <a:rPr lang="zh-CN" altLang="en-US" sz="1835" b="1" dirty="0"/>
              <a:t>愿景</a:t>
            </a:r>
            <a:endParaRPr lang="en-US" sz="1835" b="1" dirty="0"/>
          </a:p>
        </p:txBody>
      </p:sp>
      <p:sp>
        <p:nvSpPr>
          <p:cNvPr id="46" name="Rectangle 14"/>
          <p:cNvSpPr>
            <a:spLocks noChangeArrowheads="1"/>
          </p:cNvSpPr>
          <p:nvPr/>
        </p:nvSpPr>
        <p:spPr bwMode="auto">
          <a:xfrm>
            <a:off x="909425" y="2948931"/>
            <a:ext cx="1571957" cy="252898"/>
          </a:xfrm>
          <a:prstGeom prst="rect">
            <a:avLst/>
          </a:prstGeom>
          <a:noFill/>
          <a:ln>
            <a:noFill/>
          </a:ln>
          <a:effectLst/>
        </p:spPr>
        <p:txBody>
          <a:bodyPr lIns="0" tIns="0" rIns="0" bIns="0">
            <a:noAutofit/>
          </a:bodyPr>
          <a:lstStyle/>
          <a:p>
            <a:pPr algn="ctr" defTabSz="803275">
              <a:buSzPct val="120000"/>
            </a:pPr>
            <a:r>
              <a:rPr lang="zh-CN" altLang="en-US" sz="1835" b="1" dirty="0"/>
              <a:t>目标</a:t>
            </a:r>
            <a:endParaRPr lang="en-US" sz="1835" b="1" dirty="0"/>
          </a:p>
        </p:txBody>
      </p:sp>
      <p:sp>
        <p:nvSpPr>
          <p:cNvPr id="47" name="Rectangle 15"/>
          <p:cNvSpPr>
            <a:spLocks noChangeArrowheads="1"/>
          </p:cNvSpPr>
          <p:nvPr/>
        </p:nvSpPr>
        <p:spPr bwMode="auto">
          <a:xfrm>
            <a:off x="909425" y="4248147"/>
            <a:ext cx="1571957" cy="252898"/>
          </a:xfrm>
          <a:prstGeom prst="rect">
            <a:avLst/>
          </a:prstGeom>
          <a:noFill/>
          <a:ln>
            <a:noFill/>
          </a:ln>
          <a:effectLst/>
        </p:spPr>
        <p:txBody>
          <a:bodyPr lIns="0" tIns="0" rIns="0" bIns="0">
            <a:noAutofit/>
          </a:bodyPr>
          <a:lstStyle/>
          <a:p>
            <a:pPr algn="ctr" defTabSz="803275">
              <a:buSzPct val="120000"/>
            </a:pPr>
            <a:r>
              <a:rPr lang="zh-CN" altLang="en-US" sz="1835" b="1" dirty="0"/>
              <a:t>整体战略</a:t>
            </a:r>
            <a:endParaRPr lang="en-US" sz="1835" b="1" dirty="0"/>
          </a:p>
        </p:txBody>
      </p:sp>
      <p:sp>
        <p:nvSpPr>
          <p:cNvPr id="48" name="AutoShape 4"/>
          <p:cNvSpPr>
            <a:spLocks noChangeArrowheads="1"/>
          </p:cNvSpPr>
          <p:nvPr/>
        </p:nvSpPr>
        <p:spPr bwMode="auto">
          <a:xfrm rot="5400000">
            <a:off x="923717" y="4658985"/>
            <a:ext cx="1541707" cy="1787293"/>
          </a:xfrm>
          <a:prstGeom prst="chevron">
            <a:avLst>
              <a:gd name="adj" fmla="val 18375"/>
            </a:avLst>
          </a:prstGeom>
          <a:solidFill>
            <a:srgbClr val="FFC3AB"/>
          </a:solidFill>
          <a:ln w="9525">
            <a:solidFill>
              <a:schemeClr val="bg1"/>
            </a:solidFill>
            <a:miter lim="800000"/>
          </a:ln>
          <a:effectLst/>
        </p:spPr>
        <p:txBody>
          <a:bodyPr wrap="none" anchor="ctr">
            <a:noAutofit/>
          </a:bodyPr>
          <a:lstStyle/>
          <a:p>
            <a:endParaRPr lang="en-US" sz="1835"/>
          </a:p>
        </p:txBody>
      </p:sp>
      <p:sp>
        <p:nvSpPr>
          <p:cNvPr id="49" name="Rectangle 15"/>
          <p:cNvSpPr>
            <a:spLocks noChangeArrowheads="1"/>
          </p:cNvSpPr>
          <p:nvPr/>
        </p:nvSpPr>
        <p:spPr bwMode="auto">
          <a:xfrm>
            <a:off x="909425" y="5463461"/>
            <a:ext cx="1571957" cy="252898"/>
          </a:xfrm>
          <a:prstGeom prst="rect">
            <a:avLst/>
          </a:prstGeom>
          <a:noFill/>
          <a:ln>
            <a:noFill/>
          </a:ln>
          <a:effectLst/>
        </p:spPr>
        <p:txBody>
          <a:bodyPr lIns="0" tIns="0" rIns="0" bIns="0">
            <a:noAutofit/>
          </a:bodyPr>
          <a:lstStyle/>
          <a:p>
            <a:pPr algn="ctr" defTabSz="803275">
              <a:buSzPct val="120000"/>
            </a:pPr>
            <a:r>
              <a:rPr lang="zh-CN" altLang="en-US" sz="1835" b="1" dirty="0"/>
              <a:t>关键策略</a:t>
            </a:r>
            <a:endParaRPr lang="en-US" sz="1835" b="1" dirty="0"/>
          </a:p>
        </p:txBody>
      </p:sp>
      <p:sp>
        <p:nvSpPr>
          <p:cNvPr id="3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战略目标</a:t>
            </a:r>
            <a:endParaRPr lang="en-US" altLang="zh-CN" sz="2400" dirty="0" smtClean="0">
              <a:solidFill>
                <a:prstClr val="black"/>
              </a:solidFill>
              <a:latin typeface="华文楷体" panose="02010600040101010101" charset="-122"/>
            </a:endParaRPr>
          </a:p>
        </p:txBody>
      </p:sp>
      <p:pic>
        <p:nvPicPr>
          <p:cNvPr id="30" name="图片 29"/>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541331" y="953937"/>
            <a:ext cx="10839138" cy="5314099"/>
            <a:chOff x="1744554" y="953937"/>
            <a:chExt cx="8798455" cy="5314099"/>
          </a:xfrm>
        </p:grpSpPr>
        <p:sp>
          <p:nvSpPr>
            <p:cNvPr id="4" name="Rectangle 54"/>
            <p:cNvSpPr/>
            <p:nvPr/>
          </p:nvSpPr>
          <p:spPr>
            <a:xfrm>
              <a:off x="6250927" y="2001235"/>
              <a:ext cx="4292082" cy="1976443"/>
            </a:xfrm>
            <a:prstGeom prst="rect">
              <a:avLst/>
            </a:prstGeom>
            <a:solidFill>
              <a:srgbClr val="FFC3AB">
                <a:alpha val="10000"/>
              </a:srgbClr>
            </a:solidFill>
            <a:ln>
              <a:noFill/>
            </a:ln>
          </p:spPr>
          <p:txBody>
            <a:bodyPr wrap="square" lIns="73472" tIns="73472" rIns="73472" bIns="73472" anchor="ctr" anchorCtr="0">
              <a:noAutofit/>
            </a:bodyPr>
            <a:lstStyle/>
            <a:p>
              <a:endParaRPr lang="en-US" sz="1430" b="1" dirty="0"/>
            </a:p>
          </p:txBody>
        </p:sp>
        <p:sp>
          <p:nvSpPr>
            <p:cNvPr id="5" name="Rectangle 58"/>
            <p:cNvSpPr/>
            <p:nvPr/>
          </p:nvSpPr>
          <p:spPr>
            <a:xfrm>
              <a:off x="7105134" y="4776304"/>
              <a:ext cx="3437874" cy="1491732"/>
            </a:xfrm>
            <a:prstGeom prst="rect">
              <a:avLst/>
            </a:prstGeom>
            <a:solidFill>
              <a:srgbClr val="FF976D">
                <a:alpha val="20000"/>
              </a:srgbClr>
            </a:solidFill>
            <a:ln>
              <a:noFill/>
            </a:ln>
          </p:spPr>
          <p:txBody>
            <a:bodyPr wrap="square" lIns="73472" tIns="73472" rIns="73472" bIns="73472" anchor="ctr" anchorCtr="0">
              <a:noAutofit/>
            </a:bodyPr>
            <a:lstStyle/>
            <a:p>
              <a:endParaRPr lang="en-US" sz="1430" b="1" dirty="0"/>
            </a:p>
          </p:txBody>
        </p:sp>
        <p:sp>
          <p:nvSpPr>
            <p:cNvPr id="6" name="Rectangle 56"/>
            <p:cNvSpPr/>
            <p:nvPr/>
          </p:nvSpPr>
          <p:spPr>
            <a:xfrm>
              <a:off x="1744555" y="3977676"/>
              <a:ext cx="3504086" cy="1301455"/>
            </a:xfrm>
            <a:prstGeom prst="rect">
              <a:avLst/>
            </a:prstGeom>
            <a:solidFill>
              <a:schemeClr val="tx2">
                <a:lumMod val="25000"/>
                <a:lumOff val="75000"/>
                <a:alpha val="10000"/>
              </a:schemeClr>
            </a:solidFill>
            <a:ln>
              <a:noFill/>
            </a:ln>
          </p:spPr>
          <p:txBody>
            <a:bodyPr wrap="square" lIns="73472" tIns="73472" rIns="73472" bIns="73472" anchor="ctr" anchorCtr="0">
              <a:noAutofit/>
            </a:bodyPr>
            <a:lstStyle/>
            <a:p>
              <a:endParaRPr lang="en-US" sz="1430" b="1" dirty="0"/>
            </a:p>
          </p:txBody>
        </p:sp>
        <p:grpSp>
          <p:nvGrpSpPr>
            <p:cNvPr id="7" name="Group 59"/>
            <p:cNvGrpSpPr/>
            <p:nvPr/>
          </p:nvGrpSpPr>
          <p:grpSpPr>
            <a:xfrm>
              <a:off x="4502697" y="953937"/>
              <a:ext cx="3009899" cy="5314098"/>
              <a:chOff x="2959475" y="1647637"/>
              <a:chExt cx="2949980" cy="3914963"/>
            </a:xfrm>
          </p:grpSpPr>
          <p:sp>
            <p:nvSpPr>
              <p:cNvPr id="25" name="Isosceles Triangle 7"/>
              <p:cNvSpPr/>
              <p:nvPr/>
            </p:nvSpPr>
            <p:spPr>
              <a:xfrm>
                <a:off x="4211647" y="1651155"/>
                <a:ext cx="420031" cy="560082"/>
              </a:xfrm>
              <a:prstGeom prst="triangl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0" dirty="0" err="1">
                  <a:solidFill>
                    <a:schemeClr val="tx1"/>
                  </a:solidFill>
                </a:endParaRPr>
              </a:p>
            </p:txBody>
          </p:sp>
          <p:sp>
            <p:nvSpPr>
              <p:cNvPr id="26" name="Freeform 8"/>
              <p:cNvSpPr/>
              <p:nvPr/>
            </p:nvSpPr>
            <p:spPr>
              <a:xfrm>
                <a:off x="4003613" y="2206021"/>
                <a:ext cx="838084" cy="559227"/>
              </a:xfrm>
              <a:custGeom>
                <a:avLst/>
                <a:gdLst>
                  <a:gd name="connsiteX0" fmla="*/ 333375 w 1343025"/>
                  <a:gd name="connsiteY0" fmla="*/ 0 h 730250"/>
                  <a:gd name="connsiteX1" fmla="*/ 1009650 w 1343025"/>
                  <a:gd name="connsiteY1" fmla="*/ 0 h 730250"/>
                  <a:gd name="connsiteX2" fmla="*/ 1343025 w 1343025"/>
                  <a:gd name="connsiteY2" fmla="*/ 730250 h 730250"/>
                  <a:gd name="connsiteX3" fmla="*/ 0 w 1343025"/>
                  <a:gd name="connsiteY3" fmla="*/ 730250 h 730250"/>
                  <a:gd name="connsiteX4" fmla="*/ 333375 w 1343025"/>
                  <a:gd name="connsiteY4" fmla="*/ 0 h 73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025" h="730250">
                    <a:moveTo>
                      <a:pt x="333375" y="0"/>
                    </a:moveTo>
                    <a:lnTo>
                      <a:pt x="1009650" y="0"/>
                    </a:lnTo>
                    <a:lnTo>
                      <a:pt x="1343025" y="730250"/>
                    </a:lnTo>
                    <a:lnTo>
                      <a:pt x="0" y="730250"/>
                    </a:lnTo>
                    <a:lnTo>
                      <a:pt x="333375" y="0"/>
                    </a:lnTo>
                    <a:close/>
                  </a:path>
                </a:pathLst>
              </a:cu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0" dirty="0" err="1">
                  <a:solidFill>
                    <a:schemeClr val="tx1"/>
                  </a:solidFill>
                </a:endParaRPr>
              </a:p>
            </p:txBody>
          </p:sp>
          <p:sp>
            <p:nvSpPr>
              <p:cNvPr id="27" name="Freeform 9"/>
              <p:cNvSpPr/>
              <p:nvPr/>
            </p:nvSpPr>
            <p:spPr>
              <a:xfrm>
                <a:off x="3795577" y="2765247"/>
                <a:ext cx="1256135" cy="559227"/>
              </a:xfrm>
              <a:custGeom>
                <a:avLst/>
                <a:gdLst>
                  <a:gd name="connsiteX0" fmla="*/ 330200 w 2012950"/>
                  <a:gd name="connsiteY0" fmla="*/ 0 h 730250"/>
                  <a:gd name="connsiteX1" fmla="*/ 1676400 w 2012950"/>
                  <a:gd name="connsiteY1" fmla="*/ 0 h 730250"/>
                  <a:gd name="connsiteX2" fmla="*/ 2012950 w 2012950"/>
                  <a:gd name="connsiteY2" fmla="*/ 730250 h 730250"/>
                  <a:gd name="connsiteX3" fmla="*/ 0 w 2012950"/>
                  <a:gd name="connsiteY3" fmla="*/ 730250 h 730250"/>
                  <a:gd name="connsiteX4" fmla="*/ 330200 w 2012950"/>
                  <a:gd name="connsiteY4" fmla="*/ 0 h 73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2950" h="730250">
                    <a:moveTo>
                      <a:pt x="330200" y="0"/>
                    </a:moveTo>
                    <a:lnTo>
                      <a:pt x="1676400" y="0"/>
                    </a:lnTo>
                    <a:lnTo>
                      <a:pt x="2012950" y="730250"/>
                    </a:lnTo>
                    <a:lnTo>
                      <a:pt x="0" y="730250"/>
                    </a:lnTo>
                    <a:lnTo>
                      <a:pt x="330200" y="0"/>
                    </a:lnTo>
                    <a:close/>
                  </a:path>
                </a:pathLst>
              </a:custGeom>
              <a:solidFill>
                <a:srgbClr val="FF976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0" dirty="0" err="1">
                  <a:solidFill>
                    <a:schemeClr val="bg1"/>
                  </a:solidFill>
                </a:endParaRPr>
              </a:p>
            </p:txBody>
          </p:sp>
          <p:sp>
            <p:nvSpPr>
              <p:cNvPr id="28" name="Freeform 10"/>
              <p:cNvSpPr/>
              <p:nvPr/>
            </p:nvSpPr>
            <p:spPr>
              <a:xfrm>
                <a:off x="3587542" y="3324475"/>
                <a:ext cx="1674185" cy="561658"/>
              </a:xfrm>
              <a:custGeom>
                <a:avLst/>
                <a:gdLst>
                  <a:gd name="connsiteX0" fmla="*/ 330200 w 2682875"/>
                  <a:gd name="connsiteY0" fmla="*/ 0 h 733425"/>
                  <a:gd name="connsiteX1" fmla="*/ 2346325 w 2682875"/>
                  <a:gd name="connsiteY1" fmla="*/ 0 h 733425"/>
                  <a:gd name="connsiteX2" fmla="*/ 2682875 w 2682875"/>
                  <a:gd name="connsiteY2" fmla="*/ 733425 h 733425"/>
                  <a:gd name="connsiteX3" fmla="*/ 0 w 2682875"/>
                  <a:gd name="connsiteY3" fmla="*/ 733425 h 733425"/>
                  <a:gd name="connsiteX4" fmla="*/ 330200 w 2682875"/>
                  <a:gd name="connsiteY4" fmla="*/ 0 h 733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2875" h="733425">
                    <a:moveTo>
                      <a:pt x="330200" y="0"/>
                    </a:moveTo>
                    <a:lnTo>
                      <a:pt x="2346325" y="0"/>
                    </a:lnTo>
                    <a:lnTo>
                      <a:pt x="2682875" y="733425"/>
                    </a:lnTo>
                    <a:lnTo>
                      <a:pt x="0" y="733425"/>
                    </a:lnTo>
                    <a:lnTo>
                      <a:pt x="330200" y="0"/>
                    </a:lnTo>
                    <a:close/>
                  </a:path>
                </a:pathLst>
              </a:custGeom>
              <a:solidFill>
                <a:srgbClr val="FF976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0" dirty="0" err="1">
                  <a:solidFill>
                    <a:schemeClr val="bg1"/>
                  </a:solidFill>
                </a:endParaRPr>
              </a:p>
            </p:txBody>
          </p:sp>
          <p:sp>
            <p:nvSpPr>
              <p:cNvPr id="29" name="Freeform 11"/>
              <p:cNvSpPr/>
              <p:nvPr/>
            </p:nvSpPr>
            <p:spPr>
              <a:xfrm>
                <a:off x="3377526" y="3883702"/>
                <a:ext cx="2092238" cy="561658"/>
              </a:xfrm>
              <a:custGeom>
                <a:avLst/>
                <a:gdLst>
                  <a:gd name="connsiteX0" fmla="*/ 330200 w 3352800"/>
                  <a:gd name="connsiteY0" fmla="*/ 0 h 733425"/>
                  <a:gd name="connsiteX1" fmla="*/ 3016250 w 3352800"/>
                  <a:gd name="connsiteY1" fmla="*/ 0 h 733425"/>
                  <a:gd name="connsiteX2" fmla="*/ 3352800 w 3352800"/>
                  <a:gd name="connsiteY2" fmla="*/ 733425 h 733425"/>
                  <a:gd name="connsiteX3" fmla="*/ 0 w 3352800"/>
                  <a:gd name="connsiteY3" fmla="*/ 733425 h 733425"/>
                  <a:gd name="connsiteX4" fmla="*/ 330200 w 3352800"/>
                  <a:gd name="connsiteY4" fmla="*/ 0 h 733425"/>
                  <a:gd name="connsiteX0-1" fmla="*/ 330200 w 3352800"/>
                  <a:gd name="connsiteY0-2" fmla="*/ 0 h 733425"/>
                  <a:gd name="connsiteX1-3" fmla="*/ 3023870 w 3352800"/>
                  <a:gd name="connsiteY1-4" fmla="*/ 0 h 733425"/>
                  <a:gd name="connsiteX2-5" fmla="*/ 3352800 w 3352800"/>
                  <a:gd name="connsiteY2-6" fmla="*/ 733425 h 733425"/>
                  <a:gd name="connsiteX3-7" fmla="*/ 0 w 3352800"/>
                  <a:gd name="connsiteY3-8" fmla="*/ 733425 h 733425"/>
                  <a:gd name="connsiteX4-9" fmla="*/ 330200 w 3352800"/>
                  <a:gd name="connsiteY4-10" fmla="*/ 0 h 733425"/>
                  <a:gd name="connsiteX0-11" fmla="*/ 337820 w 3352800"/>
                  <a:gd name="connsiteY0-12" fmla="*/ 0 h 733425"/>
                  <a:gd name="connsiteX1-13" fmla="*/ 3023870 w 3352800"/>
                  <a:gd name="connsiteY1-14" fmla="*/ 0 h 733425"/>
                  <a:gd name="connsiteX2-15" fmla="*/ 3352800 w 3352800"/>
                  <a:gd name="connsiteY2-16" fmla="*/ 733425 h 733425"/>
                  <a:gd name="connsiteX3-17" fmla="*/ 0 w 3352800"/>
                  <a:gd name="connsiteY3-18" fmla="*/ 733425 h 733425"/>
                  <a:gd name="connsiteX4-19" fmla="*/ 337820 w 3352800"/>
                  <a:gd name="connsiteY4-20" fmla="*/ 0 h 733425"/>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52800" h="733425">
                    <a:moveTo>
                      <a:pt x="337820" y="0"/>
                    </a:moveTo>
                    <a:lnTo>
                      <a:pt x="3023870" y="0"/>
                    </a:lnTo>
                    <a:lnTo>
                      <a:pt x="3352800" y="733425"/>
                    </a:lnTo>
                    <a:lnTo>
                      <a:pt x="0" y="733425"/>
                    </a:lnTo>
                    <a:lnTo>
                      <a:pt x="337820" y="0"/>
                    </a:lnTo>
                    <a:close/>
                  </a:path>
                </a:pathLst>
              </a:custGeom>
              <a:solidFill>
                <a:schemeClr val="tx2">
                  <a:lumMod val="25000"/>
                  <a:lumOff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0" dirty="0" err="1">
                  <a:solidFill>
                    <a:schemeClr val="tx1"/>
                  </a:solidFill>
                </a:endParaRPr>
              </a:p>
            </p:txBody>
          </p:sp>
          <p:sp>
            <p:nvSpPr>
              <p:cNvPr id="30" name="Freeform 12"/>
              <p:cNvSpPr/>
              <p:nvPr/>
            </p:nvSpPr>
            <p:spPr>
              <a:xfrm>
                <a:off x="3167509" y="4445360"/>
                <a:ext cx="2512269" cy="559227"/>
              </a:xfrm>
              <a:custGeom>
                <a:avLst/>
                <a:gdLst>
                  <a:gd name="connsiteX0" fmla="*/ 333375 w 4025900"/>
                  <a:gd name="connsiteY0" fmla="*/ 0 h 730250"/>
                  <a:gd name="connsiteX1" fmla="*/ 3689350 w 4025900"/>
                  <a:gd name="connsiteY1" fmla="*/ 0 h 730250"/>
                  <a:gd name="connsiteX2" fmla="*/ 4025900 w 4025900"/>
                  <a:gd name="connsiteY2" fmla="*/ 730250 h 730250"/>
                  <a:gd name="connsiteX3" fmla="*/ 0 w 4025900"/>
                  <a:gd name="connsiteY3" fmla="*/ 730250 h 730250"/>
                  <a:gd name="connsiteX4" fmla="*/ 333375 w 4025900"/>
                  <a:gd name="connsiteY4" fmla="*/ 0 h 73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5900" h="730250">
                    <a:moveTo>
                      <a:pt x="333375" y="0"/>
                    </a:moveTo>
                    <a:lnTo>
                      <a:pt x="3689350" y="0"/>
                    </a:lnTo>
                    <a:lnTo>
                      <a:pt x="4025900" y="730250"/>
                    </a:lnTo>
                    <a:lnTo>
                      <a:pt x="0" y="730250"/>
                    </a:lnTo>
                    <a:lnTo>
                      <a:pt x="333375" y="0"/>
                    </a:lnTo>
                    <a:close/>
                  </a:path>
                </a:pathLst>
              </a:custGeom>
              <a:solidFill>
                <a:srgbClr val="FE58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0" dirty="0" err="1">
                  <a:solidFill>
                    <a:schemeClr val="tx1"/>
                  </a:solidFill>
                </a:endParaRPr>
              </a:p>
            </p:txBody>
          </p:sp>
          <p:sp>
            <p:nvSpPr>
              <p:cNvPr id="31" name="Freeform 13"/>
              <p:cNvSpPr/>
              <p:nvPr/>
            </p:nvSpPr>
            <p:spPr>
              <a:xfrm>
                <a:off x="2959475" y="5004588"/>
                <a:ext cx="2927349" cy="558012"/>
              </a:xfrm>
              <a:custGeom>
                <a:avLst/>
                <a:gdLst>
                  <a:gd name="connsiteX0" fmla="*/ 328613 w 4691063"/>
                  <a:gd name="connsiteY0" fmla="*/ 0 h 728663"/>
                  <a:gd name="connsiteX1" fmla="*/ 4357688 w 4691063"/>
                  <a:gd name="connsiteY1" fmla="*/ 0 h 728663"/>
                  <a:gd name="connsiteX2" fmla="*/ 4691063 w 4691063"/>
                  <a:gd name="connsiteY2" fmla="*/ 728663 h 728663"/>
                  <a:gd name="connsiteX3" fmla="*/ 0 w 4691063"/>
                  <a:gd name="connsiteY3" fmla="*/ 728663 h 728663"/>
                  <a:gd name="connsiteX4" fmla="*/ 328613 w 4691063"/>
                  <a:gd name="connsiteY4" fmla="*/ 0 h 728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1063" h="728663">
                    <a:moveTo>
                      <a:pt x="328613" y="0"/>
                    </a:moveTo>
                    <a:lnTo>
                      <a:pt x="4357688" y="0"/>
                    </a:lnTo>
                    <a:lnTo>
                      <a:pt x="4691063" y="728663"/>
                    </a:lnTo>
                    <a:lnTo>
                      <a:pt x="0" y="728663"/>
                    </a:lnTo>
                    <a:lnTo>
                      <a:pt x="328613" y="0"/>
                    </a:lnTo>
                    <a:close/>
                  </a:path>
                </a:pathLst>
              </a:custGeom>
              <a:solidFill>
                <a:srgbClr val="FE58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0" dirty="0" err="1">
                  <a:solidFill>
                    <a:schemeClr val="tx1"/>
                  </a:solidFill>
                </a:endParaRPr>
              </a:p>
            </p:txBody>
          </p:sp>
          <p:cxnSp>
            <p:nvCxnSpPr>
              <p:cNvPr id="32" name="Straight Connector 15"/>
              <p:cNvCxnSpPr>
                <a:stCxn id="25" idx="0"/>
                <a:endCxn id="31" idx="3"/>
              </p:cNvCxnSpPr>
              <p:nvPr/>
            </p:nvCxnSpPr>
            <p:spPr>
              <a:xfrm flipH="1">
                <a:off x="2959475" y="1651155"/>
                <a:ext cx="1462188" cy="3911445"/>
              </a:xfrm>
              <a:prstGeom prst="line">
                <a:avLst/>
              </a:prstGeom>
              <a:solidFill>
                <a:schemeClr val="accent1"/>
              </a:solidFill>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16"/>
              <p:cNvCxnSpPr/>
              <p:nvPr/>
            </p:nvCxnSpPr>
            <p:spPr>
              <a:xfrm>
                <a:off x="4444294" y="1647637"/>
                <a:ext cx="1465161" cy="3911445"/>
              </a:xfrm>
              <a:prstGeom prst="line">
                <a:avLst/>
              </a:prstGeom>
              <a:solidFill>
                <a:schemeClr val="accent1"/>
              </a:solid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Rectangle 41"/>
              <p:cNvSpPr txBox="1"/>
              <p:nvPr/>
            </p:nvSpPr>
            <p:spPr>
              <a:xfrm>
                <a:off x="4270035" y="2043642"/>
                <a:ext cx="429761" cy="13215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nSpc>
                    <a:spcPct val="80000"/>
                  </a:lnSpc>
                </a:pPr>
                <a:r>
                  <a:rPr lang="zh-CN" altLang="en-US" sz="1430" b="1" dirty="0">
                    <a:solidFill>
                      <a:schemeClr val="bg1"/>
                    </a:solidFill>
                  </a:rPr>
                  <a:t>定位</a:t>
                </a:r>
                <a:endParaRPr lang="en-US" sz="1430" b="1" dirty="0">
                  <a:solidFill>
                    <a:schemeClr val="bg1"/>
                  </a:solidFill>
                </a:endParaRPr>
              </a:p>
            </p:txBody>
          </p:sp>
          <p:sp>
            <p:nvSpPr>
              <p:cNvPr id="35" name="Rectangle 41"/>
              <p:cNvSpPr txBox="1"/>
              <p:nvPr/>
            </p:nvSpPr>
            <p:spPr>
              <a:xfrm>
                <a:off x="3994438" y="2419195"/>
                <a:ext cx="899713" cy="16517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zh-CN" altLang="en-US" sz="1430" b="1" dirty="0">
                    <a:solidFill>
                      <a:schemeClr val="bg1"/>
                    </a:solidFill>
                  </a:rPr>
                  <a:t>商业模式</a:t>
                </a:r>
                <a:endParaRPr lang="en-US" sz="1430" b="1" dirty="0">
                  <a:solidFill>
                    <a:schemeClr val="bg1"/>
                  </a:solidFill>
                </a:endParaRPr>
              </a:p>
            </p:txBody>
          </p:sp>
          <p:sp>
            <p:nvSpPr>
              <p:cNvPr id="36" name="Rectangle 41"/>
              <p:cNvSpPr txBox="1"/>
              <p:nvPr/>
            </p:nvSpPr>
            <p:spPr>
              <a:xfrm>
                <a:off x="3944631" y="2863049"/>
                <a:ext cx="899713" cy="33034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zh-CN" altLang="en-US" sz="1430" b="1" dirty="0"/>
                  <a:t>差异化</a:t>
                </a:r>
                <a:br>
                  <a:rPr lang="en-US" altLang="zh-CN" sz="1430" b="1" dirty="0"/>
                </a:br>
                <a:r>
                  <a:rPr lang="zh-CN" altLang="en-US" sz="1430" b="1" dirty="0"/>
                  <a:t>竞争优势</a:t>
                </a:r>
                <a:endParaRPr lang="en-US" sz="1430" b="1" dirty="0"/>
              </a:p>
            </p:txBody>
          </p:sp>
          <p:sp>
            <p:nvSpPr>
              <p:cNvPr id="37" name="Rectangle 41"/>
              <p:cNvSpPr txBox="1"/>
              <p:nvPr/>
            </p:nvSpPr>
            <p:spPr>
              <a:xfrm>
                <a:off x="3922761" y="3518647"/>
                <a:ext cx="1029343" cy="16517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zh-CN" altLang="en-US" sz="1430" b="1" dirty="0"/>
                  <a:t>杀手锏</a:t>
                </a:r>
                <a:endParaRPr lang="en-US" sz="1430" b="1" dirty="0"/>
              </a:p>
            </p:txBody>
          </p:sp>
          <p:sp>
            <p:nvSpPr>
              <p:cNvPr id="38" name="Rectangle 41"/>
              <p:cNvSpPr txBox="1"/>
              <p:nvPr/>
            </p:nvSpPr>
            <p:spPr>
              <a:xfrm>
                <a:off x="3829976" y="4070253"/>
                <a:ext cx="1248766" cy="16517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zh-CN" altLang="en-US" sz="1430" b="1" dirty="0"/>
                  <a:t>盈利模式</a:t>
                </a:r>
                <a:endParaRPr lang="en-US" sz="1430" b="1" dirty="0"/>
              </a:p>
            </p:txBody>
          </p:sp>
          <p:sp>
            <p:nvSpPr>
              <p:cNvPr id="39" name="Rectangle 41"/>
              <p:cNvSpPr txBox="1"/>
              <p:nvPr/>
            </p:nvSpPr>
            <p:spPr>
              <a:xfrm>
                <a:off x="3829976" y="4630696"/>
                <a:ext cx="1248766" cy="16517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zh-CN" altLang="en-US" sz="1430" b="1" dirty="0">
                    <a:solidFill>
                      <a:schemeClr val="bg1"/>
                    </a:solidFill>
                  </a:rPr>
                  <a:t>组织架构</a:t>
                </a:r>
                <a:endParaRPr lang="en-US" sz="1430" b="1" dirty="0">
                  <a:solidFill>
                    <a:schemeClr val="bg1"/>
                  </a:solidFill>
                </a:endParaRPr>
              </a:p>
            </p:txBody>
          </p:sp>
          <p:sp>
            <p:nvSpPr>
              <p:cNvPr id="40" name="Rectangle 41"/>
              <p:cNvSpPr txBox="1"/>
              <p:nvPr/>
            </p:nvSpPr>
            <p:spPr>
              <a:xfrm>
                <a:off x="3829481" y="5189316"/>
                <a:ext cx="1248766" cy="16517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zh-CN" altLang="en-US" sz="1430" b="1" dirty="0">
                    <a:solidFill>
                      <a:schemeClr val="bg1"/>
                    </a:solidFill>
                  </a:rPr>
                  <a:t>激励机制</a:t>
                </a:r>
                <a:endParaRPr lang="en-US" sz="1430" b="1" dirty="0">
                  <a:solidFill>
                    <a:schemeClr val="bg1"/>
                  </a:solidFill>
                </a:endParaRPr>
              </a:p>
            </p:txBody>
          </p:sp>
        </p:grpSp>
        <p:grpSp>
          <p:nvGrpSpPr>
            <p:cNvPr id="8" name="Group 38"/>
            <p:cNvGrpSpPr/>
            <p:nvPr/>
          </p:nvGrpSpPr>
          <p:grpSpPr>
            <a:xfrm>
              <a:off x="1744555" y="967657"/>
              <a:ext cx="4067881" cy="1481905"/>
              <a:chOff x="635000" y="1306493"/>
              <a:chExt cx="3287761" cy="1452404"/>
            </a:xfrm>
          </p:grpSpPr>
          <p:cxnSp>
            <p:nvCxnSpPr>
              <p:cNvPr id="23" name="Straight Connector 35"/>
              <p:cNvCxnSpPr/>
              <p:nvPr/>
            </p:nvCxnSpPr>
            <p:spPr>
              <a:xfrm>
                <a:off x="635000" y="2758897"/>
                <a:ext cx="328776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4" name="Straight Connector 36"/>
              <p:cNvCxnSpPr/>
              <p:nvPr/>
            </p:nvCxnSpPr>
            <p:spPr>
              <a:xfrm>
                <a:off x="635000" y="1306493"/>
                <a:ext cx="0" cy="145240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 name="Group 41"/>
            <p:cNvGrpSpPr/>
            <p:nvPr/>
          </p:nvGrpSpPr>
          <p:grpSpPr>
            <a:xfrm flipH="1">
              <a:off x="6737691" y="2001236"/>
              <a:ext cx="3805313" cy="1976442"/>
              <a:chOff x="635000" y="1306493"/>
              <a:chExt cx="3287761" cy="1452404"/>
            </a:xfrm>
          </p:grpSpPr>
          <p:cxnSp>
            <p:nvCxnSpPr>
              <p:cNvPr id="21" name="Straight Connector 42"/>
              <p:cNvCxnSpPr/>
              <p:nvPr/>
            </p:nvCxnSpPr>
            <p:spPr>
              <a:xfrm>
                <a:off x="635000" y="2758897"/>
                <a:ext cx="3287761" cy="0"/>
              </a:xfrm>
              <a:prstGeom prst="line">
                <a:avLst/>
              </a:prstGeom>
              <a:ln w="19050">
                <a:solidFill>
                  <a:srgbClr val="FF976D"/>
                </a:solidFill>
              </a:ln>
            </p:spPr>
            <p:style>
              <a:lnRef idx="1">
                <a:schemeClr val="accent1"/>
              </a:lnRef>
              <a:fillRef idx="0">
                <a:schemeClr val="accent1"/>
              </a:fillRef>
              <a:effectRef idx="0">
                <a:schemeClr val="accent1"/>
              </a:effectRef>
              <a:fontRef idx="minor">
                <a:schemeClr val="tx1"/>
              </a:fontRef>
            </p:style>
          </p:cxnSp>
          <p:cxnSp>
            <p:nvCxnSpPr>
              <p:cNvPr id="22" name="Straight Connector 43"/>
              <p:cNvCxnSpPr/>
              <p:nvPr/>
            </p:nvCxnSpPr>
            <p:spPr>
              <a:xfrm>
                <a:off x="635000" y="1306493"/>
                <a:ext cx="0" cy="1452404"/>
              </a:xfrm>
              <a:prstGeom prst="line">
                <a:avLst/>
              </a:prstGeom>
              <a:ln w="19050">
                <a:solidFill>
                  <a:srgbClr val="FF976D"/>
                </a:solidFill>
              </a:ln>
            </p:spPr>
            <p:style>
              <a:lnRef idx="1">
                <a:schemeClr val="accent1"/>
              </a:lnRef>
              <a:fillRef idx="0">
                <a:schemeClr val="accent1"/>
              </a:fillRef>
              <a:effectRef idx="0">
                <a:schemeClr val="accent1"/>
              </a:effectRef>
              <a:fontRef idx="minor">
                <a:schemeClr val="tx1"/>
              </a:fontRef>
            </p:style>
          </p:cxnSp>
        </p:grpSp>
        <p:sp>
          <p:nvSpPr>
            <p:cNvPr id="10" name="Rectangle 40"/>
            <p:cNvSpPr txBox="1"/>
            <p:nvPr/>
          </p:nvSpPr>
          <p:spPr>
            <a:xfrm flipH="1">
              <a:off x="6663247" y="2502776"/>
              <a:ext cx="3878001" cy="659219"/>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r>
                <a:rPr lang="zh-CN" altLang="en-US" sz="1430" b="1" dirty="0"/>
                <a:t>服务好</a:t>
              </a:r>
              <a:r>
                <a:rPr lang="zh-CN" altLang="en-US" sz="1430" dirty="0" smtClean="0"/>
                <a:t>：</a:t>
              </a:r>
              <a:endParaRPr lang="en-US" altLang="zh-CN" sz="1430" dirty="0"/>
            </a:p>
            <a:p>
              <a:pPr lvl="1"/>
              <a:r>
                <a:rPr lang="zh-CN" altLang="en-US" sz="1430" b="1" dirty="0" smtClean="0"/>
                <a:t>产品</a:t>
              </a:r>
              <a:r>
                <a:rPr lang="zh-CN" altLang="en-US" sz="1430" b="1" dirty="0"/>
                <a:t>多</a:t>
              </a:r>
              <a:r>
                <a:rPr lang="zh-CN" altLang="en-US" sz="1430" dirty="0" smtClean="0"/>
                <a:t>：</a:t>
              </a:r>
              <a:endParaRPr lang="en-US" altLang="zh-CN" sz="1430" dirty="0" smtClean="0"/>
            </a:p>
            <a:p>
              <a:pPr lvl="1"/>
              <a:r>
                <a:rPr lang="zh-CN" altLang="en-US" sz="1430" b="1" dirty="0" smtClean="0"/>
                <a:t>流动性</a:t>
              </a:r>
              <a:r>
                <a:rPr lang="zh-CN" altLang="en-US" sz="1430" b="1" dirty="0"/>
                <a:t>好</a:t>
              </a:r>
              <a:r>
                <a:rPr lang="zh-CN" altLang="en-US" sz="1430" dirty="0" smtClean="0"/>
                <a:t>：</a:t>
              </a:r>
              <a:endParaRPr lang="en-US" sz="1430" dirty="0"/>
            </a:p>
          </p:txBody>
        </p:sp>
        <p:grpSp>
          <p:nvGrpSpPr>
            <p:cNvPr id="11" name="Group 45"/>
            <p:cNvGrpSpPr/>
            <p:nvPr/>
          </p:nvGrpSpPr>
          <p:grpSpPr>
            <a:xfrm flipV="1">
              <a:off x="1744555" y="3995747"/>
              <a:ext cx="3402274" cy="1283383"/>
              <a:chOff x="635000" y="1306493"/>
              <a:chExt cx="3287761" cy="1452404"/>
            </a:xfrm>
          </p:grpSpPr>
          <p:cxnSp>
            <p:nvCxnSpPr>
              <p:cNvPr id="19" name="Straight Connector 46"/>
              <p:cNvCxnSpPr/>
              <p:nvPr/>
            </p:nvCxnSpPr>
            <p:spPr>
              <a:xfrm>
                <a:off x="635000" y="2758897"/>
                <a:ext cx="3287761" cy="0"/>
              </a:xfrm>
              <a:prstGeom prst="line">
                <a:avLst/>
              </a:prstGeom>
              <a:ln w="19050">
                <a:solidFill>
                  <a:schemeClr val="tx2">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47"/>
              <p:cNvCxnSpPr/>
              <p:nvPr/>
            </p:nvCxnSpPr>
            <p:spPr>
              <a:xfrm>
                <a:off x="635000" y="1306493"/>
                <a:ext cx="0" cy="1452404"/>
              </a:xfrm>
              <a:prstGeom prst="line">
                <a:avLst/>
              </a:prstGeom>
              <a:ln w="19050">
                <a:solidFill>
                  <a:schemeClr val="tx2">
                    <a:lumMod val="25000"/>
                    <a:lumOff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48"/>
            <p:cNvGrpSpPr/>
            <p:nvPr/>
          </p:nvGrpSpPr>
          <p:grpSpPr>
            <a:xfrm flipH="1" flipV="1">
              <a:off x="6851711" y="4760227"/>
              <a:ext cx="3691296" cy="1481905"/>
              <a:chOff x="635000" y="1306493"/>
              <a:chExt cx="3287761" cy="1452404"/>
            </a:xfrm>
          </p:grpSpPr>
          <p:cxnSp>
            <p:nvCxnSpPr>
              <p:cNvPr id="17" name="Straight Connector 49"/>
              <p:cNvCxnSpPr/>
              <p:nvPr/>
            </p:nvCxnSpPr>
            <p:spPr>
              <a:xfrm>
                <a:off x="635000" y="2758897"/>
                <a:ext cx="3287761" cy="0"/>
              </a:xfrm>
              <a:prstGeom prst="line">
                <a:avLst/>
              </a:prstGeom>
              <a:ln w="19050">
                <a:solidFill>
                  <a:srgbClr val="FE5817"/>
                </a:solidFill>
              </a:ln>
            </p:spPr>
            <p:style>
              <a:lnRef idx="1">
                <a:schemeClr val="accent1"/>
              </a:lnRef>
              <a:fillRef idx="0">
                <a:schemeClr val="accent1"/>
              </a:fillRef>
              <a:effectRef idx="0">
                <a:schemeClr val="accent1"/>
              </a:effectRef>
              <a:fontRef idx="minor">
                <a:schemeClr val="tx1"/>
              </a:fontRef>
            </p:style>
          </p:cxnSp>
          <p:cxnSp>
            <p:nvCxnSpPr>
              <p:cNvPr id="18" name="Straight Connector 50"/>
              <p:cNvCxnSpPr/>
              <p:nvPr/>
            </p:nvCxnSpPr>
            <p:spPr>
              <a:xfrm>
                <a:off x="635000" y="1306493"/>
                <a:ext cx="0" cy="1452404"/>
              </a:xfrm>
              <a:prstGeom prst="line">
                <a:avLst/>
              </a:prstGeom>
              <a:ln w="19050">
                <a:solidFill>
                  <a:srgbClr val="FE5817"/>
                </a:solidFill>
              </a:ln>
            </p:spPr>
            <p:style>
              <a:lnRef idx="1">
                <a:schemeClr val="accent1"/>
              </a:lnRef>
              <a:fillRef idx="0">
                <a:schemeClr val="accent1"/>
              </a:fillRef>
              <a:effectRef idx="0">
                <a:schemeClr val="accent1"/>
              </a:effectRef>
              <a:fontRef idx="minor">
                <a:schemeClr val="tx1"/>
              </a:fontRef>
            </p:style>
          </p:cxnSp>
        </p:grpSp>
        <p:sp>
          <p:nvSpPr>
            <p:cNvPr id="13" name="Rectangle 40"/>
            <p:cNvSpPr txBox="1"/>
            <p:nvPr/>
          </p:nvSpPr>
          <p:spPr>
            <a:xfrm flipH="1">
              <a:off x="7420189" y="4975518"/>
              <a:ext cx="2991716" cy="659219"/>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r>
                <a:rPr lang="zh-CN" altLang="en-US" sz="1430" dirty="0"/>
                <a:t>条线化垂直</a:t>
              </a:r>
              <a:r>
                <a:rPr lang="zh-CN" altLang="en-US" sz="1430" dirty="0" smtClean="0"/>
                <a:t>管理、专业化分工</a:t>
              </a:r>
              <a:endParaRPr lang="en-US" altLang="zh-CN" sz="1430" dirty="0"/>
            </a:p>
            <a:p>
              <a:pPr lvl="1"/>
              <a:r>
                <a:rPr lang="zh-CN" altLang="en-US" sz="1430" dirty="0" smtClean="0"/>
                <a:t>全面风险管理</a:t>
              </a:r>
              <a:endParaRPr lang="en-US" altLang="zh-CN" sz="1430" dirty="0"/>
            </a:p>
            <a:p>
              <a:pPr lvl="1"/>
              <a:r>
                <a:rPr lang="zh-CN" altLang="en-US" sz="1430" dirty="0"/>
                <a:t>核心考核</a:t>
              </a:r>
              <a:r>
                <a:rPr lang="zh-CN" altLang="en-US" sz="1430" dirty="0" smtClean="0"/>
                <a:t>指标</a:t>
              </a:r>
              <a:endParaRPr lang="en-US" altLang="zh-CN" sz="1430" dirty="0"/>
            </a:p>
          </p:txBody>
        </p:sp>
        <p:sp>
          <p:nvSpPr>
            <p:cNvPr id="14" name="Rectangle 40"/>
            <p:cNvSpPr txBox="1"/>
            <p:nvPr/>
          </p:nvSpPr>
          <p:spPr>
            <a:xfrm flipH="1">
              <a:off x="1840122" y="4006887"/>
              <a:ext cx="2991716" cy="439479"/>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r>
                <a:rPr lang="zh-CN" altLang="en-US" sz="1430" b="1" dirty="0"/>
                <a:t>收入和利润来源</a:t>
              </a:r>
              <a:r>
                <a:rPr lang="zh-CN" altLang="en-US" sz="1430" dirty="0" smtClean="0"/>
                <a:t>：</a:t>
              </a:r>
              <a:endParaRPr lang="en-US" altLang="zh-CN" sz="1430" dirty="0" smtClean="0"/>
            </a:p>
            <a:p>
              <a:pPr lvl="1"/>
              <a:r>
                <a:rPr lang="zh-CN" altLang="en-US" sz="1430" b="1" dirty="0" smtClean="0"/>
                <a:t>主要</a:t>
              </a:r>
              <a:r>
                <a:rPr lang="zh-CN" altLang="en-US" sz="1430" b="1" dirty="0"/>
                <a:t>增长驱动因素</a:t>
              </a:r>
              <a:r>
                <a:rPr lang="zh-CN" altLang="en-US" sz="1430" dirty="0" smtClean="0"/>
                <a:t>：</a:t>
              </a:r>
              <a:endParaRPr lang="en-US" altLang="zh-CN" sz="1430" dirty="0"/>
            </a:p>
          </p:txBody>
        </p:sp>
        <p:sp>
          <p:nvSpPr>
            <p:cNvPr id="15" name="Rectangle 53"/>
            <p:cNvSpPr/>
            <p:nvPr/>
          </p:nvSpPr>
          <p:spPr>
            <a:xfrm>
              <a:off x="1744554" y="953937"/>
              <a:ext cx="4282885" cy="1502290"/>
            </a:xfrm>
            <a:prstGeom prst="rect">
              <a:avLst/>
            </a:prstGeom>
            <a:solidFill>
              <a:schemeClr val="accent4">
                <a:alpha val="10000"/>
              </a:schemeClr>
            </a:solidFill>
            <a:ln>
              <a:noFill/>
            </a:ln>
          </p:spPr>
          <p:txBody>
            <a:bodyPr wrap="square" lIns="73472" tIns="73472" rIns="73472" bIns="73472" anchor="ctr" anchorCtr="0">
              <a:noAutofit/>
            </a:bodyPr>
            <a:lstStyle/>
            <a:p>
              <a:endParaRPr lang="en-US" sz="1430" b="1" dirty="0"/>
            </a:p>
          </p:txBody>
        </p:sp>
        <p:sp>
          <p:nvSpPr>
            <p:cNvPr id="16" name="Rectangle 40"/>
            <p:cNvSpPr txBox="1"/>
            <p:nvPr/>
          </p:nvSpPr>
          <p:spPr>
            <a:xfrm>
              <a:off x="1840122" y="1029969"/>
              <a:ext cx="3686587" cy="659219"/>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1"/>
              <a:r>
                <a:rPr lang="zh-CN" altLang="en-US" sz="1430" b="1" dirty="0" smtClean="0"/>
                <a:t>战略定位</a:t>
              </a:r>
              <a:r>
                <a:rPr lang="zh-CN" altLang="en-US" sz="1430" dirty="0"/>
                <a:t>：成为中国</a:t>
              </a:r>
              <a:r>
                <a:rPr lang="zh-CN" altLang="en-US" sz="1430" dirty="0" smtClean="0"/>
                <a:t>最大</a:t>
              </a:r>
              <a:r>
                <a:rPr lang="en-US" altLang="zh-CN" sz="1430" dirty="0" err="1" smtClean="0"/>
                <a:t>xxxxxxx</a:t>
              </a:r>
              <a:endParaRPr lang="zh-CN" altLang="en-US" sz="1430" dirty="0"/>
            </a:p>
            <a:p>
              <a:pPr lvl="1"/>
              <a:r>
                <a:rPr lang="zh-CN" altLang="en-US" sz="1430" b="1" dirty="0" smtClean="0"/>
                <a:t>发展目标</a:t>
              </a:r>
              <a:r>
                <a:rPr lang="zh-CN" altLang="en-US" sz="1430" dirty="0"/>
                <a:t>：</a:t>
              </a:r>
              <a:r>
                <a:rPr lang="en-US" altLang="zh-CN" sz="1430" dirty="0"/>
                <a:t>2020</a:t>
              </a:r>
              <a:r>
                <a:rPr lang="zh-CN" altLang="en-US" sz="1430" dirty="0" smtClean="0"/>
                <a:t>年</a:t>
              </a:r>
              <a:r>
                <a:rPr lang="en-US" altLang="zh-CN" sz="1430" dirty="0" err="1" smtClean="0"/>
                <a:t>xxxxx</a:t>
              </a:r>
              <a:r>
                <a:rPr lang="zh-CN" altLang="en-US" sz="1430" dirty="0" smtClean="0"/>
                <a:t>亿</a:t>
              </a:r>
              <a:r>
                <a:rPr lang="zh-CN" altLang="en-US" sz="1430" dirty="0"/>
                <a:t>，净</a:t>
              </a:r>
              <a:r>
                <a:rPr lang="zh-CN" altLang="en-US" sz="1430" dirty="0" smtClean="0"/>
                <a:t>利润</a:t>
              </a:r>
              <a:r>
                <a:rPr lang="en-US" altLang="zh-CN" sz="1430" dirty="0" smtClean="0"/>
                <a:t>xxx</a:t>
              </a:r>
              <a:r>
                <a:rPr lang="zh-CN" altLang="en-US" sz="1430" dirty="0" smtClean="0"/>
                <a:t>亿，客户</a:t>
              </a:r>
              <a:r>
                <a:rPr lang="en-US" altLang="zh-CN" sz="1430" dirty="0" smtClean="0"/>
                <a:t>xx</a:t>
              </a:r>
              <a:r>
                <a:rPr lang="zh-CN" altLang="en-US" sz="1430" dirty="0" smtClean="0"/>
                <a:t>万</a:t>
              </a:r>
              <a:r>
                <a:rPr lang="zh-CN" altLang="en-US" sz="1430" dirty="0"/>
                <a:t>；</a:t>
              </a:r>
              <a:endParaRPr lang="en-US" altLang="zh-CN" sz="1430" dirty="0"/>
            </a:p>
            <a:p>
              <a:pPr lvl="1"/>
              <a:r>
                <a:rPr lang="zh-CN" altLang="en-US" sz="1430" b="1" dirty="0"/>
                <a:t>商业模式</a:t>
              </a:r>
              <a:r>
                <a:rPr lang="zh-CN" altLang="en-US" sz="1430" dirty="0" smtClean="0"/>
                <a:t>：</a:t>
              </a:r>
              <a:endParaRPr lang="zh-CN" altLang="en-US" sz="1430" dirty="0"/>
            </a:p>
          </p:txBody>
        </p:sp>
      </p:grpSp>
      <p:sp>
        <p:nvSpPr>
          <p:cNvPr id="4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战略金字塔</a:t>
            </a:r>
            <a:endParaRPr lang="zh-CN" altLang="en-US" sz="2400" dirty="0">
              <a:solidFill>
                <a:prstClr val="black"/>
              </a:solidFill>
              <a:latin typeface="华文楷体" panose="02010600040101010101" charset="-122"/>
            </a:endParaRPr>
          </a:p>
        </p:txBody>
      </p:sp>
      <p:pic>
        <p:nvPicPr>
          <p:cNvPr id="42" name="图片 4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3" name="Rectangle 3"/>
          <p:cNvSpPr>
            <a:spLocks noChangeArrowheads="1"/>
          </p:cNvSpPr>
          <p:nvPr/>
        </p:nvSpPr>
        <p:spPr bwMode="auto">
          <a:xfrm>
            <a:off x="3338384" y="2761080"/>
            <a:ext cx="1567546" cy="2606170"/>
          </a:xfrm>
          <a:prstGeom prst="rect">
            <a:avLst/>
          </a:prstGeom>
          <a:solidFill>
            <a:srgbClr val="FFC3AB"/>
          </a:solidFill>
          <a:ln w="9525">
            <a:solidFill>
              <a:schemeClr val="bg1"/>
            </a:solidFill>
            <a:miter lim="800000"/>
          </a:ln>
          <a:effectLst>
            <a:outerShdw dist="35921" dir="2700000" algn="ctr" rotWithShape="0">
              <a:schemeClr val="bg2"/>
            </a:outerShdw>
          </a:effectLst>
        </p:spPr>
        <p:txBody>
          <a:bodyPr wrap="none" anchor="ctr">
            <a:noAutofit/>
          </a:bodyPr>
          <a:lstStyle/>
          <a:p>
            <a:pPr algn="ctr" eaLnBrk="0" hangingPunct="0"/>
            <a:endParaRPr lang="en-US" sz="1835"/>
          </a:p>
        </p:txBody>
      </p:sp>
      <p:sp>
        <p:nvSpPr>
          <p:cNvPr id="148484" name="Rectangle 4"/>
          <p:cNvSpPr>
            <a:spLocks noChangeArrowheads="1"/>
          </p:cNvSpPr>
          <p:nvPr/>
        </p:nvSpPr>
        <p:spPr bwMode="auto">
          <a:xfrm>
            <a:off x="5329234" y="2761080"/>
            <a:ext cx="1567546" cy="2606170"/>
          </a:xfrm>
          <a:prstGeom prst="rect">
            <a:avLst/>
          </a:prstGeom>
          <a:solidFill>
            <a:srgbClr val="FFC3AB"/>
          </a:solidFill>
          <a:ln w="9525">
            <a:solidFill>
              <a:schemeClr val="bg1"/>
            </a:solidFill>
            <a:miter lim="800000"/>
          </a:ln>
          <a:effectLst>
            <a:outerShdw dist="35921" dir="2700000" algn="ctr" rotWithShape="0">
              <a:schemeClr val="bg2"/>
            </a:outerShdw>
          </a:effectLst>
        </p:spPr>
        <p:txBody>
          <a:bodyPr wrap="none" anchor="ctr">
            <a:noAutofit/>
          </a:bodyPr>
          <a:lstStyle/>
          <a:p>
            <a:pPr algn="ctr" eaLnBrk="0" hangingPunct="0"/>
            <a:endParaRPr lang="en-US" sz="1835"/>
          </a:p>
        </p:txBody>
      </p:sp>
      <p:sp>
        <p:nvSpPr>
          <p:cNvPr id="148485" name="Rectangle 5"/>
          <p:cNvSpPr>
            <a:spLocks noChangeArrowheads="1"/>
          </p:cNvSpPr>
          <p:nvPr/>
        </p:nvSpPr>
        <p:spPr bwMode="auto">
          <a:xfrm>
            <a:off x="7320084" y="2761080"/>
            <a:ext cx="1567546" cy="2606170"/>
          </a:xfrm>
          <a:prstGeom prst="rect">
            <a:avLst/>
          </a:prstGeom>
          <a:solidFill>
            <a:srgbClr val="FFC3AB"/>
          </a:solidFill>
          <a:ln w="9525">
            <a:solidFill>
              <a:schemeClr val="bg1"/>
            </a:solidFill>
            <a:miter lim="800000"/>
          </a:ln>
          <a:effectLst>
            <a:outerShdw dist="35921" dir="2700000" algn="ctr" rotWithShape="0">
              <a:schemeClr val="bg2"/>
            </a:outerShdw>
          </a:effectLst>
        </p:spPr>
        <p:txBody>
          <a:bodyPr wrap="none" anchor="ctr">
            <a:noAutofit/>
          </a:bodyPr>
          <a:lstStyle/>
          <a:p>
            <a:pPr algn="ctr" eaLnBrk="0" hangingPunct="0"/>
            <a:endParaRPr lang="en-US" sz="1835"/>
          </a:p>
        </p:txBody>
      </p:sp>
      <p:sp>
        <p:nvSpPr>
          <p:cNvPr id="148497" name="Rectangle 17"/>
          <p:cNvSpPr>
            <a:spLocks noGrp="1" noChangeArrowheads="1"/>
          </p:cNvSpPr>
          <p:nvPr>
            <p:ph idx="1"/>
          </p:nvPr>
        </p:nvSpPr>
        <p:spPr>
          <a:xfrm>
            <a:off x="4294033" y="1737401"/>
            <a:ext cx="3634708" cy="249441"/>
          </a:xfrm>
          <a:noFill/>
        </p:spPr>
        <p:txBody>
          <a:bodyPr>
            <a:noAutofit/>
          </a:bodyPr>
          <a:lstStyle/>
          <a:p>
            <a:pPr algn="ctr"/>
            <a:r>
              <a:rPr lang="zh-CN" altLang="en-US" b="1" dirty="0"/>
              <a:t>愿</a:t>
            </a:r>
            <a:r>
              <a:rPr lang="zh-CN" altLang="en-US" b="1" dirty="0" smtClean="0"/>
              <a:t>景及目标</a:t>
            </a:r>
            <a:endParaRPr lang="en-US" altLang="ko-KR" b="1" dirty="0"/>
          </a:p>
        </p:txBody>
      </p:sp>
      <p:sp>
        <p:nvSpPr>
          <p:cNvPr id="148492" name="Rectangle 12"/>
          <p:cNvSpPr>
            <a:spLocks noChangeArrowheads="1"/>
          </p:cNvSpPr>
          <p:nvPr/>
        </p:nvSpPr>
        <p:spPr bwMode="auto">
          <a:xfrm>
            <a:off x="3113240" y="2395017"/>
            <a:ext cx="5997916" cy="385499"/>
          </a:xfrm>
          <a:prstGeom prst="rect">
            <a:avLst/>
          </a:prstGeom>
          <a:solidFill>
            <a:srgbClr val="FFC3AB"/>
          </a:solidFill>
          <a:ln w="9525">
            <a:solidFill>
              <a:schemeClr val="bg1"/>
            </a:solidFill>
            <a:miter lim="800000"/>
          </a:ln>
          <a:effectLst>
            <a:outerShdw dist="35921" dir="2700000" algn="ctr" rotWithShape="0">
              <a:schemeClr val="bg2"/>
            </a:outerShdw>
          </a:effectLst>
        </p:spPr>
        <p:txBody>
          <a:bodyPr wrap="none" anchor="ctr">
            <a:noAutofit/>
          </a:bodyPr>
          <a:lstStyle/>
          <a:p>
            <a:pPr algn="ctr"/>
            <a:r>
              <a:rPr lang="zh-CN" altLang="en-US" sz="1835" b="1" dirty="0"/>
              <a:t>整体战略</a:t>
            </a:r>
            <a:endParaRPr lang="en-US" sz="1835" b="1" dirty="0"/>
          </a:p>
        </p:txBody>
      </p:sp>
      <p:sp>
        <p:nvSpPr>
          <p:cNvPr id="148493" name="AutoShape 13"/>
          <p:cNvSpPr>
            <a:spLocks noChangeArrowheads="1"/>
          </p:cNvSpPr>
          <p:nvPr/>
        </p:nvSpPr>
        <p:spPr bwMode="auto">
          <a:xfrm>
            <a:off x="2460482" y="1266056"/>
            <a:ext cx="7301810" cy="1128962"/>
          </a:xfrm>
          <a:prstGeom prst="triangle">
            <a:avLst>
              <a:gd name="adj" fmla="val 50000"/>
            </a:avLst>
          </a:prstGeom>
          <a:solidFill>
            <a:srgbClr val="FFC3AB"/>
          </a:solidFill>
          <a:ln w="9525">
            <a:solidFill>
              <a:schemeClr val="bg1"/>
            </a:solidFill>
            <a:miter lim="800000"/>
          </a:ln>
          <a:effectLst>
            <a:outerShdw dist="35921" dir="2700000" algn="ctr" rotWithShape="0">
              <a:schemeClr val="bg2"/>
            </a:outerShdw>
          </a:effectLst>
        </p:spPr>
        <p:txBody>
          <a:bodyPr wrap="none" anchor="ctr">
            <a:noAutofit/>
          </a:bodyPr>
          <a:lstStyle/>
          <a:p>
            <a:pPr algn="ctr" eaLnBrk="0" hangingPunct="0"/>
            <a:endParaRPr lang="en-US" sz="1835" b="1"/>
          </a:p>
        </p:txBody>
      </p:sp>
      <p:grpSp>
        <p:nvGrpSpPr>
          <p:cNvPr id="148494" name="Group 14"/>
          <p:cNvGrpSpPr/>
          <p:nvPr/>
        </p:nvGrpSpPr>
        <p:grpSpPr bwMode="auto">
          <a:xfrm>
            <a:off x="2630556" y="5334856"/>
            <a:ext cx="6961664" cy="793675"/>
            <a:chOff x="683" y="3191"/>
            <a:chExt cx="4298" cy="579"/>
          </a:xfrm>
          <a:solidFill>
            <a:srgbClr val="FFC3AB"/>
          </a:solidFill>
        </p:grpSpPr>
        <p:sp>
          <p:nvSpPr>
            <p:cNvPr id="148495" name="Rectangle 15"/>
            <p:cNvSpPr>
              <a:spLocks noChangeArrowheads="1"/>
            </p:cNvSpPr>
            <p:nvPr/>
          </p:nvSpPr>
          <p:spPr bwMode="auto">
            <a:xfrm>
              <a:off x="749" y="3191"/>
              <a:ext cx="4168" cy="291"/>
            </a:xfrm>
            <a:prstGeom prst="rect">
              <a:avLst/>
            </a:prstGeom>
            <a:grpFill/>
            <a:ln w="9525">
              <a:solidFill>
                <a:schemeClr val="bg1"/>
              </a:solidFill>
              <a:miter lim="800000"/>
            </a:ln>
            <a:effectLst>
              <a:outerShdw dist="35921" dir="2700000" algn="ctr" rotWithShape="0">
                <a:schemeClr val="bg2"/>
              </a:outerShdw>
            </a:effectLst>
          </p:spPr>
          <p:txBody>
            <a:bodyPr wrap="none" anchor="ctr">
              <a:noAutofit/>
            </a:bodyPr>
            <a:lstStyle/>
            <a:p>
              <a:endParaRPr lang="en-US" sz="1835"/>
            </a:p>
          </p:txBody>
        </p:sp>
        <p:sp>
          <p:nvSpPr>
            <p:cNvPr id="148496" name="Rectangle 16"/>
            <p:cNvSpPr>
              <a:spLocks noChangeArrowheads="1"/>
            </p:cNvSpPr>
            <p:nvPr/>
          </p:nvSpPr>
          <p:spPr bwMode="auto">
            <a:xfrm>
              <a:off x="683" y="3479"/>
              <a:ext cx="4298" cy="291"/>
            </a:xfrm>
            <a:prstGeom prst="rect">
              <a:avLst/>
            </a:prstGeom>
            <a:grpFill/>
            <a:ln w="9525">
              <a:solidFill>
                <a:schemeClr val="bg1"/>
              </a:solidFill>
              <a:miter lim="800000"/>
            </a:ln>
            <a:effectLst>
              <a:outerShdw dist="35921" dir="2700000" algn="ctr" rotWithShape="0">
                <a:schemeClr val="bg2"/>
              </a:outerShdw>
            </a:effectLst>
          </p:spPr>
          <p:txBody>
            <a:bodyPr wrap="none" anchor="ctr">
              <a:noAutofit/>
            </a:bodyPr>
            <a:lstStyle/>
            <a:p>
              <a:endParaRPr lang="en-US" sz="1835"/>
            </a:p>
          </p:txBody>
        </p:sp>
      </p:grpSp>
      <p:sp>
        <p:nvSpPr>
          <p:cNvPr id="8" name="Rectangle 8"/>
          <p:cNvSpPr txBox="1"/>
          <p:nvPr/>
        </p:nvSpPr>
        <p:spPr>
          <a:xfrm>
            <a:off x="3444211" y="3021860"/>
            <a:ext cx="1355894"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algn="ctr"/>
            <a:r>
              <a:rPr lang="zh-CN" altLang="en-US" sz="1835" b="1" dirty="0"/>
              <a:t>部门</a:t>
            </a:r>
            <a:r>
              <a:rPr lang="en-US" altLang="zh-CN" sz="1835" b="1" dirty="0"/>
              <a:t>/</a:t>
            </a:r>
            <a:r>
              <a:rPr lang="zh-CN" altLang="en-US" sz="1835" b="1" dirty="0"/>
              <a:t>业务</a:t>
            </a:r>
            <a:r>
              <a:rPr lang="en-US" altLang="zh-CN" sz="1835" b="1" dirty="0"/>
              <a:t>/</a:t>
            </a:r>
            <a:endParaRPr lang="en-US" altLang="zh-CN" sz="1835" b="1" dirty="0"/>
          </a:p>
          <a:p>
            <a:pPr algn="ctr"/>
            <a:r>
              <a:rPr lang="zh-CN" altLang="en-US" sz="1835" b="1" dirty="0"/>
              <a:t>产品关键策略</a:t>
            </a:r>
            <a:endParaRPr lang="en-US" sz="1835" b="1" dirty="0"/>
          </a:p>
        </p:txBody>
      </p:sp>
      <p:sp>
        <p:nvSpPr>
          <p:cNvPr id="17" name="Rectangle 8"/>
          <p:cNvSpPr txBox="1"/>
          <p:nvPr/>
        </p:nvSpPr>
        <p:spPr>
          <a:xfrm>
            <a:off x="5435061" y="3048172"/>
            <a:ext cx="1355894"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algn="ctr"/>
            <a:r>
              <a:rPr lang="zh-CN" altLang="en-US" sz="1835" b="1" dirty="0"/>
              <a:t>部门</a:t>
            </a:r>
            <a:r>
              <a:rPr lang="en-US" altLang="zh-CN" sz="1835" b="1" dirty="0"/>
              <a:t>/</a:t>
            </a:r>
            <a:r>
              <a:rPr lang="zh-CN" altLang="en-US" sz="1835" b="1" dirty="0"/>
              <a:t>业务</a:t>
            </a:r>
            <a:r>
              <a:rPr lang="en-US" altLang="zh-CN" sz="1835" b="1" dirty="0"/>
              <a:t>/</a:t>
            </a:r>
            <a:endParaRPr lang="en-US" altLang="zh-CN" sz="1835" b="1" dirty="0"/>
          </a:p>
          <a:p>
            <a:pPr algn="ctr"/>
            <a:r>
              <a:rPr lang="zh-CN" altLang="en-US" sz="1835" b="1" dirty="0"/>
              <a:t>产品关键策略</a:t>
            </a:r>
            <a:endParaRPr lang="en-US" sz="1835" b="1" dirty="0"/>
          </a:p>
        </p:txBody>
      </p:sp>
      <p:sp>
        <p:nvSpPr>
          <p:cNvPr id="18" name="Rectangle 8"/>
          <p:cNvSpPr txBox="1"/>
          <p:nvPr/>
        </p:nvSpPr>
        <p:spPr>
          <a:xfrm>
            <a:off x="7425910" y="3043954"/>
            <a:ext cx="1355894"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algn="ctr"/>
            <a:r>
              <a:rPr lang="zh-CN" altLang="en-US" sz="1835" b="1" dirty="0"/>
              <a:t>部门</a:t>
            </a:r>
            <a:r>
              <a:rPr lang="en-US" altLang="zh-CN" sz="1835" b="1" dirty="0"/>
              <a:t>/</a:t>
            </a:r>
            <a:r>
              <a:rPr lang="zh-CN" altLang="en-US" sz="1835" b="1" dirty="0"/>
              <a:t>业务</a:t>
            </a:r>
            <a:r>
              <a:rPr lang="en-US" altLang="zh-CN" sz="1835" b="1" dirty="0"/>
              <a:t>/</a:t>
            </a:r>
            <a:endParaRPr lang="en-US" altLang="zh-CN" sz="1835" b="1" dirty="0"/>
          </a:p>
          <a:p>
            <a:pPr algn="ctr"/>
            <a:r>
              <a:rPr lang="zh-CN" altLang="en-US" sz="1835" b="1" dirty="0"/>
              <a:t>产品关键策略</a:t>
            </a:r>
            <a:endParaRPr lang="en-US" sz="1835" b="1" dirty="0"/>
          </a:p>
        </p:txBody>
      </p:sp>
      <p:sp>
        <p:nvSpPr>
          <p:cNvPr id="19" name="Oval 83"/>
          <p:cNvSpPr>
            <a:spLocks noChangeArrowheads="1"/>
          </p:cNvSpPr>
          <p:nvPr>
            <p:custDataLst>
              <p:tags r:id="rId1"/>
            </p:custDataLst>
          </p:nvPr>
        </p:nvSpPr>
        <p:spPr bwMode="gray">
          <a:xfrm>
            <a:off x="3236477" y="2805508"/>
            <a:ext cx="251903" cy="251903"/>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p>
            <a:pPr algn="ctr" defTabSz="895350">
              <a:buClr>
                <a:schemeClr val="tx2"/>
              </a:buClr>
            </a:pPr>
            <a:r>
              <a:rPr lang="en-US" sz="1835" b="1" dirty="0">
                <a:solidFill>
                  <a:schemeClr val="bg1"/>
                </a:solidFill>
              </a:rPr>
              <a:t>1</a:t>
            </a:r>
            <a:endParaRPr lang="en-US" sz="1835" b="1" dirty="0">
              <a:solidFill>
                <a:schemeClr val="bg1"/>
              </a:solidFill>
            </a:endParaRPr>
          </a:p>
        </p:txBody>
      </p:sp>
      <p:sp>
        <p:nvSpPr>
          <p:cNvPr id="20" name="Oval 83"/>
          <p:cNvSpPr>
            <a:spLocks noChangeArrowheads="1"/>
          </p:cNvSpPr>
          <p:nvPr>
            <p:custDataLst>
              <p:tags r:id="rId2"/>
            </p:custDataLst>
          </p:nvPr>
        </p:nvSpPr>
        <p:spPr bwMode="gray">
          <a:xfrm>
            <a:off x="5243057" y="2805508"/>
            <a:ext cx="251903" cy="251903"/>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p>
            <a:pPr algn="ctr" defTabSz="895350">
              <a:buClr>
                <a:schemeClr val="tx2"/>
              </a:buClr>
            </a:pPr>
            <a:r>
              <a:rPr lang="en-US" sz="1835" b="1" dirty="0">
                <a:solidFill>
                  <a:schemeClr val="bg1"/>
                </a:solidFill>
              </a:rPr>
              <a:t>2</a:t>
            </a:r>
            <a:endParaRPr lang="en-US" sz="1835" b="1" dirty="0">
              <a:solidFill>
                <a:schemeClr val="bg1"/>
              </a:solidFill>
            </a:endParaRPr>
          </a:p>
        </p:txBody>
      </p:sp>
      <p:sp>
        <p:nvSpPr>
          <p:cNvPr id="21" name="Oval 83"/>
          <p:cNvSpPr>
            <a:spLocks noChangeArrowheads="1"/>
          </p:cNvSpPr>
          <p:nvPr>
            <p:custDataLst>
              <p:tags r:id="rId3"/>
            </p:custDataLst>
          </p:nvPr>
        </p:nvSpPr>
        <p:spPr bwMode="gray">
          <a:xfrm>
            <a:off x="7244569" y="2805508"/>
            <a:ext cx="251903" cy="251903"/>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p>
            <a:pPr algn="ctr" defTabSz="895350">
              <a:buClr>
                <a:schemeClr val="tx2"/>
              </a:buClr>
            </a:pPr>
            <a:r>
              <a:rPr lang="en-US" sz="1835" b="1" dirty="0">
                <a:solidFill>
                  <a:schemeClr val="bg1"/>
                </a:solidFill>
              </a:rPr>
              <a:t>3</a:t>
            </a:r>
            <a:endParaRPr lang="en-US" sz="1835" b="1" dirty="0">
              <a:solidFill>
                <a:schemeClr val="bg1"/>
              </a:solidFill>
            </a:endParaRPr>
          </a:p>
        </p:txBody>
      </p:sp>
      <p:sp>
        <p:nvSpPr>
          <p:cNvPr id="148498" name="Rectangle 18"/>
          <p:cNvSpPr>
            <a:spLocks noGrp="1" noChangeArrowheads="1"/>
          </p:cNvSpPr>
          <p:nvPr>
            <p:ph type="body" idx="4294967295"/>
          </p:nvPr>
        </p:nvSpPr>
        <p:spPr>
          <a:xfrm>
            <a:off x="2918924" y="5597562"/>
            <a:ext cx="6384925" cy="249237"/>
          </a:xfrm>
          <a:noFill/>
        </p:spPr>
        <p:txBody>
          <a:bodyPr>
            <a:noAutofit/>
          </a:bodyPr>
          <a:lstStyle/>
          <a:p>
            <a:pPr algn="ctr"/>
            <a:r>
              <a:rPr lang="zh-CN" altLang="en-US" b="1" dirty="0" smtClean="0"/>
              <a:t>中后台支持、</a:t>
            </a:r>
            <a:r>
              <a:rPr lang="en-US" altLang="ko-KR" b="1" dirty="0" smtClean="0"/>
              <a:t> </a:t>
            </a:r>
            <a:r>
              <a:rPr lang="zh-CN" altLang="en-US" b="1" dirty="0" smtClean="0"/>
              <a:t>保障战略</a:t>
            </a:r>
            <a:endParaRPr lang="en-US" altLang="ko-KR" b="1" dirty="0"/>
          </a:p>
        </p:txBody>
      </p:sp>
      <p:sp>
        <p:nvSpPr>
          <p:cNvPr id="30" name="标题 2"/>
          <p:cNvSpPr txBox="1"/>
          <p:nvPr/>
        </p:nvSpPr>
        <p:spPr>
          <a:xfrm>
            <a:off x="172754" y="358675"/>
            <a:ext cx="11275656"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 </a:t>
            </a:r>
            <a:r>
              <a:rPr lang="zh-CN" altLang="en-US" sz="2400" dirty="0" smtClean="0">
                <a:solidFill>
                  <a:prstClr val="black"/>
                </a:solidFill>
                <a:latin typeface="华文楷体" panose="02010600040101010101" charset="-122"/>
              </a:rPr>
              <a:t>     </a:t>
            </a:r>
            <a:endParaRPr lang="zh-CN" altLang="en-US" sz="2400" dirty="0">
              <a:solidFill>
                <a:prstClr val="black"/>
              </a:solidFill>
              <a:latin typeface="华文楷体" panose="02010600040101010101" charset="-122"/>
            </a:endParaRPr>
          </a:p>
        </p:txBody>
      </p:sp>
      <p:sp>
        <p:nvSpPr>
          <p:cNvPr id="22" name="Oval 83"/>
          <p:cNvSpPr>
            <a:spLocks noChangeArrowheads="1"/>
          </p:cNvSpPr>
          <p:nvPr>
            <p:custDataLst>
              <p:tags r:id="rId4"/>
            </p:custDataLst>
          </p:nvPr>
        </p:nvSpPr>
        <p:spPr bwMode="gray">
          <a:xfrm>
            <a:off x="4714065" y="5594896"/>
            <a:ext cx="251903" cy="251903"/>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p>
            <a:pPr algn="ctr" defTabSz="895350">
              <a:buClr>
                <a:schemeClr val="tx2"/>
              </a:buClr>
            </a:pPr>
            <a:r>
              <a:rPr lang="en-US" sz="1835" b="1" dirty="0">
                <a:solidFill>
                  <a:schemeClr val="bg1"/>
                </a:solidFill>
              </a:rPr>
              <a:t>4</a:t>
            </a:r>
            <a:endParaRPr lang="en-US" sz="1835" b="1" dirty="0">
              <a:solidFill>
                <a:schemeClr val="bg1"/>
              </a:solidFill>
            </a:endParaRPr>
          </a:p>
        </p:txBody>
      </p:sp>
      <p:pic>
        <p:nvPicPr>
          <p:cNvPr id="24" name="图片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2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a:t>战略框架：包含战略愿景、目标、整体战略、各业务模块策略与支持保   障</a:t>
            </a:r>
            <a:r>
              <a:rPr lang="zh-CN" altLang="en-US" sz="2400" dirty="0" smtClean="0"/>
              <a:t>战略</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战略框架</a:t>
            </a:r>
            <a:endParaRPr lang="zh-CN" altLang="en-US" sz="2400" dirty="0">
              <a:solidFill>
                <a:prstClr val="black"/>
              </a:solidFill>
              <a:latin typeface="华文楷体" panose="02010600040101010101" charset="-122"/>
            </a:endParaRPr>
          </a:p>
        </p:txBody>
      </p:sp>
      <p:sp>
        <p:nvSpPr>
          <p:cNvPr id="3" name="矩形 2"/>
          <p:cNvSpPr/>
          <p:nvPr/>
        </p:nvSpPr>
        <p:spPr>
          <a:xfrm>
            <a:off x="6751787" y="3517050"/>
            <a:ext cx="2356709" cy="379827"/>
          </a:xfrm>
          <a:prstGeom prst="rect">
            <a:avLst/>
          </a:prstGeom>
          <a:noFill/>
        </p:spPr>
        <p:txBody>
          <a:bodyPr wrap="square" rtlCol="0" anchor="t" anchorCtr="0">
            <a:noAutofit/>
          </a:bodyPr>
          <a:lstStyle/>
          <a:p>
            <a:pPr algn="ctr"/>
            <a:r>
              <a:rPr lang="zh-CN" altLang="en-US" b="1" dirty="0">
                <a:cs typeface="+mn-ea"/>
                <a:sym typeface="+mn-lt"/>
              </a:rPr>
              <a:t>云</a:t>
            </a:r>
            <a:r>
              <a:rPr lang="zh-TW" altLang="en-US" b="1" dirty="0">
                <a:cs typeface="+mn-ea"/>
                <a:sym typeface="+mn-lt"/>
              </a:rPr>
              <a:t>计算</a:t>
            </a:r>
            <a:endParaRPr lang="zh-CN" altLang="en-US" b="1" dirty="0">
              <a:cs typeface="+mn-ea"/>
              <a:sym typeface="+mn-lt"/>
            </a:endParaRPr>
          </a:p>
        </p:txBody>
      </p:sp>
      <p:sp>
        <p:nvSpPr>
          <p:cNvPr id="4" name="矩形 3"/>
          <p:cNvSpPr/>
          <p:nvPr/>
        </p:nvSpPr>
        <p:spPr>
          <a:xfrm>
            <a:off x="9329370" y="3517050"/>
            <a:ext cx="2356709" cy="379827"/>
          </a:xfrm>
          <a:prstGeom prst="rect">
            <a:avLst/>
          </a:prstGeom>
          <a:noFill/>
        </p:spPr>
        <p:txBody>
          <a:bodyPr wrap="square" rtlCol="0" anchor="t" anchorCtr="0">
            <a:noAutofit/>
          </a:bodyPr>
          <a:lstStyle/>
          <a:p>
            <a:pPr algn="ctr" latinLnBrk="1">
              <a:defRPr/>
            </a:pPr>
            <a:r>
              <a:rPr lang="zh-CN" altLang="en-US" b="1" kern="0" dirty="0" smtClean="0">
                <a:cs typeface="+mn-ea"/>
                <a:sym typeface="+mn-lt"/>
              </a:rPr>
              <a:t>区块链</a:t>
            </a:r>
            <a:endParaRPr lang="en-US" altLang="zh-CN" b="1" kern="0" dirty="0" smtClean="0">
              <a:cs typeface="+mn-ea"/>
              <a:sym typeface="+mn-lt"/>
            </a:endParaRPr>
          </a:p>
          <a:p>
            <a:pPr algn="ctr" latinLnBrk="1">
              <a:defRPr/>
            </a:pPr>
            <a:endParaRPr lang="en-US" altLang="zh-CN" sz="1400" b="1" kern="0" dirty="0" smtClean="0">
              <a:cs typeface="+mn-ea"/>
              <a:sym typeface="+mn-lt"/>
            </a:endParaRPr>
          </a:p>
          <a:p>
            <a:pPr algn="ctr" latinLnBrk="1">
              <a:defRPr/>
            </a:pPr>
            <a:endParaRPr lang="en-US" altLang="zh-CN" sz="1400" b="1" kern="0" dirty="0" smtClean="0">
              <a:cs typeface="+mn-ea"/>
              <a:sym typeface="+mn-lt"/>
            </a:endParaRPr>
          </a:p>
          <a:p>
            <a:pPr algn="ctr" latinLnBrk="1">
              <a:defRPr/>
            </a:pPr>
            <a:endParaRPr lang="en-US" altLang="zh-CN" sz="1400" b="1" kern="0" dirty="0" smtClean="0">
              <a:cs typeface="+mn-ea"/>
              <a:sym typeface="+mn-lt"/>
            </a:endParaRPr>
          </a:p>
          <a:p>
            <a:pPr algn="ctr" latinLnBrk="1">
              <a:defRPr/>
            </a:pPr>
            <a:endParaRPr lang="zh-CN" altLang="en-US" sz="1400" b="1" kern="0" dirty="0" smtClean="0">
              <a:cs typeface="+mn-ea"/>
              <a:sym typeface="+mn-lt"/>
            </a:endParaRPr>
          </a:p>
        </p:txBody>
      </p:sp>
      <p:sp>
        <p:nvSpPr>
          <p:cNvPr id="5" name="矩形 4"/>
          <p:cNvSpPr/>
          <p:nvPr/>
        </p:nvSpPr>
        <p:spPr>
          <a:xfrm>
            <a:off x="4157965" y="3517050"/>
            <a:ext cx="2356709" cy="379827"/>
          </a:xfrm>
          <a:prstGeom prst="rect">
            <a:avLst/>
          </a:prstGeom>
          <a:noFill/>
        </p:spPr>
        <p:txBody>
          <a:bodyPr wrap="square" rtlCol="0" anchor="t" anchorCtr="0">
            <a:noAutofit/>
          </a:bodyPr>
          <a:lstStyle/>
          <a:p>
            <a:pPr algn="ctr"/>
            <a:r>
              <a:rPr lang="zh-CN" altLang="en-US" b="1" dirty="0">
                <a:cs typeface="+mn-ea"/>
                <a:sym typeface="+mn-lt"/>
              </a:rPr>
              <a:t>人工智能</a:t>
            </a:r>
            <a:endParaRPr lang="zh-CN" altLang="en-US" b="1" dirty="0">
              <a:cs typeface="+mn-ea"/>
              <a:sym typeface="+mn-lt"/>
            </a:endParaRPr>
          </a:p>
        </p:txBody>
      </p:sp>
      <p:sp>
        <p:nvSpPr>
          <p:cNvPr id="6" name="矩形 5"/>
          <p:cNvSpPr/>
          <p:nvPr/>
        </p:nvSpPr>
        <p:spPr>
          <a:xfrm>
            <a:off x="1574480" y="3517050"/>
            <a:ext cx="2356709" cy="379827"/>
          </a:xfrm>
          <a:prstGeom prst="rect">
            <a:avLst/>
          </a:prstGeom>
          <a:noFill/>
        </p:spPr>
        <p:txBody>
          <a:bodyPr wrap="square" rtlCol="0" anchor="t" anchorCtr="0">
            <a:noAutofit/>
          </a:bodyPr>
          <a:lstStyle/>
          <a:p>
            <a:pPr algn="ctr" latinLnBrk="1">
              <a:defRPr/>
            </a:pPr>
            <a:r>
              <a:rPr lang="zh-CN" altLang="en-US" b="1" kern="0" dirty="0">
                <a:cs typeface="+mn-ea"/>
                <a:sym typeface="+mn-lt"/>
              </a:rPr>
              <a:t>智能认知</a:t>
            </a:r>
            <a:endParaRPr lang="zh-CN" altLang="en-US" b="1" kern="0" dirty="0">
              <a:cs typeface="+mn-ea"/>
              <a:sym typeface="+mn-lt"/>
            </a:endParaRPr>
          </a:p>
        </p:txBody>
      </p:sp>
      <p:cxnSp>
        <p:nvCxnSpPr>
          <p:cNvPr id="7" name="直接连接符 6"/>
          <p:cNvCxnSpPr/>
          <p:nvPr/>
        </p:nvCxnSpPr>
        <p:spPr>
          <a:xfrm>
            <a:off x="1574480" y="3431253"/>
            <a:ext cx="10107167" cy="0"/>
          </a:xfrm>
          <a:prstGeom prst="line">
            <a:avLst/>
          </a:prstGeom>
          <a:noFill/>
          <a:ln w="12700" cap="flat" cmpd="sng" algn="ctr">
            <a:solidFill>
              <a:schemeClr val="bg1">
                <a:lumMod val="50000"/>
              </a:schemeClr>
            </a:solidFill>
            <a:prstDash val="dash"/>
            <a:miter lim="800000"/>
          </a:ln>
          <a:effectLst/>
        </p:spPr>
      </p:cxnSp>
      <p:sp>
        <p:nvSpPr>
          <p:cNvPr id="8" name="TextBox 81"/>
          <p:cNvSpPr txBox="1"/>
          <p:nvPr/>
        </p:nvSpPr>
        <p:spPr>
          <a:xfrm>
            <a:off x="335628" y="1844429"/>
            <a:ext cx="907282" cy="1450849"/>
          </a:xfrm>
          <a:prstGeom prst="rect">
            <a:avLst/>
          </a:prstGeom>
          <a:noFill/>
        </p:spPr>
        <p:txBody>
          <a:bodyPr wrap="square" lIns="0" tIns="0" rIns="0" bIns="0" rtlCol="0" anchor="ctr">
            <a:noAutofit/>
          </a:bodyPr>
          <a:lstStyle/>
          <a:p>
            <a:pPr algn="ctr">
              <a:defRPr/>
            </a:pPr>
            <a:r>
              <a:rPr lang="en-US" altLang="zh-CN" sz="2000" b="1" dirty="0" smtClean="0">
                <a:cs typeface="+mn-ea"/>
                <a:sym typeface="+mn-lt"/>
              </a:rPr>
              <a:t>5</a:t>
            </a:r>
            <a:r>
              <a:rPr lang="zh-CN" altLang="en-US" sz="2000" b="1" dirty="0" smtClean="0">
                <a:cs typeface="+mn-ea"/>
                <a:sym typeface="+mn-lt"/>
              </a:rPr>
              <a:t>大</a:t>
            </a:r>
            <a:endParaRPr lang="en-US" altLang="zh-CN" sz="2000" b="1" dirty="0" smtClean="0">
              <a:cs typeface="+mn-ea"/>
              <a:sym typeface="+mn-lt"/>
            </a:endParaRPr>
          </a:p>
          <a:p>
            <a:pPr algn="ctr">
              <a:defRPr/>
            </a:pPr>
            <a:r>
              <a:rPr lang="zh-CN" altLang="en-US" sz="2000" b="1" dirty="0" smtClean="0">
                <a:cs typeface="+mn-ea"/>
                <a:sym typeface="+mn-lt"/>
              </a:rPr>
              <a:t>应用</a:t>
            </a:r>
            <a:endParaRPr lang="en-US" altLang="zh-CN" sz="2000" b="1" dirty="0">
              <a:cs typeface="+mn-ea"/>
              <a:sym typeface="+mn-lt"/>
            </a:endParaRPr>
          </a:p>
        </p:txBody>
      </p:sp>
      <p:sp>
        <p:nvSpPr>
          <p:cNvPr id="9" name="TextBox 82"/>
          <p:cNvSpPr txBox="1"/>
          <p:nvPr/>
        </p:nvSpPr>
        <p:spPr>
          <a:xfrm>
            <a:off x="335627" y="3514733"/>
            <a:ext cx="907282" cy="1017537"/>
          </a:xfrm>
          <a:prstGeom prst="rect">
            <a:avLst/>
          </a:prstGeom>
          <a:noFill/>
        </p:spPr>
        <p:txBody>
          <a:bodyPr wrap="square" lIns="0" tIns="0" rIns="0" bIns="0" rtlCol="0" anchor="ctr">
            <a:noAutofit/>
          </a:bodyPr>
          <a:lstStyle/>
          <a:p>
            <a:pPr algn="ctr" latinLnBrk="1">
              <a:defRPr/>
            </a:pPr>
            <a:r>
              <a:rPr lang="en-US" altLang="zh-CN" sz="2000" b="1" dirty="0" smtClean="0">
                <a:cs typeface="+mn-ea"/>
                <a:sym typeface="+mn-lt"/>
              </a:rPr>
              <a:t>AI</a:t>
            </a:r>
            <a:endParaRPr lang="en-US" altLang="zh-CN" sz="2000" b="1" dirty="0" smtClean="0">
              <a:cs typeface="+mn-ea"/>
              <a:sym typeface="+mn-lt"/>
            </a:endParaRPr>
          </a:p>
          <a:p>
            <a:pPr algn="ctr" latinLnBrk="1">
              <a:defRPr/>
            </a:pPr>
            <a:r>
              <a:rPr lang="zh-CN" altLang="en-US" sz="2000" b="1" dirty="0" smtClean="0">
                <a:cs typeface="+mn-ea"/>
                <a:sym typeface="+mn-lt"/>
              </a:rPr>
              <a:t>技术</a:t>
            </a:r>
            <a:r>
              <a:rPr lang="zh-CN" altLang="en-US" sz="2000" b="1" dirty="0">
                <a:cs typeface="+mn-ea"/>
                <a:sym typeface="+mn-lt"/>
              </a:rPr>
              <a:t>层</a:t>
            </a:r>
            <a:endParaRPr lang="zh-CN" altLang="en-US" sz="2000" b="1" dirty="0">
              <a:cs typeface="+mn-ea"/>
              <a:sym typeface="+mn-lt"/>
            </a:endParaRPr>
          </a:p>
        </p:txBody>
      </p:sp>
      <p:cxnSp>
        <p:nvCxnSpPr>
          <p:cNvPr id="10" name="直接连接符 9"/>
          <p:cNvCxnSpPr/>
          <p:nvPr/>
        </p:nvCxnSpPr>
        <p:spPr>
          <a:xfrm>
            <a:off x="1574480" y="4757252"/>
            <a:ext cx="10107167" cy="0"/>
          </a:xfrm>
          <a:prstGeom prst="line">
            <a:avLst/>
          </a:prstGeom>
          <a:noFill/>
          <a:ln w="12700" cap="flat" cmpd="sng" algn="ctr">
            <a:solidFill>
              <a:schemeClr val="bg1">
                <a:lumMod val="50000"/>
              </a:schemeClr>
            </a:solidFill>
            <a:prstDash val="dash"/>
            <a:miter lim="800000"/>
          </a:ln>
          <a:effectLst/>
        </p:spPr>
      </p:cxnSp>
      <p:sp>
        <p:nvSpPr>
          <p:cNvPr id="11" name="矩形 24"/>
          <p:cNvSpPr>
            <a:spLocks noChangeArrowheads="1"/>
          </p:cNvSpPr>
          <p:nvPr/>
        </p:nvSpPr>
        <p:spPr bwMode="auto">
          <a:xfrm>
            <a:off x="1574480" y="1873005"/>
            <a:ext cx="1914947" cy="348917"/>
          </a:xfrm>
          <a:prstGeom prst="rect">
            <a:avLst/>
          </a:prstGeom>
          <a:solidFill>
            <a:schemeClr val="bg1">
              <a:lumMod val="95000"/>
            </a:schemeClr>
          </a:solidFill>
          <a:ln>
            <a:noFill/>
          </a:ln>
        </p:spPr>
        <p:txBody>
          <a:bodyPr lIns="0" tIns="0" rIns="0" bIns="0" anchor="ctr"/>
          <a:lstStyle>
            <a:lvl1pPr>
              <a:defRPr>
                <a:solidFill>
                  <a:schemeClr val="tx1"/>
                </a:solidFill>
                <a:latin typeface="Arial" panose="020B0604020202020204" pitchFamily="34" charset="0"/>
                <a:ea typeface="华文楷体" panose="02010600040101010101" charset="-122"/>
              </a:defRPr>
            </a:lvl1pPr>
            <a:lvl2pPr marL="742950" indent="-285750">
              <a:defRPr>
                <a:solidFill>
                  <a:schemeClr val="tx1"/>
                </a:solidFill>
                <a:latin typeface="Arial" panose="020B0604020202020204" pitchFamily="34" charset="0"/>
                <a:ea typeface="华文楷体" panose="02010600040101010101" charset="-122"/>
              </a:defRPr>
            </a:lvl2pPr>
            <a:lvl3pPr marL="1143000" indent="-228600">
              <a:defRPr>
                <a:solidFill>
                  <a:schemeClr val="tx1"/>
                </a:solidFill>
                <a:latin typeface="Arial" panose="020B0604020202020204" pitchFamily="34" charset="0"/>
                <a:ea typeface="华文楷体" panose="02010600040101010101" charset="-122"/>
              </a:defRPr>
            </a:lvl3pPr>
            <a:lvl4pPr marL="1600200" indent="-228600">
              <a:defRPr>
                <a:solidFill>
                  <a:schemeClr val="tx1"/>
                </a:solidFill>
                <a:latin typeface="Arial" panose="020B0604020202020204" pitchFamily="34" charset="0"/>
                <a:ea typeface="华文楷体" panose="02010600040101010101" charset="-122"/>
              </a:defRPr>
            </a:lvl4pPr>
            <a:lvl5pPr marL="2057400" indent="-228600">
              <a:defRPr>
                <a:solidFill>
                  <a:schemeClr val="tx1"/>
                </a:solidFill>
                <a:latin typeface="Arial" panose="020B0604020202020204" pitchFamily="34" charset="0"/>
                <a:ea typeface="华文楷体" panose="02010600040101010101" charset="-122"/>
              </a:defRPr>
            </a:lvl5pPr>
            <a:lvl6pPr marL="25146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6pPr>
            <a:lvl7pPr marL="29718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7pPr>
            <a:lvl8pPr marL="34290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8pPr>
            <a:lvl9pPr marL="38862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9pPr>
          </a:lstStyle>
          <a:p>
            <a:pPr algn="ctr" fontAlgn="base">
              <a:spcBef>
                <a:spcPct val="0"/>
              </a:spcBef>
              <a:spcAft>
                <a:spcPct val="0"/>
              </a:spcAft>
              <a:defRPr/>
            </a:pPr>
            <a:r>
              <a:rPr lang="en-US" altLang="zh-CN" b="1" dirty="0" smtClean="0">
                <a:solidFill>
                  <a:srgbClr val="FE8637"/>
                </a:solidFill>
                <a:latin typeface="+mn-lt"/>
                <a:ea typeface="+mn-ea"/>
                <a:cs typeface="+mn-ea"/>
                <a:sym typeface="+mn-lt"/>
              </a:rPr>
              <a:t>1</a:t>
            </a:r>
            <a:r>
              <a:rPr lang="en-US" altLang="zh-CN" b="1" dirty="0">
                <a:solidFill>
                  <a:srgbClr val="FE8637"/>
                </a:solidFill>
                <a:latin typeface="+mn-lt"/>
                <a:ea typeface="+mn-ea"/>
                <a:cs typeface="+mn-ea"/>
                <a:sym typeface="+mn-lt"/>
              </a:rPr>
              <a:t>.</a:t>
            </a:r>
            <a:r>
              <a:rPr lang="zh-CN" altLang="en-US" b="1" dirty="0" smtClean="0">
                <a:solidFill>
                  <a:srgbClr val="FE8637"/>
                </a:solidFill>
                <a:latin typeface="+mn-lt"/>
                <a:ea typeface="+mn-ea"/>
                <a:cs typeface="+mn-ea"/>
                <a:sym typeface="+mn-lt"/>
              </a:rPr>
              <a:t>智能</a:t>
            </a:r>
            <a:r>
              <a:rPr lang="en-US" altLang="zh-CN" b="1" dirty="0" smtClean="0">
                <a:solidFill>
                  <a:srgbClr val="FE8637"/>
                </a:solidFill>
                <a:latin typeface="+mn-lt"/>
                <a:ea typeface="+mn-ea"/>
                <a:cs typeface="+mn-ea"/>
                <a:sym typeface="+mn-lt"/>
              </a:rPr>
              <a:t>xx</a:t>
            </a:r>
            <a:endParaRPr lang="zh-CN" altLang="en-US" b="1" dirty="0">
              <a:solidFill>
                <a:srgbClr val="FE8637"/>
              </a:solidFill>
              <a:latin typeface="+mn-lt"/>
              <a:ea typeface="+mn-ea"/>
              <a:cs typeface="+mn-ea"/>
              <a:sym typeface="+mn-lt"/>
            </a:endParaRPr>
          </a:p>
        </p:txBody>
      </p:sp>
      <p:sp>
        <p:nvSpPr>
          <p:cNvPr id="12" name="文本框 11"/>
          <p:cNvSpPr txBox="1"/>
          <p:nvPr/>
        </p:nvSpPr>
        <p:spPr>
          <a:xfrm>
            <a:off x="1560192" y="2244017"/>
            <a:ext cx="1914947" cy="1079837"/>
          </a:xfrm>
          <a:prstGeom prst="rect">
            <a:avLst/>
          </a:prstGeom>
          <a:solidFill>
            <a:schemeClr val="bg1">
              <a:lumMod val="95000"/>
            </a:schemeClr>
          </a:solidFill>
        </p:spPr>
        <p:txBody>
          <a:bodyPr wrap="square" rtlCol="0" anchor="t">
            <a:noAutofit/>
          </a:bodyPr>
          <a:lstStyle/>
          <a:p>
            <a:pPr marL="285750" indent="-285750">
              <a:spcBef>
                <a:spcPts val="300"/>
              </a:spcBef>
              <a:buFont typeface="Arial" panose="020B0604020202020204" pitchFamily="34" charset="0"/>
              <a:buChar char="•"/>
            </a:pPr>
            <a:r>
              <a:rPr lang="zh-CN" altLang="en-US" sz="1400" dirty="0">
                <a:cs typeface="+mn-ea"/>
                <a:sym typeface="+mn-lt"/>
              </a:rPr>
              <a:t>智</a:t>
            </a:r>
            <a:r>
              <a:rPr lang="zh-CN" altLang="en-US" sz="1400" dirty="0" smtClean="0">
                <a:cs typeface="+mn-ea"/>
                <a:sym typeface="+mn-lt"/>
              </a:rPr>
              <a:t>能感知</a:t>
            </a:r>
            <a:endParaRPr lang="zh-CN" altLang="en-US" sz="1400" dirty="0">
              <a:cs typeface="+mn-ea"/>
              <a:sym typeface="+mn-lt"/>
            </a:endParaRPr>
          </a:p>
          <a:p>
            <a:pPr marL="285750" indent="-285750">
              <a:spcBef>
                <a:spcPts val="300"/>
              </a:spcBef>
              <a:buFont typeface="Arial" panose="020B0604020202020204" pitchFamily="34" charset="0"/>
              <a:buChar char="•"/>
            </a:pPr>
            <a:r>
              <a:rPr lang="en-US" altLang="zh-CN" sz="1400" dirty="0" smtClean="0">
                <a:cs typeface="+mn-ea"/>
                <a:sym typeface="+mn-lt"/>
              </a:rPr>
              <a:t>xx</a:t>
            </a:r>
            <a:endParaRPr lang="zh-CN" altLang="en-US" sz="1400" dirty="0">
              <a:cs typeface="+mn-ea"/>
              <a:sym typeface="+mn-lt"/>
            </a:endParaRPr>
          </a:p>
        </p:txBody>
      </p:sp>
      <p:sp>
        <p:nvSpPr>
          <p:cNvPr id="13" name="矩形 21"/>
          <p:cNvSpPr>
            <a:spLocks noChangeArrowheads="1"/>
          </p:cNvSpPr>
          <p:nvPr/>
        </p:nvSpPr>
        <p:spPr bwMode="auto">
          <a:xfrm>
            <a:off x="3622534" y="1873005"/>
            <a:ext cx="1914947" cy="348917"/>
          </a:xfrm>
          <a:prstGeom prst="rect">
            <a:avLst/>
          </a:prstGeom>
          <a:solidFill>
            <a:schemeClr val="bg1">
              <a:lumMod val="95000"/>
            </a:schemeClr>
          </a:solidFill>
          <a:ln>
            <a:noFill/>
          </a:ln>
        </p:spPr>
        <p:txBody>
          <a:bodyPr lIns="0" tIns="0" rIns="0" bIns="0" anchor="ctr"/>
          <a:lstStyle>
            <a:lvl1pPr>
              <a:defRPr>
                <a:solidFill>
                  <a:schemeClr val="tx1"/>
                </a:solidFill>
                <a:latin typeface="Arial" panose="020B0604020202020204" pitchFamily="34" charset="0"/>
                <a:ea typeface="华文楷体" panose="02010600040101010101" charset="-122"/>
              </a:defRPr>
            </a:lvl1pPr>
            <a:lvl2pPr marL="742950" indent="-285750">
              <a:defRPr>
                <a:solidFill>
                  <a:schemeClr val="tx1"/>
                </a:solidFill>
                <a:latin typeface="Arial" panose="020B0604020202020204" pitchFamily="34" charset="0"/>
                <a:ea typeface="华文楷体" panose="02010600040101010101" charset="-122"/>
              </a:defRPr>
            </a:lvl2pPr>
            <a:lvl3pPr marL="1143000" indent="-228600">
              <a:defRPr>
                <a:solidFill>
                  <a:schemeClr val="tx1"/>
                </a:solidFill>
                <a:latin typeface="Arial" panose="020B0604020202020204" pitchFamily="34" charset="0"/>
                <a:ea typeface="华文楷体" panose="02010600040101010101" charset="-122"/>
              </a:defRPr>
            </a:lvl3pPr>
            <a:lvl4pPr marL="1600200" indent="-228600">
              <a:defRPr>
                <a:solidFill>
                  <a:schemeClr val="tx1"/>
                </a:solidFill>
                <a:latin typeface="Arial" panose="020B0604020202020204" pitchFamily="34" charset="0"/>
                <a:ea typeface="华文楷体" panose="02010600040101010101" charset="-122"/>
              </a:defRPr>
            </a:lvl4pPr>
            <a:lvl5pPr marL="2057400" indent="-228600">
              <a:defRPr>
                <a:solidFill>
                  <a:schemeClr val="tx1"/>
                </a:solidFill>
                <a:latin typeface="Arial" panose="020B0604020202020204" pitchFamily="34" charset="0"/>
                <a:ea typeface="华文楷体" panose="02010600040101010101" charset="-122"/>
              </a:defRPr>
            </a:lvl5pPr>
            <a:lvl6pPr marL="25146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6pPr>
            <a:lvl7pPr marL="29718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7pPr>
            <a:lvl8pPr marL="34290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8pPr>
            <a:lvl9pPr marL="38862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9pPr>
          </a:lstStyle>
          <a:p>
            <a:pPr algn="ctr">
              <a:defRPr/>
            </a:pPr>
            <a:r>
              <a:rPr lang="en-US" altLang="zh-CN" b="1" dirty="0" smtClean="0">
                <a:solidFill>
                  <a:srgbClr val="FE8637"/>
                </a:solidFill>
                <a:latin typeface="+mn-lt"/>
                <a:ea typeface="+mn-ea"/>
                <a:cs typeface="+mn-ea"/>
                <a:sym typeface="+mn-lt"/>
              </a:rPr>
              <a:t>2.</a:t>
            </a:r>
            <a:r>
              <a:rPr lang="zh-CN" altLang="en-US" b="1" dirty="0" smtClean="0">
                <a:solidFill>
                  <a:srgbClr val="FE8637"/>
                </a:solidFill>
                <a:latin typeface="+mn-lt"/>
                <a:ea typeface="+mn-ea"/>
                <a:cs typeface="+mn-ea"/>
                <a:sym typeface="+mn-lt"/>
              </a:rPr>
              <a:t>智能</a:t>
            </a:r>
            <a:r>
              <a:rPr lang="en-US" altLang="zh-CN" b="1" dirty="0" smtClean="0">
                <a:solidFill>
                  <a:srgbClr val="FE8637"/>
                </a:solidFill>
                <a:latin typeface="+mn-lt"/>
                <a:ea typeface="+mn-ea"/>
                <a:cs typeface="+mn-ea"/>
                <a:sym typeface="+mn-lt"/>
              </a:rPr>
              <a:t>xx</a:t>
            </a:r>
            <a:endParaRPr lang="zh-CN" altLang="en-US" b="1" dirty="0">
              <a:solidFill>
                <a:srgbClr val="FE8637"/>
              </a:solidFill>
              <a:latin typeface="+mn-lt"/>
              <a:ea typeface="+mn-ea"/>
              <a:cs typeface="+mn-ea"/>
              <a:sym typeface="+mn-lt"/>
            </a:endParaRPr>
          </a:p>
        </p:txBody>
      </p:sp>
      <p:sp>
        <p:nvSpPr>
          <p:cNvPr id="14" name="文本框 13"/>
          <p:cNvSpPr txBox="1"/>
          <p:nvPr/>
        </p:nvSpPr>
        <p:spPr>
          <a:xfrm>
            <a:off x="3608246" y="2244017"/>
            <a:ext cx="1914947" cy="1079837"/>
          </a:xfrm>
          <a:prstGeom prst="rect">
            <a:avLst/>
          </a:prstGeom>
          <a:solidFill>
            <a:schemeClr val="bg1">
              <a:lumMod val="95000"/>
            </a:schemeClr>
          </a:solidFill>
        </p:spPr>
        <p:txBody>
          <a:bodyPr wrap="square" rtlCol="0" anchor="t">
            <a:noAutofit/>
          </a:bodyPr>
          <a:lstStyle/>
          <a:p>
            <a:pPr marL="285750" indent="-285750">
              <a:spcBef>
                <a:spcPts val="300"/>
              </a:spcBef>
              <a:buFont typeface="Arial" panose="020B0604020202020204" pitchFamily="34" charset="0"/>
              <a:buChar char="•"/>
            </a:pPr>
            <a:r>
              <a:rPr lang="en-US" altLang="zh-CN" sz="1400" dirty="0" smtClean="0">
                <a:cs typeface="+mn-ea"/>
                <a:sym typeface="+mn-lt"/>
              </a:rPr>
              <a:t>xx</a:t>
            </a:r>
            <a:endParaRPr lang="zh-CN" altLang="en-US" sz="1400" dirty="0">
              <a:cs typeface="+mn-ea"/>
              <a:sym typeface="+mn-lt"/>
            </a:endParaRPr>
          </a:p>
        </p:txBody>
      </p:sp>
      <p:sp>
        <p:nvSpPr>
          <p:cNvPr id="15" name="矩形 14"/>
          <p:cNvSpPr/>
          <p:nvPr/>
        </p:nvSpPr>
        <p:spPr>
          <a:xfrm>
            <a:off x="5670588" y="1873005"/>
            <a:ext cx="1914947" cy="348917"/>
          </a:xfrm>
          <a:prstGeom prst="rect">
            <a:avLst/>
          </a:prstGeom>
          <a:solidFill>
            <a:schemeClr val="bg1">
              <a:lumMod val="95000"/>
            </a:schemeClr>
          </a:solidFill>
          <a:ln w="12700" cap="flat" cmpd="sng" algn="ctr">
            <a:noFill/>
            <a:prstDash val="solid"/>
            <a:miter lim="800000"/>
          </a:ln>
          <a:effectLst/>
        </p:spPr>
        <p:txBody>
          <a:bodyPr lIns="0" tIns="0" rIns="0" bIns="0" rtlCol="0" anchor="ctr"/>
          <a:lstStyle/>
          <a:p>
            <a:pPr algn="ctr">
              <a:defRPr/>
            </a:pPr>
            <a:r>
              <a:rPr lang="en-US" altLang="zh-CN" b="1" dirty="0" smtClean="0">
                <a:solidFill>
                  <a:srgbClr val="FE8637"/>
                </a:solidFill>
                <a:cs typeface="+mn-ea"/>
                <a:sym typeface="+mn-lt"/>
              </a:rPr>
              <a:t>3</a:t>
            </a:r>
            <a:r>
              <a:rPr lang="en-US" altLang="zh-CN" b="1" dirty="0">
                <a:solidFill>
                  <a:srgbClr val="FE8637"/>
                </a:solidFill>
                <a:cs typeface="+mn-ea"/>
                <a:sym typeface="+mn-lt"/>
              </a:rPr>
              <a:t>.</a:t>
            </a:r>
            <a:r>
              <a:rPr lang="zh-CN" altLang="en-US" b="1" dirty="0" smtClean="0">
                <a:solidFill>
                  <a:srgbClr val="FE8637"/>
                </a:solidFill>
                <a:cs typeface="+mn-ea"/>
                <a:sym typeface="+mn-lt"/>
              </a:rPr>
              <a:t>智能</a:t>
            </a:r>
            <a:r>
              <a:rPr lang="en-US" altLang="zh-CN" b="1" dirty="0" smtClean="0">
                <a:solidFill>
                  <a:srgbClr val="FE8637"/>
                </a:solidFill>
                <a:cs typeface="+mn-ea"/>
                <a:sym typeface="+mn-lt"/>
              </a:rPr>
              <a:t>xx</a:t>
            </a:r>
            <a:endParaRPr lang="zh-CN" altLang="en-US" b="1" dirty="0">
              <a:solidFill>
                <a:srgbClr val="FE8637"/>
              </a:solidFill>
              <a:cs typeface="+mn-ea"/>
              <a:sym typeface="+mn-lt"/>
            </a:endParaRPr>
          </a:p>
        </p:txBody>
      </p:sp>
      <p:sp>
        <p:nvSpPr>
          <p:cNvPr id="16" name="文本框 15"/>
          <p:cNvSpPr txBox="1"/>
          <p:nvPr/>
        </p:nvSpPr>
        <p:spPr>
          <a:xfrm>
            <a:off x="5656300" y="2244017"/>
            <a:ext cx="1914947" cy="1079836"/>
          </a:xfrm>
          <a:prstGeom prst="rect">
            <a:avLst/>
          </a:prstGeom>
          <a:solidFill>
            <a:schemeClr val="bg1">
              <a:lumMod val="95000"/>
            </a:schemeClr>
          </a:solidFill>
        </p:spPr>
        <p:txBody>
          <a:bodyPr wrap="square" rtlCol="0" anchor="t">
            <a:noAutofit/>
          </a:bodyPr>
          <a:lstStyle/>
          <a:p>
            <a:pPr marL="285750" indent="-285750">
              <a:spcBef>
                <a:spcPts val="300"/>
              </a:spcBef>
              <a:buFont typeface="Arial" panose="020B0604020202020204" pitchFamily="34" charset="0"/>
              <a:buChar char="•"/>
            </a:pPr>
            <a:r>
              <a:rPr lang="en-US" altLang="zh-CN" sz="1400" dirty="0" smtClean="0">
                <a:cs typeface="+mn-ea"/>
                <a:sym typeface="+mn-lt"/>
              </a:rPr>
              <a:t>xx</a:t>
            </a:r>
            <a:endParaRPr lang="zh-CN" altLang="en-US" sz="1400" dirty="0">
              <a:cs typeface="+mn-ea"/>
              <a:sym typeface="+mn-lt"/>
            </a:endParaRPr>
          </a:p>
        </p:txBody>
      </p:sp>
      <p:sp>
        <p:nvSpPr>
          <p:cNvPr id="17" name="矩形 16"/>
          <p:cNvSpPr/>
          <p:nvPr/>
        </p:nvSpPr>
        <p:spPr>
          <a:xfrm>
            <a:off x="7718644" y="1873005"/>
            <a:ext cx="1914947" cy="348917"/>
          </a:xfrm>
          <a:prstGeom prst="rect">
            <a:avLst/>
          </a:prstGeom>
          <a:solidFill>
            <a:schemeClr val="bg1">
              <a:lumMod val="95000"/>
            </a:schemeClr>
          </a:solidFill>
          <a:ln w="12700" cap="flat" cmpd="sng" algn="ctr">
            <a:noFill/>
            <a:prstDash val="solid"/>
            <a:miter lim="800000"/>
          </a:ln>
          <a:effectLst/>
        </p:spPr>
        <p:txBody>
          <a:bodyPr lIns="0" tIns="0" rIns="0" bIns="0" rtlCol="0" anchor="ctr"/>
          <a:lstStyle/>
          <a:p>
            <a:pPr algn="ctr">
              <a:defRPr/>
            </a:pPr>
            <a:r>
              <a:rPr lang="en-US" altLang="zh-CN" b="1" dirty="0" smtClean="0">
                <a:solidFill>
                  <a:srgbClr val="FE8637"/>
                </a:solidFill>
                <a:cs typeface="+mn-ea"/>
                <a:sym typeface="+mn-lt"/>
              </a:rPr>
              <a:t>4.</a:t>
            </a:r>
            <a:r>
              <a:rPr lang="zh-CN" altLang="en-US" b="1" dirty="0" smtClean="0">
                <a:solidFill>
                  <a:srgbClr val="FE8637"/>
                </a:solidFill>
                <a:cs typeface="+mn-ea"/>
                <a:sym typeface="+mn-lt"/>
              </a:rPr>
              <a:t>智能</a:t>
            </a:r>
            <a:r>
              <a:rPr lang="en-US" altLang="zh-CN" b="1" dirty="0" smtClean="0">
                <a:solidFill>
                  <a:srgbClr val="FE8637"/>
                </a:solidFill>
                <a:cs typeface="+mn-ea"/>
                <a:sym typeface="+mn-lt"/>
              </a:rPr>
              <a:t>xx</a:t>
            </a:r>
            <a:endParaRPr lang="zh-CN" altLang="en-US" b="1" dirty="0">
              <a:solidFill>
                <a:srgbClr val="FE8637"/>
              </a:solidFill>
              <a:cs typeface="+mn-ea"/>
              <a:sym typeface="+mn-lt"/>
            </a:endParaRPr>
          </a:p>
        </p:txBody>
      </p:sp>
      <p:sp>
        <p:nvSpPr>
          <p:cNvPr id="18" name="文本框 17"/>
          <p:cNvSpPr txBox="1"/>
          <p:nvPr/>
        </p:nvSpPr>
        <p:spPr>
          <a:xfrm>
            <a:off x="7704356" y="2244017"/>
            <a:ext cx="1914947" cy="1079836"/>
          </a:xfrm>
          <a:prstGeom prst="rect">
            <a:avLst/>
          </a:prstGeom>
          <a:solidFill>
            <a:schemeClr val="bg1">
              <a:lumMod val="95000"/>
            </a:schemeClr>
          </a:solidFill>
        </p:spPr>
        <p:txBody>
          <a:bodyPr wrap="square" rtlCol="0" anchor="t">
            <a:noAutofit/>
          </a:bodyPr>
          <a:lstStyle/>
          <a:p>
            <a:pPr marL="285750" indent="-285750">
              <a:spcBef>
                <a:spcPts val="300"/>
              </a:spcBef>
              <a:buFont typeface="Arial" panose="020B0604020202020204" pitchFamily="34" charset="0"/>
              <a:buChar char="•"/>
            </a:pPr>
            <a:r>
              <a:rPr lang="en-US" altLang="zh-CN" sz="1400" dirty="0" smtClean="0">
                <a:cs typeface="+mn-ea"/>
                <a:sym typeface="+mn-lt"/>
              </a:rPr>
              <a:t>xx</a:t>
            </a:r>
            <a:endParaRPr lang="zh-CN" altLang="en-US" sz="1400" dirty="0">
              <a:cs typeface="+mn-ea"/>
              <a:sym typeface="+mn-lt"/>
            </a:endParaRPr>
          </a:p>
          <a:p>
            <a:pPr marL="285750" indent="-285750">
              <a:spcBef>
                <a:spcPts val="300"/>
              </a:spcBef>
              <a:buFont typeface="Arial" panose="020B0604020202020204" pitchFamily="34" charset="0"/>
              <a:buChar char="•"/>
            </a:pPr>
            <a:endParaRPr lang="zh-CN" altLang="en-US" sz="1400" dirty="0">
              <a:cs typeface="+mn-ea"/>
              <a:sym typeface="+mn-lt"/>
            </a:endParaRPr>
          </a:p>
          <a:p>
            <a:pPr>
              <a:spcBef>
                <a:spcPts val="300"/>
              </a:spcBef>
            </a:pPr>
            <a:endParaRPr lang="zh-CN" altLang="en-US" sz="1400" dirty="0">
              <a:cs typeface="+mn-ea"/>
              <a:sym typeface="+mn-lt"/>
            </a:endParaRPr>
          </a:p>
        </p:txBody>
      </p:sp>
      <p:cxnSp>
        <p:nvCxnSpPr>
          <p:cNvPr id="19" name="直接连接符 18"/>
          <p:cNvCxnSpPr/>
          <p:nvPr/>
        </p:nvCxnSpPr>
        <p:spPr>
          <a:xfrm>
            <a:off x="1574480" y="5617983"/>
            <a:ext cx="10107167" cy="0"/>
          </a:xfrm>
          <a:prstGeom prst="line">
            <a:avLst/>
          </a:prstGeom>
          <a:noFill/>
          <a:ln w="12700" cap="flat" cmpd="sng" algn="ctr">
            <a:solidFill>
              <a:schemeClr val="bg1">
                <a:lumMod val="50000"/>
              </a:schemeClr>
            </a:solidFill>
            <a:prstDash val="dash"/>
            <a:miter lim="800000"/>
          </a:ln>
          <a:effectLst/>
        </p:spPr>
      </p:cxnSp>
      <p:sp>
        <p:nvSpPr>
          <p:cNvPr id="20" name="矩形 19"/>
          <p:cNvSpPr/>
          <p:nvPr/>
        </p:nvSpPr>
        <p:spPr>
          <a:xfrm>
            <a:off x="335628" y="4821175"/>
            <a:ext cx="907282" cy="694944"/>
          </a:xfrm>
          <a:prstGeom prst="rect">
            <a:avLst/>
          </a:prstGeom>
          <a:noFill/>
          <a:ln w="12700" cap="flat" cmpd="sng" algn="ctr">
            <a:noFill/>
            <a:prstDash val="solid"/>
            <a:miter lim="800000"/>
          </a:ln>
          <a:effectLst/>
        </p:spPr>
        <p:txBody>
          <a:bodyPr lIns="0" tIns="0" rIns="0" bIns="0" rtlCol="0" anchor="ctr">
            <a:noAutofit/>
          </a:bodyPr>
          <a:lstStyle/>
          <a:p>
            <a:pPr algn="ctr" latinLnBrk="1">
              <a:defRPr/>
            </a:pPr>
            <a:r>
              <a:rPr lang="zh-CN" altLang="en-US" sz="2000" b="1" dirty="0" smtClean="0">
                <a:cs typeface="+mn-ea"/>
                <a:sym typeface="+mn-lt"/>
              </a:rPr>
              <a:t>数据层</a:t>
            </a:r>
            <a:endParaRPr lang="zh-CN" altLang="en-US" sz="2000" b="1" dirty="0">
              <a:cs typeface="+mn-ea"/>
              <a:sym typeface="+mn-lt"/>
            </a:endParaRPr>
          </a:p>
        </p:txBody>
      </p:sp>
      <p:sp>
        <p:nvSpPr>
          <p:cNvPr id="25" name="hat-of-a-policeman_27017"/>
          <p:cNvSpPr>
            <a:spLocks noChangeAspect="1"/>
          </p:cNvSpPr>
          <p:nvPr/>
        </p:nvSpPr>
        <p:spPr bwMode="auto">
          <a:xfrm>
            <a:off x="4346055" y="1290136"/>
            <a:ext cx="611686" cy="432000"/>
          </a:xfrm>
          <a:custGeom>
            <a:avLst/>
            <a:gdLst>
              <a:gd name="connsiteX0" fmla="*/ 304603 w 609064"/>
              <a:gd name="connsiteY0" fmla="*/ 296609 h 430148"/>
              <a:gd name="connsiteX1" fmla="*/ 525578 w 609064"/>
              <a:gd name="connsiteY1" fmla="*/ 341865 h 430148"/>
              <a:gd name="connsiteX2" fmla="*/ 304603 w 609064"/>
              <a:gd name="connsiteY2" fmla="*/ 429655 h 430148"/>
              <a:gd name="connsiteX3" fmla="*/ 83627 w 609064"/>
              <a:gd name="connsiteY3" fmla="*/ 341865 h 430148"/>
              <a:gd name="connsiteX4" fmla="*/ 304603 w 609064"/>
              <a:gd name="connsiteY4" fmla="*/ 296609 h 430148"/>
              <a:gd name="connsiteX5" fmla="*/ 304568 w 609064"/>
              <a:gd name="connsiteY5" fmla="*/ 245943 h 430148"/>
              <a:gd name="connsiteX6" fmla="*/ 527554 w 609064"/>
              <a:gd name="connsiteY6" fmla="*/ 292462 h 430148"/>
              <a:gd name="connsiteX7" fmla="*/ 527554 w 609064"/>
              <a:gd name="connsiteY7" fmla="*/ 321519 h 430148"/>
              <a:gd name="connsiteX8" fmla="*/ 304568 w 609064"/>
              <a:gd name="connsiteY8" fmla="*/ 276288 h 430148"/>
              <a:gd name="connsiteX9" fmla="*/ 81581 w 609064"/>
              <a:gd name="connsiteY9" fmla="*/ 321519 h 430148"/>
              <a:gd name="connsiteX10" fmla="*/ 81581 w 609064"/>
              <a:gd name="connsiteY10" fmla="*/ 292462 h 430148"/>
              <a:gd name="connsiteX11" fmla="*/ 304568 w 609064"/>
              <a:gd name="connsiteY11" fmla="*/ 245943 h 430148"/>
              <a:gd name="connsiteX12" fmla="*/ 304604 w 609064"/>
              <a:gd name="connsiteY12" fmla="*/ 45374 h 430148"/>
              <a:gd name="connsiteX13" fmla="*/ 285387 w 609064"/>
              <a:gd name="connsiteY13" fmla="*/ 104361 h 430148"/>
              <a:gd name="connsiteX14" fmla="*/ 223292 w 609064"/>
              <a:gd name="connsiteY14" fmla="*/ 104361 h 430148"/>
              <a:gd name="connsiteX15" fmla="*/ 273628 w 609064"/>
              <a:gd name="connsiteY15" fmla="*/ 141443 h 430148"/>
              <a:gd name="connsiteX16" fmla="*/ 254411 w 609064"/>
              <a:gd name="connsiteY16" fmla="*/ 201002 h 430148"/>
              <a:gd name="connsiteX17" fmla="*/ 304604 w 609064"/>
              <a:gd name="connsiteY17" fmla="*/ 164493 h 430148"/>
              <a:gd name="connsiteX18" fmla="*/ 354796 w 609064"/>
              <a:gd name="connsiteY18" fmla="*/ 200715 h 430148"/>
              <a:gd name="connsiteX19" fmla="*/ 335723 w 609064"/>
              <a:gd name="connsiteY19" fmla="*/ 141443 h 430148"/>
              <a:gd name="connsiteX20" fmla="*/ 385916 w 609064"/>
              <a:gd name="connsiteY20" fmla="*/ 104361 h 430148"/>
              <a:gd name="connsiteX21" fmla="*/ 323820 w 609064"/>
              <a:gd name="connsiteY21" fmla="*/ 104361 h 430148"/>
              <a:gd name="connsiteX22" fmla="*/ 307118 w 609064"/>
              <a:gd name="connsiteY22" fmla="*/ 3 h 430148"/>
              <a:gd name="connsiteX23" fmla="*/ 367416 w 609064"/>
              <a:gd name="connsiteY23" fmla="*/ 38216 h 430148"/>
              <a:gd name="connsiteX24" fmla="*/ 525451 w 609064"/>
              <a:gd name="connsiteY24" fmla="*/ 90760 h 430148"/>
              <a:gd name="connsiteX25" fmla="*/ 573349 w 609064"/>
              <a:gd name="connsiteY25" fmla="*/ 157048 h 430148"/>
              <a:gd name="connsiteX26" fmla="*/ 606906 w 609064"/>
              <a:gd name="connsiteY26" fmla="*/ 226057 h 430148"/>
              <a:gd name="connsiteX27" fmla="*/ 543233 w 609064"/>
              <a:gd name="connsiteY27" fmla="*/ 279603 h 430148"/>
              <a:gd name="connsiteX28" fmla="*/ 304604 w 609064"/>
              <a:gd name="connsiteY28" fmla="*/ 225770 h 430148"/>
              <a:gd name="connsiteX29" fmla="*/ 65831 w 609064"/>
              <a:gd name="connsiteY29" fmla="*/ 279603 h 430148"/>
              <a:gd name="connsiteX30" fmla="*/ 2158 w 609064"/>
              <a:gd name="connsiteY30" fmla="*/ 226057 h 430148"/>
              <a:gd name="connsiteX31" fmla="*/ 35715 w 609064"/>
              <a:gd name="connsiteY31" fmla="*/ 157048 h 430148"/>
              <a:gd name="connsiteX32" fmla="*/ 83470 w 609064"/>
              <a:gd name="connsiteY32" fmla="*/ 90760 h 430148"/>
              <a:gd name="connsiteX33" fmla="*/ 241648 w 609064"/>
              <a:gd name="connsiteY33" fmla="*/ 38216 h 430148"/>
              <a:gd name="connsiteX34" fmla="*/ 302067 w 609064"/>
              <a:gd name="connsiteY34" fmla="*/ 3 h 430148"/>
              <a:gd name="connsiteX35" fmla="*/ 304604 w 609064"/>
              <a:gd name="connsiteY35" fmla="*/ 562 h 430148"/>
              <a:gd name="connsiteX36" fmla="*/ 307118 w 609064"/>
              <a:gd name="connsiteY36" fmla="*/ 3 h 43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064" h="430148">
                <a:moveTo>
                  <a:pt x="304603" y="296609"/>
                </a:moveTo>
                <a:cubicBezTo>
                  <a:pt x="393796" y="296609"/>
                  <a:pt x="474816" y="314511"/>
                  <a:pt x="525578" y="341865"/>
                </a:cubicBezTo>
                <a:cubicBezTo>
                  <a:pt x="489872" y="442115"/>
                  <a:pt x="304603" y="429655"/>
                  <a:pt x="304603" y="429655"/>
                </a:cubicBezTo>
                <a:cubicBezTo>
                  <a:pt x="304603" y="429655"/>
                  <a:pt x="119333" y="442115"/>
                  <a:pt x="83627" y="341865"/>
                </a:cubicBezTo>
                <a:cubicBezTo>
                  <a:pt x="134390" y="314511"/>
                  <a:pt x="215410" y="296609"/>
                  <a:pt x="304603" y="296609"/>
                </a:cubicBezTo>
                <a:close/>
                <a:moveTo>
                  <a:pt x="304568" y="245943"/>
                </a:moveTo>
                <a:cubicBezTo>
                  <a:pt x="395053" y="245943"/>
                  <a:pt x="476934" y="264408"/>
                  <a:pt x="527554" y="292462"/>
                </a:cubicBezTo>
                <a:lnTo>
                  <a:pt x="527554" y="321519"/>
                </a:lnTo>
                <a:cubicBezTo>
                  <a:pt x="473636" y="294037"/>
                  <a:pt x="394336" y="276288"/>
                  <a:pt x="304568" y="276288"/>
                </a:cubicBezTo>
                <a:cubicBezTo>
                  <a:pt x="214800" y="276288"/>
                  <a:pt x="135500" y="294037"/>
                  <a:pt x="81581" y="321519"/>
                </a:cubicBezTo>
                <a:lnTo>
                  <a:pt x="81581" y="292462"/>
                </a:lnTo>
                <a:cubicBezTo>
                  <a:pt x="132201" y="264408"/>
                  <a:pt x="214083" y="245943"/>
                  <a:pt x="304568" y="245943"/>
                </a:cubicBezTo>
                <a:close/>
                <a:moveTo>
                  <a:pt x="304604" y="45374"/>
                </a:moveTo>
                <a:lnTo>
                  <a:pt x="285387" y="104361"/>
                </a:lnTo>
                <a:lnTo>
                  <a:pt x="223292" y="104361"/>
                </a:lnTo>
                <a:lnTo>
                  <a:pt x="273628" y="141443"/>
                </a:lnTo>
                <a:lnTo>
                  <a:pt x="254411" y="201002"/>
                </a:lnTo>
                <a:lnTo>
                  <a:pt x="304604" y="164493"/>
                </a:lnTo>
                <a:lnTo>
                  <a:pt x="354796" y="200715"/>
                </a:lnTo>
                <a:lnTo>
                  <a:pt x="335723" y="141443"/>
                </a:lnTo>
                <a:lnTo>
                  <a:pt x="385916" y="104361"/>
                </a:lnTo>
                <a:lnTo>
                  <a:pt x="323820" y="104361"/>
                </a:lnTo>
                <a:close/>
                <a:moveTo>
                  <a:pt x="307118" y="3"/>
                </a:moveTo>
                <a:cubicBezTo>
                  <a:pt x="312617" y="-145"/>
                  <a:pt x="328481" y="3855"/>
                  <a:pt x="367416" y="38216"/>
                </a:cubicBezTo>
                <a:cubicBezTo>
                  <a:pt x="419473" y="84031"/>
                  <a:pt x="485153" y="86751"/>
                  <a:pt x="525451" y="90760"/>
                </a:cubicBezTo>
                <a:cubicBezTo>
                  <a:pt x="565891" y="94912"/>
                  <a:pt x="563167" y="111233"/>
                  <a:pt x="573349" y="157048"/>
                </a:cubicBezTo>
                <a:cubicBezTo>
                  <a:pt x="583531" y="202863"/>
                  <a:pt x="617948" y="215176"/>
                  <a:pt x="606906" y="226057"/>
                </a:cubicBezTo>
                <a:cubicBezTo>
                  <a:pt x="599305" y="233645"/>
                  <a:pt x="564171" y="262566"/>
                  <a:pt x="543233" y="279603"/>
                </a:cubicBezTo>
                <a:cubicBezTo>
                  <a:pt x="489742" y="247246"/>
                  <a:pt x="403555" y="225770"/>
                  <a:pt x="304604" y="225770"/>
                </a:cubicBezTo>
                <a:cubicBezTo>
                  <a:pt x="205653" y="225770"/>
                  <a:pt x="119466" y="247246"/>
                  <a:pt x="65831" y="279603"/>
                </a:cubicBezTo>
                <a:cubicBezTo>
                  <a:pt x="45037" y="262566"/>
                  <a:pt x="9759" y="233645"/>
                  <a:pt x="2158" y="226057"/>
                </a:cubicBezTo>
                <a:cubicBezTo>
                  <a:pt x="-8884" y="215176"/>
                  <a:pt x="25533" y="202863"/>
                  <a:pt x="35715" y="157048"/>
                </a:cubicBezTo>
                <a:cubicBezTo>
                  <a:pt x="45897" y="111233"/>
                  <a:pt x="43172" y="94912"/>
                  <a:pt x="83470" y="90760"/>
                </a:cubicBezTo>
                <a:cubicBezTo>
                  <a:pt x="123911" y="86751"/>
                  <a:pt x="189592" y="84031"/>
                  <a:pt x="241648" y="38216"/>
                </a:cubicBezTo>
                <a:cubicBezTo>
                  <a:pt x="280583" y="3855"/>
                  <a:pt x="296528" y="-145"/>
                  <a:pt x="302067" y="3"/>
                </a:cubicBezTo>
                <a:cubicBezTo>
                  <a:pt x="303914" y="52"/>
                  <a:pt x="304604" y="562"/>
                  <a:pt x="304604" y="562"/>
                </a:cubicBezTo>
                <a:cubicBezTo>
                  <a:pt x="304604" y="562"/>
                  <a:pt x="305285" y="52"/>
                  <a:pt x="307118" y="3"/>
                </a:cubicBezTo>
                <a:close/>
              </a:path>
            </a:pathLst>
          </a:custGeom>
          <a:solidFill>
            <a:srgbClr val="E75C01"/>
          </a:solidFill>
          <a:ln>
            <a:noFill/>
          </a:ln>
        </p:spPr>
        <p:txBody>
          <a:bodyPr/>
          <a:lstStyle/>
          <a:p>
            <a:endParaRPr lang="zh-CN" altLang="en-US">
              <a:cs typeface="+mn-ea"/>
              <a:sym typeface="+mn-lt"/>
            </a:endParaRPr>
          </a:p>
        </p:txBody>
      </p:sp>
      <p:sp>
        <p:nvSpPr>
          <p:cNvPr id="26" name="Freeform 32"/>
          <p:cNvSpPr>
            <a:spLocks noEditPoints="1"/>
          </p:cNvSpPr>
          <p:nvPr/>
        </p:nvSpPr>
        <p:spPr bwMode="auto">
          <a:xfrm>
            <a:off x="6391228" y="1226426"/>
            <a:ext cx="504000" cy="504000"/>
          </a:xfrm>
          <a:custGeom>
            <a:avLst/>
            <a:gdLst>
              <a:gd name="T0" fmla="*/ 251 w 311"/>
              <a:gd name="T1" fmla="*/ 239 h 287"/>
              <a:gd name="T2" fmla="*/ 59 w 311"/>
              <a:gd name="T3" fmla="*/ 239 h 287"/>
              <a:gd name="T4" fmla="*/ 35 w 311"/>
              <a:gd name="T5" fmla="*/ 263 h 287"/>
              <a:gd name="T6" fmla="*/ 35 w 311"/>
              <a:gd name="T7" fmla="*/ 287 h 287"/>
              <a:gd name="T8" fmla="*/ 275 w 311"/>
              <a:gd name="T9" fmla="*/ 287 h 287"/>
              <a:gd name="T10" fmla="*/ 275 w 311"/>
              <a:gd name="T11" fmla="*/ 263 h 287"/>
              <a:gd name="T12" fmla="*/ 251 w 311"/>
              <a:gd name="T13" fmla="*/ 239 h 287"/>
              <a:gd name="T14" fmla="*/ 71 w 311"/>
              <a:gd name="T15" fmla="*/ 215 h 287"/>
              <a:gd name="T16" fmla="*/ 239 w 311"/>
              <a:gd name="T17" fmla="*/ 215 h 287"/>
              <a:gd name="T18" fmla="*/ 239 w 311"/>
              <a:gd name="T19" fmla="*/ 156 h 287"/>
              <a:gd name="T20" fmla="*/ 155 w 311"/>
              <a:gd name="T21" fmla="*/ 71 h 287"/>
              <a:gd name="T22" fmla="*/ 71 w 311"/>
              <a:gd name="T23" fmla="*/ 156 h 287"/>
              <a:gd name="T24" fmla="*/ 71 w 311"/>
              <a:gd name="T25" fmla="*/ 215 h 287"/>
              <a:gd name="T26" fmla="*/ 155 w 311"/>
              <a:gd name="T27" fmla="*/ 95 h 287"/>
              <a:gd name="T28" fmla="*/ 167 w 311"/>
              <a:gd name="T29" fmla="*/ 107 h 287"/>
              <a:gd name="T30" fmla="*/ 155 w 311"/>
              <a:gd name="T31" fmla="*/ 119 h 287"/>
              <a:gd name="T32" fmla="*/ 119 w 311"/>
              <a:gd name="T33" fmla="*/ 156 h 287"/>
              <a:gd name="T34" fmla="*/ 107 w 311"/>
              <a:gd name="T35" fmla="*/ 168 h 287"/>
              <a:gd name="T36" fmla="*/ 95 w 311"/>
              <a:gd name="T37" fmla="*/ 156 h 287"/>
              <a:gd name="T38" fmla="*/ 155 w 311"/>
              <a:gd name="T39" fmla="*/ 95 h 287"/>
              <a:gd name="T40" fmla="*/ 155 w 311"/>
              <a:gd name="T41" fmla="*/ 60 h 287"/>
              <a:gd name="T42" fmla="*/ 167 w 311"/>
              <a:gd name="T43" fmla="*/ 48 h 287"/>
              <a:gd name="T44" fmla="*/ 167 w 311"/>
              <a:gd name="T45" fmla="*/ 12 h 287"/>
              <a:gd name="T46" fmla="*/ 155 w 311"/>
              <a:gd name="T47" fmla="*/ 0 h 287"/>
              <a:gd name="T48" fmla="*/ 143 w 311"/>
              <a:gd name="T49" fmla="*/ 12 h 287"/>
              <a:gd name="T50" fmla="*/ 143 w 311"/>
              <a:gd name="T51" fmla="*/ 48 h 287"/>
              <a:gd name="T52" fmla="*/ 155 w 311"/>
              <a:gd name="T53" fmla="*/ 60 h 287"/>
              <a:gd name="T54" fmla="*/ 71 w 311"/>
              <a:gd name="T55" fmla="*/ 88 h 287"/>
              <a:gd name="T56" fmla="*/ 88 w 311"/>
              <a:gd name="T57" fmla="*/ 88 h 287"/>
              <a:gd name="T58" fmla="*/ 88 w 311"/>
              <a:gd name="T59" fmla="*/ 71 h 287"/>
              <a:gd name="T60" fmla="*/ 62 w 311"/>
              <a:gd name="T61" fmla="*/ 45 h 287"/>
              <a:gd name="T62" fmla="*/ 45 w 311"/>
              <a:gd name="T63" fmla="*/ 45 h 287"/>
              <a:gd name="T64" fmla="*/ 45 w 311"/>
              <a:gd name="T65" fmla="*/ 45 h 287"/>
              <a:gd name="T66" fmla="*/ 45 w 311"/>
              <a:gd name="T67" fmla="*/ 62 h 287"/>
              <a:gd name="T68" fmla="*/ 71 w 311"/>
              <a:gd name="T69" fmla="*/ 88 h 287"/>
              <a:gd name="T70" fmla="*/ 60 w 311"/>
              <a:gd name="T71" fmla="*/ 155 h 287"/>
              <a:gd name="T72" fmla="*/ 48 w 311"/>
              <a:gd name="T73" fmla="*/ 143 h 287"/>
              <a:gd name="T74" fmla="*/ 12 w 311"/>
              <a:gd name="T75" fmla="*/ 143 h 287"/>
              <a:gd name="T76" fmla="*/ 0 w 311"/>
              <a:gd name="T77" fmla="*/ 155 h 287"/>
              <a:gd name="T78" fmla="*/ 0 w 311"/>
              <a:gd name="T79" fmla="*/ 155 h 287"/>
              <a:gd name="T80" fmla="*/ 12 w 311"/>
              <a:gd name="T81" fmla="*/ 167 h 287"/>
              <a:gd name="T82" fmla="*/ 48 w 311"/>
              <a:gd name="T83" fmla="*/ 167 h 287"/>
              <a:gd name="T84" fmla="*/ 60 w 311"/>
              <a:gd name="T85" fmla="*/ 155 h 287"/>
              <a:gd name="T86" fmla="*/ 299 w 311"/>
              <a:gd name="T87" fmla="*/ 143 h 287"/>
              <a:gd name="T88" fmla="*/ 263 w 311"/>
              <a:gd name="T89" fmla="*/ 143 h 287"/>
              <a:gd name="T90" fmla="*/ 251 w 311"/>
              <a:gd name="T91" fmla="*/ 155 h 287"/>
              <a:gd name="T92" fmla="*/ 263 w 311"/>
              <a:gd name="T93" fmla="*/ 167 h 287"/>
              <a:gd name="T94" fmla="*/ 299 w 311"/>
              <a:gd name="T95" fmla="*/ 167 h 287"/>
              <a:gd name="T96" fmla="*/ 311 w 311"/>
              <a:gd name="T97" fmla="*/ 155 h 287"/>
              <a:gd name="T98" fmla="*/ 299 w 311"/>
              <a:gd name="T99" fmla="*/ 143 h 287"/>
              <a:gd name="T100" fmla="*/ 240 w 311"/>
              <a:gd name="T101" fmla="*/ 88 h 287"/>
              <a:gd name="T102" fmla="*/ 265 w 311"/>
              <a:gd name="T103" fmla="*/ 62 h 287"/>
              <a:gd name="T104" fmla="*/ 265 w 311"/>
              <a:gd name="T105" fmla="*/ 45 h 287"/>
              <a:gd name="T106" fmla="*/ 248 w 311"/>
              <a:gd name="T107" fmla="*/ 45 h 287"/>
              <a:gd name="T108" fmla="*/ 223 w 311"/>
              <a:gd name="T109" fmla="*/ 71 h 287"/>
              <a:gd name="T110" fmla="*/ 223 w 311"/>
              <a:gd name="T111" fmla="*/ 88 h 287"/>
              <a:gd name="T112" fmla="*/ 240 w 311"/>
              <a:gd name="T113" fmla="*/ 8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1" h="287">
                <a:moveTo>
                  <a:pt x="251" y="239"/>
                </a:moveTo>
                <a:cubicBezTo>
                  <a:pt x="59" y="239"/>
                  <a:pt x="59" y="239"/>
                  <a:pt x="59" y="239"/>
                </a:cubicBezTo>
                <a:cubicBezTo>
                  <a:pt x="46" y="239"/>
                  <a:pt x="35" y="250"/>
                  <a:pt x="35" y="263"/>
                </a:cubicBezTo>
                <a:cubicBezTo>
                  <a:pt x="35" y="287"/>
                  <a:pt x="35" y="287"/>
                  <a:pt x="35" y="287"/>
                </a:cubicBezTo>
                <a:cubicBezTo>
                  <a:pt x="275" y="287"/>
                  <a:pt x="275" y="287"/>
                  <a:pt x="275" y="287"/>
                </a:cubicBezTo>
                <a:cubicBezTo>
                  <a:pt x="275" y="263"/>
                  <a:pt x="275" y="263"/>
                  <a:pt x="275" y="263"/>
                </a:cubicBezTo>
                <a:cubicBezTo>
                  <a:pt x="275" y="250"/>
                  <a:pt x="264" y="239"/>
                  <a:pt x="251" y="239"/>
                </a:cubicBezTo>
                <a:close/>
                <a:moveTo>
                  <a:pt x="71" y="215"/>
                </a:moveTo>
                <a:cubicBezTo>
                  <a:pt x="239" y="215"/>
                  <a:pt x="239" y="215"/>
                  <a:pt x="239" y="215"/>
                </a:cubicBezTo>
                <a:cubicBezTo>
                  <a:pt x="239" y="156"/>
                  <a:pt x="239" y="156"/>
                  <a:pt x="239" y="156"/>
                </a:cubicBezTo>
                <a:cubicBezTo>
                  <a:pt x="239" y="109"/>
                  <a:pt x="201" y="71"/>
                  <a:pt x="155" y="71"/>
                </a:cubicBezTo>
                <a:cubicBezTo>
                  <a:pt x="109" y="71"/>
                  <a:pt x="71" y="109"/>
                  <a:pt x="71" y="156"/>
                </a:cubicBezTo>
                <a:lnTo>
                  <a:pt x="71" y="215"/>
                </a:lnTo>
                <a:close/>
                <a:moveTo>
                  <a:pt x="155" y="95"/>
                </a:moveTo>
                <a:cubicBezTo>
                  <a:pt x="162" y="95"/>
                  <a:pt x="167" y="101"/>
                  <a:pt x="167" y="107"/>
                </a:cubicBezTo>
                <a:cubicBezTo>
                  <a:pt x="167" y="114"/>
                  <a:pt x="162" y="119"/>
                  <a:pt x="155" y="119"/>
                </a:cubicBezTo>
                <a:cubicBezTo>
                  <a:pt x="135" y="119"/>
                  <a:pt x="119" y="136"/>
                  <a:pt x="119" y="156"/>
                </a:cubicBezTo>
                <a:cubicBezTo>
                  <a:pt x="119" y="162"/>
                  <a:pt x="114" y="168"/>
                  <a:pt x="107" y="168"/>
                </a:cubicBezTo>
                <a:cubicBezTo>
                  <a:pt x="100" y="168"/>
                  <a:pt x="95" y="162"/>
                  <a:pt x="95" y="156"/>
                </a:cubicBezTo>
                <a:cubicBezTo>
                  <a:pt x="95" y="122"/>
                  <a:pt x="122" y="95"/>
                  <a:pt x="155" y="95"/>
                </a:cubicBezTo>
                <a:close/>
                <a:moveTo>
                  <a:pt x="155" y="60"/>
                </a:moveTo>
                <a:cubicBezTo>
                  <a:pt x="162" y="60"/>
                  <a:pt x="167" y="54"/>
                  <a:pt x="167" y="48"/>
                </a:cubicBezTo>
                <a:cubicBezTo>
                  <a:pt x="167" y="12"/>
                  <a:pt x="167" y="12"/>
                  <a:pt x="167" y="12"/>
                </a:cubicBezTo>
                <a:cubicBezTo>
                  <a:pt x="167" y="5"/>
                  <a:pt x="162" y="0"/>
                  <a:pt x="155" y="0"/>
                </a:cubicBezTo>
                <a:cubicBezTo>
                  <a:pt x="148" y="0"/>
                  <a:pt x="143" y="5"/>
                  <a:pt x="143" y="12"/>
                </a:cubicBezTo>
                <a:cubicBezTo>
                  <a:pt x="143" y="48"/>
                  <a:pt x="143" y="48"/>
                  <a:pt x="143" y="48"/>
                </a:cubicBezTo>
                <a:cubicBezTo>
                  <a:pt x="143" y="54"/>
                  <a:pt x="148" y="60"/>
                  <a:pt x="155" y="60"/>
                </a:cubicBezTo>
                <a:close/>
                <a:moveTo>
                  <a:pt x="71" y="88"/>
                </a:moveTo>
                <a:cubicBezTo>
                  <a:pt x="75" y="92"/>
                  <a:pt x="83" y="92"/>
                  <a:pt x="88" y="88"/>
                </a:cubicBezTo>
                <a:cubicBezTo>
                  <a:pt x="92" y="83"/>
                  <a:pt x="92" y="75"/>
                  <a:pt x="88" y="71"/>
                </a:cubicBezTo>
                <a:cubicBezTo>
                  <a:pt x="62" y="45"/>
                  <a:pt x="62" y="45"/>
                  <a:pt x="62" y="45"/>
                </a:cubicBezTo>
                <a:cubicBezTo>
                  <a:pt x="57" y="41"/>
                  <a:pt x="50" y="41"/>
                  <a:pt x="45" y="45"/>
                </a:cubicBezTo>
                <a:cubicBezTo>
                  <a:pt x="45" y="45"/>
                  <a:pt x="45" y="45"/>
                  <a:pt x="45" y="45"/>
                </a:cubicBezTo>
                <a:cubicBezTo>
                  <a:pt x="40" y="50"/>
                  <a:pt x="40" y="57"/>
                  <a:pt x="45" y="62"/>
                </a:cubicBezTo>
                <a:lnTo>
                  <a:pt x="71" y="88"/>
                </a:lnTo>
                <a:close/>
                <a:moveTo>
                  <a:pt x="60" y="155"/>
                </a:moveTo>
                <a:cubicBezTo>
                  <a:pt x="60" y="149"/>
                  <a:pt x="54" y="143"/>
                  <a:pt x="48" y="143"/>
                </a:cubicBezTo>
                <a:cubicBezTo>
                  <a:pt x="12" y="143"/>
                  <a:pt x="12" y="143"/>
                  <a:pt x="12" y="143"/>
                </a:cubicBezTo>
                <a:cubicBezTo>
                  <a:pt x="5" y="143"/>
                  <a:pt x="0" y="149"/>
                  <a:pt x="0" y="155"/>
                </a:cubicBezTo>
                <a:cubicBezTo>
                  <a:pt x="0" y="155"/>
                  <a:pt x="0" y="155"/>
                  <a:pt x="0" y="155"/>
                </a:cubicBezTo>
                <a:cubicBezTo>
                  <a:pt x="0" y="162"/>
                  <a:pt x="5" y="167"/>
                  <a:pt x="12" y="167"/>
                </a:cubicBezTo>
                <a:cubicBezTo>
                  <a:pt x="48" y="167"/>
                  <a:pt x="48" y="167"/>
                  <a:pt x="48" y="167"/>
                </a:cubicBezTo>
                <a:cubicBezTo>
                  <a:pt x="54" y="167"/>
                  <a:pt x="60" y="162"/>
                  <a:pt x="60" y="155"/>
                </a:cubicBezTo>
                <a:close/>
                <a:moveTo>
                  <a:pt x="299" y="143"/>
                </a:moveTo>
                <a:cubicBezTo>
                  <a:pt x="263" y="143"/>
                  <a:pt x="263" y="143"/>
                  <a:pt x="263" y="143"/>
                </a:cubicBezTo>
                <a:cubicBezTo>
                  <a:pt x="256" y="143"/>
                  <a:pt x="251" y="149"/>
                  <a:pt x="251" y="155"/>
                </a:cubicBezTo>
                <a:cubicBezTo>
                  <a:pt x="251" y="162"/>
                  <a:pt x="256" y="167"/>
                  <a:pt x="263" y="167"/>
                </a:cubicBezTo>
                <a:cubicBezTo>
                  <a:pt x="299" y="167"/>
                  <a:pt x="299" y="167"/>
                  <a:pt x="299" y="167"/>
                </a:cubicBezTo>
                <a:cubicBezTo>
                  <a:pt x="305" y="167"/>
                  <a:pt x="311" y="162"/>
                  <a:pt x="311" y="155"/>
                </a:cubicBezTo>
                <a:cubicBezTo>
                  <a:pt x="311" y="149"/>
                  <a:pt x="305" y="143"/>
                  <a:pt x="299" y="143"/>
                </a:cubicBezTo>
                <a:close/>
                <a:moveTo>
                  <a:pt x="240" y="88"/>
                </a:moveTo>
                <a:cubicBezTo>
                  <a:pt x="265" y="62"/>
                  <a:pt x="265" y="62"/>
                  <a:pt x="265" y="62"/>
                </a:cubicBezTo>
                <a:cubicBezTo>
                  <a:pt x="270" y="57"/>
                  <a:pt x="270" y="50"/>
                  <a:pt x="265" y="45"/>
                </a:cubicBezTo>
                <a:cubicBezTo>
                  <a:pt x="260" y="41"/>
                  <a:pt x="253" y="41"/>
                  <a:pt x="248" y="45"/>
                </a:cubicBezTo>
                <a:cubicBezTo>
                  <a:pt x="223" y="71"/>
                  <a:pt x="223" y="71"/>
                  <a:pt x="223" y="71"/>
                </a:cubicBezTo>
                <a:cubicBezTo>
                  <a:pt x="218" y="75"/>
                  <a:pt x="218" y="83"/>
                  <a:pt x="223" y="88"/>
                </a:cubicBezTo>
                <a:cubicBezTo>
                  <a:pt x="227" y="92"/>
                  <a:pt x="235" y="92"/>
                  <a:pt x="240" y="88"/>
                </a:cubicBezTo>
                <a:close/>
              </a:path>
            </a:pathLst>
          </a:custGeom>
          <a:solidFill>
            <a:srgbClr val="E75C01"/>
          </a:solidFill>
          <a:ln>
            <a:noFill/>
          </a:ln>
        </p:spPr>
        <p:txBody>
          <a:bodyPr vert="horz" wrap="square" lIns="91440" tIns="45720" rIns="91440" bIns="45720" numCol="1" anchor="t" anchorCtr="0" compatLnSpc="1"/>
          <a:lstStyle/>
          <a:p>
            <a:endParaRPr lang="en-IE">
              <a:cs typeface="+mn-ea"/>
              <a:sym typeface="+mn-lt"/>
            </a:endParaRPr>
          </a:p>
        </p:txBody>
      </p:sp>
      <p:sp>
        <p:nvSpPr>
          <p:cNvPr id="27" name="矩形 22"/>
          <p:cNvSpPr>
            <a:spLocks noChangeArrowheads="1"/>
          </p:cNvSpPr>
          <p:nvPr/>
        </p:nvSpPr>
        <p:spPr bwMode="auto">
          <a:xfrm>
            <a:off x="9766700" y="1873005"/>
            <a:ext cx="1914947" cy="348917"/>
          </a:xfrm>
          <a:prstGeom prst="rect">
            <a:avLst/>
          </a:prstGeom>
          <a:solidFill>
            <a:schemeClr val="bg1">
              <a:lumMod val="95000"/>
            </a:schemeClr>
          </a:solidFill>
          <a:ln>
            <a:noFill/>
          </a:ln>
        </p:spPr>
        <p:txBody>
          <a:bodyPr lIns="0" tIns="0" rIns="0" bIns="0" anchor="ctr"/>
          <a:lstStyle>
            <a:lvl1pPr>
              <a:defRPr>
                <a:solidFill>
                  <a:schemeClr val="tx1"/>
                </a:solidFill>
                <a:latin typeface="Arial" panose="020B0604020202020204" pitchFamily="34" charset="0"/>
                <a:ea typeface="华文楷体" panose="02010600040101010101" charset="-122"/>
              </a:defRPr>
            </a:lvl1pPr>
            <a:lvl2pPr marL="742950" indent="-285750">
              <a:defRPr>
                <a:solidFill>
                  <a:schemeClr val="tx1"/>
                </a:solidFill>
                <a:latin typeface="Arial" panose="020B0604020202020204" pitchFamily="34" charset="0"/>
                <a:ea typeface="华文楷体" panose="02010600040101010101" charset="-122"/>
              </a:defRPr>
            </a:lvl2pPr>
            <a:lvl3pPr marL="1143000" indent="-228600">
              <a:defRPr>
                <a:solidFill>
                  <a:schemeClr val="tx1"/>
                </a:solidFill>
                <a:latin typeface="Arial" panose="020B0604020202020204" pitchFamily="34" charset="0"/>
                <a:ea typeface="华文楷体" panose="02010600040101010101" charset="-122"/>
              </a:defRPr>
            </a:lvl3pPr>
            <a:lvl4pPr marL="1600200" indent="-228600">
              <a:defRPr>
                <a:solidFill>
                  <a:schemeClr val="tx1"/>
                </a:solidFill>
                <a:latin typeface="Arial" panose="020B0604020202020204" pitchFamily="34" charset="0"/>
                <a:ea typeface="华文楷体" panose="02010600040101010101" charset="-122"/>
              </a:defRPr>
            </a:lvl4pPr>
            <a:lvl5pPr marL="2057400" indent="-228600">
              <a:defRPr>
                <a:solidFill>
                  <a:schemeClr val="tx1"/>
                </a:solidFill>
                <a:latin typeface="Arial" panose="020B0604020202020204" pitchFamily="34" charset="0"/>
                <a:ea typeface="华文楷体" panose="02010600040101010101" charset="-122"/>
              </a:defRPr>
            </a:lvl5pPr>
            <a:lvl6pPr marL="25146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6pPr>
            <a:lvl7pPr marL="29718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7pPr>
            <a:lvl8pPr marL="34290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8pPr>
            <a:lvl9pPr marL="38862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9pPr>
          </a:lstStyle>
          <a:p>
            <a:pPr algn="ctr" fontAlgn="base">
              <a:spcBef>
                <a:spcPct val="0"/>
              </a:spcBef>
              <a:spcAft>
                <a:spcPct val="0"/>
              </a:spcAft>
              <a:defRPr/>
            </a:pPr>
            <a:r>
              <a:rPr lang="en-US" altLang="zh-CN" b="1" dirty="0" smtClean="0">
                <a:solidFill>
                  <a:srgbClr val="FE8637"/>
                </a:solidFill>
                <a:latin typeface="+mn-lt"/>
                <a:ea typeface="+mn-ea"/>
                <a:cs typeface="+mn-ea"/>
                <a:sym typeface="+mn-lt"/>
              </a:rPr>
              <a:t>5.xx</a:t>
            </a:r>
            <a:endParaRPr lang="zh-CN" altLang="en-US" b="1" dirty="0">
              <a:solidFill>
                <a:srgbClr val="FE8637"/>
              </a:solidFill>
              <a:latin typeface="+mn-lt"/>
              <a:ea typeface="+mn-ea"/>
              <a:cs typeface="+mn-ea"/>
              <a:sym typeface="+mn-lt"/>
            </a:endParaRPr>
          </a:p>
        </p:txBody>
      </p:sp>
      <p:sp>
        <p:nvSpPr>
          <p:cNvPr id="28" name="文本框 27"/>
          <p:cNvSpPr txBox="1"/>
          <p:nvPr/>
        </p:nvSpPr>
        <p:spPr>
          <a:xfrm>
            <a:off x="9752412" y="2244017"/>
            <a:ext cx="1914947" cy="1079837"/>
          </a:xfrm>
          <a:prstGeom prst="rect">
            <a:avLst/>
          </a:prstGeom>
          <a:solidFill>
            <a:schemeClr val="bg1">
              <a:lumMod val="95000"/>
            </a:schemeClr>
          </a:solidFill>
        </p:spPr>
        <p:txBody>
          <a:bodyPr wrap="square" rtlCol="0" anchor="t">
            <a:noAutofit/>
          </a:bodyPr>
          <a:lstStyle/>
          <a:p>
            <a:pPr marL="285750" indent="-285750">
              <a:spcBef>
                <a:spcPts val="300"/>
              </a:spcBef>
              <a:buFont typeface="Arial" panose="020B0604020202020204" pitchFamily="34" charset="0"/>
              <a:buChar char="•"/>
            </a:pPr>
            <a:r>
              <a:rPr lang="en-US" altLang="zh-CN" sz="1400" dirty="0" smtClean="0">
                <a:cs typeface="+mn-ea"/>
                <a:sym typeface="+mn-lt"/>
              </a:rPr>
              <a:t>xx</a:t>
            </a:r>
            <a:endParaRPr lang="zh-CN" altLang="en-US" sz="1400" dirty="0">
              <a:cs typeface="+mn-ea"/>
              <a:sym typeface="+mn-lt"/>
            </a:endParaRPr>
          </a:p>
        </p:txBody>
      </p:sp>
      <p:sp>
        <p:nvSpPr>
          <p:cNvPr id="29" name="Freeform 15"/>
          <p:cNvSpPr>
            <a:spLocks noEditPoints="1"/>
          </p:cNvSpPr>
          <p:nvPr/>
        </p:nvSpPr>
        <p:spPr bwMode="auto">
          <a:xfrm>
            <a:off x="10419331" y="1254136"/>
            <a:ext cx="504000" cy="504000"/>
          </a:xfrm>
          <a:custGeom>
            <a:avLst/>
            <a:gdLst>
              <a:gd name="T0" fmla="*/ 156 w 312"/>
              <a:gd name="T1" fmla="*/ 0 h 312"/>
              <a:gd name="T2" fmla="*/ 0 w 312"/>
              <a:gd name="T3" fmla="*/ 156 h 312"/>
              <a:gd name="T4" fmla="*/ 156 w 312"/>
              <a:gd name="T5" fmla="*/ 312 h 312"/>
              <a:gd name="T6" fmla="*/ 312 w 312"/>
              <a:gd name="T7" fmla="*/ 156 h 312"/>
              <a:gd name="T8" fmla="*/ 156 w 312"/>
              <a:gd name="T9" fmla="*/ 0 h 312"/>
              <a:gd name="T10" fmla="*/ 156 w 312"/>
              <a:gd name="T11" fmla="*/ 288 h 312"/>
              <a:gd name="T12" fmla="*/ 24 w 312"/>
              <a:gd name="T13" fmla="*/ 156 h 312"/>
              <a:gd name="T14" fmla="*/ 156 w 312"/>
              <a:gd name="T15" fmla="*/ 24 h 312"/>
              <a:gd name="T16" fmla="*/ 288 w 312"/>
              <a:gd name="T17" fmla="*/ 156 h 312"/>
              <a:gd name="T18" fmla="*/ 156 w 312"/>
              <a:gd name="T19" fmla="*/ 288 h 312"/>
              <a:gd name="T20" fmla="*/ 156 w 312"/>
              <a:gd name="T21" fmla="*/ 48 h 312"/>
              <a:gd name="T22" fmla="*/ 48 w 312"/>
              <a:gd name="T23" fmla="*/ 156 h 312"/>
              <a:gd name="T24" fmla="*/ 156 w 312"/>
              <a:gd name="T25" fmla="*/ 264 h 312"/>
              <a:gd name="T26" fmla="*/ 264 w 312"/>
              <a:gd name="T27" fmla="*/ 156 h 312"/>
              <a:gd name="T28" fmla="*/ 156 w 312"/>
              <a:gd name="T29" fmla="*/ 48 h 312"/>
              <a:gd name="T30" fmla="*/ 82 w 312"/>
              <a:gd name="T31" fmla="*/ 180 h 312"/>
              <a:gd name="T32" fmla="*/ 78 w 312"/>
              <a:gd name="T33" fmla="*/ 176 h 312"/>
              <a:gd name="T34" fmla="*/ 78 w 312"/>
              <a:gd name="T35" fmla="*/ 136 h 312"/>
              <a:gd name="T36" fmla="*/ 82 w 312"/>
              <a:gd name="T37" fmla="*/ 132 h 312"/>
              <a:gd name="T38" fmla="*/ 230 w 312"/>
              <a:gd name="T39" fmla="*/ 132 h 312"/>
              <a:gd name="T40" fmla="*/ 234 w 312"/>
              <a:gd name="T41" fmla="*/ 136 h 312"/>
              <a:gd name="T42" fmla="*/ 234 w 312"/>
              <a:gd name="T43" fmla="*/ 176 h 312"/>
              <a:gd name="T44" fmla="*/ 230 w 312"/>
              <a:gd name="T45" fmla="*/ 180 h 312"/>
              <a:gd name="T46" fmla="*/ 82 w 312"/>
              <a:gd name="T47" fmla="*/ 18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2" h="312">
                <a:moveTo>
                  <a:pt x="156" y="0"/>
                </a:moveTo>
                <a:cubicBezTo>
                  <a:pt x="70" y="0"/>
                  <a:pt x="0" y="70"/>
                  <a:pt x="0" y="156"/>
                </a:cubicBezTo>
                <a:cubicBezTo>
                  <a:pt x="0" y="242"/>
                  <a:pt x="70" y="312"/>
                  <a:pt x="156" y="312"/>
                </a:cubicBezTo>
                <a:cubicBezTo>
                  <a:pt x="242" y="312"/>
                  <a:pt x="312" y="242"/>
                  <a:pt x="312" y="156"/>
                </a:cubicBezTo>
                <a:cubicBezTo>
                  <a:pt x="312" y="70"/>
                  <a:pt x="242" y="0"/>
                  <a:pt x="156" y="0"/>
                </a:cubicBezTo>
                <a:close/>
                <a:moveTo>
                  <a:pt x="156" y="288"/>
                </a:moveTo>
                <a:cubicBezTo>
                  <a:pt x="83" y="288"/>
                  <a:pt x="24" y="229"/>
                  <a:pt x="24" y="156"/>
                </a:cubicBezTo>
                <a:cubicBezTo>
                  <a:pt x="24" y="83"/>
                  <a:pt x="83" y="24"/>
                  <a:pt x="156" y="24"/>
                </a:cubicBezTo>
                <a:cubicBezTo>
                  <a:pt x="229" y="24"/>
                  <a:pt x="288" y="83"/>
                  <a:pt x="288" y="156"/>
                </a:cubicBezTo>
                <a:cubicBezTo>
                  <a:pt x="288" y="229"/>
                  <a:pt x="229" y="288"/>
                  <a:pt x="156" y="288"/>
                </a:cubicBezTo>
                <a:close/>
                <a:moveTo>
                  <a:pt x="156" y="48"/>
                </a:moveTo>
                <a:cubicBezTo>
                  <a:pt x="97" y="48"/>
                  <a:pt x="48" y="96"/>
                  <a:pt x="48" y="156"/>
                </a:cubicBezTo>
                <a:cubicBezTo>
                  <a:pt x="48" y="216"/>
                  <a:pt x="97" y="264"/>
                  <a:pt x="156" y="264"/>
                </a:cubicBezTo>
                <a:cubicBezTo>
                  <a:pt x="216" y="264"/>
                  <a:pt x="264" y="216"/>
                  <a:pt x="264" y="156"/>
                </a:cubicBezTo>
                <a:cubicBezTo>
                  <a:pt x="264" y="96"/>
                  <a:pt x="216" y="48"/>
                  <a:pt x="156" y="48"/>
                </a:cubicBezTo>
                <a:close/>
                <a:moveTo>
                  <a:pt x="82" y="180"/>
                </a:moveTo>
                <a:cubicBezTo>
                  <a:pt x="80" y="180"/>
                  <a:pt x="78" y="178"/>
                  <a:pt x="78" y="176"/>
                </a:cubicBezTo>
                <a:cubicBezTo>
                  <a:pt x="78" y="136"/>
                  <a:pt x="78" y="136"/>
                  <a:pt x="78" y="136"/>
                </a:cubicBezTo>
                <a:cubicBezTo>
                  <a:pt x="78" y="134"/>
                  <a:pt x="80" y="132"/>
                  <a:pt x="82" y="132"/>
                </a:cubicBezTo>
                <a:cubicBezTo>
                  <a:pt x="230" y="132"/>
                  <a:pt x="230" y="132"/>
                  <a:pt x="230" y="132"/>
                </a:cubicBezTo>
                <a:cubicBezTo>
                  <a:pt x="232" y="132"/>
                  <a:pt x="234" y="134"/>
                  <a:pt x="234" y="136"/>
                </a:cubicBezTo>
                <a:cubicBezTo>
                  <a:pt x="234" y="176"/>
                  <a:pt x="234" y="176"/>
                  <a:pt x="234" y="176"/>
                </a:cubicBezTo>
                <a:cubicBezTo>
                  <a:pt x="234" y="178"/>
                  <a:pt x="232" y="180"/>
                  <a:pt x="230" y="180"/>
                </a:cubicBezTo>
                <a:lnTo>
                  <a:pt x="82" y="180"/>
                </a:lnTo>
                <a:close/>
              </a:path>
            </a:pathLst>
          </a:custGeom>
          <a:solidFill>
            <a:srgbClr val="E75C01"/>
          </a:solidFill>
          <a:ln>
            <a:noFill/>
          </a:ln>
        </p:spPr>
        <p:txBody>
          <a:bodyPr vert="horz" wrap="square" lIns="91440" tIns="45720" rIns="91440" bIns="45720" numCol="1" anchor="t" anchorCtr="0" compatLnSpc="1"/>
          <a:lstStyle/>
          <a:p>
            <a:endParaRPr lang="en-IE">
              <a:cs typeface="+mn-ea"/>
              <a:sym typeface="+mn-lt"/>
            </a:endParaRPr>
          </a:p>
        </p:txBody>
      </p:sp>
      <p:sp>
        <p:nvSpPr>
          <p:cNvPr id="30" name="矩形 29"/>
          <p:cNvSpPr/>
          <p:nvPr/>
        </p:nvSpPr>
        <p:spPr>
          <a:xfrm>
            <a:off x="335628" y="5685994"/>
            <a:ext cx="907282" cy="694944"/>
          </a:xfrm>
          <a:prstGeom prst="rect">
            <a:avLst/>
          </a:prstGeom>
          <a:noFill/>
          <a:ln w="12700" cap="flat" cmpd="sng" algn="ctr">
            <a:noFill/>
            <a:prstDash val="solid"/>
            <a:miter lim="800000"/>
          </a:ln>
          <a:effectLst/>
        </p:spPr>
        <p:txBody>
          <a:bodyPr lIns="0" tIns="0" rIns="0" bIns="0" rtlCol="0" anchor="ctr">
            <a:noAutofit/>
          </a:bodyPr>
          <a:lstStyle/>
          <a:p>
            <a:pPr algn="ctr" latinLnBrk="1">
              <a:defRPr/>
            </a:pPr>
            <a:r>
              <a:rPr lang="zh-CN" altLang="en-US" sz="2000" b="1" dirty="0" smtClean="0">
                <a:cs typeface="+mn-ea"/>
                <a:sym typeface="+mn-lt"/>
              </a:rPr>
              <a:t>平安云</a:t>
            </a:r>
            <a:endParaRPr lang="zh-CN" altLang="en-US" sz="2000" b="1" dirty="0">
              <a:cs typeface="+mn-ea"/>
              <a:sym typeface="+mn-lt"/>
            </a:endParaRPr>
          </a:p>
        </p:txBody>
      </p:sp>
      <p:sp>
        <p:nvSpPr>
          <p:cNvPr id="31" name="TextBox 81"/>
          <p:cNvSpPr txBox="1"/>
          <p:nvPr/>
        </p:nvSpPr>
        <p:spPr>
          <a:xfrm>
            <a:off x="1333688" y="2026431"/>
            <a:ext cx="45719" cy="1188000"/>
          </a:xfrm>
          <a:prstGeom prst="rect">
            <a:avLst/>
          </a:prstGeom>
          <a:solidFill>
            <a:schemeClr val="bg1">
              <a:lumMod val="85000"/>
            </a:schemeClr>
          </a:solidFill>
        </p:spPr>
        <p:txBody>
          <a:bodyPr wrap="square" lIns="93296" tIns="46648" rIns="93296" bIns="46648" rtlCol="0" anchor="ctr">
            <a:spAutoFit/>
          </a:bodyPr>
          <a:lstStyle/>
          <a:p>
            <a:pPr algn="ctr">
              <a:defRPr/>
            </a:pPr>
            <a:endParaRPr lang="zh-CN" altLang="en-US" b="1" dirty="0">
              <a:cs typeface="+mn-ea"/>
              <a:sym typeface="+mn-lt"/>
            </a:endParaRPr>
          </a:p>
        </p:txBody>
      </p:sp>
      <p:sp>
        <p:nvSpPr>
          <p:cNvPr id="32" name="TextBox 82"/>
          <p:cNvSpPr txBox="1"/>
          <p:nvPr/>
        </p:nvSpPr>
        <p:spPr>
          <a:xfrm>
            <a:off x="1333688" y="3486157"/>
            <a:ext cx="45719" cy="1044000"/>
          </a:xfrm>
          <a:prstGeom prst="rect">
            <a:avLst/>
          </a:prstGeom>
          <a:solidFill>
            <a:schemeClr val="bg1">
              <a:lumMod val="85000"/>
            </a:schemeClr>
          </a:solidFill>
        </p:spPr>
        <p:txBody>
          <a:bodyPr wrap="square" lIns="93296" tIns="46648" rIns="93296" bIns="46648" rtlCol="0">
            <a:spAutoFit/>
          </a:bodyPr>
          <a:lstStyle/>
          <a:p>
            <a:pPr algn="ctr" latinLnBrk="1">
              <a:defRPr/>
            </a:pPr>
            <a:endParaRPr lang="zh-CN" altLang="en-US" b="1" dirty="0">
              <a:cs typeface="+mn-ea"/>
              <a:sym typeface="+mn-lt"/>
            </a:endParaRPr>
          </a:p>
        </p:txBody>
      </p:sp>
      <p:sp>
        <p:nvSpPr>
          <p:cNvPr id="33" name="矩形 32"/>
          <p:cNvSpPr/>
          <p:nvPr/>
        </p:nvSpPr>
        <p:spPr>
          <a:xfrm>
            <a:off x="1333688" y="4821175"/>
            <a:ext cx="45719" cy="694944"/>
          </a:xfrm>
          <a:prstGeom prst="rect">
            <a:avLst/>
          </a:prstGeom>
          <a:solidFill>
            <a:schemeClr val="bg1">
              <a:lumMod val="85000"/>
            </a:schemeClr>
          </a:solidFill>
          <a:ln w="12700" cap="flat" cmpd="sng" algn="ctr">
            <a:noFill/>
            <a:prstDash val="solid"/>
            <a:miter lim="800000"/>
          </a:ln>
          <a:effectLst/>
        </p:spPr>
        <p:txBody>
          <a:bodyPr rtlCol="0" anchor="ctr"/>
          <a:lstStyle/>
          <a:p>
            <a:pPr algn="ctr" latinLnBrk="1">
              <a:defRPr/>
            </a:pPr>
            <a:endParaRPr lang="zh-CN" altLang="en-US" b="1" dirty="0">
              <a:cs typeface="+mn-ea"/>
              <a:sym typeface="+mn-lt"/>
            </a:endParaRPr>
          </a:p>
        </p:txBody>
      </p:sp>
      <p:sp>
        <p:nvSpPr>
          <p:cNvPr id="34" name="矩形 33"/>
          <p:cNvSpPr/>
          <p:nvPr/>
        </p:nvSpPr>
        <p:spPr>
          <a:xfrm>
            <a:off x="1333688" y="5685994"/>
            <a:ext cx="45719" cy="694944"/>
          </a:xfrm>
          <a:prstGeom prst="rect">
            <a:avLst/>
          </a:prstGeom>
          <a:solidFill>
            <a:schemeClr val="bg1">
              <a:lumMod val="85000"/>
            </a:schemeClr>
          </a:solidFill>
          <a:ln w="12700" cap="flat" cmpd="sng" algn="ctr">
            <a:noFill/>
            <a:prstDash val="solid"/>
            <a:miter lim="800000"/>
          </a:ln>
          <a:effectLst/>
        </p:spPr>
        <p:txBody>
          <a:bodyPr rtlCol="0" anchor="ctr"/>
          <a:lstStyle/>
          <a:p>
            <a:pPr algn="ctr" latinLnBrk="1">
              <a:defRPr/>
            </a:pPr>
            <a:endParaRPr lang="zh-CN" altLang="en-US" b="1" dirty="0">
              <a:cs typeface="+mn-ea"/>
              <a:sym typeface="+mn-lt"/>
            </a:endParaRPr>
          </a:p>
        </p:txBody>
      </p:sp>
      <p:cxnSp>
        <p:nvCxnSpPr>
          <p:cNvPr id="35" name="直接连接符 34"/>
          <p:cNvCxnSpPr/>
          <p:nvPr/>
        </p:nvCxnSpPr>
        <p:spPr>
          <a:xfrm>
            <a:off x="4044577" y="3543309"/>
            <a:ext cx="0" cy="1024128"/>
          </a:xfrm>
          <a:prstGeom prst="line">
            <a:avLst/>
          </a:prstGeom>
          <a:ln w="6350" cap="rnd">
            <a:solidFill>
              <a:schemeClr val="bg1">
                <a:lumMod val="5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6628063" y="3543309"/>
            <a:ext cx="0" cy="1024128"/>
          </a:xfrm>
          <a:prstGeom prst="line">
            <a:avLst/>
          </a:prstGeom>
          <a:ln w="6350" cap="rnd">
            <a:solidFill>
              <a:schemeClr val="bg1">
                <a:lumMod val="5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9211548" y="3543309"/>
            <a:ext cx="0" cy="1024128"/>
          </a:xfrm>
          <a:prstGeom prst="line">
            <a:avLst/>
          </a:prstGeom>
          <a:ln w="6350" cap="rnd">
            <a:solidFill>
              <a:schemeClr val="bg1">
                <a:lumMod val="5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38" name="矩形 24"/>
          <p:cNvSpPr>
            <a:spLocks noChangeArrowheads="1"/>
          </p:cNvSpPr>
          <p:nvPr/>
        </p:nvSpPr>
        <p:spPr bwMode="auto">
          <a:xfrm>
            <a:off x="1574480" y="4849751"/>
            <a:ext cx="1914947" cy="694944"/>
          </a:xfrm>
          <a:prstGeom prst="rect">
            <a:avLst/>
          </a:prstGeom>
          <a:solidFill>
            <a:schemeClr val="bg1">
              <a:lumMod val="95000"/>
            </a:schemeClr>
          </a:solidFill>
          <a:ln>
            <a:noFill/>
          </a:ln>
        </p:spPr>
        <p:txBody>
          <a:bodyPr lIns="0" tIns="0" rIns="0" bIns="0" anchor="ctr"/>
          <a:lstStyle>
            <a:lvl1pPr>
              <a:defRPr>
                <a:solidFill>
                  <a:schemeClr val="tx1"/>
                </a:solidFill>
                <a:latin typeface="Arial" panose="020B0604020202020204" pitchFamily="34" charset="0"/>
                <a:ea typeface="华文楷体" panose="02010600040101010101" charset="-122"/>
              </a:defRPr>
            </a:lvl1pPr>
            <a:lvl2pPr marL="742950" indent="-285750">
              <a:defRPr>
                <a:solidFill>
                  <a:schemeClr val="tx1"/>
                </a:solidFill>
                <a:latin typeface="Arial" panose="020B0604020202020204" pitchFamily="34" charset="0"/>
                <a:ea typeface="华文楷体" panose="02010600040101010101" charset="-122"/>
              </a:defRPr>
            </a:lvl2pPr>
            <a:lvl3pPr marL="1143000" indent="-228600">
              <a:defRPr>
                <a:solidFill>
                  <a:schemeClr val="tx1"/>
                </a:solidFill>
                <a:latin typeface="Arial" panose="020B0604020202020204" pitchFamily="34" charset="0"/>
                <a:ea typeface="华文楷体" panose="02010600040101010101" charset="-122"/>
              </a:defRPr>
            </a:lvl3pPr>
            <a:lvl4pPr marL="1600200" indent="-228600">
              <a:defRPr>
                <a:solidFill>
                  <a:schemeClr val="tx1"/>
                </a:solidFill>
                <a:latin typeface="Arial" panose="020B0604020202020204" pitchFamily="34" charset="0"/>
                <a:ea typeface="华文楷体" panose="02010600040101010101" charset="-122"/>
              </a:defRPr>
            </a:lvl4pPr>
            <a:lvl5pPr marL="2057400" indent="-228600">
              <a:defRPr>
                <a:solidFill>
                  <a:schemeClr val="tx1"/>
                </a:solidFill>
                <a:latin typeface="Arial" panose="020B0604020202020204" pitchFamily="34" charset="0"/>
                <a:ea typeface="华文楷体" panose="02010600040101010101" charset="-122"/>
              </a:defRPr>
            </a:lvl5pPr>
            <a:lvl6pPr marL="25146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6pPr>
            <a:lvl7pPr marL="29718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7pPr>
            <a:lvl8pPr marL="34290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8pPr>
            <a:lvl9pPr marL="38862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9pPr>
          </a:lstStyle>
          <a:p>
            <a:pPr algn="ctr" fontAlgn="base">
              <a:spcBef>
                <a:spcPct val="0"/>
              </a:spcBef>
              <a:spcAft>
                <a:spcPct val="0"/>
              </a:spcAft>
              <a:defRPr/>
            </a:pPr>
            <a:endParaRPr lang="zh-CN" altLang="en-US" b="1" dirty="0">
              <a:latin typeface="+mn-lt"/>
              <a:ea typeface="+mn-ea"/>
              <a:cs typeface="+mn-ea"/>
              <a:sym typeface="+mn-lt"/>
            </a:endParaRPr>
          </a:p>
        </p:txBody>
      </p:sp>
      <p:sp>
        <p:nvSpPr>
          <p:cNvPr id="39" name="矩形 21"/>
          <p:cNvSpPr>
            <a:spLocks noChangeArrowheads="1"/>
          </p:cNvSpPr>
          <p:nvPr/>
        </p:nvSpPr>
        <p:spPr bwMode="auto">
          <a:xfrm>
            <a:off x="5670590" y="4849751"/>
            <a:ext cx="1914947" cy="694944"/>
          </a:xfrm>
          <a:prstGeom prst="rect">
            <a:avLst/>
          </a:prstGeom>
          <a:solidFill>
            <a:schemeClr val="bg1">
              <a:lumMod val="95000"/>
            </a:schemeClr>
          </a:solidFill>
          <a:ln>
            <a:noFill/>
          </a:ln>
        </p:spPr>
        <p:txBody>
          <a:bodyPr lIns="0" tIns="0" rIns="0" bIns="0" anchor="ctr"/>
          <a:lstStyle>
            <a:lvl1pPr>
              <a:defRPr>
                <a:solidFill>
                  <a:schemeClr val="tx1"/>
                </a:solidFill>
                <a:latin typeface="Arial" panose="020B0604020202020204" pitchFamily="34" charset="0"/>
                <a:ea typeface="华文楷体" panose="02010600040101010101" charset="-122"/>
              </a:defRPr>
            </a:lvl1pPr>
            <a:lvl2pPr marL="742950" indent="-285750">
              <a:defRPr>
                <a:solidFill>
                  <a:schemeClr val="tx1"/>
                </a:solidFill>
                <a:latin typeface="Arial" panose="020B0604020202020204" pitchFamily="34" charset="0"/>
                <a:ea typeface="华文楷体" panose="02010600040101010101" charset="-122"/>
              </a:defRPr>
            </a:lvl2pPr>
            <a:lvl3pPr marL="1143000" indent="-228600">
              <a:defRPr>
                <a:solidFill>
                  <a:schemeClr val="tx1"/>
                </a:solidFill>
                <a:latin typeface="Arial" panose="020B0604020202020204" pitchFamily="34" charset="0"/>
                <a:ea typeface="华文楷体" panose="02010600040101010101" charset="-122"/>
              </a:defRPr>
            </a:lvl3pPr>
            <a:lvl4pPr marL="1600200" indent="-228600">
              <a:defRPr>
                <a:solidFill>
                  <a:schemeClr val="tx1"/>
                </a:solidFill>
                <a:latin typeface="Arial" panose="020B0604020202020204" pitchFamily="34" charset="0"/>
                <a:ea typeface="华文楷体" panose="02010600040101010101" charset="-122"/>
              </a:defRPr>
            </a:lvl4pPr>
            <a:lvl5pPr marL="2057400" indent="-228600">
              <a:defRPr>
                <a:solidFill>
                  <a:schemeClr val="tx1"/>
                </a:solidFill>
                <a:latin typeface="Arial" panose="020B0604020202020204" pitchFamily="34" charset="0"/>
                <a:ea typeface="华文楷体" panose="02010600040101010101" charset="-122"/>
              </a:defRPr>
            </a:lvl5pPr>
            <a:lvl6pPr marL="25146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6pPr>
            <a:lvl7pPr marL="29718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7pPr>
            <a:lvl8pPr marL="34290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8pPr>
            <a:lvl9pPr marL="38862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9pPr>
          </a:lstStyle>
          <a:p>
            <a:pPr algn="ctr">
              <a:defRPr/>
            </a:pPr>
            <a:endParaRPr lang="zh-CN" altLang="en-US" b="1" dirty="0">
              <a:latin typeface="+mn-lt"/>
              <a:ea typeface="+mn-ea"/>
              <a:cs typeface="+mn-ea"/>
              <a:sym typeface="+mn-lt"/>
            </a:endParaRPr>
          </a:p>
        </p:txBody>
      </p:sp>
      <p:sp>
        <p:nvSpPr>
          <p:cNvPr id="40" name="矩形 39"/>
          <p:cNvSpPr/>
          <p:nvPr/>
        </p:nvSpPr>
        <p:spPr>
          <a:xfrm>
            <a:off x="7718644" y="4849751"/>
            <a:ext cx="1914947" cy="694944"/>
          </a:xfrm>
          <a:prstGeom prst="rect">
            <a:avLst/>
          </a:prstGeom>
          <a:solidFill>
            <a:schemeClr val="bg1">
              <a:lumMod val="95000"/>
            </a:schemeClr>
          </a:solidFill>
          <a:ln w="12700" cap="flat" cmpd="sng" algn="ctr">
            <a:noFill/>
            <a:prstDash val="solid"/>
            <a:miter lim="800000"/>
          </a:ln>
          <a:effectLst/>
        </p:spPr>
        <p:txBody>
          <a:bodyPr lIns="0" tIns="0" rIns="0" bIns="0" rtlCol="0" anchor="ctr"/>
          <a:lstStyle/>
          <a:p>
            <a:pPr algn="ctr">
              <a:defRPr/>
            </a:pPr>
            <a:endParaRPr lang="zh-CN" altLang="en-US" b="1" dirty="0">
              <a:cs typeface="+mn-ea"/>
              <a:sym typeface="+mn-lt"/>
            </a:endParaRPr>
          </a:p>
        </p:txBody>
      </p:sp>
      <p:sp>
        <p:nvSpPr>
          <p:cNvPr id="41" name="矩形 40"/>
          <p:cNvSpPr/>
          <p:nvPr/>
        </p:nvSpPr>
        <p:spPr>
          <a:xfrm>
            <a:off x="9766700" y="4849751"/>
            <a:ext cx="1914947" cy="694944"/>
          </a:xfrm>
          <a:prstGeom prst="rect">
            <a:avLst/>
          </a:prstGeom>
          <a:solidFill>
            <a:schemeClr val="bg1">
              <a:lumMod val="95000"/>
            </a:schemeClr>
          </a:solidFill>
          <a:ln w="12700" cap="flat" cmpd="sng" algn="ctr">
            <a:noFill/>
            <a:prstDash val="solid"/>
            <a:miter lim="800000"/>
          </a:ln>
          <a:effectLst/>
        </p:spPr>
        <p:txBody>
          <a:bodyPr lIns="0" tIns="0" rIns="0" bIns="0" rtlCol="0" anchor="ctr"/>
          <a:lstStyle/>
          <a:p>
            <a:pPr algn="ctr">
              <a:defRPr/>
            </a:pPr>
            <a:endParaRPr lang="zh-CN" altLang="en-US" b="1" dirty="0">
              <a:cs typeface="+mn-ea"/>
              <a:sym typeface="+mn-lt"/>
            </a:endParaRPr>
          </a:p>
        </p:txBody>
      </p:sp>
      <p:sp>
        <p:nvSpPr>
          <p:cNvPr id="42" name="矩形 22"/>
          <p:cNvSpPr>
            <a:spLocks noChangeArrowheads="1"/>
          </p:cNvSpPr>
          <p:nvPr/>
        </p:nvSpPr>
        <p:spPr bwMode="auto">
          <a:xfrm>
            <a:off x="3622535" y="4849751"/>
            <a:ext cx="1914947" cy="694944"/>
          </a:xfrm>
          <a:prstGeom prst="rect">
            <a:avLst/>
          </a:prstGeom>
          <a:solidFill>
            <a:schemeClr val="bg1">
              <a:lumMod val="95000"/>
            </a:schemeClr>
          </a:solidFill>
          <a:ln>
            <a:noFill/>
          </a:ln>
        </p:spPr>
        <p:txBody>
          <a:bodyPr lIns="0" tIns="0" rIns="0" bIns="0" anchor="ctr"/>
          <a:lstStyle>
            <a:lvl1pPr>
              <a:defRPr>
                <a:solidFill>
                  <a:schemeClr val="tx1"/>
                </a:solidFill>
                <a:latin typeface="Arial" panose="020B0604020202020204" pitchFamily="34" charset="0"/>
                <a:ea typeface="华文楷体" panose="02010600040101010101" charset="-122"/>
              </a:defRPr>
            </a:lvl1pPr>
            <a:lvl2pPr marL="742950" indent="-285750">
              <a:defRPr>
                <a:solidFill>
                  <a:schemeClr val="tx1"/>
                </a:solidFill>
                <a:latin typeface="Arial" panose="020B0604020202020204" pitchFamily="34" charset="0"/>
                <a:ea typeface="华文楷体" panose="02010600040101010101" charset="-122"/>
              </a:defRPr>
            </a:lvl2pPr>
            <a:lvl3pPr marL="1143000" indent="-228600">
              <a:defRPr>
                <a:solidFill>
                  <a:schemeClr val="tx1"/>
                </a:solidFill>
                <a:latin typeface="Arial" panose="020B0604020202020204" pitchFamily="34" charset="0"/>
                <a:ea typeface="华文楷体" panose="02010600040101010101" charset="-122"/>
              </a:defRPr>
            </a:lvl3pPr>
            <a:lvl4pPr marL="1600200" indent="-228600">
              <a:defRPr>
                <a:solidFill>
                  <a:schemeClr val="tx1"/>
                </a:solidFill>
                <a:latin typeface="Arial" panose="020B0604020202020204" pitchFamily="34" charset="0"/>
                <a:ea typeface="华文楷体" panose="02010600040101010101" charset="-122"/>
              </a:defRPr>
            </a:lvl4pPr>
            <a:lvl5pPr marL="2057400" indent="-228600">
              <a:defRPr>
                <a:solidFill>
                  <a:schemeClr val="tx1"/>
                </a:solidFill>
                <a:latin typeface="Arial" panose="020B0604020202020204" pitchFamily="34" charset="0"/>
                <a:ea typeface="华文楷体" panose="02010600040101010101" charset="-122"/>
              </a:defRPr>
            </a:lvl5pPr>
            <a:lvl6pPr marL="25146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6pPr>
            <a:lvl7pPr marL="29718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7pPr>
            <a:lvl8pPr marL="34290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8pPr>
            <a:lvl9pPr marL="3886200" indent="-228600" fontAlgn="base">
              <a:spcBef>
                <a:spcPct val="0"/>
              </a:spcBef>
              <a:spcAft>
                <a:spcPct val="0"/>
              </a:spcAft>
              <a:defRPr>
                <a:solidFill>
                  <a:schemeClr val="tx1"/>
                </a:solidFill>
                <a:latin typeface="Arial" panose="020B0604020202020204" pitchFamily="34" charset="0"/>
                <a:ea typeface="华文楷体" panose="02010600040101010101" charset="-122"/>
              </a:defRPr>
            </a:lvl9pPr>
          </a:lstStyle>
          <a:p>
            <a:pPr algn="ctr" fontAlgn="base">
              <a:spcBef>
                <a:spcPct val="0"/>
              </a:spcBef>
              <a:spcAft>
                <a:spcPct val="0"/>
              </a:spcAft>
              <a:defRPr/>
            </a:pPr>
            <a:endParaRPr lang="zh-CN" altLang="en-US" b="1" dirty="0">
              <a:latin typeface="+mn-lt"/>
              <a:ea typeface="+mn-ea"/>
              <a:cs typeface="+mn-ea"/>
              <a:sym typeface="+mn-lt"/>
            </a:endParaRPr>
          </a:p>
        </p:txBody>
      </p:sp>
      <p:sp>
        <p:nvSpPr>
          <p:cNvPr id="43" name="TextBox 244"/>
          <p:cNvSpPr txBox="1"/>
          <p:nvPr/>
        </p:nvSpPr>
        <p:spPr>
          <a:xfrm>
            <a:off x="2232741" y="5045870"/>
            <a:ext cx="1302960" cy="307777"/>
          </a:xfrm>
          <a:prstGeom prst="rect">
            <a:avLst/>
          </a:prstGeom>
          <a:noFill/>
          <a:ln w="6350">
            <a:no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en-US" altLang="zh-CN" sz="1400" dirty="0" smtClean="0">
                <a:cs typeface="+mn-ea"/>
                <a:sym typeface="+mn-lt"/>
              </a:rPr>
              <a:t>xx</a:t>
            </a:r>
            <a:r>
              <a:rPr lang="zh-CN" altLang="en-US" sz="1400" dirty="0" smtClean="0">
                <a:cs typeface="+mn-ea"/>
                <a:sym typeface="+mn-lt"/>
              </a:rPr>
              <a:t>平台</a:t>
            </a:r>
            <a:endParaRPr lang="zh-CN" altLang="en-US" sz="1400" dirty="0">
              <a:cs typeface="+mn-ea"/>
              <a:sym typeface="+mn-lt"/>
            </a:endParaRPr>
          </a:p>
        </p:txBody>
      </p:sp>
      <p:pic>
        <p:nvPicPr>
          <p:cNvPr id="44" name="Picture 2"/>
          <p:cNvPicPr>
            <a:picLocks noChangeAspect="1" noChangeArrowheads="1"/>
          </p:cNvPicPr>
          <p:nvPr/>
        </p:nvPicPr>
        <p:blipFill>
          <a:blip r:embed="rId1" cstate="email"/>
          <a:srcRect/>
          <a:stretch>
            <a:fillRect/>
          </a:stretch>
        </p:blipFill>
        <p:spPr bwMode="auto">
          <a:xfrm>
            <a:off x="1786913" y="4990989"/>
            <a:ext cx="412468" cy="412468"/>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239"/>
          <p:cNvSpPr txBox="1"/>
          <p:nvPr/>
        </p:nvSpPr>
        <p:spPr>
          <a:xfrm>
            <a:off x="4154001" y="5043335"/>
            <a:ext cx="1302960" cy="307777"/>
          </a:xfrm>
          <a:prstGeom prst="rect">
            <a:avLst/>
          </a:prstGeom>
          <a:noFill/>
          <a:ln w="6350">
            <a:no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1400" dirty="0" smtClean="0">
                <a:cs typeface="+mn-ea"/>
                <a:sym typeface="+mn-lt"/>
              </a:rPr>
              <a:t>xx</a:t>
            </a:r>
            <a:r>
              <a:rPr lang="zh-CN" altLang="en-US" sz="1400" dirty="0" smtClean="0">
                <a:cs typeface="+mn-ea"/>
                <a:sym typeface="+mn-lt"/>
              </a:rPr>
              <a:t>平台</a:t>
            </a:r>
            <a:endParaRPr lang="zh-CN" altLang="en-US" sz="1400" dirty="0">
              <a:cs typeface="+mn-ea"/>
              <a:sym typeface="+mn-lt"/>
            </a:endParaRPr>
          </a:p>
        </p:txBody>
      </p:sp>
      <p:pic>
        <p:nvPicPr>
          <p:cNvPr id="46" name="Picture 3"/>
          <p:cNvPicPr>
            <a:picLocks noChangeAspect="1" noChangeArrowheads="1"/>
          </p:cNvPicPr>
          <p:nvPr/>
        </p:nvPicPr>
        <p:blipFill>
          <a:blip r:embed="rId2" cstate="email"/>
          <a:srcRect/>
          <a:stretch>
            <a:fillRect/>
          </a:stretch>
        </p:blipFill>
        <p:spPr bwMode="auto">
          <a:xfrm>
            <a:off x="3794776" y="4983250"/>
            <a:ext cx="427946" cy="427946"/>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248"/>
          <p:cNvSpPr txBox="1"/>
          <p:nvPr/>
        </p:nvSpPr>
        <p:spPr>
          <a:xfrm>
            <a:off x="6100307" y="5043335"/>
            <a:ext cx="1302960" cy="307777"/>
          </a:xfrm>
          <a:prstGeom prst="rect">
            <a:avLst/>
          </a:prstGeom>
          <a:noFill/>
          <a:ln w="6350">
            <a:no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1400" dirty="0" smtClean="0">
                <a:cs typeface="+mn-ea"/>
                <a:sym typeface="+mn-lt"/>
              </a:rPr>
              <a:t>xx</a:t>
            </a:r>
            <a:r>
              <a:rPr lang="zh-CN" altLang="en-US" sz="1400" dirty="0" smtClean="0">
                <a:cs typeface="+mn-ea"/>
                <a:sym typeface="+mn-lt"/>
              </a:rPr>
              <a:t>平台</a:t>
            </a:r>
            <a:endParaRPr lang="zh-CN" altLang="en-US" sz="1400" dirty="0">
              <a:cs typeface="+mn-ea"/>
              <a:sym typeface="+mn-lt"/>
            </a:endParaRPr>
          </a:p>
        </p:txBody>
      </p:sp>
      <p:pic>
        <p:nvPicPr>
          <p:cNvPr id="48" name="Picture 4"/>
          <p:cNvPicPr>
            <a:picLocks noChangeAspect="1" noChangeArrowheads="1"/>
          </p:cNvPicPr>
          <p:nvPr/>
        </p:nvPicPr>
        <p:blipFill>
          <a:blip r:embed="rId3" cstate="email"/>
          <a:srcRect/>
          <a:stretch>
            <a:fillRect/>
          </a:stretch>
        </p:blipFill>
        <p:spPr bwMode="auto">
          <a:xfrm>
            <a:off x="5938432" y="4994744"/>
            <a:ext cx="404960" cy="404958"/>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91"/>
          <p:cNvSpPr txBox="1"/>
          <p:nvPr/>
        </p:nvSpPr>
        <p:spPr>
          <a:xfrm>
            <a:off x="8238084" y="5043335"/>
            <a:ext cx="1302960" cy="307777"/>
          </a:xfrm>
          <a:prstGeom prst="rect">
            <a:avLst/>
          </a:prstGeom>
          <a:noFill/>
          <a:ln w="6350">
            <a:no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1400" dirty="0" smtClean="0">
                <a:cs typeface="+mn-ea"/>
                <a:sym typeface="+mn-lt"/>
              </a:rPr>
              <a:t>xx</a:t>
            </a:r>
            <a:r>
              <a:rPr lang="zh-CN" altLang="en-US" sz="1400" dirty="0" smtClean="0">
                <a:cs typeface="+mn-ea"/>
                <a:sym typeface="+mn-lt"/>
              </a:rPr>
              <a:t>数据</a:t>
            </a:r>
            <a:r>
              <a:rPr lang="zh-CN" altLang="en-US" sz="1400" dirty="0">
                <a:cs typeface="+mn-ea"/>
                <a:sym typeface="+mn-lt"/>
              </a:rPr>
              <a:t>平台</a:t>
            </a:r>
            <a:endParaRPr lang="zh-CN" altLang="en-US" sz="1400" dirty="0">
              <a:cs typeface="+mn-ea"/>
              <a:sym typeface="+mn-lt"/>
            </a:endParaRPr>
          </a:p>
        </p:txBody>
      </p:sp>
      <p:pic>
        <p:nvPicPr>
          <p:cNvPr id="50" name="Picture 6"/>
          <p:cNvPicPr>
            <a:picLocks noChangeAspect="1" noChangeArrowheads="1"/>
          </p:cNvPicPr>
          <p:nvPr/>
        </p:nvPicPr>
        <p:blipFill>
          <a:blip r:embed="rId4" cstate="email"/>
          <a:srcRect/>
          <a:stretch>
            <a:fillRect/>
          </a:stretch>
        </p:blipFill>
        <p:spPr bwMode="auto">
          <a:xfrm>
            <a:off x="7980267" y="5017223"/>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91"/>
          <p:cNvSpPr txBox="1"/>
          <p:nvPr/>
        </p:nvSpPr>
        <p:spPr>
          <a:xfrm>
            <a:off x="10268414" y="5043335"/>
            <a:ext cx="1302960" cy="307777"/>
          </a:xfrm>
          <a:prstGeom prst="rect">
            <a:avLst/>
          </a:prstGeom>
          <a:noFill/>
          <a:ln w="6350">
            <a:no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1400" dirty="0" smtClean="0">
                <a:cs typeface="+mn-ea"/>
                <a:sym typeface="+mn-lt"/>
              </a:rPr>
              <a:t>xx</a:t>
            </a:r>
            <a:r>
              <a:rPr lang="zh-CN" altLang="en-US" sz="1400" dirty="0" smtClean="0">
                <a:cs typeface="+mn-ea"/>
                <a:sym typeface="+mn-lt"/>
              </a:rPr>
              <a:t>平台</a:t>
            </a:r>
            <a:endParaRPr lang="zh-CN" altLang="en-US" sz="1400" dirty="0">
              <a:cs typeface="+mn-ea"/>
              <a:sym typeface="+mn-lt"/>
            </a:endParaRPr>
          </a:p>
        </p:txBody>
      </p:sp>
      <p:pic>
        <p:nvPicPr>
          <p:cNvPr id="52" name="Picture 3"/>
          <p:cNvPicPr>
            <a:picLocks noChangeAspect="1" noChangeArrowheads="1"/>
          </p:cNvPicPr>
          <p:nvPr/>
        </p:nvPicPr>
        <p:blipFill>
          <a:blip r:embed="rId5" cstate="email"/>
          <a:srcRect/>
          <a:stretch>
            <a:fillRect/>
          </a:stretch>
        </p:blipFill>
        <p:spPr bwMode="auto">
          <a:xfrm>
            <a:off x="9991016" y="5009518"/>
            <a:ext cx="375411" cy="375411"/>
          </a:xfrm>
          <a:prstGeom prst="rect">
            <a:avLst/>
          </a:prstGeom>
          <a:noFill/>
          <a:extLst>
            <a:ext uri="{909E8E84-426E-40DD-AFC4-6F175D3DCCD1}">
              <a14:hiddenFill xmlns:a14="http://schemas.microsoft.com/office/drawing/2010/main">
                <a:solidFill>
                  <a:srgbClr val="FFFFFF"/>
                </a:solidFill>
              </a14:hiddenFill>
            </a:ext>
          </a:extLst>
        </p:spPr>
      </p:pic>
      <p:sp>
        <p:nvSpPr>
          <p:cNvPr id="53" name="Freeform 26"/>
          <p:cNvSpPr>
            <a:spLocks noEditPoints="1"/>
          </p:cNvSpPr>
          <p:nvPr/>
        </p:nvSpPr>
        <p:spPr bwMode="auto">
          <a:xfrm>
            <a:off x="9864841" y="5693623"/>
            <a:ext cx="1012486" cy="680144"/>
          </a:xfrm>
          <a:custGeom>
            <a:avLst/>
            <a:gdLst>
              <a:gd name="T0" fmla="*/ 53 w 390"/>
              <a:gd name="T1" fmla="*/ 93 h 261"/>
              <a:gd name="T2" fmla="*/ 69 w 390"/>
              <a:gd name="T3" fmla="*/ 59 h 261"/>
              <a:gd name="T4" fmla="*/ 114 w 390"/>
              <a:gd name="T5" fmla="*/ 36 h 261"/>
              <a:gd name="T6" fmla="*/ 156 w 390"/>
              <a:gd name="T7" fmla="*/ 45 h 261"/>
              <a:gd name="T8" fmla="*/ 190 w 390"/>
              <a:gd name="T9" fmla="*/ 14 h 261"/>
              <a:gd name="T10" fmla="*/ 246 w 390"/>
              <a:gd name="T11" fmla="*/ 1 h 261"/>
              <a:gd name="T12" fmla="*/ 300 w 390"/>
              <a:gd name="T13" fmla="*/ 22 h 261"/>
              <a:gd name="T14" fmla="*/ 333 w 390"/>
              <a:gd name="T15" fmla="*/ 74 h 261"/>
              <a:gd name="T16" fmla="*/ 337 w 390"/>
              <a:gd name="T17" fmla="*/ 99 h 261"/>
              <a:gd name="T18" fmla="*/ 340 w 390"/>
              <a:gd name="T19" fmla="*/ 109 h 261"/>
              <a:gd name="T20" fmla="*/ 387 w 390"/>
              <a:gd name="T21" fmla="*/ 160 h 261"/>
              <a:gd name="T22" fmla="*/ 388 w 390"/>
              <a:gd name="T23" fmla="*/ 200 h 261"/>
              <a:gd name="T24" fmla="*/ 368 w 390"/>
              <a:gd name="T25" fmla="*/ 234 h 261"/>
              <a:gd name="T26" fmla="*/ 329 w 390"/>
              <a:gd name="T27" fmla="*/ 258 h 261"/>
              <a:gd name="T28" fmla="*/ 78 w 390"/>
              <a:gd name="T29" fmla="*/ 260 h 261"/>
              <a:gd name="T30" fmla="*/ 25 w 390"/>
              <a:gd name="T31" fmla="*/ 239 h 261"/>
              <a:gd name="T32" fmla="*/ 2 w 390"/>
              <a:gd name="T33" fmla="*/ 174 h 261"/>
              <a:gd name="T34" fmla="*/ 49 w 390"/>
              <a:gd name="T35" fmla="*/ 113 h 261"/>
              <a:gd name="T36" fmla="*/ 73 w 390"/>
              <a:gd name="T37" fmla="*/ 124 h 261"/>
              <a:gd name="T38" fmla="*/ 37 w 390"/>
              <a:gd name="T39" fmla="*/ 145 h 261"/>
              <a:gd name="T40" fmla="*/ 21 w 390"/>
              <a:gd name="T41" fmla="*/ 191 h 261"/>
              <a:gd name="T42" fmla="*/ 76 w 390"/>
              <a:gd name="T43" fmla="*/ 241 h 261"/>
              <a:gd name="T44" fmla="*/ 331 w 390"/>
              <a:gd name="T45" fmla="*/ 237 h 261"/>
              <a:gd name="T46" fmla="*/ 363 w 390"/>
              <a:gd name="T47" fmla="*/ 153 h 261"/>
              <a:gd name="T48" fmla="*/ 316 w 390"/>
              <a:gd name="T49" fmla="*/ 118 h 261"/>
              <a:gd name="T50" fmla="*/ 316 w 390"/>
              <a:gd name="T51" fmla="*/ 84 h 261"/>
              <a:gd name="T52" fmla="*/ 289 w 390"/>
              <a:gd name="T53" fmla="*/ 37 h 261"/>
              <a:gd name="T54" fmla="*/ 237 w 390"/>
              <a:gd name="T55" fmla="*/ 20 h 261"/>
              <a:gd name="T56" fmla="*/ 174 w 390"/>
              <a:gd name="T57" fmla="*/ 53 h 261"/>
              <a:gd name="T58" fmla="*/ 156 w 390"/>
              <a:gd name="T59" fmla="*/ 70 h 261"/>
              <a:gd name="T60" fmla="*/ 78 w 390"/>
              <a:gd name="T61" fmla="*/ 77 h 261"/>
              <a:gd name="T62" fmla="*/ 75 w 390"/>
              <a:gd name="T63" fmla="*/ 11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0" h="261">
                <a:moveTo>
                  <a:pt x="55" y="110"/>
                </a:moveTo>
                <a:cubicBezTo>
                  <a:pt x="51" y="104"/>
                  <a:pt x="51" y="98"/>
                  <a:pt x="53" y="93"/>
                </a:cubicBezTo>
                <a:cubicBezTo>
                  <a:pt x="54" y="88"/>
                  <a:pt x="55" y="82"/>
                  <a:pt x="57" y="77"/>
                </a:cubicBezTo>
                <a:cubicBezTo>
                  <a:pt x="60" y="70"/>
                  <a:pt x="64" y="64"/>
                  <a:pt x="69" y="59"/>
                </a:cubicBezTo>
                <a:cubicBezTo>
                  <a:pt x="76" y="52"/>
                  <a:pt x="83" y="45"/>
                  <a:pt x="92" y="41"/>
                </a:cubicBezTo>
                <a:cubicBezTo>
                  <a:pt x="99" y="38"/>
                  <a:pt x="106" y="36"/>
                  <a:pt x="114" y="36"/>
                </a:cubicBezTo>
                <a:cubicBezTo>
                  <a:pt x="124" y="36"/>
                  <a:pt x="133" y="35"/>
                  <a:pt x="142" y="39"/>
                </a:cubicBezTo>
                <a:cubicBezTo>
                  <a:pt x="146" y="41"/>
                  <a:pt x="151" y="43"/>
                  <a:pt x="156" y="45"/>
                </a:cubicBezTo>
                <a:cubicBezTo>
                  <a:pt x="158" y="43"/>
                  <a:pt x="161" y="40"/>
                  <a:pt x="164" y="36"/>
                </a:cubicBezTo>
                <a:cubicBezTo>
                  <a:pt x="171" y="27"/>
                  <a:pt x="180" y="20"/>
                  <a:pt x="190" y="14"/>
                </a:cubicBezTo>
                <a:cubicBezTo>
                  <a:pt x="201" y="8"/>
                  <a:pt x="212" y="4"/>
                  <a:pt x="224" y="2"/>
                </a:cubicBezTo>
                <a:cubicBezTo>
                  <a:pt x="232" y="1"/>
                  <a:pt x="239" y="0"/>
                  <a:pt x="246" y="1"/>
                </a:cubicBezTo>
                <a:cubicBezTo>
                  <a:pt x="256" y="2"/>
                  <a:pt x="266" y="3"/>
                  <a:pt x="275" y="7"/>
                </a:cubicBezTo>
                <a:cubicBezTo>
                  <a:pt x="284" y="11"/>
                  <a:pt x="292" y="16"/>
                  <a:pt x="300" y="22"/>
                </a:cubicBezTo>
                <a:cubicBezTo>
                  <a:pt x="308" y="28"/>
                  <a:pt x="316" y="35"/>
                  <a:pt x="321" y="44"/>
                </a:cubicBezTo>
                <a:cubicBezTo>
                  <a:pt x="326" y="53"/>
                  <a:pt x="333" y="63"/>
                  <a:pt x="333" y="74"/>
                </a:cubicBezTo>
                <a:cubicBezTo>
                  <a:pt x="337" y="77"/>
                  <a:pt x="334" y="82"/>
                  <a:pt x="336" y="87"/>
                </a:cubicBezTo>
                <a:cubicBezTo>
                  <a:pt x="338" y="90"/>
                  <a:pt x="337" y="95"/>
                  <a:pt x="337" y="99"/>
                </a:cubicBezTo>
                <a:cubicBezTo>
                  <a:pt x="337" y="101"/>
                  <a:pt x="336" y="103"/>
                  <a:pt x="335" y="107"/>
                </a:cubicBezTo>
                <a:cubicBezTo>
                  <a:pt x="337" y="107"/>
                  <a:pt x="338" y="109"/>
                  <a:pt x="340" y="109"/>
                </a:cubicBezTo>
                <a:cubicBezTo>
                  <a:pt x="345" y="111"/>
                  <a:pt x="349" y="114"/>
                  <a:pt x="354" y="117"/>
                </a:cubicBezTo>
                <a:cubicBezTo>
                  <a:pt x="373" y="128"/>
                  <a:pt x="380" y="141"/>
                  <a:pt x="387" y="160"/>
                </a:cubicBezTo>
                <a:cubicBezTo>
                  <a:pt x="389" y="165"/>
                  <a:pt x="390" y="170"/>
                  <a:pt x="390" y="175"/>
                </a:cubicBezTo>
                <a:cubicBezTo>
                  <a:pt x="389" y="183"/>
                  <a:pt x="390" y="192"/>
                  <a:pt x="388" y="200"/>
                </a:cubicBezTo>
                <a:cubicBezTo>
                  <a:pt x="385" y="211"/>
                  <a:pt x="380" y="221"/>
                  <a:pt x="372" y="230"/>
                </a:cubicBezTo>
                <a:cubicBezTo>
                  <a:pt x="371" y="232"/>
                  <a:pt x="370" y="233"/>
                  <a:pt x="368" y="234"/>
                </a:cubicBezTo>
                <a:cubicBezTo>
                  <a:pt x="360" y="244"/>
                  <a:pt x="350" y="250"/>
                  <a:pt x="339" y="255"/>
                </a:cubicBezTo>
                <a:cubicBezTo>
                  <a:pt x="336" y="256"/>
                  <a:pt x="332" y="258"/>
                  <a:pt x="329" y="258"/>
                </a:cubicBezTo>
                <a:cubicBezTo>
                  <a:pt x="323" y="259"/>
                  <a:pt x="317" y="260"/>
                  <a:pt x="311" y="260"/>
                </a:cubicBezTo>
                <a:cubicBezTo>
                  <a:pt x="233" y="261"/>
                  <a:pt x="156" y="261"/>
                  <a:pt x="78" y="260"/>
                </a:cubicBezTo>
                <a:cubicBezTo>
                  <a:pt x="66" y="260"/>
                  <a:pt x="54" y="257"/>
                  <a:pt x="43" y="252"/>
                </a:cubicBezTo>
                <a:cubicBezTo>
                  <a:pt x="36" y="249"/>
                  <a:pt x="30" y="245"/>
                  <a:pt x="25" y="239"/>
                </a:cubicBezTo>
                <a:cubicBezTo>
                  <a:pt x="18" y="232"/>
                  <a:pt x="10" y="224"/>
                  <a:pt x="8" y="213"/>
                </a:cubicBezTo>
                <a:cubicBezTo>
                  <a:pt x="0" y="201"/>
                  <a:pt x="1" y="187"/>
                  <a:pt x="2" y="174"/>
                </a:cubicBezTo>
                <a:cubicBezTo>
                  <a:pt x="3" y="163"/>
                  <a:pt x="9" y="152"/>
                  <a:pt x="15" y="142"/>
                </a:cubicBezTo>
                <a:cubicBezTo>
                  <a:pt x="23" y="128"/>
                  <a:pt x="36" y="120"/>
                  <a:pt x="49" y="113"/>
                </a:cubicBezTo>
                <a:cubicBezTo>
                  <a:pt x="51" y="112"/>
                  <a:pt x="53" y="112"/>
                  <a:pt x="55" y="110"/>
                </a:cubicBezTo>
                <a:close/>
                <a:moveTo>
                  <a:pt x="73" y="124"/>
                </a:moveTo>
                <a:cubicBezTo>
                  <a:pt x="70" y="126"/>
                  <a:pt x="67" y="128"/>
                  <a:pt x="64" y="129"/>
                </a:cubicBezTo>
                <a:cubicBezTo>
                  <a:pt x="53" y="131"/>
                  <a:pt x="45" y="137"/>
                  <a:pt x="37" y="145"/>
                </a:cubicBezTo>
                <a:cubicBezTo>
                  <a:pt x="27" y="155"/>
                  <a:pt x="21" y="168"/>
                  <a:pt x="21" y="183"/>
                </a:cubicBezTo>
                <a:cubicBezTo>
                  <a:pt x="21" y="185"/>
                  <a:pt x="21" y="188"/>
                  <a:pt x="21" y="191"/>
                </a:cubicBezTo>
                <a:cubicBezTo>
                  <a:pt x="21" y="199"/>
                  <a:pt x="24" y="206"/>
                  <a:pt x="27" y="212"/>
                </a:cubicBezTo>
                <a:cubicBezTo>
                  <a:pt x="38" y="231"/>
                  <a:pt x="55" y="241"/>
                  <a:pt x="76" y="241"/>
                </a:cubicBezTo>
                <a:cubicBezTo>
                  <a:pt x="154" y="241"/>
                  <a:pt x="233" y="241"/>
                  <a:pt x="311" y="241"/>
                </a:cubicBezTo>
                <a:cubicBezTo>
                  <a:pt x="318" y="241"/>
                  <a:pt x="325" y="242"/>
                  <a:pt x="331" y="237"/>
                </a:cubicBezTo>
                <a:cubicBezTo>
                  <a:pt x="354" y="231"/>
                  <a:pt x="367" y="210"/>
                  <a:pt x="370" y="192"/>
                </a:cubicBezTo>
                <a:cubicBezTo>
                  <a:pt x="372" y="179"/>
                  <a:pt x="370" y="166"/>
                  <a:pt x="363" y="153"/>
                </a:cubicBezTo>
                <a:cubicBezTo>
                  <a:pt x="353" y="136"/>
                  <a:pt x="338" y="128"/>
                  <a:pt x="324" y="123"/>
                </a:cubicBezTo>
                <a:cubicBezTo>
                  <a:pt x="320" y="121"/>
                  <a:pt x="317" y="119"/>
                  <a:pt x="316" y="118"/>
                </a:cubicBezTo>
                <a:cubicBezTo>
                  <a:pt x="317" y="113"/>
                  <a:pt x="315" y="108"/>
                  <a:pt x="318" y="104"/>
                </a:cubicBezTo>
                <a:cubicBezTo>
                  <a:pt x="317" y="97"/>
                  <a:pt x="320" y="90"/>
                  <a:pt x="316" y="84"/>
                </a:cubicBezTo>
                <a:cubicBezTo>
                  <a:pt x="316" y="74"/>
                  <a:pt x="311" y="65"/>
                  <a:pt x="306" y="56"/>
                </a:cubicBezTo>
                <a:cubicBezTo>
                  <a:pt x="302" y="49"/>
                  <a:pt x="296" y="43"/>
                  <a:pt x="289" y="37"/>
                </a:cubicBezTo>
                <a:cubicBezTo>
                  <a:pt x="284" y="33"/>
                  <a:pt x="278" y="28"/>
                  <a:pt x="271" y="26"/>
                </a:cubicBezTo>
                <a:cubicBezTo>
                  <a:pt x="260" y="22"/>
                  <a:pt x="249" y="19"/>
                  <a:pt x="237" y="20"/>
                </a:cubicBezTo>
                <a:cubicBezTo>
                  <a:pt x="225" y="20"/>
                  <a:pt x="214" y="23"/>
                  <a:pt x="204" y="28"/>
                </a:cubicBezTo>
                <a:cubicBezTo>
                  <a:pt x="191" y="33"/>
                  <a:pt x="182" y="43"/>
                  <a:pt x="174" y="53"/>
                </a:cubicBezTo>
                <a:cubicBezTo>
                  <a:pt x="170" y="59"/>
                  <a:pt x="168" y="67"/>
                  <a:pt x="161" y="70"/>
                </a:cubicBezTo>
                <a:cubicBezTo>
                  <a:pt x="160" y="70"/>
                  <a:pt x="158" y="70"/>
                  <a:pt x="156" y="70"/>
                </a:cubicBezTo>
                <a:cubicBezTo>
                  <a:pt x="139" y="53"/>
                  <a:pt x="111" y="49"/>
                  <a:pt x="89" y="65"/>
                </a:cubicBezTo>
                <a:cubicBezTo>
                  <a:pt x="84" y="68"/>
                  <a:pt x="81" y="73"/>
                  <a:pt x="78" y="77"/>
                </a:cubicBezTo>
                <a:cubicBezTo>
                  <a:pt x="74" y="82"/>
                  <a:pt x="73" y="89"/>
                  <a:pt x="72" y="95"/>
                </a:cubicBezTo>
                <a:cubicBezTo>
                  <a:pt x="71" y="103"/>
                  <a:pt x="72" y="111"/>
                  <a:pt x="75" y="118"/>
                </a:cubicBezTo>
                <a:cubicBezTo>
                  <a:pt x="74" y="120"/>
                  <a:pt x="74" y="122"/>
                  <a:pt x="73" y="124"/>
                </a:cubicBezTo>
                <a:close/>
              </a:path>
            </a:pathLst>
          </a:custGeom>
          <a:solidFill>
            <a:schemeClr val="bg1">
              <a:lumMod val="75000"/>
            </a:schemeClr>
          </a:solidFill>
          <a:ln>
            <a:noFill/>
          </a:ln>
        </p:spPr>
        <p:txBody>
          <a:bodyPr vert="horz" wrap="square" lIns="91440" tIns="45720" rIns="91440" bIns="45720" numCol="1" anchor="t" anchorCtr="0" compatLnSpc="1"/>
          <a:lstStyle/>
          <a:p>
            <a:endParaRPr lang="zh-CN" altLang="en-US">
              <a:cs typeface="+mn-ea"/>
              <a:sym typeface="+mn-lt"/>
            </a:endParaRPr>
          </a:p>
        </p:txBody>
      </p:sp>
      <p:sp>
        <p:nvSpPr>
          <p:cNvPr id="54" name="Freeform 26"/>
          <p:cNvSpPr>
            <a:spLocks noEditPoints="1"/>
          </p:cNvSpPr>
          <p:nvPr/>
        </p:nvSpPr>
        <p:spPr bwMode="auto">
          <a:xfrm>
            <a:off x="8001995" y="5693623"/>
            <a:ext cx="1012486" cy="680144"/>
          </a:xfrm>
          <a:custGeom>
            <a:avLst/>
            <a:gdLst>
              <a:gd name="T0" fmla="*/ 53 w 390"/>
              <a:gd name="T1" fmla="*/ 93 h 261"/>
              <a:gd name="T2" fmla="*/ 69 w 390"/>
              <a:gd name="T3" fmla="*/ 59 h 261"/>
              <a:gd name="T4" fmla="*/ 114 w 390"/>
              <a:gd name="T5" fmla="*/ 36 h 261"/>
              <a:gd name="T6" fmla="*/ 156 w 390"/>
              <a:gd name="T7" fmla="*/ 45 h 261"/>
              <a:gd name="T8" fmla="*/ 190 w 390"/>
              <a:gd name="T9" fmla="*/ 14 h 261"/>
              <a:gd name="T10" fmla="*/ 246 w 390"/>
              <a:gd name="T11" fmla="*/ 1 h 261"/>
              <a:gd name="T12" fmla="*/ 300 w 390"/>
              <a:gd name="T13" fmla="*/ 22 h 261"/>
              <a:gd name="T14" fmla="*/ 333 w 390"/>
              <a:gd name="T15" fmla="*/ 74 h 261"/>
              <a:gd name="T16" fmla="*/ 337 w 390"/>
              <a:gd name="T17" fmla="*/ 99 h 261"/>
              <a:gd name="T18" fmla="*/ 340 w 390"/>
              <a:gd name="T19" fmla="*/ 109 h 261"/>
              <a:gd name="T20" fmla="*/ 387 w 390"/>
              <a:gd name="T21" fmla="*/ 160 h 261"/>
              <a:gd name="T22" fmla="*/ 388 w 390"/>
              <a:gd name="T23" fmla="*/ 200 h 261"/>
              <a:gd name="T24" fmla="*/ 368 w 390"/>
              <a:gd name="T25" fmla="*/ 234 h 261"/>
              <a:gd name="T26" fmla="*/ 329 w 390"/>
              <a:gd name="T27" fmla="*/ 258 h 261"/>
              <a:gd name="T28" fmla="*/ 78 w 390"/>
              <a:gd name="T29" fmla="*/ 260 h 261"/>
              <a:gd name="T30" fmla="*/ 25 w 390"/>
              <a:gd name="T31" fmla="*/ 239 h 261"/>
              <a:gd name="T32" fmla="*/ 2 w 390"/>
              <a:gd name="T33" fmla="*/ 174 h 261"/>
              <a:gd name="T34" fmla="*/ 49 w 390"/>
              <a:gd name="T35" fmla="*/ 113 h 261"/>
              <a:gd name="T36" fmla="*/ 73 w 390"/>
              <a:gd name="T37" fmla="*/ 124 h 261"/>
              <a:gd name="T38" fmla="*/ 37 w 390"/>
              <a:gd name="T39" fmla="*/ 145 h 261"/>
              <a:gd name="T40" fmla="*/ 21 w 390"/>
              <a:gd name="T41" fmla="*/ 191 h 261"/>
              <a:gd name="T42" fmla="*/ 76 w 390"/>
              <a:gd name="T43" fmla="*/ 241 h 261"/>
              <a:gd name="T44" fmla="*/ 331 w 390"/>
              <a:gd name="T45" fmla="*/ 237 h 261"/>
              <a:gd name="T46" fmla="*/ 363 w 390"/>
              <a:gd name="T47" fmla="*/ 153 h 261"/>
              <a:gd name="T48" fmla="*/ 316 w 390"/>
              <a:gd name="T49" fmla="*/ 118 h 261"/>
              <a:gd name="T50" fmla="*/ 316 w 390"/>
              <a:gd name="T51" fmla="*/ 84 h 261"/>
              <a:gd name="T52" fmla="*/ 289 w 390"/>
              <a:gd name="T53" fmla="*/ 37 h 261"/>
              <a:gd name="T54" fmla="*/ 237 w 390"/>
              <a:gd name="T55" fmla="*/ 20 h 261"/>
              <a:gd name="T56" fmla="*/ 174 w 390"/>
              <a:gd name="T57" fmla="*/ 53 h 261"/>
              <a:gd name="T58" fmla="*/ 156 w 390"/>
              <a:gd name="T59" fmla="*/ 70 h 261"/>
              <a:gd name="T60" fmla="*/ 78 w 390"/>
              <a:gd name="T61" fmla="*/ 77 h 261"/>
              <a:gd name="T62" fmla="*/ 75 w 390"/>
              <a:gd name="T63" fmla="*/ 11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0" h="261">
                <a:moveTo>
                  <a:pt x="55" y="110"/>
                </a:moveTo>
                <a:cubicBezTo>
                  <a:pt x="51" y="104"/>
                  <a:pt x="51" y="98"/>
                  <a:pt x="53" y="93"/>
                </a:cubicBezTo>
                <a:cubicBezTo>
                  <a:pt x="54" y="88"/>
                  <a:pt x="55" y="82"/>
                  <a:pt x="57" y="77"/>
                </a:cubicBezTo>
                <a:cubicBezTo>
                  <a:pt x="60" y="70"/>
                  <a:pt x="64" y="64"/>
                  <a:pt x="69" y="59"/>
                </a:cubicBezTo>
                <a:cubicBezTo>
                  <a:pt x="76" y="52"/>
                  <a:pt x="83" y="45"/>
                  <a:pt x="92" y="41"/>
                </a:cubicBezTo>
                <a:cubicBezTo>
                  <a:pt x="99" y="38"/>
                  <a:pt x="106" y="36"/>
                  <a:pt x="114" y="36"/>
                </a:cubicBezTo>
                <a:cubicBezTo>
                  <a:pt x="124" y="36"/>
                  <a:pt x="133" y="35"/>
                  <a:pt x="142" y="39"/>
                </a:cubicBezTo>
                <a:cubicBezTo>
                  <a:pt x="146" y="41"/>
                  <a:pt x="151" y="43"/>
                  <a:pt x="156" y="45"/>
                </a:cubicBezTo>
                <a:cubicBezTo>
                  <a:pt x="158" y="43"/>
                  <a:pt x="161" y="40"/>
                  <a:pt x="164" y="36"/>
                </a:cubicBezTo>
                <a:cubicBezTo>
                  <a:pt x="171" y="27"/>
                  <a:pt x="180" y="20"/>
                  <a:pt x="190" y="14"/>
                </a:cubicBezTo>
                <a:cubicBezTo>
                  <a:pt x="201" y="8"/>
                  <a:pt x="212" y="4"/>
                  <a:pt x="224" y="2"/>
                </a:cubicBezTo>
                <a:cubicBezTo>
                  <a:pt x="232" y="1"/>
                  <a:pt x="239" y="0"/>
                  <a:pt x="246" y="1"/>
                </a:cubicBezTo>
                <a:cubicBezTo>
                  <a:pt x="256" y="2"/>
                  <a:pt x="266" y="3"/>
                  <a:pt x="275" y="7"/>
                </a:cubicBezTo>
                <a:cubicBezTo>
                  <a:pt x="284" y="11"/>
                  <a:pt x="292" y="16"/>
                  <a:pt x="300" y="22"/>
                </a:cubicBezTo>
                <a:cubicBezTo>
                  <a:pt x="308" y="28"/>
                  <a:pt x="316" y="35"/>
                  <a:pt x="321" y="44"/>
                </a:cubicBezTo>
                <a:cubicBezTo>
                  <a:pt x="326" y="53"/>
                  <a:pt x="333" y="63"/>
                  <a:pt x="333" y="74"/>
                </a:cubicBezTo>
                <a:cubicBezTo>
                  <a:pt x="337" y="77"/>
                  <a:pt x="334" y="82"/>
                  <a:pt x="336" y="87"/>
                </a:cubicBezTo>
                <a:cubicBezTo>
                  <a:pt x="338" y="90"/>
                  <a:pt x="337" y="95"/>
                  <a:pt x="337" y="99"/>
                </a:cubicBezTo>
                <a:cubicBezTo>
                  <a:pt x="337" y="101"/>
                  <a:pt x="336" y="103"/>
                  <a:pt x="335" y="107"/>
                </a:cubicBezTo>
                <a:cubicBezTo>
                  <a:pt x="337" y="107"/>
                  <a:pt x="338" y="109"/>
                  <a:pt x="340" y="109"/>
                </a:cubicBezTo>
                <a:cubicBezTo>
                  <a:pt x="345" y="111"/>
                  <a:pt x="349" y="114"/>
                  <a:pt x="354" y="117"/>
                </a:cubicBezTo>
                <a:cubicBezTo>
                  <a:pt x="373" y="128"/>
                  <a:pt x="380" y="141"/>
                  <a:pt x="387" y="160"/>
                </a:cubicBezTo>
                <a:cubicBezTo>
                  <a:pt x="389" y="165"/>
                  <a:pt x="390" y="170"/>
                  <a:pt x="390" y="175"/>
                </a:cubicBezTo>
                <a:cubicBezTo>
                  <a:pt x="389" y="183"/>
                  <a:pt x="390" y="192"/>
                  <a:pt x="388" y="200"/>
                </a:cubicBezTo>
                <a:cubicBezTo>
                  <a:pt x="385" y="211"/>
                  <a:pt x="380" y="221"/>
                  <a:pt x="372" y="230"/>
                </a:cubicBezTo>
                <a:cubicBezTo>
                  <a:pt x="371" y="232"/>
                  <a:pt x="370" y="233"/>
                  <a:pt x="368" y="234"/>
                </a:cubicBezTo>
                <a:cubicBezTo>
                  <a:pt x="360" y="244"/>
                  <a:pt x="350" y="250"/>
                  <a:pt x="339" y="255"/>
                </a:cubicBezTo>
                <a:cubicBezTo>
                  <a:pt x="336" y="256"/>
                  <a:pt x="332" y="258"/>
                  <a:pt x="329" y="258"/>
                </a:cubicBezTo>
                <a:cubicBezTo>
                  <a:pt x="323" y="259"/>
                  <a:pt x="317" y="260"/>
                  <a:pt x="311" y="260"/>
                </a:cubicBezTo>
                <a:cubicBezTo>
                  <a:pt x="233" y="261"/>
                  <a:pt x="156" y="261"/>
                  <a:pt x="78" y="260"/>
                </a:cubicBezTo>
                <a:cubicBezTo>
                  <a:pt x="66" y="260"/>
                  <a:pt x="54" y="257"/>
                  <a:pt x="43" y="252"/>
                </a:cubicBezTo>
                <a:cubicBezTo>
                  <a:pt x="36" y="249"/>
                  <a:pt x="30" y="245"/>
                  <a:pt x="25" y="239"/>
                </a:cubicBezTo>
                <a:cubicBezTo>
                  <a:pt x="18" y="232"/>
                  <a:pt x="10" y="224"/>
                  <a:pt x="8" y="213"/>
                </a:cubicBezTo>
                <a:cubicBezTo>
                  <a:pt x="0" y="201"/>
                  <a:pt x="1" y="187"/>
                  <a:pt x="2" y="174"/>
                </a:cubicBezTo>
                <a:cubicBezTo>
                  <a:pt x="3" y="163"/>
                  <a:pt x="9" y="152"/>
                  <a:pt x="15" y="142"/>
                </a:cubicBezTo>
                <a:cubicBezTo>
                  <a:pt x="23" y="128"/>
                  <a:pt x="36" y="120"/>
                  <a:pt x="49" y="113"/>
                </a:cubicBezTo>
                <a:cubicBezTo>
                  <a:pt x="51" y="112"/>
                  <a:pt x="53" y="112"/>
                  <a:pt x="55" y="110"/>
                </a:cubicBezTo>
                <a:close/>
                <a:moveTo>
                  <a:pt x="73" y="124"/>
                </a:moveTo>
                <a:cubicBezTo>
                  <a:pt x="70" y="126"/>
                  <a:pt x="67" y="128"/>
                  <a:pt x="64" y="129"/>
                </a:cubicBezTo>
                <a:cubicBezTo>
                  <a:pt x="53" y="131"/>
                  <a:pt x="45" y="137"/>
                  <a:pt x="37" y="145"/>
                </a:cubicBezTo>
                <a:cubicBezTo>
                  <a:pt x="27" y="155"/>
                  <a:pt x="21" y="168"/>
                  <a:pt x="21" y="183"/>
                </a:cubicBezTo>
                <a:cubicBezTo>
                  <a:pt x="21" y="185"/>
                  <a:pt x="21" y="188"/>
                  <a:pt x="21" y="191"/>
                </a:cubicBezTo>
                <a:cubicBezTo>
                  <a:pt x="21" y="199"/>
                  <a:pt x="24" y="206"/>
                  <a:pt x="27" y="212"/>
                </a:cubicBezTo>
                <a:cubicBezTo>
                  <a:pt x="38" y="231"/>
                  <a:pt x="55" y="241"/>
                  <a:pt x="76" y="241"/>
                </a:cubicBezTo>
                <a:cubicBezTo>
                  <a:pt x="154" y="241"/>
                  <a:pt x="233" y="241"/>
                  <a:pt x="311" y="241"/>
                </a:cubicBezTo>
                <a:cubicBezTo>
                  <a:pt x="318" y="241"/>
                  <a:pt x="325" y="242"/>
                  <a:pt x="331" y="237"/>
                </a:cubicBezTo>
                <a:cubicBezTo>
                  <a:pt x="354" y="231"/>
                  <a:pt x="367" y="210"/>
                  <a:pt x="370" y="192"/>
                </a:cubicBezTo>
                <a:cubicBezTo>
                  <a:pt x="372" y="179"/>
                  <a:pt x="370" y="166"/>
                  <a:pt x="363" y="153"/>
                </a:cubicBezTo>
                <a:cubicBezTo>
                  <a:pt x="353" y="136"/>
                  <a:pt x="338" y="128"/>
                  <a:pt x="324" y="123"/>
                </a:cubicBezTo>
                <a:cubicBezTo>
                  <a:pt x="320" y="121"/>
                  <a:pt x="317" y="119"/>
                  <a:pt x="316" y="118"/>
                </a:cubicBezTo>
                <a:cubicBezTo>
                  <a:pt x="317" y="113"/>
                  <a:pt x="315" y="108"/>
                  <a:pt x="318" y="104"/>
                </a:cubicBezTo>
                <a:cubicBezTo>
                  <a:pt x="317" y="97"/>
                  <a:pt x="320" y="90"/>
                  <a:pt x="316" y="84"/>
                </a:cubicBezTo>
                <a:cubicBezTo>
                  <a:pt x="316" y="74"/>
                  <a:pt x="311" y="65"/>
                  <a:pt x="306" y="56"/>
                </a:cubicBezTo>
                <a:cubicBezTo>
                  <a:pt x="302" y="49"/>
                  <a:pt x="296" y="43"/>
                  <a:pt x="289" y="37"/>
                </a:cubicBezTo>
                <a:cubicBezTo>
                  <a:pt x="284" y="33"/>
                  <a:pt x="278" y="28"/>
                  <a:pt x="271" y="26"/>
                </a:cubicBezTo>
                <a:cubicBezTo>
                  <a:pt x="260" y="22"/>
                  <a:pt x="249" y="19"/>
                  <a:pt x="237" y="20"/>
                </a:cubicBezTo>
                <a:cubicBezTo>
                  <a:pt x="225" y="20"/>
                  <a:pt x="214" y="23"/>
                  <a:pt x="204" y="28"/>
                </a:cubicBezTo>
                <a:cubicBezTo>
                  <a:pt x="191" y="33"/>
                  <a:pt x="182" y="43"/>
                  <a:pt x="174" y="53"/>
                </a:cubicBezTo>
                <a:cubicBezTo>
                  <a:pt x="170" y="59"/>
                  <a:pt x="168" y="67"/>
                  <a:pt x="161" y="70"/>
                </a:cubicBezTo>
                <a:cubicBezTo>
                  <a:pt x="160" y="70"/>
                  <a:pt x="158" y="70"/>
                  <a:pt x="156" y="70"/>
                </a:cubicBezTo>
                <a:cubicBezTo>
                  <a:pt x="139" y="53"/>
                  <a:pt x="111" y="49"/>
                  <a:pt x="89" y="65"/>
                </a:cubicBezTo>
                <a:cubicBezTo>
                  <a:pt x="84" y="68"/>
                  <a:pt x="81" y="73"/>
                  <a:pt x="78" y="77"/>
                </a:cubicBezTo>
                <a:cubicBezTo>
                  <a:pt x="74" y="82"/>
                  <a:pt x="73" y="89"/>
                  <a:pt x="72" y="95"/>
                </a:cubicBezTo>
                <a:cubicBezTo>
                  <a:pt x="71" y="103"/>
                  <a:pt x="72" y="111"/>
                  <a:pt x="75" y="118"/>
                </a:cubicBezTo>
                <a:cubicBezTo>
                  <a:pt x="74" y="120"/>
                  <a:pt x="74" y="122"/>
                  <a:pt x="73" y="124"/>
                </a:cubicBezTo>
                <a:close/>
              </a:path>
            </a:pathLst>
          </a:custGeom>
          <a:solidFill>
            <a:schemeClr val="bg1">
              <a:lumMod val="75000"/>
            </a:schemeClr>
          </a:solidFill>
          <a:ln>
            <a:noFill/>
          </a:ln>
        </p:spPr>
        <p:txBody>
          <a:bodyPr vert="horz" wrap="square" lIns="91440" tIns="45720" rIns="91440" bIns="45720" numCol="1" anchor="t" anchorCtr="0" compatLnSpc="1"/>
          <a:lstStyle/>
          <a:p>
            <a:endParaRPr lang="zh-CN" altLang="en-US">
              <a:cs typeface="+mn-ea"/>
              <a:sym typeface="+mn-lt"/>
            </a:endParaRPr>
          </a:p>
        </p:txBody>
      </p:sp>
      <p:sp>
        <p:nvSpPr>
          <p:cNvPr id="55" name="Freeform 26"/>
          <p:cNvSpPr>
            <a:spLocks noEditPoints="1"/>
          </p:cNvSpPr>
          <p:nvPr/>
        </p:nvSpPr>
        <p:spPr bwMode="auto">
          <a:xfrm>
            <a:off x="6139148" y="5693623"/>
            <a:ext cx="1012486" cy="680144"/>
          </a:xfrm>
          <a:custGeom>
            <a:avLst/>
            <a:gdLst>
              <a:gd name="T0" fmla="*/ 53 w 390"/>
              <a:gd name="T1" fmla="*/ 93 h 261"/>
              <a:gd name="T2" fmla="*/ 69 w 390"/>
              <a:gd name="T3" fmla="*/ 59 h 261"/>
              <a:gd name="T4" fmla="*/ 114 w 390"/>
              <a:gd name="T5" fmla="*/ 36 h 261"/>
              <a:gd name="T6" fmla="*/ 156 w 390"/>
              <a:gd name="T7" fmla="*/ 45 h 261"/>
              <a:gd name="T8" fmla="*/ 190 w 390"/>
              <a:gd name="T9" fmla="*/ 14 h 261"/>
              <a:gd name="T10" fmla="*/ 246 w 390"/>
              <a:gd name="T11" fmla="*/ 1 h 261"/>
              <a:gd name="T12" fmla="*/ 300 w 390"/>
              <a:gd name="T13" fmla="*/ 22 h 261"/>
              <a:gd name="T14" fmla="*/ 333 w 390"/>
              <a:gd name="T15" fmla="*/ 74 h 261"/>
              <a:gd name="T16" fmla="*/ 337 w 390"/>
              <a:gd name="T17" fmla="*/ 99 h 261"/>
              <a:gd name="T18" fmla="*/ 340 w 390"/>
              <a:gd name="T19" fmla="*/ 109 h 261"/>
              <a:gd name="T20" fmla="*/ 387 w 390"/>
              <a:gd name="T21" fmla="*/ 160 h 261"/>
              <a:gd name="T22" fmla="*/ 388 w 390"/>
              <a:gd name="T23" fmla="*/ 200 h 261"/>
              <a:gd name="T24" fmla="*/ 368 w 390"/>
              <a:gd name="T25" fmla="*/ 234 h 261"/>
              <a:gd name="T26" fmla="*/ 329 w 390"/>
              <a:gd name="T27" fmla="*/ 258 h 261"/>
              <a:gd name="T28" fmla="*/ 78 w 390"/>
              <a:gd name="T29" fmla="*/ 260 h 261"/>
              <a:gd name="T30" fmla="*/ 25 w 390"/>
              <a:gd name="T31" fmla="*/ 239 h 261"/>
              <a:gd name="T32" fmla="*/ 2 w 390"/>
              <a:gd name="T33" fmla="*/ 174 h 261"/>
              <a:gd name="T34" fmla="*/ 49 w 390"/>
              <a:gd name="T35" fmla="*/ 113 h 261"/>
              <a:gd name="T36" fmla="*/ 73 w 390"/>
              <a:gd name="T37" fmla="*/ 124 h 261"/>
              <a:gd name="T38" fmla="*/ 37 w 390"/>
              <a:gd name="T39" fmla="*/ 145 h 261"/>
              <a:gd name="T40" fmla="*/ 21 w 390"/>
              <a:gd name="T41" fmla="*/ 191 h 261"/>
              <a:gd name="T42" fmla="*/ 76 w 390"/>
              <a:gd name="T43" fmla="*/ 241 h 261"/>
              <a:gd name="T44" fmla="*/ 331 w 390"/>
              <a:gd name="T45" fmla="*/ 237 h 261"/>
              <a:gd name="T46" fmla="*/ 363 w 390"/>
              <a:gd name="T47" fmla="*/ 153 h 261"/>
              <a:gd name="T48" fmla="*/ 316 w 390"/>
              <a:gd name="T49" fmla="*/ 118 h 261"/>
              <a:gd name="T50" fmla="*/ 316 w 390"/>
              <a:gd name="T51" fmla="*/ 84 h 261"/>
              <a:gd name="T52" fmla="*/ 289 w 390"/>
              <a:gd name="T53" fmla="*/ 37 h 261"/>
              <a:gd name="T54" fmla="*/ 237 w 390"/>
              <a:gd name="T55" fmla="*/ 20 h 261"/>
              <a:gd name="T56" fmla="*/ 174 w 390"/>
              <a:gd name="T57" fmla="*/ 53 h 261"/>
              <a:gd name="T58" fmla="*/ 156 w 390"/>
              <a:gd name="T59" fmla="*/ 70 h 261"/>
              <a:gd name="T60" fmla="*/ 78 w 390"/>
              <a:gd name="T61" fmla="*/ 77 h 261"/>
              <a:gd name="T62" fmla="*/ 75 w 390"/>
              <a:gd name="T63" fmla="*/ 11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0" h="261">
                <a:moveTo>
                  <a:pt x="55" y="110"/>
                </a:moveTo>
                <a:cubicBezTo>
                  <a:pt x="51" y="104"/>
                  <a:pt x="51" y="98"/>
                  <a:pt x="53" y="93"/>
                </a:cubicBezTo>
                <a:cubicBezTo>
                  <a:pt x="54" y="88"/>
                  <a:pt x="55" y="82"/>
                  <a:pt x="57" y="77"/>
                </a:cubicBezTo>
                <a:cubicBezTo>
                  <a:pt x="60" y="70"/>
                  <a:pt x="64" y="64"/>
                  <a:pt x="69" y="59"/>
                </a:cubicBezTo>
                <a:cubicBezTo>
                  <a:pt x="76" y="52"/>
                  <a:pt x="83" y="45"/>
                  <a:pt x="92" y="41"/>
                </a:cubicBezTo>
                <a:cubicBezTo>
                  <a:pt x="99" y="38"/>
                  <a:pt x="106" y="36"/>
                  <a:pt x="114" y="36"/>
                </a:cubicBezTo>
                <a:cubicBezTo>
                  <a:pt x="124" y="36"/>
                  <a:pt x="133" y="35"/>
                  <a:pt x="142" y="39"/>
                </a:cubicBezTo>
                <a:cubicBezTo>
                  <a:pt x="146" y="41"/>
                  <a:pt x="151" y="43"/>
                  <a:pt x="156" y="45"/>
                </a:cubicBezTo>
                <a:cubicBezTo>
                  <a:pt x="158" y="43"/>
                  <a:pt x="161" y="40"/>
                  <a:pt x="164" y="36"/>
                </a:cubicBezTo>
                <a:cubicBezTo>
                  <a:pt x="171" y="27"/>
                  <a:pt x="180" y="20"/>
                  <a:pt x="190" y="14"/>
                </a:cubicBezTo>
                <a:cubicBezTo>
                  <a:pt x="201" y="8"/>
                  <a:pt x="212" y="4"/>
                  <a:pt x="224" y="2"/>
                </a:cubicBezTo>
                <a:cubicBezTo>
                  <a:pt x="232" y="1"/>
                  <a:pt x="239" y="0"/>
                  <a:pt x="246" y="1"/>
                </a:cubicBezTo>
                <a:cubicBezTo>
                  <a:pt x="256" y="2"/>
                  <a:pt x="266" y="3"/>
                  <a:pt x="275" y="7"/>
                </a:cubicBezTo>
                <a:cubicBezTo>
                  <a:pt x="284" y="11"/>
                  <a:pt x="292" y="16"/>
                  <a:pt x="300" y="22"/>
                </a:cubicBezTo>
                <a:cubicBezTo>
                  <a:pt x="308" y="28"/>
                  <a:pt x="316" y="35"/>
                  <a:pt x="321" y="44"/>
                </a:cubicBezTo>
                <a:cubicBezTo>
                  <a:pt x="326" y="53"/>
                  <a:pt x="333" y="63"/>
                  <a:pt x="333" y="74"/>
                </a:cubicBezTo>
                <a:cubicBezTo>
                  <a:pt x="337" y="77"/>
                  <a:pt x="334" y="82"/>
                  <a:pt x="336" y="87"/>
                </a:cubicBezTo>
                <a:cubicBezTo>
                  <a:pt x="338" y="90"/>
                  <a:pt x="337" y="95"/>
                  <a:pt x="337" y="99"/>
                </a:cubicBezTo>
                <a:cubicBezTo>
                  <a:pt x="337" y="101"/>
                  <a:pt x="336" y="103"/>
                  <a:pt x="335" y="107"/>
                </a:cubicBezTo>
                <a:cubicBezTo>
                  <a:pt x="337" y="107"/>
                  <a:pt x="338" y="109"/>
                  <a:pt x="340" y="109"/>
                </a:cubicBezTo>
                <a:cubicBezTo>
                  <a:pt x="345" y="111"/>
                  <a:pt x="349" y="114"/>
                  <a:pt x="354" y="117"/>
                </a:cubicBezTo>
                <a:cubicBezTo>
                  <a:pt x="373" y="128"/>
                  <a:pt x="380" y="141"/>
                  <a:pt x="387" y="160"/>
                </a:cubicBezTo>
                <a:cubicBezTo>
                  <a:pt x="389" y="165"/>
                  <a:pt x="390" y="170"/>
                  <a:pt x="390" y="175"/>
                </a:cubicBezTo>
                <a:cubicBezTo>
                  <a:pt x="389" y="183"/>
                  <a:pt x="390" y="192"/>
                  <a:pt x="388" y="200"/>
                </a:cubicBezTo>
                <a:cubicBezTo>
                  <a:pt x="385" y="211"/>
                  <a:pt x="380" y="221"/>
                  <a:pt x="372" y="230"/>
                </a:cubicBezTo>
                <a:cubicBezTo>
                  <a:pt x="371" y="232"/>
                  <a:pt x="370" y="233"/>
                  <a:pt x="368" y="234"/>
                </a:cubicBezTo>
                <a:cubicBezTo>
                  <a:pt x="360" y="244"/>
                  <a:pt x="350" y="250"/>
                  <a:pt x="339" y="255"/>
                </a:cubicBezTo>
                <a:cubicBezTo>
                  <a:pt x="336" y="256"/>
                  <a:pt x="332" y="258"/>
                  <a:pt x="329" y="258"/>
                </a:cubicBezTo>
                <a:cubicBezTo>
                  <a:pt x="323" y="259"/>
                  <a:pt x="317" y="260"/>
                  <a:pt x="311" y="260"/>
                </a:cubicBezTo>
                <a:cubicBezTo>
                  <a:pt x="233" y="261"/>
                  <a:pt x="156" y="261"/>
                  <a:pt x="78" y="260"/>
                </a:cubicBezTo>
                <a:cubicBezTo>
                  <a:pt x="66" y="260"/>
                  <a:pt x="54" y="257"/>
                  <a:pt x="43" y="252"/>
                </a:cubicBezTo>
                <a:cubicBezTo>
                  <a:pt x="36" y="249"/>
                  <a:pt x="30" y="245"/>
                  <a:pt x="25" y="239"/>
                </a:cubicBezTo>
                <a:cubicBezTo>
                  <a:pt x="18" y="232"/>
                  <a:pt x="10" y="224"/>
                  <a:pt x="8" y="213"/>
                </a:cubicBezTo>
                <a:cubicBezTo>
                  <a:pt x="0" y="201"/>
                  <a:pt x="1" y="187"/>
                  <a:pt x="2" y="174"/>
                </a:cubicBezTo>
                <a:cubicBezTo>
                  <a:pt x="3" y="163"/>
                  <a:pt x="9" y="152"/>
                  <a:pt x="15" y="142"/>
                </a:cubicBezTo>
                <a:cubicBezTo>
                  <a:pt x="23" y="128"/>
                  <a:pt x="36" y="120"/>
                  <a:pt x="49" y="113"/>
                </a:cubicBezTo>
                <a:cubicBezTo>
                  <a:pt x="51" y="112"/>
                  <a:pt x="53" y="112"/>
                  <a:pt x="55" y="110"/>
                </a:cubicBezTo>
                <a:close/>
                <a:moveTo>
                  <a:pt x="73" y="124"/>
                </a:moveTo>
                <a:cubicBezTo>
                  <a:pt x="70" y="126"/>
                  <a:pt x="67" y="128"/>
                  <a:pt x="64" y="129"/>
                </a:cubicBezTo>
                <a:cubicBezTo>
                  <a:pt x="53" y="131"/>
                  <a:pt x="45" y="137"/>
                  <a:pt x="37" y="145"/>
                </a:cubicBezTo>
                <a:cubicBezTo>
                  <a:pt x="27" y="155"/>
                  <a:pt x="21" y="168"/>
                  <a:pt x="21" y="183"/>
                </a:cubicBezTo>
                <a:cubicBezTo>
                  <a:pt x="21" y="185"/>
                  <a:pt x="21" y="188"/>
                  <a:pt x="21" y="191"/>
                </a:cubicBezTo>
                <a:cubicBezTo>
                  <a:pt x="21" y="199"/>
                  <a:pt x="24" y="206"/>
                  <a:pt x="27" y="212"/>
                </a:cubicBezTo>
                <a:cubicBezTo>
                  <a:pt x="38" y="231"/>
                  <a:pt x="55" y="241"/>
                  <a:pt x="76" y="241"/>
                </a:cubicBezTo>
                <a:cubicBezTo>
                  <a:pt x="154" y="241"/>
                  <a:pt x="233" y="241"/>
                  <a:pt x="311" y="241"/>
                </a:cubicBezTo>
                <a:cubicBezTo>
                  <a:pt x="318" y="241"/>
                  <a:pt x="325" y="242"/>
                  <a:pt x="331" y="237"/>
                </a:cubicBezTo>
                <a:cubicBezTo>
                  <a:pt x="354" y="231"/>
                  <a:pt x="367" y="210"/>
                  <a:pt x="370" y="192"/>
                </a:cubicBezTo>
                <a:cubicBezTo>
                  <a:pt x="372" y="179"/>
                  <a:pt x="370" y="166"/>
                  <a:pt x="363" y="153"/>
                </a:cubicBezTo>
                <a:cubicBezTo>
                  <a:pt x="353" y="136"/>
                  <a:pt x="338" y="128"/>
                  <a:pt x="324" y="123"/>
                </a:cubicBezTo>
                <a:cubicBezTo>
                  <a:pt x="320" y="121"/>
                  <a:pt x="317" y="119"/>
                  <a:pt x="316" y="118"/>
                </a:cubicBezTo>
                <a:cubicBezTo>
                  <a:pt x="317" y="113"/>
                  <a:pt x="315" y="108"/>
                  <a:pt x="318" y="104"/>
                </a:cubicBezTo>
                <a:cubicBezTo>
                  <a:pt x="317" y="97"/>
                  <a:pt x="320" y="90"/>
                  <a:pt x="316" y="84"/>
                </a:cubicBezTo>
                <a:cubicBezTo>
                  <a:pt x="316" y="74"/>
                  <a:pt x="311" y="65"/>
                  <a:pt x="306" y="56"/>
                </a:cubicBezTo>
                <a:cubicBezTo>
                  <a:pt x="302" y="49"/>
                  <a:pt x="296" y="43"/>
                  <a:pt x="289" y="37"/>
                </a:cubicBezTo>
                <a:cubicBezTo>
                  <a:pt x="284" y="33"/>
                  <a:pt x="278" y="28"/>
                  <a:pt x="271" y="26"/>
                </a:cubicBezTo>
                <a:cubicBezTo>
                  <a:pt x="260" y="22"/>
                  <a:pt x="249" y="19"/>
                  <a:pt x="237" y="20"/>
                </a:cubicBezTo>
                <a:cubicBezTo>
                  <a:pt x="225" y="20"/>
                  <a:pt x="214" y="23"/>
                  <a:pt x="204" y="28"/>
                </a:cubicBezTo>
                <a:cubicBezTo>
                  <a:pt x="191" y="33"/>
                  <a:pt x="182" y="43"/>
                  <a:pt x="174" y="53"/>
                </a:cubicBezTo>
                <a:cubicBezTo>
                  <a:pt x="170" y="59"/>
                  <a:pt x="168" y="67"/>
                  <a:pt x="161" y="70"/>
                </a:cubicBezTo>
                <a:cubicBezTo>
                  <a:pt x="160" y="70"/>
                  <a:pt x="158" y="70"/>
                  <a:pt x="156" y="70"/>
                </a:cubicBezTo>
                <a:cubicBezTo>
                  <a:pt x="139" y="53"/>
                  <a:pt x="111" y="49"/>
                  <a:pt x="89" y="65"/>
                </a:cubicBezTo>
                <a:cubicBezTo>
                  <a:pt x="84" y="68"/>
                  <a:pt x="81" y="73"/>
                  <a:pt x="78" y="77"/>
                </a:cubicBezTo>
                <a:cubicBezTo>
                  <a:pt x="74" y="82"/>
                  <a:pt x="73" y="89"/>
                  <a:pt x="72" y="95"/>
                </a:cubicBezTo>
                <a:cubicBezTo>
                  <a:pt x="71" y="103"/>
                  <a:pt x="72" y="111"/>
                  <a:pt x="75" y="118"/>
                </a:cubicBezTo>
                <a:cubicBezTo>
                  <a:pt x="74" y="120"/>
                  <a:pt x="74" y="122"/>
                  <a:pt x="73" y="124"/>
                </a:cubicBezTo>
                <a:close/>
              </a:path>
            </a:pathLst>
          </a:custGeom>
          <a:solidFill>
            <a:schemeClr val="bg1">
              <a:lumMod val="75000"/>
            </a:schemeClr>
          </a:solidFill>
          <a:ln>
            <a:noFill/>
          </a:ln>
        </p:spPr>
        <p:txBody>
          <a:bodyPr vert="horz" wrap="square" lIns="91440" tIns="45720" rIns="91440" bIns="45720" numCol="1" anchor="t" anchorCtr="0" compatLnSpc="1"/>
          <a:lstStyle/>
          <a:p>
            <a:endParaRPr lang="zh-CN" altLang="en-US">
              <a:cs typeface="+mn-ea"/>
              <a:sym typeface="+mn-lt"/>
            </a:endParaRPr>
          </a:p>
        </p:txBody>
      </p:sp>
      <p:sp>
        <p:nvSpPr>
          <p:cNvPr id="56" name="Freeform 26"/>
          <p:cNvSpPr>
            <a:spLocks noEditPoints="1"/>
          </p:cNvSpPr>
          <p:nvPr/>
        </p:nvSpPr>
        <p:spPr bwMode="auto">
          <a:xfrm>
            <a:off x="4276301" y="5693623"/>
            <a:ext cx="1012486" cy="680144"/>
          </a:xfrm>
          <a:custGeom>
            <a:avLst/>
            <a:gdLst>
              <a:gd name="T0" fmla="*/ 53 w 390"/>
              <a:gd name="T1" fmla="*/ 93 h 261"/>
              <a:gd name="T2" fmla="*/ 69 w 390"/>
              <a:gd name="T3" fmla="*/ 59 h 261"/>
              <a:gd name="T4" fmla="*/ 114 w 390"/>
              <a:gd name="T5" fmla="*/ 36 h 261"/>
              <a:gd name="T6" fmla="*/ 156 w 390"/>
              <a:gd name="T7" fmla="*/ 45 h 261"/>
              <a:gd name="T8" fmla="*/ 190 w 390"/>
              <a:gd name="T9" fmla="*/ 14 h 261"/>
              <a:gd name="T10" fmla="*/ 246 w 390"/>
              <a:gd name="T11" fmla="*/ 1 h 261"/>
              <a:gd name="T12" fmla="*/ 300 w 390"/>
              <a:gd name="T13" fmla="*/ 22 h 261"/>
              <a:gd name="T14" fmla="*/ 333 w 390"/>
              <a:gd name="T15" fmla="*/ 74 h 261"/>
              <a:gd name="T16" fmla="*/ 337 w 390"/>
              <a:gd name="T17" fmla="*/ 99 h 261"/>
              <a:gd name="T18" fmla="*/ 340 w 390"/>
              <a:gd name="T19" fmla="*/ 109 h 261"/>
              <a:gd name="T20" fmla="*/ 387 w 390"/>
              <a:gd name="T21" fmla="*/ 160 h 261"/>
              <a:gd name="T22" fmla="*/ 388 w 390"/>
              <a:gd name="T23" fmla="*/ 200 h 261"/>
              <a:gd name="T24" fmla="*/ 368 w 390"/>
              <a:gd name="T25" fmla="*/ 234 h 261"/>
              <a:gd name="T26" fmla="*/ 329 w 390"/>
              <a:gd name="T27" fmla="*/ 258 h 261"/>
              <a:gd name="T28" fmla="*/ 78 w 390"/>
              <a:gd name="T29" fmla="*/ 260 h 261"/>
              <a:gd name="T30" fmla="*/ 25 w 390"/>
              <a:gd name="T31" fmla="*/ 239 h 261"/>
              <a:gd name="T32" fmla="*/ 2 w 390"/>
              <a:gd name="T33" fmla="*/ 174 h 261"/>
              <a:gd name="T34" fmla="*/ 49 w 390"/>
              <a:gd name="T35" fmla="*/ 113 h 261"/>
              <a:gd name="T36" fmla="*/ 73 w 390"/>
              <a:gd name="T37" fmla="*/ 124 h 261"/>
              <a:gd name="T38" fmla="*/ 37 w 390"/>
              <a:gd name="T39" fmla="*/ 145 h 261"/>
              <a:gd name="T40" fmla="*/ 21 w 390"/>
              <a:gd name="T41" fmla="*/ 191 h 261"/>
              <a:gd name="T42" fmla="*/ 76 w 390"/>
              <a:gd name="T43" fmla="*/ 241 h 261"/>
              <a:gd name="T44" fmla="*/ 331 w 390"/>
              <a:gd name="T45" fmla="*/ 237 h 261"/>
              <a:gd name="T46" fmla="*/ 363 w 390"/>
              <a:gd name="T47" fmla="*/ 153 h 261"/>
              <a:gd name="T48" fmla="*/ 316 w 390"/>
              <a:gd name="T49" fmla="*/ 118 h 261"/>
              <a:gd name="T50" fmla="*/ 316 w 390"/>
              <a:gd name="T51" fmla="*/ 84 h 261"/>
              <a:gd name="T52" fmla="*/ 289 w 390"/>
              <a:gd name="T53" fmla="*/ 37 h 261"/>
              <a:gd name="T54" fmla="*/ 237 w 390"/>
              <a:gd name="T55" fmla="*/ 20 h 261"/>
              <a:gd name="T56" fmla="*/ 174 w 390"/>
              <a:gd name="T57" fmla="*/ 53 h 261"/>
              <a:gd name="T58" fmla="*/ 156 w 390"/>
              <a:gd name="T59" fmla="*/ 70 h 261"/>
              <a:gd name="T60" fmla="*/ 78 w 390"/>
              <a:gd name="T61" fmla="*/ 77 h 261"/>
              <a:gd name="T62" fmla="*/ 75 w 390"/>
              <a:gd name="T63" fmla="*/ 11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0" h="261">
                <a:moveTo>
                  <a:pt x="55" y="110"/>
                </a:moveTo>
                <a:cubicBezTo>
                  <a:pt x="51" y="104"/>
                  <a:pt x="51" y="98"/>
                  <a:pt x="53" y="93"/>
                </a:cubicBezTo>
                <a:cubicBezTo>
                  <a:pt x="54" y="88"/>
                  <a:pt x="55" y="82"/>
                  <a:pt x="57" y="77"/>
                </a:cubicBezTo>
                <a:cubicBezTo>
                  <a:pt x="60" y="70"/>
                  <a:pt x="64" y="64"/>
                  <a:pt x="69" y="59"/>
                </a:cubicBezTo>
                <a:cubicBezTo>
                  <a:pt x="76" y="52"/>
                  <a:pt x="83" y="45"/>
                  <a:pt x="92" y="41"/>
                </a:cubicBezTo>
                <a:cubicBezTo>
                  <a:pt x="99" y="38"/>
                  <a:pt x="106" y="36"/>
                  <a:pt x="114" y="36"/>
                </a:cubicBezTo>
                <a:cubicBezTo>
                  <a:pt x="124" y="36"/>
                  <a:pt x="133" y="35"/>
                  <a:pt x="142" y="39"/>
                </a:cubicBezTo>
                <a:cubicBezTo>
                  <a:pt x="146" y="41"/>
                  <a:pt x="151" y="43"/>
                  <a:pt x="156" y="45"/>
                </a:cubicBezTo>
                <a:cubicBezTo>
                  <a:pt x="158" y="43"/>
                  <a:pt x="161" y="40"/>
                  <a:pt x="164" y="36"/>
                </a:cubicBezTo>
                <a:cubicBezTo>
                  <a:pt x="171" y="27"/>
                  <a:pt x="180" y="20"/>
                  <a:pt x="190" y="14"/>
                </a:cubicBezTo>
                <a:cubicBezTo>
                  <a:pt x="201" y="8"/>
                  <a:pt x="212" y="4"/>
                  <a:pt x="224" y="2"/>
                </a:cubicBezTo>
                <a:cubicBezTo>
                  <a:pt x="232" y="1"/>
                  <a:pt x="239" y="0"/>
                  <a:pt x="246" y="1"/>
                </a:cubicBezTo>
                <a:cubicBezTo>
                  <a:pt x="256" y="2"/>
                  <a:pt x="266" y="3"/>
                  <a:pt x="275" y="7"/>
                </a:cubicBezTo>
                <a:cubicBezTo>
                  <a:pt x="284" y="11"/>
                  <a:pt x="292" y="16"/>
                  <a:pt x="300" y="22"/>
                </a:cubicBezTo>
                <a:cubicBezTo>
                  <a:pt x="308" y="28"/>
                  <a:pt x="316" y="35"/>
                  <a:pt x="321" y="44"/>
                </a:cubicBezTo>
                <a:cubicBezTo>
                  <a:pt x="326" y="53"/>
                  <a:pt x="333" y="63"/>
                  <a:pt x="333" y="74"/>
                </a:cubicBezTo>
                <a:cubicBezTo>
                  <a:pt x="337" y="77"/>
                  <a:pt x="334" y="82"/>
                  <a:pt x="336" y="87"/>
                </a:cubicBezTo>
                <a:cubicBezTo>
                  <a:pt x="338" y="90"/>
                  <a:pt x="337" y="95"/>
                  <a:pt x="337" y="99"/>
                </a:cubicBezTo>
                <a:cubicBezTo>
                  <a:pt x="337" y="101"/>
                  <a:pt x="336" y="103"/>
                  <a:pt x="335" y="107"/>
                </a:cubicBezTo>
                <a:cubicBezTo>
                  <a:pt x="337" y="107"/>
                  <a:pt x="338" y="109"/>
                  <a:pt x="340" y="109"/>
                </a:cubicBezTo>
                <a:cubicBezTo>
                  <a:pt x="345" y="111"/>
                  <a:pt x="349" y="114"/>
                  <a:pt x="354" y="117"/>
                </a:cubicBezTo>
                <a:cubicBezTo>
                  <a:pt x="373" y="128"/>
                  <a:pt x="380" y="141"/>
                  <a:pt x="387" y="160"/>
                </a:cubicBezTo>
                <a:cubicBezTo>
                  <a:pt x="389" y="165"/>
                  <a:pt x="390" y="170"/>
                  <a:pt x="390" y="175"/>
                </a:cubicBezTo>
                <a:cubicBezTo>
                  <a:pt x="389" y="183"/>
                  <a:pt x="390" y="192"/>
                  <a:pt x="388" y="200"/>
                </a:cubicBezTo>
                <a:cubicBezTo>
                  <a:pt x="385" y="211"/>
                  <a:pt x="380" y="221"/>
                  <a:pt x="372" y="230"/>
                </a:cubicBezTo>
                <a:cubicBezTo>
                  <a:pt x="371" y="232"/>
                  <a:pt x="370" y="233"/>
                  <a:pt x="368" y="234"/>
                </a:cubicBezTo>
                <a:cubicBezTo>
                  <a:pt x="360" y="244"/>
                  <a:pt x="350" y="250"/>
                  <a:pt x="339" y="255"/>
                </a:cubicBezTo>
                <a:cubicBezTo>
                  <a:pt x="336" y="256"/>
                  <a:pt x="332" y="258"/>
                  <a:pt x="329" y="258"/>
                </a:cubicBezTo>
                <a:cubicBezTo>
                  <a:pt x="323" y="259"/>
                  <a:pt x="317" y="260"/>
                  <a:pt x="311" y="260"/>
                </a:cubicBezTo>
                <a:cubicBezTo>
                  <a:pt x="233" y="261"/>
                  <a:pt x="156" y="261"/>
                  <a:pt x="78" y="260"/>
                </a:cubicBezTo>
                <a:cubicBezTo>
                  <a:pt x="66" y="260"/>
                  <a:pt x="54" y="257"/>
                  <a:pt x="43" y="252"/>
                </a:cubicBezTo>
                <a:cubicBezTo>
                  <a:pt x="36" y="249"/>
                  <a:pt x="30" y="245"/>
                  <a:pt x="25" y="239"/>
                </a:cubicBezTo>
                <a:cubicBezTo>
                  <a:pt x="18" y="232"/>
                  <a:pt x="10" y="224"/>
                  <a:pt x="8" y="213"/>
                </a:cubicBezTo>
                <a:cubicBezTo>
                  <a:pt x="0" y="201"/>
                  <a:pt x="1" y="187"/>
                  <a:pt x="2" y="174"/>
                </a:cubicBezTo>
                <a:cubicBezTo>
                  <a:pt x="3" y="163"/>
                  <a:pt x="9" y="152"/>
                  <a:pt x="15" y="142"/>
                </a:cubicBezTo>
                <a:cubicBezTo>
                  <a:pt x="23" y="128"/>
                  <a:pt x="36" y="120"/>
                  <a:pt x="49" y="113"/>
                </a:cubicBezTo>
                <a:cubicBezTo>
                  <a:pt x="51" y="112"/>
                  <a:pt x="53" y="112"/>
                  <a:pt x="55" y="110"/>
                </a:cubicBezTo>
                <a:close/>
                <a:moveTo>
                  <a:pt x="73" y="124"/>
                </a:moveTo>
                <a:cubicBezTo>
                  <a:pt x="70" y="126"/>
                  <a:pt x="67" y="128"/>
                  <a:pt x="64" y="129"/>
                </a:cubicBezTo>
                <a:cubicBezTo>
                  <a:pt x="53" y="131"/>
                  <a:pt x="45" y="137"/>
                  <a:pt x="37" y="145"/>
                </a:cubicBezTo>
                <a:cubicBezTo>
                  <a:pt x="27" y="155"/>
                  <a:pt x="21" y="168"/>
                  <a:pt x="21" y="183"/>
                </a:cubicBezTo>
                <a:cubicBezTo>
                  <a:pt x="21" y="185"/>
                  <a:pt x="21" y="188"/>
                  <a:pt x="21" y="191"/>
                </a:cubicBezTo>
                <a:cubicBezTo>
                  <a:pt x="21" y="199"/>
                  <a:pt x="24" y="206"/>
                  <a:pt x="27" y="212"/>
                </a:cubicBezTo>
                <a:cubicBezTo>
                  <a:pt x="38" y="231"/>
                  <a:pt x="55" y="241"/>
                  <a:pt x="76" y="241"/>
                </a:cubicBezTo>
                <a:cubicBezTo>
                  <a:pt x="154" y="241"/>
                  <a:pt x="233" y="241"/>
                  <a:pt x="311" y="241"/>
                </a:cubicBezTo>
                <a:cubicBezTo>
                  <a:pt x="318" y="241"/>
                  <a:pt x="325" y="242"/>
                  <a:pt x="331" y="237"/>
                </a:cubicBezTo>
                <a:cubicBezTo>
                  <a:pt x="354" y="231"/>
                  <a:pt x="367" y="210"/>
                  <a:pt x="370" y="192"/>
                </a:cubicBezTo>
                <a:cubicBezTo>
                  <a:pt x="372" y="179"/>
                  <a:pt x="370" y="166"/>
                  <a:pt x="363" y="153"/>
                </a:cubicBezTo>
                <a:cubicBezTo>
                  <a:pt x="353" y="136"/>
                  <a:pt x="338" y="128"/>
                  <a:pt x="324" y="123"/>
                </a:cubicBezTo>
                <a:cubicBezTo>
                  <a:pt x="320" y="121"/>
                  <a:pt x="317" y="119"/>
                  <a:pt x="316" y="118"/>
                </a:cubicBezTo>
                <a:cubicBezTo>
                  <a:pt x="317" y="113"/>
                  <a:pt x="315" y="108"/>
                  <a:pt x="318" y="104"/>
                </a:cubicBezTo>
                <a:cubicBezTo>
                  <a:pt x="317" y="97"/>
                  <a:pt x="320" y="90"/>
                  <a:pt x="316" y="84"/>
                </a:cubicBezTo>
                <a:cubicBezTo>
                  <a:pt x="316" y="74"/>
                  <a:pt x="311" y="65"/>
                  <a:pt x="306" y="56"/>
                </a:cubicBezTo>
                <a:cubicBezTo>
                  <a:pt x="302" y="49"/>
                  <a:pt x="296" y="43"/>
                  <a:pt x="289" y="37"/>
                </a:cubicBezTo>
                <a:cubicBezTo>
                  <a:pt x="284" y="33"/>
                  <a:pt x="278" y="28"/>
                  <a:pt x="271" y="26"/>
                </a:cubicBezTo>
                <a:cubicBezTo>
                  <a:pt x="260" y="22"/>
                  <a:pt x="249" y="19"/>
                  <a:pt x="237" y="20"/>
                </a:cubicBezTo>
                <a:cubicBezTo>
                  <a:pt x="225" y="20"/>
                  <a:pt x="214" y="23"/>
                  <a:pt x="204" y="28"/>
                </a:cubicBezTo>
                <a:cubicBezTo>
                  <a:pt x="191" y="33"/>
                  <a:pt x="182" y="43"/>
                  <a:pt x="174" y="53"/>
                </a:cubicBezTo>
                <a:cubicBezTo>
                  <a:pt x="170" y="59"/>
                  <a:pt x="168" y="67"/>
                  <a:pt x="161" y="70"/>
                </a:cubicBezTo>
                <a:cubicBezTo>
                  <a:pt x="160" y="70"/>
                  <a:pt x="158" y="70"/>
                  <a:pt x="156" y="70"/>
                </a:cubicBezTo>
                <a:cubicBezTo>
                  <a:pt x="139" y="53"/>
                  <a:pt x="111" y="49"/>
                  <a:pt x="89" y="65"/>
                </a:cubicBezTo>
                <a:cubicBezTo>
                  <a:pt x="84" y="68"/>
                  <a:pt x="81" y="73"/>
                  <a:pt x="78" y="77"/>
                </a:cubicBezTo>
                <a:cubicBezTo>
                  <a:pt x="74" y="82"/>
                  <a:pt x="73" y="89"/>
                  <a:pt x="72" y="95"/>
                </a:cubicBezTo>
                <a:cubicBezTo>
                  <a:pt x="71" y="103"/>
                  <a:pt x="72" y="111"/>
                  <a:pt x="75" y="118"/>
                </a:cubicBezTo>
                <a:cubicBezTo>
                  <a:pt x="74" y="120"/>
                  <a:pt x="74" y="122"/>
                  <a:pt x="73" y="124"/>
                </a:cubicBezTo>
                <a:close/>
              </a:path>
            </a:pathLst>
          </a:custGeom>
          <a:solidFill>
            <a:schemeClr val="bg1">
              <a:lumMod val="75000"/>
            </a:schemeClr>
          </a:solidFill>
          <a:ln>
            <a:noFill/>
          </a:ln>
        </p:spPr>
        <p:txBody>
          <a:bodyPr vert="horz" wrap="square" lIns="91440" tIns="45720" rIns="91440" bIns="45720" numCol="1" anchor="t" anchorCtr="0" compatLnSpc="1"/>
          <a:lstStyle/>
          <a:p>
            <a:endParaRPr lang="zh-CN" altLang="en-US">
              <a:cs typeface="+mn-ea"/>
              <a:sym typeface="+mn-lt"/>
            </a:endParaRPr>
          </a:p>
        </p:txBody>
      </p:sp>
      <p:sp>
        <p:nvSpPr>
          <p:cNvPr id="57" name="Freeform 26"/>
          <p:cNvSpPr>
            <a:spLocks noEditPoints="1"/>
          </p:cNvSpPr>
          <p:nvPr/>
        </p:nvSpPr>
        <p:spPr bwMode="auto">
          <a:xfrm>
            <a:off x="2413454" y="5693623"/>
            <a:ext cx="1012486" cy="680144"/>
          </a:xfrm>
          <a:custGeom>
            <a:avLst/>
            <a:gdLst>
              <a:gd name="T0" fmla="*/ 53 w 390"/>
              <a:gd name="T1" fmla="*/ 93 h 261"/>
              <a:gd name="T2" fmla="*/ 69 w 390"/>
              <a:gd name="T3" fmla="*/ 59 h 261"/>
              <a:gd name="T4" fmla="*/ 114 w 390"/>
              <a:gd name="T5" fmla="*/ 36 h 261"/>
              <a:gd name="T6" fmla="*/ 156 w 390"/>
              <a:gd name="T7" fmla="*/ 45 h 261"/>
              <a:gd name="T8" fmla="*/ 190 w 390"/>
              <a:gd name="T9" fmla="*/ 14 h 261"/>
              <a:gd name="T10" fmla="*/ 246 w 390"/>
              <a:gd name="T11" fmla="*/ 1 h 261"/>
              <a:gd name="T12" fmla="*/ 300 w 390"/>
              <a:gd name="T13" fmla="*/ 22 h 261"/>
              <a:gd name="T14" fmla="*/ 333 w 390"/>
              <a:gd name="T15" fmla="*/ 74 h 261"/>
              <a:gd name="T16" fmla="*/ 337 w 390"/>
              <a:gd name="T17" fmla="*/ 99 h 261"/>
              <a:gd name="T18" fmla="*/ 340 w 390"/>
              <a:gd name="T19" fmla="*/ 109 h 261"/>
              <a:gd name="T20" fmla="*/ 387 w 390"/>
              <a:gd name="T21" fmla="*/ 160 h 261"/>
              <a:gd name="T22" fmla="*/ 388 w 390"/>
              <a:gd name="T23" fmla="*/ 200 h 261"/>
              <a:gd name="T24" fmla="*/ 368 w 390"/>
              <a:gd name="T25" fmla="*/ 234 h 261"/>
              <a:gd name="T26" fmla="*/ 329 w 390"/>
              <a:gd name="T27" fmla="*/ 258 h 261"/>
              <a:gd name="T28" fmla="*/ 78 w 390"/>
              <a:gd name="T29" fmla="*/ 260 h 261"/>
              <a:gd name="T30" fmla="*/ 25 w 390"/>
              <a:gd name="T31" fmla="*/ 239 h 261"/>
              <a:gd name="T32" fmla="*/ 2 w 390"/>
              <a:gd name="T33" fmla="*/ 174 h 261"/>
              <a:gd name="T34" fmla="*/ 49 w 390"/>
              <a:gd name="T35" fmla="*/ 113 h 261"/>
              <a:gd name="T36" fmla="*/ 73 w 390"/>
              <a:gd name="T37" fmla="*/ 124 h 261"/>
              <a:gd name="T38" fmla="*/ 37 w 390"/>
              <a:gd name="T39" fmla="*/ 145 h 261"/>
              <a:gd name="T40" fmla="*/ 21 w 390"/>
              <a:gd name="T41" fmla="*/ 191 h 261"/>
              <a:gd name="T42" fmla="*/ 76 w 390"/>
              <a:gd name="T43" fmla="*/ 241 h 261"/>
              <a:gd name="T44" fmla="*/ 331 w 390"/>
              <a:gd name="T45" fmla="*/ 237 h 261"/>
              <a:gd name="T46" fmla="*/ 363 w 390"/>
              <a:gd name="T47" fmla="*/ 153 h 261"/>
              <a:gd name="T48" fmla="*/ 316 w 390"/>
              <a:gd name="T49" fmla="*/ 118 h 261"/>
              <a:gd name="T50" fmla="*/ 316 w 390"/>
              <a:gd name="T51" fmla="*/ 84 h 261"/>
              <a:gd name="T52" fmla="*/ 289 w 390"/>
              <a:gd name="T53" fmla="*/ 37 h 261"/>
              <a:gd name="T54" fmla="*/ 237 w 390"/>
              <a:gd name="T55" fmla="*/ 20 h 261"/>
              <a:gd name="T56" fmla="*/ 174 w 390"/>
              <a:gd name="T57" fmla="*/ 53 h 261"/>
              <a:gd name="T58" fmla="*/ 156 w 390"/>
              <a:gd name="T59" fmla="*/ 70 h 261"/>
              <a:gd name="T60" fmla="*/ 78 w 390"/>
              <a:gd name="T61" fmla="*/ 77 h 261"/>
              <a:gd name="T62" fmla="*/ 75 w 390"/>
              <a:gd name="T63" fmla="*/ 11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0" h="261">
                <a:moveTo>
                  <a:pt x="55" y="110"/>
                </a:moveTo>
                <a:cubicBezTo>
                  <a:pt x="51" y="104"/>
                  <a:pt x="51" y="98"/>
                  <a:pt x="53" y="93"/>
                </a:cubicBezTo>
                <a:cubicBezTo>
                  <a:pt x="54" y="88"/>
                  <a:pt x="55" y="82"/>
                  <a:pt x="57" y="77"/>
                </a:cubicBezTo>
                <a:cubicBezTo>
                  <a:pt x="60" y="70"/>
                  <a:pt x="64" y="64"/>
                  <a:pt x="69" y="59"/>
                </a:cubicBezTo>
                <a:cubicBezTo>
                  <a:pt x="76" y="52"/>
                  <a:pt x="83" y="45"/>
                  <a:pt x="92" y="41"/>
                </a:cubicBezTo>
                <a:cubicBezTo>
                  <a:pt x="99" y="38"/>
                  <a:pt x="106" y="36"/>
                  <a:pt x="114" y="36"/>
                </a:cubicBezTo>
                <a:cubicBezTo>
                  <a:pt x="124" y="36"/>
                  <a:pt x="133" y="35"/>
                  <a:pt x="142" y="39"/>
                </a:cubicBezTo>
                <a:cubicBezTo>
                  <a:pt x="146" y="41"/>
                  <a:pt x="151" y="43"/>
                  <a:pt x="156" y="45"/>
                </a:cubicBezTo>
                <a:cubicBezTo>
                  <a:pt x="158" y="43"/>
                  <a:pt x="161" y="40"/>
                  <a:pt x="164" y="36"/>
                </a:cubicBezTo>
                <a:cubicBezTo>
                  <a:pt x="171" y="27"/>
                  <a:pt x="180" y="20"/>
                  <a:pt x="190" y="14"/>
                </a:cubicBezTo>
                <a:cubicBezTo>
                  <a:pt x="201" y="8"/>
                  <a:pt x="212" y="4"/>
                  <a:pt x="224" y="2"/>
                </a:cubicBezTo>
                <a:cubicBezTo>
                  <a:pt x="232" y="1"/>
                  <a:pt x="239" y="0"/>
                  <a:pt x="246" y="1"/>
                </a:cubicBezTo>
                <a:cubicBezTo>
                  <a:pt x="256" y="2"/>
                  <a:pt x="266" y="3"/>
                  <a:pt x="275" y="7"/>
                </a:cubicBezTo>
                <a:cubicBezTo>
                  <a:pt x="284" y="11"/>
                  <a:pt x="292" y="16"/>
                  <a:pt x="300" y="22"/>
                </a:cubicBezTo>
                <a:cubicBezTo>
                  <a:pt x="308" y="28"/>
                  <a:pt x="316" y="35"/>
                  <a:pt x="321" y="44"/>
                </a:cubicBezTo>
                <a:cubicBezTo>
                  <a:pt x="326" y="53"/>
                  <a:pt x="333" y="63"/>
                  <a:pt x="333" y="74"/>
                </a:cubicBezTo>
                <a:cubicBezTo>
                  <a:pt x="337" y="77"/>
                  <a:pt x="334" y="82"/>
                  <a:pt x="336" y="87"/>
                </a:cubicBezTo>
                <a:cubicBezTo>
                  <a:pt x="338" y="90"/>
                  <a:pt x="337" y="95"/>
                  <a:pt x="337" y="99"/>
                </a:cubicBezTo>
                <a:cubicBezTo>
                  <a:pt x="337" y="101"/>
                  <a:pt x="336" y="103"/>
                  <a:pt x="335" y="107"/>
                </a:cubicBezTo>
                <a:cubicBezTo>
                  <a:pt x="337" y="107"/>
                  <a:pt x="338" y="109"/>
                  <a:pt x="340" y="109"/>
                </a:cubicBezTo>
                <a:cubicBezTo>
                  <a:pt x="345" y="111"/>
                  <a:pt x="349" y="114"/>
                  <a:pt x="354" y="117"/>
                </a:cubicBezTo>
                <a:cubicBezTo>
                  <a:pt x="373" y="128"/>
                  <a:pt x="380" y="141"/>
                  <a:pt x="387" y="160"/>
                </a:cubicBezTo>
                <a:cubicBezTo>
                  <a:pt x="389" y="165"/>
                  <a:pt x="390" y="170"/>
                  <a:pt x="390" y="175"/>
                </a:cubicBezTo>
                <a:cubicBezTo>
                  <a:pt x="389" y="183"/>
                  <a:pt x="390" y="192"/>
                  <a:pt x="388" y="200"/>
                </a:cubicBezTo>
                <a:cubicBezTo>
                  <a:pt x="385" y="211"/>
                  <a:pt x="380" y="221"/>
                  <a:pt x="372" y="230"/>
                </a:cubicBezTo>
                <a:cubicBezTo>
                  <a:pt x="371" y="232"/>
                  <a:pt x="370" y="233"/>
                  <a:pt x="368" y="234"/>
                </a:cubicBezTo>
                <a:cubicBezTo>
                  <a:pt x="360" y="244"/>
                  <a:pt x="350" y="250"/>
                  <a:pt x="339" y="255"/>
                </a:cubicBezTo>
                <a:cubicBezTo>
                  <a:pt x="336" y="256"/>
                  <a:pt x="332" y="258"/>
                  <a:pt x="329" y="258"/>
                </a:cubicBezTo>
                <a:cubicBezTo>
                  <a:pt x="323" y="259"/>
                  <a:pt x="317" y="260"/>
                  <a:pt x="311" y="260"/>
                </a:cubicBezTo>
                <a:cubicBezTo>
                  <a:pt x="233" y="261"/>
                  <a:pt x="156" y="261"/>
                  <a:pt x="78" y="260"/>
                </a:cubicBezTo>
                <a:cubicBezTo>
                  <a:pt x="66" y="260"/>
                  <a:pt x="54" y="257"/>
                  <a:pt x="43" y="252"/>
                </a:cubicBezTo>
                <a:cubicBezTo>
                  <a:pt x="36" y="249"/>
                  <a:pt x="30" y="245"/>
                  <a:pt x="25" y="239"/>
                </a:cubicBezTo>
                <a:cubicBezTo>
                  <a:pt x="18" y="232"/>
                  <a:pt x="10" y="224"/>
                  <a:pt x="8" y="213"/>
                </a:cubicBezTo>
                <a:cubicBezTo>
                  <a:pt x="0" y="201"/>
                  <a:pt x="1" y="187"/>
                  <a:pt x="2" y="174"/>
                </a:cubicBezTo>
                <a:cubicBezTo>
                  <a:pt x="3" y="163"/>
                  <a:pt x="9" y="152"/>
                  <a:pt x="15" y="142"/>
                </a:cubicBezTo>
                <a:cubicBezTo>
                  <a:pt x="23" y="128"/>
                  <a:pt x="36" y="120"/>
                  <a:pt x="49" y="113"/>
                </a:cubicBezTo>
                <a:cubicBezTo>
                  <a:pt x="51" y="112"/>
                  <a:pt x="53" y="112"/>
                  <a:pt x="55" y="110"/>
                </a:cubicBezTo>
                <a:close/>
                <a:moveTo>
                  <a:pt x="73" y="124"/>
                </a:moveTo>
                <a:cubicBezTo>
                  <a:pt x="70" y="126"/>
                  <a:pt x="67" y="128"/>
                  <a:pt x="64" y="129"/>
                </a:cubicBezTo>
                <a:cubicBezTo>
                  <a:pt x="53" y="131"/>
                  <a:pt x="45" y="137"/>
                  <a:pt x="37" y="145"/>
                </a:cubicBezTo>
                <a:cubicBezTo>
                  <a:pt x="27" y="155"/>
                  <a:pt x="21" y="168"/>
                  <a:pt x="21" y="183"/>
                </a:cubicBezTo>
                <a:cubicBezTo>
                  <a:pt x="21" y="185"/>
                  <a:pt x="21" y="188"/>
                  <a:pt x="21" y="191"/>
                </a:cubicBezTo>
                <a:cubicBezTo>
                  <a:pt x="21" y="199"/>
                  <a:pt x="24" y="206"/>
                  <a:pt x="27" y="212"/>
                </a:cubicBezTo>
                <a:cubicBezTo>
                  <a:pt x="38" y="231"/>
                  <a:pt x="55" y="241"/>
                  <a:pt x="76" y="241"/>
                </a:cubicBezTo>
                <a:cubicBezTo>
                  <a:pt x="154" y="241"/>
                  <a:pt x="233" y="241"/>
                  <a:pt x="311" y="241"/>
                </a:cubicBezTo>
                <a:cubicBezTo>
                  <a:pt x="318" y="241"/>
                  <a:pt x="325" y="242"/>
                  <a:pt x="331" y="237"/>
                </a:cubicBezTo>
                <a:cubicBezTo>
                  <a:pt x="354" y="231"/>
                  <a:pt x="367" y="210"/>
                  <a:pt x="370" y="192"/>
                </a:cubicBezTo>
                <a:cubicBezTo>
                  <a:pt x="372" y="179"/>
                  <a:pt x="370" y="166"/>
                  <a:pt x="363" y="153"/>
                </a:cubicBezTo>
                <a:cubicBezTo>
                  <a:pt x="353" y="136"/>
                  <a:pt x="338" y="128"/>
                  <a:pt x="324" y="123"/>
                </a:cubicBezTo>
                <a:cubicBezTo>
                  <a:pt x="320" y="121"/>
                  <a:pt x="317" y="119"/>
                  <a:pt x="316" y="118"/>
                </a:cubicBezTo>
                <a:cubicBezTo>
                  <a:pt x="317" y="113"/>
                  <a:pt x="315" y="108"/>
                  <a:pt x="318" y="104"/>
                </a:cubicBezTo>
                <a:cubicBezTo>
                  <a:pt x="317" y="97"/>
                  <a:pt x="320" y="90"/>
                  <a:pt x="316" y="84"/>
                </a:cubicBezTo>
                <a:cubicBezTo>
                  <a:pt x="316" y="74"/>
                  <a:pt x="311" y="65"/>
                  <a:pt x="306" y="56"/>
                </a:cubicBezTo>
                <a:cubicBezTo>
                  <a:pt x="302" y="49"/>
                  <a:pt x="296" y="43"/>
                  <a:pt x="289" y="37"/>
                </a:cubicBezTo>
                <a:cubicBezTo>
                  <a:pt x="284" y="33"/>
                  <a:pt x="278" y="28"/>
                  <a:pt x="271" y="26"/>
                </a:cubicBezTo>
                <a:cubicBezTo>
                  <a:pt x="260" y="22"/>
                  <a:pt x="249" y="19"/>
                  <a:pt x="237" y="20"/>
                </a:cubicBezTo>
                <a:cubicBezTo>
                  <a:pt x="225" y="20"/>
                  <a:pt x="214" y="23"/>
                  <a:pt x="204" y="28"/>
                </a:cubicBezTo>
                <a:cubicBezTo>
                  <a:pt x="191" y="33"/>
                  <a:pt x="182" y="43"/>
                  <a:pt x="174" y="53"/>
                </a:cubicBezTo>
                <a:cubicBezTo>
                  <a:pt x="170" y="59"/>
                  <a:pt x="168" y="67"/>
                  <a:pt x="161" y="70"/>
                </a:cubicBezTo>
                <a:cubicBezTo>
                  <a:pt x="160" y="70"/>
                  <a:pt x="158" y="70"/>
                  <a:pt x="156" y="70"/>
                </a:cubicBezTo>
                <a:cubicBezTo>
                  <a:pt x="139" y="53"/>
                  <a:pt x="111" y="49"/>
                  <a:pt x="89" y="65"/>
                </a:cubicBezTo>
                <a:cubicBezTo>
                  <a:pt x="84" y="68"/>
                  <a:pt x="81" y="73"/>
                  <a:pt x="78" y="77"/>
                </a:cubicBezTo>
                <a:cubicBezTo>
                  <a:pt x="74" y="82"/>
                  <a:pt x="73" y="89"/>
                  <a:pt x="72" y="95"/>
                </a:cubicBezTo>
                <a:cubicBezTo>
                  <a:pt x="71" y="103"/>
                  <a:pt x="72" y="111"/>
                  <a:pt x="75" y="118"/>
                </a:cubicBezTo>
                <a:cubicBezTo>
                  <a:pt x="74" y="120"/>
                  <a:pt x="74" y="122"/>
                  <a:pt x="73" y="124"/>
                </a:cubicBezTo>
                <a:close/>
              </a:path>
            </a:pathLst>
          </a:custGeom>
          <a:solidFill>
            <a:schemeClr val="bg1">
              <a:lumMod val="75000"/>
            </a:schemeClr>
          </a:solidFill>
          <a:ln>
            <a:noFill/>
          </a:ln>
        </p:spPr>
        <p:txBody>
          <a:bodyPr vert="horz" wrap="square" lIns="91440" tIns="45720" rIns="91440" bIns="45720" numCol="1" anchor="t" anchorCtr="0" compatLnSpc="1"/>
          <a:lstStyle/>
          <a:p>
            <a:endParaRPr lang="zh-CN" altLang="en-US">
              <a:cs typeface="+mn-ea"/>
              <a:sym typeface="+mn-lt"/>
            </a:endParaRPr>
          </a:p>
        </p:txBody>
      </p:sp>
      <p:sp>
        <p:nvSpPr>
          <p:cNvPr id="58" name="Freeform 3"/>
          <p:cNvSpPr/>
          <p:nvPr/>
        </p:nvSpPr>
        <p:spPr>
          <a:xfrm>
            <a:off x="2540739" y="5975877"/>
            <a:ext cx="757916" cy="276999"/>
          </a:xfrm>
          <a:custGeom>
            <a:avLst/>
            <a:gdLst>
              <a:gd name="connsiteX0" fmla="*/ 6350 w 901700"/>
              <a:gd name="connsiteY0" fmla="*/ 6350 h 1981200"/>
              <a:gd name="connsiteX1" fmla="*/ 895350 w 901700"/>
              <a:gd name="connsiteY1" fmla="*/ 6350 h 1981200"/>
              <a:gd name="connsiteX2" fmla="*/ 895350 w 901700"/>
              <a:gd name="connsiteY2" fmla="*/ 1974850 h 1981200"/>
              <a:gd name="connsiteX3" fmla="*/ 6350 w 901700"/>
              <a:gd name="connsiteY3" fmla="*/ 1974850 h 1981200"/>
              <a:gd name="connsiteX4" fmla="*/ 6350 w 901700"/>
              <a:gd name="connsiteY4" fmla="*/ 6350 h 19812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01700" h="1981200">
                <a:moveTo>
                  <a:pt x="6350" y="6350"/>
                </a:moveTo>
                <a:lnTo>
                  <a:pt x="895350" y="6350"/>
                </a:lnTo>
                <a:lnTo>
                  <a:pt x="895350" y="1974850"/>
                </a:lnTo>
                <a:lnTo>
                  <a:pt x="6350" y="1974850"/>
                </a:lnTo>
                <a:lnTo>
                  <a:pt x="6350" y="6350"/>
                </a:lnTo>
              </a:path>
            </a:pathLst>
          </a:custGeom>
          <a:noFill/>
          <a:ln w="6350">
            <a:noFill/>
          </a:ln>
        </p:spPr>
        <p:txBody>
          <a:bodyPr wrap="square" lIns="0" tIns="0" rIns="0" bIns="0" rtlCol="0" anchor="ctr">
            <a:spAutoFit/>
          </a:bodyPr>
          <a:lstStyle/>
          <a:p>
            <a:pPr algn="ctr" defTabSz="914400"/>
            <a:r>
              <a:rPr lang="zh-CN" altLang="en-US" b="1" dirty="0">
                <a:cs typeface="+mn-ea"/>
                <a:sym typeface="+mn-lt"/>
              </a:rPr>
              <a:t>云主机</a:t>
            </a:r>
            <a:endParaRPr lang="zh-CN" altLang="en-US" b="1" dirty="0">
              <a:cs typeface="+mn-ea"/>
              <a:sym typeface="+mn-lt"/>
            </a:endParaRPr>
          </a:p>
        </p:txBody>
      </p:sp>
      <p:sp>
        <p:nvSpPr>
          <p:cNvPr id="59" name="Freeform 3"/>
          <p:cNvSpPr/>
          <p:nvPr/>
        </p:nvSpPr>
        <p:spPr>
          <a:xfrm>
            <a:off x="4376673" y="5975877"/>
            <a:ext cx="811742" cy="276999"/>
          </a:xfrm>
          <a:custGeom>
            <a:avLst/>
            <a:gdLst>
              <a:gd name="connsiteX0" fmla="*/ 6350 w 901700"/>
              <a:gd name="connsiteY0" fmla="*/ 6350 h 1981200"/>
              <a:gd name="connsiteX1" fmla="*/ 895350 w 901700"/>
              <a:gd name="connsiteY1" fmla="*/ 6350 h 1981200"/>
              <a:gd name="connsiteX2" fmla="*/ 895350 w 901700"/>
              <a:gd name="connsiteY2" fmla="*/ 1974850 h 1981200"/>
              <a:gd name="connsiteX3" fmla="*/ 6350 w 901700"/>
              <a:gd name="connsiteY3" fmla="*/ 1974850 h 1981200"/>
              <a:gd name="connsiteX4" fmla="*/ 6350 w 901700"/>
              <a:gd name="connsiteY4" fmla="*/ 6350 h 19812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01700" h="1981200">
                <a:moveTo>
                  <a:pt x="6350" y="6350"/>
                </a:moveTo>
                <a:lnTo>
                  <a:pt x="895350" y="6350"/>
                </a:lnTo>
                <a:lnTo>
                  <a:pt x="895350" y="1974850"/>
                </a:lnTo>
                <a:lnTo>
                  <a:pt x="6350" y="1974850"/>
                </a:lnTo>
                <a:lnTo>
                  <a:pt x="6350" y="6350"/>
                </a:lnTo>
              </a:path>
            </a:pathLst>
          </a:custGeom>
          <a:noFill/>
          <a:ln w="6350">
            <a:noFill/>
          </a:ln>
        </p:spPr>
        <p:txBody>
          <a:bodyPr wrap="square" lIns="0" tIns="0" rIns="0" bIns="0" rtlCol="0" anchor="ctr">
            <a:spAutoFit/>
          </a:bodyPr>
          <a:lstStyle/>
          <a:p>
            <a:pPr algn="ctr" defTabSz="914400"/>
            <a:r>
              <a:rPr lang="zh-CN" altLang="en-US" b="1" dirty="0" smtClean="0">
                <a:cs typeface="+mn-ea"/>
                <a:sym typeface="+mn-lt"/>
              </a:rPr>
              <a:t>云</a:t>
            </a:r>
            <a:r>
              <a:rPr lang="zh-CN" altLang="en-US" b="1" dirty="0">
                <a:cs typeface="+mn-ea"/>
                <a:sym typeface="+mn-lt"/>
              </a:rPr>
              <a:t>网络</a:t>
            </a:r>
            <a:endParaRPr lang="zh-CN" altLang="en-US" b="1" dirty="0">
              <a:cs typeface="+mn-ea"/>
              <a:sym typeface="+mn-lt"/>
            </a:endParaRPr>
          </a:p>
        </p:txBody>
      </p:sp>
      <p:sp>
        <p:nvSpPr>
          <p:cNvPr id="60" name="Freeform 3"/>
          <p:cNvSpPr/>
          <p:nvPr/>
        </p:nvSpPr>
        <p:spPr>
          <a:xfrm>
            <a:off x="6183815" y="5975877"/>
            <a:ext cx="923153" cy="276999"/>
          </a:xfrm>
          <a:custGeom>
            <a:avLst/>
            <a:gdLst>
              <a:gd name="connsiteX0" fmla="*/ 6350 w 901700"/>
              <a:gd name="connsiteY0" fmla="*/ 6350 h 1981200"/>
              <a:gd name="connsiteX1" fmla="*/ 895350 w 901700"/>
              <a:gd name="connsiteY1" fmla="*/ 6350 h 1981200"/>
              <a:gd name="connsiteX2" fmla="*/ 895350 w 901700"/>
              <a:gd name="connsiteY2" fmla="*/ 1974850 h 1981200"/>
              <a:gd name="connsiteX3" fmla="*/ 6350 w 901700"/>
              <a:gd name="connsiteY3" fmla="*/ 1974850 h 1981200"/>
              <a:gd name="connsiteX4" fmla="*/ 6350 w 901700"/>
              <a:gd name="connsiteY4" fmla="*/ 6350 h 19812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01700" h="1981200">
                <a:moveTo>
                  <a:pt x="6350" y="6350"/>
                </a:moveTo>
                <a:lnTo>
                  <a:pt x="895350" y="6350"/>
                </a:lnTo>
                <a:lnTo>
                  <a:pt x="895350" y="1974850"/>
                </a:lnTo>
                <a:lnTo>
                  <a:pt x="6350" y="1974850"/>
                </a:lnTo>
                <a:lnTo>
                  <a:pt x="6350" y="6350"/>
                </a:lnTo>
              </a:path>
            </a:pathLst>
          </a:custGeom>
          <a:noFill/>
          <a:ln w="6350">
            <a:noFill/>
          </a:ln>
        </p:spPr>
        <p:txBody>
          <a:bodyPr wrap="square" lIns="0" tIns="0" rIns="0" bIns="0" rtlCol="0" anchor="ctr">
            <a:spAutoFit/>
          </a:bodyPr>
          <a:lstStyle/>
          <a:p>
            <a:pPr algn="ctr" defTabSz="914400"/>
            <a:r>
              <a:rPr lang="zh-CN" altLang="en-US" b="1" dirty="0" smtClean="0">
                <a:cs typeface="+mn-ea"/>
                <a:sym typeface="+mn-lt"/>
              </a:rPr>
              <a:t>云数据库</a:t>
            </a:r>
            <a:endParaRPr lang="zh-CN" altLang="en-US" b="1" dirty="0">
              <a:cs typeface="+mn-ea"/>
              <a:sym typeface="+mn-lt"/>
            </a:endParaRPr>
          </a:p>
        </p:txBody>
      </p:sp>
      <p:sp>
        <p:nvSpPr>
          <p:cNvPr id="61" name="Freeform 3"/>
          <p:cNvSpPr/>
          <p:nvPr/>
        </p:nvSpPr>
        <p:spPr>
          <a:xfrm>
            <a:off x="10019698" y="5975877"/>
            <a:ext cx="702772" cy="276999"/>
          </a:xfrm>
          <a:custGeom>
            <a:avLst/>
            <a:gdLst>
              <a:gd name="connsiteX0" fmla="*/ 6350 w 901700"/>
              <a:gd name="connsiteY0" fmla="*/ 6350 h 1981200"/>
              <a:gd name="connsiteX1" fmla="*/ 895350 w 901700"/>
              <a:gd name="connsiteY1" fmla="*/ 6350 h 1981200"/>
              <a:gd name="connsiteX2" fmla="*/ 895350 w 901700"/>
              <a:gd name="connsiteY2" fmla="*/ 1974850 h 1981200"/>
              <a:gd name="connsiteX3" fmla="*/ 6350 w 901700"/>
              <a:gd name="connsiteY3" fmla="*/ 1974850 h 1981200"/>
              <a:gd name="connsiteX4" fmla="*/ 6350 w 901700"/>
              <a:gd name="connsiteY4" fmla="*/ 6350 h 19812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01700" h="1981200">
                <a:moveTo>
                  <a:pt x="6350" y="6350"/>
                </a:moveTo>
                <a:lnTo>
                  <a:pt x="895350" y="6350"/>
                </a:lnTo>
                <a:lnTo>
                  <a:pt x="895350" y="1974850"/>
                </a:lnTo>
                <a:lnTo>
                  <a:pt x="6350" y="1974850"/>
                </a:lnTo>
                <a:lnTo>
                  <a:pt x="6350" y="6350"/>
                </a:lnTo>
              </a:path>
            </a:pathLst>
          </a:custGeom>
          <a:noFill/>
          <a:ln w="6350">
            <a:noFill/>
          </a:ln>
        </p:spPr>
        <p:txBody>
          <a:bodyPr wrap="square" lIns="0" tIns="0" rIns="0" bIns="0" rtlCol="0" anchor="ctr">
            <a:spAutoFit/>
          </a:bodyPr>
          <a:lstStyle/>
          <a:p>
            <a:pPr algn="ctr" defTabSz="914400"/>
            <a:r>
              <a:rPr lang="zh-CN" altLang="en-US" b="1" dirty="0" smtClean="0">
                <a:cs typeface="+mn-ea"/>
                <a:sym typeface="+mn-lt"/>
              </a:rPr>
              <a:t>云门户</a:t>
            </a:r>
            <a:endParaRPr lang="zh-CN" altLang="en-US" b="1" dirty="0">
              <a:cs typeface="+mn-ea"/>
              <a:sym typeface="+mn-lt"/>
            </a:endParaRPr>
          </a:p>
        </p:txBody>
      </p:sp>
      <p:sp>
        <p:nvSpPr>
          <p:cNvPr id="62" name="Freeform 3"/>
          <p:cNvSpPr/>
          <p:nvPr/>
        </p:nvSpPr>
        <p:spPr>
          <a:xfrm>
            <a:off x="8128864" y="5975877"/>
            <a:ext cx="758748" cy="276999"/>
          </a:xfrm>
          <a:custGeom>
            <a:avLst/>
            <a:gdLst>
              <a:gd name="connsiteX0" fmla="*/ 6350 w 901700"/>
              <a:gd name="connsiteY0" fmla="*/ 6350 h 1981200"/>
              <a:gd name="connsiteX1" fmla="*/ 895350 w 901700"/>
              <a:gd name="connsiteY1" fmla="*/ 6350 h 1981200"/>
              <a:gd name="connsiteX2" fmla="*/ 895350 w 901700"/>
              <a:gd name="connsiteY2" fmla="*/ 1974850 h 1981200"/>
              <a:gd name="connsiteX3" fmla="*/ 6350 w 901700"/>
              <a:gd name="connsiteY3" fmla="*/ 1974850 h 1981200"/>
              <a:gd name="connsiteX4" fmla="*/ 6350 w 901700"/>
              <a:gd name="connsiteY4" fmla="*/ 6350 h 19812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01700" h="1981200">
                <a:moveTo>
                  <a:pt x="6350" y="6350"/>
                </a:moveTo>
                <a:lnTo>
                  <a:pt x="895350" y="6350"/>
                </a:lnTo>
                <a:lnTo>
                  <a:pt x="895350" y="1974850"/>
                </a:lnTo>
                <a:lnTo>
                  <a:pt x="6350" y="1974850"/>
                </a:lnTo>
                <a:lnTo>
                  <a:pt x="6350" y="6350"/>
                </a:lnTo>
              </a:path>
            </a:pathLst>
          </a:custGeom>
          <a:noFill/>
          <a:ln w="6350">
            <a:noFill/>
          </a:ln>
        </p:spPr>
        <p:txBody>
          <a:bodyPr wrap="square" lIns="0" tIns="0" rIns="0" bIns="0" rtlCol="0" anchor="ctr">
            <a:spAutoFit/>
          </a:bodyPr>
          <a:lstStyle/>
          <a:p>
            <a:pPr algn="ctr" defTabSz="914400"/>
            <a:r>
              <a:rPr lang="zh-CN" altLang="en-US" b="1" dirty="0" smtClean="0">
                <a:cs typeface="+mn-ea"/>
                <a:sym typeface="+mn-lt"/>
              </a:rPr>
              <a:t>云安全</a:t>
            </a:r>
            <a:endParaRPr lang="zh-CN" altLang="en-US" b="1" dirty="0">
              <a:cs typeface="+mn-ea"/>
              <a:sym typeface="+mn-lt"/>
            </a:endParaRPr>
          </a:p>
        </p:txBody>
      </p:sp>
      <p:sp>
        <p:nvSpPr>
          <p:cNvPr id="63" name="Freeform 40"/>
          <p:cNvSpPr>
            <a:spLocks noEditPoints="1"/>
          </p:cNvSpPr>
          <p:nvPr/>
        </p:nvSpPr>
        <p:spPr bwMode="auto">
          <a:xfrm>
            <a:off x="8442164" y="1254136"/>
            <a:ext cx="504000" cy="504000"/>
          </a:xfrm>
          <a:custGeom>
            <a:avLst/>
            <a:gdLst>
              <a:gd name="connsiteX0" fmla="*/ 284816 w 607621"/>
              <a:gd name="connsiteY0" fmla="*/ 113752 h 606722"/>
              <a:gd name="connsiteX1" fmla="*/ 493658 w 607621"/>
              <a:gd name="connsiteY1" fmla="*/ 322371 h 606722"/>
              <a:gd name="connsiteX2" fmla="*/ 455662 w 607621"/>
              <a:gd name="connsiteY2" fmla="*/ 360237 h 606722"/>
              <a:gd name="connsiteX3" fmla="*/ 417667 w 607621"/>
              <a:gd name="connsiteY3" fmla="*/ 322371 h 606722"/>
              <a:gd name="connsiteX4" fmla="*/ 284816 w 607621"/>
              <a:gd name="connsiteY4" fmla="*/ 189573 h 606722"/>
              <a:gd name="connsiteX5" fmla="*/ 246820 w 607621"/>
              <a:gd name="connsiteY5" fmla="*/ 151707 h 606722"/>
              <a:gd name="connsiteX6" fmla="*/ 284816 w 607621"/>
              <a:gd name="connsiteY6" fmla="*/ 113752 h 606722"/>
              <a:gd name="connsiteX7" fmla="*/ 75921 w 607621"/>
              <a:gd name="connsiteY7" fmla="*/ 75787 h 606722"/>
              <a:gd name="connsiteX8" fmla="*/ 125141 w 607621"/>
              <a:gd name="connsiteY8" fmla="*/ 75787 h 606722"/>
              <a:gd name="connsiteX9" fmla="*/ 170889 w 607621"/>
              <a:gd name="connsiteY9" fmla="*/ 113736 h 606722"/>
              <a:gd name="connsiteX10" fmla="*/ 170889 w 607621"/>
              <a:gd name="connsiteY10" fmla="*/ 151686 h 606722"/>
              <a:gd name="connsiteX11" fmla="*/ 180946 w 607621"/>
              <a:gd name="connsiteY11" fmla="*/ 226873 h 606722"/>
              <a:gd name="connsiteX12" fmla="*/ 175339 w 607621"/>
              <a:gd name="connsiteY12" fmla="*/ 259312 h 606722"/>
              <a:gd name="connsiteX13" fmla="*/ 133863 w 607621"/>
              <a:gd name="connsiteY13" fmla="*/ 314503 h 606722"/>
              <a:gd name="connsiteX14" fmla="*/ 292379 w 607621"/>
              <a:gd name="connsiteY14" fmla="*/ 473055 h 606722"/>
              <a:gd name="connsiteX15" fmla="*/ 347651 w 607621"/>
              <a:gd name="connsiteY15" fmla="*/ 431551 h 606722"/>
              <a:gd name="connsiteX16" fmla="*/ 380137 w 607621"/>
              <a:gd name="connsiteY16" fmla="*/ 425952 h 606722"/>
              <a:gd name="connsiteX17" fmla="*/ 455702 w 607621"/>
              <a:gd name="connsiteY17" fmla="*/ 436083 h 606722"/>
              <a:gd name="connsiteX18" fmla="*/ 493706 w 607621"/>
              <a:gd name="connsiteY18" fmla="*/ 436083 h 606722"/>
              <a:gd name="connsiteX19" fmla="*/ 531622 w 607621"/>
              <a:gd name="connsiteY19" fmla="*/ 473944 h 606722"/>
              <a:gd name="connsiteX20" fmla="*/ 531622 w 607621"/>
              <a:gd name="connsiteY20" fmla="*/ 530823 h 606722"/>
              <a:gd name="connsiteX21" fmla="*/ 455079 w 607621"/>
              <a:gd name="connsiteY21" fmla="*/ 606722 h 606722"/>
              <a:gd name="connsiteX22" fmla="*/ 1 w 607621"/>
              <a:gd name="connsiteY22" fmla="*/ 152308 h 606722"/>
              <a:gd name="connsiteX23" fmla="*/ 75921 w 607621"/>
              <a:gd name="connsiteY23" fmla="*/ 75787 h 606722"/>
              <a:gd name="connsiteX24" fmla="*/ 284822 w 607621"/>
              <a:gd name="connsiteY24" fmla="*/ 0 h 606722"/>
              <a:gd name="connsiteX25" fmla="*/ 607621 w 607621"/>
              <a:gd name="connsiteY25" fmla="*/ 322373 h 606722"/>
              <a:gd name="connsiteX26" fmla="*/ 569619 w 607621"/>
              <a:gd name="connsiteY26" fmla="*/ 360237 h 606722"/>
              <a:gd name="connsiteX27" fmla="*/ 531616 w 607621"/>
              <a:gd name="connsiteY27" fmla="*/ 322373 h 606722"/>
              <a:gd name="connsiteX28" fmla="*/ 284822 w 607621"/>
              <a:gd name="connsiteY28" fmla="*/ 75816 h 606722"/>
              <a:gd name="connsiteX29" fmla="*/ 246820 w 607621"/>
              <a:gd name="connsiteY29" fmla="*/ 37952 h 606722"/>
              <a:gd name="connsiteX30" fmla="*/ 284822 w 607621"/>
              <a:gd name="connsiteY30"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07621" h="606722">
                <a:moveTo>
                  <a:pt x="284816" y="113752"/>
                </a:moveTo>
                <a:cubicBezTo>
                  <a:pt x="399959" y="113752"/>
                  <a:pt x="493658" y="207351"/>
                  <a:pt x="493658" y="322371"/>
                </a:cubicBezTo>
                <a:cubicBezTo>
                  <a:pt x="493658" y="343259"/>
                  <a:pt x="476662" y="360237"/>
                  <a:pt x="455662" y="360237"/>
                </a:cubicBezTo>
                <a:cubicBezTo>
                  <a:pt x="434662" y="360237"/>
                  <a:pt x="417667" y="343259"/>
                  <a:pt x="417667" y="322371"/>
                </a:cubicBezTo>
                <a:cubicBezTo>
                  <a:pt x="417667" y="249128"/>
                  <a:pt x="358048" y="189573"/>
                  <a:pt x="284816" y="189573"/>
                </a:cubicBezTo>
                <a:cubicBezTo>
                  <a:pt x="263816" y="189573"/>
                  <a:pt x="246820" y="172596"/>
                  <a:pt x="246820" y="151707"/>
                </a:cubicBezTo>
                <a:cubicBezTo>
                  <a:pt x="246820" y="130730"/>
                  <a:pt x="263816" y="113752"/>
                  <a:pt x="284816" y="113752"/>
                </a:cubicBezTo>
                <a:close/>
                <a:moveTo>
                  <a:pt x="75921" y="75787"/>
                </a:moveTo>
                <a:lnTo>
                  <a:pt x="125141" y="75787"/>
                </a:lnTo>
                <a:cubicBezTo>
                  <a:pt x="153889" y="75787"/>
                  <a:pt x="170889" y="92851"/>
                  <a:pt x="170889" y="113736"/>
                </a:cubicBezTo>
                <a:lnTo>
                  <a:pt x="170889" y="151686"/>
                </a:lnTo>
                <a:cubicBezTo>
                  <a:pt x="170889" y="177726"/>
                  <a:pt x="174449" y="202966"/>
                  <a:pt x="180946" y="226873"/>
                </a:cubicBezTo>
                <a:cubicBezTo>
                  <a:pt x="184061" y="238071"/>
                  <a:pt x="182281" y="250069"/>
                  <a:pt x="175339" y="259312"/>
                </a:cubicBezTo>
                <a:lnTo>
                  <a:pt x="133863" y="314503"/>
                </a:lnTo>
                <a:cubicBezTo>
                  <a:pt x="168397" y="382759"/>
                  <a:pt x="224202" y="438305"/>
                  <a:pt x="292379" y="473055"/>
                </a:cubicBezTo>
                <a:lnTo>
                  <a:pt x="347651" y="431551"/>
                </a:lnTo>
                <a:cubicBezTo>
                  <a:pt x="356996" y="424619"/>
                  <a:pt x="368923" y="422930"/>
                  <a:pt x="380137" y="425952"/>
                </a:cubicBezTo>
                <a:cubicBezTo>
                  <a:pt x="404168" y="432528"/>
                  <a:pt x="429534" y="436083"/>
                  <a:pt x="455702" y="436083"/>
                </a:cubicBezTo>
                <a:lnTo>
                  <a:pt x="493706" y="436083"/>
                </a:lnTo>
                <a:cubicBezTo>
                  <a:pt x="514533" y="436083"/>
                  <a:pt x="531622" y="453147"/>
                  <a:pt x="531622" y="473944"/>
                </a:cubicBezTo>
                <a:lnTo>
                  <a:pt x="531622" y="530823"/>
                </a:lnTo>
                <a:cubicBezTo>
                  <a:pt x="531622" y="572861"/>
                  <a:pt x="497177" y="606722"/>
                  <a:pt x="455079" y="606722"/>
                </a:cubicBezTo>
                <a:cubicBezTo>
                  <a:pt x="203998" y="606367"/>
                  <a:pt x="357" y="403022"/>
                  <a:pt x="1" y="152308"/>
                </a:cubicBezTo>
                <a:cubicBezTo>
                  <a:pt x="-88" y="110270"/>
                  <a:pt x="33823" y="75787"/>
                  <a:pt x="75921" y="75787"/>
                </a:cubicBezTo>
                <a:close/>
                <a:moveTo>
                  <a:pt x="284822" y="0"/>
                </a:moveTo>
                <a:cubicBezTo>
                  <a:pt x="462820" y="0"/>
                  <a:pt x="607621" y="144610"/>
                  <a:pt x="607621" y="322373"/>
                </a:cubicBezTo>
                <a:cubicBezTo>
                  <a:pt x="607621" y="343261"/>
                  <a:pt x="590622" y="360237"/>
                  <a:pt x="569619" y="360237"/>
                </a:cubicBezTo>
                <a:cubicBezTo>
                  <a:pt x="548615" y="360237"/>
                  <a:pt x="531616" y="343261"/>
                  <a:pt x="531616" y="322373"/>
                </a:cubicBezTo>
                <a:cubicBezTo>
                  <a:pt x="531616" y="186474"/>
                  <a:pt x="420902" y="75816"/>
                  <a:pt x="284822" y="75816"/>
                </a:cubicBezTo>
                <a:cubicBezTo>
                  <a:pt x="263819" y="75816"/>
                  <a:pt x="246820" y="58840"/>
                  <a:pt x="246820" y="37952"/>
                </a:cubicBezTo>
                <a:cubicBezTo>
                  <a:pt x="246820" y="16976"/>
                  <a:pt x="263819" y="0"/>
                  <a:pt x="284822" y="0"/>
                </a:cubicBezTo>
                <a:close/>
              </a:path>
            </a:pathLst>
          </a:custGeom>
          <a:solidFill>
            <a:srgbClr val="E75C01"/>
          </a:solidFill>
          <a:ln w="9525">
            <a:noFill/>
            <a:round/>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cs typeface="+mn-ea"/>
              <a:sym typeface="+mn-lt"/>
            </a:endParaRPr>
          </a:p>
        </p:txBody>
      </p:sp>
      <p:grpSp>
        <p:nvGrpSpPr>
          <p:cNvPr id="64" name="组合 63"/>
          <p:cNvGrpSpPr/>
          <p:nvPr/>
        </p:nvGrpSpPr>
        <p:grpSpPr>
          <a:xfrm>
            <a:off x="2381954" y="1280369"/>
            <a:ext cx="451534" cy="451534"/>
            <a:chOff x="5253038" y="7035801"/>
            <a:chExt cx="935037" cy="777875"/>
          </a:xfrm>
          <a:solidFill>
            <a:srgbClr val="E75C01"/>
          </a:solidFill>
        </p:grpSpPr>
        <p:sp>
          <p:nvSpPr>
            <p:cNvPr id="65" name="Freeform 5"/>
            <p:cNvSpPr/>
            <p:nvPr/>
          </p:nvSpPr>
          <p:spPr bwMode="auto">
            <a:xfrm>
              <a:off x="5676900" y="7038976"/>
              <a:ext cx="511175" cy="774700"/>
            </a:xfrm>
            <a:custGeom>
              <a:avLst/>
              <a:gdLst>
                <a:gd name="T0" fmla="*/ 6 w 119"/>
                <a:gd name="T1" fmla="*/ 0 h 180"/>
                <a:gd name="T2" fmla="*/ 18 w 119"/>
                <a:gd name="T3" fmla="*/ 1 h 180"/>
                <a:gd name="T4" fmla="*/ 91 w 119"/>
                <a:gd name="T5" fmla="*/ 38 h 180"/>
                <a:gd name="T6" fmla="*/ 117 w 119"/>
                <a:gd name="T7" fmla="*/ 97 h 180"/>
                <a:gd name="T8" fmla="*/ 77 w 119"/>
                <a:gd name="T9" fmla="*/ 180 h 180"/>
                <a:gd name="T10" fmla="*/ 0 w 119"/>
                <a:gd name="T11" fmla="*/ 180 h 180"/>
                <a:gd name="T12" fmla="*/ 9 w 119"/>
                <a:gd name="T13" fmla="*/ 170 h 180"/>
                <a:gd name="T14" fmla="*/ 59 w 119"/>
                <a:gd name="T15" fmla="*/ 99 h 180"/>
                <a:gd name="T16" fmla="*/ 31 w 119"/>
                <a:gd name="T17" fmla="*/ 16 h 180"/>
                <a:gd name="T18" fmla="*/ 5 w 119"/>
                <a:gd name="T19" fmla="*/ 2 h 180"/>
                <a:gd name="T20" fmla="*/ 6 w 119"/>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80">
                  <a:moveTo>
                    <a:pt x="6" y="0"/>
                  </a:moveTo>
                  <a:cubicBezTo>
                    <a:pt x="10" y="0"/>
                    <a:pt x="14" y="0"/>
                    <a:pt x="18" y="1"/>
                  </a:cubicBezTo>
                  <a:cubicBezTo>
                    <a:pt x="45" y="9"/>
                    <a:pt x="69" y="20"/>
                    <a:pt x="91" y="38"/>
                  </a:cubicBezTo>
                  <a:cubicBezTo>
                    <a:pt x="110" y="53"/>
                    <a:pt x="119" y="72"/>
                    <a:pt x="117" y="97"/>
                  </a:cubicBezTo>
                  <a:cubicBezTo>
                    <a:pt x="114" y="130"/>
                    <a:pt x="101" y="157"/>
                    <a:pt x="77" y="180"/>
                  </a:cubicBezTo>
                  <a:cubicBezTo>
                    <a:pt x="51" y="180"/>
                    <a:pt x="27" y="180"/>
                    <a:pt x="0" y="180"/>
                  </a:cubicBezTo>
                  <a:cubicBezTo>
                    <a:pt x="4" y="175"/>
                    <a:pt x="6" y="173"/>
                    <a:pt x="9" y="170"/>
                  </a:cubicBezTo>
                  <a:cubicBezTo>
                    <a:pt x="30" y="150"/>
                    <a:pt x="48" y="127"/>
                    <a:pt x="59" y="99"/>
                  </a:cubicBezTo>
                  <a:cubicBezTo>
                    <a:pt x="72" y="64"/>
                    <a:pt x="63" y="37"/>
                    <a:pt x="31" y="16"/>
                  </a:cubicBezTo>
                  <a:cubicBezTo>
                    <a:pt x="23" y="11"/>
                    <a:pt x="14" y="7"/>
                    <a:pt x="5" y="2"/>
                  </a:cubicBezTo>
                  <a:cubicBezTo>
                    <a:pt x="6" y="1"/>
                    <a:pt x="6" y="0"/>
                    <a:pt x="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66" name="Freeform 6"/>
            <p:cNvSpPr/>
            <p:nvPr/>
          </p:nvSpPr>
          <p:spPr bwMode="auto">
            <a:xfrm>
              <a:off x="5253038" y="7035801"/>
              <a:ext cx="677863" cy="777875"/>
            </a:xfrm>
            <a:custGeom>
              <a:avLst/>
              <a:gdLst>
                <a:gd name="T0" fmla="*/ 0 w 158"/>
                <a:gd name="T1" fmla="*/ 181 h 181"/>
                <a:gd name="T2" fmla="*/ 63 w 158"/>
                <a:gd name="T3" fmla="*/ 126 h 181"/>
                <a:gd name="T4" fmla="*/ 101 w 158"/>
                <a:gd name="T5" fmla="*/ 79 h 181"/>
                <a:gd name="T6" fmla="*/ 84 w 158"/>
                <a:gd name="T7" fmla="*/ 9 h 181"/>
                <a:gd name="T8" fmla="*/ 75 w 158"/>
                <a:gd name="T9" fmla="*/ 0 h 181"/>
                <a:gd name="T10" fmla="*/ 86 w 158"/>
                <a:gd name="T11" fmla="*/ 1 h 181"/>
                <a:gd name="T12" fmla="*/ 138 w 158"/>
                <a:gd name="T13" fmla="*/ 30 h 181"/>
                <a:gd name="T14" fmla="*/ 152 w 158"/>
                <a:gd name="T15" fmla="*/ 83 h 181"/>
                <a:gd name="T16" fmla="*/ 124 w 158"/>
                <a:gd name="T17" fmla="*/ 133 h 181"/>
                <a:gd name="T18" fmla="*/ 73 w 158"/>
                <a:gd name="T19" fmla="*/ 181 h 181"/>
                <a:gd name="T20" fmla="*/ 37 w 158"/>
                <a:gd name="T21" fmla="*/ 181 h 181"/>
                <a:gd name="T22" fmla="*/ 0 w 158"/>
                <a:gd name="T2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8" h="181">
                  <a:moveTo>
                    <a:pt x="0" y="181"/>
                  </a:moveTo>
                  <a:cubicBezTo>
                    <a:pt x="23" y="162"/>
                    <a:pt x="43" y="145"/>
                    <a:pt x="63" y="126"/>
                  </a:cubicBezTo>
                  <a:cubicBezTo>
                    <a:pt x="78" y="113"/>
                    <a:pt x="91" y="97"/>
                    <a:pt x="101" y="79"/>
                  </a:cubicBezTo>
                  <a:cubicBezTo>
                    <a:pt x="117" y="49"/>
                    <a:pt x="112" y="28"/>
                    <a:pt x="84" y="9"/>
                  </a:cubicBezTo>
                  <a:cubicBezTo>
                    <a:pt x="81" y="7"/>
                    <a:pt x="78" y="5"/>
                    <a:pt x="75" y="0"/>
                  </a:cubicBezTo>
                  <a:cubicBezTo>
                    <a:pt x="79" y="1"/>
                    <a:pt x="83" y="0"/>
                    <a:pt x="86" y="1"/>
                  </a:cubicBezTo>
                  <a:cubicBezTo>
                    <a:pt x="105" y="7"/>
                    <a:pt x="123" y="16"/>
                    <a:pt x="138" y="30"/>
                  </a:cubicBezTo>
                  <a:cubicBezTo>
                    <a:pt x="153" y="44"/>
                    <a:pt x="158" y="61"/>
                    <a:pt x="152" y="83"/>
                  </a:cubicBezTo>
                  <a:cubicBezTo>
                    <a:pt x="146" y="102"/>
                    <a:pt x="137" y="118"/>
                    <a:pt x="124" y="133"/>
                  </a:cubicBezTo>
                  <a:cubicBezTo>
                    <a:pt x="110" y="151"/>
                    <a:pt x="93" y="167"/>
                    <a:pt x="73" y="181"/>
                  </a:cubicBezTo>
                  <a:cubicBezTo>
                    <a:pt x="62" y="181"/>
                    <a:pt x="50" y="181"/>
                    <a:pt x="37" y="181"/>
                  </a:cubicBezTo>
                  <a:cubicBezTo>
                    <a:pt x="26" y="181"/>
                    <a:pt x="14" y="181"/>
                    <a:pt x="0"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McK 5. Source"/>
          <p:cNvSpPr>
            <a:spLocks noChangeArrowheads="1"/>
          </p:cNvSpPr>
          <p:nvPr/>
        </p:nvSpPr>
        <p:spPr bwMode="auto">
          <a:xfrm>
            <a:off x="1437032" y="6852348"/>
            <a:ext cx="7002157"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665" indent="-621665" defTabSz="913765">
              <a:tabLst>
                <a:tab pos="624840" algn="l"/>
              </a:tabLst>
            </a:pPr>
            <a:r>
              <a:rPr lang="zh-CN" altLang="en-US" sz="1020" dirty="0" smtClean="0"/>
              <a:t>：</a:t>
            </a:r>
            <a:endParaRPr lang="en-US" altLang="zh-CN" sz="1020" dirty="0"/>
          </a:p>
        </p:txBody>
      </p:sp>
      <p:cxnSp>
        <p:nvCxnSpPr>
          <p:cNvPr id="27" name="Straight Connector 26"/>
          <p:cNvCxnSpPr/>
          <p:nvPr/>
        </p:nvCxnSpPr>
        <p:spPr>
          <a:xfrm>
            <a:off x="2888233" y="2571784"/>
            <a:ext cx="2185398" cy="0"/>
          </a:xfrm>
          <a:prstGeom prst="line">
            <a:avLst/>
          </a:prstGeom>
          <a:ln w="19050">
            <a:solidFill>
              <a:srgbClr val="FE5817"/>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2888233" y="3881738"/>
            <a:ext cx="2185398" cy="0"/>
          </a:xfrm>
          <a:prstGeom prst="line">
            <a:avLst/>
          </a:prstGeom>
          <a:ln w="19050">
            <a:solidFill>
              <a:srgbClr val="FE5817"/>
            </a:solidFill>
            <a:prstDash val="sysDot"/>
          </a:ln>
          <a:effectLst/>
        </p:spPr>
        <p:style>
          <a:lnRef idx="1">
            <a:schemeClr val="accent1"/>
          </a:lnRef>
          <a:fillRef idx="0">
            <a:schemeClr val="accent1"/>
          </a:fillRef>
          <a:effectRef idx="0">
            <a:schemeClr val="accent1"/>
          </a:effectRef>
          <a:fontRef idx="minor">
            <a:schemeClr val="tx1"/>
          </a:fontRef>
        </p:style>
      </p:cxnSp>
      <p:sp>
        <p:nvSpPr>
          <p:cNvPr id="30" name="ListLeanHorizontalTextTopic0"/>
          <p:cNvSpPr txBox="1"/>
          <p:nvPr/>
        </p:nvSpPr>
        <p:spPr>
          <a:xfrm>
            <a:off x="1303019" y="1399857"/>
            <a:ext cx="1472554" cy="977681"/>
          </a:xfrm>
          <a:prstGeom prst="rect">
            <a:avLst/>
          </a:prstGeom>
          <a:solidFill>
            <a:srgbClr val="FFC3AB"/>
          </a:solidFill>
          <a:ln w="9525">
            <a:noFill/>
          </a:ln>
        </p:spPr>
        <p:txBody>
          <a:bodyPr vert="horz" wrap="square" lIns="149276" tIns="73472" rIns="73472" bIns="73472" rtlCol="0" anchor="ctr" anchorCtr="0">
            <a:noAutofit/>
          </a:bodyPr>
          <a:lstStyle/>
          <a:p>
            <a:r>
              <a:rPr lang="zh-CN" altLang="en-US" sz="1835" b="1" dirty="0"/>
              <a:t>部门</a:t>
            </a:r>
            <a:r>
              <a:rPr lang="en-US" altLang="zh-CN" sz="1835" b="1" dirty="0"/>
              <a:t>/</a:t>
            </a:r>
            <a:r>
              <a:rPr lang="zh-CN" altLang="en-US" sz="1835" b="1" dirty="0"/>
              <a:t>业务</a:t>
            </a:r>
            <a:r>
              <a:rPr lang="en-US" altLang="zh-CN" sz="1835" b="1" dirty="0"/>
              <a:t>/</a:t>
            </a:r>
            <a:endParaRPr lang="en-US" altLang="zh-CN" sz="1835" b="1" dirty="0"/>
          </a:p>
          <a:p>
            <a:r>
              <a:rPr lang="zh-CN" altLang="en-US" sz="1835" b="1" dirty="0"/>
              <a:t>产品</a:t>
            </a:r>
            <a:endParaRPr lang="en-US" altLang="zh-CN" sz="1835" b="1" dirty="0"/>
          </a:p>
        </p:txBody>
      </p:sp>
      <p:sp>
        <p:nvSpPr>
          <p:cNvPr id="32" name="ListLeanHorizontalTextTopic0"/>
          <p:cNvSpPr txBox="1"/>
          <p:nvPr/>
        </p:nvSpPr>
        <p:spPr>
          <a:xfrm>
            <a:off x="1303019" y="2709810"/>
            <a:ext cx="1472554" cy="977681"/>
          </a:xfrm>
          <a:prstGeom prst="rect">
            <a:avLst/>
          </a:prstGeom>
          <a:solidFill>
            <a:srgbClr val="FFC3AB"/>
          </a:solidFill>
          <a:ln w="9525">
            <a:noFill/>
          </a:ln>
        </p:spPr>
        <p:txBody>
          <a:bodyPr vert="horz" wrap="square" lIns="149276" tIns="73472" rIns="73472" bIns="73472" rtlCol="0" anchor="ctr" anchorCtr="0">
            <a:noAutofit/>
          </a:bodyPr>
          <a:lstStyle>
            <a:defPPr>
              <a:defRPr lang="en-US"/>
            </a:defPPr>
            <a:lvl1pPr>
              <a:defRPr sz="1835" b="1"/>
            </a:lvl1pPr>
          </a:lstStyle>
          <a:p>
            <a:r>
              <a:rPr lang="zh-CN" altLang="en-US" dirty="0"/>
              <a:t>部门</a:t>
            </a:r>
            <a:r>
              <a:rPr lang="en-US" altLang="zh-CN" dirty="0"/>
              <a:t>/</a:t>
            </a:r>
            <a:r>
              <a:rPr lang="zh-CN" altLang="en-US" dirty="0"/>
              <a:t>业务</a:t>
            </a:r>
            <a:r>
              <a:rPr lang="en-US" altLang="zh-CN" dirty="0"/>
              <a:t>/</a:t>
            </a:r>
            <a:endParaRPr lang="en-US" altLang="zh-CN" dirty="0"/>
          </a:p>
          <a:p>
            <a:r>
              <a:rPr lang="zh-CN" altLang="en-US" dirty="0"/>
              <a:t>产品</a:t>
            </a:r>
            <a:endParaRPr lang="en-US" altLang="zh-CN" dirty="0"/>
          </a:p>
        </p:txBody>
      </p:sp>
      <p:sp>
        <p:nvSpPr>
          <p:cNvPr id="37" name="ListLeanHorizontalTextTopic0"/>
          <p:cNvSpPr txBox="1"/>
          <p:nvPr/>
        </p:nvSpPr>
        <p:spPr>
          <a:xfrm>
            <a:off x="1303019" y="4019766"/>
            <a:ext cx="1472554" cy="977681"/>
          </a:xfrm>
          <a:prstGeom prst="rect">
            <a:avLst/>
          </a:prstGeom>
          <a:solidFill>
            <a:srgbClr val="FFC3AB"/>
          </a:solidFill>
          <a:ln w="9525">
            <a:noFill/>
          </a:ln>
        </p:spPr>
        <p:txBody>
          <a:bodyPr vert="horz" wrap="square" lIns="149276" tIns="73472" rIns="73472" bIns="73472" rtlCol="0" anchor="ctr" anchorCtr="0">
            <a:noAutofit/>
          </a:bodyPr>
          <a:lstStyle>
            <a:defPPr>
              <a:defRPr lang="en-US"/>
            </a:defPPr>
            <a:lvl1pPr>
              <a:defRPr sz="1835" b="1"/>
            </a:lvl1pPr>
          </a:lstStyle>
          <a:p>
            <a:r>
              <a:rPr lang="zh-CN" altLang="en-US" dirty="0"/>
              <a:t>部门</a:t>
            </a:r>
            <a:r>
              <a:rPr lang="en-US" altLang="zh-CN" dirty="0"/>
              <a:t>/</a:t>
            </a:r>
            <a:r>
              <a:rPr lang="zh-CN" altLang="en-US" dirty="0"/>
              <a:t>业务</a:t>
            </a:r>
            <a:r>
              <a:rPr lang="en-US" altLang="zh-CN" dirty="0"/>
              <a:t>/</a:t>
            </a:r>
            <a:endParaRPr lang="en-US" altLang="zh-CN" dirty="0"/>
          </a:p>
          <a:p>
            <a:r>
              <a:rPr lang="zh-CN" altLang="en-US" dirty="0"/>
              <a:t>产品</a:t>
            </a:r>
            <a:endParaRPr lang="en-US" altLang="zh-CN" dirty="0"/>
          </a:p>
        </p:txBody>
      </p:sp>
      <p:cxnSp>
        <p:nvCxnSpPr>
          <p:cNvPr id="48" name="Horizontal Line"/>
          <p:cNvCxnSpPr/>
          <p:nvPr/>
        </p:nvCxnSpPr>
        <p:spPr>
          <a:xfrm>
            <a:off x="2888233" y="1319734"/>
            <a:ext cx="2185398" cy="0"/>
          </a:xfrm>
          <a:prstGeom prst="line">
            <a:avLst/>
          </a:prstGeom>
          <a:ln w="9525">
            <a:solidFill>
              <a:srgbClr val="FE5817"/>
            </a:solidFill>
          </a:ln>
          <a:effectLst/>
        </p:spPr>
        <p:style>
          <a:lnRef idx="1">
            <a:schemeClr val="accent1"/>
          </a:lnRef>
          <a:fillRef idx="0">
            <a:schemeClr val="accent1"/>
          </a:fillRef>
          <a:effectRef idx="0">
            <a:schemeClr val="accent1"/>
          </a:effectRef>
          <a:fontRef idx="minor">
            <a:schemeClr val="tx1"/>
          </a:fontRef>
        </p:style>
      </p:cxnSp>
      <p:sp>
        <p:nvSpPr>
          <p:cNvPr id="2" name="Rectangle 2"/>
          <p:cNvSpPr txBox="1"/>
          <p:nvPr/>
        </p:nvSpPr>
        <p:spPr>
          <a:xfrm>
            <a:off x="3142323" y="737697"/>
            <a:ext cx="1321087" cy="259597"/>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a:lnSpc>
                <a:spcPct val="90000"/>
              </a:lnSpc>
              <a:spcBef>
                <a:spcPts val="380"/>
              </a:spcBef>
              <a:buSzPct val="100000"/>
            </a:pPr>
            <a:r>
              <a:rPr lang="zh-CN" altLang="en-US" sz="1835" b="1" dirty="0"/>
              <a:t>战略</a:t>
            </a:r>
            <a:endParaRPr lang="de-DE" sz="1835" b="1" dirty="0"/>
          </a:p>
        </p:txBody>
      </p:sp>
      <p:sp>
        <p:nvSpPr>
          <p:cNvPr id="4" name="Rectangle 5"/>
          <p:cNvSpPr txBox="1"/>
          <p:nvPr/>
        </p:nvSpPr>
        <p:spPr>
          <a:xfrm>
            <a:off x="5673344" y="751622"/>
            <a:ext cx="2776838" cy="259597"/>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a:lnSpc>
                <a:spcPct val="90000"/>
              </a:lnSpc>
              <a:spcBef>
                <a:spcPts val="380"/>
              </a:spcBef>
              <a:buSzPct val="100000"/>
            </a:pPr>
            <a:r>
              <a:rPr lang="zh-CN" altLang="en-US" sz="1835" b="1" dirty="0"/>
              <a:t>能力要求</a:t>
            </a:r>
            <a:endParaRPr lang="de-DE" sz="1835" b="1" dirty="0"/>
          </a:p>
        </p:txBody>
      </p:sp>
      <p:sp>
        <p:nvSpPr>
          <p:cNvPr id="57" name="Rectangle 30"/>
          <p:cNvSpPr txBox="1"/>
          <p:nvPr/>
        </p:nvSpPr>
        <p:spPr>
          <a:xfrm>
            <a:off x="2910987" y="1399857"/>
            <a:ext cx="2185398"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21" name="Oval 83"/>
          <p:cNvSpPr>
            <a:spLocks noChangeArrowheads="1"/>
          </p:cNvSpPr>
          <p:nvPr>
            <p:custDataLst>
              <p:tags r:id="rId1"/>
            </p:custDataLst>
          </p:nvPr>
        </p:nvSpPr>
        <p:spPr bwMode="gray">
          <a:xfrm>
            <a:off x="1142205" y="1757647"/>
            <a:ext cx="252000" cy="251903"/>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p>
            <a:pPr algn="ctr" defTabSz="895350">
              <a:buClr>
                <a:schemeClr val="tx2"/>
              </a:buClr>
            </a:pPr>
            <a:r>
              <a:rPr lang="en-US" sz="1835" b="1" dirty="0">
                <a:solidFill>
                  <a:schemeClr val="bg1"/>
                </a:solidFill>
              </a:rPr>
              <a:t>1</a:t>
            </a:r>
            <a:endParaRPr lang="en-US" sz="1835" b="1" dirty="0">
              <a:solidFill>
                <a:schemeClr val="bg1"/>
              </a:solidFill>
            </a:endParaRPr>
          </a:p>
        </p:txBody>
      </p:sp>
      <p:sp>
        <p:nvSpPr>
          <p:cNvPr id="22" name="Oval 83"/>
          <p:cNvSpPr>
            <a:spLocks noChangeArrowheads="1"/>
          </p:cNvSpPr>
          <p:nvPr>
            <p:custDataLst>
              <p:tags r:id="rId2"/>
            </p:custDataLst>
          </p:nvPr>
        </p:nvSpPr>
        <p:spPr bwMode="gray">
          <a:xfrm>
            <a:off x="1157639" y="3026630"/>
            <a:ext cx="252000" cy="251903"/>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p>
            <a:pPr algn="ctr" defTabSz="895350">
              <a:buClr>
                <a:schemeClr val="tx2"/>
              </a:buClr>
            </a:pPr>
            <a:r>
              <a:rPr lang="en-US" sz="1835" b="1" dirty="0">
                <a:solidFill>
                  <a:schemeClr val="bg1"/>
                </a:solidFill>
              </a:rPr>
              <a:t>2</a:t>
            </a:r>
            <a:endParaRPr lang="en-US" sz="1835" b="1" dirty="0">
              <a:solidFill>
                <a:schemeClr val="bg1"/>
              </a:solidFill>
            </a:endParaRPr>
          </a:p>
        </p:txBody>
      </p:sp>
      <p:sp>
        <p:nvSpPr>
          <p:cNvPr id="23" name="Oval 83"/>
          <p:cNvSpPr>
            <a:spLocks noChangeArrowheads="1"/>
          </p:cNvSpPr>
          <p:nvPr>
            <p:custDataLst>
              <p:tags r:id="rId3"/>
            </p:custDataLst>
          </p:nvPr>
        </p:nvSpPr>
        <p:spPr bwMode="gray">
          <a:xfrm>
            <a:off x="1172957" y="4361102"/>
            <a:ext cx="252000" cy="251903"/>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p>
            <a:pPr algn="ctr" defTabSz="895350">
              <a:buClr>
                <a:schemeClr val="tx2"/>
              </a:buClr>
            </a:pPr>
            <a:r>
              <a:rPr lang="en-US" sz="1835" b="1" dirty="0">
                <a:solidFill>
                  <a:schemeClr val="bg1"/>
                </a:solidFill>
              </a:rPr>
              <a:t>3</a:t>
            </a:r>
            <a:endParaRPr lang="en-US" sz="1835" b="1" dirty="0">
              <a:solidFill>
                <a:schemeClr val="bg1"/>
              </a:solidFill>
            </a:endParaRPr>
          </a:p>
        </p:txBody>
      </p:sp>
      <p:cxnSp>
        <p:nvCxnSpPr>
          <p:cNvPr id="33" name="Straight Connector 26"/>
          <p:cNvCxnSpPr/>
          <p:nvPr/>
        </p:nvCxnSpPr>
        <p:spPr>
          <a:xfrm>
            <a:off x="5301429" y="2571784"/>
            <a:ext cx="2987267" cy="0"/>
          </a:xfrm>
          <a:prstGeom prst="line">
            <a:avLst/>
          </a:prstGeom>
          <a:ln w="19050">
            <a:solidFill>
              <a:srgbClr val="FE5817"/>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4" name="Straight Connector 26"/>
          <p:cNvCxnSpPr/>
          <p:nvPr/>
        </p:nvCxnSpPr>
        <p:spPr>
          <a:xfrm>
            <a:off x="5285993" y="3881738"/>
            <a:ext cx="3001181" cy="0"/>
          </a:xfrm>
          <a:prstGeom prst="line">
            <a:avLst/>
          </a:prstGeom>
          <a:ln w="19050">
            <a:solidFill>
              <a:srgbClr val="FE5817"/>
            </a:solidFill>
            <a:prstDash val="sysDot"/>
          </a:ln>
          <a:effectLst/>
        </p:spPr>
        <p:style>
          <a:lnRef idx="1">
            <a:schemeClr val="accent1"/>
          </a:lnRef>
          <a:fillRef idx="0">
            <a:schemeClr val="accent1"/>
          </a:fillRef>
          <a:effectRef idx="0">
            <a:schemeClr val="accent1"/>
          </a:effectRef>
          <a:fontRef idx="minor">
            <a:schemeClr val="tx1"/>
          </a:fontRef>
        </p:style>
      </p:cxnSp>
      <p:sp>
        <p:nvSpPr>
          <p:cNvPr id="38" name="Rectangle 5"/>
          <p:cNvSpPr txBox="1"/>
          <p:nvPr/>
        </p:nvSpPr>
        <p:spPr>
          <a:xfrm>
            <a:off x="8742119" y="768730"/>
            <a:ext cx="2349951" cy="259597"/>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a:lnSpc>
                <a:spcPct val="90000"/>
              </a:lnSpc>
              <a:spcBef>
                <a:spcPts val="380"/>
              </a:spcBef>
              <a:buSzPct val="100000"/>
            </a:pPr>
            <a:r>
              <a:rPr lang="zh-CN" altLang="en-US" sz="1835" b="1" dirty="0"/>
              <a:t>所需举措</a:t>
            </a:r>
            <a:endParaRPr lang="de-DE" sz="1835" b="1" dirty="0"/>
          </a:p>
        </p:txBody>
      </p:sp>
      <p:cxnSp>
        <p:nvCxnSpPr>
          <p:cNvPr id="44" name="Straight Connector 26"/>
          <p:cNvCxnSpPr/>
          <p:nvPr/>
        </p:nvCxnSpPr>
        <p:spPr>
          <a:xfrm>
            <a:off x="8373233" y="2571784"/>
            <a:ext cx="2481772" cy="0"/>
          </a:xfrm>
          <a:prstGeom prst="line">
            <a:avLst/>
          </a:prstGeom>
          <a:ln w="19050">
            <a:solidFill>
              <a:srgbClr val="FE5817"/>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5" name="Straight Connector 26"/>
          <p:cNvCxnSpPr/>
          <p:nvPr/>
        </p:nvCxnSpPr>
        <p:spPr>
          <a:xfrm>
            <a:off x="8494108" y="3881738"/>
            <a:ext cx="2360896" cy="0"/>
          </a:xfrm>
          <a:prstGeom prst="line">
            <a:avLst/>
          </a:prstGeom>
          <a:ln w="19050">
            <a:solidFill>
              <a:srgbClr val="FE5817"/>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1" name="Straight Connector 27"/>
          <p:cNvCxnSpPr/>
          <p:nvPr/>
        </p:nvCxnSpPr>
        <p:spPr>
          <a:xfrm>
            <a:off x="2888231" y="5074166"/>
            <a:ext cx="2378365" cy="0"/>
          </a:xfrm>
          <a:prstGeom prst="line">
            <a:avLst/>
          </a:prstGeom>
          <a:ln w="19050">
            <a:solidFill>
              <a:srgbClr val="FE5817"/>
            </a:solidFill>
            <a:prstDash val="sysDot"/>
          </a:ln>
          <a:effectLst/>
        </p:spPr>
        <p:style>
          <a:lnRef idx="1">
            <a:schemeClr val="accent1"/>
          </a:lnRef>
          <a:fillRef idx="0">
            <a:schemeClr val="accent1"/>
          </a:fillRef>
          <a:effectRef idx="0">
            <a:schemeClr val="accent1"/>
          </a:effectRef>
          <a:fontRef idx="minor">
            <a:schemeClr val="tx1"/>
          </a:fontRef>
        </p:style>
      </p:cxnSp>
      <p:sp>
        <p:nvSpPr>
          <p:cNvPr id="35" name="ListLeanHorizontalTextTopic0"/>
          <p:cNvSpPr txBox="1"/>
          <p:nvPr/>
        </p:nvSpPr>
        <p:spPr>
          <a:xfrm>
            <a:off x="1303019" y="5212193"/>
            <a:ext cx="1472554" cy="977681"/>
          </a:xfrm>
          <a:prstGeom prst="rect">
            <a:avLst/>
          </a:prstGeom>
          <a:solidFill>
            <a:srgbClr val="FFC3AB"/>
          </a:solidFill>
          <a:ln w="9525">
            <a:noFill/>
          </a:ln>
        </p:spPr>
        <p:txBody>
          <a:bodyPr vert="horz" wrap="square" lIns="149276" tIns="73472" rIns="73472" bIns="73472" rtlCol="0" anchor="ctr" anchorCtr="0">
            <a:noAutofit/>
          </a:bodyPr>
          <a:lstStyle>
            <a:defPPr>
              <a:defRPr lang="en-US"/>
            </a:defPPr>
            <a:lvl1pPr>
              <a:defRPr sz="1835" b="1"/>
            </a:lvl1pPr>
          </a:lstStyle>
          <a:p>
            <a:r>
              <a:rPr lang="zh-CN" altLang="en-US" dirty="0"/>
              <a:t>中后台支持</a:t>
            </a:r>
            <a:r>
              <a:rPr lang="en-US" altLang="zh-CN" dirty="0"/>
              <a:t>/</a:t>
            </a:r>
            <a:r>
              <a:rPr lang="zh-CN" altLang="en-US" dirty="0"/>
              <a:t>保障</a:t>
            </a:r>
            <a:endParaRPr lang="en-US" altLang="zh-CN" dirty="0"/>
          </a:p>
        </p:txBody>
      </p:sp>
      <p:sp>
        <p:nvSpPr>
          <p:cNvPr id="36" name="Oval 83"/>
          <p:cNvSpPr>
            <a:spLocks noChangeArrowheads="1"/>
          </p:cNvSpPr>
          <p:nvPr>
            <p:custDataLst>
              <p:tags r:id="rId4"/>
            </p:custDataLst>
          </p:nvPr>
        </p:nvSpPr>
        <p:spPr bwMode="gray">
          <a:xfrm>
            <a:off x="1172957" y="5553529"/>
            <a:ext cx="252000" cy="251903"/>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p>
            <a:pPr algn="ctr" defTabSz="895350">
              <a:buClr>
                <a:schemeClr val="tx2"/>
              </a:buClr>
            </a:pPr>
            <a:r>
              <a:rPr lang="en-US" sz="1835" b="1" dirty="0">
                <a:solidFill>
                  <a:schemeClr val="bg1"/>
                </a:solidFill>
              </a:rPr>
              <a:t>4</a:t>
            </a:r>
            <a:endParaRPr lang="en-US" sz="1835" b="1" dirty="0">
              <a:solidFill>
                <a:schemeClr val="bg1"/>
              </a:solidFill>
            </a:endParaRPr>
          </a:p>
        </p:txBody>
      </p:sp>
      <p:cxnSp>
        <p:nvCxnSpPr>
          <p:cNvPr id="39" name="Straight Connector 26"/>
          <p:cNvCxnSpPr/>
          <p:nvPr/>
        </p:nvCxnSpPr>
        <p:spPr>
          <a:xfrm>
            <a:off x="5285993" y="5074166"/>
            <a:ext cx="3001181" cy="0"/>
          </a:xfrm>
          <a:prstGeom prst="line">
            <a:avLst/>
          </a:prstGeom>
          <a:ln w="19050">
            <a:solidFill>
              <a:srgbClr val="FE5817"/>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0" name="Straight Connector 26"/>
          <p:cNvCxnSpPr/>
          <p:nvPr/>
        </p:nvCxnSpPr>
        <p:spPr>
          <a:xfrm>
            <a:off x="8373233" y="5074166"/>
            <a:ext cx="2481772" cy="0"/>
          </a:xfrm>
          <a:prstGeom prst="line">
            <a:avLst/>
          </a:prstGeom>
          <a:ln w="19050">
            <a:solidFill>
              <a:srgbClr val="FE5817"/>
            </a:solidFill>
            <a:prstDash val="sysDot"/>
          </a:ln>
          <a:effectLst/>
        </p:spPr>
        <p:style>
          <a:lnRef idx="1">
            <a:schemeClr val="accent1"/>
          </a:lnRef>
          <a:fillRef idx="0">
            <a:schemeClr val="accent1"/>
          </a:fillRef>
          <a:effectRef idx="0">
            <a:schemeClr val="accent1"/>
          </a:effectRef>
          <a:fontRef idx="minor">
            <a:schemeClr val="tx1"/>
          </a:fontRef>
        </p:style>
      </p:cxnSp>
      <p:sp>
        <p:nvSpPr>
          <p:cNvPr id="3" name="右箭头 2"/>
          <p:cNvSpPr/>
          <p:nvPr/>
        </p:nvSpPr>
        <p:spPr>
          <a:xfrm>
            <a:off x="5034648" y="1772104"/>
            <a:ext cx="376491" cy="3767500"/>
          </a:xfrm>
          <a:prstGeom prst="rightArrow">
            <a:avLst/>
          </a:prstGeom>
          <a:solidFill>
            <a:srgbClr val="FFC3AB"/>
          </a:solidFill>
          <a:ln w="9525">
            <a:noFill/>
          </a:ln>
        </p:spPr>
        <p:txBody>
          <a:bodyPr vert="horz" wrap="square" lIns="149276" tIns="73472" rIns="73472" bIns="73472" rtlCol="0" anchor="ctr" anchorCtr="0">
            <a:noAutofit/>
          </a:bodyPr>
          <a:lstStyle/>
          <a:p>
            <a:endParaRPr lang="zh-CN" altLang="en-US" sz="1835" b="1" dirty="0" err="1">
              <a:solidFill>
                <a:schemeClr val="tx1"/>
              </a:solidFill>
            </a:endParaRPr>
          </a:p>
        </p:txBody>
      </p:sp>
      <p:sp>
        <p:nvSpPr>
          <p:cNvPr id="49" name="右箭头 48"/>
          <p:cNvSpPr/>
          <p:nvPr/>
        </p:nvSpPr>
        <p:spPr>
          <a:xfrm>
            <a:off x="8112673" y="1786029"/>
            <a:ext cx="376491" cy="3767500"/>
          </a:xfrm>
          <a:prstGeom prst="rightArrow">
            <a:avLst/>
          </a:prstGeom>
          <a:solidFill>
            <a:srgbClr val="FFC3AB"/>
          </a:solidFill>
          <a:ln w="9525">
            <a:noFill/>
          </a:ln>
        </p:spPr>
        <p:txBody>
          <a:bodyPr vert="horz" wrap="square" lIns="149276" tIns="73472" rIns="73472" bIns="73472" rtlCol="0" anchor="ctr" anchorCtr="0">
            <a:noAutofit/>
          </a:bodyPr>
          <a:lstStyle/>
          <a:p>
            <a:endParaRPr lang="zh-CN" altLang="en-US" sz="1835" b="1" dirty="0" err="1">
              <a:solidFill>
                <a:schemeClr val="tx1"/>
              </a:solidFill>
            </a:endParaRPr>
          </a:p>
        </p:txBody>
      </p:sp>
      <p:cxnSp>
        <p:nvCxnSpPr>
          <p:cNvPr id="50" name="Horizontal Line"/>
          <p:cNvCxnSpPr/>
          <p:nvPr/>
        </p:nvCxnSpPr>
        <p:spPr>
          <a:xfrm>
            <a:off x="5442008" y="1319734"/>
            <a:ext cx="2776838" cy="0"/>
          </a:xfrm>
          <a:prstGeom prst="line">
            <a:avLst/>
          </a:prstGeom>
          <a:ln w="9525">
            <a:solidFill>
              <a:srgbClr val="FE5817"/>
            </a:solidFill>
          </a:ln>
          <a:effectLst/>
        </p:spPr>
        <p:style>
          <a:lnRef idx="1">
            <a:schemeClr val="accent1"/>
          </a:lnRef>
          <a:fillRef idx="0">
            <a:schemeClr val="accent1"/>
          </a:fillRef>
          <a:effectRef idx="0">
            <a:schemeClr val="accent1"/>
          </a:effectRef>
          <a:fontRef idx="minor">
            <a:schemeClr val="tx1"/>
          </a:fontRef>
        </p:style>
      </p:cxnSp>
      <p:cxnSp>
        <p:nvCxnSpPr>
          <p:cNvPr id="51" name="Horizontal Line"/>
          <p:cNvCxnSpPr/>
          <p:nvPr/>
        </p:nvCxnSpPr>
        <p:spPr>
          <a:xfrm>
            <a:off x="8510783" y="1319734"/>
            <a:ext cx="2349951" cy="0"/>
          </a:xfrm>
          <a:prstGeom prst="line">
            <a:avLst/>
          </a:prstGeom>
          <a:ln w="9525">
            <a:solidFill>
              <a:srgbClr val="FE5817"/>
            </a:solidFill>
          </a:ln>
          <a:effectLst/>
        </p:spPr>
        <p:style>
          <a:lnRef idx="1">
            <a:schemeClr val="accent1"/>
          </a:lnRef>
          <a:fillRef idx="0">
            <a:schemeClr val="accent1"/>
          </a:fillRef>
          <a:effectRef idx="0">
            <a:schemeClr val="accent1"/>
          </a:effectRef>
          <a:fontRef idx="minor">
            <a:schemeClr val="tx1"/>
          </a:fontRef>
        </p:style>
      </p:cxnSp>
      <p:sp>
        <p:nvSpPr>
          <p:cNvPr id="52" name="Rectangle 30"/>
          <p:cNvSpPr txBox="1"/>
          <p:nvPr/>
        </p:nvSpPr>
        <p:spPr>
          <a:xfrm>
            <a:off x="2910987" y="2709811"/>
            <a:ext cx="2185398"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53" name="Rectangle 30"/>
          <p:cNvSpPr txBox="1"/>
          <p:nvPr/>
        </p:nvSpPr>
        <p:spPr>
          <a:xfrm>
            <a:off x="2910987" y="4019767"/>
            <a:ext cx="2185398"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54" name="Rectangle 30"/>
          <p:cNvSpPr txBox="1"/>
          <p:nvPr/>
        </p:nvSpPr>
        <p:spPr>
          <a:xfrm>
            <a:off x="2910987" y="5212194"/>
            <a:ext cx="2185398"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55" name="Rectangle 30"/>
          <p:cNvSpPr txBox="1"/>
          <p:nvPr/>
        </p:nvSpPr>
        <p:spPr>
          <a:xfrm>
            <a:off x="5442008" y="1399857"/>
            <a:ext cx="2776838"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61" name="Rectangle 30"/>
          <p:cNvSpPr txBox="1"/>
          <p:nvPr/>
        </p:nvSpPr>
        <p:spPr>
          <a:xfrm>
            <a:off x="5442008" y="2709811"/>
            <a:ext cx="2776838"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62" name="Rectangle 30"/>
          <p:cNvSpPr txBox="1"/>
          <p:nvPr/>
        </p:nvSpPr>
        <p:spPr>
          <a:xfrm>
            <a:off x="5442008" y="4019767"/>
            <a:ext cx="2776838"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64" name="Rectangle 30"/>
          <p:cNvSpPr txBox="1"/>
          <p:nvPr/>
        </p:nvSpPr>
        <p:spPr>
          <a:xfrm>
            <a:off x="5442008" y="5212194"/>
            <a:ext cx="2776838"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65" name="Rectangle 30"/>
          <p:cNvSpPr txBox="1"/>
          <p:nvPr/>
        </p:nvSpPr>
        <p:spPr>
          <a:xfrm>
            <a:off x="8510783" y="1399857"/>
            <a:ext cx="2349951"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69" name="Rectangle 30"/>
          <p:cNvSpPr txBox="1"/>
          <p:nvPr/>
        </p:nvSpPr>
        <p:spPr>
          <a:xfrm>
            <a:off x="8510783" y="2709811"/>
            <a:ext cx="2349951"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70" name="Rectangle 30"/>
          <p:cNvSpPr txBox="1"/>
          <p:nvPr/>
        </p:nvSpPr>
        <p:spPr>
          <a:xfrm>
            <a:off x="8510783" y="4019767"/>
            <a:ext cx="2349951"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71" name="Rectangle 30"/>
          <p:cNvSpPr txBox="1"/>
          <p:nvPr/>
        </p:nvSpPr>
        <p:spPr>
          <a:xfrm>
            <a:off x="8510783" y="5212194"/>
            <a:ext cx="2349951" cy="8653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a:p>
            <a:pPr lvl="2"/>
            <a:r>
              <a:rPr lang="en-US" sz="1835" dirty="0"/>
              <a:t>XXX</a:t>
            </a:r>
            <a:endParaRPr lang="en-US" sz="1835" dirty="0"/>
          </a:p>
          <a:p>
            <a:pPr lvl="3"/>
            <a:r>
              <a:rPr lang="en-US" sz="1835" dirty="0"/>
              <a:t>XXX</a:t>
            </a:r>
            <a:endParaRPr lang="en-US" sz="1835" dirty="0"/>
          </a:p>
        </p:txBody>
      </p:sp>
      <p:sp>
        <p:nvSpPr>
          <p:cNvPr id="5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产品比对</a:t>
            </a:r>
            <a:endParaRPr lang="zh-CN" altLang="en-US" sz="2400" dirty="0">
              <a:solidFill>
                <a:prstClr val="black"/>
              </a:solidFill>
              <a:latin typeface="华文楷体" panose="02010600040101010101" charset="-122"/>
            </a:endParaRPr>
          </a:p>
        </p:txBody>
      </p:sp>
      <p:pic>
        <p:nvPicPr>
          <p:cNvPr id="56" name="图片 5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564" name="think-cell Slide" r:id="rId2" imgW="12700" imgH="12700" progId="TCLayout.ActiveDocument.1">
                  <p:embed/>
                </p:oleObj>
              </mc:Choice>
              <mc:Fallback>
                <p:oleObj name="think-cell Slide" r:id="rId2" imgW="12700" imgH="12700" progId="TCLayout.ActiveDocument.1">
                  <p:embed/>
                  <p:pic>
                    <p:nvPicPr>
                      <p:cNvPr id="0" name="对象 6"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5" name="矩形 4"/>
          <p:cNvSpPr/>
          <p:nvPr/>
        </p:nvSpPr>
        <p:spPr>
          <a:xfrm>
            <a:off x="340659" y="1389524"/>
            <a:ext cx="313765" cy="4790208"/>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graphicFrame>
        <p:nvGraphicFramePr>
          <p:cNvPr id="31" name="表格 30"/>
          <p:cNvGraphicFramePr>
            <a:graphicFrameLocks noGrp="1"/>
          </p:cNvGraphicFramePr>
          <p:nvPr/>
        </p:nvGraphicFramePr>
        <p:xfrm>
          <a:off x="690282" y="1389524"/>
          <a:ext cx="11116236" cy="4790208"/>
        </p:xfrm>
        <a:graphic>
          <a:graphicData uri="http://schemas.openxmlformats.org/drawingml/2006/table">
            <a:tbl>
              <a:tblPr>
                <a:tableStyleId>{5C22544A-7EE6-4342-B048-85BDC9FD1C3A}</a:tableStyleId>
              </a:tblPr>
              <a:tblGrid>
                <a:gridCol w="721353"/>
                <a:gridCol w="1639177"/>
                <a:gridCol w="1639177"/>
                <a:gridCol w="1639177"/>
                <a:gridCol w="1639177"/>
                <a:gridCol w="767635"/>
                <a:gridCol w="767635"/>
                <a:gridCol w="767635"/>
                <a:gridCol w="767635"/>
                <a:gridCol w="767635"/>
              </a:tblGrid>
              <a:tr h="299388">
                <a:tc>
                  <a:txBody>
                    <a:bodyPr/>
                    <a:lstStyle/>
                    <a:p>
                      <a:pPr algn="ctr" fontAlgn="ctr"/>
                      <a:r>
                        <a:rPr lang="en-US" altLang="zh-CN" sz="1000" b="0" i="0" u="none" strike="noStrike" dirty="0" smtClean="0">
                          <a:solidFill>
                            <a:srgbClr val="000000"/>
                          </a:solidFill>
                          <a:effectLst/>
                          <a:latin typeface="+mn-lt"/>
                          <a:ea typeface="+mn-ea"/>
                          <a:cs typeface="+mn-ea"/>
                          <a:sym typeface="+mn-lt"/>
                        </a:rPr>
                        <a:t>XXX</a:t>
                      </a:r>
                      <a:endParaRPr lang="zh-CN" altLang="en-US" sz="10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l" fontAlgn="ct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dirty="0" smtClean="0">
                          <a:ln>
                            <a:noFill/>
                          </a:ln>
                          <a:solidFill>
                            <a:srgbClr val="000000"/>
                          </a:solidFill>
                          <a:effectLst/>
                          <a:uLnTx/>
                          <a:uFillTx/>
                          <a:latin typeface="+mn-lt"/>
                          <a:ea typeface="+mn-ea"/>
                          <a:cs typeface="+mn-ea"/>
                          <a:sym typeface="Wingdings" panose="05000000000000000000" pitchFamily="2" charset="2"/>
                        </a:rPr>
                        <a:t></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dirty="0">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marL="0" algn="ctr" defTabSz="914400" rtl="0" eaLnBrk="1" fontAlgn="base" latinLnBrk="0" hangingPunct="1">
                        <a:spcBef>
                          <a:spcPct val="0"/>
                        </a:spcBef>
                        <a:spcAft>
                          <a:spcPct val="0"/>
                        </a:spcAft>
                      </a:pPr>
                      <a:r>
                        <a:rPr kumimoji="0" lang="zh-CN" altLang="en-US" sz="1600" b="0" i="0" u="none" strike="noStrike" kern="1200" cap="none" spc="0" normalizeH="0" baseline="0" noProof="0" dirty="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900" kern="1200" dirty="0">
                        <a:solidFill>
                          <a:srgbClr val="000000"/>
                        </a:solidFill>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dirty="0">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dirty="0" smtClean="0">
                          <a:ln>
                            <a:noFill/>
                          </a:ln>
                          <a:solidFill>
                            <a:srgbClr val="000000"/>
                          </a:solidFill>
                          <a:effectLst/>
                          <a:uLnTx/>
                          <a:uFillTx/>
                          <a:latin typeface="+mn-lt"/>
                          <a:ea typeface="+mn-ea"/>
                          <a:cs typeface="+mn-ea"/>
                          <a:sym typeface="Wingdings" panose="05000000000000000000" pitchFamily="2" charset="2"/>
                        </a:rPr>
                        <a:t></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marL="0" algn="ctr" defTabSz="914400" rtl="0" eaLnBrk="1" fontAlgn="base" latinLnBrk="0" hangingPunct="1">
                        <a:spcBef>
                          <a:spcPct val="0"/>
                        </a:spcBef>
                        <a:spcAft>
                          <a:spcPct val="0"/>
                        </a:spcAft>
                      </a:pPr>
                      <a:r>
                        <a:rPr kumimoji="0" lang="zh-CN" altLang="en-US" sz="1600" b="0" i="0" u="none" strike="noStrike" kern="1200" cap="none" spc="0" normalizeH="0" baseline="0" noProof="0" dirty="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900" kern="1200" dirty="0">
                        <a:solidFill>
                          <a:srgbClr val="000000"/>
                        </a:solidFill>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kumimoji="0" lang="zh-CN" altLang="en-US" sz="16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dirty="0">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kumimoji="0" lang="zh-CN" altLang="en-US" sz="16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dirty="0" smtClean="0">
                          <a:ln>
                            <a:noFill/>
                          </a:ln>
                          <a:solidFill>
                            <a:srgbClr val="000000"/>
                          </a:solidFill>
                          <a:effectLst/>
                          <a:uLnTx/>
                          <a:uFillTx/>
                          <a:latin typeface="+mn-lt"/>
                          <a:ea typeface="+mn-ea"/>
                          <a:cs typeface="+mn-ea"/>
                          <a:sym typeface="Wingdings" panose="05000000000000000000" pitchFamily="2" charset="2"/>
                        </a:rPr>
                        <a:t></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dirty="0">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kumimoji="0" lang="zh-CN" altLang="en-US" sz="16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kumimoji="0" lang="zh-CN" altLang="en-US" sz="16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dirty="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kumimoji="0" lang="zh-CN" altLang="en-US" sz="16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kumimoji="0" lang="zh-CN" altLang="en-US" sz="1600" b="0" i="0" u="none" strike="noStrike" kern="1200" cap="none" spc="0" normalizeH="0" baseline="0" noProof="0" dirty="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dirty="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dirty="0" smtClean="0">
                          <a:ln>
                            <a:noFill/>
                          </a:ln>
                          <a:solidFill>
                            <a:srgbClr val="000000"/>
                          </a:solidFill>
                          <a:effectLst/>
                          <a:uLnTx/>
                          <a:uFillTx/>
                          <a:latin typeface="+mn-lt"/>
                          <a:ea typeface="+mn-ea"/>
                          <a:cs typeface="+mn-ea"/>
                          <a:sym typeface="Wingdings" panose="05000000000000000000" pitchFamily="2" charset="2"/>
                        </a:rPr>
                        <a:t></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dirty="0">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dirty="0">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dirty="0" smtClean="0">
                          <a:ln>
                            <a:noFill/>
                          </a:ln>
                          <a:solidFill>
                            <a:srgbClr val="000000"/>
                          </a:solidFill>
                          <a:effectLst/>
                          <a:uLnTx/>
                          <a:uFillTx/>
                          <a:latin typeface="Arial" panose="020B0604020202020204"/>
                          <a:ea typeface="华文楷体" panose="02010600040101010101" charset="-122"/>
                          <a:cs typeface="+mn-ea"/>
                          <a:sym typeface="Wingdings" panose="05000000000000000000" pitchFamily="2" charset="2"/>
                        </a:rPr>
                        <a:t></a:t>
                      </a:r>
                      <a:endParaRPr lang="zh-CN" altLang="en-US" sz="1600" b="0" i="0" u="none" strike="noStrike" dirty="0">
                        <a:solidFill>
                          <a:srgbClr val="000000"/>
                        </a:solidFill>
                        <a:effectLst/>
                        <a:latin typeface="+mn-lt"/>
                        <a:ea typeface="华文楷体" panose="02010600040101010101" charset="-122"/>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dirty="0">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dirty="0" smtClean="0">
                          <a:ln>
                            <a:noFill/>
                          </a:ln>
                          <a:solidFill>
                            <a:srgbClr val="000000"/>
                          </a:solidFill>
                          <a:effectLst/>
                          <a:uLnTx/>
                          <a:uFillTx/>
                          <a:latin typeface="+mn-lt"/>
                          <a:ea typeface="+mn-ea"/>
                          <a:cs typeface="+mn-ea"/>
                          <a:sym typeface="Wingdings" panose="05000000000000000000" pitchFamily="2" charset="2"/>
                        </a:rPr>
                        <a:t></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dirty="0">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kumimoji="0" lang="zh-CN" altLang="en-US" sz="1600" b="0" i="0" u="none" strike="noStrike" kern="1200" cap="none" spc="0" normalizeH="0" baseline="0" noProof="0" dirty="0" smtClean="0">
                          <a:ln>
                            <a:noFill/>
                          </a:ln>
                          <a:solidFill>
                            <a:srgbClr val="000000"/>
                          </a:solidFill>
                          <a:effectLst/>
                          <a:uLnTx/>
                          <a:uFillTx/>
                          <a:latin typeface="+mn-lt"/>
                          <a:ea typeface="+mn-ea"/>
                          <a:cs typeface="+mn-ea"/>
                          <a:sym typeface="Wingdings" panose="05000000000000000000" pitchFamily="2" charset="2"/>
                        </a:rPr>
                        <a:t></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dirty="0">
                        <a:solidFill>
                          <a:srgbClr val="000000"/>
                        </a:solidFill>
                        <a:effectLst/>
                        <a:latin typeface="+mn-lt"/>
                        <a:ea typeface="+mn-ea"/>
                        <a:cs typeface="+mn-ea"/>
                        <a:sym typeface="+mn-lt"/>
                      </a:endParaRPr>
                    </a:p>
                  </a:txBody>
                  <a:tcPr marL="9525" marR="9525" marT="9525" marB="0" anchor="ctr"/>
                </a:tc>
              </a:tr>
              <a:tr h="299388">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dirty="0" smtClean="0">
                          <a:ln>
                            <a:noFill/>
                          </a:ln>
                          <a:solidFill>
                            <a:srgbClr val="000000"/>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a:txBody>
                  <a:tcPr marL="9525" marR="9525" marT="9525" marB="0" anchor="ct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endParaRPr lang="zh-CN" altLang="en-US" sz="1000" b="0" i="0" u="none" strike="noStrike" dirty="0">
                        <a:solidFill>
                          <a:srgbClr val="000000"/>
                        </a:solidFill>
                        <a:effectLst/>
                        <a:latin typeface="+mn-lt"/>
                        <a:ea typeface="+mn-ea"/>
                        <a:cs typeface="+mn-ea"/>
                        <a:sym typeface="+mn-lt"/>
                      </a:endParaRPr>
                    </a:p>
                  </a:txBody>
                  <a:tcPr marL="4009" marR="4009" marT="4009" marB="0" anchor="ctr">
                    <a:solidFill>
                      <a:schemeClr val="bg1">
                        <a:lumMod val="95000"/>
                      </a:schemeClr>
                    </a:solidFill>
                  </a:tcPr>
                </a:tc>
                <a:tc>
                  <a:txBody>
                    <a:bodyPr/>
                    <a:lstStyle/>
                    <a:p>
                      <a:pPr algn="ctr" fontAlgn="ctr"/>
                      <a:r>
                        <a:rPr kumimoji="0" lang="zh-CN" altLang="en-US" sz="1600" b="0" i="0" u="none" strike="noStrike" kern="1200" cap="none" spc="0" normalizeH="0" baseline="0" noProof="0" dirty="0" smtClean="0">
                          <a:ln>
                            <a:noFill/>
                          </a:ln>
                          <a:solidFill>
                            <a:srgbClr val="000000"/>
                          </a:solidFill>
                          <a:effectLst/>
                          <a:uLnTx/>
                          <a:uFillTx/>
                          <a:latin typeface="+mn-lt"/>
                          <a:ea typeface="+mn-ea"/>
                          <a:cs typeface="+mn-ea"/>
                          <a:sym typeface="Wingdings" panose="05000000000000000000" pitchFamily="2" charset="2"/>
                        </a:rPr>
                        <a:t></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a:solidFill>
                            <a:srgbClr val="000000"/>
                          </a:solidFill>
                          <a:effectLst/>
                          <a:latin typeface="+mn-lt"/>
                          <a:ea typeface="+mn-ea"/>
                          <a:cs typeface="+mn-ea"/>
                          <a:sym typeface="+mn-lt"/>
                        </a:rPr>
                        <a:t>　</a:t>
                      </a:r>
                      <a:endParaRPr lang="zh-CN" altLang="en-US" sz="1600" b="0" i="0" u="none" strike="noStrike">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r>
                        <a:rPr lang="zh-CN" altLang="en-US" sz="1600" b="0" i="0" u="none" strike="noStrike" dirty="0">
                          <a:solidFill>
                            <a:srgbClr val="000000"/>
                          </a:solidFill>
                          <a:effectLst/>
                          <a:latin typeface="+mn-lt"/>
                          <a:ea typeface="+mn-ea"/>
                          <a:cs typeface="+mn-ea"/>
                          <a:sym typeface="+mn-lt"/>
                        </a:rPr>
                        <a:t>　</a:t>
                      </a:r>
                      <a:endParaRPr lang="zh-CN" altLang="en-US" sz="1600" b="0" i="0" u="none" strike="noStrike" dirty="0">
                        <a:solidFill>
                          <a:srgbClr val="000000"/>
                        </a:solidFill>
                        <a:effectLst/>
                        <a:latin typeface="+mn-lt"/>
                        <a:ea typeface="+mn-ea"/>
                        <a:cs typeface="+mn-ea"/>
                        <a:sym typeface="+mn-lt"/>
                      </a:endParaRPr>
                    </a:p>
                  </a:txBody>
                  <a:tcPr marL="9525" marR="9525" marT="9525" marB="0" anchor="ctr"/>
                </a:tc>
                <a:tc>
                  <a:txBody>
                    <a:bodyPr/>
                    <a:lstStyle/>
                    <a:p>
                      <a:pPr algn="ctr" fontAlgn="ctr"/>
                      <a:endParaRPr lang="zh-CN" altLang="en-US" sz="1600" b="0" i="0" u="none" strike="noStrike" dirty="0">
                        <a:solidFill>
                          <a:srgbClr val="000000"/>
                        </a:solidFill>
                        <a:effectLst/>
                        <a:latin typeface="+mn-lt"/>
                        <a:ea typeface="+mn-ea"/>
                        <a:cs typeface="+mn-ea"/>
                        <a:sym typeface="+mn-lt"/>
                      </a:endParaRPr>
                    </a:p>
                  </a:txBody>
                  <a:tcPr marL="9525" marR="9525" marT="9525" marB="0" anchor="ctr"/>
                </a:tc>
              </a:tr>
            </a:tbl>
          </a:graphicData>
        </a:graphic>
      </p:graphicFrame>
      <p:sp>
        <p:nvSpPr>
          <p:cNvPr id="32" name="ColumnHeader"/>
          <p:cNvSpPr>
            <a:spLocks noChangeArrowheads="1"/>
          </p:cNvSpPr>
          <p:nvPr/>
        </p:nvSpPr>
        <p:spPr bwMode="gray">
          <a:xfrm>
            <a:off x="8030307" y="876194"/>
            <a:ext cx="681613"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lIns="0" tIns="0" rIns="0" bIns="36000" anchor="b">
            <a:noAutofit/>
          </a:bodyPr>
          <a:lstStyle/>
          <a:p>
            <a:pPr algn="ctr"/>
            <a:r>
              <a:rPr lang="en-US" altLang="zh-CN" sz="1100" b="1" dirty="0">
                <a:solidFill>
                  <a:srgbClr val="000000"/>
                </a:solidFill>
                <a:cs typeface="+mn-ea"/>
                <a:sym typeface="+mn-lt"/>
              </a:rPr>
              <a:t>XXX</a:t>
            </a:r>
            <a:endParaRPr lang="en-US" altLang="zh-CN" sz="1100" b="1" dirty="0">
              <a:solidFill>
                <a:srgbClr val="000000"/>
              </a:solidFill>
              <a:cs typeface="+mn-ea"/>
              <a:sym typeface="+mn-lt"/>
            </a:endParaRPr>
          </a:p>
        </p:txBody>
      </p:sp>
      <p:sp>
        <p:nvSpPr>
          <p:cNvPr id="33" name="ColumnHeader"/>
          <p:cNvSpPr>
            <a:spLocks noChangeArrowheads="1"/>
          </p:cNvSpPr>
          <p:nvPr/>
        </p:nvSpPr>
        <p:spPr bwMode="gray">
          <a:xfrm>
            <a:off x="8759066" y="876194"/>
            <a:ext cx="721553"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lIns="0" tIns="0" rIns="0" bIns="36000" anchor="b">
            <a:noAutofit/>
          </a:bodyPr>
          <a:lstStyle/>
          <a:p>
            <a:pPr algn="ctr"/>
            <a:r>
              <a:rPr lang="en-US" altLang="zh-CN" sz="1100" b="1" dirty="0">
                <a:solidFill>
                  <a:srgbClr val="000000"/>
                </a:solidFill>
                <a:cs typeface="+mn-ea"/>
                <a:sym typeface="+mn-lt"/>
              </a:rPr>
              <a:t>XXX</a:t>
            </a:r>
            <a:endParaRPr lang="en-US" altLang="zh-CN" sz="1100" b="1" dirty="0">
              <a:solidFill>
                <a:srgbClr val="000000"/>
              </a:solidFill>
              <a:cs typeface="+mn-ea"/>
              <a:sym typeface="+mn-lt"/>
            </a:endParaRPr>
          </a:p>
        </p:txBody>
      </p:sp>
      <p:sp>
        <p:nvSpPr>
          <p:cNvPr id="34" name="ColumnHeader"/>
          <p:cNvSpPr>
            <a:spLocks noChangeArrowheads="1"/>
          </p:cNvSpPr>
          <p:nvPr/>
        </p:nvSpPr>
        <p:spPr bwMode="gray">
          <a:xfrm>
            <a:off x="9531459" y="876194"/>
            <a:ext cx="707811"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lIns="0" tIns="0" rIns="0" bIns="36000" anchor="b">
            <a:noAutofit/>
          </a:bodyPr>
          <a:lstStyle/>
          <a:p>
            <a:pPr algn="ctr"/>
            <a:r>
              <a:rPr lang="en-US" altLang="zh-CN" sz="1100" b="1" dirty="0">
                <a:solidFill>
                  <a:srgbClr val="000000"/>
                </a:solidFill>
                <a:cs typeface="+mn-ea"/>
                <a:sym typeface="+mn-lt"/>
              </a:rPr>
              <a:t>XXX</a:t>
            </a:r>
            <a:endParaRPr lang="en-US" altLang="zh-CN" sz="1100" b="1" dirty="0">
              <a:solidFill>
                <a:srgbClr val="000000"/>
              </a:solidFill>
              <a:cs typeface="+mn-ea"/>
              <a:sym typeface="+mn-lt"/>
            </a:endParaRPr>
          </a:p>
        </p:txBody>
      </p:sp>
      <p:sp>
        <p:nvSpPr>
          <p:cNvPr id="35" name="ColumnHeader"/>
          <p:cNvSpPr>
            <a:spLocks noChangeArrowheads="1"/>
          </p:cNvSpPr>
          <p:nvPr/>
        </p:nvSpPr>
        <p:spPr bwMode="gray">
          <a:xfrm>
            <a:off x="10286336" y="876194"/>
            <a:ext cx="741730"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lIns="0" tIns="0" rIns="0" bIns="36000" anchor="b">
            <a:noAutofit/>
          </a:bodyPr>
          <a:lstStyle/>
          <a:p>
            <a:pPr algn="ctr"/>
            <a:r>
              <a:rPr lang="en-US" altLang="zh-CN" sz="1100" b="1" dirty="0">
                <a:solidFill>
                  <a:srgbClr val="000000"/>
                </a:solidFill>
                <a:cs typeface="+mn-ea"/>
                <a:sym typeface="+mn-lt"/>
              </a:rPr>
              <a:t>XXX</a:t>
            </a:r>
            <a:endParaRPr lang="en-US" altLang="zh-CN" sz="1100" b="1" dirty="0">
              <a:solidFill>
                <a:srgbClr val="000000"/>
              </a:solidFill>
              <a:cs typeface="+mn-ea"/>
              <a:sym typeface="+mn-lt"/>
            </a:endParaRPr>
          </a:p>
        </p:txBody>
      </p:sp>
      <p:grpSp>
        <p:nvGrpSpPr>
          <p:cNvPr id="36" name="组合 35"/>
          <p:cNvGrpSpPr/>
          <p:nvPr/>
        </p:nvGrpSpPr>
        <p:grpSpPr>
          <a:xfrm>
            <a:off x="1399233" y="1039906"/>
            <a:ext cx="6667081" cy="304800"/>
            <a:chOff x="2975956" y="932723"/>
            <a:chExt cx="5719809" cy="394053"/>
          </a:xfrm>
        </p:grpSpPr>
        <p:sp>
          <p:nvSpPr>
            <p:cNvPr id="37" name="燕尾形 36"/>
            <p:cNvSpPr/>
            <p:nvPr/>
          </p:nvSpPr>
          <p:spPr>
            <a:xfrm>
              <a:off x="7200425" y="932723"/>
              <a:ext cx="1495340" cy="394053"/>
            </a:xfrm>
            <a:prstGeom prst="chevron">
              <a:avLst>
                <a:gd name="adj" fmla="val 33193"/>
              </a:avLst>
            </a:prstGeom>
            <a:solidFill>
              <a:srgbClr val="FE58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sp>
          <p:nvSpPr>
            <p:cNvPr id="38" name="燕尾形 37"/>
            <p:cNvSpPr/>
            <p:nvPr/>
          </p:nvSpPr>
          <p:spPr>
            <a:xfrm>
              <a:off x="5792268" y="932723"/>
              <a:ext cx="1495340" cy="394053"/>
            </a:xfrm>
            <a:prstGeom prst="chevron">
              <a:avLst>
                <a:gd name="adj" fmla="val 33193"/>
              </a:avLst>
            </a:prstGeom>
            <a:solidFill>
              <a:srgbClr val="FE58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sp>
          <p:nvSpPr>
            <p:cNvPr id="39" name="燕尾形 38"/>
            <p:cNvSpPr/>
            <p:nvPr/>
          </p:nvSpPr>
          <p:spPr>
            <a:xfrm>
              <a:off x="4384112" y="932723"/>
              <a:ext cx="1495340" cy="394053"/>
            </a:xfrm>
            <a:prstGeom prst="chevron">
              <a:avLst>
                <a:gd name="adj" fmla="val 33193"/>
              </a:avLst>
            </a:prstGeom>
            <a:solidFill>
              <a:srgbClr val="FE58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sp>
          <p:nvSpPr>
            <p:cNvPr id="40" name="五边形 39"/>
            <p:cNvSpPr/>
            <p:nvPr/>
          </p:nvSpPr>
          <p:spPr>
            <a:xfrm>
              <a:off x="2975956" y="932723"/>
              <a:ext cx="1495340" cy="394053"/>
            </a:xfrm>
            <a:prstGeom prst="homePlate">
              <a:avLst>
                <a:gd name="adj" fmla="val 33193"/>
              </a:avLst>
            </a:prstGeom>
            <a:solidFill>
              <a:srgbClr val="FE581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grpSp>
      <p:sp>
        <p:nvSpPr>
          <p:cNvPr id="20" name="ColumnHeader"/>
          <p:cNvSpPr>
            <a:spLocks noChangeArrowheads="1"/>
          </p:cNvSpPr>
          <p:nvPr/>
        </p:nvSpPr>
        <p:spPr bwMode="gray">
          <a:xfrm>
            <a:off x="11067386" y="876194"/>
            <a:ext cx="741730"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lIns="0" tIns="0" rIns="0" bIns="36000" anchor="b">
            <a:noAutofit/>
          </a:bodyPr>
          <a:lstStyle/>
          <a:p>
            <a:pPr algn="ctr"/>
            <a:r>
              <a:rPr lang="en-US" altLang="zh-CN" sz="1100" b="1" dirty="0">
                <a:solidFill>
                  <a:srgbClr val="000000"/>
                </a:solidFill>
                <a:cs typeface="+mn-ea"/>
                <a:sym typeface="+mn-lt"/>
              </a:rPr>
              <a:t>XXX</a:t>
            </a:r>
            <a:endParaRPr lang="en-US" altLang="zh-CN" sz="1100" b="1" dirty="0">
              <a:solidFill>
                <a:srgbClr val="000000"/>
              </a:solidFill>
              <a:cs typeface="+mn-ea"/>
              <a:sym typeface="+mn-lt"/>
            </a:endParaRPr>
          </a:p>
        </p:txBody>
      </p:sp>
      <p:sp>
        <p:nvSpPr>
          <p:cNvPr id="23"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图表</a:t>
            </a:r>
            <a:endParaRPr lang="zh-CN" altLang="en-US" sz="2400" dirty="0">
              <a:solidFill>
                <a:prstClr val="black"/>
              </a:solidFill>
              <a:latin typeface="华文楷体" panose="02010600040101010101" charset="-122"/>
              <a:ea typeface="华文楷体" panose="02010600040101010101" charset="-122"/>
            </a:endParaRPr>
          </a:p>
        </p:txBody>
      </p:sp>
      <p:pic>
        <p:nvPicPr>
          <p:cNvPr id="22" name="图片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形标注 2"/>
          <p:cNvSpPr/>
          <p:nvPr/>
        </p:nvSpPr>
        <p:spPr>
          <a:xfrm>
            <a:off x="5018690" y="4794920"/>
            <a:ext cx="2335890" cy="1089669"/>
          </a:xfrm>
          <a:prstGeom prst="wedgeRectCallout">
            <a:avLst>
              <a:gd name="adj1" fmla="val 27713"/>
              <a:gd name="adj2" fmla="val -62872"/>
            </a:avLst>
          </a:prstGeom>
          <a:solidFill>
            <a:srgbClr val="FF976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35" dirty="0" err="1">
              <a:solidFill>
                <a:schemeClr val="tx1"/>
              </a:solidFill>
            </a:endParaRPr>
          </a:p>
        </p:txBody>
      </p:sp>
      <p:sp>
        <p:nvSpPr>
          <p:cNvPr id="251" name="Rectangle 250"/>
          <p:cNvSpPr txBox="1">
            <a:spLocks noChangeArrowheads="1"/>
          </p:cNvSpPr>
          <p:nvPr/>
        </p:nvSpPr>
        <p:spPr bwMode="auto">
          <a:xfrm>
            <a:off x="5158140" y="4962920"/>
            <a:ext cx="2056991" cy="102504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630" dirty="0"/>
              <a:t>常用维度：</a:t>
            </a:r>
            <a:endParaRPr lang="en-US" altLang="zh-CN" sz="1630" dirty="0"/>
          </a:p>
          <a:p>
            <a:pPr marL="1905" lvl="1" indent="0">
              <a:buNone/>
            </a:pPr>
            <a:r>
              <a:rPr lang="zh-CN" altLang="en-US" sz="1630" dirty="0"/>
              <a:t>行业准入、监管要求、</a:t>
            </a:r>
            <a:endParaRPr lang="en-US" altLang="zh-CN" sz="1630" dirty="0"/>
          </a:p>
          <a:p>
            <a:pPr marL="1905" lvl="1" indent="0">
              <a:buNone/>
            </a:pPr>
            <a:r>
              <a:rPr lang="zh-CN" altLang="en-US" sz="1630" dirty="0"/>
              <a:t>资源限制</a:t>
            </a:r>
            <a:r>
              <a:rPr lang="en-US" altLang="zh-CN" sz="1630" dirty="0"/>
              <a:t> …</a:t>
            </a:r>
            <a:endParaRPr lang="zh-CN" altLang="en-US" sz="1630" dirty="0">
              <a:latin typeface="+mj-lt"/>
            </a:endParaRPr>
          </a:p>
        </p:txBody>
      </p:sp>
      <p:grpSp>
        <p:nvGrpSpPr>
          <p:cNvPr id="258" name="Group 5"/>
          <p:cNvGrpSpPr/>
          <p:nvPr/>
        </p:nvGrpSpPr>
        <p:grpSpPr bwMode="auto">
          <a:xfrm>
            <a:off x="2387301" y="1663700"/>
            <a:ext cx="7104700" cy="2270267"/>
            <a:chOff x="1179" y="995"/>
            <a:chExt cx="3336" cy="1066"/>
          </a:xfrm>
        </p:grpSpPr>
        <p:grpSp>
          <p:nvGrpSpPr>
            <p:cNvPr id="260" name="Group 7"/>
            <p:cNvGrpSpPr/>
            <p:nvPr/>
          </p:nvGrpSpPr>
          <p:grpSpPr bwMode="auto">
            <a:xfrm>
              <a:off x="1479" y="995"/>
              <a:ext cx="423" cy="1017"/>
              <a:chOff x="1851" y="2409"/>
              <a:chExt cx="464" cy="1046"/>
            </a:xfrm>
          </p:grpSpPr>
          <p:sp>
            <p:nvSpPr>
              <p:cNvPr id="471" name="Line 8"/>
              <p:cNvSpPr>
                <a:spLocks noChangeShapeType="1"/>
              </p:cNvSpPr>
              <p:nvPr/>
            </p:nvSpPr>
            <p:spPr bwMode="auto">
              <a:xfrm flipV="1">
                <a:off x="1851" y="240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72" name="Line 9"/>
              <p:cNvSpPr>
                <a:spLocks noChangeShapeType="1"/>
              </p:cNvSpPr>
              <p:nvPr/>
            </p:nvSpPr>
            <p:spPr bwMode="auto">
              <a:xfrm flipV="1">
                <a:off x="1851" y="3246"/>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73" name="Line 10"/>
              <p:cNvSpPr>
                <a:spLocks noChangeShapeType="1"/>
              </p:cNvSpPr>
              <p:nvPr/>
            </p:nvSpPr>
            <p:spPr bwMode="auto">
              <a:xfrm flipV="1">
                <a:off x="1851" y="244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74" name="Line 11"/>
              <p:cNvSpPr>
                <a:spLocks noChangeShapeType="1"/>
              </p:cNvSpPr>
              <p:nvPr/>
            </p:nvSpPr>
            <p:spPr bwMode="auto">
              <a:xfrm flipV="1">
                <a:off x="1851" y="247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75" name="Line 12"/>
              <p:cNvSpPr>
                <a:spLocks noChangeShapeType="1"/>
              </p:cNvSpPr>
              <p:nvPr/>
            </p:nvSpPr>
            <p:spPr bwMode="auto">
              <a:xfrm flipV="1">
                <a:off x="1851" y="251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76" name="Line 13"/>
              <p:cNvSpPr>
                <a:spLocks noChangeShapeType="1"/>
              </p:cNvSpPr>
              <p:nvPr/>
            </p:nvSpPr>
            <p:spPr bwMode="auto">
              <a:xfrm flipV="1">
                <a:off x="1851" y="254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77" name="Line 14"/>
              <p:cNvSpPr>
                <a:spLocks noChangeShapeType="1"/>
              </p:cNvSpPr>
              <p:nvPr/>
            </p:nvSpPr>
            <p:spPr bwMode="auto">
              <a:xfrm flipV="1">
                <a:off x="1851" y="258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78" name="Line 15"/>
              <p:cNvSpPr>
                <a:spLocks noChangeShapeType="1"/>
              </p:cNvSpPr>
              <p:nvPr/>
            </p:nvSpPr>
            <p:spPr bwMode="auto">
              <a:xfrm flipV="1">
                <a:off x="1851" y="261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79" name="Line 16"/>
              <p:cNvSpPr>
                <a:spLocks noChangeShapeType="1"/>
              </p:cNvSpPr>
              <p:nvPr/>
            </p:nvSpPr>
            <p:spPr bwMode="auto">
              <a:xfrm flipV="1">
                <a:off x="1851" y="265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80" name="Line 17"/>
              <p:cNvSpPr>
                <a:spLocks noChangeShapeType="1"/>
              </p:cNvSpPr>
              <p:nvPr/>
            </p:nvSpPr>
            <p:spPr bwMode="auto">
              <a:xfrm flipV="1">
                <a:off x="1851" y="268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81" name="Line 18"/>
              <p:cNvSpPr>
                <a:spLocks noChangeShapeType="1"/>
              </p:cNvSpPr>
              <p:nvPr/>
            </p:nvSpPr>
            <p:spPr bwMode="auto">
              <a:xfrm flipV="1">
                <a:off x="1851" y="272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82" name="Line 19"/>
              <p:cNvSpPr>
                <a:spLocks noChangeShapeType="1"/>
              </p:cNvSpPr>
              <p:nvPr/>
            </p:nvSpPr>
            <p:spPr bwMode="auto">
              <a:xfrm flipV="1">
                <a:off x="1851" y="275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83" name="Line 20"/>
              <p:cNvSpPr>
                <a:spLocks noChangeShapeType="1"/>
              </p:cNvSpPr>
              <p:nvPr/>
            </p:nvSpPr>
            <p:spPr bwMode="auto">
              <a:xfrm flipV="1">
                <a:off x="1851" y="279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84" name="Line 21"/>
              <p:cNvSpPr>
                <a:spLocks noChangeShapeType="1"/>
              </p:cNvSpPr>
              <p:nvPr/>
            </p:nvSpPr>
            <p:spPr bwMode="auto">
              <a:xfrm flipV="1">
                <a:off x="1851" y="282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85" name="Line 22"/>
              <p:cNvSpPr>
                <a:spLocks noChangeShapeType="1"/>
              </p:cNvSpPr>
              <p:nvPr/>
            </p:nvSpPr>
            <p:spPr bwMode="auto">
              <a:xfrm flipV="1">
                <a:off x="1851" y="286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86" name="Line 23"/>
              <p:cNvSpPr>
                <a:spLocks noChangeShapeType="1"/>
              </p:cNvSpPr>
              <p:nvPr/>
            </p:nvSpPr>
            <p:spPr bwMode="auto">
              <a:xfrm flipV="1">
                <a:off x="1851" y="289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87" name="Line 24"/>
              <p:cNvSpPr>
                <a:spLocks noChangeShapeType="1"/>
              </p:cNvSpPr>
              <p:nvPr/>
            </p:nvSpPr>
            <p:spPr bwMode="auto">
              <a:xfrm flipV="1">
                <a:off x="1851" y="293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88" name="Line 25"/>
              <p:cNvSpPr>
                <a:spLocks noChangeShapeType="1"/>
              </p:cNvSpPr>
              <p:nvPr/>
            </p:nvSpPr>
            <p:spPr bwMode="auto">
              <a:xfrm flipV="1">
                <a:off x="1851" y="296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89" name="Line 26"/>
              <p:cNvSpPr>
                <a:spLocks noChangeShapeType="1"/>
              </p:cNvSpPr>
              <p:nvPr/>
            </p:nvSpPr>
            <p:spPr bwMode="auto">
              <a:xfrm flipV="1">
                <a:off x="1851" y="300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90" name="Line 27"/>
              <p:cNvSpPr>
                <a:spLocks noChangeShapeType="1"/>
              </p:cNvSpPr>
              <p:nvPr/>
            </p:nvSpPr>
            <p:spPr bwMode="auto">
              <a:xfrm flipV="1">
                <a:off x="1851" y="303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91" name="Line 28"/>
              <p:cNvSpPr>
                <a:spLocks noChangeShapeType="1"/>
              </p:cNvSpPr>
              <p:nvPr/>
            </p:nvSpPr>
            <p:spPr bwMode="auto">
              <a:xfrm flipV="1">
                <a:off x="1851" y="307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92" name="Line 29"/>
              <p:cNvSpPr>
                <a:spLocks noChangeShapeType="1"/>
              </p:cNvSpPr>
              <p:nvPr/>
            </p:nvSpPr>
            <p:spPr bwMode="auto">
              <a:xfrm flipV="1">
                <a:off x="1851" y="314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93" name="Line 30"/>
              <p:cNvSpPr>
                <a:spLocks noChangeShapeType="1"/>
              </p:cNvSpPr>
              <p:nvPr/>
            </p:nvSpPr>
            <p:spPr bwMode="auto">
              <a:xfrm flipV="1">
                <a:off x="1851" y="310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94" name="Line 31"/>
              <p:cNvSpPr>
                <a:spLocks noChangeShapeType="1"/>
              </p:cNvSpPr>
              <p:nvPr/>
            </p:nvSpPr>
            <p:spPr bwMode="auto">
              <a:xfrm flipV="1">
                <a:off x="1851" y="317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95" name="Line 32"/>
              <p:cNvSpPr>
                <a:spLocks noChangeShapeType="1"/>
              </p:cNvSpPr>
              <p:nvPr/>
            </p:nvSpPr>
            <p:spPr bwMode="auto">
              <a:xfrm flipV="1">
                <a:off x="1851" y="321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grpSp>
        <p:sp>
          <p:nvSpPr>
            <p:cNvPr id="261" name="Line 33"/>
            <p:cNvSpPr>
              <a:spLocks noChangeShapeType="1"/>
            </p:cNvSpPr>
            <p:nvPr/>
          </p:nvSpPr>
          <p:spPr bwMode="auto">
            <a:xfrm>
              <a:off x="1479" y="1198"/>
              <a:ext cx="0" cy="814"/>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62" name="Line 34"/>
            <p:cNvSpPr>
              <a:spLocks noChangeShapeType="1"/>
            </p:cNvSpPr>
            <p:nvPr/>
          </p:nvSpPr>
          <p:spPr bwMode="auto">
            <a:xfrm>
              <a:off x="1527" y="1174"/>
              <a:ext cx="0" cy="815"/>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63" name="Line 35"/>
            <p:cNvSpPr>
              <a:spLocks noChangeShapeType="1"/>
            </p:cNvSpPr>
            <p:nvPr/>
          </p:nvSpPr>
          <p:spPr bwMode="auto">
            <a:xfrm>
              <a:off x="1549" y="1163"/>
              <a:ext cx="0" cy="815"/>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64" name="Line 36"/>
            <p:cNvSpPr>
              <a:spLocks noChangeShapeType="1"/>
            </p:cNvSpPr>
            <p:nvPr/>
          </p:nvSpPr>
          <p:spPr bwMode="auto">
            <a:xfrm>
              <a:off x="1574" y="1152"/>
              <a:ext cx="0" cy="813"/>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65" name="Line 37"/>
            <p:cNvSpPr>
              <a:spLocks noChangeShapeType="1"/>
            </p:cNvSpPr>
            <p:nvPr/>
          </p:nvSpPr>
          <p:spPr bwMode="auto">
            <a:xfrm>
              <a:off x="1596" y="1143"/>
              <a:ext cx="0" cy="815"/>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66" name="Line 38"/>
            <p:cNvSpPr>
              <a:spLocks noChangeShapeType="1"/>
            </p:cNvSpPr>
            <p:nvPr/>
          </p:nvSpPr>
          <p:spPr bwMode="auto">
            <a:xfrm>
              <a:off x="1644" y="1120"/>
              <a:ext cx="0" cy="814"/>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67" name="Line 39"/>
            <p:cNvSpPr>
              <a:spLocks noChangeShapeType="1"/>
            </p:cNvSpPr>
            <p:nvPr/>
          </p:nvSpPr>
          <p:spPr bwMode="auto">
            <a:xfrm>
              <a:off x="1621" y="1129"/>
              <a:ext cx="0" cy="813"/>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68" name="Line 40"/>
            <p:cNvSpPr>
              <a:spLocks noChangeShapeType="1"/>
            </p:cNvSpPr>
            <p:nvPr/>
          </p:nvSpPr>
          <p:spPr bwMode="auto">
            <a:xfrm>
              <a:off x="1691" y="1095"/>
              <a:ext cx="0" cy="814"/>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69" name="Line 41"/>
            <p:cNvSpPr>
              <a:spLocks noChangeShapeType="1"/>
            </p:cNvSpPr>
            <p:nvPr/>
          </p:nvSpPr>
          <p:spPr bwMode="auto">
            <a:xfrm>
              <a:off x="1668" y="1107"/>
              <a:ext cx="0" cy="813"/>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70" name="Line 42"/>
            <p:cNvSpPr>
              <a:spLocks noChangeShapeType="1"/>
            </p:cNvSpPr>
            <p:nvPr/>
          </p:nvSpPr>
          <p:spPr bwMode="auto">
            <a:xfrm>
              <a:off x="1715" y="1084"/>
              <a:ext cx="0" cy="814"/>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71" name="Line 43"/>
            <p:cNvSpPr>
              <a:spLocks noChangeShapeType="1"/>
            </p:cNvSpPr>
            <p:nvPr/>
          </p:nvSpPr>
          <p:spPr bwMode="auto">
            <a:xfrm>
              <a:off x="1762" y="1060"/>
              <a:ext cx="0" cy="815"/>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72" name="Line 44"/>
            <p:cNvSpPr>
              <a:spLocks noChangeShapeType="1"/>
            </p:cNvSpPr>
            <p:nvPr/>
          </p:nvSpPr>
          <p:spPr bwMode="auto">
            <a:xfrm>
              <a:off x="1857" y="1017"/>
              <a:ext cx="0" cy="814"/>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73" name="Line 45"/>
            <p:cNvSpPr>
              <a:spLocks noChangeShapeType="1"/>
            </p:cNvSpPr>
            <p:nvPr/>
          </p:nvSpPr>
          <p:spPr bwMode="auto">
            <a:xfrm>
              <a:off x="1785" y="1055"/>
              <a:ext cx="0" cy="812"/>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74" name="Line 46"/>
            <p:cNvSpPr>
              <a:spLocks noChangeShapeType="1"/>
            </p:cNvSpPr>
            <p:nvPr/>
          </p:nvSpPr>
          <p:spPr bwMode="auto">
            <a:xfrm>
              <a:off x="1904" y="995"/>
              <a:ext cx="0" cy="814"/>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75" name="Line 47"/>
            <p:cNvSpPr>
              <a:spLocks noChangeShapeType="1"/>
            </p:cNvSpPr>
            <p:nvPr/>
          </p:nvSpPr>
          <p:spPr bwMode="auto">
            <a:xfrm>
              <a:off x="1738" y="1071"/>
              <a:ext cx="0" cy="814"/>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76" name="Line 48"/>
            <p:cNvSpPr>
              <a:spLocks noChangeShapeType="1"/>
            </p:cNvSpPr>
            <p:nvPr/>
          </p:nvSpPr>
          <p:spPr bwMode="auto">
            <a:xfrm>
              <a:off x="1810" y="1042"/>
              <a:ext cx="0" cy="814"/>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77" name="Line 49"/>
            <p:cNvSpPr>
              <a:spLocks noChangeShapeType="1"/>
            </p:cNvSpPr>
            <p:nvPr/>
          </p:nvSpPr>
          <p:spPr bwMode="auto">
            <a:xfrm>
              <a:off x="1502" y="1187"/>
              <a:ext cx="0" cy="814"/>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78" name="Line 50"/>
            <p:cNvSpPr>
              <a:spLocks noChangeShapeType="1"/>
            </p:cNvSpPr>
            <p:nvPr/>
          </p:nvSpPr>
          <p:spPr bwMode="auto">
            <a:xfrm>
              <a:off x="1879" y="1006"/>
              <a:ext cx="0" cy="814"/>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79" name="Line 51"/>
            <p:cNvSpPr>
              <a:spLocks noChangeShapeType="1"/>
            </p:cNvSpPr>
            <p:nvPr/>
          </p:nvSpPr>
          <p:spPr bwMode="auto">
            <a:xfrm>
              <a:off x="1832" y="1028"/>
              <a:ext cx="0" cy="812"/>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80" name="Line 52"/>
            <p:cNvSpPr>
              <a:spLocks noChangeShapeType="1"/>
            </p:cNvSpPr>
            <p:nvPr/>
          </p:nvSpPr>
          <p:spPr bwMode="auto">
            <a:xfrm>
              <a:off x="1179" y="1234"/>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81" name="Line 53"/>
            <p:cNvSpPr>
              <a:spLocks noChangeShapeType="1"/>
            </p:cNvSpPr>
            <p:nvPr/>
          </p:nvSpPr>
          <p:spPr bwMode="auto">
            <a:xfrm>
              <a:off x="1179" y="1332"/>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82" name="Line 54"/>
            <p:cNvSpPr>
              <a:spLocks noChangeShapeType="1"/>
            </p:cNvSpPr>
            <p:nvPr/>
          </p:nvSpPr>
          <p:spPr bwMode="auto">
            <a:xfrm>
              <a:off x="1179" y="1380"/>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83" name="Line 55"/>
            <p:cNvSpPr>
              <a:spLocks noChangeShapeType="1"/>
            </p:cNvSpPr>
            <p:nvPr/>
          </p:nvSpPr>
          <p:spPr bwMode="auto">
            <a:xfrm>
              <a:off x="1179" y="1283"/>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84" name="Line 56"/>
            <p:cNvSpPr>
              <a:spLocks noChangeShapeType="1"/>
            </p:cNvSpPr>
            <p:nvPr/>
          </p:nvSpPr>
          <p:spPr bwMode="auto">
            <a:xfrm>
              <a:off x="1179" y="1478"/>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85" name="Line 57"/>
            <p:cNvSpPr>
              <a:spLocks noChangeShapeType="1"/>
            </p:cNvSpPr>
            <p:nvPr/>
          </p:nvSpPr>
          <p:spPr bwMode="auto">
            <a:xfrm>
              <a:off x="1179" y="1576"/>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86" name="Line 58"/>
            <p:cNvSpPr>
              <a:spLocks noChangeShapeType="1"/>
            </p:cNvSpPr>
            <p:nvPr/>
          </p:nvSpPr>
          <p:spPr bwMode="auto">
            <a:xfrm>
              <a:off x="1179" y="1429"/>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87" name="Line 59"/>
            <p:cNvSpPr>
              <a:spLocks noChangeShapeType="1"/>
            </p:cNvSpPr>
            <p:nvPr/>
          </p:nvSpPr>
          <p:spPr bwMode="auto">
            <a:xfrm>
              <a:off x="1179" y="1676"/>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88" name="Line 60"/>
            <p:cNvSpPr>
              <a:spLocks noChangeShapeType="1"/>
            </p:cNvSpPr>
            <p:nvPr/>
          </p:nvSpPr>
          <p:spPr bwMode="auto">
            <a:xfrm>
              <a:off x="1179" y="1822"/>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89" name="Line 61"/>
            <p:cNvSpPr>
              <a:spLocks noChangeShapeType="1"/>
            </p:cNvSpPr>
            <p:nvPr/>
          </p:nvSpPr>
          <p:spPr bwMode="auto">
            <a:xfrm>
              <a:off x="1179" y="1627"/>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90" name="Line 62"/>
            <p:cNvSpPr>
              <a:spLocks noChangeShapeType="1"/>
            </p:cNvSpPr>
            <p:nvPr/>
          </p:nvSpPr>
          <p:spPr bwMode="auto">
            <a:xfrm>
              <a:off x="1179" y="1922"/>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91" name="Line 63"/>
            <p:cNvSpPr>
              <a:spLocks noChangeShapeType="1"/>
            </p:cNvSpPr>
            <p:nvPr/>
          </p:nvSpPr>
          <p:spPr bwMode="auto">
            <a:xfrm>
              <a:off x="1179" y="1529"/>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92" name="Line 64"/>
            <p:cNvSpPr>
              <a:spLocks noChangeShapeType="1"/>
            </p:cNvSpPr>
            <p:nvPr/>
          </p:nvSpPr>
          <p:spPr bwMode="auto">
            <a:xfrm>
              <a:off x="1179" y="1773"/>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93" name="Line 65"/>
            <p:cNvSpPr>
              <a:spLocks noChangeShapeType="1"/>
            </p:cNvSpPr>
            <p:nvPr/>
          </p:nvSpPr>
          <p:spPr bwMode="auto">
            <a:xfrm>
              <a:off x="1179" y="1871"/>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94" name="Line 66"/>
            <p:cNvSpPr>
              <a:spLocks noChangeShapeType="1"/>
            </p:cNvSpPr>
            <p:nvPr/>
          </p:nvSpPr>
          <p:spPr bwMode="auto">
            <a:xfrm>
              <a:off x="1179" y="1724"/>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95" name="Line 67"/>
            <p:cNvSpPr>
              <a:spLocks noChangeShapeType="1"/>
            </p:cNvSpPr>
            <p:nvPr/>
          </p:nvSpPr>
          <p:spPr bwMode="auto">
            <a:xfrm>
              <a:off x="1179" y="1971"/>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96" name="Line 68"/>
            <p:cNvSpPr>
              <a:spLocks noChangeShapeType="1"/>
            </p:cNvSpPr>
            <p:nvPr/>
          </p:nvSpPr>
          <p:spPr bwMode="auto">
            <a:xfrm rot="1155111" flipH="1">
              <a:off x="1179" y="1140"/>
              <a:ext cx="269" cy="2"/>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297" name="Line 69"/>
            <p:cNvSpPr>
              <a:spLocks noChangeShapeType="1"/>
            </p:cNvSpPr>
            <p:nvPr/>
          </p:nvSpPr>
          <p:spPr bwMode="auto">
            <a:xfrm rot="-1155111" flipH="1" flipV="1">
              <a:off x="1179" y="2059"/>
              <a:ext cx="269" cy="2"/>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grpSp>
          <p:nvGrpSpPr>
            <p:cNvPr id="299" name="Group 71"/>
            <p:cNvGrpSpPr/>
            <p:nvPr/>
          </p:nvGrpSpPr>
          <p:grpSpPr bwMode="auto">
            <a:xfrm>
              <a:off x="2244" y="995"/>
              <a:ext cx="427" cy="1017"/>
              <a:chOff x="1851" y="2409"/>
              <a:chExt cx="465" cy="1046"/>
            </a:xfrm>
          </p:grpSpPr>
          <p:grpSp>
            <p:nvGrpSpPr>
              <p:cNvPr id="426" name="Group 72"/>
              <p:cNvGrpSpPr/>
              <p:nvPr/>
            </p:nvGrpSpPr>
            <p:grpSpPr bwMode="auto">
              <a:xfrm>
                <a:off x="1851" y="2409"/>
                <a:ext cx="464" cy="1046"/>
                <a:chOff x="1851" y="2409"/>
                <a:chExt cx="464" cy="1046"/>
              </a:xfrm>
            </p:grpSpPr>
            <p:sp>
              <p:nvSpPr>
                <p:cNvPr id="446" name="Line 73"/>
                <p:cNvSpPr>
                  <a:spLocks noChangeShapeType="1"/>
                </p:cNvSpPr>
                <p:nvPr/>
              </p:nvSpPr>
              <p:spPr bwMode="auto">
                <a:xfrm flipV="1">
                  <a:off x="1851" y="240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47" name="Line 74"/>
                <p:cNvSpPr>
                  <a:spLocks noChangeShapeType="1"/>
                </p:cNvSpPr>
                <p:nvPr/>
              </p:nvSpPr>
              <p:spPr bwMode="auto">
                <a:xfrm flipV="1">
                  <a:off x="1851" y="3246"/>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48" name="Line 75"/>
                <p:cNvSpPr>
                  <a:spLocks noChangeShapeType="1"/>
                </p:cNvSpPr>
                <p:nvPr/>
              </p:nvSpPr>
              <p:spPr bwMode="auto">
                <a:xfrm flipV="1">
                  <a:off x="1851" y="244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49" name="Line 76"/>
                <p:cNvSpPr>
                  <a:spLocks noChangeShapeType="1"/>
                </p:cNvSpPr>
                <p:nvPr/>
              </p:nvSpPr>
              <p:spPr bwMode="auto">
                <a:xfrm flipV="1">
                  <a:off x="1851" y="247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50" name="Line 77"/>
                <p:cNvSpPr>
                  <a:spLocks noChangeShapeType="1"/>
                </p:cNvSpPr>
                <p:nvPr/>
              </p:nvSpPr>
              <p:spPr bwMode="auto">
                <a:xfrm flipV="1">
                  <a:off x="1851" y="251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51" name="Line 78"/>
                <p:cNvSpPr>
                  <a:spLocks noChangeShapeType="1"/>
                </p:cNvSpPr>
                <p:nvPr/>
              </p:nvSpPr>
              <p:spPr bwMode="auto">
                <a:xfrm flipV="1">
                  <a:off x="1851" y="254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52" name="Line 79"/>
                <p:cNvSpPr>
                  <a:spLocks noChangeShapeType="1"/>
                </p:cNvSpPr>
                <p:nvPr/>
              </p:nvSpPr>
              <p:spPr bwMode="auto">
                <a:xfrm flipV="1">
                  <a:off x="1851" y="258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53" name="Line 80"/>
                <p:cNvSpPr>
                  <a:spLocks noChangeShapeType="1"/>
                </p:cNvSpPr>
                <p:nvPr/>
              </p:nvSpPr>
              <p:spPr bwMode="auto">
                <a:xfrm flipV="1">
                  <a:off x="1851" y="261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54" name="Line 81"/>
                <p:cNvSpPr>
                  <a:spLocks noChangeShapeType="1"/>
                </p:cNvSpPr>
                <p:nvPr/>
              </p:nvSpPr>
              <p:spPr bwMode="auto">
                <a:xfrm flipV="1">
                  <a:off x="1851" y="265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55" name="Line 82"/>
                <p:cNvSpPr>
                  <a:spLocks noChangeShapeType="1"/>
                </p:cNvSpPr>
                <p:nvPr/>
              </p:nvSpPr>
              <p:spPr bwMode="auto">
                <a:xfrm flipV="1">
                  <a:off x="1851" y="268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56" name="Line 83"/>
                <p:cNvSpPr>
                  <a:spLocks noChangeShapeType="1"/>
                </p:cNvSpPr>
                <p:nvPr/>
              </p:nvSpPr>
              <p:spPr bwMode="auto">
                <a:xfrm flipV="1">
                  <a:off x="1851" y="272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57" name="Line 84"/>
                <p:cNvSpPr>
                  <a:spLocks noChangeShapeType="1"/>
                </p:cNvSpPr>
                <p:nvPr/>
              </p:nvSpPr>
              <p:spPr bwMode="auto">
                <a:xfrm flipV="1">
                  <a:off x="1851" y="275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58" name="Line 85"/>
                <p:cNvSpPr>
                  <a:spLocks noChangeShapeType="1"/>
                </p:cNvSpPr>
                <p:nvPr/>
              </p:nvSpPr>
              <p:spPr bwMode="auto">
                <a:xfrm flipV="1">
                  <a:off x="1851" y="279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59" name="Line 86"/>
                <p:cNvSpPr>
                  <a:spLocks noChangeShapeType="1"/>
                </p:cNvSpPr>
                <p:nvPr/>
              </p:nvSpPr>
              <p:spPr bwMode="auto">
                <a:xfrm flipV="1">
                  <a:off x="1851" y="282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60" name="Line 87"/>
                <p:cNvSpPr>
                  <a:spLocks noChangeShapeType="1"/>
                </p:cNvSpPr>
                <p:nvPr/>
              </p:nvSpPr>
              <p:spPr bwMode="auto">
                <a:xfrm flipV="1">
                  <a:off x="1851" y="286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61" name="Line 88"/>
                <p:cNvSpPr>
                  <a:spLocks noChangeShapeType="1"/>
                </p:cNvSpPr>
                <p:nvPr/>
              </p:nvSpPr>
              <p:spPr bwMode="auto">
                <a:xfrm flipV="1">
                  <a:off x="1851" y="289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62" name="Line 89"/>
                <p:cNvSpPr>
                  <a:spLocks noChangeShapeType="1"/>
                </p:cNvSpPr>
                <p:nvPr/>
              </p:nvSpPr>
              <p:spPr bwMode="auto">
                <a:xfrm flipV="1">
                  <a:off x="1851" y="293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63" name="Line 90"/>
                <p:cNvSpPr>
                  <a:spLocks noChangeShapeType="1"/>
                </p:cNvSpPr>
                <p:nvPr/>
              </p:nvSpPr>
              <p:spPr bwMode="auto">
                <a:xfrm flipV="1">
                  <a:off x="1851" y="296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64" name="Line 91"/>
                <p:cNvSpPr>
                  <a:spLocks noChangeShapeType="1"/>
                </p:cNvSpPr>
                <p:nvPr/>
              </p:nvSpPr>
              <p:spPr bwMode="auto">
                <a:xfrm flipV="1">
                  <a:off x="1851" y="300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65" name="Line 92"/>
                <p:cNvSpPr>
                  <a:spLocks noChangeShapeType="1"/>
                </p:cNvSpPr>
                <p:nvPr/>
              </p:nvSpPr>
              <p:spPr bwMode="auto">
                <a:xfrm flipV="1">
                  <a:off x="1851" y="303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66" name="Line 93"/>
                <p:cNvSpPr>
                  <a:spLocks noChangeShapeType="1"/>
                </p:cNvSpPr>
                <p:nvPr/>
              </p:nvSpPr>
              <p:spPr bwMode="auto">
                <a:xfrm flipV="1">
                  <a:off x="1851" y="307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67" name="Line 94"/>
                <p:cNvSpPr>
                  <a:spLocks noChangeShapeType="1"/>
                </p:cNvSpPr>
                <p:nvPr/>
              </p:nvSpPr>
              <p:spPr bwMode="auto">
                <a:xfrm flipV="1">
                  <a:off x="1851" y="314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68" name="Line 95"/>
                <p:cNvSpPr>
                  <a:spLocks noChangeShapeType="1"/>
                </p:cNvSpPr>
                <p:nvPr/>
              </p:nvSpPr>
              <p:spPr bwMode="auto">
                <a:xfrm flipV="1">
                  <a:off x="1851" y="310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69" name="Line 96"/>
                <p:cNvSpPr>
                  <a:spLocks noChangeShapeType="1"/>
                </p:cNvSpPr>
                <p:nvPr/>
              </p:nvSpPr>
              <p:spPr bwMode="auto">
                <a:xfrm flipV="1">
                  <a:off x="1851" y="317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70" name="Line 97"/>
                <p:cNvSpPr>
                  <a:spLocks noChangeShapeType="1"/>
                </p:cNvSpPr>
                <p:nvPr/>
              </p:nvSpPr>
              <p:spPr bwMode="auto">
                <a:xfrm flipV="1">
                  <a:off x="1851" y="321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grpSp>
          <p:sp>
            <p:nvSpPr>
              <p:cNvPr id="427" name="Line 98"/>
              <p:cNvSpPr>
                <a:spLocks noChangeShapeType="1"/>
              </p:cNvSpPr>
              <p:nvPr/>
            </p:nvSpPr>
            <p:spPr bwMode="auto">
              <a:xfrm>
                <a:off x="1851" y="261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28" name="Line 99"/>
              <p:cNvSpPr>
                <a:spLocks noChangeShapeType="1"/>
              </p:cNvSpPr>
              <p:nvPr/>
            </p:nvSpPr>
            <p:spPr bwMode="auto">
              <a:xfrm>
                <a:off x="1902" y="2594"/>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29" name="Line 100"/>
              <p:cNvSpPr>
                <a:spLocks noChangeShapeType="1"/>
              </p:cNvSpPr>
              <p:nvPr/>
            </p:nvSpPr>
            <p:spPr bwMode="auto">
              <a:xfrm>
                <a:off x="1928" y="258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30" name="Line 101"/>
              <p:cNvSpPr>
                <a:spLocks noChangeShapeType="1"/>
              </p:cNvSpPr>
              <p:nvPr/>
            </p:nvSpPr>
            <p:spPr bwMode="auto">
              <a:xfrm>
                <a:off x="1954" y="257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31" name="Line 102"/>
              <p:cNvSpPr>
                <a:spLocks noChangeShapeType="1"/>
              </p:cNvSpPr>
              <p:nvPr/>
            </p:nvSpPr>
            <p:spPr bwMode="auto">
              <a:xfrm>
                <a:off x="1980" y="256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32" name="Line 103"/>
              <p:cNvSpPr>
                <a:spLocks noChangeShapeType="1"/>
              </p:cNvSpPr>
              <p:nvPr/>
            </p:nvSpPr>
            <p:spPr bwMode="auto">
              <a:xfrm>
                <a:off x="2031" y="253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33" name="Line 104"/>
              <p:cNvSpPr>
                <a:spLocks noChangeShapeType="1"/>
              </p:cNvSpPr>
              <p:nvPr/>
            </p:nvSpPr>
            <p:spPr bwMode="auto">
              <a:xfrm>
                <a:off x="2006" y="2546"/>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34" name="Line 105"/>
              <p:cNvSpPr>
                <a:spLocks noChangeShapeType="1"/>
              </p:cNvSpPr>
              <p:nvPr/>
            </p:nvSpPr>
            <p:spPr bwMode="auto">
              <a:xfrm>
                <a:off x="2083" y="251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35" name="Line 106"/>
              <p:cNvSpPr>
                <a:spLocks noChangeShapeType="1"/>
              </p:cNvSpPr>
              <p:nvPr/>
            </p:nvSpPr>
            <p:spPr bwMode="auto">
              <a:xfrm>
                <a:off x="2057" y="2524"/>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36" name="Line 107"/>
              <p:cNvSpPr>
                <a:spLocks noChangeShapeType="1"/>
              </p:cNvSpPr>
              <p:nvPr/>
            </p:nvSpPr>
            <p:spPr bwMode="auto">
              <a:xfrm>
                <a:off x="2109" y="250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37" name="Line 108"/>
              <p:cNvSpPr>
                <a:spLocks noChangeShapeType="1"/>
              </p:cNvSpPr>
              <p:nvPr/>
            </p:nvSpPr>
            <p:spPr bwMode="auto">
              <a:xfrm>
                <a:off x="2161" y="2476"/>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38" name="Line 109"/>
              <p:cNvSpPr>
                <a:spLocks noChangeShapeType="1"/>
              </p:cNvSpPr>
              <p:nvPr/>
            </p:nvSpPr>
            <p:spPr bwMode="auto">
              <a:xfrm>
                <a:off x="2264" y="243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39" name="Line 110"/>
              <p:cNvSpPr>
                <a:spLocks noChangeShapeType="1"/>
              </p:cNvSpPr>
              <p:nvPr/>
            </p:nvSpPr>
            <p:spPr bwMode="auto">
              <a:xfrm>
                <a:off x="2186" y="247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40" name="Line 111"/>
              <p:cNvSpPr>
                <a:spLocks noChangeShapeType="1"/>
              </p:cNvSpPr>
              <p:nvPr/>
            </p:nvSpPr>
            <p:spPr bwMode="auto">
              <a:xfrm>
                <a:off x="2316" y="2409"/>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41" name="Line 112"/>
              <p:cNvSpPr>
                <a:spLocks noChangeShapeType="1"/>
              </p:cNvSpPr>
              <p:nvPr/>
            </p:nvSpPr>
            <p:spPr bwMode="auto">
              <a:xfrm>
                <a:off x="2135" y="248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42" name="Line 113"/>
              <p:cNvSpPr>
                <a:spLocks noChangeShapeType="1"/>
              </p:cNvSpPr>
              <p:nvPr/>
            </p:nvSpPr>
            <p:spPr bwMode="auto">
              <a:xfrm>
                <a:off x="2212" y="245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43" name="Line 114"/>
              <p:cNvSpPr>
                <a:spLocks noChangeShapeType="1"/>
              </p:cNvSpPr>
              <p:nvPr/>
            </p:nvSpPr>
            <p:spPr bwMode="auto">
              <a:xfrm>
                <a:off x="1876" y="2606"/>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44" name="Line 115"/>
              <p:cNvSpPr>
                <a:spLocks noChangeShapeType="1"/>
              </p:cNvSpPr>
              <p:nvPr/>
            </p:nvSpPr>
            <p:spPr bwMode="auto">
              <a:xfrm>
                <a:off x="2290" y="242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45" name="Line 116"/>
              <p:cNvSpPr>
                <a:spLocks noChangeShapeType="1"/>
              </p:cNvSpPr>
              <p:nvPr/>
            </p:nvSpPr>
            <p:spPr bwMode="auto">
              <a:xfrm>
                <a:off x="2238" y="244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grpSp>
        <p:sp>
          <p:nvSpPr>
            <p:cNvPr id="300" name="Line 117"/>
            <p:cNvSpPr>
              <a:spLocks noChangeShapeType="1"/>
            </p:cNvSpPr>
            <p:nvPr/>
          </p:nvSpPr>
          <p:spPr bwMode="auto">
            <a:xfrm>
              <a:off x="1944" y="1332"/>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01" name="Line 118"/>
            <p:cNvSpPr>
              <a:spLocks noChangeShapeType="1"/>
            </p:cNvSpPr>
            <p:nvPr/>
          </p:nvSpPr>
          <p:spPr bwMode="auto">
            <a:xfrm>
              <a:off x="1944" y="1380"/>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02" name="Line 119"/>
            <p:cNvSpPr>
              <a:spLocks noChangeShapeType="1"/>
            </p:cNvSpPr>
            <p:nvPr/>
          </p:nvSpPr>
          <p:spPr bwMode="auto">
            <a:xfrm>
              <a:off x="1944" y="1478"/>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03" name="Line 120"/>
            <p:cNvSpPr>
              <a:spLocks noChangeShapeType="1"/>
            </p:cNvSpPr>
            <p:nvPr/>
          </p:nvSpPr>
          <p:spPr bwMode="auto">
            <a:xfrm>
              <a:off x="1944" y="1578"/>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04" name="Line 121"/>
            <p:cNvSpPr>
              <a:spLocks noChangeShapeType="1"/>
            </p:cNvSpPr>
            <p:nvPr/>
          </p:nvSpPr>
          <p:spPr bwMode="auto">
            <a:xfrm>
              <a:off x="1944" y="1429"/>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05" name="Line 122"/>
            <p:cNvSpPr>
              <a:spLocks noChangeShapeType="1"/>
            </p:cNvSpPr>
            <p:nvPr/>
          </p:nvSpPr>
          <p:spPr bwMode="auto">
            <a:xfrm>
              <a:off x="1944" y="1676"/>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06" name="Line 123"/>
            <p:cNvSpPr>
              <a:spLocks noChangeShapeType="1"/>
            </p:cNvSpPr>
            <p:nvPr/>
          </p:nvSpPr>
          <p:spPr bwMode="auto">
            <a:xfrm>
              <a:off x="1944" y="1824"/>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07" name="Line 124"/>
            <p:cNvSpPr>
              <a:spLocks noChangeShapeType="1"/>
            </p:cNvSpPr>
            <p:nvPr/>
          </p:nvSpPr>
          <p:spPr bwMode="auto">
            <a:xfrm>
              <a:off x="1944" y="1627"/>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08" name="Line 125"/>
            <p:cNvSpPr>
              <a:spLocks noChangeShapeType="1"/>
            </p:cNvSpPr>
            <p:nvPr/>
          </p:nvSpPr>
          <p:spPr bwMode="auto">
            <a:xfrm>
              <a:off x="1944" y="1529"/>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09" name="Line 126"/>
            <p:cNvSpPr>
              <a:spLocks noChangeShapeType="1"/>
            </p:cNvSpPr>
            <p:nvPr/>
          </p:nvSpPr>
          <p:spPr bwMode="auto">
            <a:xfrm>
              <a:off x="1944" y="1773"/>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10" name="Line 127"/>
            <p:cNvSpPr>
              <a:spLocks noChangeShapeType="1"/>
            </p:cNvSpPr>
            <p:nvPr/>
          </p:nvSpPr>
          <p:spPr bwMode="auto">
            <a:xfrm>
              <a:off x="1944" y="1871"/>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11" name="Line 128"/>
            <p:cNvSpPr>
              <a:spLocks noChangeShapeType="1"/>
            </p:cNvSpPr>
            <p:nvPr/>
          </p:nvSpPr>
          <p:spPr bwMode="auto">
            <a:xfrm>
              <a:off x="1944" y="1724"/>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12" name="Line 129"/>
            <p:cNvSpPr>
              <a:spLocks noChangeShapeType="1"/>
            </p:cNvSpPr>
            <p:nvPr/>
          </p:nvSpPr>
          <p:spPr bwMode="auto">
            <a:xfrm rot="1155111" flipH="1">
              <a:off x="1944" y="1236"/>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13" name="Line 130"/>
            <p:cNvSpPr>
              <a:spLocks noChangeShapeType="1"/>
            </p:cNvSpPr>
            <p:nvPr/>
          </p:nvSpPr>
          <p:spPr bwMode="auto">
            <a:xfrm rot="-1155111" flipH="1" flipV="1">
              <a:off x="1944" y="1983"/>
              <a:ext cx="269" cy="2"/>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grpSp>
          <p:nvGrpSpPr>
            <p:cNvPr id="315" name="Group 132"/>
            <p:cNvGrpSpPr/>
            <p:nvPr/>
          </p:nvGrpSpPr>
          <p:grpSpPr bwMode="auto">
            <a:xfrm>
              <a:off x="3011" y="995"/>
              <a:ext cx="426" cy="1017"/>
              <a:chOff x="1851" y="2409"/>
              <a:chExt cx="465" cy="1046"/>
            </a:xfrm>
          </p:grpSpPr>
          <p:grpSp>
            <p:nvGrpSpPr>
              <p:cNvPr id="381" name="Group 133"/>
              <p:cNvGrpSpPr/>
              <p:nvPr/>
            </p:nvGrpSpPr>
            <p:grpSpPr bwMode="auto">
              <a:xfrm>
                <a:off x="1851" y="2409"/>
                <a:ext cx="464" cy="1046"/>
                <a:chOff x="1851" y="2409"/>
                <a:chExt cx="464" cy="1046"/>
              </a:xfrm>
            </p:grpSpPr>
            <p:sp>
              <p:nvSpPr>
                <p:cNvPr id="401" name="Line 134"/>
                <p:cNvSpPr>
                  <a:spLocks noChangeShapeType="1"/>
                </p:cNvSpPr>
                <p:nvPr/>
              </p:nvSpPr>
              <p:spPr bwMode="auto">
                <a:xfrm flipV="1">
                  <a:off x="1851" y="240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02" name="Line 135"/>
                <p:cNvSpPr>
                  <a:spLocks noChangeShapeType="1"/>
                </p:cNvSpPr>
                <p:nvPr/>
              </p:nvSpPr>
              <p:spPr bwMode="auto">
                <a:xfrm flipV="1">
                  <a:off x="1851" y="3246"/>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03" name="Line 136"/>
                <p:cNvSpPr>
                  <a:spLocks noChangeShapeType="1"/>
                </p:cNvSpPr>
                <p:nvPr/>
              </p:nvSpPr>
              <p:spPr bwMode="auto">
                <a:xfrm flipV="1">
                  <a:off x="1851" y="244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04" name="Line 137"/>
                <p:cNvSpPr>
                  <a:spLocks noChangeShapeType="1"/>
                </p:cNvSpPr>
                <p:nvPr/>
              </p:nvSpPr>
              <p:spPr bwMode="auto">
                <a:xfrm flipV="1">
                  <a:off x="1851" y="247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05" name="Line 138"/>
                <p:cNvSpPr>
                  <a:spLocks noChangeShapeType="1"/>
                </p:cNvSpPr>
                <p:nvPr/>
              </p:nvSpPr>
              <p:spPr bwMode="auto">
                <a:xfrm flipV="1">
                  <a:off x="1851" y="251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06" name="Line 139"/>
                <p:cNvSpPr>
                  <a:spLocks noChangeShapeType="1"/>
                </p:cNvSpPr>
                <p:nvPr/>
              </p:nvSpPr>
              <p:spPr bwMode="auto">
                <a:xfrm flipV="1">
                  <a:off x="1851" y="254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07" name="Line 140"/>
                <p:cNvSpPr>
                  <a:spLocks noChangeShapeType="1"/>
                </p:cNvSpPr>
                <p:nvPr/>
              </p:nvSpPr>
              <p:spPr bwMode="auto">
                <a:xfrm flipV="1">
                  <a:off x="1851" y="258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08" name="Line 141"/>
                <p:cNvSpPr>
                  <a:spLocks noChangeShapeType="1"/>
                </p:cNvSpPr>
                <p:nvPr/>
              </p:nvSpPr>
              <p:spPr bwMode="auto">
                <a:xfrm flipV="1">
                  <a:off x="1851" y="261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09" name="Line 142"/>
                <p:cNvSpPr>
                  <a:spLocks noChangeShapeType="1"/>
                </p:cNvSpPr>
                <p:nvPr/>
              </p:nvSpPr>
              <p:spPr bwMode="auto">
                <a:xfrm flipV="1">
                  <a:off x="1851" y="265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10" name="Line 143"/>
                <p:cNvSpPr>
                  <a:spLocks noChangeShapeType="1"/>
                </p:cNvSpPr>
                <p:nvPr/>
              </p:nvSpPr>
              <p:spPr bwMode="auto">
                <a:xfrm flipV="1">
                  <a:off x="1851" y="268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11" name="Line 144"/>
                <p:cNvSpPr>
                  <a:spLocks noChangeShapeType="1"/>
                </p:cNvSpPr>
                <p:nvPr/>
              </p:nvSpPr>
              <p:spPr bwMode="auto">
                <a:xfrm flipV="1">
                  <a:off x="1851" y="272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12" name="Line 145"/>
                <p:cNvSpPr>
                  <a:spLocks noChangeShapeType="1"/>
                </p:cNvSpPr>
                <p:nvPr/>
              </p:nvSpPr>
              <p:spPr bwMode="auto">
                <a:xfrm flipV="1">
                  <a:off x="1851" y="275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13" name="Line 146"/>
                <p:cNvSpPr>
                  <a:spLocks noChangeShapeType="1"/>
                </p:cNvSpPr>
                <p:nvPr/>
              </p:nvSpPr>
              <p:spPr bwMode="auto">
                <a:xfrm flipV="1">
                  <a:off x="1851" y="279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14" name="Line 147"/>
                <p:cNvSpPr>
                  <a:spLocks noChangeShapeType="1"/>
                </p:cNvSpPr>
                <p:nvPr/>
              </p:nvSpPr>
              <p:spPr bwMode="auto">
                <a:xfrm flipV="1">
                  <a:off x="1851" y="282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15" name="Line 148"/>
                <p:cNvSpPr>
                  <a:spLocks noChangeShapeType="1"/>
                </p:cNvSpPr>
                <p:nvPr/>
              </p:nvSpPr>
              <p:spPr bwMode="auto">
                <a:xfrm flipV="1">
                  <a:off x="1851" y="286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16" name="Line 149"/>
                <p:cNvSpPr>
                  <a:spLocks noChangeShapeType="1"/>
                </p:cNvSpPr>
                <p:nvPr/>
              </p:nvSpPr>
              <p:spPr bwMode="auto">
                <a:xfrm flipV="1">
                  <a:off x="1851" y="289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17" name="Line 150"/>
                <p:cNvSpPr>
                  <a:spLocks noChangeShapeType="1"/>
                </p:cNvSpPr>
                <p:nvPr/>
              </p:nvSpPr>
              <p:spPr bwMode="auto">
                <a:xfrm flipV="1">
                  <a:off x="1851" y="293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18" name="Line 151"/>
                <p:cNvSpPr>
                  <a:spLocks noChangeShapeType="1"/>
                </p:cNvSpPr>
                <p:nvPr/>
              </p:nvSpPr>
              <p:spPr bwMode="auto">
                <a:xfrm flipV="1">
                  <a:off x="1851" y="296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19" name="Line 152"/>
                <p:cNvSpPr>
                  <a:spLocks noChangeShapeType="1"/>
                </p:cNvSpPr>
                <p:nvPr/>
              </p:nvSpPr>
              <p:spPr bwMode="auto">
                <a:xfrm flipV="1">
                  <a:off x="1851" y="300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20" name="Line 153"/>
                <p:cNvSpPr>
                  <a:spLocks noChangeShapeType="1"/>
                </p:cNvSpPr>
                <p:nvPr/>
              </p:nvSpPr>
              <p:spPr bwMode="auto">
                <a:xfrm flipV="1">
                  <a:off x="1851" y="303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21" name="Line 154"/>
                <p:cNvSpPr>
                  <a:spLocks noChangeShapeType="1"/>
                </p:cNvSpPr>
                <p:nvPr/>
              </p:nvSpPr>
              <p:spPr bwMode="auto">
                <a:xfrm flipV="1">
                  <a:off x="1851" y="307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22" name="Line 155"/>
                <p:cNvSpPr>
                  <a:spLocks noChangeShapeType="1"/>
                </p:cNvSpPr>
                <p:nvPr/>
              </p:nvSpPr>
              <p:spPr bwMode="auto">
                <a:xfrm flipV="1">
                  <a:off x="1851" y="314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23" name="Line 156"/>
                <p:cNvSpPr>
                  <a:spLocks noChangeShapeType="1"/>
                </p:cNvSpPr>
                <p:nvPr/>
              </p:nvSpPr>
              <p:spPr bwMode="auto">
                <a:xfrm flipV="1">
                  <a:off x="1851" y="310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24" name="Line 157"/>
                <p:cNvSpPr>
                  <a:spLocks noChangeShapeType="1"/>
                </p:cNvSpPr>
                <p:nvPr/>
              </p:nvSpPr>
              <p:spPr bwMode="auto">
                <a:xfrm flipV="1">
                  <a:off x="1851" y="317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25" name="Line 158"/>
                <p:cNvSpPr>
                  <a:spLocks noChangeShapeType="1"/>
                </p:cNvSpPr>
                <p:nvPr/>
              </p:nvSpPr>
              <p:spPr bwMode="auto">
                <a:xfrm flipV="1">
                  <a:off x="1851" y="321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grpSp>
          <p:sp>
            <p:nvSpPr>
              <p:cNvPr id="382" name="Line 159"/>
              <p:cNvSpPr>
                <a:spLocks noChangeShapeType="1"/>
              </p:cNvSpPr>
              <p:nvPr/>
            </p:nvSpPr>
            <p:spPr bwMode="auto">
              <a:xfrm>
                <a:off x="1851" y="261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83" name="Line 160"/>
              <p:cNvSpPr>
                <a:spLocks noChangeShapeType="1"/>
              </p:cNvSpPr>
              <p:nvPr/>
            </p:nvSpPr>
            <p:spPr bwMode="auto">
              <a:xfrm>
                <a:off x="1902" y="2594"/>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84" name="Line 161"/>
              <p:cNvSpPr>
                <a:spLocks noChangeShapeType="1"/>
              </p:cNvSpPr>
              <p:nvPr/>
            </p:nvSpPr>
            <p:spPr bwMode="auto">
              <a:xfrm>
                <a:off x="1928" y="258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85" name="Line 162"/>
              <p:cNvSpPr>
                <a:spLocks noChangeShapeType="1"/>
              </p:cNvSpPr>
              <p:nvPr/>
            </p:nvSpPr>
            <p:spPr bwMode="auto">
              <a:xfrm>
                <a:off x="1954" y="257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86" name="Line 163"/>
              <p:cNvSpPr>
                <a:spLocks noChangeShapeType="1"/>
              </p:cNvSpPr>
              <p:nvPr/>
            </p:nvSpPr>
            <p:spPr bwMode="auto">
              <a:xfrm>
                <a:off x="1980" y="256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87" name="Line 164"/>
              <p:cNvSpPr>
                <a:spLocks noChangeShapeType="1"/>
              </p:cNvSpPr>
              <p:nvPr/>
            </p:nvSpPr>
            <p:spPr bwMode="auto">
              <a:xfrm>
                <a:off x="2031" y="253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88" name="Line 165"/>
              <p:cNvSpPr>
                <a:spLocks noChangeShapeType="1"/>
              </p:cNvSpPr>
              <p:nvPr/>
            </p:nvSpPr>
            <p:spPr bwMode="auto">
              <a:xfrm>
                <a:off x="2006" y="2546"/>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89" name="Line 166"/>
              <p:cNvSpPr>
                <a:spLocks noChangeShapeType="1"/>
              </p:cNvSpPr>
              <p:nvPr/>
            </p:nvSpPr>
            <p:spPr bwMode="auto">
              <a:xfrm>
                <a:off x="2083" y="251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90" name="Line 167"/>
              <p:cNvSpPr>
                <a:spLocks noChangeShapeType="1"/>
              </p:cNvSpPr>
              <p:nvPr/>
            </p:nvSpPr>
            <p:spPr bwMode="auto">
              <a:xfrm>
                <a:off x="2057" y="2524"/>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91" name="Line 168"/>
              <p:cNvSpPr>
                <a:spLocks noChangeShapeType="1"/>
              </p:cNvSpPr>
              <p:nvPr/>
            </p:nvSpPr>
            <p:spPr bwMode="auto">
              <a:xfrm>
                <a:off x="2109" y="250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92" name="Line 169"/>
              <p:cNvSpPr>
                <a:spLocks noChangeShapeType="1"/>
              </p:cNvSpPr>
              <p:nvPr/>
            </p:nvSpPr>
            <p:spPr bwMode="auto">
              <a:xfrm>
                <a:off x="2161" y="2476"/>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93" name="Line 170"/>
              <p:cNvSpPr>
                <a:spLocks noChangeShapeType="1"/>
              </p:cNvSpPr>
              <p:nvPr/>
            </p:nvSpPr>
            <p:spPr bwMode="auto">
              <a:xfrm>
                <a:off x="2264" y="243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94" name="Line 171"/>
              <p:cNvSpPr>
                <a:spLocks noChangeShapeType="1"/>
              </p:cNvSpPr>
              <p:nvPr/>
            </p:nvSpPr>
            <p:spPr bwMode="auto">
              <a:xfrm>
                <a:off x="2186" y="247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95" name="Line 172"/>
              <p:cNvSpPr>
                <a:spLocks noChangeShapeType="1"/>
              </p:cNvSpPr>
              <p:nvPr/>
            </p:nvSpPr>
            <p:spPr bwMode="auto">
              <a:xfrm>
                <a:off x="2316" y="2409"/>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96" name="Line 173"/>
              <p:cNvSpPr>
                <a:spLocks noChangeShapeType="1"/>
              </p:cNvSpPr>
              <p:nvPr/>
            </p:nvSpPr>
            <p:spPr bwMode="auto">
              <a:xfrm>
                <a:off x="2135" y="248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97" name="Line 174"/>
              <p:cNvSpPr>
                <a:spLocks noChangeShapeType="1"/>
              </p:cNvSpPr>
              <p:nvPr/>
            </p:nvSpPr>
            <p:spPr bwMode="auto">
              <a:xfrm>
                <a:off x="2212" y="245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98" name="Line 175"/>
              <p:cNvSpPr>
                <a:spLocks noChangeShapeType="1"/>
              </p:cNvSpPr>
              <p:nvPr/>
            </p:nvSpPr>
            <p:spPr bwMode="auto">
              <a:xfrm>
                <a:off x="1876" y="2606"/>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99" name="Line 176"/>
              <p:cNvSpPr>
                <a:spLocks noChangeShapeType="1"/>
              </p:cNvSpPr>
              <p:nvPr/>
            </p:nvSpPr>
            <p:spPr bwMode="auto">
              <a:xfrm>
                <a:off x="2290" y="242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400" name="Line 177"/>
              <p:cNvSpPr>
                <a:spLocks noChangeShapeType="1"/>
              </p:cNvSpPr>
              <p:nvPr/>
            </p:nvSpPr>
            <p:spPr bwMode="auto">
              <a:xfrm>
                <a:off x="2238" y="244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grpSp>
        <p:sp>
          <p:nvSpPr>
            <p:cNvPr id="316" name="Line 178"/>
            <p:cNvSpPr>
              <a:spLocks noChangeShapeType="1"/>
            </p:cNvSpPr>
            <p:nvPr/>
          </p:nvSpPr>
          <p:spPr bwMode="auto">
            <a:xfrm>
              <a:off x="2711" y="1478"/>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17" name="Line 179"/>
            <p:cNvSpPr>
              <a:spLocks noChangeShapeType="1"/>
            </p:cNvSpPr>
            <p:nvPr/>
          </p:nvSpPr>
          <p:spPr bwMode="auto">
            <a:xfrm>
              <a:off x="2711" y="1578"/>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18" name="Line 180"/>
            <p:cNvSpPr>
              <a:spLocks noChangeShapeType="1"/>
            </p:cNvSpPr>
            <p:nvPr/>
          </p:nvSpPr>
          <p:spPr bwMode="auto">
            <a:xfrm>
              <a:off x="2711" y="1429"/>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19" name="Line 181"/>
            <p:cNvSpPr>
              <a:spLocks noChangeShapeType="1"/>
            </p:cNvSpPr>
            <p:nvPr/>
          </p:nvSpPr>
          <p:spPr bwMode="auto">
            <a:xfrm>
              <a:off x="2711" y="1676"/>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20" name="Line 182"/>
            <p:cNvSpPr>
              <a:spLocks noChangeShapeType="1"/>
            </p:cNvSpPr>
            <p:nvPr/>
          </p:nvSpPr>
          <p:spPr bwMode="auto">
            <a:xfrm>
              <a:off x="2711" y="1627"/>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21" name="Line 183"/>
            <p:cNvSpPr>
              <a:spLocks noChangeShapeType="1"/>
            </p:cNvSpPr>
            <p:nvPr/>
          </p:nvSpPr>
          <p:spPr bwMode="auto">
            <a:xfrm>
              <a:off x="2711" y="1529"/>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22" name="Line 184"/>
            <p:cNvSpPr>
              <a:spLocks noChangeShapeType="1"/>
            </p:cNvSpPr>
            <p:nvPr/>
          </p:nvSpPr>
          <p:spPr bwMode="auto">
            <a:xfrm>
              <a:off x="2711" y="1773"/>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23" name="Line 185"/>
            <p:cNvSpPr>
              <a:spLocks noChangeShapeType="1"/>
            </p:cNvSpPr>
            <p:nvPr/>
          </p:nvSpPr>
          <p:spPr bwMode="auto">
            <a:xfrm>
              <a:off x="2711" y="1724"/>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24" name="Line 186"/>
            <p:cNvSpPr>
              <a:spLocks noChangeShapeType="1"/>
            </p:cNvSpPr>
            <p:nvPr/>
          </p:nvSpPr>
          <p:spPr bwMode="auto">
            <a:xfrm rot="1155111" flipH="1">
              <a:off x="2711" y="1328"/>
              <a:ext cx="269" cy="2"/>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25" name="Line 187"/>
            <p:cNvSpPr>
              <a:spLocks noChangeShapeType="1"/>
            </p:cNvSpPr>
            <p:nvPr/>
          </p:nvSpPr>
          <p:spPr bwMode="auto">
            <a:xfrm rot="-1155111" flipH="1" flipV="1">
              <a:off x="2711" y="1891"/>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grpSp>
          <p:nvGrpSpPr>
            <p:cNvPr id="327" name="Group 189"/>
            <p:cNvGrpSpPr/>
            <p:nvPr/>
          </p:nvGrpSpPr>
          <p:grpSpPr bwMode="auto">
            <a:xfrm>
              <a:off x="3776" y="995"/>
              <a:ext cx="427" cy="1017"/>
              <a:chOff x="1851" y="2409"/>
              <a:chExt cx="465" cy="1046"/>
            </a:xfrm>
          </p:grpSpPr>
          <p:grpSp>
            <p:nvGrpSpPr>
              <p:cNvPr id="336" name="Group 190"/>
              <p:cNvGrpSpPr/>
              <p:nvPr/>
            </p:nvGrpSpPr>
            <p:grpSpPr bwMode="auto">
              <a:xfrm>
                <a:off x="1851" y="2409"/>
                <a:ext cx="464" cy="1046"/>
                <a:chOff x="1851" y="2409"/>
                <a:chExt cx="464" cy="1046"/>
              </a:xfrm>
            </p:grpSpPr>
            <p:sp>
              <p:nvSpPr>
                <p:cNvPr id="356" name="Line 191"/>
                <p:cNvSpPr>
                  <a:spLocks noChangeShapeType="1"/>
                </p:cNvSpPr>
                <p:nvPr/>
              </p:nvSpPr>
              <p:spPr bwMode="auto">
                <a:xfrm flipV="1">
                  <a:off x="1851" y="240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57" name="Line 192"/>
                <p:cNvSpPr>
                  <a:spLocks noChangeShapeType="1"/>
                </p:cNvSpPr>
                <p:nvPr/>
              </p:nvSpPr>
              <p:spPr bwMode="auto">
                <a:xfrm flipV="1">
                  <a:off x="1851" y="3246"/>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58" name="Line 193"/>
                <p:cNvSpPr>
                  <a:spLocks noChangeShapeType="1"/>
                </p:cNvSpPr>
                <p:nvPr/>
              </p:nvSpPr>
              <p:spPr bwMode="auto">
                <a:xfrm flipV="1">
                  <a:off x="1851" y="244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59" name="Line 194"/>
                <p:cNvSpPr>
                  <a:spLocks noChangeShapeType="1"/>
                </p:cNvSpPr>
                <p:nvPr/>
              </p:nvSpPr>
              <p:spPr bwMode="auto">
                <a:xfrm flipV="1">
                  <a:off x="1851" y="247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60" name="Line 195"/>
                <p:cNvSpPr>
                  <a:spLocks noChangeShapeType="1"/>
                </p:cNvSpPr>
                <p:nvPr/>
              </p:nvSpPr>
              <p:spPr bwMode="auto">
                <a:xfrm flipV="1">
                  <a:off x="1851" y="251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61" name="Line 196"/>
                <p:cNvSpPr>
                  <a:spLocks noChangeShapeType="1"/>
                </p:cNvSpPr>
                <p:nvPr/>
              </p:nvSpPr>
              <p:spPr bwMode="auto">
                <a:xfrm flipV="1">
                  <a:off x="1851" y="254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62" name="Line 197"/>
                <p:cNvSpPr>
                  <a:spLocks noChangeShapeType="1"/>
                </p:cNvSpPr>
                <p:nvPr/>
              </p:nvSpPr>
              <p:spPr bwMode="auto">
                <a:xfrm flipV="1">
                  <a:off x="1851" y="258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63" name="Line 198"/>
                <p:cNvSpPr>
                  <a:spLocks noChangeShapeType="1"/>
                </p:cNvSpPr>
                <p:nvPr/>
              </p:nvSpPr>
              <p:spPr bwMode="auto">
                <a:xfrm flipV="1">
                  <a:off x="1851" y="2619"/>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64" name="Line 199"/>
                <p:cNvSpPr>
                  <a:spLocks noChangeShapeType="1"/>
                </p:cNvSpPr>
                <p:nvPr/>
              </p:nvSpPr>
              <p:spPr bwMode="auto">
                <a:xfrm flipV="1">
                  <a:off x="1851" y="2654"/>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65" name="Line 200"/>
                <p:cNvSpPr>
                  <a:spLocks noChangeShapeType="1"/>
                </p:cNvSpPr>
                <p:nvPr/>
              </p:nvSpPr>
              <p:spPr bwMode="auto">
                <a:xfrm flipV="1">
                  <a:off x="1851" y="268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66" name="Line 201"/>
                <p:cNvSpPr>
                  <a:spLocks noChangeShapeType="1"/>
                </p:cNvSpPr>
                <p:nvPr/>
              </p:nvSpPr>
              <p:spPr bwMode="auto">
                <a:xfrm flipV="1">
                  <a:off x="1851" y="272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67" name="Line 202"/>
                <p:cNvSpPr>
                  <a:spLocks noChangeShapeType="1"/>
                </p:cNvSpPr>
                <p:nvPr/>
              </p:nvSpPr>
              <p:spPr bwMode="auto">
                <a:xfrm flipV="1">
                  <a:off x="1851" y="275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68" name="Line 203"/>
                <p:cNvSpPr>
                  <a:spLocks noChangeShapeType="1"/>
                </p:cNvSpPr>
                <p:nvPr/>
              </p:nvSpPr>
              <p:spPr bwMode="auto">
                <a:xfrm flipV="1">
                  <a:off x="1851" y="279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69" name="Line 204"/>
                <p:cNvSpPr>
                  <a:spLocks noChangeShapeType="1"/>
                </p:cNvSpPr>
                <p:nvPr/>
              </p:nvSpPr>
              <p:spPr bwMode="auto">
                <a:xfrm flipV="1">
                  <a:off x="1851" y="282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70" name="Line 205"/>
                <p:cNvSpPr>
                  <a:spLocks noChangeShapeType="1"/>
                </p:cNvSpPr>
                <p:nvPr/>
              </p:nvSpPr>
              <p:spPr bwMode="auto">
                <a:xfrm flipV="1">
                  <a:off x="1851" y="286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71" name="Line 206"/>
                <p:cNvSpPr>
                  <a:spLocks noChangeShapeType="1"/>
                </p:cNvSpPr>
                <p:nvPr/>
              </p:nvSpPr>
              <p:spPr bwMode="auto">
                <a:xfrm flipV="1">
                  <a:off x="1851" y="2898"/>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72" name="Line 207"/>
                <p:cNvSpPr>
                  <a:spLocks noChangeShapeType="1"/>
                </p:cNvSpPr>
                <p:nvPr/>
              </p:nvSpPr>
              <p:spPr bwMode="auto">
                <a:xfrm flipV="1">
                  <a:off x="1851" y="2933"/>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73" name="Line 208"/>
                <p:cNvSpPr>
                  <a:spLocks noChangeShapeType="1"/>
                </p:cNvSpPr>
                <p:nvPr/>
              </p:nvSpPr>
              <p:spPr bwMode="auto">
                <a:xfrm flipV="1">
                  <a:off x="1851" y="296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74" name="Line 209"/>
                <p:cNvSpPr>
                  <a:spLocks noChangeShapeType="1"/>
                </p:cNvSpPr>
                <p:nvPr/>
              </p:nvSpPr>
              <p:spPr bwMode="auto">
                <a:xfrm flipV="1">
                  <a:off x="1851" y="300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75" name="Line 210"/>
                <p:cNvSpPr>
                  <a:spLocks noChangeShapeType="1"/>
                </p:cNvSpPr>
                <p:nvPr/>
              </p:nvSpPr>
              <p:spPr bwMode="auto">
                <a:xfrm flipV="1">
                  <a:off x="1851" y="303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76" name="Line 211"/>
                <p:cNvSpPr>
                  <a:spLocks noChangeShapeType="1"/>
                </p:cNvSpPr>
                <p:nvPr/>
              </p:nvSpPr>
              <p:spPr bwMode="auto">
                <a:xfrm flipV="1">
                  <a:off x="1851" y="307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77" name="Line 212"/>
                <p:cNvSpPr>
                  <a:spLocks noChangeShapeType="1"/>
                </p:cNvSpPr>
                <p:nvPr/>
              </p:nvSpPr>
              <p:spPr bwMode="auto">
                <a:xfrm flipV="1">
                  <a:off x="1851" y="314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78" name="Line 213"/>
                <p:cNvSpPr>
                  <a:spLocks noChangeShapeType="1"/>
                </p:cNvSpPr>
                <p:nvPr/>
              </p:nvSpPr>
              <p:spPr bwMode="auto">
                <a:xfrm flipV="1">
                  <a:off x="1851" y="310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79" name="Line 214"/>
                <p:cNvSpPr>
                  <a:spLocks noChangeShapeType="1"/>
                </p:cNvSpPr>
                <p:nvPr/>
              </p:nvSpPr>
              <p:spPr bwMode="auto">
                <a:xfrm flipV="1">
                  <a:off x="1851" y="3177"/>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80" name="Line 215"/>
                <p:cNvSpPr>
                  <a:spLocks noChangeShapeType="1"/>
                </p:cNvSpPr>
                <p:nvPr/>
              </p:nvSpPr>
              <p:spPr bwMode="auto">
                <a:xfrm flipV="1">
                  <a:off x="1851" y="3212"/>
                  <a:ext cx="464" cy="209"/>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grpSp>
          <p:sp>
            <p:nvSpPr>
              <p:cNvPr id="337" name="Line 216"/>
              <p:cNvSpPr>
                <a:spLocks noChangeShapeType="1"/>
              </p:cNvSpPr>
              <p:nvPr/>
            </p:nvSpPr>
            <p:spPr bwMode="auto">
              <a:xfrm>
                <a:off x="1851" y="261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38" name="Line 217"/>
              <p:cNvSpPr>
                <a:spLocks noChangeShapeType="1"/>
              </p:cNvSpPr>
              <p:nvPr/>
            </p:nvSpPr>
            <p:spPr bwMode="auto">
              <a:xfrm>
                <a:off x="1902" y="2594"/>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39" name="Line 218"/>
              <p:cNvSpPr>
                <a:spLocks noChangeShapeType="1"/>
              </p:cNvSpPr>
              <p:nvPr/>
            </p:nvSpPr>
            <p:spPr bwMode="auto">
              <a:xfrm>
                <a:off x="1928" y="258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40" name="Line 219"/>
              <p:cNvSpPr>
                <a:spLocks noChangeShapeType="1"/>
              </p:cNvSpPr>
              <p:nvPr/>
            </p:nvSpPr>
            <p:spPr bwMode="auto">
              <a:xfrm>
                <a:off x="1954" y="257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41" name="Line 220"/>
              <p:cNvSpPr>
                <a:spLocks noChangeShapeType="1"/>
              </p:cNvSpPr>
              <p:nvPr/>
            </p:nvSpPr>
            <p:spPr bwMode="auto">
              <a:xfrm>
                <a:off x="1980" y="256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42" name="Line 221"/>
              <p:cNvSpPr>
                <a:spLocks noChangeShapeType="1"/>
              </p:cNvSpPr>
              <p:nvPr/>
            </p:nvSpPr>
            <p:spPr bwMode="auto">
              <a:xfrm>
                <a:off x="2031" y="253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43" name="Line 222"/>
              <p:cNvSpPr>
                <a:spLocks noChangeShapeType="1"/>
              </p:cNvSpPr>
              <p:nvPr/>
            </p:nvSpPr>
            <p:spPr bwMode="auto">
              <a:xfrm>
                <a:off x="2006" y="2546"/>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44" name="Line 223"/>
              <p:cNvSpPr>
                <a:spLocks noChangeShapeType="1"/>
              </p:cNvSpPr>
              <p:nvPr/>
            </p:nvSpPr>
            <p:spPr bwMode="auto">
              <a:xfrm>
                <a:off x="2083" y="251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45" name="Line 224"/>
              <p:cNvSpPr>
                <a:spLocks noChangeShapeType="1"/>
              </p:cNvSpPr>
              <p:nvPr/>
            </p:nvSpPr>
            <p:spPr bwMode="auto">
              <a:xfrm>
                <a:off x="2057" y="2524"/>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46" name="Line 225"/>
              <p:cNvSpPr>
                <a:spLocks noChangeShapeType="1"/>
              </p:cNvSpPr>
              <p:nvPr/>
            </p:nvSpPr>
            <p:spPr bwMode="auto">
              <a:xfrm>
                <a:off x="2109" y="250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47" name="Line 226"/>
              <p:cNvSpPr>
                <a:spLocks noChangeShapeType="1"/>
              </p:cNvSpPr>
              <p:nvPr/>
            </p:nvSpPr>
            <p:spPr bwMode="auto">
              <a:xfrm>
                <a:off x="2161" y="2476"/>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48" name="Line 227"/>
              <p:cNvSpPr>
                <a:spLocks noChangeShapeType="1"/>
              </p:cNvSpPr>
              <p:nvPr/>
            </p:nvSpPr>
            <p:spPr bwMode="auto">
              <a:xfrm>
                <a:off x="2264" y="243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49" name="Line 228"/>
              <p:cNvSpPr>
                <a:spLocks noChangeShapeType="1"/>
              </p:cNvSpPr>
              <p:nvPr/>
            </p:nvSpPr>
            <p:spPr bwMode="auto">
              <a:xfrm>
                <a:off x="2186" y="247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50" name="Line 229"/>
              <p:cNvSpPr>
                <a:spLocks noChangeShapeType="1"/>
              </p:cNvSpPr>
              <p:nvPr/>
            </p:nvSpPr>
            <p:spPr bwMode="auto">
              <a:xfrm>
                <a:off x="2316" y="2409"/>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51" name="Line 230"/>
              <p:cNvSpPr>
                <a:spLocks noChangeShapeType="1"/>
              </p:cNvSpPr>
              <p:nvPr/>
            </p:nvSpPr>
            <p:spPr bwMode="auto">
              <a:xfrm>
                <a:off x="2135" y="248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52" name="Line 231"/>
              <p:cNvSpPr>
                <a:spLocks noChangeShapeType="1"/>
              </p:cNvSpPr>
              <p:nvPr/>
            </p:nvSpPr>
            <p:spPr bwMode="auto">
              <a:xfrm>
                <a:off x="2212" y="2458"/>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53" name="Line 232"/>
              <p:cNvSpPr>
                <a:spLocks noChangeShapeType="1"/>
              </p:cNvSpPr>
              <p:nvPr/>
            </p:nvSpPr>
            <p:spPr bwMode="auto">
              <a:xfrm>
                <a:off x="1876" y="2606"/>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54" name="Line 233"/>
              <p:cNvSpPr>
                <a:spLocks noChangeShapeType="1"/>
              </p:cNvSpPr>
              <p:nvPr/>
            </p:nvSpPr>
            <p:spPr bwMode="auto">
              <a:xfrm>
                <a:off x="2290" y="2420"/>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55" name="Line 234"/>
              <p:cNvSpPr>
                <a:spLocks noChangeShapeType="1"/>
              </p:cNvSpPr>
              <p:nvPr/>
            </p:nvSpPr>
            <p:spPr bwMode="auto">
              <a:xfrm>
                <a:off x="2238" y="2442"/>
                <a:ext cx="0" cy="837"/>
              </a:xfrm>
              <a:prstGeom prst="line">
                <a:avLst/>
              </a:prstGeom>
              <a:noFill/>
              <a:ln w="9525">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grpSp>
        <p:sp>
          <p:nvSpPr>
            <p:cNvPr id="328" name="Line 235"/>
            <p:cNvSpPr>
              <a:spLocks noChangeShapeType="1"/>
            </p:cNvSpPr>
            <p:nvPr/>
          </p:nvSpPr>
          <p:spPr bwMode="auto">
            <a:xfrm>
              <a:off x="3476" y="1578"/>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29" name="Line 236"/>
            <p:cNvSpPr>
              <a:spLocks noChangeShapeType="1"/>
            </p:cNvSpPr>
            <p:nvPr/>
          </p:nvSpPr>
          <p:spPr bwMode="auto">
            <a:xfrm>
              <a:off x="3476" y="1676"/>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30" name="Line 237"/>
            <p:cNvSpPr>
              <a:spLocks noChangeShapeType="1"/>
            </p:cNvSpPr>
            <p:nvPr/>
          </p:nvSpPr>
          <p:spPr bwMode="auto">
            <a:xfrm>
              <a:off x="3476" y="1627"/>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31" name="Line 238"/>
            <p:cNvSpPr>
              <a:spLocks noChangeShapeType="1"/>
            </p:cNvSpPr>
            <p:nvPr/>
          </p:nvSpPr>
          <p:spPr bwMode="auto">
            <a:xfrm>
              <a:off x="3476" y="1529"/>
              <a:ext cx="269"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32" name="Line 239"/>
            <p:cNvSpPr>
              <a:spLocks noChangeShapeType="1"/>
            </p:cNvSpPr>
            <p:nvPr/>
          </p:nvSpPr>
          <p:spPr bwMode="auto">
            <a:xfrm rot="1155111" flipH="1">
              <a:off x="3476" y="1422"/>
              <a:ext cx="269" cy="2"/>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33" name="Line 240"/>
            <p:cNvSpPr>
              <a:spLocks noChangeShapeType="1"/>
            </p:cNvSpPr>
            <p:nvPr/>
          </p:nvSpPr>
          <p:spPr bwMode="auto">
            <a:xfrm rot="-1155111" flipH="1" flipV="1">
              <a:off x="3476" y="1797"/>
              <a:ext cx="269" cy="2"/>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34" name="Line 241"/>
            <p:cNvSpPr>
              <a:spLocks noChangeShapeType="1"/>
            </p:cNvSpPr>
            <p:nvPr/>
          </p:nvSpPr>
          <p:spPr bwMode="auto">
            <a:xfrm>
              <a:off x="4244" y="1576"/>
              <a:ext cx="271"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sp>
          <p:nvSpPr>
            <p:cNvPr id="335" name="Line 242"/>
            <p:cNvSpPr>
              <a:spLocks noChangeShapeType="1"/>
            </p:cNvSpPr>
            <p:nvPr/>
          </p:nvSpPr>
          <p:spPr bwMode="auto">
            <a:xfrm>
              <a:off x="4244" y="1627"/>
              <a:ext cx="271" cy="0"/>
            </a:xfrm>
            <a:prstGeom prst="line">
              <a:avLst/>
            </a:prstGeom>
            <a:noFill/>
            <a:ln w="19050">
              <a:solidFill>
                <a:schemeClr val="bg1">
                  <a:lumMod val="65000"/>
                </a:schemeClr>
              </a:solidFill>
              <a:rou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a:latin typeface="+mj-lt"/>
              </a:endParaRPr>
            </a:p>
          </p:txBody>
        </p:sp>
      </p:grpSp>
      <p:sp>
        <p:nvSpPr>
          <p:cNvPr id="496" name="Oval 244"/>
          <p:cNvSpPr>
            <a:spLocks noChangeArrowheads="1"/>
          </p:cNvSpPr>
          <p:nvPr/>
        </p:nvSpPr>
        <p:spPr bwMode="auto">
          <a:xfrm>
            <a:off x="9577188" y="1974637"/>
            <a:ext cx="1782565" cy="1778731"/>
          </a:xfrm>
          <a:prstGeom prst="ellipse">
            <a:avLst/>
          </a:prstGeom>
          <a:solidFill>
            <a:srgbClr val="FF976D"/>
          </a:solidFill>
          <a:ln w="9525">
            <a:solidFill>
              <a:schemeClr val="bg1"/>
            </a:solidFill>
            <a:round/>
          </a:ln>
          <a:effectLst/>
        </p:spPr>
        <p:txBody>
          <a:bodyPr wrap="none" anchor="ctr">
            <a:noAutofit/>
          </a:bodyPr>
          <a:lstStyle/>
          <a:p>
            <a:endParaRPr lang="en-US">
              <a:latin typeface="+mj-lt"/>
            </a:endParaRPr>
          </a:p>
        </p:txBody>
      </p:sp>
      <p:sp>
        <p:nvSpPr>
          <p:cNvPr id="497" name="Rectangle 245"/>
          <p:cNvSpPr txBox="1">
            <a:spLocks noChangeArrowheads="1"/>
          </p:cNvSpPr>
          <p:nvPr/>
        </p:nvSpPr>
        <p:spPr>
          <a:xfrm>
            <a:off x="361950" y="4225737"/>
            <a:ext cx="1782565" cy="327975"/>
          </a:xfrm>
          <a:prstGeom prst="rect">
            <a:avLst/>
          </a:prstGeom>
          <a:noFill/>
        </p:spPr>
        <p:txBody>
          <a:bodyPr vert="horz" lIns="0" tIns="0" rIns="0" bIns="0" rtlCol="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r>
              <a:rPr lang="zh-CN" altLang="en-US" smtClean="0">
                <a:latin typeface="+mj-lt"/>
              </a:rPr>
              <a:t>内容描述</a:t>
            </a:r>
            <a:endParaRPr lang="zh-CN" altLang="en-US" dirty="0">
              <a:latin typeface="+mj-lt"/>
            </a:endParaRPr>
          </a:p>
        </p:txBody>
      </p:sp>
      <p:sp>
        <p:nvSpPr>
          <p:cNvPr id="498" name="Rectangle 246"/>
          <p:cNvSpPr txBox="1">
            <a:spLocks noChangeArrowheads="1"/>
          </p:cNvSpPr>
          <p:nvPr/>
        </p:nvSpPr>
        <p:spPr>
          <a:xfrm>
            <a:off x="3017694" y="4225737"/>
            <a:ext cx="1512091" cy="327975"/>
          </a:xfrm>
          <a:prstGeom prst="rect">
            <a:avLst/>
          </a:prstGeom>
          <a:noFill/>
        </p:spPr>
        <p:txBody>
          <a:bodyPr vert="horz" lIns="0" tIns="0" rIns="0" bIns="0" rtlCol="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r>
              <a:rPr lang="zh-CN" altLang="en-US" smtClean="0">
                <a:latin typeface="+mj-lt"/>
              </a:rPr>
              <a:t>维度</a:t>
            </a:r>
            <a:r>
              <a:rPr lang="en-US" altLang="zh-CN" smtClean="0">
                <a:latin typeface="+mj-lt"/>
              </a:rPr>
              <a:t>1</a:t>
            </a:r>
            <a:endParaRPr lang="zh-CN" altLang="en-US" dirty="0">
              <a:latin typeface="+mj-lt"/>
            </a:endParaRPr>
          </a:p>
        </p:txBody>
      </p:sp>
      <p:sp>
        <p:nvSpPr>
          <p:cNvPr id="499" name="Rectangle 247"/>
          <p:cNvSpPr txBox="1">
            <a:spLocks noChangeArrowheads="1"/>
          </p:cNvSpPr>
          <p:nvPr/>
        </p:nvSpPr>
        <p:spPr>
          <a:xfrm>
            <a:off x="4670346" y="4225737"/>
            <a:ext cx="1512091" cy="327975"/>
          </a:xfrm>
          <a:prstGeom prst="rect">
            <a:avLst/>
          </a:prstGeom>
          <a:noFill/>
        </p:spPr>
        <p:txBody>
          <a:bodyPr vert="horz" lIns="0" tIns="0" rIns="0" bIns="0" rtlCol="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r>
              <a:rPr lang="zh-CN" altLang="en-US" smtClean="0">
                <a:latin typeface="+mj-lt"/>
              </a:rPr>
              <a:t>维度</a:t>
            </a:r>
            <a:r>
              <a:rPr lang="en-US" altLang="zh-CN" smtClean="0">
                <a:latin typeface="+mj-lt"/>
              </a:rPr>
              <a:t>2</a:t>
            </a:r>
            <a:endParaRPr lang="zh-CN" altLang="en-US" dirty="0">
              <a:latin typeface="+mj-lt"/>
            </a:endParaRPr>
          </a:p>
        </p:txBody>
      </p:sp>
      <p:sp>
        <p:nvSpPr>
          <p:cNvPr id="500" name="Rectangle 248"/>
          <p:cNvSpPr txBox="1">
            <a:spLocks noChangeArrowheads="1"/>
          </p:cNvSpPr>
          <p:nvPr/>
        </p:nvSpPr>
        <p:spPr>
          <a:xfrm>
            <a:off x="6280404" y="4225737"/>
            <a:ext cx="1512091" cy="327975"/>
          </a:xfrm>
          <a:prstGeom prst="rect">
            <a:avLst/>
          </a:prstGeom>
          <a:noFill/>
        </p:spPr>
        <p:txBody>
          <a:bodyPr vert="horz" lIns="0" tIns="0" rIns="0" bIns="0" rtlCol="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r>
              <a:rPr lang="zh-CN" altLang="en-US" smtClean="0">
                <a:latin typeface="+mj-lt"/>
              </a:rPr>
              <a:t>维度</a:t>
            </a:r>
            <a:r>
              <a:rPr lang="en-US" altLang="zh-CN" smtClean="0">
                <a:latin typeface="+mj-lt"/>
              </a:rPr>
              <a:t>3</a:t>
            </a:r>
            <a:endParaRPr lang="zh-CN" altLang="en-US" dirty="0">
              <a:latin typeface="+mj-lt"/>
            </a:endParaRPr>
          </a:p>
        </p:txBody>
      </p:sp>
      <p:sp>
        <p:nvSpPr>
          <p:cNvPr id="501" name="Rectangle 249"/>
          <p:cNvSpPr txBox="1">
            <a:spLocks noChangeArrowheads="1"/>
          </p:cNvSpPr>
          <p:nvPr/>
        </p:nvSpPr>
        <p:spPr>
          <a:xfrm>
            <a:off x="7922407" y="4225737"/>
            <a:ext cx="1512091" cy="327975"/>
          </a:xfrm>
          <a:prstGeom prst="rect">
            <a:avLst/>
          </a:prstGeom>
          <a:noFill/>
        </p:spPr>
        <p:txBody>
          <a:bodyPr vert="horz" lIns="0" tIns="0" rIns="0" bIns="0" rtlCol="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r>
              <a:rPr lang="zh-CN" altLang="en-US" smtClean="0">
                <a:latin typeface="+mj-lt"/>
              </a:rPr>
              <a:t>维度</a:t>
            </a:r>
            <a:r>
              <a:rPr lang="en-US" altLang="zh-CN" smtClean="0">
                <a:latin typeface="+mj-lt"/>
              </a:rPr>
              <a:t>4</a:t>
            </a:r>
            <a:endParaRPr lang="zh-CN" altLang="en-US" dirty="0">
              <a:latin typeface="+mj-lt"/>
            </a:endParaRPr>
          </a:p>
        </p:txBody>
      </p:sp>
      <p:sp>
        <p:nvSpPr>
          <p:cNvPr id="502" name="Rectangle 250"/>
          <p:cNvSpPr txBox="1">
            <a:spLocks noChangeArrowheads="1"/>
          </p:cNvSpPr>
          <p:nvPr/>
        </p:nvSpPr>
        <p:spPr>
          <a:xfrm>
            <a:off x="9668735" y="4225737"/>
            <a:ext cx="1782565" cy="327975"/>
          </a:xfrm>
          <a:prstGeom prst="rect">
            <a:avLst/>
          </a:prstGeom>
          <a:noFill/>
        </p:spPr>
        <p:txBody>
          <a:bodyPr vert="horz" lIns="0" tIns="0" rIns="0" bIns="0" rtlCol="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r>
              <a:rPr lang="zh-CN" altLang="en-US" smtClean="0">
                <a:latin typeface="+mj-lt"/>
              </a:rPr>
              <a:t>内容描述</a:t>
            </a:r>
            <a:endParaRPr lang="zh-CN" altLang="en-US" dirty="0">
              <a:latin typeface="+mj-lt"/>
            </a:endParaRPr>
          </a:p>
        </p:txBody>
      </p:sp>
      <p:sp>
        <p:nvSpPr>
          <p:cNvPr id="503" name="Rectangle 251"/>
          <p:cNvSpPr txBox="1">
            <a:spLocks noChangeArrowheads="1"/>
          </p:cNvSpPr>
          <p:nvPr/>
        </p:nvSpPr>
        <p:spPr>
          <a:xfrm>
            <a:off x="553624" y="2538212"/>
            <a:ext cx="1411996" cy="694881"/>
          </a:xfrm>
          <a:prstGeom prst="rect">
            <a:avLst/>
          </a:prstGeom>
          <a:noFill/>
        </p:spPr>
        <p:txBody>
          <a:bodyPr vert="horz" lIns="0" tIns="0" rIns="0" bIns="0" rtlCol="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r>
              <a:rPr lang="zh-CN" altLang="en-US" b="1" smtClean="0">
                <a:latin typeface="+mj-lt"/>
              </a:rPr>
              <a:t>备选</a:t>
            </a:r>
            <a:endParaRPr lang="zh-CN" altLang="en-US" b="1" smtClean="0">
              <a:latin typeface="+mj-lt"/>
            </a:endParaRPr>
          </a:p>
          <a:p>
            <a:pPr algn="ctr"/>
            <a:r>
              <a:rPr lang="zh-CN" altLang="en-US" b="1" smtClean="0">
                <a:latin typeface="+mj-lt"/>
              </a:rPr>
              <a:t>举措</a:t>
            </a:r>
            <a:endParaRPr lang="zh-CN" altLang="en-US" b="1" dirty="0">
              <a:latin typeface="+mj-lt"/>
            </a:endParaRPr>
          </a:p>
        </p:txBody>
      </p:sp>
      <p:sp>
        <p:nvSpPr>
          <p:cNvPr id="504" name="Rectangle 252"/>
          <p:cNvSpPr txBox="1">
            <a:spLocks noChangeArrowheads="1"/>
          </p:cNvSpPr>
          <p:nvPr/>
        </p:nvSpPr>
        <p:spPr>
          <a:xfrm>
            <a:off x="9762473" y="2516921"/>
            <a:ext cx="1411996" cy="724952"/>
          </a:xfrm>
          <a:prstGeom prst="rect">
            <a:avLst/>
          </a:prstGeom>
          <a:noFill/>
        </p:spPr>
        <p:txBody>
          <a:bodyPr vert="horz" lIns="0" tIns="0" rIns="0" bIns="0" rtlCol="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r>
              <a:rPr lang="zh-CN" altLang="en-US" b="1" smtClean="0">
                <a:latin typeface="+mj-lt"/>
              </a:rPr>
              <a:t>关键</a:t>
            </a:r>
            <a:endParaRPr lang="zh-CN" altLang="en-US" b="1" smtClean="0">
              <a:latin typeface="+mj-lt"/>
            </a:endParaRPr>
          </a:p>
          <a:p>
            <a:pPr algn="ctr"/>
            <a:r>
              <a:rPr lang="zh-CN" altLang="en-US" b="1" smtClean="0">
                <a:latin typeface="+mj-lt"/>
              </a:rPr>
              <a:t>举措</a:t>
            </a:r>
            <a:endParaRPr lang="zh-CN" altLang="en-US" b="1" dirty="0">
              <a:latin typeface="+mj-lt"/>
            </a:endParaRPr>
          </a:p>
        </p:txBody>
      </p:sp>
      <p:sp>
        <p:nvSpPr>
          <p:cNvPr id="505"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a:t>漏斗分析：通过若干个维度筛选出关键举措</a:t>
            </a:r>
            <a:endParaRPr lang="zh-CN" altLang="en-US" sz="2400" dirty="0">
              <a:solidFill>
                <a:prstClr val="black"/>
              </a:solidFill>
              <a:latin typeface="华文楷体" panose="02010600040101010101" charset="-122"/>
            </a:endParaRPr>
          </a:p>
        </p:txBody>
      </p:sp>
      <p:pic>
        <p:nvPicPr>
          <p:cNvPr id="252" name="图片 25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370823" name="think-cell Slide" r:id="rId2" imgW="12700" imgH="12700" progId="TCLayout.ActiveDocument.1">
                  <p:embed/>
                </p:oleObj>
              </mc:Choice>
              <mc:Fallback>
                <p:oleObj name="think-cell Slide" r:id="rId2" imgW="12700" imgH="12700" progId="TCLayout.ActiveDocument.1">
                  <p:embed/>
                  <p:pic>
                    <p:nvPicPr>
                      <p:cNvPr id="0" name="Object 1" hidden="1"/>
                      <p:cNvPicPr/>
                      <p:nvPr/>
                    </p:nvPicPr>
                    <p:blipFill>
                      <a:blip r:embed="rId3"/>
                      <a:stretch>
                        <a:fillRect/>
                      </a:stretch>
                    </p:blipFill>
                    <p:spPr>
                      <a:xfrm>
                        <a:off x="1525891" y="1621"/>
                        <a:ext cx="1619" cy="1619"/>
                      </a:xfrm>
                      <a:prstGeom prst="rect">
                        <a:avLst/>
                      </a:prstGeom>
                    </p:spPr>
                  </p:pic>
                </p:oleObj>
              </mc:Fallback>
            </mc:AlternateContent>
          </a:graphicData>
        </a:graphic>
      </p:graphicFrame>
      <p:sp>
        <p:nvSpPr>
          <p:cNvPr id="45" name="椭圆形标注 2"/>
          <p:cNvSpPr/>
          <p:nvPr/>
        </p:nvSpPr>
        <p:spPr>
          <a:xfrm>
            <a:off x="5321762" y="5546785"/>
            <a:ext cx="4056339" cy="657744"/>
          </a:xfrm>
          <a:prstGeom prst="wedgeRectCallout">
            <a:avLst>
              <a:gd name="adj1" fmla="val -31821"/>
              <a:gd name="adj2" fmla="val -80281"/>
            </a:avLst>
          </a:prstGeom>
          <a:solidFill>
            <a:srgbClr val="FF976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905" lvl="1"/>
            <a:r>
              <a:rPr lang="zh-CN" altLang="en-US" sz="1835" dirty="0">
                <a:solidFill>
                  <a:schemeClr val="tx1"/>
                </a:solidFill>
              </a:rPr>
              <a:t>代表可行性的常用维度：资金需求、与现有能力的匹配度、长短期</a:t>
            </a:r>
            <a:r>
              <a:rPr lang="en-US" altLang="zh-CN" sz="1835" dirty="0">
                <a:solidFill>
                  <a:schemeClr val="tx1"/>
                </a:solidFill>
              </a:rPr>
              <a:t> …</a:t>
            </a:r>
            <a:endParaRPr lang="zh-CN" altLang="en-US" sz="1835" dirty="0">
              <a:solidFill>
                <a:schemeClr val="tx1"/>
              </a:solidFill>
            </a:endParaRPr>
          </a:p>
        </p:txBody>
      </p:sp>
      <p:sp>
        <p:nvSpPr>
          <p:cNvPr id="183306" name="Rectangle 10"/>
          <p:cNvSpPr>
            <a:spLocks noGrp="1" noChangeArrowheads="1"/>
          </p:cNvSpPr>
          <p:nvPr>
            <p:ph idx="1"/>
            <p:custDataLst>
              <p:tags r:id="rId4"/>
            </p:custDataLst>
          </p:nvPr>
        </p:nvSpPr>
        <p:spPr>
          <a:xfrm>
            <a:off x="2883605" y="796508"/>
            <a:ext cx="661022" cy="251159"/>
          </a:xfrm>
          <a:noFill/>
        </p:spPr>
        <p:txBody>
          <a:bodyPr/>
          <a:lstStyle/>
          <a:p>
            <a:r>
              <a:rPr lang="zh-CN" altLang="en-US" dirty="0" smtClean="0"/>
              <a:t>高</a:t>
            </a:r>
            <a:endParaRPr lang="en-US" altLang="ko-KR" dirty="0"/>
          </a:p>
        </p:txBody>
      </p:sp>
      <p:sp>
        <p:nvSpPr>
          <p:cNvPr id="183308" name="Rectangle 12"/>
          <p:cNvSpPr>
            <a:spLocks noGrp="1" noChangeArrowheads="1"/>
          </p:cNvSpPr>
          <p:nvPr>
            <p:ph type="body" idx="4294967295"/>
            <p:custDataLst>
              <p:tags r:id="rId5"/>
            </p:custDataLst>
          </p:nvPr>
        </p:nvSpPr>
        <p:spPr>
          <a:xfrm>
            <a:off x="2861165" y="5047011"/>
            <a:ext cx="538163" cy="250825"/>
          </a:xfrm>
          <a:noFill/>
        </p:spPr>
        <p:txBody>
          <a:bodyPr/>
          <a:lstStyle/>
          <a:p>
            <a:r>
              <a:rPr lang="zh-CN" altLang="en-US" dirty="0" smtClean="0"/>
              <a:t>低</a:t>
            </a:r>
            <a:endParaRPr lang="en-US" altLang="ko-KR" dirty="0"/>
          </a:p>
        </p:txBody>
      </p:sp>
      <p:sp>
        <p:nvSpPr>
          <p:cNvPr id="183309" name="Rectangle 13"/>
          <p:cNvSpPr>
            <a:spLocks noGrp="1" noChangeArrowheads="1"/>
          </p:cNvSpPr>
          <p:nvPr>
            <p:ph type="body" idx="4294967295"/>
            <p:custDataLst>
              <p:tags r:id="rId6"/>
            </p:custDataLst>
          </p:nvPr>
        </p:nvSpPr>
        <p:spPr>
          <a:xfrm>
            <a:off x="7328233" y="5083676"/>
            <a:ext cx="346075" cy="250825"/>
          </a:xfrm>
          <a:noFill/>
        </p:spPr>
        <p:txBody>
          <a:bodyPr/>
          <a:lstStyle/>
          <a:p>
            <a:pPr algn="r"/>
            <a:r>
              <a:rPr lang="zh-CN" altLang="en-US" dirty="0" smtClean="0"/>
              <a:t>高</a:t>
            </a:r>
            <a:endParaRPr lang="en-US" altLang="ko-KR" dirty="0"/>
          </a:p>
        </p:txBody>
      </p:sp>
      <p:sp>
        <p:nvSpPr>
          <p:cNvPr id="183311" name="Rectangle 15"/>
          <p:cNvSpPr>
            <a:spLocks noGrp="1" noChangeArrowheads="1"/>
          </p:cNvSpPr>
          <p:nvPr>
            <p:ph type="body" idx="4294967295"/>
            <p:custDataLst>
              <p:tags r:id="rId7"/>
            </p:custDataLst>
          </p:nvPr>
        </p:nvSpPr>
        <p:spPr>
          <a:xfrm rot="16200000">
            <a:off x="2402768" y="2457250"/>
            <a:ext cx="754063" cy="239713"/>
          </a:xfrm>
          <a:noFill/>
        </p:spPr>
        <p:txBody>
          <a:bodyPr vert="eaVert" anchor="b"/>
          <a:lstStyle/>
          <a:p>
            <a:pPr algn="ctr"/>
            <a:r>
              <a:rPr lang="zh-CN" altLang="en-US" b="1" dirty="0" smtClean="0"/>
              <a:t>影响力</a:t>
            </a:r>
            <a:endParaRPr lang="ko-KR" altLang="ko-KR" b="1" dirty="0"/>
          </a:p>
        </p:txBody>
      </p:sp>
      <p:sp>
        <p:nvSpPr>
          <p:cNvPr id="183312" name="Rectangle 16"/>
          <p:cNvSpPr>
            <a:spLocks noGrp="1" noChangeArrowheads="1"/>
          </p:cNvSpPr>
          <p:nvPr>
            <p:ph type="body" idx="4294967295"/>
            <p:custDataLst>
              <p:tags r:id="rId8"/>
            </p:custDataLst>
          </p:nvPr>
        </p:nvSpPr>
        <p:spPr>
          <a:xfrm>
            <a:off x="3174943" y="5182887"/>
            <a:ext cx="4302125" cy="250825"/>
          </a:xfrm>
          <a:noFill/>
        </p:spPr>
        <p:txBody>
          <a:bodyPr anchor="b"/>
          <a:lstStyle/>
          <a:p>
            <a:pPr algn="ctr"/>
            <a:r>
              <a:rPr lang="zh-CN" altLang="en-US" b="1" dirty="0" smtClean="0"/>
              <a:t>可行性</a:t>
            </a:r>
            <a:endParaRPr lang="ko-KR" altLang="ko-KR" b="1" dirty="0"/>
          </a:p>
        </p:txBody>
      </p:sp>
      <p:sp>
        <p:nvSpPr>
          <p:cNvPr id="183301" name="Rectangle 5"/>
          <p:cNvSpPr>
            <a:spLocks noChangeArrowheads="1"/>
          </p:cNvSpPr>
          <p:nvPr/>
        </p:nvSpPr>
        <p:spPr bwMode="auto">
          <a:xfrm>
            <a:off x="3130247" y="1096323"/>
            <a:ext cx="2155306" cy="1927206"/>
          </a:xfrm>
          <a:prstGeom prst="rect">
            <a:avLst/>
          </a:prstGeom>
          <a:solidFill>
            <a:srgbClr val="FFC3AB"/>
          </a:solidFill>
          <a:ln w="9525">
            <a:solidFill>
              <a:srgbClr val="FE5817"/>
            </a:solidFill>
            <a:miter lim="800000"/>
          </a:ln>
          <a:effectLst/>
        </p:spPr>
        <p:txBody>
          <a:bodyPr wrap="none" anchor="ctr"/>
          <a:lstStyle/>
          <a:p>
            <a:endParaRPr lang="en-US" sz="1835"/>
          </a:p>
        </p:txBody>
      </p:sp>
      <p:sp>
        <p:nvSpPr>
          <p:cNvPr id="183302" name="Rectangle 6"/>
          <p:cNvSpPr>
            <a:spLocks noChangeArrowheads="1"/>
          </p:cNvSpPr>
          <p:nvPr/>
        </p:nvSpPr>
        <p:spPr bwMode="auto">
          <a:xfrm>
            <a:off x="5321762" y="1096323"/>
            <a:ext cx="2155306" cy="1927206"/>
          </a:xfrm>
          <a:prstGeom prst="rect">
            <a:avLst/>
          </a:prstGeom>
          <a:solidFill>
            <a:srgbClr val="FFC3AB"/>
          </a:solidFill>
          <a:ln w="9525">
            <a:solidFill>
              <a:schemeClr val="bg1"/>
            </a:solidFill>
            <a:miter lim="800000"/>
          </a:ln>
          <a:effectLst/>
        </p:spPr>
        <p:txBody>
          <a:bodyPr wrap="none" anchor="ctr"/>
          <a:lstStyle/>
          <a:p>
            <a:endParaRPr lang="en-US" sz="1835"/>
          </a:p>
        </p:txBody>
      </p:sp>
      <p:sp>
        <p:nvSpPr>
          <p:cNvPr id="183303" name="Rectangle 7"/>
          <p:cNvSpPr>
            <a:spLocks noChangeArrowheads="1"/>
          </p:cNvSpPr>
          <p:nvPr/>
        </p:nvSpPr>
        <p:spPr bwMode="auto">
          <a:xfrm>
            <a:off x="3130247" y="3062694"/>
            <a:ext cx="2155306" cy="1927206"/>
          </a:xfrm>
          <a:prstGeom prst="rect">
            <a:avLst/>
          </a:prstGeom>
          <a:solidFill>
            <a:srgbClr val="FFC3AB"/>
          </a:solidFill>
          <a:ln w="9525">
            <a:solidFill>
              <a:schemeClr val="bg1"/>
            </a:solidFill>
            <a:miter lim="800000"/>
          </a:ln>
          <a:effectLst/>
        </p:spPr>
        <p:txBody>
          <a:bodyPr wrap="none" anchor="ctr"/>
          <a:lstStyle/>
          <a:p>
            <a:endParaRPr lang="en-US" sz="1835"/>
          </a:p>
        </p:txBody>
      </p:sp>
      <p:sp>
        <p:nvSpPr>
          <p:cNvPr id="183304" name="Rectangle 8"/>
          <p:cNvSpPr>
            <a:spLocks noChangeArrowheads="1"/>
          </p:cNvSpPr>
          <p:nvPr/>
        </p:nvSpPr>
        <p:spPr bwMode="auto">
          <a:xfrm>
            <a:off x="5321762" y="3062694"/>
            <a:ext cx="2155306" cy="1927206"/>
          </a:xfrm>
          <a:prstGeom prst="rect">
            <a:avLst/>
          </a:prstGeom>
          <a:solidFill>
            <a:srgbClr val="FFC3AB"/>
          </a:solidFill>
          <a:ln w="9525">
            <a:solidFill>
              <a:schemeClr val="bg1"/>
            </a:solidFill>
            <a:miter lim="800000"/>
          </a:ln>
          <a:effectLst/>
        </p:spPr>
        <p:txBody>
          <a:bodyPr wrap="none" anchor="ctr"/>
          <a:lstStyle/>
          <a:p>
            <a:endParaRPr lang="en-US" sz="1835"/>
          </a:p>
        </p:txBody>
      </p:sp>
      <p:sp>
        <p:nvSpPr>
          <p:cNvPr id="183305" name="Line 9"/>
          <p:cNvSpPr>
            <a:spLocks noChangeShapeType="1"/>
          </p:cNvSpPr>
          <p:nvPr/>
        </p:nvSpPr>
        <p:spPr bwMode="auto">
          <a:xfrm rot="5400000" flipV="1">
            <a:off x="1064336" y="3052830"/>
            <a:ext cx="3874142" cy="1"/>
          </a:xfrm>
          <a:prstGeom prst="line">
            <a:avLst/>
          </a:prstGeom>
          <a:noFill/>
          <a:ln w="9525">
            <a:solidFill>
              <a:srgbClr val="E75C0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endParaRPr lang="en-US" sz="1835"/>
          </a:p>
        </p:txBody>
      </p:sp>
      <p:sp>
        <p:nvSpPr>
          <p:cNvPr id="183310" name="Line 14"/>
          <p:cNvSpPr>
            <a:spLocks noChangeShapeType="1"/>
          </p:cNvSpPr>
          <p:nvPr/>
        </p:nvSpPr>
        <p:spPr bwMode="auto">
          <a:xfrm>
            <a:off x="3130249" y="5148678"/>
            <a:ext cx="4299749" cy="1"/>
          </a:xfrm>
          <a:prstGeom prst="line">
            <a:avLst/>
          </a:prstGeom>
          <a:noFill/>
          <a:ln w="9525">
            <a:solidFill>
              <a:srgbClr val="E75C0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endParaRPr lang="en-US" sz="1835"/>
          </a:p>
        </p:txBody>
      </p:sp>
      <p:sp>
        <p:nvSpPr>
          <p:cNvPr id="20" name="Rectangle 18"/>
          <p:cNvSpPr txBox="1">
            <a:spLocks noChangeArrowheads="1"/>
          </p:cNvSpPr>
          <p:nvPr/>
        </p:nvSpPr>
        <p:spPr bwMode="auto">
          <a:xfrm>
            <a:off x="3195740" y="1122358"/>
            <a:ext cx="922628" cy="25626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630" dirty="0"/>
              <a:t>有序准备</a:t>
            </a:r>
            <a:endParaRPr lang="en-US" altLang="ko-KR" sz="1630" dirty="0"/>
          </a:p>
        </p:txBody>
      </p:sp>
      <p:sp>
        <p:nvSpPr>
          <p:cNvPr id="21" name="Rectangle 18"/>
          <p:cNvSpPr txBox="1">
            <a:spLocks noChangeArrowheads="1"/>
          </p:cNvSpPr>
          <p:nvPr/>
        </p:nvSpPr>
        <p:spPr bwMode="auto">
          <a:xfrm>
            <a:off x="6556055" y="3117305"/>
            <a:ext cx="922628" cy="25626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630" dirty="0"/>
              <a:t>审慎选择</a:t>
            </a:r>
            <a:endParaRPr lang="en-US" altLang="ko-KR" sz="1630" dirty="0">
              <a:solidFill>
                <a:srgbClr val="FF0000"/>
              </a:solidFill>
            </a:endParaRPr>
          </a:p>
        </p:txBody>
      </p:sp>
      <p:sp>
        <p:nvSpPr>
          <p:cNvPr id="22" name="Rectangle 18"/>
          <p:cNvSpPr txBox="1">
            <a:spLocks noChangeArrowheads="1"/>
          </p:cNvSpPr>
          <p:nvPr/>
        </p:nvSpPr>
        <p:spPr bwMode="auto">
          <a:xfrm>
            <a:off x="3168181" y="3100284"/>
            <a:ext cx="922628" cy="25626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630" dirty="0"/>
              <a:t>不予考虑</a:t>
            </a:r>
            <a:endParaRPr lang="en-US" altLang="ko-KR" sz="1630" dirty="0"/>
          </a:p>
        </p:txBody>
      </p:sp>
      <p:sp>
        <p:nvSpPr>
          <p:cNvPr id="51" name="Rectangle 6"/>
          <p:cNvSpPr txBox="1"/>
          <p:nvPr/>
        </p:nvSpPr>
        <p:spPr bwMode="gray">
          <a:xfrm>
            <a:off x="9161355" y="1073666"/>
            <a:ext cx="1587568" cy="726351"/>
          </a:xfrm>
          <a:prstGeom prst="rect">
            <a:avLst/>
          </a:prstGeom>
          <a:solidFill>
            <a:srgbClr val="FF976D"/>
          </a:solidFill>
          <a:ln w="9525">
            <a:solidFill>
              <a:schemeClr val="bg1"/>
            </a:solidFill>
            <a:miter lim="800000"/>
          </a:ln>
          <a:effectLst/>
        </p:spPr>
        <p:txBody>
          <a:bodyPr wrap="none" anchor="ctr"/>
          <a:lstStyle>
            <a:defPPr>
              <a:defRPr lang="en-US"/>
            </a:defPPr>
            <a:lvl1pPr>
              <a:defRPr sz="1835"/>
            </a:lvl1pPr>
          </a:lstStyle>
          <a:p>
            <a:pPr lvl="1"/>
            <a:r>
              <a:rPr lang="zh-CN" altLang="en-US" dirty="0"/>
              <a:t>举措</a:t>
            </a:r>
            <a:endParaRPr lang="en-US" altLang="zh-CN" dirty="0"/>
          </a:p>
        </p:txBody>
      </p:sp>
      <p:sp>
        <p:nvSpPr>
          <p:cNvPr id="52" name="Rectangle 6"/>
          <p:cNvSpPr txBox="1"/>
          <p:nvPr/>
        </p:nvSpPr>
        <p:spPr bwMode="gray">
          <a:xfrm>
            <a:off x="9161355" y="1891003"/>
            <a:ext cx="1587568" cy="726351"/>
          </a:xfrm>
          <a:prstGeom prst="rect">
            <a:avLst/>
          </a:prstGeom>
          <a:solidFill>
            <a:srgbClr val="FF976D"/>
          </a:solidFill>
          <a:ln w="9525">
            <a:solidFill>
              <a:schemeClr val="bg1"/>
            </a:solidFill>
            <a:miter lim="800000"/>
          </a:ln>
          <a:effectLst/>
        </p:spPr>
        <p:txBody>
          <a:bodyPr wrap="none" anchor="ctr"/>
          <a:lstStyle>
            <a:defPPr>
              <a:defRPr lang="en-US"/>
            </a:defPPr>
            <a:lvl1pPr>
              <a:defRPr sz="1835"/>
            </a:lvl1pPr>
          </a:lstStyle>
          <a:p>
            <a:pPr lvl="1"/>
            <a:r>
              <a:rPr lang="zh-CN" altLang="en-US" dirty="0"/>
              <a:t>举措</a:t>
            </a:r>
            <a:endParaRPr lang="en-US" altLang="zh-CN" dirty="0"/>
          </a:p>
        </p:txBody>
      </p:sp>
      <p:sp>
        <p:nvSpPr>
          <p:cNvPr id="53" name="Rectangle 6"/>
          <p:cNvSpPr txBox="1"/>
          <p:nvPr/>
        </p:nvSpPr>
        <p:spPr bwMode="gray">
          <a:xfrm>
            <a:off x="9161355" y="2712862"/>
            <a:ext cx="1587568" cy="726351"/>
          </a:xfrm>
          <a:prstGeom prst="rect">
            <a:avLst/>
          </a:prstGeom>
          <a:solidFill>
            <a:srgbClr val="FF976D"/>
          </a:solidFill>
          <a:ln w="9525">
            <a:solidFill>
              <a:schemeClr val="bg1"/>
            </a:solidFill>
            <a:miter lim="800000"/>
          </a:ln>
          <a:effectLst/>
        </p:spPr>
        <p:txBody>
          <a:bodyPr wrap="none" anchor="ctr"/>
          <a:lstStyle>
            <a:defPPr>
              <a:defRPr lang="en-US"/>
            </a:defPPr>
            <a:lvl1pPr>
              <a:defRPr sz="1835"/>
            </a:lvl1pPr>
          </a:lstStyle>
          <a:p>
            <a:pPr lvl="1"/>
            <a:r>
              <a:rPr lang="zh-CN" altLang="en-US" dirty="0"/>
              <a:t>举措</a:t>
            </a:r>
            <a:endParaRPr lang="en-US" altLang="zh-CN" dirty="0"/>
          </a:p>
        </p:txBody>
      </p:sp>
      <p:sp>
        <p:nvSpPr>
          <p:cNvPr id="54" name="Rectangle 6"/>
          <p:cNvSpPr txBox="1"/>
          <p:nvPr/>
        </p:nvSpPr>
        <p:spPr bwMode="gray">
          <a:xfrm>
            <a:off x="9161355" y="3534640"/>
            <a:ext cx="1587568" cy="726351"/>
          </a:xfrm>
          <a:prstGeom prst="rect">
            <a:avLst/>
          </a:prstGeom>
          <a:solidFill>
            <a:srgbClr val="FF976D"/>
          </a:solidFill>
          <a:ln w="9525">
            <a:solidFill>
              <a:schemeClr val="bg1"/>
            </a:solidFill>
            <a:miter lim="800000"/>
          </a:ln>
          <a:effectLst/>
        </p:spPr>
        <p:txBody>
          <a:bodyPr wrap="none" anchor="ctr"/>
          <a:lstStyle>
            <a:defPPr>
              <a:defRPr lang="en-US"/>
            </a:defPPr>
            <a:lvl1pPr>
              <a:defRPr sz="1835"/>
            </a:lvl1pPr>
          </a:lstStyle>
          <a:p>
            <a:pPr lvl="1"/>
            <a:r>
              <a:rPr lang="zh-CN" altLang="en-US" dirty="0"/>
              <a:t>举措</a:t>
            </a:r>
            <a:endParaRPr lang="en-US" altLang="zh-CN" dirty="0"/>
          </a:p>
        </p:txBody>
      </p:sp>
      <p:sp>
        <p:nvSpPr>
          <p:cNvPr id="55" name="Rectangle 6"/>
          <p:cNvSpPr txBox="1"/>
          <p:nvPr/>
        </p:nvSpPr>
        <p:spPr bwMode="gray">
          <a:xfrm>
            <a:off x="9161355" y="4347773"/>
            <a:ext cx="1587568" cy="726351"/>
          </a:xfrm>
          <a:prstGeom prst="rect">
            <a:avLst/>
          </a:prstGeom>
          <a:solidFill>
            <a:srgbClr val="FF976D"/>
          </a:solidFill>
          <a:ln w="9525">
            <a:solidFill>
              <a:schemeClr val="bg1"/>
            </a:solidFill>
            <a:miter lim="800000"/>
          </a:ln>
          <a:effectLst/>
        </p:spPr>
        <p:txBody>
          <a:bodyPr wrap="none" anchor="ctr"/>
          <a:lstStyle>
            <a:defPPr>
              <a:defRPr lang="en-US"/>
            </a:defPPr>
            <a:lvl1pPr>
              <a:defRPr sz="1835"/>
            </a:lvl1pPr>
          </a:lstStyle>
          <a:p>
            <a:pPr lvl="1"/>
            <a:r>
              <a:rPr lang="zh-CN" altLang="en-US" dirty="0"/>
              <a:t>举措</a:t>
            </a:r>
            <a:endParaRPr lang="en-US" altLang="zh-CN" dirty="0"/>
          </a:p>
        </p:txBody>
      </p:sp>
      <p:sp>
        <p:nvSpPr>
          <p:cNvPr id="56" name="TextBox 14"/>
          <p:cNvSpPr txBox="1"/>
          <p:nvPr>
            <p:custDataLst>
              <p:tags r:id="rId9"/>
            </p:custDataLst>
          </p:nvPr>
        </p:nvSpPr>
        <p:spPr bwMode="gray">
          <a:xfrm>
            <a:off x="9021258" y="1296743"/>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1</a:t>
            </a:r>
            <a:endParaRPr lang="en-US" sz="1835" b="1" dirty="0">
              <a:solidFill>
                <a:schemeClr val="bg1"/>
              </a:solidFill>
            </a:endParaRPr>
          </a:p>
        </p:txBody>
      </p:sp>
      <p:sp>
        <p:nvSpPr>
          <p:cNvPr id="57" name="TextBox 14"/>
          <p:cNvSpPr txBox="1"/>
          <p:nvPr>
            <p:custDataLst>
              <p:tags r:id="rId10"/>
            </p:custDataLst>
          </p:nvPr>
        </p:nvSpPr>
        <p:spPr bwMode="gray">
          <a:xfrm>
            <a:off x="9035183" y="2105510"/>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2</a:t>
            </a:r>
            <a:endParaRPr lang="en-US" sz="1835" b="1" dirty="0">
              <a:solidFill>
                <a:schemeClr val="bg1"/>
              </a:solidFill>
            </a:endParaRPr>
          </a:p>
        </p:txBody>
      </p:sp>
      <p:sp>
        <p:nvSpPr>
          <p:cNvPr id="58" name="TextBox 14"/>
          <p:cNvSpPr txBox="1"/>
          <p:nvPr>
            <p:custDataLst>
              <p:tags r:id="rId11"/>
            </p:custDataLst>
          </p:nvPr>
        </p:nvSpPr>
        <p:spPr bwMode="gray">
          <a:xfrm>
            <a:off x="9038156" y="2929499"/>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3</a:t>
            </a:r>
            <a:endParaRPr lang="en-US" sz="1835" b="1" dirty="0">
              <a:solidFill>
                <a:schemeClr val="bg1"/>
              </a:solidFill>
            </a:endParaRPr>
          </a:p>
        </p:txBody>
      </p:sp>
      <p:sp>
        <p:nvSpPr>
          <p:cNvPr id="59" name="TextBox 14"/>
          <p:cNvSpPr txBox="1"/>
          <p:nvPr>
            <p:custDataLst>
              <p:tags r:id="rId12"/>
            </p:custDataLst>
          </p:nvPr>
        </p:nvSpPr>
        <p:spPr bwMode="gray">
          <a:xfrm>
            <a:off x="9038157" y="3751361"/>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4</a:t>
            </a:r>
            <a:endParaRPr lang="en-US" sz="1835" b="1" dirty="0">
              <a:solidFill>
                <a:schemeClr val="bg1"/>
              </a:solidFill>
            </a:endParaRPr>
          </a:p>
        </p:txBody>
      </p:sp>
      <p:sp>
        <p:nvSpPr>
          <p:cNvPr id="60" name="TextBox 14"/>
          <p:cNvSpPr txBox="1"/>
          <p:nvPr>
            <p:custDataLst>
              <p:tags r:id="rId13"/>
            </p:custDataLst>
          </p:nvPr>
        </p:nvSpPr>
        <p:spPr bwMode="gray">
          <a:xfrm>
            <a:off x="9035183" y="4571971"/>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5</a:t>
            </a:r>
            <a:endParaRPr lang="en-US" sz="1835" b="1" dirty="0">
              <a:solidFill>
                <a:schemeClr val="bg1"/>
              </a:solidFill>
            </a:endParaRPr>
          </a:p>
        </p:txBody>
      </p:sp>
      <p:sp>
        <p:nvSpPr>
          <p:cNvPr id="62" name="椭圆形标注 2"/>
          <p:cNvSpPr/>
          <p:nvPr/>
        </p:nvSpPr>
        <p:spPr>
          <a:xfrm>
            <a:off x="889335" y="3356544"/>
            <a:ext cx="1917915" cy="1223155"/>
          </a:xfrm>
          <a:prstGeom prst="wedgeRectCallout">
            <a:avLst>
              <a:gd name="adj1" fmla="val 35162"/>
              <a:gd name="adj2" fmla="val -61169"/>
            </a:avLst>
          </a:prstGeom>
          <a:solidFill>
            <a:srgbClr val="FF976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905" lvl="1"/>
            <a:r>
              <a:rPr lang="zh-CN" altLang="en-US" sz="1835" dirty="0">
                <a:solidFill>
                  <a:schemeClr val="tx1"/>
                </a:solidFill>
              </a:rPr>
              <a:t>代表影响力的常用维度：收入规模、利润规模、战略意义</a:t>
            </a:r>
            <a:r>
              <a:rPr lang="en-US" altLang="zh-CN" sz="1835" dirty="0">
                <a:solidFill>
                  <a:schemeClr val="tx1"/>
                </a:solidFill>
              </a:rPr>
              <a:t> …</a:t>
            </a:r>
            <a:endParaRPr lang="zh-CN" altLang="en-US" sz="1835" dirty="0">
              <a:solidFill>
                <a:schemeClr val="tx1"/>
              </a:solidFill>
            </a:endParaRPr>
          </a:p>
        </p:txBody>
      </p:sp>
      <p:sp>
        <p:nvSpPr>
          <p:cNvPr id="63" name="McK DirArrow"/>
          <p:cNvSpPr>
            <a:spLocks noChangeArrowheads="1"/>
          </p:cNvSpPr>
          <p:nvPr>
            <p:custDataLst>
              <p:tags r:id="rId14"/>
            </p:custDataLst>
          </p:nvPr>
        </p:nvSpPr>
        <p:spPr bwMode="auto">
          <a:xfrm rot="5400000">
            <a:off x="6771971" y="2875174"/>
            <a:ext cx="3153644" cy="354725"/>
          </a:xfrm>
          <a:prstGeom prst="triangle">
            <a:avLst>
              <a:gd name="adj" fmla="val 50000"/>
            </a:avLst>
          </a:prstGeom>
          <a:solidFill>
            <a:schemeClr val="bg1">
              <a:lumMod val="95000"/>
            </a:schemeClr>
          </a:solidFill>
          <a:ln w="9525">
            <a:noFill/>
            <a:miter lim="800000"/>
          </a:ln>
          <a:effectLst/>
        </p:spPr>
        <p:txBody>
          <a:bodyPr wrap="none" anchor="ctr"/>
          <a:lstStyle/>
          <a:p>
            <a:endParaRPr lang="en-US" sz="1835"/>
          </a:p>
        </p:txBody>
      </p:sp>
      <p:sp>
        <p:nvSpPr>
          <p:cNvPr id="64" name="TextBox 14"/>
          <p:cNvSpPr txBox="1"/>
          <p:nvPr>
            <p:custDataLst>
              <p:tags r:id="rId15"/>
            </p:custDataLst>
          </p:nvPr>
        </p:nvSpPr>
        <p:spPr bwMode="gray">
          <a:xfrm>
            <a:off x="6058514" y="1436840"/>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1</a:t>
            </a:r>
            <a:endParaRPr lang="en-US" sz="1835" b="1" dirty="0">
              <a:solidFill>
                <a:schemeClr val="bg1"/>
              </a:solidFill>
            </a:endParaRPr>
          </a:p>
        </p:txBody>
      </p:sp>
      <p:sp>
        <p:nvSpPr>
          <p:cNvPr id="65" name="TextBox 14"/>
          <p:cNvSpPr txBox="1"/>
          <p:nvPr>
            <p:custDataLst>
              <p:tags r:id="rId16"/>
            </p:custDataLst>
          </p:nvPr>
        </p:nvSpPr>
        <p:spPr bwMode="gray">
          <a:xfrm>
            <a:off x="5936500" y="2114080"/>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2</a:t>
            </a:r>
            <a:endParaRPr lang="en-US" sz="1835" b="1" dirty="0">
              <a:solidFill>
                <a:schemeClr val="bg1"/>
              </a:solidFill>
            </a:endParaRPr>
          </a:p>
        </p:txBody>
      </p:sp>
      <p:sp>
        <p:nvSpPr>
          <p:cNvPr id="66" name="TextBox 14"/>
          <p:cNvSpPr txBox="1"/>
          <p:nvPr>
            <p:custDataLst>
              <p:tags r:id="rId17"/>
            </p:custDataLst>
          </p:nvPr>
        </p:nvSpPr>
        <p:spPr bwMode="gray">
          <a:xfrm>
            <a:off x="6728299" y="3394543"/>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3</a:t>
            </a:r>
            <a:endParaRPr lang="en-US" sz="1835" b="1" dirty="0">
              <a:solidFill>
                <a:schemeClr val="bg1"/>
              </a:solidFill>
            </a:endParaRPr>
          </a:p>
        </p:txBody>
      </p:sp>
      <p:sp>
        <p:nvSpPr>
          <p:cNvPr id="67" name="TextBox 14"/>
          <p:cNvSpPr txBox="1"/>
          <p:nvPr>
            <p:custDataLst>
              <p:tags r:id="rId18"/>
            </p:custDataLst>
          </p:nvPr>
        </p:nvSpPr>
        <p:spPr bwMode="gray">
          <a:xfrm>
            <a:off x="6448105" y="4046077"/>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4</a:t>
            </a:r>
            <a:endParaRPr lang="en-US" sz="1835" b="1" dirty="0">
              <a:solidFill>
                <a:schemeClr val="bg1"/>
              </a:solidFill>
            </a:endParaRPr>
          </a:p>
        </p:txBody>
      </p:sp>
      <p:sp>
        <p:nvSpPr>
          <p:cNvPr id="68" name="TextBox 14"/>
          <p:cNvSpPr txBox="1"/>
          <p:nvPr>
            <p:custDataLst>
              <p:tags r:id="rId19"/>
            </p:custDataLst>
          </p:nvPr>
        </p:nvSpPr>
        <p:spPr bwMode="gray">
          <a:xfrm>
            <a:off x="4691270" y="2561172"/>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5</a:t>
            </a:r>
            <a:endParaRPr lang="en-US" sz="1835" b="1" dirty="0">
              <a:solidFill>
                <a:schemeClr val="bg1"/>
              </a:solidFill>
            </a:endParaRPr>
          </a:p>
        </p:txBody>
      </p:sp>
      <p:sp>
        <p:nvSpPr>
          <p:cNvPr id="69" name="TextBox 14"/>
          <p:cNvSpPr txBox="1"/>
          <p:nvPr>
            <p:custDataLst>
              <p:tags r:id="rId20"/>
            </p:custDataLst>
          </p:nvPr>
        </p:nvSpPr>
        <p:spPr bwMode="gray">
          <a:xfrm>
            <a:off x="4691270" y="3291519"/>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6</a:t>
            </a:r>
            <a:endParaRPr lang="en-US" sz="1835" b="1" dirty="0">
              <a:solidFill>
                <a:schemeClr val="bg1"/>
              </a:solidFill>
            </a:endParaRPr>
          </a:p>
        </p:txBody>
      </p:sp>
      <p:sp>
        <p:nvSpPr>
          <p:cNvPr id="70" name="TextBox 14"/>
          <p:cNvSpPr txBox="1"/>
          <p:nvPr>
            <p:custDataLst>
              <p:tags r:id="rId21"/>
            </p:custDataLst>
          </p:nvPr>
        </p:nvSpPr>
        <p:spPr bwMode="gray">
          <a:xfrm>
            <a:off x="4896157" y="4489261"/>
            <a:ext cx="280194" cy="280194"/>
          </a:xfrm>
          <a:prstGeom prst="ellipse">
            <a:avLst/>
          </a:prstGeom>
          <a:solidFill>
            <a:srgbClr val="B32C16"/>
          </a:solidFill>
          <a:ln w="19050">
            <a:solidFill>
              <a:schemeClr val="bg1"/>
            </a:solidFill>
            <a:miter lim="800000"/>
          </a:ln>
          <a:effectLst/>
        </p:spPr>
        <p:txBody>
          <a:bodyPr vert="horz" wrap="none" lIns="3887" tIns="0" rIns="3887" bIns="0" numCol="1" anchor="ctr" anchorCtr="1" compatLnSpc="1">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algn="ctr"/>
            <a:r>
              <a:rPr lang="en-US" sz="1835" b="1" dirty="0">
                <a:solidFill>
                  <a:schemeClr val="bg1"/>
                </a:solidFill>
              </a:rPr>
              <a:t>7</a:t>
            </a:r>
            <a:endParaRPr lang="en-US" sz="1835" b="1" dirty="0">
              <a:solidFill>
                <a:schemeClr val="bg1"/>
              </a:solidFill>
            </a:endParaRPr>
          </a:p>
        </p:txBody>
      </p:sp>
      <p:sp>
        <p:nvSpPr>
          <p:cNvPr id="183314" name="Rectangle 18"/>
          <p:cNvSpPr>
            <a:spLocks noGrp="1" noChangeArrowheads="1"/>
          </p:cNvSpPr>
          <p:nvPr>
            <p:ph type="body" idx="4294967295"/>
          </p:nvPr>
        </p:nvSpPr>
        <p:spPr>
          <a:xfrm>
            <a:off x="6507661" y="1121443"/>
            <a:ext cx="922337" cy="257175"/>
          </a:xfrm>
          <a:noFill/>
        </p:spPr>
        <p:txBody>
          <a:bodyPr/>
          <a:lstStyle/>
          <a:p>
            <a:pPr marL="1905" lvl="1" indent="0" defTabSz="895350" fontAlgn="base">
              <a:spcBef>
                <a:spcPct val="0"/>
              </a:spcBef>
              <a:spcAft>
                <a:spcPct val="0"/>
              </a:spcAft>
              <a:buSzPct val="125000"/>
              <a:buNone/>
            </a:pPr>
            <a:r>
              <a:rPr lang="zh-CN" altLang="en-US" sz="1630" dirty="0"/>
              <a:t>优先启动</a:t>
            </a:r>
            <a:endParaRPr lang="en-US" altLang="ko-KR" sz="1630" dirty="0"/>
          </a:p>
        </p:txBody>
      </p:sp>
      <p:sp>
        <p:nvSpPr>
          <p:cNvPr id="4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t>战略</a:t>
            </a:r>
            <a:r>
              <a:rPr lang="zh-CN" altLang="en-US" sz="2400" dirty="0"/>
              <a:t>举措排序：矩阵分析，选取两个维度进行组合分析并优先排序</a:t>
            </a:r>
            <a:endParaRPr lang="zh-CN" altLang="en-US" sz="2400" dirty="0">
              <a:solidFill>
                <a:prstClr val="black"/>
              </a:solidFill>
              <a:latin typeface="华文楷体" panose="02010600040101010101" charset="-122"/>
            </a:endParaRPr>
          </a:p>
        </p:txBody>
      </p:sp>
      <p:pic>
        <p:nvPicPr>
          <p:cNvPr id="46" name="图片 45"/>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7" name="Rectangle 7"/>
          <p:cNvSpPr>
            <a:spLocks noGrp="1" noChangeArrowheads="1"/>
          </p:cNvSpPr>
          <p:nvPr>
            <p:ph idx="1"/>
          </p:nvPr>
        </p:nvSpPr>
        <p:spPr>
          <a:xfrm>
            <a:off x="3702026" y="3071476"/>
            <a:ext cx="1913937" cy="2306340"/>
          </a:xfrm>
          <a:noFill/>
        </p:spPr>
        <p:txBody>
          <a:bodyPr wrap="none">
            <a:spAutoFit/>
          </a:bodyPr>
          <a:lstStyle/>
          <a:p>
            <a:pPr lvl="1"/>
            <a:r>
              <a:rPr lang="zh-CN" altLang="en-US" dirty="0" smtClean="0">
                <a:ea typeface="+mn-ea"/>
              </a:rPr>
              <a:t>关键举措描述</a:t>
            </a:r>
            <a:endParaRPr lang="en-US" altLang="zh-CN" dirty="0" smtClean="0">
              <a:ea typeface="+mn-ea"/>
            </a:endParaRPr>
          </a:p>
          <a:p>
            <a:pPr marL="1905" lvl="1" indent="0">
              <a:buSzPct val="50000"/>
              <a:buNone/>
            </a:pPr>
            <a:r>
              <a:rPr lang="en-US" altLang="ko-KR" dirty="0">
                <a:ea typeface="+mn-ea"/>
              </a:rPr>
              <a:t> </a:t>
            </a:r>
            <a:r>
              <a:rPr lang="en-US" altLang="ko-KR" dirty="0" smtClean="0">
                <a:ea typeface="+mn-ea"/>
              </a:rPr>
              <a:t>    </a:t>
            </a:r>
            <a:endParaRPr lang="en-US" altLang="ko-KR" dirty="0" smtClean="0">
              <a:ea typeface="+mn-ea"/>
            </a:endParaRPr>
          </a:p>
          <a:p>
            <a:pPr marL="1905" lvl="1" indent="0">
              <a:buSzPct val="50000"/>
              <a:buNone/>
            </a:pPr>
            <a:r>
              <a:rPr lang="zh-CN" altLang="en-US" dirty="0" smtClean="0">
                <a:ea typeface="+mn-ea"/>
              </a:rPr>
              <a:t>      部门</a:t>
            </a:r>
            <a:r>
              <a:rPr lang="en-US" altLang="zh-CN" dirty="0" smtClean="0">
                <a:ea typeface="+mn-ea"/>
              </a:rPr>
              <a:t>/</a:t>
            </a:r>
            <a:r>
              <a:rPr lang="zh-CN" altLang="en-US" dirty="0" smtClean="0">
                <a:ea typeface="+mn-ea"/>
              </a:rPr>
              <a:t>业务</a:t>
            </a:r>
            <a:r>
              <a:rPr lang="en-US" altLang="zh-CN" dirty="0" smtClean="0">
                <a:ea typeface="+mn-ea"/>
              </a:rPr>
              <a:t>/</a:t>
            </a:r>
            <a:r>
              <a:rPr lang="zh-CN" altLang="en-US" dirty="0" smtClean="0">
                <a:ea typeface="+mn-ea"/>
              </a:rPr>
              <a:t>产品</a:t>
            </a:r>
            <a:endParaRPr lang="en-US" altLang="zh-CN" dirty="0" smtClean="0">
              <a:ea typeface="+mn-ea"/>
            </a:endParaRPr>
          </a:p>
          <a:p>
            <a:pPr marL="1905" lvl="1" indent="0">
              <a:buSzPct val="50000"/>
              <a:buNone/>
            </a:pPr>
            <a:r>
              <a:rPr lang="zh-CN" altLang="en-US" dirty="0" smtClean="0">
                <a:ea typeface="+mn-ea"/>
              </a:rPr>
              <a:t>      </a:t>
            </a:r>
            <a:endParaRPr lang="en-US" altLang="zh-CN" dirty="0" smtClean="0">
              <a:ea typeface="+mn-ea"/>
            </a:endParaRPr>
          </a:p>
          <a:p>
            <a:pPr marL="1905" lvl="1" indent="0">
              <a:buSzPct val="50000"/>
              <a:buNone/>
            </a:pPr>
            <a:r>
              <a:rPr lang="en-US" altLang="zh-CN" dirty="0">
                <a:ea typeface="+mn-ea"/>
              </a:rPr>
              <a:t> </a:t>
            </a:r>
            <a:r>
              <a:rPr lang="en-US" altLang="zh-CN" dirty="0" smtClean="0">
                <a:ea typeface="+mn-ea"/>
              </a:rPr>
              <a:t>     </a:t>
            </a:r>
            <a:r>
              <a:rPr lang="zh-CN" altLang="en-US" dirty="0" smtClean="0">
                <a:ea typeface="+mn-ea"/>
              </a:rPr>
              <a:t>部</a:t>
            </a:r>
            <a:r>
              <a:rPr lang="zh-CN" altLang="en-US" dirty="0">
                <a:ea typeface="+mn-ea"/>
              </a:rPr>
              <a:t>门</a:t>
            </a:r>
            <a:r>
              <a:rPr lang="en-US" altLang="zh-CN" dirty="0">
                <a:ea typeface="+mn-ea"/>
              </a:rPr>
              <a:t>/</a:t>
            </a:r>
            <a:r>
              <a:rPr lang="zh-CN" altLang="en-US" dirty="0">
                <a:ea typeface="+mn-ea"/>
              </a:rPr>
              <a:t>业务</a:t>
            </a:r>
            <a:r>
              <a:rPr lang="en-US" altLang="zh-CN" dirty="0">
                <a:ea typeface="+mn-ea"/>
              </a:rPr>
              <a:t>/</a:t>
            </a:r>
            <a:r>
              <a:rPr lang="zh-CN" altLang="en-US" dirty="0">
                <a:ea typeface="+mn-ea"/>
              </a:rPr>
              <a:t>产</a:t>
            </a:r>
            <a:r>
              <a:rPr lang="zh-CN" altLang="en-US" dirty="0" smtClean="0">
                <a:ea typeface="+mn-ea"/>
              </a:rPr>
              <a:t>品</a:t>
            </a:r>
            <a:endParaRPr lang="en-US" altLang="zh-CN" dirty="0" smtClean="0">
              <a:ea typeface="+mn-ea"/>
            </a:endParaRPr>
          </a:p>
          <a:p>
            <a:pPr marL="1905" lvl="1" indent="0">
              <a:buSzPct val="50000"/>
              <a:buNone/>
            </a:pPr>
            <a:endParaRPr lang="en-US" altLang="zh-CN" dirty="0">
              <a:ea typeface="+mn-ea"/>
            </a:endParaRPr>
          </a:p>
          <a:p>
            <a:pPr marL="1905" lvl="1" indent="0">
              <a:buSzPct val="50000"/>
              <a:buNone/>
            </a:pPr>
            <a:r>
              <a:rPr lang="zh-CN" altLang="en-US" dirty="0" smtClean="0">
                <a:ea typeface="+mn-ea"/>
              </a:rPr>
              <a:t>      部</a:t>
            </a:r>
            <a:r>
              <a:rPr lang="zh-CN" altLang="en-US" dirty="0">
                <a:ea typeface="+mn-ea"/>
              </a:rPr>
              <a:t>门</a:t>
            </a:r>
            <a:r>
              <a:rPr lang="en-US" altLang="zh-CN" dirty="0">
                <a:ea typeface="+mn-ea"/>
              </a:rPr>
              <a:t>/</a:t>
            </a:r>
            <a:r>
              <a:rPr lang="zh-CN" altLang="en-US" dirty="0">
                <a:ea typeface="+mn-ea"/>
              </a:rPr>
              <a:t>业务</a:t>
            </a:r>
            <a:r>
              <a:rPr lang="en-US" altLang="zh-CN" dirty="0">
                <a:ea typeface="+mn-ea"/>
              </a:rPr>
              <a:t>/</a:t>
            </a:r>
            <a:r>
              <a:rPr lang="zh-CN" altLang="en-US" dirty="0">
                <a:ea typeface="+mn-ea"/>
              </a:rPr>
              <a:t>产</a:t>
            </a:r>
            <a:r>
              <a:rPr lang="zh-CN" altLang="en-US" dirty="0" smtClean="0">
                <a:ea typeface="+mn-ea"/>
              </a:rPr>
              <a:t>品</a:t>
            </a:r>
            <a:endParaRPr lang="en-US" altLang="zh-CN" dirty="0" smtClean="0">
              <a:ea typeface="+mn-ea"/>
            </a:endParaRPr>
          </a:p>
          <a:p>
            <a:pPr marL="1905" lvl="1" indent="0">
              <a:buSzPct val="50000"/>
              <a:buNone/>
            </a:pPr>
            <a:endParaRPr lang="en-US" altLang="zh-CN" dirty="0">
              <a:ea typeface="+mn-ea"/>
            </a:endParaRPr>
          </a:p>
          <a:p>
            <a:pPr marL="1905" lvl="1" indent="0">
              <a:buSzPct val="50000"/>
              <a:buNone/>
            </a:pPr>
            <a:r>
              <a:rPr lang="zh-CN" altLang="en-US" dirty="0" smtClean="0">
                <a:ea typeface="+mn-ea"/>
              </a:rPr>
              <a:t>      中</a:t>
            </a:r>
            <a:r>
              <a:rPr lang="zh-CN" altLang="en-US" dirty="0">
                <a:ea typeface="+mn-ea"/>
              </a:rPr>
              <a:t>后台支持</a:t>
            </a:r>
            <a:r>
              <a:rPr lang="en-US" altLang="zh-CN" dirty="0">
                <a:ea typeface="+mn-ea"/>
              </a:rPr>
              <a:t>/</a:t>
            </a:r>
            <a:r>
              <a:rPr lang="zh-CN" altLang="en-US" dirty="0" smtClean="0">
                <a:ea typeface="+mn-ea"/>
              </a:rPr>
              <a:t>保障</a:t>
            </a:r>
            <a:endParaRPr lang="zh-CN" altLang="en-US" dirty="0" smtClean="0">
              <a:ea typeface="+mn-ea"/>
            </a:endParaRPr>
          </a:p>
        </p:txBody>
      </p:sp>
      <p:sp>
        <p:nvSpPr>
          <p:cNvPr id="56336" name="Rectangle 16"/>
          <p:cNvSpPr>
            <a:spLocks noGrp="1" noChangeArrowheads="1"/>
          </p:cNvSpPr>
          <p:nvPr>
            <p:ph type="body" idx="4294967295"/>
          </p:nvPr>
        </p:nvSpPr>
        <p:spPr>
          <a:xfrm>
            <a:off x="2100587" y="3520331"/>
            <a:ext cx="1190625" cy="249238"/>
          </a:xfrm>
          <a:noFill/>
        </p:spPr>
        <p:txBody>
          <a:bodyPr>
            <a:noAutofit/>
          </a:bodyPr>
          <a:lstStyle/>
          <a:p>
            <a:r>
              <a:rPr lang="zh-CN" altLang="en-US" b="1" dirty="0"/>
              <a:t>目</a:t>
            </a:r>
            <a:r>
              <a:rPr lang="zh-CN" altLang="en-US" b="1" dirty="0" smtClean="0"/>
              <a:t>前现状</a:t>
            </a:r>
            <a:endParaRPr lang="en-US" altLang="ko-KR" b="1" dirty="0"/>
          </a:p>
        </p:txBody>
      </p:sp>
      <p:sp>
        <p:nvSpPr>
          <p:cNvPr id="56323" name="Freeform 3"/>
          <p:cNvSpPr/>
          <p:nvPr/>
        </p:nvSpPr>
        <p:spPr bwMode="auto">
          <a:xfrm>
            <a:off x="3291212" y="2050446"/>
            <a:ext cx="7005396" cy="1046355"/>
          </a:xfrm>
          <a:custGeom>
            <a:avLst/>
            <a:gdLst>
              <a:gd name="T0" fmla="*/ 0 w 2880"/>
              <a:gd name="T1" fmla="*/ 576 h 576"/>
              <a:gd name="T2" fmla="*/ 960 w 2880"/>
              <a:gd name="T3" fmla="*/ 576 h 576"/>
              <a:gd name="T4" fmla="*/ 960 w 2880"/>
              <a:gd name="T5" fmla="*/ 288 h 576"/>
              <a:gd name="T6" fmla="*/ 1920 w 2880"/>
              <a:gd name="T7" fmla="*/ 288 h 576"/>
              <a:gd name="T8" fmla="*/ 1920 w 2880"/>
              <a:gd name="T9" fmla="*/ 0 h 576"/>
              <a:gd name="T10" fmla="*/ 2880 w 2880"/>
              <a:gd name="T11" fmla="*/ 0 h 576"/>
            </a:gdLst>
            <a:ahLst/>
            <a:cxnLst>
              <a:cxn ang="0">
                <a:pos x="T0" y="T1"/>
              </a:cxn>
              <a:cxn ang="0">
                <a:pos x="T2" y="T3"/>
              </a:cxn>
              <a:cxn ang="0">
                <a:pos x="T4" y="T5"/>
              </a:cxn>
              <a:cxn ang="0">
                <a:pos x="T6" y="T7"/>
              </a:cxn>
              <a:cxn ang="0">
                <a:pos x="T8" y="T9"/>
              </a:cxn>
              <a:cxn ang="0">
                <a:pos x="T10" y="T11"/>
              </a:cxn>
            </a:cxnLst>
            <a:rect l="0" t="0" r="r" b="b"/>
            <a:pathLst>
              <a:path w="2880" h="576">
                <a:moveTo>
                  <a:pt x="0" y="576"/>
                </a:moveTo>
                <a:lnTo>
                  <a:pt x="960" y="576"/>
                </a:lnTo>
                <a:lnTo>
                  <a:pt x="960" y="288"/>
                </a:lnTo>
                <a:lnTo>
                  <a:pt x="1920" y="288"/>
                </a:lnTo>
                <a:lnTo>
                  <a:pt x="1920" y="0"/>
                </a:lnTo>
                <a:lnTo>
                  <a:pt x="2880" y="0"/>
                </a:lnTo>
              </a:path>
            </a:pathLst>
          </a:custGeom>
          <a:ln>
            <a:solidFill>
              <a:srgbClr val="FE5817"/>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anchor="ctr">
            <a:noAutofit/>
            <a:flatTx/>
          </a:bodyPr>
          <a:lstStyle/>
          <a:p>
            <a:pPr defTabSz="932815" fontAlgn="base">
              <a:spcBef>
                <a:spcPct val="0"/>
              </a:spcBef>
              <a:spcAft>
                <a:spcPct val="0"/>
              </a:spcAft>
            </a:pPr>
            <a:endParaRPr lang="en-US" sz="1630">
              <a:solidFill>
                <a:srgbClr val="000000"/>
              </a:solidFill>
              <a:latin typeface="Arial" panose="020B0604020202020204"/>
              <a:ea typeface="楷体" panose="02010609060101010101" pitchFamily="49" charset="-122"/>
            </a:endParaRPr>
          </a:p>
        </p:txBody>
      </p:sp>
      <p:grpSp>
        <p:nvGrpSpPr>
          <p:cNvPr id="56324" name="Group 4"/>
          <p:cNvGrpSpPr/>
          <p:nvPr/>
        </p:nvGrpSpPr>
        <p:grpSpPr bwMode="auto">
          <a:xfrm>
            <a:off x="3614877" y="1987915"/>
            <a:ext cx="1765522" cy="749941"/>
            <a:chOff x="2364" y="1971"/>
            <a:chExt cx="960" cy="960"/>
          </a:xfrm>
        </p:grpSpPr>
        <p:sp>
          <p:nvSpPr>
            <p:cNvPr id="56325" name="Oval 5"/>
            <p:cNvSpPr>
              <a:spLocks noChangeArrowheads="1"/>
            </p:cNvSpPr>
            <p:nvPr>
              <p:custDataLst>
                <p:tags r:id="rId1"/>
              </p:custDataLst>
            </p:nvPr>
          </p:nvSpPr>
          <p:spPr bwMode="blackWhite">
            <a:xfrm>
              <a:off x="2364" y="1971"/>
              <a:ext cx="960" cy="960"/>
            </a:xfrm>
            <a:prstGeom prst="ellipse">
              <a:avLst/>
            </a:prstGeom>
            <a:solidFill>
              <a:srgbClr val="FFC3AB"/>
            </a:solidFill>
            <a:ln w="9525">
              <a:solidFill>
                <a:schemeClr val="bg1"/>
              </a:solidFill>
              <a:round/>
            </a:ln>
            <a:effectLst/>
          </p:spPr>
          <p:txBody>
            <a:bodyPr wrap="none" anchor="ctr">
              <a:noAutofit/>
            </a:bodyPr>
            <a:lstStyle/>
            <a:p>
              <a:pPr defTabSz="932815" fontAlgn="base">
                <a:spcBef>
                  <a:spcPct val="0"/>
                </a:spcBef>
                <a:spcAft>
                  <a:spcPct val="0"/>
                </a:spcAft>
              </a:pPr>
              <a:endParaRPr lang="en-US" sz="1630">
                <a:solidFill>
                  <a:srgbClr val="000000"/>
                </a:solidFill>
                <a:latin typeface="Arial" panose="020B0604020202020204"/>
                <a:ea typeface="楷体" panose="02010609060101010101" pitchFamily="49" charset="-122"/>
              </a:endParaRPr>
            </a:p>
          </p:txBody>
        </p:sp>
        <p:sp>
          <p:nvSpPr>
            <p:cNvPr id="56326" name="Rectangle 6"/>
            <p:cNvSpPr>
              <a:spLocks noChangeArrowheads="1"/>
            </p:cNvSpPr>
            <p:nvPr>
              <p:custDataLst>
                <p:tags r:id="rId2"/>
              </p:custDataLst>
            </p:nvPr>
          </p:nvSpPr>
          <p:spPr bwMode="blackWhite">
            <a:xfrm>
              <a:off x="2440" y="2008"/>
              <a:ext cx="880" cy="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887" tIns="0" rIns="3887" bIns="0" anchor="ctr">
              <a:noAutofit/>
            </a:bodyPr>
            <a:lstStyle/>
            <a:p>
              <a:pPr algn="ctr" defTabSz="913765" fontAlgn="base">
                <a:spcBef>
                  <a:spcPct val="0"/>
                </a:spcBef>
                <a:spcAft>
                  <a:spcPct val="0"/>
                </a:spcAft>
                <a:buSzPct val="120000"/>
              </a:pPr>
              <a:r>
                <a:rPr lang="zh-CN" altLang="en-US" sz="1630" b="1" dirty="0">
                  <a:solidFill>
                    <a:srgbClr val="000000"/>
                  </a:solidFill>
                  <a:latin typeface="Arial" panose="020B0604020202020204"/>
                  <a:ea typeface="楷体" panose="02010609060101010101" pitchFamily="49" charset="-122"/>
                </a:rPr>
                <a:t>短期</a:t>
              </a:r>
              <a:endParaRPr lang="en-US" altLang="ko-KR" sz="1630" b="1" dirty="0">
                <a:solidFill>
                  <a:srgbClr val="000000"/>
                </a:solidFill>
                <a:latin typeface="Arial" panose="020B0604020202020204"/>
                <a:ea typeface="楷体" panose="02010609060101010101" pitchFamily="49" charset="-122"/>
              </a:endParaRPr>
            </a:p>
          </p:txBody>
        </p:sp>
      </p:grpSp>
      <p:grpSp>
        <p:nvGrpSpPr>
          <p:cNvPr id="56328" name="Group 8"/>
          <p:cNvGrpSpPr/>
          <p:nvPr/>
        </p:nvGrpSpPr>
        <p:grpSpPr bwMode="auto">
          <a:xfrm>
            <a:off x="5899435" y="1504377"/>
            <a:ext cx="1763903" cy="758535"/>
            <a:chOff x="2412" y="2008"/>
            <a:chExt cx="960" cy="971"/>
          </a:xfrm>
        </p:grpSpPr>
        <p:sp>
          <p:nvSpPr>
            <p:cNvPr id="56329" name="Oval 9"/>
            <p:cNvSpPr>
              <a:spLocks noChangeArrowheads="1"/>
            </p:cNvSpPr>
            <p:nvPr>
              <p:custDataLst>
                <p:tags r:id="rId3"/>
              </p:custDataLst>
            </p:nvPr>
          </p:nvSpPr>
          <p:spPr bwMode="blackWhite">
            <a:xfrm>
              <a:off x="2412" y="2019"/>
              <a:ext cx="960" cy="960"/>
            </a:xfrm>
            <a:prstGeom prst="ellipse">
              <a:avLst/>
            </a:prstGeom>
            <a:solidFill>
              <a:srgbClr val="FFC3AB"/>
            </a:solidFill>
            <a:ln w="9525">
              <a:solidFill>
                <a:schemeClr val="bg1"/>
              </a:solidFill>
              <a:round/>
            </a:ln>
            <a:effectLst/>
          </p:spPr>
          <p:txBody>
            <a:bodyPr wrap="none" anchor="ctr">
              <a:noAutofit/>
            </a:bodyPr>
            <a:lstStyle/>
            <a:p>
              <a:pPr defTabSz="932815" fontAlgn="base">
                <a:spcBef>
                  <a:spcPct val="0"/>
                </a:spcBef>
                <a:spcAft>
                  <a:spcPct val="0"/>
                </a:spcAft>
              </a:pPr>
              <a:endParaRPr lang="en-US" sz="1630">
                <a:solidFill>
                  <a:srgbClr val="000000"/>
                </a:solidFill>
                <a:latin typeface="Arial" panose="020B0604020202020204"/>
                <a:ea typeface="楷体" panose="02010609060101010101" pitchFamily="49" charset="-122"/>
              </a:endParaRPr>
            </a:p>
          </p:txBody>
        </p:sp>
        <p:sp>
          <p:nvSpPr>
            <p:cNvPr id="56330" name="Rectangle 10"/>
            <p:cNvSpPr>
              <a:spLocks noChangeArrowheads="1"/>
            </p:cNvSpPr>
            <p:nvPr>
              <p:custDataLst>
                <p:tags r:id="rId4"/>
              </p:custDataLst>
            </p:nvPr>
          </p:nvSpPr>
          <p:spPr bwMode="blackWhite">
            <a:xfrm>
              <a:off x="2440" y="2008"/>
              <a:ext cx="880" cy="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887" tIns="0" rIns="3887" bIns="0" anchor="ctr">
              <a:noAutofit/>
            </a:bodyPr>
            <a:lstStyle/>
            <a:p>
              <a:pPr algn="ctr" defTabSz="913765" fontAlgn="base">
                <a:spcBef>
                  <a:spcPct val="0"/>
                </a:spcBef>
                <a:spcAft>
                  <a:spcPct val="0"/>
                </a:spcAft>
                <a:buSzPct val="120000"/>
              </a:pPr>
              <a:r>
                <a:rPr lang="zh-CN" altLang="en-US" sz="1630" b="1" dirty="0">
                  <a:solidFill>
                    <a:srgbClr val="000000"/>
                  </a:solidFill>
                  <a:latin typeface="Arial" panose="020B0604020202020204"/>
                  <a:ea typeface="楷体" panose="02010609060101010101" pitchFamily="49" charset="-122"/>
                </a:rPr>
                <a:t>中期</a:t>
              </a:r>
              <a:endParaRPr lang="en-US" altLang="ko-KR" sz="1630" b="1" dirty="0">
                <a:solidFill>
                  <a:srgbClr val="000000"/>
                </a:solidFill>
                <a:latin typeface="Arial" panose="020B0604020202020204"/>
                <a:ea typeface="楷体" panose="02010609060101010101" pitchFamily="49" charset="-122"/>
              </a:endParaRPr>
            </a:p>
          </p:txBody>
        </p:sp>
      </p:grpSp>
      <p:grpSp>
        <p:nvGrpSpPr>
          <p:cNvPr id="56332" name="Group 12"/>
          <p:cNvGrpSpPr/>
          <p:nvPr/>
        </p:nvGrpSpPr>
        <p:grpSpPr bwMode="auto">
          <a:xfrm>
            <a:off x="8635714" y="972082"/>
            <a:ext cx="1763903" cy="769471"/>
            <a:chOff x="2429" y="2008"/>
            <a:chExt cx="960" cy="985"/>
          </a:xfrm>
        </p:grpSpPr>
        <p:sp>
          <p:nvSpPr>
            <p:cNvPr id="56333" name="Oval 13"/>
            <p:cNvSpPr>
              <a:spLocks noChangeArrowheads="1"/>
            </p:cNvSpPr>
            <p:nvPr>
              <p:custDataLst>
                <p:tags r:id="rId5"/>
              </p:custDataLst>
            </p:nvPr>
          </p:nvSpPr>
          <p:spPr bwMode="blackWhite">
            <a:xfrm>
              <a:off x="2429" y="2033"/>
              <a:ext cx="960" cy="960"/>
            </a:xfrm>
            <a:prstGeom prst="ellipse">
              <a:avLst/>
            </a:prstGeom>
            <a:solidFill>
              <a:srgbClr val="FFC3AB"/>
            </a:solidFill>
            <a:ln w="9525">
              <a:solidFill>
                <a:schemeClr val="bg1"/>
              </a:solidFill>
              <a:round/>
            </a:ln>
            <a:effectLst/>
          </p:spPr>
          <p:txBody>
            <a:bodyPr wrap="none" anchor="ctr">
              <a:noAutofit/>
            </a:bodyPr>
            <a:lstStyle/>
            <a:p>
              <a:pPr defTabSz="932815" fontAlgn="base">
                <a:spcBef>
                  <a:spcPct val="0"/>
                </a:spcBef>
                <a:spcAft>
                  <a:spcPct val="0"/>
                </a:spcAft>
              </a:pPr>
              <a:endParaRPr lang="en-US" sz="1630">
                <a:solidFill>
                  <a:srgbClr val="000000"/>
                </a:solidFill>
                <a:latin typeface="Arial" panose="020B0604020202020204"/>
                <a:ea typeface="楷体" panose="02010609060101010101" pitchFamily="49" charset="-122"/>
              </a:endParaRPr>
            </a:p>
          </p:txBody>
        </p:sp>
        <p:sp>
          <p:nvSpPr>
            <p:cNvPr id="56334" name="Rectangle 14"/>
            <p:cNvSpPr>
              <a:spLocks noChangeArrowheads="1"/>
            </p:cNvSpPr>
            <p:nvPr>
              <p:custDataLst>
                <p:tags r:id="rId6"/>
              </p:custDataLst>
            </p:nvPr>
          </p:nvSpPr>
          <p:spPr bwMode="blackWhite">
            <a:xfrm>
              <a:off x="2440" y="2008"/>
              <a:ext cx="880" cy="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887" tIns="0" rIns="3887" bIns="0" anchor="ctr">
              <a:noAutofit/>
            </a:bodyPr>
            <a:lstStyle/>
            <a:p>
              <a:pPr algn="ctr" defTabSz="913765" fontAlgn="base">
                <a:spcBef>
                  <a:spcPct val="0"/>
                </a:spcBef>
                <a:spcAft>
                  <a:spcPct val="0"/>
                </a:spcAft>
                <a:buSzPct val="120000"/>
              </a:pPr>
              <a:r>
                <a:rPr lang="zh-CN" altLang="en-US" sz="1630" b="1" dirty="0">
                  <a:solidFill>
                    <a:srgbClr val="000000"/>
                  </a:solidFill>
                  <a:latin typeface="Arial" panose="020B0604020202020204"/>
                  <a:ea typeface="楷体" panose="02010609060101010101" pitchFamily="49" charset="-122"/>
                </a:rPr>
                <a:t>长期</a:t>
              </a:r>
              <a:endParaRPr lang="en-US" altLang="ko-KR" sz="1630" b="1" dirty="0">
                <a:solidFill>
                  <a:srgbClr val="000000"/>
                </a:solidFill>
                <a:latin typeface="Arial" panose="020B0604020202020204"/>
                <a:ea typeface="楷体" panose="02010609060101010101" pitchFamily="49" charset="-122"/>
              </a:endParaRPr>
            </a:p>
          </p:txBody>
        </p:sp>
      </p:grpSp>
      <p:sp>
        <p:nvSpPr>
          <p:cNvPr id="17" name="Oval 83"/>
          <p:cNvSpPr>
            <a:spLocks noChangeArrowheads="1"/>
          </p:cNvSpPr>
          <p:nvPr>
            <p:custDataLst>
              <p:tags r:id="rId7"/>
            </p:custDataLst>
          </p:nvPr>
        </p:nvSpPr>
        <p:spPr bwMode="gray">
          <a:xfrm>
            <a:off x="3713681" y="3550022"/>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1</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18" name="Oval 83"/>
          <p:cNvSpPr>
            <a:spLocks noChangeArrowheads="1"/>
          </p:cNvSpPr>
          <p:nvPr>
            <p:custDataLst>
              <p:tags r:id="rId8"/>
            </p:custDataLst>
          </p:nvPr>
        </p:nvSpPr>
        <p:spPr bwMode="gray">
          <a:xfrm>
            <a:off x="3727606" y="4051322"/>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2</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19" name="Oval 83"/>
          <p:cNvSpPr>
            <a:spLocks noChangeArrowheads="1"/>
          </p:cNvSpPr>
          <p:nvPr>
            <p:custDataLst>
              <p:tags r:id="rId9"/>
            </p:custDataLst>
          </p:nvPr>
        </p:nvSpPr>
        <p:spPr bwMode="gray">
          <a:xfrm>
            <a:off x="3727606" y="4538696"/>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3</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20" name="Oval 83"/>
          <p:cNvSpPr>
            <a:spLocks noChangeArrowheads="1"/>
          </p:cNvSpPr>
          <p:nvPr>
            <p:custDataLst>
              <p:tags r:id="rId10"/>
            </p:custDataLst>
          </p:nvPr>
        </p:nvSpPr>
        <p:spPr bwMode="gray">
          <a:xfrm>
            <a:off x="3731779" y="5053921"/>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4</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21" name="Rectangle 7"/>
          <p:cNvSpPr txBox="1">
            <a:spLocks noChangeArrowheads="1"/>
          </p:cNvSpPr>
          <p:nvPr/>
        </p:nvSpPr>
        <p:spPr bwMode="auto">
          <a:xfrm>
            <a:off x="5979455" y="2590362"/>
            <a:ext cx="1606530" cy="224676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lvl="1" defTabSz="914400">
              <a:spcBef>
                <a:spcPts val="300"/>
              </a:spcBef>
              <a:spcAft>
                <a:spcPts val="0"/>
              </a:spcAft>
              <a:buFont typeface="Arial" panose="020B0604020202020204" pitchFamily="34" charset="0"/>
            </a:pPr>
            <a:r>
              <a:rPr lang="zh-CN" altLang="en-US" sz="1400" dirty="0">
                <a:sym typeface="Trebuchet MS" panose="020B0603020202020204" pitchFamily="34" charset="0"/>
              </a:rPr>
              <a:t>关键举措描述</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en-US" altLang="ko-KR" sz="1400" dirty="0">
                <a:sym typeface="Trebuchet MS" panose="020B0603020202020204" pitchFamily="34" charset="0"/>
              </a:rPr>
              <a:t>     </a:t>
            </a:r>
            <a:endParaRPr lang="en-US" altLang="ko-KR"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zh-CN" altLang="en-US" sz="1400" dirty="0">
                <a:sym typeface="Trebuchet MS" panose="020B0603020202020204" pitchFamily="34" charset="0"/>
              </a:rPr>
              <a:t>      部门</a:t>
            </a:r>
            <a:r>
              <a:rPr lang="en-US" altLang="zh-CN" sz="1400" dirty="0">
                <a:sym typeface="Trebuchet MS" panose="020B0603020202020204" pitchFamily="34" charset="0"/>
              </a:rPr>
              <a:t>/</a:t>
            </a:r>
            <a:r>
              <a:rPr lang="zh-CN" altLang="en-US" sz="1400" dirty="0">
                <a:sym typeface="Trebuchet MS" panose="020B0603020202020204" pitchFamily="34" charset="0"/>
              </a:rPr>
              <a:t>业务</a:t>
            </a:r>
            <a:r>
              <a:rPr lang="en-US" altLang="zh-CN" sz="1400" dirty="0">
                <a:sym typeface="Trebuchet MS" panose="020B0603020202020204" pitchFamily="34" charset="0"/>
              </a:rPr>
              <a:t>/</a:t>
            </a:r>
            <a:r>
              <a:rPr lang="zh-CN" altLang="en-US" sz="1400" dirty="0">
                <a:sym typeface="Trebuchet MS" panose="020B0603020202020204" pitchFamily="34" charset="0"/>
              </a:rPr>
              <a:t>产品</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zh-CN" altLang="en-US" sz="1400" dirty="0">
                <a:sym typeface="Trebuchet MS" panose="020B0603020202020204" pitchFamily="34" charset="0"/>
              </a:rPr>
              <a:t>      </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en-US" altLang="zh-CN" sz="1400" dirty="0">
                <a:sym typeface="Trebuchet MS" panose="020B0603020202020204" pitchFamily="34" charset="0"/>
              </a:rPr>
              <a:t>      </a:t>
            </a:r>
            <a:r>
              <a:rPr lang="zh-CN" altLang="en-US" sz="1400" dirty="0">
                <a:sym typeface="Trebuchet MS" panose="020B0603020202020204" pitchFamily="34" charset="0"/>
              </a:rPr>
              <a:t>部门</a:t>
            </a:r>
            <a:r>
              <a:rPr lang="en-US" altLang="zh-CN" sz="1400" dirty="0">
                <a:sym typeface="Trebuchet MS" panose="020B0603020202020204" pitchFamily="34" charset="0"/>
              </a:rPr>
              <a:t>/</a:t>
            </a:r>
            <a:r>
              <a:rPr lang="zh-CN" altLang="en-US" sz="1400" dirty="0">
                <a:sym typeface="Trebuchet MS" panose="020B0603020202020204" pitchFamily="34" charset="0"/>
              </a:rPr>
              <a:t>业务</a:t>
            </a:r>
            <a:r>
              <a:rPr lang="en-US" altLang="zh-CN" sz="1400" dirty="0">
                <a:sym typeface="Trebuchet MS" panose="020B0603020202020204" pitchFamily="34" charset="0"/>
              </a:rPr>
              <a:t>/</a:t>
            </a:r>
            <a:r>
              <a:rPr lang="zh-CN" altLang="en-US" sz="1400" dirty="0">
                <a:sym typeface="Trebuchet MS" panose="020B0603020202020204" pitchFamily="34" charset="0"/>
              </a:rPr>
              <a:t>产品</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zh-CN" altLang="en-US" sz="1400" dirty="0">
                <a:sym typeface="Trebuchet MS" panose="020B0603020202020204" pitchFamily="34" charset="0"/>
              </a:rPr>
              <a:t>      部门</a:t>
            </a:r>
            <a:r>
              <a:rPr lang="en-US" altLang="zh-CN" sz="1400" dirty="0">
                <a:sym typeface="Trebuchet MS" panose="020B0603020202020204" pitchFamily="34" charset="0"/>
              </a:rPr>
              <a:t>/</a:t>
            </a:r>
            <a:r>
              <a:rPr lang="zh-CN" altLang="en-US" sz="1400" dirty="0">
                <a:sym typeface="Trebuchet MS" panose="020B0603020202020204" pitchFamily="34" charset="0"/>
              </a:rPr>
              <a:t>业务</a:t>
            </a:r>
            <a:r>
              <a:rPr lang="en-US" altLang="zh-CN" sz="1400" dirty="0">
                <a:sym typeface="Trebuchet MS" panose="020B0603020202020204" pitchFamily="34" charset="0"/>
              </a:rPr>
              <a:t>/</a:t>
            </a:r>
            <a:r>
              <a:rPr lang="zh-CN" altLang="en-US" sz="1400" dirty="0">
                <a:sym typeface="Trebuchet MS" panose="020B0603020202020204" pitchFamily="34" charset="0"/>
              </a:rPr>
              <a:t>产品</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zh-CN" altLang="en-US" sz="1400" dirty="0">
                <a:sym typeface="Trebuchet MS" panose="020B0603020202020204" pitchFamily="34" charset="0"/>
              </a:rPr>
              <a:t>      中后台支持</a:t>
            </a:r>
            <a:r>
              <a:rPr lang="en-US" altLang="zh-CN" sz="1400" dirty="0">
                <a:sym typeface="Trebuchet MS" panose="020B0603020202020204" pitchFamily="34" charset="0"/>
              </a:rPr>
              <a:t>/</a:t>
            </a:r>
            <a:r>
              <a:rPr lang="zh-CN" altLang="en-US" sz="1400" dirty="0">
                <a:sym typeface="Trebuchet MS" panose="020B0603020202020204" pitchFamily="34" charset="0"/>
              </a:rPr>
              <a:t>保障</a:t>
            </a:r>
            <a:endParaRPr lang="zh-CN" altLang="en-US" sz="1400" dirty="0">
              <a:sym typeface="Trebuchet MS" panose="020B0603020202020204" pitchFamily="34" charset="0"/>
            </a:endParaRPr>
          </a:p>
        </p:txBody>
      </p:sp>
      <p:sp>
        <p:nvSpPr>
          <p:cNvPr id="22" name="Oval 83"/>
          <p:cNvSpPr>
            <a:spLocks noChangeArrowheads="1"/>
          </p:cNvSpPr>
          <p:nvPr>
            <p:custDataLst>
              <p:tags r:id="rId11"/>
            </p:custDataLst>
          </p:nvPr>
        </p:nvSpPr>
        <p:spPr bwMode="gray">
          <a:xfrm>
            <a:off x="5991110" y="3068907"/>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1</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23" name="Oval 83"/>
          <p:cNvSpPr>
            <a:spLocks noChangeArrowheads="1"/>
          </p:cNvSpPr>
          <p:nvPr>
            <p:custDataLst>
              <p:tags r:id="rId12"/>
            </p:custDataLst>
          </p:nvPr>
        </p:nvSpPr>
        <p:spPr bwMode="gray">
          <a:xfrm>
            <a:off x="6005035" y="3570207"/>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2</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24" name="Oval 83"/>
          <p:cNvSpPr>
            <a:spLocks noChangeArrowheads="1"/>
          </p:cNvSpPr>
          <p:nvPr>
            <p:custDataLst>
              <p:tags r:id="rId13"/>
            </p:custDataLst>
          </p:nvPr>
        </p:nvSpPr>
        <p:spPr bwMode="gray">
          <a:xfrm>
            <a:off x="6005035" y="4057581"/>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3</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25" name="Oval 83"/>
          <p:cNvSpPr>
            <a:spLocks noChangeArrowheads="1"/>
          </p:cNvSpPr>
          <p:nvPr>
            <p:custDataLst>
              <p:tags r:id="rId14"/>
            </p:custDataLst>
          </p:nvPr>
        </p:nvSpPr>
        <p:spPr bwMode="gray">
          <a:xfrm>
            <a:off x="6009208" y="4572806"/>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4</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26" name="Rectangle 7"/>
          <p:cNvSpPr txBox="1">
            <a:spLocks noChangeArrowheads="1"/>
          </p:cNvSpPr>
          <p:nvPr/>
        </p:nvSpPr>
        <p:spPr bwMode="auto">
          <a:xfrm>
            <a:off x="8324240" y="2050446"/>
            <a:ext cx="1606530" cy="224676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7485" lvl="1" indent="-196215" defTabSz="914400">
              <a:spcBef>
                <a:spcPts val="300"/>
              </a:spcBef>
              <a:spcAft>
                <a:spcPts val="0"/>
              </a:spcAft>
              <a:buFont typeface="Arial" panose="020B0604020202020204" pitchFamily="34" charset="0"/>
            </a:pPr>
            <a:r>
              <a:rPr lang="zh-CN" altLang="en-US" sz="1400" dirty="0">
                <a:sym typeface="Trebuchet MS" panose="020B0603020202020204" pitchFamily="34" charset="0"/>
              </a:rPr>
              <a:t>关键举措描述</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en-US" altLang="ko-KR" sz="1400" dirty="0">
                <a:sym typeface="Trebuchet MS" panose="020B0603020202020204" pitchFamily="34" charset="0"/>
              </a:rPr>
              <a:t>     </a:t>
            </a:r>
            <a:endParaRPr lang="en-US" altLang="ko-KR"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zh-CN" altLang="en-US" sz="1400" dirty="0">
                <a:sym typeface="Trebuchet MS" panose="020B0603020202020204" pitchFamily="34" charset="0"/>
              </a:rPr>
              <a:t>      部门</a:t>
            </a:r>
            <a:r>
              <a:rPr lang="en-US" altLang="zh-CN" sz="1400" dirty="0">
                <a:sym typeface="Trebuchet MS" panose="020B0603020202020204" pitchFamily="34" charset="0"/>
              </a:rPr>
              <a:t>/</a:t>
            </a:r>
            <a:r>
              <a:rPr lang="zh-CN" altLang="en-US" sz="1400" dirty="0">
                <a:sym typeface="Trebuchet MS" panose="020B0603020202020204" pitchFamily="34" charset="0"/>
              </a:rPr>
              <a:t>业务</a:t>
            </a:r>
            <a:r>
              <a:rPr lang="en-US" altLang="zh-CN" sz="1400" dirty="0">
                <a:sym typeface="Trebuchet MS" panose="020B0603020202020204" pitchFamily="34" charset="0"/>
              </a:rPr>
              <a:t>/</a:t>
            </a:r>
            <a:r>
              <a:rPr lang="zh-CN" altLang="en-US" sz="1400" dirty="0">
                <a:sym typeface="Trebuchet MS" panose="020B0603020202020204" pitchFamily="34" charset="0"/>
              </a:rPr>
              <a:t>产品</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zh-CN" altLang="en-US" sz="1400" dirty="0">
                <a:sym typeface="Trebuchet MS" panose="020B0603020202020204" pitchFamily="34" charset="0"/>
              </a:rPr>
              <a:t>      </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en-US" altLang="zh-CN" sz="1400" dirty="0">
                <a:sym typeface="Trebuchet MS" panose="020B0603020202020204" pitchFamily="34" charset="0"/>
              </a:rPr>
              <a:t>      </a:t>
            </a:r>
            <a:r>
              <a:rPr lang="zh-CN" altLang="en-US" sz="1400" dirty="0">
                <a:sym typeface="Trebuchet MS" panose="020B0603020202020204" pitchFamily="34" charset="0"/>
              </a:rPr>
              <a:t>部门</a:t>
            </a:r>
            <a:r>
              <a:rPr lang="en-US" altLang="zh-CN" sz="1400" dirty="0">
                <a:sym typeface="Trebuchet MS" panose="020B0603020202020204" pitchFamily="34" charset="0"/>
              </a:rPr>
              <a:t>/</a:t>
            </a:r>
            <a:r>
              <a:rPr lang="zh-CN" altLang="en-US" sz="1400" dirty="0">
                <a:sym typeface="Trebuchet MS" panose="020B0603020202020204" pitchFamily="34" charset="0"/>
              </a:rPr>
              <a:t>业务</a:t>
            </a:r>
            <a:r>
              <a:rPr lang="en-US" altLang="zh-CN" sz="1400" dirty="0">
                <a:sym typeface="Trebuchet MS" panose="020B0603020202020204" pitchFamily="34" charset="0"/>
              </a:rPr>
              <a:t>/</a:t>
            </a:r>
            <a:r>
              <a:rPr lang="zh-CN" altLang="en-US" sz="1400" dirty="0">
                <a:sym typeface="Trebuchet MS" panose="020B0603020202020204" pitchFamily="34" charset="0"/>
              </a:rPr>
              <a:t>产品</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zh-CN" altLang="en-US" sz="1400" dirty="0">
                <a:sym typeface="Trebuchet MS" panose="020B0603020202020204" pitchFamily="34" charset="0"/>
              </a:rPr>
              <a:t>      部门</a:t>
            </a:r>
            <a:r>
              <a:rPr lang="en-US" altLang="zh-CN" sz="1400" dirty="0">
                <a:sym typeface="Trebuchet MS" panose="020B0603020202020204" pitchFamily="34" charset="0"/>
              </a:rPr>
              <a:t>/</a:t>
            </a:r>
            <a:r>
              <a:rPr lang="zh-CN" altLang="en-US" sz="1400" dirty="0">
                <a:sym typeface="Trebuchet MS" panose="020B0603020202020204" pitchFamily="34" charset="0"/>
              </a:rPr>
              <a:t>业务</a:t>
            </a:r>
            <a:r>
              <a:rPr lang="en-US" altLang="zh-CN" sz="1400" dirty="0">
                <a:sym typeface="Trebuchet MS" panose="020B0603020202020204" pitchFamily="34" charset="0"/>
              </a:rPr>
              <a:t>/</a:t>
            </a:r>
            <a:r>
              <a:rPr lang="zh-CN" altLang="en-US" sz="1400" dirty="0">
                <a:sym typeface="Trebuchet MS" panose="020B0603020202020204" pitchFamily="34" charset="0"/>
              </a:rPr>
              <a:t>产品</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zh-CN" altLang="en-US" sz="1400" dirty="0">
                <a:sym typeface="Trebuchet MS" panose="020B0603020202020204" pitchFamily="34" charset="0"/>
              </a:rPr>
              <a:t>      中后台支持</a:t>
            </a:r>
            <a:r>
              <a:rPr lang="en-US" altLang="zh-CN" sz="1400" dirty="0">
                <a:sym typeface="Trebuchet MS" panose="020B0603020202020204" pitchFamily="34" charset="0"/>
              </a:rPr>
              <a:t>/</a:t>
            </a:r>
            <a:r>
              <a:rPr lang="zh-CN" altLang="en-US" sz="1400" dirty="0">
                <a:sym typeface="Trebuchet MS" panose="020B0603020202020204" pitchFamily="34" charset="0"/>
              </a:rPr>
              <a:t>保障</a:t>
            </a:r>
            <a:endParaRPr lang="zh-CN" altLang="en-US" sz="1400" dirty="0">
              <a:sym typeface="Trebuchet MS" panose="020B0603020202020204" pitchFamily="34" charset="0"/>
            </a:endParaRPr>
          </a:p>
        </p:txBody>
      </p:sp>
      <p:sp>
        <p:nvSpPr>
          <p:cNvPr id="27" name="Oval 83"/>
          <p:cNvSpPr>
            <a:spLocks noChangeArrowheads="1"/>
          </p:cNvSpPr>
          <p:nvPr>
            <p:custDataLst>
              <p:tags r:id="rId15"/>
            </p:custDataLst>
          </p:nvPr>
        </p:nvSpPr>
        <p:spPr bwMode="gray">
          <a:xfrm>
            <a:off x="8335895" y="2528992"/>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1</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28" name="Oval 83"/>
          <p:cNvSpPr>
            <a:spLocks noChangeArrowheads="1"/>
          </p:cNvSpPr>
          <p:nvPr>
            <p:custDataLst>
              <p:tags r:id="rId16"/>
            </p:custDataLst>
          </p:nvPr>
        </p:nvSpPr>
        <p:spPr bwMode="gray">
          <a:xfrm>
            <a:off x="8349821" y="3030292"/>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2</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29" name="Oval 83"/>
          <p:cNvSpPr>
            <a:spLocks noChangeArrowheads="1"/>
          </p:cNvSpPr>
          <p:nvPr>
            <p:custDataLst>
              <p:tags r:id="rId17"/>
            </p:custDataLst>
          </p:nvPr>
        </p:nvSpPr>
        <p:spPr bwMode="gray">
          <a:xfrm>
            <a:off x="8349821" y="3517666"/>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3</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30" name="Oval 83"/>
          <p:cNvSpPr>
            <a:spLocks noChangeArrowheads="1"/>
          </p:cNvSpPr>
          <p:nvPr>
            <p:custDataLst>
              <p:tags r:id="rId18"/>
            </p:custDataLst>
          </p:nvPr>
        </p:nvSpPr>
        <p:spPr bwMode="gray">
          <a:xfrm>
            <a:off x="8353994" y="4032891"/>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4</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31" name="Rectangle 7"/>
          <p:cNvSpPr txBox="1">
            <a:spLocks noChangeArrowheads="1"/>
          </p:cNvSpPr>
          <p:nvPr/>
        </p:nvSpPr>
        <p:spPr bwMode="auto">
          <a:xfrm>
            <a:off x="1790841" y="3575512"/>
            <a:ext cx="1606530" cy="2279727"/>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defTabSz="913765">
              <a:buClr>
                <a:srgbClr val="002960"/>
              </a:buClr>
              <a:buSzPct val="50000"/>
              <a:buNone/>
            </a:pPr>
            <a:r>
              <a:rPr lang="en-US" altLang="ko-KR" sz="1630" dirty="0">
                <a:solidFill>
                  <a:srgbClr val="000000"/>
                </a:solidFill>
                <a:latin typeface="Arial" panose="020B0604020202020204"/>
                <a:ea typeface="楷体" panose="02010609060101010101" pitchFamily="49" charset="-122"/>
              </a:rPr>
              <a:t>   </a:t>
            </a:r>
            <a:endParaRPr lang="en-US" altLang="ko-KR" sz="1630" dirty="0">
              <a:solidFill>
                <a:srgbClr val="000000"/>
              </a:solidFill>
              <a:latin typeface="Arial" panose="020B0604020202020204"/>
              <a:ea typeface="楷体" panose="02010609060101010101" pitchFamily="49" charset="-122"/>
            </a:endParaRPr>
          </a:p>
          <a:p>
            <a:pPr marL="1905" lvl="1" indent="0" defTabSz="913765">
              <a:buClr>
                <a:srgbClr val="002960"/>
              </a:buClr>
              <a:buSzPct val="50000"/>
              <a:buNone/>
            </a:pPr>
            <a:r>
              <a:rPr lang="zh-CN" altLang="en-US" sz="1630" dirty="0">
                <a:solidFill>
                  <a:srgbClr val="000000"/>
                </a:solidFill>
                <a:latin typeface="Arial" panose="020B0604020202020204"/>
                <a:ea typeface="楷体" panose="02010609060101010101" pitchFamily="49" charset="-122"/>
              </a:rPr>
              <a:t>      </a:t>
            </a:r>
            <a:endParaRPr lang="en-US" altLang="zh-CN" sz="1630" dirty="0">
              <a:solidFill>
                <a:srgbClr val="000000"/>
              </a:solidFill>
              <a:latin typeface="Arial" panose="020B0604020202020204"/>
              <a:ea typeface="楷体" panose="02010609060101010101" pitchFamily="49" charset="-122"/>
            </a:endParaRPr>
          </a:p>
          <a:p>
            <a:pPr marL="1905" lvl="1" indent="0" defTabSz="914400">
              <a:spcBef>
                <a:spcPts val="300"/>
              </a:spcBef>
              <a:spcAft>
                <a:spcPts val="0"/>
              </a:spcAft>
              <a:buSzPct val="50000"/>
              <a:buFont typeface="Arial" panose="020B0604020202020204" pitchFamily="34" charset="0"/>
              <a:buNone/>
            </a:pPr>
            <a:r>
              <a:rPr lang="en-US" altLang="zh-CN" sz="1400" dirty="0">
                <a:sym typeface="Trebuchet MS" panose="020B0603020202020204" pitchFamily="34" charset="0"/>
              </a:rPr>
              <a:t>      </a:t>
            </a:r>
            <a:r>
              <a:rPr lang="zh-CN" altLang="en-US" sz="1400" dirty="0">
                <a:sym typeface="Trebuchet MS" panose="020B0603020202020204" pitchFamily="34" charset="0"/>
              </a:rPr>
              <a:t>部门</a:t>
            </a:r>
            <a:r>
              <a:rPr lang="en-US" altLang="zh-CN" sz="1400" dirty="0">
                <a:sym typeface="Trebuchet MS" panose="020B0603020202020204" pitchFamily="34" charset="0"/>
              </a:rPr>
              <a:t>/</a:t>
            </a:r>
            <a:r>
              <a:rPr lang="zh-CN" altLang="en-US" sz="1400" dirty="0">
                <a:sym typeface="Trebuchet MS" panose="020B0603020202020204" pitchFamily="34" charset="0"/>
              </a:rPr>
              <a:t>业务</a:t>
            </a:r>
            <a:r>
              <a:rPr lang="en-US" altLang="zh-CN" sz="1400" dirty="0">
                <a:sym typeface="Trebuchet MS" panose="020B0603020202020204" pitchFamily="34" charset="0"/>
              </a:rPr>
              <a:t>/</a:t>
            </a:r>
            <a:r>
              <a:rPr lang="zh-CN" altLang="en-US" sz="1400" dirty="0">
                <a:sym typeface="Trebuchet MS" panose="020B0603020202020204" pitchFamily="34" charset="0"/>
              </a:rPr>
              <a:t>产品</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zh-CN" altLang="en-US" sz="1400" dirty="0">
                <a:sym typeface="Trebuchet MS" panose="020B0603020202020204" pitchFamily="34" charset="0"/>
              </a:rPr>
              <a:t>      </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en-US" altLang="zh-CN" sz="1400" dirty="0">
                <a:sym typeface="Trebuchet MS" panose="020B0603020202020204" pitchFamily="34" charset="0"/>
              </a:rPr>
              <a:t>      </a:t>
            </a:r>
            <a:r>
              <a:rPr lang="zh-CN" altLang="en-US" sz="1400" dirty="0">
                <a:sym typeface="Trebuchet MS" panose="020B0603020202020204" pitchFamily="34" charset="0"/>
              </a:rPr>
              <a:t>部门</a:t>
            </a:r>
            <a:r>
              <a:rPr lang="en-US" altLang="zh-CN" sz="1400" dirty="0">
                <a:sym typeface="Trebuchet MS" panose="020B0603020202020204" pitchFamily="34" charset="0"/>
              </a:rPr>
              <a:t>/</a:t>
            </a:r>
            <a:r>
              <a:rPr lang="zh-CN" altLang="en-US" sz="1400" dirty="0">
                <a:sym typeface="Trebuchet MS" panose="020B0603020202020204" pitchFamily="34" charset="0"/>
              </a:rPr>
              <a:t>业务</a:t>
            </a:r>
            <a:r>
              <a:rPr lang="en-US" altLang="zh-CN" sz="1400" dirty="0">
                <a:sym typeface="Trebuchet MS" panose="020B0603020202020204" pitchFamily="34" charset="0"/>
              </a:rPr>
              <a:t>/</a:t>
            </a:r>
            <a:r>
              <a:rPr lang="zh-CN" altLang="en-US" sz="1400" dirty="0">
                <a:sym typeface="Trebuchet MS" panose="020B0603020202020204" pitchFamily="34" charset="0"/>
              </a:rPr>
              <a:t>产品</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zh-CN" altLang="en-US" sz="1400" dirty="0">
                <a:sym typeface="Trebuchet MS" panose="020B0603020202020204" pitchFamily="34" charset="0"/>
              </a:rPr>
              <a:t>      部门</a:t>
            </a:r>
            <a:r>
              <a:rPr lang="en-US" altLang="zh-CN" sz="1400" dirty="0">
                <a:sym typeface="Trebuchet MS" panose="020B0603020202020204" pitchFamily="34" charset="0"/>
              </a:rPr>
              <a:t>/</a:t>
            </a:r>
            <a:r>
              <a:rPr lang="zh-CN" altLang="en-US" sz="1400" dirty="0">
                <a:sym typeface="Trebuchet MS" panose="020B0603020202020204" pitchFamily="34" charset="0"/>
              </a:rPr>
              <a:t>业务</a:t>
            </a:r>
            <a:r>
              <a:rPr lang="en-US" altLang="zh-CN" sz="1400" dirty="0">
                <a:sym typeface="Trebuchet MS" panose="020B0603020202020204" pitchFamily="34" charset="0"/>
              </a:rPr>
              <a:t>/</a:t>
            </a:r>
            <a:r>
              <a:rPr lang="zh-CN" altLang="en-US" sz="1400" dirty="0">
                <a:sym typeface="Trebuchet MS" panose="020B0603020202020204" pitchFamily="34" charset="0"/>
              </a:rPr>
              <a:t>产品</a:t>
            </a: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endParaRPr lang="en-US" altLang="zh-CN" sz="1400" dirty="0">
              <a:sym typeface="Trebuchet MS" panose="020B0603020202020204" pitchFamily="34" charset="0"/>
            </a:endParaRPr>
          </a:p>
          <a:p>
            <a:pPr marL="1905" lvl="1" indent="0" defTabSz="914400">
              <a:spcBef>
                <a:spcPts val="300"/>
              </a:spcBef>
              <a:spcAft>
                <a:spcPts val="0"/>
              </a:spcAft>
              <a:buSzPct val="50000"/>
              <a:buFont typeface="Arial" panose="020B0604020202020204" pitchFamily="34" charset="0"/>
              <a:buNone/>
            </a:pPr>
            <a:r>
              <a:rPr lang="zh-CN" altLang="en-US" sz="1400" dirty="0">
                <a:sym typeface="Trebuchet MS" panose="020B0603020202020204" pitchFamily="34" charset="0"/>
              </a:rPr>
              <a:t>      中后台支持</a:t>
            </a:r>
            <a:r>
              <a:rPr lang="en-US" altLang="zh-CN" sz="1400" dirty="0">
                <a:sym typeface="Trebuchet MS" panose="020B0603020202020204" pitchFamily="34" charset="0"/>
              </a:rPr>
              <a:t>/</a:t>
            </a:r>
            <a:r>
              <a:rPr lang="zh-CN" altLang="en-US" sz="1400" dirty="0">
                <a:sym typeface="Trebuchet MS" panose="020B0603020202020204" pitchFamily="34" charset="0"/>
              </a:rPr>
              <a:t>保障</a:t>
            </a:r>
            <a:endParaRPr lang="zh-CN" altLang="en-US" sz="1400" dirty="0">
              <a:sym typeface="Trebuchet MS" panose="020B0603020202020204" pitchFamily="34" charset="0"/>
            </a:endParaRPr>
          </a:p>
        </p:txBody>
      </p:sp>
      <p:sp>
        <p:nvSpPr>
          <p:cNvPr id="32" name="Oval 83"/>
          <p:cNvSpPr>
            <a:spLocks noChangeArrowheads="1"/>
          </p:cNvSpPr>
          <p:nvPr>
            <p:custDataLst>
              <p:tags r:id="rId19"/>
            </p:custDataLst>
          </p:nvPr>
        </p:nvSpPr>
        <p:spPr bwMode="gray">
          <a:xfrm>
            <a:off x="1802496" y="4054058"/>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1</a:t>
            </a:r>
            <a:endParaRPr lang="en-US" sz="1630"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33" name="Oval 83"/>
          <p:cNvSpPr>
            <a:spLocks noChangeArrowheads="1"/>
          </p:cNvSpPr>
          <p:nvPr>
            <p:custDataLst>
              <p:tags r:id="rId20"/>
            </p:custDataLst>
          </p:nvPr>
        </p:nvSpPr>
        <p:spPr bwMode="gray">
          <a:xfrm>
            <a:off x="1816422" y="4555358"/>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2</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34" name="Oval 83"/>
          <p:cNvSpPr>
            <a:spLocks noChangeArrowheads="1"/>
          </p:cNvSpPr>
          <p:nvPr>
            <p:custDataLst>
              <p:tags r:id="rId21"/>
            </p:custDataLst>
          </p:nvPr>
        </p:nvSpPr>
        <p:spPr bwMode="gray">
          <a:xfrm>
            <a:off x="1816422" y="5042732"/>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3</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35" name="Oval 83"/>
          <p:cNvSpPr>
            <a:spLocks noChangeArrowheads="1"/>
          </p:cNvSpPr>
          <p:nvPr>
            <p:custDataLst>
              <p:tags r:id="rId22"/>
            </p:custDataLst>
          </p:nvPr>
        </p:nvSpPr>
        <p:spPr bwMode="gray">
          <a:xfrm>
            <a:off x="1820595" y="5557957"/>
            <a:ext cx="251903" cy="251903"/>
          </a:xfrm>
          <a:prstGeom prst="ellipse">
            <a:avLst/>
          </a:prstGeom>
          <a:solidFill>
            <a:srgbClr val="FE5817"/>
          </a:solidFill>
          <a:ln w="9525">
            <a:noFill/>
            <a:round/>
          </a:ln>
          <a:effectLst/>
        </p:spPr>
        <p:txBody>
          <a:bodyPr vert="horz" wrap="square" lIns="0" tIns="0" rIns="0" bIns="0" numCol="1" anchor="ctr" anchorCtr="1" compatLnSpc="1"/>
          <a:lstStyle/>
          <a:p>
            <a:pPr defTabSz="1063625" fontAlgn="base">
              <a:spcBef>
                <a:spcPct val="0"/>
              </a:spcBef>
              <a:spcAft>
                <a:spcPct val="0"/>
              </a:spcAft>
            </a:pPr>
            <a:r>
              <a:rPr lang="en-US" sz="1630" b="1" dirty="0">
                <a:solidFill>
                  <a:srgbClr val="FFFFFF"/>
                </a:solidFill>
                <a:latin typeface="Arial" panose="020B0604020202020204"/>
                <a:ea typeface="楷体" panose="02010609060101010101" pitchFamily="49" charset="-122"/>
                <a:cs typeface="Arial" panose="020B0604020202020204" pitchFamily="34" charset="0"/>
              </a:rPr>
              <a:t>4</a:t>
            </a:r>
            <a:endParaRPr lang="en-US" sz="1630" b="1" dirty="0">
              <a:solidFill>
                <a:srgbClr val="FFFFFF"/>
              </a:solidFill>
              <a:latin typeface="Arial" panose="020B0604020202020204"/>
              <a:ea typeface="楷体" panose="02010609060101010101" pitchFamily="49" charset="-122"/>
              <a:cs typeface="Arial" panose="020B0604020202020204" pitchFamily="34" charset="0"/>
            </a:endParaRPr>
          </a:p>
        </p:txBody>
      </p:sp>
      <p:sp>
        <p:nvSpPr>
          <p:cNvPr id="40"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t>战略</a:t>
            </a:r>
            <a:r>
              <a:rPr lang="zh-CN" altLang="en-US" sz="2400" dirty="0"/>
              <a:t>实施路径图：将各项关键战略举措分解到若干阶段</a:t>
            </a:r>
            <a:endParaRPr lang="zh-CN" altLang="en-US" sz="2400" dirty="0">
              <a:solidFill>
                <a:prstClr val="black"/>
              </a:solidFill>
              <a:latin typeface="华文楷体" panose="02010600040101010101" charset="-122"/>
            </a:endParaRPr>
          </a:p>
        </p:txBody>
      </p:sp>
      <p:pic>
        <p:nvPicPr>
          <p:cNvPr id="38" name="图片 37"/>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37" name="think-cell Slide" r:id="rId2" imgW="12700" imgH="12700" progId="TCLayout.ActiveDocument.1">
                  <p:embed/>
                </p:oleObj>
              </mc:Choice>
              <mc:Fallback>
                <p:oleObj name="think-cell Slide" r:id="rId2" imgW="12700" imgH="12700" progId="TCLayout.ActiveDocument.1">
                  <p:embed/>
                  <p:pic>
                    <p:nvPicPr>
                      <p:cNvPr id="0" name="对象 2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5" name="îŝḷïḓè"/>
          <p:cNvSpPr/>
          <p:nvPr/>
        </p:nvSpPr>
        <p:spPr>
          <a:xfrm rot="16200000">
            <a:off x="3915880" y="2547408"/>
            <a:ext cx="4319301" cy="411414"/>
          </a:xfrm>
          <a:prstGeom prst="rightArrow">
            <a:avLst>
              <a:gd name="adj1" fmla="val 42611"/>
              <a:gd name="adj2" fmla="val 85179"/>
            </a:avLst>
          </a:prstGeom>
          <a:solidFill>
            <a:schemeClr val="bg1">
              <a:lumMod val="85000"/>
            </a:schemeClr>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6" name="iṥlïḑe"/>
          <p:cNvSpPr/>
          <p:nvPr/>
        </p:nvSpPr>
        <p:spPr>
          <a:xfrm rot="16200000">
            <a:off x="4741364" y="2708773"/>
            <a:ext cx="3996572" cy="411414"/>
          </a:xfrm>
          <a:prstGeom prst="rightArrow">
            <a:avLst>
              <a:gd name="adj1" fmla="val 42611"/>
              <a:gd name="adj2" fmla="val 85179"/>
            </a:avLst>
          </a:prstGeom>
          <a:solidFill>
            <a:schemeClr val="bg1">
              <a:lumMod val="85000"/>
            </a:schemeClr>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8" name="ïsľíḍé"/>
          <p:cNvSpPr/>
          <p:nvPr/>
        </p:nvSpPr>
        <p:spPr>
          <a:xfrm rot="16200000">
            <a:off x="3373229" y="2708772"/>
            <a:ext cx="3996572" cy="411414"/>
          </a:xfrm>
          <a:prstGeom prst="rightArrow">
            <a:avLst>
              <a:gd name="adj1" fmla="val 42611"/>
              <a:gd name="adj2" fmla="val 85179"/>
            </a:avLst>
          </a:prstGeom>
          <a:solidFill>
            <a:schemeClr val="bg1">
              <a:lumMod val="85000"/>
            </a:schemeClr>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nvGrpSpPr>
          <p:cNvPr id="81" name="Group 351"/>
          <p:cNvGrpSpPr/>
          <p:nvPr/>
        </p:nvGrpSpPr>
        <p:grpSpPr>
          <a:xfrm>
            <a:off x="0" y="5192751"/>
            <a:ext cx="12192000" cy="1187943"/>
            <a:chOff x="601208" y="4959233"/>
            <a:chExt cx="7566247" cy="705799"/>
          </a:xfrm>
        </p:grpSpPr>
        <p:sp>
          <p:nvSpPr>
            <p:cNvPr id="82" name="íṥļíḑe"/>
            <p:cNvSpPr/>
            <p:nvPr/>
          </p:nvSpPr>
          <p:spPr>
            <a:xfrm rot="16200000" flipH="1">
              <a:off x="6320279" y="3817855"/>
              <a:ext cx="704586" cy="298976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30" y="840"/>
                  </a:lnTo>
                  <a:lnTo>
                    <a:pt x="21600" y="21600"/>
                  </a:lnTo>
                  <a:lnTo>
                    <a:pt x="21591" y="15894"/>
                  </a:lnTo>
                  <a:lnTo>
                    <a:pt x="0" y="0"/>
                  </a:lnTo>
                  <a:close/>
                </a:path>
              </a:pathLst>
            </a:custGeom>
            <a:solidFill>
              <a:schemeClr val="bg1">
                <a:lumMod val="85000"/>
              </a:schemeClr>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 name="ïslîḓè"/>
            <p:cNvSpPr/>
            <p:nvPr/>
          </p:nvSpPr>
          <p:spPr>
            <a:xfrm rot="16200000" flipH="1">
              <a:off x="5257028" y="4435855"/>
              <a:ext cx="703414" cy="1754935"/>
            </a:xfrm>
            <a:custGeom>
              <a:avLst/>
              <a:gdLst/>
              <a:ahLst/>
              <a:cxnLst>
                <a:cxn ang="0">
                  <a:pos x="wd2" y="hd2"/>
                </a:cxn>
                <a:cxn ang="5400000">
                  <a:pos x="wd2" y="hd2"/>
                </a:cxn>
                <a:cxn ang="10800000">
                  <a:pos x="wd2" y="hd2"/>
                </a:cxn>
                <a:cxn ang="16200000">
                  <a:pos x="wd2" y="hd2"/>
                </a:cxn>
              </a:cxnLst>
              <a:rect l="0" t="0" r="r" b="b"/>
              <a:pathLst>
                <a:path w="21600" h="21600" extrusionOk="0">
                  <a:moveTo>
                    <a:pt x="4" y="0"/>
                  </a:moveTo>
                  <a:lnTo>
                    <a:pt x="0" y="1391"/>
                  </a:lnTo>
                  <a:lnTo>
                    <a:pt x="21600" y="21600"/>
                  </a:lnTo>
                  <a:lnTo>
                    <a:pt x="21600" y="12014"/>
                  </a:lnTo>
                  <a:lnTo>
                    <a:pt x="4" y="0"/>
                  </a:lnTo>
                  <a:close/>
                </a:path>
              </a:pathLst>
            </a:custGeom>
            <a:solidFill>
              <a:schemeClr val="bg1">
                <a:lumMod val="85000"/>
              </a:schemeClr>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 name="í$ļîḍe"/>
            <p:cNvSpPr/>
            <p:nvPr/>
          </p:nvSpPr>
          <p:spPr>
            <a:xfrm rot="16200000" flipH="1">
              <a:off x="4044525" y="4920212"/>
              <a:ext cx="705338" cy="784298"/>
            </a:xfrm>
            <a:custGeom>
              <a:avLst/>
              <a:gdLst/>
              <a:ahLst/>
              <a:cxnLst>
                <a:cxn ang="0">
                  <a:pos x="wd2" y="hd2"/>
                </a:cxn>
                <a:cxn ang="5400000">
                  <a:pos x="wd2" y="hd2"/>
                </a:cxn>
                <a:cxn ang="10800000">
                  <a:pos x="wd2" y="hd2"/>
                </a:cxn>
                <a:cxn ang="16200000">
                  <a:pos x="wd2" y="hd2"/>
                </a:cxn>
              </a:cxnLst>
              <a:rect l="0" t="0" r="r" b="b"/>
              <a:pathLst>
                <a:path w="21600" h="21600" extrusionOk="0">
                  <a:moveTo>
                    <a:pt x="61" y="8656"/>
                  </a:moveTo>
                  <a:lnTo>
                    <a:pt x="21589" y="0"/>
                  </a:lnTo>
                  <a:lnTo>
                    <a:pt x="21600" y="21600"/>
                  </a:lnTo>
                  <a:lnTo>
                    <a:pt x="0" y="11830"/>
                  </a:lnTo>
                  <a:lnTo>
                    <a:pt x="61" y="8656"/>
                  </a:lnTo>
                  <a:close/>
                </a:path>
              </a:pathLst>
            </a:custGeom>
            <a:solidFill>
              <a:schemeClr val="bg1">
                <a:lumMod val="85000"/>
              </a:schemeClr>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 name="ïṣḻîďê"/>
            <p:cNvSpPr/>
            <p:nvPr/>
          </p:nvSpPr>
          <p:spPr>
            <a:xfrm rot="16200000" flipH="1">
              <a:off x="2794415" y="4453953"/>
              <a:ext cx="704631" cy="1717525"/>
            </a:xfrm>
            <a:custGeom>
              <a:avLst/>
              <a:gdLst/>
              <a:ahLst/>
              <a:cxnLst>
                <a:cxn ang="0">
                  <a:pos x="wd2" y="hd2"/>
                </a:cxn>
                <a:cxn ang="5400000">
                  <a:pos x="wd2" y="hd2"/>
                </a:cxn>
                <a:cxn ang="10800000">
                  <a:pos x="wd2" y="hd2"/>
                </a:cxn>
                <a:cxn ang="16200000">
                  <a:pos x="wd2" y="hd2"/>
                </a:cxn>
              </a:cxnLst>
              <a:rect l="0" t="0" r="r" b="b"/>
              <a:pathLst>
                <a:path w="21600" h="21600" extrusionOk="0">
                  <a:moveTo>
                    <a:pt x="27" y="20157"/>
                  </a:moveTo>
                  <a:lnTo>
                    <a:pt x="21588" y="0"/>
                  </a:lnTo>
                  <a:lnTo>
                    <a:pt x="21600" y="9767"/>
                  </a:lnTo>
                  <a:lnTo>
                    <a:pt x="0" y="21600"/>
                  </a:lnTo>
                  <a:lnTo>
                    <a:pt x="27" y="20157"/>
                  </a:lnTo>
                  <a:close/>
                </a:path>
              </a:pathLst>
            </a:custGeom>
            <a:solidFill>
              <a:schemeClr val="bg1">
                <a:lumMod val="85000"/>
              </a:schemeClr>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 name="îṥ1îḋê"/>
            <p:cNvSpPr/>
            <p:nvPr/>
          </p:nvSpPr>
          <p:spPr>
            <a:xfrm rot="16200000" flipH="1">
              <a:off x="1737110" y="3823331"/>
              <a:ext cx="705797" cy="2977601"/>
            </a:xfrm>
            <a:custGeom>
              <a:avLst/>
              <a:gdLst/>
              <a:ahLst/>
              <a:cxnLst>
                <a:cxn ang="0">
                  <a:pos x="wd2" y="hd2"/>
                </a:cxn>
                <a:cxn ang="5400000">
                  <a:pos x="wd2" y="hd2"/>
                </a:cxn>
                <a:cxn ang="10800000">
                  <a:pos x="wd2" y="hd2"/>
                </a:cxn>
                <a:cxn ang="16200000">
                  <a:pos x="wd2" y="hd2"/>
                </a:cxn>
              </a:cxnLst>
              <a:rect l="0" t="0" r="r" b="b"/>
              <a:pathLst>
                <a:path w="21600" h="21600" extrusionOk="0">
                  <a:moveTo>
                    <a:pt x="0" y="20728"/>
                  </a:moveTo>
                  <a:lnTo>
                    <a:pt x="21600" y="0"/>
                  </a:lnTo>
                  <a:lnTo>
                    <a:pt x="21591" y="5658"/>
                  </a:lnTo>
                  <a:lnTo>
                    <a:pt x="48" y="21600"/>
                  </a:lnTo>
                  <a:lnTo>
                    <a:pt x="0" y="20728"/>
                  </a:lnTo>
                  <a:close/>
                </a:path>
              </a:pathLst>
            </a:custGeom>
            <a:solidFill>
              <a:schemeClr val="bg1">
                <a:lumMod val="85000"/>
              </a:schemeClr>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87" name="矩形 86"/>
          <p:cNvSpPr/>
          <p:nvPr/>
        </p:nvSpPr>
        <p:spPr>
          <a:xfrm>
            <a:off x="560070" y="1277740"/>
            <a:ext cx="1020933" cy="4483224"/>
          </a:xfrm>
          <a:prstGeom prst="rect">
            <a:avLst/>
          </a:prstGeom>
          <a:solidFill>
            <a:schemeClr val="bg1"/>
          </a:solidFill>
          <a:ln w="1905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90" name="组合 89"/>
          <p:cNvGrpSpPr/>
          <p:nvPr/>
        </p:nvGrpSpPr>
        <p:grpSpPr>
          <a:xfrm>
            <a:off x="4568310" y="1346499"/>
            <a:ext cx="3174924" cy="3682806"/>
            <a:chOff x="4496512" y="2034540"/>
            <a:chExt cx="3174924" cy="3243984"/>
          </a:xfrm>
        </p:grpSpPr>
        <p:sp>
          <p:nvSpPr>
            <p:cNvPr id="79" name="íŝlîḍé"/>
            <p:cNvSpPr/>
            <p:nvPr/>
          </p:nvSpPr>
          <p:spPr>
            <a:xfrm rot="16200000">
              <a:off x="5843736" y="3450823"/>
              <a:ext cx="3243984" cy="411417"/>
            </a:xfrm>
            <a:prstGeom prst="rightArrow">
              <a:avLst>
                <a:gd name="adj1" fmla="val 42611"/>
                <a:gd name="adj2" fmla="val 85179"/>
              </a:avLst>
            </a:prstGeom>
            <a:solidFill>
              <a:schemeClr val="bg1">
                <a:lumMod val="85000"/>
              </a:schemeClr>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 name="íṡḻîďè"/>
            <p:cNvSpPr/>
            <p:nvPr/>
          </p:nvSpPr>
          <p:spPr>
            <a:xfrm rot="16200000">
              <a:off x="3080227" y="3450825"/>
              <a:ext cx="3243984" cy="411414"/>
            </a:xfrm>
            <a:prstGeom prst="rightArrow">
              <a:avLst>
                <a:gd name="adj1" fmla="val 42611"/>
                <a:gd name="adj2" fmla="val 85179"/>
              </a:avLst>
            </a:prstGeom>
            <a:solidFill>
              <a:schemeClr val="bg1">
                <a:lumMod val="85000"/>
              </a:schemeClr>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11" name="任意多边形 46"/>
          <p:cNvSpPr/>
          <p:nvPr/>
        </p:nvSpPr>
        <p:spPr>
          <a:xfrm>
            <a:off x="9524201" y="1472440"/>
            <a:ext cx="2107729" cy="4111946"/>
          </a:xfrm>
          <a:prstGeom prst="roundRect">
            <a:avLst>
              <a:gd name="adj" fmla="val 6196"/>
            </a:avLst>
          </a:prstGeom>
          <a:solidFill>
            <a:schemeClr val="accent1">
              <a:lumMod val="40000"/>
              <a:lumOff val="60000"/>
              <a:alpha val="10196"/>
            </a:schemeClr>
          </a:solidFill>
          <a:ln w="19050" cap="flat" cmpd="sng" algn="ctr">
            <a:solidFill>
              <a:srgbClr val="FE5817"/>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marL="0" marR="0" lvl="0" indent="0" algn="ctr" defTabSz="914400" rtl="0" eaLnBrk="1" fontAlgn="auto" latinLnBrk="0" hangingPunct="1">
              <a:lnSpc>
                <a:spcPct val="100000"/>
              </a:lnSpc>
              <a:spcBef>
                <a:spcPts val="1200"/>
              </a:spcBef>
              <a:spcAft>
                <a:spcPts val="600"/>
              </a:spcAft>
              <a:buClrTx/>
              <a:buSzTx/>
              <a:buFontTx/>
              <a:buNone/>
              <a:defRPr/>
            </a:pPr>
            <a:r>
              <a:rPr kumimoji="0" lang="en-US" altLang="zh-CN" sz="2400" b="1" i="0" u="none" strike="noStrike" kern="1200" cap="none" spc="0" normalizeH="0" baseline="0" noProof="0" smtClean="0">
                <a:ln>
                  <a:noFill/>
                </a:ln>
                <a:solidFill>
                  <a:srgbClr val="FE8637">
                    <a:lumMod val="75000"/>
                  </a:srgbClr>
                </a:solidFill>
                <a:effectLst/>
                <a:uLnTx/>
                <a:uFillTx/>
                <a:latin typeface="Arial" panose="020B0604020202020204"/>
                <a:ea typeface="华文楷体" panose="02010600040101010101" charset="-122"/>
                <a:cs typeface="+mn-cs"/>
              </a:rPr>
              <a:t>XXXX</a:t>
            </a:r>
            <a:endParaRPr kumimoji="0" lang="zh-CN" altLang="en-US" sz="2400" b="1" i="0" u="none" strike="noStrike" kern="120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endParaRPr>
          </a:p>
        </p:txBody>
      </p:sp>
      <p:grpSp>
        <p:nvGrpSpPr>
          <p:cNvPr id="94" name="组合 93"/>
          <p:cNvGrpSpPr/>
          <p:nvPr/>
        </p:nvGrpSpPr>
        <p:grpSpPr>
          <a:xfrm>
            <a:off x="8998640" y="1472440"/>
            <a:ext cx="291594" cy="940761"/>
            <a:chOff x="8926842" y="1838200"/>
            <a:chExt cx="291594" cy="940761"/>
          </a:xfrm>
        </p:grpSpPr>
        <p:cxnSp>
          <p:nvCxnSpPr>
            <p:cNvPr id="12" name="Straight Connector 942"/>
            <p:cNvCxnSpPr/>
            <p:nvPr/>
          </p:nvCxnSpPr>
          <p:spPr bwMode="auto">
            <a:xfrm>
              <a:off x="9072639" y="1838200"/>
              <a:ext cx="0" cy="940761"/>
            </a:xfrm>
            <a:prstGeom prst="line">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cxnSp>
        <p:grpSp>
          <p:nvGrpSpPr>
            <p:cNvPr id="13" name="Group 943"/>
            <p:cNvGrpSpPr/>
            <p:nvPr/>
          </p:nvGrpSpPr>
          <p:grpSpPr>
            <a:xfrm>
              <a:off x="8926842" y="2162783"/>
              <a:ext cx="291594" cy="291594"/>
              <a:chOff x="982662" y="1847850"/>
              <a:chExt cx="269875" cy="269875"/>
            </a:xfrm>
          </p:grpSpPr>
          <p:sp>
            <p:nvSpPr>
              <p:cNvPr id="14" name="Oval 50"/>
              <p:cNvSpPr>
                <a:spLocks noChangeArrowheads="1"/>
              </p:cNvSpPr>
              <p:nvPr/>
            </p:nvSpPr>
            <p:spPr bwMode="auto">
              <a:xfrm>
                <a:off x="982662" y="1847850"/>
                <a:ext cx="269875" cy="269875"/>
              </a:xfrm>
              <a:prstGeom prst="ellipse">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endParaRPr lang="en-US" dirty="0">
                  <a:solidFill>
                    <a:schemeClr val="dk1"/>
                  </a:solidFill>
                </a:endParaRPr>
              </a:p>
            </p:txBody>
          </p:sp>
          <p:sp>
            <p:nvSpPr>
              <p:cNvPr id="15" name="Freeform 51"/>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endParaRPr lang="en-US" dirty="0">
                  <a:solidFill>
                    <a:schemeClr val="dk1"/>
                  </a:solidFill>
                </a:endParaRPr>
              </a:p>
            </p:txBody>
          </p:sp>
        </p:grpSp>
      </p:grpSp>
      <p:grpSp>
        <p:nvGrpSpPr>
          <p:cNvPr id="93" name="组合 92"/>
          <p:cNvGrpSpPr/>
          <p:nvPr/>
        </p:nvGrpSpPr>
        <p:grpSpPr>
          <a:xfrm>
            <a:off x="8998640" y="2529502"/>
            <a:ext cx="291594" cy="940761"/>
            <a:chOff x="8926842" y="2895262"/>
            <a:chExt cx="291594" cy="940761"/>
          </a:xfrm>
        </p:grpSpPr>
        <p:cxnSp>
          <p:nvCxnSpPr>
            <p:cNvPr id="37" name="Straight Connector 942"/>
            <p:cNvCxnSpPr/>
            <p:nvPr/>
          </p:nvCxnSpPr>
          <p:spPr bwMode="auto">
            <a:xfrm>
              <a:off x="9072639" y="2895262"/>
              <a:ext cx="0" cy="940761"/>
            </a:xfrm>
            <a:prstGeom prst="line">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cxnSp>
        <p:grpSp>
          <p:nvGrpSpPr>
            <p:cNvPr id="38" name="Group 943"/>
            <p:cNvGrpSpPr/>
            <p:nvPr/>
          </p:nvGrpSpPr>
          <p:grpSpPr>
            <a:xfrm>
              <a:off x="8926842" y="3219846"/>
              <a:ext cx="291594" cy="291594"/>
              <a:chOff x="982662" y="1847850"/>
              <a:chExt cx="269875" cy="269875"/>
            </a:xfrm>
          </p:grpSpPr>
          <p:sp>
            <p:nvSpPr>
              <p:cNvPr id="39" name="Oval 50"/>
              <p:cNvSpPr>
                <a:spLocks noChangeArrowheads="1"/>
              </p:cNvSpPr>
              <p:nvPr/>
            </p:nvSpPr>
            <p:spPr bwMode="auto">
              <a:xfrm>
                <a:off x="982662" y="1847850"/>
                <a:ext cx="269875" cy="269875"/>
              </a:xfrm>
              <a:prstGeom prst="ellipse">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endParaRPr lang="en-US" dirty="0">
                  <a:solidFill>
                    <a:schemeClr val="dk1"/>
                  </a:solidFill>
                </a:endParaRPr>
              </a:p>
            </p:txBody>
          </p:sp>
          <p:sp>
            <p:nvSpPr>
              <p:cNvPr id="40" name="Freeform 51"/>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endParaRPr lang="en-US" dirty="0">
                  <a:solidFill>
                    <a:schemeClr val="dk1"/>
                  </a:solidFill>
                </a:endParaRPr>
              </a:p>
            </p:txBody>
          </p:sp>
        </p:grpSp>
      </p:grpSp>
      <p:grpSp>
        <p:nvGrpSpPr>
          <p:cNvPr id="92" name="组合 91"/>
          <p:cNvGrpSpPr/>
          <p:nvPr/>
        </p:nvGrpSpPr>
        <p:grpSpPr>
          <a:xfrm>
            <a:off x="8998640" y="3586564"/>
            <a:ext cx="291594" cy="940761"/>
            <a:chOff x="8926842" y="3952324"/>
            <a:chExt cx="291594" cy="940761"/>
          </a:xfrm>
        </p:grpSpPr>
        <p:cxnSp>
          <p:nvCxnSpPr>
            <p:cNvPr id="42" name="Straight Connector 942"/>
            <p:cNvCxnSpPr/>
            <p:nvPr/>
          </p:nvCxnSpPr>
          <p:spPr bwMode="auto">
            <a:xfrm>
              <a:off x="9072639" y="3952324"/>
              <a:ext cx="0" cy="940761"/>
            </a:xfrm>
            <a:prstGeom prst="line">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cxnSp>
        <p:grpSp>
          <p:nvGrpSpPr>
            <p:cNvPr id="43" name="Group 943"/>
            <p:cNvGrpSpPr/>
            <p:nvPr/>
          </p:nvGrpSpPr>
          <p:grpSpPr>
            <a:xfrm>
              <a:off x="8926842" y="4276908"/>
              <a:ext cx="291594" cy="291594"/>
              <a:chOff x="982662" y="1847850"/>
              <a:chExt cx="269875" cy="269875"/>
            </a:xfrm>
          </p:grpSpPr>
          <p:sp>
            <p:nvSpPr>
              <p:cNvPr id="44" name="Oval 50"/>
              <p:cNvSpPr>
                <a:spLocks noChangeArrowheads="1"/>
              </p:cNvSpPr>
              <p:nvPr/>
            </p:nvSpPr>
            <p:spPr bwMode="auto">
              <a:xfrm>
                <a:off x="982662" y="1847850"/>
                <a:ext cx="269875" cy="269875"/>
              </a:xfrm>
              <a:prstGeom prst="ellipse">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endParaRPr lang="en-US" dirty="0">
                  <a:solidFill>
                    <a:schemeClr val="dk1"/>
                  </a:solidFill>
                </a:endParaRPr>
              </a:p>
            </p:txBody>
          </p:sp>
          <p:sp>
            <p:nvSpPr>
              <p:cNvPr id="45" name="Freeform 51"/>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endParaRPr lang="en-US" dirty="0">
                  <a:solidFill>
                    <a:schemeClr val="dk1"/>
                  </a:solidFill>
                </a:endParaRPr>
              </a:p>
            </p:txBody>
          </p:sp>
        </p:grpSp>
      </p:grpSp>
      <p:grpSp>
        <p:nvGrpSpPr>
          <p:cNvPr id="91" name="组合 90"/>
          <p:cNvGrpSpPr/>
          <p:nvPr/>
        </p:nvGrpSpPr>
        <p:grpSpPr>
          <a:xfrm>
            <a:off x="8998640" y="4643625"/>
            <a:ext cx="291594" cy="940761"/>
            <a:chOff x="8926842" y="5009385"/>
            <a:chExt cx="291594" cy="940761"/>
          </a:xfrm>
        </p:grpSpPr>
        <p:cxnSp>
          <p:nvCxnSpPr>
            <p:cNvPr id="47" name="Straight Connector 942"/>
            <p:cNvCxnSpPr/>
            <p:nvPr/>
          </p:nvCxnSpPr>
          <p:spPr bwMode="auto">
            <a:xfrm>
              <a:off x="9072639" y="5009385"/>
              <a:ext cx="0" cy="940761"/>
            </a:xfrm>
            <a:prstGeom prst="line">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cxnSp>
        <p:grpSp>
          <p:nvGrpSpPr>
            <p:cNvPr id="48" name="Group 943"/>
            <p:cNvGrpSpPr/>
            <p:nvPr/>
          </p:nvGrpSpPr>
          <p:grpSpPr>
            <a:xfrm>
              <a:off x="8926842" y="5333969"/>
              <a:ext cx="291594" cy="291594"/>
              <a:chOff x="982662" y="1847850"/>
              <a:chExt cx="269875" cy="269875"/>
            </a:xfrm>
          </p:grpSpPr>
          <p:sp>
            <p:nvSpPr>
              <p:cNvPr id="49" name="Oval 50"/>
              <p:cNvSpPr>
                <a:spLocks noChangeArrowheads="1"/>
              </p:cNvSpPr>
              <p:nvPr/>
            </p:nvSpPr>
            <p:spPr bwMode="auto">
              <a:xfrm>
                <a:off x="982662" y="1847850"/>
                <a:ext cx="269875" cy="269875"/>
              </a:xfrm>
              <a:prstGeom prst="ellipse">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endParaRPr lang="en-US" dirty="0">
                  <a:solidFill>
                    <a:schemeClr val="dk1"/>
                  </a:solidFill>
                </a:endParaRPr>
              </a:p>
            </p:txBody>
          </p:sp>
          <p:sp>
            <p:nvSpPr>
              <p:cNvPr id="50" name="Freeform 51"/>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endParaRPr lang="en-US" dirty="0">
                  <a:solidFill>
                    <a:schemeClr val="dk1"/>
                  </a:solidFill>
                </a:endParaRPr>
              </a:p>
            </p:txBody>
          </p:sp>
        </p:grpSp>
      </p:grpSp>
      <p:sp>
        <p:nvSpPr>
          <p:cNvPr id="24" name="任意多边形 52"/>
          <p:cNvSpPr/>
          <p:nvPr/>
        </p:nvSpPr>
        <p:spPr>
          <a:xfrm>
            <a:off x="2854432" y="3586564"/>
            <a:ext cx="6031456" cy="940761"/>
          </a:xfrm>
          <a:prstGeom prst="roundRect">
            <a:avLst>
              <a:gd name="adj" fmla="val 6196"/>
            </a:avLst>
          </a:prstGeom>
          <a:solidFill>
            <a:srgbClr val="F2F2F2"/>
          </a:solidFill>
          <a:ln w="19050" cap="flat" cmpd="sng" algn="ctr">
            <a:solidFill>
              <a:srgbClr val="808080"/>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2000" b="0" i="0" u="none" strike="noStrike" kern="1200" cap="none" spc="0" normalizeH="0" baseline="0" noProof="0" smtClean="0">
                <a:ln>
                  <a:noFill/>
                </a:ln>
                <a:solidFill>
                  <a:prstClr val="black">
                    <a:lumMod val="100000"/>
                  </a:prstClr>
                </a:solidFill>
                <a:effectLst/>
                <a:uLnTx/>
                <a:uFillTx/>
                <a:latin typeface="Arial" panose="020B0604020202020204"/>
                <a:ea typeface="华文楷体" panose="02010600040101010101" charset="-122"/>
                <a:cs typeface="+mn-cs"/>
              </a:rPr>
              <a:t>XXX</a:t>
            </a:r>
            <a:endParaRPr kumimoji="0" lang="en-US" altLang="zh-CN" sz="20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cs typeface="+mn-cs"/>
            </a:endParaRPr>
          </a:p>
        </p:txBody>
      </p:sp>
      <p:sp>
        <p:nvSpPr>
          <p:cNvPr id="16" name="任意多边形 49"/>
          <p:cNvSpPr/>
          <p:nvPr/>
        </p:nvSpPr>
        <p:spPr>
          <a:xfrm>
            <a:off x="2854432" y="2529502"/>
            <a:ext cx="6031456" cy="940761"/>
          </a:xfrm>
          <a:prstGeom prst="roundRect">
            <a:avLst>
              <a:gd name="adj" fmla="val 6196"/>
            </a:avLst>
          </a:prstGeom>
          <a:solidFill>
            <a:srgbClr val="F2F2F2"/>
          </a:solidFill>
          <a:ln w="19050" cap="flat" cmpd="sng" algn="ctr">
            <a:solidFill>
              <a:srgbClr val="808080"/>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marL="323850" marR="0" lvl="1" indent="-215900" algn="l" defTabSz="2667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1800" b="0" i="0" u="none" strike="noStrike" kern="1200" cap="none" spc="0" normalizeH="0" baseline="0" noProof="0" smtClean="0">
                <a:ln>
                  <a:noFill/>
                </a:ln>
                <a:solidFill>
                  <a:prstClr val="black">
                    <a:lumMod val="100000"/>
                  </a:prstClr>
                </a:solidFill>
                <a:effectLst/>
                <a:uLnTx/>
                <a:uFillTx/>
                <a:latin typeface="Arial" panose="020B0604020202020204"/>
                <a:ea typeface="华文楷体" panose="02010600040101010101" charset="-122"/>
                <a:cs typeface="+mn-cs"/>
              </a:rPr>
              <a:t>XXX</a:t>
            </a:r>
            <a:endParaRPr kumimoji="0" lang="zh-CN" altLang="en-US" sz="18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cs typeface="+mn-cs"/>
            </a:endParaRPr>
          </a:p>
        </p:txBody>
      </p:sp>
      <p:sp>
        <p:nvSpPr>
          <p:cNvPr id="10" name="任意多边形 46"/>
          <p:cNvSpPr/>
          <p:nvPr/>
        </p:nvSpPr>
        <p:spPr>
          <a:xfrm>
            <a:off x="2854432" y="1472440"/>
            <a:ext cx="6031456" cy="940761"/>
          </a:xfrm>
          <a:prstGeom prst="roundRect">
            <a:avLst>
              <a:gd name="adj" fmla="val 6196"/>
            </a:avLst>
          </a:prstGeom>
          <a:solidFill>
            <a:srgbClr val="F2F2F2"/>
          </a:solidFill>
          <a:ln w="19050" cap="flat" cmpd="sng" algn="ctr">
            <a:solidFill>
              <a:srgbClr val="808080"/>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2000" b="0" i="0" u="none" strike="noStrike" kern="1200" cap="none" spc="0" normalizeH="0" baseline="0" noProof="0" smtClean="0">
                <a:ln>
                  <a:noFill/>
                </a:ln>
                <a:solidFill>
                  <a:prstClr val="black">
                    <a:lumMod val="100000"/>
                  </a:prstClr>
                </a:solidFill>
                <a:effectLst/>
                <a:uLnTx/>
                <a:uFillTx/>
                <a:latin typeface="Arial" panose="020B0604020202020204"/>
                <a:ea typeface="华文楷体" panose="02010600040101010101" charset="-122"/>
                <a:cs typeface="+mn-cs"/>
              </a:rPr>
              <a:t>XXX</a:t>
            </a:r>
            <a:endParaRPr kumimoji="0" lang="en-US" altLang="zh-CN" sz="20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cs typeface="+mn-cs"/>
            </a:endParaRPr>
          </a:p>
        </p:txBody>
      </p:sp>
      <p:sp>
        <p:nvSpPr>
          <p:cNvPr id="30" name="任意多边形 52"/>
          <p:cNvSpPr/>
          <p:nvPr/>
        </p:nvSpPr>
        <p:spPr>
          <a:xfrm>
            <a:off x="2854432" y="4643625"/>
            <a:ext cx="6031456" cy="940761"/>
          </a:xfrm>
          <a:prstGeom prst="roundRect">
            <a:avLst>
              <a:gd name="adj" fmla="val 6196"/>
            </a:avLst>
          </a:prstGeom>
          <a:solidFill>
            <a:srgbClr val="F2F2F2"/>
          </a:solidFill>
          <a:ln w="19050" cap="flat" cmpd="sng" algn="ctr">
            <a:solidFill>
              <a:srgbClr val="808080"/>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2000" b="0" i="0" u="none" strike="noStrike" kern="1200" cap="none" spc="0" normalizeH="0" baseline="0" noProof="0" smtClean="0">
                <a:ln>
                  <a:noFill/>
                </a:ln>
                <a:solidFill>
                  <a:prstClr val="black">
                    <a:lumMod val="100000"/>
                  </a:prstClr>
                </a:solidFill>
                <a:effectLst/>
                <a:uLnTx/>
                <a:uFillTx/>
                <a:latin typeface="Arial" panose="020B0604020202020204"/>
                <a:ea typeface="华文楷体" panose="02010600040101010101" charset="-122"/>
                <a:cs typeface="+mn-cs"/>
              </a:rPr>
              <a:t>XXXXX</a:t>
            </a:r>
            <a:endParaRPr kumimoji="0" lang="en-US" altLang="zh-CN" sz="20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cs typeface="+mn-cs"/>
            </a:endParaRPr>
          </a:p>
        </p:txBody>
      </p:sp>
      <p:sp>
        <p:nvSpPr>
          <p:cNvPr id="56" name="任意多边形 49"/>
          <p:cNvSpPr/>
          <p:nvPr/>
        </p:nvSpPr>
        <p:spPr>
          <a:xfrm>
            <a:off x="1234773" y="2529502"/>
            <a:ext cx="1540244" cy="940761"/>
          </a:xfrm>
          <a:prstGeom prst="roundRect">
            <a:avLst>
              <a:gd name="adj" fmla="val 6196"/>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marL="0" lvl="1" algn="ctr">
              <a:buClr>
                <a:srgbClr val="575F6D">
                  <a:lumMod val="100000"/>
                </a:srgbClr>
              </a:buClr>
              <a:buSzPct val="100000"/>
            </a:pPr>
            <a:r>
              <a:rPr lang="zh-CN" altLang="en-US" sz="2000" b="1" dirty="0">
                <a:solidFill>
                  <a:prstClr val="white"/>
                </a:solidFill>
                <a:latin typeface="Arial" panose="020B0604020202020204"/>
                <a:ea typeface="华文楷体" panose="02010600040101010101" charset="-122"/>
              </a:rPr>
              <a:t>统一标准</a:t>
            </a:r>
            <a:endParaRPr lang="zh-CN" altLang="en-US" sz="2000" b="1" dirty="0">
              <a:solidFill>
                <a:prstClr val="white"/>
              </a:solidFill>
              <a:latin typeface="Arial" panose="020B0604020202020204"/>
              <a:ea typeface="华文楷体" panose="02010600040101010101" charset="-122"/>
            </a:endParaRPr>
          </a:p>
        </p:txBody>
      </p:sp>
      <p:sp>
        <p:nvSpPr>
          <p:cNvPr id="57" name="任意多边形 52"/>
          <p:cNvSpPr/>
          <p:nvPr/>
        </p:nvSpPr>
        <p:spPr>
          <a:xfrm>
            <a:off x="1234773" y="3586564"/>
            <a:ext cx="1540244" cy="940761"/>
          </a:xfrm>
          <a:prstGeom prst="roundRect">
            <a:avLst>
              <a:gd name="adj" fmla="val 6196"/>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marL="0" lvl="1" algn="ctr">
              <a:buClr>
                <a:srgbClr val="575F6D">
                  <a:lumMod val="100000"/>
                </a:srgbClr>
              </a:buClr>
              <a:buSzPct val="100000"/>
            </a:pPr>
            <a:r>
              <a:rPr lang="zh-CN" altLang="en-US" sz="2000" b="1" dirty="0">
                <a:solidFill>
                  <a:prstClr val="white"/>
                </a:solidFill>
                <a:latin typeface="Arial" panose="020B0604020202020204"/>
                <a:ea typeface="华文楷体" panose="02010600040101010101" charset="-122"/>
              </a:rPr>
              <a:t>动态监管</a:t>
            </a:r>
            <a:endParaRPr lang="en-US" altLang="zh-CN" sz="2000" b="1" dirty="0">
              <a:solidFill>
                <a:prstClr val="white"/>
              </a:solidFill>
              <a:latin typeface="Arial" panose="020B0604020202020204"/>
              <a:ea typeface="华文楷体" panose="02010600040101010101" charset="-122"/>
            </a:endParaRPr>
          </a:p>
        </p:txBody>
      </p:sp>
      <p:sp>
        <p:nvSpPr>
          <p:cNvPr id="58" name="任意多边形 46"/>
          <p:cNvSpPr/>
          <p:nvPr/>
        </p:nvSpPr>
        <p:spPr>
          <a:xfrm>
            <a:off x="1234773" y="1472440"/>
            <a:ext cx="1540244" cy="940761"/>
          </a:xfrm>
          <a:prstGeom prst="roundRect">
            <a:avLst>
              <a:gd name="adj" fmla="val 6196"/>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marL="0" marR="0" lvl="1" indent="0" algn="ctr" defTabSz="914400" rtl="0" eaLnBrk="1" fontAlgn="auto" latinLnBrk="0" hangingPunct="1">
              <a:lnSpc>
                <a:spcPct val="100000"/>
              </a:lnSpc>
              <a:spcBef>
                <a:spcPts val="0"/>
              </a:spcBef>
              <a:spcAft>
                <a:spcPts val="0"/>
              </a:spcAft>
              <a:buClr>
                <a:srgbClr val="575F6D">
                  <a:lumMod val="100000"/>
                </a:srgbClr>
              </a:buClr>
              <a:buSzPct val="100000"/>
              <a:buFontTx/>
              <a:buNone/>
              <a:defRPr/>
            </a:pPr>
            <a:r>
              <a:rPr kumimoji="0" lang="zh-CN" altLang="en-US" sz="20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盘清家底</a:t>
            </a:r>
            <a:endParaRPr kumimoji="0" lang="zh-CN" altLang="en-US" sz="20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59" name="任意多边形 52"/>
          <p:cNvSpPr/>
          <p:nvPr/>
        </p:nvSpPr>
        <p:spPr>
          <a:xfrm>
            <a:off x="1234773" y="4643625"/>
            <a:ext cx="1540244" cy="940761"/>
          </a:xfrm>
          <a:prstGeom prst="roundRect">
            <a:avLst>
              <a:gd name="adj" fmla="val 6196"/>
            </a:avLst>
          </a:prstGeom>
          <a:solidFill>
            <a:srgbClr val="FE5817"/>
          </a:solidFill>
          <a:ln w="19050" cap="flat" cmpd="sng" algn="ctr">
            <a:solidFill>
              <a:schemeClr val="bg1"/>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marL="0" lvl="1" algn="ctr">
              <a:buClr>
                <a:srgbClr val="575F6D">
                  <a:lumMod val="100000"/>
                </a:srgbClr>
              </a:buClr>
              <a:buSzPct val="100000"/>
            </a:pPr>
            <a:r>
              <a:rPr lang="zh-CN" altLang="en-US" sz="2000" b="1" dirty="0">
                <a:solidFill>
                  <a:prstClr val="white"/>
                </a:solidFill>
                <a:latin typeface="Arial" panose="020B0604020202020204"/>
                <a:ea typeface="华文楷体" panose="02010600040101010101" charset="-122"/>
              </a:rPr>
              <a:t>盘活资源</a:t>
            </a:r>
            <a:endParaRPr lang="en-US" altLang="zh-CN" sz="2000" b="1" dirty="0">
              <a:solidFill>
                <a:prstClr val="white"/>
              </a:solidFill>
              <a:latin typeface="Arial" panose="020B0604020202020204"/>
              <a:ea typeface="华文楷体" panose="02010600040101010101" charset="-122"/>
            </a:endParaRPr>
          </a:p>
        </p:txBody>
      </p:sp>
      <p:sp>
        <p:nvSpPr>
          <p:cNvPr id="88" name="矩形 87"/>
          <p:cNvSpPr/>
          <p:nvPr/>
        </p:nvSpPr>
        <p:spPr>
          <a:xfrm>
            <a:off x="688067" y="1407188"/>
            <a:ext cx="360274" cy="42649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bg1">
                    <a:lumMod val="50000"/>
                  </a:schemeClr>
                </a:solidFill>
              </a14:hiddenLine>
            </a:ext>
          </a:ex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200" b="1" i="0" u="none" strike="noStrike" kern="1200" cap="none" spc="0" normalizeH="0" baseline="0" noProof="0" smtClean="0">
                <a:ln>
                  <a:noFill/>
                </a:ln>
                <a:solidFill>
                  <a:srgbClr val="FE8637">
                    <a:lumMod val="75000"/>
                  </a:srgbClr>
                </a:solidFill>
                <a:effectLst/>
                <a:uLnTx/>
                <a:uFillTx/>
                <a:latin typeface="Arial" panose="020B0604020202020204"/>
                <a:ea typeface="华文楷体" panose="02010600040101010101" charset="-122"/>
                <a:cs typeface="+mn-cs"/>
              </a:rPr>
              <a:t>XXXX</a:t>
            </a:r>
            <a:endParaRPr kumimoji="0" lang="zh-CN" altLang="en-US" sz="2200" b="1" i="0" u="none" strike="noStrike" kern="120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endParaRPr>
          </a:p>
        </p:txBody>
      </p:sp>
      <p:sp>
        <p:nvSpPr>
          <p:cNvPr id="5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总结</a:t>
            </a:r>
            <a:endParaRPr lang="zh-CN" altLang="en-US" sz="2400" dirty="0">
              <a:solidFill>
                <a:prstClr val="black"/>
              </a:solidFill>
              <a:latin typeface="华文楷体" panose="02010600040101010101" charset="-122"/>
            </a:endParaRPr>
          </a:p>
        </p:txBody>
      </p:sp>
      <p:pic>
        <p:nvPicPr>
          <p:cNvPr id="55" name="图片 5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a:off x="659606" y="5710796"/>
            <a:ext cx="10872788" cy="0"/>
          </a:xfrm>
          <a:prstGeom prst="line">
            <a:avLst/>
          </a:prstGeom>
          <a:ln w="2857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矩形 4"/>
          <p:cNvSpPr/>
          <p:nvPr/>
        </p:nvSpPr>
        <p:spPr>
          <a:xfrm>
            <a:off x="9572624" y="1338824"/>
            <a:ext cx="1528763" cy="4371974"/>
          </a:xfrm>
          <a:prstGeom prst="rect">
            <a:avLst/>
          </a:prstGeom>
          <a:solidFill>
            <a:srgbClr val="E75C0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p:txBody>
      </p:sp>
      <p:sp>
        <p:nvSpPr>
          <p:cNvPr id="6" name="矩形 5"/>
          <p:cNvSpPr/>
          <p:nvPr/>
        </p:nvSpPr>
        <p:spPr>
          <a:xfrm>
            <a:off x="1157296" y="4339196"/>
            <a:ext cx="1080000" cy="1371602"/>
          </a:xfrm>
          <a:prstGeom prst="rect">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p:txBody>
      </p:sp>
      <p:sp>
        <p:nvSpPr>
          <p:cNvPr id="7" name="矩形 6"/>
          <p:cNvSpPr/>
          <p:nvPr/>
        </p:nvSpPr>
        <p:spPr>
          <a:xfrm>
            <a:off x="2764387" y="3424793"/>
            <a:ext cx="1080000" cy="900115"/>
          </a:xfrm>
          <a:prstGeom prst="rect">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endParaRPr>
          </a:p>
        </p:txBody>
      </p:sp>
      <p:sp>
        <p:nvSpPr>
          <p:cNvPr id="8" name="矩形 7"/>
          <p:cNvSpPr/>
          <p:nvPr/>
        </p:nvSpPr>
        <p:spPr>
          <a:xfrm>
            <a:off x="4357190" y="2869451"/>
            <a:ext cx="1080000" cy="562484"/>
          </a:xfrm>
          <a:prstGeom prst="rect">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p:txBody>
      </p:sp>
      <p:sp>
        <p:nvSpPr>
          <p:cNvPr id="9" name="矩形 8"/>
          <p:cNvSpPr/>
          <p:nvPr/>
        </p:nvSpPr>
        <p:spPr>
          <a:xfrm>
            <a:off x="5931514" y="2212739"/>
            <a:ext cx="1080000" cy="694911"/>
          </a:xfrm>
          <a:prstGeom prst="rect">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endParaRPr>
          </a:p>
        </p:txBody>
      </p:sp>
      <p:sp>
        <p:nvSpPr>
          <p:cNvPr id="10" name="矩形 9"/>
          <p:cNvSpPr/>
          <p:nvPr/>
        </p:nvSpPr>
        <p:spPr>
          <a:xfrm>
            <a:off x="7571373" y="1319315"/>
            <a:ext cx="1080000" cy="933908"/>
          </a:xfrm>
          <a:prstGeom prst="rect">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p:txBody>
      </p:sp>
      <p:sp>
        <p:nvSpPr>
          <p:cNvPr id="11" name="矩形 10"/>
          <p:cNvSpPr/>
          <p:nvPr/>
        </p:nvSpPr>
        <p:spPr>
          <a:xfrm>
            <a:off x="1143008" y="4582085"/>
            <a:ext cx="1145308" cy="8858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ts val="1500"/>
              </a:lnSpc>
              <a:spcBef>
                <a:spcPts val="0"/>
              </a:spcBef>
              <a:spcAft>
                <a:spcPts val="1000"/>
              </a:spcAft>
              <a:buClrTx/>
              <a:buSzTx/>
              <a:buFontTx/>
              <a:buNone/>
              <a:defRPr/>
            </a:pPr>
            <a:r>
              <a:rPr kumimoji="0" lang="en-US" altLang="zh-CN"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rPr>
              <a:t>Xx</a:t>
            </a:r>
            <a:endParaRPr kumimoji="0" lang="en-US" altLang="zh-CN"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ts val="1500"/>
              </a:lnSpc>
              <a:spcBef>
                <a:spcPts val="0"/>
              </a:spcBef>
              <a:spcAft>
                <a:spcPts val="1000"/>
              </a:spcAft>
              <a:buClrTx/>
              <a:buSzTx/>
              <a:buFontTx/>
              <a:buNone/>
              <a:defRPr/>
            </a:pPr>
            <a:r>
              <a:rPr kumimoji="0" lang="zh-CN" altLang="en-US"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rPr>
              <a:t>疏导</a:t>
            </a:r>
            <a:endParaRPr kumimoji="0" lang="zh-CN" altLang="en-US"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p:txBody>
      </p:sp>
      <p:sp>
        <p:nvSpPr>
          <p:cNvPr id="12" name="矩形 11"/>
          <p:cNvSpPr/>
          <p:nvPr/>
        </p:nvSpPr>
        <p:spPr>
          <a:xfrm>
            <a:off x="2699079" y="3477183"/>
            <a:ext cx="1145308" cy="8858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ts val="1500"/>
              </a:lnSpc>
              <a:spcBef>
                <a:spcPts val="0"/>
              </a:spcBef>
              <a:spcAft>
                <a:spcPts val="1000"/>
              </a:spcAft>
              <a:buClrTx/>
              <a:buSzTx/>
              <a:buFontTx/>
              <a:buNone/>
              <a:defRPr/>
            </a:pPr>
            <a:r>
              <a:rPr kumimoji="0" lang="en-US" altLang="zh-CN"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rPr>
              <a:t>Xx</a:t>
            </a:r>
            <a:endParaRPr kumimoji="0" lang="en-US" altLang="zh-CN"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ts val="1500"/>
              </a:lnSpc>
              <a:spcBef>
                <a:spcPts val="0"/>
              </a:spcBef>
              <a:spcAft>
                <a:spcPts val="1000"/>
              </a:spcAft>
              <a:buClrTx/>
              <a:buSzTx/>
              <a:buFontTx/>
              <a:buNone/>
              <a:defRPr/>
            </a:pPr>
            <a:r>
              <a:rPr kumimoji="0" lang="zh-CN" altLang="en-US"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rPr>
              <a:t>处理</a:t>
            </a:r>
            <a:endParaRPr kumimoji="0" lang="zh-CN" altLang="en-US"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p:txBody>
      </p:sp>
      <p:sp>
        <p:nvSpPr>
          <p:cNvPr id="13" name="矩形 12"/>
          <p:cNvSpPr/>
          <p:nvPr/>
        </p:nvSpPr>
        <p:spPr>
          <a:xfrm>
            <a:off x="4320458" y="2883739"/>
            <a:ext cx="1145308" cy="60503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ts val="1200"/>
              </a:lnSpc>
              <a:spcBef>
                <a:spcPts val="0"/>
              </a:spcBef>
              <a:spcAft>
                <a:spcPts val="1000"/>
              </a:spcAft>
              <a:buClrTx/>
              <a:buSzTx/>
              <a:buFontTx/>
              <a:buNone/>
              <a:defRPr/>
            </a:pPr>
            <a:r>
              <a:rPr kumimoji="0" lang="en-US" altLang="zh-CN"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rPr>
              <a:t>Xx</a:t>
            </a:r>
            <a:endParaRPr kumimoji="0" lang="en-US" altLang="zh-CN"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ts val="1200"/>
              </a:lnSpc>
              <a:spcBef>
                <a:spcPts val="0"/>
              </a:spcBef>
              <a:spcAft>
                <a:spcPts val="1000"/>
              </a:spcAft>
              <a:buClrTx/>
              <a:buSzTx/>
              <a:buFontTx/>
              <a:buNone/>
              <a:defRPr/>
            </a:pPr>
            <a:r>
              <a:rPr kumimoji="0" lang="zh-CN" altLang="en-US"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rPr>
              <a:t>监管</a:t>
            </a:r>
            <a:endParaRPr kumimoji="0" lang="zh-CN" altLang="en-US"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p:txBody>
      </p:sp>
      <p:sp>
        <p:nvSpPr>
          <p:cNvPr id="14" name="矩形 13"/>
          <p:cNvSpPr/>
          <p:nvPr/>
        </p:nvSpPr>
        <p:spPr>
          <a:xfrm>
            <a:off x="5845786" y="2169875"/>
            <a:ext cx="1259839" cy="8858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ts val="1500"/>
              </a:lnSpc>
              <a:spcBef>
                <a:spcPts val="0"/>
              </a:spcBef>
              <a:spcAft>
                <a:spcPts val="1000"/>
              </a:spcAft>
              <a:buClrTx/>
              <a:buSzTx/>
              <a:buFontTx/>
              <a:buNone/>
              <a:defRPr/>
            </a:pPr>
            <a:r>
              <a:rPr kumimoji="0" lang="en-US" altLang="zh-CN"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rPr>
              <a:t>xx</a:t>
            </a:r>
            <a:endParaRPr kumimoji="0" lang="en-US" altLang="zh-CN"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ts val="1500"/>
              </a:lnSpc>
              <a:spcBef>
                <a:spcPts val="0"/>
              </a:spcBef>
              <a:spcAft>
                <a:spcPts val="1000"/>
              </a:spcAft>
              <a:buClrTx/>
              <a:buSzTx/>
              <a:buFontTx/>
              <a:buNone/>
              <a:defRPr/>
            </a:pPr>
            <a:r>
              <a:rPr kumimoji="0" lang="zh-CN" altLang="en-US"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rPr>
              <a:t>服务</a:t>
            </a:r>
            <a:endParaRPr kumimoji="0" lang="zh-CN" altLang="en-US"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p:txBody>
      </p:sp>
      <p:sp>
        <p:nvSpPr>
          <p:cNvPr id="15" name="矩形 14"/>
          <p:cNvSpPr/>
          <p:nvPr/>
        </p:nvSpPr>
        <p:spPr>
          <a:xfrm>
            <a:off x="7481454" y="1338823"/>
            <a:ext cx="1259839" cy="88582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ts val="1500"/>
              </a:lnSpc>
              <a:spcBef>
                <a:spcPts val="0"/>
              </a:spcBef>
              <a:spcAft>
                <a:spcPts val="1000"/>
              </a:spcAft>
              <a:buClrTx/>
              <a:buSzTx/>
              <a:buFontTx/>
              <a:buNone/>
              <a:defRPr/>
            </a:pPr>
            <a:r>
              <a:rPr kumimoji="0" lang="en-US" altLang="zh-CN"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rPr>
              <a:t>xx</a:t>
            </a:r>
            <a:endParaRPr kumimoji="0" lang="zh-CN" altLang="en-US" sz="20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p:txBody>
      </p:sp>
      <p:sp>
        <p:nvSpPr>
          <p:cNvPr id="16" name="矩形 15"/>
          <p:cNvSpPr/>
          <p:nvPr/>
        </p:nvSpPr>
        <p:spPr>
          <a:xfrm>
            <a:off x="9919435" y="3309342"/>
            <a:ext cx="877583" cy="55002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ts val="3000"/>
              </a:lnSpc>
              <a:spcBef>
                <a:spcPts val="0"/>
              </a:spcBef>
              <a:spcAft>
                <a:spcPts val="100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Arial" panose="020B0604020202020204"/>
                <a:ea typeface="华文楷体" panose="02010600040101010101" charset="-122"/>
                <a:cs typeface="+mn-cs"/>
              </a:rPr>
              <a:t>综</a:t>
            </a:r>
            <a:r>
              <a:rPr kumimoji="0" lang="zh-CN" altLang="en-US" sz="28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rPr>
              <a:t>合出行时间</a:t>
            </a:r>
            <a:endParaRPr kumimoji="0" lang="en-US" altLang="zh-CN" sz="28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cs"/>
            </a:endParaRPr>
          </a:p>
        </p:txBody>
      </p:sp>
      <p:sp>
        <p:nvSpPr>
          <p:cNvPr id="17" name="矩形 16"/>
          <p:cNvSpPr/>
          <p:nvPr/>
        </p:nvSpPr>
        <p:spPr>
          <a:xfrm>
            <a:off x="1065092" y="3790937"/>
            <a:ext cx="1321561" cy="55002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rPr>
              <a:t>4%~6%</a:t>
            </a:r>
            <a:endParaRPr kumimoji="0" lang="zh-CN" altLang="en-US"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endParaRPr>
          </a:p>
        </p:txBody>
      </p:sp>
      <p:sp>
        <p:nvSpPr>
          <p:cNvPr id="18" name="矩形 17"/>
          <p:cNvSpPr/>
          <p:nvPr/>
        </p:nvSpPr>
        <p:spPr>
          <a:xfrm>
            <a:off x="2453463" y="2967636"/>
            <a:ext cx="1758998" cy="55002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rPr>
              <a:t>2%~3.5%</a:t>
            </a:r>
            <a:endParaRPr kumimoji="0" lang="zh-CN" altLang="en-US"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endParaRPr>
          </a:p>
        </p:txBody>
      </p:sp>
      <p:sp>
        <p:nvSpPr>
          <p:cNvPr id="19" name="矩形 18"/>
          <p:cNvSpPr/>
          <p:nvPr/>
        </p:nvSpPr>
        <p:spPr>
          <a:xfrm>
            <a:off x="4031979" y="2306836"/>
            <a:ext cx="1758998" cy="55002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rPr>
              <a:t>2%~2.5%</a:t>
            </a:r>
            <a:endParaRPr kumimoji="0" lang="zh-CN" altLang="en-US"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endParaRPr>
          </a:p>
        </p:txBody>
      </p:sp>
      <p:sp>
        <p:nvSpPr>
          <p:cNvPr id="20" name="矩形 19"/>
          <p:cNvSpPr/>
          <p:nvPr/>
        </p:nvSpPr>
        <p:spPr>
          <a:xfrm>
            <a:off x="5610494" y="1660331"/>
            <a:ext cx="1758998" cy="55002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rPr>
              <a:t>2%~3%</a:t>
            </a:r>
            <a:endParaRPr kumimoji="0" lang="zh-CN" altLang="en-US"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endParaRPr>
          </a:p>
        </p:txBody>
      </p:sp>
      <p:sp>
        <p:nvSpPr>
          <p:cNvPr id="21" name="矩形 20"/>
          <p:cNvSpPr/>
          <p:nvPr/>
        </p:nvSpPr>
        <p:spPr>
          <a:xfrm>
            <a:off x="7253591" y="774510"/>
            <a:ext cx="1758998" cy="55002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rPr>
              <a:t>2.5%~5%</a:t>
            </a:r>
            <a:endParaRPr kumimoji="0" lang="zh-CN" altLang="en-US"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endParaRPr>
          </a:p>
        </p:txBody>
      </p:sp>
      <p:sp>
        <p:nvSpPr>
          <p:cNvPr id="22" name="矩形 21"/>
          <p:cNvSpPr/>
          <p:nvPr/>
        </p:nvSpPr>
        <p:spPr>
          <a:xfrm>
            <a:off x="9294032" y="769287"/>
            <a:ext cx="2128388" cy="55002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2000"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rPr>
              <a:t>12.5%~20%</a:t>
            </a:r>
            <a:endParaRPr kumimoji="0" lang="zh-CN" altLang="en-US" sz="2000" b="1"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endParaRPr>
          </a:p>
        </p:txBody>
      </p:sp>
      <p:cxnSp>
        <p:nvCxnSpPr>
          <p:cNvPr id="23" name="直接连接符 22"/>
          <p:cNvCxnSpPr/>
          <p:nvPr/>
        </p:nvCxnSpPr>
        <p:spPr>
          <a:xfrm>
            <a:off x="2608020" y="4324908"/>
            <a:ext cx="1440000" cy="0"/>
          </a:xfrm>
          <a:prstGeom prst="line">
            <a:avLst/>
          </a:prstGeom>
          <a:ln w="2857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4180737" y="3424793"/>
            <a:ext cx="1440000" cy="0"/>
          </a:xfrm>
          <a:prstGeom prst="line">
            <a:avLst/>
          </a:prstGeom>
          <a:ln w="2857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5774412" y="2914512"/>
            <a:ext cx="1440000" cy="0"/>
          </a:xfrm>
          <a:prstGeom prst="line">
            <a:avLst/>
          </a:prstGeom>
          <a:ln w="2857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a:off x="7347129" y="2259593"/>
            <a:ext cx="1440000" cy="0"/>
          </a:xfrm>
          <a:prstGeom prst="line">
            <a:avLst/>
          </a:prstGeom>
          <a:ln w="2857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707764" y="5765558"/>
            <a:ext cx="1950488" cy="5572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ts val="1100"/>
              </a:lnSpc>
              <a:spcBef>
                <a:spcPts val="0"/>
              </a:spcBef>
              <a:spcAft>
                <a:spcPts val="1000"/>
              </a:spcAft>
              <a:buClrTx/>
              <a:buSzTx/>
              <a:buFontTx/>
              <a:buNone/>
              <a:defRPr/>
            </a:pPr>
            <a:r>
              <a:rPr kumimoji="0" lang="zh-CN" altLang="en-US" sz="1400" b="0"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rPr>
              <a:t>提高准确率</a:t>
            </a:r>
            <a:endParaRPr kumimoji="0" lang="en-US" altLang="zh-CN" sz="1400" b="0"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ts val="1100"/>
              </a:lnSpc>
              <a:spcBef>
                <a:spcPts val="0"/>
              </a:spcBef>
              <a:spcAft>
                <a:spcPts val="1000"/>
              </a:spcAft>
              <a:buClrTx/>
              <a:buSzTx/>
              <a:buFontTx/>
              <a:buNone/>
              <a:defRPr/>
            </a:pPr>
            <a:r>
              <a:rPr kumimoji="0" lang="zh-CN" altLang="en-US" sz="1400" b="0"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rPr>
              <a:t>提高</a:t>
            </a:r>
            <a:r>
              <a:rPr kumimoji="0" lang="en-US" altLang="zh-CN" sz="1400" b="0"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rPr>
              <a:t>xx</a:t>
            </a:r>
            <a:r>
              <a:rPr kumimoji="0" lang="zh-CN" altLang="en-US" sz="1400" b="0"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rPr>
              <a:t>能力</a:t>
            </a:r>
            <a:endParaRPr kumimoji="0" lang="zh-CN" altLang="en-US" sz="1400" b="0"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endParaRPr>
          </a:p>
        </p:txBody>
      </p:sp>
      <p:sp>
        <p:nvSpPr>
          <p:cNvPr id="28" name="矩形 27"/>
          <p:cNvSpPr/>
          <p:nvPr/>
        </p:nvSpPr>
        <p:spPr>
          <a:xfrm>
            <a:off x="2334459" y="4372973"/>
            <a:ext cx="1950488" cy="5572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ts val="1100"/>
              </a:lnSpc>
              <a:spcBef>
                <a:spcPts val="0"/>
              </a:spcBef>
              <a:spcAft>
                <a:spcPts val="1000"/>
              </a:spcAft>
              <a:buClrTx/>
              <a:buSzTx/>
              <a:buFontTx/>
              <a:buNone/>
              <a:defRPr/>
            </a:pPr>
            <a:r>
              <a:rPr lang="zh-CN" altLang="en-US" sz="1400" noProof="0" dirty="0">
                <a:solidFill>
                  <a:schemeClr val="tx1"/>
                </a:solidFill>
                <a:latin typeface="Arial" panose="020B0604020202020204"/>
                <a:ea typeface="华文楷体" panose="02010600040101010101" charset="-122"/>
              </a:rPr>
              <a:t>描述</a:t>
            </a:r>
            <a:endParaRPr kumimoji="0" lang="zh-CN" altLang="en-US" sz="1400" b="0" i="0" u="none" strike="noStrike" kern="1200" cap="none" spc="0" normalizeH="0" baseline="0" noProof="0" dirty="0" smtClean="0">
              <a:ln>
                <a:noFill/>
              </a:ln>
              <a:solidFill>
                <a:schemeClr val="tx1"/>
              </a:solidFill>
              <a:effectLst/>
              <a:uLnTx/>
              <a:uFillTx/>
              <a:latin typeface="Arial" panose="020B0604020202020204"/>
              <a:ea typeface="华文楷体" panose="02010600040101010101" charset="-122"/>
              <a:cs typeface="+mn-cs"/>
            </a:endParaRPr>
          </a:p>
        </p:txBody>
      </p:sp>
      <p:sp>
        <p:nvSpPr>
          <p:cNvPr id="29" name="矩形 28"/>
          <p:cNvSpPr/>
          <p:nvPr/>
        </p:nvSpPr>
        <p:spPr>
          <a:xfrm>
            <a:off x="3879706" y="3468093"/>
            <a:ext cx="1950488" cy="5572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lvl="0" algn="ctr">
              <a:lnSpc>
                <a:spcPts val="1100"/>
              </a:lnSpc>
              <a:spcAft>
                <a:spcPts val="1000"/>
              </a:spcAft>
              <a:defRPr/>
            </a:pPr>
            <a:r>
              <a:rPr lang="zh-CN" altLang="en-US" sz="1400" dirty="0">
                <a:solidFill>
                  <a:schemeClr val="tx1"/>
                </a:solidFill>
                <a:ea typeface="华文楷体" panose="02010600040101010101" charset="-122"/>
              </a:rPr>
              <a:t>描述</a:t>
            </a:r>
            <a:endParaRPr lang="zh-CN" altLang="en-US" sz="1400" dirty="0">
              <a:solidFill>
                <a:schemeClr val="tx1"/>
              </a:solidFill>
              <a:ea typeface="华文楷体" panose="02010600040101010101" charset="-122"/>
            </a:endParaRPr>
          </a:p>
        </p:txBody>
      </p:sp>
      <p:sp>
        <p:nvSpPr>
          <p:cNvPr id="30" name="矩形 29"/>
          <p:cNvSpPr/>
          <p:nvPr/>
        </p:nvSpPr>
        <p:spPr>
          <a:xfrm>
            <a:off x="7141635" y="2288169"/>
            <a:ext cx="1950488" cy="5572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lvl="0" algn="ctr">
              <a:lnSpc>
                <a:spcPts val="1100"/>
              </a:lnSpc>
              <a:spcAft>
                <a:spcPts val="1000"/>
              </a:spcAft>
              <a:defRPr/>
            </a:pPr>
            <a:r>
              <a:rPr lang="zh-CN" altLang="en-US" sz="1400" dirty="0">
                <a:solidFill>
                  <a:schemeClr val="tx1"/>
                </a:solidFill>
                <a:ea typeface="华文楷体" panose="02010600040101010101" charset="-122"/>
              </a:rPr>
              <a:t>描述</a:t>
            </a:r>
            <a:endParaRPr lang="zh-CN" altLang="en-US" sz="1400" dirty="0">
              <a:solidFill>
                <a:schemeClr val="tx1"/>
              </a:solidFill>
              <a:ea typeface="华文楷体" panose="02010600040101010101" charset="-122"/>
            </a:endParaRPr>
          </a:p>
        </p:txBody>
      </p:sp>
      <p:sp>
        <p:nvSpPr>
          <p:cNvPr id="31" name="矩形 30"/>
          <p:cNvSpPr/>
          <p:nvPr/>
        </p:nvSpPr>
        <p:spPr>
          <a:xfrm>
            <a:off x="5500461" y="2993803"/>
            <a:ext cx="1950488" cy="5572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lvl="0" algn="ctr">
              <a:lnSpc>
                <a:spcPts val="1100"/>
              </a:lnSpc>
              <a:spcAft>
                <a:spcPts val="1000"/>
              </a:spcAft>
              <a:defRPr/>
            </a:pPr>
            <a:r>
              <a:rPr lang="zh-CN" altLang="en-US" sz="1400" dirty="0">
                <a:solidFill>
                  <a:schemeClr val="tx1"/>
                </a:solidFill>
                <a:ea typeface="华文楷体" panose="02010600040101010101" charset="-122"/>
              </a:rPr>
              <a:t>描述</a:t>
            </a:r>
            <a:endParaRPr lang="zh-CN" altLang="en-US" sz="1400" dirty="0">
              <a:solidFill>
                <a:schemeClr val="tx1"/>
              </a:solidFill>
              <a:ea typeface="华文楷体" panose="02010600040101010101" charset="-122"/>
            </a:endParaRPr>
          </a:p>
        </p:txBody>
      </p:sp>
      <p:sp>
        <p:nvSpPr>
          <p:cNvPr id="32" name="Freeform 250"/>
          <p:cNvSpPr/>
          <p:nvPr/>
        </p:nvSpPr>
        <p:spPr bwMode="auto">
          <a:xfrm flipV="1">
            <a:off x="9160156" y="897234"/>
            <a:ext cx="267752" cy="342657"/>
          </a:xfrm>
          <a:prstGeom prst="upArrow">
            <a:avLst/>
          </a:prstGeom>
          <a:solidFill>
            <a:srgbClr val="FE863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effectLst/>
              <a:uLnTx/>
              <a:uFillTx/>
              <a:latin typeface="Arial" panose="020B0604020202020204"/>
              <a:ea typeface="华文楷体" panose="02010600040101010101" charset="-122"/>
              <a:cs typeface="+mn-ea"/>
              <a:sym typeface="+mn-lt"/>
            </a:endParaRPr>
          </a:p>
        </p:txBody>
      </p:sp>
      <p:sp>
        <p:nvSpPr>
          <p:cNvPr id="33"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数据</a:t>
            </a:r>
            <a:endParaRPr lang="zh-CN" altLang="en-US" sz="2400" dirty="0">
              <a:solidFill>
                <a:prstClr val="black"/>
              </a:solidFill>
              <a:latin typeface="华文楷体" panose="02010600040101010101" charset="-122"/>
            </a:endParaRPr>
          </a:p>
        </p:txBody>
      </p:sp>
      <p:pic>
        <p:nvPicPr>
          <p:cNvPr id="34" name="图片 3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74"/>
          <p:cNvSpPr txBox="1"/>
          <p:nvPr/>
        </p:nvSpPr>
        <p:spPr>
          <a:xfrm>
            <a:off x="3357309" y="1285063"/>
            <a:ext cx="3243250" cy="618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algn="ctr">
              <a:buSzPct val="100000"/>
              <a:buFont typeface="Trebuchet MS" panose="020B0603020202020204" pitchFamily="34" charset="0"/>
              <a:buChar char="​"/>
            </a:pPr>
            <a:r>
              <a:rPr lang="zh-CN" altLang="en-US" sz="3200" b="1" dirty="0" smtClean="0">
                <a:solidFill>
                  <a:srgbClr val="FE5817"/>
                </a:solidFill>
                <a:cs typeface="+mn-ea"/>
                <a:sym typeface="+mn-lt"/>
              </a:rPr>
              <a:t>技术能力</a:t>
            </a:r>
            <a:endParaRPr lang="en-US" sz="3200" b="1" dirty="0" smtClean="0">
              <a:solidFill>
                <a:srgbClr val="FE5817"/>
              </a:solidFill>
              <a:cs typeface="+mn-ea"/>
              <a:sym typeface="+mn-lt"/>
            </a:endParaRPr>
          </a:p>
        </p:txBody>
      </p:sp>
      <p:grpSp>
        <p:nvGrpSpPr>
          <p:cNvPr id="40" name="组合 39"/>
          <p:cNvGrpSpPr/>
          <p:nvPr/>
        </p:nvGrpSpPr>
        <p:grpSpPr>
          <a:xfrm>
            <a:off x="4368183" y="1936865"/>
            <a:ext cx="1221502" cy="1221498"/>
            <a:chOff x="3937294" y="2328746"/>
            <a:chExt cx="1221502" cy="1221498"/>
          </a:xfrm>
        </p:grpSpPr>
        <p:sp>
          <p:nvSpPr>
            <p:cNvPr id="47" name="Oval 51"/>
            <p:cNvSpPr/>
            <p:nvPr/>
          </p:nvSpPr>
          <p:spPr>
            <a:xfrm>
              <a:off x="3937294" y="2328746"/>
              <a:ext cx="1221502" cy="1221498"/>
            </a:xfrm>
            <a:prstGeom prst="ellipse">
              <a:avLst/>
            </a:prstGeom>
            <a:solidFill>
              <a:schemeClr val="bg1"/>
            </a:solidFill>
            <a:ln w="76200">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dirty="0">
                <a:solidFill>
                  <a:schemeClr val="bg1">
                    <a:lumMod val="50000"/>
                  </a:schemeClr>
                </a:solidFill>
                <a:cs typeface="+mn-ea"/>
                <a:sym typeface="+mn-lt"/>
              </a:endParaRPr>
            </a:p>
          </p:txBody>
        </p:sp>
        <p:sp>
          <p:nvSpPr>
            <p:cNvPr id="48" name="Freeform 29"/>
            <p:cNvSpPr>
              <a:spLocks noEditPoints="1"/>
            </p:cNvSpPr>
            <p:nvPr/>
          </p:nvSpPr>
          <p:spPr bwMode="auto">
            <a:xfrm>
              <a:off x="4239474" y="2575692"/>
              <a:ext cx="562862" cy="684103"/>
            </a:xfrm>
            <a:custGeom>
              <a:avLst/>
              <a:gdLst>
                <a:gd name="T0" fmla="*/ 169 w 296"/>
                <a:gd name="T1" fmla="*/ 0 h 356"/>
                <a:gd name="T2" fmla="*/ 84 w 296"/>
                <a:gd name="T3" fmla="*/ 22 h 356"/>
                <a:gd name="T4" fmla="*/ 48 w 296"/>
                <a:gd name="T5" fmla="*/ 71 h 356"/>
                <a:gd name="T6" fmla="*/ 40 w 296"/>
                <a:gd name="T7" fmla="*/ 122 h 356"/>
                <a:gd name="T8" fmla="*/ 24 w 296"/>
                <a:gd name="T9" fmla="*/ 143 h 356"/>
                <a:gd name="T10" fmla="*/ 2 w 296"/>
                <a:gd name="T11" fmla="*/ 168 h 356"/>
                <a:gd name="T12" fmla="*/ 17 w 296"/>
                <a:gd name="T13" fmla="*/ 189 h 356"/>
                <a:gd name="T14" fmla="*/ 9 w 296"/>
                <a:gd name="T15" fmla="*/ 205 h 356"/>
                <a:gd name="T16" fmla="*/ 28 w 296"/>
                <a:gd name="T17" fmla="*/ 214 h 356"/>
                <a:gd name="T18" fmla="*/ 7 w 296"/>
                <a:gd name="T19" fmla="*/ 220 h 356"/>
                <a:gd name="T20" fmla="*/ 17 w 296"/>
                <a:gd name="T21" fmla="*/ 233 h 356"/>
                <a:gd name="T22" fmla="*/ 18 w 296"/>
                <a:gd name="T23" fmla="*/ 247 h 356"/>
                <a:gd name="T24" fmla="*/ 13 w 296"/>
                <a:gd name="T25" fmla="*/ 277 h 356"/>
                <a:gd name="T26" fmla="*/ 48 w 296"/>
                <a:gd name="T27" fmla="*/ 291 h 356"/>
                <a:gd name="T28" fmla="*/ 86 w 296"/>
                <a:gd name="T29" fmla="*/ 306 h 356"/>
                <a:gd name="T30" fmla="*/ 105 w 296"/>
                <a:gd name="T31" fmla="*/ 354 h 356"/>
                <a:gd name="T32" fmla="*/ 174 w 296"/>
                <a:gd name="T33" fmla="*/ 354 h 356"/>
                <a:gd name="T34" fmla="*/ 237 w 296"/>
                <a:gd name="T35" fmla="*/ 308 h 356"/>
                <a:gd name="T36" fmla="*/ 281 w 296"/>
                <a:gd name="T37" fmla="*/ 200 h 356"/>
                <a:gd name="T38" fmla="*/ 296 w 296"/>
                <a:gd name="T39" fmla="*/ 122 h 356"/>
                <a:gd name="T40" fmla="*/ 272 w 296"/>
                <a:gd name="T41" fmla="*/ 53 h 356"/>
                <a:gd name="T42" fmla="*/ 224 w 296"/>
                <a:gd name="T43" fmla="*/ 16 h 356"/>
                <a:gd name="T44" fmla="*/ 156 w 296"/>
                <a:gd name="T45" fmla="*/ 159 h 356"/>
                <a:gd name="T46" fmla="*/ 134 w 296"/>
                <a:gd name="T47" fmla="*/ 161 h 356"/>
                <a:gd name="T48" fmla="*/ 105 w 296"/>
                <a:gd name="T49" fmla="*/ 165 h 356"/>
                <a:gd name="T50" fmla="*/ 84 w 296"/>
                <a:gd name="T51" fmla="*/ 150 h 356"/>
                <a:gd name="T52" fmla="*/ 84 w 296"/>
                <a:gd name="T53" fmla="*/ 126 h 356"/>
                <a:gd name="T54" fmla="*/ 64 w 296"/>
                <a:gd name="T55" fmla="*/ 99 h 356"/>
                <a:gd name="T56" fmla="*/ 72 w 296"/>
                <a:gd name="T57" fmla="*/ 73 h 356"/>
                <a:gd name="T58" fmla="*/ 97 w 296"/>
                <a:gd name="T59" fmla="*/ 56 h 356"/>
                <a:gd name="T60" fmla="*/ 116 w 296"/>
                <a:gd name="T61" fmla="*/ 44 h 356"/>
                <a:gd name="T62" fmla="*/ 138 w 296"/>
                <a:gd name="T63" fmla="*/ 25 h 356"/>
                <a:gd name="T64" fmla="*/ 162 w 296"/>
                <a:gd name="T65" fmla="*/ 29 h 356"/>
                <a:gd name="T66" fmla="*/ 176 w 296"/>
                <a:gd name="T67" fmla="*/ 51 h 356"/>
                <a:gd name="T68" fmla="*/ 206 w 296"/>
                <a:gd name="T69" fmla="*/ 64 h 356"/>
                <a:gd name="T70" fmla="*/ 213 w 296"/>
                <a:gd name="T71" fmla="*/ 88 h 356"/>
                <a:gd name="T72" fmla="*/ 200 w 296"/>
                <a:gd name="T73" fmla="*/ 115 h 356"/>
                <a:gd name="T74" fmla="*/ 189 w 296"/>
                <a:gd name="T75" fmla="*/ 135 h 356"/>
                <a:gd name="T76" fmla="*/ 178 w 296"/>
                <a:gd name="T77" fmla="*/ 163 h 356"/>
                <a:gd name="T78" fmla="*/ 248 w 296"/>
                <a:gd name="T79" fmla="*/ 192 h 356"/>
                <a:gd name="T80" fmla="*/ 253 w 296"/>
                <a:gd name="T81" fmla="*/ 203 h 356"/>
                <a:gd name="T82" fmla="*/ 235 w 296"/>
                <a:gd name="T83" fmla="*/ 203 h 356"/>
                <a:gd name="T84" fmla="*/ 224 w 296"/>
                <a:gd name="T85" fmla="*/ 205 h 356"/>
                <a:gd name="T86" fmla="*/ 217 w 296"/>
                <a:gd name="T87" fmla="*/ 216 h 356"/>
                <a:gd name="T88" fmla="*/ 207 w 296"/>
                <a:gd name="T89" fmla="*/ 200 h 356"/>
                <a:gd name="T90" fmla="*/ 191 w 296"/>
                <a:gd name="T91" fmla="*/ 192 h 356"/>
                <a:gd name="T92" fmla="*/ 187 w 296"/>
                <a:gd name="T93" fmla="*/ 179 h 356"/>
                <a:gd name="T94" fmla="*/ 202 w 296"/>
                <a:gd name="T95" fmla="*/ 165 h 356"/>
                <a:gd name="T96" fmla="*/ 195 w 296"/>
                <a:gd name="T97" fmla="*/ 156 h 356"/>
                <a:gd name="T98" fmla="*/ 209 w 296"/>
                <a:gd name="T99" fmla="*/ 146 h 356"/>
                <a:gd name="T100" fmla="*/ 226 w 296"/>
                <a:gd name="T101" fmla="*/ 152 h 356"/>
                <a:gd name="T102" fmla="*/ 229 w 296"/>
                <a:gd name="T103" fmla="*/ 141 h 356"/>
                <a:gd name="T104" fmla="*/ 244 w 296"/>
                <a:gd name="T105" fmla="*/ 150 h 356"/>
                <a:gd name="T106" fmla="*/ 248 w 296"/>
                <a:gd name="T107" fmla="*/ 165 h 356"/>
                <a:gd name="T108" fmla="*/ 263 w 296"/>
                <a:gd name="T10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6" h="356">
                  <a:moveTo>
                    <a:pt x="224" y="16"/>
                  </a:moveTo>
                  <a:lnTo>
                    <a:pt x="224" y="16"/>
                  </a:lnTo>
                  <a:lnTo>
                    <a:pt x="206" y="9"/>
                  </a:lnTo>
                  <a:lnTo>
                    <a:pt x="187" y="3"/>
                  </a:lnTo>
                  <a:lnTo>
                    <a:pt x="169" y="0"/>
                  </a:lnTo>
                  <a:lnTo>
                    <a:pt x="152" y="0"/>
                  </a:lnTo>
                  <a:lnTo>
                    <a:pt x="136" y="1"/>
                  </a:lnTo>
                  <a:lnTo>
                    <a:pt x="119" y="5"/>
                  </a:lnTo>
                  <a:lnTo>
                    <a:pt x="101" y="12"/>
                  </a:lnTo>
                  <a:lnTo>
                    <a:pt x="84" y="22"/>
                  </a:lnTo>
                  <a:lnTo>
                    <a:pt x="84" y="22"/>
                  </a:lnTo>
                  <a:lnTo>
                    <a:pt x="73" y="33"/>
                  </a:lnTo>
                  <a:lnTo>
                    <a:pt x="62" y="44"/>
                  </a:lnTo>
                  <a:lnTo>
                    <a:pt x="55" y="58"/>
                  </a:lnTo>
                  <a:lnTo>
                    <a:pt x="48" y="71"/>
                  </a:lnTo>
                  <a:lnTo>
                    <a:pt x="40" y="97"/>
                  </a:lnTo>
                  <a:lnTo>
                    <a:pt x="39" y="110"/>
                  </a:lnTo>
                  <a:lnTo>
                    <a:pt x="39" y="110"/>
                  </a:lnTo>
                  <a:lnTo>
                    <a:pt x="39" y="115"/>
                  </a:lnTo>
                  <a:lnTo>
                    <a:pt x="40" y="122"/>
                  </a:lnTo>
                  <a:lnTo>
                    <a:pt x="39" y="126"/>
                  </a:lnTo>
                  <a:lnTo>
                    <a:pt x="35" y="132"/>
                  </a:lnTo>
                  <a:lnTo>
                    <a:pt x="31" y="137"/>
                  </a:lnTo>
                  <a:lnTo>
                    <a:pt x="24" y="143"/>
                  </a:lnTo>
                  <a:lnTo>
                    <a:pt x="24" y="143"/>
                  </a:lnTo>
                  <a:lnTo>
                    <a:pt x="4" y="156"/>
                  </a:lnTo>
                  <a:lnTo>
                    <a:pt x="0" y="157"/>
                  </a:lnTo>
                  <a:lnTo>
                    <a:pt x="0" y="163"/>
                  </a:lnTo>
                  <a:lnTo>
                    <a:pt x="0" y="163"/>
                  </a:lnTo>
                  <a:lnTo>
                    <a:pt x="2" y="168"/>
                  </a:lnTo>
                  <a:lnTo>
                    <a:pt x="6" y="172"/>
                  </a:lnTo>
                  <a:lnTo>
                    <a:pt x="13" y="179"/>
                  </a:lnTo>
                  <a:lnTo>
                    <a:pt x="13" y="179"/>
                  </a:lnTo>
                  <a:lnTo>
                    <a:pt x="17" y="185"/>
                  </a:lnTo>
                  <a:lnTo>
                    <a:pt x="17" y="189"/>
                  </a:lnTo>
                  <a:lnTo>
                    <a:pt x="15" y="192"/>
                  </a:lnTo>
                  <a:lnTo>
                    <a:pt x="15" y="192"/>
                  </a:lnTo>
                  <a:lnTo>
                    <a:pt x="9" y="196"/>
                  </a:lnTo>
                  <a:lnTo>
                    <a:pt x="7" y="200"/>
                  </a:lnTo>
                  <a:lnTo>
                    <a:pt x="9" y="205"/>
                  </a:lnTo>
                  <a:lnTo>
                    <a:pt x="9" y="205"/>
                  </a:lnTo>
                  <a:lnTo>
                    <a:pt x="13" y="209"/>
                  </a:lnTo>
                  <a:lnTo>
                    <a:pt x="18" y="212"/>
                  </a:lnTo>
                  <a:lnTo>
                    <a:pt x="28" y="214"/>
                  </a:lnTo>
                  <a:lnTo>
                    <a:pt x="28" y="214"/>
                  </a:lnTo>
                  <a:lnTo>
                    <a:pt x="22" y="214"/>
                  </a:lnTo>
                  <a:lnTo>
                    <a:pt x="17" y="214"/>
                  </a:lnTo>
                  <a:lnTo>
                    <a:pt x="13" y="214"/>
                  </a:lnTo>
                  <a:lnTo>
                    <a:pt x="13" y="214"/>
                  </a:lnTo>
                  <a:lnTo>
                    <a:pt x="7" y="220"/>
                  </a:lnTo>
                  <a:lnTo>
                    <a:pt x="7" y="222"/>
                  </a:lnTo>
                  <a:lnTo>
                    <a:pt x="7" y="225"/>
                  </a:lnTo>
                  <a:lnTo>
                    <a:pt x="7" y="225"/>
                  </a:lnTo>
                  <a:lnTo>
                    <a:pt x="13" y="229"/>
                  </a:lnTo>
                  <a:lnTo>
                    <a:pt x="17" y="233"/>
                  </a:lnTo>
                  <a:lnTo>
                    <a:pt x="17" y="233"/>
                  </a:lnTo>
                  <a:lnTo>
                    <a:pt x="18" y="236"/>
                  </a:lnTo>
                  <a:lnTo>
                    <a:pt x="18" y="242"/>
                  </a:lnTo>
                  <a:lnTo>
                    <a:pt x="18" y="242"/>
                  </a:lnTo>
                  <a:lnTo>
                    <a:pt x="18" y="247"/>
                  </a:lnTo>
                  <a:lnTo>
                    <a:pt x="17" y="253"/>
                  </a:lnTo>
                  <a:lnTo>
                    <a:pt x="11" y="262"/>
                  </a:lnTo>
                  <a:lnTo>
                    <a:pt x="11" y="262"/>
                  </a:lnTo>
                  <a:lnTo>
                    <a:pt x="9" y="269"/>
                  </a:lnTo>
                  <a:lnTo>
                    <a:pt x="13" y="277"/>
                  </a:lnTo>
                  <a:lnTo>
                    <a:pt x="18" y="284"/>
                  </a:lnTo>
                  <a:lnTo>
                    <a:pt x="24" y="288"/>
                  </a:lnTo>
                  <a:lnTo>
                    <a:pt x="29" y="290"/>
                  </a:lnTo>
                  <a:lnTo>
                    <a:pt x="29" y="290"/>
                  </a:lnTo>
                  <a:lnTo>
                    <a:pt x="48" y="291"/>
                  </a:lnTo>
                  <a:lnTo>
                    <a:pt x="64" y="293"/>
                  </a:lnTo>
                  <a:lnTo>
                    <a:pt x="64" y="293"/>
                  </a:lnTo>
                  <a:lnTo>
                    <a:pt x="72" y="295"/>
                  </a:lnTo>
                  <a:lnTo>
                    <a:pt x="79" y="301"/>
                  </a:lnTo>
                  <a:lnTo>
                    <a:pt x="86" y="306"/>
                  </a:lnTo>
                  <a:lnTo>
                    <a:pt x="92" y="315"/>
                  </a:lnTo>
                  <a:lnTo>
                    <a:pt x="97" y="324"/>
                  </a:lnTo>
                  <a:lnTo>
                    <a:pt x="101" y="334"/>
                  </a:lnTo>
                  <a:lnTo>
                    <a:pt x="103" y="345"/>
                  </a:lnTo>
                  <a:lnTo>
                    <a:pt x="105" y="354"/>
                  </a:lnTo>
                  <a:lnTo>
                    <a:pt x="105" y="354"/>
                  </a:lnTo>
                  <a:lnTo>
                    <a:pt x="129" y="356"/>
                  </a:lnTo>
                  <a:lnTo>
                    <a:pt x="151" y="356"/>
                  </a:lnTo>
                  <a:lnTo>
                    <a:pt x="151" y="356"/>
                  </a:lnTo>
                  <a:lnTo>
                    <a:pt x="174" y="354"/>
                  </a:lnTo>
                  <a:lnTo>
                    <a:pt x="196" y="350"/>
                  </a:lnTo>
                  <a:lnTo>
                    <a:pt x="218" y="343"/>
                  </a:lnTo>
                  <a:lnTo>
                    <a:pt x="239" y="334"/>
                  </a:lnTo>
                  <a:lnTo>
                    <a:pt x="239" y="334"/>
                  </a:lnTo>
                  <a:lnTo>
                    <a:pt x="237" y="308"/>
                  </a:lnTo>
                  <a:lnTo>
                    <a:pt x="239" y="288"/>
                  </a:lnTo>
                  <a:lnTo>
                    <a:pt x="244" y="269"/>
                  </a:lnTo>
                  <a:lnTo>
                    <a:pt x="252" y="253"/>
                  </a:lnTo>
                  <a:lnTo>
                    <a:pt x="272" y="220"/>
                  </a:lnTo>
                  <a:lnTo>
                    <a:pt x="281" y="200"/>
                  </a:lnTo>
                  <a:lnTo>
                    <a:pt x="290" y="176"/>
                  </a:lnTo>
                  <a:lnTo>
                    <a:pt x="290" y="176"/>
                  </a:lnTo>
                  <a:lnTo>
                    <a:pt x="294" y="161"/>
                  </a:lnTo>
                  <a:lnTo>
                    <a:pt x="296" y="143"/>
                  </a:lnTo>
                  <a:lnTo>
                    <a:pt x="296" y="122"/>
                  </a:lnTo>
                  <a:lnTo>
                    <a:pt x="294" y="99"/>
                  </a:lnTo>
                  <a:lnTo>
                    <a:pt x="290" y="88"/>
                  </a:lnTo>
                  <a:lnTo>
                    <a:pt x="286" y="77"/>
                  </a:lnTo>
                  <a:lnTo>
                    <a:pt x="281" y="64"/>
                  </a:lnTo>
                  <a:lnTo>
                    <a:pt x="272" y="53"/>
                  </a:lnTo>
                  <a:lnTo>
                    <a:pt x="263" y="44"/>
                  </a:lnTo>
                  <a:lnTo>
                    <a:pt x="252" y="33"/>
                  </a:lnTo>
                  <a:lnTo>
                    <a:pt x="239" y="23"/>
                  </a:lnTo>
                  <a:lnTo>
                    <a:pt x="224" y="16"/>
                  </a:lnTo>
                  <a:lnTo>
                    <a:pt x="224" y="16"/>
                  </a:lnTo>
                  <a:close/>
                  <a:moveTo>
                    <a:pt x="178" y="163"/>
                  </a:moveTo>
                  <a:lnTo>
                    <a:pt x="176" y="167"/>
                  </a:lnTo>
                  <a:lnTo>
                    <a:pt x="165" y="156"/>
                  </a:lnTo>
                  <a:lnTo>
                    <a:pt x="165" y="156"/>
                  </a:lnTo>
                  <a:lnTo>
                    <a:pt x="156" y="159"/>
                  </a:lnTo>
                  <a:lnTo>
                    <a:pt x="156" y="172"/>
                  </a:lnTo>
                  <a:lnTo>
                    <a:pt x="152" y="172"/>
                  </a:lnTo>
                  <a:lnTo>
                    <a:pt x="141" y="174"/>
                  </a:lnTo>
                  <a:lnTo>
                    <a:pt x="138" y="174"/>
                  </a:lnTo>
                  <a:lnTo>
                    <a:pt x="134" y="161"/>
                  </a:lnTo>
                  <a:lnTo>
                    <a:pt x="134" y="161"/>
                  </a:lnTo>
                  <a:lnTo>
                    <a:pt x="125" y="159"/>
                  </a:lnTo>
                  <a:lnTo>
                    <a:pt x="118" y="170"/>
                  </a:lnTo>
                  <a:lnTo>
                    <a:pt x="114" y="168"/>
                  </a:lnTo>
                  <a:lnTo>
                    <a:pt x="105" y="165"/>
                  </a:lnTo>
                  <a:lnTo>
                    <a:pt x="101" y="163"/>
                  </a:lnTo>
                  <a:lnTo>
                    <a:pt x="105" y="150"/>
                  </a:lnTo>
                  <a:lnTo>
                    <a:pt x="105" y="150"/>
                  </a:lnTo>
                  <a:lnTo>
                    <a:pt x="97" y="143"/>
                  </a:lnTo>
                  <a:lnTo>
                    <a:pt x="84" y="150"/>
                  </a:lnTo>
                  <a:lnTo>
                    <a:pt x="83" y="146"/>
                  </a:lnTo>
                  <a:lnTo>
                    <a:pt x="77" y="139"/>
                  </a:lnTo>
                  <a:lnTo>
                    <a:pt x="73" y="135"/>
                  </a:lnTo>
                  <a:lnTo>
                    <a:pt x="84" y="126"/>
                  </a:lnTo>
                  <a:lnTo>
                    <a:pt x="84" y="126"/>
                  </a:lnTo>
                  <a:lnTo>
                    <a:pt x="81" y="117"/>
                  </a:lnTo>
                  <a:lnTo>
                    <a:pt x="68" y="115"/>
                  </a:lnTo>
                  <a:lnTo>
                    <a:pt x="66" y="111"/>
                  </a:lnTo>
                  <a:lnTo>
                    <a:pt x="66" y="102"/>
                  </a:lnTo>
                  <a:lnTo>
                    <a:pt x="64" y="99"/>
                  </a:lnTo>
                  <a:lnTo>
                    <a:pt x="79" y="93"/>
                  </a:lnTo>
                  <a:lnTo>
                    <a:pt x="79" y="93"/>
                  </a:lnTo>
                  <a:lnTo>
                    <a:pt x="81" y="84"/>
                  </a:lnTo>
                  <a:lnTo>
                    <a:pt x="70" y="77"/>
                  </a:lnTo>
                  <a:lnTo>
                    <a:pt x="72" y="73"/>
                  </a:lnTo>
                  <a:lnTo>
                    <a:pt x="75" y="64"/>
                  </a:lnTo>
                  <a:lnTo>
                    <a:pt x="77" y="60"/>
                  </a:lnTo>
                  <a:lnTo>
                    <a:pt x="90" y="64"/>
                  </a:lnTo>
                  <a:lnTo>
                    <a:pt x="90" y="64"/>
                  </a:lnTo>
                  <a:lnTo>
                    <a:pt x="97" y="56"/>
                  </a:lnTo>
                  <a:lnTo>
                    <a:pt x="90" y="45"/>
                  </a:lnTo>
                  <a:lnTo>
                    <a:pt x="94" y="44"/>
                  </a:lnTo>
                  <a:lnTo>
                    <a:pt x="101" y="36"/>
                  </a:lnTo>
                  <a:lnTo>
                    <a:pt x="105" y="34"/>
                  </a:lnTo>
                  <a:lnTo>
                    <a:pt x="116" y="44"/>
                  </a:lnTo>
                  <a:lnTo>
                    <a:pt x="116" y="44"/>
                  </a:lnTo>
                  <a:lnTo>
                    <a:pt x="123" y="42"/>
                  </a:lnTo>
                  <a:lnTo>
                    <a:pt x="125" y="27"/>
                  </a:lnTo>
                  <a:lnTo>
                    <a:pt x="129" y="27"/>
                  </a:lnTo>
                  <a:lnTo>
                    <a:pt x="138" y="25"/>
                  </a:lnTo>
                  <a:lnTo>
                    <a:pt x="141" y="25"/>
                  </a:lnTo>
                  <a:lnTo>
                    <a:pt x="147" y="40"/>
                  </a:lnTo>
                  <a:lnTo>
                    <a:pt x="147" y="40"/>
                  </a:lnTo>
                  <a:lnTo>
                    <a:pt x="156" y="40"/>
                  </a:lnTo>
                  <a:lnTo>
                    <a:pt x="162" y="29"/>
                  </a:lnTo>
                  <a:lnTo>
                    <a:pt x="165" y="31"/>
                  </a:lnTo>
                  <a:lnTo>
                    <a:pt x="176" y="34"/>
                  </a:lnTo>
                  <a:lnTo>
                    <a:pt x="180" y="36"/>
                  </a:lnTo>
                  <a:lnTo>
                    <a:pt x="176" y="51"/>
                  </a:lnTo>
                  <a:lnTo>
                    <a:pt x="176" y="51"/>
                  </a:lnTo>
                  <a:lnTo>
                    <a:pt x="184" y="56"/>
                  </a:lnTo>
                  <a:lnTo>
                    <a:pt x="195" y="49"/>
                  </a:lnTo>
                  <a:lnTo>
                    <a:pt x="196" y="53"/>
                  </a:lnTo>
                  <a:lnTo>
                    <a:pt x="204" y="62"/>
                  </a:lnTo>
                  <a:lnTo>
                    <a:pt x="206" y="64"/>
                  </a:lnTo>
                  <a:lnTo>
                    <a:pt x="196" y="75"/>
                  </a:lnTo>
                  <a:lnTo>
                    <a:pt x="196" y="75"/>
                  </a:lnTo>
                  <a:lnTo>
                    <a:pt x="200" y="84"/>
                  </a:lnTo>
                  <a:lnTo>
                    <a:pt x="213" y="84"/>
                  </a:lnTo>
                  <a:lnTo>
                    <a:pt x="213" y="88"/>
                  </a:lnTo>
                  <a:lnTo>
                    <a:pt x="215" y="99"/>
                  </a:lnTo>
                  <a:lnTo>
                    <a:pt x="215" y="102"/>
                  </a:lnTo>
                  <a:lnTo>
                    <a:pt x="202" y="106"/>
                  </a:lnTo>
                  <a:lnTo>
                    <a:pt x="202" y="106"/>
                  </a:lnTo>
                  <a:lnTo>
                    <a:pt x="200" y="115"/>
                  </a:lnTo>
                  <a:lnTo>
                    <a:pt x="211" y="122"/>
                  </a:lnTo>
                  <a:lnTo>
                    <a:pt x="209" y="126"/>
                  </a:lnTo>
                  <a:lnTo>
                    <a:pt x="206" y="135"/>
                  </a:lnTo>
                  <a:lnTo>
                    <a:pt x="204" y="139"/>
                  </a:lnTo>
                  <a:lnTo>
                    <a:pt x="189" y="135"/>
                  </a:lnTo>
                  <a:lnTo>
                    <a:pt x="189" y="135"/>
                  </a:lnTo>
                  <a:lnTo>
                    <a:pt x="184" y="143"/>
                  </a:lnTo>
                  <a:lnTo>
                    <a:pt x="189" y="156"/>
                  </a:lnTo>
                  <a:lnTo>
                    <a:pt x="187" y="157"/>
                  </a:lnTo>
                  <a:lnTo>
                    <a:pt x="178" y="163"/>
                  </a:lnTo>
                  <a:close/>
                  <a:moveTo>
                    <a:pt x="259" y="181"/>
                  </a:moveTo>
                  <a:lnTo>
                    <a:pt x="252" y="183"/>
                  </a:lnTo>
                  <a:lnTo>
                    <a:pt x="252" y="183"/>
                  </a:lnTo>
                  <a:lnTo>
                    <a:pt x="248" y="192"/>
                  </a:lnTo>
                  <a:lnTo>
                    <a:pt x="248" y="192"/>
                  </a:lnTo>
                  <a:lnTo>
                    <a:pt x="248" y="192"/>
                  </a:lnTo>
                  <a:lnTo>
                    <a:pt x="253" y="200"/>
                  </a:lnTo>
                  <a:lnTo>
                    <a:pt x="253" y="200"/>
                  </a:lnTo>
                  <a:lnTo>
                    <a:pt x="253" y="201"/>
                  </a:lnTo>
                  <a:lnTo>
                    <a:pt x="253" y="203"/>
                  </a:lnTo>
                  <a:lnTo>
                    <a:pt x="244" y="211"/>
                  </a:lnTo>
                  <a:lnTo>
                    <a:pt x="244" y="211"/>
                  </a:lnTo>
                  <a:lnTo>
                    <a:pt x="242" y="211"/>
                  </a:lnTo>
                  <a:lnTo>
                    <a:pt x="239" y="211"/>
                  </a:lnTo>
                  <a:lnTo>
                    <a:pt x="235" y="203"/>
                  </a:lnTo>
                  <a:lnTo>
                    <a:pt x="235" y="203"/>
                  </a:lnTo>
                  <a:lnTo>
                    <a:pt x="228" y="205"/>
                  </a:lnTo>
                  <a:lnTo>
                    <a:pt x="228" y="205"/>
                  </a:lnTo>
                  <a:lnTo>
                    <a:pt x="224" y="205"/>
                  </a:lnTo>
                  <a:lnTo>
                    <a:pt x="224" y="205"/>
                  </a:lnTo>
                  <a:lnTo>
                    <a:pt x="224" y="205"/>
                  </a:lnTo>
                  <a:lnTo>
                    <a:pt x="220" y="214"/>
                  </a:lnTo>
                  <a:lnTo>
                    <a:pt x="220" y="214"/>
                  </a:lnTo>
                  <a:lnTo>
                    <a:pt x="218" y="216"/>
                  </a:lnTo>
                  <a:lnTo>
                    <a:pt x="217" y="216"/>
                  </a:lnTo>
                  <a:lnTo>
                    <a:pt x="206" y="211"/>
                  </a:lnTo>
                  <a:lnTo>
                    <a:pt x="206" y="211"/>
                  </a:lnTo>
                  <a:lnTo>
                    <a:pt x="204" y="209"/>
                  </a:lnTo>
                  <a:lnTo>
                    <a:pt x="204" y="207"/>
                  </a:lnTo>
                  <a:lnTo>
                    <a:pt x="207" y="200"/>
                  </a:lnTo>
                  <a:lnTo>
                    <a:pt x="207" y="200"/>
                  </a:lnTo>
                  <a:lnTo>
                    <a:pt x="200" y="190"/>
                  </a:lnTo>
                  <a:lnTo>
                    <a:pt x="200" y="190"/>
                  </a:lnTo>
                  <a:lnTo>
                    <a:pt x="200" y="192"/>
                  </a:lnTo>
                  <a:lnTo>
                    <a:pt x="191" y="192"/>
                  </a:lnTo>
                  <a:lnTo>
                    <a:pt x="191" y="192"/>
                  </a:lnTo>
                  <a:lnTo>
                    <a:pt x="189" y="192"/>
                  </a:lnTo>
                  <a:lnTo>
                    <a:pt x="189" y="190"/>
                  </a:lnTo>
                  <a:lnTo>
                    <a:pt x="187" y="179"/>
                  </a:lnTo>
                  <a:lnTo>
                    <a:pt x="187" y="179"/>
                  </a:lnTo>
                  <a:lnTo>
                    <a:pt x="187" y="176"/>
                  </a:lnTo>
                  <a:lnTo>
                    <a:pt x="189" y="176"/>
                  </a:lnTo>
                  <a:lnTo>
                    <a:pt x="198" y="174"/>
                  </a:lnTo>
                  <a:lnTo>
                    <a:pt x="198" y="174"/>
                  </a:lnTo>
                  <a:lnTo>
                    <a:pt x="202" y="165"/>
                  </a:lnTo>
                  <a:lnTo>
                    <a:pt x="202" y="165"/>
                  </a:lnTo>
                  <a:lnTo>
                    <a:pt x="202" y="165"/>
                  </a:lnTo>
                  <a:lnTo>
                    <a:pt x="196" y="157"/>
                  </a:lnTo>
                  <a:lnTo>
                    <a:pt x="196" y="157"/>
                  </a:lnTo>
                  <a:lnTo>
                    <a:pt x="195" y="156"/>
                  </a:lnTo>
                  <a:lnTo>
                    <a:pt x="196" y="154"/>
                  </a:lnTo>
                  <a:lnTo>
                    <a:pt x="206" y="146"/>
                  </a:lnTo>
                  <a:lnTo>
                    <a:pt x="206" y="146"/>
                  </a:lnTo>
                  <a:lnTo>
                    <a:pt x="207" y="145"/>
                  </a:lnTo>
                  <a:lnTo>
                    <a:pt x="209" y="146"/>
                  </a:lnTo>
                  <a:lnTo>
                    <a:pt x="215" y="154"/>
                  </a:lnTo>
                  <a:lnTo>
                    <a:pt x="215" y="154"/>
                  </a:lnTo>
                  <a:lnTo>
                    <a:pt x="220" y="152"/>
                  </a:lnTo>
                  <a:lnTo>
                    <a:pt x="220" y="152"/>
                  </a:lnTo>
                  <a:lnTo>
                    <a:pt x="226" y="152"/>
                  </a:lnTo>
                  <a:lnTo>
                    <a:pt x="226" y="152"/>
                  </a:lnTo>
                  <a:lnTo>
                    <a:pt x="226" y="152"/>
                  </a:lnTo>
                  <a:lnTo>
                    <a:pt x="229" y="143"/>
                  </a:lnTo>
                  <a:lnTo>
                    <a:pt x="229" y="143"/>
                  </a:lnTo>
                  <a:lnTo>
                    <a:pt x="229" y="141"/>
                  </a:lnTo>
                  <a:lnTo>
                    <a:pt x="233" y="141"/>
                  </a:lnTo>
                  <a:lnTo>
                    <a:pt x="242" y="146"/>
                  </a:lnTo>
                  <a:lnTo>
                    <a:pt x="242" y="146"/>
                  </a:lnTo>
                  <a:lnTo>
                    <a:pt x="244" y="146"/>
                  </a:lnTo>
                  <a:lnTo>
                    <a:pt x="244" y="150"/>
                  </a:lnTo>
                  <a:lnTo>
                    <a:pt x="241" y="157"/>
                  </a:lnTo>
                  <a:lnTo>
                    <a:pt x="241" y="157"/>
                  </a:lnTo>
                  <a:lnTo>
                    <a:pt x="248" y="165"/>
                  </a:lnTo>
                  <a:lnTo>
                    <a:pt x="248" y="165"/>
                  </a:lnTo>
                  <a:lnTo>
                    <a:pt x="248" y="165"/>
                  </a:lnTo>
                  <a:lnTo>
                    <a:pt x="257" y="165"/>
                  </a:lnTo>
                  <a:lnTo>
                    <a:pt x="257" y="165"/>
                  </a:lnTo>
                  <a:lnTo>
                    <a:pt x="259" y="165"/>
                  </a:lnTo>
                  <a:lnTo>
                    <a:pt x="261" y="167"/>
                  </a:lnTo>
                  <a:lnTo>
                    <a:pt x="263" y="178"/>
                  </a:lnTo>
                  <a:lnTo>
                    <a:pt x="263" y="178"/>
                  </a:lnTo>
                  <a:lnTo>
                    <a:pt x="261" y="179"/>
                  </a:lnTo>
                  <a:lnTo>
                    <a:pt x="259" y="181"/>
                  </a:lnTo>
                  <a:lnTo>
                    <a:pt x="259" y="181"/>
                  </a:lnTo>
                  <a:close/>
                </a:path>
              </a:pathLst>
            </a:custGeom>
            <a:solidFill>
              <a:srgbClr val="FE5817"/>
            </a:solidFill>
            <a:ln w="9525">
              <a:solidFill>
                <a:srgbClr val="FE5817"/>
              </a:solidFill>
              <a:round/>
            </a:ln>
          </p:spPr>
          <p:txBody>
            <a:bodyPr vert="horz" wrap="square" lIns="91440" tIns="45720" rIns="91440" bIns="45720" numCol="1" anchor="t" anchorCtr="0" compatLnSpc="1"/>
            <a:lstStyle/>
            <a:p>
              <a:pPr hangingPunct="0">
                <a:defRPr/>
              </a:pPr>
              <a:endParaRPr lang="en-IE" kern="0" smtClean="0">
                <a:solidFill>
                  <a:srgbClr val="000000"/>
                </a:solidFill>
                <a:cs typeface="+mn-ea"/>
                <a:sym typeface="+mn-lt"/>
              </a:endParaRPr>
            </a:p>
          </p:txBody>
        </p:sp>
      </p:grpSp>
      <p:sp>
        <p:nvSpPr>
          <p:cNvPr id="41" name="文本框 3"/>
          <p:cNvSpPr txBox="1"/>
          <p:nvPr/>
        </p:nvSpPr>
        <p:spPr>
          <a:xfrm>
            <a:off x="3561673" y="3318634"/>
            <a:ext cx="2834522" cy="553998"/>
          </a:xfrm>
          <a:prstGeom prst="rect">
            <a:avLst/>
          </a:prstGeom>
          <a:noFill/>
        </p:spPr>
        <p:txBody>
          <a:bodyPr wrap="square" rtlCol="0">
            <a:spAutoFit/>
          </a:bodyPr>
          <a:lstStyle/>
          <a:p>
            <a:pPr algn="ctr"/>
            <a:r>
              <a:rPr lang="en-US" altLang="zh-CN" sz="3000" b="1" dirty="0" smtClean="0">
                <a:solidFill>
                  <a:srgbClr val="F05A23"/>
                </a:solidFill>
                <a:cs typeface="+mn-ea"/>
                <a:sym typeface="+mn-lt"/>
              </a:rPr>
              <a:t>90%</a:t>
            </a:r>
            <a:endParaRPr lang="en-US" altLang="zh-CN" sz="2600" b="1" dirty="0">
              <a:solidFill>
                <a:srgbClr val="F05A23"/>
              </a:solidFill>
              <a:cs typeface="+mn-ea"/>
              <a:sym typeface="+mn-lt"/>
            </a:endParaRPr>
          </a:p>
        </p:txBody>
      </p:sp>
      <p:sp>
        <p:nvSpPr>
          <p:cNvPr id="42" name="矩形 41"/>
          <p:cNvSpPr/>
          <p:nvPr/>
        </p:nvSpPr>
        <p:spPr>
          <a:xfrm>
            <a:off x="3419948" y="3720801"/>
            <a:ext cx="3117973" cy="584775"/>
          </a:xfrm>
          <a:prstGeom prst="rect">
            <a:avLst/>
          </a:prstGeom>
        </p:spPr>
        <p:txBody>
          <a:bodyPr wrap="square">
            <a:spAutoFit/>
          </a:bodyPr>
          <a:lstStyle/>
          <a:p>
            <a:pPr algn="ctr"/>
            <a:r>
              <a:rPr lang="en-US" altLang="zh-CN" sz="1600" dirty="0" smtClean="0">
                <a:cs typeface="+mn-ea"/>
                <a:sym typeface="+mn-lt"/>
              </a:rPr>
              <a:t>xx</a:t>
            </a:r>
            <a:endParaRPr lang="en-US" altLang="zh-CN" sz="1600" dirty="0" smtClean="0">
              <a:cs typeface="+mn-ea"/>
              <a:sym typeface="+mn-lt"/>
            </a:endParaRPr>
          </a:p>
          <a:p>
            <a:pPr algn="ctr"/>
            <a:r>
              <a:rPr lang="zh-CN" altLang="en-US" sz="1600" dirty="0" smtClean="0">
                <a:cs typeface="+mn-ea"/>
                <a:sym typeface="+mn-lt"/>
              </a:rPr>
              <a:t>准确率</a:t>
            </a:r>
            <a:endParaRPr lang="zh-CN" altLang="en-US" sz="1600" dirty="0">
              <a:cs typeface="+mn-ea"/>
              <a:sym typeface="+mn-lt"/>
            </a:endParaRPr>
          </a:p>
        </p:txBody>
      </p:sp>
      <p:sp>
        <p:nvSpPr>
          <p:cNvPr id="43" name="文本框 3"/>
          <p:cNvSpPr txBox="1"/>
          <p:nvPr/>
        </p:nvSpPr>
        <p:spPr>
          <a:xfrm>
            <a:off x="3561673" y="4349909"/>
            <a:ext cx="2834522" cy="523220"/>
          </a:xfrm>
          <a:prstGeom prst="rect">
            <a:avLst/>
          </a:prstGeom>
          <a:noFill/>
        </p:spPr>
        <p:txBody>
          <a:bodyPr wrap="square" rtlCol="0">
            <a:spAutoFit/>
          </a:bodyPr>
          <a:lstStyle/>
          <a:p>
            <a:pPr algn="ctr"/>
            <a:r>
              <a:rPr lang="en-US" altLang="zh-CN" sz="2800" b="1" dirty="0" smtClean="0">
                <a:solidFill>
                  <a:srgbClr val="F05A23"/>
                </a:solidFill>
                <a:cs typeface="+mn-ea"/>
                <a:sym typeface="+mn-lt"/>
              </a:rPr>
              <a:t>90%</a:t>
            </a:r>
            <a:endParaRPr lang="en-US" altLang="zh-CN" sz="2800" b="1" dirty="0">
              <a:solidFill>
                <a:srgbClr val="F05A23"/>
              </a:solidFill>
              <a:cs typeface="+mn-ea"/>
              <a:sym typeface="+mn-lt"/>
            </a:endParaRPr>
          </a:p>
        </p:txBody>
      </p:sp>
      <p:sp>
        <p:nvSpPr>
          <p:cNvPr id="44" name="矩形 43"/>
          <p:cNvSpPr/>
          <p:nvPr/>
        </p:nvSpPr>
        <p:spPr>
          <a:xfrm>
            <a:off x="3419948" y="4752076"/>
            <a:ext cx="3117973" cy="584775"/>
          </a:xfrm>
          <a:prstGeom prst="rect">
            <a:avLst/>
          </a:prstGeom>
        </p:spPr>
        <p:txBody>
          <a:bodyPr wrap="square">
            <a:spAutoFit/>
          </a:bodyPr>
          <a:lstStyle/>
          <a:p>
            <a:pPr algn="ctr"/>
            <a:r>
              <a:rPr lang="en-US" altLang="zh-CN" sz="1600" dirty="0" smtClean="0">
                <a:cs typeface="+mn-ea"/>
                <a:sym typeface="+mn-lt"/>
              </a:rPr>
              <a:t>xx</a:t>
            </a:r>
            <a:endParaRPr lang="en-US" altLang="zh-CN" sz="1600" dirty="0" smtClean="0">
              <a:cs typeface="+mn-ea"/>
              <a:sym typeface="+mn-lt"/>
            </a:endParaRPr>
          </a:p>
          <a:p>
            <a:pPr algn="ctr"/>
            <a:r>
              <a:rPr lang="zh-CN" altLang="en-US" sz="1600" dirty="0" smtClean="0">
                <a:cs typeface="+mn-ea"/>
                <a:sym typeface="+mn-lt"/>
              </a:rPr>
              <a:t>准确率</a:t>
            </a:r>
            <a:endParaRPr lang="en-US" altLang="zh-CN" sz="1600" dirty="0">
              <a:cs typeface="+mn-ea"/>
              <a:sym typeface="+mn-lt"/>
            </a:endParaRPr>
          </a:p>
        </p:txBody>
      </p:sp>
      <p:sp>
        <p:nvSpPr>
          <p:cNvPr id="45" name="文本框 3"/>
          <p:cNvSpPr txBox="1"/>
          <p:nvPr/>
        </p:nvSpPr>
        <p:spPr>
          <a:xfrm>
            <a:off x="3561673" y="5475427"/>
            <a:ext cx="2834522" cy="553998"/>
          </a:xfrm>
          <a:prstGeom prst="rect">
            <a:avLst/>
          </a:prstGeom>
          <a:noFill/>
        </p:spPr>
        <p:txBody>
          <a:bodyPr wrap="square" rtlCol="0">
            <a:spAutoFit/>
          </a:bodyPr>
          <a:lstStyle/>
          <a:p>
            <a:pPr algn="ctr"/>
            <a:r>
              <a:rPr lang="en-US" altLang="zh-CN" sz="3000" b="1" dirty="0" smtClean="0">
                <a:solidFill>
                  <a:srgbClr val="F05A23"/>
                </a:solidFill>
                <a:cs typeface="+mn-ea"/>
                <a:sym typeface="+mn-lt"/>
              </a:rPr>
              <a:t>50%</a:t>
            </a:r>
            <a:endParaRPr lang="en-US" altLang="zh-CN" sz="2800" b="1" dirty="0">
              <a:solidFill>
                <a:srgbClr val="F05A23"/>
              </a:solidFill>
              <a:cs typeface="+mn-ea"/>
              <a:sym typeface="+mn-lt"/>
            </a:endParaRPr>
          </a:p>
        </p:txBody>
      </p:sp>
      <p:sp>
        <p:nvSpPr>
          <p:cNvPr id="46" name="矩形 45"/>
          <p:cNvSpPr/>
          <p:nvPr/>
        </p:nvSpPr>
        <p:spPr>
          <a:xfrm>
            <a:off x="3935972" y="5873192"/>
            <a:ext cx="2085924" cy="338554"/>
          </a:xfrm>
          <a:prstGeom prst="rect">
            <a:avLst/>
          </a:prstGeom>
        </p:spPr>
        <p:txBody>
          <a:bodyPr wrap="square">
            <a:spAutoFit/>
          </a:bodyPr>
          <a:lstStyle/>
          <a:p>
            <a:pPr algn="ctr"/>
            <a:r>
              <a:rPr lang="en-US" altLang="zh-CN" sz="1600" dirty="0" smtClean="0">
                <a:cs typeface="+mn-ea"/>
                <a:sym typeface="+mn-lt"/>
              </a:rPr>
              <a:t>xx</a:t>
            </a:r>
            <a:r>
              <a:rPr lang="zh-CN" altLang="en-US" sz="1600" dirty="0" smtClean="0">
                <a:cs typeface="+mn-ea"/>
                <a:sym typeface="+mn-lt"/>
              </a:rPr>
              <a:t>处理率</a:t>
            </a:r>
            <a:endParaRPr lang="en-US" altLang="zh-CN" sz="1600" dirty="0">
              <a:cs typeface="+mn-ea"/>
              <a:sym typeface="+mn-lt"/>
            </a:endParaRPr>
          </a:p>
        </p:txBody>
      </p:sp>
      <p:sp>
        <p:nvSpPr>
          <p:cNvPr id="4" name="文本框 3"/>
          <p:cNvSpPr txBox="1"/>
          <p:nvPr/>
        </p:nvSpPr>
        <p:spPr>
          <a:xfrm>
            <a:off x="8539926" y="4330431"/>
            <a:ext cx="2834522" cy="461665"/>
          </a:xfrm>
          <a:prstGeom prst="rect">
            <a:avLst/>
          </a:prstGeom>
          <a:noFill/>
        </p:spPr>
        <p:txBody>
          <a:bodyPr wrap="square" rtlCol="0">
            <a:spAutoFit/>
          </a:bodyPr>
          <a:lstStyle/>
          <a:p>
            <a:pPr algn="ctr"/>
            <a:endParaRPr lang="en-US" altLang="zh-CN" sz="2400" b="1" dirty="0">
              <a:solidFill>
                <a:srgbClr val="F05A23"/>
              </a:solidFill>
              <a:cs typeface="+mn-ea"/>
              <a:sym typeface="+mn-lt"/>
            </a:endParaRPr>
          </a:p>
        </p:txBody>
      </p:sp>
      <p:sp>
        <p:nvSpPr>
          <p:cNvPr id="5" name="矩形 4"/>
          <p:cNvSpPr/>
          <p:nvPr/>
        </p:nvSpPr>
        <p:spPr>
          <a:xfrm>
            <a:off x="6625790" y="4799951"/>
            <a:ext cx="2025305" cy="338554"/>
          </a:xfrm>
          <a:prstGeom prst="rect">
            <a:avLst/>
          </a:prstGeom>
        </p:spPr>
        <p:txBody>
          <a:bodyPr wrap="square">
            <a:spAutoFit/>
          </a:bodyPr>
          <a:lstStyle/>
          <a:p>
            <a:pPr algn="ctr"/>
            <a:r>
              <a:rPr lang="en-US" altLang="zh-CN" sz="1600" dirty="0" smtClean="0">
                <a:cs typeface="+mn-ea"/>
                <a:sym typeface="+mn-lt"/>
              </a:rPr>
              <a:t>xxx</a:t>
            </a:r>
            <a:endParaRPr lang="en-US" altLang="zh-CN" sz="1600" dirty="0">
              <a:cs typeface="+mn-ea"/>
              <a:sym typeface="+mn-lt"/>
            </a:endParaRPr>
          </a:p>
        </p:txBody>
      </p:sp>
      <p:sp>
        <p:nvSpPr>
          <p:cNvPr id="29" name="Oval 57"/>
          <p:cNvSpPr/>
          <p:nvPr/>
        </p:nvSpPr>
        <p:spPr>
          <a:xfrm>
            <a:off x="7027690" y="1936865"/>
            <a:ext cx="1221502" cy="1221498"/>
          </a:xfrm>
          <a:prstGeom prst="ellipse">
            <a:avLst/>
          </a:prstGeom>
          <a:solidFill>
            <a:schemeClr val="bg1"/>
          </a:solidFill>
          <a:ln w="76200">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dirty="0">
              <a:solidFill>
                <a:sysClr val="windowText" lastClr="000000"/>
              </a:solidFill>
              <a:cs typeface="+mn-ea"/>
              <a:sym typeface="+mn-lt"/>
            </a:endParaRPr>
          </a:p>
        </p:txBody>
      </p:sp>
      <p:pic>
        <p:nvPicPr>
          <p:cNvPr id="30" name="Picture 35" descr="D:\Users\shixueyi065\Desktop\icon\服务2.png"/>
          <p:cNvPicPr>
            <a:picLocks noChangeAspect="1" noChangeArrowheads="1"/>
          </p:cNvPicPr>
          <p:nvPr/>
        </p:nvPicPr>
        <p:blipFill>
          <a:blip r:embed="rId1" cstate="email"/>
          <a:srcRect/>
          <a:stretch>
            <a:fillRect/>
          </a:stretch>
        </p:blipFill>
        <p:spPr bwMode="auto">
          <a:xfrm>
            <a:off x="7125530" y="2029160"/>
            <a:ext cx="976773" cy="976772"/>
          </a:xfrm>
          <a:prstGeom prst="rect">
            <a:avLst/>
          </a:prstGeom>
          <a:noFill/>
          <a:ln>
            <a:noFill/>
          </a:ln>
        </p:spPr>
      </p:pic>
      <p:grpSp>
        <p:nvGrpSpPr>
          <p:cNvPr id="31" name="组合 30"/>
          <p:cNvGrpSpPr/>
          <p:nvPr/>
        </p:nvGrpSpPr>
        <p:grpSpPr>
          <a:xfrm>
            <a:off x="6430740" y="3314379"/>
            <a:ext cx="2415404" cy="773971"/>
            <a:chOff x="8541480" y="3285129"/>
            <a:chExt cx="3117973" cy="773971"/>
          </a:xfrm>
        </p:grpSpPr>
        <p:sp>
          <p:nvSpPr>
            <p:cNvPr id="37" name="文本框 3"/>
            <p:cNvSpPr txBox="1"/>
            <p:nvPr/>
          </p:nvSpPr>
          <p:spPr>
            <a:xfrm>
              <a:off x="8683205" y="3285129"/>
              <a:ext cx="2834522" cy="553998"/>
            </a:xfrm>
            <a:prstGeom prst="rect">
              <a:avLst/>
            </a:prstGeom>
            <a:noFill/>
          </p:spPr>
          <p:txBody>
            <a:bodyPr wrap="square" rtlCol="0">
              <a:spAutoFit/>
            </a:bodyPr>
            <a:lstStyle/>
            <a:p>
              <a:pPr algn="ctr"/>
              <a:r>
                <a:rPr lang="en-US" altLang="zh-CN" sz="3000" b="1" dirty="0" smtClean="0">
                  <a:solidFill>
                    <a:srgbClr val="F05A23"/>
                  </a:solidFill>
                  <a:cs typeface="+mn-ea"/>
                  <a:sym typeface="+mn-lt"/>
                </a:rPr>
                <a:t>2</a:t>
              </a:r>
              <a:r>
                <a:rPr lang="zh-CN" altLang="en-US" sz="2800" b="1" dirty="0">
                  <a:solidFill>
                    <a:srgbClr val="F05A23"/>
                  </a:solidFill>
                  <a:cs typeface="+mn-ea"/>
                  <a:sym typeface="+mn-lt"/>
                </a:rPr>
                <a:t>万</a:t>
              </a:r>
              <a:r>
                <a:rPr lang="en-US" altLang="zh-CN" sz="2800" b="1" dirty="0">
                  <a:solidFill>
                    <a:srgbClr val="F05A23"/>
                  </a:solidFill>
                  <a:cs typeface="+mn-ea"/>
                  <a:sym typeface="+mn-lt"/>
                </a:rPr>
                <a:t>+</a:t>
              </a:r>
              <a:endParaRPr lang="en-US" altLang="zh-CN" sz="2800" b="1" dirty="0">
                <a:solidFill>
                  <a:srgbClr val="F05A23"/>
                </a:solidFill>
                <a:cs typeface="+mn-ea"/>
                <a:sym typeface="+mn-lt"/>
              </a:endParaRPr>
            </a:p>
          </p:txBody>
        </p:sp>
        <p:sp>
          <p:nvSpPr>
            <p:cNvPr id="38" name="矩形 37"/>
            <p:cNvSpPr/>
            <p:nvPr/>
          </p:nvSpPr>
          <p:spPr>
            <a:xfrm>
              <a:off x="8541480" y="3720546"/>
              <a:ext cx="3117973" cy="338554"/>
            </a:xfrm>
            <a:prstGeom prst="rect">
              <a:avLst/>
            </a:prstGeom>
          </p:spPr>
          <p:txBody>
            <a:bodyPr wrap="square">
              <a:spAutoFit/>
            </a:bodyPr>
            <a:lstStyle/>
            <a:p>
              <a:pPr algn="ctr"/>
              <a:r>
                <a:rPr lang="en-US" altLang="zh-CN" sz="1600" dirty="0" smtClean="0">
                  <a:cs typeface="+mn-ea"/>
                  <a:sym typeface="+mn-lt"/>
                </a:rPr>
                <a:t>xxx</a:t>
              </a:r>
              <a:endParaRPr lang="zh-CN" altLang="en-US" sz="1600" dirty="0">
                <a:cs typeface="+mn-ea"/>
                <a:sym typeface="+mn-lt"/>
              </a:endParaRPr>
            </a:p>
          </p:txBody>
        </p:sp>
      </p:grpSp>
      <p:grpSp>
        <p:nvGrpSpPr>
          <p:cNvPr id="32" name="组合 31"/>
          <p:cNvGrpSpPr/>
          <p:nvPr/>
        </p:nvGrpSpPr>
        <p:grpSpPr>
          <a:xfrm>
            <a:off x="6430740" y="5414719"/>
            <a:ext cx="2415404" cy="812288"/>
            <a:chOff x="8541480" y="4982342"/>
            <a:chExt cx="3117973" cy="812288"/>
          </a:xfrm>
        </p:grpSpPr>
        <p:sp>
          <p:nvSpPr>
            <p:cNvPr id="35" name="文本框 3"/>
            <p:cNvSpPr txBox="1"/>
            <p:nvPr/>
          </p:nvSpPr>
          <p:spPr>
            <a:xfrm>
              <a:off x="8683205" y="4982342"/>
              <a:ext cx="2834522" cy="553998"/>
            </a:xfrm>
            <a:prstGeom prst="rect">
              <a:avLst/>
            </a:prstGeom>
            <a:noFill/>
          </p:spPr>
          <p:txBody>
            <a:bodyPr wrap="square" rtlCol="0">
              <a:spAutoFit/>
            </a:bodyPr>
            <a:lstStyle/>
            <a:p>
              <a:pPr algn="ctr"/>
              <a:r>
                <a:rPr lang="en-US" altLang="zh-CN" sz="3000" b="1" dirty="0">
                  <a:solidFill>
                    <a:srgbClr val="F05A23"/>
                  </a:solidFill>
                  <a:cs typeface="+mn-ea"/>
                  <a:sym typeface="+mn-lt"/>
                </a:rPr>
                <a:t>80%+</a:t>
              </a:r>
              <a:endParaRPr lang="en-US" altLang="zh-CN" sz="3000" b="1" dirty="0">
                <a:solidFill>
                  <a:srgbClr val="F05A23"/>
                </a:solidFill>
                <a:cs typeface="+mn-ea"/>
                <a:sym typeface="+mn-lt"/>
              </a:endParaRPr>
            </a:p>
          </p:txBody>
        </p:sp>
        <p:sp>
          <p:nvSpPr>
            <p:cNvPr id="36" name="矩形 35"/>
            <p:cNvSpPr/>
            <p:nvPr/>
          </p:nvSpPr>
          <p:spPr>
            <a:xfrm>
              <a:off x="8541480" y="5456076"/>
              <a:ext cx="3117973" cy="338554"/>
            </a:xfrm>
            <a:prstGeom prst="rect">
              <a:avLst/>
            </a:prstGeom>
          </p:spPr>
          <p:txBody>
            <a:bodyPr wrap="square">
              <a:spAutoFit/>
            </a:bodyPr>
            <a:lstStyle/>
            <a:p>
              <a:pPr algn="ctr"/>
              <a:r>
                <a:rPr lang="en-US" altLang="zh-CN" sz="1600" dirty="0" smtClean="0">
                  <a:cs typeface="+mn-ea"/>
                  <a:sym typeface="+mn-lt"/>
                </a:rPr>
                <a:t>xxx</a:t>
              </a:r>
              <a:endParaRPr lang="en-US" altLang="zh-CN" sz="1600" dirty="0">
                <a:cs typeface="+mn-ea"/>
                <a:sym typeface="+mn-lt"/>
              </a:endParaRPr>
            </a:p>
          </p:txBody>
        </p:sp>
      </p:grpSp>
      <p:sp>
        <p:nvSpPr>
          <p:cNvPr id="33" name="TextBox 75"/>
          <p:cNvSpPr txBox="1"/>
          <p:nvPr/>
        </p:nvSpPr>
        <p:spPr>
          <a:xfrm>
            <a:off x="6437310" y="1294244"/>
            <a:ext cx="2402262" cy="618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algn="ctr">
              <a:buSzPct val="100000"/>
              <a:buFont typeface="Trebuchet MS" panose="020B0603020202020204" pitchFamily="34" charset="0"/>
              <a:buChar char="​"/>
            </a:pPr>
            <a:r>
              <a:rPr lang="zh-CN" altLang="en-US" sz="3200" b="1" dirty="0">
                <a:solidFill>
                  <a:srgbClr val="FE5817"/>
                </a:solidFill>
                <a:cs typeface="+mn-ea"/>
                <a:sym typeface="+mn-lt"/>
              </a:rPr>
              <a:t>运营</a:t>
            </a:r>
            <a:r>
              <a:rPr lang="zh-CN" altLang="en-US" sz="3200" b="1" dirty="0" smtClean="0">
                <a:solidFill>
                  <a:srgbClr val="FE5817"/>
                </a:solidFill>
                <a:cs typeface="+mn-ea"/>
                <a:sym typeface="+mn-lt"/>
              </a:rPr>
              <a:t>能力</a:t>
            </a:r>
            <a:endParaRPr lang="en-US" sz="3200" b="1" dirty="0" smtClean="0">
              <a:solidFill>
                <a:srgbClr val="FE5817"/>
              </a:solidFill>
              <a:cs typeface="+mn-ea"/>
              <a:sym typeface="+mn-lt"/>
            </a:endParaRPr>
          </a:p>
        </p:txBody>
      </p:sp>
      <p:sp>
        <p:nvSpPr>
          <p:cNvPr id="34" name="文本框 3"/>
          <p:cNvSpPr txBox="1"/>
          <p:nvPr/>
        </p:nvSpPr>
        <p:spPr>
          <a:xfrm>
            <a:off x="6540530" y="4366179"/>
            <a:ext cx="2195822" cy="553998"/>
          </a:xfrm>
          <a:prstGeom prst="rect">
            <a:avLst/>
          </a:prstGeom>
          <a:noFill/>
        </p:spPr>
        <p:txBody>
          <a:bodyPr wrap="square" rtlCol="0">
            <a:spAutoFit/>
          </a:bodyPr>
          <a:lstStyle/>
          <a:p>
            <a:pPr algn="ctr"/>
            <a:r>
              <a:rPr lang="en-US" altLang="zh-CN" sz="3000" b="1" dirty="0" smtClean="0">
                <a:solidFill>
                  <a:srgbClr val="F05A23"/>
                </a:solidFill>
                <a:cs typeface="+mn-ea"/>
                <a:sym typeface="+mn-lt"/>
              </a:rPr>
              <a:t>100%</a:t>
            </a:r>
            <a:endParaRPr lang="en-US" altLang="zh-CN" sz="2400" b="1" dirty="0">
              <a:solidFill>
                <a:srgbClr val="F05A23"/>
              </a:solidFill>
              <a:cs typeface="+mn-ea"/>
              <a:sym typeface="+mn-lt"/>
            </a:endParaRPr>
          </a:p>
        </p:txBody>
      </p:sp>
      <p:sp>
        <p:nvSpPr>
          <p:cNvPr id="17" name="TextBox 73"/>
          <p:cNvSpPr txBox="1"/>
          <p:nvPr/>
        </p:nvSpPr>
        <p:spPr>
          <a:xfrm>
            <a:off x="360000" y="1285063"/>
            <a:ext cx="3309840" cy="618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algn="ctr">
              <a:buSzPct val="100000"/>
              <a:buFont typeface="Trebuchet MS" panose="020B0603020202020204" pitchFamily="34" charset="0"/>
              <a:buChar char="​"/>
            </a:pPr>
            <a:r>
              <a:rPr lang="zh-CN" altLang="en-US" sz="3200" b="1" dirty="0">
                <a:solidFill>
                  <a:srgbClr val="FE5817"/>
                </a:solidFill>
                <a:cs typeface="+mn-ea"/>
                <a:sym typeface="+mn-lt"/>
              </a:rPr>
              <a:t>行</a:t>
            </a:r>
            <a:r>
              <a:rPr lang="zh-CN" altLang="en-US" sz="3200" b="1" dirty="0" smtClean="0">
                <a:solidFill>
                  <a:srgbClr val="FE5817"/>
                </a:solidFill>
                <a:cs typeface="+mn-ea"/>
                <a:sym typeface="+mn-lt"/>
              </a:rPr>
              <a:t>业理解力</a:t>
            </a:r>
            <a:endParaRPr lang="en-US" sz="3200" b="1" dirty="0">
              <a:solidFill>
                <a:srgbClr val="FE5817"/>
              </a:solidFill>
              <a:cs typeface="+mn-ea"/>
              <a:sym typeface="+mn-lt"/>
            </a:endParaRPr>
          </a:p>
        </p:txBody>
      </p:sp>
      <p:sp>
        <p:nvSpPr>
          <p:cNvPr id="19" name="文本框 3"/>
          <p:cNvSpPr txBox="1"/>
          <p:nvPr/>
        </p:nvSpPr>
        <p:spPr>
          <a:xfrm>
            <a:off x="598909" y="3294143"/>
            <a:ext cx="2834522" cy="553998"/>
          </a:xfrm>
          <a:prstGeom prst="rect">
            <a:avLst/>
          </a:prstGeom>
          <a:noFill/>
        </p:spPr>
        <p:txBody>
          <a:bodyPr wrap="square" rtlCol="0">
            <a:spAutoFit/>
          </a:bodyPr>
          <a:lstStyle/>
          <a:p>
            <a:pPr algn="ctr"/>
            <a:r>
              <a:rPr lang="en-US" altLang="zh-CN" sz="3000" b="1" dirty="0" smtClean="0">
                <a:solidFill>
                  <a:srgbClr val="F05A23"/>
                </a:solidFill>
                <a:cs typeface="+mn-ea"/>
                <a:sym typeface="+mn-lt"/>
              </a:rPr>
              <a:t>30</a:t>
            </a:r>
            <a:r>
              <a:rPr lang="zh-CN" altLang="en-US" sz="2800" b="1" dirty="0">
                <a:solidFill>
                  <a:srgbClr val="F05A23"/>
                </a:solidFill>
                <a:cs typeface="+mn-ea"/>
                <a:sym typeface="+mn-lt"/>
              </a:rPr>
              <a:t>年</a:t>
            </a:r>
            <a:r>
              <a:rPr lang="en-US" altLang="zh-CN" sz="2800" b="1" dirty="0">
                <a:solidFill>
                  <a:srgbClr val="F05A23"/>
                </a:solidFill>
                <a:cs typeface="+mn-ea"/>
                <a:sym typeface="+mn-lt"/>
              </a:rPr>
              <a:t>+</a:t>
            </a:r>
            <a:endParaRPr lang="en-US" altLang="zh-CN" sz="2800" b="1" dirty="0">
              <a:solidFill>
                <a:srgbClr val="F05A23"/>
              </a:solidFill>
              <a:cs typeface="+mn-ea"/>
              <a:sym typeface="+mn-lt"/>
            </a:endParaRPr>
          </a:p>
        </p:txBody>
      </p:sp>
      <p:sp>
        <p:nvSpPr>
          <p:cNvPr id="20" name="矩形 19"/>
          <p:cNvSpPr/>
          <p:nvPr/>
        </p:nvSpPr>
        <p:spPr>
          <a:xfrm>
            <a:off x="906245" y="3696310"/>
            <a:ext cx="2219850" cy="338554"/>
          </a:xfrm>
          <a:prstGeom prst="rect">
            <a:avLst/>
          </a:prstGeom>
        </p:spPr>
        <p:txBody>
          <a:bodyPr wrap="square">
            <a:spAutoFit/>
          </a:bodyPr>
          <a:lstStyle/>
          <a:p>
            <a:pPr algn="ctr"/>
            <a:r>
              <a:rPr lang="zh-CN" altLang="en-US" sz="1600" dirty="0">
                <a:cs typeface="+mn-ea"/>
                <a:sym typeface="+mn-lt"/>
              </a:rPr>
              <a:t>车</a:t>
            </a:r>
            <a:r>
              <a:rPr lang="zh-CN" altLang="en-US" sz="1600" dirty="0" smtClean="0">
                <a:cs typeface="+mn-ea"/>
                <a:sym typeface="+mn-lt"/>
              </a:rPr>
              <a:t>险</a:t>
            </a:r>
            <a:r>
              <a:rPr lang="zh-CN" altLang="en-US" sz="1600" dirty="0">
                <a:cs typeface="+mn-ea"/>
                <a:sym typeface="+mn-lt"/>
              </a:rPr>
              <a:t>经营</a:t>
            </a:r>
            <a:r>
              <a:rPr lang="zh-CN" altLang="en-US" sz="1600" dirty="0" smtClean="0">
                <a:cs typeface="+mn-ea"/>
                <a:sym typeface="+mn-lt"/>
              </a:rPr>
              <a:t>经验</a:t>
            </a:r>
            <a:endParaRPr lang="zh-CN" altLang="en-US" sz="1600" dirty="0">
              <a:cs typeface="+mn-ea"/>
              <a:sym typeface="+mn-lt"/>
            </a:endParaRPr>
          </a:p>
        </p:txBody>
      </p:sp>
      <p:sp>
        <p:nvSpPr>
          <p:cNvPr id="21" name="文本框 3"/>
          <p:cNvSpPr txBox="1"/>
          <p:nvPr/>
        </p:nvSpPr>
        <p:spPr>
          <a:xfrm>
            <a:off x="598909" y="4098537"/>
            <a:ext cx="2834522" cy="553998"/>
          </a:xfrm>
          <a:prstGeom prst="rect">
            <a:avLst/>
          </a:prstGeom>
          <a:noFill/>
        </p:spPr>
        <p:txBody>
          <a:bodyPr wrap="square" rtlCol="0">
            <a:spAutoFit/>
          </a:bodyPr>
          <a:lstStyle/>
          <a:p>
            <a:pPr algn="ctr"/>
            <a:r>
              <a:rPr lang="en-US" altLang="zh-CN" sz="3000" b="1" dirty="0" smtClean="0">
                <a:solidFill>
                  <a:srgbClr val="F05A23"/>
                </a:solidFill>
                <a:cs typeface="+mn-ea"/>
                <a:sym typeface="+mn-lt"/>
              </a:rPr>
              <a:t>1:4</a:t>
            </a:r>
            <a:endParaRPr lang="en-US" altLang="zh-CN" sz="2600" b="1" dirty="0">
              <a:solidFill>
                <a:srgbClr val="F05A23"/>
              </a:solidFill>
              <a:cs typeface="+mn-ea"/>
              <a:sym typeface="+mn-lt"/>
            </a:endParaRPr>
          </a:p>
        </p:txBody>
      </p:sp>
      <p:sp>
        <p:nvSpPr>
          <p:cNvPr id="22" name="矩形 21"/>
          <p:cNvSpPr/>
          <p:nvPr/>
        </p:nvSpPr>
        <p:spPr>
          <a:xfrm>
            <a:off x="455934" y="4500704"/>
            <a:ext cx="3117973" cy="338554"/>
          </a:xfrm>
          <a:prstGeom prst="rect">
            <a:avLst/>
          </a:prstGeom>
        </p:spPr>
        <p:txBody>
          <a:bodyPr wrap="square">
            <a:spAutoFit/>
          </a:bodyPr>
          <a:lstStyle/>
          <a:p>
            <a:pPr algn="ctr"/>
            <a:r>
              <a:rPr lang="en-US" altLang="zh-CN" sz="1600" dirty="0" smtClean="0">
                <a:cs typeface="+mn-ea"/>
                <a:sym typeface="+mn-lt"/>
              </a:rPr>
              <a:t>xxx</a:t>
            </a:r>
            <a:endParaRPr lang="en-US" altLang="zh-CN" sz="1600" dirty="0">
              <a:cs typeface="+mn-ea"/>
              <a:sym typeface="+mn-lt"/>
            </a:endParaRPr>
          </a:p>
        </p:txBody>
      </p:sp>
      <p:sp>
        <p:nvSpPr>
          <p:cNvPr id="23" name="文本框 3"/>
          <p:cNvSpPr txBox="1"/>
          <p:nvPr/>
        </p:nvSpPr>
        <p:spPr>
          <a:xfrm>
            <a:off x="598909" y="4880048"/>
            <a:ext cx="2834522" cy="553998"/>
          </a:xfrm>
          <a:prstGeom prst="rect">
            <a:avLst/>
          </a:prstGeom>
          <a:noFill/>
        </p:spPr>
        <p:txBody>
          <a:bodyPr wrap="square" rtlCol="0">
            <a:spAutoFit/>
          </a:bodyPr>
          <a:lstStyle/>
          <a:p>
            <a:pPr algn="ctr"/>
            <a:r>
              <a:rPr lang="en-US" altLang="zh-CN" sz="3000" b="1" dirty="0" smtClean="0">
                <a:solidFill>
                  <a:srgbClr val="F05A23"/>
                </a:solidFill>
                <a:cs typeface="+mn-ea"/>
                <a:sym typeface="+mn-lt"/>
              </a:rPr>
              <a:t>6</a:t>
            </a:r>
            <a:r>
              <a:rPr lang="zh-CN" altLang="en-US" sz="2800" b="1" dirty="0" smtClean="0">
                <a:solidFill>
                  <a:srgbClr val="F05A23"/>
                </a:solidFill>
                <a:cs typeface="+mn-ea"/>
                <a:sym typeface="+mn-lt"/>
              </a:rPr>
              <a:t>万件</a:t>
            </a:r>
            <a:endParaRPr lang="en-US" altLang="zh-CN" sz="2800" b="1" dirty="0">
              <a:solidFill>
                <a:srgbClr val="F05A23"/>
              </a:solidFill>
              <a:cs typeface="+mn-ea"/>
              <a:sym typeface="+mn-lt"/>
            </a:endParaRPr>
          </a:p>
        </p:txBody>
      </p:sp>
      <p:sp>
        <p:nvSpPr>
          <p:cNvPr id="24" name="矩形 23"/>
          <p:cNvSpPr/>
          <p:nvPr/>
        </p:nvSpPr>
        <p:spPr>
          <a:xfrm>
            <a:off x="455934" y="5282215"/>
            <a:ext cx="3117973" cy="338554"/>
          </a:xfrm>
          <a:prstGeom prst="rect">
            <a:avLst/>
          </a:prstGeom>
        </p:spPr>
        <p:txBody>
          <a:bodyPr wrap="square">
            <a:spAutoFit/>
          </a:bodyPr>
          <a:lstStyle/>
          <a:p>
            <a:pPr algn="ctr"/>
            <a:r>
              <a:rPr lang="en-US" altLang="zh-CN" sz="1600" dirty="0" smtClean="0">
                <a:cs typeface="+mn-ea"/>
                <a:sym typeface="+mn-lt"/>
              </a:rPr>
              <a:t>xxx</a:t>
            </a:r>
            <a:endParaRPr lang="en-US" altLang="zh-CN" sz="1600" dirty="0">
              <a:cs typeface="+mn-ea"/>
              <a:sym typeface="+mn-lt"/>
            </a:endParaRPr>
          </a:p>
        </p:txBody>
      </p:sp>
      <p:sp>
        <p:nvSpPr>
          <p:cNvPr id="25" name="文本框 3"/>
          <p:cNvSpPr txBox="1"/>
          <p:nvPr/>
        </p:nvSpPr>
        <p:spPr>
          <a:xfrm>
            <a:off x="598909" y="5572088"/>
            <a:ext cx="2834522" cy="553998"/>
          </a:xfrm>
          <a:prstGeom prst="rect">
            <a:avLst/>
          </a:prstGeom>
          <a:noFill/>
        </p:spPr>
        <p:txBody>
          <a:bodyPr wrap="square" rtlCol="0">
            <a:spAutoFit/>
          </a:bodyPr>
          <a:lstStyle/>
          <a:p>
            <a:pPr algn="ctr"/>
            <a:r>
              <a:rPr lang="en-US" altLang="zh-CN" sz="3000" b="1" dirty="0" smtClean="0">
                <a:solidFill>
                  <a:srgbClr val="F05A23"/>
                </a:solidFill>
                <a:cs typeface="+mn-ea"/>
                <a:sym typeface="+mn-lt"/>
              </a:rPr>
              <a:t>60</a:t>
            </a:r>
            <a:r>
              <a:rPr lang="en-US" altLang="zh-CN" sz="2800" b="1" dirty="0" smtClean="0">
                <a:solidFill>
                  <a:srgbClr val="F05A23"/>
                </a:solidFill>
                <a:cs typeface="+mn-ea"/>
                <a:sym typeface="+mn-lt"/>
              </a:rPr>
              <a:t>+</a:t>
            </a:r>
            <a:r>
              <a:rPr lang="zh-CN" altLang="en-US" sz="2800" b="1" dirty="0" smtClean="0">
                <a:solidFill>
                  <a:srgbClr val="F05A23"/>
                </a:solidFill>
                <a:cs typeface="+mn-ea"/>
                <a:sym typeface="+mn-lt"/>
              </a:rPr>
              <a:t>位</a:t>
            </a:r>
            <a:endParaRPr lang="en-US" altLang="zh-CN" sz="2800" b="1" dirty="0">
              <a:solidFill>
                <a:srgbClr val="F05A23"/>
              </a:solidFill>
              <a:cs typeface="+mn-ea"/>
              <a:sym typeface="+mn-lt"/>
            </a:endParaRPr>
          </a:p>
        </p:txBody>
      </p:sp>
      <p:sp>
        <p:nvSpPr>
          <p:cNvPr id="26" name="矩形 25"/>
          <p:cNvSpPr/>
          <p:nvPr/>
        </p:nvSpPr>
        <p:spPr>
          <a:xfrm>
            <a:off x="458434" y="5974255"/>
            <a:ext cx="3117973" cy="338554"/>
          </a:xfrm>
          <a:prstGeom prst="rect">
            <a:avLst/>
          </a:prstGeom>
        </p:spPr>
        <p:txBody>
          <a:bodyPr wrap="square">
            <a:spAutoFit/>
          </a:bodyPr>
          <a:lstStyle/>
          <a:p>
            <a:pPr algn="ctr"/>
            <a:r>
              <a:rPr lang="en-US" altLang="zh-CN" sz="1600" dirty="0" smtClean="0">
                <a:cs typeface="+mn-ea"/>
                <a:sym typeface="+mn-lt"/>
              </a:rPr>
              <a:t>xx</a:t>
            </a:r>
            <a:r>
              <a:rPr lang="zh-CN" altLang="en-US" sz="1600" dirty="0" smtClean="0">
                <a:cs typeface="+mn-ea"/>
                <a:sym typeface="+mn-lt"/>
              </a:rPr>
              <a:t>行业专家</a:t>
            </a:r>
            <a:endParaRPr lang="en-US" altLang="zh-CN" sz="1600" dirty="0">
              <a:cs typeface="+mn-ea"/>
              <a:sym typeface="+mn-lt"/>
            </a:endParaRPr>
          </a:p>
        </p:txBody>
      </p:sp>
      <p:sp>
        <p:nvSpPr>
          <p:cNvPr id="27" name="Oval 57"/>
          <p:cNvSpPr/>
          <p:nvPr/>
        </p:nvSpPr>
        <p:spPr>
          <a:xfrm>
            <a:off x="1405419" y="1936865"/>
            <a:ext cx="1221502" cy="1221498"/>
          </a:xfrm>
          <a:prstGeom prst="ellipse">
            <a:avLst/>
          </a:prstGeom>
          <a:solidFill>
            <a:schemeClr val="bg1"/>
          </a:solidFill>
          <a:ln w="76200">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dirty="0">
              <a:solidFill>
                <a:schemeClr val="bg1">
                  <a:lumMod val="50000"/>
                </a:schemeClr>
              </a:solidFill>
              <a:cs typeface="+mn-ea"/>
              <a:sym typeface="+mn-lt"/>
            </a:endParaRPr>
          </a:p>
        </p:txBody>
      </p:sp>
      <p:pic>
        <p:nvPicPr>
          <p:cNvPr id="28" name="Picture 2" descr="D:\Users\lixiaohui091\AppData\Local\Microsoft\Windows\Temporary Internet Files\Content.Outlook\QIHF9FMJ\行业.png"/>
          <p:cNvPicPr>
            <a:picLocks noChangeAspect="1" noChangeArrowheads="1"/>
          </p:cNvPicPr>
          <p:nvPr/>
        </p:nvPicPr>
        <p:blipFill>
          <a:blip r:embed="rId2"/>
          <a:srcRect/>
          <a:stretch>
            <a:fillRect/>
          </a:stretch>
        </p:blipFill>
        <p:spPr bwMode="auto">
          <a:xfrm>
            <a:off x="1440056" y="2010498"/>
            <a:ext cx="1168959" cy="1168959"/>
          </a:xfrm>
          <a:prstGeom prst="rect">
            <a:avLst/>
          </a:prstGeom>
          <a:noFill/>
          <a:ln>
            <a:noFill/>
          </a:ln>
        </p:spPr>
      </p:pic>
      <p:sp>
        <p:nvSpPr>
          <p:cNvPr id="9" name="TextBox 75"/>
          <p:cNvSpPr txBox="1"/>
          <p:nvPr/>
        </p:nvSpPr>
        <p:spPr>
          <a:xfrm>
            <a:off x="9005776" y="1281533"/>
            <a:ext cx="2450098" cy="618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algn="ctr">
              <a:buSzPct val="100000"/>
              <a:buFont typeface="Trebuchet MS" panose="020B0603020202020204" pitchFamily="34" charset="0"/>
              <a:buChar char="​"/>
            </a:pPr>
            <a:r>
              <a:rPr lang="zh-CN" altLang="en-US" sz="3200" b="1" dirty="0">
                <a:solidFill>
                  <a:srgbClr val="FE5817"/>
                </a:solidFill>
                <a:cs typeface="+mn-ea"/>
                <a:sym typeface="+mn-lt"/>
              </a:rPr>
              <a:t>落</a:t>
            </a:r>
            <a:r>
              <a:rPr lang="zh-CN" altLang="en-US" sz="3200" b="1" dirty="0" smtClean="0">
                <a:solidFill>
                  <a:srgbClr val="FE5817"/>
                </a:solidFill>
                <a:cs typeface="+mn-ea"/>
                <a:sym typeface="+mn-lt"/>
              </a:rPr>
              <a:t>地能力</a:t>
            </a:r>
            <a:endParaRPr lang="en-US" sz="3200" b="1" dirty="0" smtClean="0">
              <a:solidFill>
                <a:srgbClr val="FE5817"/>
              </a:solidFill>
              <a:cs typeface="+mn-ea"/>
              <a:sym typeface="+mn-lt"/>
            </a:endParaRPr>
          </a:p>
        </p:txBody>
      </p:sp>
      <p:sp>
        <p:nvSpPr>
          <p:cNvPr id="10" name="文本框 3"/>
          <p:cNvSpPr txBox="1"/>
          <p:nvPr/>
        </p:nvSpPr>
        <p:spPr>
          <a:xfrm>
            <a:off x="8999073" y="3352364"/>
            <a:ext cx="2463504" cy="553998"/>
          </a:xfrm>
          <a:prstGeom prst="rect">
            <a:avLst/>
          </a:prstGeom>
          <a:noFill/>
        </p:spPr>
        <p:txBody>
          <a:bodyPr wrap="square" rtlCol="0">
            <a:spAutoFit/>
          </a:bodyPr>
          <a:lstStyle/>
          <a:p>
            <a:pPr algn="ctr"/>
            <a:r>
              <a:rPr lang="en-US" altLang="zh-CN" sz="3000" b="1" dirty="0" smtClean="0">
                <a:solidFill>
                  <a:srgbClr val="F05A23"/>
                </a:solidFill>
                <a:cs typeface="+mn-ea"/>
                <a:sym typeface="+mn-lt"/>
              </a:rPr>
              <a:t>40</a:t>
            </a:r>
            <a:r>
              <a:rPr lang="zh-CN" altLang="en-US" sz="2800" b="1" dirty="0" smtClean="0">
                <a:solidFill>
                  <a:srgbClr val="F05A23"/>
                </a:solidFill>
                <a:cs typeface="+mn-ea"/>
                <a:sym typeface="+mn-lt"/>
              </a:rPr>
              <a:t>天</a:t>
            </a:r>
            <a:endParaRPr lang="en-US" altLang="zh-CN" sz="2800" b="1" dirty="0">
              <a:solidFill>
                <a:srgbClr val="F05A23"/>
              </a:solidFill>
              <a:cs typeface="+mn-ea"/>
              <a:sym typeface="+mn-lt"/>
            </a:endParaRPr>
          </a:p>
        </p:txBody>
      </p:sp>
      <p:sp>
        <p:nvSpPr>
          <p:cNvPr id="11" name="矩形 10"/>
          <p:cNvSpPr/>
          <p:nvPr/>
        </p:nvSpPr>
        <p:spPr>
          <a:xfrm>
            <a:off x="8999075" y="3801228"/>
            <a:ext cx="2463502" cy="338554"/>
          </a:xfrm>
          <a:prstGeom prst="rect">
            <a:avLst/>
          </a:prstGeom>
        </p:spPr>
        <p:txBody>
          <a:bodyPr wrap="square">
            <a:spAutoFit/>
          </a:bodyPr>
          <a:lstStyle/>
          <a:p>
            <a:pPr algn="ctr"/>
            <a:r>
              <a:rPr lang="en-US" altLang="zh-CN" sz="1600" dirty="0" smtClean="0">
                <a:cs typeface="+mn-ea"/>
                <a:sym typeface="+mn-lt"/>
              </a:rPr>
              <a:t>xxx</a:t>
            </a:r>
            <a:endParaRPr lang="zh-CN" altLang="en-US" sz="1600" dirty="0">
              <a:cs typeface="+mn-ea"/>
              <a:sym typeface="+mn-lt"/>
            </a:endParaRPr>
          </a:p>
        </p:txBody>
      </p:sp>
      <p:sp>
        <p:nvSpPr>
          <p:cNvPr id="12" name="文本框 3"/>
          <p:cNvSpPr txBox="1"/>
          <p:nvPr/>
        </p:nvSpPr>
        <p:spPr>
          <a:xfrm>
            <a:off x="8999073" y="4419154"/>
            <a:ext cx="2463504" cy="553998"/>
          </a:xfrm>
          <a:prstGeom prst="rect">
            <a:avLst/>
          </a:prstGeom>
          <a:noFill/>
        </p:spPr>
        <p:txBody>
          <a:bodyPr wrap="square" rtlCol="0">
            <a:spAutoFit/>
          </a:bodyPr>
          <a:lstStyle/>
          <a:p>
            <a:pPr algn="ctr"/>
            <a:r>
              <a:rPr lang="en-US" altLang="zh-CN" sz="3000" b="1" dirty="0" smtClean="0">
                <a:solidFill>
                  <a:srgbClr val="F05A23"/>
                </a:solidFill>
                <a:cs typeface="+mn-ea"/>
                <a:sym typeface="+mn-lt"/>
              </a:rPr>
              <a:t>10</a:t>
            </a:r>
            <a:r>
              <a:rPr lang="en-US" altLang="zh-CN" sz="2800" b="1" dirty="0">
                <a:solidFill>
                  <a:srgbClr val="F05A23"/>
                </a:solidFill>
                <a:cs typeface="+mn-ea"/>
                <a:sym typeface="+mn-lt"/>
              </a:rPr>
              <a:t>+</a:t>
            </a:r>
            <a:r>
              <a:rPr lang="zh-CN" altLang="en-US" sz="2800" b="1" dirty="0">
                <a:solidFill>
                  <a:srgbClr val="F05A23"/>
                </a:solidFill>
                <a:cs typeface="+mn-ea"/>
                <a:sym typeface="+mn-lt"/>
              </a:rPr>
              <a:t>项目</a:t>
            </a:r>
            <a:endParaRPr lang="en-US" altLang="zh-CN" sz="2800" b="1" dirty="0">
              <a:solidFill>
                <a:srgbClr val="F05A23"/>
              </a:solidFill>
              <a:cs typeface="+mn-ea"/>
              <a:sym typeface="+mn-lt"/>
            </a:endParaRPr>
          </a:p>
        </p:txBody>
      </p:sp>
      <p:sp>
        <p:nvSpPr>
          <p:cNvPr id="13" name="矩形 12"/>
          <p:cNvSpPr/>
          <p:nvPr/>
        </p:nvSpPr>
        <p:spPr>
          <a:xfrm>
            <a:off x="8999075" y="4962147"/>
            <a:ext cx="2463502" cy="338554"/>
          </a:xfrm>
          <a:prstGeom prst="rect">
            <a:avLst/>
          </a:prstGeom>
        </p:spPr>
        <p:txBody>
          <a:bodyPr wrap="square">
            <a:spAutoFit/>
          </a:bodyPr>
          <a:lstStyle/>
          <a:p>
            <a:pPr algn="ctr"/>
            <a:r>
              <a:rPr lang="en-US" altLang="zh-CN" sz="1600" dirty="0" smtClean="0">
                <a:cs typeface="+mn-ea"/>
                <a:sym typeface="+mn-lt"/>
              </a:rPr>
              <a:t>xxx</a:t>
            </a:r>
            <a:endParaRPr lang="en-US" altLang="zh-CN" sz="1600" dirty="0" smtClean="0">
              <a:cs typeface="+mn-ea"/>
              <a:sym typeface="+mn-lt"/>
            </a:endParaRPr>
          </a:p>
        </p:txBody>
      </p:sp>
      <p:grpSp>
        <p:nvGrpSpPr>
          <p:cNvPr id="14" name="组合 13"/>
          <p:cNvGrpSpPr/>
          <p:nvPr/>
        </p:nvGrpSpPr>
        <p:grpSpPr>
          <a:xfrm>
            <a:off x="9620074" y="1936865"/>
            <a:ext cx="1221502" cy="1221498"/>
            <a:chOff x="9969200" y="2328746"/>
            <a:chExt cx="1221502" cy="1221498"/>
          </a:xfrm>
        </p:grpSpPr>
        <p:sp>
          <p:nvSpPr>
            <p:cNvPr id="15" name="Oval 57"/>
            <p:cNvSpPr/>
            <p:nvPr/>
          </p:nvSpPr>
          <p:spPr>
            <a:xfrm>
              <a:off x="9969200" y="2328746"/>
              <a:ext cx="1221502" cy="1221498"/>
            </a:xfrm>
            <a:prstGeom prst="ellipse">
              <a:avLst/>
            </a:prstGeom>
            <a:solidFill>
              <a:schemeClr val="bg1"/>
            </a:solidFill>
            <a:ln w="76200">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dirty="0">
                <a:solidFill>
                  <a:sysClr val="windowText" lastClr="000000"/>
                </a:solidFill>
                <a:cs typeface="+mn-ea"/>
                <a:sym typeface="+mn-lt"/>
              </a:endParaRPr>
            </a:p>
          </p:txBody>
        </p:sp>
        <p:pic>
          <p:nvPicPr>
            <p:cNvPr id="16" name="Picture 3" descr="D:\Users\lixiaohui091\AppData\Local\Microsoft\Windows\Temporary Internet Files\Content.Outlook\QIHF9FMJ\落地.png"/>
            <p:cNvPicPr>
              <a:picLocks noChangeAspect="1" noChangeArrowheads="1"/>
            </p:cNvPicPr>
            <p:nvPr/>
          </p:nvPicPr>
          <p:blipFill>
            <a:blip r:embed="rId3"/>
            <a:srcRect/>
            <a:stretch>
              <a:fillRect/>
            </a:stretch>
          </p:blipFill>
          <p:spPr bwMode="auto">
            <a:xfrm>
              <a:off x="10104978" y="2538370"/>
              <a:ext cx="955200" cy="740279"/>
            </a:xfrm>
            <a:prstGeom prst="rect">
              <a:avLst/>
            </a:prstGeom>
            <a:noFill/>
            <a:ln>
              <a:noFill/>
            </a:ln>
          </p:spPr>
        </p:pic>
      </p:grpSp>
      <p:sp>
        <p:nvSpPr>
          <p:cNvPr id="50"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优势</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模型</a:t>
            </a:r>
            <a:endParaRPr lang="zh-CN" altLang="en-US" sz="2400" dirty="0">
              <a:solidFill>
                <a:prstClr val="black"/>
              </a:solidFill>
              <a:latin typeface="华文楷体" panose="02010600040101010101" charset="-122"/>
            </a:endParaRPr>
          </a:p>
        </p:txBody>
      </p:sp>
      <p:cxnSp>
        <p:nvCxnSpPr>
          <p:cNvPr id="132" name="直接连接符 131"/>
          <p:cNvCxnSpPr>
            <a:stCxn id="212" idx="6"/>
            <a:endCxn id="146" idx="2"/>
          </p:cNvCxnSpPr>
          <p:nvPr/>
        </p:nvCxnSpPr>
        <p:spPr>
          <a:xfrm flipV="1">
            <a:off x="1866644" y="3697992"/>
            <a:ext cx="2227398" cy="1020518"/>
          </a:xfrm>
          <a:prstGeom prst="line">
            <a:avLst/>
          </a:prstGeom>
          <a:noFill/>
          <a:ln w="19050" cap="rnd" cmpd="sng" algn="ctr">
            <a:solidFill>
              <a:sysClr val="window" lastClr="FFFFFF">
                <a:lumMod val="65000"/>
              </a:sysClr>
            </a:solidFill>
            <a:prstDash val="sysDot"/>
            <a:round/>
          </a:ln>
          <a:effectLst/>
        </p:spPr>
      </p:cxnSp>
      <p:cxnSp>
        <p:nvCxnSpPr>
          <p:cNvPr id="133" name="直接连接符 132"/>
          <p:cNvCxnSpPr>
            <a:stCxn id="209" idx="6"/>
            <a:endCxn id="146" idx="2"/>
          </p:cNvCxnSpPr>
          <p:nvPr/>
        </p:nvCxnSpPr>
        <p:spPr>
          <a:xfrm>
            <a:off x="1866644" y="3075656"/>
            <a:ext cx="2227398" cy="622336"/>
          </a:xfrm>
          <a:prstGeom prst="line">
            <a:avLst/>
          </a:prstGeom>
          <a:noFill/>
          <a:ln w="19050" cap="rnd" cmpd="sng" algn="ctr">
            <a:solidFill>
              <a:schemeClr val="bg1">
                <a:lumMod val="75000"/>
              </a:schemeClr>
            </a:solidFill>
            <a:prstDash val="sysDot"/>
            <a:round/>
          </a:ln>
          <a:effectLst/>
        </p:spPr>
      </p:cxnSp>
      <p:sp>
        <p:nvSpPr>
          <p:cNvPr id="134" name="右箭头 230"/>
          <p:cNvSpPr/>
          <p:nvPr/>
        </p:nvSpPr>
        <p:spPr>
          <a:xfrm>
            <a:off x="5392230" y="2674288"/>
            <a:ext cx="2075318" cy="1729442"/>
          </a:xfrm>
          <a:custGeom>
            <a:avLst/>
            <a:gdLst>
              <a:gd name="connsiteX0" fmla="*/ 0 w 1919110"/>
              <a:gd name="connsiteY0" fmla="*/ 176203 h 1020906"/>
              <a:gd name="connsiteX1" fmla="*/ 1408759 w 1919110"/>
              <a:gd name="connsiteY1" fmla="*/ 176203 h 1020906"/>
              <a:gd name="connsiteX2" fmla="*/ 1408759 w 1919110"/>
              <a:gd name="connsiteY2" fmla="*/ 0 h 1020906"/>
              <a:gd name="connsiteX3" fmla="*/ 1919110 w 1919110"/>
              <a:gd name="connsiteY3" fmla="*/ 510453 h 1020906"/>
              <a:gd name="connsiteX4" fmla="*/ 1408759 w 1919110"/>
              <a:gd name="connsiteY4" fmla="*/ 1020906 h 1020906"/>
              <a:gd name="connsiteX5" fmla="*/ 1408759 w 1919110"/>
              <a:gd name="connsiteY5" fmla="*/ 844703 h 1020906"/>
              <a:gd name="connsiteX6" fmla="*/ 0 w 1919110"/>
              <a:gd name="connsiteY6" fmla="*/ 844703 h 1020906"/>
              <a:gd name="connsiteX7" fmla="*/ 0 w 1919110"/>
              <a:gd name="connsiteY7" fmla="*/ 176203 h 1020906"/>
              <a:gd name="connsiteX0-1" fmla="*/ 0 w 2111021"/>
              <a:gd name="connsiteY0-2" fmla="*/ 0 h 1375281"/>
              <a:gd name="connsiteX1-3" fmla="*/ 1600670 w 2111021"/>
              <a:gd name="connsiteY1-4" fmla="*/ 530578 h 1375281"/>
              <a:gd name="connsiteX2-5" fmla="*/ 1600670 w 2111021"/>
              <a:gd name="connsiteY2-6" fmla="*/ 354375 h 1375281"/>
              <a:gd name="connsiteX3-7" fmla="*/ 2111021 w 2111021"/>
              <a:gd name="connsiteY3-8" fmla="*/ 864828 h 1375281"/>
              <a:gd name="connsiteX4-9" fmla="*/ 1600670 w 2111021"/>
              <a:gd name="connsiteY4-10" fmla="*/ 1375281 h 1375281"/>
              <a:gd name="connsiteX5-11" fmla="*/ 1600670 w 2111021"/>
              <a:gd name="connsiteY5-12" fmla="*/ 1199078 h 1375281"/>
              <a:gd name="connsiteX6-13" fmla="*/ 191911 w 2111021"/>
              <a:gd name="connsiteY6-14" fmla="*/ 1199078 h 1375281"/>
              <a:gd name="connsiteX7-15" fmla="*/ 0 w 2111021"/>
              <a:gd name="connsiteY7-16" fmla="*/ 0 h 1375281"/>
              <a:gd name="connsiteX0-17" fmla="*/ 0 w 2111021"/>
              <a:gd name="connsiteY0-18" fmla="*/ 0 h 1729656"/>
              <a:gd name="connsiteX1-19" fmla="*/ 1600670 w 2111021"/>
              <a:gd name="connsiteY1-20" fmla="*/ 530578 h 1729656"/>
              <a:gd name="connsiteX2-21" fmla="*/ 1600670 w 2111021"/>
              <a:gd name="connsiteY2-22" fmla="*/ 354375 h 1729656"/>
              <a:gd name="connsiteX3-23" fmla="*/ 2111021 w 2111021"/>
              <a:gd name="connsiteY3-24" fmla="*/ 864828 h 1729656"/>
              <a:gd name="connsiteX4-25" fmla="*/ 1600670 w 2111021"/>
              <a:gd name="connsiteY4-26" fmla="*/ 1375281 h 1729656"/>
              <a:gd name="connsiteX5-27" fmla="*/ 1600670 w 2111021"/>
              <a:gd name="connsiteY5-28" fmla="*/ 1199078 h 1729656"/>
              <a:gd name="connsiteX6-29" fmla="*/ 11288 w 2111021"/>
              <a:gd name="connsiteY6-30" fmla="*/ 1729656 h 1729656"/>
              <a:gd name="connsiteX7-31" fmla="*/ 0 w 2111021"/>
              <a:gd name="connsiteY7-32" fmla="*/ 0 h 1729656"/>
              <a:gd name="connsiteX0-33" fmla="*/ 0 w 2122309"/>
              <a:gd name="connsiteY0-34" fmla="*/ 0 h 1831256"/>
              <a:gd name="connsiteX1-35" fmla="*/ 1611958 w 2122309"/>
              <a:gd name="connsiteY1-36" fmla="*/ 632178 h 1831256"/>
              <a:gd name="connsiteX2-37" fmla="*/ 1611958 w 2122309"/>
              <a:gd name="connsiteY2-38" fmla="*/ 455975 h 1831256"/>
              <a:gd name="connsiteX3-39" fmla="*/ 2122309 w 2122309"/>
              <a:gd name="connsiteY3-40" fmla="*/ 966428 h 1831256"/>
              <a:gd name="connsiteX4-41" fmla="*/ 1611958 w 2122309"/>
              <a:gd name="connsiteY4-42" fmla="*/ 1476881 h 1831256"/>
              <a:gd name="connsiteX5-43" fmla="*/ 1611958 w 2122309"/>
              <a:gd name="connsiteY5-44" fmla="*/ 1300678 h 1831256"/>
              <a:gd name="connsiteX6-45" fmla="*/ 22576 w 2122309"/>
              <a:gd name="connsiteY6-46" fmla="*/ 1831256 h 1831256"/>
              <a:gd name="connsiteX7-47" fmla="*/ 0 w 2122309"/>
              <a:gd name="connsiteY7-48" fmla="*/ 0 h 18312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2122309" h="1831256">
                <a:moveTo>
                  <a:pt x="0" y="0"/>
                </a:moveTo>
                <a:lnTo>
                  <a:pt x="1611958" y="632178"/>
                </a:lnTo>
                <a:lnTo>
                  <a:pt x="1611958" y="455975"/>
                </a:lnTo>
                <a:lnTo>
                  <a:pt x="2122309" y="966428"/>
                </a:lnTo>
                <a:lnTo>
                  <a:pt x="1611958" y="1476881"/>
                </a:lnTo>
                <a:lnTo>
                  <a:pt x="1611958" y="1300678"/>
                </a:lnTo>
                <a:lnTo>
                  <a:pt x="22576" y="1831256"/>
                </a:lnTo>
                <a:cubicBezTo>
                  <a:pt x="18813" y="1254704"/>
                  <a:pt x="3763" y="576552"/>
                  <a:pt x="0" y="0"/>
                </a:cubicBezTo>
                <a:close/>
              </a:path>
            </a:pathLst>
          </a:custGeom>
          <a:gradFill flip="none" rotWithShape="1">
            <a:gsLst>
              <a:gs pos="100000">
                <a:sysClr val="windowText" lastClr="000000">
                  <a:lumMod val="75000"/>
                  <a:lumOff val="25000"/>
                  <a:alpha val="77000"/>
                </a:sysClr>
              </a:gs>
              <a:gs pos="0">
                <a:srgbClr val="FFFFFF">
                  <a:alpha val="0"/>
                </a:srgbClr>
              </a:gs>
            </a:gsLst>
            <a:lin ang="0" scaled="0"/>
            <a:tileRect/>
          </a:gradFill>
          <a:ln>
            <a:noFill/>
          </a:ln>
        </p:spPr>
        <p:txBody>
          <a:bodyPr/>
          <a:lstStyle/>
          <a:p>
            <a:pPr marL="0" marR="0" lvl="0" indent="0" defTabSz="914400" eaLnBrk="1" fontAlgn="base" latinLnBrk="0" hangingPunct="1">
              <a:lnSpc>
                <a:spcPct val="100000"/>
              </a:lnSpc>
              <a:spcBef>
                <a:spcPct val="0"/>
              </a:spcBef>
              <a:spcAft>
                <a:spcPct val="0"/>
              </a:spcAft>
              <a:buClrTx/>
              <a:buSzTx/>
              <a:buFontTx/>
              <a:buNone/>
              <a:defRPr/>
            </a:pPr>
            <a:endParaRPr kumimoji="0" lang="zh-CN" altLang="en-US" sz="2400" b="1" i="0" u="none" strike="noStrike" kern="0" cap="none" spc="0" normalizeH="0" baseline="0" noProof="0" dirty="0" smtClean="0">
              <a:ln>
                <a:noFill/>
              </a:ln>
              <a:solidFill>
                <a:srgbClr val="000000"/>
              </a:solidFill>
              <a:effectLst/>
              <a:uLnTx/>
              <a:uFillTx/>
              <a:cs typeface="+mn-ea"/>
              <a:sym typeface="+mn-lt"/>
            </a:endParaRPr>
          </a:p>
        </p:txBody>
      </p:sp>
      <p:cxnSp>
        <p:nvCxnSpPr>
          <p:cNvPr id="135" name="直接连接符 134"/>
          <p:cNvCxnSpPr>
            <a:endCxn id="146" idx="3"/>
          </p:cNvCxnSpPr>
          <p:nvPr/>
        </p:nvCxnSpPr>
        <p:spPr>
          <a:xfrm flipV="1">
            <a:off x="2762368" y="4612471"/>
            <a:ext cx="1723884" cy="1107904"/>
          </a:xfrm>
          <a:prstGeom prst="line">
            <a:avLst/>
          </a:prstGeom>
          <a:noFill/>
          <a:ln w="19050" cap="rnd" cmpd="sng" algn="ctr">
            <a:solidFill>
              <a:sysClr val="window" lastClr="FFFFFF">
                <a:lumMod val="65000"/>
              </a:sysClr>
            </a:solidFill>
            <a:prstDash val="sysDot"/>
            <a:round/>
          </a:ln>
          <a:effectLst/>
        </p:spPr>
      </p:cxnSp>
      <p:cxnSp>
        <p:nvCxnSpPr>
          <p:cNvPr id="136" name="直接连接符 135"/>
          <p:cNvCxnSpPr>
            <a:endCxn id="146" idx="1"/>
          </p:cNvCxnSpPr>
          <p:nvPr/>
        </p:nvCxnSpPr>
        <p:spPr>
          <a:xfrm>
            <a:off x="1781965" y="1992068"/>
            <a:ext cx="2704287" cy="791445"/>
          </a:xfrm>
          <a:prstGeom prst="line">
            <a:avLst/>
          </a:prstGeom>
          <a:noFill/>
          <a:ln w="19050" cap="rnd" cmpd="sng" algn="ctr">
            <a:solidFill>
              <a:schemeClr val="bg1">
                <a:lumMod val="75000"/>
              </a:schemeClr>
            </a:solidFill>
            <a:prstDash val="sysDot"/>
            <a:round/>
          </a:ln>
          <a:effectLst/>
        </p:spPr>
      </p:cxnSp>
      <p:cxnSp>
        <p:nvCxnSpPr>
          <p:cNvPr id="137" name="直接连接符 136"/>
          <p:cNvCxnSpPr>
            <a:endCxn id="146" idx="1"/>
          </p:cNvCxnSpPr>
          <p:nvPr/>
        </p:nvCxnSpPr>
        <p:spPr>
          <a:xfrm flipV="1">
            <a:off x="1781965" y="2783513"/>
            <a:ext cx="2704287" cy="83043"/>
          </a:xfrm>
          <a:prstGeom prst="line">
            <a:avLst/>
          </a:prstGeom>
          <a:noFill/>
          <a:ln w="19050" cap="rnd" cmpd="sng" algn="ctr">
            <a:solidFill>
              <a:schemeClr val="bg1">
                <a:lumMod val="75000"/>
              </a:schemeClr>
            </a:solidFill>
            <a:prstDash val="sysDot"/>
            <a:round/>
          </a:ln>
          <a:effectLst/>
        </p:spPr>
      </p:cxnSp>
      <p:cxnSp>
        <p:nvCxnSpPr>
          <p:cNvPr id="138" name="直接连接符 137"/>
          <p:cNvCxnSpPr>
            <a:endCxn id="146" idx="3"/>
          </p:cNvCxnSpPr>
          <p:nvPr/>
        </p:nvCxnSpPr>
        <p:spPr>
          <a:xfrm flipV="1">
            <a:off x="1781965" y="4612471"/>
            <a:ext cx="2704287" cy="877546"/>
          </a:xfrm>
          <a:prstGeom prst="line">
            <a:avLst/>
          </a:prstGeom>
          <a:noFill/>
          <a:ln w="19050" cap="rnd" cmpd="sng" algn="ctr">
            <a:solidFill>
              <a:sysClr val="window" lastClr="FFFFFF">
                <a:lumMod val="65000"/>
              </a:sysClr>
            </a:solidFill>
            <a:prstDash val="sysDot"/>
            <a:round/>
          </a:ln>
          <a:effectLst/>
        </p:spPr>
      </p:cxnSp>
      <p:cxnSp>
        <p:nvCxnSpPr>
          <p:cNvPr id="139" name="直接连接符 138"/>
          <p:cNvCxnSpPr/>
          <p:nvPr/>
        </p:nvCxnSpPr>
        <p:spPr>
          <a:xfrm>
            <a:off x="7484731" y="1414681"/>
            <a:ext cx="0" cy="4829547"/>
          </a:xfrm>
          <a:prstGeom prst="line">
            <a:avLst/>
          </a:prstGeom>
          <a:noFill/>
          <a:ln w="6350" cap="rnd" cmpd="sng" algn="ctr">
            <a:solidFill>
              <a:sysClr val="windowText" lastClr="000000">
                <a:lumMod val="75000"/>
                <a:lumOff val="25000"/>
              </a:sysClr>
            </a:solidFill>
            <a:prstDash val="solid"/>
            <a:round/>
          </a:ln>
          <a:effectLst/>
        </p:spPr>
      </p:cxnSp>
      <p:sp>
        <p:nvSpPr>
          <p:cNvPr id="140" name="圆角矩形 139"/>
          <p:cNvSpPr/>
          <p:nvPr/>
        </p:nvSpPr>
        <p:spPr>
          <a:xfrm>
            <a:off x="8084197" y="1669759"/>
            <a:ext cx="3284416" cy="567324"/>
          </a:xfrm>
          <a:prstGeom prst="roundRect">
            <a:avLst>
              <a:gd name="adj" fmla="val 50000"/>
            </a:avLst>
          </a:prstGeom>
          <a:noFill/>
          <a:ln w="9525" cap="rnd"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1" i="0" u="none" strike="noStrike" kern="0" cap="none" spc="0" normalizeH="0" baseline="0" noProof="0" dirty="0" smtClean="0">
                <a:ln>
                  <a:noFill/>
                </a:ln>
                <a:effectLst/>
                <a:uLnTx/>
                <a:uFillTx/>
                <a:latin typeface="Arial" panose="020B0604020202020204"/>
                <a:ea typeface="华文楷体" panose="02010600040101010101" charset="-122"/>
                <a:cs typeface="+mn-ea"/>
                <a:sym typeface="+mn-lt"/>
              </a:rPr>
              <a:t>xx</a:t>
            </a:r>
            <a:endParaRPr kumimoji="0" lang="en-US" altLang="zh-CN" sz="2400" b="1" i="0" u="none" strike="noStrike" kern="0" cap="none" spc="0" normalizeH="0" baseline="0" noProof="0" dirty="0" smtClean="0">
              <a:ln>
                <a:noFill/>
              </a:ln>
              <a:effectLst/>
              <a:uLnTx/>
              <a:uFillTx/>
              <a:latin typeface="Arial" panose="020B0604020202020204"/>
              <a:ea typeface="华文楷体" panose="02010600040101010101" charset="-122"/>
              <a:cs typeface="+mn-ea"/>
              <a:sym typeface="+mn-lt"/>
            </a:endParaRPr>
          </a:p>
        </p:txBody>
      </p:sp>
      <p:sp>
        <p:nvSpPr>
          <p:cNvPr id="141" name="圆角矩形 140"/>
          <p:cNvSpPr/>
          <p:nvPr/>
        </p:nvSpPr>
        <p:spPr>
          <a:xfrm>
            <a:off x="8084198" y="3288708"/>
            <a:ext cx="3284494" cy="563880"/>
          </a:xfrm>
          <a:prstGeom prst="roundRect">
            <a:avLst>
              <a:gd name="adj" fmla="val 50000"/>
            </a:avLst>
          </a:prstGeom>
          <a:noFill/>
          <a:ln w="9525" cap="rnd"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1" i="0" u="none" strike="noStrike" kern="0" cap="none" spc="0" normalizeH="0" baseline="0" noProof="0" dirty="0" smtClean="0">
                <a:ln>
                  <a:noFill/>
                </a:ln>
                <a:effectLst/>
                <a:uLnTx/>
                <a:uFillTx/>
                <a:latin typeface="Arial" panose="020B0604020202020204"/>
                <a:ea typeface="华文楷体" panose="02010600040101010101" charset="-122"/>
                <a:cs typeface="+mn-ea"/>
                <a:sym typeface="+mn-lt"/>
              </a:rPr>
              <a:t>xx</a:t>
            </a:r>
            <a:endParaRPr kumimoji="0" lang="en-US" altLang="zh-CN" sz="2400" b="1" i="0" u="none" strike="noStrike" kern="0" cap="none" spc="0" normalizeH="0" baseline="0" noProof="0" dirty="0" smtClean="0">
              <a:ln>
                <a:noFill/>
              </a:ln>
              <a:effectLst/>
              <a:uLnTx/>
              <a:uFillTx/>
              <a:latin typeface="Arial" panose="020B0604020202020204"/>
              <a:ea typeface="华文楷体" panose="02010600040101010101" charset="-122"/>
              <a:cs typeface="+mn-ea"/>
              <a:sym typeface="+mn-lt"/>
            </a:endParaRPr>
          </a:p>
        </p:txBody>
      </p:sp>
      <p:grpSp>
        <p:nvGrpSpPr>
          <p:cNvPr id="145" name="组合 144"/>
          <p:cNvGrpSpPr/>
          <p:nvPr/>
        </p:nvGrpSpPr>
        <p:grpSpPr>
          <a:xfrm>
            <a:off x="3862832" y="2163013"/>
            <a:ext cx="3140593" cy="3069959"/>
            <a:chOff x="3417132" y="3122835"/>
            <a:chExt cx="2628900" cy="2660812"/>
          </a:xfrm>
        </p:grpSpPr>
        <p:sp>
          <p:nvSpPr>
            <p:cNvPr id="146" name="Oval 3"/>
            <p:cNvSpPr/>
            <p:nvPr/>
          </p:nvSpPr>
          <p:spPr>
            <a:xfrm>
              <a:off x="3610671" y="3332332"/>
              <a:ext cx="2241822" cy="2241817"/>
            </a:xfrm>
            <a:prstGeom prst="ellipse">
              <a:avLst/>
            </a:prstGeom>
            <a:gradFill flip="none" rotWithShape="1">
              <a:gsLst>
                <a:gs pos="0">
                  <a:srgbClr val="FE8637">
                    <a:lumMod val="75000"/>
                  </a:srgbClr>
                </a:gs>
                <a:gs pos="100000">
                  <a:srgbClr val="FE8637"/>
                </a:gs>
              </a:gsLst>
              <a:lin ang="16200000" scaled="1"/>
              <a:tileRect/>
            </a:gradFill>
            <a:ln w="10795" cap="flat" cmpd="sng" algn="ctr">
              <a:solidFill>
                <a:schemeClr val="bg1">
                  <a:lumMod val="8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latin typeface="Arial" panose="020B0604020202020204"/>
                <a:cs typeface="+mn-ea"/>
                <a:sym typeface="+mn-lt"/>
              </a:endParaRPr>
            </a:p>
          </p:txBody>
        </p:sp>
        <p:grpSp>
          <p:nvGrpSpPr>
            <p:cNvPr id="147" name="Group 4"/>
            <p:cNvGrpSpPr/>
            <p:nvPr/>
          </p:nvGrpSpPr>
          <p:grpSpPr>
            <a:xfrm>
              <a:off x="3417132" y="3122835"/>
              <a:ext cx="2628900" cy="2660812"/>
              <a:chOff x="4943475" y="2471838"/>
              <a:chExt cx="2305050" cy="2333030"/>
            </a:xfrm>
          </p:grpSpPr>
          <p:sp>
            <p:nvSpPr>
              <p:cNvPr id="151" name="Line 699"/>
              <p:cNvSpPr>
                <a:spLocks noChangeShapeType="1"/>
              </p:cNvSpPr>
              <p:nvPr userDrawn="1"/>
            </p:nvSpPr>
            <p:spPr bwMode="auto">
              <a:xfrm flipH="1" flipV="1">
                <a:off x="6040910" y="2471838"/>
                <a:ext cx="622608" cy="146907"/>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52" name="Freeform 700"/>
              <p:cNvSpPr/>
              <p:nvPr userDrawn="1"/>
            </p:nvSpPr>
            <p:spPr bwMode="auto">
              <a:xfrm>
                <a:off x="6663518" y="2618745"/>
                <a:ext cx="585007" cy="991625"/>
              </a:xfrm>
              <a:custGeom>
                <a:avLst/>
                <a:gdLst>
                  <a:gd name="T0" fmla="*/ 669 w 669"/>
                  <a:gd name="T1" fmla="*/ 1134 h 1134"/>
                  <a:gd name="T2" fmla="*/ 591 w 669"/>
                  <a:gd name="T3" fmla="*/ 550 h 1134"/>
                  <a:gd name="T4" fmla="*/ 0 w 669"/>
                  <a:gd name="T5" fmla="*/ 0 h 1134"/>
                </a:gdLst>
                <a:ahLst/>
                <a:cxnLst>
                  <a:cxn ang="0">
                    <a:pos x="T0" y="T1"/>
                  </a:cxn>
                  <a:cxn ang="0">
                    <a:pos x="T2" y="T3"/>
                  </a:cxn>
                  <a:cxn ang="0">
                    <a:pos x="T4" y="T5"/>
                  </a:cxn>
                </a:cxnLst>
                <a:rect l="0" t="0" r="r" b="b"/>
                <a:pathLst>
                  <a:path w="669" h="1134">
                    <a:moveTo>
                      <a:pt x="669" y="1134"/>
                    </a:moveTo>
                    <a:lnTo>
                      <a:pt x="591" y="550"/>
                    </a:lnTo>
                    <a:lnTo>
                      <a:pt x="0" y="0"/>
                    </a:lnTo>
                  </a:path>
                </a:pathLst>
              </a:cu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53" name="Freeform 701"/>
              <p:cNvSpPr/>
              <p:nvPr userDrawn="1"/>
            </p:nvSpPr>
            <p:spPr bwMode="auto">
              <a:xfrm>
                <a:off x="5547720" y="3610371"/>
                <a:ext cx="1700805" cy="1194497"/>
              </a:xfrm>
              <a:custGeom>
                <a:avLst/>
                <a:gdLst>
                  <a:gd name="T0" fmla="*/ 0 w 1945"/>
                  <a:gd name="T1" fmla="*/ 1276 h 1366"/>
                  <a:gd name="T2" fmla="*/ 830 w 1945"/>
                  <a:gd name="T3" fmla="*/ 1366 h 1366"/>
                  <a:gd name="T4" fmla="*/ 1305 w 1945"/>
                  <a:gd name="T5" fmla="*/ 1162 h 1366"/>
                  <a:gd name="T6" fmla="*/ 1804 w 1945"/>
                  <a:gd name="T7" fmla="*/ 737 h 1366"/>
                  <a:gd name="T8" fmla="*/ 1945 w 1945"/>
                  <a:gd name="T9" fmla="*/ 0 h 1366"/>
                </a:gdLst>
                <a:ahLst/>
                <a:cxnLst>
                  <a:cxn ang="0">
                    <a:pos x="T0" y="T1"/>
                  </a:cxn>
                  <a:cxn ang="0">
                    <a:pos x="T2" y="T3"/>
                  </a:cxn>
                  <a:cxn ang="0">
                    <a:pos x="T4" y="T5"/>
                  </a:cxn>
                  <a:cxn ang="0">
                    <a:pos x="T6" y="T7"/>
                  </a:cxn>
                  <a:cxn ang="0">
                    <a:pos x="T8" y="T9"/>
                  </a:cxn>
                </a:cxnLst>
                <a:rect l="0" t="0" r="r" b="b"/>
                <a:pathLst>
                  <a:path w="1945" h="1366">
                    <a:moveTo>
                      <a:pt x="0" y="1276"/>
                    </a:moveTo>
                    <a:lnTo>
                      <a:pt x="830" y="1366"/>
                    </a:lnTo>
                    <a:lnTo>
                      <a:pt x="1305" y="1162"/>
                    </a:lnTo>
                    <a:lnTo>
                      <a:pt x="1804" y="737"/>
                    </a:lnTo>
                    <a:lnTo>
                      <a:pt x="1945" y="0"/>
                    </a:lnTo>
                  </a:path>
                </a:pathLst>
              </a:custGeom>
              <a:noFill/>
              <a:ln w="0">
                <a:solidFill>
                  <a:schemeClr val="bg1">
                    <a:lumMod val="85000"/>
                  </a:schemeClr>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54" name="Line 702"/>
              <p:cNvSpPr>
                <a:spLocks noChangeShapeType="1"/>
              </p:cNvSpPr>
              <p:nvPr userDrawn="1"/>
            </p:nvSpPr>
            <p:spPr bwMode="auto">
              <a:xfrm>
                <a:off x="5035293" y="4072080"/>
                <a:ext cx="512427" cy="654088"/>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55" name="Freeform 703"/>
              <p:cNvSpPr/>
              <p:nvPr userDrawn="1"/>
            </p:nvSpPr>
            <p:spPr bwMode="auto">
              <a:xfrm>
                <a:off x="4943475" y="3120626"/>
                <a:ext cx="91819" cy="951455"/>
              </a:xfrm>
              <a:custGeom>
                <a:avLst/>
                <a:gdLst>
                  <a:gd name="T0" fmla="*/ 609 w 609"/>
                  <a:gd name="T1" fmla="*/ 0 h 1611"/>
                  <a:gd name="T2" fmla="*/ 592 w 609"/>
                  <a:gd name="T3" fmla="*/ 5 h 1611"/>
                  <a:gd name="T4" fmla="*/ 313 w 609"/>
                  <a:gd name="T5" fmla="*/ 392 h 1611"/>
                  <a:gd name="T6" fmla="*/ 52 w 609"/>
                  <a:gd name="T7" fmla="*/ 523 h 1611"/>
                  <a:gd name="T8" fmla="*/ 0 w 609"/>
                  <a:gd name="T9" fmla="*/ 1132 h 1611"/>
                  <a:gd name="T10" fmla="*/ 105 w 609"/>
                  <a:gd name="T11" fmla="*/ 1611 h 1611"/>
                  <a:gd name="connsiteX0" fmla="*/ 10000 w 10018"/>
                  <a:gd name="connsiteY0" fmla="*/ 0 h 10000"/>
                  <a:gd name="connsiteX1" fmla="*/ 10018 w 10018"/>
                  <a:gd name="connsiteY1" fmla="*/ 1358 h 10000"/>
                  <a:gd name="connsiteX2" fmla="*/ 5140 w 10018"/>
                  <a:gd name="connsiteY2" fmla="*/ 2433 h 10000"/>
                  <a:gd name="connsiteX3" fmla="*/ 854 w 10018"/>
                  <a:gd name="connsiteY3" fmla="*/ 3246 h 10000"/>
                  <a:gd name="connsiteX4" fmla="*/ 0 w 10018"/>
                  <a:gd name="connsiteY4" fmla="*/ 7027 h 10000"/>
                  <a:gd name="connsiteX5" fmla="*/ 1724 w 10018"/>
                  <a:gd name="connsiteY5" fmla="*/ 10000 h 10000"/>
                  <a:gd name="connsiteX0-1" fmla="*/ 12868 w 12868"/>
                  <a:gd name="connsiteY0-2" fmla="*/ 0 h 9028"/>
                  <a:gd name="connsiteX1-3" fmla="*/ 10018 w 12868"/>
                  <a:gd name="connsiteY1-4" fmla="*/ 386 h 9028"/>
                  <a:gd name="connsiteX2-5" fmla="*/ 5140 w 12868"/>
                  <a:gd name="connsiteY2-6" fmla="*/ 1461 h 9028"/>
                  <a:gd name="connsiteX3-7" fmla="*/ 854 w 12868"/>
                  <a:gd name="connsiteY3-8" fmla="*/ 2274 h 9028"/>
                  <a:gd name="connsiteX4-9" fmla="*/ 0 w 12868"/>
                  <a:gd name="connsiteY4-10" fmla="*/ 6055 h 9028"/>
                  <a:gd name="connsiteX5-11" fmla="*/ 1724 w 12868"/>
                  <a:gd name="connsiteY5-12" fmla="*/ 9028 h 9028"/>
                  <a:gd name="connsiteX0-13" fmla="*/ 7785 w 7785"/>
                  <a:gd name="connsiteY0-14" fmla="*/ 0 h 9572"/>
                  <a:gd name="connsiteX1-15" fmla="*/ 3994 w 7785"/>
                  <a:gd name="connsiteY1-16" fmla="*/ 1190 h 9572"/>
                  <a:gd name="connsiteX2-17" fmla="*/ 664 w 7785"/>
                  <a:gd name="connsiteY2-18" fmla="*/ 2091 h 9572"/>
                  <a:gd name="connsiteX3-19" fmla="*/ 0 w 7785"/>
                  <a:gd name="connsiteY3-20" fmla="*/ 6279 h 9572"/>
                  <a:gd name="connsiteX4-21" fmla="*/ 1340 w 7785"/>
                  <a:gd name="connsiteY4-22" fmla="*/ 9572 h 9572"/>
                  <a:gd name="connsiteX0-23" fmla="*/ 5130 w 5130"/>
                  <a:gd name="connsiteY0-24" fmla="*/ 0 h 8757"/>
                  <a:gd name="connsiteX1-25" fmla="*/ 853 w 5130"/>
                  <a:gd name="connsiteY1-26" fmla="*/ 941 h 8757"/>
                  <a:gd name="connsiteX2-27" fmla="*/ 0 w 5130"/>
                  <a:gd name="connsiteY2-28" fmla="*/ 5317 h 8757"/>
                  <a:gd name="connsiteX3-29" fmla="*/ 1721 w 5130"/>
                  <a:gd name="connsiteY3-30" fmla="*/ 8757 h 8757"/>
                  <a:gd name="connsiteX0-31" fmla="*/ 1663 w 3355"/>
                  <a:gd name="connsiteY0-32" fmla="*/ 0 h 8925"/>
                  <a:gd name="connsiteX1-33" fmla="*/ 0 w 3355"/>
                  <a:gd name="connsiteY1-34" fmla="*/ 4997 h 8925"/>
                  <a:gd name="connsiteX2-35" fmla="*/ 3355 w 3355"/>
                  <a:gd name="connsiteY2-36" fmla="*/ 8925 h 8925"/>
                </a:gdLst>
                <a:ahLst/>
                <a:cxnLst>
                  <a:cxn ang="0">
                    <a:pos x="connsiteX0-1" y="connsiteY0-2"/>
                  </a:cxn>
                  <a:cxn ang="0">
                    <a:pos x="connsiteX1-3" y="connsiteY1-4"/>
                  </a:cxn>
                  <a:cxn ang="0">
                    <a:pos x="connsiteX2-5" y="connsiteY2-6"/>
                  </a:cxn>
                </a:cxnLst>
                <a:rect l="l" t="t" r="r" b="b"/>
                <a:pathLst>
                  <a:path w="3355" h="8925">
                    <a:moveTo>
                      <a:pt x="1663" y="0"/>
                    </a:moveTo>
                    <a:lnTo>
                      <a:pt x="0" y="4997"/>
                    </a:lnTo>
                    <a:lnTo>
                      <a:pt x="3355" y="8925"/>
                    </a:lnTo>
                  </a:path>
                </a:pathLst>
              </a:custGeom>
              <a:noFill/>
              <a:ln w="0">
                <a:solidFill>
                  <a:schemeClr val="bg1">
                    <a:lumMod val="85000"/>
                  </a:schemeClr>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56" name="Line 704"/>
              <p:cNvSpPr>
                <a:spLocks noChangeShapeType="1"/>
              </p:cNvSpPr>
              <p:nvPr userDrawn="1"/>
            </p:nvSpPr>
            <p:spPr bwMode="auto">
              <a:xfrm flipH="1">
                <a:off x="5476016" y="2471838"/>
                <a:ext cx="564894" cy="191505"/>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57" name="Freeform 705"/>
              <p:cNvSpPr/>
              <p:nvPr userDrawn="1"/>
            </p:nvSpPr>
            <p:spPr bwMode="auto">
              <a:xfrm>
                <a:off x="5476839" y="2602150"/>
                <a:ext cx="1189611" cy="66406"/>
              </a:xfrm>
              <a:custGeom>
                <a:avLst/>
                <a:gdLst>
                  <a:gd name="T0" fmla="*/ 0 w 1375"/>
                  <a:gd name="T1" fmla="*/ 69 h 119"/>
                  <a:gd name="T2" fmla="*/ 0 w 1375"/>
                  <a:gd name="T3" fmla="*/ 69 h 119"/>
                  <a:gd name="T4" fmla="*/ 681 w 1375"/>
                  <a:gd name="T5" fmla="*/ 0 h 119"/>
                  <a:gd name="T6" fmla="*/ 681 w 1375"/>
                  <a:gd name="T7" fmla="*/ 0 h 119"/>
                  <a:gd name="T8" fmla="*/ 1375 w 1375"/>
                  <a:gd name="T9" fmla="*/ 13 h 119"/>
                  <a:gd name="T10" fmla="*/ 1279 w 1375"/>
                  <a:gd name="T11" fmla="*/ 119 h 119"/>
                  <a:gd name="connsiteX0" fmla="*/ 0 w 10000"/>
                  <a:gd name="connsiteY0" fmla="*/ 5798 h 12759"/>
                  <a:gd name="connsiteX1" fmla="*/ 0 w 10000"/>
                  <a:gd name="connsiteY1" fmla="*/ 5798 h 12759"/>
                  <a:gd name="connsiteX2" fmla="*/ 4953 w 10000"/>
                  <a:gd name="connsiteY2" fmla="*/ 0 h 12759"/>
                  <a:gd name="connsiteX3" fmla="*/ 4953 w 10000"/>
                  <a:gd name="connsiteY3" fmla="*/ 0 h 12759"/>
                  <a:gd name="connsiteX4" fmla="*/ 10000 w 10000"/>
                  <a:gd name="connsiteY4" fmla="*/ 1092 h 12759"/>
                  <a:gd name="connsiteX5" fmla="*/ 9413 w 10000"/>
                  <a:gd name="connsiteY5" fmla="*/ 12759 h 12759"/>
                  <a:gd name="connsiteX0-1" fmla="*/ 0 w 10000"/>
                  <a:gd name="connsiteY0-2" fmla="*/ 5798 h 5798"/>
                  <a:gd name="connsiteX1-3" fmla="*/ 0 w 10000"/>
                  <a:gd name="connsiteY1-4" fmla="*/ 5798 h 5798"/>
                  <a:gd name="connsiteX2-5" fmla="*/ 4953 w 10000"/>
                  <a:gd name="connsiteY2-6" fmla="*/ 0 h 5798"/>
                  <a:gd name="connsiteX3-7" fmla="*/ 4953 w 10000"/>
                  <a:gd name="connsiteY3-8" fmla="*/ 0 h 5798"/>
                  <a:gd name="connsiteX4-9" fmla="*/ 10000 w 10000"/>
                  <a:gd name="connsiteY4-10" fmla="*/ 1092 h 57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5798">
                    <a:moveTo>
                      <a:pt x="0" y="5798"/>
                    </a:moveTo>
                    <a:lnTo>
                      <a:pt x="0" y="5798"/>
                    </a:lnTo>
                    <a:lnTo>
                      <a:pt x="4953" y="0"/>
                    </a:lnTo>
                    <a:lnTo>
                      <a:pt x="4953" y="0"/>
                    </a:lnTo>
                    <a:lnTo>
                      <a:pt x="10000" y="1092"/>
                    </a:lnTo>
                  </a:path>
                </a:pathLst>
              </a:custGeom>
              <a:noFill/>
              <a:ln w="0">
                <a:solidFill>
                  <a:schemeClr val="bg1">
                    <a:lumMod val="85000"/>
                  </a:schemeClr>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58" name="Freeform 706"/>
              <p:cNvSpPr/>
              <p:nvPr userDrawn="1"/>
            </p:nvSpPr>
            <p:spPr bwMode="auto">
              <a:xfrm>
                <a:off x="5392068" y="3704811"/>
                <a:ext cx="155652" cy="1021357"/>
              </a:xfrm>
              <a:custGeom>
                <a:avLst/>
                <a:gdLst>
                  <a:gd name="T0" fmla="*/ 0 w 178"/>
                  <a:gd name="T1" fmla="*/ 0 h 1168"/>
                  <a:gd name="T2" fmla="*/ 144 w 178"/>
                  <a:gd name="T3" fmla="*/ 792 h 1168"/>
                  <a:gd name="T4" fmla="*/ 178 w 178"/>
                  <a:gd name="T5" fmla="*/ 1168 h 1168"/>
                </a:gdLst>
                <a:ahLst/>
                <a:cxnLst>
                  <a:cxn ang="0">
                    <a:pos x="T0" y="T1"/>
                  </a:cxn>
                  <a:cxn ang="0">
                    <a:pos x="T2" y="T3"/>
                  </a:cxn>
                  <a:cxn ang="0">
                    <a:pos x="T4" y="T5"/>
                  </a:cxn>
                </a:cxnLst>
                <a:rect l="0" t="0" r="r" b="b"/>
                <a:pathLst>
                  <a:path w="178" h="1168">
                    <a:moveTo>
                      <a:pt x="0" y="0"/>
                    </a:moveTo>
                    <a:lnTo>
                      <a:pt x="144" y="792"/>
                    </a:lnTo>
                    <a:lnTo>
                      <a:pt x="178" y="1168"/>
                    </a:lnTo>
                  </a:path>
                </a:pathLst>
              </a:custGeom>
              <a:noFill/>
              <a:ln w="0">
                <a:solidFill>
                  <a:schemeClr val="bg1">
                    <a:lumMod val="85000"/>
                  </a:schemeClr>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59" name="Freeform 707"/>
              <p:cNvSpPr/>
              <p:nvPr userDrawn="1"/>
            </p:nvSpPr>
            <p:spPr bwMode="auto">
              <a:xfrm>
                <a:off x="5392068" y="2667715"/>
                <a:ext cx="115427" cy="1037097"/>
              </a:xfrm>
              <a:custGeom>
                <a:avLst/>
                <a:gdLst>
                  <a:gd name="T0" fmla="*/ 79 w 132"/>
                  <a:gd name="T1" fmla="*/ 0 h 1186"/>
                  <a:gd name="T2" fmla="*/ 132 w 132"/>
                  <a:gd name="T3" fmla="*/ 368 h 1186"/>
                  <a:gd name="T4" fmla="*/ 0 w 132"/>
                  <a:gd name="T5" fmla="*/ 1186 h 1186"/>
                </a:gdLst>
                <a:ahLst/>
                <a:cxnLst>
                  <a:cxn ang="0">
                    <a:pos x="T0" y="T1"/>
                  </a:cxn>
                  <a:cxn ang="0">
                    <a:pos x="T2" y="T3"/>
                  </a:cxn>
                  <a:cxn ang="0">
                    <a:pos x="T4" y="T5"/>
                  </a:cxn>
                </a:cxnLst>
                <a:rect l="0" t="0" r="r" b="b"/>
                <a:pathLst>
                  <a:path w="132" h="1186">
                    <a:moveTo>
                      <a:pt x="79" y="0"/>
                    </a:moveTo>
                    <a:lnTo>
                      <a:pt x="132" y="368"/>
                    </a:lnTo>
                    <a:lnTo>
                      <a:pt x="0" y="1186"/>
                    </a:lnTo>
                  </a:path>
                </a:pathLst>
              </a:custGeom>
              <a:noFill/>
              <a:ln w="0">
                <a:solidFill>
                  <a:schemeClr val="bg1">
                    <a:lumMod val="85000"/>
                  </a:schemeClr>
                </a:solidFill>
                <a:prstDash val="solid"/>
                <a:round/>
                <a:headEnd type="none"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60" name="Freeform 708"/>
              <p:cNvSpPr/>
              <p:nvPr userDrawn="1"/>
            </p:nvSpPr>
            <p:spPr bwMode="auto">
              <a:xfrm>
                <a:off x="6011178" y="4143784"/>
                <a:ext cx="262346" cy="661084"/>
              </a:xfrm>
              <a:custGeom>
                <a:avLst/>
                <a:gdLst>
                  <a:gd name="T0" fmla="*/ 0 w 398"/>
                  <a:gd name="T1" fmla="*/ 0 h 756"/>
                  <a:gd name="T2" fmla="*/ 219 w 398"/>
                  <a:gd name="T3" fmla="*/ 591 h 756"/>
                  <a:gd name="T4" fmla="*/ 300 w 398"/>
                  <a:gd name="T5" fmla="*/ 756 h 756"/>
                  <a:gd name="T6" fmla="*/ 398 w 398"/>
                  <a:gd name="T7" fmla="*/ 595 h 756"/>
                  <a:gd name="connsiteX0" fmla="*/ 0 w 13102"/>
                  <a:gd name="connsiteY0" fmla="*/ 0 h 10000"/>
                  <a:gd name="connsiteX1" fmla="*/ 5503 w 13102"/>
                  <a:gd name="connsiteY1" fmla="*/ 7817 h 10000"/>
                  <a:gd name="connsiteX2" fmla="*/ 7538 w 13102"/>
                  <a:gd name="connsiteY2" fmla="*/ 10000 h 10000"/>
                  <a:gd name="connsiteX3" fmla="*/ 13102 w 13102"/>
                  <a:gd name="connsiteY3" fmla="*/ 9384 h 10000"/>
                  <a:gd name="connsiteX0-1" fmla="*/ 0 w 7538"/>
                  <a:gd name="connsiteY0-2" fmla="*/ 0 h 10000"/>
                  <a:gd name="connsiteX1-3" fmla="*/ 5503 w 7538"/>
                  <a:gd name="connsiteY1-4" fmla="*/ 7817 h 10000"/>
                  <a:gd name="connsiteX2-5" fmla="*/ 7538 w 7538"/>
                  <a:gd name="connsiteY2-6" fmla="*/ 10000 h 10000"/>
                </a:gdLst>
                <a:ahLst/>
                <a:cxnLst>
                  <a:cxn ang="0">
                    <a:pos x="connsiteX0-1" y="connsiteY0-2"/>
                  </a:cxn>
                  <a:cxn ang="0">
                    <a:pos x="connsiteX1-3" y="connsiteY1-4"/>
                  </a:cxn>
                  <a:cxn ang="0">
                    <a:pos x="connsiteX2-5" y="connsiteY2-6"/>
                  </a:cxn>
                </a:cxnLst>
                <a:rect l="l" t="t" r="r" b="b"/>
                <a:pathLst>
                  <a:path w="7538" h="10000">
                    <a:moveTo>
                      <a:pt x="0" y="0"/>
                    </a:moveTo>
                    <a:lnTo>
                      <a:pt x="5503" y="7817"/>
                    </a:lnTo>
                    <a:lnTo>
                      <a:pt x="7538" y="10000"/>
                    </a:lnTo>
                  </a:path>
                </a:pathLst>
              </a:custGeom>
              <a:noFill/>
              <a:ln w="0">
                <a:solidFill>
                  <a:schemeClr val="bg1">
                    <a:lumMod val="85000"/>
                  </a:schemeClr>
                </a:solidFill>
                <a:prstDash val="solid"/>
                <a:round/>
                <a:headEnd type="oval" w="sm" len="sm"/>
                <a:tailEnd type="none"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61" name="Freeform 709"/>
              <p:cNvSpPr/>
              <p:nvPr userDrawn="1"/>
            </p:nvSpPr>
            <p:spPr bwMode="auto">
              <a:xfrm>
                <a:off x="6011179" y="2607378"/>
                <a:ext cx="288568" cy="1536408"/>
              </a:xfrm>
              <a:custGeom>
                <a:avLst/>
                <a:gdLst>
                  <a:gd name="T0" fmla="*/ 52 w 330"/>
                  <a:gd name="T1" fmla="*/ 0 h 1757"/>
                  <a:gd name="T2" fmla="*/ 330 w 330"/>
                  <a:gd name="T3" fmla="*/ 664 h 1757"/>
                  <a:gd name="T4" fmla="*/ 0 w 330"/>
                  <a:gd name="T5" fmla="*/ 1757 h 1757"/>
                </a:gdLst>
                <a:ahLst/>
                <a:cxnLst>
                  <a:cxn ang="0">
                    <a:pos x="T0" y="T1"/>
                  </a:cxn>
                  <a:cxn ang="0">
                    <a:pos x="T2" y="T3"/>
                  </a:cxn>
                  <a:cxn ang="0">
                    <a:pos x="T4" y="T5"/>
                  </a:cxn>
                </a:cxnLst>
                <a:rect l="0" t="0" r="r" b="b"/>
                <a:pathLst>
                  <a:path w="330" h="1757">
                    <a:moveTo>
                      <a:pt x="52" y="0"/>
                    </a:moveTo>
                    <a:lnTo>
                      <a:pt x="330" y="664"/>
                    </a:lnTo>
                    <a:lnTo>
                      <a:pt x="0" y="1757"/>
                    </a:lnTo>
                  </a:path>
                </a:pathLst>
              </a:cu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62" name="Line 710"/>
              <p:cNvSpPr>
                <a:spLocks noChangeShapeType="1"/>
              </p:cNvSpPr>
              <p:nvPr userDrawn="1"/>
            </p:nvSpPr>
            <p:spPr bwMode="auto">
              <a:xfrm>
                <a:off x="6040910" y="2471838"/>
                <a:ext cx="15740" cy="135540"/>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63" name="Line 711"/>
              <p:cNvSpPr>
                <a:spLocks noChangeShapeType="1"/>
              </p:cNvSpPr>
              <p:nvPr userDrawn="1"/>
            </p:nvSpPr>
            <p:spPr bwMode="auto">
              <a:xfrm flipH="1">
                <a:off x="4988947" y="2662397"/>
                <a:ext cx="481831" cy="458282"/>
              </a:xfrm>
              <a:prstGeom prst="line">
                <a:avLst/>
              </a:prstGeom>
              <a:noFill/>
              <a:ln w="0">
                <a:solidFill>
                  <a:schemeClr val="bg1">
                    <a:lumMod val="85000"/>
                  </a:schemeClr>
                </a:solidFill>
                <a:prstDash val="solid"/>
                <a:round/>
                <a:headEnd type="none" w="sm" len="sm"/>
                <a:tailEnd type="non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64" name="Line 712"/>
              <p:cNvSpPr>
                <a:spLocks noChangeShapeType="1"/>
              </p:cNvSpPr>
              <p:nvPr userDrawn="1"/>
            </p:nvSpPr>
            <p:spPr bwMode="auto">
              <a:xfrm flipH="1" flipV="1">
                <a:off x="7112111" y="3548285"/>
                <a:ext cx="136414" cy="62086"/>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65" name="Line 713"/>
              <p:cNvSpPr>
                <a:spLocks noChangeShapeType="1"/>
              </p:cNvSpPr>
              <p:nvPr userDrawn="1"/>
            </p:nvSpPr>
            <p:spPr bwMode="auto">
              <a:xfrm flipH="1" flipV="1">
                <a:off x="6657687" y="2619538"/>
                <a:ext cx="155361" cy="404078"/>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66" name="Line 714"/>
              <p:cNvSpPr>
                <a:spLocks noChangeShapeType="1"/>
              </p:cNvSpPr>
              <p:nvPr userDrawn="1"/>
            </p:nvSpPr>
            <p:spPr bwMode="auto">
              <a:xfrm flipH="1" flipV="1">
                <a:off x="6813049" y="3023616"/>
                <a:ext cx="299062" cy="524670"/>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67" name="Line 715"/>
              <p:cNvSpPr>
                <a:spLocks noChangeShapeType="1"/>
              </p:cNvSpPr>
              <p:nvPr userDrawn="1"/>
            </p:nvSpPr>
            <p:spPr bwMode="auto">
              <a:xfrm flipH="1" flipV="1">
                <a:off x="7112111" y="3548285"/>
                <a:ext cx="13116" cy="706554"/>
              </a:xfrm>
              <a:prstGeom prst="line">
                <a:avLst/>
              </a:prstGeom>
              <a:noFill/>
              <a:ln w="0">
                <a:solidFill>
                  <a:schemeClr val="bg1">
                    <a:lumMod val="85000"/>
                  </a:schemeClr>
                </a:solidFill>
                <a:prstDash val="solid"/>
                <a:round/>
                <a:headEnd type="oval" w="sm" len="sm"/>
                <a:tailEnd type="non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68" name="Freeform 716"/>
              <p:cNvSpPr/>
              <p:nvPr userDrawn="1"/>
            </p:nvSpPr>
            <p:spPr bwMode="auto">
              <a:xfrm>
                <a:off x="6011179" y="4143785"/>
                <a:ext cx="1114049" cy="210743"/>
              </a:xfrm>
              <a:custGeom>
                <a:avLst/>
                <a:gdLst>
                  <a:gd name="T0" fmla="*/ 0 w 1274"/>
                  <a:gd name="T1" fmla="*/ 0 h 241"/>
                  <a:gd name="T2" fmla="*/ 909 w 1274"/>
                  <a:gd name="T3" fmla="*/ 241 h 241"/>
                  <a:gd name="T4" fmla="*/ 1274 w 1274"/>
                  <a:gd name="T5" fmla="*/ 127 h 241"/>
                </a:gdLst>
                <a:ahLst/>
                <a:cxnLst>
                  <a:cxn ang="0">
                    <a:pos x="T0" y="T1"/>
                  </a:cxn>
                  <a:cxn ang="0">
                    <a:pos x="T2" y="T3"/>
                  </a:cxn>
                  <a:cxn ang="0">
                    <a:pos x="T4" y="T5"/>
                  </a:cxn>
                </a:cxnLst>
                <a:rect l="0" t="0" r="r" b="b"/>
                <a:pathLst>
                  <a:path w="1274" h="241">
                    <a:moveTo>
                      <a:pt x="0" y="0"/>
                    </a:moveTo>
                    <a:lnTo>
                      <a:pt x="909" y="241"/>
                    </a:lnTo>
                    <a:lnTo>
                      <a:pt x="1274" y="127"/>
                    </a:lnTo>
                  </a:path>
                </a:pathLst>
              </a:cu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69" name="Line 717"/>
              <p:cNvSpPr>
                <a:spLocks noChangeShapeType="1"/>
              </p:cNvSpPr>
              <p:nvPr userDrawn="1"/>
            </p:nvSpPr>
            <p:spPr bwMode="auto">
              <a:xfrm>
                <a:off x="5392068" y="3704811"/>
                <a:ext cx="619110" cy="438974"/>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70" name="Line 718"/>
              <p:cNvSpPr>
                <a:spLocks noChangeShapeType="1"/>
              </p:cNvSpPr>
              <p:nvPr userDrawn="1"/>
            </p:nvSpPr>
            <p:spPr bwMode="auto">
              <a:xfrm>
                <a:off x="4988947" y="3120679"/>
                <a:ext cx="403121" cy="584132"/>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71" name="Line 719"/>
              <p:cNvSpPr>
                <a:spLocks noChangeShapeType="1"/>
              </p:cNvSpPr>
              <p:nvPr userDrawn="1"/>
            </p:nvSpPr>
            <p:spPr bwMode="auto">
              <a:xfrm flipH="1">
                <a:off x="4988947" y="2989512"/>
                <a:ext cx="518549" cy="131167"/>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72" name="Line 720"/>
              <p:cNvSpPr>
                <a:spLocks noChangeShapeType="1"/>
              </p:cNvSpPr>
              <p:nvPr userDrawn="1"/>
            </p:nvSpPr>
            <p:spPr bwMode="auto">
              <a:xfrm flipH="1">
                <a:off x="5507496" y="2607378"/>
                <a:ext cx="549154" cy="382135"/>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73" name="Line 721"/>
              <p:cNvSpPr>
                <a:spLocks noChangeShapeType="1"/>
              </p:cNvSpPr>
              <p:nvPr userDrawn="1"/>
            </p:nvSpPr>
            <p:spPr bwMode="auto">
              <a:xfrm flipH="1" flipV="1">
                <a:off x="6056650" y="2607378"/>
                <a:ext cx="756399" cy="416238"/>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74" name="Freeform 722"/>
              <p:cNvSpPr/>
              <p:nvPr userDrawn="1"/>
            </p:nvSpPr>
            <p:spPr bwMode="auto">
              <a:xfrm>
                <a:off x="6813049" y="3023616"/>
                <a:ext cx="367269" cy="511553"/>
              </a:xfrm>
              <a:custGeom>
                <a:avLst/>
                <a:gdLst>
                  <a:gd name="T0" fmla="*/ 344 w 420"/>
                  <a:gd name="T1" fmla="*/ 585 h 585"/>
                  <a:gd name="T2" fmla="*/ 420 w 420"/>
                  <a:gd name="T3" fmla="*/ 87 h 585"/>
                  <a:gd name="T4" fmla="*/ 0 w 420"/>
                  <a:gd name="T5" fmla="*/ 0 h 585"/>
                </a:gdLst>
                <a:ahLst/>
                <a:cxnLst>
                  <a:cxn ang="0">
                    <a:pos x="T0" y="T1"/>
                  </a:cxn>
                  <a:cxn ang="0">
                    <a:pos x="T2" y="T3"/>
                  </a:cxn>
                  <a:cxn ang="0">
                    <a:pos x="T4" y="T5"/>
                  </a:cxn>
                </a:cxnLst>
                <a:rect l="0" t="0" r="r" b="b"/>
                <a:pathLst>
                  <a:path w="420" h="585">
                    <a:moveTo>
                      <a:pt x="344" y="585"/>
                    </a:moveTo>
                    <a:lnTo>
                      <a:pt x="420" y="87"/>
                    </a:lnTo>
                    <a:lnTo>
                      <a:pt x="0" y="0"/>
                    </a:lnTo>
                  </a:path>
                </a:pathLst>
              </a:custGeom>
              <a:noFill/>
              <a:ln w="0">
                <a:solidFill>
                  <a:schemeClr val="bg1">
                    <a:lumMod val="85000"/>
                  </a:schemeClr>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75" name="Freeform 723"/>
              <p:cNvSpPr/>
              <p:nvPr userDrawn="1"/>
            </p:nvSpPr>
            <p:spPr bwMode="auto">
              <a:xfrm>
                <a:off x="6799058" y="3023616"/>
                <a:ext cx="314802" cy="1330912"/>
              </a:xfrm>
              <a:custGeom>
                <a:avLst/>
                <a:gdLst>
                  <a:gd name="T0" fmla="*/ 16 w 360"/>
                  <a:gd name="T1" fmla="*/ 0 h 1522"/>
                  <a:gd name="T2" fmla="*/ 0 w 360"/>
                  <a:gd name="T3" fmla="*/ 729 h 1522"/>
                  <a:gd name="T4" fmla="*/ 8 w 360"/>
                  <a:gd name="T5" fmla="*/ 1522 h 1522"/>
                  <a:gd name="T6" fmla="*/ 358 w 360"/>
                  <a:gd name="T7" fmla="*/ 600 h 1522"/>
                  <a:gd name="T8" fmla="*/ 360 w 360"/>
                  <a:gd name="T9" fmla="*/ 585 h 1522"/>
                </a:gdLst>
                <a:ahLst/>
                <a:cxnLst>
                  <a:cxn ang="0">
                    <a:pos x="T0" y="T1"/>
                  </a:cxn>
                  <a:cxn ang="0">
                    <a:pos x="T2" y="T3"/>
                  </a:cxn>
                  <a:cxn ang="0">
                    <a:pos x="T4" y="T5"/>
                  </a:cxn>
                  <a:cxn ang="0">
                    <a:pos x="T6" y="T7"/>
                  </a:cxn>
                  <a:cxn ang="0">
                    <a:pos x="T8" y="T9"/>
                  </a:cxn>
                </a:cxnLst>
                <a:rect l="0" t="0" r="r" b="b"/>
                <a:pathLst>
                  <a:path w="360" h="1522">
                    <a:moveTo>
                      <a:pt x="16" y="0"/>
                    </a:moveTo>
                    <a:lnTo>
                      <a:pt x="0" y="729"/>
                    </a:lnTo>
                    <a:lnTo>
                      <a:pt x="8" y="1522"/>
                    </a:lnTo>
                    <a:lnTo>
                      <a:pt x="358" y="600"/>
                    </a:lnTo>
                    <a:lnTo>
                      <a:pt x="360" y="585"/>
                    </a:lnTo>
                  </a:path>
                </a:pathLst>
              </a:custGeom>
              <a:noFill/>
              <a:ln w="0">
                <a:solidFill>
                  <a:schemeClr val="bg1">
                    <a:lumMod val="85000"/>
                  </a:schemeClr>
                </a:solidFill>
                <a:prstDash val="solid"/>
                <a:round/>
                <a:headEnd type="oval" w="sm" len="sm"/>
                <a:tailEnd type="none"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76" name="Line 724"/>
              <p:cNvSpPr>
                <a:spLocks noChangeShapeType="1"/>
              </p:cNvSpPr>
              <p:nvPr userDrawn="1"/>
            </p:nvSpPr>
            <p:spPr bwMode="auto">
              <a:xfrm flipV="1">
                <a:off x="6299747" y="3023616"/>
                <a:ext cx="513302" cy="164396"/>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77" name="Line 725"/>
              <p:cNvSpPr>
                <a:spLocks noChangeShapeType="1"/>
              </p:cNvSpPr>
              <p:nvPr userDrawn="1"/>
            </p:nvSpPr>
            <p:spPr bwMode="auto">
              <a:xfrm flipV="1">
                <a:off x="5392068" y="3188012"/>
                <a:ext cx="907679" cy="523795"/>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78" name="Freeform 726"/>
              <p:cNvSpPr/>
              <p:nvPr userDrawn="1"/>
            </p:nvSpPr>
            <p:spPr bwMode="auto">
              <a:xfrm>
                <a:off x="5035293" y="3711807"/>
                <a:ext cx="482696" cy="685568"/>
              </a:xfrm>
              <a:custGeom>
                <a:avLst/>
                <a:gdLst>
                  <a:gd name="T0" fmla="*/ 552 w 552"/>
                  <a:gd name="T1" fmla="*/ 784 h 784"/>
                  <a:gd name="T2" fmla="*/ 0 w 552"/>
                  <a:gd name="T3" fmla="*/ 412 h 784"/>
                  <a:gd name="T4" fmla="*/ 408 w 552"/>
                  <a:gd name="T5" fmla="*/ 0 h 784"/>
                </a:gdLst>
                <a:ahLst/>
                <a:cxnLst>
                  <a:cxn ang="0">
                    <a:pos x="T0" y="T1"/>
                  </a:cxn>
                  <a:cxn ang="0">
                    <a:pos x="T2" y="T3"/>
                  </a:cxn>
                  <a:cxn ang="0">
                    <a:pos x="T4" y="T5"/>
                  </a:cxn>
                </a:cxnLst>
                <a:rect l="0" t="0" r="r" b="b"/>
                <a:pathLst>
                  <a:path w="552" h="784">
                    <a:moveTo>
                      <a:pt x="552" y="784"/>
                    </a:moveTo>
                    <a:lnTo>
                      <a:pt x="0" y="412"/>
                    </a:lnTo>
                    <a:lnTo>
                      <a:pt x="408" y="0"/>
                    </a:lnTo>
                  </a:path>
                </a:pathLst>
              </a:cu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79" name="Line 728"/>
              <p:cNvSpPr>
                <a:spLocks noChangeShapeType="1"/>
              </p:cNvSpPr>
              <p:nvPr userDrawn="1"/>
            </p:nvSpPr>
            <p:spPr bwMode="auto">
              <a:xfrm flipH="1">
                <a:off x="5517989" y="4143785"/>
                <a:ext cx="493190" cy="253590"/>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80" name="Freeform 729"/>
              <p:cNvSpPr/>
              <p:nvPr userDrawn="1"/>
            </p:nvSpPr>
            <p:spPr bwMode="auto">
              <a:xfrm>
                <a:off x="6011179" y="3548285"/>
                <a:ext cx="1100932" cy="595500"/>
              </a:xfrm>
              <a:custGeom>
                <a:avLst/>
                <a:gdLst>
                  <a:gd name="T0" fmla="*/ 1259 w 1259"/>
                  <a:gd name="T1" fmla="*/ 0 h 681"/>
                  <a:gd name="T2" fmla="*/ 902 w 1259"/>
                  <a:gd name="T3" fmla="*/ 140 h 681"/>
                  <a:gd name="T4" fmla="*/ 0 w 1259"/>
                  <a:gd name="T5" fmla="*/ 681 h 681"/>
                </a:gdLst>
                <a:ahLst/>
                <a:cxnLst>
                  <a:cxn ang="0">
                    <a:pos x="T0" y="T1"/>
                  </a:cxn>
                  <a:cxn ang="0">
                    <a:pos x="T2" y="T3"/>
                  </a:cxn>
                  <a:cxn ang="0">
                    <a:pos x="T4" y="T5"/>
                  </a:cxn>
                </a:cxnLst>
                <a:rect l="0" t="0" r="r" b="b"/>
                <a:pathLst>
                  <a:path w="1259" h="681">
                    <a:moveTo>
                      <a:pt x="1259" y="0"/>
                    </a:moveTo>
                    <a:lnTo>
                      <a:pt x="902" y="140"/>
                    </a:lnTo>
                    <a:lnTo>
                      <a:pt x="0" y="681"/>
                    </a:lnTo>
                  </a:path>
                </a:pathLst>
              </a:cu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81" name="Freeform 730"/>
              <p:cNvSpPr/>
              <p:nvPr userDrawn="1"/>
            </p:nvSpPr>
            <p:spPr bwMode="auto">
              <a:xfrm>
                <a:off x="5556465" y="4627355"/>
                <a:ext cx="1125417" cy="101436"/>
              </a:xfrm>
              <a:custGeom>
                <a:avLst/>
                <a:gdLst>
                  <a:gd name="T0" fmla="*/ 1287 w 1287"/>
                  <a:gd name="T1" fmla="*/ 0 h 116"/>
                  <a:gd name="T2" fmla="*/ 739 w 1287"/>
                  <a:gd name="T3" fmla="*/ 38 h 116"/>
                  <a:gd name="T4" fmla="*/ 0 w 1287"/>
                  <a:gd name="T5" fmla="*/ 116 h 116"/>
                </a:gdLst>
                <a:ahLst/>
                <a:cxnLst>
                  <a:cxn ang="0">
                    <a:pos x="T0" y="T1"/>
                  </a:cxn>
                  <a:cxn ang="0">
                    <a:pos x="T2" y="T3"/>
                  </a:cxn>
                  <a:cxn ang="0">
                    <a:pos x="T4" y="T5"/>
                  </a:cxn>
                </a:cxnLst>
                <a:rect l="0" t="0" r="r" b="b"/>
                <a:pathLst>
                  <a:path w="1287" h="116">
                    <a:moveTo>
                      <a:pt x="1287" y="0"/>
                    </a:moveTo>
                    <a:lnTo>
                      <a:pt x="739" y="38"/>
                    </a:lnTo>
                    <a:lnTo>
                      <a:pt x="0" y="116"/>
                    </a:lnTo>
                  </a:path>
                </a:pathLst>
              </a:custGeom>
              <a:noFill/>
              <a:ln w="0">
                <a:solidFill>
                  <a:schemeClr val="bg1">
                    <a:lumMod val="85000"/>
                  </a:schemeClr>
                </a:solidFill>
                <a:prstDash val="solid"/>
                <a:round/>
                <a:headEnd type="oval" w="sm" len="sm"/>
                <a:tailEnd type="none"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82" name="Freeform 731"/>
              <p:cNvSpPr/>
              <p:nvPr userDrawn="1"/>
            </p:nvSpPr>
            <p:spPr bwMode="auto">
              <a:xfrm>
                <a:off x="5517989" y="4354526"/>
                <a:ext cx="1288064" cy="306057"/>
              </a:xfrm>
              <a:custGeom>
                <a:avLst/>
                <a:gdLst>
                  <a:gd name="T0" fmla="*/ 0 w 1473"/>
                  <a:gd name="T1" fmla="*/ 49 h 350"/>
                  <a:gd name="T2" fmla="*/ 783 w 1473"/>
                  <a:gd name="T3" fmla="*/ 350 h 350"/>
                  <a:gd name="T4" fmla="*/ 1473 w 1473"/>
                  <a:gd name="T5" fmla="*/ 0 h 350"/>
                  <a:gd name="T6" fmla="*/ 1348 w 1473"/>
                  <a:gd name="T7" fmla="*/ 303 h 350"/>
                </a:gdLst>
                <a:ahLst/>
                <a:cxnLst>
                  <a:cxn ang="0">
                    <a:pos x="T0" y="T1"/>
                  </a:cxn>
                  <a:cxn ang="0">
                    <a:pos x="T2" y="T3"/>
                  </a:cxn>
                  <a:cxn ang="0">
                    <a:pos x="T4" y="T5"/>
                  </a:cxn>
                  <a:cxn ang="0">
                    <a:pos x="T6" y="T7"/>
                  </a:cxn>
                </a:cxnLst>
                <a:rect l="0" t="0" r="r" b="b"/>
                <a:pathLst>
                  <a:path w="1473" h="350">
                    <a:moveTo>
                      <a:pt x="0" y="49"/>
                    </a:moveTo>
                    <a:lnTo>
                      <a:pt x="783" y="350"/>
                    </a:lnTo>
                    <a:lnTo>
                      <a:pt x="1473" y="0"/>
                    </a:lnTo>
                    <a:lnTo>
                      <a:pt x="1348" y="303"/>
                    </a:lnTo>
                  </a:path>
                </a:pathLst>
              </a:custGeom>
              <a:noFill/>
              <a:ln w="0">
                <a:solidFill>
                  <a:schemeClr val="bg1">
                    <a:lumMod val="85000"/>
                  </a:schemeClr>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83" name="Line 732"/>
              <p:cNvSpPr>
                <a:spLocks noChangeShapeType="1"/>
              </p:cNvSpPr>
              <p:nvPr userDrawn="1"/>
            </p:nvSpPr>
            <p:spPr bwMode="auto">
              <a:xfrm>
                <a:off x="6299747" y="3188012"/>
                <a:ext cx="500185" cy="482696"/>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sp>
            <p:nvSpPr>
              <p:cNvPr id="184" name="Line 733"/>
              <p:cNvSpPr>
                <a:spLocks noChangeShapeType="1"/>
              </p:cNvSpPr>
              <p:nvPr userDrawn="1"/>
            </p:nvSpPr>
            <p:spPr bwMode="auto">
              <a:xfrm>
                <a:off x="5507496" y="2989512"/>
                <a:ext cx="792251" cy="198500"/>
              </a:xfrm>
              <a:prstGeom prst="line">
                <a:avLst/>
              </a:prstGeom>
              <a:noFill/>
              <a:ln w="0">
                <a:solidFill>
                  <a:schemeClr val="bg1">
                    <a:lumMod val="85000"/>
                  </a:schemeClr>
                </a:solidFill>
                <a:prstDash val="solid"/>
                <a:round/>
                <a:headEnd type="oval" w="sm" len="sm"/>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smtClean="0">
                  <a:ln>
                    <a:noFill/>
                  </a:ln>
                  <a:solidFill>
                    <a:prstClr val="white"/>
                  </a:solidFill>
                  <a:effectLst/>
                  <a:uLnTx/>
                  <a:uFillTx/>
                  <a:cs typeface="+mn-ea"/>
                  <a:sym typeface="+mn-lt"/>
                </a:endParaRPr>
              </a:p>
            </p:txBody>
          </p:sp>
        </p:grpSp>
        <p:grpSp>
          <p:nvGrpSpPr>
            <p:cNvPr id="148" name="组合 147"/>
            <p:cNvGrpSpPr/>
            <p:nvPr/>
          </p:nvGrpSpPr>
          <p:grpSpPr>
            <a:xfrm>
              <a:off x="4123785" y="3857058"/>
              <a:ext cx="1262532" cy="1260776"/>
              <a:chOff x="5637791" y="5026290"/>
              <a:chExt cx="1262532" cy="1260776"/>
            </a:xfrm>
          </p:grpSpPr>
          <p:sp>
            <p:nvSpPr>
              <p:cNvPr id="149" name="square-processor_77616"/>
              <p:cNvSpPr>
                <a:spLocks noChangeAspect="1"/>
              </p:cNvSpPr>
              <p:nvPr/>
            </p:nvSpPr>
            <p:spPr bwMode="auto">
              <a:xfrm>
                <a:off x="5637791" y="5026290"/>
                <a:ext cx="1262532" cy="1260776"/>
              </a:xfrm>
              <a:custGeom>
                <a:avLst/>
                <a:gdLst>
                  <a:gd name="connsiteX0" fmla="*/ 438564 w 608697"/>
                  <a:gd name="connsiteY0" fmla="*/ 564383 h 607851"/>
                  <a:gd name="connsiteX1" fmla="*/ 453383 w 608697"/>
                  <a:gd name="connsiteY1" fmla="*/ 564383 h 607851"/>
                  <a:gd name="connsiteX2" fmla="*/ 453383 w 608697"/>
                  <a:gd name="connsiteY2" fmla="*/ 607851 h 607851"/>
                  <a:gd name="connsiteX3" fmla="*/ 438564 w 608697"/>
                  <a:gd name="connsiteY3" fmla="*/ 607851 h 607851"/>
                  <a:gd name="connsiteX4" fmla="*/ 367716 w 608697"/>
                  <a:gd name="connsiteY4" fmla="*/ 564383 h 607851"/>
                  <a:gd name="connsiteX5" fmla="*/ 382605 w 608697"/>
                  <a:gd name="connsiteY5" fmla="*/ 564383 h 607851"/>
                  <a:gd name="connsiteX6" fmla="*/ 382605 w 608697"/>
                  <a:gd name="connsiteY6" fmla="*/ 607851 h 607851"/>
                  <a:gd name="connsiteX7" fmla="*/ 367716 w 608697"/>
                  <a:gd name="connsiteY7" fmla="*/ 607851 h 607851"/>
                  <a:gd name="connsiteX8" fmla="*/ 296869 w 608697"/>
                  <a:gd name="connsiteY8" fmla="*/ 564383 h 607851"/>
                  <a:gd name="connsiteX9" fmla="*/ 311829 w 608697"/>
                  <a:gd name="connsiteY9" fmla="*/ 564383 h 607851"/>
                  <a:gd name="connsiteX10" fmla="*/ 311829 w 608697"/>
                  <a:gd name="connsiteY10" fmla="*/ 607851 h 607851"/>
                  <a:gd name="connsiteX11" fmla="*/ 296869 w 608697"/>
                  <a:gd name="connsiteY11" fmla="*/ 607851 h 607851"/>
                  <a:gd name="connsiteX12" fmla="*/ 226091 w 608697"/>
                  <a:gd name="connsiteY12" fmla="*/ 564383 h 607851"/>
                  <a:gd name="connsiteX13" fmla="*/ 241051 w 608697"/>
                  <a:gd name="connsiteY13" fmla="*/ 564383 h 607851"/>
                  <a:gd name="connsiteX14" fmla="*/ 241051 w 608697"/>
                  <a:gd name="connsiteY14" fmla="*/ 607851 h 607851"/>
                  <a:gd name="connsiteX15" fmla="*/ 226091 w 608697"/>
                  <a:gd name="connsiteY15" fmla="*/ 607851 h 607851"/>
                  <a:gd name="connsiteX16" fmla="*/ 155314 w 608697"/>
                  <a:gd name="connsiteY16" fmla="*/ 564383 h 607851"/>
                  <a:gd name="connsiteX17" fmla="*/ 170133 w 608697"/>
                  <a:gd name="connsiteY17" fmla="*/ 564383 h 607851"/>
                  <a:gd name="connsiteX18" fmla="*/ 170133 w 608697"/>
                  <a:gd name="connsiteY18" fmla="*/ 607851 h 607851"/>
                  <a:gd name="connsiteX19" fmla="*/ 155314 w 608697"/>
                  <a:gd name="connsiteY19" fmla="*/ 607851 h 607851"/>
                  <a:gd name="connsiteX20" fmla="*/ 565229 w 608697"/>
                  <a:gd name="connsiteY20" fmla="*/ 437929 h 607851"/>
                  <a:gd name="connsiteX21" fmla="*/ 608697 w 608697"/>
                  <a:gd name="connsiteY21" fmla="*/ 437929 h 607851"/>
                  <a:gd name="connsiteX22" fmla="*/ 608697 w 608697"/>
                  <a:gd name="connsiteY22" fmla="*/ 452748 h 607851"/>
                  <a:gd name="connsiteX23" fmla="*/ 565229 w 608697"/>
                  <a:gd name="connsiteY23" fmla="*/ 452748 h 607851"/>
                  <a:gd name="connsiteX24" fmla="*/ 0 w 608697"/>
                  <a:gd name="connsiteY24" fmla="*/ 437929 h 607851"/>
                  <a:gd name="connsiteX25" fmla="*/ 43468 w 608697"/>
                  <a:gd name="connsiteY25" fmla="*/ 437929 h 607851"/>
                  <a:gd name="connsiteX26" fmla="*/ 43468 w 608697"/>
                  <a:gd name="connsiteY26" fmla="*/ 452748 h 607851"/>
                  <a:gd name="connsiteX27" fmla="*/ 0 w 608697"/>
                  <a:gd name="connsiteY27" fmla="*/ 452748 h 607851"/>
                  <a:gd name="connsiteX28" fmla="*/ 565229 w 608697"/>
                  <a:gd name="connsiteY28" fmla="*/ 367152 h 607851"/>
                  <a:gd name="connsiteX29" fmla="*/ 608697 w 608697"/>
                  <a:gd name="connsiteY29" fmla="*/ 367152 h 607851"/>
                  <a:gd name="connsiteX30" fmla="*/ 608697 w 608697"/>
                  <a:gd name="connsiteY30" fmla="*/ 382041 h 607851"/>
                  <a:gd name="connsiteX31" fmla="*/ 565229 w 608697"/>
                  <a:gd name="connsiteY31" fmla="*/ 382041 h 607851"/>
                  <a:gd name="connsiteX32" fmla="*/ 0 w 608697"/>
                  <a:gd name="connsiteY32" fmla="*/ 367152 h 607851"/>
                  <a:gd name="connsiteX33" fmla="*/ 43468 w 608697"/>
                  <a:gd name="connsiteY33" fmla="*/ 367152 h 607851"/>
                  <a:gd name="connsiteX34" fmla="*/ 43468 w 608697"/>
                  <a:gd name="connsiteY34" fmla="*/ 382041 h 607851"/>
                  <a:gd name="connsiteX35" fmla="*/ 0 w 608697"/>
                  <a:gd name="connsiteY35" fmla="*/ 382041 h 607851"/>
                  <a:gd name="connsiteX36" fmla="*/ 565229 w 608697"/>
                  <a:gd name="connsiteY36" fmla="*/ 296446 h 607851"/>
                  <a:gd name="connsiteX37" fmla="*/ 608697 w 608697"/>
                  <a:gd name="connsiteY37" fmla="*/ 296446 h 607851"/>
                  <a:gd name="connsiteX38" fmla="*/ 608697 w 608697"/>
                  <a:gd name="connsiteY38" fmla="*/ 311335 h 607851"/>
                  <a:gd name="connsiteX39" fmla="*/ 565229 w 608697"/>
                  <a:gd name="connsiteY39" fmla="*/ 311335 h 607851"/>
                  <a:gd name="connsiteX40" fmla="*/ 0 w 608697"/>
                  <a:gd name="connsiteY40" fmla="*/ 296446 h 607851"/>
                  <a:gd name="connsiteX41" fmla="*/ 43468 w 608697"/>
                  <a:gd name="connsiteY41" fmla="*/ 296446 h 607851"/>
                  <a:gd name="connsiteX42" fmla="*/ 43468 w 608697"/>
                  <a:gd name="connsiteY42" fmla="*/ 311335 h 607851"/>
                  <a:gd name="connsiteX43" fmla="*/ 0 w 608697"/>
                  <a:gd name="connsiteY43" fmla="*/ 311335 h 607851"/>
                  <a:gd name="connsiteX44" fmla="*/ 565229 w 608697"/>
                  <a:gd name="connsiteY44" fmla="*/ 225739 h 607851"/>
                  <a:gd name="connsiteX45" fmla="*/ 608697 w 608697"/>
                  <a:gd name="connsiteY45" fmla="*/ 225739 h 607851"/>
                  <a:gd name="connsiteX46" fmla="*/ 608697 w 608697"/>
                  <a:gd name="connsiteY46" fmla="*/ 240699 h 607851"/>
                  <a:gd name="connsiteX47" fmla="*/ 565229 w 608697"/>
                  <a:gd name="connsiteY47" fmla="*/ 240699 h 607851"/>
                  <a:gd name="connsiteX48" fmla="*/ 0 w 608697"/>
                  <a:gd name="connsiteY48" fmla="*/ 225739 h 607851"/>
                  <a:gd name="connsiteX49" fmla="*/ 43468 w 608697"/>
                  <a:gd name="connsiteY49" fmla="*/ 225739 h 607851"/>
                  <a:gd name="connsiteX50" fmla="*/ 43468 w 608697"/>
                  <a:gd name="connsiteY50" fmla="*/ 240699 h 607851"/>
                  <a:gd name="connsiteX51" fmla="*/ 0 w 608697"/>
                  <a:gd name="connsiteY51" fmla="*/ 240699 h 607851"/>
                  <a:gd name="connsiteX52" fmla="*/ 565229 w 608697"/>
                  <a:gd name="connsiteY52" fmla="*/ 155103 h 607851"/>
                  <a:gd name="connsiteX53" fmla="*/ 608697 w 608697"/>
                  <a:gd name="connsiteY53" fmla="*/ 155103 h 607851"/>
                  <a:gd name="connsiteX54" fmla="*/ 608697 w 608697"/>
                  <a:gd name="connsiteY54" fmla="*/ 169922 h 607851"/>
                  <a:gd name="connsiteX55" fmla="*/ 565229 w 608697"/>
                  <a:gd name="connsiteY55" fmla="*/ 169922 h 607851"/>
                  <a:gd name="connsiteX56" fmla="*/ 0 w 608697"/>
                  <a:gd name="connsiteY56" fmla="*/ 155103 h 607851"/>
                  <a:gd name="connsiteX57" fmla="*/ 43468 w 608697"/>
                  <a:gd name="connsiteY57" fmla="*/ 155103 h 607851"/>
                  <a:gd name="connsiteX58" fmla="*/ 43468 w 608697"/>
                  <a:gd name="connsiteY58" fmla="*/ 169922 h 607851"/>
                  <a:gd name="connsiteX59" fmla="*/ 0 w 608697"/>
                  <a:gd name="connsiteY59" fmla="*/ 169922 h 607851"/>
                  <a:gd name="connsiteX60" fmla="*/ 170734 w 608697"/>
                  <a:gd name="connsiteY60" fmla="*/ 93005 h 607851"/>
                  <a:gd name="connsiteX61" fmla="*/ 437963 w 608697"/>
                  <a:gd name="connsiteY61" fmla="*/ 93005 h 607851"/>
                  <a:gd name="connsiteX62" fmla="*/ 515550 w 608697"/>
                  <a:gd name="connsiteY62" fmla="*/ 170476 h 607851"/>
                  <a:gd name="connsiteX63" fmla="*/ 515550 w 608697"/>
                  <a:gd name="connsiteY63" fmla="*/ 437304 h 607851"/>
                  <a:gd name="connsiteX64" fmla="*/ 437963 w 608697"/>
                  <a:gd name="connsiteY64" fmla="*/ 514775 h 607851"/>
                  <a:gd name="connsiteX65" fmla="*/ 170734 w 608697"/>
                  <a:gd name="connsiteY65" fmla="*/ 514775 h 607851"/>
                  <a:gd name="connsiteX66" fmla="*/ 93146 w 608697"/>
                  <a:gd name="connsiteY66" fmla="*/ 437304 h 607851"/>
                  <a:gd name="connsiteX67" fmla="*/ 93146 w 608697"/>
                  <a:gd name="connsiteY67" fmla="*/ 170476 h 607851"/>
                  <a:gd name="connsiteX68" fmla="*/ 160464 w 608697"/>
                  <a:gd name="connsiteY68" fmla="*/ 68256 h 607851"/>
                  <a:gd name="connsiteX69" fmla="*/ 68345 w 608697"/>
                  <a:gd name="connsiteY69" fmla="*/ 160244 h 607851"/>
                  <a:gd name="connsiteX70" fmla="*/ 68345 w 608697"/>
                  <a:gd name="connsiteY70" fmla="*/ 447605 h 607851"/>
                  <a:gd name="connsiteX71" fmla="*/ 160464 w 608697"/>
                  <a:gd name="connsiteY71" fmla="*/ 539594 h 607851"/>
                  <a:gd name="connsiteX72" fmla="*/ 448233 w 608697"/>
                  <a:gd name="connsiteY72" fmla="*/ 539594 h 607851"/>
                  <a:gd name="connsiteX73" fmla="*/ 540352 w 608697"/>
                  <a:gd name="connsiteY73" fmla="*/ 447605 h 607851"/>
                  <a:gd name="connsiteX74" fmla="*/ 540352 w 608697"/>
                  <a:gd name="connsiteY74" fmla="*/ 160244 h 607851"/>
                  <a:gd name="connsiteX75" fmla="*/ 448233 w 608697"/>
                  <a:gd name="connsiteY75" fmla="*/ 68256 h 607851"/>
                  <a:gd name="connsiteX76" fmla="*/ 155317 w 608697"/>
                  <a:gd name="connsiteY76" fmla="*/ 55817 h 607851"/>
                  <a:gd name="connsiteX77" fmla="*/ 453380 w 608697"/>
                  <a:gd name="connsiteY77" fmla="*/ 55817 h 607851"/>
                  <a:gd name="connsiteX78" fmla="*/ 552809 w 608697"/>
                  <a:gd name="connsiteY78" fmla="*/ 155105 h 607851"/>
                  <a:gd name="connsiteX79" fmla="*/ 552809 w 608697"/>
                  <a:gd name="connsiteY79" fmla="*/ 452745 h 607851"/>
                  <a:gd name="connsiteX80" fmla="*/ 453380 w 608697"/>
                  <a:gd name="connsiteY80" fmla="*/ 552033 h 607851"/>
                  <a:gd name="connsiteX81" fmla="*/ 155317 w 608697"/>
                  <a:gd name="connsiteY81" fmla="*/ 552033 h 607851"/>
                  <a:gd name="connsiteX82" fmla="*/ 55888 w 608697"/>
                  <a:gd name="connsiteY82" fmla="*/ 452745 h 607851"/>
                  <a:gd name="connsiteX83" fmla="*/ 55888 w 608697"/>
                  <a:gd name="connsiteY83" fmla="*/ 155105 h 607851"/>
                  <a:gd name="connsiteX84" fmla="*/ 438564 w 608697"/>
                  <a:gd name="connsiteY84" fmla="*/ 0 h 607851"/>
                  <a:gd name="connsiteX85" fmla="*/ 453383 w 608697"/>
                  <a:gd name="connsiteY85" fmla="*/ 0 h 607851"/>
                  <a:gd name="connsiteX86" fmla="*/ 453383 w 608697"/>
                  <a:gd name="connsiteY86" fmla="*/ 43398 h 607851"/>
                  <a:gd name="connsiteX87" fmla="*/ 438564 w 608697"/>
                  <a:gd name="connsiteY87" fmla="*/ 43398 h 607851"/>
                  <a:gd name="connsiteX88" fmla="*/ 367716 w 608697"/>
                  <a:gd name="connsiteY88" fmla="*/ 0 h 607851"/>
                  <a:gd name="connsiteX89" fmla="*/ 382605 w 608697"/>
                  <a:gd name="connsiteY89" fmla="*/ 0 h 607851"/>
                  <a:gd name="connsiteX90" fmla="*/ 382605 w 608697"/>
                  <a:gd name="connsiteY90" fmla="*/ 43398 h 607851"/>
                  <a:gd name="connsiteX91" fmla="*/ 367716 w 608697"/>
                  <a:gd name="connsiteY91" fmla="*/ 43398 h 607851"/>
                  <a:gd name="connsiteX92" fmla="*/ 296869 w 608697"/>
                  <a:gd name="connsiteY92" fmla="*/ 0 h 607851"/>
                  <a:gd name="connsiteX93" fmla="*/ 311829 w 608697"/>
                  <a:gd name="connsiteY93" fmla="*/ 0 h 607851"/>
                  <a:gd name="connsiteX94" fmla="*/ 311829 w 608697"/>
                  <a:gd name="connsiteY94" fmla="*/ 43398 h 607851"/>
                  <a:gd name="connsiteX95" fmla="*/ 296869 w 608697"/>
                  <a:gd name="connsiteY95" fmla="*/ 43398 h 607851"/>
                  <a:gd name="connsiteX96" fmla="*/ 226091 w 608697"/>
                  <a:gd name="connsiteY96" fmla="*/ 0 h 607851"/>
                  <a:gd name="connsiteX97" fmla="*/ 241051 w 608697"/>
                  <a:gd name="connsiteY97" fmla="*/ 0 h 607851"/>
                  <a:gd name="connsiteX98" fmla="*/ 241051 w 608697"/>
                  <a:gd name="connsiteY98" fmla="*/ 43398 h 607851"/>
                  <a:gd name="connsiteX99" fmla="*/ 226091 w 608697"/>
                  <a:gd name="connsiteY99" fmla="*/ 43398 h 607851"/>
                  <a:gd name="connsiteX100" fmla="*/ 155314 w 608697"/>
                  <a:gd name="connsiteY100" fmla="*/ 0 h 607851"/>
                  <a:gd name="connsiteX101" fmla="*/ 170133 w 608697"/>
                  <a:gd name="connsiteY101" fmla="*/ 0 h 607851"/>
                  <a:gd name="connsiteX102" fmla="*/ 170133 w 608697"/>
                  <a:gd name="connsiteY102" fmla="*/ 43398 h 607851"/>
                  <a:gd name="connsiteX103" fmla="*/ 155314 w 608697"/>
                  <a:gd name="connsiteY103" fmla="*/ 43398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08697" h="607851">
                    <a:moveTo>
                      <a:pt x="438564" y="564383"/>
                    </a:moveTo>
                    <a:lnTo>
                      <a:pt x="453383" y="564383"/>
                    </a:lnTo>
                    <a:lnTo>
                      <a:pt x="453383" y="607851"/>
                    </a:lnTo>
                    <a:lnTo>
                      <a:pt x="438564" y="607851"/>
                    </a:lnTo>
                    <a:close/>
                    <a:moveTo>
                      <a:pt x="367716" y="564383"/>
                    </a:moveTo>
                    <a:lnTo>
                      <a:pt x="382605" y="564383"/>
                    </a:lnTo>
                    <a:lnTo>
                      <a:pt x="382605" y="607851"/>
                    </a:lnTo>
                    <a:lnTo>
                      <a:pt x="367716" y="607851"/>
                    </a:lnTo>
                    <a:close/>
                    <a:moveTo>
                      <a:pt x="296869" y="564383"/>
                    </a:moveTo>
                    <a:lnTo>
                      <a:pt x="311829" y="564383"/>
                    </a:lnTo>
                    <a:lnTo>
                      <a:pt x="311829" y="607851"/>
                    </a:lnTo>
                    <a:lnTo>
                      <a:pt x="296869" y="607851"/>
                    </a:lnTo>
                    <a:close/>
                    <a:moveTo>
                      <a:pt x="226091" y="564383"/>
                    </a:moveTo>
                    <a:lnTo>
                      <a:pt x="241051" y="564383"/>
                    </a:lnTo>
                    <a:lnTo>
                      <a:pt x="241051" y="607851"/>
                    </a:lnTo>
                    <a:lnTo>
                      <a:pt x="226091" y="607851"/>
                    </a:lnTo>
                    <a:close/>
                    <a:moveTo>
                      <a:pt x="155314" y="564383"/>
                    </a:moveTo>
                    <a:lnTo>
                      <a:pt x="170133" y="564383"/>
                    </a:lnTo>
                    <a:lnTo>
                      <a:pt x="170133" y="607851"/>
                    </a:lnTo>
                    <a:lnTo>
                      <a:pt x="155314" y="607851"/>
                    </a:lnTo>
                    <a:close/>
                    <a:moveTo>
                      <a:pt x="565229" y="437929"/>
                    </a:moveTo>
                    <a:lnTo>
                      <a:pt x="608697" y="437929"/>
                    </a:lnTo>
                    <a:lnTo>
                      <a:pt x="608697" y="452748"/>
                    </a:lnTo>
                    <a:lnTo>
                      <a:pt x="565229" y="452748"/>
                    </a:lnTo>
                    <a:close/>
                    <a:moveTo>
                      <a:pt x="0" y="437929"/>
                    </a:moveTo>
                    <a:lnTo>
                      <a:pt x="43468" y="437929"/>
                    </a:lnTo>
                    <a:lnTo>
                      <a:pt x="43468" y="452748"/>
                    </a:lnTo>
                    <a:lnTo>
                      <a:pt x="0" y="452748"/>
                    </a:lnTo>
                    <a:close/>
                    <a:moveTo>
                      <a:pt x="565229" y="367152"/>
                    </a:moveTo>
                    <a:lnTo>
                      <a:pt x="608697" y="367152"/>
                    </a:lnTo>
                    <a:lnTo>
                      <a:pt x="608697" y="382041"/>
                    </a:lnTo>
                    <a:lnTo>
                      <a:pt x="565229" y="382041"/>
                    </a:lnTo>
                    <a:close/>
                    <a:moveTo>
                      <a:pt x="0" y="367152"/>
                    </a:moveTo>
                    <a:lnTo>
                      <a:pt x="43468" y="367152"/>
                    </a:lnTo>
                    <a:lnTo>
                      <a:pt x="43468" y="382041"/>
                    </a:lnTo>
                    <a:lnTo>
                      <a:pt x="0" y="382041"/>
                    </a:lnTo>
                    <a:close/>
                    <a:moveTo>
                      <a:pt x="565229" y="296446"/>
                    </a:moveTo>
                    <a:lnTo>
                      <a:pt x="608697" y="296446"/>
                    </a:lnTo>
                    <a:lnTo>
                      <a:pt x="608697" y="311335"/>
                    </a:lnTo>
                    <a:lnTo>
                      <a:pt x="565229" y="311335"/>
                    </a:lnTo>
                    <a:close/>
                    <a:moveTo>
                      <a:pt x="0" y="296446"/>
                    </a:moveTo>
                    <a:lnTo>
                      <a:pt x="43468" y="296446"/>
                    </a:lnTo>
                    <a:lnTo>
                      <a:pt x="43468" y="311335"/>
                    </a:lnTo>
                    <a:lnTo>
                      <a:pt x="0" y="311335"/>
                    </a:lnTo>
                    <a:close/>
                    <a:moveTo>
                      <a:pt x="565229" y="225739"/>
                    </a:moveTo>
                    <a:lnTo>
                      <a:pt x="608697" y="225739"/>
                    </a:lnTo>
                    <a:lnTo>
                      <a:pt x="608697" y="240699"/>
                    </a:lnTo>
                    <a:lnTo>
                      <a:pt x="565229" y="240699"/>
                    </a:lnTo>
                    <a:close/>
                    <a:moveTo>
                      <a:pt x="0" y="225739"/>
                    </a:moveTo>
                    <a:lnTo>
                      <a:pt x="43468" y="225739"/>
                    </a:lnTo>
                    <a:lnTo>
                      <a:pt x="43468" y="240699"/>
                    </a:lnTo>
                    <a:lnTo>
                      <a:pt x="0" y="240699"/>
                    </a:lnTo>
                    <a:close/>
                    <a:moveTo>
                      <a:pt x="565229" y="155103"/>
                    </a:moveTo>
                    <a:lnTo>
                      <a:pt x="608697" y="155103"/>
                    </a:lnTo>
                    <a:lnTo>
                      <a:pt x="608697" y="169922"/>
                    </a:lnTo>
                    <a:lnTo>
                      <a:pt x="565229" y="169922"/>
                    </a:lnTo>
                    <a:close/>
                    <a:moveTo>
                      <a:pt x="0" y="155103"/>
                    </a:moveTo>
                    <a:lnTo>
                      <a:pt x="43468" y="155103"/>
                    </a:lnTo>
                    <a:lnTo>
                      <a:pt x="43468" y="169922"/>
                    </a:lnTo>
                    <a:lnTo>
                      <a:pt x="0" y="169922"/>
                    </a:lnTo>
                    <a:close/>
                    <a:moveTo>
                      <a:pt x="170734" y="93005"/>
                    </a:moveTo>
                    <a:lnTo>
                      <a:pt x="437963" y="93005"/>
                    </a:lnTo>
                    <a:lnTo>
                      <a:pt x="515550" y="170476"/>
                    </a:lnTo>
                    <a:lnTo>
                      <a:pt x="515550" y="437304"/>
                    </a:lnTo>
                    <a:lnTo>
                      <a:pt x="437963" y="514775"/>
                    </a:lnTo>
                    <a:lnTo>
                      <a:pt x="170734" y="514775"/>
                    </a:lnTo>
                    <a:lnTo>
                      <a:pt x="93146" y="437304"/>
                    </a:lnTo>
                    <a:lnTo>
                      <a:pt x="93146" y="170476"/>
                    </a:lnTo>
                    <a:close/>
                    <a:moveTo>
                      <a:pt x="160464" y="68256"/>
                    </a:moveTo>
                    <a:lnTo>
                      <a:pt x="68345" y="160244"/>
                    </a:lnTo>
                    <a:lnTo>
                      <a:pt x="68345" y="447605"/>
                    </a:lnTo>
                    <a:lnTo>
                      <a:pt x="160464" y="539594"/>
                    </a:lnTo>
                    <a:lnTo>
                      <a:pt x="448233" y="539594"/>
                    </a:lnTo>
                    <a:lnTo>
                      <a:pt x="540352" y="447605"/>
                    </a:lnTo>
                    <a:lnTo>
                      <a:pt x="540352" y="160244"/>
                    </a:lnTo>
                    <a:lnTo>
                      <a:pt x="448233" y="68256"/>
                    </a:lnTo>
                    <a:close/>
                    <a:moveTo>
                      <a:pt x="155317" y="55817"/>
                    </a:moveTo>
                    <a:lnTo>
                      <a:pt x="453380" y="55817"/>
                    </a:lnTo>
                    <a:lnTo>
                      <a:pt x="552809" y="155105"/>
                    </a:lnTo>
                    <a:lnTo>
                      <a:pt x="552809" y="452745"/>
                    </a:lnTo>
                    <a:lnTo>
                      <a:pt x="453380" y="552033"/>
                    </a:lnTo>
                    <a:lnTo>
                      <a:pt x="155317" y="552033"/>
                    </a:lnTo>
                    <a:lnTo>
                      <a:pt x="55888" y="452745"/>
                    </a:lnTo>
                    <a:lnTo>
                      <a:pt x="55888" y="155105"/>
                    </a:lnTo>
                    <a:close/>
                    <a:moveTo>
                      <a:pt x="438564" y="0"/>
                    </a:moveTo>
                    <a:lnTo>
                      <a:pt x="453383" y="0"/>
                    </a:lnTo>
                    <a:lnTo>
                      <a:pt x="453383" y="43398"/>
                    </a:lnTo>
                    <a:lnTo>
                      <a:pt x="438564" y="43398"/>
                    </a:lnTo>
                    <a:close/>
                    <a:moveTo>
                      <a:pt x="367716" y="0"/>
                    </a:moveTo>
                    <a:lnTo>
                      <a:pt x="382605" y="0"/>
                    </a:lnTo>
                    <a:lnTo>
                      <a:pt x="382605" y="43398"/>
                    </a:lnTo>
                    <a:lnTo>
                      <a:pt x="367716" y="43398"/>
                    </a:lnTo>
                    <a:close/>
                    <a:moveTo>
                      <a:pt x="296869" y="0"/>
                    </a:moveTo>
                    <a:lnTo>
                      <a:pt x="311829" y="0"/>
                    </a:lnTo>
                    <a:lnTo>
                      <a:pt x="311829" y="43398"/>
                    </a:lnTo>
                    <a:lnTo>
                      <a:pt x="296869" y="43398"/>
                    </a:lnTo>
                    <a:close/>
                    <a:moveTo>
                      <a:pt x="226091" y="0"/>
                    </a:moveTo>
                    <a:lnTo>
                      <a:pt x="241051" y="0"/>
                    </a:lnTo>
                    <a:lnTo>
                      <a:pt x="241051" y="43398"/>
                    </a:lnTo>
                    <a:lnTo>
                      <a:pt x="226091" y="43398"/>
                    </a:lnTo>
                    <a:close/>
                    <a:moveTo>
                      <a:pt x="155314" y="0"/>
                    </a:moveTo>
                    <a:lnTo>
                      <a:pt x="170133" y="0"/>
                    </a:lnTo>
                    <a:lnTo>
                      <a:pt x="170133" y="43398"/>
                    </a:lnTo>
                    <a:lnTo>
                      <a:pt x="155314" y="43398"/>
                    </a:lnTo>
                    <a:close/>
                  </a:path>
                </a:pathLst>
              </a:custGeom>
              <a:solidFill>
                <a:srgbClr val="E3E4E6">
                  <a:lumMod val="50000"/>
                </a:srgbClr>
              </a:solidFill>
              <a:ln>
                <a:solidFill>
                  <a:schemeClr val="bg1">
                    <a:lumMod val="85000"/>
                  </a:schemeClr>
                </a:solid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smtClean="0">
                  <a:ln>
                    <a:noFill/>
                  </a:ln>
                  <a:solidFill>
                    <a:prstClr val="white"/>
                  </a:solidFill>
                  <a:effectLst/>
                  <a:uLnTx/>
                  <a:uFillTx/>
                  <a:cs typeface="+mn-ea"/>
                  <a:sym typeface="+mn-lt"/>
                </a:endParaRPr>
              </a:p>
            </p:txBody>
          </p:sp>
          <p:sp>
            <p:nvSpPr>
              <p:cNvPr id="150" name="Freeform 190"/>
              <p:cNvSpPr>
                <a:spLocks noEditPoints="1"/>
              </p:cNvSpPr>
              <p:nvPr/>
            </p:nvSpPr>
            <p:spPr bwMode="auto">
              <a:xfrm>
                <a:off x="5925041" y="5268978"/>
                <a:ext cx="688032" cy="775399"/>
              </a:xfrm>
              <a:custGeom>
                <a:avLst/>
                <a:gdLst>
                  <a:gd name="T0" fmla="*/ 152 w 232"/>
                  <a:gd name="T1" fmla="*/ 167 h 262"/>
                  <a:gd name="T2" fmla="*/ 80 w 232"/>
                  <a:gd name="T3" fmla="*/ 95 h 262"/>
                  <a:gd name="T4" fmla="*/ 82 w 232"/>
                  <a:gd name="T5" fmla="*/ 155 h 262"/>
                  <a:gd name="T6" fmla="*/ 99 w 232"/>
                  <a:gd name="T7" fmla="*/ 169 h 262"/>
                  <a:gd name="T8" fmla="*/ 153 w 232"/>
                  <a:gd name="T9" fmla="*/ 113 h 262"/>
                  <a:gd name="T10" fmla="*/ 155 w 232"/>
                  <a:gd name="T11" fmla="*/ 146 h 262"/>
                  <a:gd name="T12" fmla="*/ 96 w 232"/>
                  <a:gd name="T13" fmla="*/ 168 h 262"/>
                  <a:gd name="T14" fmla="*/ 211 w 232"/>
                  <a:gd name="T15" fmla="*/ 67 h 262"/>
                  <a:gd name="T16" fmla="*/ 107 w 232"/>
                  <a:gd name="T17" fmla="*/ 17 h 262"/>
                  <a:gd name="T18" fmla="*/ 63 w 232"/>
                  <a:gd name="T19" fmla="*/ 39 h 262"/>
                  <a:gd name="T20" fmla="*/ 13 w 232"/>
                  <a:gd name="T21" fmla="*/ 131 h 262"/>
                  <a:gd name="T22" fmla="*/ 10 w 232"/>
                  <a:gd name="T23" fmla="*/ 81 h 262"/>
                  <a:gd name="T24" fmla="*/ 107 w 232"/>
                  <a:gd name="T25" fmla="*/ 245 h 262"/>
                  <a:gd name="T26" fmla="*/ 21 w 232"/>
                  <a:gd name="T27" fmla="*/ 196 h 262"/>
                  <a:gd name="T28" fmla="*/ 212 w 232"/>
                  <a:gd name="T29" fmla="*/ 198 h 262"/>
                  <a:gd name="T30" fmla="*/ 219 w 232"/>
                  <a:gd name="T31" fmla="*/ 181 h 262"/>
                  <a:gd name="T32" fmla="*/ 222 w 232"/>
                  <a:gd name="T33" fmla="*/ 131 h 262"/>
                  <a:gd name="T34" fmla="*/ 126 w 232"/>
                  <a:gd name="T35" fmla="*/ 11 h 262"/>
                  <a:gd name="T36" fmla="*/ 229 w 232"/>
                  <a:gd name="T37" fmla="*/ 197 h 262"/>
                  <a:gd name="T38" fmla="*/ 229 w 232"/>
                  <a:gd name="T39" fmla="*/ 197 h 262"/>
                  <a:gd name="T40" fmla="*/ 126 w 232"/>
                  <a:gd name="T41" fmla="*/ 252 h 262"/>
                  <a:gd name="T42" fmla="*/ 20 w 232"/>
                  <a:gd name="T43" fmla="*/ 186 h 262"/>
                  <a:gd name="T44" fmla="*/ 17 w 232"/>
                  <a:gd name="T45" fmla="*/ 62 h 262"/>
                  <a:gd name="T46" fmla="*/ 28 w 232"/>
                  <a:gd name="T47" fmla="*/ 80 h 262"/>
                  <a:gd name="T48" fmla="*/ 28 w 232"/>
                  <a:gd name="T49" fmla="*/ 80 h 262"/>
                  <a:gd name="T50" fmla="*/ 40 w 232"/>
                  <a:gd name="T51" fmla="*/ 91 h 262"/>
                  <a:gd name="T52" fmla="*/ 55 w 232"/>
                  <a:gd name="T53" fmla="*/ 96 h 262"/>
                  <a:gd name="T54" fmla="*/ 64 w 232"/>
                  <a:gd name="T55" fmla="*/ 97 h 262"/>
                  <a:gd name="T56" fmla="*/ 28 w 232"/>
                  <a:gd name="T57" fmla="*/ 182 h 262"/>
                  <a:gd name="T58" fmla="*/ 28 w 232"/>
                  <a:gd name="T59" fmla="*/ 182 h 262"/>
                  <a:gd name="T60" fmla="*/ 43 w 232"/>
                  <a:gd name="T61" fmla="*/ 177 h 262"/>
                  <a:gd name="T62" fmla="*/ 55 w 232"/>
                  <a:gd name="T63" fmla="*/ 166 h 262"/>
                  <a:gd name="T64" fmla="*/ 60 w 232"/>
                  <a:gd name="T65" fmla="*/ 159 h 262"/>
                  <a:gd name="T66" fmla="*/ 116 w 232"/>
                  <a:gd name="T67" fmla="*/ 233 h 262"/>
                  <a:gd name="T68" fmla="*/ 116 w 232"/>
                  <a:gd name="T69" fmla="*/ 233 h 262"/>
                  <a:gd name="T70" fmla="*/ 120 w 232"/>
                  <a:gd name="T71" fmla="*/ 217 h 262"/>
                  <a:gd name="T72" fmla="*/ 116 w 232"/>
                  <a:gd name="T73" fmla="*/ 202 h 262"/>
                  <a:gd name="T74" fmla="*/ 112 w 232"/>
                  <a:gd name="T75" fmla="*/ 193 h 262"/>
                  <a:gd name="T76" fmla="*/ 204 w 232"/>
                  <a:gd name="T77" fmla="*/ 182 h 262"/>
                  <a:gd name="T78" fmla="*/ 204 w 232"/>
                  <a:gd name="T79" fmla="*/ 182 h 262"/>
                  <a:gd name="T80" fmla="*/ 192 w 232"/>
                  <a:gd name="T81" fmla="*/ 171 h 262"/>
                  <a:gd name="T82" fmla="*/ 177 w 232"/>
                  <a:gd name="T83" fmla="*/ 166 h 262"/>
                  <a:gd name="T84" fmla="*/ 168 w 232"/>
                  <a:gd name="T85" fmla="*/ 165 h 262"/>
                  <a:gd name="T86" fmla="*/ 229 w 232"/>
                  <a:gd name="T87" fmla="*/ 66 h 262"/>
                  <a:gd name="T88" fmla="*/ 229 w 232"/>
                  <a:gd name="T89" fmla="*/ 66 h 262"/>
                  <a:gd name="T90" fmla="*/ 199 w 232"/>
                  <a:gd name="T91" fmla="*/ 79 h 262"/>
                  <a:gd name="T92" fmla="*/ 187 w 232"/>
                  <a:gd name="T93" fmla="*/ 90 h 262"/>
                  <a:gd name="T94" fmla="*/ 182 w 232"/>
                  <a:gd name="T95" fmla="*/ 97 h 262"/>
                  <a:gd name="T96" fmla="*/ 173 w 232"/>
                  <a:gd name="T97" fmla="*/ 98 h 262"/>
                  <a:gd name="T98" fmla="*/ 173 w 232"/>
                  <a:gd name="T99" fmla="*/ 98 h 262"/>
                  <a:gd name="T100" fmla="*/ 112 w 232"/>
                  <a:gd name="T101" fmla="*/ 33 h 262"/>
                  <a:gd name="T102" fmla="*/ 116 w 232"/>
                  <a:gd name="T103" fmla="*/ 49 h 262"/>
                  <a:gd name="T104" fmla="*/ 120 w 232"/>
                  <a:gd name="T105" fmla="*/ 57 h 262"/>
                  <a:gd name="T106" fmla="*/ 116 w 232"/>
                  <a:gd name="T107" fmla="*/ 65 h 262"/>
                  <a:gd name="T108" fmla="*/ 116 w 232"/>
                  <a:gd name="T109" fmla="*/ 65 h 262"/>
                  <a:gd name="T110" fmla="*/ 70 w 232"/>
                  <a:gd name="T111" fmla="*/ 131 h 262"/>
                  <a:gd name="T112" fmla="*/ 162 w 232"/>
                  <a:gd name="T113"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2" h="262">
                    <a:moveTo>
                      <a:pt x="116" y="80"/>
                    </a:moveTo>
                    <a:cubicBezTo>
                      <a:pt x="130" y="80"/>
                      <a:pt x="143" y="86"/>
                      <a:pt x="152" y="95"/>
                    </a:cubicBezTo>
                    <a:cubicBezTo>
                      <a:pt x="161" y="105"/>
                      <a:pt x="167" y="117"/>
                      <a:pt x="167" y="131"/>
                    </a:cubicBezTo>
                    <a:cubicBezTo>
                      <a:pt x="167" y="145"/>
                      <a:pt x="161" y="158"/>
                      <a:pt x="152" y="167"/>
                    </a:cubicBezTo>
                    <a:cubicBezTo>
                      <a:pt x="143" y="176"/>
                      <a:pt x="130" y="182"/>
                      <a:pt x="116" y="182"/>
                    </a:cubicBezTo>
                    <a:cubicBezTo>
                      <a:pt x="102" y="182"/>
                      <a:pt x="89" y="176"/>
                      <a:pt x="80" y="167"/>
                    </a:cubicBezTo>
                    <a:cubicBezTo>
                      <a:pt x="71" y="158"/>
                      <a:pt x="65" y="145"/>
                      <a:pt x="65" y="131"/>
                    </a:cubicBezTo>
                    <a:cubicBezTo>
                      <a:pt x="65" y="117"/>
                      <a:pt x="71" y="105"/>
                      <a:pt x="80" y="95"/>
                    </a:cubicBezTo>
                    <a:cubicBezTo>
                      <a:pt x="89" y="86"/>
                      <a:pt x="102" y="80"/>
                      <a:pt x="116" y="80"/>
                    </a:cubicBezTo>
                    <a:close/>
                    <a:moveTo>
                      <a:pt x="110" y="133"/>
                    </a:moveTo>
                    <a:cubicBezTo>
                      <a:pt x="75" y="133"/>
                      <a:pt x="75" y="133"/>
                      <a:pt x="75" y="133"/>
                    </a:cubicBezTo>
                    <a:cubicBezTo>
                      <a:pt x="75" y="141"/>
                      <a:pt x="77" y="149"/>
                      <a:pt x="82" y="155"/>
                    </a:cubicBezTo>
                    <a:lnTo>
                      <a:pt x="110" y="133"/>
                    </a:lnTo>
                    <a:close/>
                    <a:moveTo>
                      <a:pt x="153" y="150"/>
                    </a:moveTo>
                    <a:cubicBezTo>
                      <a:pt x="117" y="134"/>
                      <a:pt x="117" y="134"/>
                      <a:pt x="117" y="134"/>
                    </a:cubicBezTo>
                    <a:cubicBezTo>
                      <a:pt x="99" y="169"/>
                      <a:pt x="99" y="169"/>
                      <a:pt x="99" y="169"/>
                    </a:cubicBezTo>
                    <a:cubicBezTo>
                      <a:pt x="105" y="171"/>
                      <a:pt x="110" y="173"/>
                      <a:pt x="116" y="173"/>
                    </a:cubicBezTo>
                    <a:cubicBezTo>
                      <a:pt x="132" y="173"/>
                      <a:pt x="146" y="164"/>
                      <a:pt x="153" y="150"/>
                    </a:cubicBezTo>
                    <a:close/>
                    <a:moveTo>
                      <a:pt x="155" y="146"/>
                    </a:moveTo>
                    <a:cubicBezTo>
                      <a:pt x="159" y="136"/>
                      <a:pt x="158" y="124"/>
                      <a:pt x="153" y="113"/>
                    </a:cubicBezTo>
                    <a:cubicBezTo>
                      <a:pt x="143" y="93"/>
                      <a:pt x="119" y="84"/>
                      <a:pt x="98" y="94"/>
                    </a:cubicBezTo>
                    <a:cubicBezTo>
                      <a:pt x="84" y="101"/>
                      <a:pt x="75" y="114"/>
                      <a:pt x="75" y="130"/>
                    </a:cubicBezTo>
                    <a:cubicBezTo>
                      <a:pt x="116" y="129"/>
                      <a:pt x="116" y="129"/>
                      <a:pt x="116" y="129"/>
                    </a:cubicBezTo>
                    <a:lnTo>
                      <a:pt x="155" y="146"/>
                    </a:lnTo>
                    <a:close/>
                    <a:moveTo>
                      <a:pt x="96" y="168"/>
                    </a:moveTo>
                    <a:cubicBezTo>
                      <a:pt x="110" y="138"/>
                      <a:pt x="110" y="138"/>
                      <a:pt x="110" y="138"/>
                    </a:cubicBezTo>
                    <a:cubicBezTo>
                      <a:pt x="85" y="158"/>
                      <a:pt x="85" y="158"/>
                      <a:pt x="85" y="158"/>
                    </a:cubicBezTo>
                    <a:cubicBezTo>
                      <a:pt x="88" y="162"/>
                      <a:pt x="92" y="165"/>
                      <a:pt x="96" y="168"/>
                    </a:cubicBezTo>
                    <a:close/>
                    <a:moveTo>
                      <a:pt x="126" y="14"/>
                    </a:moveTo>
                    <a:cubicBezTo>
                      <a:pt x="169" y="39"/>
                      <a:pt x="169" y="39"/>
                      <a:pt x="169" y="39"/>
                    </a:cubicBezTo>
                    <a:cubicBezTo>
                      <a:pt x="212" y="64"/>
                      <a:pt x="212" y="64"/>
                      <a:pt x="212" y="64"/>
                    </a:cubicBezTo>
                    <a:cubicBezTo>
                      <a:pt x="212" y="65"/>
                      <a:pt x="211" y="66"/>
                      <a:pt x="211" y="67"/>
                    </a:cubicBezTo>
                    <a:cubicBezTo>
                      <a:pt x="168" y="42"/>
                      <a:pt x="168" y="42"/>
                      <a:pt x="168" y="42"/>
                    </a:cubicBezTo>
                    <a:cubicBezTo>
                      <a:pt x="124" y="17"/>
                      <a:pt x="124" y="17"/>
                      <a:pt x="124" y="17"/>
                    </a:cubicBezTo>
                    <a:cubicBezTo>
                      <a:pt x="125" y="16"/>
                      <a:pt x="125" y="15"/>
                      <a:pt x="126" y="14"/>
                    </a:cubicBezTo>
                    <a:close/>
                    <a:moveTo>
                      <a:pt x="107" y="17"/>
                    </a:moveTo>
                    <a:cubicBezTo>
                      <a:pt x="64" y="42"/>
                      <a:pt x="64" y="42"/>
                      <a:pt x="64" y="42"/>
                    </a:cubicBezTo>
                    <a:cubicBezTo>
                      <a:pt x="21" y="67"/>
                      <a:pt x="21" y="67"/>
                      <a:pt x="21" y="67"/>
                    </a:cubicBezTo>
                    <a:cubicBezTo>
                      <a:pt x="21" y="66"/>
                      <a:pt x="20" y="65"/>
                      <a:pt x="20" y="64"/>
                    </a:cubicBezTo>
                    <a:cubicBezTo>
                      <a:pt x="63" y="39"/>
                      <a:pt x="63" y="39"/>
                      <a:pt x="63" y="39"/>
                    </a:cubicBezTo>
                    <a:cubicBezTo>
                      <a:pt x="106" y="14"/>
                      <a:pt x="106" y="14"/>
                      <a:pt x="106" y="14"/>
                    </a:cubicBezTo>
                    <a:cubicBezTo>
                      <a:pt x="106" y="15"/>
                      <a:pt x="107" y="16"/>
                      <a:pt x="107" y="17"/>
                    </a:cubicBezTo>
                    <a:close/>
                    <a:moveTo>
                      <a:pt x="13" y="81"/>
                    </a:moveTo>
                    <a:cubicBezTo>
                      <a:pt x="13" y="131"/>
                      <a:pt x="13" y="131"/>
                      <a:pt x="13" y="131"/>
                    </a:cubicBezTo>
                    <a:cubicBezTo>
                      <a:pt x="13" y="181"/>
                      <a:pt x="13" y="181"/>
                      <a:pt x="13" y="181"/>
                    </a:cubicBezTo>
                    <a:cubicBezTo>
                      <a:pt x="12" y="181"/>
                      <a:pt x="11" y="181"/>
                      <a:pt x="10" y="181"/>
                    </a:cubicBezTo>
                    <a:cubicBezTo>
                      <a:pt x="10" y="131"/>
                      <a:pt x="10" y="131"/>
                      <a:pt x="10" y="131"/>
                    </a:cubicBezTo>
                    <a:cubicBezTo>
                      <a:pt x="10" y="81"/>
                      <a:pt x="10" y="81"/>
                      <a:pt x="10" y="81"/>
                    </a:cubicBezTo>
                    <a:cubicBezTo>
                      <a:pt x="11" y="81"/>
                      <a:pt x="12" y="81"/>
                      <a:pt x="13" y="81"/>
                    </a:cubicBezTo>
                    <a:close/>
                    <a:moveTo>
                      <a:pt x="21" y="196"/>
                    </a:moveTo>
                    <a:cubicBezTo>
                      <a:pt x="64" y="221"/>
                      <a:pt x="64" y="221"/>
                      <a:pt x="64" y="221"/>
                    </a:cubicBezTo>
                    <a:cubicBezTo>
                      <a:pt x="107" y="245"/>
                      <a:pt x="107" y="245"/>
                      <a:pt x="107" y="245"/>
                    </a:cubicBezTo>
                    <a:cubicBezTo>
                      <a:pt x="107" y="246"/>
                      <a:pt x="106" y="247"/>
                      <a:pt x="106" y="248"/>
                    </a:cubicBezTo>
                    <a:cubicBezTo>
                      <a:pt x="63" y="223"/>
                      <a:pt x="63" y="223"/>
                      <a:pt x="63" y="223"/>
                    </a:cubicBezTo>
                    <a:cubicBezTo>
                      <a:pt x="20" y="198"/>
                      <a:pt x="20" y="198"/>
                      <a:pt x="20" y="198"/>
                    </a:cubicBezTo>
                    <a:cubicBezTo>
                      <a:pt x="20" y="197"/>
                      <a:pt x="21" y="197"/>
                      <a:pt x="21" y="196"/>
                    </a:cubicBezTo>
                    <a:close/>
                    <a:moveTo>
                      <a:pt x="124" y="245"/>
                    </a:moveTo>
                    <a:cubicBezTo>
                      <a:pt x="168" y="221"/>
                      <a:pt x="168" y="221"/>
                      <a:pt x="168" y="221"/>
                    </a:cubicBezTo>
                    <a:cubicBezTo>
                      <a:pt x="211" y="196"/>
                      <a:pt x="211" y="196"/>
                      <a:pt x="211" y="196"/>
                    </a:cubicBezTo>
                    <a:cubicBezTo>
                      <a:pt x="211" y="197"/>
                      <a:pt x="212" y="197"/>
                      <a:pt x="212" y="198"/>
                    </a:cubicBezTo>
                    <a:cubicBezTo>
                      <a:pt x="169" y="223"/>
                      <a:pt x="169" y="223"/>
                      <a:pt x="169" y="223"/>
                    </a:cubicBezTo>
                    <a:cubicBezTo>
                      <a:pt x="126" y="248"/>
                      <a:pt x="126" y="248"/>
                      <a:pt x="126" y="248"/>
                    </a:cubicBezTo>
                    <a:cubicBezTo>
                      <a:pt x="125" y="247"/>
                      <a:pt x="125" y="246"/>
                      <a:pt x="124" y="245"/>
                    </a:cubicBezTo>
                    <a:close/>
                    <a:moveTo>
                      <a:pt x="219" y="181"/>
                    </a:moveTo>
                    <a:cubicBezTo>
                      <a:pt x="219" y="131"/>
                      <a:pt x="219" y="131"/>
                      <a:pt x="219" y="131"/>
                    </a:cubicBezTo>
                    <a:cubicBezTo>
                      <a:pt x="219" y="81"/>
                      <a:pt x="219" y="81"/>
                      <a:pt x="219" y="81"/>
                    </a:cubicBezTo>
                    <a:cubicBezTo>
                      <a:pt x="220" y="81"/>
                      <a:pt x="221" y="81"/>
                      <a:pt x="222" y="81"/>
                    </a:cubicBezTo>
                    <a:cubicBezTo>
                      <a:pt x="222" y="131"/>
                      <a:pt x="222" y="131"/>
                      <a:pt x="222" y="131"/>
                    </a:cubicBezTo>
                    <a:cubicBezTo>
                      <a:pt x="222" y="181"/>
                      <a:pt x="222" y="181"/>
                      <a:pt x="222" y="181"/>
                    </a:cubicBezTo>
                    <a:cubicBezTo>
                      <a:pt x="221" y="181"/>
                      <a:pt x="220" y="181"/>
                      <a:pt x="219" y="181"/>
                    </a:cubicBezTo>
                    <a:close/>
                    <a:moveTo>
                      <a:pt x="116" y="0"/>
                    </a:moveTo>
                    <a:cubicBezTo>
                      <a:pt x="122" y="0"/>
                      <a:pt x="126" y="5"/>
                      <a:pt x="126" y="11"/>
                    </a:cubicBezTo>
                    <a:cubicBezTo>
                      <a:pt x="126" y="16"/>
                      <a:pt x="122" y="21"/>
                      <a:pt x="116" y="21"/>
                    </a:cubicBezTo>
                    <a:cubicBezTo>
                      <a:pt x="110" y="21"/>
                      <a:pt x="106" y="16"/>
                      <a:pt x="106" y="11"/>
                    </a:cubicBezTo>
                    <a:cubicBezTo>
                      <a:pt x="106" y="5"/>
                      <a:pt x="110" y="0"/>
                      <a:pt x="116" y="0"/>
                    </a:cubicBezTo>
                    <a:close/>
                    <a:moveTo>
                      <a:pt x="229" y="197"/>
                    </a:moveTo>
                    <a:cubicBezTo>
                      <a:pt x="227" y="202"/>
                      <a:pt x="220" y="203"/>
                      <a:pt x="215" y="201"/>
                    </a:cubicBezTo>
                    <a:cubicBezTo>
                      <a:pt x="210" y="198"/>
                      <a:pt x="209" y="191"/>
                      <a:pt x="212" y="186"/>
                    </a:cubicBezTo>
                    <a:cubicBezTo>
                      <a:pt x="214" y="181"/>
                      <a:pt x="221" y="180"/>
                      <a:pt x="226" y="183"/>
                    </a:cubicBezTo>
                    <a:cubicBezTo>
                      <a:pt x="231" y="185"/>
                      <a:pt x="232" y="192"/>
                      <a:pt x="229" y="197"/>
                    </a:cubicBezTo>
                    <a:close/>
                    <a:moveTo>
                      <a:pt x="116" y="262"/>
                    </a:moveTo>
                    <a:cubicBezTo>
                      <a:pt x="110" y="262"/>
                      <a:pt x="106" y="258"/>
                      <a:pt x="106" y="252"/>
                    </a:cubicBezTo>
                    <a:cubicBezTo>
                      <a:pt x="106" y="246"/>
                      <a:pt x="110" y="241"/>
                      <a:pt x="116" y="241"/>
                    </a:cubicBezTo>
                    <a:cubicBezTo>
                      <a:pt x="122" y="241"/>
                      <a:pt x="126" y="246"/>
                      <a:pt x="126" y="252"/>
                    </a:cubicBezTo>
                    <a:cubicBezTo>
                      <a:pt x="126" y="258"/>
                      <a:pt x="122" y="262"/>
                      <a:pt x="116" y="262"/>
                    </a:cubicBezTo>
                    <a:close/>
                    <a:moveTo>
                      <a:pt x="2" y="197"/>
                    </a:moveTo>
                    <a:cubicBezTo>
                      <a:pt x="0" y="192"/>
                      <a:pt x="1" y="185"/>
                      <a:pt x="6" y="183"/>
                    </a:cubicBezTo>
                    <a:cubicBezTo>
                      <a:pt x="11" y="180"/>
                      <a:pt x="18" y="181"/>
                      <a:pt x="20" y="186"/>
                    </a:cubicBezTo>
                    <a:cubicBezTo>
                      <a:pt x="23" y="191"/>
                      <a:pt x="22" y="198"/>
                      <a:pt x="17" y="201"/>
                    </a:cubicBezTo>
                    <a:cubicBezTo>
                      <a:pt x="12" y="203"/>
                      <a:pt x="5" y="202"/>
                      <a:pt x="2" y="197"/>
                    </a:cubicBezTo>
                    <a:close/>
                    <a:moveTo>
                      <a:pt x="2" y="66"/>
                    </a:moveTo>
                    <a:cubicBezTo>
                      <a:pt x="5" y="61"/>
                      <a:pt x="12" y="59"/>
                      <a:pt x="17" y="62"/>
                    </a:cubicBezTo>
                    <a:cubicBezTo>
                      <a:pt x="22" y="65"/>
                      <a:pt x="23" y="71"/>
                      <a:pt x="20" y="76"/>
                    </a:cubicBezTo>
                    <a:cubicBezTo>
                      <a:pt x="18" y="81"/>
                      <a:pt x="11" y="83"/>
                      <a:pt x="6" y="80"/>
                    </a:cubicBezTo>
                    <a:cubicBezTo>
                      <a:pt x="1" y="77"/>
                      <a:pt x="0" y="71"/>
                      <a:pt x="2" y="66"/>
                    </a:cubicBezTo>
                    <a:close/>
                    <a:moveTo>
                      <a:pt x="28" y="80"/>
                    </a:moveTo>
                    <a:cubicBezTo>
                      <a:pt x="29" y="79"/>
                      <a:pt x="31" y="78"/>
                      <a:pt x="33" y="79"/>
                    </a:cubicBezTo>
                    <a:cubicBezTo>
                      <a:pt x="34" y="80"/>
                      <a:pt x="35" y="82"/>
                      <a:pt x="34" y="84"/>
                    </a:cubicBezTo>
                    <a:cubicBezTo>
                      <a:pt x="33" y="86"/>
                      <a:pt x="31" y="86"/>
                      <a:pt x="29" y="85"/>
                    </a:cubicBezTo>
                    <a:cubicBezTo>
                      <a:pt x="27" y="84"/>
                      <a:pt x="27" y="82"/>
                      <a:pt x="28" y="80"/>
                    </a:cubicBezTo>
                    <a:close/>
                    <a:moveTo>
                      <a:pt x="38" y="86"/>
                    </a:moveTo>
                    <a:cubicBezTo>
                      <a:pt x="39" y="85"/>
                      <a:pt x="41" y="84"/>
                      <a:pt x="43" y="85"/>
                    </a:cubicBezTo>
                    <a:cubicBezTo>
                      <a:pt x="45" y="86"/>
                      <a:pt x="46" y="88"/>
                      <a:pt x="44" y="90"/>
                    </a:cubicBezTo>
                    <a:cubicBezTo>
                      <a:pt x="43" y="92"/>
                      <a:pt x="41" y="92"/>
                      <a:pt x="40" y="91"/>
                    </a:cubicBezTo>
                    <a:cubicBezTo>
                      <a:pt x="38" y="90"/>
                      <a:pt x="37" y="88"/>
                      <a:pt x="38" y="86"/>
                    </a:cubicBezTo>
                    <a:close/>
                    <a:moveTo>
                      <a:pt x="48" y="92"/>
                    </a:moveTo>
                    <a:cubicBezTo>
                      <a:pt x="50" y="91"/>
                      <a:pt x="52" y="90"/>
                      <a:pt x="54" y="91"/>
                    </a:cubicBezTo>
                    <a:cubicBezTo>
                      <a:pt x="55" y="92"/>
                      <a:pt x="56" y="94"/>
                      <a:pt x="55" y="96"/>
                    </a:cubicBezTo>
                    <a:cubicBezTo>
                      <a:pt x="54" y="98"/>
                      <a:pt x="52" y="98"/>
                      <a:pt x="50" y="97"/>
                    </a:cubicBezTo>
                    <a:cubicBezTo>
                      <a:pt x="48" y="96"/>
                      <a:pt x="48" y="94"/>
                      <a:pt x="48" y="92"/>
                    </a:cubicBezTo>
                    <a:close/>
                    <a:moveTo>
                      <a:pt x="59" y="98"/>
                    </a:moveTo>
                    <a:cubicBezTo>
                      <a:pt x="60" y="97"/>
                      <a:pt x="62" y="96"/>
                      <a:pt x="64" y="97"/>
                    </a:cubicBezTo>
                    <a:cubicBezTo>
                      <a:pt x="66" y="98"/>
                      <a:pt x="66" y="100"/>
                      <a:pt x="65" y="102"/>
                    </a:cubicBezTo>
                    <a:cubicBezTo>
                      <a:pt x="64" y="104"/>
                      <a:pt x="62" y="104"/>
                      <a:pt x="60" y="103"/>
                    </a:cubicBezTo>
                    <a:cubicBezTo>
                      <a:pt x="59" y="102"/>
                      <a:pt x="58" y="100"/>
                      <a:pt x="59" y="98"/>
                    </a:cubicBezTo>
                    <a:close/>
                    <a:moveTo>
                      <a:pt x="28" y="182"/>
                    </a:moveTo>
                    <a:cubicBezTo>
                      <a:pt x="27" y="180"/>
                      <a:pt x="27" y="178"/>
                      <a:pt x="29" y="177"/>
                    </a:cubicBezTo>
                    <a:cubicBezTo>
                      <a:pt x="31" y="176"/>
                      <a:pt x="33" y="177"/>
                      <a:pt x="34" y="178"/>
                    </a:cubicBezTo>
                    <a:cubicBezTo>
                      <a:pt x="35" y="180"/>
                      <a:pt x="34" y="182"/>
                      <a:pt x="33" y="183"/>
                    </a:cubicBezTo>
                    <a:cubicBezTo>
                      <a:pt x="31" y="184"/>
                      <a:pt x="29" y="184"/>
                      <a:pt x="28" y="182"/>
                    </a:cubicBezTo>
                    <a:close/>
                    <a:moveTo>
                      <a:pt x="38" y="176"/>
                    </a:moveTo>
                    <a:cubicBezTo>
                      <a:pt x="37" y="174"/>
                      <a:pt x="38" y="172"/>
                      <a:pt x="40" y="171"/>
                    </a:cubicBezTo>
                    <a:cubicBezTo>
                      <a:pt x="41" y="170"/>
                      <a:pt x="43" y="171"/>
                      <a:pt x="44" y="172"/>
                    </a:cubicBezTo>
                    <a:cubicBezTo>
                      <a:pt x="46" y="174"/>
                      <a:pt x="45" y="176"/>
                      <a:pt x="43" y="177"/>
                    </a:cubicBezTo>
                    <a:cubicBezTo>
                      <a:pt x="41" y="178"/>
                      <a:pt x="39" y="178"/>
                      <a:pt x="38" y="176"/>
                    </a:cubicBezTo>
                    <a:close/>
                    <a:moveTo>
                      <a:pt x="48" y="170"/>
                    </a:moveTo>
                    <a:cubicBezTo>
                      <a:pt x="48" y="168"/>
                      <a:pt x="48" y="166"/>
                      <a:pt x="50" y="165"/>
                    </a:cubicBezTo>
                    <a:cubicBezTo>
                      <a:pt x="52" y="164"/>
                      <a:pt x="54" y="165"/>
                      <a:pt x="55" y="166"/>
                    </a:cubicBezTo>
                    <a:cubicBezTo>
                      <a:pt x="56" y="168"/>
                      <a:pt x="55" y="170"/>
                      <a:pt x="54" y="171"/>
                    </a:cubicBezTo>
                    <a:cubicBezTo>
                      <a:pt x="52" y="172"/>
                      <a:pt x="50" y="172"/>
                      <a:pt x="48" y="170"/>
                    </a:cubicBezTo>
                    <a:close/>
                    <a:moveTo>
                      <a:pt x="59" y="164"/>
                    </a:moveTo>
                    <a:cubicBezTo>
                      <a:pt x="58" y="162"/>
                      <a:pt x="59" y="160"/>
                      <a:pt x="60" y="159"/>
                    </a:cubicBezTo>
                    <a:cubicBezTo>
                      <a:pt x="62" y="158"/>
                      <a:pt x="64" y="159"/>
                      <a:pt x="65" y="161"/>
                    </a:cubicBezTo>
                    <a:cubicBezTo>
                      <a:pt x="66" y="162"/>
                      <a:pt x="66" y="164"/>
                      <a:pt x="64" y="165"/>
                    </a:cubicBezTo>
                    <a:cubicBezTo>
                      <a:pt x="62" y="166"/>
                      <a:pt x="60" y="166"/>
                      <a:pt x="59" y="164"/>
                    </a:cubicBezTo>
                    <a:close/>
                    <a:moveTo>
                      <a:pt x="116" y="233"/>
                    </a:moveTo>
                    <a:cubicBezTo>
                      <a:pt x="114" y="233"/>
                      <a:pt x="112" y="231"/>
                      <a:pt x="112" y="229"/>
                    </a:cubicBezTo>
                    <a:cubicBezTo>
                      <a:pt x="112" y="227"/>
                      <a:pt x="114" y="226"/>
                      <a:pt x="116" y="226"/>
                    </a:cubicBezTo>
                    <a:cubicBezTo>
                      <a:pt x="118" y="226"/>
                      <a:pt x="120" y="227"/>
                      <a:pt x="120" y="229"/>
                    </a:cubicBezTo>
                    <a:cubicBezTo>
                      <a:pt x="120" y="231"/>
                      <a:pt x="118" y="233"/>
                      <a:pt x="116" y="233"/>
                    </a:cubicBezTo>
                    <a:close/>
                    <a:moveTo>
                      <a:pt x="116" y="221"/>
                    </a:moveTo>
                    <a:cubicBezTo>
                      <a:pt x="114" y="221"/>
                      <a:pt x="112" y="219"/>
                      <a:pt x="112" y="217"/>
                    </a:cubicBezTo>
                    <a:cubicBezTo>
                      <a:pt x="112" y="215"/>
                      <a:pt x="114" y="214"/>
                      <a:pt x="116" y="214"/>
                    </a:cubicBezTo>
                    <a:cubicBezTo>
                      <a:pt x="118" y="214"/>
                      <a:pt x="120" y="215"/>
                      <a:pt x="120" y="217"/>
                    </a:cubicBezTo>
                    <a:cubicBezTo>
                      <a:pt x="120" y="219"/>
                      <a:pt x="118" y="221"/>
                      <a:pt x="116" y="221"/>
                    </a:cubicBezTo>
                    <a:close/>
                    <a:moveTo>
                      <a:pt x="116" y="209"/>
                    </a:moveTo>
                    <a:cubicBezTo>
                      <a:pt x="114" y="209"/>
                      <a:pt x="112" y="207"/>
                      <a:pt x="112" y="205"/>
                    </a:cubicBezTo>
                    <a:cubicBezTo>
                      <a:pt x="112" y="203"/>
                      <a:pt x="114" y="202"/>
                      <a:pt x="116" y="202"/>
                    </a:cubicBezTo>
                    <a:cubicBezTo>
                      <a:pt x="118" y="202"/>
                      <a:pt x="120" y="203"/>
                      <a:pt x="120" y="205"/>
                    </a:cubicBezTo>
                    <a:cubicBezTo>
                      <a:pt x="120" y="207"/>
                      <a:pt x="118" y="209"/>
                      <a:pt x="116" y="209"/>
                    </a:cubicBezTo>
                    <a:close/>
                    <a:moveTo>
                      <a:pt x="116" y="197"/>
                    </a:moveTo>
                    <a:cubicBezTo>
                      <a:pt x="114" y="197"/>
                      <a:pt x="112" y="195"/>
                      <a:pt x="112" y="193"/>
                    </a:cubicBezTo>
                    <a:cubicBezTo>
                      <a:pt x="112" y="191"/>
                      <a:pt x="114" y="190"/>
                      <a:pt x="116" y="190"/>
                    </a:cubicBezTo>
                    <a:cubicBezTo>
                      <a:pt x="118" y="190"/>
                      <a:pt x="120" y="191"/>
                      <a:pt x="120" y="193"/>
                    </a:cubicBezTo>
                    <a:cubicBezTo>
                      <a:pt x="120" y="195"/>
                      <a:pt x="118" y="197"/>
                      <a:pt x="116" y="197"/>
                    </a:cubicBezTo>
                    <a:close/>
                    <a:moveTo>
                      <a:pt x="204" y="182"/>
                    </a:moveTo>
                    <a:cubicBezTo>
                      <a:pt x="203" y="184"/>
                      <a:pt x="201" y="184"/>
                      <a:pt x="199" y="183"/>
                    </a:cubicBezTo>
                    <a:cubicBezTo>
                      <a:pt x="197" y="182"/>
                      <a:pt x="197" y="180"/>
                      <a:pt x="198" y="178"/>
                    </a:cubicBezTo>
                    <a:cubicBezTo>
                      <a:pt x="199" y="177"/>
                      <a:pt x="201" y="176"/>
                      <a:pt x="203" y="177"/>
                    </a:cubicBezTo>
                    <a:cubicBezTo>
                      <a:pt x="204" y="178"/>
                      <a:pt x="205" y="180"/>
                      <a:pt x="204" y="182"/>
                    </a:cubicBezTo>
                    <a:close/>
                    <a:moveTo>
                      <a:pt x="194" y="176"/>
                    </a:moveTo>
                    <a:cubicBezTo>
                      <a:pt x="193" y="178"/>
                      <a:pt x="191" y="178"/>
                      <a:pt x="189" y="177"/>
                    </a:cubicBezTo>
                    <a:cubicBezTo>
                      <a:pt x="187" y="176"/>
                      <a:pt x="186" y="174"/>
                      <a:pt x="187" y="172"/>
                    </a:cubicBezTo>
                    <a:cubicBezTo>
                      <a:pt x="188" y="171"/>
                      <a:pt x="191" y="170"/>
                      <a:pt x="192" y="171"/>
                    </a:cubicBezTo>
                    <a:cubicBezTo>
                      <a:pt x="194" y="172"/>
                      <a:pt x="195" y="174"/>
                      <a:pt x="194" y="176"/>
                    </a:cubicBezTo>
                    <a:close/>
                    <a:moveTo>
                      <a:pt x="183" y="170"/>
                    </a:moveTo>
                    <a:cubicBezTo>
                      <a:pt x="182" y="172"/>
                      <a:pt x="180" y="172"/>
                      <a:pt x="178" y="171"/>
                    </a:cubicBezTo>
                    <a:cubicBezTo>
                      <a:pt x="177" y="170"/>
                      <a:pt x="176" y="168"/>
                      <a:pt x="177" y="166"/>
                    </a:cubicBezTo>
                    <a:cubicBezTo>
                      <a:pt x="178" y="165"/>
                      <a:pt x="180" y="164"/>
                      <a:pt x="182" y="165"/>
                    </a:cubicBezTo>
                    <a:cubicBezTo>
                      <a:pt x="184" y="166"/>
                      <a:pt x="184" y="168"/>
                      <a:pt x="183" y="170"/>
                    </a:cubicBezTo>
                    <a:close/>
                    <a:moveTo>
                      <a:pt x="173" y="164"/>
                    </a:moveTo>
                    <a:cubicBezTo>
                      <a:pt x="172" y="166"/>
                      <a:pt x="170" y="166"/>
                      <a:pt x="168" y="165"/>
                    </a:cubicBezTo>
                    <a:cubicBezTo>
                      <a:pt x="166" y="164"/>
                      <a:pt x="166" y="162"/>
                      <a:pt x="167" y="161"/>
                    </a:cubicBezTo>
                    <a:cubicBezTo>
                      <a:pt x="168" y="159"/>
                      <a:pt x="170" y="158"/>
                      <a:pt x="172" y="159"/>
                    </a:cubicBezTo>
                    <a:cubicBezTo>
                      <a:pt x="173" y="160"/>
                      <a:pt x="174" y="162"/>
                      <a:pt x="173" y="164"/>
                    </a:cubicBezTo>
                    <a:close/>
                    <a:moveTo>
                      <a:pt x="229" y="66"/>
                    </a:moveTo>
                    <a:cubicBezTo>
                      <a:pt x="232" y="71"/>
                      <a:pt x="231" y="77"/>
                      <a:pt x="226" y="80"/>
                    </a:cubicBezTo>
                    <a:cubicBezTo>
                      <a:pt x="221" y="83"/>
                      <a:pt x="214" y="81"/>
                      <a:pt x="212" y="76"/>
                    </a:cubicBezTo>
                    <a:cubicBezTo>
                      <a:pt x="209" y="71"/>
                      <a:pt x="210" y="65"/>
                      <a:pt x="215" y="62"/>
                    </a:cubicBezTo>
                    <a:cubicBezTo>
                      <a:pt x="220" y="59"/>
                      <a:pt x="227" y="61"/>
                      <a:pt x="229" y="66"/>
                    </a:cubicBezTo>
                    <a:close/>
                    <a:moveTo>
                      <a:pt x="204" y="80"/>
                    </a:moveTo>
                    <a:cubicBezTo>
                      <a:pt x="205" y="82"/>
                      <a:pt x="204" y="84"/>
                      <a:pt x="203" y="85"/>
                    </a:cubicBezTo>
                    <a:cubicBezTo>
                      <a:pt x="201" y="86"/>
                      <a:pt x="199" y="86"/>
                      <a:pt x="198" y="84"/>
                    </a:cubicBezTo>
                    <a:cubicBezTo>
                      <a:pt x="197" y="82"/>
                      <a:pt x="197" y="80"/>
                      <a:pt x="199" y="79"/>
                    </a:cubicBezTo>
                    <a:cubicBezTo>
                      <a:pt x="201" y="78"/>
                      <a:pt x="203" y="79"/>
                      <a:pt x="204" y="80"/>
                    </a:cubicBezTo>
                    <a:close/>
                    <a:moveTo>
                      <a:pt x="194" y="86"/>
                    </a:moveTo>
                    <a:cubicBezTo>
                      <a:pt x="195" y="88"/>
                      <a:pt x="194" y="90"/>
                      <a:pt x="192" y="91"/>
                    </a:cubicBezTo>
                    <a:cubicBezTo>
                      <a:pt x="191" y="92"/>
                      <a:pt x="188" y="92"/>
                      <a:pt x="187" y="90"/>
                    </a:cubicBezTo>
                    <a:cubicBezTo>
                      <a:pt x="186" y="88"/>
                      <a:pt x="187" y="86"/>
                      <a:pt x="189" y="85"/>
                    </a:cubicBezTo>
                    <a:cubicBezTo>
                      <a:pt x="191" y="84"/>
                      <a:pt x="193" y="85"/>
                      <a:pt x="194" y="86"/>
                    </a:cubicBezTo>
                    <a:close/>
                    <a:moveTo>
                      <a:pt x="183" y="92"/>
                    </a:moveTo>
                    <a:cubicBezTo>
                      <a:pt x="184" y="94"/>
                      <a:pt x="184" y="96"/>
                      <a:pt x="182" y="97"/>
                    </a:cubicBezTo>
                    <a:cubicBezTo>
                      <a:pt x="180" y="98"/>
                      <a:pt x="178" y="98"/>
                      <a:pt x="177" y="96"/>
                    </a:cubicBezTo>
                    <a:cubicBezTo>
                      <a:pt x="176" y="94"/>
                      <a:pt x="177" y="92"/>
                      <a:pt x="178" y="91"/>
                    </a:cubicBezTo>
                    <a:cubicBezTo>
                      <a:pt x="180" y="90"/>
                      <a:pt x="182" y="91"/>
                      <a:pt x="183" y="92"/>
                    </a:cubicBezTo>
                    <a:close/>
                    <a:moveTo>
                      <a:pt x="173" y="98"/>
                    </a:moveTo>
                    <a:cubicBezTo>
                      <a:pt x="174" y="100"/>
                      <a:pt x="173" y="102"/>
                      <a:pt x="172" y="103"/>
                    </a:cubicBezTo>
                    <a:cubicBezTo>
                      <a:pt x="170" y="104"/>
                      <a:pt x="168" y="104"/>
                      <a:pt x="167" y="102"/>
                    </a:cubicBezTo>
                    <a:cubicBezTo>
                      <a:pt x="166" y="100"/>
                      <a:pt x="166" y="98"/>
                      <a:pt x="168" y="97"/>
                    </a:cubicBezTo>
                    <a:cubicBezTo>
                      <a:pt x="170" y="96"/>
                      <a:pt x="172" y="97"/>
                      <a:pt x="173" y="98"/>
                    </a:cubicBezTo>
                    <a:close/>
                    <a:moveTo>
                      <a:pt x="116" y="30"/>
                    </a:moveTo>
                    <a:cubicBezTo>
                      <a:pt x="118" y="30"/>
                      <a:pt x="120" y="31"/>
                      <a:pt x="120" y="33"/>
                    </a:cubicBezTo>
                    <a:cubicBezTo>
                      <a:pt x="120" y="35"/>
                      <a:pt x="118" y="37"/>
                      <a:pt x="116" y="37"/>
                    </a:cubicBezTo>
                    <a:cubicBezTo>
                      <a:pt x="114" y="37"/>
                      <a:pt x="112" y="35"/>
                      <a:pt x="112" y="33"/>
                    </a:cubicBezTo>
                    <a:cubicBezTo>
                      <a:pt x="112" y="31"/>
                      <a:pt x="114" y="30"/>
                      <a:pt x="116" y="30"/>
                    </a:cubicBezTo>
                    <a:close/>
                    <a:moveTo>
                      <a:pt x="116" y="41"/>
                    </a:moveTo>
                    <a:cubicBezTo>
                      <a:pt x="118" y="41"/>
                      <a:pt x="120" y="43"/>
                      <a:pt x="120" y="45"/>
                    </a:cubicBezTo>
                    <a:cubicBezTo>
                      <a:pt x="120" y="47"/>
                      <a:pt x="118" y="49"/>
                      <a:pt x="116" y="49"/>
                    </a:cubicBezTo>
                    <a:cubicBezTo>
                      <a:pt x="114" y="49"/>
                      <a:pt x="112" y="47"/>
                      <a:pt x="112" y="45"/>
                    </a:cubicBezTo>
                    <a:cubicBezTo>
                      <a:pt x="112" y="43"/>
                      <a:pt x="114" y="41"/>
                      <a:pt x="116" y="41"/>
                    </a:cubicBezTo>
                    <a:close/>
                    <a:moveTo>
                      <a:pt x="116" y="53"/>
                    </a:moveTo>
                    <a:cubicBezTo>
                      <a:pt x="118" y="53"/>
                      <a:pt x="120" y="55"/>
                      <a:pt x="120" y="57"/>
                    </a:cubicBezTo>
                    <a:cubicBezTo>
                      <a:pt x="120" y="59"/>
                      <a:pt x="118" y="61"/>
                      <a:pt x="116" y="61"/>
                    </a:cubicBezTo>
                    <a:cubicBezTo>
                      <a:pt x="114" y="61"/>
                      <a:pt x="112" y="59"/>
                      <a:pt x="112" y="57"/>
                    </a:cubicBezTo>
                    <a:cubicBezTo>
                      <a:pt x="112" y="55"/>
                      <a:pt x="114" y="53"/>
                      <a:pt x="116" y="53"/>
                    </a:cubicBezTo>
                    <a:close/>
                    <a:moveTo>
                      <a:pt x="116" y="65"/>
                    </a:moveTo>
                    <a:cubicBezTo>
                      <a:pt x="118" y="65"/>
                      <a:pt x="120" y="67"/>
                      <a:pt x="120" y="69"/>
                    </a:cubicBezTo>
                    <a:cubicBezTo>
                      <a:pt x="120" y="71"/>
                      <a:pt x="118" y="73"/>
                      <a:pt x="116" y="73"/>
                    </a:cubicBezTo>
                    <a:cubicBezTo>
                      <a:pt x="114" y="73"/>
                      <a:pt x="112" y="71"/>
                      <a:pt x="112" y="69"/>
                    </a:cubicBezTo>
                    <a:cubicBezTo>
                      <a:pt x="112" y="67"/>
                      <a:pt x="114" y="65"/>
                      <a:pt x="116" y="65"/>
                    </a:cubicBezTo>
                    <a:close/>
                    <a:moveTo>
                      <a:pt x="148" y="99"/>
                    </a:moveTo>
                    <a:cubicBezTo>
                      <a:pt x="140" y="91"/>
                      <a:pt x="129" y="86"/>
                      <a:pt x="116" y="86"/>
                    </a:cubicBezTo>
                    <a:cubicBezTo>
                      <a:pt x="103" y="86"/>
                      <a:pt x="92" y="91"/>
                      <a:pt x="84" y="99"/>
                    </a:cubicBezTo>
                    <a:cubicBezTo>
                      <a:pt x="75" y="107"/>
                      <a:pt x="70" y="119"/>
                      <a:pt x="70" y="131"/>
                    </a:cubicBezTo>
                    <a:cubicBezTo>
                      <a:pt x="70" y="144"/>
                      <a:pt x="75" y="155"/>
                      <a:pt x="84" y="163"/>
                    </a:cubicBezTo>
                    <a:cubicBezTo>
                      <a:pt x="92" y="172"/>
                      <a:pt x="103" y="177"/>
                      <a:pt x="116" y="177"/>
                    </a:cubicBezTo>
                    <a:cubicBezTo>
                      <a:pt x="129" y="177"/>
                      <a:pt x="140" y="172"/>
                      <a:pt x="148" y="163"/>
                    </a:cubicBezTo>
                    <a:cubicBezTo>
                      <a:pt x="157" y="155"/>
                      <a:pt x="162" y="144"/>
                      <a:pt x="162" y="131"/>
                    </a:cubicBezTo>
                    <a:cubicBezTo>
                      <a:pt x="162" y="119"/>
                      <a:pt x="157" y="107"/>
                      <a:pt x="148" y="99"/>
                    </a:cubicBezTo>
                    <a:close/>
                  </a:path>
                </a:pathLst>
              </a:custGeom>
              <a:solidFill>
                <a:sysClr val="window" lastClr="FFFFFF"/>
              </a:solidFill>
              <a:ln>
                <a:solidFill>
                  <a:schemeClr val="bg1">
                    <a:lumMod val="85000"/>
                  </a:schemeClr>
                </a:solid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black"/>
                  </a:solidFill>
                  <a:effectLst/>
                  <a:uLnTx/>
                  <a:uFillTx/>
                  <a:cs typeface="+mn-ea"/>
                  <a:sym typeface="+mn-lt"/>
                </a:endParaRPr>
              </a:p>
            </p:txBody>
          </p:sp>
        </p:grpSp>
      </p:grpSp>
      <p:grpSp>
        <p:nvGrpSpPr>
          <p:cNvPr id="185" name="组合 184"/>
          <p:cNvGrpSpPr/>
          <p:nvPr/>
        </p:nvGrpSpPr>
        <p:grpSpPr>
          <a:xfrm>
            <a:off x="3032629" y="1035653"/>
            <a:ext cx="308094" cy="300488"/>
            <a:chOff x="2188278" y="2076525"/>
            <a:chExt cx="315070" cy="318178"/>
          </a:xfrm>
          <a:solidFill>
            <a:sysClr val="window" lastClr="FFFFFF">
              <a:lumMod val="50000"/>
            </a:sysClr>
          </a:solidFill>
        </p:grpSpPr>
        <p:sp>
          <p:nvSpPr>
            <p:cNvPr id="186" name="燕尾形 185"/>
            <p:cNvSpPr/>
            <p:nvPr/>
          </p:nvSpPr>
          <p:spPr>
            <a:xfrm>
              <a:off x="2308479" y="2076525"/>
              <a:ext cx="194869" cy="318178"/>
            </a:xfrm>
            <a:prstGeom prst="chevron">
              <a:avLst>
                <a:gd name="adj" fmla="val 42848"/>
              </a:avLst>
            </a:prstGeom>
            <a:grpFill/>
            <a:ln w="28575" cap="rnd"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1" i="0" u="none" strike="noStrike" kern="0" cap="none" spc="0" normalizeH="0" baseline="0" noProof="0" dirty="0" smtClean="0">
                <a:ln>
                  <a:noFill/>
                </a:ln>
                <a:effectLst/>
                <a:uLnTx/>
                <a:uFillTx/>
                <a:latin typeface="Arial" panose="020B0604020202020204"/>
                <a:ea typeface="华文楷体" panose="02010600040101010101" charset="-122"/>
                <a:cs typeface="+mn-ea"/>
                <a:sym typeface="+mn-lt"/>
              </a:endParaRPr>
            </a:p>
          </p:txBody>
        </p:sp>
        <p:sp>
          <p:nvSpPr>
            <p:cNvPr id="187" name="燕尾形 186"/>
            <p:cNvSpPr/>
            <p:nvPr/>
          </p:nvSpPr>
          <p:spPr>
            <a:xfrm>
              <a:off x="2188278" y="2127433"/>
              <a:ext cx="137916" cy="216362"/>
            </a:xfrm>
            <a:prstGeom prst="chevron">
              <a:avLst>
                <a:gd name="adj" fmla="val 42848"/>
              </a:avLst>
            </a:prstGeom>
            <a:grpFill/>
            <a:ln w="28575" cap="rnd"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1" i="0" u="none" strike="noStrike" kern="0" cap="none" spc="0" normalizeH="0" baseline="0" noProof="0" dirty="0" smtClean="0">
                <a:ln>
                  <a:noFill/>
                </a:ln>
                <a:effectLst/>
                <a:uLnTx/>
                <a:uFillTx/>
                <a:latin typeface="Arial" panose="020B0604020202020204"/>
                <a:ea typeface="华文楷体" panose="02010600040101010101" charset="-122"/>
                <a:cs typeface="+mn-ea"/>
                <a:sym typeface="+mn-lt"/>
              </a:endParaRPr>
            </a:p>
          </p:txBody>
        </p:sp>
      </p:grpSp>
      <p:grpSp>
        <p:nvGrpSpPr>
          <p:cNvPr id="188" name="组合 187"/>
          <p:cNvGrpSpPr/>
          <p:nvPr/>
        </p:nvGrpSpPr>
        <p:grpSpPr>
          <a:xfrm>
            <a:off x="7322360" y="1035653"/>
            <a:ext cx="308094" cy="300488"/>
            <a:chOff x="2188278" y="2076525"/>
            <a:chExt cx="315070" cy="318178"/>
          </a:xfrm>
          <a:solidFill>
            <a:sysClr val="window" lastClr="FFFFFF">
              <a:lumMod val="50000"/>
            </a:sysClr>
          </a:solidFill>
        </p:grpSpPr>
        <p:sp>
          <p:nvSpPr>
            <p:cNvPr id="189" name="燕尾形 188"/>
            <p:cNvSpPr/>
            <p:nvPr/>
          </p:nvSpPr>
          <p:spPr>
            <a:xfrm>
              <a:off x="2308479" y="2076525"/>
              <a:ext cx="194869" cy="318178"/>
            </a:xfrm>
            <a:prstGeom prst="chevron">
              <a:avLst>
                <a:gd name="adj" fmla="val 42848"/>
              </a:avLst>
            </a:prstGeom>
            <a:grpFill/>
            <a:ln w="9525" cap="rnd"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effectLst/>
                <a:uLnTx/>
                <a:uFillTx/>
                <a:latin typeface="Arial" panose="020B0604020202020204"/>
                <a:ea typeface="华文楷体" panose="02010600040101010101" charset="-122"/>
                <a:cs typeface="+mn-ea"/>
                <a:sym typeface="+mn-lt"/>
              </a:endParaRPr>
            </a:p>
          </p:txBody>
        </p:sp>
        <p:sp>
          <p:nvSpPr>
            <p:cNvPr id="190" name="燕尾形 189"/>
            <p:cNvSpPr/>
            <p:nvPr/>
          </p:nvSpPr>
          <p:spPr>
            <a:xfrm>
              <a:off x="2188278" y="2127433"/>
              <a:ext cx="137916" cy="216362"/>
            </a:xfrm>
            <a:prstGeom prst="chevron">
              <a:avLst>
                <a:gd name="adj" fmla="val 42848"/>
              </a:avLst>
            </a:prstGeom>
            <a:grpFill/>
            <a:ln w="9525" cap="rnd"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effectLst/>
                <a:uLnTx/>
                <a:uFillTx/>
                <a:latin typeface="Arial" panose="020B0604020202020204"/>
                <a:ea typeface="华文楷体" panose="02010600040101010101" charset="-122"/>
                <a:cs typeface="+mn-ea"/>
                <a:sym typeface="+mn-lt"/>
              </a:endParaRPr>
            </a:p>
          </p:txBody>
        </p:sp>
      </p:grpSp>
      <p:sp>
        <p:nvSpPr>
          <p:cNvPr id="191" name="矩形 190"/>
          <p:cNvSpPr/>
          <p:nvPr/>
        </p:nvSpPr>
        <p:spPr>
          <a:xfrm>
            <a:off x="422867" y="998371"/>
            <a:ext cx="2481851" cy="397560"/>
          </a:xfrm>
          <a:prstGeom prst="rect">
            <a:avLst/>
          </a:prstGeom>
          <a:noFill/>
          <a:ln w="19050"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2000" b="1" kern="0" dirty="0" smtClean="0">
                <a:cs typeface="+mn-ea"/>
                <a:sym typeface="+mn-lt"/>
              </a:rPr>
              <a:t>采集多样数据</a:t>
            </a:r>
            <a:endParaRPr lang="zh-CN" altLang="en-US" sz="2000" b="1" kern="0" baseline="30000" dirty="0">
              <a:cs typeface="+mn-ea"/>
              <a:sym typeface="+mn-lt"/>
            </a:endParaRPr>
          </a:p>
        </p:txBody>
      </p:sp>
      <p:cxnSp>
        <p:nvCxnSpPr>
          <p:cNvPr id="192" name="直接连接符 191"/>
          <p:cNvCxnSpPr/>
          <p:nvPr/>
        </p:nvCxnSpPr>
        <p:spPr>
          <a:xfrm>
            <a:off x="422866" y="1394624"/>
            <a:ext cx="2481851" cy="0"/>
          </a:xfrm>
          <a:prstGeom prst="line">
            <a:avLst/>
          </a:prstGeom>
          <a:noFill/>
          <a:ln w="12700" cap="rnd" cmpd="sng" algn="ctr">
            <a:solidFill>
              <a:schemeClr val="bg1">
                <a:lumMod val="75000"/>
              </a:schemeClr>
            </a:solidFill>
            <a:prstDash val="solid"/>
            <a:round/>
          </a:ln>
          <a:effectLst/>
        </p:spPr>
      </p:cxnSp>
      <p:cxnSp>
        <p:nvCxnSpPr>
          <p:cNvPr id="193" name="直接连接符 192"/>
          <p:cNvCxnSpPr/>
          <p:nvPr/>
        </p:nvCxnSpPr>
        <p:spPr>
          <a:xfrm>
            <a:off x="3454055" y="1394624"/>
            <a:ext cx="3868306" cy="0"/>
          </a:xfrm>
          <a:prstGeom prst="line">
            <a:avLst/>
          </a:prstGeom>
          <a:noFill/>
          <a:ln w="12700" cap="rnd" cmpd="sng" algn="ctr">
            <a:solidFill>
              <a:schemeClr val="bg1">
                <a:lumMod val="75000"/>
              </a:schemeClr>
            </a:solidFill>
            <a:prstDash val="solid"/>
            <a:round/>
          </a:ln>
          <a:effectLst/>
        </p:spPr>
      </p:cxnSp>
      <p:sp>
        <p:nvSpPr>
          <p:cNvPr id="195" name="矩形 194"/>
          <p:cNvSpPr/>
          <p:nvPr/>
        </p:nvSpPr>
        <p:spPr>
          <a:xfrm>
            <a:off x="4471051" y="1669759"/>
            <a:ext cx="2275746" cy="338481"/>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1" i="0" u="none" strike="noStrike" kern="0" cap="none" spc="0" normalizeH="0" baseline="0" noProof="0" dirty="0" smtClean="0">
                <a:ln>
                  <a:noFill/>
                </a:ln>
                <a:solidFill>
                  <a:srgbClr val="FE8637"/>
                </a:solidFill>
                <a:effectLst/>
                <a:uLnTx/>
                <a:uFillTx/>
                <a:latin typeface="Arial" panose="020B0604020202020204"/>
                <a:ea typeface="华文楷体" panose="02010600040101010101" charset="-122"/>
                <a:cs typeface="+mn-ea"/>
                <a:sym typeface="+mn-lt"/>
              </a:rPr>
              <a:t>xx</a:t>
            </a:r>
            <a:r>
              <a:rPr kumimoji="0" lang="zh-CN" altLang="en-US" sz="2400" b="1" i="0" u="none" strike="noStrike" kern="0" cap="none" spc="0" normalizeH="0" baseline="0" noProof="0" dirty="0" smtClean="0">
                <a:ln>
                  <a:noFill/>
                </a:ln>
                <a:solidFill>
                  <a:srgbClr val="FE8637"/>
                </a:solidFill>
                <a:effectLst/>
                <a:uLnTx/>
                <a:uFillTx/>
                <a:latin typeface="Arial" panose="020B0604020202020204"/>
                <a:ea typeface="华文楷体" panose="02010600040101010101" charset="-122"/>
                <a:cs typeface="+mn-ea"/>
                <a:sym typeface="+mn-lt"/>
              </a:rPr>
              <a:t>模型</a:t>
            </a:r>
            <a:endParaRPr kumimoji="0" lang="zh-CN" altLang="en-US" sz="2400" b="1" i="0" u="none" strike="noStrike" kern="0" cap="none" spc="0" normalizeH="0" baseline="0" noProof="0" dirty="0" smtClean="0">
              <a:ln>
                <a:noFill/>
              </a:ln>
              <a:solidFill>
                <a:srgbClr val="FE8637"/>
              </a:solidFill>
              <a:effectLst/>
              <a:uLnTx/>
              <a:uFillTx/>
              <a:latin typeface="Arial" panose="020B0604020202020204"/>
              <a:ea typeface="华文楷体" panose="02010600040101010101" charset="-122"/>
              <a:cs typeface="+mn-ea"/>
              <a:sym typeface="+mn-lt"/>
            </a:endParaRPr>
          </a:p>
        </p:txBody>
      </p:sp>
      <p:sp>
        <p:nvSpPr>
          <p:cNvPr id="196" name="digital-data-storage-in-a-folder_30666"/>
          <p:cNvSpPr>
            <a:spLocks noChangeAspect="1"/>
          </p:cNvSpPr>
          <p:nvPr/>
        </p:nvSpPr>
        <p:spPr bwMode="auto">
          <a:xfrm>
            <a:off x="4033182" y="1613597"/>
            <a:ext cx="561597" cy="435900"/>
          </a:xfrm>
          <a:custGeom>
            <a:avLst/>
            <a:gdLst>
              <a:gd name="T0" fmla="*/ 838 w 2020"/>
              <a:gd name="T1" fmla="*/ 296 h 1626"/>
              <a:gd name="T2" fmla="*/ 616 w 2020"/>
              <a:gd name="T3" fmla="*/ 0 h 1626"/>
              <a:gd name="T4" fmla="*/ 0 w 2020"/>
              <a:gd name="T5" fmla="*/ 222 h 1626"/>
              <a:gd name="T6" fmla="*/ 0 w 2020"/>
              <a:gd name="T7" fmla="*/ 1528 h 1626"/>
              <a:gd name="T8" fmla="*/ 80 w 2020"/>
              <a:gd name="T9" fmla="*/ 1626 h 1626"/>
              <a:gd name="T10" fmla="*/ 2020 w 2020"/>
              <a:gd name="T11" fmla="*/ 1404 h 1626"/>
              <a:gd name="T12" fmla="*/ 1798 w 2020"/>
              <a:gd name="T13" fmla="*/ 296 h 1626"/>
              <a:gd name="T14" fmla="*/ 620 w 2020"/>
              <a:gd name="T15" fmla="*/ 1184 h 1626"/>
              <a:gd name="T16" fmla="*/ 329 w 2020"/>
              <a:gd name="T17" fmla="*/ 1057 h 1626"/>
              <a:gd name="T18" fmla="*/ 329 w 2020"/>
              <a:gd name="T19" fmla="*/ 1020 h 1626"/>
              <a:gd name="T20" fmla="*/ 620 w 2020"/>
              <a:gd name="T21" fmla="*/ 893 h 1626"/>
              <a:gd name="T22" fmla="*/ 329 w 2020"/>
              <a:gd name="T23" fmla="*/ 1020 h 1626"/>
              <a:gd name="T24" fmla="*/ 620 w 2020"/>
              <a:gd name="T25" fmla="*/ 1348 h 1626"/>
              <a:gd name="T26" fmla="*/ 329 w 2020"/>
              <a:gd name="T27" fmla="*/ 1221 h 1626"/>
              <a:gd name="T28" fmla="*/ 911 w 2020"/>
              <a:gd name="T29" fmla="*/ 1184 h 1626"/>
              <a:gd name="T30" fmla="*/ 1203 w 2020"/>
              <a:gd name="T31" fmla="*/ 1057 h 1626"/>
              <a:gd name="T32" fmla="*/ 911 w 2020"/>
              <a:gd name="T33" fmla="*/ 1184 h 1626"/>
              <a:gd name="T34" fmla="*/ 1203 w 2020"/>
              <a:gd name="T35" fmla="*/ 1348 h 1626"/>
              <a:gd name="T36" fmla="*/ 911 w 2020"/>
              <a:gd name="T37" fmla="*/ 1221 h 1626"/>
              <a:gd name="T38" fmla="*/ 1194 w 2020"/>
              <a:gd name="T39" fmla="*/ 841 h 1626"/>
              <a:gd name="T40" fmla="*/ 778 w 2020"/>
              <a:gd name="T41" fmla="*/ 1108 h 1626"/>
              <a:gd name="T42" fmla="*/ 877 w 2020"/>
              <a:gd name="T43" fmla="*/ 1133 h 1626"/>
              <a:gd name="T44" fmla="*/ 753 w 2020"/>
              <a:gd name="T45" fmla="*/ 1133 h 1626"/>
              <a:gd name="T46" fmla="*/ 655 w 2020"/>
              <a:gd name="T47" fmla="*/ 1108 h 1626"/>
              <a:gd name="T48" fmla="*/ 753 w 2020"/>
              <a:gd name="T49" fmla="*/ 841 h 1626"/>
              <a:gd name="T50" fmla="*/ 778 w 2020"/>
              <a:gd name="T51" fmla="*/ 817 h 1626"/>
              <a:gd name="T52" fmla="*/ 1194 w 2020"/>
              <a:gd name="T53" fmla="*/ 841 h 1626"/>
              <a:gd name="T54" fmla="*/ 1203 w 2020"/>
              <a:gd name="T55" fmla="*/ 765 h 1626"/>
              <a:gd name="T56" fmla="*/ 1494 w 2020"/>
              <a:gd name="T57" fmla="*/ 893 h 1626"/>
              <a:gd name="T58" fmla="*/ 1971 w 2020"/>
              <a:gd name="T59" fmla="*/ 1404 h 1626"/>
              <a:gd name="T60" fmla="*/ 1763 w 2020"/>
              <a:gd name="T61" fmla="*/ 1576 h 1626"/>
              <a:gd name="T62" fmla="*/ 1798 w 2020"/>
              <a:gd name="T63" fmla="*/ 616 h 1626"/>
              <a:gd name="T64" fmla="*/ 714 w 2020"/>
              <a:gd name="T65" fmla="*/ 517 h 1626"/>
              <a:gd name="T66" fmla="*/ 616 w 2020"/>
              <a:gd name="T67" fmla="*/ 320 h 1626"/>
              <a:gd name="T68" fmla="*/ 123 w 2020"/>
              <a:gd name="T69" fmla="*/ 222 h 1626"/>
              <a:gd name="T70" fmla="*/ 49 w 2020"/>
              <a:gd name="T71" fmla="*/ 222 h 1626"/>
              <a:gd name="T72" fmla="*/ 616 w 2020"/>
              <a:gd name="T73" fmla="*/ 49 h 1626"/>
              <a:gd name="T74" fmla="*/ 788 w 2020"/>
              <a:gd name="T75" fmla="*/ 345 h 1626"/>
              <a:gd name="T76" fmla="*/ 1971 w 2020"/>
              <a:gd name="T77" fmla="*/ 517 h 1626"/>
              <a:gd name="T78" fmla="*/ 1971 w 2020"/>
              <a:gd name="T79" fmla="*/ 1404 h 1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20" h="1626">
                <a:moveTo>
                  <a:pt x="1798" y="296"/>
                </a:moveTo>
                <a:lnTo>
                  <a:pt x="838" y="296"/>
                </a:lnTo>
                <a:lnTo>
                  <a:pt x="838" y="222"/>
                </a:lnTo>
                <a:cubicBezTo>
                  <a:pt x="838" y="99"/>
                  <a:pt x="738" y="0"/>
                  <a:pt x="616" y="0"/>
                </a:cubicBezTo>
                <a:lnTo>
                  <a:pt x="222" y="0"/>
                </a:lnTo>
                <a:cubicBezTo>
                  <a:pt x="100" y="0"/>
                  <a:pt x="0" y="99"/>
                  <a:pt x="0" y="222"/>
                </a:cubicBezTo>
                <a:lnTo>
                  <a:pt x="0" y="1502"/>
                </a:lnTo>
                <a:lnTo>
                  <a:pt x="0" y="1528"/>
                </a:lnTo>
                <a:cubicBezTo>
                  <a:pt x="0" y="1570"/>
                  <a:pt x="0" y="1593"/>
                  <a:pt x="16" y="1609"/>
                </a:cubicBezTo>
                <a:cubicBezTo>
                  <a:pt x="31" y="1625"/>
                  <a:pt x="52" y="1626"/>
                  <a:pt x="80" y="1626"/>
                </a:cubicBezTo>
                <a:lnTo>
                  <a:pt x="1798" y="1625"/>
                </a:lnTo>
                <a:cubicBezTo>
                  <a:pt x="1920" y="1625"/>
                  <a:pt x="2020" y="1526"/>
                  <a:pt x="2020" y="1404"/>
                </a:cubicBezTo>
                <a:lnTo>
                  <a:pt x="2020" y="517"/>
                </a:lnTo>
                <a:cubicBezTo>
                  <a:pt x="2020" y="395"/>
                  <a:pt x="1920" y="296"/>
                  <a:pt x="1798" y="296"/>
                </a:cubicBezTo>
                <a:close/>
                <a:moveTo>
                  <a:pt x="620" y="1057"/>
                </a:moveTo>
                <a:lnTo>
                  <a:pt x="620" y="1184"/>
                </a:lnTo>
                <a:lnTo>
                  <a:pt x="329" y="1184"/>
                </a:lnTo>
                <a:lnTo>
                  <a:pt x="329" y="1057"/>
                </a:lnTo>
                <a:lnTo>
                  <a:pt x="620" y="1057"/>
                </a:lnTo>
                <a:close/>
                <a:moveTo>
                  <a:pt x="329" y="1020"/>
                </a:moveTo>
                <a:lnTo>
                  <a:pt x="329" y="893"/>
                </a:lnTo>
                <a:lnTo>
                  <a:pt x="620" y="893"/>
                </a:lnTo>
                <a:lnTo>
                  <a:pt x="620" y="1020"/>
                </a:lnTo>
                <a:lnTo>
                  <a:pt x="329" y="1020"/>
                </a:lnTo>
                <a:close/>
                <a:moveTo>
                  <a:pt x="620" y="1221"/>
                </a:moveTo>
                <a:lnTo>
                  <a:pt x="620" y="1348"/>
                </a:lnTo>
                <a:lnTo>
                  <a:pt x="329" y="1348"/>
                </a:lnTo>
                <a:lnTo>
                  <a:pt x="329" y="1221"/>
                </a:lnTo>
                <a:lnTo>
                  <a:pt x="620" y="1221"/>
                </a:lnTo>
                <a:close/>
                <a:moveTo>
                  <a:pt x="911" y="1184"/>
                </a:moveTo>
                <a:lnTo>
                  <a:pt x="911" y="1057"/>
                </a:lnTo>
                <a:lnTo>
                  <a:pt x="1203" y="1057"/>
                </a:lnTo>
                <a:lnTo>
                  <a:pt x="1203" y="1184"/>
                </a:lnTo>
                <a:lnTo>
                  <a:pt x="911" y="1184"/>
                </a:lnTo>
                <a:close/>
                <a:moveTo>
                  <a:pt x="1203" y="1221"/>
                </a:moveTo>
                <a:lnTo>
                  <a:pt x="1203" y="1348"/>
                </a:lnTo>
                <a:lnTo>
                  <a:pt x="911" y="1348"/>
                </a:lnTo>
                <a:lnTo>
                  <a:pt x="911" y="1221"/>
                </a:lnTo>
                <a:lnTo>
                  <a:pt x="1203" y="1221"/>
                </a:lnTo>
                <a:close/>
                <a:moveTo>
                  <a:pt x="1194" y="841"/>
                </a:moveTo>
                <a:lnTo>
                  <a:pt x="778" y="841"/>
                </a:lnTo>
                <a:lnTo>
                  <a:pt x="778" y="1108"/>
                </a:lnTo>
                <a:lnTo>
                  <a:pt x="877" y="1108"/>
                </a:lnTo>
                <a:lnTo>
                  <a:pt x="877" y="1133"/>
                </a:lnTo>
                <a:lnTo>
                  <a:pt x="778" y="1133"/>
                </a:lnTo>
                <a:lnTo>
                  <a:pt x="753" y="1133"/>
                </a:lnTo>
                <a:lnTo>
                  <a:pt x="655" y="1133"/>
                </a:lnTo>
                <a:lnTo>
                  <a:pt x="655" y="1108"/>
                </a:lnTo>
                <a:lnTo>
                  <a:pt x="753" y="1108"/>
                </a:lnTo>
                <a:lnTo>
                  <a:pt x="753" y="841"/>
                </a:lnTo>
                <a:lnTo>
                  <a:pt x="753" y="817"/>
                </a:lnTo>
                <a:lnTo>
                  <a:pt x="778" y="817"/>
                </a:lnTo>
                <a:lnTo>
                  <a:pt x="1194" y="817"/>
                </a:lnTo>
                <a:lnTo>
                  <a:pt x="1194" y="841"/>
                </a:lnTo>
                <a:close/>
                <a:moveTo>
                  <a:pt x="1203" y="893"/>
                </a:moveTo>
                <a:lnTo>
                  <a:pt x="1203" y="765"/>
                </a:lnTo>
                <a:lnTo>
                  <a:pt x="1494" y="765"/>
                </a:lnTo>
                <a:lnTo>
                  <a:pt x="1494" y="893"/>
                </a:lnTo>
                <a:lnTo>
                  <a:pt x="1203" y="893"/>
                </a:lnTo>
                <a:close/>
                <a:moveTo>
                  <a:pt x="1971" y="1404"/>
                </a:moveTo>
                <a:cubicBezTo>
                  <a:pt x="1971" y="1499"/>
                  <a:pt x="1893" y="1576"/>
                  <a:pt x="1798" y="1576"/>
                </a:cubicBezTo>
                <a:lnTo>
                  <a:pt x="1763" y="1576"/>
                </a:lnTo>
                <a:cubicBezTo>
                  <a:pt x="1784" y="1558"/>
                  <a:pt x="1798" y="1532"/>
                  <a:pt x="1798" y="1502"/>
                </a:cubicBezTo>
                <a:lnTo>
                  <a:pt x="1798" y="616"/>
                </a:lnTo>
                <a:cubicBezTo>
                  <a:pt x="1798" y="562"/>
                  <a:pt x="1754" y="517"/>
                  <a:pt x="1700" y="517"/>
                </a:cubicBezTo>
                <a:lnTo>
                  <a:pt x="714" y="517"/>
                </a:lnTo>
                <a:cubicBezTo>
                  <a:pt x="660" y="517"/>
                  <a:pt x="616" y="473"/>
                  <a:pt x="616" y="419"/>
                </a:cubicBezTo>
                <a:lnTo>
                  <a:pt x="616" y="320"/>
                </a:lnTo>
                <a:cubicBezTo>
                  <a:pt x="616" y="266"/>
                  <a:pt x="572" y="222"/>
                  <a:pt x="517" y="222"/>
                </a:cubicBezTo>
                <a:lnTo>
                  <a:pt x="123" y="222"/>
                </a:lnTo>
                <a:cubicBezTo>
                  <a:pt x="94" y="222"/>
                  <a:pt x="68" y="236"/>
                  <a:pt x="49" y="257"/>
                </a:cubicBezTo>
                <a:lnTo>
                  <a:pt x="49" y="222"/>
                </a:lnTo>
                <a:cubicBezTo>
                  <a:pt x="49" y="126"/>
                  <a:pt x="127" y="49"/>
                  <a:pt x="222" y="49"/>
                </a:cubicBezTo>
                <a:lnTo>
                  <a:pt x="616" y="49"/>
                </a:lnTo>
                <a:cubicBezTo>
                  <a:pt x="711" y="49"/>
                  <a:pt x="788" y="127"/>
                  <a:pt x="788" y="222"/>
                </a:cubicBezTo>
                <a:lnTo>
                  <a:pt x="788" y="345"/>
                </a:lnTo>
                <a:lnTo>
                  <a:pt x="1798" y="345"/>
                </a:lnTo>
                <a:cubicBezTo>
                  <a:pt x="1893" y="345"/>
                  <a:pt x="1971" y="422"/>
                  <a:pt x="1971" y="517"/>
                </a:cubicBezTo>
                <a:lnTo>
                  <a:pt x="1971" y="1404"/>
                </a:lnTo>
                <a:lnTo>
                  <a:pt x="1971" y="1404"/>
                </a:lnTo>
                <a:close/>
              </a:path>
            </a:pathLst>
          </a:custGeom>
          <a:solidFill>
            <a:sysClr val="window" lastClr="FFFFFF">
              <a:lumMod val="75000"/>
            </a:sysClr>
          </a:solidFill>
          <a:ln>
            <a:solidFill>
              <a:schemeClr val="bg1">
                <a:lumMod val="75000"/>
              </a:schemeClr>
            </a:solid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E8637"/>
              </a:solidFill>
              <a:effectLst/>
              <a:uLnTx/>
              <a:uFillTx/>
              <a:cs typeface="+mn-ea"/>
              <a:sym typeface="+mn-lt"/>
            </a:endParaRPr>
          </a:p>
        </p:txBody>
      </p:sp>
      <p:cxnSp>
        <p:nvCxnSpPr>
          <p:cNvPr id="197" name="直接连接符 196"/>
          <p:cNvCxnSpPr/>
          <p:nvPr/>
        </p:nvCxnSpPr>
        <p:spPr>
          <a:xfrm>
            <a:off x="422866" y="1394624"/>
            <a:ext cx="2481851" cy="0"/>
          </a:xfrm>
          <a:prstGeom prst="line">
            <a:avLst/>
          </a:prstGeom>
          <a:noFill/>
          <a:ln w="12700" cap="rnd" cmpd="sng" algn="ctr">
            <a:solidFill>
              <a:schemeClr val="bg1">
                <a:lumMod val="75000"/>
              </a:schemeClr>
            </a:solidFill>
            <a:prstDash val="solid"/>
            <a:round/>
          </a:ln>
          <a:effectLst/>
        </p:spPr>
      </p:cxnSp>
      <p:cxnSp>
        <p:nvCxnSpPr>
          <p:cNvPr id="199" name="直接连接符 198"/>
          <p:cNvCxnSpPr/>
          <p:nvPr/>
        </p:nvCxnSpPr>
        <p:spPr>
          <a:xfrm>
            <a:off x="3177538" y="1669758"/>
            <a:ext cx="0" cy="4536508"/>
          </a:xfrm>
          <a:prstGeom prst="line">
            <a:avLst/>
          </a:prstGeom>
          <a:noFill/>
          <a:ln w="6350" cap="rnd" cmpd="sng" algn="ctr">
            <a:solidFill>
              <a:sysClr val="windowText" lastClr="000000">
                <a:lumMod val="75000"/>
                <a:lumOff val="25000"/>
              </a:sysClr>
            </a:solidFill>
            <a:prstDash val="solid"/>
            <a:round/>
          </a:ln>
          <a:effectLst/>
        </p:spPr>
      </p:cxnSp>
      <p:sp>
        <p:nvSpPr>
          <p:cNvPr id="200" name="椭圆 199"/>
          <p:cNvSpPr/>
          <p:nvPr/>
        </p:nvSpPr>
        <p:spPr>
          <a:xfrm>
            <a:off x="1666464" y="1914178"/>
            <a:ext cx="1121096" cy="1112867"/>
          </a:xfrm>
          <a:prstGeom prst="ellipse">
            <a:avLst/>
          </a:prstGeom>
          <a:solidFill>
            <a:schemeClr val="bg1">
              <a:lumMod val="95000"/>
            </a:schemeClr>
          </a:solidFill>
          <a:ln w="38100" cap="flat" cmpd="sng" algn="ctr">
            <a:gradFill flip="none" rotWithShape="1">
              <a:gsLst>
                <a:gs pos="0">
                  <a:sysClr val="window" lastClr="FFFFFF">
                    <a:lumMod val="85000"/>
                  </a:sysClr>
                </a:gs>
                <a:gs pos="100000">
                  <a:sysClr val="window" lastClr="FFFFFF">
                    <a:lumMod val="75000"/>
                  </a:sysClr>
                </a:gs>
              </a:gsLst>
              <a:lin ang="16200000" scaled="1"/>
              <a:tileRect/>
            </a:gradFill>
            <a:prstDash val="solid"/>
            <a:headEnd type="none" w="med" len="med"/>
            <a:tailEnd type="none" w="med" len="med"/>
          </a:ln>
          <a:effectLst/>
        </p:spPr>
        <p:txBody>
          <a:bodyPr rot="0" spcFirstLastPara="0" vertOverflow="overflow" horzOverflow="overflow" vert="horz" wrap="none" lIns="0" tIns="0" rIns="0" bIns="180000" numCol="1" spcCol="0" rtlCol="0" fromWordArt="0" anchor="b" anchorCtr="0" forceAA="0" compatLnSpc="1">
            <a:noAutofit/>
          </a:bodyPr>
          <a:lstStyle/>
          <a:p>
            <a:pPr lvl="0" algn="ctr">
              <a:defRPr/>
            </a:pPr>
            <a:r>
              <a:rPr lang="zh-CN" altLang="en-US" sz="1400" b="1" kern="0" dirty="0">
                <a:solidFill>
                  <a:schemeClr val="bg1">
                    <a:lumMod val="50000"/>
                  </a:schemeClr>
                </a:solidFill>
                <a:ea typeface="华文楷体" panose="02010600040101010101" charset="-122"/>
                <a:cs typeface="+mn-ea"/>
                <a:sym typeface="+mn-lt"/>
              </a:rPr>
              <a:t>文本</a:t>
            </a:r>
            <a:endParaRPr lang="zh-CN" altLang="en-US" sz="1400" b="1" kern="0" dirty="0">
              <a:solidFill>
                <a:schemeClr val="bg1">
                  <a:lumMod val="50000"/>
                </a:schemeClr>
              </a:solidFill>
              <a:ea typeface="华文楷体" panose="02010600040101010101" charset="-122"/>
              <a:cs typeface="+mn-ea"/>
              <a:sym typeface="+mn-lt"/>
            </a:endParaRPr>
          </a:p>
        </p:txBody>
      </p:sp>
      <p:pic>
        <p:nvPicPr>
          <p:cNvPr id="201" name="Picture 4"/>
          <p:cNvPicPr>
            <a:picLocks noChangeAspect="1" noChangeArrowheads="1"/>
          </p:cNvPicPr>
          <p:nvPr/>
        </p:nvPicPr>
        <p:blipFill>
          <a:blip r:embed="rId1" cstate="email"/>
          <a:srcRect/>
          <a:stretch>
            <a:fillRect/>
          </a:stretch>
        </p:blipFill>
        <p:spPr bwMode="auto">
          <a:xfrm>
            <a:off x="2005108" y="2101565"/>
            <a:ext cx="466955" cy="341931"/>
          </a:xfrm>
          <a:prstGeom prst="rect">
            <a:avLst/>
          </a:prstGeom>
          <a:noFill/>
          <a:effectLst>
            <a:outerShdw blurRad="50800" dist="635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2" name="椭圆 201"/>
          <p:cNvSpPr/>
          <p:nvPr/>
        </p:nvSpPr>
        <p:spPr>
          <a:xfrm>
            <a:off x="1666464" y="2735604"/>
            <a:ext cx="1121096" cy="1112867"/>
          </a:xfrm>
          <a:prstGeom prst="ellipse">
            <a:avLst/>
          </a:prstGeom>
          <a:solidFill>
            <a:schemeClr val="bg1">
              <a:lumMod val="95000"/>
            </a:schemeClr>
          </a:solidFill>
          <a:ln w="38100" cap="flat" cmpd="sng" algn="ctr">
            <a:gradFill flip="none" rotWithShape="1">
              <a:gsLst>
                <a:gs pos="0">
                  <a:sysClr val="window" lastClr="FFFFFF">
                    <a:lumMod val="85000"/>
                  </a:sysClr>
                </a:gs>
                <a:gs pos="100000">
                  <a:sysClr val="window" lastClr="FFFFFF">
                    <a:lumMod val="75000"/>
                  </a:sysClr>
                </a:gs>
              </a:gsLst>
              <a:lin ang="16200000" scaled="1"/>
              <a:tileRect/>
            </a:gradFill>
            <a:prstDash val="solid"/>
            <a:headEnd type="none" w="med" len="med"/>
            <a:tailEnd type="none" w="med" len="med"/>
          </a:ln>
          <a:effectLst/>
        </p:spPr>
        <p:txBody>
          <a:bodyPr rot="0" spcFirstLastPara="0" vertOverflow="overflow" horzOverflow="overflow" vert="horz" wrap="none" lIns="0" tIns="0" rIns="0" bIns="180000" numCol="1" spcCol="0" rtlCol="0" fromWordArt="0" anchor="b" anchorCtr="0" forceAA="0" compatLnSpc="1">
            <a:noAutofit/>
          </a:bodyPr>
          <a:lstStyle/>
          <a:p>
            <a:pPr lvl="0" algn="ctr">
              <a:defRPr/>
            </a:pPr>
            <a:r>
              <a:rPr lang="zh-CN" altLang="en-US" sz="1400" b="1" kern="0" dirty="0">
                <a:solidFill>
                  <a:schemeClr val="bg1">
                    <a:lumMod val="50000"/>
                  </a:schemeClr>
                </a:solidFill>
                <a:ea typeface="华文楷体" panose="02010600040101010101" charset="-122"/>
                <a:cs typeface="+mn-ea"/>
                <a:sym typeface="+mn-lt"/>
              </a:rPr>
              <a:t>文本</a:t>
            </a:r>
            <a:endParaRPr lang="zh-CN" altLang="en-US" sz="1400" b="1" kern="0" dirty="0">
              <a:solidFill>
                <a:schemeClr val="bg1">
                  <a:lumMod val="50000"/>
                </a:schemeClr>
              </a:solidFill>
              <a:ea typeface="华文楷体" panose="02010600040101010101" charset="-122"/>
              <a:cs typeface="+mn-ea"/>
              <a:sym typeface="+mn-lt"/>
            </a:endParaRPr>
          </a:p>
        </p:txBody>
      </p:sp>
      <p:grpSp>
        <p:nvGrpSpPr>
          <p:cNvPr id="203" name="Group 375"/>
          <p:cNvGrpSpPr/>
          <p:nvPr/>
        </p:nvGrpSpPr>
        <p:grpSpPr>
          <a:xfrm>
            <a:off x="2040707" y="2896919"/>
            <a:ext cx="395756" cy="421583"/>
            <a:chOff x="4419600" y="4546600"/>
            <a:chExt cx="1063625" cy="1141413"/>
          </a:xfrm>
          <a:solidFill>
            <a:sysClr val="window" lastClr="FFFFFF">
              <a:lumMod val="50000"/>
            </a:sysClr>
          </a:solidFill>
        </p:grpSpPr>
        <p:sp>
          <p:nvSpPr>
            <p:cNvPr id="229" name="Freeform 44"/>
            <p:cNvSpPr/>
            <p:nvPr/>
          </p:nvSpPr>
          <p:spPr bwMode="auto">
            <a:xfrm>
              <a:off x="5187950" y="4729163"/>
              <a:ext cx="295275" cy="776288"/>
            </a:xfrm>
            <a:custGeom>
              <a:avLst/>
              <a:gdLst>
                <a:gd name="T0" fmla="*/ 682 w 928"/>
                <a:gd name="T1" fmla="*/ 3 h 2444"/>
                <a:gd name="T2" fmla="*/ 795 w 928"/>
                <a:gd name="T3" fmla="*/ 46 h 2444"/>
                <a:gd name="T4" fmla="*/ 878 w 928"/>
                <a:gd name="T5" fmla="*/ 129 h 2444"/>
                <a:gd name="T6" fmla="*/ 920 w 928"/>
                <a:gd name="T7" fmla="*/ 241 h 2444"/>
                <a:gd name="T8" fmla="*/ 926 w 928"/>
                <a:gd name="T9" fmla="*/ 1191 h 2444"/>
                <a:gd name="T10" fmla="*/ 884 w 928"/>
                <a:gd name="T11" fmla="*/ 1257 h 2444"/>
                <a:gd name="T12" fmla="*/ 809 w 928"/>
                <a:gd name="T13" fmla="*/ 1284 h 2444"/>
                <a:gd name="T14" fmla="*/ 756 w 928"/>
                <a:gd name="T15" fmla="*/ 1272 h 2444"/>
                <a:gd name="T16" fmla="*/ 702 w 928"/>
                <a:gd name="T17" fmla="*/ 1217 h 2444"/>
                <a:gd name="T18" fmla="*/ 684 w 928"/>
                <a:gd name="T19" fmla="*/ 284 h 2444"/>
                <a:gd name="T20" fmla="*/ 669 w 928"/>
                <a:gd name="T21" fmla="*/ 261 h 2444"/>
                <a:gd name="T22" fmla="*/ 641 w 928"/>
                <a:gd name="T23" fmla="*/ 266 h 2444"/>
                <a:gd name="T24" fmla="*/ 634 w 928"/>
                <a:gd name="T25" fmla="*/ 357 h 2444"/>
                <a:gd name="T26" fmla="*/ 635 w 928"/>
                <a:gd name="T27" fmla="*/ 550 h 2444"/>
                <a:gd name="T28" fmla="*/ 635 w 928"/>
                <a:gd name="T29" fmla="*/ 710 h 2444"/>
                <a:gd name="T30" fmla="*/ 635 w 928"/>
                <a:gd name="T31" fmla="*/ 850 h 2444"/>
                <a:gd name="T32" fmla="*/ 635 w 928"/>
                <a:gd name="T33" fmla="*/ 983 h 2444"/>
                <a:gd name="T34" fmla="*/ 636 w 928"/>
                <a:gd name="T35" fmla="*/ 1119 h 2444"/>
                <a:gd name="T36" fmla="*/ 636 w 928"/>
                <a:gd name="T37" fmla="*/ 1274 h 2444"/>
                <a:gd name="T38" fmla="*/ 636 w 928"/>
                <a:gd name="T39" fmla="*/ 1456 h 2444"/>
                <a:gd name="T40" fmla="*/ 637 w 928"/>
                <a:gd name="T41" fmla="*/ 1680 h 2444"/>
                <a:gd name="T42" fmla="*/ 637 w 928"/>
                <a:gd name="T43" fmla="*/ 1957 h 2444"/>
                <a:gd name="T44" fmla="*/ 637 w 928"/>
                <a:gd name="T45" fmla="*/ 2300 h 2444"/>
                <a:gd name="T46" fmla="*/ 612 w 928"/>
                <a:gd name="T47" fmla="*/ 2380 h 2444"/>
                <a:gd name="T48" fmla="*/ 549 w 928"/>
                <a:gd name="T49" fmla="*/ 2433 h 2444"/>
                <a:gd name="T50" fmla="*/ 464 w 928"/>
                <a:gd name="T51" fmla="*/ 2441 h 2444"/>
                <a:gd name="T52" fmla="*/ 392 w 928"/>
                <a:gd name="T53" fmla="*/ 2402 h 2444"/>
                <a:gd name="T54" fmla="*/ 352 w 928"/>
                <a:gd name="T55" fmla="*/ 2329 h 2444"/>
                <a:gd name="T56" fmla="*/ 347 w 928"/>
                <a:gd name="T57" fmla="*/ 1169 h 2444"/>
                <a:gd name="T58" fmla="*/ 318 w 928"/>
                <a:gd name="T59" fmla="*/ 1149 h 2444"/>
                <a:gd name="T60" fmla="*/ 290 w 928"/>
                <a:gd name="T61" fmla="*/ 1169 h 2444"/>
                <a:gd name="T62" fmla="*/ 284 w 928"/>
                <a:gd name="T63" fmla="*/ 2329 h 2444"/>
                <a:gd name="T64" fmla="*/ 245 w 928"/>
                <a:gd name="T65" fmla="*/ 2402 h 2444"/>
                <a:gd name="T66" fmla="*/ 172 w 928"/>
                <a:gd name="T67" fmla="*/ 2441 h 2444"/>
                <a:gd name="T68" fmla="*/ 87 w 928"/>
                <a:gd name="T69" fmla="*/ 2433 h 2444"/>
                <a:gd name="T70" fmla="*/ 24 w 928"/>
                <a:gd name="T71" fmla="*/ 2380 h 2444"/>
                <a:gd name="T72" fmla="*/ 0 w 928"/>
                <a:gd name="T73" fmla="*/ 2300 h 2444"/>
                <a:gd name="T74" fmla="*/ 76 w 928"/>
                <a:gd name="T75" fmla="*/ 1610 h 2444"/>
                <a:gd name="T76" fmla="*/ 168 w 928"/>
                <a:gd name="T77" fmla="*/ 1531 h 2444"/>
                <a:gd name="T78" fmla="*/ 217 w 928"/>
                <a:gd name="T79" fmla="*/ 1431 h 2444"/>
                <a:gd name="T80" fmla="*/ 221 w 928"/>
                <a:gd name="T81" fmla="*/ 388 h 2444"/>
                <a:gd name="T82" fmla="*/ 195 w 928"/>
                <a:gd name="T83" fmla="*/ 233 h 2444"/>
                <a:gd name="T84" fmla="*/ 121 w 928"/>
                <a:gd name="T85" fmla="*/ 102 h 2444"/>
                <a:gd name="T86" fmla="*/ 11 w 928"/>
                <a:gd name="T87" fmla="*/ 0 h 2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28" h="2444">
                  <a:moveTo>
                    <a:pt x="11" y="0"/>
                  </a:moveTo>
                  <a:lnTo>
                    <a:pt x="640" y="0"/>
                  </a:lnTo>
                  <a:lnTo>
                    <a:pt x="682" y="3"/>
                  </a:lnTo>
                  <a:lnTo>
                    <a:pt x="722" y="12"/>
                  </a:lnTo>
                  <a:lnTo>
                    <a:pt x="760" y="26"/>
                  </a:lnTo>
                  <a:lnTo>
                    <a:pt x="795" y="46"/>
                  </a:lnTo>
                  <a:lnTo>
                    <a:pt x="826" y="69"/>
                  </a:lnTo>
                  <a:lnTo>
                    <a:pt x="854" y="97"/>
                  </a:lnTo>
                  <a:lnTo>
                    <a:pt x="878" y="129"/>
                  </a:lnTo>
                  <a:lnTo>
                    <a:pt x="897" y="163"/>
                  </a:lnTo>
                  <a:lnTo>
                    <a:pt x="912" y="200"/>
                  </a:lnTo>
                  <a:lnTo>
                    <a:pt x="920" y="241"/>
                  </a:lnTo>
                  <a:lnTo>
                    <a:pt x="924" y="283"/>
                  </a:lnTo>
                  <a:lnTo>
                    <a:pt x="928" y="1163"/>
                  </a:lnTo>
                  <a:lnTo>
                    <a:pt x="926" y="1191"/>
                  </a:lnTo>
                  <a:lnTo>
                    <a:pt x="916" y="1216"/>
                  </a:lnTo>
                  <a:lnTo>
                    <a:pt x="903" y="1239"/>
                  </a:lnTo>
                  <a:lnTo>
                    <a:pt x="884" y="1257"/>
                  </a:lnTo>
                  <a:lnTo>
                    <a:pt x="861" y="1272"/>
                  </a:lnTo>
                  <a:lnTo>
                    <a:pt x="836" y="1280"/>
                  </a:lnTo>
                  <a:lnTo>
                    <a:pt x="809" y="1284"/>
                  </a:lnTo>
                  <a:lnTo>
                    <a:pt x="809" y="1284"/>
                  </a:lnTo>
                  <a:lnTo>
                    <a:pt x="781" y="1280"/>
                  </a:lnTo>
                  <a:lnTo>
                    <a:pt x="756" y="1272"/>
                  </a:lnTo>
                  <a:lnTo>
                    <a:pt x="734" y="1257"/>
                  </a:lnTo>
                  <a:lnTo>
                    <a:pt x="716" y="1240"/>
                  </a:lnTo>
                  <a:lnTo>
                    <a:pt x="702" y="1217"/>
                  </a:lnTo>
                  <a:lnTo>
                    <a:pt x="692" y="1192"/>
                  </a:lnTo>
                  <a:lnTo>
                    <a:pt x="688" y="1164"/>
                  </a:lnTo>
                  <a:lnTo>
                    <a:pt x="684" y="284"/>
                  </a:lnTo>
                  <a:lnTo>
                    <a:pt x="682" y="274"/>
                  </a:lnTo>
                  <a:lnTo>
                    <a:pt x="677" y="266"/>
                  </a:lnTo>
                  <a:lnTo>
                    <a:pt x="669" y="261"/>
                  </a:lnTo>
                  <a:lnTo>
                    <a:pt x="659" y="258"/>
                  </a:lnTo>
                  <a:lnTo>
                    <a:pt x="649" y="261"/>
                  </a:lnTo>
                  <a:lnTo>
                    <a:pt x="641" y="266"/>
                  </a:lnTo>
                  <a:lnTo>
                    <a:pt x="636" y="274"/>
                  </a:lnTo>
                  <a:lnTo>
                    <a:pt x="634" y="284"/>
                  </a:lnTo>
                  <a:lnTo>
                    <a:pt x="634" y="357"/>
                  </a:lnTo>
                  <a:lnTo>
                    <a:pt x="635" y="425"/>
                  </a:lnTo>
                  <a:lnTo>
                    <a:pt x="635" y="490"/>
                  </a:lnTo>
                  <a:lnTo>
                    <a:pt x="635" y="550"/>
                  </a:lnTo>
                  <a:lnTo>
                    <a:pt x="635" y="606"/>
                  </a:lnTo>
                  <a:lnTo>
                    <a:pt x="635" y="659"/>
                  </a:lnTo>
                  <a:lnTo>
                    <a:pt x="635" y="710"/>
                  </a:lnTo>
                  <a:lnTo>
                    <a:pt x="635" y="758"/>
                  </a:lnTo>
                  <a:lnTo>
                    <a:pt x="635" y="805"/>
                  </a:lnTo>
                  <a:lnTo>
                    <a:pt x="635" y="850"/>
                  </a:lnTo>
                  <a:lnTo>
                    <a:pt x="635" y="895"/>
                  </a:lnTo>
                  <a:lnTo>
                    <a:pt x="635" y="939"/>
                  </a:lnTo>
                  <a:lnTo>
                    <a:pt x="635" y="983"/>
                  </a:lnTo>
                  <a:lnTo>
                    <a:pt x="636" y="1027"/>
                  </a:lnTo>
                  <a:lnTo>
                    <a:pt x="636" y="1072"/>
                  </a:lnTo>
                  <a:lnTo>
                    <a:pt x="636" y="1119"/>
                  </a:lnTo>
                  <a:lnTo>
                    <a:pt x="636" y="1169"/>
                  </a:lnTo>
                  <a:lnTo>
                    <a:pt x="636" y="1219"/>
                  </a:lnTo>
                  <a:lnTo>
                    <a:pt x="636" y="1274"/>
                  </a:lnTo>
                  <a:lnTo>
                    <a:pt x="636" y="1331"/>
                  </a:lnTo>
                  <a:lnTo>
                    <a:pt x="636" y="1391"/>
                  </a:lnTo>
                  <a:lnTo>
                    <a:pt x="636" y="1456"/>
                  </a:lnTo>
                  <a:lnTo>
                    <a:pt x="636" y="1526"/>
                  </a:lnTo>
                  <a:lnTo>
                    <a:pt x="637" y="1600"/>
                  </a:lnTo>
                  <a:lnTo>
                    <a:pt x="637" y="1680"/>
                  </a:lnTo>
                  <a:lnTo>
                    <a:pt x="637" y="1766"/>
                  </a:lnTo>
                  <a:lnTo>
                    <a:pt x="637" y="1858"/>
                  </a:lnTo>
                  <a:lnTo>
                    <a:pt x="637" y="1957"/>
                  </a:lnTo>
                  <a:lnTo>
                    <a:pt x="637" y="2064"/>
                  </a:lnTo>
                  <a:lnTo>
                    <a:pt x="637" y="2178"/>
                  </a:lnTo>
                  <a:lnTo>
                    <a:pt x="637" y="2300"/>
                  </a:lnTo>
                  <a:lnTo>
                    <a:pt x="634" y="2329"/>
                  </a:lnTo>
                  <a:lnTo>
                    <a:pt x="626" y="2356"/>
                  </a:lnTo>
                  <a:lnTo>
                    <a:pt x="612" y="2380"/>
                  </a:lnTo>
                  <a:lnTo>
                    <a:pt x="594" y="2402"/>
                  </a:lnTo>
                  <a:lnTo>
                    <a:pt x="573" y="2420"/>
                  </a:lnTo>
                  <a:lnTo>
                    <a:pt x="549" y="2433"/>
                  </a:lnTo>
                  <a:lnTo>
                    <a:pt x="522" y="2441"/>
                  </a:lnTo>
                  <a:lnTo>
                    <a:pt x="492" y="2444"/>
                  </a:lnTo>
                  <a:lnTo>
                    <a:pt x="464" y="2441"/>
                  </a:lnTo>
                  <a:lnTo>
                    <a:pt x="437" y="2433"/>
                  </a:lnTo>
                  <a:lnTo>
                    <a:pt x="412" y="2420"/>
                  </a:lnTo>
                  <a:lnTo>
                    <a:pt x="392" y="2402"/>
                  </a:lnTo>
                  <a:lnTo>
                    <a:pt x="373" y="2380"/>
                  </a:lnTo>
                  <a:lnTo>
                    <a:pt x="360" y="2356"/>
                  </a:lnTo>
                  <a:lnTo>
                    <a:pt x="352" y="2329"/>
                  </a:lnTo>
                  <a:lnTo>
                    <a:pt x="349" y="2300"/>
                  </a:lnTo>
                  <a:lnTo>
                    <a:pt x="349" y="1181"/>
                  </a:lnTo>
                  <a:lnTo>
                    <a:pt x="347" y="1169"/>
                  </a:lnTo>
                  <a:lnTo>
                    <a:pt x="340" y="1159"/>
                  </a:lnTo>
                  <a:lnTo>
                    <a:pt x="330" y="1152"/>
                  </a:lnTo>
                  <a:lnTo>
                    <a:pt x="318" y="1149"/>
                  </a:lnTo>
                  <a:lnTo>
                    <a:pt x="306" y="1152"/>
                  </a:lnTo>
                  <a:lnTo>
                    <a:pt x="296" y="1159"/>
                  </a:lnTo>
                  <a:lnTo>
                    <a:pt x="290" y="1169"/>
                  </a:lnTo>
                  <a:lnTo>
                    <a:pt x="287" y="1181"/>
                  </a:lnTo>
                  <a:lnTo>
                    <a:pt x="287" y="2300"/>
                  </a:lnTo>
                  <a:lnTo>
                    <a:pt x="284" y="2329"/>
                  </a:lnTo>
                  <a:lnTo>
                    <a:pt x="276" y="2356"/>
                  </a:lnTo>
                  <a:lnTo>
                    <a:pt x="262" y="2380"/>
                  </a:lnTo>
                  <a:lnTo>
                    <a:pt x="245" y="2402"/>
                  </a:lnTo>
                  <a:lnTo>
                    <a:pt x="223" y="2420"/>
                  </a:lnTo>
                  <a:lnTo>
                    <a:pt x="199" y="2433"/>
                  </a:lnTo>
                  <a:lnTo>
                    <a:pt x="172" y="2441"/>
                  </a:lnTo>
                  <a:lnTo>
                    <a:pt x="143" y="2444"/>
                  </a:lnTo>
                  <a:lnTo>
                    <a:pt x="114" y="2441"/>
                  </a:lnTo>
                  <a:lnTo>
                    <a:pt x="87" y="2433"/>
                  </a:lnTo>
                  <a:lnTo>
                    <a:pt x="62" y="2420"/>
                  </a:lnTo>
                  <a:lnTo>
                    <a:pt x="41" y="2402"/>
                  </a:lnTo>
                  <a:lnTo>
                    <a:pt x="24" y="2380"/>
                  </a:lnTo>
                  <a:lnTo>
                    <a:pt x="11" y="2356"/>
                  </a:lnTo>
                  <a:lnTo>
                    <a:pt x="2" y="2329"/>
                  </a:lnTo>
                  <a:lnTo>
                    <a:pt x="0" y="2300"/>
                  </a:lnTo>
                  <a:lnTo>
                    <a:pt x="0" y="1639"/>
                  </a:lnTo>
                  <a:lnTo>
                    <a:pt x="39" y="1627"/>
                  </a:lnTo>
                  <a:lnTo>
                    <a:pt x="76" y="1610"/>
                  </a:lnTo>
                  <a:lnTo>
                    <a:pt x="111" y="1587"/>
                  </a:lnTo>
                  <a:lnTo>
                    <a:pt x="143" y="1560"/>
                  </a:lnTo>
                  <a:lnTo>
                    <a:pt x="168" y="1531"/>
                  </a:lnTo>
                  <a:lnTo>
                    <a:pt x="189" y="1500"/>
                  </a:lnTo>
                  <a:lnTo>
                    <a:pt x="204" y="1466"/>
                  </a:lnTo>
                  <a:lnTo>
                    <a:pt x="217" y="1431"/>
                  </a:lnTo>
                  <a:lnTo>
                    <a:pt x="224" y="1394"/>
                  </a:lnTo>
                  <a:lnTo>
                    <a:pt x="226" y="1356"/>
                  </a:lnTo>
                  <a:lnTo>
                    <a:pt x="221" y="388"/>
                  </a:lnTo>
                  <a:lnTo>
                    <a:pt x="218" y="334"/>
                  </a:lnTo>
                  <a:lnTo>
                    <a:pt x="209" y="283"/>
                  </a:lnTo>
                  <a:lnTo>
                    <a:pt x="195" y="233"/>
                  </a:lnTo>
                  <a:lnTo>
                    <a:pt x="175" y="187"/>
                  </a:lnTo>
                  <a:lnTo>
                    <a:pt x="150" y="142"/>
                  </a:lnTo>
                  <a:lnTo>
                    <a:pt x="121" y="102"/>
                  </a:lnTo>
                  <a:lnTo>
                    <a:pt x="88" y="63"/>
                  </a:lnTo>
                  <a:lnTo>
                    <a:pt x="51" y="29"/>
                  </a:lnTo>
                  <a:lnTo>
                    <a:pt x="11"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180000" numCol="1" anchor="t" anchorCtr="0" compatLnSpc="1">
              <a:no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smtClean="0">
                <a:ln>
                  <a:noFill/>
                </a:ln>
                <a:solidFill>
                  <a:schemeClr val="bg1">
                    <a:lumMod val="50000"/>
                  </a:schemeClr>
                </a:solidFill>
                <a:effectLst/>
                <a:uLnTx/>
                <a:uFillTx/>
                <a:cs typeface="+mn-ea"/>
                <a:sym typeface="+mn-lt"/>
              </a:endParaRPr>
            </a:p>
          </p:txBody>
        </p:sp>
        <p:sp>
          <p:nvSpPr>
            <p:cNvPr id="230" name="Freeform 45"/>
            <p:cNvSpPr/>
            <p:nvPr/>
          </p:nvSpPr>
          <p:spPr bwMode="auto">
            <a:xfrm>
              <a:off x="5211763" y="4546600"/>
              <a:ext cx="157163" cy="157163"/>
            </a:xfrm>
            <a:custGeom>
              <a:avLst/>
              <a:gdLst>
                <a:gd name="T0" fmla="*/ 248 w 497"/>
                <a:gd name="T1" fmla="*/ 0 h 497"/>
                <a:gd name="T2" fmla="*/ 289 w 497"/>
                <a:gd name="T3" fmla="*/ 3 h 497"/>
                <a:gd name="T4" fmla="*/ 327 w 497"/>
                <a:gd name="T5" fmla="*/ 12 h 497"/>
                <a:gd name="T6" fmla="*/ 362 w 497"/>
                <a:gd name="T7" fmla="*/ 27 h 497"/>
                <a:gd name="T8" fmla="*/ 395 w 497"/>
                <a:gd name="T9" fmla="*/ 48 h 497"/>
                <a:gd name="T10" fmla="*/ 425 w 497"/>
                <a:gd name="T11" fmla="*/ 72 h 497"/>
                <a:gd name="T12" fmla="*/ 449 w 497"/>
                <a:gd name="T13" fmla="*/ 102 h 497"/>
                <a:gd name="T14" fmla="*/ 470 w 497"/>
                <a:gd name="T15" fmla="*/ 133 h 497"/>
                <a:gd name="T16" fmla="*/ 485 w 497"/>
                <a:gd name="T17" fmla="*/ 169 h 497"/>
                <a:gd name="T18" fmla="*/ 494 w 497"/>
                <a:gd name="T19" fmla="*/ 208 h 497"/>
                <a:gd name="T20" fmla="*/ 497 w 497"/>
                <a:gd name="T21" fmla="*/ 248 h 497"/>
                <a:gd name="T22" fmla="*/ 494 w 497"/>
                <a:gd name="T23" fmla="*/ 289 h 497"/>
                <a:gd name="T24" fmla="*/ 485 w 497"/>
                <a:gd name="T25" fmla="*/ 327 h 497"/>
                <a:gd name="T26" fmla="*/ 470 w 497"/>
                <a:gd name="T27" fmla="*/ 362 h 497"/>
                <a:gd name="T28" fmla="*/ 449 w 497"/>
                <a:gd name="T29" fmla="*/ 395 h 497"/>
                <a:gd name="T30" fmla="*/ 425 w 497"/>
                <a:gd name="T31" fmla="*/ 424 h 497"/>
                <a:gd name="T32" fmla="*/ 395 w 497"/>
                <a:gd name="T33" fmla="*/ 449 h 497"/>
                <a:gd name="T34" fmla="*/ 362 w 497"/>
                <a:gd name="T35" fmla="*/ 469 h 497"/>
                <a:gd name="T36" fmla="*/ 327 w 497"/>
                <a:gd name="T37" fmla="*/ 484 h 497"/>
                <a:gd name="T38" fmla="*/ 289 w 497"/>
                <a:gd name="T39" fmla="*/ 494 h 497"/>
                <a:gd name="T40" fmla="*/ 248 w 497"/>
                <a:gd name="T41" fmla="*/ 497 h 497"/>
                <a:gd name="T42" fmla="*/ 208 w 497"/>
                <a:gd name="T43" fmla="*/ 494 h 497"/>
                <a:gd name="T44" fmla="*/ 170 w 497"/>
                <a:gd name="T45" fmla="*/ 484 h 497"/>
                <a:gd name="T46" fmla="*/ 135 w 497"/>
                <a:gd name="T47" fmla="*/ 469 h 497"/>
                <a:gd name="T48" fmla="*/ 102 w 497"/>
                <a:gd name="T49" fmla="*/ 449 h 497"/>
                <a:gd name="T50" fmla="*/ 73 w 497"/>
                <a:gd name="T51" fmla="*/ 424 h 497"/>
                <a:gd name="T52" fmla="*/ 48 w 497"/>
                <a:gd name="T53" fmla="*/ 394 h 497"/>
                <a:gd name="T54" fmla="*/ 27 w 497"/>
                <a:gd name="T55" fmla="*/ 362 h 497"/>
                <a:gd name="T56" fmla="*/ 13 w 497"/>
                <a:gd name="T57" fmla="*/ 326 h 497"/>
                <a:gd name="T58" fmla="*/ 3 w 497"/>
                <a:gd name="T59" fmla="*/ 288 h 497"/>
                <a:gd name="T60" fmla="*/ 0 w 497"/>
                <a:gd name="T61" fmla="*/ 248 h 497"/>
                <a:gd name="T62" fmla="*/ 3 w 497"/>
                <a:gd name="T63" fmla="*/ 208 h 497"/>
                <a:gd name="T64" fmla="*/ 13 w 497"/>
                <a:gd name="T65" fmla="*/ 169 h 497"/>
                <a:gd name="T66" fmla="*/ 28 w 497"/>
                <a:gd name="T67" fmla="*/ 133 h 497"/>
                <a:gd name="T68" fmla="*/ 48 w 497"/>
                <a:gd name="T69" fmla="*/ 102 h 497"/>
                <a:gd name="T70" fmla="*/ 73 w 497"/>
                <a:gd name="T71" fmla="*/ 72 h 497"/>
                <a:gd name="T72" fmla="*/ 102 w 497"/>
                <a:gd name="T73" fmla="*/ 48 h 497"/>
                <a:gd name="T74" fmla="*/ 135 w 497"/>
                <a:gd name="T75" fmla="*/ 27 h 497"/>
                <a:gd name="T76" fmla="*/ 170 w 497"/>
                <a:gd name="T77" fmla="*/ 12 h 497"/>
                <a:gd name="T78" fmla="*/ 208 w 497"/>
                <a:gd name="T79" fmla="*/ 3 h 497"/>
                <a:gd name="T80" fmla="*/ 248 w 497"/>
                <a:gd name="T81"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7" h="497">
                  <a:moveTo>
                    <a:pt x="248" y="0"/>
                  </a:moveTo>
                  <a:lnTo>
                    <a:pt x="289" y="3"/>
                  </a:lnTo>
                  <a:lnTo>
                    <a:pt x="327" y="12"/>
                  </a:lnTo>
                  <a:lnTo>
                    <a:pt x="362" y="27"/>
                  </a:lnTo>
                  <a:lnTo>
                    <a:pt x="395" y="48"/>
                  </a:lnTo>
                  <a:lnTo>
                    <a:pt x="425" y="72"/>
                  </a:lnTo>
                  <a:lnTo>
                    <a:pt x="449" y="102"/>
                  </a:lnTo>
                  <a:lnTo>
                    <a:pt x="470" y="133"/>
                  </a:lnTo>
                  <a:lnTo>
                    <a:pt x="485" y="169"/>
                  </a:lnTo>
                  <a:lnTo>
                    <a:pt x="494" y="208"/>
                  </a:lnTo>
                  <a:lnTo>
                    <a:pt x="497" y="248"/>
                  </a:lnTo>
                  <a:lnTo>
                    <a:pt x="494" y="289"/>
                  </a:lnTo>
                  <a:lnTo>
                    <a:pt x="485" y="327"/>
                  </a:lnTo>
                  <a:lnTo>
                    <a:pt x="470" y="362"/>
                  </a:lnTo>
                  <a:lnTo>
                    <a:pt x="449" y="395"/>
                  </a:lnTo>
                  <a:lnTo>
                    <a:pt x="425" y="424"/>
                  </a:lnTo>
                  <a:lnTo>
                    <a:pt x="395" y="449"/>
                  </a:lnTo>
                  <a:lnTo>
                    <a:pt x="362" y="469"/>
                  </a:lnTo>
                  <a:lnTo>
                    <a:pt x="327" y="484"/>
                  </a:lnTo>
                  <a:lnTo>
                    <a:pt x="289" y="494"/>
                  </a:lnTo>
                  <a:lnTo>
                    <a:pt x="248" y="497"/>
                  </a:lnTo>
                  <a:lnTo>
                    <a:pt x="208" y="494"/>
                  </a:lnTo>
                  <a:lnTo>
                    <a:pt x="170" y="484"/>
                  </a:lnTo>
                  <a:lnTo>
                    <a:pt x="135" y="469"/>
                  </a:lnTo>
                  <a:lnTo>
                    <a:pt x="102" y="449"/>
                  </a:lnTo>
                  <a:lnTo>
                    <a:pt x="73" y="424"/>
                  </a:lnTo>
                  <a:lnTo>
                    <a:pt x="48" y="394"/>
                  </a:lnTo>
                  <a:lnTo>
                    <a:pt x="27" y="362"/>
                  </a:lnTo>
                  <a:lnTo>
                    <a:pt x="13" y="326"/>
                  </a:lnTo>
                  <a:lnTo>
                    <a:pt x="3" y="288"/>
                  </a:lnTo>
                  <a:lnTo>
                    <a:pt x="0" y="248"/>
                  </a:lnTo>
                  <a:lnTo>
                    <a:pt x="3" y="208"/>
                  </a:lnTo>
                  <a:lnTo>
                    <a:pt x="13" y="169"/>
                  </a:lnTo>
                  <a:lnTo>
                    <a:pt x="28" y="133"/>
                  </a:lnTo>
                  <a:lnTo>
                    <a:pt x="48" y="102"/>
                  </a:lnTo>
                  <a:lnTo>
                    <a:pt x="73" y="72"/>
                  </a:lnTo>
                  <a:lnTo>
                    <a:pt x="102" y="48"/>
                  </a:lnTo>
                  <a:lnTo>
                    <a:pt x="135" y="27"/>
                  </a:lnTo>
                  <a:lnTo>
                    <a:pt x="170" y="12"/>
                  </a:lnTo>
                  <a:lnTo>
                    <a:pt x="208" y="3"/>
                  </a:lnTo>
                  <a:lnTo>
                    <a:pt x="248"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180000" numCol="1" anchor="t" anchorCtr="0" compatLnSpc="1">
              <a:no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smtClean="0">
                <a:ln>
                  <a:noFill/>
                </a:ln>
                <a:solidFill>
                  <a:schemeClr val="bg1">
                    <a:lumMod val="50000"/>
                  </a:schemeClr>
                </a:solidFill>
                <a:effectLst/>
                <a:uLnTx/>
                <a:uFillTx/>
                <a:cs typeface="+mn-ea"/>
                <a:sym typeface="+mn-lt"/>
              </a:endParaRPr>
            </a:p>
          </p:txBody>
        </p:sp>
        <p:sp>
          <p:nvSpPr>
            <p:cNvPr id="231" name="Freeform 46"/>
            <p:cNvSpPr/>
            <p:nvPr/>
          </p:nvSpPr>
          <p:spPr bwMode="auto">
            <a:xfrm>
              <a:off x="4868863" y="4752975"/>
              <a:ext cx="342900" cy="854075"/>
            </a:xfrm>
            <a:custGeom>
              <a:avLst/>
              <a:gdLst>
                <a:gd name="T0" fmla="*/ 808 w 1080"/>
                <a:gd name="T1" fmla="*/ 3 h 2686"/>
                <a:gd name="T2" fmla="*/ 932 w 1080"/>
                <a:gd name="T3" fmla="*/ 50 h 2686"/>
                <a:gd name="T4" fmla="*/ 1024 w 1080"/>
                <a:gd name="T5" fmla="*/ 142 h 2686"/>
                <a:gd name="T6" fmla="*/ 1071 w 1080"/>
                <a:gd name="T7" fmla="*/ 265 h 2686"/>
                <a:gd name="T8" fmla="*/ 1078 w 1080"/>
                <a:gd name="T9" fmla="*/ 1305 h 2686"/>
                <a:gd name="T10" fmla="*/ 1042 w 1080"/>
                <a:gd name="T11" fmla="*/ 1372 h 2686"/>
                <a:gd name="T12" fmla="*/ 975 w 1080"/>
                <a:gd name="T13" fmla="*/ 1408 h 2686"/>
                <a:gd name="T14" fmla="*/ 921 w 1080"/>
                <a:gd name="T15" fmla="*/ 1408 h 2686"/>
                <a:gd name="T16" fmla="*/ 855 w 1080"/>
                <a:gd name="T17" fmla="*/ 1373 h 2686"/>
                <a:gd name="T18" fmla="*/ 819 w 1080"/>
                <a:gd name="T19" fmla="*/ 1307 h 2686"/>
                <a:gd name="T20" fmla="*/ 809 w 1080"/>
                <a:gd name="T21" fmla="*/ 301 h 2686"/>
                <a:gd name="T22" fmla="*/ 784 w 1080"/>
                <a:gd name="T23" fmla="*/ 284 h 2686"/>
                <a:gd name="T24" fmla="*/ 758 w 1080"/>
                <a:gd name="T25" fmla="*/ 301 h 2686"/>
                <a:gd name="T26" fmla="*/ 756 w 1080"/>
                <a:gd name="T27" fmla="*/ 327 h 2686"/>
                <a:gd name="T28" fmla="*/ 757 w 1080"/>
                <a:gd name="T29" fmla="*/ 405 h 2686"/>
                <a:gd name="T30" fmla="*/ 757 w 1080"/>
                <a:gd name="T31" fmla="*/ 541 h 2686"/>
                <a:gd name="T32" fmla="*/ 757 w 1080"/>
                <a:gd name="T33" fmla="*/ 722 h 2686"/>
                <a:gd name="T34" fmla="*/ 757 w 1080"/>
                <a:gd name="T35" fmla="*/ 936 h 2686"/>
                <a:gd name="T36" fmla="*/ 758 w 1080"/>
                <a:gd name="T37" fmla="*/ 1174 h 2686"/>
                <a:gd name="T38" fmla="*/ 758 w 1080"/>
                <a:gd name="T39" fmla="*/ 1424 h 2686"/>
                <a:gd name="T40" fmla="*/ 758 w 1080"/>
                <a:gd name="T41" fmla="*/ 1674 h 2686"/>
                <a:gd name="T42" fmla="*/ 758 w 1080"/>
                <a:gd name="T43" fmla="*/ 1912 h 2686"/>
                <a:gd name="T44" fmla="*/ 759 w 1080"/>
                <a:gd name="T45" fmla="*/ 2128 h 2686"/>
                <a:gd name="T46" fmla="*/ 759 w 1080"/>
                <a:gd name="T47" fmla="*/ 2310 h 2686"/>
                <a:gd name="T48" fmla="*/ 759 w 1080"/>
                <a:gd name="T49" fmla="*/ 2447 h 2686"/>
                <a:gd name="T50" fmla="*/ 759 w 1080"/>
                <a:gd name="T51" fmla="*/ 2527 h 2686"/>
                <a:gd name="T52" fmla="*/ 732 w 1080"/>
                <a:gd name="T53" fmla="*/ 2616 h 2686"/>
                <a:gd name="T54" fmla="*/ 663 w 1080"/>
                <a:gd name="T55" fmla="*/ 2674 h 2686"/>
                <a:gd name="T56" fmla="*/ 570 w 1080"/>
                <a:gd name="T57" fmla="*/ 2682 h 2686"/>
                <a:gd name="T58" fmla="*/ 490 w 1080"/>
                <a:gd name="T59" fmla="*/ 2640 h 2686"/>
                <a:gd name="T60" fmla="*/ 446 w 1080"/>
                <a:gd name="T61" fmla="*/ 2560 h 2686"/>
                <a:gd name="T62" fmla="*/ 472 w 1080"/>
                <a:gd name="T63" fmla="*/ 2463 h 2686"/>
                <a:gd name="T64" fmla="*/ 540 w 1080"/>
                <a:gd name="T65" fmla="*/ 2384 h 2686"/>
                <a:gd name="T66" fmla="*/ 565 w 1080"/>
                <a:gd name="T67" fmla="*/ 2281 h 2686"/>
                <a:gd name="T68" fmla="*/ 554 w 1080"/>
                <a:gd name="T69" fmla="*/ 1618 h 2686"/>
                <a:gd name="T70" fmla="*/ 502 w 1080"/>
                <a:gd name="T71" fmla="*/ 1531 h 2686"/>
                <a:gd name="T72" fmla="*/ 418 w 1080"/>
                <a:gd name="T73" fmla="*/ 1475 h 2686"/>
                <a:gd name="T74" fmla="*/ 349 w 1080"/>
                <a:gd name="T75" fmla="*/ 1435 h 2686"/>
                <a:gd name="T76" fmla="*/ 322 w 1080"/>
                <a:gd name="T77" fmla="*/ 1323 h 2686"/>
                <a:gd name="T78" fmla="*/ 251 w 1080"/>
                <a:gd name="T79" fmla="*/ 1238 h 2686"/>
                <a:gd name="T80" fmla="*/ 181 w 1080"/>
                <a:gd name="T81" fmla="*/ 383 h 2686"/>
                <a:gd name="T82" fmla="*/ 153 w 1080"/>
                <a:gd name="T83" fmla="*/ 220 h 2686"/>
                <a:gd name="T84" fmla="*/ 75 w 1080"/>
                <a:gd name="T85" fmla="*/ 81 h 2686"/>
                <a:gd name="T86" fmla="*/ 28 w 1080"/>
                <a:gd name="T87" fmla="*/ 2 h 2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80" h="2686">
                  <a:moveTo>
                    <a:pt x="56" y="0"/>
                  </a:moveTo>
                  <a:lnTo>
                    <a:pt x="764" y="0"/>
                  </a:lnTo>
                  <a:lnTo>
                    <a:pt x="808" y="3"/>
                  </a:lnTo>
                  <a:lnTo>
                    <a:pt x="852" y="13"/>
                  </a:lnTo>
                  <a:lnTo>
                    <a:pt x="894" y="29"/>
                  </a:lnTo>
                  <a:lnTo>
                    <a:pt x="932" y="50"/>
                  </a:lnTo>
                  <a:lnTo>
                    <a:pt x="967" y="76"/>
                  </a:lnTo>
                  <a:lnTo>
                    <a:pt x="998" y="107"/>
                  </a:lnTo>
                  <a:lnTo>
                    <a:pt x="1024" y="142"/>
                  </a:lnTo>
                  <a:lnTo>
                    <a:pt x="1045" y="179"/>
                  </a:lnTo>
                  <a:lnTo>
                    <a:pt x="1061" y="221"/>
                  </a:lnTo>
                  <a:lnTo>
                    <a:pt x="1071" y="265"/>
                  </a:lnTo>
                  <a:lnTo>
                    <a:pt x="1074" y="311"/>
                  </a:lnTo>
                  <a:lnTo>
                    <a:pt x="1080" y="1279"/>
                  </a:lnTo>
                  <a:lnTo>
                    <a:pt x="1078" y="1305"/>
                  </a:lnTo>
                  <a:lnTo>
                    <a:pt x="1070" y="1330"/>
                  </a:lnTo>
                  <a:lnTo>
                    <a:pt x="1058" y="1353"/>
                  </a:lnTo>
                  <a:lnTo>
                    <a:pt x="1042" y="1372"/>
                  </a:lnTo>
                  <a:lnTo>
                    <a:pt x="1022" y="1389"/>
                  </a:lnTo>
                  <a:lnTo>
                    <a:pt x="1000" y="1401"/>
                  </a:lnTo>
                  <a:lnTo>
                    <a:pt x="975" y="1408"/>
                  </a:lnTo>
                  <a:lnTo>
                    <a:pt x="949" y="1412"/>
                  </a:lnTo>
                  <a:lnTo>
                    <a:pt x="949" y="1412"/>
                  </a:lnTo>
                  <a:lnTo>
                    <a:pt x="921" y="1408"/>
                  </a:lnTo>
                  <a:lnTo>
                    <a:pt x="897" y="1401"/>
                  </a:lnTo>
                  <a:lnTo>
                    <a:pt x="874" y="1389"/>
                  </a:lnTo>
                  <a:lnTo>
                    <a:pt x="855" y="1373"/>
                  </a:lnTo>
                  <a:lnTo>
                    <a:pt x="839" y="1354"/>
                  </a:lnTo>
                  <a:lnTo>
                    <a:pt x="827" y="1331"/>
                  </a:lnTo>
                  <a:lnTo>
                    <a:pt x="819" y="1307"/>
                  </a:lnTo>
                  <a:lnTo>
                    <a:pt x="816" y="1280"/>
                  </a:lnTo>
                  <a:lnTo>
                    <a:pt x="812" y="312"/>
                  </a:lnTo>
                  <a:lnTo>
                    <a:pt x="809" y="301"/>
                  </a:lnTo>
                  <a:lnTo>
                    <a:pt x="803" y="292"/>
                  </a:lnTo>
                  <a:lnTo>
                    <a:pt x="794" y="287"/>
                  </a:lnTo>
                  <a:lnTo>
                    <a:pt x="784" y="284"/>
                  </a:lnTo>
                  <a:lnTo>
                    <a:pt x="773" y="287"/>
                  </a:lnTo>
                  <a:lnTo>
                    <a:pt x="765" y="292"/>
                  </a:lnTo>
                  <a:lnTo>
                    <a:pt x="758" y="301"/>
                  </a:lnTo>
                  <a:lnTo>
                    <a:pt x="756" y="312"/>
                  </a:lnTo>
                  <a:lnTo>
                    <a:pt x="756" y="315"/>
                  </a:lnTo>
                  <a:lnTo>
                    <a:pt x="756" y="327"/>
                  </a:lnTo>
                  <a:lnTo>
                    <a:pt x="756" y="346"/>
                  </a:lnTo>
                  <a:lnTo>
                    <a:pt x="756" y="372"/>
                  </a:lnTo>
                  <a:lnTo>
                    <a:pt x="757" y="405"/>
                  </a:lnTo>
                  <a:lnTo>
                    <a:pt x="757" y="444"/>
                  </a:lnTo>
                  <a:lnTo>
                    <a:pt x="757" y="489"/>
                  </a:lnTo>
                  <a:lnTo>
                    <a:pt x="757" y="541"/>
                  </a:lnTo>
                  <a:lnTo>
                    <a:pt x="757" y="597"/>
                  </a:lnTo>
                  <a:lnTo>
                    <a:pt x="757" y="657"/>
                  </a:lnTo>
                  <a:lnTo>
                    <a:pt x="757" y="722"/>
                  </a:lnTo>
                  <a:lnTo>
                    <a:pt x="757" y="789"/>
                  </a:lnTo>
                  <a:lnTo>
                    <a:pt x="757" y="862"/>
                  </a:lnTo>
                  <a:lnTo>
                    <a:pt x="757" y="936"/>
                  </a:lnTo>
                  <a:lnTo>
                    <a:pt x="757" y="1014"/>
                  </a:lnTo>
                  <a:lnTo>
                    <a:pt x="757" y="1093"/>
                  </a:lnTo>
                  <a:lnTo>
                    <a:pt x="758" y="1174"/>
                  </a:lnTo>
                  <a:lnTo>
                    <a:pt x="758" y="1257"/>
                  </a:lnTo>
                  <a:lnTo>
                    <a:pt x="758" y="1340"/>
                  </a:lnTo>
                  <a:lnTo>
                    <a:pt x="758" y="1424"/>
                  </a:lnTo>
                  <a:lnTo>
                    <a:pt x="758" y="1508"/>
                  </a:lnTo>
                  <a:lnTo>
                    <a:pt x="758" y="1591"/>
                  </a:lnTo>
                  <a:lnTo>
                    <a:pt x="758" y="1674"/>
                  </a:lnTo>
                  <a:lnTo>
                    <a:pt x="758" y="1755"/>
                  </a:lnTo>
                  <a:lnTo>
                    <a:pt x="758" y="1835"/>
                  </a:lnTo>
                  <a:lnTo>
                    <a:pt x="758" y="1912"/>
                  </a:lnTo>
                  <a:lnTo>
                    <a:pt x="758" y="1987"/>
                  </a:lnTo>
                  <a:lnTo>
                    <a:pt x="759" y="2059"/>
                  </a:lnTo>
                  <a:lnTo>
                    <a:pt x="759" y="2128"/>
                  </a:lnTo>
                  <a:lnTo>
                    <a:pt x="759" y="2193"/>
                  </a:lnTo>
                  <a:lnTo>
                    <a:pt x="759" y="2254"/>
                  </a:lnTo>
                  <a:lnTo>
                    <a:pt x="759" y="2310"/>
                  </a:lnTo>
                  <a:lnTo>
                    <a:pt x="759" y="2361"/>
                  </a:lnTo>
                  <a:lnTo>
                    <a:pt x="759" y="2407"/>
                  </a:lnTo>
                  <a:lnTo>
                    <a:pt x="759" y="2447"/>
                  </a:lnTo>
                  <a:lnTo>
                    <a:pt x="759" y="2481"/>
                  </a:lnTo>
                  <a:lnTo>
                    <a:pt x="759" y="2507"/>
                  </a:lnTo>
                  <a:lnTo>
                    <a:pt x="759" y="2527"/>
                  </a:lnTo>
                  <a:lnTo>
                    <a:pt x="756" y="2560"/>
                  </a:lnTo>
                  <a:lnTo>
                    <a:pt x="747" y="2589"/>
                  </a:lnTo>
                  <a:lnTo>
                    <a:pt x="732" y="2616"/>
                  </a:lnTo>
                  <a:lnTo>
                    <a:pt x="713" y="2640"/>
                  </a:lnTo>
                  <a:lnTo>
                    <a:pt x="689" y="2658"/>
                  </a:lnTo>
                  <a:lnTo>
                    <a:pt x="663" y="2674"/>
                  </a:lnTo>
                  <a:lnTo>
                    <a:pt x="633" y="2682"/>
                  </a:lnTo>
                  <a:lnTo>
                    <a:pt x="601" y="2686"/>
                  </a:lnTo>
                  <a:lnTo>
                    <a:pt x="570" y="2682"/>
                  </a:lnTo>
                  <a:lnTo>
                    <a:pt x="539" y="2674"/>
                  </a:lnTo>
                  <a:lnTo>
                    <a:pt x="513" y="2658"/>
                  </a:lnTo>
                  <a:lnTo>
                    <a:pt x="490" y="2640"/>
                  </a:lnTo>
                  <a:lnTo>
                    <a:pt x="470" y="2616"/>
                  </a:lnTo>
                  <a:lnTo>
                    <a:pt x="456" y="2589"/>
                  </a:lnTo>
                  <a:lnTo>
                    <a:pt x="446" y="2560"/>
                  </a:lnTo>
                  <a:lnTo>
                    <a:pt x="443" y="2527"/>
                  </a:lnTo>
                  <a:lnTo>
                    <a:pt x="443" y="2482"/>
                  </a:lnTo>
                  <a:lnTo>
                    <a:pt x="472" y="2463"/>
                  </a:lnTo>
                  <a:lnTo>
                    <a:pt x="499" y="2440"/>
                  </a:lnTo>
                  <a:lnTo>
                    <a:pt x="522" y="2414"/>
                  </a:lnTo>
                  <a:lnTo>
                    <a:pt x="540" y="2384"/>
                  </a:lnTo>
                  <a:lnTo>
                    <a:pt x="553" y="2353"/>
                  </a:lnTo>
                  <a:lnTo>
                    <a:pt x="562" y="2318"/>
                  </a:lnTo>
                  <a:lnTo>
                    <a:pt x="565" y="2281"/>
                  </a:lnTo>
                  <a:lnTo>
                    <a:pt x="565" y="1688"/>
                  </a:lnTo>
                  <a:lnTo>
                    <a:pt x="562" y="1652"/>
                  </a:lnTo>
                  <a:lnTo>
                    <a:pt x="554" y="1618"/>
                  </a:lnTo>
                  <a:lnTo>
                    <a:pt x="541" y="1586"/>
                  </a:lnTo>
                  <a:lnTo>
                    <a:pt x="524" y="1557"/>
                  </a:lnTo>
                  <a:lnTo>
                    <a:pt x="502" y="1531"/>
                  </a:lnTo>
                  <a:lnTo>
                    <a:pt x="477" y="1508"/>
                  </a:lnTo>
                  <a:lnTo>
                    <a:pt x="448" y="1489"/>
                  </a:lnTo>
                  <a:lnTo>
                    <a:pt x="418" y="1475"/>
                  </a:lnTo>
                  <a:lnTo>
                    <a:pt x="384" y="1465"/>
                  </a:lnTo>
                  <a:lnTo>
                    <a:pt x="349" y="1462"/>
                  </a:lnTo>
                  <a:lnTo>
                    <a:pt x="349" y="1435"/>
                  </a:lnTo>
                  <a:lnTo>
                    <a:pt x="346" y="1395"/>
                  </a:lnTo>
                  <a:lnTo>
                    <a:pt x="337" y="1358"/>
                  </a:lnTo>
                  <a:lnTo>
                    <a:pt x="322" y="1323"/>
                  </a:lnTo>
                  <a:lnTo>
                    <a:pt x="303" y="1291"/>
                  </a:lnTo>
                  <a:lnTo>
                    <a:pt x="278" y="1263"/>
                  </a:lnTo>
                  <a:lnTo>
                    <a:pt x="251" y="1238"/>
                  </a:lnTo>
                  <a:lnTo>
                    <a:pt x="219" y="1217"/>
                  </a:lnTo>
                  <a:lnTo>
                    <a:pt x="185" y="1201"/>
                  </a:lnTo>
                  <a:lnTo>
                    <a:pt x="181" y="383"/>
                  </a:lnTo>
                  <a:lnTo>
                    <a:pt x="178" y="327"/>
                  </a:lnTo>
                  <a:lnTo>
                    <a:pt x="168" y="272"/>
                  </a:lnTo>
                  <a:lnTo>
                    <a:pt x="153" y="220"/>
                  </a:lnTo>
                  <a:lnTo>
                    <a:pt x="132" y="171"/>
                  </a:lnTo>
                  <a:lnTo>
                    <a:pt x="106" y="125"/>
                  </a:lnTo>
                  <a:lnTo>
                    <a:pt x="75" y="81"/>
                  </a:lnTo>
                  <a:lnTo>
                    <a:pt x="40" y="41"/>
                  </a:lnTo>
                  <a:lnTo>
                    <a:pt x="0" y="5"/>
                  </a:lnTo>
                  <a:lnTo>
                    <a:pt x="28" y="2"/>
                  </a:lnTo>
                  <a:lnTo>
                    <a:pt x="56"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180000" numCol="1" anchor="t" anchorCtr="0" compatLnSpc="1">
              <a:no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smtClean="0">
                <a:ln>
                  <a:noFill/>
                </a:ln>
                <a:solidFill>
                  <a:schemeClr val="bg1">
                    <a:lumMod val="50000"/>
                  </a:schemeClr>
                </a:solidFill>
                <a:effectLst/>
                <a:uLnTx/>
                <a:uFillTx/>
                <a:cs typeface="+mn-ea"/>
                <a:sym typeface="+mn-lt"/>
              </a:endParaRPr>
            </a:p>
          </p:txBody>
        </p:sp>
        <p:sp>
          <p:nvSpPr>
            <p:cNvPr id="232" name="Freeform 47"/>
            <p:cNvSpPr/>
            <p:nvPr/>
          </p:nvSpPr>
          <p:spPr bwMode="auto">
            <a:xfrm>
              <a:off x="4886325" y="5548313"/>
              <a:ext cx="101600" cy="58738"/>
            </a:xfrm>
            <a:custGeom>
              <a:avLst/>
              <a:gdLst>
                <a:gd name="T0" fmla="*/ 317 w 317"/>
                <a:gd name="T1" fmla="*/ 0 h 182"/>
                <a:gd name="T2" fmla="*/ 317 w 317"/>
                <a:gd name="T3" fmla="*/ 23 h 182"/>
                <a:gd name="T4" fmla="*/ 314 w 317"/>
                <a:gd name="T5" fmla="*/ 56 h 182"/>
                <a:gd name="T6" fmla="*/ 305 w 317"/>
                <a:gd name="T7" fmla="*/ 85 h 182"/>
                <a:gd name="T8" fmla="*/ 289 w 317"/>
                <a:gd name="T9" fmla="*/ 112 h 182"/>
                <a:gd name="T10" fmla="*/ 271 w 317"/>
                <a:gd name="T11" fmla="*/ 136 h 182"/>
                <a:gd name="T12" fmla="*/ 247 w 317"/>
                <a:gd name="T13" fmla="*/ 154 h 182"/>
                <a:gd name="T14" fmla="*/ 220 w 317"/>
                <a:gd name="T15" fmla="*/ 170 h 182"/>
                <a:gd name="T16" fmla="*/ 191 w 317"/>
                <a:gd name="T17" fmla="*/ 178 h 182"/>
                <a:gd name="T18" fmla="*/ 159 w 317"/>
                <a:gd name="T19" fmla="*/ 182 h 182"/>
                <a:gd name="T20" fmla="*/ 126 w 317"/>
                <a:gd name="T21" fmla="*/ 178 h 182"/>
                <a:gd name="T22" fmla="*/ 97 w 317"/>
                <a:gd name="T23" fmla="*/ 170 h 182"/>
                <a:gd name="T24" fmla="*/ 71 w 317"/>
                <a:gd name="T25" fmla="*/ 154 h 182"/>
                <a:gd name="T26" fmla="*/ 46 w 317"/>
                <a:gd name="T27" fmla="*/ 136 h 182"/>
                <a:gd name="T28" fmla="*/ 28 w 317"/>
                <a:gd name="T29" fmla="*/ 112 h 182"/>
                <a:gd name="T30" fmla="*/ 12 w 317"/>
                <a:gd name="T31" fmla="*/ 85 h 182"/>
                <a:gd name="T32" fmla="*/ 4 w 317"/>
                <a:gd name="T33" fmla="*/ 56 h 182"/>
                <a:gd name="T34" fmla="*/ 0 w 317"/>
                <a:gd name="T35" fmla="*/ 23 h 182"/>
                <a:gd name="T36" fmla="*/ 0 w 317"/>
                <a:gd name="T37" fmla="*/ 3 h 182"/>
                <a:gd name="T38" fmla="*/ 58 w 317"/>
                <a:gd name="T39" fmla="*/ 3 h 182"/>
                <a:gd name="T40" fmla="*/ 108 w 317"/>
                <a:gd name="T41" fmla="*/ 3 h 182"/>
                <a:gd name="T42" fmla="*/ 149 w 317"/>
                <a:gd name="T43" fmla="*/ 3 h 182"/>
                <a:gd name="T44" fmla="*/ 185 w 317"/>
                <a:gd name="T45" fmla="*/ 3 h 182"/>
                <a:gd name="T46" fmla="*/ 214 w 317"/>
                <a:gd name="T47" fmla="*/ 3 h 182"/>
                <a:gd name="T48" fmla="*/ 238 w 317"/>
                <a:gd name="T49" fmla="*/ 3 h 182"/>
                <a:gd name="T50" fmla="*/ 258 w 317"/>
                <a:gd name="T51" fmla="*/ 3 h 182"/>
                <a:gd name="T52" fmla="*/ 272 w 317"/>
                <a:gd name="T53" fmla="*/ 3 h 182"/>
                <a:gd name="T54" fmla="*/ 284 w 317"/>
                <a:gd name="T55" fmla="*/ 3 h 182"/>
                <a:gd name="T56" fmla="*/ 293 w 317"/>
                <a:gd name="T57" fmla="*/ 3 h 182"/>
                <a:gd name="T58" fmla="*/ 299 w 317"/>
                <a:gd name="T59" fmla="*/ 2 h 182"/>
                <a:gd name="T60" fmla="*/ 305 w 317"/>
                <a:gd name="T61" fmla="*/ 2 h 182"/>
                <a:gd name="T62" fmla="*/ 308 w 317"/>
                <a:gd name="T63" fmla="*/ 2 h 182"/>
                <a:gd name="T64" fmla="*/ 312 w 317"/>
                <a:gd name="T65" fmla="*/ 1 h 182"/>
                <a:gd name="T66" fmla="*/ 317 w 317"/>
                <a:gd name="T6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7" h="182">
                  <a:moveTo>
                    <a:pt x="317" y="0"/>
                  </a:moveTo>
                  <a:lnTo>
                    <a:pt x="317" y="23"/>
                  </a:lnTo>
                  <a:lnTo>
                    <a:pt x="314" y="56"/>
                  </a:lnTo>
                  <a:lnTo>
                    <a:pt x="305" y="85"/>
                  </a:lnTo>
                  <a:lnTo>
                    <a:pt x="289" y="112"/>
                  </a:lnTo>
                  <a:lnTo>
                    <a:pt x="271" y="136"/>
                  </a:lnTo>
                  <a:lnTo>
                    <a:pt x="247" y="154"/>
                  </a:lnTo>
                  <a:lnTo>
                    <a:pt x="220" y="170"/>
                  </a:lnTo>
                  <a:lnTo>
                    <a:pt x="191" y="178"/>
                  </a:lnTo>
                  <a:lnTo>
                    <a:pt x="159" y="182"/>
                  </a:lnTo>
                  <a:lnTo>
                    <a:pt x="126" y="178"/>
                  </a:lnTo>
                  <a:lnTo>
                    <a:pt x="97" y="170"/>
                  </a:lnTo>
                  <a:lnTo>
                    <a:pt x="71" y="154"/>
                  </a:lnTo>
                  <a:lnTo>
                    <a:pt x="46" y="136"/>
                  </a:lnTo>
                  <a:lnTo>
                    <a:pt x="28" y="112"/>
                  </a:lnTo>
                  <a:lnTo>
                    <a:pt x="12" y="85"/>
                  </a:lnTo>
                  <a:lnTo>
                    <a:pt x="4" y="56"/>
                  </a:lnTo>
                  <a:lnTo>
                    <a:pt x="0" y="23"/>
                  </a:lnTo>
                  <a:lnTo>
                    <a:pt x="0" y="3"/>
                  </a:lnTo>
                  <a:lnTo>
                    <a:pt x="58" y="3"/>
                  </a:lnTo>
                  <a:lnTo>
                    <a:pt x="108" y="3"/>
                  </a:lnTo>
                  <a:lnTo>
                    <a:pt x="149" y="3"/>
                  </a:lnTo>
                  <a:lnTo>
                    <a:pt x="185" y="3"/>
                  </a:lnTo>
                  <a:lnTo>
                    <a:pt x="214" y="3"/>
                  </a:lnTo>
                  <a:lnTo>
                    <a:pt x="238" y="3"/>
                  </a:lnTo>
                  <a:lnTo>
                    <a:pt x="258" y="3"/>
                  </a:lnTo>
                  <a:lnTo>
                    <a:pt x="272" y="3"/>
                  </a:lnTo>
                  <a:lnTo>
                    <a:pt x="284" y="3"/>
                  </a:lnTo>
                  <a:lnTo>
                    <a:pt x="293" y="3"/>
                  </a:lnTo>
                  <a:lnTo>
                    <a:pt x="299" y="2"/>
                  </a:lnTo>
                  <a:lnTo>
                    <a:pt x="305" y="2"/>
                  </a:lnTo>
                  <a:lnTo>
                    <a:pt x="308" y="2"/>
                  </a:lnTo>
                  <a:lnTo>
                    <a:pt x="312" y="1"/>
                  </a:lnTo>
                  <a:lnTo>
                    <a:pt x="317"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180000" numCol="1" anchor="t" anchorCtr="0" compatLnSpc="1">
              <a:no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smtClean="0">
                <a:ln>
                  <a:noFill/>
                </a:ln>
                <a:solidFill>
                  <a:schemeClr val="bg1">
                    <a:lumMod val="50000"/>
                  </a:schemeClr>
                </a:solidFill>
                <a:effectLst/>
                <a:uLnTx/>
                <a:uFillTx/>
                <a:cs typeface="+mn-ea"/>
                <a:sym typeface="+mn-lt"/>
              </a:endParaRPr>
            </a:p>
          </p:txBody>
        </p:sp>
        <p:sp>
          <p:nvSpPr>
            <p:cNvPr id="233" name="Freeform 48"/>
            <p:cNvSpPr/>
            <p:nvPr/>
          </p:nvSpPr>
          <p:spPr bwMode="auto">
            <a:xfrm>
              <a:off x="4556125" y="4552950"/>
              <a:ext cx="185738" cy="187325"/>
            </a:xfrm>
            <a:custGeom>
              <a:avLst/>
              <a:gdLst>
                <a:gd name="T0" fmla="*/ 295 w 589"/>
                <a:gd name="T1" fmla="*/ 0 h 590"/>
                <a:gd name="T2" fmla="*/ 338 w 589"/>
                <a:gd name="T3" fmla="*/ 4 h 590"/>
                <a:gd name="T4" fmla="*/ 380 w 589"/>
                <a:gd name="T5" fmla="*/ 13 h 590"/>
                <a:gd name="T6" fmla="*/ 418 w 589"/>
                <a:gd name="T7" fmla="*/ 28 h 590"/>
                <a:gd name="T8" fmla="*/ 454 w 589"/>
                <a:gd name="T9" fmla="*/ 48 h 590"/>
                <a:gd name="T10" fmla="*/ 487 w 589"/>
                <a:gd name="T11" fmla="*/ 73 h 590"/>
                <a:gd name="T12" fmla="*/ 517 w 589"/>
                <a:gd name="T13" fmla="*/ 101 h 590"/>
                <a:gd name="T14" fmla="*/ 541 w 589"/>
                <a:gd name="T15" fmla="*/ 134 h 590"/>
                <a:gd name="T16" fmla="*/ 562 w 589"/>
                <a:gd name="T17" fmla="*/ 170 h 590"/>
                <a:gd name="T18" fmla="*/ 576 w 589"/>
                <a:gd name="T19" fmla="*/ 210 h 590"/>
                <a:gd name="T20" fmla="*/ 586 w 589"/>
                <a:gd name="T21" fmla="*/ 251 h 590"/>
                <a:gd name="T22" fmla="*/ 589 w 589"/>
                <a:gd name="T23" fmla="*/ 295 h 590"/>
                <a:gd name="T24" fmla="*/ 586 w 589"/>
                <a:gd name="T25" fmla="*/ 339 h 590"/>
                <a:gd name="T26" fmla="*/ 576 w 589"/>
                <a:gd name="T27" fmla="*/ 381 h 590"/>
                <a:gd name="T28" fmla="*/ 562 w 589"/>
                <a:gd name="T29" fmla="*/ 419 h 590"/>
                <a:gd name="T30" fmla="*/ 541 w 589"/>
                <a:gd name="T31" fmla="*/ 455 h 590"/>
                <a:gd name="T32" fmla="*/ 517 w 589"/>
                <a:gd name="T33" fmla="*/ 488 h 590"/>
                <a:gd name="T34" fmla="*/ 487 w 589"/>
                <a:gd name="T35" fmla="*/ 518 h 590"/>
                <a:gd name="T36" fmla="*/ 454 w 589"/>
                <a:gd name="T37" fmla="*/ 542 h 590"/>
                <a:gd name="T38" fmla="*/ 418 w 589"/>
                <a:gd name="T39" fmla="*/ 562 h 590"/>
                <a:gd name="T40" fmla="*/ 380 w 589"/>
                <a:gd name="T41" fmla="*/ 577 h 590"/>
                <a:gd name="T42" fmla="*/ 338 w 589"/>
                <a:gd name="T43" fmla="*/ 587 h 590"/>
                <a:gd name="T44" fmla="*/ 295 w 589"/>
                <a:gd name="T45" fmla="*/ 590 h 590"/>
                <a:gd name="T46" fmla="*/ 251 w 589"/>
                <a:gd name="T47" fmla="*/ 587 h 590"/>
                <a:gd name="T48" fmla="*/ 210 w 589"/>
                <a:gd name="T49" fmla="*/ 577 h 590"/>
                <a:gd name="T50" fmla="*/ 171 w 589"/>
                <a:gd name="T51" fmla="*/ 562 h 590"/>
                <a:gd name="T52" fmla="*/ 135 w 589"/>
                <a:gd name="T53" fmla="*/ 542 h 590"/>
                <a:gd name="T54" fmla="*/ 102 w 589"/>
                <a:gd name="T55" fmla="*/ 518 h 590"/>
                <a:gd name="T56" fmla="*/ 72 w 589"/>
                <a:gd name="T57" fmla="*/ 488 h 590"/>
                <a:gd name="T58" fmla="*/ 48 w 589"/>
                <a:gd name="T59" fmla="*/ 455 h 590"/>
                <a:gd name="T60" fmla="*/ 27 w 589"/>
                <a:gd name="T61" fmla="*/ 419 h 590"/>
                <a:gd name="T62" fmla="*/ 13 w 589"/>
                <a:gd name="T63" fmla="*/ 381 h 590"/>
                <a:gd name="T64" fmla="*/ 3 w 589"/>
                <a:gd name="T65" fmla="*/ 339 h 590"/>
                <a:gd name="T66" fmla="*/ 0 w 589"/>
                <a:gd name="T67" fmla="*/ 295 h 590"/>
                <a:gd name="T68" fmla="*/ 3 w 589"/>
                <a:gd name="T69" fmla="*/ 251 h 590"/>
                <a:gd name="T70" fmla="*/ 13 w 589"/>
                <a:gd name="T71" fmla="*/ 210 h 590"/>
                <a:gd name="T72" fmla="*/ 27 w 589"/>
                <a:gd name="T73" fmla="*/ 171 h 590"/>
                <a:gd name="T74" fmla="*/ 48 w 589"/>
                <a:gd name="T75" fmla="*/ 134 h 590"/>
                <a:gd name="T76" fmla="*/ 72 w 589"/>
                <a:gd name="T77" fmla="*/ 101 h 590"/>
                <a:gd name="T78" fmla="*/ 102 w 589"/>
                <a:gd name="T79" fmla="*/ 73 h 590"/>
                <a:gd name="T80" fmla="*/ 135 w 589"/>
                <a:gd name="T81" fmla="*/ 48 h 590"/>
                <a:gd name="T82" fmla="*/ 171 w 589"/>
                <a:gd name="T83" fmla="*/ 28 h 590"/>
                <a:gd name="T84" fmla="*/ 210 w 589"/>
                <a:gd name="T85" fmla="*/ 13 h 590"/>
                <a:gd name="T86" fmla="*/ 251 w 589"/>
                <a:gd name="T87" fmla="*/ 4 h 590"/>
                <a:gd name="T88" fmla="*/ 295 w 589"/>
                <a:gd name="T89" fmla="*/ 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9" h="590">
                  <a:moveTo>
                    <a:pt x="295" y="0"/>
                  </a:moveTo>
                  <a:lnTo>
                    <a:pt x="338" y="4"/>
                  </a:lnTo>
                  <a:lnTo>
                    <a:pt x="380" y="13"/>
                  </a:lnTo>
                  <a:lnTo>
                    <a:pt x="418" y="28"/>
                  </a:lnTo>
                  <a:lnTo>
                    <a:pt x="454" y="48"/>
                  </a:lnTo>
                  <a:lnTo>
                    <a:pt x="487" y="73"/>
                  </a:lnTo>
                  <a:lnTo>
                    <a:pt x="517" y="101"/>
                  </a:lnTo>
                  <a:lnTo>
                    <a:pt x="541" y="134"/>
                  </a:lnTo>
                  <a:lnTo>
                    <a:pt x="562" y="170"/>
                  </a:lnTo>
                  <a:lnTo>
                    <a:pt x="576" y="210"/>
                  </a:lnTo>
                  <a:lnTo>
                    <a:pt x="586" y="251"/>
                  </a:lnTo>
                  <a:lnTo>
                    <a:pt x="589" y="295"/>
                  </a:lnTo>
                  <a:lnTo>
                    <a:pt x="586" y="339"/>
                  </a:lnTo>
                  <a:lnTo>
                    <a:pt x="576" y="381"/>
                  </a:lnTo>
                  <a:lnTo>
                    <a:pt x="562" y="419"/>
                  </a:lnTo>
                  <a:lnTo>
                    <a:pt x="541" y="455"/>
                  </a:lnTo>
                  <a:lnTo>
                    <a:pt x="517" y="488"/>
                  </a:lnTo>
                  <a:lnTo>
                    <a:pt x="487" y="518"/>
                  </a:lnTo>
                  <a:lnTo>
                    <a:pt x="454" y="542"/>
                  </a:lnTo>
                  <a:lnTo>
                    <a:pt x="418" y="562"/>
                  </a:lnTo>
                  <a:lnTo>
                    <a:pt x="380" y="577"/>
                  </a:lnTo>
                  <a:lnTo>
                    <a:pt x="338" y="587"/>
                  </a:lnTo>
                  <a:lnTo>
                    <a:pt x="295" y="590"/>
                  </a:lnTo>
                  <a:lnTo>
                    <a:pt x="251" y="587"/>
                  </a:lnTo>
                  <a:lnTo>
                    <a:pt x="210" y="577"/>
                  </a:lnTo>
                  <a:lnTo>
                    <a:pt x="171" y="562"/>
                  </a:lnTo>
                  <a:lnTo>
                    <a:pt x="135" y="542"/>
                  </a:lnTo>
                  <a:lnTo>
                    <a:pt x="102" y="518"/>
                  </a:lnTo>
                  <a:lnTo>
                    <a:pt x="72" y="488"/>
                  </a:lnTo>
                  <a:lnTo>
                    <a:pt x="48" y="455"/>
                  </a:lnTo>
                  <a:lnTo>
                    <a:pt x="27" y="419"/>
                  </a:lnTo>
                  <a:lnTo>
                    <a:pt x="13" y="381"/>
                  </a:lnTo>
                  <a:lnTo>
                    <a:pt x="3" y="339"/>
                  </a:lnTo>
                  <a:lnTo>
                    <a:pt x="0" y="295"/>
                  </a:lnTo>
                  <a:lnTo>
                    <a:pt x="3" y="251"/>
                  </a:lnTo>
                  <a:lnTo>
                    <a:pt x="13" y="210"/>
                  </a:lnTo>
                  <a:lnTo>
                    <a:pt x="27" y="171"/>
                  </a:lnTo>
                  <a:lnTo>
                    <a:pt x="48" y="134"/>
                  </a:lnTo>
                  <a:lnTo>
                    <a:pt x="72" y="101"/>
                  </a:lnTo>
                  <a:lnTo>
                    <a:pt x="102" y="73"/>
                  </a:lnTo>
                  <a:lnTo>
                    <a:pt x="135" y="48"/>
                  </a:lnTo>
                  <a:lnTo>
                    <a:pt x="171" y="28"/>
                  </a:lnTo>
                  <a:lnTo>
                    <a:pt x="210" y="13"/>
                  </a:lnTo>
                  <a:lnTo>
                    <a:pt x="251" y="4"/>
                  </a:lnTo>
                  <a:lnTo>
                    <a:pt x="295"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180000" numCol="1" anchor="t" anchorCtr="0" compatLnSpc="1">
              <a:no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smtClean="0">
                <a:ln>
                  <a:noFill/>
                </a:ln>
                <a:solidFill>
                  <a:schemeClr val="bg1">
                    <a:lumMod val="50000"/>
                  </a:schemeClr>
                </a:solidFill>
                <a:effectLst/>
                <a:uLnTx/>
                <a:uFillTx/>
                <a:cs typeface="+mn-ea"/>
                <a:sym typeface="+mn-lt"/>
              </a:endParaRPr>
            </a:p>
          </p:txBody>
        </p:sp>
        <p:sp>
          <p:nvSpPr>
            <p:cNvPr id="234" name="Freeform 49"/>
            <p:cNvSpPr/>
            <p:nvPr/>
          </p:nvSpPr>
          <p:spPr bwMode="auto">
            <a:xfrm>
              <a:off x="4660900" y="5543550"/>
              <a:ext cx="107950" cy="144463"/>
            </a:xfrm>
            <a:custGeom>
              <a:avLst/>
              <a:gdLst>
                <a:gd name="T0" fmla="*/ 0 w 340"/>
                <a:gd name="T1" fmla="*/ 0 h 457"/>
                <a:gd name="T2" fmla="*/ 29 w 340"/>
                <a:gd name="T3" fmla="*/ 11 h 457"/>
                <a:gd name="T4" fmla="*/ 61 w 340"/>
                <a:gd name="T5" fmla="*/ 19 h 457"/>
                <a:gd name="T6" fmla="*/ 94 w 340"/>
                <a:gd name="T7" fmla="*/ 21 h 457"/>
                <a:gd name="T8" fmla="*/ 340 w 340"/>
                <a:gd name="T9" fmla="*/ 21 h 457"/>
                <a:gd name="T10" fmla="*/ 340 w 340"/>
                <a:gd name="T11" fmla="*/ 287 h 457"/>
                <a:gd name="T12" fmla="*/ 338 w 340"/>
                <a:gd name="T13" fmla="*/ 317 h 457"/>
                <a:gd name="T14" fmla="*/ 329 w 340"/>
                <a:gd name="T15" fmla="*/ 347 h 457"/>
                <a:gd name="T16" fmla="*/ 317 w 340"/>
                <a:gd name="T17" fmla="*/ 373 h 457"/>
                <a:gd name="T18" fmla="*/ 301 w 340"/>
                <a:gd name="T19" fmla="*/ 397 h 457"/>
                <a:gd name="T20" fmla="*/ 280 w 340"/>
                <a:gd name="T21" fmla="*/ 418 h 457"/>
                <a:gd name="T22" fmla="*/ 256 w 340"/>
                <a:gd name="T23" fmla="*/ 434 h 457"/>
                <a:gd name="T24" fmla="*/ 230 w 340"/>
                <a:gd name="T25" fmla="*/ 446 h 457"/>
                <a:gd name="T26" fmla="*/ 201 w 340"/>
                <a:gd name="T27" fmla="*/ 455 h 457"/>
                <a:gd name="T28" fmla="*/ 170 w 340"/>
                <a:gd name="T29" fmla="*/ 457 h 457"/>
                <a:gd name="T30" fmla="*/ 140 w 340"/>
                <a:gd name="T31" fmla="*/ 455 h 457"/>
                <a:gd name="T32" fmla="*/ 110 w 340"/>
                <a:gd name="T33" fmla="*/ 446 h 457"/>
                <a:gd name="T34" fmla="*/ 84 w 340"/>
                <a:gd name="T35" fmla="*/ 434 h 457"/>
                <a:gd name="T36" fmla="*/ 60 w 340"/>
                <a:gd name="T37" fmla="*/ 418 h 457"/>
                <a:gd name="T38" fmla="*/ 40 w 340"/>
                <a:gd name="T39" fmla="*/ 397 h 457"/>
                <a:gd name="T40" fmla="*/ 23 w 340"/>
                <a:gd name="T41" fmla="*/ 373 h 457"/>
                <a:gd name="T42" fmla="*/ 11 w 340"/>
                <a:gd name="T43" fmla="*/ 347 h 457"/>
                <a:gd name="T44" fmla="*/ 2 w 340"/>
                <a:gd name="T45" fmla="*/ 317 h 457"/>
                <a:gd name="T46" fmla="*/ 0 w 340"/>
                <a:gd name="T47" fmla="*/ 287 h 457"/>
                <a:gd name="T48" fmla="*/ 0 w 340"/>
                <a:gd name="T49"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0" h="457">
                  <a:moveTo>
                    <a:pt x="0" y="0"/>
                  </a:moveTo>
                  <a:lnTo>
                    <a:pt x="29" y="11"/>
                  </a:lnTo>
                  <a:lnTo>
                    <a:pt x="61" y="19"/>
                  </a:lnTo>
                  <a:lnTo>
                    <a:pt x="94" y="21"/>
                  </a:lnTo>
                  <a:lnTo>
                    <a:pt x="340" y="21"/>
                  </a:lnTo>
                  <a:lnTo>
                    <a:pt x="340" y="287"/>
                  </a:lnTo>
                  <a:lnTo>
                    <a:pt x="338" y="317"/>
                  </a:lnTo>
                  <a:lnTo>
                    <a:pt x="329" y="347"/>
                  </a:lnTo>
                  <a:lnTo>
                    <a:pt x="317" y="373"/>
                  </a:lnTo>
                  <a:lnTo>
                    <a:pt x="301" y="397"/>
                  </a:lnTo>
                  <a:lnTo>
                    <a:pt x="280" y="418"/>
                  </a:lnTo>
                  <a:lnTo>
                    <a:pt x="256" y="434"/>
                  </a:lnTo>
                  <a:lnTo>
                    <a:pt x="230" y="446"/>
                  </a:lnTo>
                  <a:lnTo>
                    <a:pt x="201" y="455"/>
                  </a:lnTo>
                  <a:lnTo>
                    <a:pt x="170" y="457"/>
                  </a:lnTo>
                  <a:lnTo>
                    <a:pt x="140" y="455"/>
                  </a:lnTo>
                  <a:lnTo>
                    <a:pt x="110" y="446"/>
                  </a:lnTo>
                  <a:lnTo>
                    <a:pt x="84" y="434"/>
                  </a:lnTo>
                  <a:lnTo>
                    <a:pt x="60" y="418"/>
                  </a:lnTo>
                  <a:lnTo>
                    <a:pt x="40" y="397"/>
                  </a:lnTo>
                  <a:lnTo>
                    <a:pt x="23" y="373"/>
                  </a:lnTo>
                  <a:lnTo>
                    <a:pt x="11" y="347"/>
                  </a:lnTo>
                  <a:lnTo>
                    <a:pt x="2" y="317"/>
                  </a:lnTo>
                  <a:lnTo>
                    <a:pt x="0" y="287"/>
                  </a:lnTo>
                  <a:lnTo>
                    <a:pt x="0"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180000" numCol="1" anchor="t" anchorCtr="0" compatLnSpc="1">
              <a:no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smtClean="0">
                <a:ln>
                  <a:noFill/>
                </a:ln>
                <a:solidFill>
                  <a:schemeClr val="bg1">
                    <a:lumMod val="50000"/>
                  </a:schemeClr>
                </a:solidFill>
                <a:effectLst/>
                <a:uLnTx/>
                <a:uFillTx/>
                <a:cs typeface="+mn-ea"/>
                <a:sym typeface="+mn-lt"/>
              </a:endParaRPr>
            </a:p>
          </p:txBody>
        </p:sp>
        <p:sp>
          <p:nvSpPr>
            <p:cNvPr id="235" name="Freeform 50"/>
            <p:cNvSpPr>
              <a:spLocks noEditPoints="1"/>
            </p:cNvSpPr>
            <p:nvPr/>
          </p:nvSpPr>
          <p:spPr bwMode="auto">
            <a:xfrm>
              <a:off x="4419600" y="4768850"/>
              <a:ext cx="579438" cy="919163"/>
            </a:xfrm>
            <a:custGeom>
              <a:avLst/>
              <a:gdLst>
                <a:gd name="T0" fmla="*/ 1432 w 1824"/>
                <a:gd name="T1" fmla="*/ 1568 h 2894"/>
                <a:gd name="T2" fmla="*/ 1396 w 1824"/>
                <a:gd name="T3" fmla="*/ 1486 h 2894"/>
                <a:gd name="T4" fmla="*/ 1329 w 1824"/>
                <a:gd name="T5" fmla="*/ 1518 h 2894"/>
                <a:gd name="T6" fmla="*/ 1276 w 1824"/>
                <a:gd name="T7" fmla="*/ 1518 h 2894"/>
                <a:gd name="T8" fmla="*/ 1210 w 1824"/>
                <a:gd name="T9" fmla="*/ 1486 h 2894"/>
                <a:gd name="T10" fmla="*/ 341 w 1824"/>
                <a:gd name="T11" fmla="*/ 0 h 2894"/>
                <a:gd name="T12" fmla="*/ 1192 w 1824"/>
                <a:gd name="T13" fmla="*/ 12 h 2894"/>
                <a:gd name="T14" fmla="*/ 1308 w 1824"/>
                <a:gd name="T15" fmla="*/ 70 h 2894"/>
                <a:gd name="T16" fmla="*/ 1393 w 1824"/>
                <a:gd name="T17" fmla="*/ 166 h 2894"/>
                <a:gd name="T18" fmla="*/ 1436 w 1824"/>
                <a:gd name="T19" fmla="*/ 289 h 2894"/>
                <a:gd name="T20" fmla="*/ 1444 w 1824"/>
                <a:gd name="T21" fmla="*/ 1304 h 2894"/>
                <a:gd name="T22" fmla="*/ 1557 w 1824"/>
                <a:gd name="T23" fmla="*/ 1314 h 2894"/>
                <a:gd name="T24" fmla="*/ 1595 w 1824"/>
                <a:gd name="T25" fmla="*/ 1364 h 2894"/>
                <a:gd name="T26" fmla="*/ 1753 w 1824"/>
                <a:gd name="T27" fmla="*/ 1568 h 2894"/>
                <a:gd name="T28" fmla="*/ 1803 w 1824"/>
                <a:gd name="T29" fmla="*/ 1588 h 2894"/>
                <a:gd name="T30" fmla="*/ 1824 w 1824"/>
                <a:gd name="T31" fmla="*/ 1639 h 2894"/>
                <a:gd name="T32" fmla="*/ 1821 w 1824"/>
                <a:gd name="T33" fmla="*/ 2251 h 2894"/>
                <a:gd name="T34" fmla="*/ 1789 w 1824"/>
                <a:gd name="T35" fmla="*/ 2293 h 2894"/>
                <a:gd name="T36" fmla="*/ 853 w 1824"/>
                <a:gd name="T37" fmla="*/ 2303 h 2894"/>
                <a:gd name="T38" fmla="*/ 802 w 1824"/>
                <a:gd name="T39" fmla="*/ 2282 h 2894"/>
                <a:gd name="T40" fmla="*/ 782 w 1824"/>
                <a:gd name="T41" fmla="*/ 2232 h 2894"/>
                <a:gd name="T42" fmla="*/ 791 w 1824"/>
                <a:gd name="T43" fmla="*/ 1603 h 2894"/>
                <a:gd name="T44" fmla="*/ 834 w 1824"/>
                <a:gd name="T45" fmla="*/ 1570 h 2894"/>
                <a:gd name="T46" fmla="*/ 1008 w 1824"/>
                <a:gd name="T47" fmla="*/ 1387 h 2894"/>
                <a:gd name="T48" fmla="*/ 1032 w 1824"/>
                <a:gd name="T49" fmla="*/ 1328 h 2894"/>
                <a:gd name="T50" fmla="*/ 1090 w 1824"/>
                <a:gd name="T51" fmla="*/ 1304 h 2894"/>
                <a:gd name="T52" fmla="*/ 1156 w 1824"/>
                <a:gd name="T53" fmla="*/ 336 h 2894"/>
                <a:gd name="T54" fmla="*/ 1146 w 1824"/>
                <a:gd name="T55" fmla="*/ 315 h 2894"/>
                <a:gd name="T56" fmla="*/ 1113 w 1824"/>
                <a:gd name="T57" fmla="*/ 310 h 2894"/>
                <a:gd name="T58" fmla="*/ 1096 w 1824"/>
                <a:gd name="T59" fmla="*/ 337 h 2894"/>
                <a:gd name="T60" fmla="*/ 1019 w 1824"/>
                <a:gd name="T61" fmla="*/ 1149 h 2894"/>
                <a:gd name="T62" fmla="*/ 925 w 1824"/>
                <a:gd name="T63" fmla="*/ 1202 h 2894"/>
                <a:gd name="T64" fmla="*/ 864 w 1824"/>
                <a:gd name="T65" fmla="*/ 1285 h 2894"/>
                <a:gd name="T66" fmla="*/ 843 w 1824"/>
                <a:gd name="T67" fmla="*/ 1386 h 2894"/>
                <a:gd name="T68" fmla="*/ 785 w 1824"/>
                <a:gd name="T69" fmla="*/ 1423 h 2894"/>
                <a:gd name="T70" fmla="*/ 755 w 1824"/>
                <a:gd name="T71" fmla="*/ 1384 h 2894"/>
                <a:gd name="T72" fmla="*/ 721 w 1824"/>
                <a:gd name="T73" fmla="*/ 1362 h 2894"/>
                <a:gd name="T74" fmla="*/ 687 w 1824"/>
                <a:gd name="T75" fmla="*/ 1384 h 2894"/>
                <a:gd name="T76" fmla="*/ 664 w 1824"/>
                <a:gd name="T77" fmla="*/ 1513 h 2894"/>
                <a:gd name="T78" fmla="*/ 629 w 1824"/>
                <a:gd name="T79" fmla="*/ 1604 h 2894"/>
                <a:gd name="T80" fmla="*/ 629 w 1824"/>
                <a:gd name="T81" fmla="*/ 2266 h 2894"/>
                <a:gd name="T82" fmla="*/ 664 w 1824"/>
                <a:gd name="T83" fmla="*/ 2358 h 2894"/>
                <a:gd name="T84" fmla="*/ 682 w 1824"/>
                <a:gd name="T85" fmla="*/ 2754 h 2894"/>
                <a:gd name="T86" fmla="*/ 645 w 1824"/>
                <a:gd name="T87" fmla="*/ 2834 h 2894"/>
                <a:gd name="T88" fmla="*/ 574 w 1824"/>
                <a:gd name="T89" fmla="*/ 2883 h 2894"/>
                <a:gd name="T90" fmla="*/ 484 w 1824"/>
                <a:gd name="T91" fmla="*/ 2892 h 2894"/>
                <a:gd name="T92" fmla="*/ 405 w 1824"/>
                <a:gd name="T93" fmla="*/ 2855 h 2894"/>
                <a:gd name="T94" fmla="*/ 355 w 1824"/>
                <a:gd name="T95" fmla="*/ 2784 h 2894"/>
                <a:gd name="T96" fmla="*/ 345 w 1824"/>
                <a:gd name="T97" fmla="*/ 336 h 2894"/>
                <a:gd name="T98" fmla="*/ 327 w 1824"/>
                <a:gd name="T99" fmla="*/ 311 h 2894"/>
                <a:gd name="T100" fmla="*/ 298 w 1824"/>
                <a:gd name="T101" fmla="*/ 317 h 2894"/>
                <a:gd name="T102" fmla="*/ 285 w 1824"/>
                <a:gd name="T103" fmla="*/ 1379 h 2894"/>
                <a:gd name="T104" fmla="*/ 259 w 1824"/>
                <a:gd name="T105" fmla="*/ 1459 h 2894"/>
                <a:gd name="T106" fmla="*/ 197 w 1824"/>
                <a:gd name="T107" fmla="*/ 1509 h 2894"/>
                <a:gd name="T108" fmla="*/ 141 w 1824"/>
                <a:gd name="T109" fmla="*/ 1520 h 2894"/>
                <a:gd name="T110" fmla="*/ 62 w 1824"/>
                <a:gd name="T111" fmla="*/ 1496 h 2894"/>
                <a:gd name="T112" fmla="*/ 11 w 1824"/>
                <a:gd name="T113" fmla="*/ 1434 h 2894"/>
                <a:gd name="T114" fmla="*/ 5 w 1824"/>
                <a:gd name="T115" fmla="*/ 335 h 2894"/>
                <a:gd name="T116" fmla="*/ 33 w 1824"/>
                <a:gd name="T117" fmla="*/ 205 h 2894"/>
                <a:gd name="T118" fmla="*/ 105 w 1824"/>
                <a:gd name="T119" fmla="*/ 99 h 2894"/>
                <a:gd name="T120" fmla="*/ 211 w 1824"/>
                <a:gd name="T121" fmla="*/ 26 h 2894"/>
                <a:gd name="T122" fmla="*/ 341 w 1824"/>
                <a:gd name="T123" fmla="*/ 0 h 2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4" h="2894">
                  <a:moveTo>
                    <a:pt x="1174" y="1469"/>
                  </a:moveTo>
                  <a:lnTo>
                    <a:pt x="1174" y="1568"/>
                  </a:lnTo>
                  <a:lnTo>
                    <a:pt x="1432" y="1568"/>
                  </a:lnTo>
                  <a:lnTo>
                    <a:pt x="1432" y="1469"/>
                  </a:lnTo>
                  <a:lnTo>
                    <a:pt x="1412" y="1469"/>
                  </a:lnTo>
                  <a:lnTo>
                    <a:pt x="1396" y="1486"/>
                  </a:lnTo>
                  <a:lnTo>
                    <a:pt x="1376" y="1501"/>
                  </a:lnTo>
                  <a:lnTo>
                    <a:pt x="1353" y="1512"/>
                  </a:lnTo>
                  <a:lnTo>
                    <a:pt x="1329" y="1518"/>
                  </a:lnTo>
                  <a:lnTo>
                    <a:pt x="1304" y="1520"/>
                  </a:lnTo>
                  <a:lnTo>
                    <a:pt x="1303" y="1520"/>
                  </a:lnTo>
                  <a:lnTo>
                    <a:pt x="1276" y="1518"/>
                  </a:lnTo>
                  <a:lnTo>
                    <a:pt x="1252" y="1512"/>
                  </a:lnTo>
                  <a:lnTo>
                    <a:pt x="1230" y="1501"/>
                  </a:lnTo>
                  <a:lnTo>
                    <a:pt x="1210" y="1486"/>
                  </a:lnTo>
                  <a:lnTo>
                    <a:pt x="1193" y="1469"/>
                  </a:lnTo>
                  <a:lnTo>
                    <a:pt x="1174" y="1469"/>
                  </a:lnTo>
                  <a:close/>
                  <a:moveTo>
                    <a:pt x="341" y="0"/>
                  </a:moveTo>
                  <a:lnTo>
                    <a:pt x="1103" y="0"/>
                  </a:lnTo>
                  <a:lnTo>
                    <a:pt x="1148" y="3"/>
                  </a:lnTo>
                  <a:lnTo>
                    <a:pt x="1192" y="12"/>
                  </a:lnTo>
                  <a:lnTo>
                    <a:pt x="1234" y="26"/>
                  </a:lnTo>
                  <a:lnTo>
                    <a:pt x="1272" y="46"/>
                  </a:lnTo>
                  <a:lnTo>
                    <a:pt x="1308" y="70"/>
                  </a:lnTo>
                  <a:lnTo>
                    <a:pt x="1340" y="99"/>
                  </a:lnTo>
                  <a:lnTo>
                    <a:pt x="1368" y="130"/>
                  </a:lnTo>
                  <a:lnTo>
                    <a:pt x="1393" y="166"/>
                  </a:lnTo>
                  <a:lnTo>
                    <a:pt x="1412" y="205"/>
                  </a:lnTo>
                  <a:lnTo>
                    <a:pt x="1428" y="245"/>
                  </a:lnTo>
                  <a:lnTo>
                    <a:pt x="1436" y="289"/>
                  </a:lnTo>
                  <a:lnTo>
                    <a:pt x="1440" y="335"/>
                  </a:lnTo>
                  <a:lnTo>
                    <a:pt x="1444" y="1138"/>
                  </a:lnTo>
                  <a:lnTo>
                    <a:pt x="1444" y="1304"/>
                  </a:lnTo>
                  <a:lnTo>
                    <a:pt x="1515" y="1304"/>
                  </a:lnTo>
                  <a:lnTo>
                    <a:pt x="1537" y="1307"/>
                  </a:lnTo>
                  <a:lnTo>
                    <a:pt x="1557" y="1314"/>
                  </a:lnTo>
                  <a:lnTo>
                    <a:pt x="1573" y="1328"/>
                  </a:lnTo>
                  <a:lnTo>
                    <a:pt x="1586" y="1344"/>
                  </a:lnTo>
                  <a:lnTo>
                    <a:pt x="1595" y="1364"/>
                  </a:lnTo>
                  <a:lnTo>
                    <a:pt x="1597" y="1386"/>
                  </a:lnTo>
                  <a:lnTo>
                    <a:pt x="1597" y="1568"/>
                  </a:lnTo>
                  <a:lnTo>
                    <a:pt x="1753" y="1568"/>
                  </a:lnTo>
                  <a:lnTo>
                    <a:pt x="1771" y="1570"/>
                  </a:lnTo>
                  <a:lnTo>
                    <a:pt x="1789" y="1577"/>
                  </a:lnTo>
                  <a:lnTo>
                    <a:pt x="1803" y="1588"/>
                  </a:lnTo>
                  <a:lnTo>
                    <a:pt x="1814" y="1603"/>
                  </a:lnTo>
                  <a:lnTo>
                    <a:pt x="1821" y="1620"/>
                  </a:lnTo>
                  <a:lnTo>
                    <a:pt x="1824" y="1639"/>
                  </a:lnTo>
                  <a:lnTo>
                    <a:pt x="1824" y="1639"/>
                  </a:lnTo>
                  <a:lnTo>
                    <a:pt x="1824" y="2232"/>
                  </a:lnTo>
                  <a:lnTo>
                    <a:pt x="1821" y="2251"/>
                  </a:lnTo>
                  <a:lnTo>
                    <a:pt x="1814" y="2268"/>
                  </a:lnTo>
                  <a:lnTo>
                    <a:pt x="1803" y="2282"/>
                  </a:lnTo>
                  <a:lnTo>
                    <a:pt x="1789" y="2293"/>
                  </a:lnTo>
                  <a:lnTo>
                    <a:pt x="1771" y="2300"/>
                  </a:lnTo>
                  <a:lnTo>
                    <a:pt x="1753" y="2303"/>
                  </a:lnTo>
                  <a:lnTo>
                    <a:pt x="853" y="2303"/>
                  </a:lnTo>
                  <a:lnTo>
                    <a:pt x="834" y="2300"/>
                  </a:lnTo>
                  <a:lnTo>
                    <a:pt x="817" y="2293"/>
                  </a:lnTo>
                  <a:lnTo>
                    <a:pt x="802" y="2282"/>
                  </a:lnTo>
                  <a:lnTo>
                    <a:pt x="791" y="2268"/>
                  </a:lnTo>
                  <a:lnTo>
                    <a:pt x="785" y="2251"/>
                  </a:lnTo>
                  <a:lnTo>
                    <a:pt x="782" y="2232"/>
                  </a:lnTo>
                  <a:lnTo>
                    <a:pt x="782" y="1639"/>
                  </a:lnTo>
                  <a:lnTo>
                    <a:pt x="785" y="1620"/>
                  </a:lnTo>
                  <a:lnTo>
                    <a:pt x="791" y="1603"/>
                  </a:lnTo>
                  <a:lnTo>
                    <a:pt x="802" y="1588"/>
                  </a:lnTo>
                  <a:lnTo>
                    <a:pt x="817" y="1577"/>
                  </a:lnTo>
                  <a:lnTo>
                    <a:pt x="834" y="1570"/>
                  </a:lnTo>
                  <a:lnTo>
                    <a:pt x="853" y="1568"/>
                  </a:lnTo>
                  <a:lnTo>
                    <a:pt x="1008" y="1568"/>
                  </a:lnTo>
                  <a:lnTo>
                    <a:pt x="1008" y="1387"/>
                  </a:lnTo>
                  <a:lnTo>
                    <a:pt x="1010" y="1365"/>
                  </a:lnTo>
                  <a:lnTo>
                    <a:pt x="1019" y="1345"/>
                  </a:lnTo>
                  <a:lnTo>
                    <a:pt x="1032" y="1328"/>
                  </a:lnTo>
                  <a:lnTo>
                    <a:pt x="1049" y="1314"/>
                  </a:lnTo>
                  <a:lnTo>
                    <a:pt x="1068" y="1307"/>
                  </a:lnTo>
                  <a:lnTo>
                    <a:pt x="1090" y="1304"/>
                  </a:lnTo>
                  <a:lnTo>
                    <a:pt x="1160" y="1304"/>
                  </a:lnTo>
                  <a:lnTo>
                    <a:pt x="1159" y="1138"/>
                  </a:lnTo>
                  <a:lnTo>
                    <a:pt x="1156" y="336"/>
                  </a:lnTo>
                  <a:lnTo>
                    <a:pt x="1156" y="336"/>
                  </a:lnTo>
                  <a:lnTo>
                    <a:pt x="1153" y="325"/>
                  </a:lnTo>
                  <a:lnTo>
                    <a:pt x="1146" y="315"/>
                  </a:lnTo>
                  <a:lnTo>
                    <a:pt x="1136" y="310"/>
                  </a:lnTo>
                  <a:lnTo>
                    <a:pt x="1125" y="308"/>
                  </a:lnTo>
                  <a:lnTo>
                    <a:pt x="1113" y="310"/>
                  </a:lnTo>
                  <a:lnTo>
                    <a:pt x="1105" y="317"/>
                  </a:lnTo>
                  <a:lnTo>
                    <a:pt x="1098" y="326"/>
                  </a:lnTo>
                  <a:lnTo>
                    <a:pt x="1096" y="337"/>
                  </a:lnTo>
                  <a:lnTo>
                    <a:pt x="1096" y="1138"/>
                  </a:lnTo>
                  <a:lnTo>
                    <a:pt x="1056" y="1140"/>
                  </a:lnTo>
                  <a:lnTo>
                    <a:pt x="1019" y="1149"/>
                  </a:lnTo>
                  <a:lnTo>
                    <a:pt x="984" y="1162"/>
                  </a:lnTo>
                  <a:lnTo>
                    <a:pt x="953" y="1180"/>
                  </a:lnTo>
                  <a:lnTo>
                    <a:pt x="925" y="1202"/>
                  </a:lnTo>
                  <a:lnTo>
                    <a:pt x="901" y="1226"/>
                  </a:lnTo>
                  <a:lnTo>
                    <a:pt x="880" y="1254"/>
                  </a:lnTo>
                  <a:lnTo>
                    <a:pt x="864" y="1285"/>
                  </a:lnTo>
                  <a:lnTo>
                    <a:pt x="853" y="1317"/>
                  </a:lnTo>
                  <a:lnTo>
                    <a:pt x="845" y="1351"/>
                  </a:lnTo>
                  <a:lnTo>
                    <a:pt x="843" y="1386"/>
                  </a:lnTo>
                  <a:lnTo>
                    <a:pt x="843" y="1413"/>
                  </a:lnTo>
                  <a:lnTo>
                    <a:pt x="813" y="1415"/>
                  </a:lnTo>
                  <a:lnTo>
                    <a:pt x="785" y="1423"/>
                  </a:lnTo>
                  <a:lnTo>
                    <a:pt x="759" y="1433"/>
                  </a:lnTo>
                  <a:lnTo>
                    <a:pt x="759" y="1398"/>
                  </a:lnTo>
                  <a:lnTo>
                    <a:pt x="755" y="1384"/>
                  </a:lnTo>
                  <a:lnTo>
                    <a:pt x="748" y="1373"/>
                  </a:lnTo>
                  <a:lnTo>
                    <a:pt x="736" y="1364"/>
                  </a:lnTo>
                  <a:lnTo>
                    <a:pt x="721" y="1362"/>
                  </a:lnTo>
                  <a:lnTo>
                    <a:pt x="707" y="1364"/>
                  </a:lnTo>
                  <a:lnTo>
                    <a:pt x="696" y="1373"/>
                  </a:lnTo>
                  <a:lnTo>
                    <a:pt x="687" y="1384"/>
                  </a:lnTo>
                  <a:lnTo>
                    <a:pt x="685" y="1398"/>
                  </a:lnTo>
                  <a:lnTo>
                    <a:pt x="685" y="1486"/>
                  </a:lnTo>
                  <a:lnTo>
                    <a:pt x="664" y="1513"/>
                  </a:lnTo>
                  <a:lnTo>
                    <a:pt x="649" y="1541"/>
                  </a:lnTo>
                  <a:lnTo>
                    <a:pt x="637" y="1572"/>
                  </a:lnTo>
                  <a:lnTo>
                    <a:pt x="629" y="1604"/>
                  </a:lnTo>
                  <a:lnTo>
                    <a:pt x="626" y="1639"/>
                  </a:lnTo>
                  <a:lnTo>
                    <a:pt x="626" y="2232"/>
                  </a:lnTo>
                  <a:lnTo>
                    <a:pt x="629" y="2266"/>
                  </a:lnTo>
                  <a:lnTo>
                    <a:pt x="637" y="2299"/>
                  </a:lnTo>
                  <a:lnTo>
                    <a:pt x="649" y="2330"/>
                  </a:lnTo>
                  <a:lnTo>
                    <a:pt x="664" y="2358"/>
                  </a:lnTo>
                  <a:lnTo>
                    <a:pt x="685" y="2384"/>
                  </a:lnTo>
                  <a:lnTo>
                    <a:pt x="685" y="2724"/>
                  </a:lnTo>
                  <a:lnTo>
                    <a:pt x="682" y="2754"/>
                  </a:lnTo>
                  <a:lnTo>
                    <a:pt x="674" y="2784"/>
                  </a:lnTo>
                  <a:lnTo>
                    <a:pt x="662" y="2810"/>
                  </a:lnTo>
                  <a:lnTo>
                    <a:pt x="645" y="2834"/>
                  </a:lnTo>
                  <a:lnTo>
                    <a:pt x="624" y="2855"/>
                  </a:lnTo>
                  <a:lnTo>
                    <a:pt x="601" y="2871"/>
                  </a:lnTo>
                  <a:lnTo>
                    <a:pt x="574" y="2883"/>
                  </a:lnTo>
                  <a:lnTo>
                    <a:pt x="545" y="2892"/>
                  </a:lnTo>
                  <a:lnTo>
                    <a:pt x="514" y="2894"/>
                  </a:lnTo>
                  <a:lnTo>
                    <a:pt x="484" y="2892"/>
                  </a:lnTo>
                  <a:lnTo>
                    <a:pt x="455" y="2883"/>
                  </a:lnTo>
                  <a:lnTo>
                    <a:pt x="429" y="2871"/>
                  </a:lnTo>
                  <a:lnTo>
                    <a:pt x="405" y="2855"/>
                  </a:lnTo>
                  <a:lnTo>
                    <a:pt x="384" y="2834"/>
                  </a:lnTo>
                  <a:lnTo>
                    <a:pt x="368" y="2810"/>
                  </a:lnTo>
                  <a:lnTo>
                    <a:pt x="355" y="2784"/>
                  </a:lnTo>
                  <a:lnTo>
                    <a:pt x="347" y="2754"/>
                  </a:lnTo>
                  <a:lnTo>
                    <a:pt x="345" y="2724"/>
                  </a:lnTo>
                  <a:lnTo>
                    <a:pt x="345" y="336"/>
                  </a:lnTo>
                  <a:lnTo>
                    <a:pt x="343" y="325"/>
                  </a:lnTo>
                  <a:lnTo>
                    <a:pt x="336" y="317"/>
                  </a:lnTo>
                  <a:lnTo>
                    <a:pt x="327" y="311"/>
                  </a:lnTo>
                  <a:lnTo>
                    <a:pt x="317" y="309"/>
                  </a:lnTo>
                  <a:lnTo>
                    <a:pt x="306" y="311"/>
                  </a:lnTo>
                  <a:lnTo>
                    <a:pt x="298" y="317"/>
                  </a:lnTo>
                  <a:lnTo>
                    <a:pt x="291" y="325"/>
                  </a:lnTo>
                  <a:lnTo>
                    <a:pt x="289" y="336"/>
                  </a:lnTo>
                  <a:lnTo>
                    <a:pt x="285" y="1379"/>
                  </a:lnTo>
                  <a:lnTo>
                    <a:pt x="281" y="1408"/>
                  </a:lnTo>
                  <a:lnTo>
                    <a:pt x="273" y="1435"/>
                  </a:lnTo>
                  <a:lnTo>
                    <a:pt x="259" y="1459"/>
                  </a:lnTo>
                  <a:lnTo>
                    <a:pt x="242" y="1480"/>
                  </a:lnTo>
                  <a:lnTo>
                    <a:pt x="221" y="1496"/>
                  </a:lnTo>
                  <a:lnTo>
                    <a:pt x="197" y="1509"/>
                  </a:lnTo>
                  <a:lnTo>
                    <a:pt x="171" y="1518"/>
                  </a:lnTo>
                  <a:lnTo>
                    <a:pt x="142" y="1520"/>
                  </a:lnTo>
                  <a:lnTo>
                    <a:pt x="141" y="1520"/>
                  </a:lnTo>
                  <a:lnTo>
                    <a:pt x="113" y="1518"/>
                  </a:lnTo>
                  <a:lnTo>
                    <a:pt x="86" y="1509"/>
                  </a:lnTo>
                  <a:lnTo>
                    <a:pt x="62" y="1496"/>
                  </a:lnTo>
                  <a:lnTo>
                    <a:pt x="42" y="1479"/>
                  </a:lnTo>
                  <a:lnTo>
                    <a:pt x="24" y="1458"/>
                  </a:lnTo>
                  <a:lnTo>
                    <a:pt x="11" y="1434"/>
                  </a:lnTo>
                  <a:lnTo>
                    <a:pt x="3" y="1407"/>
                  </a:lnTo>
                  <a:lnTo>
                    <a:pt x="0" y="1378"/>
                  </a:lnTo>
                  <a:lnTo>
                    <a:pt x="5" y="335"/>
                  </a:lnTo>
                  <a:lnTo>
                    <a:pt x="9" y="289"/>
                  </a:lnTo>
                  <a:lnTo>
                    <a:pt x="17" y="245"/>
                  </a:lnTo>
                  <a:lnTo>
                    <a:pt x="33" y="205"/>
                  </a:lnTo>
                  <a:lnTo>
                    <a:pt x="52" y="166"/>
                  </a:lnTo>
                  <a:lnTo>
                    <a:pt x="77" y="130"/>
                  </a:lnTo>
                  <a:lnTo>
                    <a:pt x="105" y="99"/>
                  </a:lnTo>
                  <a:lnTo>
                    <a:pt x="137" y="70"/>
                  </a:lnTo>
                  <a:lnTo>
                    <a:pt x="173" y="46"/>
                  </a:lnTo>
                  <a:lnTo>
                    <a:pt x="211" y="26"/>
                  </a:lnTo>
                  <a:lnTo>
                    <a:pt x="253" y="12"/>
                  </a:lnTo>
                  <a:lnTo>
                    <a:pt x="297" y="3"/>
                  </a:lnTo>
                  <a:lnTo>
                    <a:pt x="341"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180000" numCol="1" anchor="t" anchorCtr="0" compatLnSpc="1">
              <a:no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smtClean="0">
                <a:ln>
                  <a:noFill/>
                </a:ln>
                <a:solidFill>
                  <a:schemeClr val="bg1">
                    <a:lumMod val="50000"/>
                  </a:schemeClr>
                </a:solidFill>
                <a:effectLst/>
                <a:uLnTx/>
                <a:uFillTx/>
                <a:cs typeface="+mn-ea"/>
                <a:sym typeface="+mn-lt"/>
              </a:endParaRPr>
            </a:p>
          </p:txBody>
        </p:sp>
        <p:sp>
          <p:nvSpPr>
            <p:cNvPr id="236" name="Freeform 51"/>
            <p:cNvSpPr/>
            <p:nvPr/>
          </p:nvSpPr>
          <p:spPr bwMode="auto">
            <a:xfrm>
              <a:off x="4911725" y="4552950"/>
              <a:ext cx="173038" cy="173038"/>
            </a:xfrm>
            <a:custGeom>
              <a:avLst/>
              <a:gdLst>
                <a:gd name="T0" fmla="*/ 274 w 547"/>
                <a:gd name="T1" fmla="*/ 0 h 547"/>
                <a:gd name="T2" fmla="*/ 314 w 547"/>
                <a:gd name="T3" fmla="*/ 4 h 547"/>
                <a:gd name="T4" fmla="*/ 353 w 547"/>
                <a:gd name="T5" fmla="*/ 13 h 547"/>
                <a:gd name="T6" fmla="*/ 389 w 547"/>
                <a:gd name="T7" fmla="*/ 26 h 547"/>
                <a:gd name="T8" fmla="*/ 422 w 547"/>
                <a:gd name="T9" fmla="*/ 44 h 547"/>
                <a:gd name="T10" fmla="*/ 452 w 547"/>
                <a:gd name="T11" fmla="*/ 67 h 547"/>
                <a:gd name="T12" fmla="*/ 480 w 547"/>
                <a:gd name="T13" fmla="*/ 95 h 547"/>
                <a:gd name="T14" fmla="*/ 503 w 547"/>
                <a:gd name="T15" fmla="*/ 125 h 547"/>
                <a:gd name="T16" fmla="*/ 521 w 547"/>
                <a:gd name="T17" fmla="*/ 158 h 547"/>
                <a:gd name="T18" fmla="*/ 536 w 547"/>
                <a:gd name="T19" fmla="*/ 194 h 547"/>
                <a:gd name="T20" fmla="*/ 543 w 547"/>
                <a:gd name="T21" fmla="*/ 234 h 547"/>
                <a:gd name="T22" fmla="*/ 547 w 547"/>
                <a:gd name="T23" fmla="*/ 274 h 547"/>
                <a:gd name="T24" fmla="*/ 543 w 547"/>
                <a:gd name="T25" fmla="*/ 314 h 547"/>
                <a:gd name="T26" fmla="*/ 536 w 547"/>
                <a:gd name="T27" fmla="*/ 352 h 547"/>
                <a:gd name="T28" fmla="*/ 521 w 547"/>
                <a:gd name="T29" fmla="*/ 389 h 547"/>
                <a:gd name="T30" fmla="*/ 503 w 547"/>
                <a:gd name="T31" fmla="*/ 422 h 547"/>
                <a:gd name="T32" fmla="*/ 480 w 547"/>
                <a:gd name="T33" fmla="*/ 453 h 547"/>
                <a:gd name="T34" fmla="*/ 452 w 547"/>
                <a:gd name="T35" fmla="*/ 480 h 547"/>
                <a:gd name="T36" fmla="*/ 422 w 547"/>
                <a:gd name="T37" fmla="*/ 503 h 547"/>
                <a:gd name="T38" fmla="*/ 389 w 547"/>
                <a:gd name="T39" fmla="*/ 522 h 547"/>
                <a:gd name="T40" fmla="*/ 353 w 547"/>
                <a:gd name="T41" fmla="*/ 535 h 547"/>
                <a:gd name="T42" fmla="*/ 314 w 547"/>
                <a:gd name="T43" fmla="*/ 544 h 547"/>
                <a:gd name="T44" fmla="*/ 274 w 547"/>
                <a:gd name="T45" fmla="*/ 547 h 547"/>
                <a:gd name="T46" fmla="*/ 233 w 547"/>
                <a:gd name="T47" fmla="*/ 544 h 547"/>
                <a:gd name="T48" fmla="*/ 195 w 547"/>
                <a:gd name="T49" fmla="*/ 535 h 547"/>
                <a:gd name="T50" fmla="*/ 159 w 547"/>
                <a:gd name="T51" fmla="*/ 522 h 547"/>
                <a:gd name="T52" fmla="*/ 125 w 547"/>
                <a:gd name="T53" fmla="*/ 503 h 547"/>
                <a:gd name="T54" fmla="*/ 94 w 547"/>
                <a:gd name="T55" fmla="*/ 480 h 547"/>
                <a:gd name="T56" fmla="*/ 68 w 547"/>
                <a:gd name="T57" fmla="*/ 453 h 547"/>
                <a:gd name="T58" fmla="*/ 45 w 547"/>
                <a:gd name="T59" fmla="*/ 422 h 547"/>
                <a:gd name="T60" fmla="*/ 27 w 547"/>
                <a:gd name="T61" fmla="*/ 389 h 547"/>
                <a:gd name="T62" fmla="*/ 12 w 547"/>
                <a:gd name="T63" fmla="*/ 353 h 547"/>
                <a:gd name="T64" fmla="*/ 4 w 547"/>
                <a:gd name="T65" fmla="*/ 314 h 547"/>
                <a:gd name="T66" fmla="*/ 0 w 547"/>
                <a:gd name="T67" fmla="*/ 274 h 547"/>
                <a:gd name="T68" fmla="*/ 4 w 547"/>
                <a:gd name="T69" fmla="*/ 234 h 547"/>
                <a:gd name="T70" fmla="*/ 12 w 547"/>
                <a:gd name="T71" fmla="*/ 194 h 547"/>
                <a:gd name="T72" fmla="*/ 27 w 547"/>
                <a:gd name="T73" fmla="*/ 158 h 547"/>
                <a:gd name="T74" fmla="*/ 45 w 547"/>
                <a:gd name="T75" fmla="*/ 125 h 547"/>
                <a:gd name="T76" fmla="*/ 68 w 547"/>
                <a:gd name="T77" fmla="*/ 95 h 547"/>
                <a:gd name="T78" fmla="*/ 94 w 547"/>
                <a:gd name="T79" fmla="*/ 67 h 547"/>
                <a:gd name="T80" fmla="*/ 125 w 547"/>
                <a:gd name="T81" fmla="*/ 44 h 547"/>
                <a:gd name="T82" fmla="*/ 159 w 547"/>
                <a:gd name="T83" fmla="*/ 26 h 547"/>
                <a:gd name="T84" fmla="*/ 195 w 547"/>
                <a:gd name="T85" fmla="*/ 13 h 547"/>
                <a:gd name="T86" fmla="*/ 233 w 547"/>
                <a:gd name="T87" fmla="*/ 4 h 547"/>
                <a:gd name="T88" fmla="*/ 274 w 547"/>
                <a:gd name="T89"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7" h="547">
                  <a:moveTo>
                    <a:pt x="274" y="0"/>
                  </a:moveTo>
                  <a:lnTo>
                    <a:pt x="314" y="4"/>
                  </a:lnTo>
                  <a:lnTo>
                    <a:pt x="353" y="13"/>
                  </a:lnTo>
                  <a:lnTo>
                    <a:pt x="389" y="26"/>
                  </a:lnTo>
                  <a:lnTo>
                    <a:pt x="422" y="44"/>
                  </a:lnTo>
                  <a:lnTo>
                    <a:pt x="452" y="67"/>
                  </a:lnTo>
                  <a:lnTo>
                    <a:pt x="480" y="95"/>
                  </a:lnTo>
                  <a:lnTo>
                    <a:pt x="503" y="125"/>
                  </a:lnTo>
                  <a:lnTo>
                    <a:pt x="521" y="158"/>
                  </a:lnTo>
                  <a:lnTo>
                    <a:pt x="536" y="194"/>
                  </a:lnTo>
                  <a:lnTo>
                    <a:pt x="543" y="234"/>
                  </a:lnTo>
                  <a:lnTo>
                    <a:pt x="547" y="274"/>
                  </a:lnTo>
                  <a:lnTo>
                    <a:pt x="543" y="314"/>
                  </a:lnTo>
                  <a:lnTo>
                    <a:pt x="536" y="352"/>
                  </a:lnTo>
                  <a:lnTo>
                    <a:pt x="521" y="389"/>
                  </a:lnTo>
                  <a:lnTo>
                    <a:pt x="503" y="422"/>
                  </a:lnTo>
                  <a:lnTo>
                    <a:pt x="480" y="453"/>
                  </a:lnTo>
                  <a:lnTo>
                    <a:pt x="452" y="480"/>
                  </a:lnTo>
                  <a:lnTo>
                    <a:pt x="422" y="503"/>
                  </a:lnTo>
                  <a:lnTo>
                    <a:pt x="389" y="522"/>
                  </a:lnTo>
                  <a:lnTo>
                    <a:pt x="353" y="535"/>
                  </a:lnTo>
                  <a:lnTo>
                    <a:pt x="314" y="544"/>
                  </a:lnTo>
                  <a:lnTo>
                    <a:pt x="274" y="547"/>
                  </a:lnTo>
                  <a:lnTo>
                    <a:pt x="233" y="544"/>
                  </a:lnTo>
                  <a:lnTo>
                    <a:pt x="195" y="535"/>
                  </a:lnTo>
                  <a:lnTo>
                    <a:pt x="159" y="522"/>
                  </a:lnTo>
                  <a:lnTo>
                    <a:pt x="125" y="503"/>
                  </a:lnTo>
                  <a:lnTo>
                    <a:pt x="94" y="480"/>
                  </a:lnTo>
                  <a:lnTo>
                    <a:pt x="68" y="453"/>
                  </a:lnTo>
                  <a:lnTo>
                    <a:pt x="45" y="422"/>
                  </a:lnTo>
                  <a:lnTo>
                    <a:pt x="27" y="389"/>
                  </a:lnTo>
                  <a:lnTo>
                    <a:pt x="12" y="353"/>
                  </a:lnTo>
                  <a:lnTo>
                    <a:pt x="4" y="314"/>
                  </a:lnTo>
                  <a:lnTo>
                    <a:pt x="0" y="274"/>
                  </a:lnTo>
                  <a:lnTo>
                    <a:pt x="4" y="234"/>
                  </a:lnTo>
                  <a:lnTo>
                    <a:pt x="12" y="194"/>
                  </a:lnTo>
                  <a:lnTo>
                    <a:pt x="27" y="158"/>
                  </a:lnTo>
                  <a:lnTo>
                    <a:pt x="45" y="125"/>
                  </a:lnTo>
                  <a:lnTo>
                    <a:pt x="68" y="95"/>
                  </a:lnTo>
                  <a:lnTo>
                    <a:pt x="94" y="67"/>
                  </a:lnTo>
                  <a:lnTo>
                    <a:pt x="125" y="44"/>
                  </a:lnTo>
                  <a:lnTo>
                    <a:pt x="159" y="26"/>
                  </a:lnTo>
                  <a:lnTo>
                    <a:pt x="195" y="13"/>
                  </a:lnTo>
                  <a:lnTo>
                    <a:pt x="233" y="4"/>
                  </a:lnTo>
                  <a:lnTo>
                    <a:pt x="274"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180000" numCol="1" anchor="t" anchorCtr="0" compatLnSpc="1">
              <a:no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dirty="0" smtClean="0">
                <a:ln>
                  <a:noFill/>
                </a:ln>
                <a:solidFill>
                  <a:schemeClr val="bg1">
                    <a:lumMod val="50000"/>
                  </a:schemeClr>
                </a:solidFill>
                <a:effectLst/>
                <a:uLnTx/>
                <a:uFillTx/>
                <a:cs typeface="+mn-ea"/>
                <a:sym typeface="+mn-lt"/>
              </a:endParaRPr>
            </a:p>
          </p:txBody>
        </p:sp>
      </p:grpSp>
      <p:sp>
        <p:nvSpPr>
          <p:cNvPr id="204" name="椭圆 203"/>
          <p:cNvSpPr/>
          <p:nvPr/>
        </p:nvSpPr>
        <p:spPr>
          <a:xfrm>
            <a:off x="1666464" y="3557030"/>
            <a:ext cx="1121096" cy="1112867"/>
          </a:xfrm>
          <a:prstGeom prst="ellipse">
            <a:avLst/>
          </a:prstGeom>
          <a:solidFill>
            <a:schemeClr val="bg1">
              <a:lumMod val="95000"/>
            </a:schemeClr>
          </a:solidFill>
          <a:ln w="38100" cap="flat" cmpd="sng" algn="ctr">
            <a:gradFill flip="none" rotWithShape="1">
              <a:gsLst>
                <a:gs pos="0">
                  <a:sysClr val="window" lastClr="FFFFFF">
                    <a:lumMod val="85000"/>
                  </a:sysClr>
                </a:gs>
                <a:gs pos="100000">
                  <a:sysClr val="window" lastClr="FFFFFF">
                    <a:lumMod val="75000"/>
                  </a:sysClr>
                </a:gs>
              </a:gsLst>
              <a:lin ang="16200000" scaled="1"/>
              <a:tileRect/>
            </a:gradFill>
            <a:prstDash val="solid"/>
            <a:headEnd type="none" w="med" len="med"/>
            <a:tailEnd type="none" w="med" len="med"/>
          </a:ln>
          <a:effectLst/>
        </p:spPr>
        <p:txBody>
          <a:bodyPr rot="0" spcFirstLastPara="0" vertOverflow="overflow" horzOverflow="overflow" vert="horz" wrap="none" lIns="0" tIns="0" rIns="0" bIns="180000" numCol="1" spcCol="0" rtlCol="0" fromWordArt="0" anchor="b" anchorCtr="0" forceAA="0" compatLnSpc="1">
            <a:noAutofit/>
          </a:bodyPr>
          <a:lstStyle/>
          <a:p>
            <a:pPr lvl="0" algn="ctr">
              <a:defRPr/>
            </a:pPr>
            <a:r>
              <a:rPr lang="zh-CN" altLang="en-US" sz="1400" b="1" kern="0" dirty="0">
                <a:solidFill>
                  <a:schemeClr val="bg1">
                    <a:lumMod val="50000"/>
                  </a:schemeClr>
                </a:solidFill>
                <a:ea typeface="华文楷体" panose="02010600040101010101" charset="-122"/>
                <a:cs typeface="+mn-ea"/>
                <a:sym typeface="+mn-lt"/>
              </a:rPr>
              <a:t>文本</a:t>
            </a:r>
            <a:endParaRPr lang="zh-CN" altLang="en-US" sz="1400" b="1" kern="0" dirty="0">
              <a:solidFill>
                <a:schemeClr val="bg1">
                  <a:lumMod val="50000"/>
                </a:schemeClr>
              </a:solidFill>
              <a:ea typeface="华文楷体" panose="02010600040101010101" charset="-122"/>
              <a:cs typeface="+mn-ea"/>
              <a:sym typeface="+mn-lt"/>
            </a:endParaRPr>
          </a:p>
        </p:txBody>
      </p:sp>
      <p:sp>
        <p:nvSpPr>
          <p:cNvPr id="205" name="椭圆 204"/>
          <p:cNvSpPr/>
          <p:nvPr/>
        </p:nvSpPr>
        <p:spPr>
          <a:xfrm>
            <a:off x="1666464" y="4378457"/>
            <a:ext cx="1121096" cy="1112867"/>
          </a:xfrm>
          <a:prstGeom prst="ellipse">
            <a:avLst/>
          </a:prstGeom>
          <a:solidFill>
            <a:schemeClr val="bg1">
              <a:lumMod val="95000"/>
            </a:schemeClr>
          </a:solidFill>
          <a:ln w="38100" cap="flat" cmpd="sng" algn="ctr">
            <a:gradFill flip="none" rotWithShape="1">
              <a:gsLst>
                <a:gs pos="0">
                  <a:sysClr val="window" lastClr="FFFFFF">
                    <a:lumMod val="85000"/>
                  </a:sysClr>
                </a:gs>
                <a:gs pos="100000">
                  <a:sysClr val="window" lastClr="FFFFFF">
                    <a:lumMod val="75000"/>
                  </a:sysClr>
                </a:gs>
              </a:gsLst>
              <a:lin ang="16200000" scaled="1"/>
              <a:tileRect/>
            </a:gradFill>
            <a:prstDash val="solid"/>
            <a:headEnd type="none" w="med" len="med"/>
            <a:tailEnd type="none" w="med" len="med"/>
          </a:ln>
          <a:effectLst/>
        </p:spPr>
        <p:txBody>
          <a:bodyPr rot="0" spcFirstLastPara="0" vertOverflow="overflow" horzOverflow="overflow" vert="horz" wrap="none" lIns="0" tIns="0" rIns="0" bIns="180000" numCol="1" spcCol="0" rtlCol="0" fromWordArt="0" anchor="b" anchorCtr="0" forceAA="0" compatLnSpc="1">
            <a:noAutofit/>
          </a:bodyPr>
          <a:lstStyle/>
          <a:p>
            <a:pPr lvl="0" algn="ctr">
              <a:defRPr/>
            </a:pPr>
            <a:r>
              <a:rPr lang="zh-CN" altLang="en-US" sz="1400" b="1" kern="0" dirty="0">
                <a:solidFill>
                  <a:schemeClr val="bg1">
                    <a:lumMod val="50000"/>
                  </a:schemeClr>
                </a:solidFill>
                <a:ea typeface="华文楷体" panose="02010600040101010101" charset="-122"/>
                <a:cs typeface="+mn-ea"/>
                <a:sym typeface="+mn-lt"/>
              </a:rPr>
              <a:t>文本</a:t>
            </a:r>
            <a:endParaRPr lang="zh-CN" altLang="en-US" sz="1400" b="1" kern="0" dirty="0">
              <a:solidFill>
                <a:schemeClr val="bg1">
                  <a:lumMod val="50000"/>
                </a:schemeClr>
              </a:solidFill>
              <a:ea typeface="华文楷体" panose="02010600040101010101" charset="-122"/>
              <a:cs typeface="+mn-ea"/>
              <a:sym typeface="+mn-lt"/>
            </a:endParaRPr>
          </a:p>
        </p:txBody>
      </p:sp>
      <p:sp>
        <p:nvSpPr>
          <p:cNvPr id="206" name="椭圆 205"/>
          <p:cNvSpPr/>
          <p:nvPr/>
        </p:nvSpPr>
        <p:spPr>
          <a:xfrm>
            <a:off x="1666464" y="5199882"/>
            <a:ext cx="1121096" cy="1112867"/>
          </a:xfrm>
          <a:prstGeom prst="ellipse">
            <a:avLst/>
          </a:prstGeom>
          <a:solidFill>
            <a:schemeClr val="bg1">
              <a:lumMod val="95000"/>
            </a:schemeClr>
          </a:solidFill>
          <a:ln w="38100" cap="flat" cmpd="sng" algn="ctr">
            <a:gradFill flip="none" rotWithShape="1">
              <a:gsLst>
                <a:gs pos="0">
                  <a:sysClr val="window" lastClr="FFFFFF">
                    <a:lumMod val="85000"/>
                  </a:sysClr>
                </a:gs>
                <a:gs pos="100000">
                  <a:sysClr val="window" lastClr="FFFFFF">
                    <a:lumMod val="75000"/>
                  </a:sysClr>
                </a:gs>
              </a:gsLst>
              <a:lin ang="16200000" scaled="1"/>
              <a:tileRect/>
            </a:gradFill>
            <a:prstDash val="solid"/>
            <a:headEnd type="none" w="med" len="med"/>
            <a:tailEnd type="none" w="med" len="med"/>
          </a:ln>
          <a:effectLst/>
        </p:spPr>
        <p:txBody>
          <a:bodyPr rot="0" spcFirstLastPara="0" vertOverflow="overflow" horzOverflow="overflow" vert="horz" wrap="none" lIns="0" tIns="0" rIns="0" bIns="72000" numCol="1" spcCol="0" rtlCol="0" fromWordArt="0" anchor="b" anchorCtr="0" forceAA="0" compatLnSpc="1">
            <a:noAutofit/>
          </a:bodyPr>
          <a:lstStyle/>
          <a:p>
            <a:pPr lvl="0" algn="ctr">
              <a:defRPr/>
            </a:pPr>
            <a:r>
              <a:rPr lang="zh-CN" altLang="en-US" sz="1400" b="1" kern="0" dirty="0">
                <a:solidFill>
                  <a:schemeClr val="bg1">
                    <a:lumMod val="50000"/>
                  </a:schemeClr>
                </a:solidFill>
                <a:ea typeface="华文楷体" panose="02010600040101010101" charset="-122"/>
                <a:cs typeface="+mn-ea"/>
                <a:sym typeface="+mn-lt"/>
              </a:rPr>
              <a:t>文本</a:t>
            </a:r>
            <a:endParaRPr lang="zh-CN" altLang="en-US" sz="1400" b="1" kern="0" dirty="0">
              <a:solidFill>
                <a:schemeClr val="bg1">
                  <a:lumMod val="50000"/>
                </a:schemeClr>
              </a:solidFill>
              <a:ea typeface="华文楷体" panose="02010600040101010101" charset="-122"/>
              <a:cs typeface="+mn-ea"/>
              <a:sym typeface="+mn-lt"/>
            </a:endParaRPr>
          </a:p>
        </p:txBody>
      </p:sp>
      <p:sp>
        <p:nvSpPr>
          <p:cNvPr id="207" name="椭圆 206"/>
          <p:cNvSpPr/>
          <p:nvPr/>
        </p:nvSpPr>
        <p:spPr>
          <a:xfrm>
            <a:off x="745548" y="1697796"/>
            <a:ext cx="1121096" cy="1112867"/>
          </a:xfrm>
          <a:prstGeom prst="ellipse">
            <a:avLst/>
          </a:prstGeom>
          <a:solidFill>
            <a:schemeClr val="bg1">
              <a:lumMod val="95000"/>
            </a:schemeClr>
          </a:solidFill>
          <a:ln w="38100" cap="flat" cmpd="sng" algn="ctr">
            <a:gradFill flip="none" rotWithShape="1">
              <a:gsLst>
                <a:gs pos="0">
                  <a:sysClr val="window" lastClr="FFFFFF">
                    <a:lumMod val="85000"/>
                  </a:sysClr>
                </a:gs>
                <a:gs pos="100000">
                  <a:sysClr val="window" lastClr="FFFFFF">
                    <a:lumMod val="75000"/>
                  </a:sysClr>
                </a:gs>
              </a:gsLst>
              <a:lin ang="16200000" scaled="1"/>
              <a:tileRect/>
            </a:gradFill>
            <a:prstDash val="solid"/>
            <a:headEnd type="none" w="med" len="med"/>
            <a:tailEnd type="none" w="med" len="med"/>
          </a:ln>
          <a:effectLst/>
        </p:spPr>
        <p:txBody>
          <a:bodyPr rot="0" spcFirstLastPara="0" vertOverflow="overflow" horzOverflow="overflow" vert="horz" wrap="none" lIns="0" tIns="0" rIns="0" bIns="180000" numCol="1" spcCol="0" rtlCol="0" fromWordArt="0" anchor="b"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400" b="1" kern="0" noProof="0" dirty="0">
                <a:solidFill>
                  <a:schemeClr val="bg1">
                    <a:lumMod val="50000"/>
                  </a:schemeClr>
                </a:solidFill>
                <a:latin typeface="Arial" panose="020B0604020202020204"/>
                <a:ea typeface="华文楷体" panose="02010600040101010101" charset="-122"/>
                <a:cs typeface="+mn-ea"/>
                <a:sym typeface="+mn-lt"/>
              </a:rPr>
              <a:t>文本</a:t>
            </a:r>
            <a:endParaRPr kumimoji="0" lang="zh-CN" altLang="en-US" sz="1400" b="1" i="0" u="none" strike="noStrike" kern="0" cap="none" spc="0" normalizeH="0" baseline="0" noProof="0" dirty="0" smtClean="0">
              <a:ln>
                <a:noFill/>
              </a:ln>
              <a:solidFill>
                <a:schemeClr val="bg1">
                  <a:lumMod val="50000"/>
                </a:schemeClr>
              </a:solidFill>
              <a:effectLst/>
              <a:uLnTx/>
              <a:uFillTx/>
              <a:latin typeface="Arial" panose="020B0604020202020204"/>
              <a:ea typeface="华文楷体" panose="02010600040101010101" charset="-122"/>
              <a:cs typeface="+mn-ea"/>
              <a:sym typeface="+mn-lt"/>
            </a:endParaRPr>
          </a:p>
        </p:txBody>
      </p:sp>
      <p:pic>
        <p:nvPicPr>
          <p:cNvPr id="208" name="Picture 6"/>
          <p:cNvPicPr>
            <a:picLocks noChangeAspect="1" noChangeArrowheads="1"/>
          </p:cNvPicPr>
          <p:nvPr/>
        </p:nvPicPr>
        <p:blipFill>
          <a:blip r:embed="rId2" cstate="email"/>
          <a:srcRect/>
          <a:stretch>
            <a:fillRect/>
          </a:stretch>
        </p:blipFill>
        <p:spPr bwMode="auto">
          <a:xfrm>
            <a:off x="1144344" y="1805488"/>
            <a:ext cx="346652" cy="435464"/>
          </a:xfrm>
          <a:prstGeom prst="rect">
            <a:avLst/>
          </a:prstGeom>
          <a:noFill/>
          <a:effectLst>
            <a:outerShdw blurRad="50800" dist="635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9" name="椭圆 208"/>
          <p:cNvSpPr/>
          <p:nvPr/>
        </p:nvSpPr>
        <p:spPr>
          <a:xfrm>
            <a:off x="745548" y="2519222"/>
            <a:ext cx="1121096" cy="1112867"/>
          </a:xfrm>
          <a:prstGeom prst="ellipse">
            <a:avLst/>
          </a:prstGeom>
          <a:solidFill>
            <a:schemeClr val="bg1">
              <a:lumMod val="95000"/>
            </a:schemeClr>
          </a:solidFill>
          <a:ln w="38100" cap="flat" cmpd="sng" algn="ctr">
            <a:gradFill flip="none" rotWithShape="1">
              <a:gsLst>
                <a:gs pos="0">
                  <a:sysClr val="window" lastClr="FFFFFF">
                    <a:lumMod val="85000"/>
                  </a:sysClr>
                </a:gs>
                <a:gs pos="100000">
                  <a:sysClr val="window" lastClr="FFFFFF">
                    <a:lumMod val="75000"/>
                  </a:sysClr>
                </a:gs>
              </a:gsLst>
              <a:lin ang="16200000" scaled="1"/>
              <a:tileRect/>
            </a:gradFill>
            <a:prstDash val="solid"/>
            <a:headEnd type="none" w="med" len="med"/>
            <a:tailEnd type="none" w="med" len="med"/>
          </a:ln>
          <a:effectLst/>
        </p:spPr>
        <p:txBody>
          <a:bodyPr rot="0" spcFirstLastPara="0" vertOverflow="overflow" horzOverflow="overflow" vert="horz" wrap="none" lIns="0" tIns="0" rIns="0" bIns="180000" numCol="1" spcCol="0" rtlCol="0" fromWordArt="0" anchor="b" anchorCtr="0" forceAA="0" compatLnSpc="1">
            <a:noAutofit/>
          </a:bodyPr>
          <a:lstStyle/>
          <a:p>
            <a:pPr lvl="0" algn="ctr">
              <a:defRPr/>
            </a:pPr>
            <a:r>
              <a:rPr lang="zh-CN" altLang="en-US" sz="1400" b="1" kern="0" dirty="0">
                <a:solidFill>
                  <a:schemeClr val="bg1">
                    <a:lumMod val="50000"/>
                  </a:schemeClr>
                </a:solidFill>
                <a:ea typeface="华文楷体" panose="02010600040101010101" charset="-122"/>
                <a:cs typeface="+mn-ea"/>
                <a:sym typeface="+mn-lt"/>
              </a:rPr>
              <a:t>文本</a:t>
            </a:r>
            <a:endParaRPr lang="zh-CN" altLang="en-US" sz="1400" b="1" kern="0" dirty="0">
              <a:solidFill>
                <a:schemeClr val="bg1">
                  <a:lumMod val="50000"/>
                </a:schemeClr>
              </a:solidFill>
              <a:ea typeface="华文楷体" panose="02010600040101010101" charset="-122"/>
              <a:cs typeface="+mn-ea"/>
              <a:sym typeface="+mn-lt"/>
            </a:endParaRPr>
          </a:p>
        </p:txBody>
      </p:sp>
      <p:sp>
        <p:nvSpPr>
          <p:cNvPr id="210" name="thunderstorm-clouds_17785"/>
          <p:cNvSpPr>
            <a:spLocks noChangeAspect="1"/>
          </p:cNvSpPr>
          <p:nvPr/>
        </p:nvSpPr>
        <p:spPr bwMode="auto">
          <a:xfrm>
            <a:off x="1092591" y="2665786"/>
            <a:ext cx="448583" cy="478144"/>
          </a:xfrm>
          <a:custGeom>
            <a:avLst/>
            <a:gdLst>
              <a:gd name="connsiteX0" fmla="*/ 318467 w 564311"/>
              <a:gd name="connsiteY0" fmla="*/ 451196 h 605946"/>
              <a:gd name="connsiteX1" fmla="*/ 359954 w 564311"/>
              <a:gd name="connsiteY1" fmla="*/ 451196 h 605946"/>
              <a:gd name="connsiteX2" fmla="*/ 361667 w 564311"/>
              <a:gd name="connsiteY2" fmla="*/ 452248 h 605946"/>
              <a:gd name="connsiteX3" fmla="*/ 361272 w 564311"/>
              <a:gd name="connsiteY3" fmla="*/ 454220 h 605946"/>
              <a:gd name="connsiteX4" fmla="*/ 327028 w 564311"/>
              <a:gd name="connsiteY4" fmla="*/ 492875 h 605946"/>
              <a:gd name="connsiteX5" fmla="*/ 347047 w 564311"/>
              <a:gd name="connsiteY5" fmla="*/ 492875 h 605946"/>
              <a:gd name="connsiteX6" fmla="*/ 348628 w 564311"/>
              <a:gd name="connsiteY6" fmla="*/ 493926 h 605946"/>
              <a:gd name="connsiteX7" fmla="*/ 348364 w 564311"/>
              <a:gd name="connsiteY7" fmla="*/ 495767 h 605946"/>
              <a:gd name="connsiteX8" fmla="*/ 245897 w 564311"/>
              <a:gd name="connsiteY8" fmla="*/ 605420 h 605946"/>
              <a:gd name="connsiteX9" fmla="*/ 244580 w 564311"/>
              <a:gd name="connsiteY9" fmla="*/ 605946 h 605946"/>
              <a:gd name="connsiteX10" fmla="*/ 243526 w 564311"/>
              <a:gd name="connsiteY10" fmla="*/ 605552 h 605946"/>
              <a:gd name="connsiteX11" fmla="*/ 243131 w 564311"/>
              <a:gd name="connsiteY11" fmla="*/ 603185 h 605946"/>
              <a:gd name="connsiteX12" fmla="*/ 304374 w 564311"/>
              <a:gd name="connsiteY12" fmla="*/ 515226 h 605946"/>
              <a:gd name="connsiteX13" fmla="*/ 267760 w 564311"/>
              <a:gd name="connsiteY13" fmla="*/ 515226 h 605946"/>
              <a:gd name="connsiteX14" fmla="*/ 266180 w 564311"/>
              <a:gd name="connsiteY14" fmla="*/ 514174 h 605946"/>
              <a:gd name="connsiteX15" fmla="*/ 266443 w 564311"/>
              <a:gd name="connsiteY15" fmla="*/ 512333 h 605946"/>
              <a:gd name="connsiteX16" fmla="*/ 317150 w 564311"/>
              <a:gd name="connsiteY16" fmla="*/ 451853 h 605946"/>
              <a:gd name="connsiteX17" fmla="*/ 318467 w 564311"/>
              <a:gd name="connsiteY17" fmla="*/ 451196 h 605946"/>
              <a:gd name="connsiteX18" fmla="*/ 130551 w 564311"/>
              <a:gd name="connsiteY18" fmla="*/ 357061 h 605946"/>
              <a:gd name="connsiteX19" fmla="*/ 134633 w 564311"/>
              <a:gd name="connsiteY19" fmla="*/ 363111 h 605946"/>
              <a:gd name="connsiteX20" fmla="*/ 154256 w 564311"/>
              <a:gd name="connsiteY20" fmla="*/ 404014 h 605946"/>
              <a:gd name="connsiteX21" fmla="*/ 130551 w 564311"/>
              <a:gd name="connsiteY21" fmla="*/ 427556 h 605946"/>
              <a:gd name="connsiteX22" fmla="*/ 106977 w 564311"/>
              <a:gd name="connsiteY22" fmla="*/ 404014 h 605946"/>
              <a:gd name="connsiteX23" fmla="*/ 126468 w 564311"/>
              <a:gd name="connsiteY23" fmla="*/ 363111 h 605946"/>
              <a:gd name="connsiteX24" fmla="*/ 399430 w 564311"/>
              <a:gd name="connsiteY24" fmla="*/ 347722 h 605946"/>
              <a:gd name="connsiteX25" fmla="*/ 412862 w 564311"/>
              <a:gd name="connsiteY25" fmla="*/ 375986 h 605946"/>
              <a:gd name="connsiteX26" fmla="*/ 399430 w 564311"/>
              <a:gd name="connsiteY26" fmla="*/ 389264 h 605946"/>
              <a:gd name="connsiteX27" fmla="*/ 385997 w 564311"/>
              <a:gd name="connsiteY27" fmla="*/ 375986 h 605946"/>
              <a:gd name="connsiteX28" fmla="*/ 399430 w 564311"/>
              <a:gd name="connsiteY28" fmla="*/ 347722 h 605946"/>
              <a:gd name="connsiteX29" fmla="*/ 261677 w 564311"/>
              <a:gd name="connsiteY29" fmla="*/ 336022 h 605946"/>
              <a:gd name="connsiteX30" fmla="*/ 324759 w 564311"/>
              <a:gd name="connsiteY30" fmla="*/ 336022 h 605946"/>
              <a:gd name="connsiteX31" fmla="*/ 267603 w 564311"/>
              <a:gd name="connsiteY31" fmla="*/ 400439 h 605946"/>
              <a:gd name="connsiteX32" fmla="*/ 267077 w 564311"/>
              <a:gd name="connsiteY32" fmla="*/ 403725 h 605946"/>
              <a:gd name="connsiteX33" fmla="*/ 269974 w 564311"/>
              <a:gd name="connsiteY33" fmla="*/ 405434 h 605946"/>
              <a:gd name="connsiteX34" fmla="*/ 303951 w 564311"/>
              <a:gd name="connsiteY34" fmla="*/ 405434 h 605946"/>
              <a:gd name="connsiteX35" fmla="*/ 161984 w 564311"/>
              <a:gd name="connsiteY35" fmla="*/ 557538 h 605946"/>
              <a:gd name="connsiteX36" fmla="*/ 246137 w 564311"/>
              <a:gd name="connsiteY36" fmla="*/ 436591 h 605946"/>
              <a:gd name="connsiteX37" fmla="*/ 246269 w 564311"/>
              <a:gd name="connsiteY37" fmla="*/ 433436 h 605946"/>
              <a:gd name="connsiteX38" fmla="*/ 243635 w 564311"/>
              <a:gd name="connsiteY38" fmla="*/ 431727 h 605946"/>
              <a:gd name="connsiteX39" fmla="*/ 181343 w 564311"/>
              <a:gd name="connsiteY39" fmla="*/ 431727 h 605946"/>
              <a:gd name="connsiteX40" fmla="*/ 195040 w 564311"/>
              <a:gd name="connsiteY40" fmla="*/ 19588 h 605946"/>
              <a:gd name="connsiteX41" fmla="*/ 284592 w 564311"/>
              <a:gd name="connsiteY41" fmla="*/ 74540 h 605946"/>
              <a:gd name="connsiteX42" fmla="*/ 286567 w 564311"/>
              <a:gd name="connsiteY42" fmla="*/ 78352 h 605946"/>
              <a:gd name="connsiteX43" fmla="*/ 290650 w 564311"/>
              <a:gd name="connsiteY43" fmla="*/ 77169 h 605946"/>
              <a:gd name="connsiteX44" fmla="*/ 318701 w 564311"/>
              <a:gd name="connsiteY44" fmla="*/ 73094 h 605946"/>
              <a:gd name="connsiteX45" fmla="*/ 406541 w 564311"/>
              <a:gd name="connsiteY45" fmla="*/ 124891 h 605946"/>
              <a:gd name="connsiteX46" fmla="*/ 408516 w 564311"/>
              <a:gd name="connsiteY46" fmla="*/ 128309 h 605946"/>
              <a:gd name="connsiteX47" fmla="*/ 412204 w 564311"/>
              <a:gd name="connsiteY47" fmla="*/ 127388 h 605946"/>
              <a:gd name="connsiteX48" fmla="*/ 534548 w 564311"/>
              <a:gd name="connsiteY48" fmla="*/ 225329 h 605946"/>
              <a:gd name="connsiteX49" fmla="*/ 434065 w 564311"/>
              <a:gd name="connsiteY49" fmla="*/ 325636 h 605946"/>
              <a:gd name="connsiteX50" fmla="*/ 100483 w 564311"/>
              <a:gd name="connsiteY50" fmla="*/ 325636 h 605946"/>
              <a:gd name="connsiteX51" fmla="*/ 0 w 564311"/>
              <a:gd name="connsiteY51" fmla="*/ 225329 h 605946"/>
              <a:gd name="connsiteX52" fmla="*/ 89947 w 564311"/>
              <a:gd name="connsiteY52" fmla="*/ 125548 h 605946"/>
              <a:gd name="connsiteX53" fmla="*/ 94557 w 564311"/>
              <a:gd name="connsiteY53" fmla="*/ 124496 h 605946"/>
              <a:gd name="connsiteX54" fmla="*/ 94557 w 564311"/>
              <a:gd name="connsiteY54" fmla="*/ 119895 h 605946"/>
              <a:gd name="connsiteX55" fmla="*/ 195040 w 564311"/>
              <a:gd name="connsiteY55" fmla="*/ 19588 h 605946"/>
              <a:gd name="connsiteX56" fmla="*/ 323047 w 564311"/>
              <a:gd name="connsiteY56" fmla="*/ 0 h 605946"/>
              <a:gd name="connsiteX57" fmla="*/ 385865 w 564311"/>
              <a:gd name="connsiteY57" fmla="*/ 38519 h 605946"/>
              <a:gd name="connsiteX58" fmla="*/ 387709 w 564311"/>
              <a:gd name="connsiteY58" fmla="*/ 42331 h 605946"/>
              <a:gd name="connsiteX59" fmla="*/ 391923 w 564311"/>
              <a:gd name="connsiteY59" fmla="*/ 41148 h 605946"/>
              <a:gd name="connsiteX60" fmla="*/ 473047 w 564311"/>
              <a:gd name="connsiteY60" fmla="*/ 74540 h 605946"/>
              <a:gd name="connsiteX61" fmla="*/ 474891 w 564311"/>
              <a:gd name="connsiteY61" fmla="*/ 77958 h 605946"/>
              <a:gd name="connsiteX62" fmla="*/ 478710 w 564311"/>
              <a:gd name="connsiteY62" fmla="*/ 77169 h 605946"/>
              <a:gd name="connsiteX63" fmla="*/ 564311 w 564311"/>
              <a:gd name="connsiteY63" fmla="*/ 145662 h 605946"/>
              <a:gd name="connsiteX64" fmla="*/ 541133 w 564311"/>
              <a:gd name="connsiteY64" fmla="*/ 197590 h 605946"/>
              <a:gd name="connsiteX65" fmla="*/ 413784 w 564311"/>
              <a:gd name="connsiteY65" fmla="*/ 116608 h 605946"/>
              <a:gd name="connsiteX66" fmla="*/ 318701 w 564311"/>
              <a:gd name="connsiteY66" fmla="*/ 62840 h 605946"/>
              <a:gd name="connsiteX67" fmla="*/ 291835 w 564311"/>
              <a:gd name="connsiteY67" fmla="*/ 66126 h 605946"/>
              <a:gd name="connsiteX68" fmla="*/ 263652 w 564311"/>
              <a:gd name="connsiteY68" fmla="*/ 32997 h 605946"/>
              <a:gd name="connsiteX69" fmla="*/ 323047 w 564311"/>
              <a:gd name="connsiteY69" fmla="*/ 0 h 60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4311" h="605946">
                <a:moveTo>
                  <a:pt x="318467" y="451196"/>
                </a:moveTo>
                <a:lnTo>
                  <a:pt x="359954" y="451196"/>
                </a:lnTo>
                <a:cubicBezTo>
                  <a:pt x="360613" y="451196"/>
                  <a:pt x="361272" y="451590"/>
                  <a:pt x="361667" y="452248"/>
                </a:cubicBezTo>
                <a:cubicBezTo>
                  <a:pt x="361930" y="452905"/>
                  <a:pt x="361798" y="453694"/>
                  <a:pt x="361272" y="454220"/>
                </a:cubicBezTo>
                <a:lnTo>
                  <a:pt x="327028" y="492875"/>
                </a:lnTo>
                <a:lnTo>
                  <a:pt x="347047" y="492875"/>
                </a:lnTo>
                <a:cubicBezTo>
                  <a:pt x="347706" y="492875"/>
                  <a:pt x="348364" y="493269"/>
                  <a:pt x="348628" y="493926"/>
                </a:cubicBezTo>
                <a:cubicBezTo>
                  <a:pt x="348891" y="494584"/>
                  <a:pt x="348759" y="495241"/>
                  <a:pt x="348364" y="495767"/>
                </a:cubicBezTo>
                <a:lnTo>
                  <a:pt x="245897" y="605420"/>
                </a:lnTo>
                <a:cubicBezTo>
                  <a:pt x="245633" y="605815"/>
                  <a:pt x="245106" y="605946"/>
                  <a:pt x="244580" y="605946"/>
                </a:cubicBezTo>
                <a:cubicBezTo>
                  <a:pt x="244185" y="605946"/>
                  <a:pt x="243789" y="605815"/>
                  <a:pt x="243526" y="605552"/>
                </a:cubicBezTo>
                <a:cubicBezTo>
                  <a:pt x="242736" y="605026"/>
                  <a:pt x="242604" y="603974"/>
                  <a:pt x="243131" y="603185"/>
                </a:cubicBezTo>
                <a:lnTo>
                  <a:pt x="304374" y="515226"/>
                </a:lnTo>
                <a:lnTo>
                  <a:pt x="267760" y="515226"/>
                </a:lnTo>
                <a:cubicBezTo>
                  <a:pt x="267101" y="515226"/>
                  <a:pt x="266443" y="514832"/>
                  <a:pt x="266180" y="514174"/>
                </a:cubicBezTo>
                <a:cubicBezTo>
                  <a:pt x="265784" y="513648"/>
                  <a:pt x="265916" y="512859"/>
                  <a:pt x="266443" y="512333"/>
                </a:cubicBezTo>
                <a:lnTo>
                  <a:pt x="317150" y="451853"/>
                </a:lnTo>
                <a:cubicBezTo>
                  <a:pt x="317413" y="451459"/>
                  <a:pt x="317940" y="451196"/>
                  <a:pt x="318467" y="451196"/>
                </a:cubicBezTo>
                <a:close/>
                <a:moveTo>
                  <a:pt x="130551" y="357061"/>
                </a:moveTo>
                <a:lnTo>
                  <a:pt x="134633" y="363111"/>
                </a:lnTo>
                <a:cubicBezTo>
                  <a:pt x="137926" y="367977"/>
                  <a:pt x="154256" y="392703"/>
                  <a:pt x="154256" y="404014"/>
                </a:cubicBezTo>
                <a:cubicBezTo>
                  <a:pt x="154256" y="416903"/>
                  <a:pt x="143589" y="427556"/>
                  <a:pt x="130551" y="427556"/>
                </a:cubicBezTo>
                <a:cubicBezTo>
                  <a:pt x="117513" y="427556"/>
                  <a:pt x="106977" y="416903"/>
                  <a:pt x="106977" y="404014"/>
                </a:cubicBezTo>
                <a:cubicBezTo>
                  <a:pt x="106977" y="392703"/>
                  <a:pt x="123307" y="367977"/>
                  <a:pt x="126468" y="363111"/>
                </a:cubicBezTo>
                <a:close/>
                <a:moveTo>
                  <a:pt x="399430" y="347722"/>
                </a:moveTo>
                <a:cubicBezTo>
                  <a:pt x="405883" y="358107"/>
                  <a:pt x="412862" y="371122"/>
                  <a:pt x="412862" y="375986"/>
                </a:cubicBezTo>
                <a:cubicBezTo>
                  <a:pt x="412862" y="383348"/>
                  <a:pt x="406804" y="389264"/>
                  <a:pt x="399430" y="389264"/>
                </a:cubicBezTo>
                <a:cubicBezTo>
                  <a:pt x="392055" y="389264"/>
                  <a:pt x="385997" y="383348"/>
                  <a:pt x="385997" y="375986"/>
                </a:cubicBezTo>
                <a:cubicBezTo>
                  <a:pt x="385997" y="371122"/>
                  <a:pt x="392977" y="358107"/>
                  <a:pt x="399430" y="347722"/>
                </a:cubicBezTo>
                <a:close/>
                <a:moveTo>
                  <a:pt x="261677" y="336022"/>
                </a:moveTo>
                <a:lnTo>
                  <a:pt x="324759" y="336022"/>
                </a:lnTo>
                <a:lnTo>
                  <a:pt x="267603" y="400439"/>
                </a:lnTo>
                <a:cubicBezTo>
                  <a:pt x="266813" y="401359"/>
                  <a:pt x="266681" y="402542"/>
                  <a:pt x="267077" y="403725"/>
                </a:cubicBezTo>
                <a:cubicBezTo>
                  <a:pt x="267603" y="404777"/>
                  <a:pt x="268657" y="405434"/>
                  <a:pt x="269974" y="405434"/>
                </a:cubicBezTo>
                <a:lnTo>
                  <a:pt x="303951" y="405434"/>
                </a:lnTo>
                <a:lnTo>
                  <a:pt x="161984" y="557538"/>
                </a:lnTo>
                <a:lnTo>
                  <a:pt x="246137" y="436591"/>
                </a:lnTo>
                <a:cubicBezTo>
                  <a:pt x="246796" y="435671"/>
                  <a:pt x="246796" y="434356"/>
                  <a:pt x="246269" y="433436"/>
                </a:cubicBezTo>
                <a:cubicBezTo>
                  <a:pt x="245742" y="432384"/>
                  <a:pt x="244688" y="431727"/>
                  <a:pt x="243635" y="431727"/>
                </a:cubicBezTo>
                <a:lnTo>
                  <a:pt x="181343" y="431727"/>
                </a:lnTo>
                <a:close/>
                <a:moveTo>
                  <a:pt x="195040" y="19588"/>
                </a:moveTo>
                <a:cubicBezTo>
                  <a:pt x="232968" y="19588"/>
                  <a:pt x="267340" y="40622"/>
                  <a:pt x="284592" y="74540"/>
                </a:cubicBezTo>
                <a:lnTo>
                  <a:pt x="286567" y="78352"/>
                </a:lnTo>
                <a:lnTo>
                  <a:pt x="290650" y="77169"/>
                </a:lnTo>
                <a:cubicBezTo>
                  <a:pt x="299868" y="74409"/>
                  <a:pt x="309350" y="73094"/>
                  <a:pt x="318701" y="73094"/>
                </a:cubicBezTo>
                <a:cubicBezTo>
                  <a:pt x="355180" y="73094"/>
                  <a:pt x="388894" y="92945"/>
                  <a:pt x="406541" y="124891"/>
                </a:cubicBezTo>
                <a:lnTo>
                  <a:pt x="408516" y="128309"/>
                </a:lnTo>
                <a:lnTo>
                  <a:pt x="412204" y="127388"/>
                </a:lnTo>
                <a:cubicBezTo>
                  <a:pt x="476734" y="113322"/>
                  <a:pt x="534548" y="162884"/>
                  <a:pt x="534548" y="225329"/>
                </a:cubicBezTo>
                <a:cubicBezTo>
                  <a:pt x="534548" y="280675"/>
                  <a:pt x="489509" y="325636"/>
                  <a:pt x="434065" y="325636"/>
                </a:cubicBezTo>
                <a:lnTo>
                  <a:pt x="100483" y="325636"/>
                </a:lnTo>
                <a:cubicBezTo>
                  <a:pt x="45039" y="325636"/>
                  <a:pt x="0" y="280675"/>
                  <a:pt x="0" y="225329"/>
                </a:cubicBezTo>
                <a:cubicBezTo>
                  <a:pt x="0" y="173795"/>
                  <a:pt x="38586" y="130938"/>
                  <a:pt x="89947" y="125548"/>
                </a:cubicBezTo>
                <a:lnTo>
                  <a:pt x="94557" y="124496"/>
                </a:lnTo>
                <a:lnTo>
                  <a:pt x="94557" y="119895"/>
                </a:lnTo>
                <a:cubicBezTo>
                  <a:pt x="94557" y="64549"/>
                  <a:pt x="139596" y="19588"/>
                  <a:pt x="195040" y="19588"/>
                </a:cubicBezTo>
                <a:close/>
                <a:moveTo>
                  <a:pt x="323047" y="0"/>
                </a:moveTo>
                <a:cubicBezTo>
                  <a:pt x="349649" y="0"/>
                  <a:pt x="373749" y="14724"/>
                  <a:pt x="385865" y="38519"/>
                </a:cubicBezTo>
                <a:lnTo>
                  <a:pt x="387709" y="42331"/>
                </a:lnTo>
                <a:lnTo>
                  <a:pt x="391923" y="41148"/>
                </a:lnTo>
                <a:cubicBezTo>
                  <a:pt x="423661" y="31946"/>
                  <a:pt x="457507" y="46538"/>
                  <a:pt x="473047" y="74540"/>
                </a:cubicBezTo>
                <a:lnTo>
                  <a:pt x="474891" y="77958"/>
                </a:lnTo>
                <a:lnTo>
                  <a:pt x="478710" y="77169"/>
                </a:lnTo>
                <a:cubicBezTo>
                  <a:pt x="524013" y="67178"/>
                  <a:pt x="564311" y="102016"/>
                  <a:pt x="564311" y="145662"/>
                </a:cubicBezTo>
                <a:cubicBezTo>
                  <a:pt x="564311" y="166302"/>
                  <a:pt x="555356" y="184707"/>
                  <a:pt x="541133" y="197590"/>
                </a:cubicBezTo>
                <a:cubicBezTo>
                  <a:pt x="527042" y="143690"/>
                  <a:pt x="473442" y="105565"/>
                  <a:pt x="413784" y="116608"/>
                </a:cubicBezTo>
                <a:cubicBezTo>
                  <a:pt x="393767" y="83348"/>
                  <a:pt x="357682" y="62840"/>
                  <a:pt x="318701" y="62840"/>
                </a:cubicBezTo>
                <a:cubicBezTo>
                  <a:pt x="309746" y="62840"/>
                  <a:pt x="300659" y="63891"/>
                  <a:pt x="291835" y="66126"/>
                </a:cubicBezTo>
                <a:cubicBezTo>
                  <a:pt x="284592" y="53111"/>
                  <a:pt x="274978" y="41937"/>
                  <a:pt x="263652" y="32997"/>
                </a:cubicBezTo>
                <a:cubicBezTo>
                  <a:pt x="276163" y="13278"/>
                  <a:pt x="298025" y="0"/>
                  <a:pt x="323047" y="0"/>
                </a:cubicBezTo>
                <a:close/>
              </a:path>
            </a:pathLst>
          </a:custGeom>
          <a:solidFill>
            <a:srgbClr val="7F7F7F"/>
          </a:solidFill>
          <a:ln>
            <a:noFill/>
          </a:ln>
        </p:spPr>
        <p:txBody>
          <a:bodyPr bIns="180000">
            <a:no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11" name="椭圆 210"/>
          <p:cNvSpPr/>
          <p:nvPr/>
        </p:nvSpPr>
        <p:spPr>
          <a:xfrm>
            <a:off x="745548" y="3340650"/>
            <a:ext cx="1121096" cy="1112867"/>
          </a:xfrm>
          <a:prstGeom prst="ellipse">
            <a:avLst/>
          </a:prstGeom>
          <a:solidFill>
            <a:schemeClr val="bg1">
              <a:lumMod val="95000"/>
            </a:schemeClr>
          </a:solidFill>
          <a:ln w="38100" cap="flat" cmpd="sng" algn="ctr">
            <a:gradFill flip="none" rotWithShape="1">
              <a:gsLst>
                <a:gs pos="0">
                  <a:sysClr val="window" lastClr="FFFFFF">
                    <a:lumMod val="85000"/>
                  </a:sysClr>
                </a:gs>
                <a:gs pos="100000">
                  <a:sysClr val="window" lastClr="FFFFFF">
                    <a:lumMod val="75000"/>
                  </a:sysClr>
                </a:gs>
              </a:gsLst>
              <a:lin ang="16200000" scaled="1"/>
              <a:tileRect/>
            </a:gradFill>
            <a:prstDash val="solid"/>
            <a:headEnd type="none" w="med" len="med"/>
            <a:tailEnd type="none" w="med" len="med"/>
          </a:ln>
          <a:effectLst/>
        </p:spPr>
        <p:txBody>
          <a:bodyPr rot="0" spcFirstLastPara="0" vertOverflow="overflow" horzOverflow="overflow" vert="horz" wrap="none" lIns="0" tIns="0" rIns="0" bIns="180000" numCol="1" spcCol="0" rtlCol="0" fromWordArt="0" anchor="b" anchorCtr="0" forceAA="0" compatLnSpc="1">
            <a:noAutofit/>
          </a:bodyPr>
          <a:lstStyle/>
          <a:p>
            <a:pPr lvl="0" algn="ctr">
              <a:defRPr/>
            </a:pPr>
            <a:r>
              <a:rPr lang="zh-CN" altLang="en-US" sz="1400" b="1" kern="0" dirty="0">
                <a:solidFill>
                  <a:schemeClr val="bg1">
                    <a:lumMod val="50000"/>
                  </a:schemeClr>
                </a:solidFill>
                <a:ea typeface="华文楷体" panose="02010600040101010101" charset="-122"/>
                <a:cs typeface="+mn-ea"/>
                <a:sym typeface="+mn-lt"/>
              </a:rPr>
              <a:t>文本</a:t>
            </a:r>
            <a:endParaRPr lang="zh-CN" altLang="en-US" sz="1400" b="1" kern="0" dirty="0">
              <a:solidFill>
                <a:schemeClr val="bg1">
                  <a:lumMod val="50000"/>
                </a:schemeClr>
              </a:solidFill>
              <a:ea typeface="华文楷体" panose="02010600040101010101" charset="-122"/>
              <a:cs typeface="+mn-ea"/>
              <a:sym typeface="+mn-lt"/>
            </a:endParaRPr>
          </a:p>
        </p:txBody>
      </p:sp>
      <p:sp>
        <p:nvSpPr>
          <p:cNvPr id="212" name="椭圆 211"/>
          <p:cNvSpPr/>
          <p:nvPr/>
        </p:nvSpPr>
        <p:spPr>
          <a:xfrm>
            <a:off x="745548" y="4162076"/>
            <a:ext cx="1121096" cy="1112867"/>
          </a:xfrm>
          <a:prstGeom prst="ellipse">
            <a:avLst/>
          </a:prstGeom>
          <a:solidFill>
            <a:schemeClr val="bg1">
              <a:lumMod val="95000"/>
            </a:schemeClr>
          </a:solidFill>
          <a:ln w="38100" cap="flat" cmpd="sng" algn="ctr">
            <a:gradFill flip="none" rotWithShape="1">
              <a:gsLst>
                <a:gs pos="0">
                  <a:sysClr val="window" lastClr="FFFFFF">
                    <a:lumMod val="85000"/>
                  </a:sysClr>
                </a:gs>
                <a:gs pos="100000">
                  <a:sysClr val="window" lastClr="FFFFFF">
                    <a:lumMod val="75000"/>
                  </a:sysClr>
                </a:gs>
              </a:gsLst>
              <a:lin ang="16200000" scaled="1"/>
              <a:tileRect/>
            </a:gradFill>
            <a:prstDash val="solid"/>
            <a:headEnd type="none" w="med" len="med"/>
            <a:tailEnd type="none" w="med" len="med"/>
          </a:ln>
          <a:effectLst/>
        </p:spPr>
        <p:txBody>
          <a:bodyPr rot="0" spcFirstLastPara="0" vertOverflow="overflow" horzOverflow="overflow" vert="horz" wrap="none" lIns="0" tIns="0" rIns="0" bIns="180000" numCol="1" spcCol="0" rtlCol="0" fromWordArt="0" anchor="b" anchorCtr="0" forceAA="0" compatLnSpc="1">
            <a:noAutofit/>
          </a:bodyPr>
          <a:lstStyle/>
          <a:p>
            <a:pPr lvl="0" algn="ctr">
              <a:defRPr/>
            </a:pPr>
            <a:r>
              <a:rPr lang="zh-CN" altLang="en-US" sz="1400" b="1" kern="0" dirty="0">
                <a:solidFill>
                  <a:schemeClr val="bg1">
                    <a:lumMod val="50000"/>
                  </a:schemeClr>
                </a:solidFill>
                <a:ea typeface="华文楷体" panose="02010600040101010101" charset="-122"/>
                <a:cs typeface="+mn-ea"/>
                <a:sym typeface="+mn-lt"/>
              </a:rPr>
              <a:t>文本</a:t>
            </a:r>
            <a:endParaRPr lang="zh-CN" altLang="en-US" sz="1400" b="1" kern="0" dirty="0">
              <a:solidFill>
                <a:schemeClr val="bg1">
                  <a:lumMod val="50000"/>
                </a:schemeClr>
              </a:solidFill>
              <a:ea typeface="华文楷体" panose="02010600040101010101" charset="-122"/>
              <a:cs typeface="+mn-ea"/>
              <a:sym typeface="+mn-lt"/>
            </a:endParaRPr>
          </a:p>
        </p:txBody>
      </p:sp>
      <p:sp>
        <p:nvSpPr>
          <p:cNvPr id="213" name="椭圆 212"/>
          <p:cNvSpPr/>
          <p:nvPr/>
        </p:nvSpPr>
        <p:spPr>
          <a:xfrm>
            <a:off x="745548" y="4983503"/>
            <a:ext cx="1121096" cy="1112867"/>
          </a:xfrm>
          <a:prstGeom prst="ellipse">
            <a:avLst/>
          </a:prstGeom>
          <a:solidFill>
            <a:schemeClr val="bg1">
              <a:lumMod val="95000"/>
            </a:schemeClr>
          </a:solidFill>
          <a:ln w="38100" cap="flat" cmpd="sng" algn="ctr">
            <a:gradFill flip="none" rotWithShape="1">
              <a:gsLst>
                <a:gs pos="0">
                  <a:sysClr val="window" lastClr="FFFFFF">
                    <a:lumMod val="85000"/>
                  </a:sysClr>
                </a:gs>
                <a:gs pos="100000">
                  <a:sysClr val="window" lastClr="FFFFFF">
                    <a:lumMod val="75000"/>
                  </a:sysClr>
                </a:gs>
              </a:gsLst>
              <a:lin ang="16200000" scaled="1"/>
              <a:tileRect/>
            </a:gradFill>
            <a:prstDash val="solid"/>
            <a:headEnd type="none" w="med" len="med"/>
            <a:tailEnd type="none" w="med" len="med"/>
          </a:ln>
          <a:effectLst/>
        </p:spPr>
        <p:txBody>
          <a:bodyPr rot="0" spcFirstLastPara="0" vertOverflow="overflow" horzOverflow="overflow" vert="horz" wrap="none" lIns="0" tIns="0" rIns="0" bIns="72000" numCol="1" spcCol="0" rtlCol="0" fromWordArt="0" anchor="b" anchorCtr="0" forceAA="0" compatLnSpc="1">
            <a:noAutofit/>
          </a:bodyPr>
          <a:lstStyle/>
          <a:p>
            <a:pPr lvl="0" algn="ctr">
              <a:defRPr/>
            </a:pPr>
            <a:r>
              <a:rPr lang="zh-CN" altLang="en-US" sz="1400" b="1" kern="0" dirty="0">
                <a:solidFill>
                  <a:schemeClr val="bg1">
                    <a:lumMod val="50000"/>
                  </a:schemeClr>
                </a:solidFill>
                <a:ea typeface="华文楷体" panose="02010600040101010101" charset="-122"/>
                <a:cs typeface="+mn-ea"/>
                <a:sym typeface="+mn-lt"/>
              </a:rPr>
              <a:t>文本</a:t>
            </a:r>
            <a:endParaRPr lang="zh-CN" altLang="en-US" sz="1400" b="1" kern="0" dirty="0">
              <a:solidFill>
                <a:schemeClr val="bg1">
                  <a:lumMod val="50000"/>
                </a:schemeClr>
              </a:solidFill>
              <a:ea typeface="华文楷体" panose="02010600040101010101" charset="-122"/>
              <a:cs typeface="+mn-ea"/>
              <a:sym typeface="+mn-lt"/>
            </a:endParaRPr>
          </a:p>
        </p:txBody>
      </p:sp>
      <p:grpSp>
        <p:nvGrpSpPr>
          <p:cNvPr id="214" name="组合 44"/>
          <p:cNvGrpSpPr/>
          <p:nvPr/>
        </p:nvGrpSpPr>
        <p:grpSpPr>
          <a:xfrm>
            <a:off x="1129752" y="3535704"/>
            <a:ext cx="430525" cy="375640"/>
            <a:chOff x="7912101" y="3352800"/>
            <a:chExt cx="1019175" cy="920750"/>
          </a:xfrm>
          <a:solidFill>
            <a:srgbClr val="7F7F7F"/>
          </a:solidFill>
        </p:grpSpPr>
        <p:sp>
          <p:nvSpPr>
            <p:cNvPr id="220" name="Freeform 2050"/>
            <p:cNvSpPr/>
            <p:nvPr/>
          </p:nvSpPr>
          <p:spPr bwMode="auto">
            <a:xfrm>
              <a:off x="7951788" y="3657600"/>
              <a:ext cx="57150" cy="69850"/>
            </a:xfrm>
            <a:custGeom>
              <a:avLst/>
              <a:gdLst>
                <a:gd name="T0" fmla="*/ 22 w 22"/>
                <a:gd name="T1" fmla="*/ 0 h 26"/>
                <a:gd name="T2" fmla="*/ 0 w 22"/>
                <a:gd name="T3" fmla="*/ 0 h 26"/>
                <a:gd name="T4" fmla="*/ 0 w 22"/>
                <a:gd name="T5" fmla="*/ 21 h 26"/>
                <a:gd name="T6" fmla="*/ 6 w 22"/>
                <a:gd name="T7" fmla="*/ 26 h 26"/>
                <a:gd name="T8" fmla="*/ 20 w 22"/>
                <a:gd name="T9" fmla="*/ 26 h 26"/>
                <a:gd name="T10" fmla="*/ 20 w 22"/>
                <a:gd name="T11" fmla="*/ 11 h 26"/>
                <a:gd name="T12" fmla="*/ 22 w 2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2" h="26">
                  <a:moveTo>
                    <a:pt x="22" y="0"/>
                  </a:moveTo>
                  <a:cubicBezTo>
                    <a:pt x="0" y="0"/>
                    <a:pt x="0" y="0"/>
                    <a:pt x="0" y="0"/>
                  </a:cubicBezTo>
                  <a:cubicBezTo>
                    <a:pt x="0" y="21"/>
                    <a:pt x="0" y="21"/>
                    <a:pt x="0" y="21"/>
                  </a:cubicBezTo>
                  <a:cubicBezTo>
                    <a:pt x="0" y="24"/>
                    <a:pt x="3" y="26"/>
                    <a:pt x="6" y="26"/>
                  </a:cubicBezTo>
                  <a:cubicBezTo>
                    <a:pt x="20" y="26"/>
                    <a:pt x="20" y="26"/>
                    <a:pt x="20" y="26"/>
                  </a:cubicBezTo>
                  <a:cubicBezTo>
                    <a:pt x="20" y="19"/>
                    <a:pt x="20" y="11"/>
                    <a:pt x="20" y="11"/>
                  </a:cubicBezTo>
                  <a:cubicBezTo>
                    <a:pt x="20" y="6"/>
                    <a:pt x="21" y="2"/>
                    <a:pt x="2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3305" tIns="31652" rIns="63305" bIns="31652"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21" name="Freeform 2051"/>
            <p:cNvSpPr>
              <a:spLocks noEditPoints="1"/>
            </p:cNvSpPr>
            <p:nvPr/>
          </p:nvSpPr>
          <p:spPr bwMode="auto">
            <a:xfrm>
              <a:off x="7912101" y="3352800"/>
              <a:ext cx="384175" cy="290513"/>
            </a:xfrm>
            <a:custGeom>
              <a:avLst/>
              <a:gdLst>
                <a:gd name="T0" fmla="*/ 12 w 146"/>
                <a:gd name="T1" fmla="*/ 110 h 110"/>
                <a:gd name="T2" fmla="*/ 41 w 146"/>
                <a:gd name="T3" fmla="*/ 110 h 110"/>
                <a:gd name="T4" fmla="*/ 44 w 146"/>
                <a:gd name="T5" fmla="*/ 108 h 110"/>
                <a:gd name="T6" fmla="*/ 62 w 146"/>
                <a:gd name="T7" fmla="*/ 96 h 110"/>
                <a:gd name="T8" fmla="*/ 74 w 146"/>
                <a:gd name="T9" fmla="*/ 54 h 110"/>
                <a:gd name="T10" fmla="*/ 77 w 146"/>
                <a:gd name="T11" fmla="*/ 48 h 110"/>
                <a:gd name="T12" fmla="*/ 37 w 146"/>
                <a:gd name="T13" fmla="*/ 48 h 110"/>
                <a:gd name="T14" fmla="*/ 44 w 146"/>
                <a:gd name="T15" fmla="*/ 19 h 110"/>
                <a:gd name="T16" fmla="*/ 56 w 146"/>
                <a:gd name="T17" fmla="*/ 11 h 110"/>
                <a:gd name="T18" fmla="*/ 116 w 146"/>
                <a:gd name="T19" fmla="*/ 11 h 110"/>
                <a:gd name="T20" fmla="*/ 128 w 146"/>
                <a:gd name="T21" fmla="*/ 19 h 110"/>
                <a:gd name="T22" fmla="*/ 133 w 146"/>
                <a:gd name="T23" fmla="*/ 39 h 110"/>
                <a:gd name="T24" fmla="*/ 146 w 146"/>
                <a:gd name="T25" fmla="*/ 39 h 110"/>
                <a:gd name="T26" fmla="*/ 138 w 146"/>
                <a:gd name="T27" fmla="*/ 10 h 110"/>
                <a:gd name="T28" fmla="*/ 125 w 146"/>
                <a:gd name="T29" fmla="*/ 1 h 110"/>
                <a:gd name="T30" fmla="*/ 47 w 146"/>
                <a:gd name="T31" fmla="*/ 1 h 110"/>
                <a:gd name="T32" fmla="*/ 34 w 146"/>
                <a:gd name="T33" fmla="*/ 10 h 110"/>
                <a:gd name="T34" fmla="*/ 24 w 146"/>
                <a:gd name="T35" fmla="*/ 48 h 110"/>
                <a:gd name="T36" fmla="*/ 24 w 146"/>
                <a:gd name="T37" fmla="*/ 49 h 110"/>
                <a:gd name="T38" fmla="*/ 7 w 146"/>
                <a:gd name="T39" fmla="*/ 59 h 110"/>
                <a:gd name="T40" fmla="*/ 7 w 146"/>
                <a:gd name="T41" fmla="*/ 59 h 110"/>
                <a:gd name="T42" fmla="*/ 0 w 146"/>
                <a:gd name="T43" fmla="*/ 71 h 110"/>
                <a:gd name="T44" fmla="*/ 0 w 146"/>
                <a:gd name="T45" fmla="*/ 96 h 110"/>
                <a:gd name="T46" fmla="*/ 0 w 146"/>
                <a:gd name="T47" fmla="*/ 97 h 110"/>
                <a:gd name="T48" fmla="*/ 3 w 146"/>
                <a:gd name="T49" fmla="*/ 107 h 110"/>
                <a:gd name="T50" fmla="*/ 12 w 146"/>
                <a:gd name="T51" fmla="*/ 110 h 110"/>
                <a:gd name="T52" fmla="*/ 29 w 146"/>
                <a:gd name="T53" fmla="*/ 74 h 110"/>
                <a:gd name="T54" fmla="*/ 39 w 146"/>
                <a:gd name="T55" fmla="*/ 85 h 110"/>
                <a:gd name="T56" fmla="*/ 29 w 146"/>
                <a:gd name="T57" fmla="*/ 95 h 110"/>
                <a:gd name="T58" fmla="*/ 18 w 146"/>
                <a:gd name="T59" fmla="*/ 85 h 110"/>
                <a:gd name="T60" fmla="*/ 29 w 146"/>
                <a:gd name="T61" fmla="*/ 7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6" h="110">
                  <a:moveTo>
                    <a:pt x="12" y="110"/>
                  </a:moveTo>
                  <a:cubicBezTo>
                    <a:pt x="41" y="110"/>
                    <a:pt x="41" y="110"/>
                    <a:pt x="41" y="110"/>
                  </a:cubicBezTo>
                  <a:cubicBezTo>
                    <a:pt x="43" y="109"/>
                    <a:pt x="44" y="108"/>
                    <a:pt x="44" y="108"/>
                  </a:cubicBezTo>
                  <a:cubicBezTo>
                    <a:pt x="44" y="108"/>
                    <a:pt x="61" y="97"/>
                    <a:pt x="62" y="96"/>
                  </a:cubicBezTo>
                  <a:cubicBezTo>
                    <a:pt x="64" y="91"/>
                    <a:pt x="70" y="66"/>
                    <a:pt x="74" y="54"/>
                  </a:cubicBezTo>
                  <a:cubicBezTo>
                    <a:pt x="75" y="52"/>
                    <a:pt x="76" y="50"/>
                    <a:pt x="77" y="48"/>
                  </a:cubicBezTo>
                  <a:cubicBezTo>
                    <a:pt x="37" y="48"/>
                    <a:pt x="37" y="48"/>
                    <a:pt x="37" y="48"/>
                  </a:cubicBezTo>
                  <a:cubicBezTo>
                    <a:pt x="37" y="48"/>
                    <a:pt x="42" y="28"/>
                    <a:pt x="44" y="19"/>
                  </a:cubicBezTo>
                  <a:cubicBezTo>
                    <a:pt x="47" y="10"/>
                    <a:pt x="56" y="11"/>
                    <a:pt x="56" y="11"/>
                  </a:cubicBezTo>
                  <a:cubicBezTo>
                    <a:pt x="116" y="11"/>
                    <a:pt x="116" y="11"/>
                    <a:pt x="116" y="11"/>
                  </a:cubicBezTo>
                  <a:cubicBezTo>
                    <a:pt x="116" y="11"/>
                    <a:pt x="125" y="10"/>
                    <a:pt x="128" y="19"/>
                  </a:cubicBezTo>
                  <a:cubicBezTo>
                    <a:pt x="129" y="24"/>
                    <a:pt x="132" y="33"/>
                    <a:pt x="133" y="39"/>
                  </a:cubicBezTo>
                  <a:cubicBezTo>
                    <a:pt x="146" y="39"/>
                    <a:pt x="146" y="39"/>
                    <a:pt x="146" y="39"/>
                  </a:cubicBezTo>
                  <a:cubicBezTo>
                    <a:pt x="144" y="31"/>
                    <a:pt x="140" y="18"/>
                    <a:pt x="138" y="10"/>
                  </a:cubicBezTo>
                  <a:cubicBezTo>
                    <a:pt x="135" y="0"/>
                    <a:pt x="126" y="1"/>
                    <a:pt x="125" y="1"/>
                  </a:cubicBezTo>
                  <a:cubicBezTo>
                    <a:pt x="47" y="1"/>
                    <a:pt x="47" y="1"/>
                    <a:pt x="47" y="1"/>
                  </a:cubicBezTo>
                  <a:cubicBezTo>
                    <a:pt x="47" y="1"/>
                    <a:pt x="37" y="0"/>
                    <a:pt x="34" y="10"/>
                  </a:cubicBezTo>
                  <a:cubicBezTo>
                    <a:pt x="31" y="22"/>
                    <a:pt x="24" y="47"/>
                    <a:pt x="24" y="48"/>
                  </a:cubicBezTo>
                  <a:cubicBezTo>
                    <a:pt x="24" y="49"/>
                    <a:pt x="24" y="49"/>
                    <a:pt x="24" y="49"/>
                  </a:cubicBezTo>
                  <a:cubicBezTo>
                    <a:pt x="7" y="59"/>
                    <a:pt x="7" y="59"/>
                    <a:pt x="7" y="59"/>
                  </a:cubicBezTo>
                  <a:cubicBezTo>
                    <a:pt x="7" y="59"/>
                    <a:pt x="7" y="59"/>
                    <a:pt x="7" y="59"/>
                  </a:cubicBezTo>
                  <a:cubicBezTo>
                    <a:pt x="7" y="60"/>
                    <a:pt x="0" y="63"/>
                    <a:pt x="0" y="71"/>
                  </a:cubicBezTo>
                  <a:cubicBezTo>
                    <a:pt x="0" y="96"/>
                    <a:pt x="0" y="96"/>
                    <a:pt x="0" y="96"/>
                  </a:cubicBezTo>
                  <a:cubicBezTo>
                    <a:pt x="0" y="97"/>
                    <a:pt x="0" y="97"/>
                    <a:pt x="0" y="97"/>
                  </a:cubicBezTo>
                  <a:cubicBezTo>
                    <a:pt x="0" y="97"/>
                    <a:pt x="0" y="103"/>
                    <a:pt x="3" y="107"/>
                  </a:cubicBezTo>
                  <a:cubicBezTo>
                    <a:pt x="5" y="109"/>
                    <a:pt x="8" y="110"/>
                    <a:pt x="12" y="110"/>
                  </a:cubicBezTo>
                  <a:close/>
                  <a:moveTo>
                    <a:pt x="29" y="74"/>
                  </a:moveTo>
                  <a:cubicBezTo>
                    <a:pt x="34" y="74"/>
                    <a:pt x="39" y="79"/>
                    <a:pt x="39" y="85"/>
                  </a:cubicBezTo>
                  <a:cubicBezTo>
                    <a:pt x="39" y="90"/>
                    <a:pt x="34" y="95"/>
                    <a:pt x="29" y="95"/>
                  </a:cubicBezTo>
                  <a:cubicBezTo>
                    <a:pt x="23" y="95"/>
                    <a:pt x="18" y="90"/>
                    <a:pt x="18" y="85"/>
                  </a:cubicBezTo>
                  <a:cubicBezTo>
                    <a:pt x="18" y="79"/>
                    <a:pt x="23" y="74"/>
                    <a:pt x="29" y="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3305" tIns="31652" rIns="63305" bIns="31652"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22" name="Freeform 2052"/>
            <p:cNvSpPr/>
            <p:nvPr/>
          </p:nvSpPr>
          <p:spPr bwMode="auto">
            <a:xfrm>
              <a:off x="8064501" y="3816350"/>
              <a:ext cx="65088" cy="80963"/>
            </a:xfrm>
            <a:custGeom>
              <a:avLst/>
              <a:gdLst>
                <a:gd name="T0" fmla="*/ 25 w 25"/>
                <a:gd name="T1" fmla="*/ 0 h 31"/>
                <a:gd name="T2" fmla="*/ 0 w 25"/>
                <a:gd name="T3" fmla="*/ 0 h 31"/>
                <a:gd name="T4" fmla="*/ 0 w 25"/>
                <a:gd name="T5" fmla="*/ 25 h 31"/>
                <a:gd name="T6" fmla="*/ 6 w 25"/>
                <a:gd name="T7" fmla="*/ 31 h 31"/>
                <a:gd name="T8" fmla="*/ 22 w 25"/>
                <a:gd name="T9" fmla="*/ 31 h 31"/>
                <a:gd name="T10" fmla="*/ 22 w 25"/>
                <a:gd name="T11" fmla="*/ 10 h 31"/>
                <a:gd name="T12" fmla="*/ 25 w 25"/>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25" h="31">
                  <a:moveTo>
                    <a:pt x="25" y="0"/>
                  </a:moveTo>
                  <a:cubicBezTo>
                    <a:pt x="0" y="0"/>
                    <a:pt x="0" y="0"/>
                    <a:pt x="0" y="0"/>
                  </a:cubicBezTo>
                  <a:cubicBezTo>
                    <a:pt x="0" y="25"/>
                    <a:pt x="0" y="25"/>
                    <a:pt x="0" y="25"/>
                  </a:cubicBezTo>
                  <a:cubicBezTo>
                    <a:pt x="0" y="28"/>
                    <a:pt x="3" y="31"/>
                    <a:pt x="6" y="31"/>
                  </a:cubicBezTo>
                  <a:cubicBezTo>
                    <a:pt x="22" y="31"/>
                    <a:pt x="22" y="31"/>
                    <a:pt x="22" y="31"/>
                  </a:cubicBezTo>
                  <a:cubicBezTo>
                    <a:pt x="22" y="21"/>
                    <a:pt x="22" y="10"/>
                    <a:pt x="22" y="10"/>
                  </a:cubicBezTo>
                  <a:cubicBezTo>
                    <a:pt x="22" y="6"/>
                    <a:pt x="23" y="3"/>
                    <a:pt x="2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3305" tIns="31652" rIns="63305" bIns="31652"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23" name="Freeform 2053"/>
            <p:cNvSpPr>
              <a:spLocks noEditPoints="1"/>
            </p:cNvSpPr>
            <p:nvPr/>
          </p:nvSpPr>
          <p:spPr bwMode="auto">
            <a:xfrm>
              <a:off x="8015288" y="3468688"/>
              <a:ext cx="439738" cy="334963"/>
            </a:xfrm>
            <a:custGeom>
              <a:avLst/>
              <a:gdLst>
                <a:gd name="T0" fmla="*/ 15 w 168"/>
                <a:gd name="T1" fmla="*/ 127 h 127"/>
                <a:gd name="T2" fmla="*/ 47 w 168"/>
                <a:gd name="T3" fmla="*/ 127 h 127"/>
                <a:gd name="T4" fmla="*/ 55 w 168"/>
                <a:gd name="T5" fmla="*/ 120 h 127"/>
                <a:gd name="T6" fmla="*/ 73 w 168"/>
                <a:gd name="T7" fmla="*/ 109 h 127"/>
                <a:gd name="T8" fmla="*/ 86 w 168"/>
                <a:gd name="T9" fmla="*/ 62 h 127"/>
                <a:gd name="T10" fmla="*/ 88 w 168"/>
                <a:gd name="T11" fmla="*/ 56 h 127"/>
                <a:gd name="T12" fmla="*/ 43 w 168"/>
                <a:gd name="T13" fmla="*/ 56 h 127"/>
                <a:gd name="T14" fmla="*/ 52 w 168"/>
                <a:gd name="T15" fmla="*/ 23 h 127"/>
                <a:gd name="T16" fmla="*/ 66 w 168"/>
                <a:gd name="T17" fmla="*/ 14 h 127"/>
                <a:gd name="T18" fmla="*/ 134 w 168"/>
                <a:gd name="T19" fmla="*/ 14 h 127"/>
                <a:gd name="T20" fmla="*/ 147 w 168"/>
                <a:gd name="T21" fmla="*/ 23 h 127"/>
                <a:gd name="T22" fmla="*/ 154 w 168"/>
                <a:gd name="T23" fmla="*/ 45 h 127"/>
                <a:gd name="T24" fmla="*/ 168 w 168"/>
                <a:gd name="T25" fmla="*/ 45 h 127"/>
                <a:gd name="T26" fmla="*/ 159 w 168"/>
                <a:gd name="T27" fmla="*/ 12 h 127"/>
                <a:gd name="T28" fmla="*/ 144 w 168"/>
                <a:gd name="T29" fmla="*/ 1 h 127"/>
                <a:gd name="T30" fmla="*/ 55 w 168"/>
                <a:gd name="T31" fmla="*/ 1 h 127"/>
                <a:gd name="T32" fmla="*/ 40 w 168"/>
                <a:gd name="T33" fmla="*/ 12 h 127"/>
                <a:gd name="T34" fmla="*/ 28 w 168"/>
                <a:gd name="T35" fmla="*/ 55 h 127"/>
                <a:gd name="T36" fmla="*/ 28 w 168"/>
                <a:gd name="T37" fmla="*/ 56 h 127"/>
                <a:gd name="T38" fmla="*/ 8 w 168"/>
                <a:gd name="T39" fmla="*/ 69 h 127"/>
                <a:gd name="T40" fmla="*/ 1 w 168"/>
                <a:gd name="T41" fmla="*/ 83 h 127"/>
                <a:gd name="T42" fmla="*/ 1 w 168"/>
                <a:gd name="T43" fmla="*/ 111 h 127"/>
                <a:gd name="T44" fmla="*/ 1 w 168"/>
                <a:gd name="T45" fmla="*/ 111 h 127"/>
                <a:gd name="T46" fmla="*/ 4 w 168"/>
                <a:gd name="T47" fmla="*/ 123 h 127"/>
                <a:gd name="T48" fmla="*/ 15 w 168"/>
                <a:gd name="T49" fmla="*/ 127 h 127"/>
                <a:gd name="T50" fmla="*/ 34 w 168"/>
                <a:gd name="T51" fmla="*/ 109 h 127"/>
                <a:gd name="T52" fmla="*/ 22 w 168"/>
                <a:gd name="T53" fmla="*/ 97 h 127"/>
                <a:gd name="T54" fmla="*/ 34 w 168"/>
                <a:gd name="T55" fmla="*/ 85 h 127"/>
                <a:gd name="T56" fmla="*/ 46 w 168"/>
                <a:gd name="T57" fmla="*/ 97 h 127"/>
                <a:gd name="T58" fmla="*/ 34 w 168"/>
                <a:gd name="T59" fmla="*/ 10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8" h="127">
                  <a:moveTo>
                    <a:pt x="15" y="127"/>
                  </a:moveTo>
                  <a:cubicBezTo>
                    <a:pt x="47" y="127"/>
                    <a:pt x="47" y="127"/>
                    <a:pt x="47" y="127"/>
                  </a:cubicBezTo>
                  <a:cubicBezTo>
                    <a:pt x="51" y="123"/>
                    <a:pt x="54" y="121"/>
                    <a:pt x="55" y="120"/>
                  </a:cubicBezTo>
                  <a:cubicBezTo>
                    <a:pt x="56" y="120"/>
                    <a:pt x="71" y="110"/>
                    <a:pt x="73" y="109"/>
                  </a:cubicBezTo>
                  <a:cubicBezTo>
                    <a:pt x="74" y="104"/>
                    <a:pt x="82" y="76"/>
                    <a:pt x="86" y="62"/>
                  </a:cubicBezTo>
                  <a:cubicBezTo>
                    <a:pt x="86" y="60"/>
                    <a:pt x="87" y="57"/>
                    <a:pt x="88" y="56"/>
                  </a:cubicBezTo>
                  <a:cubicBezTo>
                    <a:pt x="43" y="56"/>
                    <a:pt x="43" y="56"/>
                    <a:pt x="43" y="56"/>
                  </a:cubicBezTo>
                  <a:cubicBezTo>
                    <a:pt x="43" y="56"/>
                    <a:pt x="49" y="33"/>
                    <a:pt x="52" y="23"/>
                  </a:cubicBezTo>
                  <a:cubicBezTo>
                    <a:pt x="55" y="12"/>
                    <a:pt x="66" y="14"/>
                    <a:pt x="66" y="14"/>
                  </a:cubicBezTo>
                  <a:cubicBezTo>
                    <a:pt x="134" y="14"/>
                    <a:pt x="134" y="14"/>
                    <a:pt x="134" y="14"/>
                  </a:cubicBezTo>
                  <a:cubicBezTo>
                    <a:pt x="134" y="14"/>
                    <a:pt x="144" y="12"/>
                    <a:pt x="147" y="23"/>
                  </a:cubicBezTo>
                  <a:cubicBezTo>
                    <a:pt x="149" y="28"/>
                    <a:pt x="152" y="38"/>
                    <a:pt x="154" y="45"/>
                  </a:cubicBezTo>
                  <a:cubicBezTo>
                    <a:pt x="168" y="45"/>
                    <a:pt x="168" y="45"/>
                    <a:pt x="168" y="45"/>
                  </a:cubicBezTo>
                  <a:cubicBezTo>
                    <a:pt x="166" y="36"/>
                    <a:pt x="162" y="20"/>
                    <a:pt x="159" y="12"/>
                  </a:cubicBezTo>
                  <a:cubicBezTo>
                    <a:pt x="156" y="0"/>
                    <a:pt x="145" y="1"/>
                    <a:pt x="144" y="1"/>
                  </a:cubicBezTo>
                  <a:cubicBezTo>
                    <a:pt x="55" y="1"/>
                    <a:pt x="55" y="1"/>
                    <a:pt x="55" y="1"/>
                  </a:cubicBezTo>
                  <a:cubicBezTo>
                    <a:pt x="55" y="1"/>
                    <a:pt x="43" y="0"/>
                    <a:pt x="40" y="12"/>
                  </a:cubicBezTo>
                  <a:cubicBezTo>
                    <a:pt x="36" y="25"/>
                    <a:pt x="29" y="55"/>
                    <a:pt x="28" y="55"/>
                  </a:cubicBezTo>
                  <a:cubicBezTo>
                    <a:pt x="28" y="56"/>
                    <a:pt x="28" y="56"/>
                    <a:pt x="28" y="56"/>
                  </a:cubicBezTo>
                  <a:cubicBezTo>
                    <a:pt x="28" y="56"/>
                    <a:pt x="8" y="68"/>
                    <a:pt x="8" y="69"/>
                  </a:cubicBezTo>
                  <a:cubicBezTo>
                    <a:pt x="8" y="69"/>
                    <a:pt x="1" y="73"/>
                    <a:pt x="1" y="83"/>
                  </a:cubicBezTo>
                  <a:cubicBezTo>
                    <a:pt x="1" y="111"/>
                    <a:pt x="1" y="111"/>
                    <a:pt x="1" y="111"/>
                  </a:cubicBezTo>
                  <a:cubicBezTo>
                    <a:pt x="1" y="111"/>
                    <a:pt x="1" y="111"/>
                    <a:pt x="1" y="111"/>
                  </a:cubicBezTo>
                  <a:cubicBezTo>
                    <a:pt x="1" y="111"/>
                    <a:pt x="0" y="118"/>
                    <a:pt x="4" y="123"/>
                  </a:cubicBezTo>
                  <a:cubicBezTo>
                    <a:pt x="7" y="125"/>
                    <a:pt x="10" y="127"/>
                    <a:pt x="15" y="127"/>
                  </a:cubicBezTo>
                  <a:close/>
                  <a:moveTo>
                    <a:pt x="34" y="109"/>
                  </a:moveTo>
                  <a:cubicBezTo>
                    <a:pt x="27" y="109"/>
                    <a:pt x="22" y="104"/>
                    <a:pt x="22" y="97"/>
                  </a:cubicBezTo>
                  <a:cubicBezTo>
                    <a:pt x="22" y="91"/>
                    <a:pt x="27" y="85"/>
                    <a:pt x="34" y="85"/>
                  </a:cubicBezTo>
                  <a:cubicBezTo>
                    <a:pt x="40" y="85"/>
                    <a:pt x="46" y="91"/>
                    <a:pt x="46" y="97"/>
                  </a:cubicBezTo>
                  <a:cubicBezTo>
                    <a:pt x="46" y="104"/>
                    <a:pt x="40" y="109"/>
                    <a:pt x="34"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3305" tIns="31652" rIns="63305" bIns="31652"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24" name="Freeform 2054"/>
            <p:cNvSpPr/>
            <p:nvPr/>
          </p:nvSpPr>
          <p:spPr bwMode="auto">
            <a:xfrm>
              <a:off x="8189913" y="3992563"/>
              <a:ext cx="76200" cy="88900"/>
            </a:xfrm>
            <a:custGeom>
              <a:avLst/>
              <a:gdLst>
                <a:gd name="T0" fmla="*/ 29 w 29"/>
                <a:gd name="T1" fmla="*/ 0 h 34"/>
                <a:gd name="T2" fmla="*/ 0 w 29"/>
                <a:gd name="T3" fmla="*/ 0 h 34"/>
                <a:gd name="T4" fmla="*/ 0 w 29"/>
                <a:gd name="T5" fmla="*/ 27 h 34"/>
                <a:gd name="T6" fmla="*/ 7 w 29"/>
                <a:gd name="T7" fmla="*/ 34 h 34"/>
                <a:gd name="T8" fmla="*/ 27 w 29"/>
                <a:gd name="T9" fmla="*/ 34 h 34"/>
                <a:gd name="T10" fmla="*/ 28 w 29"/>
                <a:gd name="T11" fmla="*/ 34 h 34"/>
                <a:gd name="T12" fmla="*/ 28 w 29"/>
                <a:gd name="T13" fmla="*/ 5 h 34"/>
                <a:gd name="T14" fmla="*/ 29 w 29"/>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4">
                  <a:moveTo>
                    <a:pt x="29" y="0"/>
                  </a:moveTo>
                  <a:cubicBezTo>
                    <a:pt x="0" y="0"/>
                    <a:pt x="0" y="0"/>
                    <a:pt x="0" y="0"/>
                  </a:cubicBezTo>
                  <a:cubicBezTo>
                    <a:pt x="0" y="27"/>
                    <a:pt x="0" y="27"/>
                    <a:pt x="0" y="27"/>
                  </a:cubicBezTo>
                  <a:cubicBezTo>
                    <a:pt x="0" y="31"/>
                    <a:pt x="3" y="34"/>
                    <a:pt x="7" y="34"/>
                  </a:cubicBezTo>
                  <a:cubicBezTo>
                    <a:pt x="27" y="34"/>
                    <a:pt x="27" y="34"/>
                    <a:pt x="27" y="34"/>
                  </a:cubicBezTo>
                  <a:cubicBezTo>
                    <a:pt x="27" y="34"/>
                    <a:pt x="28" y="34"/>
                    <a:pt x="28" y="34"/>
                  </a:cubicBezTo>
                  <a:cubicBezTo>
                    <a:pt x="28" y="24"/>
                    <a:pt x="28" y="5"/>
                    <a:pt x="28" y="5"/>
                  </a:cubicBezTo>
                  <a:cubicBezTo>
                    <a:pt x="28" y="3"/>
                    <a:pt x="28" y="1"/>
                    <a:pt x="2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3305" tIns="31652" rIns="63305" bIns="31652"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25" name="Freeform 2055"/>
            <p:cNvSpPr>
              <a:spLocks noEditPoints="1"/>
            </p:cNvSpPr>
            <p:nvPr/>
          </p:nvSpPr>
          <p:spPr bwMode="auto">
            <a:xfrm>
              <a:off x="8135938" y="3600450"/>
              <a:ext cx="495300" cy="376238"/>
            </a:xfrm>
            <a:custGeom>
              <a:avLst/>
              <a:gdLst>
                <a:gd name="T0" fmla="*/ 17 w 189"/>
                <a:gd name="T1" fmla="*/ 143 h 143"/>
                <a:gd name="T2" fmla="*/ 51 w 189"/>
                <a:gd name="T3" fmla="*/ 143 h 143"/>
                <a:gd name="T4" fmla="*/ 60 w 189"/>
                <a:gd name="T5" fmla="*/ 134 h 143"/>
                <a:gd name="T6" fmla="*/ 83 w 189"/>
                <a:gd name="T7" fmla="*/ 118 h 143"/>
                <a:gd name="T8" fmla="*/ 98 w 189"/>
                <a:gd name="T9" fmla="*/ 66 h 143"/>
                <a:gd name="T10" fmla="*/ 99 w 189"/>
                <a:gd name="T11" fmla="*/ 63 h 143"/>
                <a:gd name="T12" fmla="*/ 48 w 189"/>
                <a:gd name="T13" fmla="*/ 63 h 143"/>
                <a:gd name="T14" fmla="*/ 58 w 189"/>
                <a:gd name="T15" fmla="*/ 26 h 143"/>
                <a:gd name="T16" fmla="*/ 74 w 189"/>
                <a:gd name="T17" fmla="*/ 16 h 143"/>
                <a:gd name="T18" fmla="*/ 151 w 189"/>
                <a:gd name="T19" fmla="*/ 16 h 143"/>
                <a:gd name="T20" fmla="*/ 166 w 189"/>
                <a:gd name="T21" fmla="*/ 26 h 143"/>
                <a:gd name="T22" fmla="*/ 172 w 189"/>
                <a:gd name="T23" fmla="*/ 47 h 143"/>
                <a:gd name="T24" fmla="*/ 189 w 189"/>
                <a:gd name="T25" fmla="*/ 47 h 143"/>
                <a:gd name="T26" fmla="*/ 179 w 189"/>
                <a:gd name="T27" fmla="*/ 13 h 143"/>
                <a:gd name="T28" fmla="*/ 162 w 189"/>
                <a:gd name="T29" fmla="*/ 1 h 143"/>
                <a:gd name="T30" fmla="*/ 62 w 189"/>
                <a:gd name="T31" fmla="*/ 1 h 143"/>
                <a:gd name="T32" fmla="*/ 45 w 189"/>
                <a:gd name="T33" fmla="*/ 13 h 143"/>
                <a:gd name="T34" fmla="*/ 32 w 189"/>
                <a:gd name="T35" fmla="*/ 62 h 143"/>
                <a:gd name="T36" fmla="*/ 31 w 189"/>
                <a:gd name="T37" fmla="*/ 63 h 143"/>
                <a:gd name="T38" fmla="*/ 12 w 189"/>
                <a:gd name="T39" fmla="*/ 75 h 143"/>
                <a:gd name="T40" fmla="*/ 12 w 189"/>
                <a:gd name="T41" fmla="*/ 75 h 143"/>
                <a:gd name="T42" fmla="*/ 1 w 189"/>
                <a:gd name="T43" fmla="*/ 92 h 143"/>
                <a:gd name="T44" fmla="*/ 1 w 189"/>
                <a:gd name="T45" fmla="*/ 125 h 143"/>
                <a:gd name="T46" fmla="*/ 1 w 189"/>
                <a:gd name="T47" fmla="*/ 125 h 143"/>
                <a:gd name="T48" fmla="*/ 5 w 189"/>
                <a:gd name="T49" fmla="*/ 139 h 143"/>
                <a:gd name="T50" fmla="*/ 17 w 189"/>
                <a:gd name="T51" fmla="*/ 143 h 143"/>
                <a:gd name="T52" fmla="*/ 38 w 189"/>
                <a:gd name="T53" fmla="*/ 123 h 143"/>
                <a:gd name="T54" fmla="*/ 25 w 189"/>
                <a:gd name="T55" fmla="*/ 110 h 143"/>
                <a:gd name="T56" fmla="*/ 38 w 189"/>
                <a:gd name="T57" fmla="*/ 96 h 143"/>
                <a:gd name="T58" fmla="*/ 51 w 189"/>
                <a:gd name="T59" fmla="*/ 110 h 143"/>
                <a:gd name="T60" fmla="*/ 38 w 189"/>
                <a:gd name="T61" fmla="*/ 12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9" h="143">
                  <a:moveTo>
                    <a:pt x="17" y="143"/>
                  </a:moveTo>
                  <a:cubicBezTo>
                    <a:pt x="51" y="143"/>
                    <a:pt x="51" y="143"/>
                    <a:pt x="51" y="143"/>
                  </a:cubicBezTo>
                  <a:cubicBezTo>
                    <a:pt x="54" y="137"/>
                    <a:pt x="59" y="135"/>
                    <a:pt x="60" y="134"/>
                  </a:cubicBezTo>
                  <a:cubicBezTo>
                    <a:pt x="60" y="134"/>
                    <a:pt x="82" y="119"/>
                    <a:pt x="83" y="118"/>
                  </a:cubicBezTo>
                  <a:cubicBezTo>
                    <a:pt x="85" y="113"/>
                    <a:pt x="93" y="81"/>
                    <a:pt x="98" y="66"/>
                  </a:cubicBezTo>
                  <a:cubicBezTo>
                    <a:pt x="98" y="65"/>
                    <a:pt x="98" y="64"/>
                    <a:pt x="99" y="63"/>
                  </a:cubicBezTo>
                  <a:cubicBezTo>
                    <a:pt x="48" y="63"/>
                    <a:pt x="48" y="63"/>
                    <a:pt x="48" y="63"/>
                  </a:cubicBezTo>
                  <a:cubicBezTo>
                    <a:pt x="48" y="63"/>
                    <a:pt x="55" y="37"/>
                    <a:pt x="58" y="26"/>
                  </a:cubicBezTo>
                  <a:cubicBezTo>
                    <a:pt x="62" y="14"/>
                    <a:pt x="74" y="16"/>
                    <a:pt x="74" y="16"/>
                  </a:cubicBezTo>
                  <a:cubicBezTo>
                    <a:pt x="151" y="16"/>
                    <a:pt x="151" y="16"/>
                    <a:pt x="151" y="16"/>
                  </a:cubicBezTo>
                  <a:cubicBezTo>
                    <a:pt x="151" y="16"/>
                    <a:pt x="162" y="14"/>
                    <a:pt x="166" y="26"/>
                  </a:cubicBezTo>
                  <a:cubicBezTo>
                    <a:pt x="167" y="31"/>
                    <a:pt x="170" y="40"/>
                    <a:pt x="172" y="47"/>
                  </a:cubicBezTo>
                  <a:cubicBezTo>
                    <a:pt x="189" y="47"/>
                    <a:pt x="189" y="47"/>
                    <a:pt x="189" y="47"/>
                  </a:cubicBezTo>
                  <a:cubicBezTo>
                    <a:pt x="186" y="36"/>
                    <a:pt x="182" y="22"/>
                    <a:pt x="179" y="13"/>
                  </a:cubicBezTo>
                  <a:cubicBezTo>
                    <a:pt x="176" y="0"/>
                    <a:pt x="163" y="1"/>
                    <a:pt x="162" y="1"/>
                  </a:cubicBezTo>
                  <a:cubicBezTo>
                    <a:pt x="62" y="1"/>
                    <a:pt x="62" y="1"/>
                    <a:pt x="62" y="1"/>
                  </a:cubicBezTo>
                  <a:cubicBezTo>
                    <a:pt x="61" y="1"/>
                    <a:pt x="49" y="0"/>
                    <a:pt x="45" y="13"/>
                  </a:cubicBezTo>
                  <a:cubicBezTo>
                    <a:pt x="40" y="29"/>
                    <a:pt x="32" y="62"/>
                    <a:pt x="32" y="62"/>
                  </a:cubicBezTo>
                  <a:cubicBezTo>
                    <a:pt x="31" y="63"/>
                    <a:pt x="31" y="63"/>
                    <a:pt x="31" y="63"/>
                  </a:cubicBezTo>
                  <a:cubicBezTo>
                    <a:pt x="12" y="75"/>
                    <a:pt x="12" y="75"/>
                    <a:pt x="12" y="75"/>
                  </a:cubicBezTo>
                  <a:cubicBezTo>
                    <a:pt x="12" y="75"/>
                    <a:pt x="12" y="75"/>
                    <a:pt x="12" y="75"/>
                  </a:cubicBezTo>
                  <a:cubicBezTo>
                    <a:pt x="11" y="76"/>
                    <a:pt x="1" y="81"/>
                    <a:pt x="1" y="92"/>
                  </a:cubicBezTo>
                  <a:cubicBezTo>
                    <a:pt x="1" y="125"/>
                    <a:pt x="1" y="125"/>
                    <a:pt x="1" y="125"/>
                  </a:cubicBezTo>
                  <a:cubicBezTo>
                    <a:pt x="1" y="125"/>
                    <a:pt x="1" y="125"/>
                    <a:pt x="1" y="125"/>
                  </a:cubicBezTo>
                  <a:cubicBezTo>
                    <a:pt x="1" y="125"/>
                    <a:pt x="0" y="133"/>
                    <a:pt x="5" y="139"/>
                  </a:cubicBezTo>
                  <a:cubicBezTo>
                    <a:pt x="7" y="142"/>
                    <a:pt x="11" y="143"/>
                    <a:pt x="17" y="143"/>
                  </a:cubicBezTo>
                  <a:close/>
                  <a:moveTo>
                    <a:pt x="38" y="123"/>
                  </a:moveTo>
                  <a:cubicBezTo>
                    <a:pt x="31" y="123"/>
                    <a:pt x="25" y="117"/>
                    <a:pt x="25" y="110"/>
                  </a:cubicBezTo>
                  <a:cubicBezTo>
                    <a:pt x="25" y="102"/>
                    <a:pt x="31" y="96"/>
                    <a:pt x="38" y="96"/>
                  </a:cubicBezTo>
                  <a:cubicBezTo>
                    <a:pt x="45" y="96"/>
                    <a:pt x="51" y="102"/>
                    <a:pt x="51" y="110"/>
                  </a:cubicBezTo>
                  <a:cubicBezTo>
                    <a:pt x="51" y="117"/>
                    <a:pt x="45" y="123"/>
                    <a:pt x="38" y="1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3305" tIns="31652" rIns="63305" bIns="31652"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26" name="Freeform 2056"/>
            <p:cNvSpPr/>
            <p:nvPr/>
          </p:nvSpPr>
          <p:spPr bwMode="auto">
            <a:xfrm>
              <a:off x="8337551" y="4171950"/>
              <a:ext cx="100013" cy="101600"/>
            </a:xfrm>
            <a:custGeom>
              <a:avLst/>
              <a:gdLst>
                <a:gd name="T0" fmla="*/ 0 w 38"/>
                <a:gd name="T1" fmla="*/ 31 h 39"/>
                <a:gd name="T2" fmla="*/ 8 w 38"/>
                <a:gd name="T3" fmla="*/ 39 h 39"/>
                <a:gd name="T4" fmla="*/ 30 w 38"/>
                <a:gd name="T5" fmla="*/ 39 h 39"/>
                <a:gd name="T6" fmla="*/ 38 w 38"/>
                <a:gd name="T7" fmla="*/ 31 h 39"/>
                <a:gd name="T8" fmla="*/ 38 w 38"/>
                <a:gd name="T9" fmla="*/ 0 h 39"/>
                <a:gd name="T10" fmla="*/ 0 w 38"/>
                <a:gd name="T11" fmla="*/ 0 h 39"/>
                <a:gd name="T12" fmla="*/ 0 w 38"/>
                <a:gd name="T13" fmla="*/ 31 h 39"/>
              </a:gdLst>
              <a:ahLst/>
              <a:cxnLst>
                <a:cxn ang="0">
                  <a:pos x="T0" y="T1"/>
                </a:cxn>
                <a:cxn ang="0">
                  <a:pos x="T2" y="T3"/>
                </a:cxn>
                <a:cxn ang="0">
                  <a:pos x="T4" y="T5"/>
                </a:cxn>
                <a:cxn ang="0">
                  <a:pos x="T6" y="T7"/>
                </a:cxn>
                <a:cxn ang="0">
                  <a:pos x="T8" y="T9"/>
                </a:cxn>
                <a:cxn ang="0">
                  <a:pos x="T10" y="T11"/>
                </a:cxn>
                <a:cxn ang="0">
                  <a:pos x="T12" y="T13"/>
                </a:cxn>
              </a:cxnLst>
              <a:rect l="0" t="0" r="r" b="b"/>
              <a:pathLst>
                <a:path w="38" h="39">
                  <a:moveTo>
                    <a:pt x="0" y="31"/>
                  </a:moveTo>
                  <a:cubicBezTo>
                    <a:pt x="0" y="35"/>
                    <a:pt x="4" y="39"/>
                    <a:pt x="8" y="39"/>
                  </a:cubicBezTo>
                  <a:cubicBezTo>
                    <a:pt x="30" y="39"/>
                    <a:pt x="30" y="39"/>
                    <a:pt x="30" y="39"/>
                  </a:cubicBezTo>
                  <a:cubicBezTo>
                    <a:pt x="34" y="39"/>
                    <a:pt x="38" y="35"/>
                    <a:pt x="38" y="31"/>
                  </a:cubicBezTo>
                  <a:cubicBezTo>
                    <a:pt x="38" y="0"/>
                    <a:pt x="38" y="0"/>
                    <a:pt x="38" y="0"/>
                  </a:cubicBezTo>
                  <a:cubicBezTo>
                    <a:pt x="0" y="0"/>
                    <a:pt x="0" y="0"/>
                    <a:pt x="0" y="0"/>
                  </a:cubicBezTo>
                  <a:lnTo>
                    <a:pt x="0"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3305" tIns="31652" rIns="63305" bIns="31652"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27" name="Freeform 2057"/>
            <p:cNvSpPr/>
            <p:nvPr/>
          </p:nvSpPr>
          <p:spPr bwMode="auto">
            <a:xfrm>
              <a:off x="8770938" y="4171950"/>
              <a:ext cx="96838" cy="101600"/>
            </a:xfrm>
            <a:custGeom>
              <a:avLst/>
              <a:gdLst>
                <a:gd name="T0" fmla="*/ 0 w 37"/>
                <a:gd name="T1" fmla="*/ 31 h 39"/>
                <a:gd name="T2" fmla="*/ 7 w 37"/>
                <a:gd name="T3" fmla="*/ 39 h 39"/>
                <a:gd name="T4" fmla="*/ 30 w 37"/>
                <a:gd name="T5" fmla="*/ 39 h 39"/>
                <a:gd name="T6" fmla="*/ 37 w 37"/>
                <a:gd name="T7" fmla="*/ 31 h 39"/>
                <a:gd name="T8" fmla="*/ 37 w 37"/>
                <a:gd name="T9" fmla="*/ 0 h 39"/>
                <a:gd name="T10" fmla="*/ 0 w 37"/>
                <a:gd name="T11" fmla="*/ 0 h 39"/>
                <a:gd name="T12" fmla="*/ 0 w 37"/>
                <a:gd name="T13" fmla="*/ 31 h 39"/>
              </a:gdLst>
              <a:ahLst/>
              <a:cxnLst>
                <a:cxn ang="0">
                  <a:pos x="T0" y="T1"/>
                </a:cxn>
                <a:cxn ang="0">
                  <a:pos x="T2" y="T3"/>
                </a:cxn>
                <a:cxn ang="0">
                  <a:pos x="T4" y="T5"/>
                </a:cxn>
                <a:cxn ang="0">
                  <a:pos x="T6" y="T7"/>
                </a:cxn>
                <a:cxn ang="0">
                  <a:pos x="T8" y="T9"/>
                </a:cxn>
                <a:cxn ang="0">
                  <a:pos x="T10" y="T11"/>
                </a:cxn>
                <a:cxn ang="0">
                  <a:pos x="T12" y="T13"/>
                </a:cxn>
              </a:cxnLst>
              <a:rect l="0" t="0" r="r" b="b"/>
              <a:pathLst>
                <a:path w="37" h="39">
                  <a:moveTo>
                    <a:pt x="0" y="31"/>
                  </a:moveTo>
                  <a:cubicBezTo>
                    <a:pt x="0" y="35"/>
                    <a:pt x="3" y="39"/>
                    <a:pt x="7" y="39"/>
                  </a:cubicBezTo>
                  <a:cubicBezTo>
                    <a:pt x="30" y="39"/>
                    <a:pt x="30" y="39"/>
                    <a:pt x="30" y="39"/>
                  </a:cubicBezTo>
                  <a:cubicBezTo>
                    <a:pt x="34" y="39"/>
                    <a:pt x="37" y="35"/>
                    <a:pt x="37" y="31"/>
                  </a:cubicBezTo>
                  <a:cubicBezTo>
                    <a:pt x="37" y="0"/>
                    <a:pt x="37" y="0"/>
                    <a:pt x="37" y="0"/>
                  </a:cubicBezTo>
                  <a:cubicBezTo>
                    <a:pt x="0" y="0"/>
                    <a:pt x="0" y="0"/>
                    <a:pt x="0" y="0"/>
                  </a:cubicBezTo>
                  <a:lnTo>
                    <a:pt x="0"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3305" tIns="31652" rIns="63305" bIns="31652"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28" name="Freeform 2058"/>
            <p:cNvSpPr>
              <a:spLocks noEditPoints="1"/>
            </p:cNvSpPr>
            <p:nvPr/>
          </p:nvSpPr>
          <p:spPr bwMode="auto">
            <a:xfrm>
              <a:off x="8274051" y="3736975"/>
              <a:ext cx="657225" cy="419100"/>
            </a:xfrm>
            <a:custGeom>
              <a:avLst/>
              <a:gdLst>
                <a:gd name="T0" fmla="*/ 249 w 250"/>
                <a:gd name="T1" fmla="*/ 139 h 159"/>
                <a:gd name="T2" fmla="*/ 249 w 250"/>
                <a:gd name="T3" fmla="*/ 139 h 159"/>
                <a:gd name="T4" fmla="*/ 249 w 250"/>
                <a:gd name="T5" fmla="*/ 103 h 159"/>
                <a:gd name="T6" fmla="*/ 240 w 250"/>
                <a:gd name="T7" fmla="*/ 86 h 159"/>
                <a:gd name="T8" fmla="*/ 240 w 250"/>
                <a:gd name="T9" fmla="*/ 86 h 159"/>
                <a:gd name="T10" fmla="*/ 215 w 250"/>
                <a:gd name="T11" fmla="*/ 70 h 159"/>
                <a:gd name="T12" fmla="*/ 215 w 250"/>
                <a:gd name="T13" fmla="*/ 69 h 159"/>
                <a:gd name="T14" fmla="*/ 200 w 250"/>
                <a:gd name="T15" fmla="*/ 15 h 159"/>
                <a:gd name="T16" fmla="*/ 181 w 250"/>
                <a:gd name="T17" fmla="*/ 1 h 159"/>
                <a:gd name="T18" fmla="*/ 69 w 250"/>
                <a:gd name="T19" fmla="*/ 1 h 159"/>
                <a:gd name="T20" fmla="*/ 50 w 250"/>
                <a:gd name="T21" fmla="*/ 15 h 159"/>
                <a:gd name="T22" fmla="*/ 35 w 250"/>
                <a:gd name="T23" fmla="*/ 69 h 159"/>
                <a:gd name="T24" fmla="*/ 35 w 250"/>
                <a:gd name="T25" fmla="*/ 70 h 159"/>
                <a:gd name="T26" fmla="*/ 10 w 250"/>
                <a:gd name="T27" fmla="*/ 87 h 159"/>
                <a:gd name="T28" fmla="*/ 9 w 250"/>
                <a:gd name="T29" fmla="*/ 87 h 159"/>
                <a:gd name="T30" fmla="*/ 1 w 250"/>
                <a:gd name="T31" fmla="*/ 102 h 159"/>
                <a:gd name="T32" fmla="*/ 1 w 250"/>
                <a:gd name="T33" fmla="*/ 139 h 159"/>
                <a:gd name="T34" fmla="*/ 1 w 250"/>
                <a:gd name="T35" fmla="*/ 139 h 159"/>
                <a:gd name="T36" fmla="*/ 6 w 250"/>
                <a:gd name="T37" fmla="*/ 154 h 159"/>
                <a:gd name="T38" fmla="*/ 19 w 250"/>
                <a:gd name="T39" fmla="*/ 159 h 159"/>
                <a:gd name="T40" fmla="*/ 231 w 250"/>
                <a:gd name="T41" fmla="*/ 159 h 159"/>
                <a:gd name="T42" fmla="*/ 245 w 250"/>
                <a:gd name="T43" fmla="*/ 154 h 159"/>
                <a:gd name="T44" fmla="*/ 249 w 250"/>
                <a:gd name="T45" fmla="*/ 139 h 159"/>
                <a:gd name="T46" fmla="*/ 208 w 250"/>
                <a:gd name="T47" fmla="*/ 107 h 159"/>
                <a:gd name="T48" fmla="*/ 222 w 250"/>
                <a:gd name="T49" fmla="*/ 122 h 159"/>
                <a:gd name="T50" fmla="*/ 208 w 250"/>
                <a:gd name="T51" fmla="*/ 137 h 159"/>
                <a:gd name="T52" fmla="*/ 193 w 250"/>
                <a:gd name="T53" fmla="*/ 122 h 159"/>
                <a:gd name="T54" fmla="*/ 208 w 250"/>
                <a:gd name="T55" fmla="*/ 107 h 159"/>
                <a:gd name="T56" fmla="*/ 185 w 250"/>
                <a:gd name="T57" fmla="*/ 29 h 159"/>
                <a:gd name="T58" fmla="*/ 196 w 250"/>
                <a:gd name="T59" fmla="*/ 70 h 159"/>
                <a:gd name="T60" fmla="*/ 54 w 250"/>
                <a:gd name="T61" fmla="*/ 70 h 159"/>
                <a:gd name="T62" fmla="*/ 66 w 250"/>
                <a:gd name="T63" fmla="*/ 29 h 159"/>
                <a:gd name="T64" fmla="*/ 83 w 250"/>
                <a:gd name="T65" fmla="*/ 17 h 159"/>
                <a:gd name="T66" fmla="*/ 168 w 250"/>
                <a:gd name="T67" fmla="*/ 17 h 159"/>
                <a:gd name="T68" fmla="*/ 185 w 250"/>
                <a:gd name="T69" fmla="*/ 29 h 159"/>
                <a:gd name="T70" fmla="*/ 43 w 250"/>
                <a:gd name="T71" fmla="*/ 137 h 159"/>
                <a:gd name="T72" fmla="*/ 28 w 250"/>
                <a:gd name="T73" fmla="*/ 122 h 159"/>
                <a:gd name="T74" fmla="*/ 43 w 250"/>
                <a:gd name="T75" fmla="*/ 107 h 159"/>
                <a:gd name="T76" fmla="*/ 58 w 250"/>
                <a:gd name="T77" fmla="*/ 122 h 159"/>
                <a:gd name="T78" fmla="*/ 43 w 250"/>
                <a:gd name="T79" fmla="*/ 13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0" h="159">
                  <a:moveTo>
                    <a:pt x="249" y="139"/>
                  </a:moveTo>
                  <a:cubicBezTo>
                    <a:pt x="249" y="139"/>
                    <a:pt x="249" y="139"/>
                    <a:pt x="249" y="139"/>
                  </a:cubicBezTo>
                  <a:cubicBezTo>
                    <a:pt x="249" y="103"/>
                    <a:pt x="249" y="103"/>
                    <a:pt x="249" y="103"/>
                  </a:cubicBezTo>
                  <a:cubicBezTo>
                    <a:pt x="249" y="91"/>
                    <a:pt x="241" y="86"/>
                    <a:pt x="240" y="86"/>
                  </a:cubicBezTo>
                  <a:cubicBezTo>
                    <a:pt x="240" y="86"/>
                    <a:pt x="240" y="86"/>
                    <a:pt x="240" y="86"/>
                  </a:cubicBezTo>
                  <a:cubicBezTo>
                    <a:pt x="215" y="70"/>
                    <a:pt x="215" y="70"/>
                    <a:pt x="215" y="70"/>
                  </a:cubicBezTo>
                  <a:cubicBezTo>
                    <a:pt x="215" y="69"/>
                    <a:pt x="215" y="69"/>
                    <a:pt x="215" y="69"/>
                  </a:cubicBezTo>
                  <a:cubicBezTo>
                    <a:pt x="215" y="68"/>
                    <a:pt x="205" y="32"/>
                    <a:pt x="200" y="15"/>
                  </a:cubicBezTo>
                  <a:cubicBezTo>
                    <a:pt x="196" y="0"/>
                    <a:pt x="182" y="1"/>
                    <a:pt x="181" y="1"/>
                  </a:cubicBezTo>
                  <a:cubicBezTo>
                    <a:pt x="69" y="1"/>
                    <a:pt x="69" y="1"/>
                    <a:pt x="69" y="1"/>
                  </a:cubicBezTo>
                  <a:cubicBezTo>
                    <a:pt x="69" y="1"/>
                    <a:pt x="54" y="0"/>
                    <a:pt x="50" y="15"/>
                  </a:cubicBezTo>
                  <a:cubicBezTo>
                    <a:pt x="45" y="32"/>
                    <a:pt x="36" y="68"/>
                    <a:pt x="35" y="69"/>
                  </a:cubicBezTo>
                  <a:cubicBezTo>
                    <a:pt x="35" y="70"/>
                    <a:pt x="35" y="70"/>
                    <a:pt x="35" y="70"/>
                  </a:cubicBezTo>
                  <a:cubicBezTo>
                    <a:pt x="10" y="87"/>
                    <a:pt x="10" y="87"/>
                    <a:pt x="10" y="87"/>
                  </a:cubicBezTo>
                  <a:cubicBezTo>
                    <a:pt x="9" y="87"/>
                    <a:pt x="9" y="87"/>
                    <a:pt x="9" y="87"/>
                  </a:cubicBezTo>
                  <a:cubicBezTo>
                    <a:pt x="9" y="87"/>
                    <a:pt x="1" y="92"/>
                    <a:pt x="1" y="102"/>
                  </a:cubicBezTo>
                  <a:cubicBezTo>
                    <a:pt x="1" y="139"/>
                    <a:pt x="1" y="139"/>
                    <a:pt x="1" y="139"/>
                  </a:cubicBezTo>
                  <a:cubicBezTo>
                    <a:pt x="1" y="139"/>
                    <a:pt x="1" y="139"/>
                    <a:pt x="1" y="139"/>
                  </a:cubicBezTo>
                  <a:cubicBezTo>
                    <a:pt x="1" y="139"/>
                    <a:pt x="0" y="148"/>
                    <a:pt x="6" y="154"/>
                  </a:cubicBezTo>
                  <a:cubicBezTo>
                    <a:pt x="9" y="158"/>
                    <a:pt x="13" y="159"/>
                    <a:pt x="19" y="159"/>
                  </a:cubicBezTo>
                  <a:cubicBezTo>
                    <a:pt x="231" y="159"/>
                    <a:pt x="231" y="159"/>
                    <a:pt x="231" y="159"/>
                  </a:cubicBezTo>
                  <a:cubicBezTo>
                    <a:pt x="237" y="159"/>
                    <a:pt x="242" y="158"/>
                    <a:pt x="245" y="154"/>
                  </a:cubicBezTo>
                  <a:cubicBezTo>
                    <a:pt x="250" y="148"/>
                    <a:pt x="249" y="139"/>
                    <a:pt x="249" y="139"/>
                  </a:cubicBezTo>
                  <a:close/>
                  <a:moveTo>
                    <a:pt x="208" y="107"/>
                  </a:moveTo>
                  <a:cubicBezTo>
                    <a:pt x="216" y="107"/>
                    <a:pt x="222" y="114"/>
                    <a:pt x="222" y="122"/>
                  </a:cubicBezTo>
                  <a:cubicBezTo>
                    <a:pt x="222" y="130"/>
                    <a:pt x="216" y="137"/>
                    <a:pt x="208" y="137"/>
                  </a:cubicBezTo>
                  <a:cubicBezTo>
                    <a:pt x="199" y="137"/>
                    <a:pt x="193" y="130"/>
                    <a:pt x="193" y="122"/>
                  </a:cubicBezTo>
                  <a:cubicBezTo>
                    <a:pt x="193" y="114"/>
                    <a:pt x="199" y="107"/>
                    <a:pt x="208" y="107"/>
                  </a:cubicBezTo>
                  <a:close/>
                  <a:moveTo>
                    <a:pt x="185" y="29"/>
                  </a:moveTo>
                  <a:cubicBezTo>
                    <a:pt x="189" y="42"/>
                    <a:pt x="196" y="70"/>
                    <a:pt x="196" y="70"/>
                  </a:cubicBezTo>
                  <a:cubicBezTo>
                    <a:pt x="54" y="70"/>
                    <a:pt x="54" y="70"/>
                    <a:pt x="54" y="70"/>
                  </a:cubicBezTo>
                  <a:cubicBezTo>
                    <a:pt x="54" y="70"/>
                    <a:pt x="62" y="42"/>
                    <a:pt x="66" y="29"/>
                  </a:cubicBezTo>
                  <a:cubicBezTo>
                    <a:pt x="69" y="16"/>
                    <a:pt x="83" y="17"/>
                    <a:pt x="83" y="17"/>
                  </a:cubicBezTo>
                  <a:cubicBezTo>
                    <a:pt x="168" y="17"/>
                    <a:pt x="168" y="17"/>
                    <a:pt x="168" y="17"/>
                  </a:cubicBezTo>
                  <a:cubicBezTo>
                    <a:pt x="168" y="17"/>
                    <a:pt x="181" y="16"/>
                    <a:pt x="185" y="29"/>
                  </a:cubicBezTo>
                  <a:close/>
                  <a:moveTo>
                    <a:pt x="43" y="137"/>
                  </a:moveTo>
                  <a:cubicBezTo>
                    <a:pt x="35" y="137"/>
                    <a:pt x="28" y="130"/>
                    <a:pt x="28" y="122"/>
                  </a:cubicBezTo>
                  <a:cubicBezTo>
                    <a:pt x="28" y="114"/>
                    <a:pt x="35" y="107"/>
                    <a:pt x="43" y="107"/>
                  </a:cubicBezTo>
                  <a:cubicBezTo>
                    <a:pt x="51" y="107"/>
                    <a:pt x="58" y="114"/>
                    <a:pt x="58" y="122"/>
                  </a:cubicBezTo>
                  <a:cubicBezTo>
                    <a:pt x="58" y="130"/>
                    <a:pt x="51" y="137"/>
                    <a:pt x="43" y="13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3305" tIns="31652" rIns="63305" bIns="31652"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smtClean="0">
                <a:ln>
                  <a:noFill/>
                </a:ln>
                <a:solidFill>
                  <a:schemeClr val="bg1">
                    <a:lumMod val="50000"/>
                  </a:schemeClr>
                </a:solidFill>
                <a:effectLst/>
                <a:uLnTx/>
                <a:uFillTx/>
                <a:cs typeface="+mn-ea"/>
                <a:sym typeface="+mn-lt"/>
              </a:endParaRPr>
            </a:p>
          </p:txBody>
        </p:sp>
      </p:grpSp>
      <p:sp>
        <p:nvSpPr>
          <p:cNvPr id="215" name="traffic-light_62479"/>
          <p:cNvSpPr>
            <a:spLocks noChangeAspect="1"/>
          </p:cNvSpPr>
          <p:nvPr/>
        </p:nvSpPr>
        <p:spPr bwMode="auto">
          <a:xfrm>
            <a:off x="2087888" y="3705036"/>
            <a:ext cx="310481" cy="425733"/>
          </a:xfrm>
          <a:custGeom>
            <a:avLst/>
            <a:gdLst>
              <a:gd name="connsiteX0" fmla="*/ 332292 w 427485"/>
              <a:gd name="connsiteY0" fmla="*/ 356355 h 606933"/>
              <a:gd name="connsiteX1" fmla="*/ 427485 w 427485"/>
              <a:gd name="connsiteY1" fmla="*/ 356355 h 606933"/>
              <a:gd name="connsiteX2" fmla="*/ 332292 w 427485"/>
              <a:gd name="connsiteY2" fmla="*/ 453594 h 606933"/>
              <a:gd name="connsiteX3" fmla="*/ 0 w 427485"/>
              <a:gd name="connsiteY3" fmla="*/ 356355 h 606933"/>
              <a:gd name="connsiteX4" fmla="*/ 95193 w 427485"/>
              <a:gd name="connsiteY4" fmla="*/ 356355 h 606933"/>
              <a:gd name="connsiteX5" fmla="*/ 95193 w 427485"/>
              <a:gd name="connsiteY5" fmla="*/ 453594 h 606933"/>
              <a:gd name="connsiteX6" fmla="*/ 213708 w 427485"/>
              <a:gd name="connsiteY6" fmla="*/ 341007 h 606933"/>
              <a:gd name="connsiteX7" fmla="*/ 158215 w 427485"/>
              <a:gd name="connsiteY7" fmla="*/ 396404 h 606933"/>
              <a:gd name="connsiteX8" fmla="*/ 213708 w 427485"/>
              <a:gd name="connsiteY8" fmla="*/ 451801 h 606933"/>
              <a:gd name="connsiteX9" fmla="*/ 269200 w 427485"/>
              <a:gd name="connsiteY9" fmla="*/ 396404 h 606933"/>
              <a:gd name="connsiteX10" fmla="*/ 213708 w 427485"/>
              <a:gd name="connsiteY10" fmla="*/ 341007 h 606933"/>
              <a:gd name="connsiteX11" fmla="*/ 332292 w 427485"/>
              <a:gd name="connsiteY11" fmla="*/ 202946 h 606933"/>
              <a:gd name="connsiteX12" fmla="*/ 427485 w 427485"/>
              <a:gd name="connsiteY12" fmla="*/ 202946 h 606933"/>
              <a:gd name="connsiteX13" fmla="*/ 332292 w 427485"/>
              <a:gd name="connsiteY13" fmla="*/ 300326 h 606933"/>
              <a:gd name="connsiteX14" fmla="*/ 0 w 427485"/>
              <a:gd name="connsiteY14" fmla="*/ 202946 h 606933"/>
              <a:gd name="connsiteX15" fmla="*/ 95193 w 427485"/>
              <a:gd name="connsiteY15" fmla="*/ 202946 h 606933"/>
              <a:gd name="connsiteX16" fmla="*/ 95193 w 427485"/>
              <a:gd name="connsiteY16" fmla="*/ 300326 h 606933"/>
              <a:gd name="connsiteX17" fmla="*/ 213708 w 427485"/>
              <a:gd name="connsiteY17" fmla="*/ 191861 h 606933"/>
              <a:gd name="connsiteX18" fmla="*/ 158215 w 427485"/>
              <a:gd name="connsiteY18" fmla="*/ 247359 h 606933"/>
              <a:gd name="connsiteX19" fmla="*/ 213708 w 427485"/>
              <a:gd name="connsiteY19" fmla="*/ 302756 h 606933"/>
              <a:gd name="connsiteX20" fmla="*/ 269200 w 427485"/>
              <a:gd name="connsiteY20" fmla="*/ 247359 h 606933"/>
              <a:gd name="connsiteX21" fmla="*/ 213708 w 427485"/>
              <a:gd name="connsiteY21" fmla="*/ 191861 h 606933"/>
              <a:gd name="connsiteX22" fmla="*/ 332292 w 427485"/>
              <a:gd name="connsiteY22" fmla="*/ 49537 h 606933"/>
              <a:gd name="connsiteX23" fmla="*/ 427485 w 427485"/>
              <a:gd name="connsiteY23" fmla="*/ 49537 h 606933"/>
              <a:gd name="connsiteX24" fmla="*/ 332292 w 427485"/>
              <a:gd name="connsiteY24" fmla="*/ 146917 h 606933"/>
              <a:gd name="connsiteX25" fmla="*/ 0 w 427485"/>
              <a:gd name="connsiteY25" fmla="*/ 49537 h 606933"/>
              <a:gd name="connsiteX26" fmla="*/ 95193 w 427485"/>
              <a:gd name="connsiteY26" fmla="*/ 49537 h 606933"/>
              <a:gd name="connsiteX27" fmla="*/ 95193 w 427485"/>
              <a:gd name="connsiteY27" fmla="*/ 146917 h 606933"/>
              <a:gd name="connsiteX28" fmla="*/ 213708 w 427485"/>
              <a:gd name="connsiteY28" fmla="*/ 42816 h 606933"/>
              <a:gd name="connsiteX29" fmla="*/ 158215 w 427485"/>
              <a:gd name="connsiteY29" fmla="*/ 98213 h 606933"/>
              <a:gd name="connsiteX30" fmla="*/ 213708 w 427485"/>
              <a:gd name="connsiteY30" fmla="*/ 153610 h 606933"/>
              <a:gd name="connsiteX31" fmla="*/ 269200 w 427485"/>
              <a:gd name="connsiteY31" fmla="*/ 98213 h 606933"/>
              <a:gd name="connsiteX32" fmla="*/ 213708 w 427485"/>
              <a:gd name="connsiteY32" fmla="*/ 42816 h 606933"/>
              <a:gd name="connsiteX33" fmla="*/ 117562 w 427485"/>
              <a:gd name="connsiteY33" fmla="*/ 0 h 606933"/>
              <a:gd name="connsiteX34" fmla="*/ 309853 w 427485"/>
              <a:gd name="connsiteY34" fmla="*/ 0 h 606933"/>
              <a:gd name="connsiteX35" fmla="*/ 309853 w 427485"/>
              <a:gd name="connsiteY35" fmla="*/ 503241 h 606933"/>
              <a:gd name="connsiteX36" fmla="*/ 244807 w 427485"/>
              <a:gd name="connsiteY36" fmla="*/ 503241 h 606933"/>
              <a:gd name="connsiteX37" fmla="*/ 244807 w 427485"/>
              <a:gd name="connsiteY37" fmla="*/ 606933 h 606933"/>
              <a:gd name="connsiteX38" fmla="*/ 182608 w 427485"/>
              <a:gd name="connsiteY38" fmla="*/ 606933 h 606933"/>
              <a:gd name="connsiteX39" fmla="*/ 182608 w 427485"/>
              <a:gd name="connsiteY39" fmla="*/ 503241 h 606933"/>
              <a:gd name="connsiteX40" fmla="*/ 117562 w 427485"/>
              <a:gd name="connsiteY40" fmla="*/ 503241 h 60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27485" h="606933">
                <a:moveTo>
                  <a:pt x="332292" y="356355"/>
                </a:moveTo>
                <a:lnTo>
                  <a:pt x="427485" y="356355"/>
                </a:lnTo>
                <a:lnTo>
                  <a:pt x="332292" y="453594"/>
                </a:lnTo>
                <a:close/>
                <a:moveTo>
                  <a:pt x="0" y="356355"/>
                </a:moveTo>
                <a:lnTo>
                  <a:pt x="95193" y="356355"/>
                </a:lnTo>
                <a:lnTo>
                  <a:pt x="95193" y="453594"/>
                </a:lnTo>
                <a:close/>
                <a:moveTo>
                  <a:pt x="213708" y="341007"/>
                </a:moveTo>
                <a:cubicBezTo>
                  <a:pt x="183014" y="341007"/>
                  <a:pt x="158215" y="365763"/>
                  <a:pt x="158215" y="396404"/>
                </a:cubicBezTo>
                <a:cubicBezTo>
                  <a:pt x="158215" y="427045"/>
                  <a:pt x="183014" y="451801"/>
                  <a:pt x="213708" y="451801"/>
                </a:cubicBezTo>
                <a:cubicBezTo>
                  <a:pt x="244401" y="451801"/>
                  <a:pt x="269200" y="427045"/>
                  <a:pt x="269200" y="396404"/>
                </a:cubicBezTo>
                <a:cubicBezTo>
                  <a:pt x="269200" y="365763"/>
                  <a:pt x="244401" y="341007"/>
                  <a:pt x="213708" y="341007"/>
                </a:cubicBezTo>
                <a:close/>
                <a:moveTo>
                  <a:pt x="332292" y="202946"/>
                </a:moveTo>
                <a:lnTo>
                  <a:pt x="427485" y="202946"/>
                </a:lnTo>
                <a:lnTo>
                  <a:pt x="332292" y="300326"/>
                </a:lnTo>
                <a:close/>
                <a:moveTo>
                  <a:pt x="0" y="202946"/>
                </a:moveTo>
                <a:lnTo>
                  <a:pt x="95193" y="202946"/>
                </a:lnTo>
                <a:lnTo>
                  <a:pt x="95193" y="300326"/>
                </a:lnTo>
                <a:close/>
                <a:moveTo>
                  <a:pt x="213708" y="191861"/>
                </a:moveTo>
                <a:cubicBezTo>
                  <a:pt x="183014" y="191861"/>
                  <a:pt x="158215" y="216718"/>
                  <a:pt x="158215" y="247359"/>
                </a:cubicBezTo>
                <a:cubicBezTo>
                  <a:pt x="158215" y="277899"/>
                  <a:pt x="183014" y="302756"/>
                  <a:pt x="213708" y="302756"/>
                </a:cubicBezTo>
                <a:cubicBezTo>
                  <a:pt x="244401" y="302756"/>
                  <a:pt x="269200" y="277899"/>
                  <a:pt x="269200" y="247359"/>
                </a:cubicBezTo>
                <a:cubicBezTo>
                  <a:pt x="269200" y="216718"/>
                  <a:pt x="244401" y="191861"/>
                  <a:pt x="213708" y="191861"/>
                </a:cubicBezTo>
                <a:close/>
                <a:moveTo>
                  <a:pt x="332292" y="49537"/>
                </a:moveTo>
                <a:lnTo>
                  <a:pt x="427485" y="49537"/>
                </a:lnTo>
                <a:lnTo>
                  <a:pt x="332292" y="146917"/>
                </a:lnTo>
                <a:close/>
                <a:moveTo>
                  <a:pt x="0" y="49537"/>
                </a:moveTo>
                <a:lnTo>
                  <a:pt x="95193" y="49537"/>
                </a:lnTo>
                <a:lnTo>
                  <a:pt x="95193" y="146917"/>
                </a:lnTo>
                <a:close/>
                <a:moveTo>
                  <a:pt x="213708" y="42816"/>
                </a:moveTo>
                <a:cubicBezTo>
                  <a:pt x="183014" y="42816"/>
                  <a:pt x="158215" y="67572"/>
                  <a:pt x="158215" y="98213"/>
                </a:cubicBezTo>
                <a:cubicBezTo>
                  <a:pt x="158215" y="128854"/>
                  <a:pt x="183014" y="153610"/>
                  <a:pt x="213708" y="153610"/>
                </a:cubicBezTo>
                <a:cubicBezTo>
                  <a:pt x="244401" y="153610"/>
                  <a:pt x="269200" y="128854"/>
                  <a:pt x="269200" y="98213"/>
                </a:cubicBezTo>
                <a:cubicBezTo>
                  <a:pt x="269200" y="67572"/>
                  <a:pt x="244401" y="42816"/>
                  <a:pt x="213708" y="42816"/>
                </a:cubicBezTo>
                <a:close/>
                <a:moveTo>
                  <a:pt x="117562" y="0"/>
                </a:moveTo>
                <a:lnTo>
                  <a:pt x="309853" y="0"/>
                </a:lnTo>
                <a:lnTo>
                  <a:pt x="309853" y="503241"/>
                </a:lnTo>
                <a:lnTo>
                  <a:pt x="244807" y="503241"/>
                </a:lnTo>
                <a:lnTo>
                  <a:pt x="244807" y="606933"/>
                </a:lnTo>
                <a:lnTo>
                  <a:pt x="182608" y="606933"/>
                </a:lnTo>
                <a:lnTo>
                  <a:pt x="182608" y="503241"/>
                </a:lnTo>
                <a:lnTo>
                  <a:pt x="117562" y="503241"/>
                </a:lnTo>
                <a:close/>
              </a:path>
            </a:pathLst>
          </a:custGeom>
          <a:solidFill>
            <a:srgbClr val="91919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16" name="cone_115088"/>
          <p:cNvSpPr>
            <a:spLocks noChangeAspect="1"/>
          </p:cNvSpPr>
          <p:nvPr/>
        </p:nvSpPr>
        <p:spPr bwMode="auto">
          <a:xfrm>
            <a:off x="2071137" y="4526823"/>
            <a:ext cx="342572" cy="377629"/>
          </a:xfrm>
          <a:custGeom>
            <a:avLst/>
            <a:gdLst>
              <a:gd name="T0" fmla="*/ 5763 w 5973"/>
              <a:gd name="T1" fmla="*/ 5760 h 6827"/>
              <a:gd name="T2" fmla="*/ 5116 w 5973"/>
              <a:gd name="T3" fmla="*/ 5760 h 6827"/>
              <a:gd name="T4" fmla="*/ 3622 w 5973"/>
              <a:gd name="T5" fmla="*/ 158 h 6827"/>
              <a:gd name="T6" fmla="*/ 3416 w 5973"/>
              <a:gd name="T7" fmla="*/ 0 h 6827"/>
              <a:gd name="T8" fmla="*/ 2563 w 5973"/>
              <a:gd name="T9" fmla="*/ 0 h 6827"/>
              <a:gd name="T10" fmla="*/ 2357 w 5973"/>
              <a:gd name="T11" fmla="*/ 158 h 6827"/>
              <a:gd name="T12" fmla="*/ 863 w 5973"/>
              <a:gd name="T13" fmla="*/ 5760 h 6827"/>
              <a:gd name="T14" fmla="*/ 216 w 5973"/>
              <a:gd name="T15" fmla="*/ 5760 h 6827"/>
              <a:gd name="T16" fmla="*/ 0 w 5973"/>
              <a:gd name="T17" fmla="*/ 5973 h 6827"/>
              <a:gd name="T18" fmla="*/ 0 w 5973"/>
              <a:gd name="T19" fmla="*/ 6613 h 6827"/>
              <a:gd name="T20" fmla="*/ 216 w 5973"/>
              <a:gd name="T21" fmla="*/ 6827 h 6827"/>
              <a:gd name="T22" fmla="*/ 5763 w 5973"/>
              <a:gd name="T23" fmla="*/ 6827 h 6827"/>
              <a:gd name="T24" fmla="*/ 5973 w 5973"/>
              <a:gd name="T25" fmla="*/ 6613 h 6827"/>
              <a:gd name="T26" fmla="*/ 5973 w 5973"/>
              <a:gd name="T27" fmla="*/ 5973 h 6827"/>
              <a:gd name="T28" fmla="*/ 5763 w 5973"/>
              <a:gd name="T29" fmla="*/ 5760 h 6827"/>
              <a:gd name="T30" fmla="*/ 4162 w 5973"/>
              <a:gd name="T31" fmla="*/ 3840 h 6827"/>
              <a:gd name="T32" fmla="*/ 4390 w 5973"/>
              <a:gd name="T33" fmla="*/ 4693 h 6827"/>
              <a:gd name="T34" fmla="*/ 1589 w 5973"/>
              <a:gd name="T35" fmla="*/ 4693 h 6827"/>
              <a:gd name="T36" fmla="*/ 1816 w 5973"/>
              <a:gd name="T37" fmla="*/ 3840 h 6827"/>
              <a:gd name="T38" fmla="*/ 4162 w 5973"/>
              <a:gd name="T39" fmla="*/ 3840 h 6827"/>
              <a:gd name="T40" fmla="*/ 2044 w 5973"/>
              <a:gd name="T41" fmla="*/ 2987 h 6827"/>
              <a:gd name="T42" fmla="*/ 2271 w 5973"/>
              <a:gd name="T43" fmla="*/ 2133 h 6827"/>
              <a:gd name="T44" fmla="*/ 3707 w 5973"/>
              <a:gd name="T45" fmla="*/ 2133 h 6827"/>
              <a:gd name="T46" fmla="*/ 3935 w 5973"/>
              <a:gd name="T47" fmla="*/ 2987 h 6827"/>
              <a:gd name="T48" fmla="*/ 2044 w 5973"/>
              <a:gd name="T49" fmla="*/ 2987 h 6827"/>
              <a:gd name="T50" fmla="*/ 2727 w 5973"/>
              <a:gd name="T51" fmla="*/ 427 h 6827"/>
              <a:gd name="T52" fmla="*/ 3252 w 5973"/>
              <a:gd name="T53" fmla="*/ 427 h 6827"/>
              <a:gd name="T54" fmla="*/ 3480 w 5973"/>
              <a:gd name="T55" fmla="*/ 1280 h 6827"/>
              <a:gd name="T56" fmla="*/ 2499 w 5973"/>
              <a:gd name="T57" fmla="*/ 1280 h 6827"/>
              <a:gd name="T58" fmla="*/ 2727 w 5973"/>
              <a:gd name="T59" fmla="*/ 427 h 6827"/>
              <a:gd name="T60" fmla="*/ 5546 w 5973"/>
              <a:gd name="T61" fmla="*/ 6400 h 6827"/>
              <a:gd name="T62" fmla="*/ 426 w 5973"/>
              <a:gd name="T63" fmla="*/ 6400 h 6827"/>
              <a:gd name="T64" fmla="*/ 426 w 5973"/>
              <a:gd name="T65" fmla="*/ 6187 h 6827"/>
              <a:gd name="T66" fmla="*/ 1027 w 5973"/>
              <a:gd name="T67" fmla="*/ 6187 h 6827"/>
              <a:gd name="T68" fmla="*/ 1233 w 5973"/>
              <a:gd name="T69" fmla="*/ 6028 h 6827"/>
              <a:gd name="T70" fmla="*/ 1361 w 5973"/>
              <a:gd name="T71" fmla="*/ 5547 h 6827"/>
              <a:gd name="T72" fmla="*/ 4617 w 5973"/>
              <a:gd name="T73" fmla="*/ 5547 h 6827"/>
              <a:gd name="T74" fmla="*/ 4746 w 5973"/>
              <a:gd name="T75" fmla="*/ 6028 h 6827"/>
              <a:gd name="T76" fmla="*/ 4952 w 5973"/>
              <a:gd name="T77" fmla="*/ 6187 h 6827"/>
              <a:gd name="T78" fmla="*/ 5546 w 5973"/>
              <a:gd name="T79" fmla="*/ 6187 h 6827"/>
              <a:gd name="T80" fmla="*/ 5546 w 5973"/>
              <a:gd name="T81" fmla="*/ 6400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73" h="6827">
                <a:moveTo>
                  <a:pt x="5763" y="5760"/>
                </a:moveTo>
                <a:lnTo>
                  <a:pt x="5116" y="5760"/>
                </a:lnTo>
                <a:lnTo>
                  <a:pt x="3622" y="158"/>
                </a:lnTo>
                <a:cubicBezTo>
                  <a:pt x="3597" y="65"/>
                  <a:pt x="3513" y="0"/>
                  <a:pt x="3416" y="0"/>
                </a:cubicBezTo>
                <a:lnTo>
                  <a:pt x="2563" y="0"/>
                </a:lnTo>
                <a:cubicBezTo>
                  <a:pt x="2466" y="0"/>
                  <a:pt x="2381" y="65"/>
                  <a:pt x="2357" y="158"/>
                </a:cubicBezTo>
                <a:lnTo>
                  <a:pt x="863" y="5760"/>
                </a:lnTo>
                <a:lnTo>
                  <a:pt x="216" y="5760"/>
                </a:lnTo>
                <a:cubicBezTo>
                  <a:pt x="98" y="5760"/>
                  <a:pt x="0" y="5856"/>
                  <a:pt x="0" y="5973"/>
                </a:cubicBezTo>
                <a:lnTo>
                  <a:pt x="0" y="6613"/>
                </a:lnTo>
                <a:cubicBezTo>
                  <a:pt x="0" y="6731"/>
                  <a:pt x="98" y="6827"/>
                  <a:pt x="216" y="6827"/>
                </a:cubicBezTo>
                <a:lnTo>
                  <a:pt x="5763" y="6827"/>
                </a:lnTo>
                <a:cubicBezTo>
                  <a:pt x="5880" y="6827"/>
                  <a:pt x="5973" y="6731"/>
                  <a:pt x="5973" y="6613"/>
                </a:cubicBezTo>
                <a:lnTo>
                  <a:pt x="5973" y="5973"/>
                </a:lnTo>
                <a:cubicBezTo>
                  <a:pt x="5973" y="5856"/>
                  <a:pt x="5880" y="5760"/>
                  <a:pt x="5763" y="5760"/>
                </a:cubicBezTo>
                <a:close/>
                <a:moveTo>
                  <a:pt x="4162" y="3840"/>
                </a:moveTo>
                <a:lnTo>
                  <a:pt x="4390" y="4693"/>
                </a:lnTo>
                <a:lnTo>
                  <a:pt x="1589" y="4693"/>
                </a:lnTo>
                <a:lnTo>
                  <a:pt x="1816" y="3840"/>
                </a:lnTo>
                <a:lnTo>
                  <a:pt x="4162" y="3840"/>
                </a:lnTo>
                <a:close/>
                <a:moveTo>
                  <a:pt x="2044" y="2987"/>
                </a:moveTo>
                <a:lnTo>
                  <a:pt x="2271" y="2133"/>
                </a:lnTo>
                <a:lnTo>
                  <a:pt x="3707" y="2133"/>
                </a:lnTo>
                <a:lnTo>
                  <a:pt x="3935" y="2987"/>
                </a:lnTo>
                <a:lnTo>
                  <a:pt x="2044" y="2987"/>
                </a:lnTo>
                <a:close/>
                <a:moveTo>
                  <a:pt x="2727" y="427"/>
                </a:moveTo>
                <a:lnTo>
                  <a:pt x="3252" y="427"/>
                </a:lnTo>
                <a:lnTo>
                  <a:pt x="3480" y="1280"/>
                </a:lnTo>
                <a:lnTo>
                  <a:pt x="2499" y="1280"/>
                </a:lnTo>
                <a:lnTo>
                  <a:pt x="2727" y="427"/>
                </a:lnTo>
                <a:close/>
                <a:moveTo>
                  <a:pt x="5546" y="6400"/>
                </a:moveTo>
                <a:lnTo>
                  <a:pt x="426" y="6400"/>
                </a:lnTo>
                <a:lnTo>
                  <a:pt x="426" y="6187"/>
                </a:lnTo>
                <a:lnTo>
                  <a:pt x="1027" y="6187"/>
                </a:lnTo>
                <a:cubicBezTo>
                  <a:pt x="1123" y="6187"/>
                  <a:pt x="1208" y="6122"/>
                  <a:pt x="1233" y="6028"/>
                </a:cubicBezTo>
                <a:lnTo>
                  <a:pt x="1361" y="5547"/>
                </a:lnTo>
                <a:lnTo>
                  <a:pt x="4617" y="5547"/>
                </a:lnTo>
                <a:lnTo>
                  <a:pt x="4746" y="6028"/>
                </a:lnTo>
                <a:cubicBezTo>
                  <a:pt x="4771" y="6122"/>
                  <a:pt x="4855" y="6187"/>
                  <a:pt x="4952" y="6187"/>
                </a:cubicBezTo>
                <a:lnTo>
                  <a:pt x="5546" y="6187"/>
                </a:lnTo>
                <a:lnTo>
                  <a:pt x="5546" y="6400"/>
                </a:lnTo>
                <a:close/>
              </a:path>
            </a:pathLst>
          </a:custGeom>
          <a:solidFill>
            <a:srgbClr val="7F7F7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17" name="Freeform 12"/>
          <p:cNvSpPr>
            <a:spLocks noEditPoints="1"/>
          </p:cNvSpPr>
          <p:nvPr/>
        </p:nvSpPr>
        <p:spPr bwMode="auto">
          <a:xfrm>
            <a:off x="974145" y="5298488"/>
            <a:ext cx="701662" cy="312196"/>
          </a:xfrm>
          <a:custGeom>
            <a:avLst/>
            <a:gdLst>
              <a:gd name="T0" fmla="*/ 322 w 387"/>
              <a:gd name="T1" fmla="*/ 142 h 178"/>
              <a:gd name="T2" fmla="*/ 341 w 387"/>
              <a:gd name="T3" fmla="*/ 137 h 178"/>
              <a:gd name="T4" fmla="*/ 355 w 387"/>
              <a:gd name="T5" fmla="*/ 106 h 178"/>
              <a:gd name="T6" fmla="*/ 351 w 387"/>
              <a:gd name="T7" fmla="*/ 78 h 178"/>
              <a:gd name="T8" fmla="*/ 306 w 387"/>
              <a:gd name="T9" fmla="*/ 0 h 178"/>
              <a:gd name="T10" fmla="*/ 208 w 387"/>
              <a:gd name="T11" fmla="*/ 2 h 178"/>
              <a:gd name="T12" fmla="*/ 0 w 387"/>
              <a:gd name="T13" fmla="*/ 59 h 178"/>
              <a:gd name="T14" fmla="*/ 5 w 387"/>
              <a:gd name="T15" fmla="*/ 68 h 178"/>
              <a:gd name="T16" fmla="*/ 11 w 387"/>
              <a:gd name="T17" fmla="*/ 70 h 178"/>
              <a:gd name="T18" fmla="*/ 334 w 387"/>
              <a:gd name="T19" fmla="*/ 178 h 178"/>
              <a:gd name="T20" fmla="*/ 335 w 387"/>
              <a:gd name="T21" fmla="*/ 173 h 178"/>
              <a:gd name="T22" fmla="*/ 306 w 387"/>
              <a:gd name="T23" fmla="*/ 142 h 178"/>
              <a:gd name="T24" fmla="*/ 385 w 387"/>
              <a:gd name="T25" fmla="*/ 169 h 178"/>
              <a:gd name="T26" fmla="*/ 385 w 387"/>
              <a:gd name="T27" fmla="*/ 163 h 178"/>
              <a:gd name="T28" fmla="*/ 9 w 387"/>
              <a:gd name="T29" fmla="*/ 61 h 178"/>
              <a:gd name="T30" fmla="*/ 9 w 387"/>
              <a:gd name="T31" fmla="*/ 58 h 178"/>
              <a:gd name="T32" fmla="*/ 20 w 387"/>
              <a:gd name="T33" fmla="*/ 59 h 178"/>
              <a:gd name="T34" fmla="*/ 39 w 387"/>
              <a:gd name="T35" fmla="*/ 61 h 178"/>
              <a:gd name="T36" fmla="*/ 23 w 387"/>
              <a:gd name="T37" fmla="*/ 58 h 178"/>
              <a:gd name="T38" fmla="*/ 39 w 387"/>
              <a:gd name="T39" fmla="*/ 55 h 178"/>
              <a:gd name="T40" fmla="*/ 39 w 387"/>
              <a:gd name="T41" fmla="*/ 61 h 178"/>
              <a:gd name="T42" fmla="*/ 76 w 387"/>
              <a:gd name="T43" fmla="*/ 64 h 178"/>
              <a:gd name="T44" fmla="*/ 49 w 387"/>
              <a:gd name="T45" fmla="*/ 58 h 178"/>
              <a:gd name="T46" fmla="*/ 76 w 387"/>
              <a:gd name="T47" fmla="*/ 49 h 178"/>
              <a:gd name="T48" fmla="*/ 82 w 387"/>
              <a:gd name="T49" fmla="*/ 59 h 178"/>
              <a:gd name="T50" fmla="*/ 172 w 387"/>
              <a:gd name="T51" fmla="*/ 71 h 178"/>
              <a:gd name="T52" fmla="*/ 88 w 387"/>
              <a:gd name="T53" fmla="*/ 59 h 178"/>
              <a:gd name="T54" fmla="*/ 94 w 387"/>
              <a:gd name="T55" fmla="*/ 46 h 178"/>
              <a:gd name="T56" fmla="*/ 178 w 387"/>
              <a:gd name="T57" fmla="*/ 43 h 178"/>
              <a:gd name="T58" fmla="*/ 273 w 387"/>
              <a:gd name="T59" fmla="*/ 76 h 178"/>
              <a:gd name="T60" fmla="*/ 259 w 387"/>
              <a:gd name="T61" fmla="*/ 82 h 178"/>
              <a:gd name="T62" fmla="*/ 248 w 387"/>
              <a:gd name="T63" fmla="*/ 76 h 178"/>
              <a:gd name="T64" fmla="*/ 267 w 387"/>
              <a:gd name="T65" fmla="*/ 69 h 178"/>
              <a:gd name="T66" fmla="*/ 273 w 387"/>
              <a:gd name="T67" fmla="*/ 76 h 178"/>
              <a:gd name="T68" fmla="*/ 243 w 387"/>
              <a:gd name="T69" fmla="*/ 55 h 178"/>
              <a:gd name="T70" fmla="*/ 235 w 387"/>
              <a:gd name="T71" fmla="*/ 13 h 178"/>
              <a:gd name="T72" fmla="*/ 310 w 387"/>
              <a:gd name="T73" fmla="*/ 18 h 178"/>
              <a:gd name="T74" fmla="*/ 325 w 387"/>
              <a:gd name="T75" fmla="*/ 59 h 178"/>
              <a:gd name="T76" fmla="*/ 310 w 387"/>
              <a:gd name="T77" fmla="*/ 73 h 178"/>
              <a:gd name="T78" fmla="*/ 315 w 387"/>
              <a:gd name="T79" fmla="*/ 66 h 178"/>
              <a:gd name="T80" fmla="*/ 333 w 387"/>
              <a:gd name="T81" fmla="*/ 71 h 178"/>
              <a:gd name="T82" fmla="*/ 324 w 387"/>
              <a:gd name="T83" fmla="*/ 78 h 178"/>
              <a:gd name="T84" fmla="*/ 310 w 387"/>
              <a:gd name="T85" fmla="*/ 7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7" h="178">
                <a:moveTo>
                  <a:pt x="385" y="163"/>
                </a:moveTo>
                <a:cubicBezTo>
                  <a:pt x="322" y="142"/>
                  <a:pt x="322" y="142"/>
                  <a:pt x="322" y="142"/>
                </a:cubicBezTo>
                <a:cubicBezTo>
                  <a:pt x="332" y="142"/>
                  <a:pt x="332" y="142"/>
                  <a:pt x="332" y="142"/>
                </a:cubicBezTo>
                <a:cubicBezTo>
                  <a:pt x="336" y="142"/>
                  <a:pt x="340" y="140"/>
                  <a:pt x="341" y="137"/>
                </a:cubicBezTo>
                <a:cubicBezTo>
                  <a:pt x="353" y="117"/>
                  <a:pt x="353" y="117"/>
                  <a:pt x="353" y="117"/>
                </a:cubicBezTo>
                <a:cubicBezTo>
                  <a:pt x="355" y="114"/>
                  <a:pt x="356" y="109"/>
                  <a:pt x="355" y="106"/>
                </a:cubicBezTo>
                <a:cubicBezTo>
                  <a:pt x="354" y="89"/>
                  <a:pt x="354" y="89"/>
                  <a:pt x="354" y="89"/>
                </a:cubicBezTo>
                <a:cubicBezTo>
                  <a:pt x="354" y="86"/>
                  <a:pt x="352" y="81"/>
                  <a:pt x="351" y="78"/>
                </a:cubicBezTo>
                <a:cubicBezTo>
                  <a:pt x="314" y="5"/>
                  <a:pt x="314" y="5"/>
                  <a:pt x="314" y="5"/>
                </a:cubicBezTo>
                <a:cubicBezTo>
                  <a:pt x="313" y="3"/>
                  <a:pt x="309" y="0"/>
                  <a:pt x="306" y="0"/>
                </a:cubicBezTo>
                <a:cubicBezTo>
                  <a:pt x="219" y="0"/>
                  <a:pt x="219" y="0"/>
                  <a:pt x="219" y="0"/>
                </a:cubicBezTo>
                <a:cubicBezTo>
                  <a:pt x="216" y="0"/>
                  <a:pt x="211" y="1"/>
                  <a:pt x="208" y="2"/>
                </a:cubicBezTo>
                <a:cubicBezTo>
                  <a:pt x="6" y="52"/>
                  <a:pt x="6" y="52"/>
                  <a:pt x="6" y="52"/>
                </a:cubicBezTo>
                <a:cubicBezTo>
                  <a:pt x="2" y="52"/>
                  <a:pt x="0" y="56"/>
                  <a:pt x="0" y="59"/>
                </a:cubicBezTo>
                <a:cubicBezTo>
                  <a:pt x="0" y="60"/>
                  <a:pt x="0" y="60"/>
                  <a:pt x="0" y="60"/>
                </a:cubicBezTo>
                <a:cubicBezTo>
                  <a:pt x="0" y="63"/>
                  <a:pt x="2" y="67"/>
                  <a:pt x="5" y="68"/>
                </a:cubicBezTo>
                <a:cubicBezTo>
                  <a:pt x="10" y="69"/>
                  <a:pt x="10" y="69"/>
                  <a:pt x="10" y="69"/>
                </a:cubicBezTo>
                <a:cubicBezTo>
                  <a:pt x="10" y="70"/>
                  <a:pt x="11" y="70"/>
                  <a:pt x="11" y="70"/>
                </a:cubicBezTo>
                <a:cubicBezTo>
                  <a:pt x="333" y="178"/>
                  <a:pt x="333" y="178"/>
                  <a:pt x="333" y="178"/>
                </a:cubicBezTo>
                <a:cubicBezTo>
                  <a:pt x="333" y="178"/>
                  <a:pt x="334" y="178"/>
                  <a:pt x="334" y="178"/>
                </a:cubicBezTo>
                <a:cubicBezTo>
                  <a:pt x="335" y="178"/>
                  <a:pt x="336" y="178"/>
                  <a:pt x="336" y="177"/>
                </a:cubicBezTo>
                <a:cubicBezTo>
                  <a:pt x="337" y="175"/>
                  <a:pt x="336" y="174"/>
                  <a:pt x="335" y="173"/>
                </a:cubicBezTo>
                <a:cubicBezTo>
                  <a:pt x="242" y="142"/>
                  <a:pt x="242" y="142"/>
                  <a:pt x="242" y="142"/>
                </a:cubicBezTo>
                <a:cubicBezTo>
                  <a:pt x="306" y="142"/>
                  <a:pt x="306" y="142"/>
                  <a:pt x="306" y="142"/>
                </a:cubicBezTo>
                <a:cubicBezTo>
                  <a:pt x="384" y="168"/>
                  <a:pt x="384" y="168"/>
                  <a:pt x="384" y="168"/>
                </a:cubicBezTo>
                <a:cubicBezTo>
                  <a:pt x="384" y="169"/>
                  <a:pt x="384" y="169"/>
                  <a:pt x="385" y="169"/>
                </a:cubicBezTo>
                <a:cubicBezTo>
                  <a:pt x="386" y="169"/>
                  <a:pt x="387" y="168"/>
                  <a:pt x="387" y="167"/>
                </a:cubicBezTo>
                <a:cubicBezTo>
                  <a:pt x="387" y="165"/>
                  <a:pt x="387" y="164"/>
                  <a:pt x="385" y="163"/>
                </a:cubicBezTo>
                <a:close/>
                <a:moveTo>
                  <a:pt x="14" y="61"/>
                </a:moveTo>
                <a:cubicBezTo>
                  <a:pt x="9" y="61"/>
                  <a:pt x="9" y="61"/>
                  <a:pt x="9" y="61"/>
                </a:cubicBezTo>
                <a:cubicBezTo>
                  <a:pt x="6" y="61"/>
                  <a:pt x="3" y="61"/>
                  <a:pt x="3" y="59"/>
                </a:cubicBezTo>
                <a:cubicBezTo>
                  <a:pt x="3" y="58"/>
                  <a:pt x="6" y="58"/>
                  <a:pt x="9" y="58"/>
                </a:cubicBezTo>
                <a:cubicBezTo>
                  <a:pt x="14" y="57"/>
                  <a:pt x="14" y="57"/>
                  <a:pt x="14" y="57"/>
                </a:cubicBezTo>
                <a:cubicBezTo>
                  <a:pt x="17" y="57"/>
                  <a:pt x="20" y="57"/>
                  <a:pt x="20" y="59"/>
                </a:cubicBezTo>
                <a:cubicBezTo>
                  <a:pt x="20" y="61"/>
                  <a:pt x="17" y="61"/>
                  <a:pt x="14" y="61"/>
                </a:cubicBezTo>
                <a:close/>
                <a:moveTo>
                  <a:pt x="39" y="61"/>
                </a:moveTo>
                <a:cubicBezTo>
                  <a:pt x="29" y="61"/>
                  <a:pt x="29" y="61"/>
                  <a:pt x="29" y="61"/>
                </a:cubicBezTo>
                <a:cubicBezTo>
                  <a:pt x="26" y="61"/>
                  <a:pt x="23" y="61"/>
                  <a:pt x="23" y="58"/>
                </a:cubicBezTo>
                <a:cubicBezTo>
                  <a:pt x="23" y="56"/>
                  <a:pt x="26" y="56"/>
                  <a:pt x="29" y="56"/>
                </a:cubicBezTo>
                <a:cubicBezTo>
                  <a:pt x="39" y="55"/>
                  <a:pt x="39" y="55"/>
                  <a:pt x="39" y="55"/>
                </a:cubicBezTo>
                <a:cubicBezTo>
                  <a:pt x="42" y="54"/>
                  <a:pt x="45" y="54"/>
                  <a:pt x="45" y="57"/>
                </a:cubicBezTo>
                <a:cubicBezTo>
                  <a:pt x="45" y="62"/>
                  <a:pt x="42" y="61"/>
                  <a:pt x="39" y="61"/>
                </a:cubicBezTo>
                <a:close/>
                <a:moveTo>
                  <a:pt x="82" y="59"/>
                </a:moveTo>
                <a:cubicBezTo>
                  <a:pt x="82" y="62"/>
                  <a:pt x="80" y="64"/>
                  <a:pt x="76" y="64"/>
                </a:cubicBezTo>
                <a:cubicBezTo>
                  <a:pt x="55" y="63"/>
                  <a:pt x="55" y="63"/>
                  <a:pt x="55" y="63"/>
                </a:cubicBezTo>
                <a:cubicBezTo>
                  <a:pt x="51" y="63"/>
                  <a:pt x="49" y="62"/>
                  <a:pt x="49" y="58"/>
                </a:cubicBezTo>
                <a:cubicBezTo>
                  <a:pt x="49" y="53"/>
                  <a:pt x="51" y="53"/>
                  <a:pt x="55" y="52"/>
                </a:cubicBezTo>
                <a:cubicBezTo>
                  <a:pt x="76" y="49"/>
                  <a:pt x="76" y="49"/>
                  <a:pt x="76" y="49"/>
                </a:cubicBezTo>
                <a:cubicBezTo>
                  <a:pt x="80" y="49"/>
                  <a:pt x="82" y="51"/>
                  <a:pt x="82" y="55"/>
                </a:cubicBezTo>
                <a:lnTo>
                  <a:pt x="82" y="59"/>
                </a:lnTo>
                <a:close/>
                <a:moveTo>
                  <a:pt x="178" y="65"/>
                </a:moveTo>
                <a:cubicBezTo>
                  <a:pt x="178" y="69"/>
                  <a:pt x="175" y="71"/>
                  <a:pt x="172" y="71"/>
                </a:cubicBezTo>
                <a:cubicBezTo>
                  <a:pt x="94" y="65"/>
                  <a:pt x="94" y="65"/>
                  <a:pt x="94" y="65"/>
                </a:cubicBezTo>
                <a:cubicBezTo>
                  <a:pt x="91" y="65"/>
                  <a:pt x="88" y="62"/>
                  <a:pt x="88" y="59"/>
                </a:cubicBezTo>
                <a:cubicBezTo>
                  <a:pt x="88" y="53"/>
                  <a:pt x="88" y="53"/>
                  <a:pt x="88" y="53"/>
                </a:cubicBezTo>
                <a:cubicBezTo>
                  <a:pt x="88" y="50"/>
                  <a:pt x="91" y="47"/>
                  <a:pt x="94" y="46"/>
                </a:cubicBezTo>
                <a:cubicBezTo>
                  <a:pt x="172" y="38"/>
                  <a:pt x="172" y="38"/>
                  <a:pt x="172" y="38"/>
                </a:cubicBezTo>
                <a:cubicBezTo>
                  <a:pt x="175" y="37"/>
                  <a:pt x="178" y="40"/>
                  <a:pt x="178" y="43"/>
                </a:cubicBezTo>
                <a:lnTo>
                  <a:pt x="178" y="65"/>
                </a:lnTo>
                <a:close/>
                <a:moveTo>
                  <a:pt x="273" y="76"/>
                </a:moveTo>
                <a:cubicBezTo>
                  <a:pt x="273" y="79"/>
                  <a:pt x="270" y="82"/>
                  <a:pt x="267" y="82"/>
                </a:cubicBezTo>
                <a:cubicBezTo>
                  <a:pt x="259" y="82"/>
                  <a:pt x="259" y="82"/>
                  <a:pt x="259" y="82"/>
                </a:cubicBezTo>
                <a:cubicBezTo>
                  <a:pt x="255" y="82"/>
                  <a:pt x="251" y="79"/>
                  <a:pt x="249" y="77"/>
                </a:cubicBezTo>
                <a:cubicBezTo>
                  <a:pt x="248" y="76"/>
                  <a:pt x="248" y="76"/>
                  <a:pt x="248" y="76"/>
                </a:cubicBezTo>
                <a:cubicBezTo>
                  <a:pt x="247" y="73"/>
                  <a:pt x="248" y="70"/>
                  <a:pt x="251" y="69"/>
                </a:cubicBezTo>
                <a:cubicBezTo>
                  <a:pt x="267" y="69"/>
                  <a:pt x="267" y="69"/>
                  <a:pt x="267" y="69"/>
                </a:cubicBezTo>
                <a:cubicBezTo>
                  <a:pt x="270" y="68"/>
                  <a:pt x="273" y="71"/>
                  <a:pt x="273" y="74"/>
                </a:cubicBezTo>
                <a:lnTo>
                  <a:pt x="273" y="76"/>
                </a:lnTo>
                <a:close/>
                <a:moveTo>
                  <a:pt x="251" y="61"/>
                </a:moveTo>
                <a:cubicBezTo>
                  <a:pt x="247" y="61"/>
                  <a:pt x="244" y="58"/>
                  <a:pt x="243" y="55"/>
                </a:cubicBezTo>
                <a:cubicBezTo>
                  <a:pt x="231" y="19"/>
                  <a:pt x="231" y="19"/>
                  <a:pt x="231" y="19"/>
                </a:cubicBezTo>
                <a:cubicBezTo>
                  <a:pt x="230" y="16"/>
                  <a:pt x="232" y="13"/>
                  <a:pt x="235" y="13"/>
                </a:cubicBezTo>
                <a:cubicBezTo>
                  <a:pt x="302" y="13"/>
                  <a:pt x="302" y="13"/>
                  <a:pt x="302" y="13"/>
                </a:cubicBezTo>
                <a:cubicBezTo>
                  <a:pt x="305" y="13"/>
                  <a:pt x="309" y="15"/>
                  <a:pt x="310" y="18"/>
                </a:cubicBezTo>
                <a:cubicBezTo>
                  <a:pt x="328" y="53"/>
                  <a:pt x="328" y="53"/>
                  <a:pt x="328" y="53"/>
                </a:cubicBezTo>
                <a:cubicBezTo>
                  <a:pt x="330" y="56"/>
                  <a:pt x="328" y="59"/>
                  <a:pt x="325" y="59"/>
                </a:cubicBezTo>
                <a:lnTo>
                  <a:pt x="251" y="61"/>
                </a:lnTo>
                <a:close/>
                <a:moveTo>
                  <a:pt x="310" y="73"/>
                </a:moveTo>
                <a:cubicBezTo>
                  <a:pt x="310" y="71"/>
                  <a:pt x="310" y="71"/>
                  <a:pt x="310" y="71"/>
                </a:cubicBezTo>
                <a:cubicBezTo>
                  <a:pt x="310" y="68"/>
                  <a:pt x="312" y="66"/>
                  <a:pt x="315" y="66"/>
                </a:cubicBezTo>
                <a:cubicBezTo>
                  <a:pt x="330" y="65"/>
                  <a:pt x="330" y="65"/>
                  <a:pt x="330" y="65"/>
                </a:cubicBezTo>
                <a:cubicBezTo>
                  <a:pt x="334" y="66"/>
                  <a:pt x="335" y="69"/>
                  <a:pt x="333" y="71"/>
                </a:cubicBezTo>
                <a:cubicBezTo>
                  <a:pt x="332" y="72"/>
                  <a:pt x="332" y="72"/>
                  <a:pt x="332" y="72"/>
                </a:cubicBezTo>
                <a:cubicBezTo>
                  <a:pt x="331" y="75"/>
                  <a:pt x="327" y="77"/>
                  <a:pt x="324" y="78"/>
                </a:cubicBezTo>
                <a:cubicBezTo>
                  <a:pt x="316" y="78"/>
                  <a:pt x="316" y="78"/>
                  <a:pt x="316" y="78"/>
                </a:cubicBezTo>
                <a:cubicBezTo>
                  <a:pt x="313" y="78"/>
                  <a:pt x="310" y="76"/>
                  <a:pt x="310" y="73"/>
                </a:cubicBezTo>
                <a:close/>
              </a:path>
            </a:pathLst>
          </a:custGeom>
          <a:solidFill>
            <a:srgbClr val="7F7F7F"/>
          </a:solidFill>
          <a:ln>
            <a:noFill/>
          </a:ln>
        </p:spPr>
        <p:txBody>
          <a:bodyPr vert="horz" wrap="square" lIns="63305" tIns="31652" rIns="63305" bIns="31652"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18" name="road-with-broken-line_62512"/>
          <p:cNvSpPr>
            <a:spLocks noChangeAspect="1"/>
          </p:cNvSpPr>
          <p:nvPr/>
        </p:nvSpPr>
        <p:spPr bwMode="auto">
          <a:xfrm>
            <a:off x="1111495" y="4362610"/>
            <a:ext cx="407764" cy="302507"/>
          </a:xfrm>
          <a:custGeom>
            <a:avLst/>
            <a:gdLst>
              <a:gd name="connsiteX0" fmla="*/ 282139 w 607497"/>
              <a:gd name="connsiteY0" fmla="*/ 262247 h 466649"/>
              <a:gd name="connsiteX1" fmla="*/ 277837 w 607497"/>
              <a:gd name="connsiteY1" fmla="*/ 369942 h 466649"/>
              <a:gd name="connsiteX2" fmla="*/ 329661 w 607497"/>
              <a:gd name="connsiteY2" fmla="*/ 369942 h 466649"/>
              <a:gd name="connsiteX3" fmla="*/ 325359 w 607497"/>
              <a:gd name="connsiteY3" fmla="*/ 262247 h 466649"/>
              <a:gd name="connsiteX4" fmla="*/ 282139 w 607497"/>
              <a:gd name="connsiteY4" fmla="*/ 262247 h 466649"/>
              <a:gd name="connsiteX5" fmla="*/ 288842 w 607497"/>
              <a:gd name="connsiteY5" fmla="*/ 96607 h 466649"/>
              <a:gd name="connsiteX6" fmla="*/ 284540 w 607497"/>
              <a:gd name="connsiteY6" fmla="*/ 204303 h 466649"/>
              <a:gd name="connsiteX7" fmla="*/ 322957 w 607497"/>
              <a:gd name="connsiteY7" fmla="*/ 204303 h 466649"/>
              <a:gd name="connsiteX8" fmla="*/ 318655 w 607497"/>
              <a:gd name="connsiteY8" fmla="*/ 96607 h 466649"/>
              <a:gd name="connsiteX9" fmla="*/ 288842 w 607497"/>
              <a:gd name="connsiteY9" fmla="*/ 96607 h 466649"/>
              <a:gd name="connsiteX10" fmla="*/ 395307 w 607497"/>
              <a:gd name="connsiteY10" fmla="*/ 0 h 466649"/>
              <a:gd name="connsiteX11" fmla="*/ 416116 w 607497"/>
              <a:gd name="connsiteY11" fmla="*/ 0 h 466649"/>
              <a:gd name="connsiteX12" fmla="*/ 607497 w 607497"/>
              <a:gd name="connsiteY12" fmla="*/ 466649 h 466649"/>
              <a:gd name="connsiteX13" fmla="*/ 551173 w 607497"/>
              <a:gd name="connsiteY13" fmla="*/ 466649 h 466649"/>
              <a:gd name="connsiteX14" fmla="*/ 395307 w 607497"/>
              <a:gd name="connsiteY14" fmla="*/ 0 h 466649"/>
              <a:gd name="connsiteX15" fmla="*/ 231516 w 607497"/>
              <a:gd name="connsiteY15" fmla="*/ 0 h 466649"/>
              <a:gd name="connsiteX16" fmla="*/ 292744 w 607497"/>
              <a:gd name="connsiteY16" fmla="*/ 0 h 466649"/>
              <a:gd name="connsiteX17" fmla="*/ 291143 w 607497"/>
              <a:gd name="connsiteY17" fmla="*/ 38663 h 466649"/>
              <a:gd name="connsiteX18" fmla="*/ 316354 w 607497"/>
              <a:gd name="connsiteY18" fmla="*/ 38663 h 466649"/>
              <a:gd name="connsiteX19" fmla="*/ 314754 w 607497"/>
              <a:gd name="connsiteY19" fmla="*/ 0 h 466649"/>
              <a:gd name="connsiteX20" fmla="*/ 375982 w 607497"/>
              <a:gd name="connsiteY20" fmla="*/ 0 h 466649"/>
              <a:gd name="connsiteX21" fmla="*/ 499038 w 607497"/>
              <a:gd name="connsiteY21" fmla="*/ 466649 h 466649"/>
              <a:gd name="connsiteX22" fmla="*/ 333562 w 607497"/>
              <a:gd name="connsiteY22" fmla="*/ 466649 h 466649"/>
              <a:gd name="connsiteX23" fmla="*/ 331962 w 607497"/>
              <a:gd name="connsiteY23" fmla="*/ 427886 h 466649"/>
              <a:gd name="connsiteX24" fmla="*/ 275536 w 607497"/>
              <a:gd name="connsiteY24" fmla="*/ 427886 h 466649"/>
              <a:gd name="connsiteX25" fmla="*/ 273935 w 607497"/>
              <a:gd name="connsiteY25" fmla="*/ 466649 h 466649"/>
              <a:gd name="connsiteX26" fmla="*/ 108459 w 607497"/>
              <a:gd name="connsiteY26" fmla="*/ 466649 h 466649"/>
              <a:gd name="connsiteX27" fmla="*/ 231516 w 607497"/>
              <a:gd name="connsiteY27" fmla="*/ 0 h 466649"/>
              <a:gd name="connsiteX28" fmla="*/ 191381 w 607497"/>
              <a:gd name="connsiteY28" fmla="*/ 0 h 466649"/>
              <a:gd name="connsiteX29" fmla="*/ 212190 w 607497"/>
              <a:gd name="connsiteY29" fmla="*/ 0 h 466649"/>
              <a:gd name="connsiteX30" fmla="*/ 56324 w 607497"/>
              <a:gd name="connsiteY30" fmla="*/ 466649 h 466649"/>
              <a:gd name="connsiteX31" fmla="*/ 0 w 607497"/>
              <a:gd name="connsiteY31" fmla="*/ 466649 h 466649"/>
              <a:gd name="connsiteX32" fmla="*/ 191381 w 607497"/>
              <a:gd name="connsiteY32" fmla="*/ 0 h 46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07497" h="466649">
                <a:moveTo>
                  <a:pt x="282139" y="262247"/>
                </a:moveTo>
                <a:cubicBezTo>
                  <a:pt x="280738" y="298112"/>
                  <a:pt x="279337" y="334077"/>
                  <a:pt x="277837" y="369942"/>
                </a:cubicBezTo>
                <a:lnTo>
                  <a:pt x="329661" y="369942"/>
                </a:lnTo>
                <a:cubicBezTo>
                  <a:pt x="328260" y="334077"/>
                  <a:pt x="326759" y="298112"/>
                  <a:pt x="325359" y="262247"/>
                </a:cubicBezTo>
                <a:cubicBezTo>
                  <a:pt x="310952" y="262247"/>
                  <a:pt x="296545" y="262247"/>
                  <a:pt x="282139" y="262247"/>
                </a:cubicBezTo>
                <a:close/>
                <a:moveTo>
                  <a:pt x="288842" y="96607"/>
                </a:moveTo>
                <a:cubicBezTo>
                  <a:pt x="287441" y="132572"/>
                  <a:pt x="285940" y="168437"/>
                  <a:pt x="284540" y="204303"/>
                </a:cubicBezTo>
                <a:lnTo>
                  <a:pt x="322957" y="204303"/>
                </a:lnTo>
                <a:cubicBezTo>
                  <a:pt x="321557" y="168437"/>
                  <a:pt x="320156" y="132572"/>
                  <a:pt x="318655" y="96607"/>
                </a:cubicBezTo>
                <a:cubicBezTo>
                  <a:pt x="308751" y="96607"/>
                  <a:pt x="298746" y="96607"/>
                  <a:pt x="288842" y="96607"/>
                </a:cubicBezTo>
                <a:close/>
                <a:moveTo>
                  <a:pt x="395307" y="0"/>
                </a:moveTo>
                <a:lnTo>
                  <a:pt x="416116" y="0"/>
                </a:lnTo>
                <a:cubicBezTo>
                  <a:pt x="479943" y="155550"/>
                  <a:pt x="543770" y="311099"/>
                  <a:pt x="607497" y="466649"/>
                </a:cubicBezTo>
                <a:lnTo>
                  <a:pt x="551173" y="466649"/>
                </a:lnTo>
                <a:cubicBezTo>
                  <a:pt x="499251" y="311099"/>
                  <a:pt x="447229" y="155550"/>
                  <a:pt x="395307" y="0"/>
                </a:cubicBezTo>
                <a:close/>
                <a:moveTo>
                  <a:pt x="231516" y="0"/>
                </a:moveTo>
                <a:lnTo>
                  <a:pt x="292744" y="0"/>
                </a:lnTo>
                <a:cubicBezTo>
                  <a:pt x="292243" y="12888"/>
                  <a:pt x="291743" y="25775"/>
                  <a:pt x="291143" y="38663"/>
                </a:cubicBezTo>
                <a:lnTo>
                  <a:pt x="316354" y="38663"/>
                </a:lnTo>
                <a:cubicBezTo>
                  <a:pt x="315854" y="25775"/>
                  <a:pt x="315254" y="12888"/>
                  <a:pt x="314754" y="0"/>
                </a:cubicBezTo>
                <a:lnTo>
                  <a:pt x="375982" y="0"/>
                </a:lnTo>
                <a:cubicBezTo>
                  <a:pt x="417001" y="155550"/>
                  <a:pt x="458019" y="311099"/>
                  <a:pt x="499038" y="466649"/>
                </a:cubicBezTo>
                <a:lnTo>
                  <a:pt x="333562" y="466649"/>
                </a:lnTo>
                <a:cubicBezTo>
                  <a:pt x="333062" y="453662"/>
                  <a:pt x="332562" y="440774"/>
                  <a:pt x="331962" y="427886"/>
                </a:cubicBezTo>
                <a:lnTo>
                  <a:pt x="275536" y="427886"/>
                </a:lnTo>
                <a:cubicBezTo>
                  <a:pt x="275035" y="440774"/>
                  <a:pt x="274535" y="453662"/>
                  <a:pt x="273935" y="466649"/>
                </a:cubicBezTo>
                <a:lnTo>
                  <a:pt x="108459" y="466649"/>
                </a:lnTo>
                <a:cubicBezTo>
                  <a:pt x="149478" y="311099"/>
                  <a:pt x="190497" y="155550"/>
                  <a:pt x="231516" y="0"/>
                </a:cubicBezTo>
                <a:close/>
                <a:moveTo>
                  <a:pt x="191381" y="0"/>
                </a:moveTo>
                <a:lnTo>
                  <a:pt x="212190" y="0"/>
                </a:lnTo>
                <a:cubicBezTo>
                  <a:pt x="160268" y="155550"/>
                  <a:pt x="108346" y="311099"/>
                  <a:pt x="56324" y="466649"/>
                </a:cubicBezTo>
                <a:lnTo>
                  <a:pt x="0" y="466649"/>
                </a:lnTo>
                <a:cubicBezTo>
                  <a:pt x="63827" y="311099"/>
                  <a:pt x="127554" y="155550"/>
                  <a:pt x="191381" y="0"/>
                </a:cubicBezTo>
                <a:close/>
              </a:path>
            </a:pathLst>
          </a:custGeom>
          <a:solidFill>
            <a:srgbClr val="7F7F7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19" name="port-map-marker-point_34701"/>
          <p:cNvSpPr>
            <a:spLocks noChangeAspect="1"/>
          </p:cNvSpPr>
          <p:nvPr/>
        </p:nvSpPr>
        <p:spPr bwMode="auto">
          <a:xfrm>
            <a:off x="2028276" y="5349598"/>
            <a:ext cx="397471" cy="477465"/>
          </a:xfrm>
          <a:custGeom>
            <a:avLst/>
            <a:gdLst>
              <a:gd name="connsiteX0" fmla="*/ 243381 w 485067"/>
              <a:gd name="connsiteY0" fmla="*/ 89195 h 603334"/>
              <a:gd name="connsiteX1" fmla="*/ 258271 w 485067"/>
              <a:gd name="connsiteY1" fmla="*/ 104049 h 603334"/>
              <a:gd name="connsiteX2" fmla="*/ 243381 w 485067"/>
              <a:gd name="connsiteY2" fmla="*/ 118903 h 603334"/>
              <a:gd name="connsiteX3" fmla="*/ 228491 w 485067"/>
              <a:gd name="connsiteY3" fmla="*/ 104049 h 603334"/>
              <a:gd name="connsiteX4" fmla="*/ 243381 w 485067"/>
              <a:gd name="connsiteY4" fmla="*/ 89195 h 603334"/>
              <a:gd name="connsiteX5" fmla="*/ 243480 w 485067"/>
              <a:gd name="connsiteY5" fmla="*/ 56364 h 603334"/>
              <a:gd name="connsiteX6" fmla="*/ 195644 w 485067"/>
              <a:gd name="connsiteY6" fmla="*/ 103964 h 603334"/>
              <a:gd name="connsiteX7" fmla="*/ 226961 w 485067"/>
              <a:gd name="connsiteY7" fmla="*/ 148643 h 603334"/>
              <a:gd name="connsiteX8" fmla="*/ 226961 w 485067"/>
              <a:gd name="connsiteY8" fmla="*/ 386814 h 603334"/>
              <a:gd name="connsiteX9" fmla="*/ 114427 w 485067"/>
              <a:gd name="connsiteY9" fmla="*/ 274430 h 603334"/>
              <a:gd name="connsiteX10" fmla="*/ 124579 w 485067"/>
              <a:gd name="connsiteY10" fmla="*/ 274430 h 603334"/>
              <a:gd name="connsiteX11" fmla="*/ 124751 w 485067"/>
              <a:gd name="connsiteY11" fmla="*/ 274430 h 603334"/>
              <a:gd name="connsiteX12" fmla="*/ 141270 w 485067"/>
              <a:gd name="connsiteY12" fmla="*/ 258105 h 603334"/>
              <a:gd name="connsiteX13" fmla="*/ 137829 w 485067"/>
              <a:gd name="connsiteY13" fmla="*/ 247967 h 603334"/>
              <a:gd name="connsiteX14" fmla="*/ 112362 w 485067"/>
              <a:gd name="connsiteY14" fmla="*/ 202257 h 603334"/>
              <a:gd name="connsiteX15" fmla="*/ 97908 w 485067"/>
              <a:gd name="connsiteY15" fmla="*/ 193665 h 603334"/>
              <a:gd name="connsiteX16" fmla="*/ 83626 w 485067"/>
              <a:gd name="connsiteY16" fmla="*/ 202257 h 603334"/>
              <a:gd name="connsiteX17" fmla="*/ 56955 w 485067"/>
              <a:gd name="connsiteY17" fmla="*/ 250029 h 603334"/>
              <a:gd name="connsiteX18" fmla="*/ 57300 w 485067"/>
              <a:gd name="connsiteY18" fmla="*/ 266354 h 603334"/>
              <a:gd name="connsiteX19" fmla="*/ 71409 w 485067"/>
              <a:gd name="connsiteY19" fmla="*/ 274430 h 603334"/>
              <a:gd name="connsiteX20" fmla="*/ 81217 w 485067"/>
              <a:gd name="connsiteY20" fmla="*/ 274430 h 603334"/>
              <a:gd name="connsiteX21" fmla="*/ 243480 w 485067"/>
              <a:gd name="connsiteY21" fmla="*/ 420839 h 603334"/>
              <a:gd name="connsiteX22" fmla="*/ 405571 w 485067"/>
              <a:gd name="connsiteY22" fmla="*/ 274430 h 603334"/>
              <a:gd name="connsiteX23" fmla="*/ 415551 w 485067"/>
              <a:gd name="connsiteY23" fmla="*/ 274430 h 603334"/>
              <a:gd name="connsiteX24" fmla="*/ 415723 w 485067"/>
              <a:gd name="connsiteY24" fmla="*/ 274430 h 603334"/>
              <a:gd name="connsiteX25" fmla="*/ 432241 w 485067"/>
              <a:gd name="connsiteY25" fmla="*/ 258105 h 603334"/>
              <a:gd name="connsiteX26" fmla="*/ 428800 w 485067"/>
              <a:gd name="connsiteY26" fmla="*/ 247967 h 603334"/>
              <a:gd name="connsiteX27" fmla="*/ 403334 w 485067"/>
              <a:gd name="connsiteY27" fmla="*/ 202257 h 603334"/>
              <a:gd name="connsiteX28" fmla="*/ 389052 w 485067"/>
              <a:gd name="connsiteY28" fmla="*/ 193665 h 603334"/>
              <a:gd name="connsiteX29" fmla="*/ 374598 w 485067"/>
              <a:gd name="connsiteY29" fmla="*/ 202257 h 603334"/>
              <a:gd name="connsiteX30" fmla="*/ 347927 w 485067"/>
              <a:gd name="connsiteY30" fmla="*/ 250029 h 603334"/>
              <a:gd name="connsiteX31" fmla="*/ 348271 w 485067"/>
              <a:gd name="connsiteY31" fmla="*/ 266354 h 603334"/>
              <a:gd name="connsiteX32" fmla="*/ 362381 w 485067"/>
              <a:gd name="connsiteY32" fmla="*/ 274430 h 603334"/>
              <a:gd name="connsiteX33" fmla="*/ 372361 w 485067"/>
              <a:gd name="connsiteY33" fmla="*/ 274430 h 603334"/>
              <a:gd name="connsiteX34" fmla="*/ 259827 w 485067"/>
              <a:gd name="connsiteY34" fmla="*/ 386814 h 603334"/>
              <a:gd name="connsiteX35" fmla="*/ 259827 w 485067"/>
              <a:gd name="connsiteY35" fmla="*/ 148643 h 603334"/>
              <a:gd name="connsiteX36" fmla="*/ 291316 w 485067"/>
              <a:gd name="connsiteY36" fmla="*/ 103964 h 603334"/>
              <a:gd name="connsiteX37" fmla="*/ 243480 w 485067"/>
              <a:gd name="connsiteY37" fmla="*/ 56364 h 603334"/>
              <a:gd name="connsiteX38" fmla="*/ 242620 w 485067"/>
              <a:gd name="connsiteY38" fmla="*/ 0 h 603334"/>
              <a:gd name="connsiteX39" fmla="*/ 485067 w 485067"/>
              <a:gd name="connsiteY39" fmla="*/ 242296 h 603334"/>
              <a:gd name="connsiteX40" fmla="*/ 476980 w 485067"/>
              <a:gd name="connsiteY40" fmla="*/ 303815 h 603334"/>
              <a:gd name="connsiteX41" fmla="*/ 255697 w 485067"/>
              <a:gd name="connsiteY41" fmla="*/ 597835 h 603334"/>
              <a:gd name="connsiteX42" fmla="*/ 250879 w 485067"/>
              <a:gd name="connsiteY42" fmla="*/ 601444 h 603334"/>
              <a:gd name="connsiteX43" fmla="*/ 242964 w 485067"/>
              <a:gd name="connsiteY43" fmla="*/ 603334 h 603334"/>
              <a:gd name="connsiteX44" fmla="*/ 241587 w 485067"/>
              <a:gd name="connsiteY44" fmla="*/ 603334 h 603334"/>
              <a:gd name="connsiteX45" fmla="*/ 235221 w 485067"/>
              <a:gd name="connsiteY45" fmla="*/ 601616 h 603334"/>
              <a:gd name="connsiteX46" fmla="*/ 230059 w 485067"/>
              <a:gd name="connsiteY46" fmla="*/ 597491 h 603334"/>
              <a:gd name="connsiteX47" fmla="*/ 33382 w 485067"/>
              <a:gd name="connsiteY47" fmla="*/ 364303 h 603334"/>
              <a:gd name="connsiteX48" fmla="*/ 8776 w 485067"/>
              <a:gd name="connsiteY48" fmla="*/ 306564 h 603334"/>
              <a:gd name="connsiteX49" fmla="*/ 7743 w 485067"/>
              <a:gd name="connsiteY49" fmla="*/ 302440 h 603334"/>
              <a:gd name="connsiteX50" fmla="*/ 0 w 485067"/>
              <a:gd name="connsiteY50" fmla="*/ 242296 h 603334"/>
              <a:gd name="connsiteX51" fmla="*/ 242620 w 485067"/>
              <a:gd name="connsiteY51" fmla="*/ 0 h 60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5067" h="603334">
                <a:moveTo>
                  <a:pt x="243381" y="89195"/>
                </a:moveTo>
                <a:cubicBezTo>
                  <a:pt x="251605" y="89195"/>
                  <a:pt x="258271" y="95845"/>
                  <a:pt x="258271" y="104049"/>
                </a:cubicBezTo>
                <a:cubicBezTo>
                  <a:pt x="258271" y="112253"/>
                  <a:pt x="251605" y="118903"/>
                  <a:pt x="243381" y="118903"/>
                </a:cubicBezTo>
                <a:cubicBezTo>
                  <a:pt x="235157" y="118903"/>
                  <a:pt x="228491" y="112253"/>
                  <a:pt x="228491" y="104049"/>
                </a:cubicBezTo>
                <a:cubicBezTo>
                  <a:pt x="228491" y="95845"/>
                  <a:pt x="235157" y="89195"/>
                  <a:pt x="243381" y="89195"/>
                </a:cubicBezTo>
                <a:close/>
                <a:moveTo>
                  <a:pt x="243480" y="56364"/>
                </a:moveTo>
                <a:cubicBezTo>
                  <a:pt x="217153" y="56364"/>
                  <a:pt x="195644" y="77672"/>
                  <a:pt x="195644" y="103964"/>
                </a:cubicBezTo>
                <a:cubicBezTo>
                  <a:pt x="195644" y="124585"/>
                  <a:pt x="208722" y="141941"/>
                  <a:pt x="226961" y="148643"/>
                </a:cubicBezTo>
                <a:lnTo>
                  <a:pt x="226961" y="386814"/>
                </a:lnTo>
                <a:cubicBezTo>
                  <a:pt x="168457" y="379425"/>
                  <a:pt x="121998" y="333028"/>
                  <a:pt x="114427" y="274430"/>
                </a:cubicBezTo>
                <a:lnTo>
                  <a:pt x="124579" y="274430"/>
                </a:lnTo>
                <a:cubicBezTo>
                  <a:pt x="124579" y="274430"/>
                  <a:pt x="124751" y="274430"/>
                  <a:pt x="124751" y="274430"/>
                </a:cubicBezTo>
                <a:cubicBezTo>
                  <a:pt x="133871" y="274430"/>
                  <a:pt x="141270" y="267041"/>
                  <a:pt x="141270" y="258105"/>
                </a:cubicBezTo>
                <a:cubicBezTo>
                  <a:pt x="141270" y="254325"/>
                  <a:pt x="139894" y="250716"/>
                  <a:pt x="137829" y="247967"/>
                </a:cubicBezTo>
                <a:lnTo>
                  <a:pt x="112362" y="202257"/>
                </a:lnTo>
                <a:cubicBezTo>
                  <a:pt x="109437" y="196930"/>
                  <a:pt x="103931" y="193665"/>
                  <a:pt x="97908" y="193665"/>
                </a:cubicBezTo>
                <a:cubicBezTo>
                  <a:pt x="92058" y="193665"/>
                  <a:pt x="86552" y="196930"/>
                  <a:pt x="83626" y="202257"/>
                </a:cubicBezTo>
                <a:lnTo>
                  <a:pt x="56955" y="250029"/>
                </a:lnTo>
                <a:cubicBezTo>
                  <a:pt x="54202" y="255184"/>
                  <a:pt x="54202" y="261370"/>
                  <a:pt x="57300" y="266354"/>
                </a:cubicBezTo>
                <a:cubicBezTo>
                  <a:pt x="60225" y="271337"/>
                  <a:pt x="65559" y="274430"/>
                  <a:pt x="71409" y="274430"/>
                </a:cubicBezTo>
                <a:lnTo>
                  <a:pt x="81217" y="274430"/>
                </a:lnTo>
                <a:cubicBezTo>
                  <a:pt x="89477" y="356570"/>
                  <a:pt x="159165" y="420839"/>
                  <a:pt x="243480" y="420839"/>
                </a:cubicBezTo>
                <a:cubicBezTo>
                  <a:pt x="327795" y="420839"/>
                  <a:pt x="397311" y="356570"/>
                  <a:pt x="405571" y="274430"/>
                </a:cubicBezTo>
                <a:lnTo>
                  <a:pt x="415551" y="274430"/>
                </a:lnTo>
                <a:cubicBezTo>
                  <a:pt x="415551" y="274430"/>
                  <a:pt x="415723" y="274430"/>
                  <a:pt x="415723" y="274430"/>
                </a:cubicBezTo>
                <a:cubicBezTo>
                  <a:pt x="424842" y="274430"/>
                  <a:pt x="432241" y="267041"/>
                  <a:pt x="432241" y="258105"/>
                </a:cubicBezTo>
                <a:cubicBezTo>
                  <a:pt x="432241" y="254325"/>
                  <a:pt x="430865" y="250716"/>
                  <a:pt x="428800" y="247967"/>
                </a:cubicBezTo>
                <a:lnTo>
                  <a:pt x="403334" y="202257"/>
                </a:lnTo>
                <a:cubicBezTo>
                  <a:pt x="400408" y="196930"/>
                  <a:pt x="394902" y="193665"/>
                  <a:pt x="389052" y="193665"/>
                </a:cubicBezTo>
                <a:cubicBezTo>
                  <a:pt x="383029" y="193665"/>
                  <a:pt x="377523" y="196930"/>
                  <a:pt x="374598" y="202257"/>
                </a:cubicBezTo>
                <a:lnTo>
                  <a:pt x="347927" y="250029"/>
                </a:lnTo>
                <a:cubicBezTo>
                  <a:pt x="345174" y="255184"/>
                  <a:pt x="345346" y="261370"/>
                  <a:pt x="348271" y="266354"/>
                </a:cubicBezTo>
                <a:cubicBezTo>
                  <a:pt x="351196" y="271337"/>
                  <a:pt x="356530" y="274430"/>
                  <a:pt x="362381" y="274430"/>
                </a:cubicBezTo>
                <a:lnTo>
                  <a:pt x="372361" y="274430"/>
                </a:lnTo>
                <a:cubicBezTo>
                  <a:pt x="364962" y="333028"/>
                  <a:pt x="318503" y="379425"/>
                  <a:pt x="259827" y="386814"/>
                </a:cubicBezTo>
                <a:lnTo>
                  <a:pt x="259827" y="148643"/>
                </a:lnTo>
                <a:cubicBezTo>
                  <a:pt x="278066" y="141941"/>
                  <a:pt x="291316" y="124585"/>
                  <a:pt x="291316" y="103964"/>
                </a:cubicBezTo>
                <a:cubicBezTo>
                  <a:pt x="291316" y="77672"/>
                  <a:pt x="269807" y="56364"/>
                  <a:pt x="243480" y="56364"/>
                </a:cubicBezTo>
                <a:close/>
                <a:moveTo>
                  <a:pt x="242620" y="0"/>
                </a:moveTo>
                <a:cubicBezTo>
                  <a:pt x="376319" y="0"/>
                  <a:pt x="485067" y="108604"/>
                  <a:pt x="485067" y="242296"/>
                </a:cubicBezTo>
                <a:cubicBezTo>
                  <a:pt x="485067" y="262401"/>
                  <a:pt x="482314" y="283022"/>
                  <a:pt x="476980" y="303815"/>
                </a:cubicBezTo>
                <a:cubicBezTo>
                  <a:pt x="475603" y="309486"/>
                  <a:pt x="439641" y="457097"/>
                  <a:pt x="255697" y="597835"/>
                </a:cubicBezTo>
                <a:cubicBezTo>
                  <a:pt x="254320" y="599382"/>
                  <a:pt x="252772" y="600585"/>
                  <a:pt x="250879" y="601444"/>
                </a:cubicBezTo>
                <a:cubicBezTo>
                  <a:pt x="248470" y="602647"/>
                  <a:pt x="245717" y="603334"/>
                  <a:pt x="242964" y="603334"/>
                </a:cubicBezTo>
                <a:cubicBezTo>
                  <a:pt x="242620" y="603334"/>
                  <a:pt x="242103" y="603334"/>
                  <a:pt x="241587" y="603334"/>
                </a:cubicBezTo>
                <a:cubicBezTo>
                  <a:pt x="239350" y="603162"/>
                  <a:pt x="237285" y="602647"/>
                  <a:pt x="235221" y="601616"/>
                </a:cubicBezTo>
                <a:cubicBezTo>
                  <a:pt x="233156" y="600585"/>
                  <a:pt x="231435" y="599210"/>
                  <a:pt x="230059" y="597491"/>
                </a:cubicBezTo>
                <a:cubicBezTo>
                  <a:pt x="147809" y="534426"/>
                  <a:pt x="81562" y="456066"/>
                  <a:pt x="33382" y="364303"/>
                </a:cubicBezTo>
                <a:cubicBezTo>
                  <a:pt x="23918" y="348494"/>
                  <a:pt x="10324" y="310689"/>
                  <a:pt x="8776" y="306564"/>
                </a:cubicBezTo>
                <a:cubicBezTo>
                  <a:pt x="8260" y="305190"/>
                  <a:pt x="7915" y="303815"/>
                  <a:pt x="7743" y="302440"/>
                </a:cubicBezTo>
                <a:cubicBezTo>
                  <a:pt x="2581" y="282335"/>
                  <a:pt x="0" y="262058"/>
                  <a:pt x="0" y="242296"/>
                </a:cubicBezTo>
                <a:cubicBezTo>
                  <a:pt x="0" y="108604"/>
                  <a:pt x="108749" y="0"/>
                  <a:pt x="242620" y="0"/>
                </a:cubicBezTo>
                <a:close/>
              </a:path>
            </a:pathLst>
          </a:custGeom>
          <a:solidFill>
            <a:srgbClr val="7F7F7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schemeClr val="bg1">
                  <a:lumMod val="50000"/>
                </a:schemeClr>
              </a:solidFill>
              <a:effectLst/>
              <a:uLnTx/>
              <a:uFillTx/>
              <a:cs typeface="+mn-ea"/>
              <a:sym typeface="+mn-lt"/>
            </a:endParaRPr>
          </a:p>
        </p:txBody>
      </p:sp>
      <p:sp>
        <p:nvSpPr>
          <p:cNvPr id="237" name="圆角矩形 236"/>
          <p:cNvSpPr/>
          <p:nvPr/>
        </p:nvSpPr>
        <p:spPr>
          <a:xfrm>
            <a:off x="8083636" y="2476767"/>
            <a:ext cx="3255524" cy="572259"/>
          </a:xfrm>
          <a:prstGeom prst="roundRect">
            <a:avLst>
              <a:gd name="adj" fmla="val 50000"/>
            </a:avLst>
          </a:prstGeom>
          <a:noFill/>
          <a:ln w="9525" cap="rnd"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1" i="0" u="none" strike="noStrike" kern="0" cap="none" spc="0" normalizeH="0" baseline="0" noProof="0" dirty="0" smtClean="0">
                <a:ln>
                  <a:noFill/>
                </a:ln>
                <a:effectLst/>
                <a:uLnTx/>
                <a:uFillTx/>
                <a:latin typeface="Arial" panose="020B0604020202020204"/>
                <a:ea typeface="华文楷体" panose="02010600040101010101" charset="-122"/>
                <a:cs typeface="+mn-ea"/>
                <a:sym typeface="+mn-lt"/>
              </a:rPr>
              <a:t>xx</a:t>
            </a:r>
            <a:endParaRPr kumimoji="0" lang="en-US" altLang="zh-CN" sz="2400" b="1" i="0" u="none" strike="noStrike" kern="0" cap="none" spc="0" normalizeH="0" baseline="0" noProof="0" dirty="0" smtClean="0">
              <a:ln>
                <a:noFill/>
              </a:ln>
              <a:effectLst/>
              <a:uLnTx/>
              <a:uFillTx/>
              <a:latin typeface="Arial" panose="020B0604020202020204"/>
              <a:ea typeface="华文楷体" panose="02010600040101010101" charset="-122"/>
              <a:cs typeface="+mn-ea"/>
              <a:sym typeface="+mn-lt"/>
            </a:endParaRPr>
          </a:p>
        </p:txBody>
      </p:sp>
      <p:sp>
        <p:nvSpPr>
          <p:cNvPr id="238" name="矩形 237"/>
          <p:cNvSpPr/>
          <p:nvPr/>
        </p:nvSpPr>
        <p:spPr>
          <a:xfrm>
            <a:off x="3808877" y="5456967"/>
            <a:ext cx="3298763" cy="855781"/>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2400" b="1" i="0" u="none" strike="noStrike" kern="0" cap="none" spc="0" normalizeH="0" baseline="0" noProof="0" dirty="0" smtClean="0">
                <a:ln>
                  <a:noFill/>
                </a:ln>
                <a:solidFill>
                  <a:srgbClr val="FE8637"/>
                </a:solidFill>
                <a:uLnTx/>
                <a:uFillTx/>
                <a:latin typeface="Arial" panose="020B0604020202020204"/>
                <a:ea typeface="华文楷体" panose="02010600040101010101" charset="-122"/>
                <a:cs typeface="+mn-ea"/>
                <a:sym typeface="+mn-lt"/>
              </a:rPr>
              <a:t>三维感知集成平台</a:t>
            </a:r>
            <a:endParaRPr kumimoji="0" lang="en-US" altLang="zh-CN" sz="2400" b="1" i="0" u="none" strike="noStrike" kern="0" cap="none" spc="0" normalizeH="0" baseline="0" noProof="0" dirty="0" smtClean="0">
              <a:ln>
                <a:noFill/>
              </a:ln>
              <a:solidFill>
                <a:srgbClr val="FE8637"/>
              </a:solidFill>
              <a:uLnTx/>
              <a:uFillTx/>
              <a:latin typeface="Arial" panose="020B0604020202020204"/>
              <a:ea typeface="华文楷体" panose="02010600040101010101" charset="-122"/>
              <a:cs typeface="+mn-ea"/>
              <a:sym typeface="+mn-lt"/>
            </a:endParaRPr>
          </a:p>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2000" b="1" i="0" u="none" strike="noStrike" kern="0" cap="none" spc="0" normalizeH="0" baseline="0" noProof="0" dirty="0" smtClean="0">
                <a:ln>
                  <a:noFill/>
                </a:ln>
                <a:solidFill>
                  <a:schemeClr val="tx1">
                    <a:lumMod val="75000"/>
                    <a:lumOff val="25000"/>
                  </a:schemeClr>
                </a:solidFill>
                <a:effectLst/>
                <a:uLnTx/>
                <a:uFillTx/>
                <a:latin typeface="Arial" panose="020B0604020202020204"/>
                <a:ea typeface="华文楷体" panose="02010600040101010101" charset="-122"/>
                <a:cs typeface="+mn-ea"/>
                <a:sym typeface="+mn-lt"/>
              </a:rPr>
              <a:t>“全量、全局、全时” </a:t>
            </a:r>
            <a:endParaRPr kumimoji="0" lang="zh-CN" altLang="en-US" sz="2000" b="1" i="0" u="none" strike="noStrike" kern="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Arial" panose="020B0604020202020204"/>
              <a:ea typeface="华文楷体" panose="02010600040101010101" charset="-122"/>
              <a:cs typeface="+mn-ea"/>
              <a:sym typeface="+mn-lt"/>
            </a:endParaRPr>
          </a:p>
        </p:txBody>
      </p:sp>
      <p:sp>
        <p:nvSpPr>
          <p:cNvPr id="239" name="文本框 115"/>
          <p:cNvSpPr txBox="1"/>
          <p:nvPr/>
        </p:nvSpPr>
        <p:spPr>
          <a:xfrm>
            <a:off x="4143852" y="995169"/>
            <a:ext cx="2465311" cy="3325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1" i="0" u="none" strike="noStrike" kern="0" cap="none" spc="0" normalizeH="0" baseline="0" noProof="0" smtClean="0">
                <a:ln>
                  <a:noFill/>
                </a:ln>
                <a:solidFill>
                  <a:srgbClr val="FE8637"/>
                </a:solidFill>
                <a:effectLst/>
                <a:uLnTx/>
                <a:uFillTx/>
                <a:latin typeface="Arial" panose="020B0604020202020204"/>
                <a:ea typeface="华文楷体" panose="02010600040101010101" charset="-122"/>
                <a:cs typeface="+mn-ea"/>
                <a:sym typeface="+mn-lt"/>
              </a:rPr>
              <a:t>1</a:t>
            </a:r>
            <a:r>
              <a:rPr kumimoji="0" lang="zh-CN" altLang="en-US" sz="2400" b="1" i="0" u="none" strike="noStrike" kern="0" cap="none" spc="0" normalizeH="0" baseline="0" noProof="0" smtClean="0">
                <a:ln>
                  <a:noFill/>
                </a:ln>
                <a:solidFill>
                  <a:srgbClr val="FE8637"/>
                </a:solidFill>
                <a:effectLst/>
                <a:uLnTx/>
                <a:uFillTx/>
                <a:latin typeface="Arial" panose="020B0604020202020204"/>
                <a:ea typeface="华文楷体" panose="02010600040101010101" charset="-122"/>
                <a:cs typeface="+mn-ea"/>
                <a:sym typeface="+mn-lt"/>
              </a:rPr>
              <a:t>模型</a:t>
            </a:r>
            <a:r>
              <a:rPr kumimoji="0" lang="en-US" altLang="zh-CN" sz="2400" b="1" i="0" u="none" strike="noStrike" kern="0" cap="none" spc="0" normalizeH="0" baseline="0" noProof="0" smtClean="0">
                <a:ln>
                  <a:noFill/>
                </a:ln>
                <a:solidFill>
                  <a:srgbClr val="FE8637"/>
                </a:solidFill>
                <a:effectLst/>
                <a:uLnTx/>
                <a:uFillTx/>
                <a:latin typeface="Arial" panose="020B0604020202020204"/>
                <a:ea typeface="华文楷体" panose="02010600040101010101" charset="-122"/>
                <a:cs typeface="+mn-ea"/>
                <a:sym typeface="+mn-lt"/>
              </a:rPr>
              <a:t>+1</a:t>
            </a:r>
            <a:r>
              <a:rPr kumimoji="0" lang="zh-CN" altLang="en-US" sz="2400" b="1" i="0" u="none" strike="noStrike" kern="0" cap="none" spc="0" normalizeH="0" baseline="0" noProof="0" smtClean="0">
                <a:ln>
                  <a:noFill/>
                </a:ln>
                <a:solidFill>
                  <a:srgbClr val="FE8637"/>
                </a:solidFill>
                <a:effectLst/>
                <a:uLnTx/>
                <a:uFillTx/>
                <a:latin typeface="Arial" panose="020B0604020202020204"/>
                <a:ea typeface="华文楷体" panose="02010600040101010101" charset="-122"/>
                <a:cs typeface="+mn-ea"/>
                <a:sym typeface="+mn-lt"/>
              </a:rPr>
              <a:t>平台</a:t>
            </a:r>
            <a:endParaRPr kumimoji="0" lang="zh-CN" altLang="en-US" sz="2400" b="1" i="0" u="none" strike="noStrike" kern="0" cap="none" spc="0" normalizeH="0" baseline="0" noProof="0" dirty="0" err="1" smtClean="0">
              <a:ln>
                <a:noFill/>
              </a:ln>
              <a:solidFill>
                <a:srgbClr val="FE8637"/>
              </a:solidFill>
              <a:effectLst/>
              <a:uLnTx/>
              <a:uFillTx/>
              <a:latin typeface="Arial" panose="020B0604020202020204"/>
              <a:ea typeface="华文楷体" panose="02010600040101010101" charset="-122"/>
              <a:cs typeface="+mn-ea"/>
              <a:sym typeface="+mn-lt"/>
            </a:endParaRPr>
          </a:p>
        </p:txBody>
      </p:sp>
      <p:sp>
        <p:nvSpPr>
          <p:cNvPr id="240" name="任意多边形 239"/>
          <p:cNvSpPr/>
          <p:nvPr/>
        </p:nvSpPr>
        <p:spPr>
          <a:xfrm>
            <a:off x="10683253" y="3860930"/>
            <a:ext cx="44707" cy="237989"/>
          </a:xfrm>
          <a:custGeom>
            <a:avLst/>
            <a:gdLst>
              <a:gd name="connsiteX0" fmla="*/ 0 w 0"/>
              <a:gd name="connsiteY0" fmla="*/ 482600 h 482600"/>
              <a:gd name="connsiteX1" fmla="*/ 0 w 0"/>
              <a:gd name="connsiteY1" fmla="*/ 0 h 482600"/>
            </a:gdLst>
            <a:ahLst/>
            <a:cxnLst>
              <a:cxn ang="0">
                <a:pos x="connsiteX0" y="connsiteY0"/>
              </a:cxn>
              <a:cxn ang="0">
                <a:pos x="connsiteX1" y="connsiteY1"/>
              </a:cxn>
            </a:cxnLst>
            <a:rect l="l" t="t" r="r" b="b"/>
            <a:pathLst>
              <a:path h="482600">
                <a:moveTo>
                  <a:pt x="0" y="482600"/>
                </a:moveTo>
                <a:lnTo>
                  <a:pt x="0" y="0"/>
                </a:lnTo>
              </a:path>
            </a:pathLst>
          </a:custGeom>
          <a:noFill/>
          <a:ln w="9525" cap="rnd" cmpd="sng" algn="ctr">
            <a:solidFill>
              <a:schemeClr val="bg1">
                <a:lumMod val="75000"/>
              </a:schemeClr>
            </a:solidFill>
            <a:prstDash val="solid"/>
            <a:round/>
            <a:headEnd type="oval"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effectLst/>
              <a:uLnTx/>
              <a:uFillTx/>
              <a:latin typeface="Arial" panose="020B0604020202020204"/>
              <a:ea typeface="华文楷体" panose="02010600040101010101" charset="-122"/>
              <a:cs typeface="+mn-ea"/>
              <a:sym typeface="+mn-lt"/>
            </a:endParaRPr>
          </a:p>
        </p:txBody>
      </p:sp>
      <p:sp>
        <p:nvSpPr>
          <p:cNvPr id="241" name="任意多边形 240"/>
          <p:cNvSpPr/>
          <p:nvPr/>
        </p:nvSpPr>
        <p:spPr>
          <a:xfrm>
            <a:off x="7921516" y="3860930"/>
            <a:ext cx="44707" cy="284937"/>
          </a:xfrm>
          <a:custGeom>
            <a:avLst/>
            <a:gdLst>
              <a:gd name="connsiteX0" fmla="*/ 0 w 0"/>
              <a:gd name="connsiteY0" fmla="*/ 482600 h 482600"/>
              <a:gd name="connsiteX1" fmla="*/ 0 w 0"/>
              <a:gd name="connsiteY1" fmla="*/ 0 h 482600"/>
            </a:gdLst>
            <a:ahLst/>
            <a:cxnLst>
              <a:cxn ang="0">
                <a:pos x="connsiteX0" y="connsiteY0"/>
              </a:cxn>
              <a:cxn ang="0">
                <a:pos x="connsiteX1" y="connsiteY1"/>
              </a:cxn>
            </a:cxnLst>
            <a:rect l="l" t="t" r="r" b="b"/>
            <a:pathLst>
              <a:path h="482600">
                <a:moveTo>
                  <a:pt x="0" y="482600"/>
                </a:moveTo>
                <a:lnTo>
                  <a:pt x="0" y="0"/>
                </a:lnTo>
              </a:path>
            </a:pathLst>
          </a:custGeom>
          <a:noFill/>
          <a:ln w="9525" cap="rnd" cmpd="sng" algn="ctr">
            <a:solidFill>
              <a:sysClr val="window" lastClr="FFFFFF"/>
            </a:solidFill>
            <a:prstDash val="solid"/>
            <a:round/>
            <a:headEnd type="oval"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endParaRPr>
          </a:p>
        </p:txBody>
      </p:sp>
      <p:cxnSp>
        <p:nvCxnSpPr>
          <p:cNvPr id="242" name="肘形连接符 241"/>
          <p:cNvCxnSpPr/>
          <p:nvPr/>
        </p:nvCxnSpPr>
        <p:spPr>
          <a:xfrm rot="10800000" flipV="1">
            <a:off x="7921516" y="2796179"/>
            <a:ext cx="98961" cy="1121950"/>
          </a:xfrm>
          <a:prstGeom prst="bentConnector2">
            <a:avLst/>
          </a:prstGeom>
          <a:noFill/>
          <a:ln w="9525" cap="rnd" cmpd="sng" algn="ctr">
            <a:solidFill>
              <a:schemeClr val="bg1">
                <a:lumMod val="75000"/>
              </a:schemeClr>
            </a:solidFill>
            <a:prstDash val="solid"/>
            <a:round/>
            <a:headEnd type="oval" w="med" len="med"/>
            <a:tailEnd type="none" w="med" len="med"/>
          </a:ln>
          <a:effectLst/>
        </p:spPr>
      </p:cxnSp>
      <p:sp>
        <p:nvSpPr>
          <p:cNvPr id="243" name="任意多边形 242"/>
          <p:cNvSpPr/>
          <p:nvPr/>
        </p:nvSpPr>
        <p:spPr>
          <a:xfrm>
            <a:off x="11505205" y="3860930"/>
            <a:ext cx="44707" cy="284937"/>
          </a:xfrm>
          <a:custGeom>
            <a:avLst/>
            <a:gdLst>
              <a:gd name="connsiteX0" fmla="*/ 0 w 0"/>
              <a:gd name="connsiteY0" fmla="*/ 482600 h 482600"/>
              <a:gd name="connsiteX1" fmla="*/ 0 w 0"/>
              <a:gd name="connsiteY1" fmla="*/ 0 h 482600"/>
            </a:gdLst>
            <a:ahLst/>
            <a:cxnLst>
              <a:cxn ang="0">
                <a:pos x="connsiteX0" y="connsiteY0"/>
              </a:cxn>
              <a:cxn ang="0">
                <a:pos x="connsiteX1" y="connsiteY1"/>
              </a:cxn>
            </a:cxnLst>
            <a:rect l="l" t="t" r="r" b="b"/>
            <a:pathLst>
              <a:path h="482600">
                <a:moveTo>
                  <a:pt x="0" y="482600"/>
                </a:moveTo>
                <a:lnTo>
                  <a:pt x="0" y="0"/>
                </a:lnTo>
              </a:path>
            </a:pathLst>
          </a:custGeom>
          <a:noFill/>
          <a:ln w="9525" cap="rnd" cmpd="sng" algn="ctr">
            <a:solidFill>
              <a:sysClr val="window" lastClr="FFFFFF"/>
            </a:solidFill>
            <a:prstDash val="solid"/>
            <a:round/>
            <a:headEnd type="oval"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endParaRPr>
          </a:p>
        </p:txBody>
      </p:sp>
      <p:cxnSp>
        <p:nvCxnSpPr>
          <p:cNvPr id="244" name="肘形连接符 243"/>
          <p:cNvCxnSpPr>
            <a:stCxn id="140" idx="3"/>
            <a:endCxn id="243" idx="1"/>
          </p:cNvCxnSpPr>
          <p:nvPr/>
        </p:nvCxnSpPr>
        <p:spPr>
          <a:xfrm>
            <a:off x="11368613" y="1953422"/>
            <a:ext cx="136592" cy="1907508"/>
          </a:xfrm>
          <a:prstGeom prst="bentConnector3">
            <a:avLst>
              <a:gd name="adj1" fmla="val 94223"/>
            </a:avLst>
          </a:prstGeom>
          <a:noFill/>
          <a:ln w="9525" cap="rnd" cmpd="sng" algn="ctr">
            <a:solidFill>
              <a:schemeClr val="bg1">
                <a:lumMod val="75000"/>
              </a:schemeClr>
            </a:solidFill>
            <a:prstDash val="solid"/>
            <a:round/>
            <a:headEnd type="oval" w="med" len="med"/>
            <a:tailEnd type="none" w="med" len="med"/>
          </a:ln>
          <a:effectLst/>
        </p:spPr>
      </p:cxnSp>
      <p:sp>
        <p:nvSpPr>
          <p:cNvPr id="245" name="矩形 244"/>
          <p:cNvSpPr/>
          <p:nvPr/>
        </p:nvSpPr>
        <p:spPr>
          <a:xfrm>
            <a:off x="8720395" y="987117"/>
            <a:ext cx="2481851" cy="397560"/>
          </a:xfrm>
          <a:prstGeom prst="rect">
            <a:avLst/>
          </a:prstGeom>
          <a:noFill/>
          <a:ln w="19050"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2000" b="1" kern="0" dirty="0">
                <a:cs typeface="+mn-ea"/>
                <a:sym typeface="+mn-lt"/>
              </a:rPr>
              <a:t>结果输出</a:t>
            </a:r>
            <a:endParaRPr lang="zh-CN" altLang="en-US" sz="2000" b="1" kern="0" dirty="0">
              <a:cs typeface="+mn-ea"/>
              <a:sym typeface="+mn-lt"/>
            </a:endParaRPr>
          </a:p>
        </p:txBody>
      </p:sp>
      <p:cxnSp>
        <p:nvCxnSpPr>
          <p:cNvPr id="246" name="直接连接符 245"/>
          <p:cNvCxnSpPr/>
          <p:nvPr/>
        </p:nvCxnSpPr>
        <p:spPr>
          <a:xfrm>
            <a:off x="7792901" y="1395931"/>
            <a:ext cx="3959698" cy="0"/>
          </a:xfrm>
          <a:prstGeom prst="line">
            <a:avLst/>
          </a:prstGeom>
          <a:noFill/>
          <a:ln w="12700" cap="rnd" cmpd="sng" algn="ctr">
            <a:solidFill>
              <a:schemeClr val="bg1">
                <a:lumMod val="75000"/>
              </a:schemeClr>
            </a:solidFill>
            <a:prstDash val="solid"/>
            <a:round/>
          </a:ln>
          <a:effectLst/>
        </p:spPr>
      </p:cxnSp>
      <p:sp>
        <p:nvSpPr>
          <p:cNvPr id="248" name="梯形 247"/>
          <p:cNvSpPr/>
          <p:nvPr/>
        </p:nvSpPr>
        <p:spPr>
          <a:xfrm>
            <a:off x="3808876" y="4165869"/>
            <a:ext cx="3298763" cy="1216152"/>
          </a:xfrm>
          <a:prstGeom prst="trapezoid">
            <a:avLst>
              <a:gd name="adj" fmla="val 77910"/>
            </a:avLst>
          </a:prstGeom>
          <a:gradFill>
            <a:gsLst>
              <a:gs pos="32000">
                <a:sysClr val="window" lastClr="FFFFFF">
                  <a:alpha val="0"/>
                </a:sysClr>
              </a:gs>
              <a:gs pos="100000">
                <a:sysClr val="window" lastClr="FFFFFF">
                  <a:alpha val="33000"/>
                </a:sysClr>
              </a:gs>
            </a:gsLst>
            <a:lin ang="540000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3" name="文本框 2"/>
          <p:cNvSpPr txBox="1"/>
          <p:nvPr/>
        </p:nvSpPr>
        <p:spPr>
          <a:xfrm>
            <a:off x="8083636" y="4509207"/>
            <a:ext cx="3668963" cy="14840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dirty="0" smtClean="0">
                <a:solidFill>
                  <a:srgbClr val="575757"/>
                </a:solidFill>
              </a:rPr>
              <a:t>图片</a:t>
            </a:r>
            <a:endParaRPr lang="zh-CN" altLang="en-US" dirty="0" smtClean="0">
              <a:solidFill>
                <a:srgbClr val="575757"/>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模型</a:t>
            </a:r>
            <a:endParaRPr lang="zh-CN" altLang="en-US" sz="2400" dirty="0">
              <a:solidFill>
                <a:prstClr val="black"/>
              </a:solidFill>
              <a:latin typeface="华文楷体" panose="02010600040101010101" charset="-122"/>
            </a:endParaRPr>
          </a:p>
        </p:txBody>
      </p:sp>
      <p:grpSp>
        <p:nvGrpSpPr>
          <p:cNvPr id="3" name="组合 2"/>
          <p:cNvGrpSpPr/>
          <p:nvPr/>
        </p:nvGrpSpPr>
        <p:grpSpPr>
          <a:xfrm>
            <a:off x="0" y="1020450"/>
            <a:ext cx="2901245" cy="5012265"/>
            <a:chOff x="-1" y="609602"/>
            <a:chExt cx="2901245" cy="5012265"/>
          </a:xfrm>
          <a:solidFill>
            <a:schemeClr val="bg1">
              <a:lumMod val="85000"/>
              <a:lumOff val="15000"/>
            </a:schemeClr>
          </a:solidFill>
        </p:grpSpPr>
        <p:sp>
          <p:nvSpPr>
            <p:cNvPr id="4" name="íṥļíḑe"/>
            <p:cNvSpPr/>
            <p:nvPr/>
          </p:nvSpPr>
          <p:spPr>
            <a:xfrm flipH="1">
              <a:off x="-1" y="4368800"/>
              <a:ext cx="2896261" cy="125306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30" y="840"/>
                  </a:lnTo>
                  <a:lnTo>
                    <a:pt x="21600" y="21600"/>
                  </a:lnTo>
                  <a:lnTo>
                    <a:pt x="21591" y="15894"/>
                  </a:lnTo>
                  <a:lnTo>
                    <a:pt x="0" y="0"/>
                  </a:lnTo>
                  <a:close/>
                </a:path>
              </a:pathLst>
            </a:custGeom>
            <a:grpFill/>
            <a:ln w="12700" cap="flat">
              <a:noFill/>
              <a:miter lim="400000"/>
            </a:ln>
            <a:effectLst/>
          </p:spPr>
          <p:txBody>
            <a:bodyPr anchor="ctr"/>
            <a:lstStyle/>
            <a:p>
              <a:pPr algn="ctr"/>
              <a:endParaRPr>
                <a:cs typeface="+mn-ea"/>
                <a:sym typeface="+mn-lt"/>
              </a:endParaRPr>
            </a:p>
          </p:txBody>
        </p:sp>
        <p:sp>
          <p:nvSpPr>
            <p:cNvPr id="5" name="ïslîḓè"/>
            <p:cNvSpPr/>
            <p:nvPr/>
          </p:nvSpPr>
          <p:spPr>
            <a:xfrm flipH="1">
              <a:off x="7" y="3635022"/>
              <a:ext cx="2891443" cy="873098"/>
            </a:xfrm>
            <a:custGeom>
              <a:avLst/>
              <a:gdLst/>
              <a:ahLst/>
              <a:cxnLst>
                <a:cxn ang="0">
                  <a:pos x="wd2" y="hd2"/>
                </a:cxn>
                <a:cxn ang="5400000">
                  <a:pos x="wd2" y="hd2"/>
                </a:cxn>
                <a:cxn ang="10800000">
                  <a:pos x="wd2" y="hd2"/>
                </a:cxn>
                <a:cxn ang="16200000">
                  <a:pos x="wd2" y="hd2"/>
                </a:cxn>
              </a:cxnLst>
              <a:rect l="0" t="0" r="r" b="b"/>
              <a:pathLst>
                <a:path w="21600" h="21600" extrusionOk="0">
                  <a:moveTo>
                    <a:pt x="4" y="0"/>
                  </a:moveTo>
                  <a:lnTo>
                    <a:pt x="0" y="1391"/>
                  </a:lnTo>
                  <a:lnTo>
                    <a:pt x="21600" y="21600"/>
                  </a:lnTo>
                  <a:lnTo>
                    <a:pt x="21600" y="12014"/>
                  </a:lnTo>
                  <a:lnTo>
                    <a:pt x="4" y="0"/>
                  </a:lnTo>
                  <a:close/>
                </a:path>
              </a:pathLst>
            </a:custGeom>
            <a:grpFill/>
            <a:ln w="12700" cap="flat">
              <a:noFill/>
              <a:miter lim="400000"/>
            </a:ln>
            <a:effectLst/>
          </p:spPr>
          <p:txBody>
            <a:bodyPr anchor="ctr"/>
            <a:lstStyle/>
            <a:p>
              <a:pPr algn="ctr"/>
              <a:endParaRPr>
                <a:cs typeface="+mn-ea"/>
                <a:sym typeface="+mn-lt"/>
              </a:endParaRPr>
            </a:p>
          </p:txBody>
        </p:sp>
        <p:sp>
          <p:nvSpPr>
            <p:cNvPr id="6" name="í$ļîḍe"/>
            <p:cNvSpPr/>
            <p:nvPr/>
          </p:nvSpPr>
          <p:spPr>
            <a:xfrm flipH="1">
              <a:off x="6" y="2864476"/>
              <a:ext cx="2899352" cy="519559"/>
            </a:xfrm>
            <a:custGeom>
              <a:avLst/>
              <a:gdLst/>
              <a:ahLst/>
              <a:cxnLst>
                <a:cxn ang="0">
                  <a:pos x="wd2" y="hd2"/>
                </a:cxn>
                <a:cxn ang="5400000">
                  <a:pos x="wd2" y="hd2"/>
                </a:cxn>
                <a:cxn ang="10800000">
                  <a:pos x="wd2" y="hd2"/>
                </a:cxn>
                <a:cxn ang="16200000">
                  <a:pos x="wd2" y="hd2"/>
                </a:cxn>
              </a:cxnLst>
              <a:rect l="0" t="0" r="r" b="b"/>
              <a:pathLst>
                <a:path w="21600" h="21600" extrusionOk="0">
                  <a:moveTo>
                    <a:pt x="61" y="8656"/>
                  </a:moveTo>
                  <a:lnTo>
                    <a:pt x="21589" y="0"/>
                  </a:lnTo>
                  <a:lnTo>
                    <a:pt x="21600" y="21600"/>
                  </a:lnTo>
                  <a:lnTo>
                    <a:pt x="0" y="11830"/>
                  </a:lnTo>
                  <a:lnTo>
                    <a:pt x="61" y="8656"/>
                  </a:lnTo>
                  <a:close/>
                </a:path>
              </a:pathLst>
            </a:custGeom>
            <a:grpFill/>
            <a:ln w="12700" cap="flat">
              <a:noFill/>
              <a:miter lim="400000"/>
            </a:ln>
            <a:effectLst/>
          </p:spPr>
          <p:txBody>
            <a:bodyPr anchor="ctr"/>
            <a:lstStyle/>
            <a:p>
              <a:pPr algn="ctr"/>
              <a:endParaRPr>
                <a:cs typeface="+mn-ea"/>
                <a:sym typeface="+mn-lt"/>
              </a:endParaRPr>
            </a:p>
          </p:txBody>
        </p:sp>
        <p:sp>
          <p:nvSpPr>
            <p:cNvPr id="7" name="ïṣḻîďê"/>
            <p:cNvSpPr/>
            <p:nvPr/>
          </p:nvSpPr>
          <p:spPr>
            <a:xfrm flipH="1">
              <a:off x="2" y="1726997"/>
              <a:ext cx="2896446" cy="835581"/>
            </a:xfrm>
            <a:custGeom>
              <a:avLst/>
              <a:gdLst/>
              <a:ahLst/>
              <a:cxnLst>
                <a:cxn ang="0">
                  <a:pos x="wd2" y="hd2"/>
                </a:cxn>
                <a:cxn ang="5400000">
                  <a:pos x="wd2" y="hd2"/>
                </a:cxn>
                <a:cxn ang="10800000">
                  <a:pos x="wd2" y="hd2"/>
                </a:cxn>
                <a:cxn ang="16200000">
                  <a:pos x="wd2" y="hd2"/>
                </a:cxn>
              </a:cxnLst>
              <a:rect l="0" t="0" r="r" b="b"/>
              <a:pathLst>
                <a:path w="21600" h="21600" extrusionOk="0">
                  <a:moveTo>
                    <a:pt x="27" y="20157"/>
                  </a:moveTo>
                  <a:lnTo>
                    <a:pt x="21588" y="0"/>
                  </a:lnTo>
                  <a:lnTo>
                    <a:pt x="21600" y="9767"/>
                  </a:lnTo>
                  <a:lnTo>
                    <a:pt x="0" y="21600"/>
                  </a:lnTo>
                  <a:lnTo>
                    <a:pt x="27" y="20157"/>
                  </a:lnTo>
                  <a:close/>
                </a:path>
              </a:pathLst>
            </a:custGeom>
            <a:grpFill/>
            <a:ln w="12700" cap="flat">
              <a:noFill/>
              <a:miter lim="400000"/>
            </a:ln>
            <a:effectLst/>
          </p:spPr>
          <p:txBody>
            <a:bodyPr anchor="ctr"/>
            <a:lstStyle/>
            <a:p>
              <a:pPr algn="ctr"/>
              <a:endParaRPr>
                <a:cs typeface="+mn-ea"/>
                <a:sym typeface="+mn-lt"/>
              </a:endParaRPr>
            </a:p>
          </p:txBody>
        </p:sp>
        <p:sp>
          <p:nvSpPr>
            <p:cNvPr id="8" name="îṥ1îḋê"/>
            <p:cNvSpPr/>
            <p:nvPr/>
          </p:nvSpPr>
          <p:spPr>
            <a:xfrm flipH="1">
              <a:off x="5" y="609602"/>
              <a:ext cx="2901239" cy="1377242"/>
            </a:xfrm>
            <a:custGeom>
              <a:avLst/>
              <a:gdLst/>
              <a:ahLst/>
              <a:cxnLst>
                <a:cxn ang="0">
                  <a:pos x="wd2" y="hd2"/>
                </a:cxn>
                <a:cxn ang="5400000">
                  <a:pos x="wd2" y="hd2"/>
                </a:cxn>
                <a:cxn ang="10800000">
                  <a:pos x="wd2" y="hd2"/>
                </a:cxn>
                <a:cxn ang="16200000">
                  <a:pos x="wd2" y="hd2"/>
                </a:cxn>
              </a:cxnLst>
              <a:rect l="0" t="0" r="r" b="b"/>
              <a:pathLst>
                <a:path w="21600" h="21600" extrusionOk="0">
                  <a:moveTo>
                    <a:pt x="0" y="20728"/>
                  </a:moveTo>
                  <a:lnTo>
                    <a:pt x="21600" y="0"/>
                  </a:lnTo>
                  <a:lnTo>
                    <a:pt x="21591" y="5658"/>
                  </a:lnTo>
                  <a:lnTo>
                    <a:pt x="48" y="21600"/>
                  </a:lnTo>
                  <a:lnTo>
                    <a:pt x="0" y="20728"/>
                  </a:lnTo>
                  <a:close/>
                </a:path>
              </a:pathLst>
            </a:custGeom>
            <a:grpFill/>
            <a:ln w="12700" cap="flat">
              <a:noFill/>
              <a:miter lim="400000"/>
            </a:ln>
            <a:effectLst/>
          </p:spPr>
          <p:txBody>
            <a:bodyPr anchor="ctr"/>
            <a:lstStyle/>
            <a:p>
              <a:pPr algn="ctr"/>
              <a:endParaRPr>
                <a:cs typeface="+mn-ea"/>
                <a:sym typeface="+mn-lt"/>
              </a:endParaRPr>
            </a:p>
          </p:txBody>
        </p:sp>
      </p:grpSp>
      <p:grpSp>
        <p:nvGrpSpPr>
          <p:cNvPr id="9" name="组合 8"/>
          <p:cNvGrpSpPr/>
          <p:nvPr/>
        </p:nvGrpSpPr>
        <p:grpSpPr>
          <a:xfrm>
            <a:off x="6499481" y="2472270"/>
            <a:ext cx="3435056" cy="2108626"/>
            <a:chOff x="6499481" y="2348092"/>
            <a:chExt cx="3435056" cy="2108626"/>
          </a:xfrm>
        </p:grpSpPr>
        <p:sp>
          <p:nvSpPr>
            <p:cNvPr id="10" name="îŝḷïḓè"/>
            <p:cNvSpPr/>
            <p:nvPr/>
          </p:nvSpPr>
          <p:spPr>
            <a:xfrm>
              <a:off x="6499481" y="3260177"/>
              <a:ext cx="3435056" cy="273240"/>
            </a:xfrm>
            <a:prstGeom prst="rightArrow">
              <a:avLst>
                <a:gd name="adj1" fmla="val 42611"/>
                <a:gd name="adj2" fmla="val 85179"/>
              </a:avLst>
            </a:prstGeom>
            <a:solidFill>
              <a:schemeClr val="bg1">
                <a:lumMod val="85000"/>
                <a:lumOff val="15000"/>
              </a:schemeClr>
            </a:solidFill>
            <a:ln w="12700" cap="flat">
              <a:noFill/>
              <a:miter lim="400000"/>
            </a:ln>
            <a:effectLst/>
          </p:spPr>
          <p:txBody>
            <a:bodyPr anchor="ctr"/>
            <a:lstStyle/>
            <a:p>
              <a:pPr algn="ctr"/>
              <a:endParaRPr>
                <a:cs typeface="+mn-ea"/>
                <a:sym typeface="+mn-lt"/>
              </a:endParaRPr>
            </a:p>
          </p:txBody>
        </p:sp>
        <p:sp>
          <p:nvSpPr>
            <p:cNvPr id="11" name="iṥlïḑe"/>
            <p:cNvSpPr/>
            <p:nvPr/>
          </p:nvSpPr>
          <p:spPr>
            <a:xfrm>
              <a:off x="6499481" y="3701251"/>
              <a:ext cx="3159606" cy="273240"/>
            </a:xfrm>
            <a:prstGeom prst="rightArrow">
              <a:avLst>
                <a:gd name="adj1" fmla="val 42611"/>
                <a:gd name="adj2" fmla="val 85179"/>
              </a:avLst>
            </a:prstGeom>
            <a:solidFill>
              <a:schemeClr val="bg1">
                <a:lumMod val="85000"/>
                <a:lumOff val="15000"/>
              </a:schemeClr>
            </a:solidFill>
            <a:ln w="12700" cap="flat">
              <a:noFill/>
              <a:miter lim="400000"/>
            </a:ln>
            <a:effectLst/>
          </p:spPr>
          <p:txBody>
            <a:bodyPr anchor="ctr"/>
            <a:lstStyle/>
            <a:p>
              <a:pPr algn="ctr"/>
              <a:endParaRPr>
                <a:cs typeface="+mn-ea"/>
                <a:sym typeface="+mn-lt"/>
              </a:endParaRPr>
            </a:p>
          </p:txBody>
        </p:sp>
        <p:sp>
          <p:nvSpPr>
            <p:cNvPr id="12" name="ïsľíḍé"/>
            <p:cNvSpPr/>
            <p:nvPr/>
          </p:nvSpPr>
          <p:spPr>
            <a:xfrm>
              <a:off x="6499481" y="2792605"/>
              <a:ext cx="3159606" cy="273240"/>
            </a:xfrm>
            <a:prstGeom prst="rightArrow">
              <a:avLst>
                <a:gd name="adj1" fmla="val 42611"/>
                <a:gd name="adj2" fmla="val 85179"/>
              </a:avLst>
            </a:prstGeom>
            <a:solidFill>
              <a:schemeClr val="bg1">
                <a:lumMod val="85000"/>
                <a:lumOff val="15000"/>
              </a:schemeClr>
            </a:solidFill>
            <a:ln w="12700" cap="flat">
              <a:noFill/>
              <a:miter lim="400000"/>
            </a:ln>
            <a:effectLst/>
          </p:spPr>
          <p:txBody>
            <a:bodyPr anchor="ctr"/>
            <a:lstStyle/>
            <a:p>
              <a:pPr algn="ctr"/>
              <a:endParaRPr>
                <a:cs typeface="+mn-ea"/>
                <a:sym typeface="+mn-lt"/>
              </a:endParaRPr>
            </a:p>
          </p:txBody>
        </p:sp>
        <p:sp>
          <p:nvSpPr>
            <p:cNvPr id="13" name="íŝlîḍé"/>
            <p:cNvSpPr/>
            <p:nvPr/>
          </p:nvSpPr>
          <p:spPr>
            <a:xfrm>
              <a:off x="6499481" y="4183475"/>
              <a:ext cx="3006259" cy="273243"/>
            </a:xfrm>
            <a:prstGeom prst="rightArrow">
              <a:avLst>
                <a:gd name="adj1" fmla="val 42611"/>
                <a:gd name="adj2" fmla="val 85179"/>
              </a:avLst>
            </a:prstGeom>
            <a:solidFill>
              <a:schemeClr val="bg1">
                <a:lumMod val="85000"/>
                <a:lumOff val="15000"/>
              </a:schemeClr>
            </a:solidFill>
            <a:ln w="12700" cap="flat">
              <a:noFill/>
              <a:miter lim="400000"/>
            </a:ln>
            <a:effectLst/>
          </p:spPr>
          <p:txBody>
            <a:bodyPr anchor="ctr"/>
            <a:lstStyle/>
            <a:p>
              <a:pPr algn="ctr"/>
              <a:endParaRPr>
                <a:cs typeface="+mn-ea"/>
                <a:sym typeface="+mn-lt"/>
              </a:endParaRPr>
            </a:p>
          </p:txBody>
        </p:sp>
        <p:sp>
          <p:nvSpPr>
            <p:cNvPr id="14" name="íṡḻîďè"/>
            <p:cNvSpPr/>
            <p:nvPr/>
          </p:nvSpPr>
          <p:spPr>
            <a:xfrm>
              <a:off x="6499481" y="2348092"/>
              <a:ext cx="3006259" cy="273240"/>
            </a:xfrm>
            <a:prstGeom prst="rightArrow">
              <a:avLst>
                <a:gd name="adj1" fmla="val 42611"/>
                <a:gd name="adj2" fmla="val 85179"/>
              </a:avLst>
            </a:prstGeom>
            <a:solidFill>
              <a:schemeClr val="bg1">
                <a:lumMod val="85000"/>
                <a:lumOff val="15000"/>
              </a:schemeClr>
            </a:solidFill>
            <a:ln w="12700" cap="flat">
              <a:noFill/>
              <a:miter lim="400000"/>
            </a:ln>
            <a:effectLst/>
          </p:spPr>
          <p:txBody>
            <a:bodyPr anchor="ctr"/>
            <a:lstStyle/>
            <a:p>
              <a:pPr algn="ctr"/>
              <a:endParaRPr>
                <a:cs typeface="+mn-ea"/>
                <a:sym typeface="+mn-lt"/>
              </a:endParaRPr>
            </a:p>
          </p:txBody>
        </p:sp>
      </p:grpSp>
      <p:grpSp>
        <p:nvGrpSpPr>
          <p:cNvPr id="15" name="组合 14"/>
          <p:cNvGrpSpPr/>
          <p:nvPr/>
        </p:nvGrpSpPr>
        <p:grpSpPr>
          <a:xfrm>
            <a:off x="1941689" y="4628444"/>
            <a:ext cx="7699022" cy="1777039"/>
            <a:chOff x="2596444" y="4538133"/>
            <a:chExt cx="6728178" cy="1777039"/>
          </a:xfrm>
        </p:grpSpPr>
        <p:sp>
          <p:nvSpPr>
            <p:cNvPr id="16" name="矩形 15"/>
            <p:cNvSpPr/>
            <p:nvPr/>
          </p:nvSpPr>
          <p:spPr>
            <a:xfrm>
              <a:off x="2596444" y="5784594"/>
              <a:ext cx="6728178" cy="53057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2400" b="1" dirty="0" smtClean="0">
                  <a:solidFill>
                    <a:srgbClr val="FE8637"/>
                  </a:solidFill>
                  <a:cs typeface="+mn-ea"/>
                  <a:sym typeface="+mn-lt"/>
                </a:rPr>
                <a:t>xx</a:t>
              </a:r>
              <a:r>
                <a:rPr lang="zh-CN" altLang="en-US" sz="2400" b="1" dirty="0" smtClean="0">
                  <a:solidFill>
                    <a:srgbClr val="FE8637"/>
                  </a:solidFill>
                  <a:cs typeface="+mn-ea"/>
                  <a:sym typeface="+mn-lt"/>
                </a:rPr>
                <a:t>统一</a:t>
              </a:r>
              <a:r>
                <a:rPr lang="zh-CN" altLang="en-US" sz="2400" b="1" dirty="0">
                  <a:solidFill>
                    <a:srgbClr val="FE8637"/>
                  </a:solidFill>
                  <a:cs typeface="+mn-ea"/>
                  <a:sym typeface="+mn-lt"/>
                </a:rPr>
                <a:t>平台</a:t>
              </a:r>
              <a:endParaRPr lang="zh-CN" altLang="en-US" sz="2400" b="1" dirty="0">
                <a:solidFill>
                  <a:schemeClr val="tx1"/>
                </a:solidFill>
                <a:cs typeface="+mn-ea"/>
                <a:sym typeface="+mn-lt"/>
              </a:endParaRPr>
            </a:p>
          </p:txBody>
        </p:sp>
        <p:sp>
          <p:nvSpPr>
            <p:cNvPr id="17" name="梯形 16"/>
            <p:cNvSpPr/>
            <p:nvPr/>
          </p:nvSpPr>
          <p:spPr>
            <a:xfrm>
              <a:off x="2596444" y="4538133"/>
              <a:ext cx="6728178" cy="1216152"/>
            </a:xfrm>
            <a:prstGeom prst="trapezoid">
              <a:avLst>
                <a:gd name="adj" fmla="val 77910"/>
              </a:avLst>
            </a:prstGeom>
            <a:gradFill>
              <a:gsLst>
                <a:gs pos="32000">
                  <a:schemeClr val="tx1">
                    <a:alpha val="0"/>
                  </a:schemeClr>
                </a:gs>
                <a:gs pos="100000">
                  <a:schemeClr val="tx1">
                    <a:alpha val="33000"/>
                  </a:schemeClr>
                </a:gs>
              </a:gsLst>
              <a:lin ang="54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grpSp>
      <p:sp>
        <p:nvSpPr>
          <p:cNvPr id="21" name="矩形 20"/>
          <p:cNvSpPr/>
          <p:nvPr/>
        </p:nvSpPr>
        <p:spPr>
          <a:xfrm>
            <a:off x="2433033" y="1297036"/>
            <a:ext cx="6631946" cy="4302924"/>
          </a:xfrm>
          <a:prstGeom prst="rect">
            <a:avLst/>
          </a:prstGeom>
          <a:noFill/>
          <a:ln w="9525" cap="rnd" cmpd="sng" algn="ctr">
            <a:solidFill>
              <a:schemeClr val="bg1">
                <a:lumMod val="50000"/>
                <a:lumOff val="50000"/>
              </a:schemeClr>
            </a:solidFill>
            <a:prstDash val="lg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white"/>
              </a:solidFill>
              <a:effectLst/>
              <a:uLnTx/>
              <a:uFillTx/>
              <a:cs typeface="+mn-ea"/>
              <a:sym typeface="+mn-lt"/>
            </a:endParaRPr>
          </a:p>
        </p:txBody>
      </p:sp>
      <p:sp>
        <p:nvSpPr>
          <p:cNvPr id="22" name="矩形 21"/>
          <p:cNvSpPr/>
          <p:nvPr/>
        </p:nvSpPr>
        <p:spPr>
          <a:xfrm>
            <a:off x="2888779" y="1569156"/>
            <a:ext cx="3624909" cy="3621008"/>
          </a:xfrm>
          <a:prstGeom prst="rect">
            <a:avLst/>
          </a:prstGeom>
          <a:noFill/>
          <a:ln w="9525" cap="rnd" cmpd="sng" algn="ctr">
            <a:solidFill>
              <a:schemeClr val="bg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2000" b="1" i="0" u="none" strike="noStrike" kern="1200" cap="none" spc="0" normalizeH="0" baseline="0" noProof="0" dirty="0">
              <a:ln>
                <a:noFill/>
              </a:ln>
              <a:solidFill>
                <a:prstClr val="white"/>
              </a:solidFill>
              <a:effectLst/>
              <a:uLnTx/>
              <a:uFillTx/>
              <a:cs typeface="+mn-ea"/>
              <a:sym typeface="+mn-lt"/>
            </a:endParaRPr>
          </a:p>
        </p:txBody>
      </p:sp>
      <p:grpSp>
        <p:nvGrpSpPr>
          <p:cNvPr id="23" name="组合 22"/>
          <p:cNvGrpSpPr/>
          <p:nvPr/>
        </p:nvGrpSpPr>
        <p:grpSpPr>
          <a:xfrm>
            <a:off x="6970512" y="1469629"/>
            <a:ext cx="1800000" cy="1798980"/>
            <a:chOff x="6722157" y="1345451"/>
            <a:chExt cx="1800000" cy="1798980"/>
          </a:xfrm>
        </p:grpSpPr>
        <p:sp>
          <p:nvSpPr>
            <p:cNvPr id="24" name="椭圆 23"/>
            <p:cNvSpPr/>
            <p:nvPr/>
          </p:nvSpPr>
          <p:spPr>
            <a:xfrm>
              <a:off x="6722157" y="1345451"/>
              <a:ext cx="1800000" cy="1798980"/>
            </a:xfrm>
            <a:prstGeom prst="ellipse">
              <a:avLst/>
            </a:prstGeom>
            <a:solidFill>
              <a:schemeClr val="bg1">
                <a:lumMod val="95000"/>
              </a:schemeClr>
            </a:solidFill>
            <a:ln w="41275" cap="rnd" cmpd="sng" algn="ctr">
              <a:gradFill flip="none" rotWithShape="1">
                <a:gsLst>
                  <a:gs pos="0">
                    <a:schemeClr val="accent1">
                      <a:lumMod val="67000"/>
                    </a:schemeClr>
                  </a:gs>
                  <a:gs pos="100000">
                    <a:schemeClr val="accent1">
                      <a:lumMod val="97000"/>
                      <a:lumOff val="3000"/>
                    </a:schemeClr>
                  </a:gs>
                </a:gsLst>
                <a:lin ang="162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smtClean="0">
                <a:ln>
                  <a:noFill/>
                </a:ln>
                <a:solidFill>
                  <a:srgbClr val="FE5817"/>
                </a:solidFill>
                <a:effectLst/>
                <a:uLnTx/>
                <a:uFillTx/>
                <a:cs typeface="+mn-ea"/>
                <a:sym typeface="+mn-lt"/>
              </a:endParaRPr>
            </a:p>
          </p:txBody>
        </p:sp>
        <p:sp>
          <p:nvSpPr>
            <p:cNvPr id="25" name="文本框 24"/>
            <p:cNvSpPr txBox="1"/>
            <p:nvPr/>
          </p:nvSpPr>
          <p:spPr>
            <a:xfrm>
              <a:off x="6786285" y="1569618"/>
              <a:ext cx="1671744" cy="6978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4000" b="1" i="0" u="none" strike="noStrike" kern="1200" cap="none" spc="0" normalizeH="0" baseline="0" noProof="0" dirty="0" smtClean="0">
                  <a:ln>
                    <a:noFill/>
                  </a:ln>
                  <a:solidFill>
                    <a:srgbClr val="FE5817"/>
                  </a:solidFill>
                  <a:effectLst/>
                  <a:uLnTx/>
                  <a:uFillTx/>
                  <a:cs typeface="+mn-ea"/>
                  <a:sym typeface="+mn-lt"/>
                </a:rPr>
                <a:t>1:1</a:t>
              </a:r>
              <a:endParaRPr kumimoji="0" lang="en-US" altLang="zh-CN" sz="4000" b="1" i="0" u="none" strike="noStrike" kern="1200" cap="none" spc="0" normalizeH="0" baseline="0" noProof="0" dirty="0" smtClean="0">
                <a:ln>
                  <a:noFill/>
                </a:ln>
                <a:solidFill>
                  <a:srgbClr val="FE5817"/>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rgbClr val="FE5817"/>
                  </a:solidFill>
                  <a:effectLst/>
                  <a:uLnTx/>
                  <a:uFillTx/>
                  <a:cs typeface="+mn-ea"/>
                  <a:sym typeface="+mn-lt"/>
                </a:rPr>
                <a:t>极速</a:t>
              </a:r>
              <a:r>
                <a:rPr kumimoji="0" lang="zh-CN" altLang="en-US" sz="2000" b="1" i="0" u="none" strike="noStrike" kern="1200" cap="none" spc="0" normalizeH="0" baseline="0" noProof="0" dirty="0" smtClean="0">
                  <a:ln>
                    <a:noFill/>
                  </a:ln>
                  <a:solidFill>
                    <a:srgbClr val="FE5817"/>
                  </a:solidFill>
                  <a:effectLst/>
                  <a:uLnTx/>
                  <a:uFillTx/>
                  <a:cs typeface="+mn-ea"/>
                  <a:sym typeface="+mn-lt"/>
                </a:rPr>
                <a:t>认证模型</a:t>
              </a:r>
              <a:endParaRPr kumimoji="0" lang="zh-CN" altLang="en-US" sz="2000" b="1" i="0" u="none" strike="noStrike" kern="1200" cap="none" spc="0" normalizeH="0" baseline="0" noProof="0" dirty="0" smtClean="0">
                <a:ln>
                  <a:noFill/>
                </a:ln>
                <a:solidFill>
                  <a:srgbClr val="FE5817"/>
                </a:solidFill>
                <a:effectLst/>
                <a:uLnTx/>
                <a:uFillTx/>
                <a:cs typeface="+mn-ea"/>
                <a:sym typeface="+mn-lt"/>
              </a:endParaRPr>
            </a:p>
          </p:txBody>
        </p:sp>
        <p:sp>
          <p:nvSpPr>
            <p:cNvPr id="26" name="文本框 25"/>
            <p:cNvSpPr txBox="1"/>
            <p:nvPr/>
          </p:nvSpPr>
          <p:spPr>
            <a:xfrm>
              <a:off x="6786285" y="2395938"/>
              <a:ext cx="1671744" cy="4893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i="0" u="none" strike="noStrike" kern="1200" cap="none" spc="0" normalizeH="0" baseline="0" noProof="0" dirty="0" smtClean="0">
                  <a:ln>
                    <a:noFill/>
                  </a:ln>
                  <a:solidFill>
                    <a:schemeClr val="tx1">
                      <a:lumMod val="75000"/>
                      <a:lumOff val="25000"/>
                    </a:schemeClr>
                  </a:solidFill>
                  <a:effectLst/>
                  <a:uLnTx/>
                  <a:uFillTx/>
                  <a:cs typeface="+mn-ea"/>
                  <a:sym typeface="+mn-lt"/>
                </a:rPr>
                <a:t>LFW</a:t>
              </a:r>
              <a:r>
                <a:rPr kumimoji="0" lang="zh-CN" altLang="en-US" sz="1400" i="0" u="none" strike="noStrike" kern="1200" cap="none" spc="0" normalizeH="0" baseline="0" noProof="0" dirty="0" smtClean="0">
                  <a:ln>
                    <a:noFill/>
                  </a:ln>
                  <a:solidFill>
                    <a:schemeClr val="tx1">
                      <a:lumMod val="75000"/>
                      <a:lumOff val="25000"/>
                    </a:schemeClr>
                  </a:solidFill>
                  <a:effectLst/>
                  <a:uLnTx/>
                  <a:uFillTx/>
                  <a:cs typeface="+mn-ea"/>
                  <a:sym typeface="+mn-lt"/>
                </a:rPr>
                <a:t>评测识别精度</a:t>
              </a:r>
              <a:endParaRPr kumimoji="0" lang="en-US" altLang="zh-CN" sz="1400" i="0" u="none" strike="noStrike" kern="1200" cap="none" spc="0" normalizeH="0" baseline="0" noProof="0" dirty="0" smtClean="0">
                <a:ln>
                  <a:noFill/>
                </a:ln>
                <a:solidFill>
                  <a:schemeClr val="tx1">
                    <a:lumMod val="75000"/>
                    <a:lumOff val="25000"/>
                  </a:schemeClr>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i="0" u="none" strike="noStrike" kern="1200" cap="none" spc="0" normalizeH="0" baseline="0" noProof="0" dirty="0" smtClean="0">
                  <a:ln>
                    <a:noFill/>
                  </a:ln>
                  <a:solidFill>
                    <a:schemeClr val="tx1">
                      <a:lumMod val="75000"/>
                      <a:lumOff val="25000"/>
                    </a:schemeClr>
                  </a:solidFill>
                  <a:effectLst/>
                  <a:uLnTx/>
                  <a:uFillTx/>
                  <a:cs typeface="+mn-ea"/>
                  <a:sym typeface="+mn-lt"/>
                </a:rPr>
                <a:t>世界第一</a:t>
              </a:r>
              <a:endParaRPr kumimoji="0" lang="zh-CN" altLang="en-US" sz="1400" i="0" u="none" strike="noStrike" kern="1200" cap="none" spc="0" normalizeH="0" baseline="0" noProof="0" dirty="0" smtClean="0">
                <a:ln>
                  <a:noFill/>
                </a:ln>
                <a:solidFill>
                  <a:schemeClr val="tx1">
                    <a:lumMod val="75000"/>
                    <a:lumOff val="25000"/>
                  </a:schemeClr>
                </a:solidFill>
                <a:effectLst/>
                <a:uLnTx/>
                <a:uFillTx/>
                <a:cs typeface="+mn-ea"/>
                <a:sym typeface="+mn-lt"/>
              </a:endParaRPr>
            </a:p>
          </p:txBody>
        </p:sp>
      </p:grpSp>
      <p:grpSp>
        <p:nvGrpSpPr>
          <p:cNvPr id="27" name="组合 26"/>
          <p:cNvGrpSpPr/>
          <p:nvPr/>
        </p:nvGrpSpPr>
        <p:grpSpPr>
          <a:xfrm>
            <a:off x="6970512" y="3482724"/>
            <a:ext cx="1800000" cy="1798980"/>
            <a:chOff x="6722157" y="3358546"/>
            <a:chExt cx="1800000" cy="1798980"/>
          </a:xfrm>
        </p:grpSpPr>
        <p:sp>
          <p:nvSpPr>
            <p:cNvPr id="28" name="椭圆 27"/>
            <p:cNvSpPr/>
            <p:nvPr/>
          </p:nvSpPr>
          <p:spPr>
            <a:xfrm>
              <a:off x="6722157" y="3358546"/>
              <a:ext cx="1800000" cy="1798980"/>
            </a:xfrm>
            <a:prstGeom prst="ellipse">
              <a:avLst/>
            </a:prstGeom>
            <a:solidFill>
              <a:schemeClr val="bg1">
                <a:lumMod val="95000"/>
              </a:schemeClr>
            </a:solidFill>
            <a:ln w="41275" cap="rnd" cmpd="sng" algn="ctr">
              <a:gradFill flip="none" rotWithShape="1">
                <a:gsLst>
                  <a:gs pos="0">
                    <a:schemeClr val="accent1">
                      <a:lumMod val="67000"/>
                    </a:schemeClr>
                  </a:gs>
                  <a:gs pos="100000">
                    <a:schemeClr val="accent1">
                      <a:lumMod val="97000"/>
                      <a:lumOff val="3000"/>
                    </a:schemeClr>
                  </a:gs>
                </a:gsLst>
                <a:lin ang="162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b="1" dirty="0">
                <a:solidFill>
                  <a:srgbClr val="FE5817"/>
                </a:solidFill>
                <a:cs typeface="+mn-ea"/>
                <a:sym typeface="+mn-lt"/>
              </a:endParaRPr>
            </a:p>
          </p:txBody>
        </p:sp>
        <p:sp>
          <p:nvSpPr>
            <p:cNvPr id="29" name="文本框 28"/>
            <p:cNvSpPr txBox="1"/>
            <p:nvPr/>
          </p:nvSpPr>
          <p:spPr>
            <a:xfrm>
              <a:off x="6786285" y="3538867"/>
              <a:ext cx="1671744" cy="8637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4000" b="1" i="0" u="none" strike="noStrike" kern="1200" cap="none" spc="0" normalizeH="0" baseline="0" noProof="0" dirty="0" smtClean="0">
                  <a:ln>
                    <a:noFill/>
                  </a:ln>
                  <a:solidFill>
                    <a:srgbClr val="FE5817"/>
                  </a:solidFill>
                  <a:effectLst/>
                  <a:uLnTx/>
                  <a:uFillTx/>
                  <a:cs typeface="+mn-ea"/>
                  <a:sym typeface="+mn-lt"/>
                </a:rPr>
                <a:t>1:N</a:t>
              </a:r>
              <a:endParaRPr kumimoji="0" lang="en-US" altLang="zh-CN" sz="4000" b="1" i="0" u="none" strike="noStrike" kern="1200" cap="none" spc="0" normalizeH="0" baseline="0" noProof="0" dirty="0" smtClean="0">
                <a:ln>
                  <a:noFill/>
                </a:ln>
                <a:solidFill>
                  <a:srgbClr val="FE5817"/>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rgbClr val="FE5817"/>
                  </a:solidFill>
                  <a:effectLst/>
                  <a:uLnTx/>
                  <a:uFillTx/>
                  <a:cs typeface="+mn-ea"/>
                  <a:sym typeface="+mn-lt"/>
                </a:rPr>
                <a:t>精</a:t>
              </a:r>
              <a:r>
                <a:rPr kumimoji="0" lang="zh-CN" altLang="en-US" sz="2000" b="1" i="0" u="none" strike="noStrike" kern="1200" cap="none" spc="0" normalizeH="0" baseline="0" noProof="0" dirty="0" smtClean="0">
                  <a:ln>
                    <a:noFill/>
                  </a:ln>
                  <a:solidFill>
                    <a:srgbClr val="FE5817"/>
                  </a:solidFill>
                  <a:effectLst/>
                  <a:uLnTx/>
                  <a:uFillTx/>
                  <a:cs typeface="+mn-ea"/>
                  <a:sym typeface="+mn-lt"/>
                </a:rPr>
                <a:t>准识别</a:t>
              </a:r>
              <a:r>
                <a:rPr kumimoji="0" lang="zh-CN" altLang="en-US" sz="2000" b="1" i="0" u="none" strike="noStrike" kern="1200" cap="none" spc="0" normalizeH="0" baseline="0" noProof="0" dirty="0">
                  <a:ln>
                    <a:noFill/>
                  </a:ln>
                  <a:solidFill>
                    <a:srgbClr val="FE5817"/>
                  </a:solidFill>
                  <a:effectLst/>
                  <a:uLnTx/>
                  <a:uFillTx/>
                  <a:cs typeface="+mn-ea"/>
                  <a:sym typeface="+mn-lt"/>
                </a:rPr>
                <a:t>模型</a:t>
              </a:r>
              <a:endParaRPr kumimoji="0" lang="zh-CN" altLang="en-US" sz="2000" b="1" i="0" u="none" strike="noStrike" kern="1200" cap="none" spc="0" normalizeH="0" baseline="0" noProof="0" dirty="0" smtClean="0">
                <a:ln>
                  <a:noFill/>
                </a:ln>
                <a:solidFill>
                  <a:srgbClr val="FE5817"/>
                </a:solidFill>
                <a:effectLst/>
                <a:uLnTx/>
                <a:uFillTx/>
                <a:cs typeface="+mn-ea"/>
                <a:sym typeface="+mn-lt"/>
              </a:endParaRPr>
            </a:p>
          </p:txBody>
        </p:sp>
        <p:sp>
          <p:nvSpPr>
            <p:cNvPr id="30" name="文本框 29"/>
            <p:cNvSpPr txBox="1"/>
            <p:nvPr/>
          </p:nvSpPr>
          <p:spPr>
            <a:xfrm>
              <a:off x="6786285" y="4407827"/>
              <a:ext cx="1671744" cy="5691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i="0" u="none" strike="noStrike" kern="1200" cap="none" spc="0" normalizeH="0" baseline="0" noProof="0" dirty="0">
                  <a:ln>
                    <a:noFill/>
                  </a:ln>
                  <a:solidFill>
                    <a:schemeClr val="tx1">
                      <a:lumMod val="75000"/>
                      <a:lumOff val="25000"/>
                    </a:schemeClr>
                  </a:solidFill>
                  <a:effectLst/>
                  <a:uLnTx/>
                  <a:uFillTx/>
                  <a:cs typeface="+mn-ea"/>
                  <a:sym typeface="+mn-lt"/>
                </a:rPr>
                <a:t>千万</a:t>
              </a:r>
              <a:r>
                <a:rPr kumimoji="0" lang="zh-CN" altLang="en-US" sz="1400" i="0" u="none" strike="noStrike" kern="1200" cap="none" spc="0" normalizeH="0" baseline="0" noProof="0" dirty="0" smtClean="0">
                  <a:ln>
                    <a:noFill/>
                  </a:ln>
                  <a:solidFill>
                    <a:schemeClr val="tx1">
                      <a:lumMod val="75000"/>
                      <a:lumOff val="25000"/>
                    </a:schemeClr>
                  </a:solidFill>
                  <a:effectLst/>
                  <a:uLnTx/>
                  <a:uFillTx/>
                  <a:cs typeface="+mn-ea"/>
                  <a:sym typeface="+mn-lt"/>
                </a:rPr>
                <a:t>级人脸检索</a:t>
              </a:r>
              <a:endParaRPr kumimoji="0" lang="en-US" altLang="zh-CN" sz="1400" i="0" u="none" strike="noStrike" kern="1200" cap="none" spc="0" normalizeH="0" baseline="0" noProof="0" dirty="0" smtClean="0">
                <a:ln>
                  <a:noFill/>
                </a:ln>
                <a:solidFill>
                  <a:schemeClr val="tx1">
                    <a:lumMod val="75000"/>
                    <a:lumOff val="25000"/>
                  </a:schemeClr>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i="0" u="none" strike="noStrike" kern="1200" cap="none" spc="0" normalizeH="0" baseline="0" noProof="0" dirty="0">
                  <a:ln>
                    <a:noFill/>
                  </a:ln>
                  <a:solidFill>
                    <a:schemeClr val="tx1">
                      <a:lumMod val="75000"/>
                      <a:lumOff val="25000"/>
                    </a:schemeClr>
                  </a:solidFill>
                  <a:effectLst/>
                  <a:uLnTx/>
                  <a:uFillTx/>
                  <a:cs typeface="+mn-ea"/>
                  <a:sym typeface="+mn-lt"/>
                </a:rPr>
                <a:t>精</a:t>
              </a:r>
              <a:r>
                <a:rPr kumimoji="0" lang="zh-CN" altLang="en-US" sz="1400" i="0" u="none" strike="noStrike" kern="1200" cap="none" spc="0" normalizeH="0" baseline="0" noProof="0" dirty="0" smtClean="0">
                  <a:ln>
                    <a:noFill/>
                  </a:ln>
                  <a:solidFill>
                    <a:schemeClr val="tx1">
                      <a:lumMod val="75000"/>
                      <a:lumOff val="25000"/>
                    </a:schemeClr>
                  </a:solidFill>
                  <a:effectLst/>
                  <a:uLnTx/>
                  <a:uFillTx/>
                  <a:cs typeface="+mn-ea"/>
                  <a:sym typeface="+mn-lt"/>
                </a:rPr>
                <a:t>准命中</a:t>
              </a:r>
              <a:endParaRPr kumimoji="0" lang="zh-CN" altLang="en-US" sz="1400" i="0" u="none" strike="noStrike" kern="1200" cap="none" spc="0" normalizeH="0" baseline="0" noProof="0" dirty="0" smtClean="0">
                <a:ln>
                  <a:noFill/>
                </a:ln>
                <a:solidFill>
                  <a:schemeClr val="tx1">
                    <a:lumMod val="75000"/>
                    <a:lumOff val="25000"/>
                  </a:schemeClr>
                </a:solidFill>
                <a:effectLst/>
                <a:uLnTx/>
                <a:uFillTx/>
                <a:cs typeface="+mn-ea"/>
                <a:sym typeface="+mn-lt"/>
              </a:endParaRPr>
            </a:p>
          </p:txBody>
        </p:sp>
      </p:grpSp>
      <p:sp>
        <p:nvSpPr>
          <p:cNvPr id="31" name="左右箭头 30"/>
          <p:cNvSpPr/>
          <p:nvPr/>
        </p:nvSpPr>
        <p:spPr>
          <a:xfrm>
            <a:off x="2050483" y="4765046"/>
            <a:ext cx="806933" cy="155735"/>
          </a:xfrm>
          <a:prstGeom prst="leftRightArrow">
            <a:avLst/>
          </a:prstGeom>
          <a:solidFill>
            <a:schemeClr val="bg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white"/>
              </a:solidFill>
              <a:effectLst/>
              <a:uLnTx/>
              <a:uFillTx/>
              <a:cs typeface="+mn-ea"/>
              <a:sym typeface="+mn-lt"/>
            </a:endParaRPr>
          </a:p>
        </p:txBody>
      </p:sp>
      <p:sp>
        <p:nvSpPr>
          <p:cNvPr id="32" name="文本框 31"/>
          <p:cNvSpPr txBox="1"/>
          <p:nvPr/>
        </p:nvSpPr>
        <p:spPr>
          <a:xfrm>
            <a:off x="671854" y="947870"/>
            <a:ext cx="1645648" cy="464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i="0" u="none" strike="noStrike" kern="1200" cap="none" spc="0" normalizeH="0" baseline="0" noProof="0" dirty="0" smtClean="0">
                <a:ln>
                  <a:noFill/>
                </a:ln>
                <a:solidFill>
                  <a:prstClr val="white"/>
                </a:solidFill>
                <a:effectLst/>
                <a:uLnTx/>
                <a:uFillTx/>
                <a:cs typeface="+mn-ea"/>
                <a:sym typeface="+mn-lt"/>
              </a:rPr>
              <a:t>各场景人脸数据</a:t>
            </a:r>
            <a:endParaRPr kumimoji="0" lang="zh-CN" altLang="en-US" sz="1600" i="0" u="none" strike="noStrike" kern="1200" cap="none" spc="0" normalizeH="0" baseline="0" noProof="0" dirty="0" smtClean="0">
              <a:ln>
                <a:noFill/>
              </a:ln>
              <a:solidFill>
                <a:prstClr val="white"/>
              </a:solidFill>
              <a:effectLst/>
              <a:uLnTx/>
              <a:uFillTx/>
              <a:cs typeface="+mn-ea"/>
              <a:sym typeface="+mn-lt"/>
            </a:endParaRPr>
          </a:p>
        </p:txBody>
      </p:sp>
      <p:sp>
        <p:nvSpPr>
          <p:cNvPr id="33" name="矩形 32"/>
          <p:cNvSpPr/>
          <p:nvPr/>
        </p:nvSpPr>
        <p:spPr>
          <a:xfrm flipH="1">
            <a:off x="2981234" y="2779813"/>
            <a:ext cx="247387" cy="1089529"/>
          </a:xfrm>
          <a:prstGeom prst="rect">
            <a:avLst/>
          </a:prstGeom>
        </p:spPr>
        <p:txBody>
          <a:bodyPr wrap="square" anchor="ctr">
            <a:sp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800" b="1" i="0" u="none" strike="noStrike" kern="1200" cap="none" spc="0" normalizeH="0" baseline="0" noProof="0" dirty="0" smtClean="0">
                <a:ln>
                  <a:noFill/>
                </a:ln>
                <a:effectLst/>
                <a:uLnTx/>
                <a:uFillTx/>
                <a:cs typeface="+mn-ea"/>
                <a:sym typeface="+mn-lt"/>
              </a:rPr>
              <a:t>文本内容</a:t>
            </a:r>
            <a:endParaRPr kumimoji="0" lang="zh-CN" altLang="en-US" sz="1800" b="1" i="0" u="none" strike="noStrike" kern="1200" cap="none" spc="0" normalizeH="0" baseline="0" noProof="0" dirty="0">
              <a:ln>
                <a:noFill/>
              </a:ln>
              <a:effectLst/>
              <a:uLnTx/>
              <a:uFillTx/>
              <a:cs typeface="+mn-ea"/>
              <a:sym typeface="+mn-lt"/>
            </a:endParaRPr>
          </a:p>
        </p:txBody>
      </p:sp>
      <p:sp>
        <p:nvSpPr>
          <p:cNvPr id="35" name="文本框 102"/>
          <p:cNvSpPr txBox="1"/>
          <p:nvPr/>
        </p:nvSpPr>
        <p:spPr>
          <a:xfrm>
            <a:off x="4088476" y="4566285"/>
            <a:ext cx="1386433" cy="4248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chemeClr val="accent1"/>
                </a:solidFill>
                <a:effectLst/>
                <a:uLnTx/>
                <a:uFillTx/>
                <a:cs typeface="+mn-ea"/>
                <a:sym typeface="+mn-lt"/>
              </a:rPr>
              <a:t>20+</a:t>
            </a:r>
            <a:r>
              <a:rPr kumimoji="0" lang="zh-CN" altLang="en-US" sz="1800" b="1" i="0" u="none" strike="noStrike" kern="1200" cap="none" spc="0" normalizeH="0" baseline="0" noProof="0" dirty="0" smtClean="0">
                <a:ln>
                  <a:noFill/>
                </a:ln>
                <a:solidFill>
                  <a:schemeClr val="accent1"/>
                </a:solidFill>
                <a:effectLst/>
                <a:uLnTx/>
                <a:uFillTx/>
                <a:cs typeface="+mn-ea"/>
                <a:sym typeface="+mn-lt"/>
              </a:rPr>
              <a:t>人脸库</a:t>
            </a:r>
            <a:endParaRPr kumimoji="0" lang="zh-CN" altLang="en-US" sz="1800" b="1" i="0" u="none" strike="noStrike" kern="1200" cap="none" spc="0" normalizeH="0" baseline="0" noProof="0" dirty="0" smtClean="0">
              <a:ln>
                <a:noFill/>
              </a:ln>
              <a:solidFill>
                <a:schemeClr val="accent1"/>
              </a:solidFill>
              <a:effectLst/>
              <a:uLnTx/>
              <a:uFillTx/>
              <a:cs typeface="+mn-ea"/>
              <a:sym typeface="+mn-lt"/>
            </a:endParaRPr>
          </a:p>
        </p:txBody>
      </p:sp>
      <p:sp>
        <p:nvSpPr>
          <p:cNvPr id="36" name="文本框 35"/>
          <p:cNvSpPr txBox="1"/>
          <p:nvPr/>
        </p:nvSpPr>
        <p:spPr>
          <a:xfrm>
            <a:off x="9212361" y="2596446"/>
            <a:ext cx="432949" cy="1786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smtClean="0">
                <a:ln>
                  <a:noFill/>
                </a:ln>
                <a:solidFill>
                  <a:schemeClr val="tx1"/>
                </a:solidFill>
                <a:effectLst/>
                <a:uLnTx/>
                <a:uFillTx/>
                <a:cs typeface="+mn-ea"/>
                <a:sym typeface="+mn-lt"/>
              </a:rPr>
              <a:t>应用场景</a:t>
            </a:r>
            <a:endParaRPr kumimoji="0" lang="zh-CN" altLang="en-US" sz="2400" b="1" i="0" u="none" strike="noStrike" kern="1200" cap="none" spc="0" normalizeH="0" baseline="0" noProof="0" dirty="0" smtClean="0">
              <a:ln>
                <a:noFill/>
              </a:ln>
              <a:solidFill>
                <a:schemeClr val="tx1"/>
              </a:solidFill>
              <a:effectLst/>
              <a:uLnTx/>
              <a:uFillTx/>
              <a:cs typeface="+mn-ea"/>
              <a:sym typeface="+mn-lt"/>
            </a:endParaRPr>
          </a:p>
        </p:txBody>
      </p:sp>
      <p:sp>
        <p:nvSpPr>
          <p:cNvPr id="37" name="椭圆 36"/>
          <p:cNvSpPr/>
          <p:nvPr/>
        </p:nvSpPr>
        <p:spPr>
          <a:xfrm>
            <a:off x="3454401" y="1896534"/>
            <a:ext cx="2619022" cy="2619022"/>
          </a:xfrm>
          <a:prstGeom prst="ellipse">
            <a:avLst/>
          </a:prstGeom>
          <a:noFill/>
          <a:ln w="57150" cap="rnd" cmpd="sng" algn="ctr">
            <a:solidFill>
              <a:schemeClr val="accent1">
                <a:lumMod val="20000"/>
                <a:lumOff val="80000"/>
              </a:schemeClr>
            </a:solid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38" name="Rectangle 10"/>
          <p:cNvSpPr>
            <a:spLocks noChangeArrowheads="1"/>
          </p:cNvSpPr>
          <p:nvPr>
            <p:custDataLst>
              <p:tags r:id="rId1"/>
            </p:custDataLst>
          </p:nvPr>
        </p:nvSpPr>
        <p:spPr bwMode="gray">
          <a:xfrm>
            <a:off x="5189665" y="3570691"/>
            <a:ext cx="756000" cy="756000"/>
          </a:xfrm>
          <a:prstGeom prst="ellipse">
            <a:avLst/>
          </a:prstGeom>
          <a:gradFill flip="none" rotWithShape="1">
            <a:gsLst>
              <a:gs pos="71000">
                <a:schemeClr val="accent5">
                  <a:lumMod val="97000"/>
                  <a:lumOff val="3000"/>
                </a:schemeClr>
              </a:gs>
              <a:gs pos="100000">
                <a:schemeClr val="accent5">
                  <a:lumMod val="60000"/>
                  <a:lumOff val="40000"/>
                </a:schemeClr>
              </a:gs>
            </a:gsLst>
            <a:lin ang="16200000" scaled="1"/>
            <a:tileRect/>
          </a:gradFill>
          <a:ln w="9525" algn="ctr">
            <a:noFill/>
            <a:miter lim="800000"/>
            <a:headEnd type="none" w="sm" len="sm"/>
            <a:tailEnd type="none" w="sm" len="sm"/>
          </a:ln>
        </p:spPr>
        <p:txBody>
          <a:bodyPr wrap="none" lIns="0" tIns="0" rIns="0" bIns="0"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fontAlgn="base">
              <a:spcBef>
                <a:spcPct val="0"/>
              </a:spcBef>
              <a:spcAft>
                <a:spcPct val="0"/>
              </a:spcAft>
              <a:defRPr sz="2400">
                <a:solidFill>
                  <a:schemeClr val="tx1"/>
                </a:solidFill>
                <a:latin typeface="Times New Roman" panose="02020603050405020304" pitchFamily="18" charset="0"/>
              </a:defRPr>
            </a:lvl6pPr>
            <a:lvl7pPr marL="2971800" indent="-228600" fontAlgn="base">
              <a:spcBef>
                <a:spcPct val="0"/>
              </a:spcBef>
              <a:spcAft>
                <a:spcPct val="0"/>
              </a:spcAft>
              <a:defRPr sz="2400">
                <a:solidFill>
                  <a:schemeClr val="tx1"/>
                </a:solidFill>
                <a:latin typeface="Times New Roman" panose="02020603050405020304" pitchFamily="18" charset="0"/>
              </a:defRPr>
            </a:lvl7pPr>
            <a:lvl8pPr marL="3429000" indent="-228600" fontAlgn="base">
              <a:spcBef>
                <a:spcPct val="0"/>
              </a:spcBef>
              <a:spcAft>
                <a:spcPct val="0"/>
              </a:spcAft>
              <a:defRPr sz="2400">
                <a:solidFill>
                  <a:schemeClr val="tx1"/>
                </a:solidFill>
                <a:latin typeface="Times New Roman" panose="02020603050405020304" pitchFamily="18" charset="0"/>
              </a:defRPr>
            </a:lvl8pPr>
            <a:lvl9pPr marL="3886200" indent="-228600" fontAlgn="base">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1" eaLnBrk="1" fontAlgn="auto" latinLnBrk="0" hangingPunct="1">
              <a:lnSpc>
                <a:spcPct val="85000"/>
              </a:lnSpc>
              <a:spcBef>
                <a:spcPts val="0"/>
              </a:spcBef>
              <a:spcAft>
                <a:spcPts val="0"/>
              </a:spcAft>
              <a:buClrTx/>
              <a:buSzPct val="120000"/>
              <a:buFontTx/>
              <a:buNone/>
              <a:defRPr/>
            </a:pPr>
            <a:endParaRPr kumimoji="0" 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n-lt"/>
              <a:cs typeface="+mn-ea"/>
              <a:sym typeface="+mn-lt"/>
            </a:endParaRPr>
          </a:p>
        </p:txBody>
      </p:sp>
      <p:sp>
        <p:nvSpPr>
          <p:cNvPr id="39" name="Rectangle 11"/>
          <p:cNvSpPr>
            <a:spLocks noChangeArrowheads="1"/>
          </p:cNvSpPr>
          <p:nvPr>
            <p:custDataLst>
              <p:tags r:id="rId2"/>
            </p:custDataLst>
          </p:nvPr>
        </p:nvSpPr>
        <p:spPr bwMode="gray">
          <a:xfrm>
            <a:off x="3645061" y="2026087"/>
            <a:ext cx="756000" cy="756000"/>
          </a:xfrm>
          <a:prstGeom prst="ellipse">
            <a:avLst/>
          </a:prstGeom>
          <a:gradFill flip="none" rotWithShape="1">
            <a:gsLst>
              <a:gs pos="71000">
                <a:schemeClr val="accent5">
                  <a:lumMod val="97000"/>
                  <a:lumOff val="3000"/>
                </a:schemeClr>
              </a:gs>
              <a:gs pos="100000">
                <a:schemeClr val="accent5">
                  <a:lumMod val="60000"/>
                  <a:lumOff val="40000"/>
                </a:schemeClr>
              </a:gs>
            </a:gsLst>
            <a:lin ang="16200000" scaled="1"/>
            <a:tileRect/>
          </a:gradFill>
          <a:ln w="9525" algn="ctr">
            <a:noFill/>
            <a:miter lim="800000"/>
            <a:headEnd type="none" w="sm" len="sm"/>
            <a:tailEnd type="none" w="sm" len="sm"/>
          </a:ln>
        </p:spPr>
        <p:txBody>
          <a:bodyPr wrap="none" lIns="0" tIns="0" rIns="0" bIns="0"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fontAlgn="base">
              <a:spcBef>
                <a:spcPct val="0"/>
              </a:spcBef>
              <a:spcAft>
                <a:spcPct val="0"/>
              </a:spcAft>
              <a:defRPr sz="2400">
                <a:solidFill>
                  <a:schemeClr val="tx1"/>
                </a:solidFill>
                <a:latin typeface="Times New Roman" panose="02020603050405020304" pitchFamily="18" charset="0"/>
              </a:defRPr>
            </a:lvl6pPr>
            <a:lvl7pPr marL="2971800" indent="-228600" fontAlgn="base">
              <a:spcBef>
                <a:spcPct val="0"/>
              </a:spcBef>
              <a:spcAft>
                <a:spcPct val="0"/>
              </a:spcAft>
              <a:defRPr sz="2400">
                <a:solidFill>
                  <a:schemeClr val="tx1"/>
                </a:solidFill>
                <a:latin typeface="Times New Roman" panose="02020603050405020304" pitchFamily="18" charset="0"/>
              </a:defRPr>
            </a:lvl7pPr>
            <a:lvl8pPr marL="3429000" indent="-228600" fontAlgn="base">
              <a:spcBef>
                <a:spcPct val="0"/>
              </a:spcBef>
              <a:spcAft>
                <a:spcPct val="0"/>
              </a:spcAft>
              <a:defRPr sz="2400">
                <a:solidFill>
                  <a:schemeClr val="tx1"/>
                </a:solidFill>
                <a:latin typeface="Times New Roman" panose="02020603050405020304" pitchFamily="18" charset="0"/>
              </a:defRPr>
            </a:lvl8pPr>
            <a:lvl9pPr marL="3886200" indent="-228600" fontAlgn="base">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1" eaLnBrk="1" fontAlgn="auto" latinLnBrk="0" hangingPunct="1">
              <a:lnSpc>
                <a:spcPct val="85000"/>
              </a:lnSpc>
              <a:spcBef>
                <a:spcPts val="0"/>
              </a:spcBef>
              <a:spcAft>
                <a:spcPts val="0"/>
              </a:spcAft>
              <a:buClrTx/>
              <a:buSzPct val="120000"/>
              <a:buFontTx/>
              <a:buNone/>
              <a:defRPr/>
            </a:pPr>
            <a:r>
              <a:rPr kumimoji="0" lang="en-US" altLang="zh-CN" sz="14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cs typeface="+mn-ea"/>
                <a:sym typeface="+mn-lt"/>
              </a:rPr>
              <a:t>xx</a:t>
            </a:r>
            <a:endParaRPr kumimoji="0" 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n-lt"/>
              <a:cs typeface="+mn-ea"/>
              <a:sym typeface="+mn-lt"/>
            </a:endParaRPr>
          </a:p>
        </p:txBody>
      </p:sp>
      <p:sp>
        <p:nvSpPr>
          <p:cNvPr id="40" name="Rectangle 16"/>
          <p:cNvSpPr>
            <a:spLocks noChangeArrowheads="1"/>
          </p:cNvSpPr>
          <p:nvPr>
            <p:custDataLst>
              <p:tags r:id="rId3"/>
            </p:custDataLst>
          </p:nvPr>
        </p:nvSpPr>
        <p:spPr bwMode="gray">
          <a:xfrm>
            <a:off x="5189665" y="2026087"/>
            <a:ext cx="756000" cy="756000"/>
          </a:xfrm>
          <a:prstGeom prst="ellipse">
            <a:avLst/>
          </a:prstGeom>
          <a:gradFill flip="none" rotWithShape="1">
            <a:gsLst>
              <a:gs pos="71000">
                <a:schemeClr val="accent5">
                  <a:lumMod val="97000"/>
                  <a:lumOff val="3000"/>
                </a:schemeClr>
              </a:gs>
              <a:gs pos="100000">
                <a:schemeClr val="accent5">
                  <a:lumMod val="60000"/>
                  <a:lumOff val="40000"/>
                </a:schemeClr>
              </a:gs>
            </a:gsLst>
            <a:lin ang="16200000" scaled="1"/>
            <a:tileRect/>
          </a:gradFill>
          <a:ln w="9525" algn="ctr">
            <a:noFill/>
            <a:miter lim="800000"/>
            <a:headEnd type="none" w="sm" len="sm"/>
            <a:tailEnd type="none" w="sm" len="sm"/>
          </a:ln>
        </p:spPr>
        <p:txBody>
          <a:bodyPr wrap="none" lIns="0" tIns="0" rIns="0" bIns="0"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fontAlgn="base">
              <a:spcBef>
                <a:spcPct val="0"/>
              </a:spcBef>
              <a:spcAft>
                <a:spcPct val="0"/>
              </a:spcAft>
              <a:defRPr sz="2400">
                <a:solidFill>
                  <a:schemeClr val="tx1"/>
                </a:solidFill>
                <a:latin typeface="Times New Roman" panose="02020603050405020304" pitchFamily="18" charset="0"/>
              </a:defRPr>
            </a:lvl6pPr>
            <a:lvl7pPr marL="2971800" indent="-228600" fontAlgn="base">
              <a:spcBef>
                <a:spcPct val="0"/>
              </a:spcBef>
              <a:spcAft>
                <a:spcPct val="0"/>
              </a:spcAft>
              <a:defRPr sz="2400">
                <a:solidFill>
                  <a:schemeClr val="tx1"/>
                </a:solidFill>
                <a:latin typeface="Times New Roman" panose="02020603050405020304" pitchFamily="18" charset="0"/>
              </a:defRPr>
            </a:lvl7pPr>
            <a:lvl8pPr marL="3429000" indent="-228600" fontAlgn="base">
              <a:spcBef>
                <a:spcPct val="0"/>
              </a:spcBef>
              <a:spcAft>
                <a:spcPct val="0"/>
              </a:spcAft>
              <a:defRPr sz="2400">
                <a:solidFill>
                  <a:schemeClr val="tx1"/>
                </a:solidFill>
                <a:latin typeface="Times New Roman" panose="02020603050405020304" pitchFamily="18" charset="0"/>
              </a:defRPr>
            </a:lvl8pPr>
            <a:lvl9pPr marL="3886200" indent="-228600" fontAlgn="base">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1" eaLnBrk="1" fontAlgn="auto" latinLnBrk="0" hangingPunct="1">
              <a:lnSpc>
                <a:spcPct val="85000"/>
              </a:lnSpc>
              <a:spcBef>
                <a:spcPts val="0"/>
              </a:spcBef>
              <a:spcAft>
                <a:spcPts val="0"/>
              </a:spcAft>
              <a:buClrTx/>
              <a:buSzPct val="120000"/>
              <a:buFontTx/>
              <a:buNone/>
              <a:defRPr/>
            </a:pPr>
            <a:endParaRPr kumimoji="0" 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n-lt"/>
              <a:cs typeface="+mn-ea"/>
              <a:sym typeface="+mn-lt"/>
            </a:endParaRPr>
          </a:p>
        </p:txBody>
      </p:sp>
      <p:sp>
        <p:nvSpPr>
          <p:cNvPr id="41" name="Rectangle 14"/>
          <p:cNvSpPr>
            <a:spLocks noChangeArrowheads="1"/>
          </p:cNvSpPr>
          <p:nvPr>
            <p:custDataLst>
              <p:tags r:id="rId4"/>
            </p:custDataLst>
          </p:nvPr>
        </p:nvSpPr>
        <p:spPr bwMode="gray">
          <a:xfrm>
            <a:off x="3645061" y="3570690"/>
            <a:ext cx="756000" cy="756000"/>
          </a:xfrm>
          <a:prstGeom prst="ellipse">
            <a:avLst/>
          </a:prstGeom>
          <a:gradFill flip="none" rotWithShape="1">
            <a:gsLst>
              <a:gs pos="71000">
                <a:schemeClr val="accent5">
                  <a:lumMod val="97000"/>
                  <a:lumOff val="3000"/>
                </a:schemeClr>
              </a:gs>
              <a:gs pos="100000">
                <a:schemeClr val="accent5">
                  <a:lumMod val="60000"/>
                  <a:lumOff val="40000"/>
                </a:schemeClr>
              </a:gs>
            </a:gsLst>
            <a:lin ang="16200000" scaled="1"/>
            <a:tileRect/>
          </a:gradFill>
          <a:ln w="9525" algn="ctr">
            <a:noFill/>
            <a:miter lim="800000"/>
            <a:headEnd type="none" w="sm" len="sm"/>
            <a:tailEnd type="none" w="sm" len="sm"/>
          </a:ln>
        </p:spPr>
        <p:txBody>
          <a:bodyPr wrap="none" lIns="0" tIns="0" rIns="0" bIns="0"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fontAlgn="base">
              <a:spcBef>
                <a:spcPct val="0"/>
              </a:spcBef>
              <a:spcAft>
                <a:spcPct val="0"/>
              </a:spcAft>
              <a:defRPr sz="2400">
                <a:solidFill>
                  <a:schemeClr val="tx1"/>
                </a:solidFill>
                <a:latin typeface="Times New Roman" panose="02020603050405020304" pitchFamily="18" charset="0"/>
              </a:defRPr>
            </a:lvl6pPr>
            <a:lvl7pPr marL="2971800" indent="-228600" fontAlgn="base">
              <a:spcBef>
                <a:spcPct val="0"/>
              </a:spcBef>
              <a:spcAft>
                <a:spcPct val="0"/>
              </a:spcAft>
              <a:defRPr sz="2400">
                <a:solidFill>
                  <a:schemeClr val="tx1"/>
                </a:solidFill>
                <a:latin typeface="Times New Roman" panose="02020603050405020304" pitchFamily="18" charset="0"/>
              </a:defRPr>
            </a:lvl7pPr>
            <a:lvl8pPr marL="3429000" indent="-228600" fontAlgn="base">
              <a:spcBef>
                <a:spcPct val="0"/>
              </a:spcBef>
              <a:spcAft>
                <a:spcPct val="0"/>
              </a:spcAft>
              <a:defRPr sz="2400">
                <a:solidFill>
                  <a:schemeClr val="tx1"/>
                </a:solidFill>
                <a:latin typeface="Times New Roman" panose="02020603050405020304" pitchFamily="18" charset="0"/>
              </a:defRPr>
            </a:lvl8pPr>
            <a:lvl9pPr marL="3886200" indent="-228600" fontAlgn="base">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0" eaLnBrk="1" fontAlgn="auto" latinLnBrk="0" hangingPunct="1">
              <a:lnSpc>
                <a:spcPct val="85000"/>
              </a:lnSpc>
              <a:spcBef>
                <a:spcPts val="0"/>
              </a:spcBef>
              <a:spcAft>
                <a:spcPts val="0"/>
              </a:spcAft>
              <a:buClrTx/>
              <a:buSzPct val="120000"/>
              <a:buFontTx/>
              <a:buNone/>
              <a:defRPr/>
            </a:pPr>
            <a:endParaRPr kumimoji="0" 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n-lt"/>
              <a:cs typeface="+mn-ea"/>
              <a:sym typeface="+mn-lt"/>
            </a:endParaRPr>
          </a:p>
        </p:txBody>
      </p:sp>
      <p:sp>
        <p:nvSpPr>
          <p:cNvPr id="42" name="Rectangle 15"/>
          <p:cNvSpPr>
            <a:spLocks noChangeArrowheads="1"/>
          </p:cNvSpPr>
          <p:nvPr>
            <p:custDataLst>
              <p:tags r:id="rId5"/>
            </p:custDataLst>
          </p:nvPr>
        </p:nvSpPr>
        <p:spPr bwMode="gray">
          <a:xfrm>
            <a:off x="3325163" y="2798389"/>
            <a:ext cx="756000" cy="756000"/>
          </a:xfrm>
          <a:prstGeom prst="ellipse">
            <a:avLst/>
          </a:prstGeom>
          <a:gradFill flip="none" rotWithShape="1">
            <a:gsLst>
              <a:gs pos="71000">
                <a:schemeClr val="accent5">
                  <a:lumMod val="97000"/>
                  <a:lumOff val="3000"/>
                </a:schemeClr>
              </a:gs>
              <a:gs pos="100000">
                <a:schemeClr val="accent5">
                  <a:lumMod val="60000"/>
                  <a:lumOff val="40000"/>
                </a:schemeClr>
              </a:gs>
            </a:gsLst>
            <a:lin ang="16200000" scaled="1"/>
            <a:tileRect/>
          </a:gradFill>
          <a:ln w="9525" algn="ctr">
            <a:noFill/>
            <a:miter lim="800000"/>
            <a:headEnd type="none" w="sm" len="sm"/>
            <a:tailEnd type="none" w="sm" len="sm"/>
          </a:ln>
        </p:spPr>
        <p:txBody>
          <a:bodyPr wrap="none" lIns="0" tIns="0" rIns="0" bIns="0"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fontAlgn="base">
              <a:spcBef>
                <a:spcPct val="0"/>
              </a:spcBef>
              <a:spcAft>
                <a:spcPct val="0"/>
              </a:spcAft>
              <a:defRPr sz="2400">
                <a:solidFill>
                  <a:schemeClr val="tx1"/>
                </a:solidFill>
                <a:latin typeface="Times New Roman" panose="02020603050405020304" pitchFamily="18" charset="0"/>
              </a:defRPr>
            </a:lvl6pPr>
            <a:lvl7pPr marL="2971800" indent="-228600" fontAlgn="base">
              <a:spcBef>
                <a:spcPct val="0"/>
              </a:spcBef>
              <a:spcAft>
                <a:spcPct val="0"/>
              </a:spcAft>
              <a:defRPr sz="2400">
                <a:solidFill>
                  <a:schemeClr val="tx1"/>
                </a:solidFill>
                <a:latin typeface="Times New Roman" panose="02020603050405020304" pitchFamily="18" charset="0"/>
              </a:defRPr>
            </a:lvl7pPr>
            <a:lvl8pPr marL="3429000" indent="-228600" fontAlgn="base">
              <a:spcBef>
                <a:spcPct val="0"/>
              </a:spcBef>
              <a:spcAft>
                <a:spcPct val="0"/>
              </a:spcAft>
              <a:defRPr sz="2400">
                <a:solidFill>
                  <a:schemeClr val="tx1"/>
                </a:solidFill>
                <a:latin typeface="Times New Roman" panose="02020603050405020304" pitchFamily="18" charset="0"/>
              </a:defRPr>
            </a:lvl8pPr>
            <a:lvl9pPr marL="3886200" indent="-228600" fontAlgn="base">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1" eaLnBrk="1" fontAlgn="auto" latinLnBrk="0" hangingPunct="1">
              <a:lnSpc>
                <a:spcPct val="85000"/>
              </a:lnSpc>
              <a:spcBef>
                <a:spcPts val="0"/>
              </a:spcBef>
              <a:spcAft>
                <a:spcPts val="0"/>
              </a:spcAft>
              <a:buClrTx/>
              <a:buSzPct val="120000"/>
              <a:buFontTx/>
              <a:buNone/>
              <a:defRPr/>
            </a:pPr>
            <a:endParaRPr kumimoji="0" 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n-lt"/>
              <a:cs typeface="+mn-ea"/>
              <a:sym typeface="+mn-lt"/>
            </a:endParaRPr>
          </a:p>
        </p:txBody>
      </p:sp>
      <p:sp>
        <p:nvSpPr>
          <p:cNvPr id="43" name="Rectangle 17"/>
          <p:cNvSpPr>
            <a:spLocks noChangeArrowheads="1"/>
          </p:cNvSpPr>
          <p:nvPr>
            <p:custDataLst>
              <p:tags r:id="rId6"/>
            </p:custDataLst>
          </p:nvPr>
        </p:nvSpPr>
        <p:spPr bwMode="gray">
          <a:xfrm>
            <a:off x="4417363" y="1706189"/>
            <a:ext cx="756000" cy="756000"/>
          </a:xfrm>
          <a:prstGeom prst="ellipse">
            <a:avLst/>
          </a:prstGeom>
          <a:gradFill flip="none" rotWithShape="1">
            <a:gsLst>
              <a:gs pos="71000">
                <a:schemeClr val="accent5">
                  <a:lumMod val="97000"/>
                  <a:lumOff val="3000"/>
                </a:schemeClr>
              </a:gs>
              <a:gs pos="100000">
                <a:schemeClr val="accent5">
                  <a:lumMod val="60000"/>
                  <a:lumOff val="40000"/>
                </a:schemeClr>
              </a:gs>
            </a:gsLst>
            <a:lin ang="16200000" scaled="1"/>
            <a:tileRect/>
          </a:gradFill>
          <a:ln w="9525" algn="ctr">
            <a:noFill/>
            <a:miter lim="800000"/>
            <a:headEnd type="none" w="sm" len="sm"/>
            <a:tailEnd type="none" w="sm" len="sm"/>
          </a:ln>
        </p:spPr>
        <p:txBody>
          <a:bodyPr wrap="none" lIns="0" tIns="0" rIns="0" bIns="0"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fontAlgn="base">
              <a:spcBef>
                <a:spcPct val="0"/>
              </a:spcBef>
              <a:spcAft>
                <a:spcPct val="0"/>
              </a:spcAft>
              <a:defRPr sz="2400">
                <a:solidFill>
                  <a:schemeClr val="tx1"/>
                </a:solidFill>
                <a:latin typeface="Times New Roman" panose="02020603050405020304" pitchFamily="18" charset="0"/>
              </a:defRPr>
            </a:lvl6pPr>
            <a:lvl7pPr marL="2971800" indent="-228600" fontAlgn="base">
              <a:spcBef>
                <a:spcPct val="0"/>
              </a:spcBef>
              <a:spcAft>
                <a:spcPct val="0"/>
              </a:spcAft>
              <a:defRPr sz="2400">
                <a:solidFill>
                  <a:schemeClr val="tx1"/>
                </a:solidFill>
                <a:latin typeface="Times New Roman" panose="02020603050405020304" pitchFamily="18" charset="0"/>
              </a:defRPr>
            </a:lvl7pPr>
            <a:lvl8pPr marL="3429000" indent="-228600" fontAlgn="base">
              <a:spcBef>
                <a:spcPct val="0"/>
              </a:spcBef>
              <a:spcAft>
                <a:spcPct val="0"/>
              </a:spcAft>
              <a:defRPr sz="2400">
                <a:solidFill>
                  <a:schemeClr val="tx1"/>
                </a:solidFill>
                <a:latin typeface="Times New Roman" panose="02020603050405020304" pitchFamily="18" charset="0"/>
              </a:defRPr>
            </a:lvl8pPr>
            <a:lvl9pPr marL="3886200" indent="-228600" fontAlgn="base">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1" eaLnBrk="1" fontAlgn="auto" latinLnBrk="0" hangingPunct="1">
              <a:lnSpc>
                <a:spcPct val="85000"/>
              </a:lnSpc>
              <a:spcBef>
                <a:spcPts val="0"/>
              </a:spcBef>
              <a:spcAft>
                <a:spcPts val="0"/>
              </a:spcAft>
              <a:buClrTx/>
              <a:buSzPct val="120000"/>
              <a:buFontTx/>
              <a:buNone/>
              <a:defRPr/>
            </a:pPr>
            <a:r>
              <a:rPr kumimoji="0" lang="en-US" altLang="zh-CN" sz="14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mn-lt"/>
                <a:cs typeface="+mn-ea"/>
                <a:sym typeface="+mn-lt"/>
              </a:rPr>
              <a:t>xx</a:t>
            </a:r>
            <a:endParaRPr kumimoji="0" 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n-lt"/>
              <a:cs typeface="+mn-ea"/>
              <a:sym typeface="+mn-lt"/>
            </a:endParaRPr>
          </a:p>
        </p:txBody>
      </p:sp>
      <p:sp>
        <p:nvSpPr>
          <p:cNvPr id="44" name="Rectangle 18"/>
          <p:cNvSpPr>
            <a:spLocks noChangeArrowheads="1"/>
          </p:cNvSpPr>
          <p:nvPr>
            <p:custDataLst>
              <p:tags r:id="rId7"/>
            </p:custDataLst>
          </p:nvPr>
        </p:nvSpPr>
        <p:spPr bwMode="gray">
          <a:xfrm>
            <a:off x="5509563" y="2798389"/>
            <a:ext cx="756000" cy="756000"/>
          </a:xfrm>
          <a:prstGeom prst="ellipse">
            <a:avLst/>
          </a:prstGeom>
          <a:gradFill flip="none" rotWithShape="1">
            <a:gsLst>
              <a:gs pos="71000">
                <a:schemeClr val="accent5">
                  <a:lumMod val="97000"/>
                  <a:lumOff val="3000"/>
                </a:schemeClr>
              </a:gs>
              <a:gs pos="100000">
                <a:schemeClr val="accent5">
                  <a:lumMod val="60000"/>
                  <a:lumOff val="40000"/>
                </a:schemeClr>
              </a:gs>
            </a:gsLst>
            <a:lin ang="16200000" scaled="1"/>
            <a:tileRect/>
          </a:gradFill>
          <a:ln w="9525" algn="ctr">
            <a:noFill/>
            <a:miter lim="800000"/>
            <a:headEnd type="none" w="sm" len="sm"/>
            <a:tailEnd type="none" w="sm" len="sm"/>
          </a:ln>
        </p:spPr>
        <p:txBody>
          <a:bodyPr wrap="none" lIns="0" tIns="0" rIns="0" bIns="0"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fontAlgn="base">
              <a:spcBef>
                <a:spcPct val="0"/>
              </a:spcBef>
              <a:spcAft>
                <a:spcPct val="0"/>
              </a:spcAft>
              <a:defRPr sz="2400">
                <a:solidFill>
                  <a:schemeClr val="tx1"/>
                </a:solidFill>
                <a:latin typeface="Times New Roman" panose="02020603050405020304" pitchFamily="18" charset="0"/>
              </a:defRPr>
            </a:lvl6pPr>
            <a:lvl7pPr marL="2971800" indent="-228600" fontAlgn="base">
              <a:spcBef>
                <a:spcPct val="0"/>
              </a:spcBef>
              <a:spcAft>
                <a:spcPct val="0"/>
              </a:spcAft>
              <a:defRPr sz="2400">
                <a:solidFill>
                  <a:schemeClr val="tx1"/>
                </a:solidFill>
                <a:latin typeface="Times New Roman" panose="02020603050405020304" pitchFamily="18" charset="0"/>
              </a:defRPr>
            </a:lvl7pPr>
            <a:lvl8pPr marL="3429000" indent="-228600" fontAlgn="base">
              <a:spcBef>
                <a:spcPct val="0"/>
              </a:spcBef>
              <a:spcAft>
                <a:spcPct val="0"/>
              </a:spcAft>
              <a:defRPr sz="2400">
                <a:solidFill>
                  <a:schemeClr val="tx1"/>
                </a:solidFill>
                <a:latin typeface="Times New Roman" panose="02020603050405020304" pitchFamily="18" charset="0"/>
              </a:defRPr>
            </a:lvl8pPr>
            <a:lvl9pPr marL="3886200" indent="-228600" fontAlgn="base">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1" eaLnBrk="1" fontAlgn="auto" latinLnBrk="0" hangingPunct="1">
              <a:lnSpc>
                <a:spcPct val="85000"/>
              </a:lnSpc>
              <a:spcBef>
                <a:spcPts val="0"/>
              </a:spcBef>
              <a:spcAft>
                <a:spcPts val="0"/>
              </a:spcAft>
              <a:buClrTx/>
              <a:buSzPct val="120000"/>
              <a:buFontTx/>
              <a:buNone/>
              <a:defRPr/>
            </a:pPr>
            <a:endParaRPr kumimoji="0" 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n-lt"/>
              <a:cs typeface="+mn-ea"/>
              <a:sym typeface="+mn-lt"/>
            </a:endParaRPr>
          </a:p>
        </p:txBody>
      </p:sp>
      <p:sp>
        <p:nvSpPr>
          <p:cNvPr id="45" name="Rectangle 12"/>
          <p:cNvSpPr>
            <a:spLocks noChangeArrowheads="1"/>
          </p:cNvSpPr>
          <p:nvPr>
            <p:custDataLst>
              <p:tags r:id="rId8"/>
            </p:custDataLst>
          </p:nvPr>
        </p:nvSpPr>
        <p:spPr bwMode="gray">
          <a:xfrm>
            <a:off x="4417362" y="3890589"/>
            <a:ext cx="756000" cy="756000"/>
          </a:xfrm>
          <a:prstGeom prst="ellipse">
            <a:avLst/>
          </a:prstGeom>
          <a:gradFill flip="none" rotWithShape="1">
            <a:gsLst>
              <a:gs pos="71000">
                <a:schemeClr val="accent5">
                  <a:lumMod val="97000"/>
                  <a:lumOff val="3000"/>
                </a:schemeClr>
              </a:gs>
              <a:gs pos="100000">
                <a:schemeClr val="accent5">
                  <a:lumMod val="60000"/>
                  <a:lumOff val="40000"/>
                </a:schemeClr>
              </a:gs>
            </a:gsLst>
            <a:lin ang="16200000" scaled="1"/>
            <a:tileRect/>
          </a:gradFill>
          <a:ln w="9525" algn="ctr">
            <a:noFill/>
            <a:miter lim="800000"/>
            <a:headEnd type="none" w="sm" len="sm"/>
            <a:tailEnd type="none" w="sm" len="sm"/>
          </a:ln>
        </p:spPr>
        <p:txBody>
          <a:bodyPr wrap="none" lIns="0" tIns="0" rIns="0" bIns="0"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fontAlgn="base">
              <a:spcBef>
                <a:spcPct val="0"/>
              </a:spcBef>
              <a:spcAft>
                <a:spcPct val="0"/>
              </a:spcAft>
              <a:defRPr sz="2400">
                <a:solidFill>
                  <a:schemeClr val="tx1"/>
                </a:solidFill>
                <a:latin typeface="Times New Roman" panose="02020603050405020304" pitchFamily="18" charset="0"/>
              </a:defRPr>
            </a:lvl6pPr>
            <a:lvl7pPr marL="2971800" indent="-228600" fontAlgn="base">
              <a:spcBef>
                <a:spcPct val="0"/>
              </a:spcBef>
              <a:spcAft>
                <a:spcPct val="0"/>
              </a:spcAft>
              <a:defRPr sz="2400">
                <a:solidFill>
                  <a:schemeClr val="tx1"/>
                </a:solidFill>
                <a:latin typeface="Times New Roman" panose="02020603050405020304" pitchFamily="18" charset="0"/>
              </a:defRPr>
            </a:lvl7pPr>
            <a:lvl8pPr marL="3429000" indent="-228600" fontAlgn="base">
              <a:spcBef>
                <a:spcPct val="0"/>
              </a:spcBef>
              <a:spcAft>
                <a:spcPct val="0"/>
              </a:spcAft>
              <a:defRPr sz="2400">
                <a:solidFill>
                  <a:schemeClr val="tx1"/>
                </a:solidFill>
                <a:latin typeface="Times New Roman" panose="02020603050405020304" pitchFamily="18" charset="0"/>
              </a:defRPr>
            </a:lvl8pPr>
            <a:lvl9pPr marL="3886200" indent="-228600" fontAlgn="base">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1" eaLnBrk="1" fontAlgn="auto" latinLnBrk="0" hangingPunct="1">
              <a:lnSpc>
                <a:spcPct val="85000"/>
              </a:lnSpc>
              <a:spcBef>
                <a:spcPts val="0"/>
              </a:spcBef>
              <a:spcAft>
                <a:spcPts val="0"/>
              </a:spcAft>
              <a:buClrTx/>
              <a:buSzPct val="120000"/>
              <a:buFontTx/>
              <a:buNone/>
              <a:defRPr/>
            </a:pPr>
            <a:r>
              <a:rPr kumimoji="0" lang="en-US" altLang="zh-CN" sz="1400" b="1" i="0" u="none" strike="noStrike" kern="1200" cap="none" spc="0" normalizeH="0" baseline="0" noProof="0" smtClean="0">
                <a:ln>
                  <a:noFill/>
                </a:ln>
                <a:solidFill>
                  <a:prstClr val="white"/>
                </a:solidFill>
                <a:effectLst>
                  <a:outerShdw blurRad="38100" dist="38100" dir="2700000" algn="tl">
                    <a:srgbClr val="000000">
                      <a:alpha val="43137"/>
                    </a:srgbClr>
                  </a:outerShdw>
                </a:effectLst>
                <a:uLnTx/>
                <a:uFillTx/>
                <a:latin typeface="+mn-lt"/>
                <a:cs typeface="+mn-ea"/>
                <a:sym typeface="+mn-lt"/>
              </a:rPr>
              <a:t>……</a:t>
            </a:r>
            <a:endParaRPr kumimoji="0" lang="en-US" sz="14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mn-lt"/>
              <a:cs typeface="+mn-ea"/>
              <a:sym typeface="+mn-lt"/>
            </a:endParaRPr>
          </a:p>
        </p:txBody>
      </p:sp>
      <p:grpSp>
        <p:nvGrpSpPr>
          <p:cNvPr id="46" name="组合 45"/>
          <p:cNvGrpSpPr/>
          <p:nvPr/>
        </p:nvGrpSpPr>
        <p:grpSpPr>
          <a:xfrm>
            <a:off x="1134377" y="1463295"/>
            <a:ext cx="855244" cy="854760"/>
            <a:chOff x="817545" y="1339117"/>
            <a:chExt cx="855244" cy="854760"/>
          </a:xfrm>
        </p:grpSpPr>
        <p:sp>
          <p:nvSpPr>
            <p:cNvPr id="47" name="椭圆 46"/>
            <p:cNvSpPr/>
            <p:nvPr/>
          </p:nvSpPr>
          <p:spPr>
            <a:xfrm>
              <a:off x="817545" y="1339117"/>
              <a:ext cx="855244" cy="854760"/>
            </a:xfrm>
            <a:prstGeom prst="ellipse">
              <a:avLst/>
            </a:prstGeom>
            <a:solidFill>
              <a:schemeClr val="bg1">
                <a:lumMod val="95000"/>
              </a:schemeClr>
            </a:solidFill>
            <a:ln w="41275" cap="rnd" cmpd="sng" algn="ctr">
              <a:gradFill flip="none" rotWithShape="1">
                <a:gsLst>
                  <a:gs pos="0">
                    <a:schemeClr val="accent1">
                      <a:lumMod val="67000"/>
                    </a:schemeClr>
                  </a:gs>
                  <a:gs pos="100000">
                    <a:schemeClr val="accent1">
                      <a:lumMod val="97000"/>
                      <a:lumOff val="3000"/>
                    </a:schemeClr>
                  </a:gs>
                </a:gsLst>
                <a:lin ang="162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100" b="1" i="0" u="none" strike="noStrike" kern="1200" cap="none" spc="0" normalizeH="0" baseline="0" noProof="0" dirty="0" smtClean="0">
                <a:ln>
                  <a:noFill/>
                </a:ln>
                <a:solidFill>
                  <a:schemeClr val="tx1">
                    <a:lumMod val="75000"/>
                    <a:lumOff val="25000"/>
                  </a:schemeClr>
                </a:solidFill>
                <a:effectLst/>
                <a:uLnTx/>
                <a:uFillTx/>
                <a:cs typeface="+mn-ea"/>
                <a:sym typeface="+mn-lt"/>
              </a:endParaRPr>
            </a:p>
          </p:txBody>
        </p:sp>
        <p:sp>
          <p:nvSpPr>
            <p:cNvPr id="48" name="文本框 47"/>
            <p:cNvSpPr txBox="1"/>
            <p:nvPr/>
          </p:nvSpPr>
          <p:spPr>
            <a:xfrm>
              <a:off x="844749" y="1804196"/>
              <a:ext cx="800836" cy="154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algn="ctr">
                <a:defRPr/>
              </a:pPr>
              <a:r>
                <a:rPr lang="zh-CN" altLang="en-US" sz="1400" b="1" dirty="0" smtClean="0">
                  <a:solidFill>
                    <a:schemeClr val="bg1">
                      <a:lumMod val="50000"/>
                    </a:schemeClr>
                  </a:solidFill>
                  <a:cs typeface="+mn-ea"/>
                  <a:sym typeface="+mn-lt"/>
                </a:rPr>
                <a:t>文本</a:t>
              </a:r>
              <a:endParaRPr lang="zh-CN" altLang="en-US" sz="1400" b="1" dirty="0">
                <a:solidFill>
                  <a:schemeClr val="bg1">
                    <a:lumMod val="50000"/>
                  </a:schemeClr>
                </a:solidFill>
                <a:cs typeface="+mn-ea"/>
                <a:sym typeface="+mn-lt"/>
              </a:endParaRPr>
            </a:p>
          </p:txBody>
        </p:sp>
        <p:pic>
          <p:nvPicPr>
            <p:cNvPr id="49" name="图片 48"/>
            <p:cNvPicPr>
              <a:picLocks noChangeAspect="1"/>
            </p:cNvPicPr>
            <p:nvPr/>
          </p:nvPicPr>
          <p:blipFill>
            <a:blip r:embed="rId9" cstate="email"/>
            <a:stretch>
              <a:fillRect/>
            </a:stretch>
          </p:blipFill>
          <p:spPr>
            <a:xfrm>
              <a:off x="1076687" y="1454510"/>
              <a:ext cx="336959" cy="309743"/>
            </a:xfrm>
            <a:prstGeom prst="rect">
              <a:avLst/>
            </a:prstGeom>
          </p:spPr>
        </p:pic>
      </p:grpSp>
      <p:sp>
        <p:nvSpPr>
          <p:cNvPr id="50" name="椭圆 49"/>
          <p:cNvSpPr/>
          <p:nvPr/>
        </p:nvSpPr>
        <p:spPr>
          <a:xfrm>
            <a:off x="1134377" y="2447375"/>
            <a:ext cx="855244" cy="854760"/>
          </a:xfrm>
          <a:prstGeom prst="ellipse">
            <a:avLst/>
          </a:prstGeom>
          <a:solidFill>
            <a:schemeClr val="bg1">
              <a:lumMod val="95000"/>
            </a:schemeClr>
          </a:solidFill>
          <a:ln w="41275" cap="rnd" cmpd="sng" algn="ctr">
            <a:gradFill flip="none" rotWithShape="1">
              <a:gsLst>
                <a:gs pos="0">
                  <a:schemeClr val="accent1">
                    <a:lumMod val="67000"/>
                  </a:schemeClr>
                </a:gs>
                <a:gs pos="100000">
                  <a:schemeClr val="accent1">
                    <a:lumMod val="97000"/>
                    <a:lumOff val="3000"/>
                  </a:schemeClr>
                </a:gs>
              </a:gsLst>
              <a:lin ang="162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100" b="1" i="0" u="none" strike="noStrike" kern="1200" cap="none" spc="0" normalizeH="0" baseline="0" noProof="0" dirty="0" smtClean="0">
              <a:ln>
                <a:noFill/>
              </a:ln>
              <a:solidFill>
                <a:schemeClr val="tx1">
                  <a:lumMod val="75000"/>
                  <a:lumOff val="25000"/>
                </a:schemeClr>
              </a:solidFill>
              <a:effectLst/>
              <a:uLnTx/>
              <a:uFillTx/>
              <a:cs typeface="+mn-ea"/>
              <a:sym typeface="+mn-lt"/>
            </a:endParaRPr>
          </a:p>
        </p:txBody>
      </p:sp>
      <p:sp>
        <p:nvSpPr>
          <p:cNvPr id="51" name="文本框 50"/>
          <p:cNvSpPr txBox="1"/>
          <p:nvPr/>
        </p:nvSpPr>
        <p:spPr>
          <a:xfrm>
            <a:off x="1161581" y="2939349"/>
            <a:ext cx="800836" cy="154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algn="ctr">
              <a:defRPr/>
            </a:pPr>
            <a:r>
              <a:rPr lang="zh-CN" altLang="en-US" sz="1400" b="1" dirty="0">
                <a:solidFill>
                  <a:schemeClr val="bg1">
                    <a:lumMod val="50000"/>
                  </a:schemeClr>
                </a:solidFill>
                <a:cs typeface="+mn-ea"/>
                <a:sym typeface="+mn-lt"/>
              </a:rPr>
              <a:t>文本</a:t>
            </a:r>
            <a:endParaRPr lang="zh-CN" altLang="en-US" sz="1400" b="1" dirty="0">
              <a:solidFill>
                <a:schemeClr val="bg1">
                  <a:lumMod val="50000"/>
                </a:schemeClr>
              </a:solidFill>
              <a:cs typeface="+mn-ea"/>
              <a:sym typeface="+mn-lt"/>
            </a:endParaRPr>
          </a:p>
        </p:txBody>
      </p:sp>
      <p:sp>
        <p:nvSpPr>
          <p:cNvPr id="52" name="文本框 51"/>
          <p:cNvSpPr txBox="1"/>
          <p:nvPr/>
        </p:nvSpPr>
        <p:spPr>
          <a:xfrm>
            <a:off x="217372" y="1785573"/>
            <a:ext cx="793316" cy="2102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algn="r">
              <a:defRPr/>
            </a:pPr>
            <a:r>
              <a:rPr lang="en-US" altLang="zh-CN" b="1" dirty="0">
                <a:solidFill>
                  <a:srgbClr val="FE5817"/>
                </a:solidFill>
                <a:cs typeface="+mn-ea"/>
                <a:sym typeface="+mn-lt"/>
              </a:rPr>
              <a:t>10</a:t>
            </a:r>
            <a:r>
              <a:rPr lang="zh-CN" altLang="en-US" b="1" dirty="0">
                <a:solidFill>
                  <a:srgbClr val="FE5817"/>
                </a:solidFill>
                <a:cs typeface="+mn-ea"/>
                <a:sym typeface="+mn-lt"/>
              </a:rPr>
              <a:t>万</a:t>
            </a:r>
            <a:r>
              <a:rPr lang="en-US" altLang="zh-CN" b="1" dirty="0">
                <a:solidFill>
                  <a:srgbClr val="FE5817"/>
                </a:solidFill>
                <a:cs typeface="+mn-ea"/>
                <a:sym typeface="+mn-lt"/>
              </a:rPr>
              <a:t>+</a:t>
            </a:r>
            <a:endParaRPr lang="en-US" altLang="zh-CN" b="1" dirty="0">
              <a:solidFill>
                <a:srgbClr val="FE5817"/>
              </a:solidFill>
              <a:cs typeface="+mn-ea"/>
              <a:sym typeface="+mn-lt"/>
            </a:endParaRPr>
          </a:p>
        </p:txBody>
      </p:sp>
      <p:sp>
        <p:nvSpPr>
          <p:cNvPr id="53" name="文本框 52"/>
          <p:cNvSpPr txBox="1"/>
          <p:nvPr/>
        </p:nvSpPr>
        <p:spPr>
          <a:xfrm>
            <a:off x="217372" y="2769653"/>
            <a:ext cx="793316" cy="2102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algn="r">
              <a:defRPr/>
            </a:pPr>
            <a:r>
              <a:rPr lang="en-US" altLang="zh-CN" b="1" dirty="0">
                <a:solidFill>
                  <a:srgbClr val="FE5817"/>
                </a:solidFill>
                <a:cs typeface="+mn-ea"/>
                <a:sym typeface="+mn-lt"/>
              </a:rPr>
              <a:t>20</a:t>
            </a:r>
            <a:r>
              <a:rPr lang="zh-CN" altLang="en-US" b="1" dirty="0">
                <a:solidFill>
                  <a:srgbClr val="FE5817"/>
                </a:solidFill>
                <a:cs typeface="+mn-ea"/>
                <a:sym typeface="+mn-lt"/>
              </a:rPr>
              <a:t>万</a:t>
            </a:r>
            <a:r>
              <a:rPr lang="en-US" altLang="zh-CN" b="1" dirty="0">
                <a:solidFill>
                  <a:srgbClr val="FE5817"/>
                </a:solidFill>
                <a:cs typeface="+mn-ea"/>
                <a:sym typeface="+mn-lt"/>
              </a:rPr>
              <a:t>+</a:t>
            </a:r>
            <a:endParaRPr lang="en-US" altLang="zh-CN" b="1" dirty="0">
              <a:solidFill>
                <a:srgbClr val="FE5817"/>
              </a:solidFill>
              <a:cs typeface="+mn-ea"/>
              <a:sym typeface="+mn-lt"/>
            </a:endParaRPr>
          </a:p>
        </p:txBody>
      </p:sp>
      <p:sp>
        <p:nvSpPr>
          <p:cNvPr id="54" name="文本框 53"/>
          <p:cNvSpPr txBox="1"/>
          <p:nvPr/>
        </p:nvSpPr>
        <p:spPr>
          <a:xfrm>
            <a:off x="217372" y="3753732"/>
            <a:ext cx="793316" cy="2102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algn="r">
              <a:defRPr/>
            </a:pPr>
            <a:r>
              <a:rPr lang="en-US" altLang="zh-CN" b="1" dirty="0">
                <a:solidFill>
                  <a:srgbClr val="FE5817"/>
                </a:solidFill>
                <a:cs typeface="+mn-ea"/>
                <a:sym typeface="+mn-lt"/>
              </a:rPr>
              <a:t>500+</a:t>
            </a:r>
            <a:endParaRPr lang="en-US" altLang="zh-CN" b="1" dirty="0">
              <a:solidFill>
                <a:srgbClr val="FE5817"/>
              </a:solidFill>
              <a:cs typeface="+mn-ea"/>
              <a:sym typeface="+mn-lt"/>
            </a:endParaRPr>
          </a:p>
        </p:txBody>
      </p:sp>
      <p:sp>
        <p:nvSpPr>
          <p:cNvPr id="55" name="文本框 54"/>
          <p:cNvSpPr txBox="1"/>
          <p:nvPr/>
        </p:nvSpPr>
        <p:spPr>
          <a:xfrm>
            <a:off x="217372" y="4737812"/>
            <a:ext cx="793316" cy="2102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algn="r">
              <a:defRPr/>
            </a:pPr>
            <a:r>
              <a:rPr lang="en-US" altLang="zh-CN" b="1" dirty="0">
                <a:solidFill>
                  <a:srgbClr val="FE5817"/>
                </a:solidFill>
                <a:cs typeface="+mn-ea"/>
                <a:sym typeface="+mn-lt"/>
              </a:rPr>
              <a:t>300</a:t>
            </a:r>
            <a:r>
              <a:rPr lang="zh-CN" altLang="en-US" b="1" dirty="0">
                <a:solidFill>
                  <a:srgbClr val="FE5817"/>
                </a:solidFill>
                <a:cs typeface="+mn-ea"/>
                <a:sym typeface="+mn-lt"/>
              </a:rPr>
              <a:t>万</a:t>
            </a:r>
            <a:r>
              <a:rPr lang="en-US" altLang="zh-CN" b="1" dirty="0">
                <a:solidFill>
                  <a:srgbClr val="FE5817"/>
                </a:solidFill>
                <a:cs typeface="+mn-ea"/>
                <a:sym typeface="+mn-lt"/>
              </a:rPr>
              <a:t>+</a:t>
            </a:r>
            <a:endParaRPr lang="en-US" altLang="zh-CN" b="1" dirty="0">
              <a:solidFill>
                <a:srgbClr val="FE5817"/>
              </a:solidFill>
              <a:cs typeface="+mn-ea"/>
              <a:sym typeface="+mn-lt"/>
            </a:endParaRPr>
          </a:p>
        </p:txBody>
      </p:sp>
      <p:grpSp>
        <p:nvGrpSpPr>
          <p:cNvPr id="56" name="组合 55"/>
          <p:cNvGrpSpPr/>
          <p:nvPr/>
        </p:nvGrpSpPr>
        <p:grpSpPr>
          <a:xfrm>
            <a:off x="1134364" y="4415534"/>
            <a:ext cx="855270" cy="854760"/>
            <a:chOff x="817545" y="4291356"/>
            <a:chExt cx="855270" cy="854760"/>
          </a:xfrm>
        </p:grpSpPr>
        <p:sp>
          <p:nvSpPr>
            <p:cNvPr id="57" name="椭圆 56"/>
            <p:cNvSpPr/>
            <p:nvPr/>
          </p:nvSpPr>
          <p:spPr>
            <a:xfrm>
              <a:off x="817545" y="4291356"/>
              <a:ext cx="855244" cy="854760"/>
            </a:xfrm>
            <a:prstGeom prst="ellipse">
              <a:avLst/>
            </a:prstGeom>
            <a:solidFill>
              <a:schemeClr val="bg1">
                <a:lumMod val="95000"/>
              </a:schemeClr>
            </a:solidFill>
            <a:ln w="41275" cap="rnd" cmpd="sng" algn="ctr">
              <a:gradFill flip="none" rotWithShape="1">
                <a:gsLst>
                  <a:gs pos="0">
                    <a:schemeClr val="accent1">
                      <a:lumMod val="67000"/>
                    </a:schemeClr>
                  </a:gs>
                  <a:gs pos="100000">
                    <a:schemeClr val="accent1">
                      <a:lumMod val="97000"/>
                      <a:lumOff val="3000"/>
                    </a:schemeClr>
                  </a:gs>
                </a:gsLst>
                <a:lin ang="162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100" b="1" i="0" u="none" strike="noStrike" kern="1200" cap="none" spc="0" normalizeH="0" baseline="0" noProof="0" dirty="0" smtClean="0">
                <a:ln>
                  <a:noFill/>
                </a:ln>
                <a:solidFill>
                  <a:schemeClr val="tx1">
                    <a:lumMod val="75000"/>
                    <a:lumOff val="25000"/>
                  </a:schemeClr>
                </a:solidFill>
                <a:effectLst/>
                <a:uLnTx/>
                <a:uFillTx/>
                <a:cs typeface="+mn-ea"/>
                <a:sym typeface="+mn-lt"/>
              </a:endParaRPr>
            </a:p>
          </p:txBody>
        </p:sp>
        <p:sp>
          <p:nvSpPr>
            <p:cNvPr id="58" name="文本框 57"/>
            <p:cNvSpPr txBox="1"/>
            <p:nvPr/>
          </p:nvSpPr>
          <p:spPr>
            <a:xfrm>
              <a:off x="817855" y="4745678"/>
              <a:ext cx="854960" cy="1867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algn="ctr">
                <a:defRPr/>
              </a:pPr>
              <a:r>
                <a:rPr lang="zh-CN" altLang="en-US" sz="1400" b="1" dirty="0">
                  <a:solidFill>
                    <a:schemeClr val="bg1">
                      <a:lumMod val="50000"/>
                    </a:schemeClr>
                  </a:solidFill>
                  <a:cs typeface="+mn-ea"/>
                  <a:sym typeface="+mn-lt"/>
                </a:rPr>
                <a:t>文本</a:t>
              </a:r>
              <a:endParaRPr lang="zh-CN" altLang="en-US" sz="1400" b="1" dirty="0">
                <a:solidFill>
                  <a:schemeClr val="bg1">
                    <a:lumMod val="50000"/>
                  </a:schemeClr>
                </a:solidFill>
                <a:cs typeface="+mn-ea"/>
                <a:sym typeface="+mn-lt"/>
              </a:endParaRPr>
            </a:p>
          </p:txBody>
        </p:sp>
        <p:pic>
          <p:nvPicPr>
            <p:cNvPr id="59" name="图片 58"/>
            <p:cNvPicPr>
              <a:picLocks noChangeAspect="1"/>
            </p:cNvPicPr>
            <p:nvPr/>
          </p:nvPicPr>
          <p:blipFill>
            <a:blip r:embed="rId10" cstate="email"/>
            <a:stretch>
              <a:fillRect/>
            </a:stretch>
          </p:blipFill>
          <p:spPr>
            <a:xfrm>
              <a:off x="1042493" y="4356321"/>
              <a:ext cx="399032" cy="390560"/>
            </a:xfrm>
            <a:prstGeom prst="rect">
              <a:avLst/>
            </a:prstGeom>
          </p:spPr>
        </p:pic>
      </p:grpSp>
      <p:grpSp>
        <p:nvGrpSpPr>
          <p:cNvPr id="60" name="组合 59"/>
          <p:cNvGrpSpPr/>
          <p:nvPr/>
        </p:nvGrpSpPr>
        <p:grpSpPr>
          <a:xfrm>
            <a:off x="1134377" y="3431455"/>
            <a:ext cx="855244" cy="854760"/>
            <a:chOff x="817545" y="3307277"/>
            <a:chExt cx="855244" cy="854760"/>
          </a:xfrm>
        </p:grpSpPr>
        <p:sp>
          <p:nvSpPr>
            <p:cNvPr id="61" name="椭圆 60"/>
            <p:cNvSpPr/>
            <p:nvPr/>
          </p:nvSpPr>
          <p:spPr>
            <a:xfrm>
              <a:off x="817545" y="3307277"/>
              <a:ext cx="855244" cy="854760"/>
            </a:xfrm>
            <a:prstGeom prst="ellipse">
              <a:avLst/>
            </a:prstGeom>
            <a:solidFill>
              <a:schemeClr val="bg1">
                <a:lumMod val="95000"/>
              </a:schemeClr>
            </a:solidFill>
            <a:ln w="41275" cap="rnd" cmpd="sng" algn="ctr">
              <a:gradFill flip="none" rotWithShape="1">
                <a:gsLst>
                  <a:gs pos="0">
                    <a:schemeClr val="accent1">
                      <a:lumMod val="67000"/>
                    </a:schemeClr>
                  </a:gs>
                  <a:gs pos="100000">
                    <a:schemeClr val="accent1">
                      <a:lumMod val="97000"/>
                      <a:lumOff val="3000"/>
                    </a:schemeClr>
                  </a:gs>
                </a:gsLst>
                <a:lin ang="162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100" b="1" i="0" u="none" strike="noStrike" kern="1200" cap="none" spc="0" normalizeH="0" baseline="0" noProof="0" dirty="0" smtClean="0">
                <a:ln>
                  <a:noFill/>
                </a:ln>
                <a:solidFill>
                  <a:schemeClr val="tx1">
                    <a:lumMod val="75000"/>
                    <a:lumOff val="25000"/>
                  </a:schemeClr>
                </a:solidFill>
                <a:effectLst/>
                <a:uLnTx/>
                <a:uFillTx/>
                <a:cs typeface="+mn-ea"/>
                <a:sym typeface="+mn-lt"/>
              </a:endParaRPr>
            </a:p>
          </p:txBody>
        </p:sp>
        <p:sp>
          <p:nvSpPr>
            <p:cNvPr id="62" name="文本框 61"/>
            <p:cNvSpPr txBox="1"/>
            <p:nvPr/>
          </p:nvSpPr>
          <p:spPr>
            <a:xfrm>
              <a:off x="844749" y="3777735"/>
              <a:ext cx="800836" cy="154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algn="ctr">
                <a:defRPr/>
              </a:pPr>
              <a:r>
                <a:rPr lang="zh-CN" altLang="en-US" sz="1400" b="1" dirty="0">
                  <a:solidFill>
                    <a:schemeClr val="bg1">
                      <a:lumMod val="50000"/>
                    </a:schemeClr>
                  </a:solidFill>
                  <a:cs typeface="+mn-ea"/>
                  <a:sym typeface="+mn-lt"/>
                </a:rPr>
                <a:t>文本</a:t>
              </a:r>
              <a:endParaRPr lang="zh-CN" altLang="en-US" sz="1400" b="1" dirty="0">
                <a:solidFill>
                  <a:schemeClr val="bg1">
                    <a:lumMod val="50000"/>
                  </a:schemeClr>
                </a:solidFill>
                <a:cs typeface="+mn-ea"/>
                <a:sym typeface="+mn-lt"/>
              </a:endParaRPr>
            </a:p>
          </p:txBody>
        </p:sp>
        <p:pic>
          <p:nvPicPr>
            <p:cNvPr id="63" name="图片 62"/>
            <p:cNvPicPr>
              <a:picLocks noChangeAspect="1"/>
            </p:cNvPicPr>
            <p:nvPr/>
          </p:nvPicPr>
          <p:blipFill>
            <a:blip r:embed="rId11" cstate="email"/>
            <a:stretch>
              <a:fillRect/>
            </a:stretch>
          </p:blipFill>
          <p:spPr>
            <a:xfrm>
              <a:off x="1069855" y="3395050"/>
              <a:ext cx="350623" cy="335215"/>
            </a:xfrm>
            <a:prstGeom prst="rect">
              <a:avLst/>
            </a:prstGeom>
          </p:spPr>
        </p:pic>
      </p:grpSp>
      <p:pic>
        <p:nvPicPr>
          <p:cNvPr id="64" name="图片 63"/>
          <p:cNvPicPr>
            <a:picLocks noChangeAspect="1"/>
          </p:cNvPicPr>
          <p:nvPr/>
        </p:nvPicPr>
        <p:blipFill>
          <a:blip r:embed="rId12" cstate="email"/>
          <a:stretch>
            <a:fillRect/>
          </a:stretch>
        </p:blipFill>
        <p:spPr>
          <a:xfrm>
            <a:off x="1400084" y="2586606"/>
            <a:ext cx="352882" cy="304139"/>
          </a:xfrm>
          <a:prstGeom prst="rect">
            <a:avLst/>
          </a:prstGeom>
        </p:spPr>
      </p:pic>
      <p:sp>
        <p:nvSpPr>
          <p:cNvPr id="65" name="左右箭头 64"/>
          <p:cNvSpPr/>
          <p:nvPr/>
        </p:nvSpPr>
        <p:spPr>
          <a:xfrm>
            <a:off x="2050483" y="3780967"/>
            <a:ext cx="806933" cy="155735"/>
          </a:xfrm>
          <a:prstGeom prst="leftRightArrow">
            <a:avLst/>
          </a:prstGeom>
          <a:solidFill>
            <a:schemeClr val="bg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white"/>
              </a:solidFill>
              <a:effectLst/>
              <a:uLnTx/>
              <a:uFillTx/>
              <a:cs typeface="+mn-ea"/>
              <a:sym typeface="+mn-lt"/>
            </a:endParaRPr>
          </a:p>
        </p:txBody>
      </p:sp>
      <p:sp>
        <p:nvSpPr>
          <p:cNvPr id="66" name="左右箭头 65"/>
          <p:cNvSpPr/>
          <p:nvPr/>
        </p:nvSpPr>
        <p:spPr>
          <a:xfrm>
            <a:off x="2050483" y="2796888"/>
            <a:ext cx="806933" cy="155735"/>
          </a:xfrm>
          <a:prstGeom prst="leftRightArrow">
            <a:avLst/>
          </a:prstGeom>
          <a:solidFill>
            <a:schemeClr val="bg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white"/>
              </a:solidFill>
              <a:effectLst/>
              <a:uLnTx/>
              <a:uFillTx/>
              <a:cs typeface="+mn-ea"/>
              <a:sym typeface="+mn-lt"/>
            </a:endParaRPr>
          </a:p>
        </p:txBody>
      </p:sp>
      <p:sp>
        <p:nvSpPr>
          <p:cNvPr id="67" name="左右箭头 66"/>
          <p:cNvSpPr/>
          <p:nvPr/>
        </p:nvSpPr>
        <p:spPr>
          <a:xfrm>
            <a:off x="2050483" y="1812807"/>
            <a:ext cx="806933" cy="155735"/>
          </a:xfrm>
          <a:prstGeom prst="leftRightArrow">
            <a:avLst/>
          </a:prstGeom>
          <a:solidFill>
            <a:schemeClr val="bg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white"/>
              </a:solidFill>
              <a:effectLst/>
              <a:uLnTx/>
              <a:uFillTx/>
              <a:cs typeface="+mn-ea"/>
              <a:sym typeface="+mn-lt"/>
            </a:endParaRPr>
          </a:p>
        </p:txBody>
      </p:sp>
      <p:sp>
        <p:nvSpPr>
          <p:cNvPr id="73" name="文本框 72"/>
          <p:cNvSpPr txBox="1"/>
          <p:nvPr/>
        </p:nvSpPr>
        <p:spPr>
          <a:xfrm>
            <a:off x="4307099" y="951595"/>
            <a:ext cx="2521132" cy="3521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2400" b="1" dirty="0">
                <a:solidFill>
                  <a:srgbClr val="FE5817"/>
                </a:solidFill>
                <a:cs typeface="+mn-ea"/>
                <a:sym typeface="+mn-lt"/>
              </a:rPr>
              <a:t>2</a:t>
            </a:r>
            <a:r>
              <a:rPr lang="zh-CN" altLang="en-US" sz="2400" b="1" dirty="0">
                <a:solidFill>
                  <a:srgbClr val="FE5817"/>
                </a:solidFill>
                <a:cs typeface="+mn-ea"/>
                <a:sym typeface="+mn-lt"/>
              </a:rPr>
              <a:t>模型</a:t>
            </a:r>
            <a:r>
              <a:rPr lang="en-US" altLang="zh-CN" sz="2400" b="1" dirty="0">
                <a:solidFill>
                  <a:srgbClr val="FE5817"/>
                </a:solidFill>
                <a:cs typeface="+mn-ea"/>
                <a:sym typeface="+mn-lt"/>
              </a:rPr>
              <a:t>+1</a:t>
            </a:r>
            <a:r>
              <a:rPr lang="zh-CN" altLang="en-US" sz="2400" b="1" dirty="0">
                <a:solidFill>
                  <a:srgbClr val="FE5817"/>
                </a:solidFill>
                <a:cs typeface="+mn-ea"/>
                <a:sym typeface="+mn-lt"/>
              </a:rPr>
              <a:t>平台</a:t>
            </a:r>
            <a:endParaRPr lang="zh-CN" altLang="en-US" sz="2400" b="1" dirty="0">
              <a:solidFill>
                <a:srgbClr val="FE5817"/>
              </a:solidFill>
              <a:cs typeface="+mn-ea"/>
              <a:sym typeface="+mn-lt"/>
            </a:endParaRPr>
          </a:p>
        </p:txBody>
      </p:sp>
      <p:sp>
        <p:nvSpPr>
          <p:cNvPr id="68" name="文本框 67"/>
          <p:cNvSpPr txBox="1"/>
          <p:nvPr/>
        </p:nvSpPr>
        <p:spPr>
          <a:xfrm>
            <a:off x="9962564" y="1303701"/>
            <a:ext cx="1790035" cy="46895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dirty="0" smtClean="0">
                <a:solidFill>
                  <a:srgbClr val="575757"/>
                </a:solidFill>
              </a:rPr>
              <a:t>图片</a:t>
            </a:r>
            <a:endParaRPr lang="zh-CN" altLang="en-US" dirty="0" smtClean="0">
              <a:solidFill>
                <a:srgbClr val="575757"/>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左大括号 2"/>
          <p:cNvSpPr/>
          <p:nvPr/>
        </p:nvSpPr>
        <p:spPr>
          <a:xfrm rot="5400000">
            <a:off x="3767053" y="-981818"/>
            <a:ext cx="402055" cy="5762238"/>
          </a:xfrm>
          <a:prstGeom prst="leftBrace">
            <a:avLst>
              <a:gd name="adj1" fmla="val 139406"/>
              <a:gd name="adj2" fmla="val 50000"/>
            </a:avLst>
          </a:prstGeom>
          <a:noFill/>
          <a:ln w="28575" cap="flat" cmpd="sng" algn="ctr">
            <a:solidFill>
              <a:srgbClr val="FF33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楷体" panose="02010609060101010101" pitchFamily="49" charset="-122"/>
              <a:cs typeface="+mn-cs"/>
            </a:endParaRPr>
          </a:p>
        </p:txBody>
      </p:sp>
      <p:sp>
        <p:nvSpPr>
          <p:cNvPr id="4" name="五边形 3"/>
          <p:cNvSpPr/>
          <p:nvPr/>
        </p:nvSpPr>
        <p:spPr>
          <a:xfrm rot="5400000">
            <a:off x="168440" y="3838945"/>
            <a:ext cx="3492620" cy="490263"/>
          </a:xfrm>
          <a:prstGeom prst="homePlate">
            <a:avLst/>
          </a:prstGeom>
          <a:solidFill>
            <a:srgbClr val="FFFFFF">
              <a:lumMod val="75000"/>
              <a:alpha val="52000"/>
            </a:srgbClr>
          </a:solidFill>
          <a:ln w="25400" cap="flat" cmpd="sng" algn="ctr">
            <a:solidFill>
              <a:srgbClr val="C7E0F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FFFF"/>
              </a:solidFill>
              <a:effectLst/>
              <a:uLnTx/>
              <a:uFillTx/>
              <a:latin typeface="Arial" panose="020B0604020202020204"/>
              <a:ea typeface="楷体" panose="02010609060101010101" pitchFamily="49" charset="-122"/>
              <a:cs typeface="+mn-cs"/>
            </a:endParaRPr>
          </a:p>
        </p:txBody>
      </p:sp>
      <p:sp>
        <p:nvSpPr>
          <p:cNvPr id="5" name="五边形 4"/>
          <p:cNvSpPr/>
          <p:nvPr/>
        </p:nvSpPr>
        <p:spPr>
          <a:xfrm rot="5400000">
            <a:off x="847612" y="3838946"/>
            <a:ext cx="3492618" cy="490263"/>
          </a:xfrm>
          <a:prstGeom prst="homePlate">
            <a:avLst/>
          </a:prstGeom>
          <a:solidFill>
            <a:srgbClr val="FFFFFF">
              <a:lumMod val="75000"/>
              <a:alpha val="52000"/>
            </a:srgbClr>
          </a:solidFill>
          <a:ln w="25400" cap="flat" cmpd="sng" algn="ctr">
            <a:solidFill>
              <a:srgbClr val="C7E0F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FFFF"/>
              </a:solidFill>
              <a:effectLst/>
              <a:uLnTx/>
              <a:uFillTx/>
              <a:latin typeface="Arial" panose="020B0604020202020204"/>
              <a:ea typeface="楷体" panose="02010609060101010101" pitchFamily="49" charset="-122"/>
              <a:cs typeface="+mn-cs"/>
            </a:endParaRPr>
          </a:p>
        </p:txBody>
      </p:sp>
      <p:sp>
        <p:nvSpPr>
          <p:cNvPr id="6" name="五边形 5"/>
          <p:cNvSpPr/>
          <p:nvPr/>
        </p:nvSpPr>
        <p:spPr>
          <a:xfrm rot="5400000">
            <a:off x="1508492" y="3838946"/>
            <a:ext cx="3492618" cy="490263"/>
          </a:xfrm>
          <a:prstGeom prst="homePlate">
            <a:avLst/>
          </a:prstGeom>
          <a:solidFill>
            <a:srgbClr val="FFFFFF">
              <a:lumMod val="75000"/>
              <a:alpha val="52000"/>
            </a:srgbClr>
          </a:solidFill>
          <a:ln w="25400" cap="flat" cmpd="sng" algn="ctr">
            <a:solidFill>
              <a:srgbClr val="C7E0F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FFFF"/>
              </a:solidFill>
              <a:effectLst/>
              <a:uLnTx/>
              <a:uFillTx/>
              <a:latin typeface="Arial" panose="020B0604020202020204"/>
              <a:ea typeface="楷体" panose="02010609060101010101" pitchFamily="49" charset="-122"/>
              <a:cs typeface="+mn-cs"/>
            </a:endParaRPr>
          </a:p>
        </p:txBody>
      </p:sp>
      <p:sp>
        <p:nvSpPr>
          <p:cNvPr id="7" name="五边形 6"/>
          <p:cNvSpPr/>
          <p:nvPr/>
        </p:nvSpPr>
        <p:spPr>
          <a:xfrm rot="5400000">
            <a:off x="2187567" y="3838946"/>
            <a:ext cx="3492618" cy="490263"/>
          </a:xfrm>
          <a:prstGeom prst="homePlate">
            <a:avLst/>
          </a:prstGeom>
          <a:solidFill>
            <a:srgbClr val="FFFFFF">
              <a:lumMod val="75000"/>
              <a:alpha val="52000"/>
            </a:srgbClr>
          </a:solidFill>
          <a:ln w="25400" cap="flat" cmpd="sng" algn="ctr">
            <a:solidFill>
              <a:srgbClr val="C7E0F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FFFF"/>
              </a:solidFill>
              <a:effectLst/>
              <a:uLnTx/>
              <a:uFillTx/>
              <a:latin typeface="Arial" panose="020B0604020202020204"/>
              <a:ea typeface="楷体" panose="02010609060101010101" pitchFamily="49" charset="-122"/>
              <a:cs typeface="+mn-cs"/>
            </a:endParaRPr>
          </a:p>
        </p:txBody>
      </p:sp>
      <p:sp>
        <p:nvSpPr>
          <p:cNvPr id="8" name="五边形 7"/>
          <p:cNvSpPr/>
          <p:nvPr/>
        </p:nvSpPr>
        <p:spPr>
          <a:xfrm rot="5400000">
            <a:off x="2848445" y="3838942"/>
            <a:ext cx="3492617" cy="490263"/>
          </a:xfrm>
          <a:prstGeom prst="homePlate">
            <a:avLst/>
          </a:prstGeom>
          <a:solidFill>
            <a:srgbClr val="FFFFFF">
              <a:lumMod val="75000"/>
              <a:alpha val="52000"/>
            </a:srgbClr>
          </a:solidFill>
          <a:ln w="25400" cap="flat" cmpd="sng" algn="ctr">
            <a:solidFill>
              <a:srgbClr val="C7E0F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FFFF"/>
              </a:solidFill>
              <a:effectLst/>
              <a:uLnTx/>
              <a:uFillTx/>
              <a:latin typeface="Arial" panose="020B0604020202020204"/>
              <a:ea typeface="楷体" panose="02010609060101010101" pitchFamily="49" charset="-122"/>
              <a:cs typeface="+mn-cs"/>
            </a:endParaRPr>
          </a:p>
        </p:txBody>
      </p:sp>
      <p:sp>
        <p:nvSpPr>
          <p:cNvPr id="9" name="五边形 8"/>
          <p:cNvSpPr/>
          <p:nvPr/>
        </p:nvSpPr>
        <p:spPr>
          <a:xfrm rot="5400000">
            <a:off x="3540681" y="3838946"/>
            <a:ext cx="3492618" cy="490263"/>
          </a:xfrm>
          <a:prstGeom prst="homePlate">
            <a:avLst/>
          </a:prstGeom>
          <a:solidFill>
            <a:srgbClr val="FFFFFF">
              <a:lumMod val="75000"/>
              <a:alpha val="52000"/>
            </a:srgbClr>
          </a:solidFill>
          <a:ln w="25400" cap="flat" cmpd="sng" algn="ctr">
            <a:solidFill>
              <a:srgbClr val="C7E0F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FFFF"/>
              </a:solidFill>
              <a:effectLst/>
              <a:uLnTx/>
              <a:uFillTx/>
              <a:latin typeface="Arial" panose="020B0604020202020204"/>
              <a:ea typeface="楷体" panose="02010609060101010101" pitchFamily="49" charset="-122"/>
              <a:cs typeface="+mn-cs"/>
            </a:endParaRPr>
          </a:p>
        </p:txBody>
      </p:sp>
      <p:sp>
        <p:nvSpPr>
          <p:cNvPr id="10" name="五边形 9"/>
          <p:cNvSpPr/>
          <p:nvPr/>
        </p:nvSpPr>
        <p:spPr>
          <a:xfrm rot="5400000">
            <a:off x="4201559" y="3838946"/>
            <a:ext cx="3492617" cy="490263"/>
          </a:xfrm>
          <a:prstGeom prst="homePlate">
            <a:avLst/>
          </a:prstGeom>
          <a:solidFill>
            <a:srgbClr val="FFFFFF">
              <a:lumMod val="75000"/>
              <a:alpha val="52000"/>
            </a:srgbClr>
          </a:solidFill>
          <a:ln w="25400" cap="flat" cmpd="sng" algn="ctr">
            <a:solidFill>
              <a:srgbClr val="C7E0F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FFFF"/>
              </a:solidFill>
              <a:effectLst/>
              <a:uLnTx/>
              <a:uFillTx/>
              <a:latin typeface="Arial" panose="020B0604020202020204"/>
              <a:ea typeface="楷体" panose="02010609060101010101" pitchFamily="49" charset="-122"/>
              <a:cs typeface="+mn-cs"/>
            </a:endParaRPr>
          </a:p>
        </p:txBody>
      </p:sp>
      <p:sp>
        <p:nvSpPr>
          <p:cNvPr id="11" name="五边形 10"/>
          <p:cNvSpPr/>
          <p:nvPr/>
        </p:nvSpPr>
        <p:spPr>
          <a:xfrm rot="5400000">
            <a:off x="4870822" y="3838946"/>
            <a:ext cx="3492618" cy="490263"/>
          </a:xfrm>
          <a:prstGeom prst="homePlate">
            <a:avLst/>
          </a:prstGeom>
          <a:solidFill>
            <a:srgbClr val="FFFFFF">
              <a:lumMod val="75000"/>
              <a:alpha val="52000"/>
            </a:srgbClr>
          </a:solidFill>
          <a:ln w="25400" cap="flat" cmpd="sng" algn="ctr">
            <a:solidFill>
              <a:srgbClr val="C7E0F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FFFF"/>
              </a:solidFill>
              <a:effectLst/>
              <a:uLnTx/>
              <a:uFillTx/>
              <a:latin typeface="Arial" panose="020B0604020202020204"/>
              <a:ea typeface="楷体" panose="02010609060101010101" pitchFamily="49" charset="-122"/>
              <a:cs typeface="+mn-cs"/>
            </a:endParaRPr>
          </a:p>
        </p:txBody>
      </p:sp>
      <p:sp>
        <p:nvSpPr>
          <p:cNvPr id="12" name="五边形 11"/>
          <p:cNvSpPr/>
          <p:nvPr/>
        </p:nvSpPr>
        <p:spPr>
          <a:xfrm rot="5400000">
            <a:off x="-505501" y="3838946"/>
            <a:ext cx="3492618" cy="490263"/>
          </a:xfrm>
          <a:prstGeom prst="homePlate">
            <a:avLst/>
          </a:prstGeom>
          <a:solidFill>
            <a:srgbClr val="FFFFFF">
              <a:lumMod val="75000"/>
              <a:alpha val="52000"/>
            </a:srgbClr>
          </a:solidFill>
          <a:ln w="25400" cap="flat" cmpd="sng" algn="ctr">
            <a:solidFill>
              <a:srgbClr val="C7E0F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FFFF"/>
              </a:solidFill>
              <a:effectLst/>
              <a:uLnTx/>
              <a:uFillTx/>
              <a:latin typeface="Arial" panose="020B0604020202020204"/>
              <a:ea typeface="楷体" panose="02010609060101010101" pitchFamily="49" charset="-122"/>
              <a:cs typeface="+mn-cs"/>
            </a:endParaRPr>
          </a:p>
        </p:txBody>
      </p:sp>
      <p:sp>
        <p:nvSpPr>
          <p:cNvPr id="13" name="TextBox 11"/>
          <p:cNvSpPr txBox="1"/>
          <p:nvPr/>
        </p:nvSpPr>
        <p:spPr>
          <a:xfrm>
            <a:off x="941976" y="2370185"/>
            <a:ext cx="630029"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405" defTabSz="895350" eaLnBrk="1" latinLnBrk="0" hangingPunct="1">
              <a:buClr>
                <a:schemeClr val="tx2"/>
              </a:buClr>
              <a:buSzPct val="100000"/>
              <a:buFont typeface="Arial" panose="020B0604020202020204" pitchFamily="34" charset="0"/>
              <a:buChar char="▪"/>
              <a:defRPr lang="x-none" sz="1400" baseline="0">
                <a:latin typeface="+mn-lt"/>
              </a:defRPr>
            </a:lvl2pPr>
            <a:lvl3pPr marL="457200" lvl="2" indent="-262255" defTabSz="895350" eaLnBrk="1" latinLnBrk="0" hangingPunct="1">
              <a:buClr>
                <a:schemeClr val="tx2"/>
              </a:buClr>
              <a:buSzPct val="100000"/>
              <a:buFont typeface="Arial" panose="020B0604020202020204" pitchFamily="34" charset="0"/>
              <a:buChar char="–"/>
              <a:defRPr lang="x-none" sz="1400" baseline="0">
                <a:latin typeface="+mn-lt"/>
              </a:defRPr>
            </a:lvl3pPr>
            <a:lvl4pPr marL="614680" lvl="3" indent="-155575" defTabSz="895350" eaLnBrk="1" latinLnBrk="0" hangingPunct="1">
              <a:buClr>
                <a:schemeClr val="tx2"/>
              </a:buClr>
              <a:buSzPct val="100000"/>
              <a:buFont typeface="Arial" panose="020B0604020202020204" pitchFamily="34" charset="0"/>
              <a:buChar char="▫"/>
              <a:defRPr lang="x-none" sz="1400" baseline="0">
                <a:latin typeface="+mn-lt"/>
              </a:defRPr>
            </a:lvl4pPr>
            <a:lvl5pPr marL="749935" lvl="4" indent="-130175" defTabSz="895350" eaLnBrk="1" latinLnBrk="0" hangingPunct="1">
              <a:buClr>
                <a:schemeClr val="tx2"/>
              </a:buClr>
              <a:buSzPct val="100000"/>
              <a:buFont typeface="Arial" panose="020B0604020202020204" pitchFamily="34" charset="0"/>
              <a:buChar char="-"/>
              <a:defRPr lang="x-none" sz="1400"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9pPr>
          </a:lstStyle>
          <a:p>
            <a:pPr algn="ctr">
              <a:buClr>
                <a:srgbClr val="002960"/>
              </a:buClr>
            </a:pPr>
            <a:r>
              <a:rPr lang="en-US" b="1" dirty="0" smtClean="0">
                <a:solidFill>
                  <a:srgbClr val="FF5805"/>
                </a:solidFill>
                <a:latin typeface="华文楷体" panose="02010600040101010101" charset="-122"/>
                <a:sym typeface="微软雅黑" panose="020B0503020204020204" charset="-122"/>
              </a:rPr>
              <a:t>XX</a:t>
            </a:r>
            <a:endParaRPr lang="en-US" b="1" dirty="0" smtClean="0">
              <a:solidFill>
                <a:srgbClr val="FF5805"/>
              </a:solidFill>
              <a:latin typeface="华文楷体" panose="02010600040101010101" charset="-122"/>
              <a:sym typeface="微软雅黑" panose="020B0503020204020204" charset="-122"/>
            </a:endParaRPr>
          </a:p>
        </p:txBody>
      </p:sp>
      <p:sp>
        <p:nvSpPr>
          <p:cNvPr id="14" name="TextBox 12"/>
          <p:cNvSpPr txBox="1"/>
          <p:nvPr/>
        </p:nvSpPr>
        <p:spPr>
          <a:xfrm>
            <a:off x="1580238" y="2372197"/>
            <a:ext cx="683744"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405" defTabSz="895350" eaLnBrk="1" latinLnBrk="0" hangingPunct="1">
              <a:buClr>
                <a:schemeClr val="tx2"/>
              </a:buClr>
              <a:buSzPct val="100000"/>
              <a:buFont typeface="Arial" panose="020B0604020202020204" pitchFamily="34" charset="0"/>
              <a:buChar char="▪"/>
              <a:defRPr lang="x-none" sz="1400" baseline="0">
                <a:latin typeface="+mn-lt"/>
              </a:defRPr>
            </a:lvl2pPr>
            <a:lvl3pPr marL="457200" lvl="2" indent="-262255" defTabSz="895350" eaLnBrk="1" latinLnBrk="0" hangingPunct="1">
              <a:buClr>
                <a:schemeClr val="tx2"/>
              </a:buClr>
              <a:buSzPct val="100000"/>
              <a:buFont typeface="Arial" panose="020B0604020202020204" pitchFamily="34" charset="0"/>
              <a:buChar char="–"/>
              <a:defRPr lang="x-none" sz="1400" baseline="0">
                <a:latin typeface="+mn-lt"/>
              </a:defRPr>
            </a:lvl3pPr>
            <a:lvl4pPr marL="614680" lvl="3" indent="-155575" defTabSz="895350" eaLnBrk="1" latinLnBrk="0" hangingPunct="1">
              <a:buClr>
                <a:schemeClr val="tx2"/>
              </a:buClr>
              <a:buSzPct val="100000"/>
              <a:buFont typeface="Arial" panose="020B0604020202020204" pitchFamily="34" charset="0"/>
              <a:buChar char="▫"/>
              <a:defRPr lang="x-none" sz="1400" baseline="0">
                <a:latin typeface="+mn-lt"/>
              </a:defRPr>
            </a:lvl4pPr>
            <a:lvl5pPr marL="749935" lvl="4" indent="-130175" defTabSz="895350" eaLnBrk="1" latinLnBrk="0" hangingPunct="1">
              <a:buClr>
                <a:schemeClr val="tx2"/>
              </a:buClr>
              <a:buSzPct val="100000"/>
              <a:buFont typeface="Arial" panose="020B0604020202020204" pitchFamily="34" charset="0"/>
              <a:buChar char="-"/>
              <a:defRPr lang="x-none" sz="1400"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9pPr>
          </a:lstStyle>
          <a:p>
            <a:pPr algn="ctr">
              <a:buClr>
                <a:srgbClr val="002960"/>
              </a:buClr>
            </a:pPr>
            <a:r>
              <a:rPr lang="en-US" b="1" dirty="0" smtClean="0">
                <a:solidFill>
                  <a:srgbClr val="FF5805"/>
                </a:solidFill>
                <a:latin typeface="华文楷体" panose="02010600040101010101" charset="-122"/>
                <a:sym typeface="微软雅黑" panose="020B0503020204020204" charset="-122"/>
              </a:rPr>
              <a:t>XX</a:t>
            </a:r>
            <a:endParaRPr lang="en-US" b="1" dirty="0">
              <a:solidFill>
                <a:srgbClr val="FF5805"/>
              </a:solidFill>
              <a:latin typeface="华文楷体" panose="02010600040101010101" charset="-122"/>
              <a:sym typeface="微软雅黑" panose="020B0503020204020204" charset="-122"/>
            </a:endParaRPr>
          </a:p>
        </p:txBody>
      </p:sp>
      <p:sp>
        <p:nvSpPr>
          <p:cNvPr id="15" name="TextBox 13"/>
          <p:cNvSpPr txBox="1"/>
          <p:nvPr/>
        </p:nvSpPr>
        <p:spPr>
          <a:xfrm>
            <a:off x="2987807" y="2372197"/>
            <a:ext cx="560587"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405" defTabSz="895350" eaLnBrk="1" latinLnBrk="0" hangingPunct="1">
              <a:buClr>
                <a:schemeClr val="tx2"/>
              </a:buClr>
              <a:buSzPct val="100000"/>
              <a:buFont typeface="Arial" panose="020B0604020202020204" pitchFamily="34" charset="0"/>
              <a:buChar char="▪"/>
              <a:defRPr lang="x-none" sz="1400" baseline="0">
                <a:latin typeface="+mn-lt"/>
              </a:defRPr>
            </a:lvl2pPr>
            <a:lvl3pPr marL="457200" lvl="2" indent="-262255" defTabSz="895350" eaLnBrk="1" latinLnBrk="0" hangingPunct="1">
              <a:buClr>
                <a:schemeClr val="tx2"/>
              </a:buClr>
              <a:buSzPct val="100000"/>
              <a:buFont typeface="Arial" panose="020B0604020202020204" pitchFamily="34" charset="0"/>
              <a:buChar char="–"/>
              <a:defRPr lang="x-none" sz="1400" baseline="0">
                <a:latin typeface="+mn-lt"/>
              </a:defRPr>
            </a:lvl3pPr>
            <a:lvl4pPr marL="614680" lvl="3" indent="-155575" defTabSz="895350" eaLnBrk="1" latinLnBrk="0" hangingPunct="1">
              <a:buClr>
                <a:schemeClr val="tx2"/>
              </a:buClr>
              <a:buSzPct val="100000"/>
              <a:buFont typeface="Arial" panose="020B0604020202020204" pitchFamily="34" charset="0"/>
              <a:buChar char="▫"/>
              <a:defRPr lang="x-none" sz="1400" baseline="0">
                <a:latin typeface="+mn-lt"/>
              </a:defRPr>
            </a:lvl4pPr>
            <a:lvl5pPr marL="749935" lvl="4" indent="-130175" defTabSz="895350" eaLnBrk="1" latinLnBrk="0" hangingPunct="1">
              <a:buClr>
                <a:schemeClr val="tx2"/>
              </a:buClr>
              <a:buSzPct val="100000"/>
              <a:buFont typeface="Arial" panose="020B0604020202020204" pitchFamily="34" charset="0"/>
              <a:buChar char="-"/>
              <a:defRPr lang="x-none" sz="1400"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9pPr>
          </a:lstStyle>
          <a:p>
            <a:pPr algn="ctr">
              <a:buClr>
                <a:srgbClr val="002960"/>
              </a:buClr>
            </a:pPr>
            <a:r>
              <a:rPr lang="en-US" altLang="zh-CN" b="1" dirty="0" smtClean="0">
                <a:solidFill>
                  <a:srgbClr val="FF5805"/>
                </a:solidFill>
                <a:latin typeface="华文楷体" panose="02010600040101010101" charset="-122"/>
                <a:sym typeface="微软雅黑" panose="020B0503020204020204" charset="-122"/>
              </a:rPr>
              <a:t>XX</a:t>
            </a:r>
            <a:endParaRPr lang="en-US" b="1" dirty="0">
              <a:solidFill>
                <a:srgbClr val="FF5805"/>
              </a:solidFill>
              <a:latin typeface="华文楷体" panose="02010600040101010101" charset="-122"/>
              <a:sym typeface="微软雅黑" panose="020B0503020204020204" charset="-122"/>
            </a:endParaRPr>
          </a:p>
        </p:txBody>
      </p:sp>
      <p:sp>
        <p:nvSpPr>
          <p:cNvPr id="16" name="TextBox 14"/>
          <p:cNvSpPr txBox="1"/>
          <p:nvPr/>
        </p:nvSpPr>
        <p:spPr>
          <a:xfrm>
            <a:off x="3687420" y="2372197"/>
            <a:ext cx="560587"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405" defTabSz="895350" eaLnBrk="1" latinLnBrk="0" hangingPunct="1">
              <a:buClr>
                <a:schemeClr val="tx2"/>
              </a:buClr>
              <a:buSzPct val="100000"/>
              <a:buFont typeface="Arial" panose="020B0604020202020204" pitchFamily="34" charset="0"/>
              <a:buChar char="▪"/>
              <a:defRPr lang="x-none" sz="1400" baseline="0">
                <a:latin typeface="+mn-lt"/>
              </a:defRPr>
            </a:lvl2pPr>
            <a:lvl3pPr marL="457200" lvl="2" indent="-262255" defTabSz="895350" eaLnBrk="1" latinLnBrk="0" hangingPunct="1">
              <a:buClr>
                <a:schemeClr val="tx2"/>
              </a:buClr>
              <a:buSzPct val="100000"/>
              <a:buFont typeface="Arial" panose="020B0604020202020204" pitchFamily="34" charset="0"/>
              <a:buChar char="–"/>
              <a:defRPr lang="x-none" sz="1400" baseline="0">
                <a:latin typeface="+mn-lt"/>
              </a:defRPr>
            </a:lvl3pPr>
            <a:lvl4pPr marL="614680" lvl="3" indent="-155575" defTabSz="895350" eaLnBrk="1" latinLnBrk="0" hangingPunct="1">
              <a:buClr>
                <a:schemeClr val="tx2"/>
              </a:buClr>
              <a:buSzPct val="100000"/>
              <a:buFont typeface="Arial" panose="020B0604020202020204" pitchFamily="34" charset="0"/>
              <a:buChar char="▫"/>
              <a:defRPr lang="x-none" sz="1400" baseline="0">
                <a:latin typeface="+mn-lt"/>
              </a:defRPr>
            </a:lvl4pPr>
            <a:lvl5pPr marL="749935" lvl="4" indent="-130175" defTabSz="895350" eaLnBrk="1" latinLnBrk="0" hangingPunct="1">
              <a:buClr>
                <a:schemeClr val="tx2"/>
              </a:buClr>
              <a:buSzPct val="100000"/>
              <a:buFont typeface="Arial" panose="020B0604020202020204" pitchFamily="34" charset="0"/>
              <a:buChar char="-"/>
              <a:defRPr lang="x-none" sz="1400"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9pPr>
          </a:lstStyle>
          <a:p>
            <a:pPr algn="ctr">
              <a:buClr>
                <a:srgbClr val="002960"/>
              </a:buClr>
            </a:pPr>
            <a:r>
              <a:rPr lang="en-US" altLang="zh-CN" b="1" dirty="0" smtClean="0">
                <a:solidFill>
                  <a:srgbClr val="FF5805"/>
                </a:solidFill>
                <a:latin typeface="华文楷体" panose="02010600040101010101" charset="-122"/>
                <a:sym typeface="微软雅黑" panose="020B0503020204020204" charset="-122"/>
              </a:rPr>
              <a:t>XX</a:t>
            </a:r>
            <a:endParaRPr lang="en-US" b="1" dirty="0">
              <a:solidFill>
                <a:srgbClr val="FF5805"/>
              </a:solidFill>
              <a:latin typeface="华文楷体" panose="02010600040101010101" charset="-122"/>
              <a:sym typeface="微软雅黑" panose="020B0503020204020204" charset="-122"/>
            </a:endParaRPr>
          </a:p>
        </p:txBody>
      </p:sp>
      <p:sp>
        <p:nvSpPr>
          <p:cNvPr id="17" name="TextBox 15"/>
          <p:cNvSpPr txBox="1"/>
          <p:nvPr/>
        </p:nvSpPr>
        <p:spPr>
          <a:xfrm>
            <a:off x="4338666" y="2372197"/>
            <a:ext cx="560587"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405" defTabSz="895350" eaLnBrk="1" latinLnBrk="0" hangingPunct="1">
              <a:buClr>
                <a:schemeClr val="tx2"/>
              </a:buClr>
              <a:buSzPct val="100000"/>
              <a:buFont typeface="Arial" panose="020B0604020202020204" pitchFamily="34" charset="0"/>
              <a:buChar char="▪"/>
              <a:defRPr lang="x-none" sz="1400" baseline="0">
                <a:latin typeface="+mn-lt"/>
              </a:defRPr>
            </a:lvl2pPr>
            <a:lvl3pPr marL="457200" lvl="2" indent="-262255" defTabSz="895350" eaLnBrk="1" latinLnBrk="0" hangingPunct="1">
              <a:buClr>
                <a:schemeClr val="tx2"/>
              </a:buClr>
              <a:buSzPct val="100000"/>
              <a:buFont typeface="Arial" panose="020B0604020202020204" pitchFamily="34" charset="0"/>
              <a:buChar char="–"/>
              <a:defRPr lang="x-none" sz="1400" baseline="0">
                <a:latin typeface="+mn-lt"/>
              </a:defRPr>
            </a:lvl3pPr>
            <a:lvl4pPr marL="614680" lvl="3" indent="-155575" defTabSz="895350" eaLnBrk="1" latinLnBrk="0" hangingPunct="1">
              <a:buClr>
                <a:schemeClr val="tx2"/>
              </a:buClr>
              <a:buSzPct val="100000"/>
              <a:buFont typeface="Arial" panose="020B0604020202020204" pitchFamily="34" charset="0"/>
              <a:buChar char="▫"/>
              <a:defRPr lang="x-none" sz="1400" baseline="0">
                <a:latin typeface="+mn-lt"/>
              </a:defRPr>
            </a:lvl4pPr>
            <a:lvl5pPr marL="749935" lvl="4" indent="-130175" defTabSz="895350" eaLnBrk="1" latinLnBrk="0" hangingPunct="1">
              <a:buClr>
                <a:schemeClr val="tx2"/>
              </a:buClr>
              <a:buSzPct val="100000"/>
              <a:buFont typeface="Arial" panose="020B0604020202020204" pitchFamily="34" charset="0"/>
              <a:buChar char="-"/>
              <a:defRPr lang="x-none" sz="1400"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9pPr>
          </a:lstStyle>
          <a:p>
            <a:pPr algn="ctr">
              <a:buClr>
                <a:srgbClr val="002960"/>
              </a:buClr>
            </a:pPr>
            <a:r>
              <a:rPr lang="en-US" altLang="zh-CN" b="1" dirty="0" smtClean="0">
                <a:solidFill>
                  <a:srgbClr val="FF5805"/>
                </a:solidFill>
                <a:latin typeface="华文楷体" panose="02010600040101010101" charset="-122"/>
                <a:sym typeface="微软雅黑" panose="020B0503020204020204" charset="-122"/>
              </a:rPr>
              <a:t>XX</a:t>
            </a:r>
            <a:endParaRPr lang="en-US" b="1" dirty="0">
              <a:solidFill>
                <a:srgbClr val="FF5805"/>
              </a:solidFill>
              <a:latin typeface="华文楷体" panose="02010600040101010101" charset="-122"/>
              <a:sym typeface="微软雅黑" panose="020B0503020204020204" charset="-122"/>
            </a:endParaRPr>
          </a:p>
        </p:txBody>
      </p:sp>
      <p:sp>
        <p:nvSpPr>
          <p:cNvPr id="18" name="TextBox 16"/>
          <p:cNvSpPr txBox="1"/>
          <p:nvPr/>
        </p:nvSpPr>
        <p:spPr>
          <a:xfrm>
            <a:off x="5004537" y="2372197"/>
            <a:ext cx="560587"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405" defTabSz="895350" eaLnBrk="1" latinLnBrk="0" hangingPunct="1">
              <a:buClr>
                <a:schemeClr val="tx2"/>
              </a:buClr>
              <a:buSzPct val="100000"/>
              <a:buFont typeface="Arial" panose="020B0604020202020204" pitchFamily="34" charset="0"/>
              <a:buChar char="▪"/>
              <a:defRPr lang="x-none" sz="1400" baseline="0">
                <a:latin typeface="+mn-lt"/>
              </a:defRPr>
            </a:lvl2pPr>
            <a:lvl3pPr marL="457200" lvl="2" indent="-262255" defTabSz="895350" eaLnBrk="1" latinLnBrk="0" hangingPunct="1">
              <a:buClr>
                <a:schemeClr val="tx2"/>
              </a:buClr>
              <a:buSzPct val="100000"/>
              <a:buFont typeface="Arial" panose="020B0604020202020204" pitchFamily="34" charset="0"/>
              <a:buChar char="–"/>
              <a:defRPr lang="x-none" sz="1400" baseline="0">
                <a:latin typeface="+mn-lt"/>
              </a:defRPr>
            </a:lvl3pPr>
            <a:lvl4pPr marL="614680" lvl="3" indent="-155575" defTabSz="895350" eaLnBrk="1" latinLnBrk="0" hangingPunct="1">
              <a:buClr>
                <a:schemeClr val="tx2"/>
              </a:buClr>
              <a:buSzPct val="100000"/>
              <a:buFont typeface="Arial" panose="020B0604020202020204" pitchFamily="34" charset="0"/>
              <a:buChar char="▫"/>
              <a:defRPr lang="x-none" sz="1400" baseline="0">
                <a:latin typeface="+mn-lt"/>
              </a:defRPr>
            </a:lvl4pPr>
            <a:lvl5pPr marL="749935" lvl="4" indent="-130175" defTabSz="895350" eaLnBrk="1" latinLnBrk="0" hangingPunct="1">
              <a:buClr>
                <a:schemeClr val="tx2"/>
              </a:buClr>
              <a:buSzPct val="100000"/>
              <a:buFont typeface="Arial" panose="020B0604020202020204" pitchFamily="34" charset="0"/>
              <a:buChar char="-"/>
              <a:defRPr lang="x-none" sz="1400"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9pPr>
          </a:lstStyle>
          <a:p>
            <a:pPr algn="ctr">
              <a:buClr>
                <a:srgbClr val="002960"/>
              </a:buClr>
            </a:pPr>
            <a:r>
              <a:rPr lang="en-US" altLang="zh-CN" b="1" dirty="0" smtClean="0">
                <a:solidFill>
                  <a:srgbClr val="FF5805"/>
                </a:solidFill>
                <a:latin typeface="华文楷体" panose="02010600040101010101" charset="-122"/>
                <a:sym typeface="微软雅黑" panose="020B0503020204020204" charset="-122"/>
              </a:rPr>
              <a:t>XX</a:t>
            </a:r>
            <a:endParaRPr lang="en-US" b="1" dirty="0">
              <a:solidFill>
                <a:srgbClr val="FF5805"/>
              </a:solidFill>
              <a:latin typeface="华文楷体" panose="02010600040101010101" charset="-122"/>
              <a:sym typeface="微软雅黑" panose="020B0503020204020204" charset="-122"/>
            </a:endParaRPr>
          </a:p>
        </p:txBody>
      </p:sp>
      <p:sp>
        <p:nvSpPr>
          <p:cNvPr id="19" name="TextBox 17"/>
          <p:cNvSpPr txBox="1"/>
          <p:nvPr/>
        </p:nvSpPr>
        <p:spPr>
          <a:xfrm>
            <a:off x="5657191" y="2372197"/>
            <a:ext cx="560587"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405" defTabSz="895350" eaLnBrk="1" latinLnBrk="0" hangingPunct="1">
              <a:buClr>
                <a:schemeClr val="tx2"/>
              </a:buClr>
              <a:buSzPct val="100000"/>
              <a:buFont typeface="Arial" panose="020B0604020202020204" pitchFamily="34" charset="0"/>
              <a:buChar char="▪"/>
              <a:defRPr lang="x-none" sz="1400" baseline="0">
                <a:latin typeface="+mn-lt"/>
              </a:defRPr>
            </a:lvl2pPr>
            <a:lvl3pPr marL="457200" lvl="2" indent="-262255" defTabSz="895350" eaLnBrk="1" latinLnBrk="0" hangingPunct="1">
              <a:buClr>
                <a:schemeClr val="tx2"/>
              </a:buClr>
              <a:buSzPct val="100000"/>
              <a:buFont typeface="Arial" panose="020B0604020202020204" pitchFamily="34" charset="0"/>
              <a:buChar char="–"/>
              <a:defRPr lang="x-none" sz="1400" baseline="0">
                <a:latin typeface="+mn-lt"/>
              </a:defRPr>
            </a:lvl3pPr>
            <a:lvl4pPr marL="614680" lvl="3" indent="-155575" defTabSz="895350" eaLnBrk="1" latinLnBrk="0" hangingPunct="1">
              <a:buClr>
                <a:schemeClr val="tx2"/>
              </a:buClr>
              <a:buSzPct val="100000"/>
              <a:buFont typeface="Arial" panose="020B0604020202020204" pitchFamily="34" charset="0"/>
              <a:buChar char="▫"/>
              <a:defRPr lang="x-none" sz="1400" baseline="0">
                <a:latin typeface="+mn-lt"/>
              </a:defRPr>
            </a:lvl4pPr>
            <a:lvl5pPr marL="749935" lvl="4" indent="-130175" defTabSz="895350" eaLnBrk="1" latinLnBrk="0" hangingPunct="1">
              <a:buClr>
                <a:schemeClr val="tx2"/>
              </a:buClr>
              <a:buSzPct val="100000"/>
              <a:buFont typeface="Arial" panose="020B0604020202020204" pitchFamily="34" charset="0"/>
              <a:buChar char="-"/>
              <a:defRPr lang="x-none" sz="1400"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9pPr>
          </a:lstStyle>
          <a:p>
            <a:pPr algn="ctr">
              <a:buClr>
                <a:srgbClr val="002960"/>
              </a:buClr>
            </a:pPr>
            <a:r>
              <a:rPr lang="en-US" altLang="zh-CN" b="1" dirty="0" smtClean="0">
                <a:solidFill>
                  <a:srgbClr val="FF5805"/>
                </a:solidFill>
                <a:latin typeface="华文楷体" panose="02010600040101010101" charset="-122"/>
                <a:sym typeface="微软雅黑" panose="020B0503020204020204" charset="-122"/>
              </a:rPr>
              <a:t>XX</a:t>
            </a:r>
            <a:endParaRPr lang="en-US" b="1" dirty="0">
              <a:solidFill>
                <a:srgbClr val="FF5805"/>
              </a:solidFill>
              <a:latin typeface="华文楷体" panose="02010600040101010101" charset="-122"/>
              <a:sym typeface="微软雅黑" panose="020B0503020204020204" charset="-122"/>
            </a:endParaRPr>
          </a:p>
        </p:txBody>
      </p:sp>
      <p:sp>
        <p:nvSpPr>
          <p:cNvPr id="20" name="TextBox 18"/>
          <p:cNvSpPr txBox="1"/>
          <p:nvPr/>
        </p:nvSpPr>
        <p:spPr>
          <a:xfrm>
            <a:off x="2247979" y="2372197"/>
            <a:ext cx="683744"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405" defTabSz="895350" eaLnBrk="1" latinLnBrk="0" hangingPunct="1">
              <a:buClr>
                <a:schemeClr val="tx2"/>
              </a:buClr>
              <a:buSzPct val="100000"/>
              <a:buFont typeface="Arial" panose="020B0604020202020204" pitchFamily="34" charset="0"/>
              <a:buChar char="▪"/>
              <a:defRPr lang="x-none" sz="1400" baseline="0">
                <a:latin typeface="+mn-lt"/>
              </a:defRPr>
            </a:lvl2pPr>
            <a:lvl3pPr marL="457200" lvl="2" indent="-262255" defTabSz="895350" eaLnBrk="1" latinLnBrk="0" hangingPunct="1">
              <a:buClr>
                <a:schemeClr val="tx2"/>
              </a:buClr>
              <a:buSzPct val="100000"/>
              <a:buFont typeface="Arial" panose="020B0604020202020204" pitchFamily="34" charset="0"/>
              <a:buChar char="–"/>
              <a:defRPr lang="x-none" sz="1400" baseline="0">
                <a:latin typeface="+mn-lt"/>
              </a:defRPr>
            </a:lvl3pPr>
            <a:lvl4pPr marL="614680" lvl="3" indent="-155575" defTabSz="895350" eaLnBrk="1" latinLnBrk="0" hangingPunct="1">
              <a:buClr>
                <a:schemeClr val="tx2"/>
              </a:buClr>
              <a:buSzPct val="100000"/>
              <a:buFont typeface="Arial" panose="020B0604020202020204" pitchFamily="34" charset="0"/>
              <a:buChar char="▫"/>
              <a:defRPr lang="x-none" sz="1400" baseline="0">
                <a:latin typeface="+mn-lt"/>
              </a:defRPr>
            </a:lvl4pPr>
            <a:lvl5pPr marL="749935" lvl="4" indent="-130175" defTabSz="895350" eaLnBrk="1" latinLnBrk="0" hangingPunct="1">
              <a:buClr>
                <a:schemeClr val="tx2"/>
              </a:buClr>
              <a:buSzPct val="100000"/>
              <a:buFont typeface="Arial" panose="020B0604020202020204" pitchFamily="34" charset="0"/>
              <a:buChar char="-"/>
              <a:defRPr lang="x-none" sz="1400"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9pPr>
          </a:lstStyle>
          <a:p>
            <a:pPr algn="ctr">
              <a:buClr>
                <a:srgbClr val="002960"/>
              </a:buClr>
            </a:pPr>
            <a:r>
              <a:rPr lang="en-US" altLang="zh-CN" b="1" dirty="0" smtClean="0">
                <a:solidFill>
                  <a:srgbClr val="FF5805"/>
                </a:solidFill>
                <a:latin typeface="华文楷体" panose="02010600040101010101" charset="-122"/>
                <a:sym typeface="微软雅黑" panose="020B0503020204020204" charset="-122"/>
              </a:rPr>
              <a:t>XX</a:t>
            </a:r>
            <a:endParaRPr lang="en-US" b="1" dirty="0">
              <a:solidFill>
                <a:srgbClr val="FF5805"/>
              </a:solidFill>
              <a:latin typeface="华文楷体" panose="02010600040101010101" charset="-122"/>
              <a:sym typeface="微软雅黑" panose="020B0503020204020204" charset="-122"/>
            </a:endParaRPr>
          </a:p>
        </p:txBody>
      </p:sp>
      <p:sp>
        <p:nvSpPr>
          <p:cNvPr id="21" name="五边形 20"/>
          <p:cNvSpPr/>
          <p:nvPr/>
        </p:nvSpPr>
        <p:spPr>
          <a:xfrm>
            <a:off x="551518" y="2726613"/>
            <a:ext cx="6966329" cy="803350"/>
          </a:xfrm>
          <a:prstGeom prst="homePlate">
            <a:avLst/>
          </a:prstGeom>
          <a:solidFill>
            <a:srgbClr val="FF5805">
              <a:alpha val="88000"/>
            </a:srgbClr>
          </a:solidFill>
          <a:ln w="9525">
            <a:noFill/>
            <a:prstDash val="dash"/>
            <a:round/>
            <a:tailEnd type="triangle" w="med" len="med"/>
          </a:ln>
        </p:spPr>
        <p:txBody>
          <a:bodyPr lIns="0" tIns="0" rIns="0" bIns="0" rtlCol="0" anchor="ctr"/>
          <a:lstStyle/>
          <a:p>
            <a:pPr indent="182880"/>
            <a:r>
              <a:rPr lang="zh-CN" altLang="en-US" sz="1600" b="1" dirty="0" smtClean="0">
                <a:solidFill>
                  <a:srgbClr val="FFFFFF"/>
                </a:solidFill>
                <a:latin typeface="华文楷体" panose="02010600040101010101" charset="-122"/>
                <a:cs typeface="Arial Unicode MS" pitchFamily="34" charset="-122"/>
              </a:rPr>
              <a:t>前台                                                 </a:t>
            </a:r>
            <a:r>
              <a:rPr lang="en-US" altLang="zh-CN" sz="1600" b="1" dirty="0" smtClean="0">
                <a:solidFill>
                  <a:srgbClr val="FFFFFF"/>
                </a:solidFill>
                <a:latin typeface="华文楷体" panose="02010600040101010101" charset="-122"/>
                <a:cs typeface="Arial Unicode MS" pitchFamily="34" charset="-122"/>
              </a:rPr>
              <a:t>xx</a:t>
            </a:r>
            <a:endParaRPr lang="zh-CN" altLang="en-US" sz="1600" b="1" dirty="0">
              <a:solidFill>
                <a:srgbClr val="FFFFFF"/>
              </a:solidFill>
              <a:latin typeface="华文楷体" panose="02010600040101010101" charset="-122"/>
              <a:cs typeface="Arial Unicode MS" pitchFamily="34" charset="-122"/>
            </a:endParaRPr>
          </a:p>
        </p:txBody>
      </p:sp>
      <p:sp>
        <p:nvSpPr>
          <p:cNvPr id="22" name="五边形 21"/>
          <p:cNvSpPr/>
          <p:nvPr/>
        </p:nvSpPr>
        <p:spPr>
          <a:xfrm>
            <a:off x="551518" y="3671003"/>
            <a:ext cx="6966329" cy="803350"/>
          </a:xfrm>
          <a:prstGeom prst="homePlate">
            <a:avLst/>
          </a:prstGeom>
          <a:solidFill>
            <a:srgbClr val="FF5805">
              <a:alpha val="88000"/>
            </a:srgbClr>
          </a:solidFill>
          <a:ln w="9525">
            <a:noFill/>
            <a:prstDash val="dash"/>
            <a:round/>
            <a:tailEnd type="triangle" w="med" len="med"/>
          </a:ln>
        </p:spPr>
        <p:txBody>
          <a:bodyPr lIns="0" tIns="0" rIns="0" bIns="0" rtlCol="0" anchor="ctr"/>
          <a:lstStyle/>
          <a:p>
            <a:pPr indent="182880"/>
            <a:r>
              <a:rPr lang="zh-CN" altLang="en-US" sz="1600" b="1" dirty="0" smtClean="0">
                <a:solidFill>
                  <a:srgbClr val="FFFFFF"/>
                </a:solidFill>
                <a:latin typeface="华文楷体" panose="02010600040101010101" charset="-122"/>
                <a:cs typeface="Arial Unicode MS" pitchFamily="34" charset="-122"/>
              </a:rPr>
              <a:t>中台                                                 </a:t>
            </a:r>
            <a:r>
              <a:rPr lang="en-US" altLang="zh-CN" sz="1600" b="1" dirty="0" smtClean="0">
                <a:solidFill>
                  <a:srgbClr val="FFFFFF"/>
                </a:solidFill>
                <a:latin typeface="华文楷体" panose="02010600040101010101" charset="-122"/>
                <a:cs typeface="Arial Unicode MS" pitchFamily="34" charset="-122"/>
              </a:rPr>
              <a:t>xx</a:t>
            </a:r>
            <a:endParaRPr lang="zh-CN" altLang="en-US" sz="1600" b="1" dirty="0">
              <a:solidFill>
                <a:srgbClr val="FFFFFF"/>
              </a:solidFill>
              <a:latin typeface="华文楷体" panose="02010600040101010101" charset="-122"/>
              <a:cs typeface="Arial Unicode MS" pitchFamily="34" charset="-122"/>
            </a:endParaRPr>
          </a:p>
        </p:txBody>
      </p:sp>
      <p:sp>
        <p:nvSpPr>
          <p:cNvPr id="23" name="五边形 22"/>
          <p:cNvSpPr/>
          <p:nvPr/>
        </p:nvSpPr>
        <p:spPr>
          <a:xfrm>
            <a:off x="556135" y="4624172"/>
            <a:ext cx="6966329" cy="803350"/>
          </a:xfrm>
          <a:prstGeom prst="homePlate">
            <a:avLst/>
          </a:prstGeom>
          <a:solidFill>
            <a:srgbClr val="FF5805">
              <a:alpha val="88000"/>
            </a:srgbClr>
          </a:solidFill>
          <a:ln w="9525">
            <a:noFill/>
            <a:prstDash val="dash"/>
            <a:round/>
            <a:tailEnd type="triangle" w="med" len="med"/>
          </a:ln>
        </p:spPr>
        <p:txBody>
          <a:bodyPr lIns="0" tIns="0" rIns="0" bIns="0" rtlCol="0" anchor="ctr"/>
          <a:lstStyle/>
          <a:p>
            <a:pPr indent="182880"/>
            <a:r>
              <a:rPr lang="zh-CN" altLang="en-US" sz="1600" b="1" dirty="0" smtClean="0">
                <a:solidFill>
                  <a:srgbClr val="FFFFFF"/>
                </a:solidFill>
                <a:latin typeface="华文楷体" panose="02010600040101010101" charset="-122"/>
                <a:cs typeface="Arial Unicode MS" pitchFamily="34" charset="-122"/>
              </a:rPr>
              <a:t>后台                                                 </a:t>
            </a:r>
            <a:r>
              <a:rPr lang="en-US" altLang="zh-CN" sz="1600" b="1" dirty="0" smtClean="0">
                <a:solidFill>
                  <a:srgbClr val="FFFFFF"/>
                </a:solidFill>
                <a:latin typeface="华文楷体" panose="02010600040101010101" charset="-122"/>
                <a:cs typeface="Arial Unicode MS" pitchFamily="34" charset="-122"/>
              </a:rPr>
              <a:t>xx</a:t>
            </a:r>
            <a:endParaRPr lang="zh-CN" altLang="en-US" sz="1600" b="1" dirty="0">
              <a:solidFill>
                <a:srgbClr val="FFFFFF"/>
              </a:solidFill>
              <a:latin typeface="华文楷体" panose="02010600040101010101" charset="-122"/>
              <a:cs typeface="Arial Unicode MS" pitchFamily="34" charset="-122"/>
            </a:endParaRPr>
          </a:p>
        </p:txBody>
      </p:sp>
      <p:sp>
        <p:nvSpPr>
          <p:cNvPr id="24" name="TextBox 24"/>
          <p:cNvSpPr txBox="1"/>
          <p:nvPr/>
        </p:nvSpPr>
        <p:spPr>
          <a:xfrm>
            <a:off x="3022488" y="1238436"/>
            <a:ext cx="1890449" cy="843477"/>
          </a:xfrm>
          <a:prstGeom prst="rect">
            <a:avLst/>
          </a:prstGeom>
          <a:solidFill>
            <a:srgbClr val="FFFFFF"/>
          </a:solidFill>
        </p:spPr>
        <p:txBody>
          <a:bodyPr wrap="square" tIns="180000" rtlCol="0">
            <a:spAutoFit/>
          </a:bodyPr>
          <a:lstStyle>
            <a:defPPr>
              <a:defRPr lang="ko-KR"/>
            </a:defPPr>
            <a:lvl1pPr algn="ctr">
              <a:defRPr sz="2000" b="1">
                <a:solidFill>
                  <a:schemeClr val="bg1"/>
                </a:solidFill>
                <a:latin typeface="华文楷体" panose="02010600040101010101" charset="-122"/>
                <a:ea typeface="华文楷体" panose="02010600040101010101"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sysClr val="windowText" lastClr="000000"/>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rPr>
              <a:t>服务</a:t>
            </a:r>
            <a:endParaRPr kumimoji="0" lang="en-US" altLang="zh-CN" sz="2000" b="1" i="0" u="none" strike="noStrike" kern="0" cap="none" spc="0" normalizeH="0" baseline="0" noProof="0" dirty="0" smtClean="0">
              <a:ln>
                <a:noFill/>
              </a:ln>
              <a:solidFill>
                <a:sysClr val="windowText" lastClr="000000"/>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sysClr val="windowText" lastClr="000000"/>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rPr>
              <a:t>全领域</a:t>
            </a:r>
            <a:endParaRPr kumimoji="0" lang="zh-CN" altLang="en-US" sz="2000" b="1" i="0" u="none" strike="noStrike" kern="0" cap="none" spc="0" normalizeH="0" baseline="0" noProof="0" dirty="0">
              <a:ln>
                <a:noFill/>
              </a:ln>
              <a:solidFill>
                <a:sysClr val="windowText" lastClr="000000"/>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endParaRPr>
          </a:p>
        </p:txBody>
      </p:sp>
      <p:sp>
        <p:nvSpPr>
          <p:cNvPr id="25" name="TextBox 25"/>
          <p:cNvSpPr txBox="1"/>
          <p:nvPr/>
        </p:nvSpPr>
        <p:spPr>
          <a:xfrm>
            <a:off x="6336836" y="2337768"/>
            <a:ext cx="560587"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405" defTabSz="895350" eaLnBrk="1" latinLnBrk="0" hangingPunct="1">
              <a:buClr>
                <a:schemeClr val="tx2"/>
              </a:buClr>
              <a:buSzPct val="100000"/>
              <a:buFont typeface="Arial" panose="020B0604020202020204" pitchFamily="34" charset="0"/>
              <a:buChar char="▪"/>
              <a:defRPr lang="x-none" sz="1400" baseline="0">
                <a:latin typeface="+mn-lt"/>
              </a:defRPr>
            </a:lvl2pPr>
            <a:lvl3pPr marL="457200" lvl="2" indent="-262255" defTabSz="895350" eaLnBrk="1" latinLnBrk="0" hangingPunct="1">
              <a:buClr>
                <a:schemeClr val="tx2"/>
              </a:buClr>
              <a:buSzPct val="100000"/>
              <a:buFont typeface="Arial" panose="020B0604020202020204" pitchFamily="34" charset="0"/>
              <a:buChar char="–"/>
              <a:defRPr lang="x-none" sz="1400" baseline="0">
                <a:latin typeface="+mn-lt"/>
              </a:defRPr>
            </a:lvl3pPr>
            <a:lvl4pPr marL="614680" lvl="3" indent="-155575" defTabSz="895350" eaLnBrk="1" latinLnBrk="0" hangingPunct="1">
              <a:buClr>
                <a:schemeClr val="tx2"/>
              </a:buClr>
              <a:buSzPct val="100000"/>
              <a:buFont typeface="Arial" panose="020B0604020202020204" pitchFamily="34" charset="0"/>
              <a:buChar char="▫"/>
              <a:defRPr lang="x-none" sz="1400" baseline="0">
                <a:latin typeface="+mn-lt"/>
              </a:defRPr>
            </a:lvl4pPr>
            <a:lvl5pPr marL="749935" lvl="4" indent="-130175" defTabSz="895350" eaLnBrk="1" latinLnBrk="0" hangingPunct="1">
              <a:buClr>
                <a:schemeClr val="tx2"/>
              </a:buClr>
              <a:buSzPct val="100000"/>
              <a:buFont typeface="Arial" panose="020B0604020202020204" pitchFamily="34" charset="0"/>
              <a:buChar char="-"/>
              <a:defRPr lang="x-none" sz="1400"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lang="x-none" baseline="0">
                <a:latin typeface="+mn-lt"/>
              </a:defRPr>
            </a:lvl9pPr>
          </a:lstStyle>
          <a:p>
            <a:pPr algn="ctr">
              <a:buClr>
                <a:srgbClr val="002960"/>
              </a:buClr>
            </a:pPr>
            <a:r>
              <a:rPr lang="en-US" altLang="zh-CN" b="1" dirty="0" smtClean="0">
                <a:solidFill>
                  <a:srgbClr val="FF5805"/>
                </a:solidFill>
                <a:latin typeface="华文楷体" panose="02010600040101010101" charset="-122"/>
                <a:sym typeface="微软雅黑" panose="020B0503020204020204" charset="-122"/>
              </a:rPr>
              <a:t>…</a:t>
            </a:r>
            <a:endParaRPr lang="en-US" b="1" dirty="0">
              <a:solidFill>
                <a:srgbClr val="FF5805"/>
              </a:solidFill>
              <a:latin typeface="华文楷体" panose="02010600040101010101" charset="-122"/>
              <a:sym typeface="微软雅黑" panose="020B0503020204020204" charset="-122"/>
            </a:endParaRPr>
          </a:p>
        </p:txBody>
      </p:sp>
      <p:sp>
        <p:nvSpPr>
          <p:cNvPr id="26" name="矩形 25"/>
          <p:cNvSpPr/>
          <p:nvPr/>
        </p:nvSpPr>
        <p:spPr>
          <a:xfrm>
            <a:off x="7707553" y="2367247"/>
            <a:ext cx="1107996" cy="369332"/>
          </a:xfrm>
          <a:prstGeom prst="rect">
            <a:avLst/>
          </a:prstGeom>
        </p:spPr>
        <p:txBody>
          <a:bodyPr wrap="none">
            <a:spAutoFit/>
          </a:bodyPr>
          <a:lstStyle/>
          <a:p>
            <a:r>
              <a:rPr lang="zh-CN" altLang="en-US" b="1" dirty="0">
                <a:solidFill>
                  <a:srgbClr val="000000"/>
                </a:solidFill>
                <a:latin typeface="华文楷体" panose="02010600040101010101" charset="-122"/>
                <a:cs typeface="Arial" panose="020B0604020202020204" pitchFamily="34" charset="0"/>
                <a:sym typeface="微软雅黑" panose="020B0503020204020204" charset="-122"/>
              </a:rPr>
              <a:t>三大入口</a:t>
            </a:r>
            <a:endParaRPr lang="zh-CN" altLang="en-US" dirty="0">
              <a:solidFill>
                <a:srgbClr val="000000"/>
              </a:solidFill>
              <a:ea typeface="楷体" panose="02010609060101010101" pitchFamily="49" charset="-122"/>
            </a:endParaRPr>
          </a:p>
        </p:txBody>
      </p:sp>
      <p:sp>
        <p:nvSpPr>
          <p:cNvPr id="27" name="矩形 26"/>
          <p:cNvSpPr/>
          <p:nvPr/>
        </p:nvSpPr>
        <p:spPr>
          <a:xfrm>
            <a:off x="7576371" y="2350828"/>
            <a:ext cx="1304494" cy="3257486"/>
          </a:xfrm>
          <a:prstGeom prst="rect">
            <a:avLst/>
          </a:prstGeom>
          <a:solidFill>
            <a:srgbClr val="FFFFFF">
              <a:lumMod val="75000"/>
              <a:alpha val="52000"/>
            </a:srgbClr>
          </a:solidFill>
          <a:ln w="25400" cap="flat" cmpd="sng" algn="ctr">
            <a:solidFill>
              <a:srgbClr val="C7E0F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楷体" panose="02010609060101010101" pitchFamily="49" charset="-122"/>
              <a:cs typeface="+mn-cs"/>
            </a:endParaRPr>
          </a:p>
        </p:txBody>
      </p:sp>
      <p:sp>
        <p:nvSpPr>
          <p:cNvPr id="28" name="TextBox 31"/>
          <p:cNvSpPr txBox="1"/>
          <p:nvPr/>
        </p:nvSpPr>
        <p:spPr>
          <a:xfrm>
            <a:off x="8118743" y="2945948"/>
            <a:ext cx="762122" cy="584775"/>
          </a:xfrm>
          <a:prstGeom prst="rect">
            <a:avLst/>
          </a:prstGeom>
          <a:noFill/>
        </p:spPr>
        <p:txBody>
          <a:bodyPr wrap="square" rtlCol="0">
            <a:spAutoFit/>
          </a:bodyPr>
          <a:lstStyle/>
          <a:p>
            <a:r>
              <a:rPr lang="zh-CN" altLang="en-US" sz="1600" b="1" dirty="0">
                <a:solidFill>
                  <a:srgbClr val="000000"/>
                </a:solidFill>
                <a:latin typeface="华文楷体" panose="02010600040101010101" charset="-122"/>
                <a:cs typeface="Arial Unicode MS" pitchFamily="34" charset="-122"/>
              </a:rPr>
              <a:t>个人客户</a:t>
            </a:r>
            <a:endParaRPr lang="zh-CN" altLang="en-US" sz="1600" b="1" dirty="0">
              <a:solidFill>
                <a:srgbClr val="000000"/>
              </a:solidFill>
              <a:latin typeface="华文楷体" panose="02010600040101010101" charset="-122"/>
              <a:cs typeface="Arial Unicode MS" pitchFamily="34" charset="-122"/>
            </a:endParaRPr>
          </a:p>
        </p:txBody>
      </p:sp>
      <p:sp>
        <p:nvSpPr>
          <p:cNvPr id="29" name="TextBox 32"/>
          <p:cNvSpPr txBox="1"/>
          <p:nvPr/>
        </p:nvSpPr>
        <p:spPr>
          <a:xfrm>
            <a:off x="8105151" y="3916464"/>
            <a:ext cx="723462" cy="584775"/>
          </a:xfrm>
          <a:prstGeom prst="rect">
            <a:avLst/>
          </a:prstGeom>
          <a:noFill/>
        </p:spPr>
        <p:txBody>
          <a:bodyPr wrap="square" rtlCol="0">
            <a:spAutoFit/>
          </a:bodyPr>
          <a:lstStyle/>
          <a:p>
            <a:r>
              <a:rPr lang="zh-CN" altLang="en-US" sz="1600" b="1" dirty="0">
                <a:solidFill>
                  <a:srgbClr val="000000"/>
                </a:solidFill>
                <a:latin typeface="华文楷体" panose="02010600040101010101" charset="-122"/>
                <a:cs typeface="Arial Unicode MS" pitchFamily="34" charset="-122"/>
              </a:rPr>
              <a:t>金融机</a:t>
            </a:r>
            <a:r>
              <a:rPr lang="zh-CN" altLang="en-US" sz="1600" b="1" dirty="0" smtClean="0">
                <a:solidFill>
                  <a:srgbClr val="000000"/>
                </a:solidFill>
                <a:latin typeface="华文楷体" panose="02010600040101010101" charset="-122"/>
                <a:cs typeface="Arial Unicode MS" pitchFamily="34" charset="-122"/>
              </a:rPr>
              <a:t>构</a:t>
            </a:r>
            <a:endParaRPr lang="zh-CN" altLang="en-US" sz="1600" b="1" dirty="0">
              <a:solidFill>
                <a:srgbClr val="000000"/>
              </a:solidFill>
              <a:latin typeface="华文楷体" panose="02010600040101010101" charset="-122"/>
              <a:cs typeface="Arial Unicode MS" pitchFamily="34" charset="-122"/>
            </a:endParaRPr>
          </a:p>
        </p:txBody>
      </p:sp>
      <p:sp>
        <p:nvSpPr>
          <p:cNvPr id="30" name="TextBox 33"/>
          <p:cNvSpPr txBox="1"/>
          <p:nvPr/>
        </p:nvSpPr>
        <p:spPr>
          <a:xfrm>
            <a:off x="8131276" y="4830444"/>
            <a:ext cx="671211" cy="584775"/>
          </a:xfrm>
          <a:prstGeom prst="rect">
            <a:avLst/>
          </a:prstGeom>
          <a:noFill/>
        </p:spPr>
        <p:txBody>
          <a:bodyPr wrap="square" rtlCol="0">
            <a:spAutoFit/>
          </a:bodyPr>
          <a:lstStyle/>
          <a:p>
            <a:r>
              <a:rPr lang="zh-CN" altLang="en-US" sz="1600" b="1" dirty="0">
                <a:solidFill>
                  <a:srgbClr val="000000"/>
                </a:solidFill>
                <a:latin typeface="华文楷体" panose="02010600040101010101" charset="-122"/>
                <a:cs typeface="Arial Unicode MS" pitchFamily="34" charset="-122"/>
              </a:rPr>
              <a:t>企业</a:t>
            </a:r>
            <a:r>
              <a:rPr lang="zh-CN" altLang="en-US" sz="1600" b="1" dirty="0" smtClean="0">
                <a:solidFill>
                  <a:srgbClr val="000000"/>
                </a:solidFill>
                <a:latin typeface="华文楷体" panose="02010600040101010101" charset="-122"/>
                <a:cs typeface="Arial Unicode MS" pitchFamily="34" charset="-122"/>
              </a:rPr>
              <a:t>机构</a:t>
            </a:r>
            <a:endParaRPr lang="zh-CN" altLang="en-US" sz="1600" b="1" dirty="0">
              <a:solidFill>
                <a:srgbClr val="000000"/>
              </a:solidFill>
              <a:latin typeface="华文楷体" panose="02010600040101010101" charset="-122"/>
              <a:cs typeface="Arial Unicode MS" pitchFamily="34" charset="-122"/>
            </a:endParaRPr>
          </a:p>
        </p:txBody>
      </p:sp>
      <p:pic>
        <p:nvPicPr>
          <p:cNvPr id="31" name="Picture 14" descr="D:\Users\HUYUXI~1\AppData\Local\Temp\Rar$DRa0.190\Icons\bank5.png"/>
          <p:cNvPicPr>
            <a:picLocks noChangeAspect="1" noChangeArrowheads="1"/>
          </p:cNvPicPr>
          <p:nvPr/>
        </p:nvPicPr>
        <p:blipFill>
          <a:blip r:embed="rId1" cstate="screen">
            <a:duotone>
              <a:prstClr val="black"/>
              <a:srgbClr val="FF6600">
                <a:tint val="45000"/>
                <a:satMod val="400000"/>
              </a:srgbClr>
            </a:duotone>
            <a:extLst>
              <a:ext uri="{BEBA8EAE-BF5A-486C-A8C5-ECC9F3942E4B}">
                <a14:imgProps xmlns:a14="http://schemas.microsoft.com/office/drawing/2010/main">
                  <a14:imgLayer r:embed="rId2">
                    <a14:imgEffect>
                      <a14:brightnessContrast bright="100000"/>
                    </a14:imgEffect>
                  </a14:imgLayer>
                </a14:imgProps>
              </a:ext>
            </a:extLst>
          </a:blip>
          <a:srcRect/>
          <a:stretch>
            <a:fillRect/>
          </a:stretch>
        </p:blipFill>
        <p:spPr bwMode="auto">
          <a:xfrm>
            <a:off x="7707230" y="3933185"/>
            <a:ext cx="484668" cy="484541"/>
          </a:xfrm>
          <a:prstGeom prst="rect">
            <a:avLst/>
          </a:prstGeom>
          <a:noFill/>
        </p:spPr>
      </p:pic>
      <p:pic>
        <p:nvPicPr>
          <p:cNvPr id="32" name="Picture 11" descr="D:\金科\icon\Icons\multiple25.png"/>
          <p:cNvPicPr>
            <a:picLocks noChangeAspect="1" noChangeArrowheads="1"/>
          </p:cNvPicPr>
          <p:nvPr/>
        </p:nvPicPr>
        <p:blipFill>
          <a:blip r:embed="rId3" cstate="screen">
            <a:duotone>
              <a:prstClr val="black"/>
              <a:srgbClr val="FF6600">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7694957" y="2997449"/>
            <a:ext cx="496941" cy="496812"/>
          </a:xfrm>
          <a:prstGeom prst="rect">
            <a:avLst/>
          </a:prstGeom>
          <a:noFill/>
        </p:spPr>
      </p:pic>
      <p:sp>
        <p:nvSpPr>
          <p:cNvPr id="33" name="Freeform 61"/>
          <p:cNvSpPr>
            <a:spLocks noEditPoints="1"/>
          </p:cNvSpPr>
          <p:nvPr/>
        </p:nvSpPr>
        <p:spPr bwMode="auto">
          <a:xfrm>
            <a:off x="7772868" y="4927348"/>
            <a:ext cx="399520" cy="341747"/>
          </a:xfrm>
          <a:custGeom>
            <a:avLst/>
            <a:gdLst>
              <a:gd name="T0" fmla="*/ 0 w 218"/>
              <a:gd name="T1" fmla="*/ 3 h 192"/>
              <a:gd name="T2" fmla="*/ 13 w 218"/>
              <a:gd name="T3" fmla="*/ 163 h 192"/>
              <a:gd name="T4" fmla="*/ 32 w 218"/>
              <a:gd name="T5" fmla="*/ 163 h 192"/>
              <a:gd name="T6" fmla="*/ 102 w 218"/>
              <a:gd name="T7" fmla="*/ 3 h 192"/>
              <a:gd name="T8" fmla="*/ 30 w 218"/>
              <a:gd name="T9" fmla="*/ 144 h 192"/>
              <a:gd name="T10" fmla="*/ 13 w 218"/>
              <a:gd name="T11" fmla="*/ 126 h 192"/>
              <a:gd name="T12" fmla="*/ 32 w 218"/>
              <a:gd name="T13" fmla="*/ 126 h 192"/>
              <a:gd name="T14" fmla="*/ 30 w 218"/>
              <a:gd name="T15" fmla="*/ 109 h 192"/>
              <a:gd name="T16" fmla="*/ 13 w 218"/>
              <a:gd name="T17" fmla="*/ 91 h 192"/>
              <a:gd name="T18" fmla="*/ 32 w 218"/>
              <a:gd name="T19" fmla="*/ 91 h 192"/>
              <a:gd name="T20" fmla="*/ 30 w 218"/>
              <a:gd name="T21" fmla="*/ 74 h 192"/>
              <a:gd name="T22" fmla="*/ 13 w 218"/>
              <a:gd name="T23" fmla="*/ 56 h 192"/>
              <a:gd name="T24" fmla="*/ 32 w 218"/>
              <a:gd name="T25" fmla="*/ 56 h 192"/>
              <a:gd name="T26" fmla="*/ 30 w 218"/>
              <a:gd name="T27" fmla="*/ 38 h 192"/>
              <a:gd name="T28" fmla="*/ 13 w 218"/>
              <a:gd name="T29" fmla="*/ 21 h 192"/>
              <a:gd name="T30" fmla="*/ 32 w 218"/>
              <a:gd name="T31" fmla="*/ 21 h 192"/>
              <a:gd name="T32" fmla="*/ 59 w 218"/>
              <a:gd name="T33" fmla="*/ 144 h 192"/>
              <a:gd name="T34" fmla="*/ 42 w 218"/>
              <a:gd name="T35" fmla="*/ 126 h 192"/>
              <a:gd name="T36" fmla="*/ 61 w 218"/>
              <a:gd name="T37" fmla="*/ 126 h 192"/>
              <a:gd name="T38" fmla="*/ 59 w 218"/>
              <a:gd name="T39" fmla="*/ 109 h 192"/>
              <a:gd name="T40" fmla="*/ 42 w 218"/>
              <a:gd name="T41" fmla="*/ 91 h 192"/>
              <a:gd name="T42" fmla="*/ 61 w 218"/>
              <a:gd name="T43" fmla="*/ 91 h 192"/>
              <a:gd name="T44" fmla="*/ 59 w 218"/>
              <a:gd name="T45" fmla="*/ 74 h 192"/>
              <a:gd name="T46" fmla="*/ 42 w 218"/>
              <a:gd name="T47" fmla="*/ 56 h 192"/>
              <a:gd name="T48" fmla="*/ 61 w 218"/>
              <a:gd name="T49" fmla="*/ 56 h 192"/>
              <a:gd name="T50" fmla="*/ 59 w 218"/>
              <a:gd name="T51" fmla="*/ 38 h 192"/>
              <a:gd name="T52" fmla="*/ 42 w 218"/>
              <a:gd name="T53" fmla="*/ 21 h 192"/>
              <a:gd name="T54" fmla="*/ 61 w 218"/>
              <a:gd name="T55" fmla="*/ 21 h 192"/>
              <a:gd name="T56" fmla="*/ 88 w 218"/>
              <a:gd name="T57" fmla="*/ 144 h 192"/>
              <a:gd name="T58" fmla="*/ 70 w 218"/>
              <a:gd name="T59" fmla="*/ 126 h 192"/>
              <a:gd name="T60" fmla="*/ 90 w 218"/>
              <a:gd name="T61" fmla="*/ 126 h 192"/>
              <a:gd name="T62" fmla="*/ 88 w 218"/>
              <a:gd name="T63" fmla="*/ 109 h 192"/>
              <a:gd name="T64" fmla="*/ 70 w 218"/>
              <a:gd name="T65" fmla="*/ 91 h 192"/>
              <a:gd name="T66" fmla="*/ 90 w 218"/>
              <a:gd name="T67" fmla="*/ 91 h 192"/>
              <a:gd name="T68" fmla="*/ 88 w 218"/>
              <a:gd name="T69" fmla="*/ 74 h 192"/>
              <a:gd name="T70" fmla="*/ 70 w 218"/>
              <a:gd name="T71" fmla="*/ 56 h 192"/>
              <a:gd name="T72" fmla="*/ 90 w 218"/>
              <a:gd name="T73" fmla="*/ 56 h 192"/>
              <a:gd name="T74" fmla="*/ 88 w 218"/>
              <a:gd name="T75" fmla="*/ 38 h 192"/>
              <a:gd name="T76" fmla="*/ 70 w 218"/>
              <a:gd name="T77" fmla="*/ 21 h 192"/>
              <a:gd name="T78" fmla="*/ 90 w 218"/>
              <a:gd name="T79" fmla="*/ 21 h 192"/>
              <a:gd name="T80" fmla="*/ 119 w 218"/>
              <a:gd name="T81" fmla="*/ 65 h 192"/>
              <a:gd name="T82" fmla="*/ 128 w 218"/>
              <a:gd name="T83" fmla="*/ 192 h 192"/>
              <a:gd name="T84" fmla="*/ 144 w 218"/>
              <a:gd name="T85" fmla="*/ 163 h 192"/>
              <a:gd name="T86" fmla="*/ 218 w 218"/>
              <a:gd name="T87" fmla="*/ 192 h 192"/>
              <a:gd name="T88" fmla="*/ 147 w 218"/>
              <a:gd name="T89" fmla="*/ 149 h 192"/>
              <a:gd name="T90" fmla="*/ 128 w 218"/>
              <a:gd name="T91" fmla="*/ 149 h 192"/>
              <a:gd name="T92" fmla="*/ 146 w 218"/>
              <a:gd name="T93" fmla="*/ 131 h 192"/>
              <a:gd name="T94" fmla="*/ 147 w 218"/>
              <a:gd name="T95" fmla="*/ 114 h 192"/>
              <a:gd name="T96" fmla="*/ 128 w 218"/>
              <a:gd name="T97" fmla="*/ 114 h 192"/>
              <a:gd name="T98" fmla="*/ 146 w 218"/>
              <a:gd name="T99" fmla="*/ 96 h 192"/>
              <a:gd name="T100" fmla="*/ 176 w 218"/>
              <a:gd name="T101" fmla="*/ 149 h 192"/>
              <a:gd name="T102" fmla="*/ 157 w 218"/>
              <a:gd name="T103" fmla="*/ 149 h 192"/>
              <a:gd name="T104" fmla="*/ 174 w 218"/>
              <a:gd name="T105" fmla="*/ 131 h 192"/>
              <a:gd name="T106" fmla="*/ 176 w 218"/>
              <a:gd name="T107" fmla="*/ 114 h 192"/>
              <a:gd name="T108" fmla="*/ 157 w 218"/>
              <a:gd name="T109" fmla="*/ 114 h 192"/>
              <a:gd name="T110" fmla="*/ 174 w 218"/>
              <a:gd name="T111" fmla="*/ 96 h 192"/>
              <a:gd name="T112" fmla="*/ 205 w 218"/>
              <a:gd name="T113" fmla="*/ 149 h 192"/>
              <a:gd name="T114" fmla="*/ 186 w 218"/>
              <a:gd name="T115" fmla="*/ 149 h 192"/>
              <a:gd name="T116" fmla="*/ 203 w 218"/>
              <a:gd name="T117" fmla="*/ 131 h 192"/>
              <a:gd name="T118" fmla="*/ 205 w 218"/>
              <a:gd name="T119" fmla="*/ 114 h 192"/>
              <a:gd name="T120" fmla="*/ 186 w 218"/>
              <a:gd name="T121" fmla="*/ 114 h 192"/>
              <a:gd name="T122" fmla="*/ 203 w 218"/>
              <a:gd name="T123" fmla="*/ 9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8" h="192">
                <a:moveTo>
                  <a:pt x="99" y="0"/>
                </a:moveTo>
                <a:cubicBezTo>
                  <a:pt x="3" y="0"/>
                  <a:pt x="3" y="0"/>
                  <a:pt x="3" y="0"/>
                </a:cubicBezTo>
                <a:cubicBezTo>
                  <a:pt x="1" y="0"/>
                  <a:pt x="0" y="1"/>
                  <a:pt x="0" y="3"/>
                </a:cubicBezTo>
                <a:cubicBezTo>
                  <a:pt x="0" y="192"/>
                  <a:pt x="0" y="192"/>
                  <a:pt x="0" y="192"/>
                </a:cubicBezTo>
                <a:cubicBezTo>
                  <a:pt x="13" y="192"/>
                  <a:pt x="13" y="192"/>
                  <a:pt x="13" y="192"/>
                </a:cubicBezTo>
                <a:cubicBezTo>
                  <a:pt x="13" y="163"/>
                  <a:pt x="13" y="163"/>
                  <a:pt x="13" y="163"/>
                </a:cubicBezTo>
                <a:cubicBezTo>
                  <a:pt x="13" y="161"/>
                  <a:pt x="14" y="160"/>
                  <a:pt x="16" y="160"/>
                </a:cubicBezTo>
                <a:cubicBezTo>
                  <a:pt x="29" y="160"/>
                  <a:pt x="29" y="160"/>
                  <a:pt x="29" y="160"/>
                </a:cubicBezTo>
                <a:cubicBezTo>
                  <a:pt x="31" y="160"/>
                  <a:pt x="32" y="161"/>
                  <a:pt x="32" y="163"/>
                </a:cubicBezTo>
                <a:cubicBezTo>
                  <a:pt x="32" y="192"/>
                  <a:pt x="32" y="192"/>
                  <a:pt x="32" y="192"/>
                </a:cubicBezTo>
                <a:cubicBezTo>
                  <a:pt x="102" y="192"/>
                  <a:pt x="102" y="192"/>
                  <a:pt x="102" y="192"/>
                </a:cubicBezTo>
                <a:cubicBezTo>
                  <a:pt x="102" y="3"/>
                  <a:pt x="102" y="3"/>
                  <a:pt x="102" y="3"/>
                </a:cubicBezTo>
                <a:cubicBezTo>
                  <a:pt x="102" y="1"/>
                  <a:pt x="101" y="0"/>
                  <a:pt x="99" y="0"/>
                </a:cubicBezTo>
                <a:close/>
                <a:moveTo>
                  <a:pt x="32" y="142"/>
                </a:moveTo>
                <a:cubicBezTo>
                  <a:pt x="32" y="143"/>
                  <a:pt x="31" y="144"/>
                  <a:pt x="30" y="144"/>
                </a:cubicBezTo>
                <a:cubicBezTo>
                  <a:pt x="14" y="144"/>
                  <a:pt x="14" y="144"/>
                  <a:pt x="14" y="144"/>
                </a:cubicBezTo>
                <a:cubicBezTo>
                  <a:pt x="14" y="144"/>
                  <a:pt x="13" y="143"/>
                  <a:pt x="13" y="142"/>
                </a:cubicBezTo>
                <a:cubicBezTo>
                  <a:pt x="13" y="126"/>
                  <a:pt x="13" y="126"/>
                  <a:pt x="13" y="126"/>
                </a:cubicBezTo>
                <a:cubicBezTo>
                  <a:pt x="13" y="126"/>
                  <a:pt x="14" y="125"/>
                  <a:pt x="14" y="125"/>
                </a:cubicBezTo>
                <a:cubicBezTo>
                  <a:pt x="30" y="125"/>
                  <a:pt x="30" y="125"/>
                  <a:pt x="30" y="125"/>
                </a:cubicBezTo>
                <a:cubicBezTo>
                  <a:pt x="31" y="125"/>
                  <a:pt x="32" y="126"/>
                  <a:pt x="32" y="126"/>
                </a:cubicBezTo>
                <a:lnTo>
                  <a:pt x="32" y="142"/>
                </a:lnTo>
                <a:close/>
                <a:moveTo>
                  <a:pt x="32" y="107"/>
                </a:moveTo>
                <a:cubicBezTo>
                  <a:pt x="32" y="108"/>
                  <a:pt x="31" y="109"/>
                  <a:pt x="30" y="109"/>
                </a:cubicBezTo>
                <a:cubicBezTo>
                  <a:pt x="14" y="109"/>
                  <a:pt x="14" y="109"/>
                  <a:pt x="14" y="109"/>
                </a:cubicBezTo>
                <a:cubicBezTo>
                  <a:pt x="14" y="109"/>
                  <a:pt x="13" y="108"/>
                  <a:pt x="13" y="107"/>
                </a:cubicBezTo>
                <a:cubicBezTo>
                  <a:pt x="13" y="91"/>
                  <a:pt x="13" y="91"/>
                  <a:pt x="13" y="91"/>
                </a:cubicBezTo>
                <a:cubicBezTo>
                  <a:pt x="13" y="90"/>
                  <a:pt x="14" y="90"/>
                  <a:pt x="14" y="90"/>
                </a:cubicBezTo>
                <a:cubicBezTo>
                  <a:pt x="30" y="90"/>
                  <a:pt x="30" y="90"/>
                  <a:pt x="30" y="90"/>
                </a:cubicBezTo>
                <a:cubicBezTo>
                  <a:pt x="31" y="90"/>
                  <a:pt x="32" y="90"/>
                  <a:pt x="32" y="91"/>
                </a:cubicBezTo>
                <a:lnTo>
                  <a:pt x="32" y="107"/>
                </a:lnTo>
                <a:close/>
                <a:moveTo>
                  <a:pt x="32" y="72"/>
                </a:moveTo>
                <a:cubicBezTo>
                  <a:pt x="32" y="73"/>
                  <a:pt x="31" y="74"/>
                  <a:pt x="30" y="74"/>
                </a:cubicBezTo>
                <a:cubicBezTo>
                  <a:pt x="14" y="74"/>
                  <a:pt x="14" y="74"/>
                  <a:pt x="14" y="74"/>
                </a:cubicBezTo>
                <a:cubicBezTo>
                  <a:pt x="14" y="74"/>
                  <a:pt x="13" y="73"/>
                  <a:pt x="13" y="72"/>
                </a:cubicBezTo>
                <a:cubicBezTo>
                  <a:pt x="13" y="56"/>
                  <a:pt x="13" y="56"/>
                  <a:pt x="13" y="56"/>
                </a:cubicBezTo>
                <a:cubicBezTo>
                  <a:pt x="13" y="55"/>
                  <a:pt x="14" y="54"/>
                  <a:pt x="14" y="54"/>
                </a:cubicBezTo>
                <a:cubicBezTo>
                  <a:pt x="30" y="54"/>
                  <a:pt x="30" y="54"/>
                  <a:pt x="30" y="54"/>
                </a:cubicBezTo>
                <a:cubicBezTo>
                  <a:pt x="31" y="54"/>
                  <a:pt x="32" y="55"/>
                  <a:pt x="32" y="56"/>
                </a:cubicBezTo>
                <a:lnTo>
                  <a:pt x="32" y="72"/>
                </a:lnTo>
                <a:close/>
                <a:moveTo>
                  <a:pt x="32" y="37"/>
                </a:moveTo>
                <a:cubicBezTo>
                  <a:pt x="32" y="38"/>
                  <a:pt x="31" y="38"/>
                  <a:pt x="30" y="38"/>
                </a:cubicBezTo>
                <a:cubicBezTo>
                  <a:pt x="14" y="38"/>
                  <a:pt x="14" y="38"/>
                  <a:pt x="14" y="38"/>
                </a:cubicBezTo>
                <a:cubicBezTo>
                  <a:pt x="14" y="38"/>
                  <a:pt x="13" y="38"/>
                  <a:pt x="13" y="37"/>
                </a:cubicBezTo>
                <a:cubicBezTo>
                  <a:pt x="13" y="21"/>
                  <a:pt x="13" y="21"/>
                  <a:pt x="13" y="21"/>
                </a:cubicBezTo>
                <a:cubicBezTo>
                  <a:pt x="13" y="20"/>
                  <a:pt x="14" y="19"/>
                  <a:pt x="14" y="19"/>
                </a:cubicBezTo>
                <a:cubicBezTo>
                  <a:pt x="30" y="19"/>
                  <a:pt x="30" y="19"/>
                  <a:pt x="30" y="19"/>
                </a:cubicBezTo>
                <a:cubicBezTo>
                  <a:pt x="31" y="19"/>
                  <a:pt x="32" y="20"/>
                  <a:pt x="32" y="21"/>
                </a:cubicBezTo>
                <a:lnTo>
                  <a:pt x="32" y="37"/>
                </a:lnTo>
                <a:close/>
                <a:moveTo>
                  <a:pt x="61" y="142"/>
                </a:moveTo>
                <a:cubicBezTo>
                  <a:pt x="61" y="143"/>
                  <a:pt x="60" y="144"/>
                  <a:pt x="59" y="144"/>
                </a:cubicBezTo>
                <a:cubicBezTo>
                  <a:pt x="43" y="144"/>
                  <a:pt x="43" y="144"/>
                  <a:pt x="43" y="144"/>
                </a:cubicBezTo>
                <a:cubicBezTo>
                  <a:pt x="42" y="144"/>
                  <a:pt x="42" y="143"/>
                  <a:pt x="42" y="142"/>
                </a:cubicBezTo>
                <a:cubicBezTo>
                  <a:pt x="42" y="126"/>
                  <a:pt x="42" y="126"/>
                  <a:pt x="42" y="126"/>
                </a:cubicBezTo>
                <a:cubicBezTo>
                  <a:pt x="42" y="126"/>
                  <a:pt x="42" y="125"/>
                  <a:pt x="43" y="125"/>
                </a:cubicBezTo>
                <a:cubicBezTo>
                  <a:pt x="59" y="125"/>
                  <a:pt x="59" y="125"/>
                  <a:pt x="59" y="125"/>
                </a:cubicBezTo>
                <a:cubicBezTo>
                  <a:pt x="60" y="125"/>
                  <a:pt x="61" y="126"/>
                  <a:pt x="61" y="126"/>
                </a:cubicBezTo>
                <a:lnTo>
                  <a:pt x="61" y="142"/>
                </a:lnTo>
                <a:close/>
                <a:moveTo>
                  <a:pt x="61" y="107"/>
                </a:moveTo>
                <a:cubicBezTo>
                  <a:pt x="61" y="108"/>
                  <a:pt x="60" y="109"/>
                  <a:pt x="59" y="109"/>
                </a:cubicBezTo>
                <a:cubicBezTo>
                  <a:pt x="43" y="109"/>
                  <a:pt x="43" y="109"/>
                  <a:pt x="43" y="109"/>
                </a:cubicBezTo>
                <a:cubicBezTo>
                  <a:pt x="42" y="109"/>
                  <a:pt x="42" y="108"/>
                  <a:pt x="42" y="107"/>
                </a:cubicBezTo>
                <a:cubicBezTo>
                  <a:pt x="42" y="91"/>
                  <a:pt x="42" y="91"/>
                  <a:pt x="42" y="91"/>
                </a:cubicBezTo>
                <a:cubicBezTo>
                  <a:pt x="42" y="90"/>
                  <a:pt x="42" y="90"/>
                  <a:pt x="43" y="90"/>
                </a:cubicBezTo>
                <a:cubicBezTo>
                  <a:pt x="59" y="90"/>
                  <a:pt x="59" y="90"/>
                  <a:pt x="59" y="90"/>
                </a:cubicBezTo>
                <a:cubicBezTo>
                  <a:pt x="60" y="90"/>
                  <a:pt x="61" y="90"/>
                  <a:pt x="61" y="91"/>
                </a:cubicBezTo>
                <a:lnTo>
                  <a:pt x="61" y="107"/>
                </a:lnTo>
                <a:close/>
                <a:moveTo>
                  <a:pt x="61" y="72"/>
                </a:moveTo>
                <a:cubicBezTo>
                  <a:pt x="61" y="73"/>
                  <a:pt x="60" y="74"/>
                  <a:pt x="59" y="74"/>
                </a:cubicBezTo>
                <a:cubicBezTo>
                  <a:pt x="43" y="74"/>
                  <a:pt x="43" y="74"/>
                  <a:pt x="43" y="74"/>
                </a:cubicBezTo>
                <a:cubicBezTo>
                  <a:pt x="42" y="74"/>
                  <a:pt x="42" y="73"/>
                  <a:pt x="42" y="72"/>
                </a:cubicBezTo>
                <a:cubicBezTo>
                  <a:pt x="42" y="56"/>
                  <a:pt x="42" y="56"/>
                  <a:pt x="42" y="56"/>
                </a:cubicBezTo>
                <a:cubicBezTo>
                  <a:pt x="42" y="55"/>
                  <a:pt x="42" y="54"/>
                  <a:pt x="43" y="54"/>
                </a:cubicBezTo>
                <a:cubicBezTo>
                  <a:pt x="59" y="54"/>
                  <a:pt x="59" y="54"/>
                  <a:pt x="59" y="54"/>
                </a:cubicBezTo>
                <a:cubicBezTo>
                  <a:pt x="60" y="54"/>
                  <a:pt x="61" y="55"/>
                  <a:pt x="61" y="56"/>
                </a:cubicBezTo>
                <a:lnTo>
                  <a:pt x="61" y="72"/>
                </a:lnTo>
                <a:close/>
                <a:moveTo>
                  <a:pt x="61" y="37"/>
                </a:moveTo>
                <a:cubicBezTo>
                  <a:pt x="61" y="38"/>
                  <a:pt x="60" y="38"/>
                  <a:pt x="59" y="38"/>
                </a:cubicBezTo>
                <a:cubicBezTo>
                  <a:pt x="43" y="38"/>
                  <a:pt x="43" y="38"/>
                  <a:pt x="43" y="38"/>
                </a:cubicBezTo>
                <a:cubicBezTo>
                  <a:pt x="42" y="38"/>
                  <a:pt x="42" y="38"/>
                  <a:pt x="42" y="37"/>
                </a:cubicBezTo>
                <a:cubicBezTo>
                  <a:pt x="42" y="21"/>
                  <a:pt x="42" y="21"/>
                  <a:pt x="42" y="21"/>
                </a:cubicBezTo>
                <a:cubicBezTo>
                  <a:pt x="42" y="20"/>
                  <a:pt x="42" y="19"/>
                  <a:pt x="43" y="19"/>
                </a:cubicBezTo>
                <a:cubicBezTo>
                  <a:pt x="59" y="19"/>
                  <a:pt x="59" y="19"/>
                  <a:pt x="59" y="19"/>
                </a:cubicBezTo>
                <a:cubicBezTo>
                  <a:pt x="60" y="19"/>
                  <a:pt x="61" y="20"/>
                  <a:pt x="61" y="21"/>
                </a:cubicBezTo>
                <a:lnTo>
                  <a:pt x="61" y="37"/>
                </a:lnTo>
                <a:close/>
                <a:moveTo>
                  <a:pt x="90" y="142"/>
                </a:moveTo>
                <a:cubicBezTo>
                  <a:pt x="90" y="143"/>
                  <a:pt x="89" y="144"/>
                  <a:pt x="88" y="144"/>
                </a:cubicBezTo>
                <a:cubicBezTo>
                  <a:pt x="72" y="144"/>
                  <a:pt x="72" y="144"/>
                  <a:pt x="72" y="144"/>
                </a:cubicBezTo>
                <a:cubicBezTo>
                  <a:pt x="71" y="144"/>
                  <a:pt x="70" y="143"/>
                  <a:pt x="70" y="142"/>
                </a:cubicBezTo>
                <a:cubicBezTo>
                  <a:pt x="70" y="126"/>
                  <a:pt x="70" y="126"/>
                  <a:pt x="70" y="126"/>
                </a:cubicBezTo>
                <a:cubicBezTo>
                  <a:pt x="70" y="126"/>
                  <a:pt x="71" y="125"/>
                  <a:pt x="72" y="125"/>
                </a:cubicBezTo>
                <a:cubicBezTo>
                  <a:pt x="88" y="125"/>
                  <a:pt x="88" y="125"/>
                  <a:pt x="88" y="125"/>
                </a:cubicBezTo>
                <a:cubicBezTo>
                  <a:pt x="89" y="125"/>
                  <a:pt x="90" y="126"/>
                  <a:pt x="90" y="126"/>
                </a:cubicBezTo>
                <a:lnTo>
                  <a:pt x="90" y="142"/>
                </a:lnTo>
                <a:close/>
                <a:moveTo>
                  <a:pt x="90" y="107"/>
                </a:moveTo>
                <a:cubicBezTo>
                  <a:pt x="90" y="108"/>
                  <a:pt x="89" y="109"/>
                  <a:pt x="88" y="109"/>
                </a:cubicBezTo>
                <a:cubicBezTo>
                  <a:pt x="72" y="109"/>
                  <a:pt x="72" y="109"/>
                  <a:pt x="72" y="109"/>
                </a:cubicBezTo>
                <a:cubicBezTo>
                  <a:pt x="71" y="109"/>
                  <a:pt x="70" y="108"/>
                  <a:pt x="70" y="107"/>
                </a:cubicBezTo>
                <a:cubicBezTo>
                  <a:pt x="70" y="91"/>
                  <a:pt x="70" y="91"/>
                  <a:pt x="70" y="91"/>
                </a:cubicBezTo>
                <a:cubicBezTo>
                  <a:pt x="70" y="90"/>
                  <a:pt x="71" y="90"/>
                  <a:pt x="72" y="90"/>
                </a:cubicBezTo>
                <a:cubicBezTo>
                  <a:pt x="88" y="90"/>
                  <a:pt x="88" y="90"/>
                  <a:pt x="88" y="90"/>
                </a:cubicBezTo>
                <a:cubicBezTo>
                  <a:pt x="89" y="90"/>
                  <a:pt x="90" y="90"/>
                  <a:pt x="90" y="91"/>
                </a:cubicBezTo>
                <a:lnTo>
                  <a:pt x="90" y="107"/>
                </a:lnTo>
                <a:close/>
                <a:moveTo>
                  <a:pt x="90" y="72"/>
                </a:moveTo>
                <a:cubicBezTo>
                  <a:pt x="90" y="73"/>
                  <a:pt x="89" y="74"/>
                  <a:pt x="88" y="74"/>
                </a:cubicBezTo>
                <a:cubicBezTo>
                  <a:pt x="72" y="74"/>
                  <a:pt x="72" y="74"/>
                  <a:pt x="72" y="74"/>
                </a:cubicBezTo>
                <a:cubicBezTo>
                  <a:pt x="71" y="74"/>
                  <a:pt x="70" y="73"/>
                  <a:pt x="70" y="72"/>
                </a:cubicBezTo>
                <a:cubicBezTo>
                  <a:pt x="70" y="56"/>
                  <a:pt x="70" y="56"/>
                  <a:pt x="70" y="56"/>
                </a:cubicBezTo>
                <a:cubicBezTo>
                  <a:pt x="70" y="55"/>
                  <a:pt x="71" y="54"/>
                  <a:pt x="72" y="54"/>
                </a:cubicBezTo>
                <a:cubicBezTo>
                  <a:pt x="88" y="54"/>
                  <a:pt x="88" y="54"/>
                  <a:pt x="88" y="54"/>
                </a:cubicBezTo>
                <a:cubicBezTo>
                  <a:pt x="89" y="54"/>
                  <a:pt x="90" y="55"/>
                  <a:pt x="90" y="56"/>
                </a:cubicBezTo>
                <a:lnTo>
                  <a:pt x="90" y="72"/>
                </a:lnTo>
                <a:close/>
                <a:moveTo>
                  <a:pt x="90" y="37"/>
                </a:moveTo>
                <a:cubicBezTo>
                  <a:pt x="90" y="38"/>
                  <a:pt x="89" y="38"/>
                  <a:pt x="88" y="38"/>
                </a:cubicBezTo>
                <a:cubicBezTo>
                  <a:pt x="72" y="38"/>
                  <a:pt x="72" y="38"/>
                  <a:pt x="72" y="38"/>
                </a:cubicBezTo>
                <a:cubicBezTo>
                  <a:pt x="71" y="38"/>
                  <a:pt x="70" y="38"/>
                  <a:pt x="70" y="37"/>
                </a:cubicBezTo>
                <a:cubicBezTo>
                  <a:pt x="70" y="21"/>
                  <a:pt x="70" y="21"/>
                  <a:pt x="70" y="21"/>
                </a:cubicBezTo>
                <a:cubicBezTo>
                  <a:pt x="70" y="20"/>
                  <a:pt x="71" y="19"/>
                  <a:pt x="72" y="19"/>
                </a:cubicBezTo>
                <a:cubicBezTo>
                  <a:pt x="88" y="19"/>
                  <a:pt x="88" y="19"/>
                  <a:pt x="88" y="19"/>
                </a:cubicBezTo>
                <a:cubicBezTo>
                  <a:pt x="89" y="19"/>
                  <a:pt x="90" y="20"/>
                  <a:pt x="90" y="21"/>
                </a:cubicBezTo>
                <a:lnTo>
                  <a:pt x="90" y="37"/>
                </a:lnTo>
                <a:close/>
                <a:moveTo>
                  <a:pt x="215" y="92"/>
                </a:moveTo>
                <a:cubicBezTo>
                  <a:pt x="119" y="65"/>
                  <a:pt x="119" y="65"/>
                  <a:pt x="119" y="65"/>
                </a:cubicBezTo>
                <a:cubicBezTo>
                  <a:pt x="117" y="65"/>
                  <a:pt x="115" y="66"/>
                  <a:pt x="115" y="68"/>
                </a:cubicBezTo>
                <a:cubicBezTo>
                  <a:pt x="115" y="192"/>
                  <a:pt x="115" y="192"/>
                  <a:pt x="115" y="192"/>
                </a:cubicBezTo>
                <a:cubicBezTo>
                  <a:pt x="128" y="192"/>
                  <a:pt x="128" y="192"/>
                  <a:pt x="128" y="192"/>
                </a:cubicBezTo>
                <a:cubicBezTo>
                  <a:pt x="128" y="166"/>
                  <a:pt x="128" y="166"/>
                  <a:pt x="128" y="166"/>
                </a:cubicBezTo>
                <a:cubicBezTo>
                  <a:pt x="128" y="165"/>
                  <a:pt x="129" y="163"/>
                  <a:pt x="131" y="163"/>
                </a:cubicBezTo>
                <a:cubicBezTo>
                  <a:pt x="144" y="163"/>
                  <a:pt x="144" y="163"/>
                  <a:pt x="144" y="163"/>
                </a:cubicBezTo>
                <a:cubicBezTo>
                  <a:pt x="146" y="163"/>
                  <a:pt x="147" y="165"/>
                  <a:pt x="147" y="166"/>
                </a:cubicBezTo>
                <a:cubicBezTo>
                  <a:pt x="147" y="192"/>
                  <a:pt x="147" y="192"/>
                  <a:pt x="147" y="192"/>
                </a:cubicBezTo>
                <a:cubicBezTo>
                  <a:pt x="218" y="192"/>
                  <a:pt x="218" y="192"/>
                  <a:pt x="218" y="192"/>
                </a:cubicBezTo>
                <a:cubicBezTo>
                  <a:pt x="218" y="95"/>
                  <a:pt x="218" y="95"/>
                  <a:pt x="218" y="95"/>
                </a:cubicBezTo>
                <a:cubicBezTo>
                  <a:pt x="218" y="94"/>
                  <a:pt x="217" y="93"/>
                  <a:pt x="215" y="92"/>
                </a:cubicBezTo>
                <a:close/>
                <a:moveTo>
                  <a:pt x="147" y="149"/>
                </a:moveTo>
                <a:cubicBezTo>
                  <a:pt x="147" y="150"/>
                  <a:pt x="146" y="150"/>
                  <a:pt x="146" y="150"/>
                </a:cubicBezTo>
                <a:cubicBezTo>
                  <a:pt x="130" y="150"/>
                  <a:pt x="130" y="150"/>
                  <a:pt x="130" y="150"/>
                </a:cubicBezTo>
                <a:cubicBezTo>
                  <a:pt x="129" y="150"/>
                  <a:pt x="128" y="150"/>
                  <a:pt x="128" y="149"/>
                </a:cubicBezTo>
                <a:cubicBezTo>
                  <a:pt x="128" y="133"/>
                  <a:pt x="128" y="133"/>
                  <a:pt x="128" y="133"/>
                </a:cubicBezTo>
                <a:cubicBezTo>
                  <a:pt x="128" y="132"/>
                  <a:pt x="129" y="131"/>
                  <a:pt x="130" y="131"/>
                </a:cubicBezTo>
                <a:cubicBezTo>
                  <a:pt x="146" y="131"/>
                  <a:pt x="146" y="131"/>
                  <a:pt x="146" y="131"/>
                </a:cubicBezTo>
                <a:cubicBezTo>
                  <a:pt x="146" y="131"/>
                  <a:pt x="147" y="132"/>
                  <a:pt x="147" y="133"/>
                </a:cubicBezTo>
                <a:lnTo>
                  <a:pt x="147" y="149"/>
                </a:lnTo>
                <a:close/>
                <a:moveTo>
                  <a:pt x="147" y="114"/>
                </a:moveTo>
                <a:cubicBezTo>
                  <a:pt x="147" y="114"/>
                  <a:pt x="146" y="115"/>
                  <a:pt x="146" y="115"/>
                </a:cubicBezTo>
                <a:cubicBezTo>
                  <a:pt x="130" y="115"/>
                  <a:pt x="130" y="115"/>
                  <a:pt x="130" y="115"/>
                </a:cubicBezTo>
                <a:cubicBezTo>
                  <a:pt x="129" y="115"/>
                  <a:pt x="128" y="114"/>
                  <a:pt x="128" y="114"/>
                </a:cubicBezTo>
                <a:cubicBezTo>
                  <a:pt x="128" y="98"/>
                  <a:pt x="128" y="98"/>
                  <a:pt x="128" y="98"/>
                </a:cubicBezTo>
                <a:cubicBezTo>
                  <a:pt x="128" y="97"/>
                  <a:pt x="129" y="96"/>
                  <a:pt x="130" y="96"/>
                </a:cubicBezTo>
                <a:cubicBezTo>
                  <a:pt x="146" y="96"/>
                  <a:pt x="146" y="96"/>
                  <a:pt x="146" y="96"/>
                </a:cubicBezTo>
                <a:cubicBezTo>
                  <a:pt x="146" y="96"/>
                  <a:pt x="147" y="97"/>
                  <a:pt x="147" y="98"/>
                </a:cubicBezTo>
                <a:lnTo>
                  <a:pt x="147" y="114"/>
                </a:lnTo>
                <a:close/>
                <a:moveTo>
                  <a:pt x="176" y="149"/>
                </a:moveTo>
                <a:cubicBezTo>
                  <a:pt x="176" y="150"/>
                  <a:pt x="175" y="150"/>
                  <a:pt x="174" y="150"/>
                </a:cubicBezTo>
                <a:cubicBezTo>
                  <a:pt x="158" y="150"/>
                  <a:pt x="158" y="150"/>
                  <a:pt x="158" y="150"/>
                </a:cubicBezTo>
                <a:cubicBezTo>
                  <a:pt x="158" y="150"/>
                  <a:pt x="157" y="150"/>
                  <a:pt x="157" y="149"/>
                </a:cubicBezTo>
                <a:cubicBezTo>
                  <a:pt x="157" y="133"/>
                  <a:pt x="157" y="133"/>
                  <a:pt x="157" y="133"/>
                </a:cubicBezTo>
                <a:cubicBezTo>
                  <a:pt x="157" y="132"/>
                  <a:pt x="158" y="131"/>
                  <a:pt x="158" y="131"/>
                </a:cubicBezTo>
                <a:cubicBezTo>
                  <a:pt x="174" y="131"/>
                  <a:pt x="174" y="131"/>
                  <a:pt x="174" y="131"/>
                </a:cubicBezTo>
                <a:cubicBezTo>
                  <a:pt x="175" y="131"/>
                  <a:pt x="176" y="132"/>
                  <a:pt x="176" y="133"/>
                </a:cubicBezTo>
                <a:lnTo>
                  <a:pt x="176" y="149"/>
                </a:lnTo>
                <a:close/>
                <a:moveTo>
                  <a:pt x="176" y="114"/>
                </a:moveTo>
                <a:cubicBezTo>
                  <a:pt x="176" y="114"/>
                  <a:pt x="175" y="115"/>
                  <a:pt x="174" y="115"/>
                </a:cubicBezTo>
                <a:cubicBezTo>
                  <a:pt x="158" y="115"/>
                  <a:pt x="158" y="115"/>
                  <a:pt x="158" y="115"/>
                </a:cubicBezTo>
                <a:cubicBezTo>
                  <a:pt x="158" y="115"/>
                  <a:pt x="157" y="114"/>
                  <a:pt x="157" y="114"/>
                </a:cubicBezTo>
                <a:cubicBezTo>
                  <a:pt x="157" y="98"/>
                  <a:pt x="157" y="98"/>
                  <a:pt x="157" y="98"/>
                </a:cubicBezTo>
                <a:cubicBezTo>
                  <a:pt x="157" y="97"/>
                  <a:pt x="158" y="96"/>
                  <a:pt x="158" y="96"/>
                </a:cubicBezTo>
                <a:cubicBezTo>
                  <a:pt x="174" y="96"/>
                  <a:pt x="174" y="96"/>
                  <a:pt x="174" y="96"/>
                </a:cubicBezTo>
                <a:cubicBezTo>
                  <a:pt x="175" y="96"/>
                  <a:pt x="176" y="97"/>
                  <a:pt x="176" y="98"/>
                </a:cubicBezTo>
                <a:lnTo>
                  <a:pt x="176" y="114"/>
                </a:lnTo>
                <a:close/>
                <a:moveTo>
                  <a:pt x="205" y="149"/>
                </a:moveTo>
                <a:cubicBezTo>
                  <a:pt x="205" y="150"/>
                  <a:pt x="204" y="150"/>
                  <a:pt x="203" y="150"/>
                </a:cubicBezTo>
                <a:cubicBezTo>
                  <a:pt x="187" y="150"/>
                  <a:pt x="187" y="150"/>
                  <a:pt x="187" y="150"/>
                </a:cubicBezTo>
                <a:cubicBezTo>
                  <a:pt x="186" y="150"/>
                  <a:pt x="186" y="150"/>
                  <a:pt x="186" y="149"/>
                </a:cubicBezTo>
                <a:cubicBezTo>
                  <a:pt x="186" y="133"/>
                  <a:pt x="186" y="133"/>
                  <a:pt x="186" y="133"/>
                </a:cubicBezTo>
                <a:cubicBezTo>
                  <a:pt x="186" y="132"/>
                  <a:pt x="186" y="131"/>
                  <a:pt x="187" y="131"/>
                </a:cubicBezTo>
                <a:cubicBezTo>
                  <a:pt x="203" y="131"/>
                  <a:pt x="203" y="131"/>
                  <a:pt x="203" y="131"/>
                </a:cubicBezTo>
                <a:cubicBezTo>
                  <a:pt x="204" y="131"/>
                  <a:pt x="205" y="132"/>
                  <a:pt x="205" y="133"/>
                </a:cubicBezTo>
                <a:lnTo>
                  <a:pt x="205" y="149"/>
                </a:lnTo>
                <a:close/>
                <a:moveTo>
                  <a:pt x="205" y="114"/>
                </a:moveTo>
                <a:cubicBezTo>
                  <a:pt x="205" y="114"/>
                  <a:pt x="204" y="115"/>
                  <a:pt x="203" y="115"/>
                </a:cubicBezTo>
                <a:cubicBezTo>
                  <a:pt x="187" y="115"/>
                  <a:pt x="187" y="115"/>
                  <a:pt x="187" y="115"/>
                </a:cubicBezTo>
                <a:cubicBezTo>
                  <a:pt x="186" y="115"/>
                  <a:pt x="186" y="114"/>
                  <a:pt x="186" y="114"/>
                </a:cubicBezTo>
                <a:cubicBezTo>
                  <a:pt x="186" y="98"/>
                  <a:pt x="186" y="98"/>
                  <a:pt x="186" y="98"/>
                </a:cubicBezTo>
                <a:cubicBezTo>
                  <a:pt x="186" y="97"/>
                  <a:pt x="186" y="96"/>
                  <a:pt x="187" y="96"/>
                </a:cubicBezTo>
                <a:cubicBezTo>
                  <a:pt x="203" y="96"/>
                  <a:pt x="203" y="96"/>
                  <a:pt x="203" y="96"/>
                </a:cubicBezTo>
                <a:cubicBezTo>
                  <a:pt x="204" y="96"/>
                  <a:pt x="205" y="97"/>
                  <a:pt x="205" y="98"/>
                </a:cubicBezTo>
                <a:lnTo>
                  <a:pt x="205" y="114"/>
                </a:lnTo>
                <a:close/>
              </a:path>
            </a:pathLst>
          </a:custGeom>
          <a:solidFill>
            <a:srgbClr val="FF9865"/>
          </a:solidFill>
          <a:ln>
            <a:noFill/>
          </a:ln>
        </p:spPr>
        <p:txBody>
          <a:bodyPr vert="horz" wrap="square" lIns="91440" tIns="45720" rIns="91440" bIns="45720" numCol="1" anchor="t" anchorCtr="0" compatLnSpc="1"/>
          <a:lstStyle/>
          <a:p>
            <a:endParaRPr lang="zh-CN" altLang="en-US">
              <a:solidFill>
                <a:srgbClr val="000000"/>
              </a:solidFill>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34" name="TextBox 38"/>
          <p:cNvSpPr txBox="1"/>
          <p:nvPr/>
        </p:nvSpPr>
        <p:spPr>
          <a:xfrm>
            <a:off x="9238634" y="2597004"/>
            <a:ext cx="2323143" cy="3046988"/>
          </a:xfrm>
          <a:prstGeom prst="rect">
            <a:avLst/>
          </a:prstGeom>
          <a:noFill/>
        </p:spPr>
        <p:txBody>
          <a:bodyPr wrap="square" rtlCol="0">
            <a:spAutoFit/>
          </a:bodyPr>
          <a:lstStyle/>
          <a:p>
            <a:r>
              <a:rPr lang="en-US" altLang="zh-CN" sz="1600" dirty="0" smtClean="0">
                <a:solidFill>
                  <a:sysClr val="windowText" lastClr="000000"/>
                </a:solidFill>
                <a:latin typeface="华文楷体" panose="02010600040101010101" charset="-122"/>
                <a:cs typeface="Arial Unicode MS" pitchFamily="34" charset="-122"/>
              </a:rPr>
              <a:t>Xx</a:t>
            </a:r>
            <a:endParaRPr lang="en-US" altLang="zh-CN" sz="1600" dirty="0" smtClean="0">
              <a:solidFill>
                <a:sysClr val="windowText" lastClr="000000"/>
              </a:solidFill>
              <a:latin typeface="华文楷体" panose="02010600040101010101" charset="-122"/>
              <a:cs typeface="Arial Unicode MS" pitchFamily="34" charset="-122"/>
            </a:endParaRPr>
          </a:p>
          <a:p>
            <a:endParaRPr lang="en-US" altLang="zh-CN" sz="1600" dirty="0" smtClean="0">
              <a:solidFill>
                <a:sysClr val="windowText" lastClr="000000"/>
              </a:solidFill>
              <a:latin typeface="华文楷体" panose="02010600040101010101" charset="-122"/>
              <a:cs typeface="Arial Unicode MS" pitchFamily="34" charset="-122"/>
            </a:endParaRPr>
          </a:p>
          <a:p>
            <a:endParaRPr lang="en-US" altLang="zh-CN" sz="1600" dirty="0" smtClean="0">
              <a:solidFill>
                <a:sysClr val="windowText" lastClr="000000"/>
              </a:solidFill>
              <a:latin typeface="华文楷体" panose="02010600040101010101" charset="-122"/>
              <a:cs typeface="Arial Unicode MS" pitchFamily="34" charset="-122"/>
            </a:endParaRPr>
          </a:p>
          <a:p>
            <a:endParaRPr lang="en-US" altLang="zh-CN" sz="1600" dirty="0" smtClean="0">
              <a:solidFill>
                <a:sysClr val="windowText" lastClr="000000"/>
              </a:solidFill>
              <a:latin typeface="华文楷体" panose="02010600040101010101" charset="-122"/>
              <a:cs typeface="Arial Unicode MS" pitchFamily="34" charset="-122"/>
            </a:endParaRPr>
          </a:p>
          <a:p>
            <a:endParaRPr lang="en-US" altLang="zh-CN" sz="1600" dirty="0" smtClean="0">
              <a:solidFill>
                <a:sysClr val="windowText" lastClr="000000"/>
              </a:solidFill>
              <a:latin typeface="华文楷体" panose="02010600040101010101" charset="-122"/>
              <a:cs typeface="Arial Unicode MS" pitchFamily="34" charset="-122"/>
            </a:endParaRPr>
          </a:p>
          <a:p>
            <a:r>
              <a:rPr lang="en-US" altLang="zh-CN" sz="1600" dirty="0" smtClean="0">
                <a:solidFill>
                  <a:sysClr val="windowText" lastClr="000000"/>
                </a:solidFill>
                <a:latin typeface="华文楷体" panose="02010600040101010101" charset="-122"/>
                <a:cs typeface="Arial Unicode MS" pitchFamily="34" charset="-122"/>
              </a:rPr>
              <a:t>Xx</a:t>
            </a:r>
            <a:endParaRPr lang="en-US" altLang="zh-CN" sz="1600" dirty="0" smtClean="0">
              <a:solidFill>
                <a:sysClr val="windowText" lastClr="000000"/>
              </a:solidFill>
              <a:latin typeface="华文楷体" panose="02010600040101010101" charset="-122"/>
              <a:cs typeface="Arial Unicode MS" pitchFamily="34" charset="-122"/>
            </a:endParaRPr>
          </a:p>
          <a:p>
            <a:endParaRPr lang="en-US" altLang="zh-CN" sz="1600" dirty="0">
              <a:solidFill>
                <a:sysClr val="windowText" lastClr="000000"/>
              </a:solidFill>
              <a:latin typeface="华文楷体" panose="02010600040101010101" charset="-122"/>
              <a:cs typeface="Arial Unicode MS" pitchFamily="34" charset="-122"/>
            </a:endParaRPr>
          </a:p>
          <a:p>
            <a:endParaRPr lang="en-US" altLang="zh-CN" sz="1600" dirty="0" smtClean="0">
              <a:solidFill>
                <a:sysClr val="windowText" lastClr="000000"/>
              </a:solidFill>
              <a:latin typeface="华文楷体" panose="02010600040101010101" charset="-122"/>
              <a:cs typeface="Arial Unicode MS" pitchFamily="34" charset="-122"/>
            </a:endParaRPr>
          </a:p>
          <a:p>
            <a:endParaRPr lang="en-US" altLang="zh-CN" sz="1600" dirty="0" smtClean="0">
              <a:solidFill>
                <a:sysClr val="windowText" lastClr="000000"/>
              </a:solidFill>
              <a:latin typeface="华文楷体" panose="02010600040101010101" charset="-122"/>
              <a:cs typeface="Arial Unicode MS" pitchFamily="34" charset="-122"/>
            </a:endParaRPr>
          </a:p>
          <a:p>
            <a:endParaRPr lang="en-US" altLang="zh-CN" sz="1600" dirty="0">
              <a:solidFill>
                <a:sysClr val="windowText" lastClr="000000"/>
              </a:solidFill>
              <a:latin typeface="华文楷体" panose="02010600040101010101" charset="-122"/>
              <a:cs typeface="Arial Unicode MS" pitchFamily="34" charset="-122"/>
            </a:endParaRPr>
          </a:p>
          <a:p>
            <a:endParaRPr lang="en-US" altLang="zh-CN" sz="1600" dirty="0" smtClean="0">
              <a:solidFill>
                <a:sysClr val="windowText" lastClr="000000"/>
              </a:solidFill>
              <a:latin typeface="华文楷体" panose="02010600040101010101" charset="-122"/>
              <a:cs typeface="Arial Unicode MS" pitchFamily="34" charset="-122"/>
            </a:endParaRPr>
          </a:p>
          <a:p>
            <a:r>
              <a:rPr lang="en-US" altLang="zh-CN" sz="1600" dirty="0" smtClean="0">
                <a:solidFill>
                  <a:sysClr val="windowText" lastClr="000000"/>
                </a:solidFill>
                <a:latin typeface="华文楷体" panose="02010600040101010101" charset="-122"/>
                <a:cs typeface="Arial Unicode MS" pitchFamily="34" charset="-122"/>
              </a:rPr>
              <a:t>xx</a:t>
            </a:r>
            <a:endParaRPr lang="zh-CN" altLang="en-US" sz="1600" dirty="0">
              <a:solidFill>
                <a:sysClr val="windowText" lastClr="000000"/>
              </a:solidFill>
              <a:latin typeface="华文楷体" panose="02010600040101010101" charset="-122"/>
              <a:cs typeface="Arial Unicode MS" pitchFamily="34" charset="-122"/>
            </a:endParaRPr>
          </a:p>
        </p:txBody>
      </p:sp>
      <p:sp>
        <p:nvSpPr>
          <p:cNvPr id="35" name="TextBox 39"/>
          <p:cNvSpPr txBox="1"/>
          <p:nvPr/>
        </p:nvSpPr>
        <p:spPr>
          <a:xfrm>
            <a:off x="8997663" y="2137875"/>
            <a:ext cx="1112524" cy="535701"/>
          </a:xfrm>
          <a:prstGeom prst="rect">
            <a:avLst/>
          </a:prstGeom>
          <a:noFill/>
        </p:spPr>
        <p:txBody>
          <a:bodyPr wrap="square" tIns="180000" rtlCol="0">
            <a:spAutoFit/>
          </a:bodyPr>
          <a:lstStyle>
            <a:defPPr>
              <a:defRPr lang="ko-KR"/>
            </a:defPPr>
            <a:lvl1pPr algn="ctr">
              <a:defRPr sz="2000" b="1">
                <a:solidFill>
                  <a:schemeClr val="bg1"/>
                </a:solidFill>
                <a:latin typeface="华文楷体" panose="02010600040101010101" charset="-122"/>
                <a:ea typeface="华文楷体" panose="02010600040101010101"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sng" strike="noStrike" kern="0" cap="none" spc="0" normalizeH="0" baseline="0" noProof="0" dirty="0" smtClean="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rPr>
              <a:t>前台</a:t>
            </a:r>
            <a:endParaRPr kumimoji="0" lang="zh-CN" altLang="en-US" sz="2000" b="1" i="0" u="sng" strike="noStrike" kern="0" cap="none" spc="0" normalizeH="0" baseline="0" noProof="0" dirty="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endParaRPr>
          </a:p>
        </p:txBody>
      </p:sp>
      <p:sp>
        <p:nvSpPr>
          <p:cNvPr id="36" name="TextBox 41"/>
          <p:cNvSpPr txBox="1"/>
          <p:nvPr/>
        </p:nvSpPr>
        <p:spPr>
          <a:xfrm>
            <a:off x="9012893" y="3363421"/>
            <a:ext cx="1112524" cy="535701"/>
          </a:xfrm>
          <a:prstGeom prst="rect">
            <a:avLst/>
          </a:prstGeom>
          <a:noFill/>
        </p:spPr>
        <p:txBody>
          <a:bodyPr wrap="square" tIns="180000" rtlCol="0">
            <a:spAutoFit/>
          </a:bodyPr>
          <a:lstStyle>
            <a:defPPr>
              <a:defRPr lang="ko-KR"/>
            </a:defPPr>
            <a:lvl1pPr algn="ctr">
              <a:defRPr sz="2000" b="1">
                <a:solidFill>
                  <a:schemeClr val="bg1"/>
                </a:solidFill>
                <a:latin typeface="华文楷体" panose="02010600040101010101" charset="-122"/>
                <a:ea typeface="华文楷体" panose="02010600040101010101"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sng" strike="noStrike" kern="0" cap="none" spc="0" normalizeH="0" baseline="0" noProof="0" dirty="0" smtClean="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rPr>
              <a:t>中台</a:t>
            </a:r>
            <a:endParaRPr kumimoji="0" lang="zh-CN" altLang="en-US" sz="2000" b="1" i="0" u="sng" strike="noStrike" kern="0" cap="none" spc="0" normalizeH="0" baseline="0" noProof="0" dirty="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endParaRPr>
          </a:p>
        </p:txBody>
      </p:sp>
      <p:sp>
        <p:nvSpPr>
          <p:cNvPr id="37" name="TextBox 42"/>
          <p:cNvSpPr txBox="1"/>
          <p:nvPr/>
        </p:nvSpPr>
        <p:spPr>
          <a:xfrm>
            <a:off x="9043995" y="4757996"/>
            <a:ext cx="1112524" cy="535701"/>
          </a:xfrm>
          <a:prstGeom prst="rect">
            <a:avLst/>
          </a:prstGeom>
          <a:noFill/>
        </p:spPr>
        <p:txBody>
          <a:bodyPr wrap="square" tIns="180000" rtlCol="0">
            <a:spAutoFit/>
          </a:bodyPr>
          <a:lstStyle>
            <a:defPPr>
              <a:defRPr lang="ko-KR"/>
            </a:defPPr>
            <a:lvl1pPr algn="ctr">
              <a:defRPr sz="2000" b="1">
                <a:solidFill>
                  <a:schemeClr val="bg1"/>
                </a:solidFill>
                <a:latin typeface="华文楷体" panose="02010600040101010101" charset="-122"/>
                <a:ea typeface="华文楷体" panose="02010600040101010101"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sng" strike="noStrike" kern="0" cap="none" spc="0" normalizeH="0" baseline="0" noProof="0" dirty="0" smtClean="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rPr>
              <a:t>后台</a:t>
            </a:r>
            <a:endParaRPr kumimoji="0" lang="zh-CN" altLang="en-US" sz="2000" b="1" i="0" u="sng" strike="noStrike" kern="0" cap="none" spc="0" normalizeH="0" baseline="0" noProof="0" dirty="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endParaRPr>
          </a:p>
        </p:txBody>
      </p:sp>
      <p:sp>
        <p:nvSpPr>
          <p:cNvPr id="38" name="左大括号 37"/>
          <p:cNvSpPr/>
          <p:nvPr/>
        </p:nvSpPr>
        <p:spPr>
          <a:xfrm rot="5400000">
            <a:off x="10092263" y="669545"/>
            <a:ext cx="402055" cy="2508543"/>
          </a:xfrm>
          <a:prstGeom prst="leftBrace">
            <a:avLst>
              <a:gd name="adj1" fmla="val 139406"/>
              <a:gd name="adj2" fmla="val 50000"/>
            </a:avLst>
          </a:prstGeom>
          <a:noFill/>
          <a:ln w="28575" cap="flat" cmpd="sng" algn="ctr">
            <a:solidFill>
              <a:srgbClr val="FF33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楷体" panose="02010609060101010101" pitchFamily="49" charset="-122"/>
              <a:cs typeface="+mn-cs"/>
            </a:endParaRPr>
          </a:p>
        </p:txBody>
      </p:sp>
      <p:sp>
        <p:nvSpPr>
          <p:cNvPr id="39" name="TextBox 37"/>
          <p:cNvSpPr txBox="1"/>
          <p:nvPr/>
        </p:nvSpPr>
        <p:spPr>
          <a:xfrm>
            <a:off x="9475547" y="1551525"/>
            <a:ext cx="1535874" cy="535701"/>
          </a:xfrm>
          <a:prstGeom prst="rect">
            <a:avLst/>
          </a:prstGeom>
          <a:solidFill>
            <a:srgbClr val="FFFFFF"/>
          </a:solidFill>
        </p:spPr>
        <p:txBody>
          <a:bodyPr wrap="square" tIns="180000" rtlCol="0">
            <a:spAutoFit/>
          </a:bodyPr>
          <a:lstStyle>
            <a:defPPr>
              <a:defRPr lang="ko-KR"/>
            </a:defPPr>
            <a:lvl1pPr algn="ctr">
              <a:defRPr sz="2000" b="1">
                <a:solidFill>
                  <a:schemeClr val="bg1"/>
                </a:solidFill>
                <a:latin typeface="华文楷体" panose="02010600040101010101" charset="-122"/>
                <a:ea typeface="华文楷体" panose="02010600040101010101"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a:ln>
                  <a:noFill/>
                </a:ln>
                <a:solidFill>
                  <a:sysClr val="windowText" lastClr="000000"/>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rPr>
              <a:t>创造的价值</a:t>
            </a:r>
            <a:endParaRPr kumimoji="0" lang="zh-CN" altLang="en-US" sz="2000" b="1" i="0" u="none" strike="noStrike" kern="0" cap="none" spc="0" normalizeH="0" baseline="0" noProof="0" dirty="0">
              <a:ln>
                <a:noFill/>
              </a:ln>
              <a:solidFill>
                <a:sysClr val="windowText" lastClr="000000"/>
              </a:solidFill>
              <a:effectLst/>
              <a:uLnTx/>
              <a:uFillTx/>
              <a:latin typeface="华文楷体" panose="02010600040101010101" charset="-122"/>
              <a:ea typeface="华文楷体" panose="02010600040101010101" charset="-122"/>
              <a:cs typeface="Arial" panose="020B0604020202020204" pitchFamily="34" charset="0"/>
              <a:sym typeface="微软雅黑" panose="020B0503020204020204" charset="-122"/>
            </a:endParaRPr>
          </a:p>
        </p:txBody>
      </p:sp>
      <p:sp>
        <p:nvSpPr>
          <p:cNvPr id="44"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前中后台</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8028534" y="1671141"/>
            <a:ext cx="2232506" cy="2492335"/>
          </a:xfrm>
          <a:prstGeom prst="rect">
            <a:avLst/>
          </a:prstGeom>
          <a:solidFill>
            <a:schemeClr val="bg1">
              <a:alpha val="0"/>
            </a:schemeClr>
          </a:solidFill>
          <a:ln w="28575">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1900">
              <a:solidFill>
                <a:schemeClr val="tx1"/>
              </a:solidFill>
              <a:ea typeface="楷体" panose="02010609060101010101" pitchFamily="49" charset="-122"/>
              <a:cs typeface="Arial" panose="020B0604020202020204" pitchFamily="34" charset="0"/>
            </a:endParaRPr>
          </a:p>
        </p:txBody>
      </p:sp>
      <p:sp>
        <p:nvSpPr>
          <p:cNvPr id="4" name="矩形 3"/>
          <p:cNvSpPr/>
          <p:nvPr/>
        </p:nvSpPr>
        <p:spPr>
          <a:xfrm>
            <a:off x="2011232" y="1685931"/>
            <a:ext cx="2254985" cy="2492335"/>
          </a:xfrm>
          <a:prstGeom prst="rect">
            <a:avLst/>
          </a:prstGeom>
          <a:solidFill>
            <a:schemeClr val="bg1">
              <a:alpha val="0"/>
            </a:schemeClr>
          </a:solidFill>
          <a:ln w="28575">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1900">
              <a:solidFill>
                <a:schemeClr val="tx1"/>
              </a:solidFill>
              <a:ea typeface="楷体" panose="02010609060101010101" pitchFamily="49" charset="-122"/>
              <a:cs typeface="Arial" panose="020B0604020202020204" pitchFamily="34" charset="0"/>
            </a:endParaRPr>
          </a:p>
        </p:txBody>
      </p:sp>
      <p:sp>
        <p:nvSpPr>
          <p:cNvPr id="5" name="矩形 4"/>
          <p:cNvSpPr/>
          <p:nvPr/>
        </p:nvSpPr>
        <p:spPr>
          <a:xfrm>
            <a:off x="5010243" y="1671141"/>
            <a:ext cx="2247371" cy="2492335"/>
          </a:xfrm>
          <a:prstGeom prst="rect">
            <a:avLst/>
          </a:prstGeom>
          <a:solidFill>
            <a:schemeClr val="bg1">
              <a:alpha val="0"/>
            </a:schemeClr>
          </a:solidFill>
          <a:ln w="28575">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1900">
              <a:solidFill>
                <a:schemeClr val="tx1"/>
              </a:solidFill>
              <a:ea typeface="楷体" panose="02010609060101010101" pitchFamily="49" charset="-122"/>
              <a:cs typeface="Arial" panose="020B0604020202020204" pitchFamily="34" charset="0"/>
            </a:endParaRPr>
          </a:p>
        </p:txBody>
      </p:sp>
      <p:sp>
        <p:nvSpPr>
          <p:cNvPr id="6" name="Rectangle 44"/>
          <p:cNvSpPr/>
          <p:nvPr>
            <p:custDataLst>
              <p:tags r:id="rId1"/>
            </p:custDataLst>
          </p:nvPr>
        </p:nvSpPr>
        <p:spPr>
          <a:xfrm>
            <a:off x="2033075" y="1408659"/>
            <a:ext cx="2204216" cy="324000"/>
          </a:xfrm>
          <a:prstGeom prst="rect">
            <a:avLst/>
          </a:prstGeom>
          <a:solidFill>
            <a:srgbClr val="FF5805"/>
          </a:solidFill>
          <a:ln w="3175" cap="flat" cmpd="sng" algn="ctr">
            <a:noFill/>
            <a:prstDash val="solid"/>
          </a:ln>
          <a:effectLst>
            <a:outerShdw blurRad="50800" dist="38100" dir="2700000" algn="tl" rotWithShape="0">
              <a:prstClr val="black">
                <a:alpha val="40000"/>
              </a:prstClr>
            </a:outerShdw>
          </a:effectLst>
        </p:spPr>
        <p:txBody>
          <a:bodyPr anchor="ctr">
            <a:noAutofit/>
          </a:bodyPr>
          <a:lstStyle/>
          <a:p>
            <a:pPr algn="ctr" defTabSz="1219200">
              <a:lnSpc>
                <a:spcPct val="150000"/>
              </a:lnSpc>
            </a:pPr>
            <a:r>
              <a:rPr lang="en-US" altLang="zh-CN" sz="2000" b="1" kern="0" dirty="0" smtClean="0">
                <a:solidFill>
                  <a:schemeClr val="bg1"/>
                </a:solidFill>
                <a:latin typeface="Arial" panose="020B0604020202020204" pitchFamily="34" charset="0"/>
                <a:ea typeface="楷体" panose="02010609060101010101" pitchFamily="49" charset="-122"/>
                <a:cs typeface="Arial" panose="020B0604020202020204" pitchFamily="34" charset="0"/>
              </a:rPr>
              <a:t>xx</a:t>
            </a:r>
            <a:endParaRPr lang="en-US" altLang="zh-CN" sz="2000" b="1" kern="0" dirty="0">
              <a:solidFill>
                <a:schemeClr val="bg1"/>
              </a:solidFill>
              <a:latin typeface="Arial" panose="020B0604020202020204" pitchFamily="34" charset="0"/>
              <a:ea typeface="楷体" panose="02010609060101010101" pitchFamily="49" charset="-122"/>
              <a:cs typeface="Arial" panose="020B0604020202020204" pitchFamily="34" charset="0"/>
            </a:endParaRPr>
          </a:p>
        </p:txBody>
      </p:sp>
      <p:sp>
        <p:nvSpPr>
          <p:cNvPr id="7" name="Rectangle 44"/>
          <p:cNvSpPr/>
          <p:nvPr>
            <p:custDataLst>
              <p:tags r:id="rId2"/>
            </p:custDataLst>
          </p:nvPr>
        </p:nvSpPr>
        <p:spPr>
          <a:xfrm>
            <a:off x="5010243" y="1408658"/>
            <a:ext cx="2245905" cy="324000"/>
          </a:xfrm>
          <a:prstGeom prst="rect">
            <a:avLst/>
          </a:prstGeom>
          <a:solidFill>
            <a:srgbClr val="FF5805"/>
          </a:solidFill>
          <a:ln w="3175" cap="flat" cmpd="sng" algn="ctr">
            <a:noFill/>
            <a:prstDash val="solid"/>
          </a:ln>
          <a:effectLst>
            <a:outerShdw blurRad="50800" dist="38100" dir="2700000" algn="tl" rotWithShape="0">
              <a:prstClr val="black">
                <a:alpha val="40000"/>
              </a:prstClr>
            </a:outerShdw>
          </a:effectLst>
        </p:spPr>
        <p:txBody>
          <a:bodyPr anchor="ctr">
            <a:noAutofit/>
          </a:bodyPr>
          <a:lstStyle/>
          <a:p>
            <a:pPr algn="ctr" defTabSz="1219200">
              <a:lnSpc>
                <a:spcPct val="150000"/>
              </a:lnSpc>
            </a:pPr>
            <a:r>
              <a:rPr lang="en-US" altLang="zh-CN" sz="2000" b="1" kern="0" dirty="0" smtClean="0">
                <a:solidFill>
                  <a:schemeClr val="bg1"/>
                </a:solidFill>
                <a:latin typeface="Arial" panose="020B0604020202020204" pitchFamily="34" charset="0"/>
                <a:ea typeface="楷体" panose="02010609060101010101" pitchFamily="49" charset="-122"/>
                <a:cs typeface="Arial" panose="020B0604020202020204" pitchFamily="34" charset="0"/>
              </a:rPr>
              <a:t>xx</a:t>
            </a:r>
            <a:endParaRPr lang="en-US" altLang="zh-CN" sz="2000" b="1" kern="0" dirty="0">
              <a:solidFill>
                <a:schemeClr val="bg1"/>
              </a:solidFill>
              <a:latin typeface="Arial" panose="020B0604020202020204" pitchFamily="34" charset="0"/>
              <a:ea typeface="楷体" panose="02010609060101010101" pitchFamily="49" charset="-122"/>
              <a:cs typeface="Arial" panose="020B0604020202020204" pitchFamily="34" charset="0"/>
            </a:endParaRPr>
          </a:p>
        </p:txBody>
      </p:sp>
      <p:sp>
        <p:nvSpPr>
          <p:cNvPr id="8" name="Rectangle 44"/>
          <p:cNvSpPr/>
          <p:nvPr>
            <p:custDataLst>
              <p:tags r:id="rId3"/>
            </p:custDataLst>
          </p:nvPr>
        </p:nvSpPr>
        <p:spPr>
          <a:xfrm>
            <a:off x="8028533" y="1408659"/>
            <a:ext cx="2204606" cy="324000"/>
          </a:xfrm>
          <a:prstGeom prst="rect">
            <a:avLst/>
          </a:prstGeom>
          <a:solidFill>
            <a:srgbClr val="FF5805"/>
          </a:solidFill>
          <a:ln w="3175" cap="flat" cmpd="sng" algn="ctr">
            <a:noFill/>
            <a:prstDash val="solid"/>
          </a:ln>
          <a:effectLst>
            <a:outerShdw blurRad="50800" dist="38100" dir="2700000" algn="tl" rotWithShape="0">
              <a:prstClr val="black">
                <a:alpha val="40000"/>
              </a:prstClr>
            </a:outerShdw>
          </a:effectLst>
        </p:spPr>
        <p:txBody>
          <a:bodyPr anchor="ctr">
            <a:noAutofit/>
          </a:bodyPr>
          <a:lstStyle/>
          <a:p>
            <a:pPr algn="ctr" defTabSz="1219200">
              <a:lnSpc>
                <a:spcPct val="150000"/>
              </a:lnSpc>
            </a:pPr>
            <a:r>
              <a:rPr lang="en-US" altLang="zh-CN" sz="2000" b="1" kern="0" dirty="0" smtClean="0">
                <a:solidFill>
                  <a:schemeClr val="bg1"/>
                </a:solidFill>
                <a:latin typeface="Arial" panose="020B0604020202020204" pitchFamily="34" charset="0"/>
                <a:ea typeface="楷体" panose="02010609060101010101" pitchFamily="49" charset="-122"/>
                <a:cs typeface="Arial" panose="020B0604020202020204" pitchFamily="34" charset="0"/>
              </a:rPr>
              <a:t>xx</a:t>
            </a:r>
            <a:endParaRPr lang="en-US" altLang="zh-CN" sz="2000" b="1" kern="0" dirty="0">
              <a:solidFill>
                <a:schemeClr val="bg1"/>
              </a:solidFill>
              <a:latin typeface="Arial" panose="020B0604020202020204" pitchFamily="34" charset="0"/>
              <a:ea typeface="楷体" panose="02010609060101010101" pitchFamily="49" charset="-122"/>
              <a:cs typeface="Arial" panose="020B0604020202020204" pitchFamily="34" charset="0"/>
            </a:endParaRPr>
          </a:p>
        </p:txBody>
      </p:sp>
      <p:sp>
        <p:nvSpPr>
          <p:cNvPr id="9" name="Rounded Rectangle 55"/>
          <p:cNvSpPr/>
          <p:nvPr/>
        </p:nvSpPr>
        <p:spPr bwMode="auto">
          <a:xfrm>
            <a:off x="5373809" y="2180769"/>
            <a:ext cx="1621699" cy="311507"/>
          </a:xfrm>
          <a:prstGeom prst="rect">
            <a:avLst/>
          </a:prstGeom>
          <a:solidFill>
            <a:schemeClr val="bg1">
              <a:lumMod val="95000"/>
            </a:schemeClr>
          </a:solidFill>
          <a:ln w="19050">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wrap="none" lIns="121908" tIns="60954" rIns="121908" bIns="60954" anchor="ctr" anchorCtr="0"/>
          <a:lstStyle/>
          <a:p>
            <a:pPr algn="ctr"/>
            <a:endParaRPr lang="en-US" altLang="zh-CN" sz="1600" b="1" dirty="0">
              <a:solidFill>
                <a:schemeClr val="tx1"/>
              </a:solidFill>
              <a:ea typeface="楷体" panose="02010609060101010101" pitchFamily="49" charset="-122"/>
              <a:cs typeface="Arial" panose="020B0604020202020204" pitchFamily="34" charset="0"/>
            </a:endParaRPr>
          </a:p>
        </p:txBody>
      </p:sp>
      <p:sp>
        <p:nvSpPr>
          <p:cNvPr id="10" name="Rounded Rectangle 55"/>
          <p:cNvSpPr/>
          <p:nvPr/>
        </p:nvSpPr>
        <p:spPr bwMode="auto">
          <a:xfrm>
            <a:off x="5373809" y="2932100"/>
            <a:ext cx="1621699" cy="311507"/>
          </a:xfrm>
          <a:prstGeom prst="rect">
            <a:avLst/>
          </a:prstGeom>
          <a:solidFill>
            <a:schemeClr val="bg1">
              <a:lumMod val="95000"/>
            </a:schemeClr>
          </a:solidFill>
          <a:ln w="19050">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wrap="none" lIns="121908" tIns="60954" rIns="121908" bIns="60954" anchor="ctr" anchorCtr="0"/>
          <a:lstStyle/>
          <a:p>
            <a:pPr algn="ctr"/>
            <a:endParaRPr lang="en-US" altLang="zh-CN" sz="1600" b="1" dirty="0">
              <a:solidFill>
                <a:schemeClr val="tx1"/>
              </a:solidFill>
              <a:ea typeface="楷体" panose="02010609060101010101" pitchFamily="49" charset="-122"/>
              <a:cs typeface="Arial" panose="020B0604020202020204" pitchFamily="34" charset="0"/>
            </a:endParaRPr>
          </a:p>
        </p:txBody>
      </p:sp>
      <p:sp>
        <p:nvSpPr>
          <p:cNvPr id="11" name="Rounded Rectangle 55"/>
          <p:cNvSpPr/>
          <p:nvPr/>
        </p:nvSpPr>
        <p:spPr bwMode="auto">
          <a:xfrm>
            <a:off x="5373809" y="3353632"/>
            <a:ext cx="1621699" cy="311507"/>
          </a:xfrm>
          <a:prstGeom prst="rect">
            <a:avLst/>
          </a:prstGeom>
          <a:solidFill>
            <a:schemeClr val="bg1">
              <a:lumMod val="50000"/>
            </a:schemeClr>
          </a:solidFill>
          <a:ln w="19050">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wrap="none" lIns="121908" tIns="60954" rIns="121908" bIns="60954" anchor="ctr" anchorCtr="0"/>
          <a:lstStyle/>
          <a:p>
            <a:pPr algn="ctr"/>
            <a:endParaRPr lang="en-US" altLang="zh-CN" sz="1600" b="1" dirty="0">
              <a:solidFill>
                <a:schemeClr val="bg1"/>
              </a:solidFill>
              <a:ea typeface="楷体" panose="02010609060101010101" pitchFamily="49" charset="-122"/>
              <a:cs typeface="Arial" panose="020B0604020202020204" pitchFamily="34" charset="0"/>
            </a:endParaRPr>
          </a:p>
        </p:txBody>
      </p:sp>
      <p:sp>
        <p:nvSpPr>
          <p:cNvPr id="12" name="Rounded Rectangle 55"/>
          <p:cNvSpPr/>
          <p:nvPr/>
        </p:nvSpPr>
        <p:spPr bwMode="auto">
          <a:xfrm>
            <a:off x="5373809" y="1806859"/>
            <a:ext cx="1621699" cy="311507"/>
          </a:xfrm>
          <a:prstGeom prst="rect">
            <a:avLst/>
          </a:prstGeom>
          <a:solidFill>
            <a:schemeClr val="bg1">
              <a:lumMod val="95000"/>
            </a:schemeClr>
          </a:solidFill>
          <a:ln w="19050">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wrap="none" lIns="121908" tIns="60954" rIns="121908" bIns="60954" anchor="ctr" anchorCtr="0"/>
          <a:lstStyle/>
          <a:p>
            <a:pPr algn="ctr"/>
            <a:endParaRPr lang="en-US" altLang="zh-CN" sz="1600" b="1" dirty="0">
              <a:solidFill>
                <a:schemeClr val="tx1"/>
              </a:solidFill>
              <a:ea typeface="楷体" panose="02010609060101010101" pitchFamily="49" charset="-122"/>
              <a:cs typeface="Arial" panose="020B0604020202020204" pitchFamily="34" charset="0"/>
            </a:endParaRPr>
          </a:p>
        </p:txBody>
      </p:sp>
      <p:sp>
        <p:nvSpPr>
          <p:cNvPr id="13" name="Rounded Rectangle 55"/>
          <p:cNvSpPr/>
          <p:nvPr/>
        </p:nvSpPr>
        <p:spPr bwMode="auto">
          <a:xfrm>
            <a:off x="2169261" y="1901443"/>
            <a:ext cx="1848159" cy="827413"/>
          </a:xfrm>
          <a:prstGeom prst="rect">
            <a:avLst/>
          </a:prstGeom>
          <a:solidFill>
            <a:srgbClr val="FF5805"/>
          </a:solidFill>
          <a:ln w="3175" cap="flat" cmpd="sng" algn="ctr">
            <a:noFill/>
            <a:prstDash val="solid"/>
          </a:ln>
          <a:effectLst>
            <a:outerShdw blurRad="50800" dist="38100" dir="2700000" algn="tl" rotWithShape="0">
              <a:prstClr val="black">
                <a:alpha val="40000"/>
              </a:prstClr>
            </a:outerShdw>
          </a:effectLst>
        </p:spPr>
        <p:txBody>
          <a:bodyPr lIns="91424" tIns="45712" rIns="91424" bIns="45712" anchor="ctr">
            <a:noAutofit/>
          </a:bodyPr>
          <a:lstStyle/>
          <a:p>
            <a:pPr algn="ctr" defTabSz="1218565"/>
            <a:r>
              <a:rPr lang="en-US" altLang="zh-CN" sz="1400" b="1" kern="0" dirty="0" smtClean="0">
                <a:solidFill>
                  <a:schemeClr val="bg1"/>
                </a:solidFill>
                <a:latin typeface="华文楷体" panose="02010600040101010101" charset="-122"/>
                <a:ea typeface="华文楷体" panose="02010600040101010101" charset="-122"/>
                <a:cs typeface="Arial" panose="020B0604020202020204" pitchFamily="34" charset="0"/>
              </a:rPr>
              <a:t>xx</a:t>
            </a:r>
            <a:endParaRPr lang="en-US" altLang="zh-CN" sz="1400" b="1" kern="0" dirty="0">
              <a:solidFill>
                <a:schemeClr val="bg1"/>
              </a:solidFill>
              <a:latin typeface="华文楷体" panose="02010600040101010101" charset="-122"/>
              <a:ea typeface="华文楷体" panose="02010600040101010101" charset="-122"/>
              <a:cs typeface="Arial" panose="020B0604020202020204" pitchFamily="34" charset="0"/>
            </a:endParaRPr>
          </a:p>
        </p:txBody>
      </p:sp>
      <p:sp>
        <p:nvSpPr>
          <p:cNvPr id="14" name="文本框 174"/>
          <p:cNvSpPr txBox="1"/>
          <p:nvPr/>
        </p:nvSpPr>
        <p:spPr>
          <a:xfrm>
            <a:off x="4256766" y="1868154"/>
            <a:ext cx="688347" cy="307764"/>
          </a:xfrm>
          <a:prstGeom prst="rect">
            <a:avLst/>
          </a:prstGeom>
          <a:noFill/>
        </p:spPr>
        <p:txBody>
          <a:bodyPr wrap="square" lIns="121908" tIns="60954" rIns="121908" bIns="60954" rtlCol="0">
            <a:spAutoFit/>
          </a:bodyPr>
          <a:lstStyle>
            <a:defPPr>
              <a:defRPr lang="zh-CN"/>
            </a:defPPr>
            <a:lvl1pPr algn="ctr">
              <a:defRPr sz="1000" b="1">
                <a:solidFill>
                  <a:schemeClr val="bg1">
                    <a:lumMod val="50000"/>
                  </a:schemeClr>
                </a:solidFill>
                <a:latin typeface="微软雅黑" panose="020B0503020204020204" charset="-122"/>
                <a:ea typeface="微软雅黑" panose="020B0503020204020204" charset="-122"/>
              </a:defRPr>
            </a:lvl1pPr>
          </a:lstStyle>
          <a:p>
            <a:r>
              <a:rPr lang="en-US" altLang="zh-CN" sz="1200" dirty="0" smtClean="0">
                <a:solidFill>
                  <a:schemeClr val="tx1"/>
                </a:solidFill>
                <a:latin typeface="+mn-lt"/>
                <a:ea typeface="楷体" panose="02010609060101010101" pitchFamily="49" charset="-122"/>
                <a:cs typeface="Arial" panose="020B0604020202020204" pitchFamily="34" charset="0"/>
              </a:rPr>
              <a:t>xx</a:t>
            </a:r>
            <a:endParaRPr lang="en-US" altLang="zh-CN" sz="1200" dirty="0">
              <a:solidFill>
                <a:schemeClr val="tx1"/>
              </a:solidFill>
              <a:latin typeface="+mn-lt"/>
              <a:ea typeface="楷体" panose="02010609060101010101" pitchFamily="49" charset="-122"/>
              <a:cs typeface="Arial" panose="020B0604020202020204" pitchFamily="34" charset="0"/>
            </a:endParaRPr>
          </a:p>
        </p:txBody>
      </p:sp>
      <p:cxnSp>
        <p:nvCxnSpPr>
          <p:cNvPr id="15" name="肘形连接符 14"/>
          <p:cNvCxnSpPr>
            <a:stCxn id="13" idx="3"/>
            <a:endCxn id="12" idx="1"/>
          </p:cNvCxnSpPr>
          <p:nvPr/>
        </p:nvCxnSpPr>
        <p:spPr>
          <a:xfrm flipV="1">
            <a:off x="4017420" y="1962612"/>
            <a:ext cx="1356389" cy="352537"/>
          </a:xfrm>
          <a:prstGeom prst="bentConnector3">
            <a:avLst>
              <a:gd name="adj1" fmla="val 72404"/>
            </a:avLst>
          </a:prstGeom>
          <a:solidFill>
            <a:srgbClr val="006441">
              <a:alpha val="39999"/>
            </a:srgbClr>
          </a:solidFill>
          <a:ln w="28575" cap="flat" cmpd="sng" algn="ctr">
            <a:solidFill>
              <a:schemeClr val="bg1">
                <a:lumMod val="65000"/>
              </a:schemeClr>
            </a:solidFill>
            <a:prstDash val="solid"/>
            <a:round/>
            <a:headEnd type="none" w="med" len="med"/>
            <a:tailEnd type="triangle"/>
          </a:ln>
          <a:effectLst/>
        </p:spPr>
      </p:cxnSp>
      <p:cxnSp>
        <p:nvCxnSpPr>
          <p:cNvPr id="16" name="肘形连接符 15"/>
          <p:cNvCxnSpPr>
            <a:stCxn id="13" idx="3"/>
            <a:endCxn id="9" idx="1"/>
          </p:cNvCxnSpPr>
          <p:nvPr/>
        </p:nvCxnSpPr>
        <p:spPr>
          <a:xfrm>
            <a:off x="4017420" y="2315150"/>
            <a:ext cx="1356389" cy="21372"/>
          </a:xfrm>
          <a:prstGeom prst="bentConnector3">
            <a:avLst>
              <a:gd name="adj1" fmla="val 71225"/>
            </a:avLst>
          </a:prstGeom>
          <a:solidFill>
            <a:srgbClr val="006441">
              <a:alpha val="39999"/>
            </a:srgbClr>
          </a:solidFill>
          <a:ln w="28575" cap="flat" cmpd="sng" algn="ctr">
            <a:solidFill>
              <a:schemeClr val="bg1">
                <a:lumMod val="65000"/>
              </a:schemeClr>
            </a:solidFill>
            <a:prstDash val="solid"/>
            <a:round/>
            <a:headEnd type="none" w="med" len="med"/>
            <a:tailEnd type="triangle"/>
          </a:ln>
          <a:effectLst/>
        </p:spPr>
      </p:cxnSp>
      <p:cxnSp>
        <p:nvCxnSpPr>
          <p:cNvPr id="17" name="肘形连接符 16"/>
          <p:cNvCxnSpPr>
            <a:stCxn id="13" idx="3"/>
            <a:endCxn id="10" idx="1"/>
          </p:cNvCxnSpPr>
          <p:nvPr/>
        </p:nvCxnSpPr>
        <p:spPr>
          <a:xfrm>
            <a:off x="4017420" y="2315151"/>
            <a:ext cx="1356389" cy="772704"/>
          </a:xfrm>
          <a:prstGeom prst="bentConnector3">
            <a:avLst>
              <a:gd name="adj1" fmla="val 71225"/>
            </a:avLst>
          </a:prstGeom>
          <a:solidFill>
            <a:srgbClr val="006441">
              <a:alpha val="39999"/>
            </a:srgbClr>
          </a:solidFill>
          <a:ln w="19050" cap="flat" cmpd="sng" algn="ctr">
            <a:solidFill>
              <a:srgbClr val="AFA7A7"/>
            </a:solidFill>
            <a:prstDash val="solid"/>
            <a:round/>
            <a:headEnd type="none" w="med" len="med"/>
            <a:tailEnd type="triangle" w="med" len="med"/>
          </a:ln>
          <a:effectLst/>
        </p:spPr>
      </p:cxnSp>
      <p:cxnSp>
        <p:nvCxnSpPr>
          <p:cNvPr id="18" name="肘形连接符 17"/>
          <p:cNvCxnSpPr>
            <a:stCxn id="13" idx="3"/>
            <a:endCxn id="11" idx="1"/>
          </p:cNvCxnSpPr>
          <p:nvPr/>
        </p:nvCxnSpPr>
        <p:spPr>
          <a:xfrm>
            <a:off x="4017420" y="2315151"/>
            <a:ext cx="1356389" cy="1194235"/>
          </a:xfrm>
          <a:prstGeom prst="bentConnector3">
            <a:avLst>
              <a:gd name="adj1" fmla="val 72404"/>
            </a:avLst>
          </a:prstGeom>
          <a:solidFill>
            <a:srgbClr val="006441">
              <a:alpha val="39999"/>
            </a:srgbClr>
          </a:solidFill>
          <a:ln w="28575" cap="flat" cmpd="sng" algn="ctr">
            <a:solidFill>
              <a:schemeClr val="bg1">
                <a:lumMod val="65000"/>
              </a:schemeClr>
            </a:solidFill>
            <a:prstDash val="solid"/>
            <a:round/>
            <a:headEnd type="none" w="med" len="med"/>
            <a:tailEnd type="triangle"/>
          </a:ln>
          <a:effectLst/>
        </p:spPr>
      </p:cxnSp>
      <p:sp>
        <p:nvSpPr>
          <p:cNvPr id="19" name="Rounded Rectangle 55"/>
          <p:cNvSpPr/>
          <p:nvPr/>
        </p:nvSpPr>
        <p:spPr bwMode="auto">
          <a:xfrm>
            <a:off x="5373809" y="3793457"/>
            <a:ext cx="1621699" cy="311507"/>
          </a:xfrm>
          <a:prstGeom prst="rect">
            <a:avLst/>
          </a:prstGeom>
          <a:solidFill>
            <a:schemeClr val="bg1">
              <a:lumMod val="95000"/>
            </a:schemeClr>
          </a:solidFill>
          <a:ln w="19050">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wrap="none" lIns="121908" tIns="60954" rIns="121908" bIns="60954" anchor="ctr" anchorCtr="0"/>
          <a:lstStyle/>
          <a:p>
            <a:pPr algn="ctr"/>
            <a:endParaRPr lang="en-US" altLang="zh-CN" sz="1600" b="1" dirty="0">
              <a:solidFill>
                <a:schemeClr val="tx1"/>
              </a:solidFill>
              <a:ea typeface="楷体" panose="02010609060101010101" pitchFamily="49" charset="-122"/>
              <a:cs typeface="Arial" panose="020B0604020202020204" pitchFamily="34" charset="0"/>
            </a:endParaRPr>
          </a:p>
        </p:txBody>
      </p:sp>
      <p:cxnSp>
        <p:nvCxnSpPr>
          <p:cNvPr id="20" name="肘形连接符 19"/>
          <p:cNvCxnSpPr>
            <a:stCxn id="13" idx="3"/>
            <a:endCxn id="19" idx="1"/>
          </p:cNvCxnSpPr>
          <p:nvPr/>
        </p:nvCxnSpPr>
        <p:spPr>
          <a:xfrm>
            <a:off x="4017420" y="2315150"/>
            <a:ext cx="1356389" cy="1634060"/>
          </a:xfrm>
          <a:prstGeom prst="bentConnector3">
            <a:avLst>
              <a:gd name="adj1" fmla="val 72404"/>
            </a:avLst>
          </a:prstGeom>
          <a:solidFill>
            <a:srgbClr val="006441">
              <a:alpha val="39999"/>
            </a:srgbClr>
          </a:solidFill>
          <a:ln w="28575" cap="flat" cmpd="sng" algn="ctr">
            <a:solidFill>
              <a:schemeClr val="bg1">
                <a:lumMod val="65000"/>
              </a:schemeClr>
            </a:solidFill>
            <a:prstDash val="solid"/>
            <a:round/>
            <a:headEnd type="none" w="med" len="med"/>
            <a:tailEnd type="triangle"/>
          </a:ln>
          <a:effectLst/>
        </p:spPr>
      </p:cxnSp>
      <p:sp>
        <p:nvSpPr>
          <p:cNvPr id="21" name="Rounded Rectangle 55"/>
          <p:cNvSpPr/>
          <p:nvPr/>
        </p:nvSpPr>
        <p:spPr bwMode="auto">
          <a:xfrm>
            <a:off x="2169261" y="3066491"/>
            <a:ext cx="1847942" cy="827413"/>
          </a:xfrm>
          <a:prstGeom prst="rect">
            <a:avLst/>
          </a:prstGeom>
          <a:solidFill>
            <a:srgbClr val="FF5805"/>
          </a:solidFill>
          <a:ln w="3175" cap="flat" cmpd="sng" algn="ctr">
            <a:noFill/>
            <a:prstDash val="solid"/>
          </a:ln>
          <a:effectLst>
            <a:outerShdw blurRad="50800" dist="38100" dir="2700000" algn="tl" rotWithShape="0">
              <a:prstClr val="black">
                <a:alpha val="40000"/>
              </a:prstClr>
            </a:outerShdw>
          </a:effectLst>
        </p:spPr>
        <p:txBody>
          <a:bodyPr lIns="91424" tIns="45712" rIns="91424" bIns="45712" anchor="ctr">
            <a:noAutofit/>
          </a:bodyPr>
          <a:lstStyle/>
          <a:p>
            <a:pPr algn="ctr" defTabSz="1218565"/>
            <a:r>
              <a:rPr lang="en-US" altLang="zh-CN" sz="1400" b="1" kern="0" dirty="0" smtClean="0">
                <a:solidFill>
                  <a:schemeClr val="bg1"/>
                </a:solidFill>
                <a:latin typeface="华文楷体" panose="02010600040101010101" charset="-122"/>
                <a:ea typeface="华文楷体" panose="02010600040101010101" charset="-122"/>
                <a:cs typeface="Arial" panose="020B0604020202020204" pitchFamily="34" charset="0"/>
              </a:rPr>
              <a:t>xx</a:t>
            </a:r>
            <a:endParaRPr lang="en-US" altLang="zh-CN" sz="1400" b="1" kern="0" dirty="0">
              <a:solidFill>
                <a:schemeClr val="bg1"/>
              </a:solidFill>
              <a:latin typeface="华文楷体" panose="02010600040101010101" charset="-122"/>
              <a:ea typeface="华文楷体" panose="02010600040101010101" charset="-122"/>
              <a:cs typeface="Arial" panose="020B0604020202020204" pitchFamily="34" charset="0"/>
            </a:endParaRPr>
          </a:p>
        </p:txBody>
      </p:sp>
      <p:cxnSp>
        <p:nvCxnSpPr>
          <p:cNvPr id="22" name="肘形连接符 21"/>
          <p:cNvCxnSpPr>
            <a:stCxn id="21" idx="3"/>
            <a:endCxn id="10" idx="1"/>
          </p:cNvCxnSpPr>
          <p:nvPr/>
        </p:nvCxnSpPr>
        <p:spPr>
          <a:xfrm flipV="1">
            <a:off x="4017205" y="3087854"/>
            <a:ext cx="1356605" cy="392343"/>
          </a:xfrm>
          <a:prstGeom prst="bentConnector3">
            <a:avLst>
              <a:gd name="adj1" fmla="val 73580"/>
            </a:avLst>
          </a:prstGeom>
          <a:solidFill>
            <a:srgbClr val="006441">
              <a:alpha val="39999"/>
            </a:srgbClr>
          </a:solidFill>
          <a:ln w="28575" cap="flat" cmpd="sng" algn="ctr">
            <a:solidFill>
              <a:schemeClr val="bg1">
                <a:lumMod val="65000"/>
              </a:schemeClr>
            </a:solidFill>
            <a:prstDash val="solid"/>
            <a:round/>
            <a:headEnd type="none" w="med" len="med"/>
            <a:tailEnd type="triangle"/>
          </a:ln>
          <a:effectLst/>
        </p:spPr>
      </p:cxnSp>
      <p:sp>
        <p:nvSpPr>
          <p:cNvPr id="23" name="文本框 174"/>
          <p:cNvSpPr txBox="1"/>
          <p:nvPr/>
        </p:nvSpPr>
        <p:spPr>
          <a:xfrm>
            <a:off x="4256766" y="3060136"/>
            <a:ext cx="688347" cy="307764"/>
          </a:xfrm>
          <a:prstGeom prst="rect">
            <a:avLst/>
          </a:prstGeom>
          <a:noFill/>
        </p:spPr>
        <p:txBody>
          <a:bodyPr wrap="square" lIns="121908" tIns="60954" rIns="121908" bIns="60954" rtlCol="0">
            <a:spAutoFit/>
          </a:bodyPr>
          <a:lstStyle>
            <a:defPPr>
              <a:defRPr lang="zh-CN"/>
            </a:defPPr>
            <a:lvl1pPr algn="ctr">
              <a:defRPr sz="1000" b="0">
                <a:solidFill>
                  <a:schemeClr val="bg1">
                    <a:lumMod val="50000"/>
                  </a:schemeClr>
                </a:solidFill>
                <a:latin typeface="微软雅黑" panose="020B0503020204020204" charset="-122"/>
                <a:ea typeface="微软雅黑" panose="020B0503020204020204" charset="-122"/>
              </a:defRPr>
            </a:lvl1pPr>
          </a:lstStyle>
          <a:p>
            <a:r>
              <a:rPr lang="en-US" altLang="zh-CN" sz="1200" b="1" dirty="0" smtClean="0">
                <a:solidFill>
                  <a:schemeClr val="tx1"/>
                </a:solidFill>
                <a:latin typeface="+mn-lt"/>
                <a:ea typeface="楷体" panose="02010609060101010101" pitchFamily="49" charset="-122"/>
                <a:cs typeface="Arial" panose="020B0604020202020204" pitchFamily="34" charset="0"/>
              </a:rPr>
              <a:t>xx</a:t>
            </a:r>
            <a:endParaRPr lang="en-US" altLang="zh-CN" sz="1200" b="1" dirty="0">
              <a:solidFill>
                <a:schemeClr val="tx1"/>
              </a:solidFill>
              <a:latin typeface="+mn-lt"/>
              <a:ea typeface="楷体" panose="02010609060101010101" pitchFamily="49" charset="-122"/>
              <a:cs typeface="Arial" panose="020B0604020202020204" pitchFamily="34" charset="0"/>
            </a:endParaRPr>
          </a:p>
        </p:txBody>
      </p:sp>
      <p:sp>
        <p:nvSpPr>
          <p:cNvPr id="24" name="右箭头 23"/>
          <p:cNvSpPr/>
          <p:nvPr/>
        </p:nvSpPr>
        <p:spPr>
          <a:xfrm>
            <a:off x="1487488" y="2418453"/>
            <a:ext cx="403800" cy="125351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ea typeface="楷体" panose="02010609060101010101" pitchFamily="49" charset="-122"/>
              <a:cs typeface="Arial" panose="020B0604020202020204" pitchFamily="34" charset="0"/>
            </a:endParaRPr>
          </a:p>
        </p:txBody>
      </p:sp>
      <p:sp>
        <p:nvSpPr>
          <p:cNvPr id="25" name="右箭头 24"/>
          <p:cNvSpPr/>
          <p:nvPr/>
        </p:nvSpPr>
        <p:spPr>
          <a:xfrm flipH="1">
            <a:off x="10370455" y="2416770"/>
            <a:ext cx="428599" cy="125351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ea typeface="楷体" panose="02010609060101010101" pitchFamily="49" charset="-122"/>
              <a:cs typeface="Arial" panose="020B0604020202020204" pitchFamily="34" charset="0"/>
            </a:endParaRPr>
          </a:p>
        </p:txBody>
      </p:sp>
      <p:sp>
        <p:nvSpPr>
          <p:cNvPr id="26" name="Rectangle 46"/>
          <p:cNvSpPr/>
          <p:nvPr>
            <p:custDataLst>
              <p:tags r:id="rId4"/>
            </p:custDataLst>
          </p:nvPr>
        </p:nvSpPr>
        <p:spPr>
          <a:xfrm>
            <a:off x="989544" y="2491758"/>
            <a:ext cx="556311" cy="1050772"/>
          </a:xfrm>
          <a:prstGeom prst="rect">
            <a:avLst/>
          </a:prstGeom>
        </p:spPr>
        <p:txBody>
          <a:bodyPr wrap="square" lIns="121908" tIns="60954" rIns="121908" bIns="60954">
            <a:spAutoFit/>
          </a:bodyPr>
          <a:lstStyle/>
          <a:p>
            <a:pPr lvl="0" algn="ctr" eaLnBrk="0" fontAlgn="base" hangingPunct="0">
              <a:buClr>
                <a:prstClr val="black"/>
              </a:buClr>
            </a:pPr>
            <a:r>
              <a:rPr lang="zh-CN" altLang="en-US" b="1" kern="0" dirty="0">
                <a:ea typeface="楷体" panose="02010609060101010101" pitchFamily="49" charset="-122"/>
                <a:cs typeface="Arial" panose="020B0604020202020204" pitchFamily="34" charset="0"/>
              </a:rPr>
              <a:t>流量入口</a:t>
            </a:r>
            <a:endParaRPr lang="en-US" altLang="zh-CN" b="1" kern="0" dirty="0">
              <a:ea typeface="楷体" panose="02010609060101010101" pitchFamily="49" charset="-122"/>
              <a:cs typeface="Arial" panose="020B0604020202020204" pitchFamily="34" charset="0"/>
            </a:endParaRPr>
          </a:p>
        </p:txBody>
      </p:sp>
      <p:sp>
        <p:nvSpPr>
          <p:cNvPr id="27" name="Rectangle 46"/>
          <p:cNvSpPr/>
          <p:nvPr>
            <p:custDataLst>
              <p:tags r:id="rId5"/>
            </p:custDataLst>
          </p:nvPr>
        </p:nvSpPr>
        <p:spPr>
          <a:xfrm>
            <a:off x="10716806" y="2599227"/>
            <a:ext cx="556311" cy="814346"/>
          </a:xfrm>
          <a:prstGeom prst="rect">
            <a:avLst/>
          </a:prstGeom>
        </p:spPr>
        <p:txBody>
          <a:bodyPr wrap="square" lIns="121908" tIns="60954" rIns="121908" bIns="60954">
            <a:spAutoFit/>
          </a:bodyPr>
          <a:lstStyle/>
          <a:p>
            <a:pPr lvl="0" algn="ctr" eaLnBrk="0" fontAlgn="base" hangingPunct="0">
              <a:buClr>
                <a:prstClr val="black"/>
              </a:buClr>
            </a:pPr>
            <a:r>
              <a:rPr lang="zh-CN" altLang="en-US" b="1" kern="0" dirty="0">
                <a:ea typeface="楷体" panose="02010609060101010101" pitchFamily="49" charset="-122"/>
                <a:cs typeface="Arial" panose="020B0604020202020204" pitchFamily="34" charset="0"/>
              </a:rPr>
              <a:t>支付方</a:t>
            </a:r>
            <a:endParaRPr lang="en-US" altLang="zh-CN" b="1" kern="0" dirty="0">
              <a:ea typeface="楷体" panose="02010609060101010101" pitchFamily="49" charset="-122"/>
              <a:cs typeface="Arial" panose="020B0604020202020204" pitchFamily="34" charset="0"/>
            </a:endParaRPr>
          </a:p>
        </p:txBody>
      </p:sp>
      <p:sp>
        <p:nvSpPr>
          <p:cNvPr id="28" name="Rounded Rectangle 55"/>
          <p:cNvSpPr/>
          <p:nvPr/>
        </p:nvSpPr>
        <p:spPr bwMode="auto">
          <a:xfrm>
            <a:off x="5373809" y="2565580"/>
            <a:ext cx="1621699" cy="311507"/>
          </a:xfrm>
          <a:prstGeom prst="rect">
            <a:avLst/>
          </a:prstGeom>
          <a:solidFill>
            <a:schemeClr val="bg1">
              <a:lumMod val="95000"/>
            </a:schemeClr>
          </a:solidFill>
          <a:ln w="19050">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wrap="none" lIns="121908" tIns="60954" rIns="121908" bIns="60954" anchor="ctr" anchorCtr="0"/>
          <a:lstStyle/>
          <a:p>
            <a:pPr algn="ctr"/>
            <a:endParaRPr lang="en-US" altLang="zh-CN" sz="1600" b="1" dirty="0">
              <a:solidFill>
                <a:schemeClr val="tx1"/>
              </a:solidFill>
              <a:ea typeface="楷体" panose="02010609060101010101" pitchFamily="49" charset="-122"/>
              <a:cs typeface="Arial" panose="020B0604020202020204" pitchFamily="34" charset="0"/>
            </a:endParaRPr>
          </a:p>
        </p:txBody>
      </p:sp>
      <p:cxnSp>
        <p:nvCxnSpPr>
          <p:cNvPr id="29" name="肘形连接符 28"/>
          <p:cNvCxnSpPr>
            <a:stCxn id="21" idx="3"/>
            <a:endCxn id="28" idx="1"/>
          </p:cNvCxnSpPr>
          <p:nvPr/>
        </p:nvCxnSpPr>
        <p:spPr>
          <a:xfrm flipV="1">
            <a:off x="4017205" y="2721333"/>
            <a:ext cx="1356605" cy="758864"/>
          </a:xfrm>
          <a:prstGeom prst="bentConnector3">
            <a:avLst>
              <a:gd name="adj1" fmla="val 72401"/>
            </a:avLst>
          </a:prstGeom>
          <a:solidFill>
            <a:srgbClr val="006441">
              <a:alpha val="39999"/>
            </a:srgbClr>
          </a:solidFill>
          <a:ln w="28575" cap="flat" cmpd="sng" algn="ctr">
            <a:solidFill>
              <a:schemeClr val="bg1">
                <a:lumMod val="65000"/>
              </a:schemeClr>
            </a:solidFill>
            <a:prstDash val="solid"/>
            <a:round/>
            <a:headEnd type="none" w="med" len="med"/>
            <a:tailEnd type="triangle"/>
          </a:ln>
          <a:effectLst/>
        </p:spPr>
      </p:cxnSp>
      <p:sp>
        <p:nvSpPr>
          <p:cNvPr id="30" name="Rounded Rectangle 55"/>
          <p:cNvSpPr/>
          <p:nvPr/>
        </p:nvSpPr>
        <p:spPr bwMode="auto">
          <a:xfrm>
            <a:off x="8269470" y="1877987"/>
            <a:ext cx="1814532" cy="827413"/>
          </a:xfrm>
          <a:prstGeom prst="rect">
            <a:avLst/>
          </a:prstGeom>
          <a:solidFill>
            <a:srgbClr val="FF5805"/>
          </a:solidFill>
          <a:ln w="3175" cap="flat" cmpd="sng" algn="ctr">
            <a:noFill/>
            <a:prstDash val="solid"/>
          </a:ln>
          <a:effectLst>
            <a:outerShdw blurRad="50800" dist="38100" dir="2700000" algn="tl" rotWithShape="0">
              <a:prstClr val="black">
                <a:alpha val="40000"/>
              </a:prstClr>
            </a:outerShdw>
          </a:effectLst>
        </p:spPr>
        <p:txBody>
          <a:bodyPr lIns="91424" tIns="45712" rIns="91424" bIns="45712" anchor="ctr">
            <a:noAutofit/>
          </a:bodyPr>
          <a:lstStyle/>
          <a:p>
            <a:pPr algn="ctr" defTabSz="1218565"/>
            <a:r>
              <a:rPr lang="en-US" altLang="zh-CN" sz="1400" b="1" kern="0" dirty="0" smtClean="0">
                <a:solidFill>
                  <a:schemeClr val="bg1"/>
                </a:solidFill>
                <a:latin typeface="华文楷体" panose="02010600040101010101" charset="-122"/>
                <a:ea typeface="华文楷体" panose="02010600040101010101" charset="-122"/>
                <a:cs typeface="Arial" panose="020B0604020202020204" pitchFamily="34" charset="0"/>
              </a:rPr>
              <a:t>xx</a:t>
            </a:r>
            <a:endParaRPr lang="en-US" altLang="zh-CN" sz="1400" b="1" kern="0" dirty="0">
              <a:solidFill>
                <a:schemeClr val="bg1"/>
              </a:solidFill>
              <a:latin typeface="华文楷体" panose="02010600040101010101" charset="-122"/>
              <a:ea typeface="华文楷体" panose="02010600040101010101" charset="-122"/>
              <a:cs typeface="Arial" panose="020B0604020202020204" pitchFamily="34" charset="0"/>
            </a:endParaRPr>
          </a:p>
        </p:txBody>
      </p:sp>
      <p:sp>
        <p:nvSpPr>
          <p:cNvPr id="31" name="Rounded Rectangle 55"/>
          <p:cNvSpPr/>
          <p:nvPr/>
        </p:nvSpPr>
        <p:spPr bwMode="auto">
          <a:xfrm>
            <a:off x="8269470" y="3057076"/>
            <a:ext cx="1814532" cy="827413"/>
          </a:xfrm>
          <a:prstGeom prst="rect">
            <a:avLst/>
          </a:prstGeom>
          <a:solidFill>
            <a:srgbClr val="FF5805"/>
          </a:solidFill>
          <a:ln w="3175" cap="flat" cmpd="sng" algn="ctr">
            <a:noFill/>
            <a:prstDash val="solid"/>
          </a:ln>
          <a:effectLst>
            <a:outerShdw blurRad="50800" dist="38100" dir="2700000" algn="tl" rotWithShape="0">
              <a:prstClr val="black">
                <a:alpha val="40000"/>
              </a:prstClr>
            </a:outerShdw>
          </a:effectLst>
        </p:spPr>
        <p:txBody>
          <a:bodyPr lIns="91424" tIns="45712" rIns="91424" bIns="45712" anchor="ctr">
            <a:noAutofit/>
          </a:bodyPr>
          <a:lstStyle/>
          <a:p>
            <a:pPr algn="ctr" defTabSz="1218565"/>
            <a:r>
              <a:rPr lang="en-US" altLang="zh-CN" sz="1400" b="1" kern="0" dirty="0" smtClean="0">
                <a:solidFill>
                  <a:schemeClr val="bg1"/>
                </a:solidFill>
                <a:latin typeface="华文楷体" panose="02010600040101010101" charset="-122"/>
                <a:ea typeface="华文楷体" panose="02010600040101010101" charset="-122"/>
                <a:cs typeface="Arial" panose="020B0604020202020204" pitchFamily="34" charset="0"/>
              </a:rPr>
              <a:t>xx</a:t>
            </a:r>
            <a:endParaRPr lang="en-US" altLang="zh-CN" sz="1400" b="1" kern="0" dirty="0">
              <a:solidFill>
                <a:schemeClr val="bg1"/>
              </a:solidFill>
              <a:latin typeface="华文楷体" panose="02010600040101010101" charset="-122"/>
              <a:ea typeface="华文楷体" panose="02010600040101010101" charset="-122"/>
              <a:cs typeface="Arial" panose="020B0604020202020204" pitchFamily="34" charset="0"/>
            </a:endParaRPr>
          </a:p>
        </p:txBody>
      </p:sp>
      <p:cxnSp>
        <p:nvCxnSpPr>
          <p:cNvPr id="32" name="直接箭头连接符 31"/>
          <p:cNvCxnSpPr>
            <a:stCxn id="21" idx="0"/>
            <a:endCxn id="13" idx="2"/>
          </p:cNvCxnSpPr>
          <p:nvPr/>
        </p:nvCxnSpPr>
        <p:spPr>
          <a:xfrm flipV="1">
            <a:off x="3093234" y="2728856"/>
            <a:ext cx="106" cy="337635"/>
          </a:xfrm>
          <a:prstGeom prst="straightConnector1">
            <a:avLst/>
          </a:prstGeom>
          <a:solidFill>
            <a:srgbClr val="006441">
              <a:alpha val="39999"/>
            </a:srgbClr>
          </a:solidFill>
          <a:ln w="28575" cap="flat" cmpd="sng" algn="ctr">
            <a:solidFill>
              <a:schemeClr val="bg1">
                <a:lumMod val="65000"/>
              </a:schemeClr>
            </a:solidFill>
            <a:prstDash val="solid"/>
            <a:round/>
            <a:headEnd type="triangle" w="med" len="med"/>
            <a:tailEnd type="triangle"/>
          </a:ln>
          <a:effectLst/>
        </p:spPr>
      </p:cxnSp>
      <p:cxnSp>
        <p:nvCxnSpPr>
          <p:cNvPr id="33" name="Straight Arrow Connector 64"/>
          <p:cNvCxnSpPr/>
          <p:nvPr>
            <p:custDataLst>
              <p:tags r:id="rId6"/>
            </p:custDataLst>
          </p:nvPr>
        </p:nvCxnSpPr>
        <p:spPr bwMode="auto">
          <a:xfrm flipH="1">
            <a:off x="7098671" y="2344762"/>
            <a:ext cx="1300479" cy="0"/>
          </a:xfrm>
          <a:prstGeom prst="straightConnector1">
            <a:avLst/>
          </a:prstGeom>
          <a:solidFill>
            <a:srgbClr val="006441">
              <a:alpha val="39999"/>
            </a:srgbClr>
          </a:solidFill>
          <a:ln w="28575" cap="flat" cmpd="sng" algn="ctr">
            <a:solidFill>
              <a:schemeClr val="bg1">
                <a:lumMod val="65000"/>
              </a:schemeClr>
            </a:solidFill>
            <a:prstDash val="solid"/>
            <a:round/>
            <a:headEnd type="none" w="med" len="med"/>
            <a:tailEnd type="triangle"/>
          </a:ln>
          <a:effectLst/>
        </p:spPr>
      </p:cxnSp>
      <p:cxnSp>
        <p:nvCxnSpPr>
          <p:cNvPr id="34" name="直接箭头连接符 33"/>
          <p:cNvCxnSpPr/>
          <p:nvPr/>
        </p:nvCxnSpPr>
        <p:spPr>
          <a:xfrm>
            <a:off x="3210615" y="4137115"/>
            <a:ext cx="215" cy="252000"/>
          </a:xfrm>
          <a:prstGeom prst="straightConnector1">
            <a:avLst/>
          </a:prstGeom>
          <a:solidFill>
            <a:srgbClr val="006441">
              <a:alpha val="39999"/>
            </a:srgbClr>
          </a:solidFill>
          <a:ln w="28575" cap="flat" cmpd="sng" algn="ctr">
            <a:solidFill>
              <a:schemeClr val="bg1">
                <a:lumMod val="65000"/>
              </a:schemeClr>
            </a:solidFill>
            <a:prstDash val="solid"/>
            <a:round/>
            <a:headEnd type="triangle" w="med" len="med"/>
            <a:tailEnd type="none"/>
          </a:ln>
          <a:effectLst/>
        </p:spPr>
      </p:cxnSp>
      <p:cxnSp>
        <p:nvCxnSpPr>
          <p:cNvPr id="35" name="直接箭头连接符 34"/>
          <p:cNvCxnSpPr/>
          <p:nvPr/>
        </p:nvCxnSpPr>
        <p:spPr>
          <a:xfrm flipV="1">
            <a:off x="3039319" y="4137115"/>
            <a:ext cx="215" cy="252000"/>
          </a:xfrm>
          <a:prstGeom prst="straightConnector1">
            <a:avLst/>
          </a:prstGeom>
          <a:solidFill>
            <a:srgbClr val="006441">
              <a:alpha val="39999"/>
            </a:srgbClr>
          </a:solidFill>
          <a:ln w="28575" cap="flat" cmpd="sng" algn="ctr">
            <a:solidFill>
              <a:schemeClr val="bg1">
                <a:lumMod val="65000"/>
              </a:schemeClr>
            </a:solidFill>
            <a:prstDash val="solid"/>
            <a:round/>
            <a:headEnd type="triangle" w="med" len="med"/>
            <a:tailEnd type="none"/>
          </a:ln>
          <a:effectLst/>
        </p:spPr>
      </p:cxnSp>
      <p:cxnSp>
        <p:nvCxnSpPr>
          <p:cNvPr id="36" name="直接箭头连接符 35"/>
          <p:cNvCxnSpPr/>
          <p:nvPr/>
        </p:nvCxnSpPr>
        <p:spPr>
          <a:xfrm>
            <a:off x="9120121" y="4137115"/>
            <a:ext cx="215" cy="252000"/>
          </a:xfrm>
          <a:prstGeom prst="straightConnector1">
            <a:avLst/>
          </a:prstGeom>
          <a:solidFill>
            <a:srgbClr val="006441">
              <a:alpha val="39999"/>
            </a:srgbClr>
          </a:solidFill>
          <a:ln w="28575" cap="flat" cmpd="sng" algn="ctr">
            <a:solidFill>
              <a:schemeClr val="bg1">
                <a:lumMod val="65000"/>
              </a:schemeClr>
            </a:solidFill>
            <a:prstDash val="solid"/>
            <a:round/>
            <a:headEnd type="triangle" w="med" len="med"/>
            <a:tailEnd type="none"/>
          </a:ln>
          <a:effectLst/>
        </p:spPr>
      </p:cxnSp>
      <p:cxnSp>
        <p:nvCxnSpPr>
          <p:cNvPr id="37" name="直接箭头连接符 36"/>
          <p:cNvCxnSpPr/>
          <p:nvPr/>
        </p:nvCxnSpPr>
        <p:spPr>
          <a:xfrm flipV="1">
            <a:off x="8948825" y="4137115"/>
            <a:ext cx="215" cy="252000"/>
          </a:xfrm>
          <a:prstGeom prst="straightConnector1">
            <a:avLst/>
          </a:prstGeom>
          <a:solidFill>
            <a:srgbClr val="006441">
              <a:alpha val="39999"/>
            </a:srgbClr>
          </a:solidFill>
          <a:ln w="28575" cap="flat" cmpd="sng" algn="ctr">
            <a:solidFill>
              <a:schemeClr val="bg1">
                <a:lumMod val="65000"/>
              </a:schemeClr>
            </a:solidFill>
            <a:prstDash val="solid"/>
            <a:round/>
            <a:headEnd type="triangle" w="med" len="med"/>
            <a:tailEnd type="none"/>
          </a:ln>
          <a:effectLst/>
        </p:spPr>
      </p:cxnSp>
      <p:cxnSp>
        <p:nvCxnSpPr>
          <p:cNvPr id="38" name="直接箭头连接符 37"/>
          <p:cNvCxnSpPr>
            <a:stCxn id="31" idx="0"/>
            <a:endCxn id="30" idx="2"/>
          </p:cNvCxnSpPr>
          <p:nvPr/>
        </p:nvCxnSpPr>
        <p:spPr>
          <a:xfrm flipV="1">
            <a:off x="9176736" y="2705399"/>
            <a:ext cx="0" cy="351677"/>
          </a:xfrm>
          <a:prstGeom prst="straightConnector1">
            <a:avLst/>
          </a:prstGeom>
          <a:solidFill>
            <a:srgbClr val="006441">
              <a:alpha val="39999"/>
            </a:srgbClr>
          </a:solidFill>
          <a:ln w="28575" cap="flat" cmpd="sng" algn="ctr">
            <a:solidFill>
              <a:schemeClr val="bg1">
                <a:lumMod val="65000"/>
              </a:schemeClr>
            </a:solidFill>
            <a:prstDash val="solid"/>
            <a:round/>
            <a:headEnd type="triangle" w="med" len="med"/>
            <a:tailEnd type="none"/>
          </a:ln>
          <a:effectLst/>
        </p:spPr>
      </p:cxnSp>
      <p:cxnSp>
        <p:nvCxnSpPr>
          <p:cNvPr id="39" name="Straight Arrow Connector 98"/>
          <p:cNvCxnSpPr/>
          <p:nvPr>
            <p:custDataLst>
              <p:tags r:id="rId7"/>
            </p:custDataLst>
          </p:nvPr>
        </p:nvCxnSpPr>
        <p:spPr bwMode="auto">
          <a:xfrm flipH="1">
            <a:off x="7153453" y="3557105"/>
            <a:ext cx="1093963" cy="0"/>
          </a:xfrm>
          <a:prstGeom prst="straightConnector1">
            <a:avLst/>
          </a:prstGeom>
          <a:solidFill>
            <a:srgbClr val="006441">
              <a:alpha val="39999"/>
            </a:srgbClr>
          </a:solidFill>
          <a:ln w="28575" cap="flat" cmpd="sng" algn="ctr">
            <a:solidFill>
              <a:schemeClr val="bg1">
                <a:lumMod val="65000"/>
              </a:schemeClr>
            </a:solidFill>
            <a:prstDash val="solid"/>
            <a:round/>
            <a:headEnd type="triangle" w="med" len="med"/>
            <a:tailEnd type="triangle" w="med" len="med"/>
          </a:ln>
          <a:effectLst/>
        </p:spPr>
      </p:cxnSp>
      <p:cxnSp>
        <p:nvCxnSpPr>
          <p:cNvPr id="40" name="直接箭头连接符 39"/>
          <p:cNvCxnSpPr/>
          <p:nvPr/>
        </p:nvCxnSpPr>
        <p:spPr>
          <a:xfrm>
            <a:off x="7153452" y="3410497"/>
            <a:ext cx="1093964" cy="0"/>
          </a:xfrm>
          <a:prstGeom prst="straightConnector1">
            <a:avLst/>
          </a:prstGeom>
          <a:solidFill>
            <a:srgbClr val="006441">
              <a:alpha val="39999"/>
            </a:srgbClr>
          </a:solidFill>
          <a:ln w="28575" cap="flat" cmpd="sng" algn="ctr">
            <a:solidFill>
              <a:schemeClr val="bg1">
                <a:lumMod val="65000"/>
              </a:schemeClr>
            </a:solidFill>
            <a:prstDash val="solid"/>
            <a:round/>
            <a:headEnd type="none" w="med" len="med"/>
            <a:tailEnd type="triangle"/>
          </a:ln>
          <a:effectLst/>
        </p:spPr>
      </p:cxnSp>
      <p:cxnSp>
        <p:nvCxnSpPr>
          <p:cNvPr id="41" name="直接箭头连接符 40"/>
          <p:cNvCxnSpPr/>
          <p:nvPr/>
        </p:nvCxnSpPr>
        <p:spPr>
          <a:xfrm>
            <a:off x="6208300" y="4137115"/>
            <a:ext cx="215" cy="252000"/>
          </a:xfrm>
          <a:prstGeom prst="straightConnector1">
            <a:avLst/>
          </a:prstGeom>
          <a:solidFill>
            <a:srgbClr val="006441">
              <a:alpha val="39999"/>
            </a:srgbClr>
          </a:solidFill>
          <a:ln w="28575" cap="flat" cmpd="sng" algn="ctr">
            <a:solidFill>
              <a:schemeClr val="bg1">
                <a:lumMod val="65000"/>
              </a:schemeClr>
            </a:solidFill>
            <a:prstDash val="solid"/>
            <a:round/>
            <a:headEnd type="triangle" w="med" len="med"/>
            <a:tailEnd type="none"/>
          </a:ln>
          <a:effectLst/>
        </p:spPr>
      </p:cxnSp>
      <p:cxnSp>
        <p:nvCxnSpPr>
          <p:cNvPr id="42" name="直接箭头连接符 41"/>
          <p:cNvCxnSpPr/>
          <p:nvPr/>
        </p:nvCxnSpPr>
        <p:spPr>
          <a:xfrm flipV="1">
            <a:off x="6037005" y="4137115"/>
            <a:ext cx="215" cy="252000"/>
          </a:xfrm>
          <a:prstGeom prst="straightConnector1">
            <a:avLst/>
          </a:prstGeom>
          <a:solidFill>
            <a:srgbClr val="006441">
              <a:alpha val="39999"/>
            </a:srgbClr>
          </a:solidFill>
          <a:ln w="28575" cap="flat" cmpd="sng" algn="ctr">
            <a:solidFill>
              <a:schemeClr val="bg1">
                <a:lumMod val="65000"/>
              </a:schemeClr>
            </a:solidFill>
            <a:prstDash val="solid"/>
            <a:round/>
            <a:headEnd type="triangle" w="med" len="med"/>
            <a:tailEnd type="none"/>
          </a:ln>
          <a:effectLst/>
        </p:spPr>
      </p:cxnSp>
      <p:sp>
        <p:nvSpPr>
          <p:cNvPr id="43" name="TextBox 96"/>
          <p:cNvSpPr txBox="1"/>
          <p:nvPr/>
        </p:nvSpPr>
        <p:spPr>
          <a:xfrm>
            <a:off x="1959563" y="4437988"/>
            <a:ext cx="8273575" cy="396000"/>
          </a:xfrm>
          <a:prstGeom prst="rect">
            <a:avLst/>
          </a:prstGeom>
          <a:solidFill>
            <a:srgbClr val="FF5805"/>
          </a:solidFill>
          <a:ln w="3175" cap="flat" cmpd="sng" algn="ctr">
            <a:noFill/>
            <a:prstDash val="solid"/>
          </a:ln>
          <a:effectLst>
            <a:outerShdw blurRad="50800" dist="38100" dir="2700000" algn="tl" rotWithShape="0">
              <a:prstClr val="black">
                <a:alpha val="40000"/>
              </a:prstClr>
            </a:outerShdw>
          </a:effectLst>
        </p:spPr>
        <p:txBody>
          <a:bodyPr anchor="ctr">
            <a:noAutofit/>
          </a:bodyPr>
          <a:lstStyle>
            <a:defPPr>
              <a:defRPr lang="zh-CN"/>
            </a:defPPr>
            <a:lvl1pPr algn="ctr" defTabSz="1219200">
              <a:lnSpc>
                <a:spcPct val="150000"/>
              </a:lnSpc>
              <a:defRPr sz="2400" b="1" kern="0">
                <a:solidFill>
                  <a:schemeClr val="bg1"/>
                </a:solidFill>
                <a:latin typeface="Arial" panose="020B0604020202020204" pitchFamily="34" charset="0"/>
                <a:ea typeface="楷体" panose="02010609060101010101" pitchFamily="49" charset="-122"/>
                <a:cs typeface="Arial" panose="020B0604020202020204" pitchFamily="34" charset="0"/>
              </a:defRPr>
            </a:lvl1pPr>
          </a:lstStyle>
          <a:p>
            <a:endParaRPr lang="zh-CN" altLang="en-US" sz="1800" dirty="0"/>
          </a:p>
        </p:txBody>
      </p:sp>
      <p:sp>
        <p:nvSpPr>
          <p:cNvPr id="44" name="矩形 43"/>
          <p:cNvSpPr/>
          <p:nvPr/>
        </p:nvSpPr>
        <p:spPr>
          <a:xfrm>
            <a:off x="1959563" y="4840068"/>
            <a:ext cx="8301477" cy="661134"/>
          </a:xfrm>
          <a:prstGeom prst="rect">
            <a:avLst/>
          </a:prstGeom>
          <a:solidFill>
            <a:schemeClr val="bg1">
              <a:alpha val="0"/>
            </a:schemeClr>
          </a:solidFill>
          <a:ln w="28575">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1900">
              <a:solidFill>
                <a:schemeClr val="tx1"/>
              </a:solidFill>
              <a:ea typeface="楷体" panose="02010609060101010101" pitchFamily="49" charset="-122"/>
              <a:cs typeface="Arial" panose="020B0604020202020204" pitchFamily="34" charset="0"/>
            </a:endParaRPr>
          </a:p>
        </p:txBody>
      </p:sp>
      <p:sp>
        <p:nvSpPr>
          <p:cNvPr id="45" name="Rounded Rectangle 55"/>
          <p:cNvSpPr/>
          <p:nvPr/>
        </p:nvSpPr>
        <p:spPr bwMode="auto">
          <a:xfrm>
            <a:off x="2126935" y="4973513"/>
            <a:ext cx="1800000" cy="375555"/>
          </a:xfrm>
          <a:prstGeom prst="rect">
            <a:avLst/>
          </a:prstGeom>
          <a:solidFill>
            <a:schemeClr val="bg1">
              <a:lumMod val="50000"/>
            </a:schemeClr>
          </a:solidFill>
          <a:ln w="3175" cap="flat" cmpd="sng" algn="ctr">
            <a:noFill/>
            <a:prstDash val="solid"/>
          </a:ln>
          <a:effectLst>
            <a:outerShdw blurRad="50800" dist="38100" dir="2700000" algn="tl" rotWithShape="0">
              <a:prstClr val="black">
                <a:alpha val="40000"/>
              </a:prstClr>
            </a:outerShdw>
          </a:effectLst>
        </p:spPr>
        <p:txBody>
          <a:bodyPr anchor="ctr">
            <a:noAutofit/>
          </a:bodyPr>
          <a:lstStyle/>
          <a:p>
            <a:pPr algn="ctr" defTabSz="1219200">
              <a:lnSpc>
                <a:spcPct val="150000"/>
              </a:lnSpc>
            </a:pPr>
            <a:r>
              <a:rPr lang="en-US" altLang="zh-CN" sz="1400" b="1" kern="0" dirty="0" smtClean="0">
                <a:solidFill>
                  <a:schemeClr val="bg1"/>
                </a:solidFill>
                <a:latin typeface="华文楷体" panose="02010600040101010101" charset="-122"/>
                <a:ea typeface="华文楷体" panose="02010600040101010101" charset="-122"/>
                <a:cs typeface="Arial" panose="020B0604020202020204" pitchFamily="34" charset="0"/>
              </a:rPr>
              <a:t>xx</a:t>
            </a:r>
            <a:r>
              <a:rPr lang="zh-CN" altLang="en-US" sz="1400" b="1" kern="0" dirty="0" smtClean="0">
                <a:solidFill>
                  <a:schemeClr val="bg1"/>
                </a:solidFill>
                <a:latin typeface="华文楷体" panose="02010600040101010101" charset="-122"/>
                <a:ea typeface="华文楷体" panose="02010600040101010101" charset="-122"/>
                <a:cs typeface="Arial" panose="020B0604020202020204" pitchFamily="34" charset="0"/>
              </a:rPr>
              <a:t>档案库</a:t>
            </a:r>
            <a:endParaRPr lang="en-US" altLang="zh-CN" sz="1400" b="1" kern="0" dirty="0">
              <a:solidFill>
                <a:schemeClr val="bg1"/>
              </a:solidFill>
              <a:latin typeface="华文楷体" panose="02010600040101010101" charset="-122"/>
              <a:ea typeface="华文楷体" panose="02010600040101010101" charset="-122"/>
              <a:cs typeface="Arial" panose="020B0604020202020204" pitchFamily="34" charset="0"/>
            </a:endParaRPr>
          </a:p>
        </p:txBody>
      </p:sp>
      <p:sp>
        <p:nvSpPr>
          <p:cNvPr id="46" name="Rounded Rectangle 55"/>
          <p:cNvSpPr/>
          <p:nvPr/>
        </p:nvSpPr>
        <p:spPr bwMode="auto">
          <a:xfrm>
            <a:off x="4151784" y="4969210"/>
            <a:ext cx="1800000" cy="375555"/>
          </a:xfrm>
          <a:prstGeom prst="rect">
            <a:avLst/>
          </a:prstGeom>
          <a:solidFill>
            <a:schemeClr val="bg1">
              <a:lumMod val="50000"/>
            </a:schemeClr>
          </a:solidFill>
          <a:ln w="3175" cap="flat" cmpd="sng" algn="ctr">
            <a:noFill/>
            <a:prstDash val="solid"/>
          </a:ln>
          <a:effectLst>
            <a:outerShdw blurRad="50800" dist="38100" dir="2700000" algn="tl" rotWithShape="0">
              <a:prstClr val="black">
                <a:alpha val="40000"/>
              </a:prstClr>
            </a:outerShdw>
          </a:effectLst>
        </p:spPr>
        <p:txBody>
          <a:bodyPr anchor="ctr">
            <a:noAutofit/>
          </a:bodyPr>
          <a:lstStyle/>
          <a:p>
            <a:pPr algn="ctr" defTabSz="1219200">
              <a:lnSpc>
                <a:spcPct val="150000"/>
              </a:lnSpc>
            </a:pPr>
            <a:r>
              <a:rPr lang="en-US" altLang="zh-CN" sz="1400" b="1" kern="0" dirty="0" smtClean="0">
                <a:solidFill>
                  <a:schemeClr val="bg1"/>
                </a:solidFill>
                <a:latin typeface="华文楷体" panose="02010600040101010101" charset="-122"/>
                <a:ea typeface="华文楷体" panose="02010600040101010101" charset="-122"/>
                <a:cs typeface="Arial" panose="020B0604020202020204" pitchFamily="34" charset="0"/>
              </a:rPr>
              <a:t>xx</a:t>
            </a:r>
            <a:r>
              <a:rPr lang="zh-CN" altLang="en-US" sz="1400" b="1" kern="0" dirty="0" smtClean="0">
                <a:solidFill>
                  <a:schemeClr val="bg1"/>
                </a:solidFill>
                <a:latin typeface="华文楷体" panose="02010600040101010101" charset="-122"/>
                <a:ea typeface="华文楷体" panose="02010600040101010101" charset="-122"/>
                <a:cs typeface="Arial" panose="020B0604020202020204" pitchFamily="34" charset="0"/>
              </a:rPr>
              <a:t>库</a:t>
            </a:r>
            <a:endParaRPr lang="en-US" altLang="zh-CN" sz="1400" b="1" kern="0" dirty="0">
              <a:solidFill>
                <a:schemeClr val="bg1"/>
              </a:solidFill>
              <a:latin typeface="华文楷体" panose="02010600040101010101" charset="-122"/>
              <a:ea typeface="华文楷体" panose="02010600040101010101" charset="-122"/>
              <a:cs typeface="Arial" panose="020B0604020202020204" pitchFamily="34" charset="0"/>
            </a:endParaRPr>
          </a:p>
        </p:txBody>
      </p:sp>
      <p:sp>
        <p:nvSpPr>
          <p:cNvPr id="47" name="Rounded Rectangle 55"/>
          <p:cNvSpPr/>
          <p:nvPr/>
        </p:nvSpPr>
        <p:spPr bwMode="auto">
          <a:xfrm>
            <a:off x="6240016" y="4969210"/>
            <a:ext cx="1800000" cy="375555"/>
          </a:xfrm>
          <a:prstGeom prst="rect">
            <a:avLst/>
          </a:prstGeom>
          <a:solidFill>
            <a:schemeClr val="bg1">
              <a:lumMod val="50000"/>
            </a:schemeClr>
          </a:solidFill>
          <a:ln w="3175" cap="flat" cmpd="sng" algn="ctr">
            <a:noFill/>
            <a:prstDash val="solid"/>
          </a:ln>
          <a:effectLst>
            <a:outerShdw blurRad="50800" dist="38100" dir="2700000" algn="tl" rotWithShape="0">
              <a:prstClr val="black">
                <a:alpha val="40000"/>
              </a:prstClr>
            </a:outerShdw>
          </a:effectLst>
        </p:spPr>
        <p:txBody>
          <a:bodyPr anchor="ctr">
            <a:noAutofit/>
          </a:bodyPr>
          <a:lstStyle/>
          <a:p>
            <a:pPr algn="ctr" defTabSz="1219200">
              <a:lnSpc>
                <a:spcPct val="150000"/>
              </a:lnSpc>
            </a:pPr>
            <a:r>
              <a:rPr lang="en-US" altLang="zh-CN" sz="1400" b="1" kern="0" dirty="0" smtClean="0">
                <a:solidFill>
                  <a:schemeClr val="bg1"/>
                </a:solidFill>
                <a:latin typeface="华文楷体" panose="02010600040101010101" charset="-122"/>
                <a:ea typeface="华文楷体" panose="02010600040101010101" charset="-122"/>
                <a:cs typeface="Arial" panose="020B0604020202020204" pitchFamily="34" charset="0"/>
              </a:rPr>
              <a:t>xx</a:t>
            </a:r>
            <a:r>
              <a:rPr lang="zh-CN" altLang="en-US" sz="1400" b="1" kern="0" dirty="0" smtClean="0">
                <a:solidFill>
                  <a:schemeClr val="bg1"/>
                </a:solidFill>
                <a:latin typeface="华文楷体" panose="02010600040101010101" charset="-122"/>
                <a:ea typeface="华文楷体" panose="02010600040101010101" charset="-122"/>
                <a:cs typeface="Arial" panose="020B0604020202020204" pitchFamily="34" charset="0"/>
              </a:rPr>
              <a:t>库</a:t>
            </a:r>
            <a:endParaRPr lang="en-US" altLang="zh-CN" sz="1400" b="1" kern="0" dirty="0">
              <a:solidFill>
                <a:schemeClr val="bg1"/>
              </a:solidFill>
              <a:latin typeface="华文楷体" panose="02010600040101010101" charset="-122"/>
              <a:ea typeface="华文楷体" panose="02010600040101010101" charset="-122"/>
              <a:cs typeface="Arial" panose="020B0604020202020204" pitchFamily="34" charset="0"/>
            </a:endParaRPr>
          </a:p>
        </p:txBody>
      </p:sp>
      <p:sp>
        <p:nvSpPr>
          <p:cNvPr id="48" name="Rounded Rectangle 55"/>
          <p:cNvSpPr/>
          <p:nvPr/>
        </p:nvSpPr>
        <p:spPr bwMode="auto">
          <a:xfrm>
            <a:off x="8247416" y="4969210"/>
            <a:ext cx="1800000" cy="375555"/>
          </a:xfrm>
          <a:prstGeom prst="rect">
            <a:avLst/>
          </a:prstGeom>
          <a:solidFill>
            <a:schemeClr val="bg1">
              <a:lumMod val="50000"/>
            </a:schemeClr>
          </a:solidFill>
          <a:ln w="3175" cap="flat" cmpd="sng" algn="ctr">
            <a:noFill/>
            <a:prstDash val="solid"/>
          </a:ln>
          <a:effectLst>
            <a:outerShdw blurRad="50800" dist="38100" dir="2700000" algn="tl" rotWithShape="0">
              <a:prstClr val="black">
                <a:alpha val="40000"/>
              </a:prstClr>
            </a:outerShdw>
          </a:effectLst>
        </p:spPr>
        <p:txBody>
          <a:bodyPr anchor="ctr">
            <a:noAutofit/>
          </a:bodyPr>
          <a:lstStyle/>
          <a:p>
            <a:pPr algn="ctr" defTabSz="1219200">
              <a:lnSpc>
                <a:spcPct val="150000"/>
              </a:lnSpc>
            </a:pPr>
            <a:r>
              <a:rPr lang="en-US" altLang="zh-CN" sz="1400" b="1" kern="0" dirty="0" smtClean="0">
                <a:solidFill>
                  <a:schemeClr val="bg1"/>
                </a:solidFill>
                <a:latin typeface="华文楷体" panose="02010600040101010101" charset="-122"/>
                <a:ea typeface="华文楷体" panose="02010600040101010101" charset="-122"/>
                <a:cs typeface="Arial" panose="020B0604020202020204" pitchFamily="34" charset="0"/>
              </a:rPr>
              <a:t>xx</a:t>
            </a:r>
            <a:r>
              <a:rPr lang="zh-CN" altLang="en-US" sz="1400" b="1" kern="0" dirty="0" smtClean="0">
                <a:solidFill>
                  <a:schemeClr val="bg1"/>
                </a:solidFill>
                <a:latin typeface="华文楷体" panose="02010600040101010101" charset="-122"/>
                <a:ea typeface="华文楷体" panose="02010600040101010101" charset="-122"/>
                <a:cs typeface="Arial" panose="020B0604020202020204" pitchFamily="34" charset="0"/>
              </a:rPr>
              <a:t>信息库</a:t>
            </a:r>
            <a:endParaRPr lang="en-US" altLang="zh-CN" sz="1400" b="1" kern="0" dirty="0">
              <a:solidFill>
                <a:schemeClr val="bg1"/>
              </a:solidFill>
              <a:latin typeface="华文楷体" panose="02010600040101010101" charset="-122"/>
              <a:ea typeface="华文楷体" panose="02010600040101010101" charset="-122"/>
              <a:cs typeface="Arial" panose="020B0604020202020204" pitchFamily="34" charset="0"/>
            </a:endParaRPr>
          </a:p>
        </p:txBody>
      </p:sp>
      <p:pic>
        <p:nvPicPr>
          <p:cNvPr id="49" name="图片 1"/>
          <p:cNvPicPr/>
          <p:nvPr/>
        </p:nvPicPr>
        <p:blipFill>
          <a:blip r:embed="rId8" cstate="screen"/>
          <a:srcRect/>
          <a:stretch>
            <a:fillRect/>
          </a:stretch>
        </p:blipFill>
        <p:spPr bwMode="auto">
          <a:xfrm>
            <a:off x="2191431" y="2104746"/>
            <a:ext cx="389825" cy="389825"/>
          </a:xfrm>
          <a:prstGeom prst="rect">
            <a:avLst/>
          </a:prstGeom>
          <a:noFill/>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0" name="组合 49"/>
          <p:cNvGrpSpPr/>
          <p:nvPr/>
        </p:nvGrpSpPr>
        <p:grpSpPr>
          <a:xfrm>
            <a:off x="8274972" y="3278234"/>
            <a:ext cx="360000" cy="360000"/>
            <a:chOff x="11311120" y="4535898"/>
            <a:chExt cx="394041" cy="393990"/>
          </a:xfrm>
        </p:grpSpPr>
        <p:sp>
          <p:nvSpPr>
            <p:cNvPr id="51" name="圆角矩形 50"/>
            <p:cNvSpPr/>
            <p:nvPr/>
          </p:nvSpPr>
          <p:spPr>
            <a:xfrm>
              <a:off x="11311120" y="4535898"/>
              <a:ext cx="394041" cy="39399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chemeClr val="tx1"/>
                </a:solidFill>
                <a:latin typeface="微软雅黑" panose="020B0503020204020204" charset="-122"/>
                <a:ea typeface="微软雅黑" panose="020B0503020204020204" charset="-122"/>
                <a:cs typeface="Arial" panose="020B0604020202020204" pitchFamily="34" charset="0"/>
              </a:endParaRPr>
            </a:p>
          </p:txBody>
        </p:sp>
        <p:sp>
          <p:nvSpPr>
            <p:cNvPr id="52" name="Freeform 132"/>
            <p:cNvSpPr>
              <a:spLocks noChangeAspect="1" noEditPoints="1"/>
            </p:cNvSpPr>
            <p:nvPr/>
          </p:nvSpPr>
          <p:spPr bwMode="auto">
            <a:xfrm>
              <a:off x="11329157" y="4591243"/>
              <a:ext cx="371180" cy="301395"/>
            </a:xfrm>
            <a:custGeom>
              <a:avLst/>
              <a:gdLst/>
              <a:ahLst/>
              <a:cxnLst>
                <a:cxn ang="0">
                  <a:pos x="62" y="31"/>
                </a:cxn>
                <a:cxn ang="0">
                  <a:pos x="62" y="31"/>
                </a:cxn>
                <a:cxn ang="0">
                  <a:pos x="54" y="27"/>
                </a:cxn>
                <a:cxn ang="0">
                  <a:pos x="45" y="33"/>
                </a:cxn>
                <a:cxn ang="0">
                  <a:pos x="44" y="35"/>
                </a:cxn>
                <a:cxn ang="0">
                  <a:pos x="43" y="35"/>
                </a:cxn>
                <a:cxn ang="0">
                  <a:pos x="42" y="35"/>
                </a:cxn>
                <a:cxn ang="0">
                  <a:pos x="41" y="33"/>
                </a:cxn>
                <a:cxn ang="0">
                  <a:pos x="32" y="27"/>
                </a:cxn>
                <a:cxn ang="0">
                  <a:pos x="23" y="33"/>
                </a:cxn>
                <a:cxn ang="0">
                  <a:pos x="22" y="35"/>
                </a:cxn>
                <a:cxn ang="0">
                  <a:pos x="21" y="35"/>
                </a:cxn>
                <a:cxn ang="0">
                  <a:pos x="20" y="35"/>
                </a:cxn>
                <a:cxn ang="0">
                  <a:pos x="19" y="33"/>
                </a:cxn>
                <a:cxn ang="0">
                  <a:pos x="10" y="27"/>
                </a:cxn>
                <a:cxn ang="0">
                  <a:pos x="3" y="31"/>
                </a:cxn>
                <a:cxn ang="0">
                  <a:pos x="2" y="31"/>
                </a:cxn>
                <a:cxn ang="0">
                  <a:pos x="0" y="30"/>
                </a:cxn>
                <a:cxn ang="0">
                  <a:pos x="0" y="30"/>
                </a:cxn>
                <a:cxn ang="0">
                  <a:pos x="32" y="7"/>
                </a:cxn>
                <a:cxn ang="0">
                  <a:pos x="64" y="30"/>
                </a:cxn>
                <a:cxn ang="0">
                  <a:pos x="64" y="30"/>
                </a:cxn>
                <a:cxn ang="0">
                  <a:pos x="62" y="31"/>
                </a:cxn>
                <a:cxn ang="0">
                  <a:pos x="34" y="51"/>
                </a:cxn>
                <a:cxn ang="0">
                  <a:pos x="25" y="61"/>
                </a:cxn>
                <a:cxn ang="0">
                  <a:pos x="15" y="51"/>
                </a:cxn>
                <a:cxn ang="0">
                  <a:pos x="17" y="49"/>
                </a:cxn>
                <a:cxn ang="0">
                  <a:pos x="20" y="51"/>
                </a:cxn>
                <a:cxn ang="0">
                  <a:pos x="25" y="56"/>
                </a:cxn>
                <a:cxn ang="0">
                  <a:pos x="30" y="51"/>
                </a:cxn>
                <a:cxn ang="0">
                  <a:pos x="30" y="29"/>
                </a:cxn>
                <a:cxn ang="0">
                  <a:pos x="32" y="29"/>
                </a:cxn>
                <a:cxn ang="0">
                  <a:pos x="34" y="29"/>
                </a:cxn>
                <a:cxn ang="0">
                  <a:pos x="34" y="51"/>
                </a:cxn>
                <a:cxn ang="0">
                  <a:pos x="34" y="6"/>
                </a:cxn>
                <a:cxn ang="0">
                  <a:pos x="32" y="6"/>
                </a:cxn>
                <a:cxn ang="0">
                  <a:pos x="30" y="6"/>
                </a:cxn>
                <a:cxn ang="0">
                  <a:pos x="30" y="3"/>
                </a:cxn>
                <a:cxn ang="0">
                  <a:pos x="32" y="0"/>
                </a:cxn>
                <a:cxn ang="0">
                  <a:pos x="34" y="3"/>
                </a:cxn>
                <a:cxn ang="0">
                  <a:pos x="34" y="6"/>
                </a:cxn>
              </a:cxnLst>
              <a:rect l="0" t="0" r="r" b="b"/>
              <a:pathLst>
                <a:path w="64" h="61">
                  <a:moveTo>
                    <a:pt x="62" y="31"/>
                  </a:moveTo>
                  <a:cubicBezTo>
                    <a:pt x="62" y="31"/>
                    <a:pt x="62" y="31"/>
                    <a:pt x="62" y="31"/>
                  </a:cubicBezTo>
                  <a:cubicBezTo>
                    <a:pt x="59" y="29"/>
                    <a:pt x="57" y="27"/>
                    <a:pt x="54" y="27"/>
                  </a:cubicBezTo>
                  <a:cubicBezTo>
                    <a:pt x="51" y="27"/>
                    <a:pt x="47" y="30"/>
                    <a:pt x="45" y="33"/>
                  </a:cubicBezTo>
                  <a:cubicBezTo>
                    <a:pt x="45" y="33"/>
                    <a:pt x="45" y="34"/>
                    <a:pt x="44" y="35"/>
                  </a:cubicBezTo>
                  <a:cubicBezTo>
                    <a:pt x="44" y="35"/>
                    <a:pt x="44" y="35"/>
                    <a:pt x="43" y="35"/>
                  </a:cubicBezTo>
                  <a:cubicBezTo>
                    <a:pt x="43" y="35"/>
                    <a:pt x="42" y="35"/>
                    <a:pt x="42" y="35"/>
                  </a:cubicBezTo>
                  <a:cubicBezTo>
                    <a:pt x="42" y="34"/>
                    <a:pt x="41" y="33"/>
                    <a:pt x="41" y="33"/>
                  </a:cubicBezTo>
                  <a:cubicBezTo>
                    <a:pt x="39" y="30"/>
                    <a:pt x="36" y="27"/>
                    <a:pt x="32" y="27"/>
                  </a:cubicBezTo>
                  <a:cubicBezTo>
                    <a:pt x="28" y="27"/>
                    <a:pt x="25" y="30"/>
                    <a:pt x="23" y="33"/>
                  </a:cubicBezTo>
                  <a:cubicBezTo>
                    <a:pt x="23" y="33"/>
                    <a:pt x="22" y="34"/>
                    <a:pt x="22" y="35"/>
                  </a:cubicBezTo>
                  <a:cubicBezTo>
                    <a:pt x="22" y="35"/>
                    <a:pt x="22" y="35"/>
                    <a:pt x="21" y="35"/>
                  </a:cubicBezTo>
                  <a:cubicBezTo>
                    <a:pt x="20" y="35"/>
                    <a:pt x="20" y="35"/>
                    <a:pt x="20" y="35"/>
                  </a:cubicBezTo>
                  <a:cubicBezTo>
                    <a:pt x="19" y="34"/>
                    <a:pt x="19" y="33"/>
                    <a:pt x="19" y="33"/>
                  </a:cubicBezTo>
                  <a:cubicBezTo>
                    <a:pt x="17" y="30"/>
                    <a:pt x="14" y="27"/>
                    <a:pt x="10" y="27"/>
                  </a:cubicBezTo>
                  <a:cubicBezTo>
                    <a:pt x="7" y="27"/>
                    <a:pt x="5" y="29"/>
                    <a:pt x="3" y="31"/>
                  </a:cubicBezTo>
                  <a:cubicBezTo>
                    <a:pt x="2" y="31"/>
                    <a:pt x="2" y="31"/>
                    <a:pt x="2" y="31"/>
                  </a:cubicBezTo>
                  <a:cubicBezTo>
                    <a:pt x="1" y="31"/>
                    <a:pt x="0" y="31"/>
                    <a:pt x="0" y="30"/>
                  </a:cubicBezTo>
                  <a:cubicBezTo>
                    <a:pt x="0" y="30"/>
                    <a:pt x="0" y="30"/>
                    <a:pt x="0" y="30"/>
                  </a:cubicBezTo>
                  <a:cubicBezTo>
                    <a:pt x="4" y="16"/>
                    <a:pt x="18" y="7"/>
                    <a:pt x="32" y="7"/>
                  </a:cubicBezTo>
                  <a:cubicBezTo>
                    <a:pt x="46" y="7"/>
                    <a:pt x="60" y="16"/>
                    <a:pt x="64" y="30"/>
                  </a:cubicBezTo>
                  <a:cubicBezTo>
                    <a:pt x="64" y="30"/>
                    <a:pt x="64" y="30"/>
                    <a:pt x="64" y="30"/>
                  </a:cubicBezTo>
                  <a:cubicBezTo>
                    <a:pt x="64" y="31"/>
                    <a:pt x="63" y="31"/>
                    <a:pt x="62" y="31"/>
                  </a:cubicBezTo>
                  <a:close/>
                  <a:moveTo>
                    <a:pt x="34" y="51"/>
                  </a:moveTo>
                  <a:cubicBezTo>
                    <a:pt x="34" y="56"/>
                    <a:pt x="30" y="61"/>
                    <a:pt x="25" y="61"/>
                  </a:cubicBezTo>
                  <a:cubicBezTo>
                    <a:pt x="19" y="61"/>
                    <a:pt x="15" y="56"/>
                    <a:pt x="15" y="51"/>
                  </a:cubicBezTo>
                  <a:cubicBezTo>
                    <a:pt x="15" y="50"/>
                    <a:pt x="16" y="49"/>
                    <a:pt x="17" y="49"/>
                  </a:cubicBezTo>
                  <a:cubicBezTo>
                    <a:pt x="19" y="49"/>
                    <a:pt x="20" y="50"/>
                    <a:pt x="20" y="51"/>
                  </a:cubicBezTo>
                  <a:cubicBezTo>
                    <a:pt x="20" y="54"/>
                    <a:pt x="22" y="56"/>
                    <a:pt x="25" y="56"/>
                  </a:cubicBezTo>
                  <a:cubicBezTo>
                    <a:pt x="27" y="56"/>
                    <a:pt x="30" y="54"/>
                    <a:pt x="30" y="51"/>
                  </a:cubicBezTo>
                  <a:cubicBezTo>
                    <a:pt x="30" y="29"/>
                    <a:pt x="30" y="29"/>
                    <a:pt x="30" y="29"/>
                  </a:cubicBezTo>
                  <a:cubicBezTo>
                    <a:pt x="30" y="29"/>
                    <a:pt x="31" y="29"/>
                    <a:pt x="32" y="29"/>
                  </a:cubicBezTo>
                  <a:cubicBezTo>
                    <a:pt x="33" y="29"/>
                    <a:pt x="34" y="29"/>
                    <a:pt x="34" y="29"/>
                  </a:cubicBezTo>
                  <a:lnTo>
                    <a:pt x="34" y="51"/>
                  </a:lnTo>
                  <a:close/>
                  <a:moveTo>
                    <a:pt x="34" y="6"/>
                  </a:moveTo>
                  <a:cubicBezTo>
                    <a:pt x="34" y="6"/>
                    <a:pt x="33" y="6"/>
                    <a:pt x="32" y="6"/>
                  </a:cubicBezTo>
                  <a:cubicBezTo>
                    <a:pt x="31" y="6"/>
                    <a:pt x="30" y="6"/>
                    <a:pt x="30" y="6"/>
                  </a:cubicBezTo>
                  <a:cubicBezTo>
                    <a:pt x="30" y="3"/>
                    <a:pt x="30" y="3"/>
                    <a:pt x="30" y="3"/>
                  </a:cubicBezTo>
                  <a:cubicBezTo>
                    <a:pt x="30" y="1"/>
                    <a:pt x="31" y="0"/>
                    <a:pt x="32" y="0"/>
                  </a:cubicBezTo>
                  <a:cubicBezTo>
                    <a:pt x="33" y="0"/>
                    <a:pt x="34" y="1"/>
                    <a:pt x="34" y="3"/>
                  </a:cubicBezTo>
                  <a:lnTo>
                    <a:pt x="34" y="6"/>
                  </a:lnTo>
                  <a:close/>
                </a:path>
              </a:pathLst>
            </a:custGeom>
            <a:solidFill>
              <a:srgbClr val="FF791D"/>
            </a:solidFill>
            <a:ln w="9525">
              <a:noFill/>
              <a:round/>
            </a:ln>
          </p:spPr>
          <p:txBody>
            <a:bodyPr vert="horz" wrap="square" lIns="91424" tIns="45712" rIns="91424" bIns="45712" numCol="1" anchor="t" anchorCtr="0" compatLnSpc="1"/>
            <a:lstStyle/>
            <a:p>
              <a:endParaRPr lang="en-US" sz="1400">
                <a:latin typeface="微软雅黑" panose="020B0503020204020204" charset="-122"/>
                <a:ea typeface="微软雅黑" panose="020B0503020204020204" charset="-122"/>
                <a:cs typeface="Arial" panose="020B0604020202020204" pitchFamily="34" charset="0"/>
              </a:endParaRPr>
            </a:p>
          </p:txBody>
        </p:sp>
      </p:grpSp>
      <p:pic>
        <p:nvPicPr>
          <p:cNvPr id="53" name="Picture 8" descr="http://img2.imgtn.bdimg.com/it/u=2790444152,3006383806&amp;fm=21&amp;gp=0.jpg"/>
          <p:cNvPicPr>
            <a:picLocks noChangeAspect="1" noChangeArrowheads="1"/>
          </p:cNvPicPr>
          <p:nvPr/>
        </p:nvPicPr>
        <p:blipFill>
          <a:blip r:embed="rId9" cstate="screen"/>
          <a:srcRect/>
          <a:stretch>
            <a:fillRect/>
          </a:stretch>
        </p:blipFill>
        <p:spPr bwMode="auto">
          <a:xfrm>
            <a:off x="8282521" y="2123151"/>
            <a:ext cx="383950" cy="384000"/>
          </a:xfrm>
          <a:prstGeom prst="roundRect">
            <a:avLst/>
          </a:prstGeom>
          <a:noFill/>
          <a:effectLst/>
          <a:extLst>
            <a:ext uri="{909E8E84-426E-40DD-AFC4-6F175D3DCCD1}">
              <a14:hiddenFill xmlns:a14="http://schemas.microsoft.com/office/drawing/2010/main">
                <a:solidFill>
                  <a:srgbClr val="FFFFFF"/>
                </a:solidFill>
              </a14:hiddenFill>
            </a:ext>
          </a:extLst>
        </p:spPr>
      </p:pic>
      <p:grpSp>
        <p:nvGrpSpPr>
          <p:cNvPr id="54" name="组合 53"/>
          <p:cNvGrpSpPr/>
          <p:nvPr/>
        </p:nvGrpSpPr>
        <p:grpSpPr>
          <a:xfrm>
            <a:off x="2128317" y="3280625"/>
            <a:ext cx="406556" cy="360281"/>
            <a:chOff x="1969949" y="3968171"/>
            <a:chExt cx="406556" cy="360281"/>
          </a:xfrm>
        </p:grpSpPr>
        <p:sp>
          <p:nvSpPr>
            <p:cNvPr id="55" name="圆角矩形 54"/>
            <p:cNvSpPr/>
            <p:nvPr/>
          </p:nvSpPr>
          <p:spPr>
            <a:xfrm>
              <a:off x="2016505" y="3968452"/>
              <a:ext cx="360000" cy="360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chemeClr val="tx1"/>
                </a:solidFill>
                <a:latin typeface="微软雅黑" panose="020B0503020204020204" charset="-122"/>
                <a:ea typeface="微软雅黑" panose="020B0503020204020204" charset="-122"/>
                <a:cs typeface="Arial" panose="020B0604020202020204" pitchFamily="34" charset="0"/>
              </a:endParaRPr>
            </a:p>
          </p:txBody>
        </p:sp>
        <p:pic>
          <p:nvPicPr>
            <p:cNvPr id="56" name="Picture 2" descr="D:\Users\dufangwei018\Documents\9、万家诊所\万家背书橙logo-1.png"/>
            <p:cNvPicPr>
              <a:picLocks noChangeAspect="1" noChangeArrowheads="1"/>
            </p:cNvPicPr>
            <p:nvPr/>
          </p:nvPicPr>
          <p:blipFill rotWithShape="1">
            <a:blip r:embed="rId10" cstate="screen"/>
            <a:srcRect l="-3"/>
            <a:stretch>
              <a:fillRect/>
            </a:stretch>
          </p:blipFill>
          <p:spPr bwMode="auto">
            <a:xfrm>
              <a:off x="1969949" y="3968171"/>
              <a:ext cx="399676" cy="353577"/>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57" name="右箭头 56"/>
          <p:cNvSpPr/>
          <p:nvPr/>
        </p:nvSpPr>
        <p:spPr>
          <a:xfrm rot="5400000" flipH="1">
            <a:off x="5884879" y="5101372"/>
            <a:ext cx="375443" cy="125351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ea typeface="楷体" panose="02010609060101010101" pitchFamily="49" charset="-122"/>
              <a:cs typeface="Arial" panose="020B0604020202020204" pitchFamily="34" charset="0"/>
            </a:endParaRPr>
          </a:p>
        </p:txBody>
      </p:sp>
      <p:sp>
        <p:nvSpPr>
          <p:cNvPr id="58" name="Rectangle 46"/>
          <p:cNvSpPr/>
          <p:nvPr>
            <p:custDataLst>
              <p:tags r:id="rId11"/>
            </p:custDataLst>
          </p:nvPr>
        </p:nvSpPr>
        <p:spPr>
          <a:xfrm>
            <a:off x="5115447" y="5915853"/>
            <a:ext cx="1930305" cy="400097"/>
          </a:xfrm>
          <a:prstGeom prst="rect">
            <a:avLst/>
          </a:prstGeom>
        </p:spPr>
        <p:txBody>
          <a:bodyPr wrap="square" lIns="121908" tIns="60954" rIns="121908" bIns="60954">
            <a:spAutoFit/>
          </a:bodyPr>
          <a:lstStyle/>
          <a:p>
            <a:pPr lvl="0" algn="ctr" eaLnBrk="0" fontAlgn="base" hangingPunct="0">
              <a:buClr>
                <a:prstClr val="black"/>
              </a:buClr>
            </a:pPr>
            <a:r>
              <a:rPr lang="zh-CN" altLang="en-US" b="1" kern="0" dirty="0" smtClean="0">
                <a:ea typeface="楷体" panose="02010609060101010101" pitchFamily="49" charset="-122"/>
                <a:cs typeface="Arial" panose="020B0604020202020204" pitchFamily="34" charset="0"/>
              </a:rPr>
              <a:t>信息化平台支撑</a:t>
            </a:r>
            <a:endParaRPr lang="en-US" altLang="zh-CN" b="1" kern="0" dirty="0">
              <a:ea typeface="楷体" panose="02010609060101010101" pitchFamily="49" charset="-122"/>
              <a:cs typeface="Arial" panose="020B0604020202020204" pitchFamily="34" charset="0"/>
            </a:endParaRPr>
          </a:p>
        </p:txBody>
      </p:sp>
      <p:sp>
        <p:nvSpPr>
          <p:cNvPr id="59"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c</a:t>
            </a:r>
            <a:r>
              <a:rPr lang="zh-CN" altLang="en-US" sz="2400" dirty="0" smtClean="0">
                <a:solidFill>
                  <a:prstClr val="black"/>
                </a:solidFill>
                <a:latin typeface="华文楷体" panose="02010600040101010101" charset="-122"/>
              </a:rPr>
              <a:t>型图</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589" name="think-cell Slide" r:id="rId2" imgW="12700" imgH="12700" progId="TCLayout.ActiveDocument.1">
                  <p:embed/>
                </p:oleObj>
              </mc:Choice>
              <mc:Fallback>
                <p:oleObj name="think-cell Slide" r:id="rId2" imgW="12700" imgH="12700" progId="TCLayout.ActiveDocument.1">
                  <p:embed/>
                  <p:pic>
                    <p:nvPicPr>
                      <p:cNvPr id="0" name="对象 5"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50" name="矩形 49"/>
          <p:cNvSpPr/>
          <p:nvPr/>
        </p:nvSpPr>
        <p:spPr>
          <a:xfrm>
            <a:off x="202952" y="1574800"/>
            <a:ext cx="1199128" cy="1120365"/>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sym typeface="+mn-lt"/>
              </a:rPr>
              <a:t>XXX</a:t>
            </a:r>
            <a:endParaRPr lang="en-US" altLang="zh-CN" sz="1200" b="1" dirty="0">
              <a:solidFill>
                <a:schemeClr val="bg1"/>
              </a:solidFill>
              <a:cs typeface="+mn-ea"/>
              <a:sym typeface="+mn-lt"/>
            </a:endParaRPr>
          </a:p>
        </p:txBody>
      </p:sp>
      <p:sp>
        <p:nvSpPr>
          <p:cNvPr id="51" name="矩形 50"/>
          <p:cNvSpPr/>
          <p:nvPr/>
        </p:nvSpPr>
        <p:spPr>
          <a:xfrm>
            <a:off x="202952" y="2782919"/>
            <a:ext cx="1199128" cy="1120365"/>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sym typeface="+mn-lt"/>
              </a:rPr>
              <a:t>XXX</a:t>
            </a:r>
            <a:endParaRPr lang="en-US" altLang="zh-CN" sz="1200" b="1" dirty="0">
              <a:solidFill>
                <a:schemeClr val="bg1"/>
              </a:solidFill>
              <a:cs typeface="+mn-ea"/>
              <a:sym typeface="+mn-lt"/>
            </a:endParaRPr>
          </a:p>
        </p:txBody>
      </p:sp>
      <p:sp>
        <p:nvSpPr>
          <p:cNvPr id="52" name="矩形 51"/>
          <p:cNvSpPr/>
          <p:nvPr/>
        </p:nvSpPr>
        <p:spPr>
          <a:xfrm>
            <a:off x="202952" y="3991038"/>
            <a:ext cx="1199128" cy="1120365"/>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sym typeface="+mn-lt"/>
              </a:rPr>
              <a:t>XXXX</a:t>
            </a:r>
            <a:endParaRPr lang="en-US" altLang="zh-CN" sz="1200" b="1" dirty="0">
              <a:solidFill>
                <a:schemeClr val="bg1"/>
              </a:solidFill>
              <a:cs typeface="+mn-ea"/>
              <a:sym typeface="+mn-lt"/>
            </a:endParaRPr>
          </a:p>
        </p:txBody>
      </p:sp>
      <p:sp>
        <p:nvSpPr>
          <p:cNvPr id="53" name="矩形 52"/>
          <p:cNvSpPr/>
          <p:nvPr/>
        </p:nvSpPr>
        <p:spPr>
          <a:xfrm>
            <a:off x="202952" y="5199156"/>
            <a:ext cx="1199128" cy="1120365"/>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sym typeface="+mn-lt"/>
              </a:rPr>
              <a:t>XXX</a:t>
            </a:r>
            <a:endParaRPr lang="en-US" altLang="zh-CN" sz="1200" b="1" dirty="0">
              <a:solidFill>
                <a:schemeClr val="bg1"/>
              </a:solidFill>
              <a:cs typeface="+mn-ea"/>
              <a:sym typeface="+mn-lt"/>
            </a:endParaRPr>
          </a:p>
        </p:txBody>
      </p:sp>
      <p:cxnSp>
        <p:nvCxnSpPr>
          <p:cNvPr id="78" name="直接连接符 77"/>
          <p:cNvCxnSpPr/>
          <p:nvPr/>
        </p:nvCxnSpPr>
        <p:spPr>
          <a:xfrm>
            <a:off x="233680" y="2736592"/>
            <a:ext cx="1160272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233680" y="3942286"/>
            <a:ext cx="1160272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a:off x="233680" y="5153874"/>
            <a:ext cx="1160272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9" name="ColumnHeader"/>
          <p:cNvSpPr>
            <a:spLocks noChangeArrowheads="1"/>
          </p:cNvSpPr>
          <p:nvPr/>
        </p:nvSpPr>
        <p:spPr bwMode="gray">
          <a:xfrm>
            <a:off x="1463040" y="934720"/>
            <a:ext cx="2008835" cy="574628"/>
          </a:xfrm>
          <a:prstGeom prst="rect">
            <a:avLst/>
          </a:prstGeom>
          <a:solidFill>
            <a:schemeClr val="accent5"/>
          </a:solidFill>
          <a:ln w="9525" algn="ctr">
            <a:noFill/>
            <a:miter lim="800000"/>
            <a:headEnd type="none" w="lg" len="lg"/>
            <a:tailEnd type="none" w="lg" len="lg"/>
          </a:ln>
          <a:effectLst/>
        </p:spPr>
        <p:txBody>
          <a:bodyPr wrap="square" lIns="0" tIns="0" rIns="0" bIns="0" anchor="ctr">
            <a:noAutofit/>
          </a:bodyPr>
          <a:lstStyle/>
          <a:p>
            <a:pPr algn="ctr">
              <a:lnSpc>
                <a:spcPct val="150000"/>
              </a:lnSpc>
            </a:pP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sp>
        <p:nvSpPr>
          <p:cNvPr id="10" name="ColumnHeader"/>
          <p:cNvSpPr>
            <a:spLocks noChangeArrowheads="1"/>
          </p:cNvSpPr>
          <p:nvPr/>
        </p:nvSpPr>
        <p:spPr bwMode="gray">
          <a:xfrm>
            <a:off x="5701181" y="934720"/>
            <a:ext cx="2008835" cy="574628"/>
          </a:xfrm>
          <a:prstGeom prst="rect">
            <a:avLst/>
          </a:prstGeom>
          <a:solidFill>
            <a:schemeClr val="accent5"/>
          </a:solidFill>
          <a:ln w="9525" algn="ctr">
            <a:noFill/>
            <a:miter lim="800000"/>
            <a:headEnd type="none" w="lg" len="lg"/>
            <a:tailEnd type="none" w="lg" len="lg"/>
          </a:ln>
          <a:effectLst/>
        </p:spPr>
        <p:txBody>
          <a:bodyPr wrap="square" lIns="0" tIns="0" rIns="0" bIns="0" anchor="ctr">
            <a:noAutofit/>
          </a:bodyPr>
          <a:lstStyle/>
          <a:p>
            <a:pPr algn="ctr">
              <a:lnSpc>
                <a:spcPct val="150000"/>
              </a:lnSpc>
            </a:pP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sp>
        <p:nvSpPr>
          <p:cNvPr id="13" name="ColumnHeader"/>
          <p:cNvSpPr>
            <a:spLocks noChangeArrowheads="1"/>
          </p:cNvSpPr>
          <p:nvPr/>
        </p:nvSpPr>
        <p:spPr bwMode="gray">
          <a:xfrm>
            <a:off x="3582111" y="934720"/>
            <a:ext cx="2008835" cy="574628"/>
          </a:xfrm>
          <a:prstGeom prst="rect">
            <a:avLst/>
          </a:prstGeom>
          <a:solidFill>
            <a:schemeClr val="accent5"/>
          </a:solidFill>
          <a:ln w="9525" algn="ctr">
            <a:noFill/>
            <a:miter lim="800000"/>
            <a:headEnd type="none" w="lg" len="lg"/>
            <a:tailEnd type="none" w="lg" len="lg"/>
          </a:ln>
          <a:effectLst/>
        </p:spPr>
        <p:txBody>
          <a:bodyPr wrap="square" lIns="0" tIns="0" rIns="0" bIns="0" anchor="ctr">
            <a:noAutofit/>
          </a:bodyPr>
          <a:lstStyle/>
          <a:p>
            <a:pPr algn="ctr">
              <a:lnSpc>
                <a:spcPct val="150000"/>
              </a:lnSpc>
            </a:pP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sp>
        <p:nvSpPr>
          <p:cNvPr id="12" name="ColumnHeader"/>
          <p:cNvSpPr>
            <a:spLocks noChangeArrowheads="1"/>
          </p:cNvSpPr>
          <p:nvPr/>
        </p:nvSpPr>
        <p:spPr bwMode="gray">
          <a:xfrm>
            <a:off x="7820252" y="1229360"/>
            <a:ext cx="2008835" cy="279988"/>
          </a:xfrm>
          <a:prstGeom prst="rect">
            <a:avLst/>
          </a:prstGeom>
          <a:solidFill>
            <a:schemeClr val="accent5">
              <a:lumMod val="40000"/>
              <a:lumOff val="60000"/>
            </a:schemeClr>
          </a:solidFill>
          <a:ln w="9525" algn="ctr">
            <a:noFill/>
            <a:miter lim="800000"/>
            <a:headEnd type="none" w="lg" len="lg"/>
            <a:tailEnd type="none" w="lg" len="lg"/>
          </a:ln>
          <a:effectLst/>
        </p:spPr>
        <p:txBody>
          <a:bodyPr wrap="square" lIns="0" tIns="0" rIns="0" bIns="0" anchor="ctr">
            <a:noAutofit/>
          </a:bodyPr>
          <a:lstStyle/>
          <a:p>
            <a:pPr algn="ctr"/>
            <a:r>
              <a:rPr lang="en-US" altLang="zh-CN" sz="1400" b="1" dirty="0">
                <a:solidFill>
                  <a:srgbClr val="000000"/>
                </a:solidFill>
                <a:cs typeface="+mn-ea"/>
                <a:sym typeface="+mn-lt"/>
              </a:rPr>
              <a:t>XXX</a:t>
            </a:r>
            <a:endParaRPr lang="en-US" altLang="zh-CN" sz="1400" b="1" dirty="0">
              <a:solidFill>
                <a:srgbClr val="000000"/>
              </a:solidFill>
              <a:cs typeface="+mn-ea"/>
              <a:sym typeface="+mn-lt"/>
            </a:endParaRPr>
          </a:p>
        </p:txBody>
      </p:sp>
      <p:sp>
        <p:nvSpPr>
          <p:cNvPr id="14" name="ColumnHeader"/>
          <p:cNvSpPr>
            <a:spLocks noChangeArrowheads="1"/>
          </p:cNvSpPr>
          <p:nvPr/>
        </p:nvSpPr>
        <p:spPr bwMode="gray">
          <a:xfrm>
            <a:off x="9939324" y="1229360"/>
            <a:ext cx="2008835" cy="279988"/>
          </a:xfrm>
          <a:prstGeom prst="rect">
            <a:avLst/>
          </a:prstGeom>
          <a:solidFill>
            <a:schemeClr val="accent5">
              <a:lumMod val="40000"/>
              <a:lumOff val="60000"/>
            </a:schemeClr>
          </a:solidFill>
          <a:ln w="9525" algn="ctr">
            <a:noFill/>
            <a:miter lim="800000"/>
            <a:headEnd type="none" w="lg" len="lg"/>
            <a:tailEnd type="none" w="lg" len="lg"/>
          </a:ln>
          <a:effectLst/>
        </p:spPr>
        <p:txBody>
          <a:bodyPr wrap="square" lIns="0" tIns="0" rIns="0" bIns="0" anchor="ctr">
            <a:noAutofit/>
          </a:bodyPr>
          <a:lstStyle/>
          <a:p>
            <a:pPr algn="ctr"/>
            <a:r>
              <a:rPr lang="en-US" altLang="zh-CN" sz="1400" b="1" dirty="0">
                <a:solidFill>
                  <a:srgbClr val="000000"/>
                </a:solidFill>
                <a:cs typeface="+mn-ea"/>
                <a:sym typeface="+mn-lt"/>
              </a:rPr>
              <a:t>XXX</a:t>
            </a:r>
            <a:endParaRPr lang="en-US" altLang="zh-CN" sz="1400" b="1" dirty="0">
              <a:solidFill>
                <a:srgbClr val="000000"/>
              </a:solidFill>
              <a:cs typeface="+mn-ea"/>
              <a:sym typeface="+mn-lt"/>
            </a:endParaRPr>
          </a:p>
        </p:txBody>
      </p:sp>
      <p:sp>
        <p:nvSpPr>
          <p:cNvPr id="89" name="ColumnHeader"/>
          <p:cNvSpPr>
            <a:spLocks noChangeArrowheads="1"/>
          </p:cNvSpPr>
          <p:nvPr/>
        </p:nvSpPr>
        <p:spPr bwMode="gray">
          <a:xfrm>
            <a:off x="7820252" y="934720"/>
            <a:ext cx="4127907" cy="243840"/>
          </a:xfrm>
          <a:prstGeom prst="rect">
            <a:avLst/>
          </a:prstGeom>
          <a:solidFill>
            <a:schemeClr val="accent5"/>
          </a:solidFill>
          <a:ln w="9525" algn="ctr">
            <a:noFill/>
            <a:miter lim="800000"/>
            <a:headEnd type="none" w="lg" len="lg"/>
            <a:tailEnd type="none" w="lg" len="lg"/>
          </a:ln>
          <a:effectLst/>
        </p:spPr>
        <p:txBody>
          <a:bodyPr wrap="square" lIns="0" tIns="0" rIns="0" bIns="0" anchor="ctr">
            <a:noAutofit/>
          </a:bodyPr>
          <a:lstStyle/>
          <a:p>
            <a:pPr algn="ctr">
              <a:lnSpc>
                <a:spcPct val="150000"/>
              </a:lnSpc>
            </a:pP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sp>
        <p:nvSpPr>
          <p:cNvPr id="175" name="矩形 174"/>
          <p:cNvSpPr/>
          <p:nvPr/>
        </p:nvSpPr>
        <p:spPr>
          <a:xfrm>
            <a:off x="1463040" y="1574800"/>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altLang="zh-CN" sz="1400" dirty="0" smtClean="0">
                <a:solidFill>
                  <a:schemeClr val="tx1"/>
                </a:solidFill>
                <a:cs typeface="+mn-ea"/>
                <a:sym typeface="+mn-lt"/>
              </a:rPr>
              <a:t>XXX</a:t>
            </a:r>
            <a:endParaRPr lang="en-US" altLang="zh-CN" sz="1400" dirty="0" smtClean="0">
              <a:solidFill>
                <a:schemeClr val="tx1"/>
              </a:solidFill>
              <a:cs typeface="+mn-ea"/>
              <a:sym typeface="+mn-lt"/>
            </a:endParaRPr>
          </a:p>
        </p:txBody>
      </p:sp>
      <p:sp>
        <p:nvSpPr>
          <p:cNvPr id="176" name="矩形 175"/>
          <p:cNvSpPr/>
          <p:nvPr/>
        </p:nvSpPr>
        <p:spPr>
          <a:xfrm>
            <a:off x="1463040" y="2782919"/>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a:t>
            </a:r>
            <a:endParaRPr lang="en-US" altLang="zh-CN" sz="1200" dirty="0">
              <a:solidFill>
                <a:schemeClr val="tx1"/>
              </a:solidFill>
              <a:cs typeface="+mn-ea"/>
              <a:sym typeface="+mn-lt"/>
            </a:endParaRPr>
          </a:p>
        </p:txBody>
      </p:sp>
      <p:sp>
        <p:nvSpPr>
          <p:cNvPr id="177" name="矩形 176"/>
          <p:cNvSpPr/>
          <p:nvPr/>
        </p:nvSpPr>
        <p:spPr>
          <a:xfrm>
            <a:off x="1463040" y="3991038"/>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78" name="矩形 177"/>
          <p:cNvSpPr/>
          <p:nvPr/>
        </p:nvSpPr>
        <p:spPr>
          <a:xfrm>
            <a:off x="1463040" y="5199156"/>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79" name="矩形 178"/>
          <p:cNvSpPr/>
          <p:nvPr/>
        </p:nvSpPr>
        <p:spPr>
          <a:xfrm>
            <a:off x="3582111" y="1574800"/>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80" name="矩形 179"/>
          <p:cNvSpPr/>
          <p:nvPr/>
        </p:nvSpPr>
        <p:spPr>
          <a:xfrm>
            <a:off x="3582111" y="2782919"/>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a:t>
            </a:r>
            <a:endParaRPr lang="en-US" altLang="zh-CN" sz="1200" dirty="0">
              <a:solidFill>
                <a:schemeClr val="tx1"/>
              </a:solidFill>
              <a:cs typeface="+mn-ea"/>
              <a:sym typeface="+mn-lt"/>
            </a:endParaRPr>
          </a:p>
        </p:txBody>
      </p:sp>
      <p:sp>
        <p:nvSpPr>
          <p:cNvPr id="181" name="矩形 180"/>
          <p:cNvSpPr/>
          <p:nvPr/>
        </p:nvSpPr>
        <p:spPr>
          <a:xfrm>
            <a:off x="3582111" y="3991038"/>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82" name="矩形 181"/>
          <p:cNvSpPr/>
          <p:nvPr/>
        </p:nvSpPr>
        <p:spPr>
          <a:xfrm>
            <a:off x="3582111" y="5199156"/>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83" name="矩形 182"/>
          <p:cNvSpPr/>
          <p:nvPr/>
        </p:nvSpPr>
        <p:spPr>
          <a:xfrm>
            <a:off x="5701181" y="1574800"/>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smtClean="0">
                <a:solidFill>
                  <a:schemeClr val="tx1"/>
                </a:solidFill>
                <a:cs typeface="+mn-ea"/>
                <a:sym typeface="+mn-lt"/>
              </a:rPr>
              <a:t>XXX</a:t>
            </a:r>
            <a:endParaRPr lang="en-US" altLang="zh-CN" sz="1400" dirty="0">
              <a:solidFill>
                <a:schemeClr val="tx1"/>
              </a:solidFill>
              <a:cs typeface="+mn-ea"/>
              <a:sym typeface="+mn-lt"/>
            </a:endParaRPr>
          </a:p>
        </p:txBody>
      </p:sp>
      <p:sp>
        <p:nvSpPr>
          <p:cNvPr id="184" name="矩形 183"/>
          <p:cNvSpPr/>
          <p:nvPr/>
        </p:nvSpPr>
        <p:spPr>
          <a:xfrm>
            <a:off x="5701181" y="2782919"/>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a:t>
            </a:r>
            <a:endParaRPr lang="en-US" altLang="zh-CN" sz="1200" dirty="0">
              <a:solidFill>
                <a:schemeClr val="tx1"/>
              </a:solidFill>
              <a:cs typeface="+mn-ea"/>
              <a:sym typeface="+mn-lt"/>
            </a:endParaRPr>
          </a:p>
        </p:txBody>
      </p:sp>
      <p:sp>
        <p:nvSpPr>
          <p:cNvPr id="185" name="矩形 184"/>
          <p:cNvSpPr/>
          <p:nvPr/>
        </p:nvSpPr>
        <p:spPr>
          <a:xfrm>
            <a:off x="5701181" y="3991038"/>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86" name="矩形 185"/>
          <p:cNvSpPr/>
          <p:nvPr/>
        </p:nvSpPr>
        <p:spPr>
          <a:xfrm>
            <a:off x="5701181" y="5199156"/>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87" name="矩形 186"/>
          <p:cNvSpPr/>
          <p:nvPr/>
        </p:nvSpPr>
        <p:spPr>
          <a:xfrm>
            <a:off x="7820252" y="1574800"/>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88" name="矩形 187"/>
          <p:cNvSpPr/>
          <p:nvPr/>
        </p:nvSpPr>
        <p:spPr>
          <a:xfrm>
            <a:off x="7820252" y="2782919"/>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a:t>
            </a:r>
            <a:endParaRPr lang="en-US" altLang="zh-CN" sz="1200" dirty="0">
              <a:solidFill>
                <a:schemeClr val="tx1"/>
              </a:solidFill>
              <a:cs typeface="+mn-ea"/>
              <a:sym typeface="+mn-lt"/>
            </a:endParaRPr>
          </a:p>
        </p:txBody>
      </p:sp>
      <p:sp>
        <p:nvSpPr>
          <p:cNvPr id="189" name="矩形 188"/>
          <p:cNvSpPr/>
          <p:nvPr/>
        </p:nvSpPr>
        <p:spPr>
          <a:xfrm>
            <a:off x="7820252" y="3991038"/>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90" name="矩形 189"/>
          <p:cNvSpPr/>
          <p:nvPr/>
        </p:nvSpPr>
        <p:spPr>
          <a:xfrm>
            <a:off x="7820252" y="5199156"/>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91" name="矩形 190"/>
          <p:cNvSpPr/>
          <p:nvPr/>
        </p:nvSpPr>
        <p:spPr>
          <a:xfrm>
            <a:off x="9939324" y="1574800"/>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92" name="矩形 191"/>
          <p:cNvSpPr/>
          <p:nvPr/>
        </p:nvSpPr>
        <p:spPr>
          <a:xfrm>
            <a:off x="9939324" y="2782919"/>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a:t>
            </a:r>
            <a:endParaRPr lang="en-US" altLang="zh-CN" sz="1200" dirty="0">
              <a:solidFill>
                <a:schemeClr val="tx1"/>
              </a:solidFill>
              <a:cs typeface="+mn-ea"/>
              <a:sym typeface="+mn-lt"/>
            </a:endParaRPr>
          </a:p>
        </p:txBody>
      </p:sp>
      <p:sp>
        <p:nvSpPr>
          <p:cNvPr id="193" name="矩形 192"/>
          <p:cNvSpPr/>
          <p:nvPr/>
        </p:nvSpPr>
        <p:spPr>
          <a:xfrm>
            <a:off x="9939324" y="3991038"/>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194" name="矩形 193"/>
          <p:cNvSpPr/>
          <p:nvPr/>
        </p:nvSpPr>
        <p:spPr>
          <a:xfrm>
            <a:off x="9939324" y="5199156"/>
            <a:ext cx="2008835" cy="1120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400">
                <a:solidFill>
                  <a:schemeClr val="tx1"/>
                </a:solidFill>
                <a:cs typeface="+mn-ea"/>
                <a:sym typeface="+mn-lt"/>
              </a:rPr>
              <a:t>XXX</a:t>
            </a:r>
            <a:endParaRPr lang="en-US" altLang="zh-CN" sz="1400" dirty="0">
              <a:solidFill>
                <a:schemeClr val="tx1"/>
              </a:solidFill>
              <a:cs typeface="+mn-ea"/>
              <a:sym typeface="+mn-lt"/>
            </a:endParaRPr>
          </a:p>
        </p:txBody>
      </p:sp>
      <p:sp>
        <p:nvSpPr>
          <p:cNvPr id="43"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图表</a:t>
            </a:r>
            <a:endParaRPr lang="zh-CN" altLang="en-US" sz="2400" dirty="0">
              <a:solidFill>
                <a:prstClr val="black"/>
              </a:solidFill>
              <a:latin typeface="华文楷体" panose="02010600040101010101" charset="-122"/>
              <a:ea typeface="华文楷体" panose="02010600040101010101" charset="-122"/>
            </a:endParaRPr>
          </a:p>
        </p:txBody>
      </p:sp>
      <p:pic>
        <p:nvPicPr>
          <p:cNvPr id="42" name="图片 4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3238084" y="813193"/>
            <a:ext cx="5513762" cy="4732780"/>
            <a:chOff x="3704714" y="1570759"/>
            <a:chExt cx="4727787" cy="4516526"/>
          </a:xfrm>
        </p:grpSpPr>
        <p:sp>
          <p:nvSpPr>
            <p:cNvPr id="4" name="椭圆 3"/>
            <p:cNvSpPr/>
            <p:nvPr/>
          </p:nvSpPr>
          <p:spPr>
            <a:xfrm rot="4032622">
              <a:off x="4406298" y="2595995"/>
              <a:ext cx="1953018" cy="3356186"/>
            </a:xfrm>
            <a:prstGeom prst="ellipse">
              <a:avLst/>
            </a:prstGeom>
            <a:solidFill>
              <a:srgbClr val="FF5805">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kumimoji="1" lang="zh-CN" altLang="en-US">
                <a:solidFill>
                  <a:srgbClr val="FFFFFF"/>
                </a:solidFill>
              </a:endParaRPr>
            </a:p>
          </p:txBody>
        </p:sp>
        <p:sp>
          <p:nvSpPr>
            <p:cNvPr id="5" name="椭圆 4"/>
            <p:cNvSpPr/>
            <p:nvPr/>
          </p:nvSpPr>
          <p:spPr>
            <a:xfrm rot="17839796">
              <a:off x="5777899" y="2595995"/>
              <a:ext cx="1953018" cy="3356186"/>
            </a:xfrm>
            <a:prstGeom prst="ellipse">
              <a:avLst/>
            </a:prstGeom>
            <a:solidFill>
              <a:schemeClr val="accent5">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kumimoji="1" lang="zh-CN" altLang="en-US">
                <a:solidFill>
                  <a:srgbClr val="FFFFFF"/>
                </a:solidFill>
              </a:endParaRPr>
            </a:p>
          </p:txBody>
        </p:sp>
        <p:sp>
          <p:nvSpPr>
            <p:cNvPr id="6" name="椭圆 5"/>
            <p:cNvSpPr/>
            <p:nvPr/>
          </p:nvSpPr>
          <p:spPr>
            <a:xfrm rot="10800000">
              <a:off x="5114070" y="1570759"/>
              <a:ext cx="1953018" cy="3356186"/>
            </a:xfrm>
            <a:prstGeom prst="ellipse">
              <a:avLst/>
            </a:prstGeom>
            <a:solidFill>
              <a:srgbClr val="FF986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kumimoji="1" lang="zh-CN" altLang="en-US">
                <a:solidFill>
                  <a:srgbClr val="FFFFFF"/>
                </a:solidFill>
              </a:endParaRPr>
            </a:p>
          </p:txBody>
        </p:sp>
        <p:sp>
          <p:nvSpPr>
            <p:cNvPr id="7" name="文本框 7"/>
            <p:cNvSpPr txBox="1"/>
            <p:nvPr/>
          </p:nvSpPr>
          <p:spPr>
            <a:xfrm>
              <a:off x="3759900" y="4332168"/>
              <a:ext cx="1999207" cy="389583"/>
            </a:xfrm>
            <a:prstGeom prst="rect">
              <a:avLst/>
            </a:prstGeom>
            <a:noFill/>
          </p:spPr>
          <p:txBody>
            <a:bodyPr wrap="square" rtlCol="0">
              <a:spAutoFit/>
            </a:bodyPr>
            <a:lstStyle/>
            <a:p>
              <a:pPr algn="ctr" defTabSz="914400">
                <a:defRPr/>
              </a:pPr>
              <a:r>
                <a:rPr lang="en-US" altLang="zh-CN" sz="2000" b="1" dirty="0" smtClean="0">
                  <a:solidFill>
                    <a:srgbClr val="000000"/>
                  </a:solidFill>
                </a:rPr>
                <a:t>xx</a:t>
              </a:r>
              <a:endParaRPr lang="zh-CN" altLang="en-US" sz="2000" b="1" dirty="0">
                <a:solidFill>
                  <a:srgbClr val="000000"/>
                </a:solidFill>
              </a:endParaRPr>
            </a:p>
          </p:txBody>
        </p:sp>
        <p:sp>
          <p:nvSpPr>
            <p:cNvPr id="8" name="文本框 51"/>
            <p:cNvSpPr txBox="1"/>
            <p:nvPr/>
          </p:nvSpPr>
          <p:spPr>
            <a:xfrm>
              <a:off x="6511155" y="4369503"/>
              <a:ext cx="1888405" cy="389583"/>
            </a:xfrm>
            <a:prstGeom prst="rect">
              <a:avLst/>
            </a:prstGeom>
            <a:noFill/>
          </p:spPr>
          <p:txBody>
            <a:bodyPr wrap="square" rtlCol="0">
              <a:spAutoFit/>
            </a:bodyPr>
            <a:lstStyle/>
            <a:p>
              <a:pPr algn="ctr" defTabSz="914400">
                <a:defRPr/>
              </a:pPr>
              <a:r>
                <a:rPr lang="en-US" altLang="zh-CN" sz="2000" b="1" dirty="0" smtClean="0">
                  <a:solidFill>
                    <a:srgbClr val="000000"/>
                  </a:solidFill>
                </a:rPr>
                <a:t>xx</a:t>
              </a:r>
              <a:endParaRPr lang="zh-CN" altLang="en-US" sz="2000" b="1" dirty="0">
                <a:solidFill>
                  <a:srgbClr val="000000"/>
                </a:solidFill>
              </a:endParaRPr>
            </a:p>
          </p:txBody>
        </p:sp>
        <p:sp>
          <p:nvSpPr>
            <p:cNvPr id="9" name="文本框 53"/>
            <p:cNvSpPr txBox="1"/>
            <p:nvPr/>
          </p:nvSpPr>
          <p:spPr>
            <a:xfrm>
              <a:off x="5424299" y="3477815"/>
              <a:ext cx="1448536" cy="809134"/>
            </a:xfrm>
            <a:prstGeom prst="rect">
              <a:avLst/>
            </a:prstGeom>
            <a:noFill/>
          </p:spPr>
          <p:txBody>
            <a:bodyPr wrap="square" rtlCol="0">
              <a:spAutoFit/>
            </a:bodyPr>
            <a:lstStyle/>
            <a:p>
              <a:pPr algn="ctr" defTabSz="914400">
                <a:defRPr/>
              </a:pPr>
              <a:r>
                <a:rPr lang="zh-CN" altLang="en-US" sz="2400" b="1" dirty="0">
                  <a:solidFill>
                    <a:srgbClr val="000000"/>
                  </a:solidFill>
                </a:rPr>
                <a:t>智慧城市云平台</a:t>
              </a:r>
              <a:endParaRPr lang="zh-CN" altLang="en-US" sz="2400" b="1" dirty="0">
                <a:solidFill>
                  <a:srgbClr val="000000"/>
                </a:solidFill>
              </a:endParaRPr>
            </a:p>
          </p:txBody>
        </p:sp>
        <p:sp>
          <p:nvSpPr>
            <p:cNvPr id="10" name="文本框 90"/>
            <p:cNvSpPr txBox="1"/>
            <p:nvPr/>
          </p:nvSpPr>
          <p:spPr>
            <a:xfrm>
              <a:off x="4207764" y="4777604"/>
              <a:ext cx="3954610" cy="1309681"/>
            </a:xfrm>
            <a:prstGeom prst="rect">
              <a:avLst/>
            </a:prstGeom>
            <a:noFill/>
          </p:spPr>
          <p:txBody>
            <a:bodyPr wrap="square" rtlCol="0">
              <a:prstTxWarp prst="textArchDown">
                <a:avLst>
                  <a:gd name="adj" fmla="val 21131330"/>
                </a:avLst>
              </a:prstTxWarp>
              <a:spAutoFit/>
            </a:bodyPr>
            <a:lstStyle/>
            <a:p>
              <a:pPr algn="ctr" defTabSz="914400">
                <a:defRPr/>
              </a:pPr>
              <a:endParaRPr lang="zh-CN" altLang="en-US" sz="2000" b="1" dirty="0">
                <a:solidFill>
                  <a:srgbClr val="000000"/>
                </a:solidFill>
              </a:endParaRPr>
            </a:p>
          </p:txBody>
        </p:sp>
        <p:grpSp>
          <p:nvGrpSpPr>
            <p:cNvPr id="11" name="组合 10"/>
            <p:cNvGrpSpPr/>
            <p:nvPr/>
          </p:nvGrpSpPr>
          <p:grpSpPr>
            <a:xfrm>
              <a:off x="4815299" y="2804966"/>
              <a:ext cx="2576820" cy="1494704"/>
              <a:chOff x="4605290" y="3388565"/>
              <a:chExt cx="2848997" cy="1462361"/>
            </a:xfrm>
            <a:solidFill>
              <a:schemeClr val="bg1"/>
            </a:solidFill>
          </p:grpSpPr>
          <p:sp>
            <p:nvSpPr>
              <p:cNvPr id="15" name="Freeform 6"/>
              <p:cNvSpPr/>
              <p:nvPr>
                <p:custDataLst>
                  <p:tags r:id="rId1"/>
                </p:custDataLst>
              </p:nvPr>
            </p:nvSpPr>
            <p:spPr bwMode="auto">
              <a:xfrm>
                <a:off x="4605290" y="3388565"/>
                <a:ext cx="2848997" cy="1462361"/>
              </a:xfrm>
              <a:custGeom>
                <a:avLst/>
                <a:gdLst>
                  <a:gd name="T0" fmla="*/ 345 w 394"/>
                  <a:gd name="T1" fmla="*/ 105 h 218"/>
                  <a:gd name="T2" fmla="*/ 346 w 394"/>
                  <a:gd name="T3" fmla="*/ 99 h 218"/>
                  <a:gd name="T4" fmla="*/ 280 w 394"/>
                  <a:gd name="T5" fmla="*/ 33 h 218"/>
                  <a:gd name="T6" fmla="*/ 253 w 394"/>
                  <a:gd name="T7" fmla="*/ 39 h 218"/>
                  <a:gd name="T8" fmla="*/ 178 w 394"/>
                  <a:gd name="T9" fmla="*/ 0 h 218"/>
                  <a:gd name="T10" fmla="*/ 90 w 394"/>
                  <a:gd name="T11" fmla="*/ 67 h 218"/>
                  <a:gd name="T12" fmla="*/ 76 w 394"/>
                  <a:gd name="T13" fmla="*/ 66 h 218"/>
                  <a:gd name="T14" fmla="*/ 0 w 394"/>
                  <a:gd name="T15" fmla="*/ 142 h 218"/>
                  <a:gd name="T16" fmla="*/ 76 w 394"/>
                  <a:gd name="T17" fmla="*/ 218 h 218"/>
                  <a:gd name="T18" fmla="*/ 337 w 394"/>
                  <a:gd name="T19" fmla="*/ 218 h 218"/>
                  <a:gd name="T20" fmla="*/ 337 w 394"/>
                  <a:gd name="T21" fmla="*/ 218 h 218"/>
                  <a:gd name="T22" fmla="*/ 337 w 394"/>
                  <a:gd name="T23" fmla="*/ 218 h 218"/>
                  <a:gd name="T24" fmla="*/ 394 w 394"/>
                  <a:gd name="T25" fmla="*/ 161 h 218"/>
                  <a:gd name="T26" fmla="*/ 345 w 394"/>
                  <a:gd name="T27" fmla="*/ 10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4" h="218">
                    <a:moveTo>
                      <a:pt x="345" y="105"/>
                    </a:moveTo>
                    <a:cubicBezTo>
                      <a:pt x="346" y="104"/>
                      <a:pt x="346" y="101"/>
                      <a:pt x="346" y="99"/>
                    </a:cubicBezTo>
                    <a:cubicBezTo>
                      <a:pt x="346" y="63"/>
                      <a:pt x="316" y="33"/>
                      <a:pt x="280" y="33"/>
                    </a:cubicBezTo>
                    <a:cubicBezTo>
                      <a:pt x="270" y="33"/>
                      <a:pt x="261" y="35"/>
                      <a:pt x="253" y="39"/>
                    </a:cubicBezTo>
                    <a:cubicBezTo>
                      <a:pt x="236" y="15"/>
                      <a:pt x="209" y="0"/>
                      <a:pt x="178" y="0"/>
                    </a:cubicBezTo>
                    <a:cubicBezTo>
                      <a:pt x="136" y="0"/>
                      <a:pt x="100" y="28"/>
                      <a:pt x="90" y="67"/>
                    </a:cubicBezTo>
                    <a:cubicBezTo>
                      <a:pt x="85" y="66"/>
                      <a:pt x="80" y="66"/>
                      <a:pt x="76" y="66"/>
                    </a:cubicBezTo>
                    <a:cubicBezTo>
                      <a:pt x="34" y="66"/>
                      <a:pt x="0" y="100"/>
                      <a:pt x="0" y="142"/>
                    </a:cubicBezTo>
                    <a:cubicBezTo>
                      <a:pt x="0" y="183"/>
                      <a:pt x="34" y="218"/>
                      <a:pt x="76" y="218"/>
                    </a:cubicBezTo>
                    <a:cubicBezTo>
                      <a:pt x="337" y="218"/>
                      <a:pt x="337" y="218"/>
                      <a:pt x="337" y="218"/>
                    </a:cubicBezTo>
                    <a:cubicBezTo>
                      <a:pt x="337" y="218"/>
                      <a:pt x="337" y="218"/>
                      <a:pt x="337" y="218"/>
                    </a:cubicBezTo>
                    <a:cubicBezTo>
                      <a:pt x="337" y="218"/>
                      <a:pt x="337" y="218"/>
                      <a:pt x="337" y="218"/>
                    </a:cubicBezTo>
                    <a:cubicBezTo>
                      <a:pt x="368" y="218"/>
                      <a:pt x="394" y="193"/>
                      <a:pt x="394" y="161"/>
                    </a:cubicBezTo>
                    <a:cubicBezTo>
                      <a:pt x="394" y="133"/>
                      <a:pt x="373" y="109"/>
                      <a:pt x="345" y="105"/>
                    </a:cubicBezTo>
                    <a:close/>
                  </a:path>
                </a:pathLst>
              </a:custGeom>
              <a:grpFill/>
              <a:ln w="114300" cap="flat">
                <a:solidFill>
                  <a:srgbClr val="F05A23"/>
                </a:solidFill>
                <a:prstDash val="solid"/>
                <a:miter lim="800000"/>
              </a:ln>
            </p:spPr>
            <p:txBody>
              <a:bodyPr vert="horz" wrap="square" lIns="91440" tIns="45720" rIns="91440" bIns="45720" numCol="1" anchor="t" anchorCtr="0" compatLnSpc="1"/>
              <a:lstStyle/>
              <a:p>
                <a:pPr defTabSz="914400">
                  <a:defRPr/>
                </a:pPr>
                <a:endParaRPr lang="en-AU" sz="1200" kern="0" dirty="0">
                  <a:solidFill>
                    <a:srgbClr val="000000"/>
                  </a:solidFill>
                  <a:cs typeface="Arial" panose="020B0604020202020204" pitchFamily="34" charset="0"/>
                </a:endParaRPr>
              </a:p>
            </p:txBody>
          </p:sp>
          <p:sp>
            <p:nvSpPr>
              <p:cNvPr id="16" name="TextBox 32"/>
              <p:cNvSpPr txBox="1"/>
              <p:nvPr>
                <p:custDataLst>
                  <p:tags r:id="rId2"/>
                </p:custDataLst>
              </p:nvPr>
            </p:nvSpPr>
            <p:spPr>
              <a:xfrm>
                <a:off x="4990872" y="4005375"/>
                <a:ext cx="1994764" cy="410472"/>
              </a:xfrm>
              <a:prstGeom prst="rect">
                <a:avLst/>
              </a:prstGeom>
              <a:grpFill/>
              <a:ln>
                <a:noFill/>
              </a:ln>
            </p:spPr>
            <p:txBody>
              <a:bodyPr wrap="square" rtlCol="0">
                <a:spAutoFit/>
              </a:bodyPr>
              <a:lstStyle/>
              <a:p>
                <a:pPr algn="ctr" defTabSz="914400">
                  <a:defRPr/>
                </a:pPr>
                <a:r>
                  <a:rPr lang="zh-CN" altLang="en-US" sz="2200" b="1" kern="0" dirty="0" smtClean="0">
                    <a:solidFill>
                      <a:srgbClr val="000000"/>
                    </a:solidFill>
                  </a:rPr>
                  <a:t>智慧</a:t>
                </a:r>
                <a:r>
                  <a:rPr lang="en-US" altLang="zh-CN" sz="2200" b="1" kern="0" dirty="0" smtClean="0">
                    <a:solidFill>
                      <a:srgbClr val="000000"/>
                    </a:solidFill>
                  </a:rPr>
                  <a:t>xx</a:t>
                </a:r>
                <a:endParaRPr lang="en-GB" sz="2200" b="1" kern="0" dirty="0">
                  <a:solidFill>
                    <a:srgbClr val="000000"/>
                  </a:solidFill>
                </a:endParaRPr>
              </a:p>
            </p:txBody>
          </p:sp>
        </p:grpSp>
        <p:pic>
          <p:nvPicPr>
            <p:cNvPr id="12" name="Picture 2"/>
            <p:cNvPicPr>
              <a:picLocks noChangeAspect="1"/>
            </p:cNvPicPr>
            <p:nvPr/>
          </p:nvPicPr>
          <p:blipFill>
            <a:blip r:embed="rId3" cstate="screen"/>
            <a:stretch>
              <a:fillRect/>
            </a:stretch>
          </p:blipFill>
          <p:spPr>
            <a:xfrm>
              <a:off x="4346153" y="4632623"/>
              <a:ext cx="690614" cy="690614"/>
            </a:xfrm>
            <a:prstGeom prst="rect">
              <a:avLst/>
            </a:prstGeom>
          </p:spPr>
        </p:pic>
        <p:sp>
          <p:nvSpPr>
            <p:cNvPr id="13" name="文本框 52"/>
            <p:cNvSpPr txBox="1"/>
            <p:nvPr/>
          </p:nvSpPr>
          <p:spPr>
            <a:xfrm>
              <a:off x="5125395" y="2378222"/>
              <a:ext cx="2046344" cy="389583"/>
            </a:xfrm>
            <a:prstGeom prst="rect">
              <a:avLst/>
            </a:prstGeom>
            <a:noFill/>
          </p:spPr>
          <p:txBody>
            <a:bodyPr wrap="square" rtlCol="0">
              <a:spAutoFit/>
            </a:bodyPr>
            <a:lstStyle/>
            <a:p>
              <a:pPr algn="ctr" defTabSz="914400">
                <a:defRPr/>
              </a:pPr>
              <a:r>
                <a:rPr lang="en-US" altLang="zh-CN" sz="2000" b="1" dirty="0" smtClean="0">
                  <a:solidFill>
                    <a:srgbClr val="000000"/>
                  </a:solidFill>
                </a:rPr>
                <a:t>xx</a:t>
              </a:r>
              <a:endParaRPr lang="zh-CN" altLang="en-US" sz="2000" b="1" dirty="0">
                <a:solidFill>
                  <a:srgbClr val="000000"/>
                </a:solidFill>
              </a:endParaRPr>
            </a:p>
          </p:txBody>
        </p:sp>
        <p:pic>
          <p:nvPicPr>
            <p:cNvPr id="14" name="图片 13"/>
            <p:cNvPicPr>
              <a:picLocks noChangeAspect="1"/>
            </p:cNvPicPr>
            <p:nvPr/>
          </p:nvPicPr>
          <p:blipFill>
            <a:blip r:embed="rId4" cstate="screen"/>
            <a:stretch>
              <a:fillRect/>
            </a:stretch>
          </p:blipFill>
          <p:spPr>
            <a:xfrm>
              <a:off x="7083291" y="4526416"/>
              <a:ext cx="904327" cy="904327"/>
            </a:xfrm>
            <a:prstGeom prst="rect">
              <a:avLst/>
            </a:prstGeom>
          </p:spPr>
        </p:pic>
      </p:grpSp>
      <p:sp>
        <p:nvSpPr>
          <p:cNvPr id="17" name="圆角矩形 16"/>
          <p:cNvSpPr/>
          <p:nvPr/>
        </p:nvSpPr>
        <p:spPr>
          <a:xfrm>
            <a:off x="5283824" y="1351140"/>
            <a:ext cx="321182" cy="308178"/>
          </a:xfrm>
          <a:prstGeom prst="roundRect">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932815"/>
            <a:r>
              <a:rPr kumimoji="1" lang="en-US" altLang="zh-CN" b="1" dirty="0" smtClean="0">
                <a:solidFill>
                  <a:srgbClr val="FFFFFF"/>
                </a:solidFill>
              </a:rPr>
              <a:t>1</a:t>
            </a:r>
            <a:endParaRPr kumimoji="1" lang="en-US" b="1" dirty="0">
              <a:solidFill>
                <a:srgbClr val="FFFFFF"/>
              </a:solidFill>
            </a:endParaRPr>
          </a:p>
        </p:txBody>
      </p:sp>
      <p:sp>
        <p:nvSpPr>
          <p:cNvPr id="18" name="圆角矩形 17"/>
          <p:cNvSpPr/>
          <p:nvPr/>
        </p:nvSpPr>
        <p:spPr>
          <a:xfrm>
            <a:off x="4023032" y="3301934"/>
            <a:ext cx="321182" cy="308178"/>
          </a:xfrm>
          <a:prstGeom prst="roundRect">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932815"/>
            <a:r>
              <a:rPr kumimoji="1" lang="en-US" altLang="zh-CN" b="1" dirty="0" smtClean="0">
                <a:solidFill>
                  <a:srgbClr val="FFFFFF"/>
                </a:solidFill>
              </a:rPr>
              <a:t>2</a:t>
            </a:r>
            <a:endParaRPr kumimoji="1" lang="en-US" b="1" dirty="0">
              <a:solidFill>
                <a:srgbClr val="FFFFFF"/>
              </a:solidFill>
            </a:endParaRPr>
          </a:p>
        </p:txBody>
      </p:sp>
      <p:sp>
        <p:nvSpPr>
          <p:cNvPr id="19" name="圆角矩形 18"/>
          <p:cNvSpPr/>
          <p:nvPr/>
        </p:nvSpPr>
        <p:spPr>
          <a:xfrm>
            <a:off x="6643027" y="4186661"/>
            <a:ext cx="321182" cy="308178"/>
          </a:xfrm>
          <a:prstGeom prst="roundRect">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932815"/>
            <a:r>
              <a:rPr kumimoji="1" lang="en-US" b="1">
                <a:solidFill>
                  <a:srgbClr val="FFFFFF"/>
                </a:solidFill>
              </a:rPr>
              <a:t>3</a:t>
            </a:r>
            <a:endParaRPr kumimoji="1" lang="en-US" b="1" dirty="0">
              <a:solidFill>
                <a:srgbClr val="FFFFFF"/>
              </a:solidFill>
            </a:endParaRPr>
          </a:p>
        </p:txBody>
      </p:sp>
      <p:pic>
        <p:nvPicPr>
          <p:cNvPr id="20" name="Picture 11" descr="E:\icon\社区.png"/>
          <p:cNvPicPr>
            <a:picLocks noChangeAspect="1" noChangeArrowheads="1"/>
          </p:cNvPicPr>
          <p:nvPr/>
        </p:nvPicPr>
        <p:blipFill>
          <a:blip r:embed="rId5" cstate="screen"/>
          <a:srcRect/>
          <a:stretch>
            <a:fillRect/>
          </a:stretch>
        </p:blipFill>
        <p:spPr bwMode="auto">
          <a:xfrm>
            <a:off x="5634011" y="903096"/>
            <a:ext cx="812710" cy="89609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
          <p:cNvSpPr txBox="1"/>
          <p:nvPr/>
        </p:nvSpPr>
        <p:spPr>
          <a:xfrm>
            <a:off x="358440" y="4467172"/>
            <a:ext cx="3280619" cy="925194"/>
          </a:xfrm>
          <a:prstGeom prst="rect">
            <a:avLst/>
          </a:prstGeom>
          <a:noFill/>
        </p:spPr>
        <p:txBody>
          <a:bodyPr wrap="square" lIns="93286" tIns="46643" rIns="93286" bIns="46643" rtlCol="0">
            <a:spAutoFit/>
          </a:bodyPr>
          <a:lstStyle/>
          <a:p>
            <a:pPr defTabSz="932815"/>
            <a:r>
              <a:rPr lang="en-US" altLang="zh-CN" dirty="0" smtClean="0">
                <a:solidFill>
                  <a:srgbClr val="000000"/>
                </a:solidFill>
                <a:cs typeface="Times New Roman" panose="02020603050405020304" pitchFamily="18" charset="0"/>
              </a:rPr>
              <a:t>xxx</a:t>
            </a:r>
            <a:r>
              <a:rPr lang="zh-CN" altLang="en-US" dirty="0" smtClean="0">
                <a:solidFill>
                  <a:srgbClr val="000000"/>
                </a:solidFill>
                <a:cs typeface="Times New Roman" panose="02020603050405020304" pitchFamily="18" charset="0"/>
              </a:rPr>
              <a:t>：</a:t>
            </a:r>
            <a:endParaRPr lang="en-US" altLang="zh-CN" dirty="0" smtClean="0">
              <a:solidFill>
                <a:srgbClr val="000000"/>
              </a:solidFill>
              <a:cs typeface="Times New Roman" panose="02020603050405020304" pitchFamily="18" charset="0"/>
            </a:endParaRPr>
          </a:p>
          <a:p>
            <a:pPr marL="285750" indent="-285750" defTabSz="932815">
              <a:buFont typeface="Arial" panose="020B0604020202020204" pitchFamily="34" charset="0"/>
              <a:buChar char="•"/>
            </a:pPr>
            <a:r>
              <a:rPr lang="en-US" altLang="zh-CN" dirty="0" smtClean="0">
                <a:solidFill>
                  <a:srgbClr val="000000"/>
                </a:solidFill>
              </a:rPr>
              <a:t>xx</a:t>
            </a:r>
            <a:endParaRPr lang="zh-CN" altLang="en-US" dirty="0">
              <a:solidFill>
                <a:srgbClr val="000000"/>
              </a:solidFill>
            </a:endParaRPr>
          </a:p>
          <a:p>
            <a:pPr defTabSz="932815"/>
            <a:endParaRPr lang="zh-CN" altLang="en-US" dirty="0">
              <a:solidFill>
                <a:srgbClr val="000000"/>
              </a:solidFill>
            </a:endParaRPr>
          </a:p>
        </p:txBody>
      </p:sp>
      <p:sp>
        <p:nvSpPr>
          <p:cNvPr id="22" name="矩形 21"/>
          <p:cNvSpPr/>
          <p:nvPr/>
        </p:nvSpPr>
        <p:spPr>
          <a:xfrm>
            <a:off x="8814939" y="2636474"/>
            <a:ext cx="3188803" cy="648195"/>
          </a:xfrm>
          <a:prstGeom prst="rect">
            <a:avLst/>
          </a:prstGeom>
        </p:spPr>
        <p:txBody>
          <a:bodyPr wrap="square" lIns="93286" tIns="46643" rIns="93286" bIns="46643">
            <a:spAutoFit/>
          </a:bodyPr>
          <a:lstStyle/>
          <a:p>
            <a:pPr defTabSz="932815"/>
            <a:r>
              <a:rPr lang="en-US" altLang="zh-CN" b="1" dirty="0" smtClean="0">
                <a:solidFill>
                  <a:srgbClr val="000000"/>
                </a:solidFill>
              </a:rPr>
              <a:t>xxx</a:t>
            </a:r>
            <a:r>
              <a:rPr lang="zh-CN" altLang="en-US" b="1" dirty="0" smtClean="0">
                <a:solidFill>
                  <a:srgbClr val="000000"/>
                </a:solidFill>
              </a:rPr>
              <a:t>：</a:t>
            </a:r>
            <a:endParaRPr lang="en-US" altLang="zh-CN" b="1" dirty="0" smtClean="0">
              <a:solidFill>
                <a:srgbClr val="000000"/>
              </a:solidFill>
            </a:endParaRPr>
          </a:p>
          <a:p>
            <a:pPr marL="285750" indent="-285750" defTabSz="932815">
              <a:buFont typeface="Arial" panose="020B0604020202020204" pitchFamily="34" charset="0"/>
              <a:buChar char="•"/>
            </a:pPr>
            <a:r>
              <a:rPr lang="en-US" altLang="zh-CN" dirty="0" smtClean="0">
                <a:solidFill>
                  <a:srgbClr val="000000"/>
                </a:solidFill>
              </a:rPr>
              <a:t>xx</a:t>
            </a:r>
            <a:endParaRPr lang="zh-CN" altLang="en-US" dirty="0">
              <a:solidFill>
                <a:srgbClr val="000000"/>
              </a:solidFill>
            </a:endParaRPr>
          </a:p>
        </p:txBody>
      </p:sp>
      <p:sp>
        <p:nvSpPr>
          <p:cNvPr id="23" name="矩形 22"/>
          <p:cNvSpPr/>
          <p:nvPr/>
        </p:nvSpPr>
        <p:spPr>
          <a:xfrm>
            <a:off x="358440" y="853356"/>
            <a:ext cx="3280621" cy="648195"/>
          </a:xfrm>
          <a:prstGeom prst="rect">
            <a:avLst/>
          </a:prstGeom>
        </p:spPr>
        <p:txBody>
          <a:bodyPr wrap="square" lIns="93286" tIns="46643" rIns="93286" bIns="46643">
            <a:spAutoFit/>
          </a:bodyPr>
          <a:lstStyle/>
          <a:p>
            <a:pPr algn="just" defTabSz="932815"/>
            <a:r>
              <a:rPr lang="zh-CN" altLang="en-US" b="1" dirty="0">
                <a:solidFill>
                  <a:srgbClr val="000000"/>
                </a:solidFill>
              </a:rPr>
              <a:t>发展规划</a:t>
            </a:r>
            <a:r>
              <a:rPr lang="zh-CN" altLang="en-US" b="1" dirty="0" smtClean="0">
                <a:solidFill>
                  <a:srgbClr val="000000"/>
                </a:solidFill>
              </a:rPr>
              <a:t>：</a:t>
            </a:r>
            <a:endParaRPr lang="en-US" altLang="zh-CN" b="1" dirty="0" smtClean="0">
              <a:solidFill>
                <a:srgbClr val="000000"/>
              </a:solidFill>
            </a:endParaRPr>
          </a:p>
          <a:p>
            <a:pPr marL="285750" indent="-285750" algn="just" defTabSz="932815">
              <a:buFont typeface="Arial" panose="020B0604020202020204" pitchFamily="34" charset="0"/>
              <a:buChar char="•"/>
            </a:pPr>
            <a:r>
              <a:rPr lang="en-US" altLang="zh-CN" b="1" dirty="0" smtClean="0">
                <a:solidFill>
                  <a:srgbClr val="EE4F00"/>
                </a:solidFill>
              </a:rPr>
              <a:t>xx</a:t>
            </a:r>
            <a:endParaRPr lang="zh-CN" altLang="en-US" b="1" dirty="0">
              <a:solidFill>
                <a:srgbClr val="EE4F00"/>
              </a:solidFill>
            </a:endParaRPr>
          </a:p>
        </p:txBody>
      </p:sp>
      <p:cxnSp>
        <p:nvCxnSpPr>
          <p:cNvPr id="24" name="直接连接符 23"/>
          <p:cNvCxnSpPr/>
          <p:nvPr/>
        </p:nvCxnSpPr>
        <p:spPr>
          <a:xfrm>
            <a:off x="3713770" y="1713767"/>
            <a:ext cx="1350204" cy="0"/>
          </a:xfrm>
          <a:prstGeom prst="line">
            <a:avLst/>
          </a:prstGeom>
          <a:ln>
            <a:prstDash val="sysDot"/>
          </a:ln>
        </p:spPr>
        <p:style>
          <a:lnRef idx="2">
            <a:schemeClr val="accent5"/>
          </a:lnRef>
          <a:fillRef idx="0">
            <a:schemeClr val="accent5"/>
          </a:fillRef>
          <a:effectRef idx="1">
            <a:schemeClr val="accent5"/>
          </a:effectRef>
          <a:fontRef idx="minor">
            <a:schemeClr val="tx1"/>
          </a:fontRef>
        </p:style>
      </p:cxnSp>
      <p:cxnSp>
        <p:nvCxnSpPr>
          <p:cNvPr id="25" name="肘形连接符 24"/>
          <p:cNvCxnSpPr>
            <a:stCxn id="21" idx="0"/>
            <a:endCxn id="4" idx="3"/>
          </p:cNvCxnSpPr>
          <p:nvPr/>
        </p:nvCxnSpPr>
        <p:spPr>
          <a:xfrm rot="5400000" flipH="1" flipV="1">
            <a:off x="2342780" y="3170892"/>
            <a:ext cx="952250" cy="1640310"/>
          </a:xfrm>
          <a:prstGeom prst="bentConnector2">
            <a:avLst/>
          </a:prstGeom>
          <a:ln>
            <a:prstDash val="sysDot"/>
          </a:ln>
        </p:spPr>
        <p:style>
          <a:lnRef idx="2">
            <a:schemeClr val="accent5"/>
          </a:lnRef>
          <a:fillRef idx="0">
            <a:schemeClr val="accent5"/>
          </a:fillRef>
          <a:effectRef idx="1">
            <a:schemeClr val="accent5"/>
          </a:effectRef>
          <a:fontRef idx="minor">
            <a:schemeClr val="tx1"/>
          </a:fontRef>
        </p:style>
      </p:cxnSp>
      <p:cxnSp>
        <p:nvCxnSpPr>
          <p:cNvPr id="26" name="肘形连接符 25"/>
          <p:cNvCxnSpPr>
            <a:stCxn id="22" idx="0"/>
            <a:endCxn id="5" idx="5"/>
          </p:cNvCxnSpPr>
          <p:nvPr/>
        </p:nvCxnSpPr>
        <p:spPr>
          <a:xfrm rot="16200000" flipH="1" flipV="1">
            <a:off x="8881831" y="2111003"/>
            <a:ext cx="1002040" cy="2052981"/>
          </a:xfrm>
          <a:prstGeom prst="bentConnector4">
            <a:avLst>
              <a:gd name="adj1" fmla="val -22813"/>
              <a:gd name="adj2" fmla="val 101942"/>
            </a:avLst>
          </a:prstGeom>
          <a:ln>
            <a:prstDash val="sysDot"/>
          </a:ln>
        </p:spPr>
        <p:style>
          <a:lnRef idx="2">
            <a:schemeClr val="accent5"/>
          </a:lnRef>
          <a:fillRef idx="0">
            <a:schemeClr val="accent5"/>
          </a:fillRef>
          <a:effectRef idx="1">
            <a:schemeClr val="accent5"/>
          </a:effectRef>
          <a:fontRef idx="minor">
            <a:schemeClr val="tx1"/>
          </a:fontRef>
        </p:style>
      </p:cxnSp>
      <p:sp>
        <p:nvSpPr>
          <p:cNvPr id="27"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发展</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6" name="矩形 1175"/>
          <p:cNvSpPr/>
          <p:nvPr/>
        </p:nvSpPr>
        <p:spPr>
          <a:xfrm>
            <a:off x="564583" y="1158232"/>
            <a:ext cx="10859477" cy="798729"/>
          </a:xfrm>
          <a:prstGeom prst="rect">
            <a:avLst/>
          </a:prstGeom>
          <a:noFill/>
          <a:ln w="12700" cap="flat" cmpd="sng" algn="ctr">
            <a:solidFill>
              <a:srgbClr val="FF66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smtClean="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1177" name="矩形 1176"/>
          <p:cNvSpPr/>
          <p:nvPr/>
        </p:nvSpPr>
        <p:spPr>
          <a:xfrm>
            <a:off x="564584" y="5542978"/>
            <a:ext cx="10859478" cy="731108"/>
          </a:xfrm>
          <a:prstGeom prst="rect">
            <a:avLst/>
          </a:prstGeom>
          <a:noFill/>
          <a:ln w="12700" cap="flat" cmpd="sng" algn="ctr">
            <a:solidFill>
              <a:srgbClr val="FF6600"/>
            </a:solidFill>
            <a:prstDash val="solid"/>
          </a:ln>
          <a:effectLst/>
        </p:spPr>
        <p:txBody>
          <a:bodyPr rtlCol="0" anchor="ctr"/>
          <a:lstStyle/>
          <a:p>
            <a:pPr marL="0" marR="0" lvl="0" indent="0" algn="ctr" defTabSz="9906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Arial" panose="020B0604020202020204" pitchFamily="34" charset="0"/>
              </a:rPr>
              <a:t>大</a:t>
            </a:r>
            <a:r>
              <a:rPr kumimoji="0" lang="zh-CN" altLang="en-US" sz="16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Arial" panose="020B0604020202020204" pitchFamily="34" charset="0"/>
              </a:rPr>
              <a:t>数据平台（统一证照、统一信息库）</a:t>
            </a:r>
            <a:endParaRPr kumimoji="0" lang="en-US" altLang="zh-CN" sz="16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Arial" panose="020B0604020202020204" pitchFamily="34" charset="0"/>
            </a:endParaRPr>
          </a:p>
        </p:txBody>
      </p:sp>
      <p:sp>
        <p:nvSpPr>
          <p:cNvPr id="1178" name="矩形 1177"/>
          <p:cNvSpPr/>
          <p:nvPr/>
        </p:nvSpPr>
        <p:spPr>
          <a:xfrm>
            <a:off x="564584" y="2173712"/>
            <a:ext cx="10859477" cy="2999451"/>
          </a:xfrm>
          <a:prstGeom prst="rect">
            <a:avLst/>
          </a:prstGeom>
          <a:noFill/>
          <a:ln w="12700" cap="flat" cmpd="sng" algn="ctr">
            <a:solidFill>
              <a:srgbClr val="FF66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en-US" sz="1800" b="0" i="0" u="none" strike="noStrike" kern="0" cap="none" spc="0" normalizeH="0" baseline="0" noProof="0" smtClean="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endParaRPr>
          </a:p>
        </p:txBody>
      </p:sp>
      <p:grpSp>
        <p:nvGrpSpPr>
          <p:cNvPr id="1179" name="组合 1178"/>
          <p:cNvGrpSpPr/>
          <p:nvPr/>
        </p:nvGrpSpPr>
        <p:grpSpPr>
          <a:xfrm>
            <a:off x="9328658" y="1251596"/>
            <a:ext cx="1674141" cy="612000"/>
            <a:chOff x="4176234" y="1581555"/>
            <a:chExt cx="1674141" cy="612000"/>
          </a:xfrm>
        </p:grpSpPr>
        <p:sp>
          <p:nvSpPr>
            <p:cNvPr id="1180" name="矩形 1179"/>
            <p:cNvSpPr/>
            <p:nvPr/>
          </p:nvSpPr>
          <p:spPr>
            <a:xfrm>
              <a:off x="4554375" y="1581555"/>
              <a:ext cx="1296000" cy="61200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Arial" panose="020B0604020202020204" pitchFamily="34" charset="0"/>
                </a:rPr>
                <a:t>xx</a:t>
              </a:r>
              <a:endParaRPr kumimoji="0" 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Arial" panose="020B0604020202020204" pitchFamily="34" charset="0"/>
              </a:endParaRPr>
            </a:p>
          </p:txBody>
        </p:sp>
        <p:pic>
          <p:nvPicPr>
            <p:cNvPr id="1181" name="图片 1180"/>
            <p:cNvPicPr>
              <a:picLocks noChangeAspect="1"/>
            </p:cNvPicPr>
            <p:nvPr/>
          </p:nvPicPr>
          <p:blipFill>
            <a:blip r:embed="rId1" cstate="screen"/>
            <a:stretch>
              <a:fillRect/>
            </a:stretch>
          </p:blipFill>
          <p:spPr>
            <a:xfrm>
              <a:off x="4176234" y="1617555"/>
              <a:ext cx="510158" cy="540000"/>
            </a:xfrm>
            <a:prstGeom prst="rect">
              <a:avLst/>
            </a:prstGeom>
          </p:spPr>
        </p:pic>
      </p:grpSp>
      <p:grpSp>
        <p:nvGrpSpPr>
          <p:cNvPr id="1182" name="组合 1181"/>
          <p:cNvGrpSpPr/>
          <p:nvPr/>
        </p:nvGrpSpPr>
        <p:grpSpPr>
          <a:xfrm>
            <a:off x="776658" y="1251596"/>
            <a:ext cx="1737207" cy="612000"/>
            <a:chOff x="776658" y="1581555"/>
            <a:chExt cx="1737207" cy="612000"/>
          </a:xfrm>
        </p:grpSpPr>
        <p:sp>
          <p:nvSpPr>
            <p:cNvPr id="1183" name="矩形 1182"/>
            <p:cNvSpPr/>
            <p:nvPr/>
          </p:nvSpPr>
          <p:spPr>
            <a:xfrm>
              <a:off x="1217865" y="1581555"/>
              <a:ext cx="1296000" cy="61200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Arial" panose="020B0604020202020204" pitchFamily="34" charset="0"/>
                </a:rPr>
                <a:t>xx</a:t>
              </a:r>
              <a:endParaRPr kumimoji="0" 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Arial" panose="020B0604020202020204" pitchFamily="34" charset="0"/>
              </a:endParaRPr>
            </a:p>
          </p:txBody>
        </p:sp>
        <p:pic>
          <p:nvPicPr>
            <p:cNvPr id="1184" name="图片 1183"/>
            <p:cNvPicPr>
              <a:picLocks noChangeAspect="1"/>
            </p:cNvPicPr>
            <p:nvPr/>
          </p:nvPicPr>
          <p:blipFill>
            <a:blip r:embed="rId2" cstate="screen"/>
            <a:stretch>
              <a:fillRect/>
            </a:stretch>
          </p:blipFill>
          <p:spPr>
            <a:xfrm>
              <a:off x="776658" y="1617555"/>
              <a:ext cx="510158" cy="540000"/>
            </a:xfrm>
            <a:prstGeom prst="rect">
              <a:avLst/>
            </a:prstGeom>
          </p:spPr>
        </p:pic>
      </p:grpSp>
      <p:grpSp>
        <p:nvGrpSpPr>
          <p:cNvPr id="1185" name="组合 1184"/>
          <p:cNvGrpSpPr/>
          <p:nvPr/>
        </p:nvGrpSpPr>
        <p:grpSpPr>
          <a:xfrm>
            <a:off x="5084190" y="1251596"/>
            <a:ext cx="1674143" cy="612000"/>
            <a:chOff x="2507978" y="1581555"/>
            <a:chExt cx="1674143" cy="612000"/>
          </a:xfrm>
        </p:grpSpPr>
        <p:sp>
          <p:nvSpPr>
            <p:cNvPr id="1186" name="矩形 1185"/>
            <p:cNvSpPr/>
            <p:nvPr/>
          </p:nvSpPr>
          <p:spPr>
            <a:xfrm>
              <a:off x="2886121" y="1581555"/>
              <a:ext cx="1296000" cy="61200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Arial" panose="020B0604020202020204" pitchFamily="34" charset="0"/>
                </a:rPr>
                <a:t>xx</a:t>
              </a:r>
              <a:endParaRPr kumimoji="0" 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Arial" panose="020B0604020202020204" pitchFamily="34" charset="0"/>
              </a:endParaRPr>
            </a:p>
          </p:txBody>
        </p:sp>
        <p:pic>
          <p:nvPicPr>
            <p:cNvPr id="1187" name="图片 1186"/>
            <p:cNvPicPr>
              <a:picLocks noChangeAspect="1"/>
            </p:cNvPicPr>
            <p:nvPr/>
          </p:nvPicPr>
          <p:blipFill>
            <a:blip r:embed="rId3" cstate="screen"/>
            <a:stretch>
              <a:fillRect/>
            </a:stretch>
          </p:blipFill>
          <p:spPr>
            <a:xfrm>
              <a:off x="2507978" y="1617555"/>
              <a:ext cx="510158" cy="540000"/>
            </a:xfrm>
            <a:prstGeom prst="rect">
              <a:avLst/>
            </a:prstGeom>
          </p:spPr>
        </p:pic>
      </p:grpSp>
      <p:sp>
        <p:nvSpPr>
          <p:cNvPr id="1188" name="矩形 1187"/>
          <p:cNvSpPr/>
          <p:nvPr/>
        </p:nvSpPr>
        <p:spPr>
          <a:xfrm>
            <a:off x="5030407" y="766696"/>
            <a:ext cx="1927828" cy="378628"/>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400" b="1" i="0" u="none" strike="noStrike" kern="0" cap="none" spc="0" normalizeH="0" baseline="0" noProof="0" dirty="0" smtClean="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rPr>
              <a:t>一机</a:t>
            </a:r>
            <a:endParaRPr kumimoji="0" lang="en-US" sz="2400" b="1" i="0" u="none" strike="noStrike" kern="0" cap="none" spc="0" normalizeH="0" baseline="0" noProof="0" dirty="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1189" name="矩形 1188"/>
          <p:cNvSpPr/>
          <p:nvPr/>
        </p:nvSpPr>
        <p:spPr>
          <a:xfrm>
            <a:off x="5030408" y="5165611"/>
            <a:ext cx="1927828" cy="378628"/>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400" b="1" i="0" u="none" strike="noStrike" kern="0" cap="none" spc="0" normalizeH="0" baseline="0" noProof="0" smtClean="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rPr>
              <a:t>一帐户</a:t>
            </a:r>
            <a:endParaRPr kumimoji="0" lang="en-US" sz="2400" b="1" i="0" u="none" strike="noStrike" kern="0" cap="none" spc="0" normalizeH="0" baseline="0" noProof="0" dirty="0" smtClean="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1190" name="椭圆 1189"/>
          <p:cNvSpPr/>
          <p:nvPr/>
        </p:nvSpPr>
        <p:spPr>
          <a:xfrm>
            <a:off x="6944837" y="2420314"/>
            <a:ext cx="3419222" cy="2520299"/>
          </a:xfrm>
          <a:prstGeom prst="ellipse">
            <a:avLst/>
          </a:prstGeom>
          <a:noFill/>
          <a:ln w="28575" cap="flat" cmpd="sng" algn="ctr">
            <a:solidFill>
              <a:sysClr val="windowText" lastClr="000000">
                <a:lumMod val="50000"/>
                <a:lumOff val="50000"/>
              </a:sysClr>
            </a:solidFill>
            <a:prstDash val="sysDash"/>
            <a:miter lim="800000"/>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smtClean="0">
              <a:ln>
                <a:noFill/>
              </a:ln>
              <a:solidFill>
                <a:srgbClr val="FF5805"/>
              </a:solidFill>
              <a:effectLst/>
              <a:uLnTx/>
              <a:uFillTx/>
              <a:latin typeface="华文楷体" panose="02010600040101010101" charset="-122"/>
              <a:ea typeface="华文楷体" panose="02010600040101010101" charset="-122"/>
            </a:endParaRPr>
          </a:p>
        </p:txBody>
      </p:sp>
      <p:pic>
        <p:nvPicPr>
          <p:cNvPr id="1191" name="Picture 9"/>
          <p:cNvPicPr>
            <a:picLocks noChangeAspect="1"/>
          </p:cNvPicPr>
          <p:nvPr/>
        </p:nvPicPr>
        <p:blipFill>
          <a:blip r:embed="rId4" cstate="screen"/>
          <a:stretch>
            <a:fillRect/>
          </a:stretch>
        </p:blipFill>
        <p:spPr>
          <a:xfrm>
            <a:off x="6568317" y="3549806"/>
            <a:ext cx="421288" cy="261316"/>
          </a:xfrm>
          <a:prstGeom prst="rect">
            <a:avLst/>
          </a:prstGeom>
        </p:spPr>
      </p:pic>
      <p:pic>
        <p:nvPicPr>
          <p:cNvPr id="1192" name="Picture 10"/>
          <p:cNvPicPr>
            <a:picLocks noChangeAspect="1"/>
          </p:cNvPicPr>
          <p:nvPr/>
        </p:nvPicPr>
        <p:blipFill>
          <a:blip r:embed="rId5" cstate="screen"/>
          <a:stretch>
            <a:fillRect/>
          </a:stretch>
        </p:blipFill>
        <p:spPr>
          <a:xfrm>
            <a:off x="9916161" y="2581848"/>
            <a:ext cx="391246" cy="242682"/>
          </a:xfrm>
          <a:prstGeom prst="rect">
            <a:avLst/>
          </a:prstGeom>
        </p:spPr>
      </p:pic>
      <p:pic>
        <p:nvPicPr>
          <p:cNvPr id="1193" name="Picture 15"/>
          <p:cNvPicPr>
            <a:picLocks noChangeAspect="1"/>
          </p:cNvPicPr>
          <p:nvPr/>
        </p:nvPicPr>
        <p:blipFill>
          <a:blip r:embed="rId6" cstate="screen"/>
          <a:stretch>
            <a:fillRect/>
          </a:stretch>
        </p:blipFill>
        <p:spPr>
          <a:xfrm>
            <a:off x="8557161" y="4968588"/>
            <a:ext cx="329814" cy="204576"/>
          </a:xfrm>
          <a:prstGeom prst="rect">
            <a:avLst/>
          </a:prstGeom>
        </p:spPr>
      </p:pic>
      <p:pic>
        <p:nvPicPr>
          <p:cNvPr id="1194" name="Picture 6"/>
          <p:cNvPicPr>
            <a:picLocks noChangeAspect="1"/>
          </p:cNvPicPr>
          <p:nvPr/>
        </p:nvPicPr>
        <p:blipFill>
          <a:blip r:embed="rId7" cstate="screen"/>
          <a:stretch>
            <a:fillRect/>
          </a:stretch>
        </p:blipFill>
        <p:spPr>
          <a:xfrm>
            <a:off x="7174817" y="4616073"/>
            <a:ext cx="366891" cy="177508"/>
          </a:xfrm>
          <a:prstGeom prst="rect">
            <a:avLst/>
          </a:prstGeom>
        </p:spPr>
      </p:pic>
      <p:pic>
        <p:nvPicPr>
          <p:cNvPr id="1195" name="Picture 16"/>
          <p:cNvPicPr>
            <a:picLocks noChangeAspect="1"/>
          </p:cNvPicPr>
          <p:nvPr/>
        </p:nvPicPr>
        <p:blipFill>
          <a:blip r:embed="rId8" cstate="screen"/>
          <a:stretch>
            <a:fillRect/>
          </a:stretch>
        </p:blipFill>
        <p:spPr>
          <a:xfrm>
            <a:off x="10457209" y="3640758"/>
            <a:ext cx="298288" cy="185022"/>
          </a:xfrm>
          <a:prstGeom prst="rect">
            <a:avLst/>
          </a:prstGeom>
        </p:spPr>
      </p:pic>
      <p:pic>
        <p:nvPicPr>
          <p:cNvPr id="1196" name="Picture 4"/>
          <p:cNvPicPr>
            <a:picLocks noChangeAspect="1"/>
          </p:cNvPicPr>
          <p:nvPr/>
        </p:nvPicPr>
        <p:blipFill>
          <a:blip r:embed="rId9" cstate="screen"/>
          <a:stretch>
            <a:fillRect/>
          </a:stretch>
        </p:blipFill>
        <p:spPr>
          <a:xfrm>
            <a:off x="9813704" y="4536087"/>
            <a:ext cx="386177" cy="239537"/>
          </a:xfrm>
          <a:prstGeom prst="rect">
            <a:avLst/>
          </a:prstGeom>
        </p:spPr>
      </p:pic>
      <p:grpSp>
        <p:nvGrpSpPr>
          <p:cNvPr id="1197" name="组合 1196"/>
          <p:cNvGrpSpPr/>
          <p:nvPr/>
        </p:nvGrpSpPr>
        <p:grpSpPr>
          <a:xfrm>
            <a:off x="9026192" y="2337004"/>
            <a:ext cx="536013" cy="410765"/>
            <a:chOff x="9292232" y="2253460"/>
            <a:chExt cx="576000" cy="576000"/>
          </a:xfrm>
        </p:grpSpPr>
        <p:sp>
          <p:nvSpPr>
            <p:cNvPr id="1198" name="Oval 19"/>
            <p:cNvSpPr>
              <a:spLocks noChangeArrowheads="1"/>
            </p:cNvSpPr>
            <p:nvPr/>
          </p:nvSpPr>
          <p:spPr bwMode="auto">
            <a:xfrm>
              <a:off x="9292232" y="2253460"/>
              <a:ext cx="576000" cy="576000"/>
            </a:xfrm>
            <a:prstGeom prst="ellipse">
              <a:avLst/>
            </a:prstGeom>
            <a:solidFill>
              <a:sysClr val="window" lastClr="FFFFFF">
                <a:lumMod val="85000"/>
              </a:sysClr>
            </a:solidFill>
            <a:ln w="9525">
              <a:solidFill>
                <a:sysClr val="window" lastClr="FFFFFF"/>
              </a:solidFill>
              <a:round/>
            </a:ln>
            <a:effectLst/>
          </p:spPr>
          <p:txBody>
            <a:bodyPr anchor="ctr"/>
            <a:lstStyle/>
            <a:p>
              <a:pPr marL="0" marR="0" lvl="0" indent="0" algn="ctr" defTabSz="914400" eaLnBrk="1" fontAlgn="auto" latinLnBrk="0" hangingPunct="1">
                <a:lnSpc>
                  <a:spcPct val="120000"/>
                </a:lnSpc>
                <a:spcBef>
                  <a:spcPts val="0"/>
                </a:spcBef>
                <a:spcAft>
                  <a:spcPts val="0"/>
                </a:spcAft>
                <a:buClrTx/>
                <a:buSzTx/>
                <a:buFontTx/>
                <a:buNone/>
                <a:defRPr/>
              </a:pPr>
              <a:endParaRPr kumimoji="0" lang="zh-CN" alt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楷体" panose="02010609060101010101" pitchFamily="49" charset="-122"/>
              </a:endParaRPr>
            </a:p>
          </p:txBody>
        </p:sp>
        <p:sp>
          <p:nvSpPr>
            <p:cNvPr id="1199" name="矩形 1198"/>
            <p:cNvSpPr/>
            <p:nvPr/>
          </p:nvSpPr>
          <p:spPr>
            <a:xfrm>
              <a:off x="9349701" y="2278402"/>
              <a:ext cx="448218" cy="517900"/>
            </a:xfrm>
            <a:prstGeom prst="rect">
              <a:avLst/>
            </a:prstGeom>
          </p:spPr>
          <p:txBody>
            <a:bodyPr wrap="none">
              <a:spAutoFit/>
            </a:bodyPr>
            <a:lstStyle/>
            <a:p>
              <a:pPr marL="0" marR="0" lvl="0" indent="0" algn="ctr" defTabSz="914400" eaLnBrk="1" fontAlgn="auto" latinLnBrk="1"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rPr>
                <a:t>医</a:t>
              </a:r>
              <a:endPar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endParaRPr>
            </a:p>
          </p:txBody>
        </p:sp>
      </p:grpSp>
      <p:grpSp>
        <p:nvGrpSpPr>
          <p:cNvPr id="1200" name="组合 1199"/>
          <p:cNvGrpSpPr/>
          <p:nvPr/>
        </p:nvGrpSpPr>
        <p:grpSpPr>
          <a:xfrm>
            <a:off x="9911688" y="3047450"/>
            <a:ext cx="536013" cy="410765"/>
            <a:chOff x="9353957" y="2395948"/>
            <a:chExt cx="576000" cy="576000"/>
          </a:xfrm>
        </p:grpSpPr>
        <p:sp>
          <p:nvSpPr>
            <p:cNvPr id="1201" name="Oval 19"/>
            <p:cNvSpPr>
              <a:spLocks noChangeArrowheads="1"/>
            </p:cNvSpPr>
            <p:nvPr/>
          </p:nvSpPr>
          <p:spPr bwMode="auto">
            <a:xfrm>
              <a:off x="9353957" y="2395948"/>
              <a:ext cx="576000" cy="576000"/>
            </a:xfrm>
            <a:prstGeom prst="ellipse">
              <a:avLst/>
            </a:prstGeom>
            <a:solidFill>
              <a:sysClr val="window" lastClr="FFFFFF">
                <a:lumMod val="85000"/>
              </a:sysClr>
            </a:solidFill>
            <a:ln w="9525">
              <a:solidFill>
                <a:sysClr val="window" lastClr="FFFFFF"/>
              </a:solidFill>
              <a:round/>
            </a:ln>
            <a:effectLst/>
          </p:spPr>
          <p:txBody>
            <a:bodyPr anchor="ctr"/>
            <a:lstStyle/>
            <a:p>
              <a:pPr marL="0" marR="0" lvl="0" indent="0" algn="ctr" defTabSz="914400" eaLnBrk="1" fontAlgn="auto" latinLnBrk="0" hangingPunct="1">
                <a:lnSpc>
                  <a:spcPct val="120000"/>
                </a:lnSpc>
                <a:spcBef>
                  <a:spcPts val="0"/>
                </a:spcBef>
                <a:spcAft>
                  <a:spcPts val="0"/>
                </a:spcAft>
                <a:buClrTx/>
                <a:buSzTx/>
                <a:buFontTx/>
                <a:buNone/>
                <a:defRPr/>
              </a:pPr>
              <a:endParaRPr kumimoji="0" lang="zh-CN" alt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楷体" panose="02010609060101010101" pitchFamily="49" charset="-122"/>
              </a:endParaRPr>
            </a:p>
          </p:txBody>
        </p:sp>
        <p:sp>
          <p:nvSpPr>
            <p:cNvPr id="1202" name="矩形 1201"/>
            <p:cNvSpPr/>
            <p:nvPr/>
          </p:nvSpPr>
          <p:spPr>
            <a:xfrm>
              <a:off x="9411422" y="2420890"/>
              <a:ext cx="448218" cy="517900"/>
            </a:xfrm>
            <a:prstGeom prst="rect">
              <a:avLst/>
            </a:prstGeom>
          </p:spPr>
          <p:txBody>
            <a:bodyPr wrap="none">
              <a:spAutoFit/>
            </a:bodyPr>
            <a:lstStyle/>
            <a:p>
              <a:pPr marL="0" marR="0" lvl="0" indent="0" algn="ctr" defTabSz="914400" eaLnBrk="1" fontAlgn="auto" latinLnBrk="1"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rPr>
                <a:t>学</a:t>
              </a:r>
              <a:endParaRPr kumimoji="0" lang="en-US" altLang="zh-CN"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endParaRPr>
            </a:p>
          </p:txBody>
        </p:sp>
      </p:grpSp>
      <p:grpSp>
        <p:nvGrpSpPr>
          <p:cNvPr id="1203" name="组合 1202"/>
          <p:cNvGrpSpPr/>
          <p:nvPr/>
        </p:nvGrpSpPr>
        <p:grpSpPr>
          <a:xfrm>
            <a:off x="9911688" y="3992842"/>
            <a:ext cx="536013" cy="410765"/>
            <a:chOff x="9551477" y="2443444"/>
            <a:chExt cx="576000" cy="576000"/>
          </a:xfrm>
        </p:grpSpPr>
        <p:sp>
          <p:nvSpPr>
            <p:cNvPr id="1204" name="Oval 19"/>
            <p:cNvSpPr>
              <a:spLocks noChangeArrowheads="1"/>
            </p:cNvSpPr>
            <p:nvPr/>
          </p:nvSpPr>
          <p:spPr bwMode="auto">
            <a:xfrm>
              <a:off x="9551477" y="2443444"/>
              <a:ext cx="576000" cy="576000"/>
            </a:xfrm>
            <a:prstGeom prst="ellipse">
              <a:avLst/>
            </a:prstGeom>
            <a:solidFill>
              <a:sysClr val="window" lastClr="FFFFFF">
                <a:lumMod val="85000"/>
              </a:sysClr>
            </a:solidFill>
            <a:ln w="9525">
              <a:solidFill>
                <a:sysClr val="window" lastClr="FFFFFF"/>
              </a:solidFill>
              <a:round/>
            </a:ln>
            <a:effectLst/>
          </p:spPr>
          <p:txBody>
            <a:bodyPr anchor="ctr"/>
            <a:lstStyle/>
            <a:p>
              <a:pPr marL="0" marR="0" lvl="0" indent="0" algn="ctr" defTabSz="914400" eaLnBrk="1" fontAlgn="auto" latinLnBrk="0" hangingPunct="1">
                <a:lnSpc>
                  <a:spcPct val="120000"/>
                </a:lnSpc>
                <a:spcBef>
                  <a:spcPts val="0"/>
                </a:spcBef>
                <a:spcAft>
                  <a:spcPts val="0"/>
                </a:spcAft>
                <a:buClrTx/>
                <a:buSzTx/>
                <a:buFontTx/>
                <a:buNone/>
                <a:defRPr/>
              </a:pPr>
              <a:endParaRPr kumimoji="0" lang="zh-CN" alt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楷体" panose="02010609060101010101" pitchFamily="49" charset="-122"/>
              </a:endParaRPr>
            </a:p>
          </p:txBody>
        </p:sp>
        <p:sp>
          <p:nvSpPr>
            <p:cNvPr id="1205" name="矩形 1204"/>
            <p:cNvSpPr/>
            <p:nvPr/>
          </p:nvSpPr>
          <p:spPr>
            <a:xfrm>
              <a:off x="9608942" y="2468386"/>
              <a:ext cx="448218" cy="517900"/>
            </a:xfrm>
            <a:prstGeom prst="rect">
              <a:avLst/>
            </a:prstGeom>
          </p:spPr>
          <p:txBody>
            <a:bodyPr wrap="none">
              <a:spAutoFit/>
            </a:bodyPr>
            <a:lstStyle/>
            <a:p>
              <a:pPr marL="0" marR="0" lvl="0" indent="0" algn="ctr" defTabSz="914400" eaLnBrk="1" fontAlgn="auto" latinLnBrk="1"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rPr>
                <a:t>住</a:t>
              </a:r>
              <a:endParaRPr kumimoji="0" lang="en-US" altLang="zh-CN"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endParaRPr>
            </a:p>
          </p:txBody>
        </p:sp>
      </p:grpSp>
      <p:grpSp>
        <p:nvGrpSpPr>
          <p:cNvPr id="1206" name="组合 1205"/>
          <p:cNvGrpSpPr/>
          <p:nvPr/>
        </p:nvGrpSpPr>
        <p:grpSpPr>
          <a:xfrm>
            <a:off x="9046021" y="4610840"/>
            <a:ext cx="536013" cy="410765"/>
            <a:chOff x="9514442" y="2502814"/>
            <a:chExt cx="576000" cy="576000"/>
          </a:xfrm>
        </p:grpSpPr>
        <p:sp>
          <p:nvSpPr>
            <p:cNvPr id="1207" name="Oval 19"/>
            <p:cNvSpPr>
              <a:spLocks noChangeArrowheads="1"/>
            </p:cNvSpPr>
            <p:nvPr/>
          </p:nvSpPr>
          <p:spPr bwMode="auto">
            <a:xfrm>
              <a:off x="9514442" y="2502814"/>
              <a:ext cx="576000" cy="576000"/>
            </a:xfrm>
            <a:prstGeom prst="ellipse">
              <a:avLst/>
            </a:prstGeom>
            <a:solidFill>
              <a:sysClr val="window" lastClr="FFFFFF">
                <a:lumMod val="85000"/>
              </a:sysClr>
            </a:solidFill>
            <a:ln w="9525">
              <a:solidFill>
                <a:sysClr val="window" lastClr="FFFFFF"/>
              </a:solidFill>
              <a:round/>
            </a:ln>
            <a:effectLst/>
          </p:spPr>
          <p:txBody>
            <a:bodyPr anchor="ctr"/>
            <a:lstStyle/>
            <a:p>
              <a:pPr marL="0" marR="0" lvl="0" indent="0" algn="ctr" defTabSz="914400" eaLnBrk="1" fontAlgn="auto" latinLnBrk="0" hangingPunct="1">
                <a:lnSpc>
                  <a:spcPct val="120000"/>
                </a:lnSpc>
                <a:spcBef>
                  <a:spcPts val="0"/>
                </a:spcBef>
                <a:spcAft>
                  <a:spcPts val="0"/>
                </a:spcAft>
                <a:buClrTx/>
                <a:buSzTx/>
                <a:buFontTx/>
                <a:buNone/>
                <a:defRPr/>
              </a:pPr>
              <a:endParaRPr kumimoji="0" lang="zh-CN" alt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楷体" panose="02010609060101010101" pitchFamily="49" charset="-122"/>
              </a:endParaRPr>
            </a:p>
          </p:txBody>
        </p:sp>
        <p:sp>
          <p:nvSpPr>
            <p:cNvPr id="1208" name="矩形 1207"/>
            <p:cNvSpPr/>
            <p:nvPr/>
          </p:nvSpPr>
          <p:spPr>
            <a:xfrm>
              <a:off x="9571907" y="2527756"/>
              <a:ext cx="448218" cy="517900"/>
            </a:xfrm>
            <a:prstGeom prst="rect">
              <a:avLst/>
            </a:prstGeom>
          </p:spPr>
          <p:txBody>
            <a:bodyPr wrap="none">
              <a:spAutoFit/>
            </a:bodyPr>
            <a:lstStyle/>
            <a:p>
              <a:pPr marL="0" marR="0" lvl="0" indent="0" algn="ctr" defTabSz="914400" eaLnBrk="1" fontAlgn="auto" latinLnBrk="1"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rPr>
                <a:t>行</a:t>
              </a:r>
              <a:endParaRPr kumimoji="0" lang="en-US" altLang="zh-CN"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endParaRPr>
            </a:p>
          </p:txBody>
        </p:sp>
      </p:grpSp>
      <p:grpSp>
        <p:nvGrpSpPr>
          <p:cNvPr id="1209" name="组合 1208"/>
          <p:cNvGrpSpPr/>
          <p:nvPr/>
        </p:nvGrpSpPr>
        <p:grpSpPr>
          <a:xfrm>
            <a:off x="7701584" y="4650652"/>
            <a:ext cx="536013" cy="410765"/>
            <a:chOff x="9341612" y="2728420"/>
            <a:chExt cx="576000" cy="576000"/>
          </a:xfrm>
        </p:grpSpPr>
        <p:sp>
          <p:nvSpPr>
            <p:cNvPr id="1210" name="Oval 19"/>
            <p:cNvSpPr>
              <a:spLocks noChangeArrowheads="1"/>
            </p:cNvSpPr>
            <p:nvPr/>
          </p:nvSpPr>
          <p:spPr bwMode="auto">
            <a:xfrm>
              <a:off x="9341612" y="2728420"/>
              <a:ext cx="576000" cy="576000"/>
            </a:xfrm>
            <a:prstGeom prst="ellipse">
              <a:avLst/>
            </a:prstGeom>
            <a:solidFill>
              <a:sysClr val="window" lastClr="FFFFFF">
                <a:lumMod val="85000"/>
              </a:sysClr>
            </a:solidFill>
            <a:ln w="9525">
              <a:solidFill>
                <a:sysClr val="window" lastClr="FFFFFF"/>
              </a:solidFill>
              <a:round/>
            </a:ln>
            <a:effectLst/>
          </p:spPr>
          <p:txBody>
            <a:bodyPr anchor="ctr"/>
            <a:lstStyle/>
            <a:p>
              <a:pPr marL="0" marR="0" lvl="0" indent="0" algn="ctr" defTabSz="914400" eaLnBrk="1" fontAlgn="auto" latinLnBrk="0" hangingPunct="1">
                <a:lnSpc>
                  <a:spcPct val="120000"/>
                </a:lnSpc>
                <a:spcBef>
                  <a:spcPts val="0"/>
                </a:spcBef>
                <a:spcAft>
                  <a:spcPts val="0"/>
                </a:spcAft>
                <a:buClrTx/>
                <a:buSzTx/>
                <a:buFontTx/>
                <a:buNone/>
                <a:defRPr/>
              </a:pPr>
              <a:endParaRPr kumimoji="0" lang="zh-CN" alt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楷体" panose="02010609060101010101" pitchFamily="49" charset="-122"/>
              </a:endParaRPr>
            </a:p>
          </p:txBody>
        </p:sp>
        <p:sp>
          <p:nvSpPr>
            <p:cNvPr id="1211" name="矩形 1210"/>
            <p:cNvSpPr/>
            <p:nvPr/>
          </p:nvSpPr>
          <p:spPr>
            <a:xfrm>
              <a:off x="9399081" y="2753362"/>
              <a:ext cx="448218" cy="517900"/>
            </a:xfrm>
            <a:prstGeom prst="rect">
              <a:avLst/>
            </a:prstGeom>
          </p:spPr>
          <p:txBody>
            <a:bodyPr wrap="none">
              <a:spAutoFit/>
            </a:bodyPr>
            <a:lstStyle/>
            <a:p>
              <a:pPr marL="0" marR="0" lvl="0" indent="0" algn="ctr" defTabSz="914400" eaLnBrk="1" fontAlgn="auto" latinLnBrk="1"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rPr>
                <a:t>生</a:t>
              </a:r>
              <a:endPar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endParaRPr>
            </a:p>
          </p:txBody>
        </p:sp>
      </p:grpSp>
      <p:grpSp>
        <p:nvGrpSpPr>
          <p:cNvPr id="1212" name="组合 1211"/>
          <p:cNvGrpSpPr/>
          <p:nvPr/>
        </p:nvGrpSpPr>
        <p:grpSpPr>
          <a:xfrm>
            <a:off x="6822251" y="3992842"/>
            <a:ext cx="536013" cy="410765"/>
            <a:chOff x="9242852" y="2704672"/>
            <a:chExt cx="576000" cy="576000"/>
          </a:xfrm>
        </p:grpSpPr>
        <p:sp>
          <p:nvSpPr>
            <p:cNvPr id="1213" name="Oval 19"/>
            <p:cNvSpPr>
              <a:spLocks noChangeArrowheads="1"/>
            </p:cNvSpPr>
            <p:nvPr/>
          </p:nvSpPr>
          <p:spPr bwMode="auto">
            <a:xfrm>
              <a:off x="9242852" y="2704672"/>
              <a:ext cx="576000" cy="576000"/>
            </a:xfrm>
            <a:prstGeom prst="ellipse">
              <a:avLst/>
            </a:prstGeom>
            <a:solidFill>
              <a:sysClr val="window" lastClr="FFFFFF">
                <a:lumMod val="85000"/>
              </a:sysClr>
            </a:solidFill>
            <a:ln w="9525">
              <a:solidFill>
                <a:sysClr val="window" lastClr="FFFFFF"/>
              </a:solidFill>
              <a:round/>
            </a:ln>
            <a:effectLst/>
          </p:spPr>
          <p:txBody>
            <a:bodyPr anchor="ctr"/>
            <a:lstStyle/>
            <a:p>
              <a:pPr marL="0" marR="0" lvl="0" indent="0" algn="ctr" defTabSz="914400" eaLnBrk="1" fontAlgn="auto" latinLnBrk="0" hangingPunct="1">
                <a:lnSpc>
                  <a:spcPct val="120000"/>
                </a:lnSpc>
                <a:spcBef>
                  <a:spcPts val="0"/>
                </a:spcBef>
                <a:spcAft>
                  <a:spcPts val="0"/>
                </a:spcAft>
                <a:buClrTx/>
                <a:buSzTx/>
                <a:buFontTx/>
                <a:buNone/>
                <a:defRPr/>
              </a:pPr>
              <a:endParaRPr kumimoji="0" lang="zh-CN" alt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楷体" panose="02010609060101010101" pitchFamily="49" charset="-122"/>
              </a:endParaRPr>
            </a:p>
          </p:txBody>
        </p:sp>
        <p:sp>
          <p:nvSpPr>
            <p:cNvPr id="1214" name="矩形 1213"/>
            <p:cNvSpPr/>
            <p:nvPr/>
          </p:nvSpPr>
          <p:spPr>
            <a:xfrm>
              <a:off x="9300322" y="2729614"/>
              <a:ext cx="448218" cy="517900"/>
            </a:xfrm>
            <a:prstGeom prst="rect">
              <a:avLst/>
            </a:prstGeom>
          </p:spPr>
          <p:txBody>
            <a:bodyPr wrap="none">
              <a:spAutoFit/>
            </a:bodyPr>
            <a:lstStyle/>
            <a:p>
              <a:pPr marL="0" marR="0" lvl="0" indent="0" algn="ctr" defTabSz="914400" eaLnBrk="1" fontAlgn="auto" latinLnBrk="1"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rPr>
                <a:t>老</a:t>
              </a:r>
              <a:endPar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endParaRPr>
            </a:p>
          </p:txBody>
        </p:sp>
      </p:grpSp>
      <p:grpSp>
        <p:nvGrpSpPr>
          <p:cNvPr id="1215" name="组合 1214"/>
          <p:cNvGrpSpPr/>
          <p:nvPr/>
        </p:nvGrpSpPr>
        <p:grpSpPr>
          <a:xfrm>
            <a:off x="6778961" y="3047450"/>
            <a:ext cx="536013" cy="410765"/>
            <a:chOff x="9156437" y="2550310"/>
            <a:chExt cx="576000" cy="576000"/>
          </a:xfrm>
        </p:grpSpPr>
        <p:sp>
          <p:nvSpPr>
            <p:cNvPr id="1216" name="Oval 19"/>
            <p:cNvSpPr>
              <a:spLocks noChangeArrowheads="1"/>
            </p:cNvSpPr>
            <p:nvPr/>
          </p:nvSpPr>
          <p:spPr bwMode="auto">
            <a:xfrm>
              <a:off x="9156437" y="2550310"/>
              <a:ext cx="576000" cy="576000"/>
            </a:xfrm>
            <a:prstGeom prst="ellipse">
              <a:avLst/>
            </a:prstGeom>
            <a:solidFill>
              <a:sysClr val="window" lastClr="FFFFFF">
                <a:lumMod val="85000"/>
              </a:sysClr>
            </a:solidFill>
            <a:ln w="9525">
              <a:solidFill>
                <a:sysClr val="window" lastClr="FFFFFF"/>
              </a:solidFill>
              <a:round/>
            </a:ln>
            <a:effectLst/>
          </p:spPr>
          <p:txBody>
            <a:bodyPr anchor="ctr"/>
            <a:lstStyle/>
            <a:p>
              <a:pPr marL="0" marR="0" lvl="0" indent="0" algn="ctr" defTabSz="914400" eaLnBrk="1" fontAlgn="auto" latinLnBrk="0" hangingPunct="1">
                <a:lnSpc>
                  <a:spcPct val="120000"/>
                </a:lnSpc>
                <a:spcBef>
                  <a:spcPts val="0"/>
                </a:spcBef>
                <a:spcAft>
                  <a:spcPts val="0"/>
                </a:spcAft>
                <a:buClrTx/>
                <a:buSzTx/>
                <a:buFontTx/>
                <a:buNone/>
                <a:defRPr/>
              </a:pPr>
              <a:endParaRPr kumimoji="0" lang="zh-CN" alt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楷体" panose="02010609060101010101" pitchFamily="49" charset="-122"/>
              </a:endParaRPr>
            </a:p>
          </p:txBody>
        </p:sp>
        <p:sp>
          <p:nvSpPr>
            <p:cNvPr id="1217" name="矩形 1216"/>
            <p:cNvSpPr/>
            <p:nvPr/>
          </p:nvSpPr>
          <p:spPr>
            <a:xfrm>
              <a:off x="9213907" y="2575252"/>
              <a:ext cx="448218" cy="517900"/>
            </a:xfrm>
            <a:prstGeom prst="rect">
              <a:avLst/>
            </a:prstGeom>
          </p:spPr>
          <p:txBody>
            <a:bodyPr wrap="none">
              <a:spAutoFit/>
            </a:bodyPr>
            <a:lstStyle/>
            <a:p>
              <a:pPr marL="0" marR="0" lvl="0" indent="0" algn="ctr" defTabSz="914400" eaLnBrk="1" fontAlgn="auto" latinLnBrk="1"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rPr>
                <a:t>病</a:t>
              </a:r>
              <a:endPar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endParaRPr>
            </a:p>
          </p:txBody>
        </p:sp>
      </p:grpSp>
      <p:grpSp>
        <p:nvGrpSpPr>
          <p:cNvPr id="1218" name="组合 1217"/>
          <p:cNvGrpSpPr/>
          <p:nvPr/>
        </p:nvGrpSpPr>
        <p:grpSpPr>
          <a:xfrm>
            <a:off x="7701584" y="2320367"/>
            <a:ext cx="536013" cy="410765"/>
            <a:chOff x="9082367" y="2574058"/>
            <a:chExt cx="576000" cy="576000"/>
          </a:xfrm>
        </p:grpSpPr>
        <p:sp>
          <p:nvSpPr>
            <p:cNvPr id="1219" name="Oval 19"/>
            <p:cNvSpPr>
              <a:spLocks noChangeArrowheads="1"/>
            </p:cNvSpPr>
            <p:nvPr/>
          </p:nvSpPr>
          <p:spPr bwMode="auto">
            <a:xfrm>
              <a:off x="9082367" y="2574058"/>
              <a:ext cx="576000" cy="576000"/>
            </a:xfrm>
            <a:prstGeom prst="ellipse">
              <a:avLst/>
            </a:prstGeom>
            <a:solidFill>
              <a:sysClr val="window" lastClr="FFFFFF">
                <a:lumMod val="85000"/>
              </a:sysClr>
            </a:solidFill>
            <a:ln w="9525">
              <a:solidFill>
                <a:sysClr val="window" lastClr="FFFFFF"/>
              </a:solidFill>
              <a:round/>
            </a:ln>
            <a:effectLst/>
          </p:spPr>
          <p:txBody>
            <a:bodyPr anchor="ctr"/>
            <a:lstStyle/>
            <a:p>
              <a:pPr marL="0" marR="0" lvl="0" indent="0" algn="ctr" defTabSz="914400" eaLnBrk="1" fontAlgn="auto" latinLnBrk="0" hangingPunct="1">
                <a:lnSpc>
                  <a:spcPct val="120000"/>
                </a:lnSpc>
                <a:spcBef>
                  <a:spcPts val="0"/>
                </a:spcBef>
                <a:spcAft>
                  <a:spcPts val="0"/>
                </a:spcAft>
                <a:buClrTx/>
                <a:buSzTx/>
                <a:buFontTx/>
                <a:buNone/>
                <a:defRPr/>
              </a:pPr>
              <a:endParaRPr kumimoji="0" lang="zh-CN" altLang="en-US" sz="1600" b="1" i="0" u="none" strike="noStrike" kern="0" cap="none" spc="0" normalizeH="0" baseline="0" noProof="0" dirty="0">
                <a:ln>
                  <a:noFill/>
                </a:ln>
                <a:effectLst/>
                <a:uLnTx/>
                <a:uFillTx/>
                <a:latin typeface="华文楷体" panose="02010600040101010101" charset="-122"/>
                <a:ea typeface="华文楷体" panose="02010600040101010101" charset="-122"/>
                <a:cs typeface="楷体" panose="02010609060101010101" pitchFamily="49" charset="-122"/>
              </a:endParaRPr>
            </a:p>
          </p:txBody>
        </p:sp>
        <p:sp>
          <p:nvSpPr>
            <p:cNvPr id="1220" name="矩形 1219"/>
            <p:cNvSpPr/>
            <p:nvPr/>
          </p:nvSpPr>
          <p:spPr>
            <a:xfrm>
              <a:off x="9139836" y="2599000"/>
              <a:ext cx="448218" cy="517900"/>
            </a:xfrm>
            <a:prstGeom prst="rect">
              <a:avLst/>
            </a:prstGeom>
          </p:spPr>
          <p:txBody>
            <a:bodyPr wrap="none">
              <a:spAutoFit/>
            </a:bodyPr>
            <a:lstStyle/>
            <a:p>
              <a:pPr marL="0" marR="0" lvl="0" indent="0" algn="ctr" defTabSz="914400" eaLnBrk="1" fontAlgn="auto" latinLnBrk="1"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rPr>
                <a:t>养</a:t>
              </a:r>
              <a:endParaRPr kumimoji="0" lang="zh-CN" altLang="en-US" sz="1800" b="1" i="0" u="none" strike="noStrike" kern="0" cap="none" spc="0" normalizeH="0" baseline="0" noProof="0" dirty="0" smtClean="0">
                <a:ln>
                  <a:noFill/>
                </a:ln>
                <a:effectLst/>
                <a:uLnTx/>
                <a:uFillTx/>
                <a:latin typeface="华文楷体" panose="02010600040101010101" charset="-122"/>
                <a:ea typeface="华文楷体" panose="02010600040101010101" charset="-122"/>
                <a:cs typeface="楷体" panose="02010609060101010101" pitchFamily="49" charset="-122"/>
              </a:endParaRPr>
            </a:p>
          </p:txBody>
        </p:sp>
      </p:grpSp>
      <p:sp>
        <p:nvSpPr>
          <p:cNvPr id="1221" name="形状 1220"/>
          <p:cNvSpPr/>
          <p:nvPr/>
        </p:nvSpPr>
        <p:spPr>
          <a:xfrm rot="5951578">
            <a:off x="8513880" y="2751392"/>
            <a:ext cx="351874" cy="387693"/>
          </a:xfrm>
          <a:prstGeom prst="swooshArrow">
            <a:avLst>
              <a:gd name="adj1" fmla="val 31396"/>
              <a:gd name="adj2" fmla="val 31370"/>
            </a:avLst>
          </a:prstGeom>
          <a:solidFill>
            <a:srgbClr val="FF6600"/>
          </a:solidFill>
          <a:ln w="12700" cap="flat" cmpd="sng" algn="ctr">
            <a:noFill/>
            <a:prstDash val="solid"/>
            <a:miter lim="800000"/>
          </a:ln>
          <a:effectLst/>
        </p:spPr>
        <p:txBody>
          <a:bodyPr/>
          <a:lstStyle/>
          <a:p>
            <a:pPr marL="0" marR="0" lvl="0" indent="0" defTabSz="91440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5805"/>
              </a:solidFill>
              <a:effectLst/>
              <a:uLnTx/>
              <a:uFillTx/>
              <a:latin typeface="华文楷体" panose="02010600040101010101" charset="-122"/>
              <a:ea typeface="华文楷体" panose="02010600040101010101" charset="-122"/>
            </a:endParaRPr>
          </a:p>
        </p:txBody>
      </p:sp>
      <p:sp>
        <p:nvSpPr>
          <p:cNvPr id="1222" name="形状 1221"/>
          <p:cNvSpPr/>
          <p:nvPr/>
        </p:nvSpPr>
        <p:spPr>
          <a:xfrm rot="17355838">
            <a:off x="8546131" y="4129015"/>
            <a:ext cx="351874" cy="387693"/>
          </a:xfrm>
          <a:prstGeom prst="swooshArrow">
            <a:avLst>
              <a:gd name="adj1" fmla="val 31396"/>
              <a:gd name="adj2" fmla="val 31370"/>
            </a:avLst>
          </a:prstGeom>
          <a:solidFill>
            <a:srgbClr val="FF6600"/>
          </a:solidFill>
          <a:ln w="12700" cap="flat" cmpd="sng" algn="ctr">
            <a:noFill/>
            <a:prstDash val="solid"/>
            <a:miter lim="800000"/>
          </a:ln>
          <a:effectLst/>
        </p:spPr>
        <p:txBody>
          <a:bodyPr/>
          <a:lstStyle/>
          <a:p>
            <a:pPr marL="0" marR="0" lvl="0" indent="0" defTabSz="91440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5805"/>
              </a:solidFill>
              <a:effectLst/>
              <a:uLnTx/>
              <a:uFillTx/>
              <a:latin typeface="华文楷体" panose="02010600040101010101" charset="-122"/>
              <a:ea typeface="华文楷体" panose="02010600040101010101" charset="-122"/>
            </a:endParaRPr>
          </a:p>
        </p:txBody>
      </p:sp>
      <p:sp>
        <p:nvSpPr>
          <p:cNvPr id="1223" name="形状 1222"/>
          <p:cNvSpPr/>
          <p:nvPr/>
        </p:nvSpPr>
        <p:spPr>
          <a:xfrm rot="1500458">
            <a:off x="7247729" y="3553773"/>
            <a:ext cx="477377" cy="285767"/>
          </a:xfrm>
          <a:prstGeom prst="swooshArrow">
            <a:avLst>
              <a:gd name="adj1" fmla="val 31396"/>
              <a:gd name="adj2" fmla="val 31370"/>
            </a:avLst>
          </a:prstGeom>
          <a:solidFill>
            <a:srgbClr val="FF6600"/>
          </a:solidFill>
          <a:ln w="12700" cap="flat" cmpd="sng" algn="ctr">
            <a:noFill/>
            <a:prstDash val="solid"/>
            <a:miter lim="800000"/>
          </a:ln>
          <a:effectLst/>
        </p:spPr>
        <p:txBody>
          <a:bodyPr/>
          <a:lstStyle/>
          <a:p>
            <a:pPr marL="0" marR="0" lvl="0" indent="0" defTabSz="91440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5805"/>
              </a:solidFill>
              <a:effectLst/>
              <a:uLnTx/>
              <a:uFillTx/>
              <a:latin typeface="华文楷体" panose="02010600040101010101" charset="-122"/>
              <a:ea typeface="华文楷体" panose="02010600040101010101" charset="-122"/>
            </a:endParaRPr>
          </a:p>
        </p:txBody>
      </p:sp>
      <p:sp>
        <p:nvSpPr>
          <p:cNvPr id="1224" name="形状 1223"/>
          <p:cNvSpPr/>
          <p:nvPr/>
        </p:nvSpPr>
        <p:spPr>
          <a:xfrm rot="11894647">
            <a:off x="9634449" y="3497874"/>
            <a:ext cx="477377" cy="285767"/>
          </a:xfrm>
          <a:prstGeom prst="swooshArrow">
            <a:avLst>
              <a:gd name="adj1" fmla="val 31396"/>
              <a:gd name="adj2" fmla="val 31370"/>
            </a:avLst>
          </a:prstGeom>
          <a:solidFill>
            <a:srgbClr val="FF6600"/>
          </a:solidFill>
          <a:ln w="12700" cap="flat" cmpd="sng" algn="ctr">
            <a:noFill/>
            <a:prstDash val="solid"/>
            <a:miter lim="800000"/>
          </a:ln>
          <a:effectLst/>
        </p:spPr>
        <p:txBody>
          <a:bodyPr/>
          <a:lstStyle/>
          <a:p>
            <a:pPr marL="0" marR="0" lvl="0" indent="0" defTabSz="91440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5805"/>
              </a:solidFill>
              <a:effectLst/>
              <a:uLnTx/>
              <a:uFillTx/>
              <a:latin typeface="华文楷体" panose="02010600040101010101" charset="-122"/>
              <a:ea typeface="华文楷体" panose="02010600040101010101" charset="-122"/>
            </a:endParaRPr>
          </a:p>
        </p:txBody>
      </p:sp>
      <p:grpSp>
        <p:nvGrpSpPr>
          <p:cNvPr id="1225" name="组合 1224"/>
          <p:cNvGrpSpPr/>
          <p:nvPr/>
        </p:nvGrpSpPr>
        <p:grpSpPr>
          <a:xfrm>
            <a:off x="7107663" y="2549724"/>
            <a:ext cx="239988" cy="276919"/>
            <a:chOff x="2455009" y="1330550"/>
            <a:chExt cx="303212" cy="474662"/>
          </a:xfrm>
        </p:grpSpPr>
        <p:sp>
          <p:nvSpPr>
            <p:cNvPr id="1226" name="Freeform 14"/>
            <p:cNvSpPr/>
            <p:nvPr/>
          </p:nvSpPr>
          <p:spPr bwMode="auto">
            <a:xfrm>
              <a:off x="2572484" y="1330550"/>
              <a:ext cx="69850" cy="0"/>
            </a:xfrm>
            <a:custGeom>
              <a:avLst/>
              <a:gdLst>
                <a:gd name="T0" fmla="*/ 9 w 9"/>
                <a:gd name="T1" fmla="*/ 0 w 9"/>
                <a:gd name="T2" fmla="*/ 5 w 9"/>
                <a:gd name="T3" fmla="*/ 9 w 9"/>
              </a:gdLst>
              <a:ahLst/>
              <a:cxnLst>
                <a:cxn ang="0">
                  <a:pos x="T0" y="0"/>
                </a:cxn>
                <a:cxn ang="0">
                  <a:pos x="T1" y="0"/>
                </a:cxn>
                <a:cxn ang="0">
                  <a:pos x="T2" y="0"/>
                </a:cxn>
                <a:cxn ang="0">
                  <a:pos x="T3" y="0"/>
                </a:cxn>
              </a:cxnLst>
              <a:rect l="0" t="0" r="r" b="b"/>
              <a:pathLst>
                <a:path w="9">
                  <a:moveTo>
                    <a:pt x="9" y="0"/>
                  </a:moveTo>
                  <a:cubicBezTo>
                    <a:pt x="0" y="0"/>
                    <a:pt x="0" y="0"/>
                    <a:pt x="0" y="0"/>
                  </a:cubicBezTo>
                  <a:cubicBezTo>
                    <a:pt x="2" y="0"/>
                    <a:pt x="3" y="0"/>
                    <a:pt x="5" y="0"/>
                  </a:cubicBezTo>
                  <a:cubicBezTo>
                    <a:pt x="6" y="0"/>
                    <a:pt x="7" y="0"/>
                    <a:pt x="9" y="0"/>
                  </a:cubicBezTo>
                  <a:close/>
                </a:path>
              </a:pathLst>
            </a:custGeom>
            <a:solidFill>
              <a:srgbClr val="40A5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latinLnBrk="1"/>
              <a:endParaRPr lang="zh-CN" altLang="en-US">
                <a:solidFill>
                  <a:srgbClr val="FF5805"/>
                </a:solidFill>
                <a:latin typeface="华文楷体" panose="02010600040101010101" charset="-122"/>
                <a:ea typeface="华文楷体" panose="02010600040101010101" charset="-122"/>
              </a:endParaRPr>
            </a:p>
          </p:txBody>
        </p:sp>
        <p:sp>
          <p:nvSpPr>
            <p:cNvPr id="1227" name="Freeform 2194"/>
            <p:cNvSpPr/>
            <p:nvPr/>
          </p:nvSpPr>
          <p:spPr bwMode="auto">
            <a:xfrm>
              <a:off x="2455009" y="1595662"/>
              <a:ext cx="209550" cy="209550"/>
            </a:xfrm>
            <a:custGeom>
              <a:avLst/>
              <a:gdLst>
                <a:gd name="T0" fmla="*/ 18 w 27"/>
                <a:gd name="T1" fmla="*/ 24 h 27"/>
                <a:gd name="T2" fmla="*/ 10 w 27"/>
                <a:gd name="T3" fmla="*/ 27 h 27"/>
                <a:gd name="T4" fmla="*/ 3 w 27"/>
                <a:gd name="T5" fmla="*/ 24 h 27"/>
                <a:gd name="T6" fmla="*/ 3 w 27"/>
                <a:gd name="T7" fmla="*/ 24 h 27"/>
                <a:gd name="T8" fmla="*/ 0 w 27"/>
                <a:gd name="T9" fmla="*/ 17 h 27"/>
                <a:gd name="T10" fmla="*/ 3 w 27"/>
                <a:gd name="T11" fmla="*/ 9 h 27"/>
                <a:gd name="T12" fmla="*/ 3 w 27"/>
                <a:gd name="T13" fmla="*/ 9 h 27"/>
                <a:gd name="T14" fmla="*/ 12 w 27"/>
                <a:gd name="T15" fmla="*/ 0 h 27"/>
                <a:gd name="T16" fmla="*/ 14 w 27"/>
                <a:gd name="T17" fmla="*/ 2 h 27"/>
                <a:gd name="T18" fmla="*/ 15 w 27"/>
                <a:gd name="T19" fmla="*/ 3 h 27"/>
                <a:gd name="T20" fmla="*/ 21 w 27"/>
                <a:gd name="T21" fmla="*/ 9 h 27"/>
                <a:gd name="T22" fmla="*/ 25 w 27"/>
                <a:gd name="T23" fmla="*/ 12 h 27"/>
                <a:gd name="T24" fmla="*/ 27 w 27"/>
                <a:gd name="T25" fmla="*/ 15 h 27"/>
                <a:gd name="T26" fmla="*/ 18 w 27"/>
                <a:gd name="T2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7">
                  <a:moveTo>
                    <a:pt x="18" y="24"/>
                  </a:moveTo>
                  <a:cubicBezTo>
                    <a:pt x="16" y="26"/>
                    <a:pt x="13" y="27"/>
                    <a:pt x="10" y="27"/>
                  </a:cubicBezTo>
                  <a:cubicBezTo>
                    <a:pt x="8" y="27"/>
                    <a:pt x="5" y="26"/>
                    <a:pt x="3" y="24"/>
                  </a:cubicBezTo>
                  <a:cubicBezTo>
                    <a:pt x="3" y="24"/>
                    <a:pt x="3" y="24"/>
                    <a:pt x="3" y="24"/>
                  </a:cubicBezTo>
                  <a:cubicBezTo>
                    <a:pt x="1" y="22"/>
                    <a:pt x="0" y="19"/>
                    <a:pt x="0" y="17"/>
                  </a:cubicBezTo>
                  <a:cubicBezTo>
                    <a:pt x="0" y="14"/>
                    <a:pt x="1" y="11"/>
                    <a:pt x="3" y="9"/>
                  </a:cubicBezTo>
                  <a:cubicBezTo>
                    <a:pt x="3" y="9"/>
                    <a:pt x="3" y="9"/>
                    <a:pt x="3" y="9"/>
                  </a:cubicBezTo>
                  <a:cubicBezTo>
                    <a:pt x="12" y="0"/>
                    <a:pt x="12" y="0"/>
                    <a:pt x="12" y="0"/>
                  </a:cubicBezTo>
                  <a:cubicBezTo>
                    <a:pt x="14" y="2"/>
                    <a:pt x="14" y="2"/>
                    <a:pt x="14" y="2"/>
                  </a:cubicBezTo>
                  <a:cubicBezTo>
                    <a:pt x="15" y="3"/>
                    <a:pt x="15" y="3"/>
                    <a:pt x="15" y="3"/>
                  </a:cubicBezTo>
                  <a:cubicBezTo>
                    <a:pt x="21" y="9"/>
                    <a:pt x="21" y="9"/>
                    <a:pt x="21" y="9"/>
                  </a:cubicBezTo>
                  <a:cubicBezTo>
                    <a:pt x="25" y="12"/>
                    <a:pt x="25" y="12"/>
                    <a:pt x="25" y="12"/>
                  </a:cubicBezTo>
                  <a:cubicBezTo>
                    <a:pt x="27" y="15"/>
                    <a:pt x="27" y="15"/>
                    <a:pt x="27" y="15"/>
                  </a:cubicBezTo>
                  <a:lnTo>
                    <a:pt x="18" y="24"/>
                  </a:lnTo>
                  <a:close/>
                </a:path>
              </a:pathLst>
            </a:custGeom>
            <a:solidFill>
              <a:srgbClr val="DAE1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latinLnBrk="1"/>
              <a:endParaRPr lang="zh-CN" altLang="en-US">
                <a:solidFill>
                  <a:srgbClr val="FF5805"/>
                </a:solidFill>
                <a:latin typeface="华文楷体" panose="02010600040101010101" charset="-122"/>
                <a:ea typeface="华文楷体" panose="02010600040101010101" charset="-122"/>
              </a:endParaRPr>
            </a:p>
          </p:txBody>
        </p:sp>
        <p:sp>
          <p:nvSpPr>
            <p:cNvPr id="1228" name="Freeform 2195"/>
            <p:cNvSpPr/>
            <p:nvPr/>
          </p:nvSpPr>
          <p:spPr bwMode="auto">
            <a:xfrm>
              <a:off x="2455009" y="1595662"/>
              <a:ext cx="155575" cy="185738"/>
            </a:xfrm>
            <a:custGeom>
              <a:avLst/>
              <a:gdLst>
                <a:gd name="T0" fmla="*/ 3 w 20"/>
                <a:gd name="T1" fmla="*/ 24 h 24"/>
                <a:gd name="T2" fmla="*/ 0 w 20"/>
                <a:gd name="T3" fmla="*/ 17 h 24"/>
                <a:gd name="T4" fmla="*/ 3 w 20"/>
                <a:gd name="T5" fmla="*/ 9 h 24"/>
                <a:gd name="T6" fmla="*/ 3 w 20"/>
                <a:gd name="T7" fmla="*/ 9 h 24"/>
                <a:gd name="T8" fmla="*/ 12 w 20"/>
                <a:gd name="T9" fmla="*/ 0 h 24"/>
                <a:gd name="T10" fmla="*/ 14 w 20"/>
                <a:gd name="T11" fmla="*/ 2 h 24"/>
                <a:gd name="T12" fmla="*/ 15 w 20"/>
                <a:gd name="T13" fmla="*/ 3 h 24"/>
                <a:gd name="T14" fmla="*/ 20 w 20"/>
                <a:gd name="T15" fmla="*/ 7 h 24"/>
                <a:gd name="T16" fmla="*/ 3 w 20"/>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3" y="24"/>
                  </a:moveTo>
                  <a:cubicBezTo>
                    <a:pt x="1" y="22"/>
                    <a:pt x="0" y="19"/>
                    <a:pt x="0" y="17"/>
                  </a:cubicBezTo>
                  <a:cubicBezTo>
                    <a:pt x="0" y="14"/>
                    <a:pt x="1" y="11"/>
                    <a:pt x="3" y="9"/>
                  </a:cubicBezTo>
                  <a:cubicBezTo>
                    <a:pt x="3" y="9"/>
                    <a:pt x="3" y="9"/>
                    <a:pt x="3" y="9"/>
                  </a:cubicBezTo>
                  <a:cubicBezTo>
                    <a:pt x="12" y="0"/>
                    <a:pt x="12" y="0"/>
                    <a:pt x="12" y="0"/>
                  </a:cubicBezTo>
                  <a:cubicBezTo>
                    <a:pt x="14" y="2"/>
                    <a:pt x="14" y="2"/>
                    <a:pt x="14" y="2"/>
                  </a:cubicBezTo>
                  <a:cubicBezTo>
                    <a:pt x="15" y="3"/>
                    <a:pt x="15" y="3"/>
                    <a:pt x="15" y="3"/>
                  </a:cubicBezTo>
                  <a:cubicBezTo>
                    <a:pt x="20" y="7"/>
                    <a:pt x="20" y="7"/>
                    <a:pt x="20" y="7"/>
                  </a:cubicBezTo>
                  <a:lnTo>
                    <a:pt x="3" y="24"/>
                  </a:lnTo>
                  <a:close/>
                </a:path>
              </a:pathLst>
            </a:custGeom>
            <a:solidFill>
              <a:srgbClr val="ECF0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latinLnBrk="1"/>
              <a:endParaRPr lang="zh-CN" altLang="en-US">
                <a:solidFill>
                  <a:srgbClr val="FF5805"/>
                </a:solidFill>
                <a:latin typeface="华文楷体" panose="02010600040101010101" charset="-122"/>
                <a:ea typeface="华文楷体" panose="02010600040101010101" charset="-122"/>
              </a:endParaRPr>
            </a:p>
          </p:txBody>
        </p:sp>
        <p:sp>
          <p:nvSpPr>
            <p:cNvPr id="1229" name="Freeform 2196"/>
            <p:cNvSpPr/>
            <p:nvPr/>
          </p:nvSpPr>
          <p:spPr bwMode="auto">
            <a:xfrm>
              <a:off x="2540734" y="1502000"/>
              <a:ext cx="217487" cy="217488"/>
            </a:xfrm>
            <a:custGeom>
              <a:avLst/>
              <a:gdLst>
                <a:gd name="T0" fmla="*/ 25 w 28"/>
                <a:gd name="T1" fmla="*/ 19 h 28"/>
                <a:gd name="T2" fmla="*/ 28 w 28"/>
                <a:gd name="T3" fmla="*/ 11 h 28"/>
                <a:gd name="T4" fmla="*/ 25 w 28"/>
                <a:gd name="T5" fmla="*/ 3 h 28"/>
                <a:gd name="T6" fmla="*/ 25 w 28"/>
                <a:gd name="T7" fmla="*/ 3 h 28"/>
                <a:gd name="T8" fmla="*/ 17 w 28"/>
                <a:gd name="T9" fmla="*/ 0 h 28"/>
                <a:gd name="T10" fmla="*/ 9 w 28"/>
                <a:gd name="T11" fmla="*/ 3 h 28"/>
                <a:gd name="T12" fmla="*/ 9 w 28"/>
                <a:gd name="T13" fmla="*/ 3 h 28"/>
                <a:gd name="T14" fmla="*/ 0 w 28"/>
                <a:gd name="T15" fmla="*/ 12 h 28"/>
                <a:gd name="T16" fmla="*/ 2 w 28"/>
                <a:gd name="T17" fmla="*/ 15 h 28"/>
                <a:gd name="T18" fmla="*/ 3 w 28"/>
                <a:gd name="T19" fmla="*/ 16 h 28"/>
                <a:gd name="T20" fmla="*/ 9 w 28"/>
                <a:gd name="T21" fmla="*/ 22 h 28"/>
                <a:gd name="T22" fmla="*/ 13 w 28"/>
                <a:gd name="T23" fmla="*/ 26 h 28"/>
                <a:gd name="T24" fmla="*/ 16 w 28"/>
                <a:gd name="T25" fmla="*/ 28 h 28"/>
                <a:gd name="T26" fmla="*/ 25 w 28"/>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8">
                  <a:moveTo>
                    <a:pt x="25" y="19"/>
                  </a:moveTo>
                  <a:cubicBezTo>
                    <a:pt x="27" y="17"/>
                    <a:pt x="28" y="14"/>
                    <a:pt x="28" y="11"/>
                  </a:cubicBezTo>
                  <a:cubicBezTo>
                    <a:pt x="28" y="8"/>
                    <a:pt x="27" y="6"/>
                    <a:pt x="25" y="3"/>
                  </a:cubicBezTo>
                  <a:cubicBezTo>
                    <a:pt x="25" y="3"/>
                    <a:pt x="25" y="3"/>
                    <a:pt x="25" y="3"/>
                  </a:cubicBezTo>
                  <a:cubicBezTo>
                    <a:pt x="22" y="1"/>
                    <a:pt x="20" y="0"/>
                    <a:pt x="17" y="0"/>
                  </a:cubicBezTo>
                  <a:cubicBezTo>
                    <a:pt x="14" y="0"/>
                    <a:pt x="11" y="1"/>
                    <a:pt x="9" y="3"/>
                  </a:cubicBezTo>
                  <a:cubicBezTo>
                    <a:pt x="9" y="3"/>
                    <a:pt x="9" y="3"/>
                    <a:pt x="9" y="3"/>
                  </a:cubicBezTo>
                  <a:cubicBezTo>
                    <a:pt x="0" y="12"/>
                    <a:pt x="0" y="12"/>
                    <a:pt x="0" y="12"/>
                  </a:cubicBezTo>
                  <a:cubicBezTo>
                    <a:pt x="2" y="15"/>
                    <a:pt x="2" y="15"/>
                    <a:pt x="2" y="15"/>
                  </a:cubicBezTo>
                  <a:cubicBezTo>
                    <a:pt x="3" y="16"/>
                    <a:pt x="3" y="16"/>
                    <a:pt x="3" y="16"/>
                  </a:cubicBezTo>
                  <a:cubicBezTo>
                    <a:pt x="9" y="22"/>
                    <a:pt x="9" y="22"/>
                    <a:pt x="9" y="22"/>
                  </a:cubicBezTo>
                  <a:cubicBezTo>
                    <a:pt x="13" y="26"/>
                    <a:pt x="13" y="26"/>
                    <a:pt x="13" y="26"/>
                  </a:cubicBezTo>
                  <a:cubicBezTo>
                    <a:pt x="16" y="28"/>
                    <a:pt x="16" y="28"/>
                    <a:pt x="16" y="28"/>
                  </a:cubicBezTo>
                  <a:lnTo>
                    <a:pt x="25" y="19"/>
                  </a:lnTo>
                  <a:close/>
                </a:path>
              </a:pathLst>
            </a:custGeom>
            <a:solidFill>
              <a:srgbClr val="C0392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latinLnBrk="1"/>
              <a:endParaRPr lang="zh-CN" altLang="en-US">
                <a:solidFill>
                  <a:srgbClr val="FF5805"/>
                </a:solidFill>
                <a:latin typeface="华文楷体" panose="02010600040101010101" charset="-122"/>
                <a:ea typeface="华文楷体" panose="02010600040101010101" charset="-122"/>
              </a:endParaRPr>
            </a:p>
          </p:txBody>
        </p:sp>
        <p:sp>
          <p:nvSpPr>
            <p:cNvPr id="1230" name="Freeform 2197"/>
            <p:cNvSpPr/>
            <p:nvPr/>
          </p:nvSpPr>
          <p:spPr bwMode="auto">
            <a:xfrm>
              <a:off x="2540734" y="1502000"/>
              <a:ext cx="195262" cy="155575"/>
            </a:xfrm>
            <a:custGeom>
              <a:avLst/>
              <a:gdLst>
                <a:gd name="T0" fmla="*/ 25 w 25"/>
                <a:gd name="T1" fmla="*/ 3 h 20"/>
                <a:gd name="T2" fmla="*/ 8 w 25"/>
                <a:gd name="T3" fmla="*/ 20 h 20"/>
                <a:gd name="T4" fmla="*/ 3 w 25"/>
                <a:gd name="T5" fmla="*/ 16 h 20"/>
                <a:gd name="T6" fmla="*/ 2 w 25"/>
                <a:gd name="T7" fmla="*/ 15 h 20"/>
                <a:gd name="T8" fmla="*/ 0 w 25"/>
                <a:gd name="T9" fmla="*/ 12 h 20"/>
                <a:gd name="T10" fmla="*/ 9 w 25"/>
                <a:gd name="T11" fmla="*/ 3 h 20"/>
                <a:gd name="T12" fmla="*/ 9 w 25"/>
                <a:gd name="T13" fmla="*/ 3 h 20"/>
                <a:gd name="T14" fmla="*/ 17 w 25"/>
                <a:gd name="T15" fmla="*/ 0 h 20"/>
                <a:gd name="T16" fmla="*/ 25 w 25"/>
                <a:gd name="T1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0">
                  <a:moveTo>
                    <a:pt x="25" y="3"/>
                  </a:moveTo>
                  <a:cubicBezTo>
                    <a:pt x="8" y="20"/>
                    <a:pt x="8" y="20"/>
                    <a:pt x="8" y="20"/>
                  </a:cubicBezTo>
                  <a:cubicBezTo>
                    <a:pt x="3" y="16"/>
                    <a:pt x="3" y="16"/>
                    <a:pt x="3" y="16"/>
                  </a:cubicBezTo>
                  <a:cubicBezTo>
                    <a:pt x="2" y="15"/>
                    <a:pt x="2" y="15"/>
                    <a:pt x="2" y="15"/>
                  </a:cubicBezTo>
                  <a:cubicBezTo>
                    <a:pt x="0" y="12"/>
                    <a:pt x="0" y="12"/>
                    <a:pt x="0" y="12"/>
                  </a:cubicBezTo>
                  <a:cubicBezTo>
                    <a:pt x="9" y="3"/>
                    <a:pt x="9" y="3"/>
                    <a:pt x="9" y="3"/>
                  </a:cubicBezTo>
                  <a:cubicBezTo>
                    <a:pt x="9" y="3"/>
                    <a:pt x="9" y="3"/>
                    <a:pt x="9" y="3"/>
                  </a:cubicBezTo>
                  <a:cubicBezTo>
                    <a:pt x="11" y="1"/>
                    <a:pt x="14" y="0"/>
                    <a:pt x="17" y="0"/>
                  </a:cubicBezTo>
                  <a:cubicBezTo>
                    <a:pt x="20" y="0"/>
                    <a:pt x="22" y="1"/>
                    <a:pt x="25" y="3"/>
                  </a:cubicBezTo>
                  <a:close/>
                </a:path>
              </a:pathLst>
            </a:custGeom>
            <a:solidFill>
              <a:srgbClr val="F05A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latinLnBrk="1"/>
              <a:endParaRPr lang="zh-CN" altLang="en-US">
                <a:solidFill>
                  <a:srgbClr val="FF5805"/>
                </a:solidFill>
                <a:latin typeface="华文楷体" panose="02010600040101010101" charset="-122"/>
                <a:ea typeface="华文楷体" panose="02010600040101010101" charset="-122"/>
              </a:endParaRPr>
            </a:p>
          </p:txBody>
        </p:sp>
      </p:grpSp>
      <p:pic>
        <p:nvPicPr>
          <p:cNvPr id="1231" name="Picture 2"/>
          <p:cNvPicPr>
            <a:picLocks noChangeAspect="1" noChangeArrowheads="1"/>
          </p:cNvPicPr>
          <p:nvPr/>
        </p:nvPicPr>
        <p:blipFill>
          <a:blip r:embed="rId10">
            <a:clrChange>
              <a:clrFrom>
                <a:srgbClr val="FCFCFC"/>
              </a:clrFrom>
              <a:clrTo>
                <a:srgbClr val="FCFCFC">
                  <a:alpha val="0"/>
                </a:srgbClr>
              </a:clrTo>
            </a:clrChange>
          </a:blip>
          <a:srcRect/>
          <a:stretch>
            <a:fillRect/>
          </a:stretch>
        </p:blipFill>
        <p:spPr bwMode="auto">
          <a:xfrm>
            <a:off x="8431826" y="2161885"/>
            <a:ext cx="395588" cy="248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32" name="矩形 1231"/>
          <p:cNvSpPr/>
          <p:nvPr/>
        </p:nvSpPr>
        <p:spPr>
          <a:xfrm>
            <a:off x="7896691" y="3586818"/>
            <a:ext cx="1584199" cy="432021"/>
          </a:xfrm>
          <a:prstGeom prst="rect">
            <a:avLst/>
          </a:prstGeom>
          <a:no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000" b="1" i="0" u="none" strike="noStrike" kern="0" cap="none" spc="0" normalizeH="0" baseline="0" noProof="0" dirty="0" smtClean="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rPr>
              <a:t>xx</a:t>
            </a:r>
            <a:endParaRPr kumimoji="0" lang="en-US" sz="2000" b="1" i="0" u="none" strike="noStrike" kern="0" cap="none" spc="0" normalizeH="0" baseline="0" noProof="0" dirty="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endParaRPr>
          </a:p>
        </p:txBody>
      </p:sp>
      <p:grpSp>
        <p:nvGrpSpPr>
          <p:cNvPr id="1233" name="组合 1232"/>
          <p:cNvGrpSpPr/>
          <p:nvPr/>
        </p:nvGrpSpPr>
        <p:grpSpPr>
          <a:xfrm>
            <a:off x="7688895" y="3352728"/>
            <a:ext cx="1584199" cy="267279"/>
            <a:chOff x="7554414" y="3613618"/>
            <a:chExt cx="1575003" cy="262013"/>
          </a:xfrm>
        </p:grpSpPr>
        <p:pic>
          <p:nvPicPr>
            <p:cNvPr id="1234" name="Picture 5" descr="D:\Users\HONGZHIJUN974\Downloads\信用卡.png"/>
            <p:cNvPicPr>
              <a:picLocks noChangeAspect="1" noChangeArrowheads="1"/>
            </p:cNvPicPr>
            <p:nvPr/>
          </p:nvPicPr>
          <p:blipFill>
            <a:blip r:embed="rId11" cstate="screen"/>
            <a:srcRect/>
            <a:stretch>
              <a:fillRect/>
            </a:stretch>
          </p:blipFill>
          <p:spPr bwMode="auto">
            <a:xfrm>
              <a:off x="8671485" y="3644212"/>
              <a:ext cx="457932" cy="224350"/>
            </a:xfrm>
            <a:prstGeom prst="rect">
              <a:avLst/>
            </a:prstGeom>
            <a:noFill/>
            <a:extLst>
              <a:ext uri="{909E8E84-426E-40DD-AFC4-6F175D3DCCD1}">
                <a14:hiddenFill xmlns:a14="http://schemas.microsoft.com/office/drawing/2010/main">
                  <a:solidFill>
                    <a:srgbClr val="FFFFFF"/>
                  </a:solidFill>
                </a14:hiddenFill>
              </a:ext>
            </a:extLst>
          </p:spPr>
        </p:pic>
        <p:sp>
          <p:nvSpPr>
            <p:cNvPr id="1235" name="矩形 1234"/>
            <p:cNvSpPr/>
            <p:nvPr/>
          </p:nvSpPr>
          <p:spPr>
            <a:xfrm>
              <a:off x="7554414" y="3613618"/>
              <a:ext cx="1551552" cy="262013"/>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1" i="0" u="none" strike="noStrike" kern="0" cap="none" spc="0" normalizeH="0" baseline="0" noProof="0" dirty="0" smtClean="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rPr>
                <a:t>xx</a:t>
              </a:r>
              <a:endParaRPr kumimoji="0" lang="en-US" sz="2400" b="1" i="0" u="none" strike="noStrike" kern="0" cap="none" spc="0" normalizeH="0" baseline="0" noProof="0" dirty="0" smtClean="0">
                <a:ln>
                  <a:noFill/>
                </a:ln>
                <a:solidFill>
                  <a:srgbClr val="FF5805"/>
                </a:solidFill>
                <a:effectLst/>
                <a:uLnTx/>
                <a:uFillTx/>
                <a:latin typeface="华文楷体" panose="02010600040101010101" charset="-122"/>
                <a:ea typeface="华文楷体" panose="02010600040101010101" charset="-122"/>
                <a:cs typeface="Arial" panose="020B0604020202020204" pitchFamily="34" charset="0"/>
              </a:endParaRPr>
            </a:p>
          </p:txBody>
        </p:sp>
      </p:grpSp>
      <p:sp>
        <p:nvSpPr>
          <p:cNvPr id="1236" name="Freeform 64"/>
          <p:cNvSpPr/>
          <p:nvPr>
            <p:custDataLst>
              <p:tags r:id="rId12"/>
            </p:custDataLst>
          </p:nvPr>
        </p:nvSpPr>
        <p:spPr bwMode="auto">
          <a:xfrm rot="5400000">
            <a:off x="3769933" y="4105205"/>
            <a:ext cx="237243" cy="83307"/>
          </a:xfrm>
          <a:custGeom>
            <a:avLst/>
            <a:gdLst>
              <a:gd name="T0" fmla="*/ 211 w 344"/>
              <a:gd name="T1" fmla="*/ 189 h 642"/>
              <a:gd name="T2" fmla="*/ 211 w 344"/>
              <a:gd name="T3" fmla="*/ 0 h 642"/>
              <a:gd name="T4" fmla="*/ 134 w 344"/>
              <a:gd name="T5" fmla="*/ 0 h 642"/>
              <a:gd name="T6" fmla="*/ 134 w 344"/>
              <a:gd name="T7" fmla="*/ 189 h 642"/>
              <a:gd name="T8" fmla="*/ 0 w 344"/>
              <a:gd name="T9" fmla="*/ 355 h 642"/>
              <a:gd name="T10" fmla="*/ 0 w 344"/>
              <a:gd name="T11" fmla="*/ 357 h 642"/>
              <a:gd name="T12" fmla="*/ 0 w 344"/>
              <a:gd name="T13" fmla="*/ 529 h 642"/>
              <a:gd name="T14" fmla="*/ 43 w 344"/>
              <a:gd name="T15" fmla="*/ 529 h 642"/>
              <a:gd name="T16" fmla="*/ 43 w 344"/>
              <a:gd name="T17" fmla="*/ 642 h 642"/>
              <a:gd name="T18" fmla="*/ 82 w 344"/>
              <a:gd name="T19" fmla="*/ 642 h 642"/>
              <a:gd name="T20" fmla="*/ 82 w 344"/>
              <a:gd name="T21" fmla="*/ 529 h 642"/>
              <a:gd name="T22" fmla="*/ 263 w 344"/>
              <a:gd name="T23" fmla="*/ 529 h 642"/>
              <a:gd name="T24" fmla="*/ 263 w 344"/>
              <a:gd name="T25" fmla="*/ 642 h 642"/>
              <a:gd name="T26" fmla="*/ 302 w 344"/>
              <a:gd name="T27" fmla="*/ 642 h 642"/>
              <a:gd name="T28" fmla="*/ 302 w 344"/>
              <a:gd name="T29" fmla="*/ 529 h 642"/>
              <a:gd name="T30" fmla="*/ 344 w 344"/>
              <a:gd name="T31" fmla="*/ 529 h 642"/>
              <a:gd name="T32" fmla="*/ 344 w 344"/>
              <a:gd name="T33" fmla="*/ 357 h 642"/>
              <a:gd name="T34" fmla="*/ 344 w 344"/>
              <a:gd name="T35" fmla="*/ 355 h 642"/>
              <a:gd name="T36" fmla="*/ 211 w 344"/>
              <a:gd name="T37" fmla="*/ 18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642">
                <a:moveTo>
                  <a:pt x="211" y="189"/>
                </a:moveTo>
                <a:cubicBezTo>
                  <a:pt x="211" y="0"/>
                  <a:pt x="211" y="0"/>
                  <a:pt x="211" y="0"/>
                </a:cubicBezTo>
                <a:cubicBezTo>
                  <a:pt x="134" y="0"/>
                  <a:pt x="134" y="0"/>
                  <a:pt x="134" y="0"/>
                </a:cubicBezTo>
                <a:cubicBezTo>
                  <a:pt x="134" y="189"/>
                  <a:pt x="134" y="189"/>
                  <a:pt x="134" y="189"/>
                </a:cubicBezTo>
                <a:cubicBezTo>
                  <a:pt x="57" y="206"/>
                  <a:pt x="0" y="274"/>
                  <a:pt x="0" y="355"/>
                </a:cubicBezTo>
                <a:cubicBezTo>
                  <a:pt x="0" y="357"/>
                  <a:pt x="0" y="357"/>
                  <a:pt x="0" y="357"/>
                </a:cubicBezTo>
                <a:cubicBezTo>
                  <a:pt x="0" y="529"/>
                  <a:pt x="0" y="529"/>
                  <a:pt x="0" y="529"/>
                </a:cubicBezTo>
                <a:cubicBezTo>
                  <a:pt x="43" y="529"/>
                  <a:pt x="43" y="529"/>
                  <a:pt x="43" y="529"/>
                </a:cubicBezTo>
                <a:cubicBezTo>
                  <a:pt x="43" y="642"/>
                  <a:pt x="43" y="642"/>
                  <a:pt x="43" y="642"/>
                </a:cubicBezTo>
                <a:cubicBezTo>
                  <a:pt x="82" y="642"/>
                  <a:pt x="82" y="642"/>
                  <a:pt x="82" y="642"/>
                </a:cubicBezTo>
                <a:cubicBezTo>
                  <a:pt x="82" y="529"/>
                  <a:pt x="82" y="529"/>
                  <a:pt x="82" y="529"/>
                </a:cubicBezTo>
                <a:cubicBezTo>
                  <a:pt x="263" y="529"/>
                  <a:pt x="263" y="529"/>
                  <a:pt x="263" y="529"/>
                </a:cubicBezTo>
                <a:cubicBezTo>
                  <a:pt x="263" y="642"/>
                  <a:pt x="263" y="642"/>
                  <a:pt x="263" y="642"/>
                </a:cubicBezTo>
                <a:cubicBezTo>
                  <a:pt x="302" y="642"/>
                  <a:pt x="302" y="642"/>
                  <a:pt x="302" y="642"/>
                </a:cubicBezTo>
                <a:cubicBezTo>
                  <a:pt x="302" y="529"/>
                  <a:pt x="302" y="529"/>
                  <a:pt x="302" y="529"/>
                </a:cubicBezTo>
                <a:cubicBezTo>
                  <a:pt x="344" y="529"/>
                  <a:pt x="344" y="529"/>
                  <a:pt x="344" y="529"/>
                </a:cubicBezTo>
                <a:cubicBezTo>
                  <a:pt x="344" y="357"/>
                  <a:pt x="344" y="357"/>
                  <a:pt x="344" y="357"/>
                </a:cubicBezTo>
                <a:cubicBezTo>
                  <a:pt x="344" y="355"/>
                  <a:pt x="344" y="355"/>
                  <a:pt x="344" y="355"/>
                </a:cubicBezTo>
                <a:cubicBezTo>
                  <a:pt x="344" y="274"/>
                  <a:pt x="287" y="206"/>
                  <a:pt x="211" y="189"/>
                </a:cubicBezTo>
                <a:close/>
              </a:path>
            </a:pathLst>
          </a:custGeom>
          <a:solidFill>
            <a:srgbClr val="FF6600"/>
          </a:solidFill>
          <a:ln>
            <a:solidFill>
              <a:srgbClr val="FF6600"/>
            </a:solidFill>
          </a:ln>
        </p:spPr>
        <p:txBody>
          <a:bodyPr vert="horz" wrap="square" lIns="91440" tIns="45720" rIns="91440" bIns="45720" numCol="1" anchor="t" anchorCtr="0" compatLnSpc="1"/>
          <a:lstStyle/>
          <a:p>
            <a:pPr defTabSz="1019175">
              <a:defRPr/>
            </a:pPr>
            <a:endParaRPr lang="en-US" sz="1400" kern="0" dirty="0">
              <a:solidFill>
                <a:srgbClr val="FF6600"/>
              </a:solidFill>
              <a:ea typeface="华文楷体" panose="02010600040101010101" charset="-122"/>
              <a:cs typeface="Arial" panose="020B0604020202020204" pitchFamily="34" charset="0"/>
            </a:endParaRPr>
          </a:p>
        </p:txBody>
      </p:sp>
      <p:sp>
        <p:nvSpPr>
          <p:cNvPr id="1237" name="Rectangle 41"/>
          <p:cNvSpPr/>
          <p:nvPr>
            <p:custDataLst>
              <p:tags r:id="rId13"/>
            </p:custDataLst>
          </p:nvPr>
        </p:nvSpPr>
        <p:spPr>
          <a:xfrm rot="5400000" flipH="1" flipV="1">
            <a:off x="4052355" y="3982816"/>
            <a:ext cx="45719" cy="346188"/>
          </a:xfrm>
          <a:prstGeom prst="rect">
            <a:avLst/>
          </a:prstGeom>
          <a:solidFill>
            <a:srgbClr val="FF6600"/>
          </a:solidFill>
          <a:ln>
            <a:solidFill>
              <a:srgbClr val="FF6600"/>
            </a:solidFill>
          </a:ln>
        </p:spPr>
        <p:txBody>
          <a:bodyPr vert="horz" wrap="square" lIns="91440" tIns="45720" rIns="91440" bIns="45720" numCol="1" anchor="t" anchorCtr="0" compatLnSpc="1"/>
          <a:lstStyle/>
          <a:p>
            <a:pPr defTabSz="1019175">
              <a:defRPr/>
            </a:pPr>
            <a:endParaRPr lang="en-US" sz="1400" kern="0" dirty="0">
              <a:solidFill>
                <a:srgbClr val="FF6600"/>
              </a:solidFill>
              <a:ea typeface="华文楷体" panose="02010600040101010101" charset="-122"/>
              <a:cs typeface="Arial" panose="020B0604020202020204" pitchFamily="34" charset="0"/>
            </a:endParaRPr>
          </a:p>
        </p:txBody>
      </p:sp>
      <p:sp>
        <p:nvSpPr>
          <p:cNvPr id="1238" name="Oval 47"/>
          <p:cNvSpPr/>
          <p:nvPr>
            <p:custDataLst>
              <p:tags r:id="rId14"/>
            </p:custDataLst>
          </p:nvPr>
        </p:nvSpPr>
        <p:spPr bwMode="gray">
          <a:xfrm rot="10800000">
            <a:off x="4238268" y="3925779"/>
            <a:ext cx="540000" cy="540000"/>
          </a:xfrm>
          <a:prstGeom prst="ellipse">
            <a:avLst/>
          </a:prstGeom>
          <a:solidFill>
            <a:srgbClr val="FF6600"/>
          </a:solidFill>
          <a:ln w="19050" cap="flat" cmpd="sng" algn="ctr">
            <a:solidFill>
              <a:srgbClr val="FFFFFF"/>
            </a:solidFill>
            <a:prstDash val="solid"/>
            <a:round/>
            <a:headEnd type="none" w="med" len="med"/>
            <a:tailEnd type="none" w="med" len="med"/>
          </a:ln>
          <a:effectLst/>
        </p:spPr>
        <p:txBody>
          <a:bodyPr vert="horz" wrap="square" lIns="0" tIns="25400" rIns="0" bIns="25400" numCol="1" rtlCol="0" anchor="ctr" anchorCtr="0" compatLnSpc="1">
            <a:noAutofit/>
          </a:bodyPr>
          <a:lstStyle/>
          <a:p>
            <a:pPr algn="ctr" defTabSz="914400" fontAlgn="base">
              <a:spcBef>
                <a:spcPct val="0"/>
              </a:spcBef>
              <a:spcAft>
                <a:spcPct val="0"/>
              </a:spcAft>
              <a:defRPr/>
            </a:pPr>
            <a:endParaRPr lang="zh-CN" altLang="en-US" sz="1400" b="1" kern="0" dirty="0">
              <a:solidFill>
                <a:srgbClr val="FFFFFF"/>
              </a:solidFill>
              <a:ea typeface="华文楷体" panose="02010600040101010101" charset="-122"/>
              <a:cs typeface="Arial" panose="020B0604020202020204" pitchFamily="34" charset="0"/>
            </a:endParaRPr>
          </a:p>
        </p:txBody>
      </p:sp>
      <p:sp>
        <p:nvSpPr>
          <p:cNvPr id="1239" name="Freeform 64"/>
          <p:cNvSpPr/>
          <p:nvPr>
            <p:custDataLst>
              <p:tags r:id="rId15"/>
            </p:custDataLst>
          </p:nvPr>
        </p:nvSpPr>
        <p:spPr bwMode="auto">
          <a:xfrm rot="5400000">
            <a:off x="3771692" y="3190712"/>
            <a:ext cx="237243" cy="83307"/>
          </a:xfrm>
          <a:custGeom>
            <a:avLst/>
            <a:gdLst>
              <a:gd name="T0" fmla="*/ 211 w 344"/>
              <a:gd name="T1" fmla="*/ 189 h 642"/>
              <a:gd name="T2" fmla="*/ 211 w 344"/>
              <a:gd name="T3" fmla="*/ 0 h 642"/>
              <a:gd name="T4" fmla="*/ 134 w 344"/>
              <a:gd name="T5" fmla="*/ 0 h 642"/>
              <a:gd name="T6" fmla="*/ 134 w 344"/>
              <a:gd name="T7" fmla="*/ 189 h 642"/>
              <a:gd name="T8" fmla="*/ 0 w 344"/>
              <a:gd name="T9" fmla="*/ 355 h 642"/>
              <a:gd name="T10" fmla="*/ 0 w 344"/>
              <a:gd name="T11" fmla="*/ 357 h 642"/>
              <a:gd name="T12" fmla="*/ 0 w 344"/>
              <a:gd name="T13" fmla="*/ 529 h 642"/>
              <a:gd name="T14" fmla="*/ 43 w 344"/>
              <a:gd name="T15" fmla="*/ 529 h 642"/>
              <a:gd name="T16" fmla="*/ 43 w 344"/>
              <a:gd name="T17" fmla="*/ 642 h 642"/>
              <a:gd name="T18" fmla="*/ 82 w 344"/>
              <a:gd name="T19" fmla="*/ 642 h 642"/>
              <a:gd name="T20" fmla="*/ 82 w 344"/>
              <a:gd name="T21" fmla="*/ 529 h 642"/>
              <a:gd name="T22" fmla="*/ 263 w 344"/>
              <a:gd name="T23" fmla="*/ 529 h 642"/>
              <a:gd name="T24" fmla="*/ 263 w 344"/>
              <a:gd name="T25" fmla="*/ 642 h 642"/>
              <a:gd name="T26" fmla="*/ 302 w 344"/>
              <a:gd name="T27" fmla="*/ 642 h 642"/>
              <a:gd name="T28" fmla="*/ 302 w 344"/>
              <a:gd name="T29" fmla="*/ 529 h 642"/>
              <a:gd name="T30" fmla="*/ 344 w 344"/>
              <a:gd name="T31" fmla="*/ 529 h 642"/>
              <a:gd name="T32" fmla="*/ 344 w 344"/>
              <a:gd name="T33" fmla="*/ 357 h 642"/>
              <a:gd name="T34" fmla="*/ 344 w 344"/>
              <a:gd name="T35" fmla="*/ 355 h 642"/>
              <a:gd name="T36" fmla="*/ 211 w 344"/>
              <a:gd name="T37" fmla="*/ 18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642">
                <a:moveTo>
                  <a:pt x="211" y="189"/>
                </a:moveTo>
                <a:cubicBezTo>
                  <a:pt x="211" y="0"/>
                  <a:pt x="211" y="0"/>
                  <a:pt x="211" y="0"/>
                </a:cubicBezTo>
                <a:cubicBezTo>
                  <a:pt x="134" y="0"/>
                  <a:pt x="134" y="0"/>
                  <a:pt x="134" y="0"/>
                </a:cubicBezTo>
                <a:cubicBezTo>
                  <a:pt x="134" y="189"/>
                  <a:pt x="134" y="189"/>
                  <a:pt x="134" y="189"/>
                </a:cubicBezTo>
                <a:cubicBezTo>
                  <a:pt x="57" y="206"/>
                  <a:pt x="0" y="274"/>
                  <a:pt x="0" y="355"/>
                </a:cubicBezTo>
                <a:cubicBezTo>
                  <a:pt x="0" y="357"/>
                  <a:pt x="0" y="357"/>
                  <a:pt x="0" y="357"/>
                </a:cubicBezTo>
                <a:cubicBezTo>
                  <a:pt x="0" y="529"/>
                  <a:pt x="0" y="529"/>
                  <a:pt x="0" y="529"/>
                </a:cubicBezTo>
                <a:cubicBezTo>
                  <a:pt x="43" y="529"/>
                  <a:pt x="43" y="529"/>
                  <a:pt x="43" y="529"/>
                </a:cubicBezTo>
                <a:cubicBezTo>
                  <a:pt x="43" y="642"/>
                  <a:pt x="43" y="642"/>
                  <a:pt x="43" y="642"/>
                </a:cubicBezTo>
                <a:cubicBezTo>
                  <a:pt x="82" y="642"/>
                  <a:pt x="82" y="642"/>
                  <a:pt x="82" y="642"/>
                </a:cubicBezTo>
                <a:cubicBezTo>
                  <a:pt x="82" y="529"/>
                  <a:pt x="82" y="529"/>
                  <a:pt x="82" y="529"/>
                </a:cubicBezTo>
                <a:cubicBezTo>
                  <a:pt x="263" y="529"/>
                  <a:pt x="263" y="529"/>
                  <a:pt x="263" y="529"/>
                </a:cubicBezTo>
                <a:cubicBezTo>
                  <a:pt x="263" y="642"/>
                  <a:pt x="263" y="642"/>
                  <a:pt x="263" y="642"/>
                </a:cubicBezTo>
                <a:cubicBezTo>
                  <a:pt x="302" y="642"/>
                  <a:pt x="302" y="642"/>
                  <a:pt x="302" y="642"/>
                </a:cubicBezTo>
                <a:cubicBezTo>
                  <a:pt x="302" y="529"/>
                  <a:pt x="302" y="529"/>
                  <a:pt x="302" y="529"/>
                </a:cubicBezTo>
                <a:cubicBezTo>
                  <a:pt x="344" y="529"/>
                  <a:pt x="344" y="529"/>
                  <a:pt x="344" y="529"/>
                </a:cubicBezTo>
                <a:cubicBezTo>
                  <a:pt x="344" y="357"/>
                  <a:pt x="344" y="357"/>
                  <a:pt x="344" y="357"/>
                </a:cubicBezTo>
                <a:cubicBezTo>
                  <a:pt x="344" y="355"/>
                  <a:pt x="344" y="355"/>
                  <a:pt x="344" y="355"/>
                </a:cubicBezTo>
                <a:cubicBezTo>
                  <a:pt x="344" y="274"/>
                  <a:pt x="287" y="206"/>
                  <a:pt x="211" y="189"/>
                </a:cubicBezTo>
                <a:close/>
              </a:path>
            </a:pathLst>
          </a:custGeom>
          <a:solidFill>
            <a:srgbClr val="FF6600"/>
          </a:solidFill>
          <a:ln>
            <a:solidFill>
              <a:srgbClr val="FF6600"/>
            </a:solidFill>
          </a:ln>
        </p:spPr>
        <p:txBody>
          <a:bodyPr vert="horz" wrap="square" lIns="91440" tIns="45720" rIns="91440" bIns="45720" numCol="1" anchor="t" anchorCtr="0" compatLnSpc="1"/>
          <a:lstStyle/>
          <a:p>
            <a:pPr defTabSz="1019175">
              <a:defRPr/>
            </a:pPr>
            <a:endParaRPr lang="en-US" sz="1400" kern="0" dirty="0">
              <a:solidFill>
                <a:srgbClr val="FF6600"/>
              </a:solidFill>
              <a:ea typeface="华文楷体" panose="02010600040101010101" charset="-122"/>
              <a:cs typeface="Arial" panose="020B0604020202020204" pitchFamily="34" charset="0"/>
            </a:endParaRPr>
          </a:p>
        </p:txBody>
      </p:sp>
      <p:sp>
        <p:nvSpPr>
          <p:cNvPr id="1240" name="Rectangle 41"/>
          <p:cNvSpPr/>
          <p:nvPr>
            <p:custDataLst>
              <p:tags r:id="rId16"/>
            </p:custDataLst>
          </p:nvPr>
        </p:nvSpPr>
        <p:spPr>
          <a:xfrm rot="5400000" flipH="1" flipV="1">
            <a:off x="4054114" y="3068323"/>
            <a:ext cx="45719" cy="346188"/>
          </a:xfrm>
          <a:prstGeom prst="rect">
            <a:avLst/>
          </a:prstGeom>
          <a:solidFill>
            <a:srgbClr val="FF6600"/>
          </a:solidFill>
          <a:ln>
            <a:solidFill>
              <a:srgbClr val="FF6600"/>
            </a:solidFill>
          </a:ln>
        </p:spPr>
        <p:txBody>
          <a:bodyPr vert="horz" wrap="square" lIns="91440" tIns="45720" rIns="91440" bIns="45720" numCol="1" anchor="t" anchorCtr="0" compatLnSpc="1"/>
          <a:lstStyle/>
          <a:p>
            <a:pPr defTabSz="1019175">
              <a:defRPr/>
            </a:pPr>
            <a:endParaRPr lang="en-US" sz="1400" kern="0" dirty="0">
              <a:solidFill>
                <a:srgbClr val="FF6600"/>
              </a:solidFill>
              <a:ea typeface="华文楷体" panose="02010600040101010101" charset="-122"/>
              <a:cs typeface="Arial" panose="020B0604020202020204" pitchFamily="34" charset="0"/>
            </a:endParaRPr>
          </a:p>
        </p:txBody>
      </p:sp>
      <p:sp>
        <p:nvSpPr>
          <p:cNvPr id="1241" name="Oval 47"/>
          <p:cNvSpPr/>
          <p:nvPr>
            <p:custDataLst>
              <p:tags r:id="rId17"/>
            </p:custDataLst>
          </p:nvPr>
        </p:nvSpPr>
        <p:spPr bwMode="gray">
          <a:xfrm rot="10800000">
            <a:off x="4238267" y="2998236"/>
            <a:ext cx="540000" cy="540000"/>
          </a:xfrm>
          <a:prstGeom prst="ellipse">
            <a:avLst/>
          </a:prstGeom>
          <a:solidFill>
            <a:srgbClr val="FF6600"/>
          </a:solidFill>
          <a:ln w="19050" cap="flat" cmpd="sng" algn="ctr">
            <a:solidFill>
              <a:srgbClr val="FFFFFF"/>
            </a:solidFill>
            <a:prstDash val="solid"/>
            <a:round/>
            <a:headEnd type="none" w="med" len="med"/>
            <a:tailEnd type="none" w="med" len="med"/>
          </a:ln>
          <a:effectLst/>
        </p:spPr>
        <p:txBody>
          <a:bodyPr vert="horz" wrap="square" lIns="0" tIns="25400" rIns="0" bIns="25400" numCol="1" rtlCol="0" anchor="ctr" anchorCtr="0" compatLnSpc="1">
            <a:noAutofit/>
          </a:bodyPr>
          <a:lstStyle/>
          <a:p>
            <a:pPr algn="ctr" defTabSz="914400" fontAlgn="base">
              <a:spcBef>
                <a:spcPct val="0"/>
              </a:spcBef>
              <a:spcAft>
                <a:spcPct val="0"/>
              </a:spcAft>
              <a:defRPr/>
            </a:pPr>
            <a:endParaRPr lang="zh-CN" altLang="en-US" sz="1400" b="1" kern="0" dirty="0">
              <a:solidFill>
                <a:srgbClr val="FFFFFF"/>
              </a:solidFill>
              <a:ea typeface="华文楷体" panose="02010600040101010101" charset="-122"/>
              <a:cs typeface="Arial" panose="020B0604020202020204" pitchFamily="34" charset="0"/>
            </a:endParaRPr>
          </a:p>
        </p:txBody>
      </p:sp>
      <p:sp>
        <p:nvSpPr>
          <p:cNvPr id="1242" name="TextBox 32"/>
          <p:cNvSpPr txBox="1"/>
          <p:nvPr>
            <p:custDataLst>
              <p:tags r:id="rId18"/>
            </p:custDataLst>
          </p:nvPr>
        </p:nvSpPr>
        <p:spPr>
          <a:xfrm>
            <a:off x="2665060" y="3269845"/>
            <a:ext cx="1219017" cy="400110"/>
          </a:xfrm>
          <a:prstGeom prst="rect">
            <a:avLst/>
          </a:prstGeom>
          <a:noFill/>
          <a:ln>
            <a:noFill/>
          </a:ln>
        </p:spPr>
        <p:txBody>
          <a:bodyPr wrap="square" rtlCol="0">
            <a:spAutoFit/>
          </a:bodyPr>
          <a:lstStyle/>
          <a:p>
            <a:pPr algn="ctr" defTabSz="914400">
              <a:defRPr/>
            </a:pPr>
            <a:r>
              <a:rPr lang="en-US" altLang="zh-CN" sz="2000" b="1" kern="0" dirty="0" smtClean="0">
                <a:ea typeface="华文楷体" panose="02010600040101010101" charset="-122"/>
                <a:cs typeface="Arial" panose="020B0604020202020204" pitchFamily="34" charset="0"/>
              </a:rPr>
              <a:t>xx</a:t>
            </a:r>
            <a:r>
              <a:rPr lang="zh-CN" altLang="en-US" sz="2000" b="1" kern="0" dirty="0" smtClean="0">
                <a:ea typeface="华文楷体" panose="02010600040101010101" charset="-122"/>
                <a:cs typeface="Arial" panose="020B0604020202020204" pitchFamily="34" charset="0"/>
              </a:rPr>
              <a:t>平台</a:t>
            </a:r>
            <a:endParaRPr lang="en-GB" sz="2000" b="1" kern="0" dirty="0">
              <a:ea typeface="华文楷体" panose="02010600040101010101" charset="-122"/>
              <a:cs typeface="Arial" panose="020B0604020202020204" pitchFamily="34" charset="0"/>
            </a:endParaRPr>
          </a:p>
        </p:txBody>
      </p:sp>
      <p:sp>
        <p:nvSpPr>
          <p:cNvPr id="1243" name="Freeform 6"/>
          <p:cNvSpPr/>
          <p:nvPr>
            <p:custDataLst>
              <p:tags r:id="rId19"/>
            </p:custDataLst>
          </p:nvPr>
        </p:nvSpPr>
        <p:spPr bwMode="auto">
          <a:xfrm>
            <a:off x="2522913" y="3100924"/>
            <a:ext cx="1503310" cy="891250"/>
          </a:xfrm>
          <a:custGeom>
            <a:avLst/>
            <a:gdLst>
              <a:gd name="T0" fmla="*/ 345 w 394"/>
              <a:gd name="T1" fmla="*/ 105 h 218"/>
              <a:gd name="T2" fmla="*/ 346 w 394"/>
              <a:gd name="T3" fmla="*/ 99 h 218"/>
              <a:gd name="T4" fmla="*/ 280 w 394"/>
              <a:gd name="T5" fmla="*/ 33 h 218"/>
              <a:gd name="T6" fmla="*/ 253 w 394"/>
              <a:gd name="T7" fmla="*/ 39 h 218"/>
              <a:gd name="T8" fmla="*/ 178 w 394"/>
              <a:gd name="T9" fmla="*/ 0 h 218"/>
              <a:gd name="T10" fmla="*/ 90 w 394"/>
              <a:gd name="T11" fmla="*/ 67 h 218"/>
              <a:gd name="T12" fmla="*/ 76 w 394"/>
              <a:gd name="T13" fmla="*/ 66 h 218"/>
              <a:gd name="T14" fmla="*/ 0 w 394"/>
              <a:gd name="T15" fmla="*/ 142 h 218"/>
              <a:gd name="T16" fmla="*/ 76 w 394"/>
              <a:gd name="T17" fmla="*/ 218 h 218"/>
              <a:gd name="T18" fmla="*/ 337 w 394"/>
              <a:gd name="T19" fmla="*/ 218 h 218"/>
              <a:gd name="T20" fmla="*/ 337 w 394"/>
              <a:gd name="T21" fmla="*/ 218 h 218"/>
              <a:gd name="T22" fmla="*/ 337 w 394"/>
              <a:gd name="T23" fmla="*/ 218 h 218"/>
              <a:gd name="T24" fmla="*/ 394 w 394"/>
              <a:gd name="T25" fmla="*/ 161 h 218"/>
              <a:gd name="T26" fmla="*/ 345 w 394"/>
              <a:gd name="T27" fmla="*/ 10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4" h="218">
                <a:moveTo>
                  <a:pt x="345" y="105"/>
                </a:moveTo>
                <a:cubicBezTo>
                  <a:pt x="346" y="104"/>
                  <a:pt x="346" y="101"/>
                  <a:pt x="346" y="99"/>
                </a:cubicBezTo>
                <a:cubicBezTo>
                  <a:pt x="346" y="63"/>
                  <a:pt x="316" y="33"/>
                  <a:pt x="280" y="33"/>
                </a:cubicBezTo>
                <a:cubicBezTo>
                  <a:pt x="270" y="33"/>
                  <a:pt x="261" y="35"/>
                  <a:pt x="253" y="39"/>
                </a:cubicBezTo>
                <a:cubicBezTo>
                  <a:pt x="236" y="15"/>
                  <a:pt x="209" y="0"/>
                  <a:pt x="178" y="0"/>
                </a:cubicBezTo>
                <a:cubicBezTo>
                  <a:pt x="136" y="0"/>
                  <a:pt x="100" y="28"/>
                  <a:pt x="90" y="67"/>
                </a:cubicBezTo>
                <a:cubicBezTo>
                  <a:pt x="85" y="66"/>
                  <a:pt x="80" y="66"/>
                  <a:pt x="76" y="66"/>
                </a:cubicBezTo>
                <a:cubicBezTo>
                  <a:pt x="34" y="66"/>
                  <a:pt x="0" y="100"/>
                  <a:pt x="0" y="142"/>
                </a:cubicBezTo>
                <a:cubicBezTo>
                  <a:pt x="0" y="183"/>
                  <a:pt x="34" y="218"/>
                  <a:pt x="76" y="218"/>
                </a:cubicBezTo>
                <a:cubicBezTo>
                  <a:pt x="337" y="218"/>
                  <a:pt x="337" y="218"/>
                  <a:pt x="337" y="218"/>
                </a:cubicBezTo>
                <a:cubicBezTo>
                  <a:pt x="337" y="218"/>
                  <a:pt x="337" y="218"/>
                  <a:pt x="337" y="218"/>
                </a:cubicBezTo>
                <a:cubicBezTo>
                  <a:pt x="337" y="218"/>
                  <a:pt x="337" y="218"/>
                  <a:pt x="337" y="218"/>
                </a:cubicBezTo>
                <a:cubicBezTo>
                  <a:pt x="368" y="218"/>
                  <a:pt x="394" y="193"/>
                  <a:pt x="394" y="161"/>
                </a:cubicBezTo>
                <a:cubicBezTo>
                  <a:pt x="394" y="133"/>
                  <a:pt x="373" y="109"/>
                  <a:pt x="345" y="105"/>
                </a:cubicBezTo>
                <a:close/>
              </a:path>
            </a:pathLst>
          </a:custGeom>
          <a:noFill/>
          <a:ln w="114300" cap="flat">
            <a:solidFill>
              <a:srgbClr val="FF660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defTabSz="914400">
              <a:defRPr/>
            </a:pPr>
            <a:endParaRPr lang="en-AU" sz="1400" kern="0" dirty="0">
              <a:solidFill>
                <a:srgbClr val="FF6600"/>
              </a:solidFill>
              <a:ea typeface="华文楷体" panose="02010600040101010101" charset="-122"/>
              <a:cs typeface="Arial" panose="020B0604020202020204" pitchFamily="34" charset="0"/>
            </a:endParaRPr>
          </a:p>
        </p:txBody>
      </p:sp>
      <p:sp>
        <p:nvSpPr>
          <p:cNvPr id="1244" name="TextBox 32"/>
          <p:cNvSpPr txBox="1"/>
          <p:nvPr>
            <p:custDataLst>
              <p:tags r:id="rId20"/>
            </p:custDataLst>
          </p:nvPr>
        </p:nvSpPr>
        <p:spPr>
          <a:xfrm>
            <a:off x="4721492" y="4010130"/>
            <a:ext cx="769252" cy="338554"/>
          </a:xfrm>
          <a:prstGeom prst="rect">
            <a:avLst/>
          </a:prstGeom>
          <a:noFill/>
          <a:ln>
            <a:noFill/>
          </a:ln>
        </p:spPr>
        <p:txBody>
          <a:bodyPr wrap="square" rtlCol="0">
            <a:spAutoFit/>
          </a:bodyPr>
          <a:lstStyle/>
          <a:p>
            <a:pPr algn="ctr" defTabSz="914400">
              <a:defRPr/>
            </a:pPr>
            <a:r>
              <a:rPr lang="en-US" altLang="zh-CN" sz="1600" b="1" kern="0" dirty="0" smtClean="0">
                <a:ea typeface="华文楷体" panose="02010600040101010101" charset="-122"/>
                <a:cs typeface="Arial" panose="020B0604020202020204" pitchFamily="34" charset="0"/>
              </a:rPr>
              <a:t>xx</a:t>
            </a:r>
            <a:endParaRPr lang="en-GB" sz="1600" b="1" kern="0" dirty="0">
              <a:ea typeface="华文楷体" panose="02010600040101010101" charset="-122"/>
              <a:cs typeface="Arial" panose="020B0604020202020204" pitchFamily="34" charset="0"/>
            </a:endParaRPr>
          </a:p>
        </p:txBody>
      </p:sp>
      <p:sp>
        <p:nvSpPr>
          <p:cNvPr id="1245" name="Oval 47"/>
          <p:cNvSpPr/>
          <p:nvPr>
            <p:custDataLst>
              <p:tags r:id="rId21"/>
            </p:custDataLst>
          </p:nvPr>
        </p:nvSpPr>
        <p:spPr bwMode="gray">
          <a:xfrm rot="10800000">
            <a:off x="1870889" y="2985000"/>
            <a:ext cx="540000" cy="540000"/>
          </a:xfrm>
          <a:prstGeom prst="ellipse">
            <a:avLst/>
          </a:prstGeom>
          <a:solidFill>
            <a:srgbClr val="FF6600"/>
          </a:solidFill>
          <a:ln w="19050" cap="flat" cmpd="sng" algn="ctr">
            <a:solidFill>
              <a:srgbClr val="FFFFFF"/>
            </a:solidFill>
            <a:prstDash val="solid"/>
            <a:round/>
            <a:headEnd type="none" w="med" len="med"/>
            <a:tailEnd type="none" w="med" len="med"/>
          </a:ln>
          <a:effectLst/>
        </p:spPr>
        <p:txBody>
          <a:bodyPr vert="horz" wrap="square" lIns="0" tIns="25400" rIns="0" bIns="25400" numCol="1" rtlCol="0" anchor="ctr" anchorCtr="0" compatLnSpc="1">
            <a:noAutofit/>
          </a:bodyPr>
          <a:lstStyle/>
          <a:p>
            <a:pPr algn="ctr" defTabSz="914400" fontAlgn="base">
              <a:spcBef>
                <a:spcPct val="0"/>
              </a:spcBef>
              <a:spcAft>
                <a:spcPct val="0"/>
              </a:spcAft>
              <a:defRPr/>
            </a:pPr>
            <a:endParaRPr lang="zh-CN" altLang="en-US" sz="1400" b="1" kern="0" dirty="0">
              <a:solidFill>
                <a:srgbClr val="FFFFFF"/>
              </a:solidFill>
              <a:ea typeface="华文楷体" panose="02010600040101010101" charset="-122"/>
              <a:cs typeface="Arial" panose="020B0604020202020204" pitchFamily="34" charset="0"/>
            </a:endParaRPr>
          </a:p>
        </p:txBody>
      </p:sp>
      <p:sp>
        <p:nvSpPr>
          <p:cNvPr id="1246" name="TextBox 32"/>
          <p:cNvSpPr txBox="1"/>
          <p:nvPr>
            <p:custDataLst>
              <p:tags r:id="rId22"/>
            </p:custDataLst>
          </p:nvPr>
        </p:nvSpPr>
        <p:spPr>
          <a:xfrm>
            <a:off x="1074222" y="2922281"/>
            <a:ext cx="769252" cy="338554"/>
          </a:xfrm>
          <a:prstGeom prst="rect">
            <a:avLst/>
          </a:prstGeom>
          <a:noFill/>
          <a:ln>
            <a:noFill/>
          </a:ln>
        </p:spPr>
        <p:txBody>
          <a:bodyPr wrap="square" rtlCol="0">
            <a:spAutoFit/>
          </a:bodyPr>
          <a:lstStyle/>
          <a:p>
            <a:pPr algn="ctr" defTabSz="914400">
              <a:defRPr/>
            </a:pPr>
            <a:r>
              <a:rPr lang="en-US" altLang="zh-CN" sz="1600" b="1" kern="0" dirty="0" smtClean="0">
                <a:ea typeface="华文楷体" panose="02010600040101010101" charset="-122"/>
                <a:cs typeface="Arial" panose="020B0604020202020204" pitchFamily="34" charset="0"/>
              </a:rPr>
              <a:t>xx</a:t>
            </a:r>
            <a:endParaRPr lang="en-GB" sz="1600" b="1" kern="0" dirty="0">
              <a:ea typeface="华文楷体" panose="02010600040101010101" charset="-122"/>
              <a:cs typeface="Arial" panose="020B0604020202020204" pitchFamily="34" charset="0"/>
            </a:endParaRPr>
          </a:p>
        </p:txBody>
      </p:sp>
      <p:sp>
        <p:nvSpPr>
          <p:cNvPr id="1247" name="TextBox 32"/>
          <p:cNvSpPr txBox="1"/>
          <p:nvPr>
            <p:custDataLst>
              <p:tags r:id="rId23"/>
            </p:custDataLst>
          </p:nvPr>
        </p:nvSpPr>
        <p:spPr>
          <a:xfrm>
            <a:off x="4721492" y="2912896"/>
            <a:ext cx="769252" cy="338554"/>
          </a:xfrm>
          <a:prstGeom prst="rect">
            <a:avLst/>
          </a:prstGeom>
          <a:noFill/>
          <a:ln>
            <a:noFill/>
          </a:ln>
        </p:spPr>
        <p:txBody>
          <a:bodyPr wrap="square" rtlCol="0">
            <a:spAutoFit/>
          </a:bodyPr>
          <a:lstStyle/>
          <a:p>
            <a:pPr algn="ctr" defTabSz="914400">
              <a:defRPr/>
            </a:pPr>
            <a:r>
              <a:rPr lang="en-US" altLang="zh-CN" sz="1600" b="1" kern="0" dirty="0" smtClean="0">
                <a:ea typeface="华文楷体" panose="02010600040101010101" charset="-122"/>
                <a:cs typeface="Arial" panose="020B0604020202020204" pitchFamily="34" charset="0"/>
              </a:rPr>
              <a:t>xx</a:t>
            </a:r>
            <a:endParaRPr lang="en-GB" sz="1600" b="1" kern="0" dirty="0">
              <a:ea typeface="华文楷体" panose="02010600040101010101" charset="-122"/>
              <a:cs typeface="Arial" panose="020B0604020202020204" pitchFamily="34" charset="0"/>
            </a:endParaRPr>
          </a:p>
        </p:txBody>
      </p:sp>
      <p:sp>
        <p:nvSpPr>
          <p:cNvPr id="1248" name="TextBox 32"/>
          <p:cNvSpPr txBox="1"/>
          <p:nvPr>
            <p:custDataLst>
              <p:tags r:id="rId24"/>
            </p:custDataLst>
          </p:nvPr>
        </p:nvSpPr>
        <p:spPr>
          <a:xfrm>
            <a:off x="1074222" y="3895641"/>
            <a:ext cx="769252" cy="338554"/>
          </a:xfrm>
          <a:prstGeom prst="rect">
            <a:avLst/>
          </a:prstGeom>
          <a:noFill/>
          <a:ln>
            <a:noFill/>
          </a:ln>
        </p:spPr>
        <p:txBody>
          <a:bodyPr wrap="square" rtlCol="0">
            <a:spAutoFit/>
          </a:bodyPr>
          <a:lstStyle/>
          <a:p>
            <a:pPr algn="ctr" defTabSz="914400">
              <a:defRPr/>
            </a:pPr>
            <a:r>
              <a:rPr lang="en-US" altLang="zh-CN" sz="1600" b="1" kern="0" dirty="0" smtClean="0">
                <a:ea typeface="华文楷体" panose="02010600040101010101" charset="-122"/>
                <a:cs typeface="Arial" panose="020B0604020202020204" pitchFamily="34" charset="0"/>
              </a:rPr>
              <a:t>xx</a:t>
            </a:r>
            <a:endParaRPr lang="en-GB" sz="1600" b="1" kern="0" dirty="0">
              <a:ea typeface="华文楷体" panose="02010600040101010101" charset="-122"/>
              <a:cs typeface="Arial" panose="020B0604020202020204" pitchFamily="34" charset="0"/>
            </a:endParaRPr>
          </a:p>
        </p:txBody>
      </p:sp>
      <p:pic>
        <p:nvPicPr>
          <p:cNvPr id="1249" name="图片 1248"/>
          <p:cNvPicPr>
            <a:picLocks noChangeAspect="1"/>
          </p:cNvPicPr>
          <p:nvPr/>
        </p:nvPicPr>
        <p:blipFill>
          <a:blip r:embed="rId25" cstate="screen"/>
          <a:stretch>
            <a:fillRect/>
          </a:stretch>
        </p:blipFill>
        <p:spPr>
          <a:xfrm>
            <a:off x="1994680" y="3034778"/>
            <a:ext cx="298561" cy="397312"/>
          </a:xfrm>
          <a:prstGeom prst="rect">
            <a:avLst/>
          </a:prstGeom>
          <a:solidFill>
            <a:srgbClr val="FF6600"/>
          </a:solidFill>
        </p:spPr>
      </p:pic>
      <p:pic>
        <p:nvPicPr>
          <p:cNvPr id="1250" name="图片 1249"/>
          <p:cNvPicPr>
            <a:picLocks noChangeAspect="1"/>
          </p:cNvPicPr>
          <p:nvPr/>
        </p:nvPicPr>
        <p:blipFill>
          <a:blip r:embed="rId26" cstate="screen"/>
          <a:stretch>
            <a:fillRect/>
          </a:stretch>
        </p:blipFill>
        <p:spPr>
          <a:xfrm>
            <a:off x="4383180" y="3069430"/>
            <a:ext cx="273097" cy="363425"/>
          </a:xfrm>
          <a:prstGeom prst="rect">
            <a:avLst/>
          </a:prstGeom>
          <a:solidFill>
            <a:srgbClr val="FF6600"/>
          </a:solidFill>
        </p:spPr>
      </p:pic>
      <p:pic>
        <p:nvPicPr>
          <p:cNvPr id="1251" name="图片 1250"/>
          <p:cNvPicPr>
            <a:picLocks noChangeAspect="1"/>
          </p:cNvPicPr>
          <p:nvPr/>
        </p:nvPicPr>
        <p:blipFill>
          <a:blip r:embed="rId27" cstate="screen"/>
          <a:stretch>
            <a:fillRect/>
          </a:stretch>
        </p:blipFill>
        <p:spPr>
          <a:xfrm>
            <a:off x="4366402" y="4066342"/>
            <a:ext cx="273097" cy="250954"/>
          </a:xfrm>
          <a:prstGeom prst="rect">
            <a:avLst/>
          </a:prstGeom>
          <a:solidFill>
            <a:srgbClr val="FF6600"/>
          </a:solidFill>
        </p:spPr>
      </p:pic>
      <p:sp>
        <p:nvSpPr>
          <p:cNvPr id="1252" name="Freeform 64"/>
          <p:cNvSpPr/>
          <p:nvPr>
            <p:custDataLst>
              <p:tags r:id="rId28"/>
            </p:custDataLst>
          </p:nvPr>
        </p:nvSpPr>
        <p:spPr bwMode="auto">
          <a:xfrm rot="16200000">
            <a:off x="2685126" y="3191850"/>
            <a:ext cx="243546" cy="77745"/>
          </a:xfrm>
          <a:custGeom>
            <a:avLst/>
            <a:gdLst>
              <a:gd name="T0" fmla="*/ 211 w 344"/>
              <a:gd name="T1" fmla="*/ 189 h 642"/>
              <a:gd name="T2" fmla="*/ 211 w 344"/>
              <a:gd name="T3" fmla="*/ 0 h 642"/>
              <a:gd name="T4" fmla="*/ 134 w 344"/>
              <a:gd name="T5" fmla="*/ 0 h 642"/>
              <a:gd name="T6" fmla="*/ 134 w 344"/>
              <a:gd name="T7" fmla="*/ 189 h 642"/>
              <a:gd name="T8" fmla="*/ 0 w 344"/>
              <a:gd name="T9" fmla="*/ 355 h 642"/>
              <a:gd name="T10" fmla="*/ 0 w 344"/>
              <a:gd name="T11" fmla="*/ 357 h 642"/>
              <a:gd name="T12" fmla="*/ 0 w 344"/>
              <a:gd name="T13" fmla="*/ 529 h 642"/>
              <a:gd name="T14" fmla="*/ 43 w 344"/>
              <a:gd name="T15" fmla="*/ 529 h 642"/>
              <a:gd name="T16" fmla="*/ 43 w 344"/>
              <a:gd name="T17" fmla="*/ 642 h 642"/>
              <a:gd name="T18" fmla="*/ 82 w 344"/>
              <a:gd name="T19" fmla="*/ 642 h 642"/>
              <a:gd name="T20" fmla="*/ 82 w 344"/>
              <a:gd name="T21" fmla="*/ 529 h 642"/>
              <a:gd name="T22" fmla="*/ 263 w 344"/>
              <a:gd name="T23" fmla="*/ 529 h 642"/>
              <a:gd name="T24" fmla="*/ 263 w 344"/>
              <a:gd name="T25" fmla="*/ 642 h 642"/>
              <a:gd name="T26" fmla="*/ 302 w 344"/>
              <a:gd name="T27" fmla="*/ 642 h 642"/>
              <a:gd name="T28" fmla="*/ 302 w 344"/>
              <a:gd name="T29" fmla="*/ 529 h 642"/>
              <a:gd name="T30" fmla="*/ 344 w 344"/>
              <a:gd name="T31" fmla="*/ 529 h 642"/>
              <a:gd name="T32" fmla="*/ 344 w 344"/>
              <a:gd name="T33" fmla="*/ 357 h 642"/>
              <a:gd name="T34" fmla="*/ 344 w 344"/>
              <a:gd name="T35" fmla="*/ 355 h 642"/>
              <a:gd name="T36" fmla="*/ 211 w 344"/>
              <a:gd name="T37" fmla="*/ 18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642">
                <a:moveTo>
                  <a:pt x="211" y="189"/>
                </a:moveTo>
                <a:cubicBezTo>
                  <a:pt x="211" y="0"/>
                  <a:pt x="211" y="0"/>
                  <a:pt x="211" y="0"/>
                </a:cubicBezTo>
                <a:cubicBezTo>
                  <a:pt x="134" y="0"/>
                  <a:pt x="134" y="0"/>
                  <a:pt x="134" y="0"/>
                </a:cubicBezTo>
                <a:cubicBezTo>
                  <a:pt x="134" y="189"/>
                  <a:pt x="134" y="189"/>
                  <a:pt x="134" y="189"/>
                </a:cubicBezTo>
                <a:cubicBezTo>
                  <a:pt x="57" y="206"/>
                  <a:pt x="0" y="274"/>
                  <a:pt x="0" y="355"/>
                </a:cubicBezTo>
                <a:cubicBezTo>
                  <a:pt x="0" y="357"/>
                  <a:pt x="0" y="357"/>
                  <a:pt x="0" y="357"/>
                </a:cubicBezTo>
                <a:cubicBezTo>
                  <a:pt x="0" y="529"/>
                  <a:pt x="0" y="529"/>
                  <a:pt x="0" y="529"/>
                </a:cubicBezTo>
                <a:cubicBezTo>
                  <a:pt x="43" y="529"/>
                  <a:pt x="43" y="529"/>
                  <a:pt x="43" y="529"/>
                </a:cubicBezTo>
                <a:cubicBezTo>
                  <a:pt x="43" y="642"/>
                  <a:pt x="43" y="642"/>
                  <a:pt x="43" y="642"/>
                </a:cubicBezTo>
                <a:cubicBezTo>
                  <a:pt x="82" y="642"/>
                  <a:pt x="82" y="642"/>
                  <a:pt x="82" y="642"/>
                </a:cubicBezTo>
                <a:cubicBezTo>
                  <a:pt x="82" y="529"/>
                  <a:pt x="82" y="529"/>
                  <a:pt x="82" y="529"/>
                </a:cubicBezTo>
                <a:cubicBezTo>
                  <a:pt x="263" y="529"/>
                  <a:pt x="263" y="529"/>
                  <a:pt x="263" y="529"/>
                </a:cubicBezTo>
                <a:cubicBezTo>
                  <a:pt x="263" y="642"/>
                  <a:pt x="263" y="642"/>
                  <a:pt x="263" y="642"/>
                </a:cubicBezTo>
                <a:cubicBezTo>
                  <a:pt x="302" y="642"/>
                  <a:pt x="302" y="642"/>
                  <a:pt x="302" y="642"/>
                </a:cubicBezTo>
                <a:cubicBezTo>
                  <a:pt x="302" y="529"/>
                  <a:pt x="302" y="529"/>
                  <a:pt x="302" y="529"/>
                </a:cubicBezTo>
                <a:cubicBezTo>
                  <a:pt x="344" y="529"/>
                  <a:pt x="344" y="529"/>
                  <a:pt x="344" y="529"/>
                </a:cubicBezTo>
                <a:cubicBezTo>
                  <a:pt x="344" y="357"/>
                  <a:pt x="344" y="357"/>
                  <a:pt x="344" y="357"/>
                </a:cubicBezTo>
                <a:cubicBezTo>
                  <a:pt x="344" y="355"/>
                  <a:pt x="344" y="355"/>
                  <a:pt x="344" y="355"/>
                </a:cubicBezTo>
                <a:cubicBezTo>
                  <a:pt x="344" y="274"/>
                  <a:pt x="287" y="206"/>
                  <a:pt x="211" y="189"/>
                </a:cubicBezTo>
                <a:close/>
              </a:path>
            </a:pathLst>
          </a:custGeom>
          <a:solidFill>
            <a:srgbClr val="FF6600"/>
          </a:solidFill>
          <a:ln>
            <a:solidFill>
              <a:srgbClr val="FF6600"/>
            </a:solidFill>
          </a:ln>
        </p:spPr>
        <p:txBody>
          <a:bodyPr vert="horz" wrap="square" lIns="91440" tIns="45720" rIns="91440" bIns="45720" numCol="1" anchor="t" anchorCtr="0" compatLnSpc="1"/>
          <a:lstStyle/>
          <a:p>
            <a:pPr defTabSz="1019175">
              <a:defRPr/>
            </a:pPr>
            <a:endParaRPr lang="en-US" sz="1400" kern="0" dirty="0">
              <a:solidFill>
                <a:srgbClr val="FF6600"/>
              </a:solidFill>
              <a:ea typeface="华文楷体" panose="02010600040101010101" charset="-122"/>
              <a:cs typeface="Arial" panose="020B0604020202020204" pitchFamily="34" charset="0"/>
            </a:endParaRPr>
          </a:p>
        </p:txBody>
      </p:sp>
      <p:sp>
        <p:nvSpPr>
          <p:cNvPr id="1253" name="Rectangle 41"/>
          <p:cNvSpPr/>
          <p:nvPr>
            <p:custDataLst>
              <p:tags r:id="rId29"/>
            </p:custDataLst>
          </p:nvPr>
        </p:nvSpPr>
        <p:spPr>
          <a:xfrm rot="5400000" flipH="1" flipV="1">
            <a:off x="2571934" y="3058939"/>
            <a:ext cx="45719" cy="346187"/>
          </a:xfrm>
          <a:prstGeom prst="rect">
            <a:avLst/>
          </a:prstGeom>
          <a:solidFill>
            <a:srgbClr val="FF6600"/>
          </a:solidFill>
          <a:ln>
            <a:solidFill>
              <a:srgbClr val="FF6600"/>
            </a:solidFill>
          </a:ln>
        </p:spPr>
        <p:txBody>
          <a:bodyPr vert="horz" wrap="square" lIns="91440" tIns="45720" rIns="91440" bIns="45720" numCol="1" anchor="t" anchorCtr="0" compatLnSpc="1"/>
          <a:lstStyle/>
          <a:p>
            <a:pPr defTabSz="1019175">
              <a:defRPr/>
            </a:pPr>
            <a:endParaRPr lang="en-US" sz="1400" kern="0" dirty="0">
              <a:solidFill>
                <a:srgbClr val="FF6600"/>
              </a:solidFill>
              <a:ea typeface="华文楷体" panose="02010600040101010101" charset="-122"/>
              <a:cs typeface="Arial" panose="020B0604020202020204" pitchFamily="34" charset="0"/>
            </a:endParaRPr>
          </a:p>
        </p:txBody>
      </p:sp>
      <p:sp>
        <p:nvSpPr>
          <p:cNvPr id="1254" name="Freeform 64"/>
          <p:cNvSpPr/>
          <p:nvPr>
            <p:custDataLst>
              <p:tags r:id="rId30"/>
            </p:custDataLst>
          </p:nvPr>
        </p:nvSpPr>
        <p:spPr bwMode="auto">
          <a:xfrm rot="16200000">
            <a:off x="2669866" y="4129154"/>
            <a:ext cx="243546" cy="77745"/>
          </a:xfrm>
          <a:custGeom>
            <a:avLst/>
            <a:gdLst>
              <a:gd name="T0" fmla="*/ 211 w 344"/>
              <a:gd name="T1" fmla="*/ 189 h 642"/>
              <a:gd name="T2" fmla="*/ 211 w 344"/>
              <a:gd name="T3" fmla="*/ 0 h 642"/>
              <a:gd name="T4" fmla="*/ 134 w 344"/>
              <a:gd name="T5" fmla="*/ 0 h 642"/>
              <a:gd name="T6" fmla="*/ 134 w 344"/>
              <a:gd name="T7" fmla="*/ 189 h 642"/>
              <a:gd name="T8" fmla="*/ 0 w 344"/>
              <a:gd name="T9" fmla="*/ 355 h 642"/>
              <a:gd name="T10" fmla="*/ 0 w 344"/>
              <a:gd name="T11" fmla="*/ 357 h 642"/>
              <a:gd name="T12" fmla="*/ 0 w 344"/>
              <a:gd name="T13" fmla="*/ 529 h 642"/>
              <a:gd name="T14" fmla="*/ 43 w 344"/>
              <a:gd name="T15" fmla="*/ 529 h 642"/>
              <a:gd name="T16" fmla="*/ 43 w 344"/>
              <a:gd name="T17" fmla="*/ 642 h 642"/>
              <a:gd name="T18" fmla="*/ 82 w 344"/>
              <a:gd name="T19" fmla="*/ 642 h 642"/>
              <a:gd name="T20" fmla="*/ 82 w 344"/>
              <a:gd name="T21" fmla="*/ 529 h 642"/>
              <a:gd name="T22" fmla="*/ 263 w 344"/>
              <a:gd name="T23" fmla="*/ 529 h 642"/>
              <a:gd name="T24" fmla="*/ 263 w 344"/>
              <a:gd name="T25" fmla="*/ 642 h 642"/>
              <a:gd name="T26" fmla="*/ 302 w 344"/>
              <a:gd name="T27" fmla="*/ 642 h 642"/>
              <a:gd name="T28" fmla="*/ 302 w 344"/>
              <a:gd name="T29" fmla="*/ 529 h 642"/>
              <a:gd name="T30" fmla="*/ 344 w 344"/>
              <a:gd name="T31" fmla="*/ 529 h 642"/>
              <a:gd name="T32" fmla="*/ 344 w 344"/>
              <a:gd name="T33" fmla="*/ 357 h 642"/>
              <a:gd name="T34" fmla="*/ 344 w 344"/>
              <a:gd name="T35" fmla="*/ 355 h 642"/>
              <a:gd name="T36" fmla="*/ 211 w 344"/>
              <a:gd name="T37" fmla="*/ 18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4" h="642">
                <a:moveTo>
                  <a:pt x="211" y="189"/>
                </a:moveTo>
                <a:cubicBezTo>
                  <a:pt x="211" y="0"/>
                  <a:pt x="211" y="0"/>
                  <a:pt x="211" y="0"/>
                </a:cubicBezTo>
                <a:cubicBezTo>
                  <a:pt x="134" y="0"/>
                  <a:pt x="134" y="0"/>
                  <a:pt x="134" y="0"/>
                </a:cubicBezTo>
                <a:cubicBezTo>
                  <a:pt x="134" y="189"/>
                  <a:pt x="134" y="189"/>
                  <a:pt x="134" y="189"/>
                </a:cubicBezTo>
                <a:cubicBezTo>
                  <a:pt x="57" y="206"/>
                  <a:pt x="0" y="274"/>
                  <a:pt x="0" y="355"/>
                </a:cubicBezTo>
                <a:cubicBezTo>
                  <a:pt x="0" y="357"/>
                  <a:pt x="0" y="357"/>
                  <a:pt x="0" y="357"/>
                </a:cubicBezTo>
                <a:cubicBezTo>
                  <a:pt x="0" y="529"/>
                  <a:pt x="0" y="529"/>
                  <a:pt x="0" y="529"/>
                </a:cubicBezTo>
                <a:cubicBezTo>
                  <a:pt x="43" y="529"/>
                  <a:pt x="43" y="529"/>
                  <a:pt x="43" y="529"/>
                </a:cubicBezTo>
                <a:cubicBezTo>
                  <a:pt x="43" y="642"/>
                  <a:pt x="43" y="642"/>
                  <a:pt x="43" y="642"/>
                </a:cubicBezTo>
                <a:cubicBezTo>
                  <a:pt x="82" y="642"/>
                  <a:pt x="82" y="642"/>
                  <a:pt x="82" y="642"/>
                </a:cubicBezTo>
                <a:cubicBezTo>
                  <a:pt x="82" y="529"/>
                  <a:pt x="82" y="529"/>
                  <a:pt x="82" y="529"/>
                </a:cubicBezTo>
                <a:cubicBezTo>
                  <a:pt x="263" y="529"/>
                  <a:pt x="263" y="529"/>
                  <a:pt x="263" y="529"/>
                </a:cubicBezTo>
                <a:cubicBezTo>
                  <a:pt x="263" y="642"/>
                  <a:pt x="263" y="642"/>
                  <a:pt x="263" y="642"/>
                </a:cubicBezTo>
                <a:cubicBezTo>
                  <a:pt x="302" y="642"/>
                  <a:pt x="302" y="642"/>
                  <a:pt x="302" y="642"/>
                </a:cubicBezTo>
                <a:cubicBezTo>
                  <a:pt x="302" y="529"/>
                  <a:pt x="302" y="529"/>
                  <a:pt x="302" y="529"/>
                </a:cubicBezTo>
                <a:cubicBezTo>
                  <a:pt x="344" y="529"/>
                  <a:pt x="344" y="529"/>
                  <a:pt x="344" y="529"/>
                </a:cubicBezTo>
                <a:cubicBezTo>
                  <a:pt x="344" y="357"/>
                  <a:pt x="344" y="357"/>
                  <a:pt x="344" y="357"/>
                </a:cubicBezTo>
                <a:cubicBezTo>
                  <a:pt x="344" y="355"/>
                  <a:pt x="344" y="355"/>
                  <a:pt x="344" y="355"/>
                </a:cubicBezTo>
                <a:cubicBezTo>
                  <a:pt x="344" y="274"/>
                  <a:pt x="287" y="206"/>
                  <a:pt x="211" y="189"/>
                </a:cubicBezTo>
                <a:close/>
              </a:path>
            </a:pathLst>
          </a:custGeom>
          <a:solidFill>
            <a:srgbClr val="FF6600"/>
          </a:solidFill>
          <a:ln>
            <a:solidFill>
              <a:srgbClr val="FF6600"/>
            </a:solidFill>
          </a:ln>
        </p:spPr>
        <p:txBody>
          <a:bodyPr vert="horz" wrap="square" lIns="91440" tIns="45720" rIns="91440" bIns="45720" numCol="1" anchor="t" anchorCtr="0" compatLnSpc="1"/>
          <a:lstStyle/>
          <a:p>
            <a:pPr defTabSz="1019175">
              <a:defRPr/>
            </a:pPr>
            <a:endParaRPr lang="en-US" sz="1400" kern="0" dirty="0">
              <a:solidFill>
                <a:srgbClr val="FF6600"/>
              </a:solidFill>
              <a:ea typeface="华文楷体" panose="02010600040101010101" charset="-122"/>
              <a:cs typeface="Arial" panose="020B0604020202020204" pitchFamily="34" charset="0"/>
            </a:endParaRPr>
          </a:p>
        </p:txBody>
      </p:sp>
      <p:sp>
        <p:nvSpPr>
          <p:cNvPr id="1255" name="Rectangle 41"/>
          <p:cNvSpPr/>
          <p:nvPr>
            <p:custDataLst>
              <p:tags r:id="rId31"/>
            </p:custDataLst>
          </p:nvPr>
        </p:nvSpPr>
        <p:spPr>
          <a:xfrm rot="5400000" flipH="1" flipV="1">
            <a:off x="2556674" y="3996243"/>
            <a:ext cx="45719" cy="346187"/>
          </a:xfrm>
          <a:prstGeom prst="rect">
            <a:avLst/>
          </a:prstGeom>
          <a:solidFill>
            <a:srgbClr val="FF6600"/>
          </a:solidFill>
          <a:ln>
            <a:solidFill>
              <a:srgbClr val="FF6600"/>
            </a:solidFill>
          </a:ln>
        </p:spPr>
        <p:txBody>
          <a:bodyPr vert="horz" wrap="square" lIns="91440" tIns="45720" rIns="91440" bIns="45720" numCol="1" anchor="t" anchorCtr="0" compatLnSpc="1"/>
          <a:lstStyle/>
          <a:p>
            <a:pPr defTabSz="1019175">
              <a:defRPr/>
            </a:pPr>
            <a:endParaRPr lang="en-US" sz="1400" kern="0" dirty="0">
              <a:solidFill>
                <a:srgbClr val="FF6600"/>
              </a:solidFill>
              <a:ea typeface="华文楷体" panose="02010600040101010101" charset="-122"/>
              <a:cs typeface="Arial" panose="020B0604020202020204" pitchFamily="34" charset="0"/>
            </a:endParaRPr>
          </a:p>
        </p:txBody>
      </p:sp>
      <p:sp>
        <p:nvSpPr>
          <p:cNvPr id="1256" name="Oval 47"/>
          <p:cNvSpPr/>
          <p:nvPr>
            <p:custDataLst>
              <p:tags r:id="rId32"/>
            </p:custDataLst>
          </p:nvPr>
        </p:nvSpPr>
        <p:spPr bwMode="gray">
          <a:xfrm rot="10800000">
            <a:off x="1870889" y="3925778"/>
            <a:ext cx="540000" cy="540000"/>
          </a:xfrm>
          <a:prstGeom prst="ellipse">
            <a:avLst/>
          </a:prstGeom>
          <a:solidFill>
            <a:srgbClr val="FF6600"/>
          </a:solidFill>
          <a:ln w="19050" cap="flat" cmpd="sng" algn="ctr">
            <a:solidFill>
              <a:srgbClr val="FFFFFF"/>
            </a:solidFill>
            <a:prstDash val="solid"/>
            <a:round/>
            <a:headEnd type="none" w="med" len="med"/>
            <a:tailEnd type="none" w="med" len="med"/>
          </a:ln>
          <a:effectLst/>
        </p:spPr>
        <p:txBody>
          <a:bodyPr vert="horz" wrap="square" lIns="0" tIns="25400" rIns="0" bIns="25400" numCol="1" rtlCol="0" anchor="ctr" anchorCtr="0" compatLnSpc="1">
            <a:noAutofit/>
          </a:bodyPr>
          <a:lstStyle/>
          <a:p>
            <a:pPr algn="ctr" defTabSz="914400" fontAlgn="base">
              <a:spcBef>
                <a:spcPct val="0"/>
              </a:spcBef>
              <a:spcAft>
                <a:spcPct val="0"/>
              </a:spcAft>
              <a:defRPr/>
            </a:pPr>
            <a:endParaRPr lang="zh-CN" altLang="en-US" sz="1400" b="1" kern="0" dirty="0">
              <a:solidFill>
                <a:srgbClr val="FFFFFF"/>
              </a:solidFill>
              <a:ea typeface="华文楷体" panose="02010600040101010101" charset="-122"/>
              <a:cs typeface="Arial" panose="020B0604020202020204" pitchFamily="34" charset="0"/>
            </a:endParaRPr>
          </a:p>
        </p:txBody>
      </p:sp>
      <p:pic>
        <p:nvPicPr>
          <p:cNvPr id="1257" name="图片 1256"/>
          <p:cNvPicPr>
            <a:picLocks noChangeAspect="1"/>
          </p:cNvPicPr>
          <p:nvPr/>
        </p:nvPicPr>
        <p:blipFill>
          <a:blip r:embed="rId33" cstate="screen"/>
          <a:stretch>
            <a:fillRect/>
          </a:stretch>
        </p:blipFill>
        <p:spPr>
          <a:xfrm>
            <a:off x="1990397" y="3980356"/>
            <a:ext cx="307128" cy="408712"/>
          </a:xfrm>
          <a:prstGeom prst="rect">
            <a:avLst/>
          </a:prstGeom>
          <a:solidFill>
            <a:srgbClr val="FF6600"/>
          </a:solidFill>
        </p:spPr>
      </p:pic>
      <p:sp>
        <p:nvSpPr>
          <p:cNvPr id="85"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生态</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组合 84"/>
          <p:cNvGrpSpPr/>
          <p:nvPr/>
        </p:nvGrpSpPr>
        <p:grpSpPr>
          <a:xfrm>
            <a:off x="771308" y="901090"/>
            <a:ext cx="5256000" cy="5315231"/>
            <a:chOff x="179588" y="1020793"/>
            <a:chExt cx="6285131" cy="5576628"/>
          </a:xfrm>
        </p:grpSpPr>
        <p:sp>
          <p:nvSpPr>
            <p:cNvPr id="86" name="矩形 85"/>
            <p:cNvSpPr/>
            <p:nvPr/>
          </p:nvSpPr>
          <p:spPr>
            <a:xfrm>
              <a:off x="179588" y="1020793"/>
              <a:ext cx="6285131" cy="504000"/>
            </a:xfrm>
            <a:prstGeom prst="rect">
              <a:avLst/>
            </a:prstGeom>
            <a:solidFill>
              <a:srgbClr val="FF5805"/>
            </a:solidFill>
          </p:spPr>
          <p:txBody>
            <a:bodyPr lIns="91420" tIns="45711" rIns="91420" bIns="45711" anchor="ctr"/>
            <a:lstStyle/>
            <a:p>
              <a:pPr algn="ctr" defTabSz="914400">
                <a:lnSpc>
                  <a:spcPct val="90000"/>
                </a:lnSpc>
              </a:pPr>
              <a:r>
                <a:rPr lang="en-US" altLang="zh-CN" b="1" dirty="0" smtClean="0">
                  <a:solidFill>
                    <a:srgbClr val="FFFFFF"/>
                  </a:solidFill>
                  <a:cs typeface="Arial" panose="020B0604020202020204" pitchFamily="34" charset="0"/>
                </a:rPr>
                <a:t>xx</a:t>
              </a:r>
              <a:endParaRPr lang="en-GB" altLang="zh-CN" b="1" dirty="0">
                <a:solidFill>
                  <a:srgbClr val="FFFFFF"/>
                </a:solidFill>
                <a:cs typeface="Arial" panose="020B0604020202020204" pitchFamily="34" charset="0"/>
              </a:endParaRPr>
            </a:p>
          </p:txBody>
        </p:sp>
        <p:sp>
          <p:nvSpPr>
            <p:cNvPr id="87" name="矩形 86"/>
            <p:cNvSpPr/>
            <p:nvPr/>
          </p:nvSpPr>
          <p:spPr>
            <a:xfrm>
              <a:off x="179588" y="1474402"/>
              <a:ext cx="6285131" cy="5123019"/>
            </a:xfrm>
            <a:prstGeom prst="rect">
              <a:avLst/>
            </a:prstGeom>
            <a:noFill/>
            <a:ln w="19050">
              <a:solidFill>
                <a:srgbClr val="FF5805"/>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1218565"/>
              <a:endParaRPr lang="zh-CN" altLang="en-US" sz="1400">
                <a:solidFill>
                  <a:prstClr val="white"/>
                </a:solidFill>
              </a:endParaRPr>
            </a:p>
          </p:txBody>
        </p:sp>
        <p:sp>
          <p:nvSpPr>
            <p:cNvPr id="88" name="矩形 87"/>
            <p:cNvSpPr/>
            <p:nvPr/>
          </p:nvSpPr>
          <p:spPr>
            <a:xfrm>
              <a:off x="218278" y="1586449"/>
              <a:ext cx="6162815" cy="355185"/>
            </a:xfrm>
            <a:prstGeom prst="rect">
              <a:avLst/>
            </a:prstGeom>
          </p:spPr>
          <p:txBody>
            <a:bodyPr wrap="square" lIns="91420" tIns="45711" rIns="91420" bIns="45711">
              <a:spAutoFit/>
            </a:bodyPr>
            <a:lstStyle/>
            <a:p>
              <a:pPr defTabSz="932815"/>
              <a:r>
                <a:rPr lang="en-US" altLang="zh-CN" sz="1600" b="1" dirty="0" smtClean="0">
                  <a:solidFill>
                    <a:srgbClr val="000000"/>
                  </a:solidFill>
                </a:rPr>
                <a:t>xx</a:t>
              </a:r>
              <a:r>
                <a:rPr lang="zh-CN" altLang="en-US" sz="1600" b="1" dirty="0" smtClean="0">
                  <a:solidFill>
                    <a:srgbClr val="FF5805"/>
                  </a:solidFill>
                  <a:cs typeface="Calibri" panose="020F0502020204030204" pitchFamily="34" charset="0"/>
                </a:rPr>
                <a:t>”</a:t>
              </a:r>
              <a:endParaRPr lang="zh-CN" altLang="en-US" sz="1600" b="1" dirty="0">
                <a:solidFill>
                  <a:srgbClr val="FF5805"/>
                </a:solidFill>
              </a:endParaRPr>
            </a:p>
          </p:txBody>
        </p:sp>
        <p:sp>
          <p:nvSpPr>
            <p:cNvPr id="89" name="Freeform 6"/>
            <p:cNvSpPr/>
            <p:nvPr>
              <p:custDataLst>
                <p:tags r:id="rId2"/>
              </p:custDataLst>
            </p:nvPr>
          </p:nvSpPr>
          <p:spPr bwMode="auto">
            <a:xfrm>
              <a:off x="2190610" y="3606599"/>
              <a:ext cx="2040339" cy="1036637"/>
            </a:xfrm>
            <a:custGeom>
              <a:avLst/>
              <a:gdLst>
                <a:gd name="T0" fmla="*/ 345 w 394"/>
                <a:gd name="T1" fmla="*/ 105 h 218"/>
                <a:gd name="T2" fmla="*/ 346 w 394"/>
                <a:gd name="T3" fmla="*/ 99 h 218"/>
                <a:gd name="T4" fmla="*/ 280 w 394"/>
                <a:gd name="T5" fmla="*/ 33 h 218"/>
                <a:gd name="T6" fmla="*/ 253 w 394"/>
                <a:gd name="T7" fmla="*/ 39 h 218"/>
                <a:gd name="T8" fmla="*/ 178 w 394"/>
                <a:gd name="T9" fmla="*/ 0 h 218"/>
                <a:gd name="T10" fmla="*/ 90 w 394"/>
                <a:gd name="T11" fmla="*/ 67 h 218"/>
                <a:gd name="T12" fmla="*/ 76 w 394"/>
                <a:gd name="T13" fmla="*/ 66 h 218"/>
                <a:gd name="T14" fmla="*/ 0 w 394"/>
                <a:gd name="T15" fmla="*/ 142 h 218"/>
                <a:gd name="T16" fmla="*/ 76 w 394"/>
                <a:gd name="T17" fmla="*/ 218 h 218"/>
                <a:gd name="T18" fmla="*/ 337 w 394"/>
                <a:gd name="T19" fmla="*/ 218 h 218"/>
                <a:gd name="T20" fmla="*/ 337 w 394"/>
                <a:gd name="T21" fmla="*/ 218 h 218"/>
                <a:gd name="T22" fmla="*/ 337 w 394"/>
                <a:gd name="T23" fmla="*/ 218 h 218"/>
                <a:gd name="T24" fmla="*/ 394 w 394"/>
                <a:gd name="T25" fmla="*/ 161 h 218"/>
                <a:gd name="T26" fmla="*/ 345 w 394"/>
                <a:gd name="T27" fmla="*/ 10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4" h="218">
                  <a:moveTo>
                    <a:pt x="345" y="105"/>
                  </a:moveTo>
                  <a:cubicBezTo>
                    <a:pt x="346" y="104"/>
                    <a:pt x="346" y="101"/>
                    <a:pt x="346" y="99"/>
                  </a:cubicBezTo>
                  <a:cubicBezTo>
                    <a:pt x="346" y="63"/>
                    <a:pt x="316" y="33"/>
                    <a:pt x="280" y="33"/>
                  </a:cubicBezTo>
                  <a:cubicBezTo>
                    <a:pt x="270" y="33"/>
                    <a:pt x="261" y="35"/>
                    <a:pt x="253" y="39"/>
                  </a:cubicBezTo>
                  <a:cubicBezTo>
                    <a:pt x="236" y="15"/>
                    <a:pt x="209" y="0"/>
                    <a:pt x="178" y="0"/>
                  </a:cubicBezTo>
                  <a:cubicBezTo>
                    <a:pt x="136" y="0"/>
                    <a:pt x="100" y="28"/>
                    <a:pt x="90" y="67"/>
                  </a:cubicBezTo>
                  <a:cubicBezTo>
                    <a:pt x="85" y="66"/>
                    <a:pt x="80" y="66"/>
                    <a:pt x="76" y="66"/>
                  </a:cubicBezTo>
                  <a:cubicBezTo>
                    <a:pt x="34" y="66"/>
                    <a:pt x="0" y="100"/>
                    <a:pt x="0" y="142"/>
                  </a:cubicBezTo>
                  <a:cubicBezTo>
                    <a:pt x="0" y="183"/>
                    <a:pt x="34" y="218"/>
                    <a:pt x="76" y="218"/>
                  </a:cubicBezTo>
                  <a:cubicBezTo>
                    <a:pt x="337" y="218"/>
                    <a:pt x="337" y="218"/>
                    <a:pt x="337" y="218"/>
                  </a:cubicBezTo>
                  <a:cubicBezTo>
                    <a:pt x="337" y="218"/>
                    <a:pt x="337" y="218"/>
                    <a:pt x="337" y="218"/>
                  </a:cubicBezTo>
                  <a:cubicBezTo>
                    <a:pt x="337" y="218"/>
                    <a:pt x="337" y="218"/>
                    <a:pt x="337" y="218"/>
                  </a:cubicBezTo>
                  <a:cubicBezTo>
                    <a:pt x="368" y="218"/>
                    <a:pt x="394" y="193"/>
                    <a:pt x="394" y="161"/>
                  </a:cubicBezTo>
                  <a:cubicBezTo>
                    <a:pt x="394" y="133"/>
                    <a:pt x="373" y="109"/>
                    <a:pt x="345" y="105"/>
                  </a:cubicBezTo>
                  <a:close/>
                </a:path>
              </a:pathLst>
            </a:custGeom>
            <a:noFill/>
            <a:ln w="28575" cap="flat">
              <a:solidFill>
                <a:srgbClr val="778888"/>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20" tIns="45711" rIns="91420" bIns="45711" numCol="1" anchor="t" anchorCtr="0" compatLnSpc="1"/>
            <a:lstStyle/>
            <a:p>
              <a:pPr defTabSz="914400">
                <a:defRPr/>
              </a:pPr>
              <a:endParaRPr lang="en-AU" sz="1050" kern="0" dirty="0">
                <a:solidFill>
                  <a:srgbClr val="000000"/>
                </a:solidFill>
                <a:cs typeface="Arial" panose="020B0604020202020204" pitchFamily="34" charset="0"/>
              </a:endParaRPr>
            </a:p>
          </p:txBody>
        </p:sp>
        <p:sp>
          <p:nvSpPr>
            <p:cNvPr id="90" name="Freeform 6"/>
            <p:cNvSpPr/>
            <p:nvPr>
              <p:custDataLst>
                <p:tags r:id="rId3"/>
              </p:custDataLst>
            </p:nvPr>
          </p:nvSpPr>
          <p:spPr bwMode="auto">
            <a:xfrm>
              <a:off x="341194" y="2461546"/>
              <a:ext cx="2279175" cy="917651"/>
            </a:xfrm>
            <a:custGeom>
              <a:avLst/>
              <a:gdLst>
                <a:gd name="T0" fmla="*/ 345 w 394"/>
                <a:gd name="T1" fmla="*/ 105 h 218"/>
                <a:gd name="T2" fmla="*/ 346 w 394"/>
                <a:gd name="T3" fmla="*/ 99 h 218"/>
                <a:gd name="T4" fmla="*/ 280 w 394"/>
                <a:gd name="T5" fmla="*/ 33 h 218"/>
                <a:gd name="T6" fmla="*/ 253 w 394"/>
                <a:gd name="T7" fmla="*/ 39 h 218"/>
                <a:gd name="T8" fmla="*/ 178 w 394"/>
                <a:gd name="T9" fmla="*/ 0 h 218"/>
                <a:gd name="T10" fmla="*/ 90 w 394"/>
                <a:gd name="T11" fmla="*/ 67 h 218"/>
                <a:gd name="T12" fmla="*/ 76 w 394"/>
                <a:gd name="T13" fmla="*/ 66 h 218"/>
                <a:gd name="T14" fmla="*/ 0 w 394"/>
                <a:gd name="T15" fmla="*/ 142 h 218"/>
                <a:gd name="T16" fmla="*/ 76 w 394"/>
                <a:gd name="T17" fmla="*/ 218 h 218"/>
                <a:gd name="T18" fmla="*/ 337 w 394"/>
                <a:gd name="T19" fmla="*/ 218 h 218"/>
                <a:gd name="T20" fmla="*/ 337 w 394"/>
                <a:gd name="T21" fmla="*/ 218 h 218"/>
                <a:gd name="T22" fmla="*/ 337 w 394"/>
                <a:gd name="T23" fmla="*/ 218 h 218"/>
                <a:gd name="T24" fmla="*/ 394 w 394"/>
                <a:gd name="T25" fmla="*/ 161 h 218"/>
                <a:gd name="T26" fmla="*/ 345 w 394"/>
                <a:gd name="T27" fmla="*/ 10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4" h="218">
                  <a:moveTo>
                    <a:pt x="345" y="105"/>
                  </a:moveTo>
                  <a:cubicBezTo>
                    <a:pt x="346" y="104"/>
                    <a:pt x="346" y="101"/>
                    <a:pt x="346" y="99"/>
                  </a:cubicBezTo>
                  <a:cubicBezTo>
                    <a:pt x="346" y="63"/>
                    <a:pt x="316" y="33"/>
                    <a:pt x="280" y="33"/>
                  </a:cubicBezTo>
                  <a:cubicBezTo>
                    <a:pt x="270" y="33"/>
                    <a:pt x="261" y="35"/>
                    <a:pt x="253" y="39"/>
                  </a:cubicBezTo>
                  <a:cubicBezTo>
                    <a:pt x="236" y="15"/>
                    <a:pt x="209" y="0"/>
                    <a:pt x="178" y="0"/>
                  </a:cubicBezTo>
                  <a:cubicBezTo>
                    <a:pt x="136" y="0"/>
                    <a:pt x="100" y="28"/>
                    <a:pt x="90" y="67"/>
                  </a:cubicBezTo>
                  <a:cubicBezTo>
                    <a:pt x="85" y="66"/>
                    <a:pt x="80" y="66"/>
                    <a:pt x="76" y="66"/>
                  </a:cubicBezTo>
                  <a:cubicBezTo>
                    <a:pt x="34" y="66"/>
                    <a:pt x="0" y="100"/>
                    <a:pt x="0" y="142"/>
                  </a:cubicBezTo>
                  <a:cubicBezTo>
                    <a:pt x="0" y="183"/>
                    <a:pt x="34" y="218"/>
                    <a:pt x="76" y="218"/>
                  </a:cubicBezTo>
                  <a:cubicBezTo>
                    <a:pt x="337" y="218"/>
                    <a:pt x="337" y="218"/>
                    <a:pt x="337" y="218"/>
                  </a:cubicBezTo>
                  <a:cubicBezTo>
                    <a:pt x="337" y="218"/>
                    <a:pt x="337" y="218"/>
                    <a:pt x="337" y="218"/>
                  </a:cubicBezTo>
                  <a:cubicBezTo>
                    <a:pt x="337" y="218"/>
                    <a:pt x="337" y="218"/>
                    <a:pt x="337" y="218"/>
                  </a:cubicBezTo>
                  <a:cubicBezTo>
                    <a:pt x="368" y="218"/>
                    <a:pt x="394" y="193"/>
                    <a:pt x="394" y="161"/>
                  </a:cubicBezTo>
                  <a:cubicBezTo>
                    <a:pt x="394" y="133"/>
                    <a:pt x="373" y="109"/>
                    <a:pt x="345" y="105"/>
                  </a:cubicBezTo>
                  <a:close/>
                </a:path>
              </a:pathLst>
            </a:custGeom>
            <a:noFill/>
            <a:ln w="28575" cap="flat">
              <a:solidFill>
                <a:srgbClr val="778888"/>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20" tIns="45711" rIns="91420" bIns="45711" numCol="1" anchor="t" anchorCtr="0" compatLnSpc="1"/>
            <a:lstStyle/>
            <a:p>
              <a:pPr defTabSz="914400">
                <a:defRPr/>
              </a:pPr>
              <a:endParaRPr lang="en-AU" sz="1050" kern="0" dirty="0">
                <a:solidFill>
                  <a:srgbClr val="000000"/>
                </a:solidFill>
                <a:cs typeface="Arial" panose="020B0604020202020204" pitchFamily="34" charset="0"/>
              </a:endParaRPr>
            </a:p>
          </p:txBody>
        </p:sp>
        <p:sp>
          <p:nvSpPr>
            <p:cNvPr id="91" name="矩形 90"/>
            <p:cNvSpPr/>
            <p:nvPr/>
          </p:nvSpPr>
          <p:spPr>
            <a:xfrm>
              <a:off x="713998" y="2702368"/>
              <a:ext cx="1492419" cy="548932"/>
            </a:xfrm>
            <a:prstGeom prst="rect">
              <a:avLst/>
            </a:prstGeom>
          </p:spPr>
          <p:txBody>
            <a:bodyPr wrap="square" lIns="91420" tIns="45711" rIns="91420" bIns="45711">
              <a:spAutoFit/>
            </a:bodyPr>
            <a:lstStyle/>
            <a:p>
              <a:pPr algn="ctr" defTabSz="932815"/>
              <a:r>
                <a:rPr lang="en-US" altLang="zh-CN" sz="1600" b="1" dirty="0" smtClean="0">
                  <a:solidFill>
                    <a:srgbClr val="000000"/>
                  </a:solidFill>
                </a:rPr>
                <a:t>xx</a:t>
              </a:r>
              <a:endParaRPr lang="en-US" altLang="zh-CN" sz="1600" b="1" dirty="0" smtClean="0">
                <a:solidFill>
                  <a:srgbClr val="000000"/>
                </a:solidFill>
              </a:endParaRPr>
            </a:p>
            <a:p>
              <a:pPr algn="ctr" defTabSz="932815">
                <a:defRPr/>
              </a:pPr>
              <a:r>
                <a:rPr lang="zh-CN" altLang="en-US" sz="1200" b="1" dirty="0">
                  <a:solidFill>
                    <a:srgbClr val="000000"/>
                  </a:solidFill>
                </a:rPr>
                <a:t>辅助决策</a:t>
              </a:r>
              <a:endParaRPr lang="zh-CN" altLang="en-US" sz="1200" b="1" dirty="0">
                <a:solidFill>
                  <a:srgbClr val="000000"/>
                </a:solidFill>
              </a:endParaRPr>
            </a:p>
          </p:txBody>
        </p:sp>
        <p:sp>
          <p:nvSpPr>
            <p:cNvPr id="92" name="矩形 91"/>
            <p:cNvSpPr/>
            <p:nvPr/>
          </p:nvSpPr>
          <p:spPr>
            <a:xfrm>
              <a:off x="2936998" y="3875433"/>
              <a:ext cx="492973" cy="355185"/>
            </a:xfrm>
            <a:prstGeom prst="rect">
              <a:avLst/>
            </a:prstGeom>
          </p:spPr>
          <p:txBody>
            <a:bodyPr wrap="none" lIns="91420" tIns="45711" rIns="91420" bIns="45711">
              <a:spAutoFit/>
            </a:bodyPr>
            <a:lstStyle/>
            <a:p>
              <a:pPr algn="ctr" defTabSz="932815"/>
              <a:r>
                <a:rPr lang="en-US" altLang="zh-CN" sz="1600" b="1" dirty="0" smtClean="0">
                  <a:solidFill>
                    <a:srgbClr val="FF5805"/>
                  </a:solidFill>
                  <a:cs typeface="Calibri" panose="020F0502020204030204" pitchFamily="34" charset="0"/>
                </a:rPr>
                <a:t>xx</a:t>
              </a:r>
              <a:endParaRPr lang="zh-CN" altLang="en-US" sz="1600" b="1" dirty="0">
                <a:solidFill>
                  <a:srgbClr val="FF5805"/>
                </a:solidFill>
                <a:cs typeface="Calibri" panose="020F0502020204030204" pitchFamily="34" charset="0"/>
              </a:endParaRPr>
            </a:p>
          </p:txBody>
        </p:sp>
        <p:sp>
          <p:nvSpPr>
            <p:cNvPr id="93" name="TextBox 32"/>
            <p:cNvSpPr txBox="1"/>
            <p:nvPr>
              <p:custDataLst>
                <p:tags r:id="rId4"/>
              </p:custDataLst>
            </p:nvPr>
          </p:nvSpPr>
          <p:spPr>
            <a:xfrm>
              <a:off x="780832" y="3441146"/>
              <a:ext cx="1269062" cy="594679"/>
            </a:xfrm>
            <a:prstGeom prst="rect">
              <a:avLst/>
            </a:prstGeom>
            <a:noFill/>
            <a:ln>
              <a:noFill/>
            </a:ln>
          </p:spPr>
          <p:txBody>
            <a:bodyPr wrap="square" lIns="91420" tIns="45711" rIns="91420" bIns="45711" rtlCol="0">
              <a:spAutoFit/>
            </a:bodyPr>
            <a:lstStyle/>
            <a:p>
              <a:pPr marL="171450" indent="-171450" defTabSz="914400">
                <a:lnSpc>
                  <a:spcPct val="125000"/>
                </a:lnSpc>
                <a:spcBef>
                  <a:spcPts val="100"/>
                </a:spcBef>
                <a:buFont typeface="Arial" panose="020B0604020202020204" pitchFamily="34" charset="0"/>
                <a:buChar char="•"/>
                <a:defRPr/>
              </a:pPr>
              <a:r>
                <a:rPr lang="en-US" altLang="zh-CN" sz="1200" kern="0" dirty="0" smtClean="0">
                  <a:solidFill>
                    <a:srgbClr val="000000"/>
                  </a:solidFill>
                </a:rPr>
                <a:t>xx</a:t>
              </a:r>
              <a:endParaRPr lang="en-US" altLang="zh-CN" sz="1200" kern="0" dirty="0">
                <a:solidFill>
                  <a:srgbClr val="000000"/>
                </a:solidFill>
              </a:endParaRPr>
            </a:p>
            <a:p>
              <a:pPr marL="171450" indent="-171450" defTabSz="914400">
                <a:lnSpc>
                  <a:spcPct val="125000"/>
                </a:lnSpc>
                <a:spcBef>
                  <a:spcPts val="100"/>
                </a:spcBef>
                <a:buFont typeface="Arial" panose="020B0604020202020204" pitchFamily="34" charset="0"/>
                <a:buChar char="•"/>
                <a:defRPr/>
              </a:pPr>
              <a:r>
                <a:rPr lang="en-US" altLang="zh-CN" sz="1200" kern="0" dirty="0">
                  <a:solidFill>
                    <a:srgbClr val="000000"/>
                  </a:solidFill>
                </a:rPr>
                <a:t>……</a:t>
              </a:r>
              <a:endParaRPr lang="zh-CN" altLang="en-US" sz="1200" kern="0" dirty="0">
                <a:solidFill>
                  <a:srgbClr val="000000"/>
                </a:solidFill>
              </a:endParaRPr>
            </a:p>
          </p:txBody>
        </p:sp>
        <p:sp>
          <p:nvSpPr>
            <p:cNvPr id="94" name="Freeform 6"/>
            <p:cNvSpPr/>
            <p:nvPr>
              <p:custDataLst>
                <p:tags r:id="rId5"/>
              </p:custDataLst>
            </p:nvPr>
          </p:nvSpPr>
          <p:spPr bwMode="auto">
            <a:xfrm>
              <a:off x="3930556" y="2461584"/>
              <a:ext cx="2063092" cy="917613"/>
            </a:xfrm>
            <a:custGeom>
              <a:avLst/>
              <a:gdLst>
                <a:gd name="T0" fmla="*/ 345 w 394"/>
                <a:gd name="T1" fmla="*/ 105 h 218"/>
                <a:gd name="T2" fmla="*/ 346 w 394"/>
                <a:gd name="T3" fmla="*/ 99 h 218"/>
                <a:gd name="T4" fmla="*/ 280 w 394"/>
                <a:gd name="T5" fmla="*/ 33 h 218"/>
                <a:gd name="T6" fmla="*/ 253 w 394"/>
                <a:gd name="T7" fmla="*/ 39 h 218"/>
                <a:gd name="T8" fmla="*/ 178 w 394"/>
                <a:gd name="T9" fmla="*/ 0 h 218"/>
                <a:gd name="T10" fmla="*/ 90 w 394"/>
                <a:gd name="T11" fmla="*/ 67 h 218"/>
                <a:gd name="T12" fmla="*/ 76 w 394"/>
                <a:gd name="T13" fmla="*/ 66 h 218"/>
                <a:gd name="T14" fmla="*/ 0 w 394"/>
                <a:gd name="T15" fmla="*/ 142 h 218"/>
                <a:gd name="T16" fmla="*/ 76 w 394"/>
                <a:gd name="T17" fmla="*/ 218 h 218"/>
                <a:gd name="T18" fmla="*/ 337 w 394"/>
                <a:gd name="T19" fmla="*/ 218 h 218"/>
                <a:gd name="T20" fmla="*/ 337 w 394"/>
                <a:gd name="T21" fmla="*/ 218 h 218"/>
                <a:gd name="T22" fmla="*/ 337 w 394"/>
                <a:gd name="T23" fmla="*/ 218 h 218"/>
                <a:gd name="T24" fmla="*/ 394 w 394"/>
                <a:gd name="T25" fmla="*/ 161 h 218"/>
                <a:gd name="T26" fmla="*/ 345 w 394"/>
                <a:gd name="T27" fmla="*/ 10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4" h="218">
                  <a:moveTo>
                    <a:pt x="345" y="105"/>
                  </a:moveTo>
                  <a:cubicBezTo>
                    <a:pt x="346" y="104"/>
                    <a:pt x="346" y="101"/>
                    <a:pt x="346" y="99"/>
                  </a:cubicBezTo>
                  <a:cubicBezTo>
                    <a:pt x="346" y="63"/>
                    <a:pt x="316" y="33"/>
                    <a:pt x="280" y="33"/>
                  </a:cubicBezTo>
                  <a:cubicBezTo>
                    <a:pt x="270" y="33"/>
                    <a:pt x="261" y="35"/>
                    <a:pt x="253" y="39"/>
                  </a:cubicBezTo>
                  <a:cubicBezTo>
                    <a:pt x="236" y="15"/>
                    <a:pt x="209" y="0"/>
                    <a:pt x="178" y="0"/>
                  </a:cubicBezTo>
                  <a:cubicBezTo>
                    <a:pt x="136" y="0"/>
                    <a:pt x="100" y="28"/>
                    <a:pt x="90" y="67"/>
                  </a:cubicBezTo>
                  <a:cubicBezTo>
                    <a:pt x="85" y="66"/>
                    <a:pt x="80" y="66"/>
                    <a:pt x="76" y="66"/>
                  </a:cubicBezTo>
                  <a:cubicBezTo>
                    <a:pt x="34" y="66"/>
                    <a:pt x="0" y="100"/>
                    <a:pt x="0" y="142"/>
                  </a:cubicBezTo>
                  <a:cubicBezTo>
                    <a:pt x="0" y="183"/>
                    <a:pt x="34" y="218"/>
                    <a:pt x="76" y="218"/>
                  </a:cubicBezTo>
                  <a:cubicBezTo>
                    <a:pt x="337" y="218"/>
                    <a:pt x="337" y="218"/>
                    <a:pt x="337" y="218"/>
                  </a:cubicBezTo>
                  <a:cubicBezTo>
                    <a:pt x="337" y="218"/>
                    <a:pt x="337" y="218"/>
                    <a:pt x="337" y="218"/>
                  </a:cubicBezTo>
                  <a:cubicBezTo>
                    <a:pt x="337" y="218"/>
                    <a:pt x="337" y="218"/>
                    <a:pt x="337" y="218"/>
                  </a:cubicBezTo>
                  <a:cubicBezTo>
                    <a:pt x="368" y="218"/>
                    <a:pt x="394" y="193"/>
                    <a:pt x="394" y="161"/>
                  </a:cubicBezTo>
                  <a:cubicBezTo>
                    <a:pt x="394" y="133"/>
                    <a:pt x="373" y="109"/>
                    <a:pt x="345" y="105"/>
                  </a:cubicBezTo>
                  <a:close/>
                </a:path>
              </a:pathLst>
            </a:custGeom>
            <a:noFill/>
            <a:ln w="28575" cap="flat">
              <a:solidFill>
                <a:srgbClr val="778888"/>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20" tIns="45711" rIns="91420" bIns="45711" numCol="1" anchor="t" anchorCtr="0" compatLnSpc="1"/>
            <a:lstStyle/>
            <a:p>
              <a:pPr defTabSz="914400">
                <a:defRPr/>
              </a:pPr>
              <a:endParaRPr lang="en-AU" sz="1050" kern="0" dirty="0">
                <a:solidFill>
                  <a:srgbClr val="000000"/>
                </a:solidFill>
                <a:cs typeface="Arial" panose="020B0604020202020204" pitchFamily="34" charset="0"/>
              </a:endParaRPr>
            </a:p>
          </p:txBody>
        </p:sp>
        <p:sp>
          <p:nvSpPr>
            <p:cNvPr id="95" name="矩形 94"/>
            <p:cNvSpPr/>
            <p:nvPr/>
          </p:nvSpPr>
          <p:spPr>
            <a:xfrm>
              <a:off x="4459792" y="2702368"/>
              <a:ext cx="956855" cy="548932"/>
            </a:xfrm>
            <a:prstGeom prst="rect">
              <a:avLst/>
            </a:prstGeom>
          </p:spPr>
          <p:txBody>
            <a:bodyPr wrap="none" lIns="91420" tIns="45711" rIns="91420" bIns="45711">
              <a:spAutoFit/>
            </a:bodyPr>
            <a:lstStyle/>
            <a:p>
              <a:pPr algn="ctr" defTabSz="932815"/>
              <a:r>
                <a:rPr lang="en-US" altLang="zh-CN" sz="1600" b="1" dirty="0" smtClean="0">
                  <a:solidFill>
                    <a:srgbClr val="000000"/>
                  </a:solidFill>
                </a:rPr>
                <a:t>xx</a:t>
              </a:r>
              <a:endParaRPr lang="en-US" altLang="zh-CN" sz="1600" b="1" dirty="0" smtClean="0">
                <a:solidFill>
                  <a:srgbClr val="000000"/>
                </a:solidFill>
              </a:endParaRPr>
            </a:p>
            <a:p>
              <a:pPr algn="ctr" defTabSz="932815">
                <a:defRPr/>
              </a:pPr>
              <a:r>
                <a:rPr lang="zh-CN" altLang="en-US" sz="1200" b="1" dirty="0">
                  <a:solidFill>
                    <a:srgbClr val="000000"/>
                  </a:solidFill>
                </a:rPr>
                <a:t>融资交易</a:t>
              </a:r>
              <a:endParaRPr lang="zh-CN" altLang="en-US" sz="1200" b="1" dirty="0">
                <a:solidFill>
                  <a:srgbClr val="000000"/>
                </a:solidFill>
              </a:endParaRPr>
            </a:p>
          </p:txBody>
        </p:sp>
        <p:sp>
          <p:nvSpPr>
            <p:cNvPr id="96" name="TextBox 32"/>
            <p:cNvSpPr txBox="1"/>
            <p:nvPr>
              <p:custDataLst>
                <p:tags r:id="rId6"/>
              </p:custDataLst>
            </p:nvPr>
          </p:nvSpPr>
          <p:spPr>
            <a:xfrm>
              <a:off x="4199418" y="3441146"/>
              <a:ext cx="1794230" cy="594679"/>
            </a:xfrm>
            <a:prstGeom prst="rect">
              <a:avLst/>
            </a:prstGeom>
            <a:noFill/>
            <a:ln>
              <a:noFill/>
            </a:ln>
          </p:spPr>
          <p:txBody>
            <a:bodyPr wrap="square" lIns="91420" tIns="45711" rIns="91420" bIns="45711" rtlCol="0">
              <a:spAutoFit/>
            </a:bodyPr>
            <a:lstStyle/>
            <a:p>
              <a:pPr marL="171450" indent="-171450" defTabSz="914400">
                <a:lnSpc>
                  <a:spcPct val="125000"/>
                </a:lnSpc>
                <a:spcBef>
                  <a:spcPts val="100"/>
                </a:spcBef>
                <a:buFont typeface="Arial" panose="020B0604020202020204" pitchFamily="34" charset="0"/>
                <a:buChar char="•"/>
                <a:defRPr/>
              </a:pPr>
              <a:r>
                <a:rPr lang="en-US" altLang="zh-CN" sz="1200" kern="0" dirty="0" smtClean="0">
                  <a:solidFill>
                    <a:srgbClr val="000000"/>
                  </a:solidFill>
                </a:rPr>
                <a:t>xx</a:t>
              </a:r>
              <a:endParaRPr lang="zh-CN" altLang="en-US" sz="1200" kern="0" dirty="0">
                <a:solidFill>
                  <a:srgbClr val="000000"/>
                </a:solidFill>
              </a:endParaRPr>
            </a:p>
            <a:p>
              <a:pPr marL="171450" indent="-171450" defTabSz="914400">
                <a:lnSpc>
                  <a:spcPct val="125000"/>
                </a:lnSpc>
                <a:spcBef>
                  <a:spcPts val="100"/>
                </a:spcBef>
                <a:buFont typeface="Arial" panose="020B0604020202020204" pitchFamily="34" charset="0"/>
                <a:buChar char="•"/>
                <a:defRPr/>
              </a:pPr>
              <a:r>
                <a:rPr lang="en-US" altLang="zh-CN" sz="1200" kern="0" dirty="0">
                  <a:solidFill>
                    <a:srgbClr val="000000"/>
                  </a:solidFill>
                </a:rPr>
                <a:t>……</a:t>
              </a:r>
              <a:endParaRPr lang="zh-CN" altLang="en-US" sz="1200" kern="0" dirty="0">
                <a:solidFill>
                  <a:srgbClr val="000000"/>
                </a:solidFill>
              </a:endParaRPr>
            </a:p>
          </p:txBody>
        </p:sp>
        <p:sp>
          <p:nvSpPr>
            <p:cNvPr id="97" name="Freeform 6"/>
            <p:cNvSpPr/>
            <p:nvPr>
              <p:custDataLst>
                <p:tags r:id="rId7"/>
              </p:custDataLst>
            </p:nvPr>
          </p:nvSpPr>
          <p:spPr bwMode="auto">
            <a:xfrm>
              <a:off x="341194" y="5537657"/>
              <a:ext cx="2279175" cy="917651"/>
            </a:xfrm>
            <a:custGeom>
              <a:avLst/>
              <a:gdLst>
                <a:gd name="T0" fmla="*/ 345 w 394"/>
                <a:gd name="T1" fmla="*/ 105 h 218"/>
                <a:gd name="T2" fmla="*/ 346 w 394"/>
                <a:gd name="T3" fmla="*/ 99 h 218"/>
                <a:gd name="T4" fmla="*/ 280 w 394"/>
                <a:gd name="T5" fmla="*/ 33 h 218"/>
                <a:gd name="T6" fmla="*/ 253 w 394"/>
                <a:gd name="T7" fmla="*/ 39 h 218"/>
                <a:gd name="T8" fmla="*/ 178 w 394"/>
                <a:gd name="T9" fmla="*/ 0 h 218"/>
                <a:gd name="T10" fmla="*/ 90 w 394"/>
                <a:gd name="T11" fmla="*/ 67 h 218"/>
                <a:gd name="T12" fmla="*/ 76 w 394"/>
                <a:gd name="T13" fmla="*/ 66 h 218"/>
                <a:gd name="T14" fmla="*/ 0 w 394"/>
                <a:gd name="T15" fmla="*/ 142 h 218"/>
                <a:gd name="T16" fmla="*/ 76 w 394"/>
                <a:gd name="T17" fmla="*/ 218 h 218"/>
                <a:gd name="T18" fmla="*/ 337 w 394"/>
                <a:gd name="T19" fmla="*/ 218 h 218"/>
                <a:gd name="T20" fmla="*/ 337 w 394"/>
                <a:gd name="T21" fmla="*/ 218 h 218"/>
                <a:gd name="T22" fmla="*/ 337 w 394"/>
                <a:gd name="T23" fmla="*/ 218 h 218"/>
                <a:gd name="T24" fmla="*/ 394 w 394"/>
                <a:gd name="T25" fmla="*/ 161 h 218"/>
                <a:gd name="T26" fmla="*/ 345 w 394"/>
                <a:gd name="T27" fmla="*/ 10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4" h="218">
                  <a:moveTo>
                    <a:pt x="345" y="105"/>
                  </a:moveTo>
                  <a:cubicBezTo>
                    <a:pt x="346" y="104"/>
                    <a:pt x="346" y="101"/>
                    <a:pt x="346" y="99"/>
                  </a:cubicBezTo>
                  <a:cubicBezTo>
                    <a:pt x="346" y="63"/>
                    <a:pt x="316" y="33"/>
                    <a:pt x="280" y="33"/>
                  </a:cubicBezTo>
                  <a:cubicBezTo>
                    <a:pt x="270" y="33"/>
                    <a:pt x="261" y="35"/>
                    <a:pt x="253" y="39"/>
                  </a:cubicBezTo>
                  <a:cubicBezTo>
                    <a:pt x="236" y="15"/>
                    <a:pt x="209" y="0"/>
                    <a:pt x="178" y="0"/>
                  </a:cubicBezTo>
                  <a:cubicBezTo>
                    <a:pt x="136" y="0"/>
                    <a:pt x="100" y="28"/>
                    <a:pt x="90" y="67"/>
                  </a:cubicBezTo>
                  <a:cubicBezTo>
                    <a:pt x="85" y="66"/>
                    <a:pt x="80" y="66"/>
                    <a:pt x="76" y="66"/>
                  </a:cubicBezTo>
                  <a:cubicBezTo>
                    <a:pt x="34" y="66"/>
                    <a:pt x="0" y="100"/>
                    <a:pt x="0" y="142"/>
                  </a:cubicBezTo>
                  <a:cubicBezTo>
                    <a:pt x="0" y="183"/>
                    <a:pt x="34" y="218"/>
                    <a:pt x="76" y="218"/>
                  </a:cubicBezTo>
                  <a:cubicBezTo>
                    <a:pt x="337" y="218"/>
                    <a:pt x="337" y="218"/>
                    <a:pt x="337" y="218"/>
                  </a:cubicBezTo>
                  <a:cubicBezTo>
                    <a:pt x="337" y="218"/>
                    <a:pt x="337" y="218"/>
                    <a:pt x="337" y="218"/>
                  </a:cubicBezTo>
                  <a:cubicBezTo>
                    <a:pt x="337" y="218"/>
                    <a:pt x="337" y="218"/>
                    <a:pt x="337" y="218"/>
                  </a:cubicBezTo>
                  <a:cubicBezTo>
                    <a:pt x="368" y="218"/>
                    <a:pt x="394" y="193"/>
                    <a:pt x="394" y="161"/>
                  </a:cubicBezTo>
                  <a:cubicBezTo>
                    <a:pt x="394" y="133"/>
                    <a:pt x="373" y="109"/>
                    <a:pt x="345" y="105"/>
                  </a:cubicBezTo>
                  <a:close/>
                </a:path>
              </a:pathLst>
            </a:custGeom>
            <a:noFill/>
            <a:ln w="28575" cap="flat">
              <a:solidFill>
                <a:srgbClr val="778888"/>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20" tIns="45711" rIns="91420" bIns="45711" numCol="1" anchor="t" anchorCtr="0" compatLnSpc="1"/>
            <a:lstStyle/>
            <a:p>
              <a:pPr defTabSz="914400">
                <a:defRPr/>
              </a:pPr>
              <a:endParaRPr lang="en-AU" sz="1050" kern="0" dirty="0">
                <a:solidFill>
                  <a:srgbClr val="000000"/>
                </a:solidFill>
                <a:cs typeface="Arial" panose="020B0604020202020204" pitchFamily="34" charset="0"/>
              </a:endParaRPr>
            </a:p>
          </p:txBody>
        </p:sp>
        <p:sp>
          <p:nvSpPr>
            <p:cNvPr id="98" name="矩形 97"/>
            <p:cNvSpPr/>
            <p:nvPr/>
          </p:nvSpPr>
          <p:spPr>
            <a:xfrm>
              <a:off x="696643" y="5778480"/>
              <a:ext cx="1708418" cy="355185"/>
            </a:xfrm>
            <a:prstGeom prst="rect">
              <a:avLst/>
            </a:prstGeom>
          </p:spPr>
          <p:txBody>
            <a:bodyPr wrap="square" lIns="91420" tIns="45711" rIns="91420" bIns="45711">
              <a:spAutoFit/>
            </a:bodyPr>
            <a:lstStyle/>
            <a:p>
              <a:pPr algn="ctr" defTabSz="932815"/>
              <a:r>
                <a:rPr lang="en-US" altLang="zh-CN" sz="1600" b="1" dirty="0" smtClean="0">
                  <a:solidFill>
                    <a:srgbClr val="000000"/>
                  </a:solidFill>
                </a:rPr>
                <a:t>xx</a:t>
              </a:r>
              <a:endParaRPr lang="zh-CN" altLang="en-US" sz="1200" b="1" dirty="0">
                <a:solidFill>
                  <a:srgbClr val="000000"/>
                </a:solidFill>
              </a:endParaRPr>
            </a:p>
          </p:txBody>
        </p:sp>
        <p:sp>
          <p:nvSpPr>
            <p:cNvPr id="99" name="TextBox 32"/>
            <p:cNvSpPr txBox="1"/>
            <p:nvPr>
              <p:custDataLst>
                <p:tags r:id="rId8"/>
              </p:custDataLst>
            </p:nvPr>
          </p:nvSpPr>
          <p:spPr>
            <a:xfrm>
              <a:off x="794011" y="4662899"/>
              <a:ext cx="1269062" cy="594679"/>
            </a:xfrm>
            <a:prstGeom prst="rect">
              <a:avLst/>
            </a:prstGeom>
            <a:noFill/>
            <a:ln>
              <a:noFill/>
            </a:ln>
          </p:spPr>
          <p:txBody>
            <a:bodyPr wrap="square" lIns="91420" tIns="45711" rIns="91420" bIns="45711" rtlCol="0">
              <a:spAutoFit/>
            </a:bodyPr>
            <a:lstStyle/>
            <a:p>
              <a:pPr marL="171450" indent="-171450" defTabSz="914400">
                <a:lnSpc>
                  <a:spcPct val="125000"/>
                </a:lnSpc>
                <a:spcBef>
                  <a:spcPts val="100"/>
                </a:spcBef>
                <a:buFont typeface="Arial" panose="020B0604020202020204" pitchFamily="34" charset="0"/>
                <a:buChar char="•"/>
                <a:defRPr/>
              </a:pPr>
              <a:r>
                <a:rPr lang="en-US" altLang="zh-CN" sz="1200" kern="0" dirty="0" smtClean="0">
                  <a:solidFill>
                    <a:srgbClr val="000000"/>
                  </a:solidFill>
                </a:rPr>
                <a:t>xxx</a:t>
              </a:r>
              <a:endParaRPr lang="zh-CN" altLang="en-US" sz="1200" kern="0" dirty="0">
                <a:solidFill>
                  <a:srgbClr val="000000"/>
                </a:solidFill>
              </a:endParaRPr>
            </a:p>
            <a:p>
              <a:pPr marL="171450" indent="-171450" defTabSz="914400">
                <a:lnSpc>
                  <a:spcPct val="125000"/>
                </a:lnSpc>
                <a:spcBef>
                  <a:spcPts val="100"/>
                </a:spcBef>
                <a:buFont typeface="Arial" panose="020B0604020202020204" pitchFamily="34" charset="0"/>
                <a:buChar char="•"/>
                <a:defRPr/>
              </a:pPr>
              <a:r>
                <a:rPr lang="en-US" altLang="zh-CN" sz="1200" kern="0" dirty="0">
                  <a:solidFill>
                    <a:srgbClr val="000000"/>
                  </a:solidFill>
                </a:rPr>
                <a:t>……</a:t>
              </a:r>
              <a:endParaRPr lang="zh-CN" altLang="en-US" sz="1200" kern="0" dirty="0">
                <a:solidFill>
                  <a:srgbClr val="000000"/>
                </a:solidFill>
              </a:endParaRPr>
            </a:p>
          </p:txBody>
        </p:sp>
        <p:sp>
          <p:nvSpPr>
            <p:cNvPr id="100" name="Freeform 6"/>
            <p:cNvSpPr/>
            <p:nvPr>
              <p:custDataLst>
                <p:tags r:id="rId9"/>
              </p:custDataLst>
            </p:nvPr>
          </p:nvSpPr>
          <p:spPr bwMode="auto">
            <a:xfrm>
              <a:off x="3755419" y="5537657"/>
              <a:ext cx="2279175" cy="917651"/>
            </a:xfrm>
            <a:custGeom>
              <a:avLst/>
              <a:gdLst>
                <a:gd name="T0" fmla="*/ 345 w 394"/>
                <a:gd name="T1" fmla="*/ 105 h 218"/>
                <a:gd name="T2" fmla="*/ 346 w 394"/>
                <a:gd name="T3" fmla="*/ 99 h 218"/>
                <a:gd name="T4" fmla="*/ 280 w 394"/>
                <a:gd name="T5" fmla="*/ 33 h 218"/>
                <a:gd name="T6" fmla="*/ 253 w 394"/>
                <a:gd name="T7" fmla="*/ 39 h 218"/>
                <a:gd name="T8" fmla="*/ 178 w 394"/>
                <a:gd name="T9" fmla="*/ 0 h 218"/>
                <a:gd name="T10" fmla="*/ 90 w 394"/>
                <a:gd name="T11" fmla="*/ 67 h 218"/>
                <a:gd name="T12" fmla="*/ 76 w 394"/>
                <a:gd name="T13" fmla="*/ 66 h 218"/>
                <a:gd name="T14" fmla="*/ 0 w 394"/>
                <a:gd name="T15" fmla="*/ 142 h 218"/>
                <a:gd name="T16" fmla="*/ 76 w 394"/>
                <a:gd name="T17" fmla="*/ 218 h 218"/>
                <a:gd name="T18" fmla="*/ 337 w 394"/>
                <a:gd name="T19" fmla="*/ 218 h 218"/>
                <a:gd name="T20" fmla="*/ 337 w 394"/>
                <a:gd name="T21" fmla="*/ 218 h 218"/>
                <a:gd name="T22" fmla="*/ 337 w 394"/>
                <a:gd name="T23" fmla="*/ 218 h 218"/>
                <a:gd name="T24" fmla="*/ 394 w 394"/>
                <a:gd name="T25" fmla="*/ 161 h 218"/>
                <a:gd name="T26" fmla="*/ 345 w 394"/>
                <a:gd name="T27" fmla="*/ 10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4" h="218">
                  <a:moveTo>
                    <a:pt x="345" y="105"/>
                  </a:moveTo>
                  <a:cubicBezTo>
                    <a:pt x="346" y="104"/>
                    <a:pt x="346" y="101"/>
                    <a:pt x="346" y="99"/>
                  </a:cubicBezTo>
                  <a:cubicBezTo>
                    <a:pt x="346" y="63"/>
                    <a:pt x="316" y="33"/>
                    <a:pt x="280" y="33"/>
                  </a:cubicBezTo>
                  <a:cubicBezTo>
                    <a:pt x="270" y="33"/>
                    <a:pt x="261" y="35"/>
                    <a:pt x="253" y="39"/>
                  </a:cubicBezTo>
                  <a:cubicBezTo>
                    <a:pt x="236" y="15"/>
                    <a:pt x="209" y="0"/>
                    <a:pt x="178" y="0"/>
                  </a:cubicBezTo>
                  <a:cubicBezTo>
                    <a:pt x="136" y="0"/>
                    <a:pt x="100" y="28"/>
                    <a:pt x="90" y="67"/>
                  </a:cubicBezTo>
                  <a:cubicBezTo>
                    <a:pt x="85" y="66"/>
                    <a:pt x="80" y="66"/>
                    <a:pt x="76" y="66"/>
                  </a:cubicBezTo>
                  <a:cubicBezTo>
                    <a:pt x="34" y="66"/>
                    <a:pt x="0" y="100"/>
                    <a:pt x="0" y="142"/>
                  </a:cubicBezTo>
                  <a:cubicBezTo>
                    <a:pt x="0" y="183"/>
                    <a:pt x="34" y="218"/>
                    <a:pt x="76" y="218"/>
                  </a:cubicBezTo>
                  <a:cubicBezTo>
                    <a:pt x="337" y="218"/>
                    <a:pt x="337" y="218"/>
                    <a:pt x="337" y="218"/>
                  </a:cubicBezTo>
                  <a:cubicBezTo>
                    <a:pt x="337" y="218"/>
                    <a:pt x="337" y="218"/>
                    <a:pt x="337" y="218"/>
                  </a:cubicBezTo>
                  <a:cubicBezTo>
                    <a:pt x="337" y="218"/>
                    <a:pt x="337" y="218"/>
                    <a:pt x="337" y="218"/>
                  </a:cubicBezTo>
                  <a:cubicBezTo>
                    <a:pt x="368" y="218"/>
                    <a:pt x="394" y="193"/>
                    <a:pt x="394" y="161"/>
                  </a:cubicBezTo>
                  <a:cubicBezTo>
                    <a:pt x="394" y="133"/>
                    <a:pt x="373" y="109"/>
                    <a:pt x="345" y="105"/>
                  </a:cubicBezTo>
                  <a:close/>
                </a:path>
              </a:pathLst>
            </a:custGeom>
            <a:noFill/>
            <a:ln w="28575" cap="flat">
              <a:solidFill>
                <a:srgbClr val="778888"/>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20" tIns="45711" rIns="91420" bIns="45711" numCol="1" anchor="t" anchorCtr="0" compatLnSpc="1"/>
            <a:lstStyle/>
            <a:p>
              <a:pPr defTabSz="914400">
                <a:defRPr/>
              </a:pPr>
              <a:endParaRPr lang="en-AU" sz="1050" kern="0" dirty="0">
                <a:solidFill>
                  <a:srgbClr val="000000"/>
                </a:solidFill>
                <a:cs typeface="Arial" panose="020B0604020202020204" pitchFamily="34" charset="0"/>
              </a:endParaRPr>
            </a:p>
          </p:txBody>
        </p:sp>
        <p:sp>
          <p:nvSpPr>
            <p:cNvPr id="101" name="矩形 100"/>
            <p:cNvSpPr/>
            <p:nvPr/>
          </p:nvSpPr>
          <p:spPr>
            <a:xfrm>
              <a:off x="4096795" y="5778480"/>
              <a:ext cx="1740650" cy="355185"/>
            </a:xfrm>
            <a:prstGeom prst="rect">
              <a:avLst/>
            </a:prstGeom>
          </p:spPr>
          <p:txBody>
            <a:bodyPr wrap="square" lIns="91420" tIns="45711" rIns="91420" bIns="45711">
              <a:spAutoFit/>
            </a:bodyPr>
            <a:lstStyle/>
            <a:p>
              <a:pPr algn="ctr" defTabSz="932815"/>
              <a:r>
                <a:rPr lang="en-US" altLang="zh-CN" sz="1600" b="1" dirty="0" smtClean="0">
                  <a:solidFill>
                    <a:srgbClr val="000000"/>
                  </a:solidFill>
                </a:rPr>
                <a:t>xx</a:t>
              </a:r>
              <a:endParaRPr lang="zh-CN" altLang="en-US" sz="1200" b="1" dirty="0">
                <a:solidFill>
                  <a:srgbClr val="000000"/>
                </a:solidFill>
              </a:endParaRPr>
            </a:p>
          </p:txBody>
        </p:sp>
        <p:sp>
          <p:nvSpPr>
            <p:cNvPr id="102" name="TextBox 32"/>
            <p:cNvSpPr txBox="1"/>
            <p:nvPr>
              <p:custDataLst>
                <p:tags r:id="rId10"/>
              </p:custDataLst>
            </p:nvPr>
          </p:nvSpPr>
          <p:spPr>
            <a:xfrm>
              <a:off x="4199418" y="4662899"/>
              <a:ext cx="1835175" cy="594679"/>
            </a:xfrm>
            <a:prstGeom prst="rect">
              <a:avLst/>
            </a:prstGeom>
            <a:noFill/>
            <a:ln>
              <a:noFill/>
            </a:ln>
          </p:spPr>
          <p:txBody>
            <a:bodyPr wrap="square" lIns="91420" tIns="45711" rIns="91420" bIns="45711" rtlCol="0">
              <a:spAutoFit/>
            </a:bodyPr>
            <a:lstStyle/>
            <a:p>
              <a:pPr marL="171450" indent="-171450" defTabSz="914400">
                <a:lnSpc>
                  <a:spcPct val="125000"/>
                </a:lnSpc>
                <a:spcBef>
                  <a:spcPts val="100"/>
                </a:spcBef>
                <a:buFont typeface="Arial" panose="020B0604020202020204" pitchFamily="34" charset="0"/>
                <a:buChar char="•"/>
                <a:defRPr/>
              </a:pPr>
              <a:r>
                <a:rPr lang="en-US" altLang="zh-CN" sz="1200" kern="0" dirty="0" smtClean="0">
                  <a:solidFill>
                    <a:srgbClr val="000000"/>
                  </a:solidFill>
                </a:rPr>
                <a:t>xx</a:t>
              </a:r>
              <a:endParaRPr lang="zh-CN" altLang="en-US" sz="1200" kern="0" dirty="0">
                <a:solidFill>
                  <a:srgbClr val="000000"/>
                </a:solidFill>
              </a:endParaRPr>
            </a:p>
            <a:p>
              <a:pPr marL="171450" indent="-171450" defTabSz="914400">
                <a:lnSpc>
                  <a:spcPct val="125000"/>
                </a:lnSpc>
                <a:spcBef>
                  <a:spcPts val="100"/>
                </a:spcBef>
                <a:buFont typeface="Arial" panose="020B0604020202020204" pitchFamily="34" charset="0"/>
                <a:buChar char="•"/>
                <a:defRPr/>
              </a:pPr>
              <a:r>
                <a:rPr lang="en-US" altLang="zh-CN" sz="1200" kern="0" dirty="0">
                  <a:solidFill>
                    <a:srgbClr val="000000"/>
                  </a:solidFill>
                </a:rPr>
                <a:t>……</a:t>
              </a:r>
              <a:endParaRPr lang="zh-CN" altLang="en-US" sz="1200" kern="0" dirty="0">
                <a:solidFill>
                  <a:srgbClr val="000000"/>
                </a:solidFill>
              </a:endParaRPr>
            </a:p>
          </p:txBody>
        </p:sp>
        <p:cxnSp>
          <p:nvCxnSpPr>
            <p:cNvPr id="103" name="直接连接符 102"/>
            <p:cNvCxnSpPr/>
            <p:nvPr/>
          </p:nvCxnSpPr>
          <p:spPr>
            <a:xfrm>
              <a:off x="2317545" y="2771688"/>
              <a:ext cx="432000" cy="0"/>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p:nvPr/>
          </p:nvCxnSpPr>
          <p:spPr>
            <a:xfrm>
              <a:off x="3487394" y="2771688"/>
              <a:ext cx="612000" cy="0"/>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p:nvPr/>
          </p:nvCxnSpPr>
          <p:spPr>
            <a:xfrm>
              <a:off x="1734203" y="5585617"/>
              <a:ext cx="1008000" cy="0"/>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p:nvPr/>
          </p:nvCxnSpPr>
          <p:spPr>
            <a:xfrm>
              <a:off x="3487396" y="5585617"/>
              <a:ext cx="1008000" cy="0"/>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107" name="直接箭头连接符 106"/>
            <p:cNvCxnSpPr/>
            <p:nvPr/>
          </p:nvCxnSpPr>
          <p:spPr>
            <a:xfrm>
              <a:off x="2742203" y="2791493"/>
              <a:ext cx="0" cy="936000"/>
            </a:xfrm>
            <a:prstGeom prst="straightConnector1">
              <a:avLst/>
            </a:prstGeom>
            <a:ln>
              <a:solidFill>
                <a:srgbClr val="F05A23"/>
              </a:solidFill>
              <a:tailEnd type="arrow"/>
            </a:ln>
          </p:spPr>
          <p:style>
            <a:lnRef idx="1">
              <a:schemeClr val="accent1"/>
            </a:lnRef>
            <a:fillRef idx="0">
              <a:schemeClr val="accent1"/>
            </a:fillRef>
            <a:effectRef idx="0">
              <a:schemeClr val="accent1"/>
            </a:effectRef>
            <a:fontRef idx="minor">
              <a:schemeClr val="tx1"/>
            </a:fontRef>
          </p:style>
        </p:cxnSp>
        <p:cxnSp>
          <p:nvCxnSpPr>
            <p:cNvPr id="108" name="直接箭头连接符 107"/>
            <p:cNvCxnSpPr/>
            <p:nvPr/>
          </p:nvCxnSpPr>
          <p:spPr>
            <a:xfrm>
              <a:off x="3487394" y="2791493"/>
              <a:ext cx="0" cy="936000"/>
            </a:xfrm>
            <a:prstGeom prst="straightConnector1">
              <a:avLst/>
            </a:prstGeom>
            <a:ln>
              <a:solidFill>
                <a:srgbClr val="F05A23"/>
              </a:solidFill>
              <a:tailEnd type="arrow"/>
            </a:ln>
          </p:spPr>
          <p:style>
            <a:lnRef idx="1">
              <a:schemeClr val="accent1"/>
            </a:lnRef>
            <a:fillRef idx="0">
              <a:schemeClr val="accent1"/>
            </a:fillRef>
            <a:effectRef idx="0">
              <a:schemeClr val="accent1"/>
            </a:effectRef>
            <a:fontRef idx="minor">
              <a:schemeClr val="tx1"/>
            </a:fontRef>
          </p:style>
        </p:cxnSp>
        <p:cxnSp>
          <p:nvCxnSpPr>
            <p:cNvPr id="109" name="直接箭头连接符 108"/>
            <p:cNvCxnSpPr/>
            <p:nvPr/>
          </p:nvCxnSpPr>
          <p:spPr>
            <a:xfrm flipV="1">
              <a:off x="2742203" y="4693215"/>
              <a:ext cx="0" cy="900000"/>
            </a:xfrm>
            <a:prstGeom prst="straightConnector1">
              <a:avLst/>
            </a:prstGeom>
            <a:ln>
              <a:solidFill>
                <a:srgbClr val="F05A23"/>
              </a:solidFill>
              <a:tailEnd type="arrow"/>
            </a:ln>
          </p:spPr>
          <p:style>
            <a:lnRef idx="1">
              <a:schemeClr val="accent1"/>
            </a:lnRef>
            <a:fillRef idx="0">
              <a:schemeClr val="accent1"/>
            </a:fillRef>
            <a:effectRef idx="0">
              <a:schemeClr val="accent1"/>
            </a:effectRef>
            <a:fontRef idx="minor">
              <a:schemeClr val="tx1"/>
            </a:fontRef>
          </p:style>
        </p:cxnSp>
        <p:cxnSp>
          <p:nvCxnSpPr>
            <p:cNvPr id="110" name="直接箭头连接符 109"/>
            <p:cNvCxnSpPr/>
            <p:nvPr/>
          </p:nvCxnSpPr>
          <p:spPr>
            <a:xfrm flipV="1">
              <a:off x="3487394" y="4693215"/>
              <a:ext cx="0" cy="900000"/>
            </a:xfrm>
            <a:prstGeom prst="straightConnector1">
              <a:avLst/>
            </a:prstGeom>
            <a:ln>
              <a:solidFill>
                <a:srgbClr val="F05A23"/>
              </a:solidFill>
              <a:tailEnd type="arrow"/>
            </a:ln>
          </p:spPr>
          <p:style>
            <a:lnRef idx="1">
              <a:schemeClr val="accent1"/>
            </a:lnRef>
            <a:fillRef idx="0">
              <a:schemeClr val="accent1"/>
            </a:fillRef>
            <a:effectRef idx="0">
              <a:schemeClr val="accent1"/>
            </a:effectRef>
            <a:fontRef idx="minor">
              <a:schemeClr val="tx1"/>
            </a:fontRef>
          </p:style>
        </p:cxnSp>
      </p:grpSp>
      <p:grpSp>
        <p:nvGrpSpPr>
          <p:cNvPr id="111" name="组合 110"/>
          <p:cNvGrpSpPr/>
          <p:nvPr/>
        </p:nvGrpSpPr>
        <p:grpSpPr>
          <a:xfrm>
            <a:off x="5996199" y="901090"/>
            <a:ext cx="5557378" cy="5315229"/>
            <a:chOff x="6517118" y="1020793"/>
            <a:chExt cx="5357106" cy="5576627"/>
          </a:xfrm>
        </p:grpSpPr>
        <p:sp>
          <p:nvSpPr>
            <p:cNvPr id="113" name="矩形 112"/>
            <p:cNvSpPr/>
            <p:nvPr/>
          </p:nvSpPr>
          <p:spPr>
            <a:xfrm>
              <a:off x="6726250" y="1020793"/>
              <a:ext cx="5138793" cy="504000"/>
            </a:xfrm>
            <a:prstGeom prst="rect">
              <a:avLst/>
            </a:prstGeom>
            <a:solidFill>
              <a:srgbClr val="FF5805"/>
            </a:solidFill>
          </p:spPr>
          <p:txBody>
            <a:bodyPr lIns="91420" tIns="45711" rIns="91420" bIns="45711" anchor="ctr"/>
            <a:lstStyle/>
            <a:p>
              <a:pPr algn="ctr" defTabSz="914400">
                <a:lnSpc>
                  <a:spcPct val="90000"/>
                </a:lnSpc>
              </a:pPr>
              <a:r>
                <a:rPr lang="zh-CN" altLang="en-US" b="1" dirty="0">
                  <a:solidFill>
                    <a:srgbClr val="FFFFFF"/>
                  </a:solidFill>
                  <a:cs typeface="Arial" panose="020B0604020202020204" pitchFamily="34" charset="0"/>
                </a:rPr>
                <a:t>生成分析报告</a:t>
              </a:r>
              <a:endParaRPr lang="en-GB" altLang="zh-CN" b="1" dirty="0">
                <a:solidFill>
                  <a:srgbClr val="FFFFFF"/>
                </a:solidFill>
                <a:cs typeface="Arial" panose="020B0604020202020204" pitchFamily="34" charset="0"/>
              </a:endParaRPr>
            </a:p>
          </p:txBody>
        </p:sp>
        <p:sp>
          <p:nvSpPr>
            <p:cNvPr id="114" name="矩形 113"/>
            <p:cNvSpPr/>
            <p:nvPr/>
          </p:nvSpPr>
          <p:spPr>
            <a:xfrm>
              <a:off x="6735431" y="1474403"/>
              <a:ext cx="5138793" cy="5123017"/>
            </a:xfrm>
            <a:prstGeom prst="rect">
              <a:avLst/>
            </a:prstGeom>
            <a:noFill/>
            <a:ln w="19050">
              <a:solidFill>
                <a:srgbClr val="FF5805"/>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rtlCol="0" anchor="ctr"/>
            <a:lstStyle/>
            <a:p>
              <a:pPr algn="ctr" defTabSz="1218565"/>
              <a:endParaRPr lang="zh-CN" altLang="en-US" sz="1400">
                <a:solidFill>
                  <a:prstClr val="white"/>
                </a:solidFill>
              </a:endParaRPr>
            </a:p>
          </p:txBody>
        </p:sp>
        <p:sp>
          <p:nvSpPr>
            <p:cNvPr id="115" name="矩形 114"/>
            <p:cNvSpPr/>
            <p:nvPr/>
          </p:nvSpPr>
          <p:spPr>
            <a:xfrm>
              <a:off x="6767194" y="1586451"/>
              <a:ext cx="3154729" cy="567492"/>
            </a:xfrm>
            <a:prstGeom prst="rect">
              <a:avLst/>
            </a:prstGeom>
            <a:noFill/>
            <a:ln w="12700" cap="flat" cmpd="sng" algn="ctr">
              <a:noFill/>
              <a:prstDash val="solid"/>
              <a:miter lim="800000"/>
            </a:ln>
            <a:effectLst/>
          </p:spPr>
          <p:txBody>
            <a:bodyPr vert="horz" lIns="91420" tIns="45711" rIns="91420" bIns="45711" rtlCol="0" anchor="ctr"/>
            <a:lstStyle/>
            <a:p>
              <a:pPr algn="ctr" defTabSz="932815">
                <a:lnSpc>
                  <a:spcPct val="150000"/>
                </a:lnSpc>
              </a:pPr>
              <a:r>
                <a:rPr lang="en-US" altLang="zh-CN" sz="1600" b="1" dirty="0" smtClean="0">
                  <a:solidFill>
                    <a:srgbClr val="FF5805"/>
                  </a:solidFill>
                </a:rPr>
                <a:t>xx</a:t>
              </a:r>
              <a:r>
                <a:rPr lang="zh-CN" altLang="en-US" sz="1600" b="1" dirty="0" smtClean="0">
                  <a:solidFill>
                    <a:srgbClr val="FF5805"/>
                  </a:solidFill>
                </a:rPr>
                <a:t>分析系统</a:t>
              </a:r>
              <a:r>
                <a:rPr lang="en-US" altLang="zh-CN" sz="1600" b="1" dirty="0" smtClean="0">
                  <a:solidFill>
                    <a:srgbClr val="FF5805"/>
                  </a:solidFill>
                </a:rPr>
                <a:t>/</a:t>
              </a:r>
              <a:r>
                <a:rPr lang="zh-CN" altLang="en-US" sz="1600" b="1" dirty="0" smtClean="0">
                  <a:solidFill>
                    <a:srgbClr val="FF5805"/>
                  </a:solidFill>
                </a:rPr>
                <a:t>地图</a:t>
              </a:r>
              <a:endParaRPr lang="en-US" altLang="zh-CN" sz="1600" b="1" dirty="0" smtClean="0">
                <a:solidFill>
                  <a:srgbClr val="FF5805"/>
                </a:solidFill>
              </a:endParaRPr>
            </a:p>
            <a:p>
              <a:pPr algn="ctr" defTabSz="932815">
                <a:lnSpc>
                  <a:spcPct val="150000"/>
                </a:lnSpc>
              </a:pPr>
              <a:endParaRPr lang="zh-CN" altLang="en-US" sz="800" b="1" dirty="0">
                <a:solidFill>
                  <a:srgbClr val="91B0FF"/>
                </a:solidFill>
              </a:endParaRPr>
            </a:p>
          </p:txBody>
        </p:sp>
        <p:sp>
          <p:nvSpPr>
            <p:cNvPr id="116" name="矩形 115"/>
            <p:cNvSpPr/>
            <p:nvPr/>
          </p:nvSpPr>
          <p:spPr>
            <a:xfrm>
              <a:off x="10003809" y="1586451"/>
              <a:ext cx="1693957" cy="567492"/>
            </a:xfrm>
            <a:prstGeom prst="rect">
              <a:avLst/>
            </a:prstGeom>
            <a:noFill/>
            <a:ln w="12700" cap="flat" cmpd="sng" algn="ctr">
              <a:noFill/>
              <a:prstDash val="solid"/>
              <a:miter lim="800000"/>
            </a:ln>
            <a:effectLst/>
          </p:spPr>
          <p:txBody>
            <a:bodyPr vert="horz" lIns="91420" tIns="45711" rIns="91420" bIns="45711" rtlCol="0" anchor="ctr"/>
            <a:lstStyle/>
            <a:p>
              <a:pPr algn="ctr" defTabSz="932815">
                <a:lnSpc>
                  <a:spcPct val="150000"/>
                </a:lnSpc>
              </a:pPr>
              <a:r>
                <a:rPr lang="en-US" altLang="zh-CN" sz="1600" b="1" dirty="0" smtClean="0">
                  <a:solidFill>
                    <a:srgbClr val="FF5805"/>
                  </a:solidFill>
                </a:rPr>
                <a:t>xx</a:t>
              </a:r>
              <a:r>
                <a:rPr lang="zh-CN" altLang="en-US" sz="1600" b="1" dirty="0" smtClean="0">
                  <a:solidFill>
                    <a:srgbClr val="FF5805"/>
                  </a:solidFill>
                </a:rPr>
                <a:t>动态报告</a:t>
              </a:r>
              <a:endParaRPr lang="en-US" altLang="zh-CN" sz="1600" b="1" dirty="0" smtClean="0">
                <a:solidFill>
                  <a:srgbClr val="FF5805"/>
                </a:solidFill>
              </a:endParaRPr>
            </a:p>
            <a:p>
              <a:pPr algn="ctr" defTabSz="932815">
                <a:lnSpc>
                  <a:spcPct val="150000"/>
                </a:lnSpc>
              </a:pPr>
              <a:endParaRPr lang="zh-CN" altLang="en-US" sz="800" b="1" dirty="0">
                <a:solidFill>
                  <a:srgbClr val="91B0FF"/>
                </a:solidFill>
              </a:endParaRPr>
            </a:p>
          </p:txBody>
        </p:sp>
        <p:sp>
          <p:nvSpPr>
            <p:cNvPr id="117" name="Rectangle 28"/>
            <p:cNvSpPr/>
            <p:nvPr/>
          </p:nvSpPr>
          <p:spPr>
            <a:xfrm>
              <a:off x="10090975" y="2123303"/>
              <a:ext cx="1524905" cy="540000"/>
            </a:xfrm>
            <a:prstGeom prst="rect">
              <a:avLst/>
            </a:prstGeom>
            <a:solidFill>
              <a:schemeClr val="bg1">
                <a:lumMod val="85000"/>
                <a:alpha val="48000"/>
              </a:schemeClr>
            </a:solidFill>
            <a:ln w="6350">
              <a:noFill/>
              <a:miter lim="800000"/>
            </a:ln>
            <a:effectLst/>
          </p:spPr>
          <p:txBody>
            <a:bodyPr wrap="none" lIns="0" tIns="0" rIns="0" bIns="0" anchor="ctr"/>
            <a:lstStyle/>
            <a:p>
              <a:pPr algn="ctr" defTabSz="1219200"/>
              <a:endParaRPr lang="en-GB" sz="1400" kern="0" dirty="0" err="1">
                <a:solidFill>
                  <a:srgbClr val="000000"/>
                </a:solidFill>
              </a:endParaRPr>
            </a:p>
          </p:txBody>
        </p:sp>
        <p:sp>
          <p:nvSpPr>
            <p:cNvPr id="118" name="Rectangle 28"/>
            <p:cNvSpPr/>
            <p:nvPr/>
          </p:nvSpPr>
          <p:spPr>
            <a:xfrm>
              <a:off x="10090976" y="2889941"/>
              <a:ext cx="1524904" cy="540000"/>
            </a:xfrm>
            <a:prstGeom prst="rect">
              <a:avLst/>
            </a:prstGeom>
            <a:solidFill>
              <a:schemeClr val="bg1">
                <a:lumMod val="85000"/>
                <a:alpha val="48000"/>
              </a:schemeClr>
            </a:solidFill>
            <a:ln w="6350">
              <a:noFill/>
              <a:miter lim="800000"/>
            </a:ln>
            <a:effectLst/>
          </p:spPr>
          <p:txBody>
            <a:bodyPr wrap="none" lIns="0" tIns="0" rIns="0" bIns="0" anchor="ctr"/>
            <a:lstStyle/>
            <a:p>
              <a:pPr algn="ctr" defTabSz="1219200"/>
              <a:endParaRPr lang="en-GB" sz="1400" kern="0" dirty="0" err="1">
                <a:solidFill>
                  <a:srgbClr val="000000"/>
                </a:solidFill>
              </a:endParaRPr>
            </a:p>
          </p:txBody>
        </p:sp>
        <p:sp>
          <p:nvSpPr>
            <p:cNvPr id="119" name="Rectangle 28"/>
            <p:cNvSpPr/>
            <p:nvPr/>
          </p:nvSpPr>
          <p:spPr>
            <a:xfrm>
              <a:off x="10087390" y="3656578"/>
              <a:ext cx="1527366" cy="540000"/>
            </a:xfrm>
            <a:prstGeom prst="rect">
              <a:avLst/>
            </a:prstGeom>
            <a:solidFill>
              <a:schemeClr val="bg1">
                <a:lumMod val="85000"/>
                <a:alpha val="48000"/>
              </a:schemeClr>
            </a:solidFill>
            <a:ln w="6350">
              <a:noFill/>
              <a:miter lim="800000"/>
            </a:ln>
            <a:effectLst/>
          </p:spPr>
          <p:txBody>
            <a:bodyPr wrap="none" lIns="0" tIns="0" rIns="0" bIns="0" anchor="ctr"/>
            <a:lstStyle/>
            <a:p>
              <a:pPr algn="ctr" defTabSz="1219200"/>
              <a:endParaRPr lang="en-GB" sz="1400" kern="0" dirty="0" err="1">
                <a:solidFill>
                  <a:srgbClr val="000000"/>
                </a:solidFill>
              </a:endParaRPr>
            </a:p>
          </p:txBody>
        </p:sp>
        <p:sp>
          <p:nvSpPr>
            <p:cNvPr id="120" name="Rectangle 28"/>
            <p:cNvSpPr/>
            <p:nvPr/>
          </p:nvSpPr>
          <p:spPr>
            <a:xfrm>
              <a:off x="10092035" y="4423215"/>
              <a:ext cx="1524177" cy="540000"/>
            </a:xfrm>
            <a:prstGeom prst="rect">
              <a:avLst/>
            </a:prstGeom>
            <a:solidFill>
              <a:schemeClr val="bg1">
                <a:lumMod val="85000"/>
                <a:alpha val="48000"/>
              </a:schemeClr>
            </a:solidFill>
            <a:ln w="6350">
              <a:noFill/>
              <a:miter lim="800000"/>
            </a:ln>
            <a:effectLst/>
          </p:spPr>
          <p:txBody>
            <a:bodyPr wrap="none" lIns="0" tIns="0" rIns="0" bIns="0" anchor="ctr"/>
            <a:lstStyle/>
            <a:p>
              <a:pPr algn="ctr" defTabSz="1219200"/>
              <a:endParaRPr lang="en-GB" sz="1400" kern="0" dirty="0" err="1">
                <a:solidFill>
                  <a:srgbClr val="000000"/>
                </a:solidFill>
              </a:endParaRPr>
            </a:p>
          </p:txBody>
        </p:sp>
        <p:sp>
          <p:nvSpPr>
            <p:cNvPr id="121" name="Rectangle 28"/>
            <p:cNvSpPr/>
            <p:nvPr/>
          </p:nvSpPr>
          <p:spPr>
            <a:xfrm>
              <a:off x="10092035" y="5189851"/>
              <a:ext cx="1524177" cy="540000"/>
            </a:xfrm>
            <a:prstGeom prst="rect">
              <a:avLst/>
            </a:prstGeom>
            <a:solidFill>
              <a:schemeClr val="bg1">
                <a:lumMod val="85000"/>
                <a:alpha val="48000"/>
              </a:schemeClr>
            </a:solidFill>
            <a:ln w="6350">
              <a:noFill/>
              <a:miter lim="800000"/>
            </a:ln>
            <a:effectLst/>
          </p:spPr>
          <p:txBody>
            <a:bodyPr wrap="none" lIns="0" tIns="0" rIns="0" bIns="0" anchor="ctr"/>
            <a:lstStyle/>
            <a:p>
              <a:pPr algn="ctr" defTabSz="1219200"/>
              <a:endParaRPr lang="en-GB" sz="1400" kern="0" dirty="0" err="1">
                <a:solidFill>
                  <a:srgbClr val="000000"/>
                </a:solidFill>
              </a:endParaRPr>
            </a:p>
          </p:txBody>
        </p:sp>
        <p:sp>
          <p:nvSpPr>
            <p:cNvPr id="122" name="Rectangle 28"/>
            <p:cNvSpPr/>
            <p:nvPr/>
          </p:nvSpPr>
          <p:spPr>
            <a:xfrm>
              <a:off x="10092035" y="5956490"/>
              <a:ext cx="1524177" cy="540000"/>
            </a:xfrm>
            <a:prstGeom prst="rect">
              <a:avLst/>
            </a:prstGeom>
            <a:solidFill>
              <a:schemeClr val="bg1">
                <a:lumMod val="85000"/>
                <a:alpha val="48000"/>
              </a:schemeClr>
            </a:solidFill>
            <a:ln w="6350">
              <a:noFill/>
              <a:miter lim="800000"/>
            </a:ln>
            <a:effectLst/>
          </p:spPr>
          <p:txBody>
            <a:bodyPr wrap="none" lIns="0" tIns="0" rIns="0" bIns="0" anchor="ctr"/>
            <a:lstStyle/>
            <a:p>
              <a:pPr algn="ctr" defTabSz="1219200"/>
              <a:endParaRPr lang="en-GB" sz="1400" kern="0" dirty="0" err="1">
                <a:solidFill>
                  <a:srgbClr val="000000"/>
                </a:solidFill>
              </a:endParaRPr>
            </a:p>
          </p:txBody>
        </p:sp>
        <p:graphicFrame>
          <p:nvGraphicFramePr>
            <p:cNvPr id="123" name="图表 122"/>
            <p:cNvGraphicFramePr/>
            <p:nvPr/>
          </p:nvGraphicFramePr>
          <p:xfrm>
            <a:off x="6517118" y="2152821"/>
            <a:ext cx="3810000" cy="2608190"/>
          </p:xfrm>
          <a:graphic>
            <a:graphicData uri="http://schemas.openxmlformats.org/drawingml/2006/chart">
              <c:chart xmlns:c="http://schemas.openxmlformats.org/drawingml/2006/chart" xmlns:r="http://schemas.openxmlformats.org/officeDocument/2006/relationships" r:id="rId1"/>
            </a:graphicData>
          </a:graphic>
        </p:graphicFrame>
        <p:sp>
          <p:nvSpPr>
            <p:cNvPr id="124" name="TextBox 85"/>
            <p:cNvSpPr txBox="1"/>
            <p:nvPr/>
          </p:nvSpPr>
          <p:spPr>
            <a:xfrm>
              <a:off x="7808984" y="1998635"/>
              <a:ext cx="1258059" cy="290603"/>
            </a:xfrm>
            <a:prstGeom prst="rect">
              <a:avLst/>
            </a:prstGeom>
            <a:noFill/>
          </p:spPr>
          <p:txBody>
            <a:bodyPr wrap="square" lIns="91420" tIns="45711" rIns="91420" bIns="45711" rtlCol="0">
              <a:spAutoFit/>
            </a:bodyPr>
            <a:lstStyle/>
            <a:p>
              <a:pPr algn="ctr" defTabSz="932815"/>
              <a:r>
                <a:rPr lang="en-US" altLang="zh-CN" sz="1200" dirty="0" smtClean="0">
                  <a:solidFill>
                    <a:srgbClr val="000000"/>
                  </a:solidFill>
                </a:rPr>
                <a:t>xx</a:t>
              </a:r>
              <a:endParaRPr lang="zh-CN" altLang="en-US" sz="1200" dirty="0">
                <a:solidFill>
                  <a:srgbClr val="000000"/>
                </a:solidFill>
              </a:endParaRPr>
            </a:p>
          </p:txBody>
        </p:sp>
        <p:sp>
          <p:nvSpPr>
            <p:cNvPr id="125" name="TextBox 86"/>
            <p:cNvSpPr txBox="1"/>
            <p:nvPr/>
          </p:nvSpPr>
          <p:spPr>
            <a:xfrm>
              <a:off x="9020241" y="2194757"/>
              <a:ext cx="1071792" cy="290603"/>
            </a:xfrm>
            <a:prstGeom prst="rect">
              <a:avLst/>
            </a:prstGeom>
            <a:noFill/>
          </p:spPr>
          <p:txBody>
            <a:bodyPr wrap="square" lIns="91420" tIns="45711" rIns="91420" bIns="45711" rtlCol="0">
              <a:spAutoFit/>
            </a:bodyPr>
            <a:lstStyle/>
            <a:p>
              <a:pPr algn="ctr" defTabSz="932815"/>
              <a:r>
                <a:rPr lang="en-US" altLang="zh-CN" sz="1200" dirty="0" smtClean="0">
                  <a:solidFill>
                    <a:srgbClr val="000000"/>
                  </a:solidFill>
                </a:rPr>
                <a:t>xx</a:t>
              </a:r>
              <a:endParaRPr lang="zh-CN" altLang="en-US" sz="1200" dirty="0">
                <a:solidFill>
                  <a:srgbClr val="000000"/>
                </a:solidFill>
              </a:endParaRPr>
            </a:p>
          </p:txBody>
        </p:sp>
        <p:sp>
          <p:nvSpPr>
            <p:cNvPr id="126" name="TextBox 94"/>
            <p:cNvSpPr txBox="1"/>
            <p:nvPr/>
          </p:nvSpPr>
          <p:spPr>
            <a:xfrm>
              <a:off x="9551498" y="3014652"/>
              <a:ext cx="535895" cy="290603"/>
            </a:xfrm>
            <a:prstGeom prst="rect">
              <a:avLst/>
            </a:prstGeom>
            <a:noFill/>
          </p:spPr>
          <p:txBody>
            <a:bodyPr wrap="square" lIns="91420" tIns="45711" rIns="91420" bIns="45711" rtlCol="0">
              <a:spAutoFit/>
            </a:bodyPr>
            <a:lstStyle/>
            <a:p>
              <a:pPr algn="ctr" defTabSz="932815"/>
              <a:r>
                <a:rPr lang="en-US" altLang="zh-CN" sz="1200" dirty="0" smtClean="0">
                  <a:solidFill>
                    <a:srgbClr val="000000"/>
                  </a:solidFill>
                </a:rPr>
                <a:t>xx</a:t>
              </a:r>
              <a:endParaRPr lang="zh-CN" altLang="en-US" sz="1200" dirty="0">
                <a:solidFill>
                  <a:srgbClr val="000000"/>
                </a:solidFill>
              </a:endParaRPr>
            </a:p>
          </p:txBody>
        </p:sp>
        <p:sp>
          <p:nvSpPr>
            <p:cNvPr id="127" name="TextBox 95"/>
            <p:cNvSpPr txBox="1"/>
            <p:nvPr/>
          </p:nvSpPr>
          <p:spPr>
            <a:xfrm>
              <a:off x="9429577" y="3830518"/>
              <a:ext cx="535895" cy="290603"/>
            </a:xfrm>
            <a:prstGeom prst="rect">
              <a:avLst/>
            </a:prstGeom>
            <a:noFill/>
          </p:spPr>
          <p:txBody>
            <a:bodyPr wrap="square" lIns="91420" tIns="45711" rIns="91420" bIns="45711" rtlCol="0">
              <a:spAutoFit/>
            </a:bodyPr>
            <a:lstStyle/>
            <a:p>
              <a:pPr algn="ctr" defTabSz="932815"/>
              <a:r>
                <a:rPr lang="en-US" altLang="zh-CN" sz="1200" dirty="0" smtClean="0">
                  <a:solidFill>
                    <a:srgbClr val="000000"/>
                  </a:solidFill>
                </a:rPr>
                <a:t>xx</a:t>
              </a:r>
              <a:endParaRPr lang="zh-CN" altLang="en-US" sz="1200" dirty="0">
                <a:solidFill>
                  <a:srgbClr val="000000"/>
                </a:solidFill>
              </a:endParaRPr>
            </a:p>
          </p:txBody>
        </p:sp>
        <p:sp>
          <p:nvSpPr>
            <p:cNvPr id="128" name="TextBox 96"/>
            <p:cNvSpPr txBox="1"/>
            <p:nvPr/>
          </p:nvSpPr>
          <p:spPr>
            <a:xfrm>
              <a:off x="8778240" y="4411511"/>
              <a:ext cx="919282" cy="290603"/>
            </a:xfrm>
            <a:prstGeom prst="rect">
              <a:avLst/>
            </a:prstGeom>
            <a:noFill/>
          </p:spPr>
          <p:txBody>
            <a:bodyPr wrap="square" lIns="91420" tIns="45711" rIns="91420" bIns="45711" rtlCol="0">
              <a:spAutoFit/>
            </a:bodyPr>
            <a:lstStyle/>
            <a:p>
              <a:pPr algn="ctr" defTabSz="932815"/>
              <a:r>
                <a:rPr lang="en-US" altLang="zh-CN" sz="1200" dirty="0" smtClean="0">
                  <a:solidFill>
                    <a:srgbClr val="000000"/>
                  </a:solidFill>
                </a:rPr>
                <a:t>xx</a:t>
              </a:r>
              <a:endParaRPr lang="zh-CN" altLang="en-US" sz="1200" dirty="0">
                <a:solidFill>
                  <a:srgbClr val="000000"/>
                </a:solidFill>
              </a:endParaRPr>
            </a:p>
          </p:txBody>
        </p:sp>
        <p:sp>
          <p:nvSpPr>
            <p:cNvPr id="129" name="TextBox 97"/>
            <p:cNvSpPr txBox="1"/>
            <p:nvPr/>
          </p:nvSpPr>
          <p:spPr>
            <a:xfrm>
              <a:off x="7525207" y="4411511"/>
              <a:ext cx="535895" cy="290603"/>
            </a:xfrm>
            <a:prstGeom prst="rect">
              <a:avLst/>
            </a:prstGeom>
            <a:noFill/>
          </p:spPr>
          <p:txBody>
            <a:bodyPr wrap="square" lIns="91420" tIns="45711" rIns="91420" bIns="45711" rtlCol="0">
              <a:spAutoFit/>
            </a:bodyPr>
            <a:lstStyle/>
            <a:p>
              <a:pPr algn="ctr" defTabSz="932815"/>
              <a:r>
                <a:rPr lang="en-US" altLang="zh-CN" sz="1200" dirty="0" smtClean="0">
                  <a:solidFill>
                    <a:srgbClr val="000000"/>
                  </a:solidFill>
                </a:rPr>
                <a:t>xx</a:t>
              </a:r>
              <a:endParaRPr lang="zh-CN" altLang="en-US" sz="1200" dirty="0">
                <a:solidFill>
                  <a:srgbClr val="000000"/>
                </a:solidFill>
              </a:endParaRPr>
            </a:p>
          </p:txBody>
        </p:sp>
        <p:sp>
          <p:nvSpPr>
            <p:cNvPr id="130" name="TextBox 98"/>
            <p:cNvSpPr txBox="1"/>
            <p:nvPr/>
          </p:nvSpPr>
          <p:spPr>
            <a:xfrm>
              <a:off x="6930969" y="3957175"/>
              <a:ext cx="535895" cy="290603"/>
            </a:xfrm>
            <a:prstGeom prst="rect">
              <a:avLst/>
            </a:prstGeom>
            <a:noFill/>
          </p:spPr>
          <p:txBody>
            <a:bodyPr wrap="square" lIns="91420" tIns="45711" rIns="91420" bIns="45711" rtlCol="0">
              <a:spAutoFit/>
            </a:bodyPr>
            <a:lstStyle/>
            <a:p>
              <a:pPr algn="ctr" defTabSz="932815"/>
              <a:r>
                <a:rPr lang="en-US" altLang="zh-CN" sz="1200" dirty="0" smtClean="0">
                  <a:solidFill>
                    <a:srgbClr val="000000"/>
                  </a:solidFill>
                </a:rPr>
                <a:t>xx</a:t>
              </a:r>
              <a:endParaRPr lang="zh-CN" altLang="en-US" sz="1200" dirty="0">
                <a:solidFill>
                  <a:srgbClr val="000000"/>
                </a:solidFill>
              </a:endParaRPr>
            </a:p>
          </p:txBody>
        </p:sp>
        <p:sp>
          <p:nvSpPr>
            <p:cNvPr id="131" name="TextBox 99"/>
            <p:cNvSpPr txBox="1"/>
            <p:nvPr/>
          </p:nvSpPr>
          <p:spPr>
            <a:xfrm>
              <a:off x="6780945" y="3014652"/>
              <a:ext cx="535895" cy="290603"/>
            </a:xfrm>
            <a:prstGeom prst="rect">
              <a:avLst/>
            </a:prstGeom>
            <a:noFill/>
          </p:spPr>
          <p:txBody>
            <a:bodyPr wrap="square" lIns="91420" tIns="45711" rIns="91420" bIns="45711" rtlCol="0">
              <a:spAutoFit/>
            </a:bodyPr>
            <a:lstStyle/>
            <a:p>
              <a:pPr algn="ctr" defTabSz="932815"/>
              <a:r>
                <a:rPr lang="en-US" altLang="zh-CN" sz="1200" dirty="0" smtClean="0">
                  <a:solidFill>
                    <a:srgbClr val="000000"/>
                  </a:solidFill>
                </a:rPr>
                <a:t>xx</a:t>
              </a:r>
              <a:endParaRPr lang="zh-CN" altLang="en-US" sz="1200" dirty="0">
                <a:solidFill>
                  <a:srgbClr val="000000"/>
                </a:solidFill>
              </a:endParaRPr>
            </a:p>
          </p:txBody>
        </p:sp>
        <p:sp>
          <p:nvSpPr>
            <p:cNvPr id="132" name="TextBox 100"/>
            <p:cNvSpPr txBox="1"/>
            <p:nvPr/>
          </p:nvSpPr>
          <p:spPr>
            <a:xfrm>
              <a:off x="6764065" y="2194757"/>
              <a:ext cx="1071792" cy="290603"/>
            </a:xfrm>
            <a:prstGeom prst="rect">
              <a:avLst/>
            </a:prstGeom>
            <a:noFill/>
          </p:spPr>
          <p:txBody>
            <a:bodyPr wrap="square" lIns="91420" tIns="45711" rIns="91420" bIns="45711" rtlCol="0">
              <a:spAutoFit/>
            </a:bodyPr>
            <a:lstStyle/>
            <a:p>
              <a:pPr algn="ctr" defTabSz="932815"/>
              <a:r>
                <a:rPr lang="en-US" altLang="zh-CN" sz="1200" dirty="0" smtClean="0">
                  <a:solidFill>
                    <a:srgbClr val="000000"/>
                  </a:solidFill>
                </a:rPr>
                <a:t>xx</a:t>
              </a:r>
              <a:endParaRPr lang="zh-CN" altLang="en-US" sz="1200" dirty="0">
                <a:solidFill>
                  <a:srgbClr val="000000"/>
                </a:solidFill>
              </a:endParaRPr>
            </a:p>
          </p:txBody>
        </p:sp>
        <p:sp>
          <p:nvSpPr>
            <p:cNvPr id="133" name="矩形 132"/>
            <p:cNvSpPr/>
            <p:nvPr/>
          </p:nvSpPr>
          <p:spPr>
            <a:xfrm>
              <a:off x="6958380" y="4956795"/>
              <a:ext cx="773846" cy="401950"/>
            </a:xfrm>
            <a:prstGeom prst="rect">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1" rIns="0" bIns="45711" rtlCol="0" anchor="ctr"/>
            <a:lstStyle/>
            <a:p>
              <a:pPr algn="ctr" defTabSz="932815"/>
              <a:r>
                <a:rPr kumimoji="1" lang="en-US" altLang="zh-CN" sz="1100" b="1" dirty="0" smtClean="0">
                  <a:solidFill>
                    <a:srgbClr val="FFFFFF"/>
                  </a:solidFill>
                </a:rPr>
                <a:t>xx</a:t>
              </a:r>
              <a:r>
                <a:rPr kumimoji="1" lang="zh-CN" altLang="en-US" sz="1100" b="1" dirty="0" smtClean="0">
                  <a:solidFill>
                    <a:srgbClr val="FFFFFF"/>
                  </a:solidFill>
                </a:rPr>
                <a:t>平台</a:t>
              </a:r>
              <a:endParaRPr kumimoji="1" lang="zh-CN" altLang="en-US" sz="1100" b="1" dirty="0">
                <a:solidFill>
                  <a:srgbClr val="FFFFFF"/>
                </a:solidFill>
              </a:endParaRPr>
            </a:p>
          </p:txBody>
        </p:sp>
        <p:sp>
          <p:nvSpPr>
            <p:cNvPr id="134" name="矩形 133"/>
            <p:cNvSpPr/>
            <p:nvPr/>
          </p:nvSpPr>
          <p:spPr>
            <a:xfrm>
              <a:off x="7999987" y="4956795"/>
              <a:ext cx="773846" cy="401950"/>
            </a:xfrm>
            <a:prstGeom prst="rect">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1" rIns="0" bIns="45711" rtlCol="0" anchor="ctr"/>
            <a:lstStyle/>
            <a:p>
              <a:pPr algn="ctr" defTabSz="932815"/>
              <a:r>
                <a:rPr kumimoji="1" lang="en-US" altLang="zh-CN" sz="1100" b="1" dirty="0" smtClean="0">
                  <a:solidFill>
                    <a:srgbClr val="FFFFFF"/>
                  </a:solidFill>
                </a:rPr>
                <a:t>xx</a:t>
              </a:r>
              <a:endParaRPr kumimoji="1" lang="zh-CN" altLang="en-US" sz="1100" b="1" dirty="0">
                <a:solidFill>
                  <a:srgbClr val="FFFFFF"/>
                </a:solidFill>
              </a:endParaRPr>
            </a:p>
          </p:txBody>
        </p:sp>
        <p:sp>
          <p:nvSpPr>
            <p:cNvPr id="135" name="矩形 134"/>
            <p:cNvSpPr/>
            <p:nvPr/>
          </p:nvSpPr>
          <p:spPr>
            <a:xfrm>
              <a:off x="9018287" y="4956795"/>
              <a:ext cx="773846" cy="401950"/>
            </a:xfrm>
            <a:prstGeom prst="rect">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1" rIns="0" bIns="45711" rtlCol="0" anchor="ctr"/>
            <a:lstStyle/>
            <a:p>
              <a:pPr algn="ctr" defTabSz="932815"/>
              <a:r>
                <a:rPr kumimoji="1" lang="en-US" altLang="zh-CN" sz="1100" b="1" dirty="0" smtClean="0">
                  <a:solidFill>
                    <a:srgbClr val="FFFFFF"/>
                  </a:solidFill>
                </a:rPr>
                <a:t>xx</a:t>
              </a:r>
              <a:endParaRPr kumimoji="1" lang="zh-CN" altLang="en-US" sz="1100" b="1" dirty="0">
                <a:solidFill>
                  <a:srgbClr val="FFFFFF"/>
                </a:solidFill>
              </a:endParaRPr>
            </a:p>
          </p:txBody>
        </p:sp>
        <p:sp>
          <p:nvSpPr>
            <p:cNvPr id="136" name="TextBox 2"/>
            <p:cNvSpPr txBox="1"/>
            <p:nvPr/>
          </p:nvSpPr>
          <p:spPr>
            <a:xfrm>
              <a:off x="7791643" y="4973104"/>
              <a:ext cx="129373" cy="379555"/>
            </a:xfrm>
            <a:prstGeom prst="rect">
              <a:avLst/>
            </a:prstGeom>
            <a:noFill/>
          </p:spPr>
          <p:txBody>
            <a:bodyPr wrap="square" lIns="91420" tIns="45711" rIns="91420" bIns="45711" rtlCol="0">
              <a:spAutoFit/>
            </a:bodyPr>
            <a:lstStyle/>
            <a:p>
              <a:pPr algn="ctr" defTabSz="932815"/>
              <a:r>
                <a:rPr lang="en-US" altLang="zh-CN" sz="1400" b="1" dirty="0" smtClean="0">
                  <a:solidFill>
                    <a:srgbClr val="000000">
                      <a:lumMod val="65000"/>
                      <a:lumOff val="35000"/>
                    </a:srgbClr>
                  </a:solidFill>
                </a:rPr>
                <a:t>+</a:t>
              </a:r>
              <a:endParaRPr lang="zh-CN" altLang="en-US" sz="1400" b="1" dirty="0">
                <a:solidFill>
                  <a:srgbClr val="000000">
                    <a:lumMod val="65000"/>
                    <a:lumOff val="35000"/>
                  </a:srgbClr>
                </a:solidFill>
              </a:endParaRPr>
            </a:p>
          </p:txBody>
        </p:sp>
        <p:sp>
          <p:nvSpPr>
            <p:cNvPr id="137" name="TextBox 80"/>
            <p:cNvSpPr txBox="1"/>
            <p:nvPr/>
          </p:nvSpPr>
          <p:spPr>
            <a:xfrm>
              <a:off x="8824338" y="4973104"/>
              <a:ext cx="129373" cy="379555"/>
            </a:xfrm>
            <a:prstGeom prst="rect">
              <a:avLst/>
            </a:prstGeom>
            <a:noFill/>
          </p:spPr>
          <p:txBody>
            <a:bodyPr wrap="square" lIns="91420" tIns="45711" rIns="91420" bIns="45711" rtlCol="0">
              <a:spAutoFit/>
            </a:bodyPr>
            <a:lstStyle/>
            <a:p>
              <a:pPr algn="ctr" defTabSz="932815"/>
              <a:r>
                <a:rPr lang="en-US" altLang="zh-CN" sz="1400" b="1" dirty="0" smtClean="0">
                  <a:solidFill>
                    <a:srgbClr val="000000">
                      <a:lumMod val="65000"/>
                      <a:lumOff val="35000"/>
                    </a:srgbClr>
                  </a:solidFill>
                </a:rPr>
                <a:t>+</a:t>
              </a:r>
              <a:endParaRPr lang="zh-CN" altLang="en-US" sz="1400" b="1" dirty="0">
                <a:solidFill>
                  <a:srgbClr val="000000">
                    <a:lumMod val="65000"/>
                    <a:lumOff val="35000"/>
                  </a:srgbClr>
                </a:solidFill>
              </a:endParaRPr>
            </a:p>
          </p:txBody>
        </p:sp>
      </p:grpSp>
      <p:sp>
        <p:nvSpPr>
          <p:cNvPr id="56"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分析</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原创设计师QQ598969553                    _4"/>
          <p:cNvSpPr/>
          <p:nvPr/>
        </p:nvSpPr>
        <p:spPr>
          <a:xfrm>
            <a:off x="1423277" y="5437082"/>
            <a:ext cx="9517835" cy="826790"/>
          </a:xfrm>
          <a:prstGeom prst="ellipse">
            <a:avLst/>
          </a:prstGeom>
          <a:solidFill>
            <a:schemeClr val="bg1">
              <a:lumMod val="85000"/>
              <a:alpha val="44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 name="原创设计师QQ598969553                    _8"/>
          <p:cNvSpPr/>
          <p:nvPr/>
        </p:nvSpPr>
        <p:spPr>
          <a:xfrm>
            <a:off x="2118361" y="4769626"/>
            <a:ext cx="8203733" cy="628791"/>
          </a:xfrm>
          <a:custGeom>
            <a:avLst/>
            <a:gdLst>
              <a:gd name="connsiteX0" fmla="*/ 2393693 w 4787386"/>
              <a:gd name="connsiteY0" fmla="*/ 0 h 571628"/>
              <a:gd name="connsiteX1" fmla="*/ 2394866 w 4787386"/>
              <a:gd name="connsiteY1" fmla="*/ 7 h 571628"/>
              <a:gd name="connsiteX2" fmla="*/ 2656609 w 4787386"/>
              <a:gd name="connsiteY2" fmla="*/ 1807 h 571628"/>
              <a:gd name="connsiteX3" fmla="*/ 2876106 w 4787386"/>
              <a:gd name="connsiteY3" fmla="*/ 5807 h 571628"/>
              <a:gd name="connsiteX4" fmla="*/ 4787386 w 4787386"/>
              <a:gd name="connsiteY4" fmla="*/ 285814 h 571628"/>
              <a:gd name="connsiteX5" fmla="*/ 2393693 w 4787386"/>
              <a:gd name="connsiteY5" fmla="*/ 571628 h 571628"/>
              <a:gd name="connsiteX6" fmla="*/ 0 w 4787386"/>
              <a:gd name="connsiteY6" fmla="*/ 285814 h 571628"/>
              <a:gd name="connsiteX7" fmla="*/ 1911280 w 4787386"/>
              <a:gd name="connsiteY7" fmla="*/ 5807 h 571628"/>
              <a:gd name="connsiteX8" fmla="*/ 2130778 w 4787386"/>
              <a:gd name="connsiteY8" fmla="*/ 1807 h 571628"/>
              <a:gd name="connsiteX9" fmla="*/ 2392504 w 4787386"/>
              <a:gd name="connsiteY9" fmla="*/ 7 h 571628"/>
              <a:gd name="connsiteX10" fmla="*/ 2393691 w 4787386"/>
              <a:gd name="connsiteY10" fmla="*/ 0 h 571628"/>
              <a:gd name="connsiteX11" fmla="*/ 2071244 w 4787386"/>
              <a:gd name="connsiteY11" fmla="*/ 3881 h 571628"/>
              <a:gd name="connsiteX12" fmla="*/ 793732 w 4787386"/>
              <a:gd name="connsiteY12" fmla="*/ 191040 h 571628"/>
              <a:gd name="connsiteX13" fmla="*/ 2393692 w 4787386"/>
              <a:gd name="connsiteY13" fmla="*/ 382080 h 571628"/>
              <a:gd name="connsiteX14" fmla="*/ 3993652 w 4787386"/>
              <a:gd name="connsiteY14" fmla="*/ 191040 h 571628"/>
              <a:gd name="connsiteX15" fmla="*/ 2716140 w 4787386"/>
              <a:gd name="connsiteY15" fmla="*/ 3881 h 571628"/>
              <a:gd name="connsiteX16" fmla="*/ 2393693 w 4787386"/>
              <a:gd name="connsiteY16" fmla="*/ 0 h 571628"/>
              <a:gd name="connsiteX17" fmla="*/ 2393693 w 4787386"/>
              <a:gd name="connsiteY17" fmla="*/ 0 h 57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87386" h="571628">
                <a:moveTo>
                  <a:pt x="2393693" y="0"/>
                </a:moveTo>
                <a:lnTo>
                  <a:pt x="2394866" y="7"/>
                </a:lnTo>
                <a:lnTo>
                  <a:pt x="2656609" y="1807"/>
                </a:lnTo>
                <a:lnTo>
                  <a:pt x="2876106" y="5807"/>
                </a:lnTo>
                <a:cubicBezTo>
                  <a:pt x="3966871" y="32458"/>
                  <a:pt x="4787386" y="147695"/>
                  <a:pt x="4787386" y="285814"/>
                </a:cubicBezTo>
                <a:cubicBezTo>
                  <a:pt x="4787386" y="443665"/>
                  <a:pt x="3715693" y="571628"/>
                  <a:pt x="2393693" y="571628"/>
                </a:cubicBezTo>
                <a:cubicBezTo>
                  <a:pt x="1071693" y="571628"/>
                  <a:pt x="0" y="443665"/>
                  <a:pt x="0" y="285814"/>
                </a:cubicBezTo>
                <a:cubicBezTo>
                  <a:pt x="0" y="147695"/>
                  <a:pt x="820515" y="32458"/>
                  <a:pt x="1911280" y="5807"/>
                </a:cubicBezTo>
                <a:lnTo>
                  <a:pt x="2130778" y="1807"/>
                </a:lnTo>
                <a:lnTo>
                  <a:pt x="2392504" y="7"/>
                </a:lnTo>
                <a:lnTo>
                  <a:pt x="2393691" y="0"/>
                </a:lnTo>
                <a:lnTo>
                  <a:pt x="2071244" y="3881"/>
                </a:lnTo>
                <a:cubicBezTo>
                  <a:pt x="1342169" y="21695"/>
                  <a:pt x="793732" y="98721"/>
                  <a:pt x="793732" y="191040"/>
                </a:cubicBezTo>
                <a:cubicBezTo>
                  <a:pt x="793732" y="296548"/>
                  <a:pt x="1510058" y="382080"/>
                  <a:pt x="2393692" y="382080"/>
                </a:cubicBezTo>
                <a:cubicBezTo>
                  <a:pt x="3277326" y="382080"/>
                  <a:pt x="3993652" y="296548"/>
                  <a:pt x="3993652" y="191040"/>
                </a:cubicBezTo>
                <a:cubicBezTo>
                  <a:pt x="3993652" y="98721"/>
                  <a:pt x="3445215" y="21695"/>
                  <a:pt x="2716140" y="3881"/>
                </a:cubicBezTo>
                <a:lnTo>
                  <a:pt x="2393693" y="0"/>
                </a:lnTo>
                <a:lnTo>
                  <a:pt x="2393693" y="0"/>
                </a:lnTo>
                <a:close/>
              </a:path>
            </a:pathLst>
          </a:custGeom>
          <a:solidFill>
            <a:schemeClr val="bg1">
              <a:lumMod val="75000"/>
            </a:schemeClr>
          </a:solidFill>
          <a:ln w="28575" cap="flat">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36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4" name="原创设计师QQ598969553                    _31"/>
          <p:cNvSpPr/>
          <p:nvPr/>
        </p:nvSpPr>
        <p:spPr>
          <a:xfrm>
            <a:off x="561499" y="4889357"/>
            <a:ext cx="11241388" cy="884674"/>
          </a:xfrm>
          <a:custGeom>
            <a:avLst/>
            <a:gdLst>
              <a:gd name="connsiteX0" fmla="*/ 1566472 w 6345470"/>
              <a:gd name="connsiteY0" fmla="*/ 0 h 804249"/>
              <a:gd name="connsiteX1" fmla="*/ 1374115 w 6345470"/>
              <a:gd name="connsiteY1" fmla="*/ 17175 h 804249"/>
              <a:gd name="connsiteX2" fmla="*/ 345129 w 6345470"/>
              <a:gd name="connsiteY2" fmla="*/ 277703 h 804249"/>
              <a:gd name="connsiteX3" fmla="*/ 3172736 w 6345470"/>
              <a:gd name="connsiteY3" fmla="*/ 615328 h 804249"/>
              <a:gd name="connsiteX4" fmla="*/ 6000343 w 6345470"/>
              <a:gd name="connsiteY4" fmla="*/ 277703 h 804249"/>
              <a:gd name="connsiteX5" fmla="*/ 4971357 w 6345470"/>
              <a:gd name="connsiteY5" fmla="*/ 17175 h 804249"/>
              <a:gd name="connsiteX6" fmla="*/ 4779026 w 6345470"/>
              <a:gd name="connsiteY6" fmla="*/ 2 h 804249"/>
              <a:gd name="connsiteX7" fmla="*/ 4946641 w 6345470"/>
              <a:gd name="connsiteY7" fmla="*/ 13870 h 804249"/>
              <a:gd name="connsiteX8" fmla="*/ 6345470 w 6345470"/>
              <a:gd name="connsiteY8" fmla="*/ 372163 h 804249"/>
              <a:gd name="connsiteX9" fmla="*/ 3172735 w 6345470"/>
              <a:gd name="connsiteY9" fmla="*/ 804249 h 804249"/>
              <a:gd name="connsiteX10" fmla="*/ 0 w 6345470"/>
              <a:gd name="connsiteY10" fmla="*/ 372163 h 804249"/>
              <a:gd name="connsiteX11" fmla="*/ 1398829 w 6345470"/>
              <a:gd name="connsiteY11" fmla="*/ 13870 h 804249"/>
              <a:gd name="connsiteX12" fmla="*/ 1566472 w 6345470"/>
              <a:gd name="connsiteY12" fmla="*/ 0 h 80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5470" h="804249">
                <a:moveTo>
                  <a:pt x="1566472" y="0"/>
                </a:moveTo>
                <a:lnTo>
                  <a:pt x="1374115" y="17175"/>
                </a:lnTo>
                <a:cubicBezTo>
                  <a:pt x="745687" y="79101"/>
                  <a:pt x="345129" y="172817"/>
                  <a:pt x="345129" y="277703"/>
                </a:cubicBezTo>
                <a:cubicBezTo>
                  <a:pt x="345129" y="464168"/>
                  <a:pt x="1611092" y="615328"/>
                  <a:pt x="3172736" y="615328"/>
                </a:cubicBezTo>
                <a:cubicBezTo>
                  <a:pt x="4734380" y="615328"/>
                  <a:pt x="6000343" y="464168"/>
                  <a:pt x="6000343" y="277703"/>
                </a:cubicBezTo>
                <a:cubicBezTo>
                  <a:pt x="6000343" y="172817"/>
                  <a:pt x="5599785" y="79101"/>
                  <a:pt x="4971357" y="17175"/>
                </a:cubicBezTo>
                <a:lnTo>
                  <a:pt x="4779026" y="2"/>
                </a:lnTo>
                <a:lnTo>
                  <a:pt x="4946641" y="13870"/>
                </a:lnTo>
                <a:cubicBezTo>
                  <a:pt x="5790594" y="91519"/>
                  <a:pt x="6345470" y="223016"/>
                  <a:pt x="6345470" y="372163"/>
                </a:cubicBezTo>
                <a:cubicBezTo>
                  <a:pt x="6345470" y="610798"/>
                  <a:pt x="4924988" y="804249"/>
                  <a:pt x="3172735" y="804249"/>
                </a:cubicBezTo>
                <a:cubicBezTo>
                  <a:pt x="1420482" y="804249"/>
                  <a:pt x="0" y="610798"/>
                  <a:pt x="0" y="372163"/>
                </a:cubicBezTo>
                <a:cubicBezTo>
                  <a:pt x="0" y="223016"/>
                  <a:pt x="554876" y="91519"/>
                  <a:pt x="1398829" y="13870"/>
                </a:cubicBezTo>
                <a:lnTo>
                  <a:pt x="1566472" y="0"/>
                </a:lnTo>
                <a:close/>
              </a:path>
            </a:pathLst>
          </a:custGeom>
          <a:solidFill>
            <a:schemeClr val="bg1">
              <a:lumMod val="75000"/>
            </a:schemeClr>
          </a:solidFill>
          <a:ln w="28575"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36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5" name="矩形 4"/>
          <p:cNvSpPr/>
          <p:nvPr/>
        </p:nvSpPr>
        <p:spPr>
          <a:xfrm>
            <a:off x="5399772" y="5853968"/>
            <a:ext cx="1932305" cy="366755"/>
          </a:xfrm>
          <a:prstGeom prst="rect">
            <a:avLst/>
          </a:prstGeom>
          <a:noFill/>
          <a:ln w="25400" cap="flat" cmpd="sng" algn="ctr">
            <a:noFill/>
            <a:prstDash val="solid"/>
          </a:ln>
          <a:effectLst/>
        </p:spPr>
        <p:txBody>
          <a:bodyPr lIns="91420" tIns="45711" rIns="91420" bIns="45711" rtlCol="0" anchor="ctr"/>
          <a:lstStyle/>
          <a:p>
            <a:pPr marL="0" marR="0" lvl="0" indent="0" algn="ctr" defTabSz="932815" rtl="0" eaLnBrk="1" fontAlgn="auto" latinLnBrk="1" hangingPunct="1">
              <a:lnSpc>
                <a:spcPct val="100000"/>
              </a:lnSpc>
              <a:spcBef>
                <a:spcPts val="0"/>
              </a:spcBef>
              <a:spcAft>
                <a:spcPts val="0"/>
              </a:spcAft>
              <a:buClrTx/>
              <a:buSzTx/>
              <a:buFontTx/>
              <a:buNone/>
              <a:defRPr/>
            </a:pPr>
            <a:r>
              <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cs"/>
              </a:rPr>
              <a:t>智慧信息</a:t>
            </a:r>
            <a:endPar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cs"/>
            </a:endParaRPr>
          </a:p>
        </p:txBody>
      </p:sp>
      <p:sp>
        <p:nvSpPr>
          <p:cNvPr id="6" name="矩形 5"/>
          <p:cNvSpPr/>
          <p:nvPr/>
        </p:nvSpPr>
        <p:spPr>
          <a:xfrm>
            <a:off x="4614706" y="4782179"/>
            <a:ext cx="3048000" cy="369332"/>
          </a:xfrm>
          <a:prstGeom prst="rect">
            <a:avLst/>
          </a:prstGeom>
        </p:spPr>
        <p:txBody>
          <a:bodyPr wrap="square">
            <a:spAutoFit/>
          </a:bodyPr>
          <a:lstStyle/>
          <a:p>
            <a:pPr marL="0" marR="0" lvl="0" indent="0" algn="ctr" defTabSz="932815" rtl="0" eaLnBrk="1" fontAlgn="base" latinLnBrk="1" hangingPunct="1">
              <a:lnSpc>
                <a:spcPct val="100000"/>
              </a:lnSpc>
              <a:spcBef>
                <a:spcPct val="0"/>
              </a:spcBef>
              <a:spcAft>
                <a:spcPct val="0"/>
              </a:spcAft>
              <a:buClrTx/>
              <a:buSzTx/>
              <a:buFontTx/>
              <a:buNone/>
              <a:defRPr/>
            </a:pPr>
            <a:r>
              <a:rPr kumimoji="0" lang="zh-CN" altLang="en-US" sz="18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sym typeface="+mn-lt"/>
              </a:rPr>
              <a:t>“</a:t>
            </a:r>
            <a:r>
              <a:rPr kumimoji="0" lang="en-US" altLang="zh-CN" sz="18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sym typeface="+mn-lt"/>
              </a:rPr>
              <a:t>1 + N</a:t>
            </a:r>
            <a:r>
              <a:rPr kumimoji="0" lang="zh-CN" altLang="en-US" sz="18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sym typeface="+mn-lt"/>
              </a:rPr>
              <a:t>”智慧城市生态圈</a:t>
            </a:r>
            <a:endParaRPr kumimoji="0" lang="zh-CN" altLang="en-US" sz="18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sym typeface="+mn-lt"/>
            </a:endParaRPr>
          </a:p>
        </p:txBody>
      </p:sp>
      <p:sp>
        <p:nvSpPr>
          <p:cNvPr id="7" name="house-with-two-doors_21086"/>
          <p:cNvSpPr>
            <a:spLocks noChangeAspect="1"/>
          </p:cNvSpPr>
          <p:nvPr/>
        </p:nvSpPr>
        <p:spPr bwMode="auto">
          <a:xfrm>
            <a:off x="5203742" y="1460464"/>
            <a:ext cx="483865" cy="403253"/>
          </a:xfrm>
          <a:custGeom>
            <a:avLst/>
            <a:gdLst>
              <a:gd name="T0" fmla="*/ 657 w 810"/>
              <a:gd name="T1" fmla="*/ 202 h 676"/>
              <a:gd name="T2" fmla="*/ 657 w 810"/>
              <a:gd name="T3" fmla="*/ 39 h 676"/>
              <a:gd name="T4" fmla="*/ 569 w 810"/>
              <a:gd name="T5" fmla="*/ 39 h 676"/>
              <a:gd name="T6" fmla="*/ 569 w 810"/>
              <a:gd name="T7" fmla="*/ 132 h 676"/>
              <a:gd name="T8" fmla="*/ 405 w 810"/>
              <a:gd name="T9" fmla="*/ 0 h 676"/>
              <a:gd name="T10" fmla="*/ 0 w 810"/>
              <a:gd name="T11" fmla="*/ 324 h 676"/>
              <a:gd name="T12" fmla="*/ 111 w 810"/>
              <a:gd name="T13" fmla="*/ 324 h 676"/>
              <a:gd name="T14" fmla="*/ 111 w 810"/>
              <a:gd name="T15" fmla="*/ 676 h 676"/>
              <a:gd name="T16" fmla="*/ 698 w 810"/>
              <a:gd name="T17" fmla="*/ 676 h 676"/>
              <a:gd name="T18" fmla="*/ 698 w 810"/>
              <a:gd name="T19" fmla="*/ 324 h 676"/>
              <a:gd name="T20" fmla="*/ 810 w 810"/>
              <a:gd name="T21" fmla="*/ 324 h 676"/>
              <a:gd name="T22" fmla="*/ 657 w 810"/>
              <a:gd name="T23" fmla="*/ 202 h 676"/>
              <a:gd name="T24" fmla="*/ 657 w 810"/>
              <a:gd name="T25" fmla="*/ 635 h 676"/>
              <a:gd name="T26" fmla="*/ 509 w 810"/>
              <a:gd name="T27" fmla="*/ 635 h 676"/>
              <a:gd name="T28" fmla="*/ 509 w 810"/>
              <a:gd name="T29" fmla="*/ 441 h 676"/>
              <a:gd name="T30" fmla="*/ 410 w 810"/>
              <a:gd name="T31" fmla="*/ 441 h 676"/>
              <a:gd name="T32" fmla="*/ 410 w 810"/>
              <a:gd name="T33" fmla="*/ 635 h 676"/>
              <a:gd name="T34" fmla="*/ 400 w 810"/>
              <a:gd name="T35" fmla="*/ 635 h 676"/>
              <a:gd name="T36" fmla="*/ 400 w 810"/>
              <a:gd name="T37" fmla="*/ 441 h 676"/>
              <a:gd name="T38" fmla="*/ 301 w 810"/>
              <a:gd name="T39" fmla="*/ 441 h 676"/>
              <a:gd name="T40" fmla="*/ 301 w 810"/>
              <a:gd name="T41" fmla="*/ 635 h 676"/>
              <a:gd name="T42" fmla="*/ 153 w 810"/>
              <a:gd name="T43" fmla="*/ 635 h 676"/>
              <a:gd name="T44" fmla="*/ 153 w 810"/>
              <a:gd name="T45" fmla="*/ 324 h 676"/>
              <a:gd name="T46" fmla="*/ 657 w 810"/>
              <a:gd name="T47" fmla="*/ 324 h 676"/>
              <a:gd name="T48" fmla="*/ 657 w 810"/>
              <a:gd name="T49" fmla="*/ 635 h 676"/>
              <a:gd name="T50" fmla="*/ 657 w 810"/>
              <a:gd name="T51" fmla="*/ 635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676">
                <a:moveTo>
                  <a:pt x="657" y="202"/>
                </a:moveTo>
                <a:lnTo>
                  <a:pt x="657" y="39"/>
                </a:lnTo>
                <a:lnTo>
                  <a:pt x="569" y="39"/>
                </a:lnTo>
                <a:lnTo>
                  <a:pt x="569" y="132"/>
                </a:lnTo>
                <a:lnTo>
                  <a:pt x="405" y="0"/>
                </a:lnTo>
                <a:lnTo>
                  <a:pt x="0" y="324"/>
                </a:lnTo>
                <a:lnTo>
                  <a:pt x="111" y="324"/>
                </a:lnTo>
                <a:lnTo>
                  <a:pt x="111" y="676"/>
                </a:lnTo>
                <a:lnTo>
                  <a:pt x="698" y="676"/>
                </a:lnTo>
                <a:lnTo>
                  <a:pt x="698" y="324"/>
                </a:lnTo>
                <a:lnTo>
                  <a:pt x="810" y="324"/>
                </a:lnTo>
                <a:lnTo>
                  <a:pt x="657" y="202"/>
                </a:lnTo>
                <a:close/>
                <a:moveTo>
                  <a:pt x="657" y="635"/>
                </a:moveTo>
                <a:lnTo>
                  <a:pt x="509" y="635"/>
                </a:lnTo>
                <a:lnTo>
                  <a:pt x="509" y="441"/>
                </a:lnTo>
                <a:lnTo>
                  <a:pt x="410" y="441"/>
                </a:lnTo>
                <a:lnTo>
                  <a:pt x="410" y="635"/>
                </a:lnTo>
                <a:lnTo>
                  <a:pt x="400" y="635"/>
                </a:lnTo>
                <a:lnTo>
                  <a:pt x="400" y="441"/>
                </a:lnTo>
                <a:lnTo>
                  <a:pt x="301" y="441"/>
                </a:lnTo>
                <a:lnTo>
                  <a:pt x="301" y="635"/>
                </a:lnTo>
                <a:lnTo>
                  <a:pt x="153" y="635"/>
                </a:lnTo>
                <a:lnTo>
                  <a:pt x="153" y="324"/>
                </a:lnTo>
                <a:lnTo>
                  <a:pt x="657" y="324"/>
                </a:lnTo>
                <a:lnTo>
                  <a:pt x="657" y="635"/>
                </a:lnTo>
                <a:lnTo>
                  <a:pt x="657" y="635"/>
                </a:lnTo>
                <a:close/>
              </a:path>
            </a:pathLst>
          </a:custGeom>
          <a:solidFill>
            <a:srgbClr val="FF3300"/>
          </a:solidFill>
          <a:ln>
            <a:noFill/>
          </a:ln>
        </p:spPr>
        <p:style>
          <a:lnRef idx="3">
            <a:schemeClr val="lt1"/>
          </a:lnRef>
          <a:fillRef idx="1">
            <a:schemeClr val="accent2"/>
          </a:fillRef>
          <a:effectRef idx="1">
            <a:schemeClr val="accent2"/>
          </a:effectRef>
          <a:fontRef idx="minor">
            <a:schemeClr val="lt1"/>
          </a:fontRef>
        </p:style>
        <p:txBody>
          <a:bodyPr/>
          <a:lstStyle/>
          <a:p>
            <a:pPr marL="0" marR="0" lvl="0" indent="0" algn="l" defTabSz="914400" rtl="0" eaLnBrk="1" fontAlgn="auto" latinLnBrk="0" hangingPunct="1">
              <a:lnSpc>
                <a:spcPct val="80000"/>
              </a:lnSpc>
              <a:spcBef>
                <a:spcPct val="20000"/>
              </a:spcBef>
              <a:spcAft>
                <a:spcPct val="0"/>
              </a:spcAft>
              <a:buClrTx/>
              <a:buSzTx/>
              <a:buFontTx/>
              <a:buNone/>
              <a:defRPr/>
            </a:pPr>
            <a:endParaRPr kumimoji="0" lang="zh-CN" altLang="en-US" sz="2000" b="0" i="0" u="none" strike="noStrike" kern="1200" cap="none" spc="0" normalizeH="0" baseline="0" noProof="0">
              <a:ln>
                <a:noFill/>
              </a:ln>
              <a:solidFill>
                <a:schemeClr val="tx1"/>
              </a:solidFill>
              <a:effectLst/>
              <a:uLnTx/>
              <a:uFillTx/>
              <a:latin typeface="华文楷体" panose="02010600040101010101" charset="-122"/>
              <a:ea typeface="华文楷体" panose="02010600040101010101" charset="-122"/>
              <a:cs typeface="+mn-cs"/>
            </a:endParaRPr>
          </a:p>
        </p:txBody>
      </p:sp>
      <p:sp>
        <p:nvSpPr>
          <p:cNvPr id="8" name="open-book-top-view_43212"/>
          <p:cNvSpPr>
            <a:spLocks noChangeAspect="1"/>
          </p:cNvSpPr>
          <p:nvPr/>
        </p:nvSpPr>
        <p:spPr bwMode="auto">
          <a:xfrm>
            <a:off x="7449770" y="1471199"/>
            <a:ext cx="540005" cy="403253"/>
          </a:xfrm>
          <a:custGeom>
            <a:avLst/>
            <a:gdLst>
              <a:gd name="connsiteX0" fmla="*/ 462404 w 602788"/>
              <a:gd name="connsiteY0" fmla="*/ 304764 h 450137"/>
              <a:gd name="connsiteX1" fmla="*/ 531061 w 602788"/>
              <a:gd name="connsiteY1" fmla="*/ 312495 h 450137"/>
              <a:gd name="connsiteX2" fmla="*/ 526755 w 602788"/>
              <a:gd name="connsiteY2" fmla="*/ 325402 h 450137"/>
              <a:gd name="connsiteX3" fmla="*/ 355930 w 602788"/>
              <a:gd name="connsiteY3" fmla="*/ 346914 h 450137"/>
              <a:gd name="connsiteX4" fmla="*/ 348753 w 602788"/>
              <a:gd name="connsiteY4" fmla="*/ 334007 h 450137"/>
              <a:gd name="connsiteX5" fmla="*/ 462404 w 602788"/>
              <a:gd name="connsiteY5" fmla="*/ 304764 h 450137"/>
              <a:gd name="connsiteX6" fmla="*/ 149121 w 602788"/>
              <a:gd name="connsiteY6" fmla="*/ 303384 h 450137"/>
              <a:gd name="connsiteX7" fmla="*/ 262772 w 602788"/>
              <a:gd name="connsiteY7" fmla="*/ 332627 h 450137"/>
              <a:gd name="connsiteX8" fmla="*/ 255595 w 602788"/>
              <a:gd name="connsiteY8" fmla="*/ 345534 h 450137"/>
              <a:gd name="connsiteX9" fmla="*/ 84770 w 602788"/>
              <a:gd name="connsiteY9" fmla="*/ 325456 h 450137"/>
              <a:gd name="connsiteX10" fmla="*/ 80464 w 602788"/>
              <a:gd name="connsiteY10" fmla="*/ 311115 h 450137"/>
              <a:gd name="connsiteX11" fmla="*/ 149121 w 602788"/>
              <a:gd name="connsiteY11" fmla="*/ 303384 h 450137"/>
              <a:gd name="connsiteX12" fmla="*/ 462404 w 602788"/>
              <a:gd name="connsiteY12" fmla="*/ 266141 h 450137"/>
              <a:gd name="connsiteX13" fmla="*/ 531061 w 602788"/>
              <a:gd name="connsiteY13" fmla="*/ 273872 h 450137"/>
              <a:gd name="connsiteX14" fmla="*/ 526755 w 602788"/>
              <a:gd name="connsiteY14" fmla="*/ 286779 h 450137"/>
              <a:gd name="connsiteX15" fmla="*/ 355930 w 602788"/>
              <a:gd name="connsiteY15" fmla="*/ 308291 h 450137"/>
              <a:gd name="connsiteX16" fmla="*/ 348753 w 602788"/>
              <a:gd name="connsiteY16" fmla="*/ 295384 h 450137"/>
              <a:gd name="connsiteX17" fmla="*/ 462404 w 602788"/>
              <a:gd name="connsiteY17" fmla="*/ 266141 h 450137"/>
              <a:gd name="connsiteX18" fmla="*/ 149121 w 602788"/>
              <a:gd name="connsiteY18" fmla="*/ 264762 h 450137"/>
              <a:gd name="connsiteX19" fmla="*/ 262772 w 602788"/>
              <a:gd name="connsiteY19" fmla="*/ 294005 h 450137"/>
              <a:gd name="connsiteX20" fmla="*/ 255595 w 602788"/>
              <a:gd name="connsiteY20" fmla="*/ 306912 h 450137"/>
              <a:gd name="connsiteX21" fmla="*/ 84770 w 602788"/>
              <a:gd name="connsiteY21" fmla="*/ 285400 h 450137"/>
              <a:gd name="connsiteX22" fmla="*/ 80464 w 602788"/>
              <a:gd name="connsiteY22" fmla="*/ 272493 h 450137"/>
              <a:gd name="connsiteX23" fmla="*/ 149121 w 602788"/>
              <a:gd name="connsiteY23" fmla="*/ 264762 h 450137"/>
              <a:gd name="connsiteX24" fmla="*/ 462404 w 602788"/>
              <a:gd name="connsiteY24" fmla="*/ 227519 h 450137"/>
              <a:gd name="connsiteX25" fmla="*/ 531061 w 602788"/>
              <a:gd name="connsiteY25" fmla="*/ 235250 h 450137"/>
              <a:gd name="connsiteX26" fmla="*/ 526755 w 602788"/>
              <a:gd name="connsiteY26" fmla="*/ 248157 h 450137"/>
              <a:gd name="connsiteX27" fmla="*/ 355930 w 602788"/>
              <a:gd name="connsiteY27" fmla="*/ 269669 h 450137"/>
              <a:gd name="connsiteX28" fmla="*/ 348753 w 602788"/>
              <a:gd name="connsiteY28" fmla="*/ 256762 h 450137"/>
              <a:gd name="connsiteX29" fmla="*/ 462404 w 602788"/>
              <a:gd name="connsiteY29" fmla="*/ 227519 h 450137"/>
              <a:gd name="connsiteX30" fmla="*/ 149121 w 602788"/>
              <a:gd name="connsiteY30" fmla="*/ 225909 h 450137"/>
              <a:gd name="connsiteX31" fmla="*/ 262772 w 602788"/>
              <a:gd name="connsiteY31" fmla="*/ 255152 h 450137"/>
              <a:gd name="connsiteX32" fmla="*/ 255595 w 602788"/>
              <a:gd name="connsiteY32" fmla="*/ 268059 h 450137"/>
              <a:gd name="connsiteX33" fmla="*/ 84770 w 602788"/>
              <a:gd name="connsiteY33" fmla="*/ 246547 h 450137"/>
              <a:gd name="connsiteX34" fmla="*/ 80464 w 602788"/>
              <a:gd name="connsiteY34" fmla="*/ 233640 h 450137"/>
              <a:gd name="connsiteX35" fmla="*/ 149121 w 602788"/>
              <a:gd name="connsiteY35" fmla="*/ 225909 h 450137"/>
              <a:gd name="connsiteX36" fmla="*/ 462404 w 602788"/>
              <a:gd name="connsiteY36" fmla="*/ 189417 h 450137"/>
              <a:gd name="connsiteX37" fmla="*/ 531061 w 602788"/>
              <a:gd name="connsiteY37" fmla="*/ 196500 h 450137"/>
              <a:gd name="connsiteX38" fmla="*/ 526755 w 602788"/>
              <a:gd name="connsiteY38" fmla="*/ 210798 h 450137"/>
              <a:gd name="connsiteX39" fmla="*/ 355930 w 602788"/>
              <a:gd name="connsiteY39" fmla="*/ 230816 h 450137"/>
              <a:gd name="connsiteX40" fmla="*/ 348753 w 602788"/>
              <a:gd name="connsiteY40" fmla="*/ 219377 h 450137"/>
              <a:gd name="connsiteX41" fmla="*/ 462404 w 602788"/>
              <a:gd name="connsiteY41" fmla="*/ 189417 h 450137"/>
              <a:gd name="connsiteX42" fmla="*/ 149121 w 602788"/>
              <a:gd name="connsiteY42" fmla="*/ 188683 h 450137"/>
              <a:gd name="connsiteX43" fmla="*/ 262772 w 602788"/>
              <a:gd name="connsiteY43" fmla="*/ 217952 h 450137"/>
              <a:gd name="connsiteX44" fmla="*/ 255595 w 602788"/>
              <a:gd name="connsiteY44" fmla="*/ 229436 h 450137"/>
              <a:gd name="connsiteX45" fmla="*/ 84770 w 602788"/>
              <a:gd name="connsiteY45" fmla="*/ 209340 h 450137"/>
              <a:gd name="connsiteX46" fmla="*/ 80464 w 602788"/>
              <a:gd name="connsiteY46" fmla="*/ 196421 h 450137"/>
              <a:gd name="connsiteX47" fmla="*/ 149121 w 602788"/>
              <a:gd name="connsiteY47" fmla="*/ 188683 h 450137"/>
              <a:gd name="connsiteX48" fmla="*/ 462404 w 602788"/>
              <a:gd name="connsiteY48" fmla="*/ 148664 h 450137"/>
              <a:gd name="connsiteX49" fmla="*/ 531061 w 602788"/>
              <a:gd name="connsiteY49" fmla="*/ 156395 h 450137"/>
              <a:gd name="connsiteX50" fmla="*/ 526755 w 602788"/>
              <a:gd name="connsiteY50" fmla="*/ 169302 h 450137"/>
              <a:gd name="connsiteX51" fmla="*/ 355930 w 602788"/>
              <a:gd name="connsiteY51" fmla="*/ 190814 h 450137"/>
              <a:gd name="connsiteX52" fmla="*/ 348753 w 602788"/>
              <a:gd name="connsiteY52" fmla="*/ 177907 h 450137"/>
              <a:gd name="connsiteX53" fmla="*/ 462404 w 602788"/>
              <a:gd name="connsiteY53" fmla="*/ 148664 h 450137"/>
              <a:gd name="connsiteX54" fmla="*/ 149121 w 602788"/>
              <a:gd name="connsiteY54" fmla="*/ 147806 h 450137"/>
              <a:gd name="connsiteX55" fmla="*/ 262772 w 602788"/>
              <a:gd name="connsiteY55" fmla="*/ 177766 h 450137"/>
              <a:gd name="connsiteX56" fmla="*/ 255595 w 602788"/>
              <a:gd name="connsiteY56" fmla="*/ 189205 h 450137"/>
              <a:gd name="connsiteX57" fmla="*/ 84770 w 602788"/>
              <a:gd name="connsiteY57" fmla="*/ 169187 h 450137"/>
              <a:gd name="connsiteX58" fmla="*/ 80464 w 602788"/>
              <a:gd name="connsiteY58" fmla="*/ 154889 h 450137"/>
              <a:gd name="connsiteX59" fmla="*/ 149121 w 602788"/>
              <a:gd name="connsiteY59" fmla="*/ 147806 h 450137"/>
              <a:gd name="connsiteX60" fmla="*/ 462404 w 602788"/>
              <a:gd name="connsiteY60" fmla="*/ 111421 h 450137"/>
              <a:gd name="connsiteX61" fmla="*/ 531061 w 602788"/>
              <a:gd name="connsiteY61" fmla="*/ 119152 h 450137"/>
              <a:gd name="connsiteX62" fmla="*/ 526755 w 602788"/>
              <a:gd name="connsiteY62" fmla="*/ 132059 h 450137"/>
              <a:gd name="connsiteX63" fmla="*/ 355930 w 602788"/>
              <a:gd name="connsiteY63" fmla="*/ 153571 h 450137"/>
              <a:gd name="connsiteX64" fmla="*/ 348753 w 602788"/>
              <a:gd name="connsiteY64" fmla="*/ 140664 h 450137"/>
              <a:gd name="connsiteX65" fmla="*/ 462404 w 602788"/>
              <a:gd name="connsiteY65" fmla="*/ 111421 h 450137"/>
              <a:gd name="connsiteX66" fmla="*/ 149121 w 602788"/>
              <a:gd name="connsiteY66" fmla="*/ 110563 h 450137"/>
              <a:gd name="connsiteX67" fmla="*/ 262772 w 602788"/>
              <a:gd name="connsiteY67" fmla="*/ 140523 h 450137"/>
              <a:gd name="connsiteX68" fmla="*/ 255595 w 602788"/>
              <a:gd name="connsiteY68" fmla="*/ 151962 h 450137"/>
              <a:gd name="connsiteX69" fmla="*/ 84770 w 602788"/>
              <a:gd name="connsiteY69" fmla="*/ 131944 h 450137"/>
              <a:gd name="connsiteX70" fmla="*/ 80464 w 602788"/>
              <a:gd name="connsiteY70" fmla="*/ 117646 h 450137"/>
              <a:gd name="connsiteX71" fmla="*/ 149121 w 602788"/>
              <a:gd name="connsiteY71" fmla="*/ 110563 h 450137"/>
              <a:gd name="connsiteX72" fmla="*/ 462404 w 602788"/>
              <a:gd name="connsiteY72" fmla="*/ 71777 h 450137"/>
              <a:gd name="connsiteX73" fmla="*/ 531061 w 602788"/>
              <a:gd name="connsiteY73" fmla="*/ 78887 h 450137"/>
              <a:gd name="connsiteX74" fmla="*/ 526755 w 602788"/>
              <a:gd name="connsiteY74" fmla="*/ 93242 h 450137"/>
              <a:gd name="connsiteX75" fmla="*/ 355930 w 602788"/>
              <a:gd name="connsiteY75" fmla="*/ 113338 h 450137"/>
              <a:gd name="connsiteX76" fmla="*/ 348753 w 602788"/>
              <a:gd name="connsiteY76" fmla="*/ 101854 h 450137"/>
              <a:gd name="connsiteX77" fmla="*/ 462404 w 602788"/>
              <a:gd name="connsiteY77" fmla="*/ 71777 h 450137"/>
              <a:gd name="connsiteX78" fmla="*/ 149121 w 602788"/>
              <a:gd name="connsiteY78" fmla="*/ 71189 h 450137"/>
              <a:gd name="connsiteX79" fmla="*/ 262772 w 602788"/>
              <a:gd name="connsiteY79" fmla="*/ 100432 h 450137"/>
              <a:gd name="connsiteX80" fmla="*/ 255595 w 602788"/>
              <a:gd name="connsiteY80" fmla="*/ 113339 h 450137"/>
              <a:gd name="connsiteX81" fmla="*/ 84770 w 602788"/>
              <a:gd name="connsiteY81" fmla="*/ 91827 h 450137"/>
              <a:gd name="connsiteX82" fmla="*/ 80464 w 602788"/>
              <a:gd name="connsiteY82" fmla="*/ 78920 h 450137"/>
              <a:gd name="connsiteX83" fmla="*/ 149121 w 602788"/>
              <a:gd name="connsiteY83" fmla="*/ 71189 h 450137"/>
              <a:gd name="connsiteX84" fmla="*/ 466443 w 602788"/>
              <a:gd name="connsiteY84" fmla="*/ 17203 h 450137"/>
              <a:gd name="connsiteX85" fmla="*/ 317181 w 602788"/>
              <a:gd name="connsiteY85" fmla="*/ 68811 h 450137"/>
              <a:gd name="connsiteX86" fmla="*/ 317181 w 602788"/>
              <a:gd name="connsiteY86" fmla="*/ 279544 h 450137"/>
              <a:gd name="connsiteX87" fmla="*/ 307135 w 602788"/>
              <a:gd name="connsiteY87" fmla="*/ 268075 h 450137"/>
              <a:gd name="connsiteX88" fmla="*/ 307135 w 602788"/>
              <a:gd name="connsiteY88" fmla="*/ 407130 h 450137"/>
              <a:gd name="connsiteX89" fmla="*/ 477925 w 602788"/>
              <a:gd name="connsiteY89" fmla="*/ 368424 h 450137"/>
              <a:gd name="connsiteX90" fmla="*/ 561167 w 602788"/>
              <a:gd name="connsiteY90" fmla="*/ 382760 h 450137"/>
              <a:gd name="connsiteX91" fmla="*/ 561167 w 602788"/>
              <a:gd name="connsiteY91" fmla="*/ 31538 h 450137"/>
              <a:gd name="connsiteX92" fmla="*/ 466443 w 602788"/>
              <a:gd name="connsiteY92" fmla="*/ 17203 h 450137"/>
              <a:gd name="connsiteX93" fmla="*/ 140651 w 602788"/>
              <a:gd name="connsiteY93" fmla="*/ 17203 h 450137"/>
              <a:gd name="connsiteX94" fmla="*/ 45927 w 602788"/>
              <a:gd name="connsiteY94" fmla="*/ 31538 h 450137"/>
              <a:gd name="connsiteX95" fmla="*/ 45927 w 602788"/>
              <a:gd name="connsiteY95" fmla="*/ 382760 h 450137"/>
              <a:gd name="connsiteX96" fmla="*/ 126298 w 602788"/>
              <a:gd name="connsiteY96" fmla="*/ 369858 h 450137"/>
              <a:gd name="connsiteX97" fmla="*/ 301394 w 602788"/>
              <a:gd name="connsiteY97" fmla="*/ 407130 h 450137"/>
              <a:gd name="connsiteX98" fmla="*/ 301394 w 602788"/>
              <a:gd name="connsiteY98" fmla="*/ 268075 h 450137"/>
              <a:gd name="connsiteX99" fmla="*/ 291348 w 602788"/>
              <a:gd name="connsiteY99" fmla="*/ 279544 h 450137"/>
              <a:gd name="connsiteX100" fmla="*/ 291348 w 602788"/>
              <a:gd name="connsiteY100" fmla="*/ 68811 h 450137"/>
              <a:gd name="connsiteX101" fmla="*/ 140651 w 602788"/>
              <a:gd name="connsiteY101" fmla="*/ 17203 h 450137"/>
              <a:gd name="connsiteX102" fmla="*/ 140651 w 602788"/>
              <a:gd name="connsiteY102" fmla="*/ 0 h 450137"/>
              <a:gd name="connsiteX103" fmla="*/ 304264 w 602788"/>
              <a:gd name="connsiteY103" fmla="*/ 57342 h 450137"/>
              <a:gd name="connsiteX104" fmla="*/ 466443 w 602788"/>
              <a:gd name="connsiteY104" fmla="*/ 0 h 450137"/>
              <a:gd name="connsiteX105" fmla="*/ 572649 w 602788"/>
              <a:gd name="connsiteY105" fmla="*/ 18636 h 450137"/>
              <a:gd name="connsiteX106" fmla="*/ 578389 w 602788"/>
              <a:gd name="connsiteY106" fmla="*/ 20070 h 450137"/>
              <a:gd name="connsiteX107" fmla="*/ 578389 w 602788"/>
              <a:gd name="connsiteY107" fmla="*/ 57342 h 450137"/>
              <a:gd name="connsiteX108" fmla="*/ 602788 w 602788"/>
              <a:gd name="connsiteY108" fmla="*/ 74545 h 450137"/>
              <a:gd name="connsiteX109" fmla="*/ 602788 w 602788"/>
              <a:gd name="connsiteY109" fmla="*/ 435801 h 450137"/>
              <a:gd name="connsiteX110" fmla="*/ 341580 w 602788"/>
              <a:gd name="connsiteY110" fmla="*/ 435801 h 450137"/>
              <a:gd name="connsiteX111" fmla="*/ 304264 w 602788"/>
              <a:gd name="connsiteY111" fmla="*/ 450137 h 450137"/>
              <a:gd name="connsiteX112" fmla="*/ 266949 w 602788"/>
              <a:gd name="connsiteY112" fmla="*/ 435801 h 450137"/>
              <a:gd name="connsiteX113" fmla="*/ 0 w 602788"/>
              <a:gd name="connsiteY113" fmla="*/ 435801 h 450137"/>
              <a:gd name="connsiteX114" fmla="*/ 0 w 602788"/>
              <a:gd name="connsiteY114" fmla="*/ 74545 h 450137"/>
              <a:gd name="connsiteX115" fmla="*/ 28704 w 602788"/>
              <a:gd name="connsiteY115" fmla="*/ 55909 h 450137"/>
              <a:gd name="connsiteX116" fmla="*/ 28704 w 602788"/>
              <a:gd name="connsiteY116" fmla="*/ 20070 h 450137"/>
              <a:gd name="connsiteX117" fmla="*/ 34445 w 602788"/>
              <a:gd name="connsiteY117" fmla="*/ 18636 h 450137"/>
              <a:gd name="connsiteX118" fmla="*/ 140651 w 602788"/>
              <a:gd name="connsiteY118" fmla="*/ 0 h 45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602788" h="450137">
                <a:moveTo>
                  <a:pt x="462404" y="304764"/>
                </a:moveTo>
                <a:cubicBezTo>
                  <a:pt x="483779" y="304070"/>
                  <a:pt x="507017" y="306042"/>
                  <a:pt x="531061" y="312495"/>
                </a:cubicBezTo>
                <a:lnTo>
                  <a:pt x="526755" y="325402"/>
                </a:lnTo>
                <a:cubicBezTo>
                  <a:pt x="437754" y="302456"/>
                  <a:pt x="355930" y="345480"/>
                  <a:pt x="355930" y="346914"/>
                </a:cubicBezTo>
                <a:lnTo>
                  <a:pt x="348753" y="334007"/>
                </a:lnTo>
                <a:cubicBezTo>
                  <a:pt x="350906" y="332931"/>
                  <a:pt x="398278" y="306848"/>
                  <a:pt x="462404" y="304764"/>
                </a:cubicBezTo>
                <a:close/>
                <a:moveTo>
                  <a:pt x="149121" y="303384"/>
                </a:moveTo>
                <a:cubicBezTo>
                  <a:pt x="213247" y="305468"/>
                  <a:pt x="260619" y="331551"/>
                  <a:pt x="262772" y="332627"/>
                </a:cubicBezTo>
                <a:lnTo>
                  <a:pt x="255595" y="345534"/>
                </a:lnTo>
                <a:cubicBezTo>
                  <a:pt x="255595" y="345534"/>
                  <a:pt x="173771" y="301076"/>
                  <a:pt x="84770" y="325456"/>
                </a:cubicBezTo>
                <a:lnTo>
                  <a:pt x="80464" y="311115"/>
                </a:lnTo>
                <a:cubicBezTo>
                  <a:pt x="104509" y="304662"/>
                  <a:pt x="127746" y="302690"/>
                  <a:pt x="149121" y="303384"/>
                </a:cubicBezTo>
                <a:close/>
                <a:moveTo>
                  <a:pt x="462404" y="266141"/>
                </a:moveTo>
                <a:cubicBezTo>
                  <a:pt x="483779" y="265447"/>
                  <a:pt x="507017" y="267419"/>
                  <a:pt x="531061" y="273872"/>
                </a:cubicBezTo>
                <a:lnTo>
                  <a:pt x="526755" y="286779"/>
                </a:lnTo>
                <a:cubicBezTo>
                  <a:pt x="437754" y="262399"/>
                  <a:pt x="355930" y="306857"/>
                  <a:pt x="355930" y="308291"/>
                </a:cubicBezTo>
                <a:lnTo>
                  <a:pt x="348753" y="295384"/>
                </a:lnTo>
                <a:cubicBezTo>
                  <a:pt x="350906" y="294309"/>
                  <a:pt x="398278" y="268225"/>
                  <a:pt x="462404" y="266141"/>
                </a:cubicBezTo>
                <a:close/>
                <a:moveTo>
                  <a:pt x="149121" y="264762"/>
                </a:moveTo>
                <a:cubicBezTo>
                  <a:pt x="213247" y="266846"/>
                  <a:pt x="260619" y="292929"/>
                  <a:pt x="262772" y="294005"/>
                </a:cubicBezTo>
                <a:lnTo>
                  <a:pt x="255595" y="306912"/>
                </a:lnTo>
                <a:cubicBezTo>
                  <a:pt x="255595" y="306912"/>
                  <a:pt x="173771" y="262454"/>
                  <a:pt x="84770" y="285400"/>
                </a:cubicBezTo>
                <a:lnTo>
                  <a:pt x="80464" y="272493"/>
                </a:lnTo>
                <a:cubicBezTo>
                  <a:pt x="104509" y="266040"/>
                  <a:pt x="127746" y="264068"/>
                  <a:pt x="149121" y="264762"/>
                </a:cubicBezTo>
                <a:close/>
                <a:moveTo>
                  <a:pt x="462404" y="227519"/>
                </a:moveTo>
                <a:cubicBezTo>
                  <a:pt x="483779" y="226825"/>
                  <a:pt x="507017" y="228797"/>
                  <a:pt x="531061" y="235250"/>
                </a:cubicBezTo>
                <a:lnTo>
                  <a:pt x="526755" y="248157"/>
                </a:lnTo>
                <a:cubicBezTo>
                  <a:pt x="437754" y="223777"/>
                  <a:pt x="355930" y="268235"/>
                  <a:pt x="355930" y="269669"/>
                </a:cubicBezTo>
                <a:lnTo>
                  <a:pt x="348753" y="256762"/>
                </a:lnTo>
                <a:cubicBezTo>
                  <a:pt x="350906" y="255687"/>
                  <a:pt x="398278" y="229603"/>
                  <a:pt x="462404" y="227519"/>
                </a:cubicBezTo>
                <a:close/>
                <a:moveTo>
                  <a:pt x="149121" y="225909"/>
                </a:moveTo>
                <a:cubicBezTo>
                  <a:pt x="213247" y="227993"/>
                  <a:pt x="260619" y="254077"/>
                  <a:pt x="262772" y="255152"/>
                </a:cubicBezTo>
                <a:lnTo>
                  <a:pt x="255595" y="268059"/>
                </a:lnTo>
                <a:cubicBezTo>
                  <a:pt x="255595" y="266625"/>
                  <a:pt x="173771" y="223601"/>
                  <a:pt x="84770" y="246547"/>
                </a:cubicBezTo>
                <a:lnTo>
                  <a:pt x="80464" y="233640"/>
                </a:lnTo>
                <a:cubicBezTo>
                  <a:pt x="104509" y="227186"/>
                  <a:pt x="127746" y="225215"/>
                  <a:pt x="149121" y="225909"/>
                </a:cubicBezTo>
                <a:close/>
                <a:moveTo>
                  <a:pt x="462404" y="189417"/>
                </a:moveTo>
                <a:cubicBezTo>
                  <a:pt x="483779" y="188636"/>
                  <a:pt x="507017" y="190423"/>
                  <a:pt x="531061" y="196500"/>
                </a:cubicBezTo>
                <a:lnTo>
                  <a:pt x="526755" y="210798"/>
                </a:lnTo>
                <a:cubicBezTo>
                  <a:pt x="437754" y="186491"/>
                  <a:pt x="355930" y="230816"/>
                  <a:pt x="355930" y="230816"/>
                </a:cubicBezTo>
                <a:lnTo>
                  <a:pt x="348753" y="219377"/>
                </a:lnTo>
                <a:cubicBezTo>
                  <a:pt x="350906" y="217232"/>
                  <a:pt x="398278" y="191763"/>
                  <a:pt x="462404" y="189417"/>
                </a:cubicBezTo>
                <a:close/>
                <a:moveTo>
                  <a:pt x="149121" y="188683"/>
                </a:moveTo>
                <a:cubicBezTo>
                  <a:pt x="213247" y="190769"/>
                  <a:pt x="260619" y="216876"/>
                  <a:pt x="262772" y="217952"/>
                </a:cubicBezTo>
                <a:lnTo>
                  <a:pt x="255595" y="229436"/>
                </a:lnTo>
                <a:cubicBezTo>
                  <a:pt x="255595" y="229436"/>
                  <a:pt x="173771" y="184937"/>
                  <a:pt x="84770" y="209340"/>
                </a:cubicBezTo>
                <a:lnTo>
                  <a:pt x="80464" y="196421"/>
                </a:lnTo>
                <a:cubicBezTo>
                  <a:pt x="104509" y="189962"/>
                  <a:pt x="127746" y="187988"/>
                  <a:pt x="149121" y="188683"/>
                </a:cubicBezTo>
                <a:close/>
                <a:moveTo>
                  <a:pt x="462404" y="148664"/>
                </a:moveTo>
                <a:cubicBezTo>
                  <a:pt x="483779" y="147970"/>
                  <a:pt x="507017" y="149942"/>
                  <a:pt x="531061" y="156395"/>
                </a:cubicBezTo>
                <a:lnTo>
                  <a:pt x="526755" y="169302"/>
                </a:lnTo>
                <a:cubicBezTo>
                  <a:pt x="437754" y="146356"/>
                  <a:pt x="355930" y="189380"/>
                  <a:pt x="355930" y="190814"/>
                </a:cubicBezTo>
                <a:lnTo>
                  <a:pt x="348753" y="177907"/>
                </a:lnTo>
                <a:cubicBezTo>
                  <a:pt x="350906" y="176832"/>
                  <a:pt x="398278" y="150748"/>
                  <a:pt x="462404" y="148664"/>
                </a:cubicBezTo>
                <a:close/>
                <a:moveTo>
                  <a:pt x="149121" y="147806"/>
                </a:moveTo>
                <a:cubicBezTo>
                  <a:pt x="213247" y="150152"/>
                  <a:pt x="260619" y="175621"/>
                  <a:pt x="262772" y="177766"/>
                </a:cubicBezTo>
                <a:lnTo>
                  <a:pt x="255595" y="189205"/>
                </a:lnTo>
                <a:cubicBezTo>
                  <a:pt x="255595" y="189205"/>
                  <a:pt x="173771" y="144880"/>
                  <a:pt x="84770" y="169187"/>
                </a:cubicBezTo>
                <a:lnTo>
                  <a:pt x="80464" y="154889"/>
                </a:lnTo>
                <a:cubicBezTo>
                  <a:pt x="104509" y="148812"/>
                  <a:pt x="127746" y="147025"/>
                  <a:pt x="149121" y="147806"/>
                </a:cubicBezTo>
                <a:close/>
                <a:moveTo>
                  <a:pt x="462404" y="111421"/>
                </a:moveTo>
                <a:cubicBezTo>
                  <a:pt x="483779" y="110727"/>
                  <a:pt x="507017" y="112699"/>
                  <a:pt x="531061" y="119152"/>
                </a:cubicBezTo>
                <a:lnTo>
                  <a:pt x="526755" y="132059"/>
                </a:lnTo>
                <a:cubicBezTo>
                  <a:pt x="437754" y="109113"/>
                  <a:pt x="355930" y="153571"/>
                  <a:pt x="355930" y="153571"/>
                </a:cubicBezTo>
                <a:lnTo>
                  <a:pt x="348753" y="140664"/>
                </a:lnTo>
                <a:cubicBezTo>
                  <a:pt x="350906" y="139589"/>
                  <a:pt x="398278" y="113505"/>
                  <a:pt x="462404" y="111421"/>
                </a:cubicBezTo>
                <a:close/>
                <a:moveTo>
                  <a:pt x="149121" y="110563"/>
                </a:moveTo>
                <a:cubicBezTo>
                  <a:pt x="213247" y="112909"/>
                  <a:pt x="260619" y="138378"/>
                  <a:pt x="262772" y="140523"/>
                </a:cubicBezTo>
                <a:lnTo>
                  <a:pt x="255595" y="151962"/>
                </a:lnTo>
                <a:cubicBezTo>
                  <a:pt x="255595" y="151962"/>
                  <a:pt x="173771" y="107637"/>
                  <a:pt x="84770" y="131944"/>
                </a:cubicBezTo>
                <a:lnTo>
                  <a:pt x="80464" y="117646"/>
                </a:lnTo>
                <a:cubicBezTo>
                  <a:pt x="104509" y="111569"/>
                  <a:pt x="127746" y="109782"/>
                  <a:pt x="149121" y="110563"/>
                </a:cubicBezTo>
                <a:close/>
                <a:moveTo>
                  <a:pt x="462404" y="71777"/>
                </a:moveTo>
                <a:cubicBezTo>
                  <a:pt x="483779" y="70992"/>
                  <a:pt x="507017" y="72787"/>
                  <a:pt x="531061" y="78887"/>
                </a:cubicBezTo>
                <a:lnTo>
                  <a:pt x="526755" y="93242"/>
                </a:lnTo>
                <a:cubicBezTo>
                  <a:pt x="437754" y="68839"/>
                  <a:pt x="355930" y="113338"/>
                  <a:pt x="355930" y="113338"/>
                </a:cubicBezTo>
                <a:lnTo>
                  <a:pt x="348753" y="101854"/>
                </a:lnTo>
                <a:cubicBezTo>
                  <a:pt x="350906" y="99702"/>
                  <a:pt x="398278" y="74133"/>
                  <a:pt x="462404" y="71777"/>
                </a:cubicBezTo>
                <a:close/>
                <a:moveTo>
                  <a:pt x="149121" y="71189"/>
                </a:moveTo>
                <a:cubicBezTo>
                  <a:pt x="213247" y="73273"/>
                  <a:pt x="260619" y="99357"/>
                  <a:pt x="262772" y="100432"/>
                </a:cubicBezTo>
                <a:lnTo>
                  <a:pt x="255595" y="113339"/>
                </a:lnTo>
                <a:cubicBezTo>
                  <a:pt x="255595" y="111905"/>
                  <a:pt x="173771" y="67447"/>
                  <a:pt x="84770" y="91827"/>
                </a:cubicBezTo>
                <a:lnTo>
                  <a:pt x="80464" y="78920"/>
                </a:lnTo>
                <a:cubicBezTo>
                  <a:pt x="104509" y="72467"/>
                  <a:pt x="127746" y="70495"/>
                  <a:pt x="149121" y="71189"/>
                </a:cubicBezTo>
                <a:close/>
                <a:moveTo>
                  <a:pt x="466443" y="17203"/>
                </a:moveTo>
                <a:cubicBezTo>
                  <a:pt x="407599" y="17203"/>
                  <a:pt x="357367" y="34405"/>
                  <a:pt x="317181" y="68811"/>
                </a:cubicBezTo>
                <a:lnTo>
                  <a:pt x="317181" y="279544"/>
                </a:lnTo>
                <a:lnTo>
                  <a:pt x="307135" y="268075"/>
                </a:lnTo>
                <a:lnTo>
                  <a:pt x="307135" y="407130"/>
                </a:lnTo>
                <a:cubicBezTo>
                  <a:pt x="328663" y="397095"/>
                  <a:pt x="400423" y="368424"/>
                  <a:pt x="477925" y="368424"/>
                </a:cubicBezTo>
                <a:cubicBezTo>
                  <a:pt x="508064" y="368424"/>
                  <a:pt x="536768" y="374158"/>
                  <a:pt x="561167" y="382760"/>
                </a:cubicBezTo>
                <a:lnTo>
                  <a:pt x="561167" y="31538"/>
                </a:lnTo>
                <a:cubicBezTo>
                  <a:pt x="548250" y="27238"/>
                  <a:pt x="510935" y="17203"/>
                  <a:pt x="466443" y="17203"/>
                </a:cubicBezTo>
                <a:close/>
                <a:moveTo>
                  <a:pt x="140651" y="17203"/>
                </a:moveTo>
                <a:cubicBezTo>
                  <a:pt x="96159" y="17203"/>
                  <a:pt x="60279" y="27238"/>
                  <a:pt x="45927" y="31538"/>
                </a:cubicBezTo>
                <a:lnTo>
                  <a:pt x="45927" y="382760"/>
                </a:lnTo>
                <a:cubicBezTo>
                  <a:pt x="68890" y="374158"/>
                  <a:pt x="96159" y="369858"/>
                  <a:pt x="126298" y="369858"/>
                </a:cubicBezTo>
                <a:cubicBezTo>
                  <a:pt x="202365" y="369858"/>
                  <a:pt x="278431" y="398529"/>
                  <a:pt x="301394" y="407130"/>
                </a:cubicBezTo>
                <a:lnTo>
                  <a:pt x="301394" y="268075"/>
                </a:lnTo>
                <a:lnTo>
                  <a:pt x="291348" y="279544"/>
                </a:lnTo>
                <a:lnTo>
                  <a:pt x="291348" y="68811"/>
                </a:lnTo>
                <a:cubicBezTo>
                  <a:pt x="249726" y="34405"/>
                  <a:pt x="199494" y="17203"/>
                  <a:pt x="140651" y="17203"/>
                </a:cubicBezTo>
                <a:close/>
                <a:moveTo>
                  <a:pt x="140651" y="0"/>
                </a:moveTo>
                <a:cubicBezTo>
                  <a:pt x="203800" y="0"/>
                  <a:pt x="259773" y="20070"/>
                  <a:pt x="304264" y="57342"/>
                </a:cubicBezTo>
                <a:cubicBezTo>
                  <a:pt x="348756" y="20070"/>
                  <a:pt x="403294" y="0"/>
                  <a:pt x="466443" y="0"/>
                </a:cubicBezTo>
                <a:cubicBezTo>
                  <a:pt x="526722" y="0"/>
                  <a:pt x="571213" y="17203"/>
                  <a:pt x="572649" y="18636"/>
                </a:cubicBezTo>
                <a:lnTo>
                  <a:pt x="578389" y="20070"/>
                </a:lnTo>
                <a:lnTo>
                  <a:pt x="578389" y="57342"/>
                </a:lnTo>
                <a:cubicBezTo>
                  <a:pt x="592742" y="61643"/>
                  <a:pt x="602788" y="65944"/>
                  <a:pt x="602788" y="74545"/>
                </a:cubicBezTo>
                <a:lnTo>
                  <a:pt x="602788" y="435801"/>
                </a:lnTo>
                <a:lnTo>
                  <a:pt x="341580" y="435801"/>
                </a:lnTo>
                <a:cubicBezTo>
                  <a:pt x="332969" y="444403"/>
                  <a:pt x="320052" y="450137"/>
                  <a:pt x="304264" y="450137"/>
                </a:cubicBezTo>
                <a:cubicBezTo>
                  <a:pt x="289912" y="450137"/>
                  <a:pt x="275560" y="444403"/>
                  <a:pt x="266949" y="435801"/>
                </a:cubicBezTo>
                <a:lnTo>
                  <a:pt x="0" y="435801"/>
                </a:lnTo>
                <a:lnTo>
                  <a:pt x="0" y="74545"/>
                </a:lnTo>
                <a:cubicBezTo>
                  <a:pt x="0" y="64510"/>
                  <a:pt x="11482" y="58776"/>
                  <a:pt x="28704" y="55909"/>
                </a:cubicBezTo>
                <a:lnTo>
                  <a:pt x="28704" y="20070"/>
                </a:lnTo>
                <a:lnTo>
                  <a:pt x="34445" y="18636"/>
                </a:lnTo>
                <a:cubicBezTo>
                  <a:pt x="35880" y="17203"/>
                  <a:pt x="81807" y="0"/>
                  <a:pt x="140651" y="0"/>
                </a:cubicBezTo>
                <a:close/>
              </a:path>
            </a:pathLst>
          </a:custGeom>
          <a:solidFill>
            <a:srgbClr val="FF3300"/>
          </a:solidFill>
          <a:ln>
            <a:noFill/>
          </a:ln>
        </p:spPr>
        <p:style>
          <a:lnRef idx="3">
            <a:schemeClr val="lt1"/>
          </a:lnRef>
          <a:fillRef idx="1">
            <a:schemeClr val="accent2"/>
          </a:fillRef>
          <a:effectRef idx="1">
            <a:schemeClr val="accent2"/>
          </a:effectRef>
          <a:fontRef idx="minor">
            <a:schemeClr val="lt1"/>
          </a:fontRef>
        </p:style>
        <p:txBody>
          <a:bodyPr/>
          <a:lstStyle/>
          <a:p>
            <a:pPr marL="0" marR="0" lvl="0" indent="0" algn="l" defTabSz="914400" rtl="0" eaLnBrk="1" fontAlgn="auto" latinLnBrk="0" hangingPunct="1">
              <a:lnSpc>
                <a:spcPct val="80000"/>
              </a:lnSpc>
              <a:spcBef>
                <a:spcPct val="20000"/>
              </a:spcBef>
              <a:spcAft>
                <a:spcPct val="0"/>
              </a:spcAft>
              <a:buClrTx/>
              <a:buSzTx/>
              <a:buFontTx/>
              <a:buNone/>
              <a:defRPr/>
            </a:pPr>
            <a:endParaRPr kumimoji="0" lang="zh-CN" altLang="en-US" sz="2000" b="0" i="0" u="none" strike="noStrike" kern="1200" cap="none" spc="0" normalizeH="0" baseline="0" noProof="0">
              <a:ln>
                <a:noFill/>
              </a:ln>
              <a:solidFill>
                <a:schemeClr val="tx1"/>
              </a:solidFill>
              <a:effectLst/>
              <a:uLnTx/>
              <a:uFillTx/>
              <a:latin typeface="华文楷体" panose="02010600040101010101" charset="-122"/>
              <a:ea typeface="华文楷体" panose="02010600040101010101" charset="-122"/>
              <a:cs typeface="+mn-cs"/>
            </a:endParaRPr>
          </a:p>
        </p:txBody>
      </p:sp>
      <p:sp>
        <p:nvSpPr>
          <p:cNvPr id="9" name="shield_2102"/>
          <p:cNvSpPr>
            <a:spLocks noChangeAspect="1"/>
          </p:cNvSpPr>
          <p:nvPr/>
        </p:nvSpPr>
        <p:spPr bwMode="auto">
          <a:xfrm>
            <a:off x="9749457" y="1501681"/>
            <a:ext cx="321089" cy="403253"/>
          </a:xfrm>
          <a:custGeom>
            <a:avLst/>
            <a:gdLst>
              <a:gd name="T0" fmla="*/ 307 w 313"/>
              <a:gd name="T1" fmla="*/ 51 h 423"/>
              <a:gd name="T2" fmla="*/ 162 w 313"/>
              <a:gd name="T3" fmla="*/ 4 h 423"/>
              <a:gd name="T4" fmla="*/ 156 w 313"/>
              <a:gd name="T5" fmla="*/ 0 h 423"/>
              <a:gd name="T6" fmla="*/ 156 w 313"/>
              <a:gd name="T7" fmla="*/ 0 h 423"/>
              <a:gd name="T8" fmla="*/ 151 w 313"/>
              <a:gd name="T9" fmla="*/ 4 h 423"/>
              <a:gd name="T10" fmla="*/ 6 w 313"/>
              <a:gd name="T11" fmla="*/ 51 h 423"/>
              <a:gd name="T12" fmla="*/ 0 w 313"/>
              <a:gd name="T13" fmla="*/ 57 h 423"/>
              <a:gd name="T14" fmla="*/ 0 w 313"/>
              <a:gd name="T15" fmla="*/ 268 h 423"/>
              <a:gd name="T16" fmla="*/ 154 w 313"/>
              <a:gd name="T17" fmla="*/ 422 h 423"/>
              <a:gd name="T18" fmla="*/ 156 w 313"/>
              <a:gd name="T19" fmla="*/ 423 h 423"/>
              <a:gd name="T20" fmla="*/ 159 w 313"/>
              <a:gd name="T21" fmla="*/ 422 h 423"/>
              <a:gd name="T22" fmla="*/ 313 w 313"/>
              <a:gd name="T23" fmla="*/ 268 h 423"/>
              <a:gd name="T24" fmla="*/ 313 w 313"/>
              <a:gd name="T25" fmla="*/ 57 h 423"/>
              <a:gd name="T26" fmla="*/ 307 w 313"/>
              <a:gd name="T27" fmla="*/ 51 h 423"/>
              <a:gd name="T28" fmla="*/ 279 w 313"/>
              <a:gd name="T29" fmla="*/ 255 h 423"/>
              <a:gd name="T30" fmla="*/ 158 w 313"/>
              <a:gd name="T31" fmla="*/ 376 h 423"/>
              <a:gd name="T32" fmla="*/ 156 w 313"/>
              <a:gd name="T33" fmla="*/ 377 h 423"/>
              <a:gd name="T34" fmla="*/ 154 w 313"/>
              <a:gd name="T35" fmla="*/ 376 h 423"/>
              <a:gd name="T36" fmla="*/ 34 w 313"/>
              <a:gd name="T37" fmla="*/ 255 h 423"/>
              <a:gd name="T38" fmla="*/ 34 w 313"/>
              <a:gd name="T39" fmla="*/ 91 h 423"/>
              <a:gd name="T40" fmla="*/ 39 w 313"/>
              <a:gd name="T41" fmla="*/ 86 h 423"/>
              <a:gd name="T42" fmla="*/ 152 w 313"/>
              <a:gd name="T43" fmla="*/ 49 h 423"/>
              <a:gd name="T44" fmla="*/ 156 w 313"/>
              <a:gd name="T45" fmla="*/ 46 h 423"/>
              <a:gd name="T46" fmla="*/ 156 w 313"/>
              <a:gd name="T47" fmla="*/ 46 h 423"/>
              <a:gd name="T48" fmla="*/ 161 w 313"/>
              <a:gd name="T49" fmla="*/ 49 h 423"/>
              <a:gd name="T50" fmla="*/ 274 w 313"/>
              <a:gd name="T51" fmla="*/ 86 h 423"/>
              <a:gd name="T52" fmla="*/ 279 w 313"/>
              <a:gd name="T53" fmla="*/ 91 h 423"/>
              <a:gd name="T54" fmla="*/ 279 w 313"/>
              <a:gd name="T55" fmla="*/ 255 h 423"/>
              <a:gd name="T56" fmla="*/ 256 w 313"/>
              <a:gd name="T57" fmla="*/ 254 h 423"/>
              <a:gd name="T58" fmla="*/ 158 w 313"/>
              <a:gd name="T59" fmla="*/ 352 h 423"/>
              <a:gd name="T60" fmla="*/ 156 w 313"/>
              <a:gd name="T61" fmla="*/ 352 h 423"/>
              <a:gd name="T62" fmla="*/ 156 w 313"/>
              <a:gd name="T63" fmla="*/ 84 h 423"/>
              <a:gd name="T64" fmla="*/ 156 w 313"/>
              <a:gd name="T65" fmla="*/ 84 h 423"/>
              <a:gd name="T66" fmla="*/ 160 w 313"/>
              <a:gd name="T67" fmla="*/ 86 h 423"/>
              <a:gd name="T68" fmla="*/ 252 w 313"/>
              <a:gd name="T69" fmla="*/ 116 h 423"/>
              <a:gd name="T70" fmla="*/ 256 w 313"/>
              <a:gd name="T71" fmla="*/ 120 h 423"/>
              <a:gd name="T72" fmla="*/ 256 w 313"/>
              <a:gd name="T73" fmla="*/ 254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423">
                <a:moveTo>
                  <a:pt x="307" y="51"/>
                </a:moveTo>
                <a:cubicBezTo>
                  <a:pt x="183" y="51"/>
                  <a:pt x="162" y="4"/>
                  <a:pt x="162" y="4"/>
                </a:cubicBezTo>
                <a:cubicBezTo>
                  <a:pt x="161" y="2"/>
                  <a:pt x="159" y="0"/>
                  <a:pt x="156" y="0"/>
                </a:cubicBezTo>
                <a:lnTo>
                  <a:pt x="156" y="0"/>
                </a:lnTo>
                <a:cubicBezTo>
                  <a:pt x="154" y="0"/>
                  <a:pt x="152" y="2"/>
                  <a:pt x="151" y="4"/>
                </a:cubicBezTo>
                <a:cubicBezTo>
                  <a:pt x="150" y="4"/>
                  <a:pt x="129" y="51"/>
                  <a:pt x="6" y="51"/>
                </a:cubicBezTo>
                <a:cubicBezTo>
                  <a:pt x="2" y="51"/>
                  <a:pt x="0" y="54"/>
                  <a:pt x="0" y="57"/>
                </a:cubicBezTo>
                <a:lnTo>
                  <a:pt x="0" y="268"/>
                </a:lnTo>
                <a:cubicBezTo>
                  <a:pt x="0" y="354"/>
                  <a:pt x="148" y="419"/>
                  <a:pt x="154" y="422"/>
                </a:cubicBezTo>
                <a:cubicBezTo>
                  <a:pt x="155" y="422"/>
                  <a:pt x="155" y="423"/>
                  <a:pt x="156" y="423"/>
                </a:cubicBezTo>
                <a:cubicBezTo>
                  <a:pt x="157" y="423"/>
                  <a:pt x="158" y="422"/>
                  <a:pt x="159" y="422"/>
                </a:cubicBezTo>
                <a:cubicBezTo>
                  <a:pt x="165" y="419"/>
                  <a:pt x="313" y="354"/>
                  <a:pt x="313" y="268"/>
                </a:cubicBezTo>
                <a:lnTo>
                  <a:pt x="313" y="57"/>
                </a:lnTo>
                <a:cubicBezTo>
                  <a:pt x="313" y="54"/>
                  <a:pt x="310" y="51"/>
                  <a:pt x="307" y="51"/>
                </a:cubicBezTo>
                <a:close/>
                <a:moveTo>
                  <a:pt x="279" y="255"/>
                </a:moveTo>
                <a:cubicBezTo>
                  <a:pt x="279" y="323"/>
                  <a:pt x="163" y="374"/>
                  <a:pt x="158" y="376"/>
                </a:cubicBezTo>
                <a:cubicBezTo>
                  <a:pt x="158" y="377"/>
                  <a:pt x="157" y="377"/>
                  <a:pt x="156" y="377"/>
                </a:cubicBezTo>
                <a:cubicBezTo>
                  <a:pt x="156" y="377"/>
                  <a:pt x="155" y="377"/>
                  <a:pt x="154" y="376"/>
                </a:cubicBezTo>
                <a:cubicBezTo>
                  <a:pt x="149" y="374"/>
                  <a:pt x="34" y="323"/>
                  <a:pt x="34" y="255"/>
                </a:cubicBezTo>
                <a:lnTo>
                  <a:pt x="34" y="91"/>
                </a:lnTo>
                <a:cubicBezTo>
                  <a:pt x="34" y="88"/>
                  <a:pt x="36" y="86"/>
                  <a:pt x="39" y="86"/>
                </a:cubicBezTo>
                <a:cubicBezTo>
                  <a:pt x="135" y="86"/>
                  <a:pt x="152" y="49"/>
                  <a:pt x="152" y="49"/>
                </a:cubicBezTo>
                <a:cubicBezTo>
                  <a:pt x="153" y="47"/>
                  <a:pt x="154" y="46"/>
                  <a:pt x="156" y="46"/>
                </a:cubicBezTo>
                <a:lnTo>
                  <a:pt x="156" y="46"/>
                </a:lnTo>
                <a:cubicBezTo>
                  <a:pt x="158" y="46"/>
                  <a:pt x="160" y="47"/>
                  <a:pt x="161" y="49"/>
                </a:cubicBezTo>
                <a:cubicBezTo>
                  <a:pt x="161" y="49"/>
                  <a:pt x="177" y="86"/>
                  <a:pt x="274" y="86"/>
                </a:cubicBezTo>
                <a:cubicBezTo>
                  <a:pt x="277" y="86"/>
                  <a:pt x="279" y="88"/>
                  <a:pt x="279" y="91"/>
                </a:cubicBezTo>
                <a:cubicBezTo>
                  <a:pt x="279" y="91"/>
                  <a:pt x="279" y="255"/>
                  <a:pt x="279" y="255"/>
                </a:cubicBezTo>
                <a:close/>
                <a:moveTo>
                  <a:pt x="256" y="254"/>
                </a:moveTo>
                <a:cubicBezTo>
                  <a:pt x="256" y="308"/>
                  <a:pt x="162" y="350"/>
                  <a:pt x="158" y="352"/>
                </a:cubicBezTo>
                <a:cubicBezTo>
                  <a:pt x="157" y="352"/>
                  <a:pt x="157" y="352"/>
                  <a:pt x="156" y="352"/>
                </a:cubicBezTo>
                <a:cubicBezTo>
                  <a:pt x="156" y="352"/>
                  <a:pt x="155" y="84"/>
                  <a:pt x="156" y="84"/>
                </a:cubicBezTo>
                <a:lnTo>
                  <a:pt x="156" y="84"/>
                </a:lnTo>
                <a:cubicBezTo>
                  <a:pt x="158" y="84"/>
                  <a:pt x="159" y="85"/>
                  <a:pt x="160" y="86"/>
                </a:cubicBezTo>
                <a:cubicBezTo>
                  <a:pt x="160" y="86"/>
                  <a:pt x="173" y="116"/>
                  <a:pt x="252" y="116"/>
                </a:cubicBezTo>
                <a:cubicBezTo>
                  <a:pt x="254" y="116"/>
                  <a:pt x="256" y="118"/>
                  <a:pt x="256" y="120"/>
                </a:cubicBezTo>
                <a:lnTo>
                  <a:pt x="256" y="254"/>
                </a:lnTo>
                <a:close/>
              </a:path>
            </a:pathLst>
          </a:custGeom>
          <a:solidFill>
            <a:srgbClr val="FF3300"/>
          </a:solidFill>
          <a:ln>
            <a:noFill/>
          </a:ln>
        </p:spPr>
        <p:style>
          <a:lnRef idx="3">
            <a:schemeClr val="lt1"/>
          </a:lnRef>
          <a:fillRef idx="1">
            <a:schemeClr val="accent2"/>
          </a:fillRef>
          <a:effectRef idx="1">
            <a:schemeClr val="accent2"/>
          </a:effectRef>
          <a:fontRef idx="minor">
            <a:schemeClr val="lt1"/>
          </a:fontRef>
        </p:style>
        <p:txBody>
          <a:bodyPr/>
          <a:lstStyle/>
          <a:p>
            <a:pPr marL="0" marR="0" lvl="0" indent="0" algn="l" defTabSz="914400" rtl="0" eaLnBrk="1" fontAlgn="auto" latinLnBrk="0" hangingPunct="1">
              <a:lnSpc>
                <a:spcPct val="80000"/>
              </a:lnSpc>
              <a:spcBef>
                <a:spcPct val="20000"/>
              </a:spcBef>
              <a:spcAft>
                <a:spcPct val="0"/>
              </a:spcAft>
              <a:buClrTx/>
              <a:buSzTx/>
              <a:buFontTx/>
              <a:buNone/>
              <a:defRPr/>
            </a:pPr>
            <a:endParaRPr kumimoji="0" lang="zh-CN" altLang="en-US" sz="2000" b="0" i="0" u="none" strike="noStrike" kern="1200" cap="none" spc="0" normalizeH="0" baseline="0" noProof="0">
              <a:ln>
                <a:noFill/>
              </a:ln>
              <a:solidFill>
                <a:schemeClr val="tx1"/>
              </a:solidFill>
              <a:effectLst/>
              <a:uLnTx/>
              <a:uFillTx/>
              <a:latin typeface="华文楷体" panose="02010600040101010101" charset="-122"/>
              <a:ea typeface="华文楷体" panose="02010600040101010101" charset="-122"/>
              <a:cs typeface="+mn-cs"/>
            </a:endParaRPr>
          </a:p>
        </p:txBody>
      </p:sp>
      <p:sp>
        <p:nvSpPr>
          <p:cNvPr id="10" name="first-aid-kit_20438"/>
          <p:cNvSpPr>
            <a:spLocks noChangeAspect="1"/>
          </p:cNvSpPr>
          <p:nvPr/>
        </p:nvSpPr>
        <p:spPr bwMode="auto">
          <a:xfrm>
            <a:off x="640223" y="1460464"/>
            <a:ext cx="358900" cy="403256"/>
          </a:xfrm>
          <a:custGeom>
            <a:avLst/>
            <a:gdLst>
              <a:gd name="T0" fmla="*/ 4069 w 4147"/>
              <a:gd name="T1" fmla="*/ 650 h 4126"/>
              <a:gd name="T2" fmla="*/ 3881 w 4147"/>
              <a:gd name="T3" fmla="*/ 573 h 4126"/>
              <a:gd name="T4" fmla="*/ 3155 w 4147"/>
              <a:gd name="T5" fmla="*/ 573 h 4126"/>
              <a:gd name="T6" fmla="*/ 3155 w 4147"/>
              <a:gd name="T7" fmla="*/ 204 h 4126"/>
              <a:gd name="T8" fmla="*/ 2952 w 4147"/>
              <a:gd name="T9" fmla="*/ 0 h 4126"/>
              <a:gd name="T10" fmla="*/ 1195 w 4147"/>
              <a:gd name="T11" fmla="*/ 0 h 4126"/>
              <a:gd name="T12" fmla="*/ 991 w 4147"/>
              <a:gd name="T13" fmla="*/ 204 h 4126"/>
              <a:gd name="T14" fmla="*/ 991 w 4147"/>
              <a:gd name="T15" fmla="*/ 573 h 4126"/>
              <a:gd name="T16" fmla="*/ 266 w 4147"/>
              <a:gd name="T17" fmla="*/ 573 h 4126"/>
              <a:gd name="T18" fmla="*/ 0 w 4147"/>
              <a:gd name="T19" fmla="*/ 838 h 4126"/>
              <a:gd name="T20" fmla="*/ 0 w 4147"/>
              <a:gd name="T21" fmla="*/ 3861 h 4126"/>
              <a:gd name="T22" fmla="*/ 266 w 4147"/>
              <a:gd name="T23" fmla="*/ 4126 h 4126"/>
              <a:gd name="T24" fmla="*/ 3881 w 4147"/>
              <a:gd name="T25" fmla="*/ 4126 h 4126"/>
              <a:gd name="T26" fmla="*/ 4146 w 4147"/>
              <a:gd name="T27" fmla="*/ 3861 h 4126"/>
              <a:gd name="T28" fmla="*/ 4146 w 4147"/>
              <a:gd name="T29" fmla="*/ 838 h 4126"/>
              <a:gd name="T30" fmla="*/ 4069 w 4147"/>
              <a:gd name="T31" fmla="*/ 650 h 4126"/>
              <a:gd name="T32" fmla="*/ 1239 w 4147"/>
              <a:gd name="T33" fmla="*/ 248 h 4126"/>
              <a:gd name="T34" fmla="*/ 2907 w 4147"/>
              <a:gd name="T35" fmla="*/ 248 h 4126"/>
              <a:gd name="T36" fmla="*/ 2907 w 4147"/>
              <a:gd name="T37" fmla="*/ 717 h 4126"/>
              <a:gd name="T38" fmla="*/ 1239 w 4147"/>
              <a:gd name="T39" fmla="*/ 717 h 4126"/>
              <a:gd name="T40" fmla="*/ 1239 w 4147"/>
              <a:gd name="T41" fmla="*/ 248 h 4126"/>
              <a:gd name="T42" fmla="*/ 2969 w 4147"/>
              <a:gd name="T43" fmla="*/ 2543 h 4126"/>
              <a:gd name="T44" fmla="*/ 2266 w 4147"/>
              <a:gd name="T45" fmla="*/ 2543 h 4126"/>
              <a:gd name="T46" fmla="*/ 2266 w 4147"/>
              <a:gd name="T47" fmla="*/ 3246 h 4126"/>
              <a:gd name="T48" fmla="*/ 1880 w 4147"/>
              <a:gd name="T49" fmla="*/ 3246 h 4126"/>
              <a:gd name="T50" fmla="*/ 1880 w 4147"/>
              <a:gd name="T51" fmla="*/ 2543 h 4126"/>
              <a:gd name="T52" fmla="*/ 1177 w 4147"/>
              <a:gd name="T53" fmla="*/ 2543 h 4126"/>
              <a:gd name="T54" fmla="*/ 1177 w 4147"/>
              <a:gd name="T55" fmla="*/ 2156 h 4126"/>
              <a:gd name="T56" fmla="*/ 1880 w 4147"/>
              <a:gd name="T57" fmla="*/ 2156 h 4126"/>
              <a:gd name="T58" fmla="*/ 1880 w 4147"/>
              <a:gd name="T59" fmla="*/ 1453 h 4126"/>
              <a:gd name="T60" fmla="*/ 2266 w 4147"/>
              <a:gd name="T61" fmla="*/ 1453 h 4126"/>
              <a:gd name="T62" fmla="*/ 2266 w 4147"/>
              <a:gd name="T63" fmla="*/ 2156 h 4126"/>
              <a:gd name="T64" fmla="*/ 2969 w 4147"/>
              <a:gd name="T65" fmla="*/ 2156 h 4126"/>
              <a:gd name="T66" fmla="*/ 2969 w 4147"/>
              <a:gd name="T67" fmla="*/ 2543 h 4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47" h="4126">
                <a:moveTo>
                  <a:pt x="4069" y="650"/>
                </a:moveTo>
                <a:cubicBezTo>
                  <a:pt x="4019" y="600"/>
                  <a:pt x="3952" y="573"/>
                  <a:pt x="3881" y="573"/>
                </a:cubicBezTo>
                <a:lnTo>
                  <a:pt x="3155" y="573"/>
                </a:lnTo>
                <a:lnTo>
                  <a:pt x="3155" y="204"/>
                </a:lnTo>
                <a:cubicBezTo>
                  <a:pt x="3155" y="92"/>
                  <a:pt x="3064" y="0"/>
                  <a:pt x="2952" y="0"/>
                </a:cubicBezTo>
                <a:lnTo>
                  <a:pt x="1195" y="0"/>
                </a:lnTo>
                <a:cubicBezTo>
                  <a:pt x="1083" y="0"/>
                  <a:pt x="991" y="92"/>
                  <a:pt x="991" y="204"/>
                </a:cubicBezTo>
                <a:lnTo>
                  <a:pt x="991" y="573"/>
                </a:lnTo>
                <a:lnTo>
                  <a:pt x="266" y="573"/>
                </a:lnTo>
                <a:cubicBezTo>
                  <a:pt x="119" y="573"/>
                  <a:pt x="0" y="692"/>
                  <a:pt x="0" y="838"/>
                </a:cubicBezTo>
                <a:lnTo>
                  <a:pt x="0" y="3861"/>
                </a:lnTo>
                <a:cubicBezTo>
                  <a:pt x="0" y="4007"/>
                  <a:pt x="119" y="4126"/>
                  <a:pt x="266" y="4126"/>
                </a:cubicBezTo>
                <a:lnTo>
                  <a:pt x="3881" y="4126"/>
                </a:lnTo>
                <a:cubicBezTo>
                  <a:pt x="4027" y="4126"/>
                  <a:pt x="4146" y="4007"/>
                  <a:pt x="4146" y="3861"/>
                </a:cubicBezTo>
                <a:lnTo>
                  <a:pt x="4146" y="838"/>
                </a:lnTo>
                <a:cubicBezTo>
                  <a:pt x="4147" y="767"/>
                  <a:pt x="4119" y="700"/>
                  <a:pt x="4069" y="650"/>
                </a:cubicBezTo>
                <a:close/>
                <a:moveTo>
                  <a:pt x="1239" y="248"/>
                </a:moveTo>
                <a:lnTo>
                  <a:pt x="2907" y="248"/>
                </a:lnTo>
                <a:lnTo>
                  <a:pt x="2907" y="717"/>
                </a:lnTo>
                <a:lnTo>
                  <a:pt x="1239" y="717"/>
                </a:lnTo>
                <a:lnTo>
                  <a:pt x="1239" y="248"/>
                </a:lnTo>
                <a:close/>
                <a:moveTo>
                  <a:pt x="2969" y="2543"/>
                </a:moveTo>
                <a:lnTo>
                  <a:pt x="2266" y="2543"/>
                </a:lnTo>
                <a:lnTo>
                  <a:pt x="2266" y="3246"/>
                </a:lnTo>
                <a:lnTo>
                  <a:pt x="1880" y="3246"/>
                </a:lnTo>
                <a:lnTo>
                  <a:pt x="1880" y="2543"/>
                </a:lnTo>
                <a:lnTo>
                  <a:pt x="1177" y="2543"/>
                </a:lnTo>
                <a:lnTo>
                  <a:pt x="1177" y="2156"/>
                </a:lnTo>
                <a:lnTo>
                  <a:pt x="1880" y="2156"/>
                </a:lnTo>
                <a:lnTo>
                  <a:pt x="1880" y="1453"/>
                </a:lnTo>
                <a:lnTo>
                  <a:pt x="2266" y="1453"/>
                </a:lnTo>
                <a:lnTo>
                  <a:pt x="2266" y="2156"/>
                </a:lnTo>
                <a:lnTo>
                  <a:pt x="2969" y="2156"/>
                </a:lnTo>
                <a:lnTo>
                  <a:pt x="2969" y="2543"/>
                </a:lnTo>
                <a:close/>
              </a:path>
            </a:pathLst>
          </a:custGeom>
          <a:solidFill>
            <a:srgbClr val="FE5817"/>
          </a:solidFill>
          <a:ln>
            <a:noFill/>
          </a:ln>
        </p:spPr>
        <p:style>
          <a:lnRef idx="3">
            <a:schemeClr val="lt1"/>
          </a:lnRef>
          <a:fillRef idx="1">
            <a:schemeClr val="accent2"/>
          </a:fillRef>
          <a:effectRef idx="1">
            <a:schemeClr val="accent2"/>
          </a:effectRef>
          <a:fontRef idx="minor">
            <a:schemeClr val="lt1"/>
          </a:fontRef>
        </p:style>
        <p:txBody>
          <a:bodyPr/>
          <a:lstStyle/>
          <a:p>
            <a:pPr marL="0" marR="0" lvl="0" indent="0" algn="l" defTabSz="914400" rtl="0" eaLnBrk="1" fontAlgn="auto" latinLnBrk="0" hangingPunct="1">
              <a:lnSpc>
                <a:spcPct val="80000"/>
              </a:lnSpc>
              <a:spcBef>
                <a:spcPct val="20000"/>
              </a:spcBef>
              <a:spcAft>
                <a:spcPct val="0"/>
              </a:spcAft>
              <a:buClrTx/>
              <a:buSzTx/>
              <a:buFontTx/>
              <a:buNone/>
              <a:defRPr/>
            </a:pPr>
            <a:endParaRPr kumimoji="0" lang="zh-CN" altLang="en-US" sz="1600" b="0" i="0" u="none" strike="noStrike" kern="1200" cap="none" spc="0" normalizeH="0" baseline="0" noProof="0">
              <a:ln>
                <a:noFill/>
              </a:ln>
              <a:solidFill>
                <a:schemeClr val="tx1"/>
              </a:solidFill>
              <a:effectLst/>
              <a:uLnTx/>
              <a:uFillTx/>
              <a:latin typeface="华文楷体" panose="02010600040101010101" charset="-122"/>
              <a:ea typeface="华文楷体" panose="02010600040101010101" charset="-122"/>
              <a:cs typeface="+mn-cs"/>
            </a:endParaRPr>
          </a:p>
        </p:txBody>
      </p:sp>
      <p:sp>
        <p:nvSpPr>
          <p:cNvPr id="11" name="矩形 10"/>
          <p:cNvSpPr/>
          <p:nvPr/>
        </p:nvSpPr>
        <p:spPr>
          <a:xfrm>
            <a:off x="1106633" y="1480894"/>
            <a:ext cx="1199290" cy="411807"/>
          </a:xfrm>
          <a:prstGeom prst="rect">
            <a:avLst/>
          </a:prstGeom>
          <a:noFill/>
          <a:ln w="25400" cap="flat" cmpd="sng" algn="ctr">
            <a:noFill/>
            <a:prstDash val="solid"/>
          </a:ln>
          <a:effectLst/>
        </p:spPr>
        <p:txBody>
          <a:bodyPr lIns="91420" tIns="45711" rIns="91420" bIns="45711" rtlCol="0" anchor="ctr"/>
          <a:lstStyle/>
          <a:p>
            <a:pPr marL="0" marR="0" lvl="0" indent="0" algn="l" defTabSz="932815" rtl="0" eaLnBrk="1" fontAlgn="auto" latinLnBrk="0" hangingPunct="1">
              <a:lnSpc>
                <a:spcPct val="80000"/>
              </a:lnSpc>
              <a:spcBef>
                <a:spcPct val="20000"/>
              </a:spcBef>
              <a:spcAft>
                <a:spcPct val="0"/>
              </a:spcAft>
              <a:buClrTx/>
              <a:buSzTx/>
              <a:buFontTx/>
              <a:buNone/>
              <a:defRPr/>
            </a:pPr>
            <a:r>
              <a:rPr kumimoji="1" lang="zh-CN" altLang="en-US" sz="20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智慧</a:t>
            </a:r>
            <a:r>
              <a:rPr kumimoji="1" lang="zh-TW" altLang="en-US" sz="20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医</a:t>
            </a:r>
            <a:r>
              <a:rPr kumimoji="1" lang="zh-CN" altLang="en-US" sz="20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保</a:t>
            </a:r>
            <a:endParaRPr kumimoji="1" lang="zh-CN" altLang="en-US" sz="20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endParaRPr>
          </a:p>
        </p:txBody>
      </p:sp>
      <p:sp>
        <p:nvSpPr>
          <p:cNvPr id="12" name="矩形 11"/>
          <p:cNvSpPr/>
          <p:nvPr/>
        </p:nvSpPr>
        <p:spPr>
          <a:xfrm>
            <a:off x="5708721" y="1460465"/>
            <a:ext cx="1111850" cy="403253"/>
          </a:xfrm>
          <a:prstGeom prst="rect">
            <a:avLst/>
          </a:prstGeom>
          <a:noFill/>
          <a:ln w="25400" cap="flat" cmpd="sng" algn="ctr">
            <a:noFill/>
            <a:prstDash val="solid"/>
          </a:ln>
          <a:effectLst/>
        </p:spPr>
        <p:txBody>
          <a:bodyPr lIns="91420" tIns="45711" rIns="91420" bIns="45711" rtlCol="0" anchor="ctr"/>
          <a:lstStyle/>
          <a:p>
            <a:pPr marL="0" marR="0" lvl="0" indent="0" algn="ctr" defTabSz="932815" rtl="0" eaLnBrk="1" fontAlgn="auto" latinLnBrk="0" hangingPunct="1">
              <a:lnSpc>
                <a:spcPct val="80000"/>
              </a:lnSpc>
              <a:spcBef>
                <a:spcPct val="20000"/>
              </a:spcBef>
              <a:spcAft>
                <a:spcPct val="0"/>
              </a:spcAft>
              <a:buClrTx/>
              <a:buSzTx/>
              <a:buFontTx/>
              <a:buNone/>
              <a:defRPr/>
            </a:pPr>
            <a:r>
              <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智慧房产</a:t>
            </a:r>
            <a:endPar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endParaRPr>
          </a:p>
        </p:txBody>
      </p:sp>
      <p:sp>
        <p:nvSpPr>
          <p:cNvPr id="13" name="矩形 12"/>
          <p:cNvSpPr/>
          <p:nvPr/>
        </p:nvSpPr>
        <p:spPr>
          <a:xfrm>
            <a:off x="8075400" y="1468654"/>
            <a:ext cx="1161162" cy="403253"/>
          </a:xfrm>
          <a:prstGeom prst="rect">
            <a:avLst/>
          </a:prstGeom>
          <a:noFill/>
          <a:ln w="25400" cap="flat" cmpd="sng" algn="ctr">
            <a:noFill/>
            <a:prstDash val="solid"/>
          </a:ln>
          <a:effectLst/>
        </p:spPr>
        <p:txBody>
          <a:bodyPr lIns="91420" tIns="45711" rIns="91420" bIns="45711" rtlCol="0" anchor="ctr"/>
          <a:lstStyle/>
          <a:p>
            <a:pPr marL="0" marR="0" lvl="0" indent="0" algn="ctr" defTabSz="932815" rtl="0" eaLnBrk="1" fontAlgn="auto" latinLnBrk="0" hangingPunct="1">
              <a:lnSpc>
                <a:spcPct val="80000"/>
              </a:lnSpc>
              <a:spcBef>
                <a:spcPct val="20000"/>
              </a:spcBef>
              <a:spcAft>
                <a:spcPct val="0"/>
              </a:spcAft>
              <a:buClrTx/>
              <a:buSzTx/>
              <a:buFontTx/>
              <a:buNone/>
              <a:defRPr/>
            </a:pPr>
            <a:r>
              <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智慧</a:t>
            </a:r>
            <a:r>
              <a:rPr kumimoji="1" lang="zh-TW"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教育</a:t>
            </a:r>
            <a:endPar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endParaRPr>
          </a:p>
        </p:txBody>
      </p:sp>
      <p:sp>
        <p:nvSpPr>
          <p:cNvPr id="14" name="矩形 13"/>
          <p:cNvSpPr/>
          <p:nvPr/>
        </p:nvSpPr>
        <p:spPr>
          <a:xfrm>
            <a:off x="10197594" y="1491287"/>
            <a:ext cx="1203823" cy="403253"/>
          </a:xfrm>
          <a:prstGeom prst="rect">
            <a:avLst/>
          </a:prstGeom>
          <a:noFill/>
          <a:ln w="25400" cap="flat" cmpd="sng" algn="ctr">
            <a:noFill/>
            <a:prstDash val="solid"/>
          </a:ln>
          <a:effectLst/>
        </p:spPr>
        <p:txBody>
          <a:bodyPr lIns="91420" tIns="45711" rIns="91420" bIns="45711" rtlCol="0" anchor="ctr"/>
          <a:lstStyle/>
          <a:p>
            <a:pPr marL="0" marR="0" lvl="0" indent="0" algn="ctr" defTabSz="932815" rtl="0" eaLnBrk="1" fontAlgn="auto" latinLnBrk="0" hangingPunct="1">
              <a:lnSpc>
                <a:spcPct val="80000"/>
              </a:lnSpc>
              <a:spcBef>
                <a:spcPct val="20000"/>
              </a:spcBef>
              <a:spcAft>
                <a:spcPct val="0"/>
              </a:spcAft>
              <a:buClrTx/>
              <a:buSzTx/>
              <a:buFontTx/>
              <a:buNone/>
              <a:defRPr/>
            </a:pPr>
            <a:r>
              <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智慧</a:t>
            </a:r>
            <a:r>
              <a:rPr kumimoji="1" lang="zh-TW"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安防</a:t>
            </a:r>
            <a:endPar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endParaRPr>
          </a:p>
        </p:txBody>
      </p:sp>
      <p:sp>
        <p:nvSpPr>
          <p:cNvPr id="15" name="矩形 14"/>
          <p:cNvSpPr/>
          <p:nvPr/>
        </p:nvSpPr>
        <p:spPr>
          <a:xfrm>
            <a:off x="3410595" y="3121669"/>
            <a:ext cx="1299449" cy="403253"/>
          </a:xfrm>
          <a:prstGeom prst="rect">
            <a:avLst/>
          </a:prstGeom>
          <a:noFill/>
          <a:ln w="25400" cap="flat" cmpd="sng" algn="ctr">
            <a:noFill/>
            <a:prstDash val="solid"/>
          </a:ln>
          <a:effectLst/>
        </p:spPr>
        <p:txBody>
          <a:bodyPr lIns="91420" tIns="45711" rIns="91420" bIns="45711" rtlCol="0" anchor="ctr"/>
          <a:lstStyle/>
          <a:p>
            <a:pPr marL="0" marR="0" lvl="0" indent="0" algn="ctr" defTabSz="932815" rtl="0" eaLnBrk="1" fontAlgn="auto" latinLnBrk="0" hangingPunct="1">
              <a:lnSpc>
                <a:spcPct val="80000"/>
              </a:lnSpc>
              <a:spcBef>
                <a:spcPct val="20000"/>
              </a:spcBef>
              <a:spcAft>
                <a:spcPct val="0"/>
              </a:spcAft>
              <a:buClrTx/>
              <a:buSzTx/>
              <a:buFontTx/>
              <a:buNone/>
              <a:defRPr/>
            </a:pPr>
            <a:r>
              <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智慧</a:t>
            </a:r>
            <a:r>
              <a:rPr kumimoji="1" lang="zh-TW"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环保</a:t>
            </a:r>
            <a:endPar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endParaRPr>
          </a:p>
        </p:txBody>
      </p:sp>
      <p:sp>
        <p:nvSpPr>
          <p:cNvPr id="16" name="leaves_25058"/>
          <p:cNvSpPr>
            <a:spLocks noChangeAspect="1"/>
          </p:cNvSpPr>
          <p:nvPr/>
        </p:nvSpPr>
        <p:spPr bwMode="auto">
          <a:xfrm>
            <a:off x="2944942" y="3103421"/>
            <a:ext cx="403811" cy="403253"/>
          </a:xfrm>
          <a:custGeom>
            <a:avLst/>
            <a:gdLst>
              <a:gd name="T0" fmla="*/ 0 w 1277"/>
              <a:gd name="T1" fmla="*/ 639 h 1277"/>
              <a:gd name="T2" fmla="*/ 1277 w 1277"/>
              <a:gd name="T3" fmla="*/ 639 h 1277"/>
              <a:gd name="T4" fmla="*/ 856 w 1277"/>
              <a:gd name="T5" fmla="*/ 651 h 1277"/>
              <a:gd name="T6" fmla="*/ 829 w 1277"/>
              <a:gd name="T7" fmla="*/ 552 h 1277"/>
              <a:gd name="T8" fmla="*/ 863 w 1277"/>
              <a:gd name="T9" fmla="*/ 650 h 1277"/>
              <a:gd name="T10" fmla="*/ 881 w 1277"/>
              <a:gd name="T11" fmla="*/ 807 h 1277"/>
              <a:gd name="T12" fmla="*/ 851 w 1277"/>
              <a:gd name="T13" fmla="*/ 1003 h 1277"/>
              <a:gd name="T14" fmla="*/ 789 w 1277"/>
              <a:gd name="T15" fmla="*/ 1179 h 1277"/>
              <a:gd name="T16" fmla="*/ 781 w 1277"/>
              <a:gd name="T17" fmla="*/ 1089 h 1277"/>
              <a:gd name="T18" fmla="*/ 846 w 1277"/>
              <a:gd name="T19" fmla="*/ 898 h 1277"/>
              <a:gd name="T20" fmla="*/ 864 w 1277"/>
              <a:gd name="T21" fmla="*/ 722 h 1277"/>
              <a:gd name="T22" fmla="*/ 883 w 1277"/>
              <a:gd name="T23" fmla="*/ 1144 h 1277"/>
              <a:gd name="T24" fmla="*/ 1030 w 1277"/>
              <a:gd name="T25" fmla="*/ 947 h 1277"/>
              <a:gd name="T26" fmla="*/ 1064 w 1277"/>
              <a:gd name="T27" fmla="*/ 516 h 1277"/>
              <a:gd name="T28" fmla="*/ 827 w 1277"/>
              <a:gd name="T29" fmla="*/ 219 h 1277"/>
              <a:gd name="T30" fmla="*/ 758 w 1277"/>
              <a:gd name="T31" fmla="*/ 207 h 1277"/>
              <a:gd name="T32" fmla="*/ 742 w 1277"/>
              <a:gd name="T33" fmla="*/ 268 h 1277"/>
              <a:gd name="T34" fmla="*/ 596 w 1277"/>
              <a:gd name="T35" fmla="*/ 697 h 1277"/>
              <a:gd name="T36" fmla="*/ 643 w 1277"/>
              <a:gd name="T37" fmla="*/ 1039 h 1277"/>
              <a:gd name="T38" fmla="*/ 646 w 1277"/>
              <a:gd name="T39" fmla="*/ 1200 h 1277"/>
              <a:gd name="T40" fmla="*/ 554 w 1277"/>
              <a:gd name="T41" fmla="*/ 1100 h 1277"/>
              <a:gd name="T42" fmla="*/ 462 w 1277"/>
              <a:gd name="T43" fmla="*/ 958 h 1277"/>
              <a:gd name="T44" fmla="*/ 420 w 1277"/>
              <a:gd name="T45" fmla="*/ 829 h 1277"/>
              <a:gd name="T46" fmla="*/ 413 w 1277"/>
              <a:gd name="T47" fmla="*/ 741 h 1277"/>
              <a:gd name="T48" fmla="*/ 426 w 1277"/>
              <a:gd name="T49" fmla="*/ 828 h 1277"/>
              <a:gd name="T50" fmla="*/ 476 w 1277"/>
              <a:gd name="T51" fmla="*/ 950 h 1277"/>
              <a:gd name="T52" fmla="*/ 575 w 1277"/>
              <a:gd name="T53" fmla="*/ 1082 h 1277"/>
              <a:gd name="T54" fmla="*/ 657 w 1277"/>
              <a:gd name="T55" fmla="*/ 1158 h 1277"/>
              <a:gd name="T56" fmla="*/ 624 w 1277"/>
              <a:gd name="T57" fmla="*/ 1069 h 1277"/>
              <a:gd name="T58" fmla="*/ 575 w 1277"/>
              <a:gd name="T59" fmla="*/ 711 h 1277"/>
              <a:gd name="T60" fmla="*/ 465 w 1277"/>
              <a:gd name="T61" fmla="*/ 564 h 1277"/>
              <a:gd name="T62" fmla="*/ 355 w 1277"/>
              <a:gd name="T63" fmla="*/ 460 h 1277"/>
              <a:gd name="T64" fmla="*/ 333 w 1277"/>
              <a:gd name="T65" fmla="*/ 455 h 1277"/>
              <a:gd name="T66" fmla="*/ 226 w 1277"/>
              <a:gd name="T67" fmla="*/ 611 h 1277"/>
              <a:gd name="T68" fmla="*/ 278 w 1277"/>
              <a:gd name="T69" fmla="*/ 976 h 1277"/>
              <a:gd name="T70" fmla="*/ 474 w 1277"/>
              <a:gd name="T71" fmla="*/ 1176 h 1277"/>
              <a:gd name="T72" fmla="*/ 639 w 1277"/>
              <a:gd name="T73" fmla="*/ 77 h 1277"/>
              <a:gd name="T74" fmla="*/ 883 w 1277"/>
              <a:gd name="T75" fmla="*/ 1144 h 1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7" h="1277">
                <a:moveTo>
                  <a:pt x="639" y="0"/>
                </a:moveTo>
                <a:cubicBezTo>
                  <a:pt x="286" y="0"/>
                  <a:pt x="0" y="287"/>
                  <a:pt x="0" y="639"/>
                </a:cubicBezTo>
                <a:cubicBezTo>
                  <a:pt x="0" y="991"/>
                  <a:pt x="286" y="1277"/>
                  <a:pt x="639" y="1277"/>
                </a:cubicBezTo>
                <a:cubicBezTo>
                  <a:pt x="991" y="1277"/>
                  <a:pt x="1277" y="991"/>
                  <a:pt x="1277" y="639"/>
                </a:cubicBezTo>
                <a:cubicBezTo>
                  <a:pt x="1277" y="287"/>
                  <a:pt x="991" y="0"/>
                  <a:pt x="639" y="0"/>
                </a:cubicBezTo>
                <a:close/>
                <a:moveTo>
                  <a:pt x="856" y="651"/>
                </a:moveTo>
                <a:cubicBezTo>
                  <a:pt x="855" y="630"/>
                  <a:pt x="846" y="613"/>
                  <a:pt x="843" y="598"/>
                </a:cubicBezTo>
                <a:cubicBezTo>
                  <a:pt x="834" y="569"/>
                  <a:pt x="829" y="552"/>
                  <a:pt x="829" y="552"/>
                </a:cubicBezTo>
                <a:cubicBezTo>
                  <a:pt x="829" y="552"/>
                  <a:pt x="835" y="568"/>
                  <a:pt x="846" y="597"/>
                </a:cubicBezTo>
                <a:cubicBezTo>
                  <a:pt x="851" y="611"/>
                  <a:pt x="861" y="628"/>
                  <a:pt x="863" y="650"/>
                </a:cubicBezTo>
                <a:cubicBezTo>
                  <a:pt x="867" y="671"/>
                  <a:pt x="872" y="695"/>
                  <a:pt x="877" y="721"/>
                </a:cubicBezTo>
                <a:cubicBezTo>
                  <a:pt x="878" y="747"/>
                  <a:pt x="880" y="776"/>
                  <a:pt x="881" y="807"/>
                </a:cubicBezTo>
                <a:cubicBezTo>
                  <a:pt x="878" y="837"/>
                  <a:pt x="876" y="869"/>
                  <a:pt x="872" y="903"/>
                </a:cubicBezTo>
                <a:cubicBezTo>
                  <a:pt x="865" y="935"/>
                  <a:pt x="860" y="970"/>
                  <a:pt x="851" y="1003"/>
                </a:cubicBezTo>
                <a:cubicBezTo>
                  <a:pt x="840" y="1037"/>
                  <a:pt x="832" y="1072"/>
                  <a:pt x="819" y="1105"/>
                </a:cubicBezTo>
                <a:cubicBezTo>
                  <a:pt x="810" y="1130"/>
                  <a:pt x="799" y="1155"/>
                  <a:pt x="789" y="1179"/>
                </a:cubicBezTo>
                <a:cubicBezTo>
                  <a:pt x="769" y="1185"/>
                  <a:pt x="749" y="1189"/>
                  <a:pt x="729" y="1192"/>
                </a:cubicBezTo>
                <a:cubicBezTo>
                  <a:pt x="747" y="1159"/>
                  <a:pt x="765" y="1125"/>
                  <a:pt x="781" y="1089"/>
                </a:cubicBezTo>
                <a:cubicBezTo>
                  <a:pt x="796" y="1058"/>
                  <a:pt x="806" y="1026"/>
                  <a:pt x="819" y="994"/>
                </a:cubicBezTo>
                <a:cubicBezTo>
                  <a:pt x="831" y="962"/>
                  <a:pt x="837" y="929"/>
                  <a:pt x="846" y="898"/>
                </a:cubicBezTo>
                <a:cubicBezTo>
                  <a:pt x="853" y="866"/>
                  <a:pt x="857" y="835"/>
                  <a:pt x="862" y="806"/>
                </a:cubicBezTo>
                <a:cubicBezTo>
                  <a:pt x="863" y="776"/>
                  <a:pt x="863" y="748"/>
                  <a:pt x="864" y="722"/>
                </a:cubicBezTo>
                <a:cubicBezTo>
                  <a:pt x="861" y="696"/>
                  <a:pt x="858" y="672"/>
                  <a:pt x="856" y="651"/>
                </a:cubicBezTo>
                <a:close/>
                <a:moveTo>
                  <a:pt x="883" y="1144"/>
                </a:moveTo>
                <a:cubicBezTo>
                  <a:pt x="894" y="1134"/>
                  <a:pt x="906" y="1123"/>
                  <a:pt x="917" y="1112"/>
                </a:cubicBezTo>
                <a:cubicBezTo>
                  <a:pt x="961" y="1067"/>
                  <a:pt x="1000" y="1011"/>
                  <a:pt x="1030" y="947"/>
                </a:cubicBezTo>
                <a:cubicBezTo>
                  <a:pt x="1060" y="884"/>
                  <a:pt x="1079" y="812"/>
                  <a:pt x="1086" y="738"/>
                </a:cubicBezTo>
                <a:cubicBezTo>
                  <a:pt x="1092" y="664"/>
                  <a:pt x="1086" y="588"/>
                  <a:pt x="1064" y="516"/>
                </a:cubicBezTo>
                <a:cubicBezTo>
                  <a:pt x="1044" y="444"/>
                  <a:pt x="1009" y="376"/>
                  <a:pt x="965" y="323"/>
                </a:cubicBezTo>
                <a:cubicBezTo>
                  <a:pt x="921" y="270"/>
                  <a:pt x="868" y="234"/>
                  <a:pt x="827" y="219"/>
                </a:cubicBezTo>
                <a:cubicBezTo>
                  <a:pt x="807" y="210"/>
                  <a:pt x="788" y="209"/>
                  <a:pt x="776" y="208"/>
                </a:cubicBezTo>
                <a:cubicBezTo>
                  <a:pt x="765" y="207"/>
                  <a:pt x="758" y="207"/>
                  <a:pt x="758" y="207"/>
                </a:cubicBezTo>
                <a:cubicBezTo>
                  <a:pt x="758" y="207"/>
                  <a:pt x="757" y="213"/>
                  <a:pt x="755" y="224"/>
                </a:cubicBezTo>
                <a:cubicBezTo>
                  <a:pt x="754" y="235"/>
                  <a:pt x="747" y="252"/>
                  <a:pt x="742" y="268"/>
                </a:cubicBezTo>
                <a:cubicBezTo>
                  <a:pt x="730" y="303"/>
                  <a:pt x="710" y="344"/>
                  <a:pt x="688" y="388"/>
                </a:cubicBezTo>
                <a:cubicBezTo>
                  <a:pt x="644" y="474"/>
                  <a:pt x="605" y="580"/>
                  <a:pt x="596" y="697"/>
                </a:cubicBezTo>
                <a:cubicBezTo>
                  <a:pt x="592" y="754"/>
                  <a:pt x="592" y="814"/>
                  <a:pt x="602" y="873"/>
                </a:cubicBezTo>
                <a:cubicBezTo>
                  <a:pt x="610" y="931"/>
                  <a:pt x="625" y="988"/>
                  <a:pt x="643" y="1039"/>
                </a:cubicBezTo>
                <a:cubicBezTo>
                  <a:pt x="657" y="1077"/>
                  <a:pt x="684" y="1154"/>
                  <a:pt x="703" y="1196"/>
                </a:cubicBezTo>
                <a:cubicBezTo>
                  <a:pt x="685" y="1198"/>
                  <a:pt x="666" y="1200"/>
                  <a:pt x="646" y="1200"/>
                </a:cubicBezTo>
                <a:cubicBezTo>
                  <a:pt x="636" y="1189"/>
                  <a:pt x="625" y="1179"/>
                  <a:pt x="614" y="1168"/>
                </a:cubicBezTo>
                <a:cubicBezTo>
                  <a:pt x="592" y="1147"/>
                  <a:pt x="573" y="1123"/>
                  <a:pt x="554" y="1100"/>
                </a:cubicBezTo>
                <a:cubicBezTo>
                  <a:pt x="534" y="1077"/>
                  <a:pt x="519" y="1052"/>
                  <a:pt x="502" y="1029"/>
                </a:cubicBezTo>
                <a:cubicBezTo>
                  <a:pt x="487" y="1005"/>
                  <a:pt x="474" y="980"/>
                  <a:pt x="462" y="958"/>
                </a:cubicBezTo>
                <a:cubicBezTo>
                  <a:pt x="452" y="933"/>
                  <a:pt x="443" y="911"/>
                  <a:pt x="434" y="890"/>
                </a:cubicBezTo>
                <a:cubicBezTo>
                  <a:pt x="429" y="868"/>
                  <a:pt x="424" y="847"/>
                  <a:pt x="420" y="829"/>
                </a:cubicBezTo>
                <a:cubicBezTo>
                  <a:pt x="414" y="812"/>
                  <a:pt x="417" y="795"/>
                  <a:pt x="415" y="782"/>
                </a:cubicBezTo>
                <a:cubicBezTo>
                  <a:pt x="413" y="756"/>
                  <a:pt x="413" y="741"/>
                  <a:pt x="413" y="741"/>
                </a:cubicBezTo>
                <a:cubicBezTo>
                  <a:pt x="413" y="741"/>
                  <a:pt x="415" y="756"/>
                  <a:pt x="418" y="782"/>
                </a:cubicBezTo>
                <a:cubicBezTo>
                  <a:pt x="421" y="795"/>
                  <a:pt x="419" y="811"/>
                  <a:pt x="426" y="828"/>
                </a:cubicBezTo>
                <a:cubicBezTo>
                  <a:pt x="432" y="845"/>
                  <a:pt x="438" y="865"/>
                  <a:pt x="444" y="886"/>
                </a:cubicBezTo>
                <a:cubicBezTo>
                  <a:pt x="454" y="906"/>
                  <a:pt x="465" y="927"/>
                  <a:pt x="476" y="950"/>
                </a:cubicBezTo>
                <a:cubicBezTo>
                  <a:pt x="490" y="971"/>
                  <a:pt x="504" y="994"/>
                  <a:pt x="520" y="1017"/>
                </a:cubicBezTo>
                <a:cubicBezTo>
                  <a:pt x="538" y="1038"/>
                  <a:pt x="555" y="1061"/>
                  <a:pt x="575" y="1082"/>
                </a:cubicBezTo>
                <a:cubicBezTo>
                  <a:pt x="596" y="1102"/>
                  <a:pt x="616" y="1124"/>
                  <a:pt x="638" y="1143"/>
                </a:cubicBezTo>
                <a:cubicBezTo>
                  <a:pt x="644" y="1148"/>
                  <a:pt x="651" y="1153"/>
                  <a:pt x="657" y="1158"/>
                </a:cubicBezTo>
                <a:cubicBezTo>
                  <a:pt x="649" y="1137"/>
                  <a:pt x="640" y="1114"/>
                  <a:pt x="631" y="1090"/>
                </a:cubicBezTo>
                <a:lnTo>
                  <a:pt x="624" y="1069"/>
                </a:lnTo>
                <a:cubicBezTo>
                  <a:pt x="603" y="1012"/>
                  <a:pt x="588" y="951"/>
                  <a:pt x="580" y="895"/>
                </a:cubicBezTo>
                <a:cubicBezTo>
                  <a:pt x="571" y="840"/>
                  <a:pt x="569" y="779"/>
                  <a:pt x="575" y="711"/>
                </a:cubicBezTo>
                <a:cubicBezTo>
                  <a:pt x="575" y="699"/>
                  <a:pt x="577" y="688"/>
                  <a:pt x="578" y="676"/>
                </a:cubicBezTo>
                <a:cubicBezTo>
                  <a:pt x="542" y="633"/>
                  <a:pt x="503" y="595"/>
                  <a:pt x="465" y="564"/>
                </a:cubicBezTo>
                <a:cubicBezTo>
                  <a:pt x="432" y="538"/>
                  <a:pt x="402" y="513"/>
                  <a:pt x="380" y="490"/>
                </a:cubicBezTo>
                <a:cubicBezTo>
                  <a:pt x="371" y="479"/>
                  <a:pt x="360" y="468"/>
                  <a:pt x="355" y="460"/>
                </a:cubicBezTo>
                <a:cubicBezTo>
                  <a:pt x="349" y="452"/>
                  <a:pt x="347" y="448"/>
                  <a:pt x="347" y="448"/>
                </a:cubicBezTo>
                <a:cubicBezTo>
                  <a:pt x="347" y="448"/>
                  <a:pt x="342" y="450"/>
                  <a:pt x="333" y="455"/>
                </a:cubicBezTo>
                <a:cubicBezTo>
                  <a:pt x="324" y="460"/>
                  <a:pt x="310" y="468"/>
                  <a:pt x="297" y="482"/>
                </a:cubicBezTo>
                <a:cubicBezTo>
                  <a:pt x="271" y="508"/>
                  <a:pt x="242" y="554"/>
                  <a:pt x="226" y="611"/>
                </a:cubicBezTo>
                <a:cubicBezTo>
                  <a:pt x="211" y="668"/>
                  <a:pt x="207" y="733"/>
                  <a:pt x="217" y="796"/>
                </a:cubicBezTo>
                <a:cubicBezTo>
                  <a:pt x="225" y="860"/>
                  <a:pt x="248" y="921"/>
                  <a:pt x="278" y="976"/>
                </a:cubicBezTo>
                <a:cubicBezTo>
                  <a:pt x="309" y="1031"/>
                  <a:pt x="348" y="1081"/>
                  <a:pt x="395" y="1119"/>
                </a:cubicBezTo>
                <a:cubicBezTo>
                  <a:pt x="420" y="1141"/>
                  <a:pt x="447" y="1160"/>
                  <a:pt x="474" y="1176"/>
                </a:cubicBezTo>
                <a:cubicBezTo>
                  <a:pt x="244" y="1105"/>
                  <a:pt x="77" y="891"/>
                  <a:pt x="77" y="639"/>
                </a:cubicBezTo>
                <a:cubicBezTo>
                  <a:pt x="77" y="329"/>
                  <a:pt x="329" y="77"/>
                  <a:pt x="639" y="77"/>
                </a:cubicBezTo>
                <a:cubicBezTo>
                  <a:pt x="948" y="77"/>
                  <a:pt x="1200" y="329"/>
                  <a:pt x="1200" y="639"/>
                </a:cubicBezTo>
                <a:cubicBezTo>
                  <a:pt x="1200" y="861"/>
                  <a:pt x="1070" y="1053"/>
                  <a:pt x="883" y="1144"/>
                </a:cubicBezTo>
                <a:close/>
              </a:path>
            </a:pathLst>
          </a:custGeom>
          <a:solidFill>
            <a:srgbClr val="FF3300"/>
          </a:solidFill>
          <a:ln>
            <a:noFill/>
          </a:ln>
        </p:spPr>
        <p:style>
          <a:lnRef idx="3">
            <a:schemeClr val="lt1"/>
          </a:lnRef>
          <a:fillRef idx="1">
            <a:schemeClr val="accent2"/>
          </a:fillRef>
          <a:effectRef idx="1">
            <a:schemeClr val="accent2"/>
          </a:effectRef>
          <a:fontRef idx="minor">
            <a:schemeClr val="lt1"/>
          </a:fontRef>
        </p:style>
        <p:txBody>
          <a:bodyPr/>
          <a:lstStyle/>
          <a:p>
            <a:pPr marL="0" marR="0" lvl="0" indent="0" algn="l" defTabSz="914400" rtl="0" eaLnBrk="1" fontAlgn="auto" latinLnBrk="0" hangingPunct="1">
              <a:lnSpc>
                <a:spcPct val="80000"/>
              </a:lnSpc>
              <a:spcBef>
                <a:spcPct val="20000"/>
              </a:spcBef>
              <a:spcAft>
                <a:spcPct val="0"/>
              </a:spcAft>
              <a:buClrTx/>
              <a:buSzTx/>
              <a:buFontTx/>
              <a:buNone/>
              <a:defRPr/>
            </a:pPr>
            <a:endParaRPr kumimoji="0" lang="zh-CN" altLang="en-US" sz="2000" b="0" i="0" u="none" strike="noStrike" kern="1200" cap="none" spc="0" normalizeH="0" baseline="0" noProof="0">
              <a:ln>
                <a:noFill/>
              </a:ln>
              <a:solidFill>
                <a:schemeClr val="tx1"/>
              </a:solidFill>
              <a:effectLst/>
              <a:uLnTx/>
              <a:uFillTx/>
              <a:latin typeface="华文楷体" panose="02010600040101010101" charset="-122"/>
              <a:ea typeface="华文楷体" panose="02010600040101010101" charset="-122"/>
              <a:cs typeface="+mn-cs"/>
            </a:endParaRPr>
          </a:p>
        </p:txBody>
      </p:sp>
      <p:sp>
        <p:nvSpPr>
          <p:cNvPr id="17" name="矩形 16"/>
          <p:cNvSpPr/>
          <p:nvPr/>
        </p:nvSpPr>
        <p:spPr>
          <a:xfrm>
            <a:off x="1029404" y="3124950"/>
            <a:ext cx="1299449" cy="403253"/>
          </a:xfrm>
          <a:prstGeom prst="rect">
            <a:avLst/>
          </a:prstGeom>
          <a:noFill/>
          <a:ln w="25400" cap="flat" cmpd="sng" algn="ctr">
            <a:noFill/>
            <a:prstDash val="solid"/>
          </a:ln>
          <a:effectLst/>
        </p:spPr>
        <p:txBody>
          <a:bodyPr lIns="91420" tIns="45711" rIns="91420" bIns="45711" rtlCol="0" anchor="ctr"/>
          <a:lstStyle/>
          <a:p>
            <a:pPr marL="0" marR="0" lvl="0" indent="0" algn="ctr" defTabSz="932815" rtl="0" eaLnBrk="1" fontAlgn="auto" latinLnBrk="0" hangingPunct="1">
              <a:lnSpc>
                <a:spcPct val="80000"/>
              </a:lnSpc>
              <a:spcBef>
                <a:spcPct val="20000"/>
              </a:spcBef>
              <a:spcAft>
                <a:spcPct val="0"/>
              </a:spcAft>
              <a:buClrTx/>
              <a:buSzTx/>
              <a:buFontTx/>
              <a:buNone/>
              <a:defRPr/>
            </a:pPr>
            <a:r>
              <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智慧养老</a:t>
            </a:r>
            <a:endPar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endParaRPr>
          </a:p>
        </p:txBody>
      </p:sp>
      <p:sp>
        <p:nvSpPr>
          <p:cNvPr id="18" name="grandfather-silhouette_43840"/>
          <p:cNvSpPr>
            <a:spLocks noChangeAspect="1"/>
          </p:cNvSpPr>
          <p:nvPr/>
        </p:nvSpPr>
        <p:spPr bwMode="auto">
          <a:xfrm>
            <a:off x="667745" y="3112404"/>
            <a:ext cx="257160" cy="403253"/>
          </a:xfrm>
          <a:custGeom>
            <a:avLst/>
            <a:gdLst>
              <a:gd name="T0" fmla="*/ 218 w 4925"/>
              <a:gd name="T1" fmla="*/ 4086 h 7734"/>
              <a:gd name="T2" fmla="*/ 387 w 4925"/>
              <a:gd name="T3" fmla="*/ 4131 h 7734"/>
              <a:gd name="T4" fmla="*/ 681 w 4925"/>
              <a:gd name="T5" fmla="*/ 3961 h 7734"/>
              <a:gd name="T6" fmla="*/ 846 w 4925"/>
              <a:gd name="T7" fmla="*/ 3657 h 7734"/>
              <a:gd name="T8" fmla="*/ 1363 w 4925"/>
              <a:gd name="T9" fmla="*/ 2701 h 7734"/>
              <a:gd name="T10" fmla="*/ 1371 w 4925"/>
              <a:gd name="T11" fmla="*/ 2688 h 7734"/>
              <a:gd name="T12" fmla="*/ 1371 w 4925"/>
              <a:gd name="T13" fmla="*/ 4224 h 7734"/>
              <a:gd name="T14" fmla="*/ 1132 w 4925"/>
              <a:gd name="T15" fmla="*/ 7059 h 7734"/>
              <a:gd name="T16" fmla="*/ 1106 w 4925"/>
              <a:gd name="T17" fmla="*/ 7362 h 7734"/>
              <a:gd name="T18" fmla="*/ 1416 w 4925"/>
              <a:gd name="T19" fmla="*/ 7728 h 7734"/>
              <a:gd name="T20" fmla="*/ 1435 w 4925"/>
              <a:gd name="T21" fmla="*/ 7729 h 7734"/>
              <a:gd name="T22" fmla="*/ 1445 w 4925"/>
              <a:gd name="T23" fmla="*/ 7730 h 7734"/>
              <a:gd name="T24" fmla="*/ 1782 w 4925"/>
              <a:gd name="T25" fmla="*/ 7419 h 7734"/>
              <a:gd name="T26" fmla="*/ 2129 w 4925"/>
              <a:gd name="T27" fmla="*/ 4371 h 7734"/>
              <a:gd name="T28" fmla="*/ 2485 w 4925"/>
              <a:gd name="T29" fmla="*/ 4371 h 7734"/>
              <a:gd name="T30" fmla="*/ 2717 w 4925"/>
              <a:gd name="T31" fmla="*/ 7397 h 7734"/>
              <a:gd name="T32" fmla="*/ 3056 w 4925"/>
              <a:gd name="T33" fmla="*/ 7730 h 7734"/>
              <a:gd name="T34" fmla="*/ 3062 w 4925"/>
              <a:gd name="T35" fmla="*/ 7730 h 7734"/>
              <a:gd name="T36" fmla="*/ 3395 w 4925"/>
              <a:gd name="T37" fmla="*/ 7384 h 7734"/>
              <a:gd name="T38" fmla="*/ 3293 w 4925"/>
              <a:gd name="T39" fmla="*/ 3546 h 7734"/>
              <a:gd name="T40" fmla="*/ 3293 w 4925"/>
              <a:gd name="T41" fmla="*/ 2235 h 7734"/>
              <a:gd name="T42" fmla="*/ 3298 w 4925"/>
              <a:gd name="T43" fmla="*/ 2238 h 7734"/>
              <a:gd name="T44" fmla="*/ 3634 w 4925"/>
              <a:gd name="T45" fmla="*/ 2483 h 7734"/>
              <a:gd name="T46" fmla="*/ 3840 w 4925"/>
              <a:gd name="T47" fmla="*/ 3134 h 7734"/>
              <a:gd name="T48" fmla="*/ 3581 w 4925"/>
              <a:gd name="T49" fmla="*/ 3678 h 7734"/>
              <a:gd name="T50" fmla="*/ 3911 w 4925"/>
              <a:gd name="T51" fmla="*/ 3737 h 7734"/>
              <a:gd name="T52" fmla="*/ 3966 w 4925"/>
              <a:gd name="T53" fmla="*/ 3515 h 7734"/>
              <a:gd name="T54" fmla="*/ 4269 w 4925"/>
              <a:gd name="T55" fmla="*/ 3701 h 7734"/>
              <a:gd name="T56" fmla="*/ 4371 w 4925"/>
              <a:gd name="T57" fmla="*/ 3685 h 7734"/>
              <a:gd name="T58" fmla="*/ 4546 w 4925"/>
              <a:gd name="T59" fmla="*/ 3555 h 7734"/>
              <a:gd name="T60" fmla="*/ 4567 w 4925"/>
              <a:gd name="T61" fmla="*/ 3679 h 7734"/>
              <a:gd name="T62" fmla="*/ 4573 w 4925"/>
              <a:gd name="T63" fmla="*/ 7590 h 7734"/>
              <a:gd name="T64" fmla="*/ 4752 w 4925"/>
              <a:gd name="T65" fmla="*/ 7734 h 7734"/>
              <a:gd name="T66" fmla="*/ 4922 w 4925"/>
              <a:gd name="T67" fmla="*/ 7577 h 7734"/>
              <a:gd name="T68" fmla="*/ 4922 w 4925"/>
              <a:gd name="T69" fmla="*/ 3628 h 7734"/>
              <a:gd name="T70" fmla="*/ 4826 w 4925"/>
              <a:gd name="T71" fmla="*/ 3290 h 7734"/>
              <a:gd name="T72" fmla="*/ 4529 w 4925"/>
              <a:gd name="T73" fmla="*/ 3060 h 7734"/>
              <a:gd name="T74" fmla="*/ 4240 w 4925"/>
              <a:gd name="T75" fmla="*/ 2150 h 7734"/>
              <a:gd name="T76" fmla="*/ 4107 w 4925"/>
              <a:gd name="T77" fmla="*/ 1969 h 7734"/>
              <a:gd name="T78" fmla="*/ 3344 w 4925"/>
              <a:gd name="T79" fmla="*/ 1435 h 7734"/>
              <a:gd name="T80" fmla="*/ 3171 w 4925"/>
              <a:gd name="T81" fmla="*/ 1387 h 7734"/>
              <a:gd name="T82" fmla="*/ 2936 w 4925"/>
              <a:gd name="T83" fmla="*/ 1385 h 7734"/>
              <a:gd name="T84" fmla="*/ 2946 w 4925"/>
              <a:gd name="T85" fmla="*/ 1366 h 7734"/>
              <a:gd name="T86" fmla="*/ 3159 w 4925"/>
              <a:gd name="T87" fmla="*/ 816 h 7734"/>
              <a:gd name="T88" fmla="*/ 2343 w 4925"/>
              <a:gd name="T89" fmla="*/ 0 h 7734"/>
              <a:gd name="T90" fmla="*/ 1526 w 4925"/>
              <a:gd name="T91" fmla="*/ 816 h 7734"/>
              <a:gd name="T92" fmla="*/ 1740 w 4925"/>
              <a:gd name="T93" fmla="*/ 1366 h 7734"/>
              <a:gd name="T94" fmla="*/ 1742 w 4925"/>
              <a:gd name="T95" fmla="*/ 1385 h 7734"/>
              <a:gd name="T96" fmla="*/ 1494 w 4925"/>
              <a:gd name="T97" fmla="*/ 1387 h 7734"/>
              <a:gd name="T98" fmla="*/ 1212 w 4925"/>
              <a:gd name="T99" fmla="*/ 1556 h 7734"/>
              <a:gd name="T100" fmla="*/ 93 w 4925"/>
              <a:gd name="T101" fmla="*/ 3623 h 7734"/>
              <a:gd name="T102" fmla="*/ 218 w 4925"/>
              <a:gd name="T103" fmla="*/ 4086 h 7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25" h="7734">
                <a:moveTo>
                  <a:pt x="218" y="4086"/>
                </a:moveTo>
                <a:cubicBezTo>
                  <a:pt x="271" y="4117"/>
                  <a:pt x="329" y="4131"/>
                  <a:pt x="387" y="4131"/>
                </a:cubicBezTo>
                <a:cubicBezTo>
                  <a:pt x="504" y="4131"/>
                  <a:pt x="619" y="4070"/>
                  <a:pt x="681" y="3961"/>
                </a:cubicBezTo>
                <a:lnTo>
                  <a:pt x="846" y="3657"/>
                </a:lnTo>
                <a:lnTo>
                  <a:pt x="1363" y="2701"/>
                </a:lnTo>
                <a:lnTo>
                  <a:pt x="1371" y="2688"/>
                </a:lnTo>
                <a:lnTo>
                  <a:pt x="1371" y="4224"/>
                </a:lnTo>
                <a:lnTo>
                  <a:pt x="1132" y="7059"/>
                </a:lnTo>
                <a:lnTo>
                  <a:pt x="1106" y="7362"/>
                </a:lnTo>
                <a:cubicBezTo>
                  <a:pt x="1090" y="7549"/>
                  <a:pt x="1229" y="7713"/>
                  <a:pt x="1416" y="7728"/>
                </a:cubicBezTo>
                <a:cubicBezTo>
                  <a:pt x="1422" y="7729"/>
                  <a:pt x="1429" y="7729"/>
                  <a:pt x="1435" y="7729"/>
                </a:cubicBezTo>
                <a:cubicBezTo>
                  <a:pt x="1439" y="7729"/>
                  <a:pt x="1442" y="7730"/>
                  <a:pt x="1445" y="7730"/>
                </a:cubicBezTo>
                <a:cubicBezTo>
                  <a:pt x="1619" y="7730"/>
                  <a:pt x="1767" y="7596"/>
                  <a:pt x="1782" y="7419"/>
                </a:cubicBezTo>
                <a:lnTo>
                  <a:pt x="2129" y="4371"/>
                </a:lnTo>
                <a:lnTo>
                  <a:pt x="2485" y="4371"/>
                </a:lnTo>
                <a:lnTo>
                  <a:pt x="2717" y="7397"/>
                </a:lnTo>
                <a:cubicBezTo>
                  <a:pt x="2720" y="7582"/>
                  <a:pt x="2871" y="7730"/>
                  <a:pt x="3056" y="7730"/>
                </a:cubicBezTo>
                <a:cubicBezTo>
                  <a:pt x="3058" y="7730"/>
                  <a:pt x="3060" y="7730"/>
                  <a:pt x="3062" y="7730"/>
                </a:cubicBezTo>
                <a:cubicBezTo>
                  <a:pt x="3249" y="7726"/>
                  <a:pt x="3398" y="7572"/>
                  <a:pt x="3395" y="7384"/>
                </a:cubicBezTo>
                <a:cubicBezTo>
                  <a:pt x="3395" y="7384"/>
                  <a:pt x="3295" y="3550"/>
                  <a:pt x="3293" y="3546"/>
                </a:cubicBezTo>
                <a:lnTo>
                  <a:pt x="3293" y="2235"/>
                </a:lnTo>
                <a:lnTo>
                  <a:pt x="3298" y="2238"/>
                </a:lnTo>
                <a:lnTo>
                  <a:pt x="3634" y="2483"/>
                </a:lnTo>
                <a:lnTo>
                  <a:pt x="3840" y="3134"/>
                </a:lnTo>
                <a:cubicBezTo>
                  <a:pt x="3675" y="3254"/>
                  <a:pt x="3587" y="3467"/>
                  <a:pt x="3581" y="3678"/>
                </a:cubicBezTo>
                <a:cubicBezTo>
                  <a:pt x="3573" y="3923"/>
                  <a:pt x="3885" y="3876"/>
                  <a:pt x="3911" y="3737"/>
                </a:cubicBezTo>
                <a:cubicBezTo>
                  <a:pt x="3934" y="3613"/>
                  <a:pt x="3942" y="3545"/>
                  <a:pt x="3966" y="3515"/>
                </a:cubicBezTo>
                <a:cubicBezTo>
                  <a:pt x="4024" y="3630"/>
                  <a:pt x="4142" y="3701"/>
                  <a:pt x="4269" y="3701"/>
                </a:cubicBezTo>
                <a:cubicBezTo>
                  <a:pt x="4302" y="3701"/>
                  <a:pt x="4337" y="3696"/>
                  <a:pt x="4371" y="3685"/>
                </a:cubicBezTo>
                <a:cubicBezTo>
                  <a:pt x="4445" y="3662"/>
                  <a:pt x="4505" y="3614"/>
                  <a:pt x="4546" y="3555"/>
                </a:cubicBezTo>
                <a:cubicBezTo>
                  <a:pt x="4566" y="3607"/>
                  <a:pt x="4564" y="3645"/>
                  <a:pt x="4567" y="3679"/>
                </a:cubicBezTo>
                <a:cubicBezTo>
                  <a:pt x="4571" y="3725"/>
                  <a:pt x="4573" y="7590"/>
                  <a:pt x="4573" y="7590"/>
                </a:cubicBezTo>
                <a:cubicBezTo>
                  <a:pt x="4573" y="7590"/>
                  <a:pt x="4584" y="7734"/>
                  <a:pt x="4752" y="7734"/>
                </a:cubicBezTo>
                <a:cubicBezTo>
                  <a:pt x="4919" y="7734"/>
                  <a:pt x="4922" y="7577"/>
                  <a:pt x="4922" y="7577"/>
                </a:cubicBezTo>
                <a:lnTo>
                  <a:pt x="4922" y="3628"/>
                </a:lnTo>
                <a:cubicBezTo>
                  <a:pt x="4922" y="3628"/>
                  <a:pt x="4925" y="3445"/>
                  <a:pt x="4826" y="3290"/>
                </a:cubicBezTo>
                <a:cubicBezTo>
                  <a:pt x="4826" y="3290"/>
                  <a:pt x="4727" y="3131"/>
                  <a:pt x="4529" y="3060"/>
                </a:cubicBezTo>
                <a:lnTo>
                  <a:pt x="4240" y="2150"/>
                </a:lnTo>
                <a:cubicBezTo>
                  <a:pt x="4240" y="2150"/>
                  <a:pt x="4211" y="2041"/>
                  <a:pt x="4107" y="1969"/>
                </a:cubicBezTo>
                <a:lnTo>
                  <a:pt x="3344" y="1435"/>
                </a:lnTo>
                <a:cubicBezTo>
                  <a:pt x="3290" y="1402"/>
                  <a:pt x="3230" y="1387"/>
                  <a:pt x="3171" y="1387"/>
                </a:cubicBezTo>
                <a:cubicBezTo>
                  <a:pt x="3166" y="1386"/>
                  <a:pt x="2936" y="1385"/>
                  <a:pt x="2936" y="1385"/>
                </a:cubicBezTo>
                <a:cubicBezTo>
                  <a:pt x="2935" y="1382"/>
                  <a:pt x="2938" y="1375"/>
                  <a:pt x="2946" y="1366"/>
                </a:cubicBezTo>
                <a:cubicBezTo>
                  <a:pt x="3078" y="1221"/>
                  <a:pt x="3159" y="1028"/>
                  <a:pt x="3159" y="816"/>
                </a:cubicBezTo>
                <a:cubicBezTo>
                  <a:pt x="3159" y="365"/>
                  <a:pt x="2793" y="0"/>
                  <a:pt x="2343" y="0"/>
                </a:cubicBezTo>
                <a:cubicBezTo>
                  <a:pt x="1892" y="0"/>
                  <a:pt x="1526" y="365"/>
                  <a:pt x="1526" y="816"/>
                </a:cubicBezTo>
                <a:cubicBezTo>
                  <a:pt x="1526" y="1028"/>
                  <a:pt x="1607" y="1221"/>
                  <a:pt x="1740" y="1366"/>
                </a:cubicBezTo>
                <a:cubicBezTo>
                  <a:pt x="1747" y="1375"/>
                  <a:pt x="1748" y="1382"/>
                  <a:pt x="1742" y="1385"/>
                </a:cubicBezTo>
                <a:cubicBezTo>
                  <a:pt x="1742" y="1385"/>
                  <a:pt x="1498" y="1386"/>
                  <a:pt x="1494" y="1387"/>
                </a:cubicBezTo>
                <a:cubicBezTo>
                  <a:pt x="1381" y="1391"/>
                  <a:pt x="1273" y="1450"/>
                  <a:pt x="1212" y="1556"/>
                </a:cubicBezTo>
                <a:lnTo>
                  <a:pt x="93" y="3623"/>
                </a:lnTo>
                <a:cubicBezTo>
                  <a:pt x="0" y="3785"/>
                  <a:pt x="56" y="3993"/>
                  <a:pt x="218" y="4086"/>
                </a:cubicBezTo>
                <a:close/>
              </a:path>
            </a:pathLst>
          </a:custGeom>
          <a:solidFill>
            <a:srgbClr val="FF3300"/>
          </a:solidFill>
          <a:ln>
            <a:noFill/>
          </a:ln>
        </p:spPr>
        <p:style>
          <a:lnRef idx="3">
            <a:schemeClr val="lt1"/>
          </a:lnRef>
          <a:fillRef idx="1">
            <a:schemeClr val="accent2"/>
          </a:fillRef>
          <a:effectRef idx="1">
            <a:schemeClr val="accent2"/>
          </a:effectRef>
          <a:fontRef idx="minor">
            <a:schemeClr val="lt1"/>
          </a:fontRef>
        </p:style>
        <p:txBody>
          <a:bodyPr/>
          <a:lstStyle/>
          <a:p>
            <a:pPr marL="0" marR="0" lvl="0" indent="0" algn="l" defTabSz="914400" rtl="0" eaLnBrk="1" fontAlgn="auto" latinLnBrk="0" hangingPunct="1">
              <a:lnSpc>
                <a:spcPct val="80000"/>
              </a:lnSpc>
              <a:spcBef>
                <a:spcPct val="20000"/>
              </a:spcBef>
              <a:spcAft>
                <a:spcPct val="0"/>
              </a:spcAft>
              <a:buClrTx/>
              <a:buSzTx/>
              <a:buFontTx/>
              <a:buNone/>
              <a:defRPr/>
            </a:pPr>
            <a:endParaRPr kumimoji="0" lang="zh-CN" altLang="en-US" sz="2000" b="0" i="0" u="none" strike="noStrike" kern="1200" cap="none" spc="0" normalizeH="0" baseline="0" noProof="0">
              <a:ln>
                <a:noFill/>
              </a:ln>
              <a:solidFill>
                <a:schemeClr val="tx1"/>
              </a:solidFill>
              <a:effectLst/>
              <a:uLnTx/>
              <a:uFillTx/>
              <a:latin typeface="华文楷体" panose="02010600040101010101" charset="-122"/>
              <a:ea typeface="华文楷体" panose="02010600040101010101" charset="-122"/>
              <a:cs typeface="+mn-cs"/>
            </a:endParaRPr>
          </a:p>
        </p:txBody>
      </p:sp>
      <p:sp>
        <p:nvSpPr>
          <p:cNvPr id="19" name="矩形 18"/>
          <p:cNvSpPr/>
          <p:nvPr/>
        </p:nvSpPr>
        <p:spPr>
          <a:xfrm>
            <a:off x="7395572" y="1990662"/>
            <a:ext cx="2221959" cy="616323"/>
          </a:xfrm>
          <a:prstGeom prst="rect">
            <a:avLst/>
          </a:prstGeom>
        </p:spPr>
        <p:txBody>
          <a:bodyPr wrap="square">
            <a:spAutoFit/>
          </a:bodyPr>
          <a:lstStyle/>
          <a:p>
            <a:pPr marL="0" marR="0" lvl="0" indent="0" algn="l" defTabSz="914400" rtl="0" eaLnBrk="1" fontAlgn="auto" latinLnBrk="1" hangingPunct="1">
              <a:lnSpc>
                <a:spcPct val="80000"/>
              </a:lnSpc>
              <a:spcBef>
                <a:spcPct val="20000"/>
              </a:spcBef>
              <a:spcAft>
                <a:spcPct val="0"/>
              </a:spcAft>
              <a:buClrTx/>
              <a:buSzTx/>
              <a:buFontTx/>
              <a:buNone/>
              <a:defRPr/>
            </a:pP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在</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北京、上海、重庆、武汉</a:t>
            </a: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等多所重点学校试点并逐步推广</a:t>
            </a:r>
            <a:endPar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p:txBody>
      </p:sp>
      <p:sp>
        <p:nvSpPr>
          <p:cNvPr id="20" name="矩形 19"/>
          <p:cNvSpPr/>
          <p:nvPr/>
        </p:nvSpPr>
        <p:spPr>
          <a:xfrm>
            <a:off x="548573" y="1996947"/>
            <a:ext cx="2221959" cy="683264"/>
          </a:xfrm>
          <a:prstGeom prst="rect">
            <a:avLst/>
          </a:prstGeom>
        </p:spPr>
        <p:txBody>
          <a:bodyPr wrap="square">
            <a:spAutoFit/>
          </a:bodyPr>
          <a:lstStyle/>
          <a:p>
            <a:pPr marL="0" marR="0" lvl="0" indent="0" algn="l" defTabSz="914400" rtl="0" eaLnBrk="1" fontAlgn="auto" latinLnBrk="1" hangingPunct="1">
              <a:lnSpc>
                <a:spcPct val="80000"/>
              </a:lnSpc>
              <a:spcBef>
                <a:spcPct val="20000"/>
              </a:spcBef>
              <a:spcAft>
                <a:spcPct val="0"/>
              </a:spcAft>
              <a:buClrTx/>
              <a:buSzTx/>
              <a:buFontTx/>
              <a:buNone/>
              <a:defRPr/>
            </a:pPr>
            <a:r>
              <a:rPr kumimoji="0" lang="zh-CN" altLang="en-US"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在</a:t>
            </a:r>
            <a:r>
              <a:rPr kumimoji="0" lang="zh-CN" altLang="en-US" sz="16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全国</a:t>
            </a:r>
            <a:r>
              <a:rPr kumimoji="0" lang="en-US" altLang="zh-CN" sz="16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x</a:t>
            </a:r>
            <a:r>
              <a:rPr kumimoji="0" lang="zh-CN" altLang="en-US" sz="16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多</a:t>
            </a:r>
            <a:r>
              <a:rPr kumimoji="0" lang="zh-CN" altLang="en-US"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城市落地，</a:t>
            </a:r>
            <a:r>
              <a:rPr kumimoji="0" lang="zh-CN" altLang="en-US" sz="1600" b="0" i="0" u="none" strike="noStrike" kern="1200" cap="none" spc="0" normalizeH="0" baseline="0" noProof="0" dirty="0" smtClean="0">
                <a:ln>
                  <a:noFill/>
                </a:ln>
                <a:effectLst/>
                <a:uLnTx/>
                <a:uFillTx/>
                <a:latin typeface="华文楷体" panose="02010600040101010101" charset="-122"/>
                <a:ea typeface="华文楷体" panose="02010600040101010101" charset="-122"/>
                <a:cs typeface="+mn-cs"/>
              </a:rPr>
              <a:t>覆盖</a:t>
            </a:r>
            <a:r>
              <a:rPr kumimoji="0" lang="en-US" altLang="zh-CN" sz="16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x</a:t>
            </a:r>
            <a:r>
              <a:rPr kumimoji="0" lang="zh-CN" altLang="en-US" sz="16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亿</a:t>
            </a:r>
            <a:r>
              <a:rPr kumimoji="0" lang="zh-CN" altLang="en-US"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人口</a:t>
            </a:r>
            <a:r>
              <a:rPr kumimoji="0" lang="zh-CN" altLang="en-US" sz="1600" b="0" i="0" u="none" strike="noStrike" kern="1200" cap="none" spc="0" normalizeH="0" baseline="0" noProof="0" dirty="0" smtClean="0">
                <a:ln>
                  <a:noFill/>
                </a:ln>
                <a:effectLst/>
                <a:uLnTx/>
                <a:uFillTx/>
                <a:latin typeface="华文楷体" panose="02010600040101010101" charset="-122"/>
                <a:ea typeface="华文楷体" panose="02010600040101010101" charset="-122"/>
                <a:cs typeface="+mn-cs"/>
              </a:rPr>
              <a:t>，</a:t>
            </a:r>
            <a:r>
              <a:rPr kumimoji="0" lang="en-US" altLang="zh-CN" sz="16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x</a:t>
            </a:r>
            <a:r>
              <a:rPr kumimoji="0" lang="zh-CN" altLang="en-US" sz="16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万</a:t>
            </a:r>
            <a:r>
              <a:rPr kumimoji="0" lang="zh-CN" altLang="en-US" sz="16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家</a:t>
            </a:r>
            <a:r>
              <a:rPr kumimoji="0" lang="zh-CN" altLang="en-US"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医院诊所</a:t>
            </a:r>
            <a:r>
              <a:rPr kumimoji="0" lang="zh-CN" altLang="en-US" sz="1600" b="0" i="0" u="none" strike="noStrike" kern="1200" cap="none" spc="0" normalizeH="0" baseline="0" noProof="0" dirty="0" smtClean="0">
                <a:ln>
                  <a:noFill/>
                </a:ln>
                <a:effectLst/>
                <a:uLnTx/>
                <a:uFillTx/>
                <a:latin typeface="华文楷体" panose="02010600040101010101" charset="-122"/>
                <a:ea typeface="华文楷体" panose="02010600040101010101" charset="-122"/>
                <a:cs typeface="+mn-cs"/>
              </a:rPr>
              <a:t>，</a:t>
            </a:r>
            <a:r>
              <a:rPr kumimoji="0" lang="en-US" altLang="zh-CN" sz="16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x</a:t>
            </a:r>
            <a:r>
              <a:rPr kumimoji="0" lang="zh-CN" altLang="en-US" sz="16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万</a:t>
            </a:r>
            <a:r>
              <a:rPr kumimoji="0" lang="zh-CN" altLang="en-US"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医护人员</a:t>
            </a:r>
            <a:endParaRPr kumimoji="0" lang="zh-CN" altLang="en-US"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p:txBody>
      </p:sp>
      <p:sp>
        <p:nvSpPr>
          <p:cNvPr id="21" name="矩形 20"/>
          <p:cNvSpPr/>
          <p:nvPr/>
        </p:nvSpPr>
        <p:spPr>
          <a:xfrm>
            <a:off x="5095235" y="1990662"/>
            <a:ext cx="2221959" cy="443968"/>
          </a:xfrm>
          <a:prstGeom prst="rect">
            <a:avLst/>
          </a:prstGeom>
        </p:spPr>
        <p:txBody>
          <a:bodyPr wrap="square">
            <a:spAutoFit/>
          </a:bodyPr>
          <a:lstStyle/>
          <a:p>
            <a:pPr marL="0" marR="0" lvl="0" indent="0" algn="l" defTabSz="914400" rtl="0" eaLnBrk="1" fontAlgn="auto" latinLnBrk="1" hangingPunct="1">
              <a:lnSpc>
                <a:spcPct val="80000"/>
              </a:lnSpc>
              <a:spcBef>
                <a:spcPct val="20000"/>
              </a:spcBef>
              <a:spcAft>
                <a:spcPct val="0"/>
              </a:spcAft>
              <a:buClrTx/>
              <a:buSzTx/>
              <a:buFontTx/>
              <a:buNone/>
              <a:defRPr/>
            </a:pP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在</a:t>
            </a:r>
            <a:r>
              <a:rPr kumimoji="0" lang="zh-CN" altLang="en-US" sz="14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深圳</a:t>
            </a:r>
            <a:r>
              <a:rPr kumimoji="0" lang="zh-CN" altLang="en-US" sz="1400" b="0" i="0" u="none" strike="noStrike" kern="1200" cap="none" spc="0" normalizeH="0" baseline="0" noProof="0" dirty="0" smtClean="0">
                <a:ln>
                  <a:noFill/>
                </a:ln>
                <a:effectLst/>
                <a:uLnTx/>
                <a:uFillTx/>
                <a:latin typeface="华文楷体" panose="02010600040101010101" charset="-122"/>
                <a:ea typeface="华文楷体" panose="02010600040101010101" charset="-122"/>
                <a:cs typeface="+mn-cs"/>
              </a:rPr>
              <a:t>等</a:t>
            </a:r>
            <a:r>
              <a:rPr kumimoji="0" lang="en-US" altLang="zh-CN" sz="14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XX</a:t>
            </a:r>
            <a:r>
              <a:rPr kumimoji="0" lang="zh-CN" altLang="en-US" sz="14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余</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个</a:t>
            </a: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城市上线落地</a:t>
            </a:r>
            <a:endPar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p:txBody>
      </p:sp>
      <p:sp>
        <p:nvSpPr>
          <p:cNvPr id="22" name="矩形 21"/>
          <p:cNvSpPr/>
          <p:nvPr/>
        </p:nvSpPr>
        <p:spPr>
          <a:xfrm>
            <a:off x="2840200" y="3600438"/>
            <a:ext cx="2221959" cy="271613"/>
          </a:xfrm>
          <a:prstGeom prst="rect">
            <a:avLst/>
          </a:prstGeom>
        </p:spPr>
        <p:txBody>
          <a:bodyPr wrap="square">
            <a:spAutoFit/>
          </a:bodyPr>
          <a:lstStyle/>
          <a:p>
            <a:pPr marL="0" marR="0" lvl="0" indent="0" algn="l" defTabSz="914400" rtl="0" eaLnBrk="1" fontAlgn="auto" latinLnBrk="1" hangingPunct="1">
              <a:lnSpc>
                <a:spcPct val="80000"/>
              </a:lnSpc>
              <a:spcBef>
                <a:spcPct val="20000"/>
              </a:spcBef>
              <a:spcAft>
                <a:spcPct val="0"/>
              </a:spcAft>
              <a:buClrTx/>
              <a:buSzTx/>
              <a:buFontTx/>
              <a:buNone/>
              <a:defRPr/>
            </a:pPr>
            <a:r>
              <a:rPr lang="zh-CN" altLang="en-US" sz="1400" dirty="0" smtClean="0">
                <a:latin typeface="华文楷体" panose="02010600040101010101" charset="-122"/>
                <a:ea typeface="华文楷体" panose="02010600040101010101" charset="-122"/>
              </a:rPr>
              <a:t>在</a:t>
            </a:r>
            <a:r>
              <a:rPr lang="en-US" altLang="zh-CN" sz="1400" dirty="0" smtClean="0">
                <a:latin typeface="华文楷体" panose="02010600040101010101" charset="-122"/>
                <a:ea typeface="华文楷体" panose="02010600040101010101" charset="-122"/>
              </a:rPr>
              <a:t>x</a:t>
            </a:r>
            <a:r>
              <a:rPr kumimoji="0" lang="zh-CN" altLang="en-US" sz="14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个</a:t>
            </a: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城市试点并逐步推广</a:t>
            </a:r>
            <a:endPar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p:txBody>
      </p:sp>
      <p:sp>
        <p:nvSpPr>
          <p:cNvPr id="23" name="矩形 22"/>
          <p:cNvSpPr/>
          <p:nvPr/>
        </p:nvSpPr>
        <p:spPr>
          <a:xfrm>
            <a:off x="558093" y="3592435"/>
            <a:ext cx="2221959" cy="443968"/>
          </a:xfrm>
          <a:prstGeom prst="rect">
            <a:avLst/>
          </a:prstGeom>
        </p:spPr>
        <p:txBody>
          <a:bodyPr wrap="square">
            <a:spAutoFit/>
          </a:bodyPr>
          <a:lstStyle/>
          <a:p>
            <a:pPr marL="0" marR="0" lvl="0" indent="0" algn="l" defTabSz="914400" rtl="0" eaLnBrk="1" fontAlgn="auto" latinLnBrk="1" hangingPunct="1">
              <a:lnSpc>
                <a:spcPct val="80000"/>
              </a:lnSpc>
              <a:spcBef>
                <a:spcPct val="20000"/>
              </a:spcBef>
              <a:spcAft>
                <a:spcPct val="0"/>
              </a:spcAft>
              <a:buClrTx/>
              <a:buSzTx/>
              <a:buFontTx/>
              <a:buNone/>
              <a:defRPr/>
            </a:pP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在</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深圳、东莞</a:t>
            </a: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等</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数十个</a:t>
            </a: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城市试点并逐步推广</a:t>
            </a:r>
            <a:endPar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p:txBody>
      </p:sp>
      <p:sp>
        <p:nvSpPr>
          <p:cNvPr id="24" name="矩形 23"/>
          <p:cNvSpPr/>
          <p:nvPr/>
        </p:nvSpPr>
        <p:spPr>
          <a:xfrm>
            <a:off x="9684295" y="1996947"/>
            <a:ext cx="2221959" cy="437043"/>
          </a:xfrm>
          <a:prstGeom prst="rect">
            <a:avLst/>
          </a:prstGeom>
        </p:spPr>
        <p:txBody>
          <a:bodyPr wrap="square">
            <a:spAutoFit/>
          </a:bodyPr>
          <a:lstStyle/>
          <a:p>
            <a:pPr marL="0" marR="0" lvl="0" indent="0" algn="l" defTabSz="914400" rtl="0" eaLnBrk="1" fontAlgn="auto" latinLnBrk="1" hangingPunct="1">
              <a:lnSpc>
                <a:spcPct val="80000"/>
              </a:lnSpc>
              <a:spcBef>
                <a:spcPct val="20000"/>
              </a:spcBef>
              <a:spcAft>
                <a:spcPct val="0"/>
              </a:spcAft>
              <a:buClrTx/>
              <a:buSzTx/>
              <a:buFontTx/>
              <a:buNone/>
              <a:defRPr/>
            </a:pP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在</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深圳、重庆</a:t>
            </a:r>
            <a:r>
              <a:rPr kumimoji="0" lang="zh-CN" altLang="en-US" sz="14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rPr>
              <a:t>等多个大型城市试点并逐步推广</a:t>
            </a:r>
            <a:endParaRPr kumimoji="0" lang="zh-CN" altLang="en-US" sz="14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25" name="矩形 24"/>
          <p:cNvSpPr/>
          <p:nvPr/>
        </p:nvSpPr>
        <p:spPr>
          <a:xfrm>
            <a:off x="5605271" y="3098271"/>
            <a:ext cx="1203823" cy="403253"/>
          </a:xfrm>
          <a:prstGeom prst="rect">
            <a:avLst/>
          </a:prstGeom>
          <a:noFill/>
          <a:ln w="25400" cap="flat" cmpd="sng" algn="ctr">
            <a:noFill/>
            <a:prstDash val="solid"/>
          </a:ln>
          <a:effectLst/>
        </p:spPr>
        <p:txBody>
          <a:bodyPr lIns="91420" tIns="45711" rIns="91420" bIns="45711" rtlCol="0" anchor="ctr"/>
          <a:lstStyle/>
          <a:p>
            <a:pPr marL="0" marR="0" lvl="0" indent="0" algn="ctr" defTabSz="932815" rtl="0" eaLnBrk="1" fontAlgn="auto" latinLnBrk="0" hangingPunct="1">
              <a:lnSpc>
                <a:spcPct val="80000"/>
              </a:lnSpc>
              <a:spcBef>
                <a:spcPct val="20000"/>
              </a:spcBef>
              <a:spcAft>
                <a:spcPct val="0"/>
              </a:spcAft>
              <a:buClrTx/>
              <a:buSzTx/>
              <a:buFontTx/>
              <a:buNone/>
              <a:defRPr/>
            </a:pPr>
            <a:r>
              <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智慧法律</a:t>
            </a:r>
            <a:endPar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endParaRPr>
          </a:p>
        </p:txBody>
      </p:sp>
      <p:sp>
        <p:nvSpPr>
          <p:cNvPr id="26" name="矩形 25"/>
          <p:cNvSpPr/>
          <p:nvPr/>
        </p:nvSpPr>
        <p:spPr>
          <a:xfrm>
            <a:off x="5091971" y="3606071"/>
            <a:ext cx="2221959" cy="616323"/>
          </a:xfrm>
          <a:prstGeom prst="rect">
            <a:avLst/>
          </a:prstGeom>
        </p:spPr>
        <p:txBody>
          <a:bodyPr wrap="square">
            <a:spAutoFit/>
          </a:bodyPr>
          <a:lstStyle/>
          <a:p>
            <a:pPr marL="0" marR="0" lvl="0" indent="0" algn="l" defTabSz="914400" rtl="0" eaLnBrk="1" fontAlgn="auto" latinLnBrk="1" hangingPunct="1">
              <a:lnSpc>
                <a:spcPct val="80000"/>
              </a:lnSpc>
              <a:spcBef>
                <a:spcPct val="20000"/>
              </a:spcBef>
              <a:spcAft>
                <a:spcPct val="0"/>
              </a:spcAft>
              <a:buClrTx/>
              <a:buSzTx/>
              <a:buFontTx/>
              <a:buNone/>
              <a:defRPr/>
            </a:pP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与</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深圳、上海</a:t>
            </a: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等</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多个城市</a:t>
            </a: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的</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公检法及仲裁机构</a:t>
            </a: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合作推广</a:t>
            </a:r>
            <a:endPar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p:txBody>
      </p:sp>
      <p:pic>
        <p:nvPicPr>
          <p:cNvPr id="27" name="Picture 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5148891" y="3036764"/>
            <a:ext cx="515718" cy="515718"/>
          </a:xfrm>
          <a:prstGeom prst="rect">
            <a:avLst/>
          </a:prstGeom>
        </p:spPr>
      </p:pic>
      <p:pic>
        <p:nvPicPr>
          <p:cNvPr id="28"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99772" y="5806336"/>
            <a:ext cx="488272" cy="488272"/>
          </a:xfrm>
          <a:prstGeom prst="rect">
            <a:avLst/>
          </a:prstGeom>
        </p:spPr>
      </p:pic>
      <p:sp>
        <p:nvSpPr>
          <p:cNvPr id="29" name="front-of-bus_308"/>
          <p:cNvSpPr>
            <a:spLocks noChangeAspect="1"/>
          </p:cNvSpPr>
          <p:nvPr/>
        </p:nvSpPr>
        <p:spPr bwMode="auto">
          <a:xfrm>
            <a:off x="2936729" y="1473650"/>
            <a:ext cx="392170" cy="403253"/>
          </a:xfrm>
          <a:custGeom>
            <a:avLst/>
            <a:gdLst>
              <a:gd name="T0" fmla="*/ 526 w 554"/>
              <a:gd name="T1" fmla="*/ 166 h 624"/>
              <a:gd name="T2" fmla="*/ 501 w 554"/>
              <a:gd name="T3" fmla="*/ 65 h 624"/>
              <a:gd name="T4" fmla="*/ 48 w 554"/>
              <a:gd name="T5" fmla="*/ 65 h 624"/>
              <a:gd name="T6" fmla="*/ 27 w 554"/>
              <a:gd name="T7" fmla="*/ 166 h 624"/>
              <a:gd name="T8" fmla="*/ 0 w 554"/>
              <a:gd name="T9" fmla="*/ 196 h 624"/>
              <a:gd name="T10" fmla="*/ 0 w 554"/>
              <a:gd name="T11" fmla="*/ 256 h 624"/>
              <a:gd name="T12" fmla="*/ 20 w 554"/>
              <a:gd name="T13" fmla="*/ 284 h 624"/>
              <a:gd name="T14" fmla="*/ 23 w 554"/>
              <a:gd name="T15" fmla="*/ 523 h 624"/>
              <a:gd name="T16" fmla="*/ 48 w 554"/>
              <a:gd name="T17" fmla="*/ 555 h 624"/>
              <a:gd name="T18" fmla="*/ 72 w 554"/>
              <a:gd name="T19" fmla="*/ 555 h 624"/>
              <a:gd name="T20" fmla="*/ 72 w 554"/>
              <a:gd name="T21" fmla="*/ 595 h 624"/>
              <a:gd name="T22" fmla="*/ 109 w 554"/>
              <a:gd name="T23" fmla="*/ 624 h 624"/>
              <a:gd name="T24" fmla="*/ 146 w 554"/>
              <a:gd name="T25" fmla="*/ 595 h 624"/>
              <a:gd name="T26" fmla="*/ 146 w 554"/>
              <a:gd name="T27" fmla="*/ 555 h 624"/>
              <a:gd name="T28" fmla="*/ 419 w 554"/>
              <a:gd name="T29" fmla="*/ 555 h 624"/>
              <a:gd name="T30" fmla="*/ 419 w 554"/>
              <a:gd name="T31" fmla="*/ 595 h 624"/>
              <a:gd name="T32" fmla="*/ 456 w 554"/>
              <a:gd name="T33" fmla="*/ 624 h 624"/>
              <a:gd name="T34" fmla="*/ 493 w 554"/>
              <a:gd name="T35" fmla="*/ 595 h 624"/>
              <a:gd name="T36" fmla="*/ 493 w 554"/>
              <a:gd name="T37" fmla="*/ 555 h 624"/>
              <a:gd name="T38" fmla="*/ 501 w 554"/>
              <a:gd name="T39" fmla="*/ 555 h 624"/>
              <a:gd name="T40" fmla="*/ 532 w 554"/>
              <a:gd name="T41" fmla="*/ 541 h 624"/>
              <a:gd name="T42" fmla="*/ 533 w 554"/>
              <a:gd name="T43" fmla="*/ 285 h 624"/>
              <a:gd name="T44" fmla="*/ 554 w 554"/>
              <a:gd name="T45" fmla="*/ 256 h 624"/>
              <a:gd name="T46" fmla="*/ 554 w 554"/>
              <a:gd name="T47" fmla="*/ 196 h 624"/>
              <a:gd name="T48" fmla="*/ 526 w 554"/>
              <a:gd name="T49" fmla="*/ 166 h 624"/>
              <a:gd name="T50" fmla="*/ 136 w 554"/>
              <a:gd name="T51" fmla="*/ 74 h 624"/>
              <a:gd name="T52" fmla="*/ 413 w 554"/>
              <a:gd name="T53" fmla="*/ 74 h 624"/>
              <a:gd name="T54" fmla="*/ 413 w 554"/>
              <a:gd name="T55" fmla="*/ 116 h 624"/>
              <a:gd name="T56" fmla="*/ 136 w 554"/>
              <a:gd name="T57" fmla="*/ 116 h 624"/>
              <a:gd name="T58" fmla="*/ 136 w 554"/>
              <a:gd name="T59" fmla="*/ 74 h 624"/>
              <a:gd name="T60" fmla="*/ 140 w 554"/>
              <a:gd name="T61" fmla="*/ 507 h 624"/>
              <a:gd name="T62" fmla="*/ 101 w 554"/>
              <a:gd name="T63" fmla="*/ 468 h 624"/>
              <a:gd name="T64" fmla="*/ 140 w 554"/>
              <a:gd name="T65" fmla="*/ 428 h 624"/>
              <a:gd name="T66" fmla="*/ 180 w 554"/>
              <a:gd name="T67" fmla="*/ 468 h 624"/>
              <a:gd name="T68" fmla="*/ 140 w 554"/>
              <a:gd name="T69" fmla="*/ 507 h 624"/>
              <a:gd name="T70" fmla="*/ 411 w 554"/>
              <a:gd name="T71" fmla="*/ 507 h 624"/>
              <a:gd name="T72" fmla="*/ 372 w 554"/>
              <a:gd name="T73" fmla="*/ 468 h 624"/>
              <a:gd name="T74" fmla="*/ 411 w 554"/>
              <a:gd name="T75" fmla="*/ 428 h 624"/>
              <a:gd name="T76" fmla="*/ 451 w 554"/>
              <a:gd name="T77" fmla="*/ 468 h 624"/>
              <a:gd name="T78" fmla="*/ 411 w 554"/>
              <a:gd name="T79" fmla="*/ 507 h 624"/>
              <a:gd name="T80" fmla="*/ 461 w 554"/>
              <a:gd name="T81" fmla="*/ 335 h 624"/>
              <a:gd name="T82" fmla="*/ 88 w 554"/>
              <a:gd name="T83" fmla="*/ 335 h 624"/>
              <a:gd name="T84" fmla="*/ 88 w 554"/>
              <a:gd name="T85" fmla="*/ 139 h 624"/>
              <a:gd name="T86" fmla="*/ 461 w 554"/>
              <a:gd name="T87" fmla="*/ 139 h 624"/>
              <a:gd name="T88" fmla="*/ 461 w 554"/>
              <a:gd name="T89" fmla="*/ 335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4" h="624">
                <a:moveTo>
                  <a:pt x="526" y="166"/>
                </a:moveTo>
                <a:cubicBezTo>
                  <a:pt x="521" y="118"/>
                  <a:pt x="513" y="80"/>
                  <a:pt x="501" y="65"/>
                </a:cubicBezTo>
                <a:cubicBezTo>
                  <a:pt x="449" y="4"/>
                  <a:pt x="89" y="0"/>
                  <a:pt x="48" y="65"/>
                </a:cubicBezTo>
                <a:cubicBezTo>
                  <a:pt x="38" y="81"/>
                  <a:pt x="31" y="119"/>
                  <a:pt x="27" y="166"/>
                </a:cubicBezTo>
                <a:cubicBezTo>
                  <a:pt x="12" y="168"/>
                  <a:pt x="0" y="181"/>
                  <a:pt x="0" y="196"/>
                </a:cubicBezTo>
                <a:lnTo>
                  <a:pt x="0" y="256"/>
                </a:lnTo>
                <a:cubicBezTo>
                  <a:pt x="0" y="269"/>
                  <a:pt x="8" y="280"/>
                  <a:pt x="20" y="284"/>
                </a:cubicBezTo>
                <a:cubicBezTo>
                  <a:pt x="17" y="378"/>
                  <a:pt x="19" y="475"/>
                  <a:pt x="23" y="523"/>
                </a:cubicBezTo>
                <a:cubicBezTo>
                  <a:pt x="23" y="561"/>
                  <a:pt x="48" y="555"/>
                  <a:pt x="48" y="555"/>
                </a:cubicBezTo>
                <a:lnTo>
                  <a:pt x="72" y="555"/>
                </a:lnTo>
                <a:lnTo>
                  <a:pt x="72" y="595"/>
                </a:lnTo>
                <a:cubicBezTo>
                  <a:pt x="72" y="611"/>
                  <a:pt x="88" y="624"/>
                  <a:pt x="109" y="624"/>
                </a:cubicBezTo>
                <a:cubicBezTo>
                  <a:pt x="129" y="624"/>
                  <a:pt x="146" y="611"/>
                  <a:pt x="146" y="595"/>
                </a:cubicBezTo>
                <a:lnTo>
                  <a:pt x="146" y="555"/>
                </a:lnTo>
                <a:lnTo>
                  <a:pt x="419" y="555"/>
                </a:lnTo>
                <a:lnTo>
                  <a:pt x="419" y="595"/>
                </a:lnTo>
                <a:cubicBezTo>
                  <a:pt x="419" y="611"/>
                  <a:pt x="436" y="624"/>
                  <a:pt x="456" y="624"/>
                </a:cubicBezTo>
                <a:cubicBezTo>
                  <a:pt x="477" y="624"/>
                  <a:pt x="493" y="611"/>
                  <a:pt x="493" y="595"/>
                </a:cubicBezTo>
                <a:lnTo>
                  <a:pt x="493" y="555"/>
                </a:lnTo>
                <a:lnTo>
                  <a:pt x="501" y="555"/>
                </a:lnTo>
                <a:cubicBezTo>
                  <a:pt x="501" y="555"/>
                  <a:pt x="530" y="559"/>
                  <a:pt x="532" y="541"/>
                </a:cubicBezTo>
                <a:cubicBezTo>
                  <a:pt x="532" y="493"/>
                  <a:pt x="535" y="386"/>
                  <a:pt x="533" y="285"/>
                </a:cubicBezTo>
                <a:cubicBezTo>
                  <a:pt x="545" y="281"/>
                  <a:pt x="554" y="269"/>
                  <a:pt x="554" y="256"/>
                </a:cubicBezTo>
                <a:lnTo>
                  <a:pt x="554" y="196"/>
                </a:lnTo>
                <a:cubicBezTo>
                  <a:pt x="554" y="180"/>
                  <a:pt x="542" y="167"/>
                  <a:pt x="526" y="166"/>
                </a:cubicBezTo>
                <a:close/>
                <a:moveTo>
                  <a:pt x="136" y="74"/>
                </a:moveTo>
                <a:lnTo>
                  <a:pt x="413" y="74"/>
                </a:lnTo>
                <a:lnTo>
                  <a:pt x="413" y="116"/>
                </a:lnTo>
                <a:lnTo>
                  <a:pt x="136" y="116"/>
                </a:lnTo>
                <a:lnTo>
                  <a:pt x="136" y="74"/>
                </a:lnTo>
                <a:close/>
                <a:moveTo>
                  <a:pt x="140" y="507"/>
                </a:moveTo>
                <a:cubicBezTo>
                  <a:pt x="119" y="507"/>
                  <a:pt x="101" y="489"/>
                  <a:pt x="101" y="468"/>
                </a:cubicBezTo>
                <a:cubicBezTo>
                  <a:pt x="101" y="446"/>
                  <a:pt x="119" y="428"/>
                  <a:pt x="140" y="428"/>
                </a:cubicBezTo>
                <a:cubicBezTo>
                  <a:pt x="162" y="428"/>
                  <a:pt x="180" y="446"/>
                  <a:pt x="180" y="468"/>
                </a:cubicBezTo>
                <a:cubicBezTo>
                  <a:pt x="180" y="489"/>
                  <a:pt x="162" y="507"/>
                  <a:pt x="140" y="507"/>
                </a:cubicBezTo>
                <a:close/>
                <a:moveTo>
                  <a:pt x="411" y="507"/>
                </a:moveTo>
                <a:cubicBezTo>
                  <a:pt x="390" y="507"/>
                  <a:pt x="372" y="489"/>
                  <a:pt x="372" y="468"/>
                </a:cubicBezTo>
                <a:cubicBezTo>
                  <a:pt x="372" y="446"/>
                  <a:pt x="390" y="428"/>
                  <a:pt x="411" y="428"/>
                </a:cubicBezTo>
                <a:cubicBezTo>
                  <a:pt x="433" y="428"/>
                  <a:pt x="451" y="446"/>
                  <a:pt x="451" y="468"/>
                </a:cubicBezTo>
                <a:cubicBezTo>
                  <a:pt x="451" y="489"/>
                  <a:pt x="433" y="507"/>
                  <a:pt x="411" y="507"/>
                </a:cubicBezTo>
                <a:close/>
                <a:moveTo>
                  <a:pt x="461" y="335"/>
                </a:moveTo>
                <a:lnTo>
                  <a:pt x="88" y="335"/>
                </a:lnTo>
                <a:lnTo>
                  <a:pt x="88" y="139"/>
                </a:lnTo>
                <a:lnTo>
                  <a:pt x="461" y="139"/>
                </a:lnTo>
                <a:lnTo>
                  <a:pt x="461" y="335"/>
                </a:lnTo>
                <a:close/>
              </a:path>
            </a:pathLst>
          </a:custGeom>
          <a:solidFill>
            <a:srgbClr val="FF3300"/>
          </a:solidFill>
          <a:ln>
            <a:noFill/>
          </a:ln>
        </p:spPr>
        <p:style>
          <a:lnRef idx="3">
            <a:schemeClr val="lt1"/>
          </a:lnRef>
          <a:fillRef idx="1">
            <a:schemeClr val="accent2"/>
          </a:fillRef>
          <a:effectRef idx="1">
            <a:schemeClr val="accent2"/>
          </a:effectRef>
          <a:fontRef idx="minor">
            <a:schemeClr val="lt1"/>
          </a:fontRef>
        </p:style>
        <p:txBody>
          <a:bodyPr/>
          <a:lstStyle/>
          <a:p>
            <a:pPr marL="0" marR="0" lvl="0" indent="0" algn="l" defTabSz="914400" rtl="0" eaLnBrk="1" fontAlgn="auto" latinLnBrk="0" hangingPunct="1">
              <a:lnSpc>
                <a:spcPct val="80000"/>
              </a:lnSpc>
              <a:spcBef>
                <a:spcPct val="20000"/>
              </a:spcBef>
              <a:spcAft>
                <a:spcPct val="0"/>
              </a:spcAft>
              <a:buClrTx/>
              <a:buSzTx/>
              <a:buFontTx/>
              <a:buNone/>
              <a:defRPr/>
            </a:pPr>
            <a:endParaRPr kumimoji="0" lang="zh-CN" altLang="en-US" sz="2000" b="0" i="0" u="none" strike="noStrike" kern="1200" cap="none" spc="0" normalizeH="0" baseline="0" noProof="0">
              <a:ln>
                <a:noFill/>
              </a:ln>
              <a:solidFill>
                <a:schemeClr val="tx1"/>
              </a:solidFill>
              <a:effectLst/>
              <a:uLnTx/>
              <a:uFillTx/>
              <a:latin typeface="华文楷体" panose="02010600040101010101" charset="-122"/>
              <a:ea typeface="华文楷体" panose="02010600040101010101" charset="-122"/>
              <a:cs typeface="+mn-cs"/>
            </a:endParaRPr>
          </a:p>
        </p:txBody>
      </p:sp>
      <p:sp>
        <p:nvSpPr>
          <p:cNvPr id="30" name="矩形 29"/>
          <p:cNvSpPr/>
          <p:nvPr/>
        </p:nvSpPr>
        <p:spPr>
          <a:xfrm>
            <a:off x="3447507" y="1481164"/>
            <a:ext cx="1112826" cy="403253"/>
          </a:xfrm>
          <a:prstGeom prst="rect">
            <a:avLst/>
          </a:prstGeom>
          <a:noFill/>
          <a:ln w="25400" cap="flat" cmpd="sng" algn="ctr">
            <a:noFill/>
            <a:prstDash val="solid"/>
          </a:ln>
          <a:effectLst/>
        </p:spPr>
        <p:txBody>
          <a:bodyPr lIns="91420" tIns="45711" rIns="91420" bIns="45711" rtlCol="0" anchor="ctr"/>
          <a:lstStyle/>
          <a:p>
            <a:pPr marL="0" marR="0" lvl="0" indent="0" algn="ctr" defTabSz="932815" rtl="0" eaLnBrk="1" fontAlgn="auto" latinLnBrk="0" hangingPunct="1">
              <a:lnSpc>
                <a:spcPct val="80000"/>
              </a:lnSpc>
              <a:spcBef>
                <a:spcPct val="20000"/>
              </a:spcBef>
              <a:spcAft>
                <a:spcPct val="0"/>
              </a:spcAft>
              <a:buClrTx/>
              <a:buSzTx/>
              <a:buFontTx/>
              <a:buNone/>
              <a:defRPr/>
            </a:pPr>
            <a:r>
              <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智慧</a:t>
            </a:r>
            <a:r>
              <a:rPr kumimoji="1" lang="zh-TW"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交通</a:t>
            </a:r>
            <a:endPar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endParaRPr>
          </a:p>
        </p:txBody>
      </p:sp>
      <p:sp>
        <p:nvSpPr>
          <p:cNvPr id="31" name="矩形 30"/>
          <p:cNvSpPr/>
          <p:nvPr/>
        </p:nvSpPr>
        <p:spPr>
          <a:xfrm>
            <a:off x="2900635" y="1986828"/>
            <a:ext cx="2221959" cy="443968"/>
          </a:xfrm>
          <a:prstGeom prst="rect">
            <a:avLst/>
          </a:prstGeom>
        </p:spPr>
        <p:txBody>
          <a:bodyPr wrap="square">
            <a:spAutoFit/>
          </a:bodyPr>
          <a:lstStyle/>
          <a:p>
            <a:pPr marL="0" marR="0" lvl="0" indent="0" algn="l" defTabSz="914400" rtl="0" eaLnBrk="1" fontAlgn="auto" latinLnBrk="1" hangingPunct="1">
              <a:lnSpc>
                <a:spcPct val="80000"/>
              </a:lnSpc>
              <a:spcBef>
                <a:spcPct val="20000"/>
              </a:spcBef>
              <a:spcAft>
                <a:spcPct val="0"/>
              </a:spcAft>
              <a:buClrTx/>
              <a:buSzTx/>
              <a:buFontTx/>
              <a:buNone/>
              <a:defRPr/>
            </a:pPr>
            <a:r>
              <a:rPr kumimoji="0" lang="zh-CN" altLang="zh-CN"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在</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深圳</a:t>
            </a:r>
            <a:r>
              <a:rPr kumimoji="0" lang="zh-CN" altLang="zh-CN"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等</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十多个</a:t>
            </a: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城市落地、推广</a:t>
            </a:r>
            <a:endPar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p:txBody>
      </p:sp>
      <p:sp>
        <p:nvSpPr>
          <p:cNvPr id="32" name="矩形 31"/>
          <p:cNvSpPr/>
          <p:nvPr/>
        </p:nvSpPr>
        <p:spPr>
          <a:xfrm>
            <a:off x="10196910" y="3088824"/>
            <a:ext cx="1263482" cy="403253"/>
          </a:xfrm>
          <a:prstGeom prst="rect">
            <a:avLst/>
          </a:prstGeom>
          <a:noFill/>
          <a:ln w="25400" cap="flat" cmpd="sng" algn="ctr">
            <a:noFill/>
            <a:prstDash val="solid"/>
          </a:ln>
          <a:effectLst/>
        </p:spPr>
        <p:txBody>
          <a:bodyPr lIns="91420" tIns="45711" rIns="91420" bIns="45711" rtlCol="0" anchor="ctr"/>
          <a:lstStyle/>
          <a:p>
            <a:pPr marL="0" marR="0" lvl="0" indent="0" algn="ctr" defTabSz="932815" rtl="0" eaLnBrk="1" fontAlgn="auto" latinLnBrk="0" hangingPunct="1">
              <a:lnSpc>
                <a:spcPct val="80000"/>
              </a:lnSpc>
              <a:spcBef>
                <a:spcPct val="20000"/>
              </a:spcBef>
              <a:spcAft>
                <a:spcPct val="0"/>
              </a:spcAft>
              <a:buClrTx/>
              <a:buSzTx/>
              <a:buFontTx/>
              <a:buNone/>
              <a:defRPr/>
            </a:pPr>
            <a:r>
              <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智慧政务</a:t>
            </a:r>
            <a:endPar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endParaRPr>
          </a:p>
        </p:txBody>
      </p:sp>
      <p:sp>
        <p:nvSpPr>
          <p:cNvPr id="33" name="capitol_273677"/>
          <p:cNvSpPr>
            <a:spLocks noChangeAspect="1"/>
          </p:cNvSpPr>
          <p:nvPr/>
        </p:nvSpPr>
        <p:spPr bwMode="auto">
          <a:xfrm>
            <a:off x="9710335" y="3058828"/>
            <a:ext cx="423218" cy="403253"/>
          </a:xfrm>
          <a:custGeom>
            <a:avLst/>
            <a:gdLst>
              <a:gd name="T0" fmla="*/ 225185 h 604667"/>
              <a:gd name="T1" fmla="*/ 225185 h 604667"/>
              <a:gd name="T2" fmla="*/ 225185 h 604667"/>
              <a:gd name="T3" fmla="*/ 225185 h 604667"/>
              <a:gd name="T4" fmla="*/ 225185 h 604667"/>
              <a:gd name="T5" fmla="*/ 225185 h 604667"/>
              <a:gd name="T6" fmla="*/ 225185 h 604667"/>
              <a:gd name="T7" fmla="*/ 225185 h 604667"/>
              <a:gd name="T8" fmla="*/ 225185 h 604667"/>
              <a:gd name="T9" fmla="*/ 225185 h 604667"/>
              <a:gd name="T10" fmla="*/ 225185 h 604667"/>
              <a:gd name="T11" fmla="*/ 225185 h 604667"/>
              <a:gd name="T12" fmla="*/ 225185 h 604667"/>
              <a:gd name="T13" fmla="*/ 225185 h 604667"/>
              <a:gd name="T14" fmla="*/ 225185 h 604667"/>
              <a:gd name="T15" fmla="*/ 225185 h 604667"/>
              <a:gd name="T16" fmla="*/ 225185 h 604667"/>
              <a:gd name="T17" fmla="*/ 225185 h 604667"/>
              <a:gd name="T18" fmla="*/ 225185 h 604667"/>
              <a:gd name="T19" fmla="*/ 225185 h 604667"/>
              <a:gd name="T20" fmla="*/ 225185 h 604667"/>
              <a:gd name="T21" fmla="*/ 225185 h 604667"/>
              <a:gd name="T22" fmla="*/ 225185 h 604667"/>
              <a:gd name="T23" fmla="*/ 225185 h 604667"/>
              <a:gd name="T24" fmla="*/ 225185 h 604667"/>
              <a:gd name="T25" fmla="*/ 225185 h 604667"/>
              <a:gd name="T26" fmla="*/ 225185 h 604667"/>
              <a:gd name="T27" fmla="*/ 225185 h 604667"/>
              <a:gd name="T28" fmla="*/ 225185 h 604667"/>
              <a:gd name="T29" fmla="*/ 225185 h 604667"/>
              <a:gd name="T30" fmla="*/ 225185 h 604667"/>
              <a:gd name="T31" fmla="*/ 225185 h 604667"/>
              <a:gd name="T32" fmla="*/ 225185 h 604667"/>
              <a:gd name="T33" fmla="*/ 225185 h 604667"/>
              <a:gd name="T34" fmla="*/ 225185 h 604667"/>
              <a:gd name="T35" fmla="*/ 225185 h 604667"/>
              <a:gd name="T36" fmla="*/ 225185 h 604667"/>
              <a:gd name="T37" fmla="*/ 225185 h 604667"/>
              <a:gd name="T38" fmla="*/ 225185 h 604667"/>
              <a:gd name="T39" fmla="*/ 225185 h 604667"/>
              <a:gd name="T40" fmla="*/ 225185 h 604667"/>
              <a:gd name="T41" fmla="*/ 225185 h 604667"/>
              <a:gd name="T42" fmla="*/ 225185 h 604667"/>
              <a:gd name="T43" fmla="*/ 225185 h 604667"/>
              <a:gd name="T44" fmla="*/ 225185 h 604667"/>
              <a:gd name="T45" fmla="*/ 225185 h 604667"/>
              <a:gd name="T46" fmla="*/ 225185 h 604667"/>
              <a:gd name="T47" fmla="*/ 225185 h 604667"/>
              <a:gd name="T48" fmla="*/ 225185 h 604667"/>
              <a:gd name="T49" fmla="*/ 225185 h 604667"/>
              <a:gd name="T50" fmla="*/ 225185 h 604667"/>
              <a:gd name="T51" fmla="*/ 225185 h 604667"/>
              <a:gd name="T52" fmla="*/ 225185 h 604667"/>
              <a:gd name="T53" fmla="*/ 225185 h 604667"/>
              <a:gd name="T54" fmla="*/ 225185 h 604667"/>
              <a:gd name="T55" fmla="*/ 225185 h 604667"/>
              <a:gd name="T56" fmla="*/ 225185 h 604667"/>
              <a:gd name="T57" fmla="*/ 225185 h 604667"/>
              <a:gd name="T58" fmla="*/ 225185 h 604667"/>
              <a:gd name="T59" fmla="*/ 225185 h 604667"/>
              <a:gd name="T60" fmla="*/ 225185 h 604667"/>
              <a:gd name="T61" fmla="*/ 225185 h 604667"/>
              <a:gd name="T62" fmla="*/ 225185 h 604667"/>
              <a:gd name="T63" fmla="*/ 225185 h 604667"/>
              <a:gd name="T64" fmla="*/ 225185 h 604667"/>
              <a:gd name="T65" fmla="*/ 225185 h 604667"/>
              <a:gd name="T66" fmla="*/ 225185 h 604667"/>
              <a:gd name="T67" fmla="*/ 225185 h 604667"/>
              <a:gd name="T68" fmla="*/ 225185 h 604667"/>
              <a:gd name="T69" fmla="*/ 225185 h 604667"/>
              <a:gd name="T70" fmla="*/ 225185 h 604667"/>
              <a:gd name="T71" fmla="*/ 225185 h 604667"/>
              <a:gd name="T72" fmla="*/ 225185 h 604667"/>
              <a:gd name="T73" fmla="*/ 225185 h 604667"/>
              <a:gd name="T74" fmla="*/ 225185 h 604667"/>
              <a:gd name="T75" fmla="*/ 225185 h 604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42" h="6827">
                <a:moveTo>
                  <a:pt x="6116" y="5973"/>
                </a:moveTo>
                <a:lnTo>
                  <a:pt x="5974" y="5973"/>
                </a:lnTo>
                <a:lnTo>
                  <a:pt x="5974" y="5831"/>
                </a:lnTo>
                <a:cubicBezTo>
                  <a:pt x="5974" y="5753"/>
                  <a:pt x="5910" y="5689"/>
                  <a:pt x="5831" y="5689"/>
                </a:cubicBezTo>
                <a:lnTo>
                  <a:pt x="5405" y="5689"/>
                </a:lnTo>
                <a:lnTo>
                  <a:pt x="5405" y="4267"/>
                </a:lnTo>
                <a:lnTo>
                  <a:pt x="5547" y="4267"/>
                </a:lnTo>
                <a:cubicBezTo>
                  <a:pt x="5782" y="4267"/>
                  <a:pt x="5974" y="4075"/>
                  <a:pt x="5974" y="3840"/>
                </a:cubicBezTo>
                <a:cubicBezTo>
                  <a:pt x="5974" y="3605"/>
                  <a:pt x="5782" y="3413"/>
                  <a:pt x="5547" y="3413"/>
                </a:cubicBezTo>
                <a:lnTo>
                  <a:pt x="5397" y="3413"/>
                </a:lnTo>
                <a:cubicBezTo>
                  <a:pt x="5333" y="2441"/>
                  <a:pt x="4615" y="1644"/>
                  <a:pt x="3679" y="1462"/>
                </a:cubicBezTo>
                <a:cubicBezTo>
                  <a:pt x="3644" y="1324"/>
                  <a:pt x="3546" y="1212"/>
                  <a:pt x="3414" y="1165"/>
                </a:cubicBezTo>
                <a:lnTo>
                  <a:pt x="3414" y="853"/>
                </a:lnTo>
                <a:lnTo>
                  <a:pt x="4125" y="853"/>
                </a:lnTo>
                <a:cubicBezTo>
                  <a:pt x="4182" y="853"/>
                  <a:pt x="4234" y="819"/>
                  <a:pt x="4256" y="765"/>
                </a:cubicBezTo>
                <a:cubicBezTo>
                  <a:pt x="4278" y="712"/>
                  <a:pt x="4266" y="651"/>
                  <a:pt x="4225" y="610"/>
                </a:cubicBezTo>
                <a:lnTo>
                  <a:pt x="4042" y="427"/>
                </a:lnTo>
                <a:lnTo>
                  <a:pt x="4225" y="243"/>
                </a:lnTo>
                <a:cubicBezTo>
                  <a:pt x="4266" y="202"/>
                  <a:pt x="4278" y="141"/>
                  <a:pt x="4256" y="88"/>
                </a:cubicBezTo>
                <a:cubicBezTo>
                  <a:pt x="4234" y="35"/>
                  <a:pt x="4182" y="0"/>
                  <a:pt x="4125" y="0"/>
                </a:cubicBezTo>
                <a:lnTo>
                  <a:pt x="3271" y="0"/>
                </a:lnTo>
                <a:cubicBezTo>
                  <a:pt x="3193" y="0"/>
                  <a:pt x="3129" y="64"/>
                  <a:pt x="3129" y="142"/>
                </a:cubicBezTo>
                <a:lnTo>
                  <a:pt x="3129" y="1164"/>
                </a:lnTo>
                <a:cubicBezTo>
                  <a:pt x="2995" y="1212"/>
                  <a:pt x="2892" y="1324"/>
                  <a:pt x="2858" y="1463"/>
                </a:cubicBezTo>
                <a:cubicBezTo>
                  <a:pt x="1924" y="1647"/>
                  <a:pt x="1210" y="2443"/>
                  <a:pt x="1145" y="3413"/>
                </a:cubicBezTo>
                <a:lnTo>
                  <a:pt x="996" y="3413"/>
                </a:lnTo>
                <a:cubicBezTo>
                  <a:pt x="761" y="3413"/>
                  <a:pt x="569" y="3605"/>
                  <a:pt x="569" y="3840"/>
                </a:cubicBezTo>
                <a:cubicBezTo>
                  <a:pt x="569" y="4075"/>
                  <a:pt x="761" y="4267"/>
                  <a:pt x="996" y="4267"/>
                </a:cubicBezTo>
                <a:lnTo>
                  <a:pt x="1138" y="4267"/>
                </a:lnTo>
                <a:lnTo>
                  <a:pt x="1138" y="5689"/>
                </a:lnTo>
                <a:lnTo>
                  <a:pt x="711" y="5689"/>
                </a:lnTo>
                <a:cubicBezTo>
                  <a:pt x="633" y="5689"/>
                  <a:pt x="569" y="5753"/>
                  <a:pt x="569" y="5831"/>
                </a:cubicBezTo>
                <a:lnTo>
                  <a:pt x="569" y="5973"/>
                </a:lnTo>
                <a:lnTo>
                  <a:pt x="427" y="5973"/>
                </a:lnTo>
                <a:cubicBezTo>
                  <a:pt x="192" y="5973"/>
                  <a:pt x="0" y="6165"/>
                  <a:pt x="0" y="6400"/>
                </a:cubicBezTo>
                <a:lnTo>
                  <a:pt x="0" y="6684"/>
                </a:lnTo>
                <a:cubicBezTo>
                  <a:pt x="0" y="6763"/>
                  <a:pt x="64" y="6827"/>
                  <a:pt x="142" y="6827"/>
                </a:cubicBezTo>
                <a:lnTo>
                  <a:pt x="6400" y="6827"/>
                </a:lnTo>
                <a:cubicBezTo>
                  <a:pt x="6479" y="6827"/>
                  <a:pt x="6542" y="6763"/>
                  <a:pt x="6542" y="6684"/>
                </a:cubicBezTo>
                <a:lnTo>
                  <a:pt x="6542" y="6400"/>
                </a:lnTo>
                <a:cubicBezTo>
                  <a:pt x="6542" y="6165"/>
                  <a:pt x="6351" y="5973"/>
                  <a:pt x="6116" y="5973"/>
                </a:cubicBezTo>
                <a:close/>
                <a:moveTo>
                  <a:pt x="1707" y="5689"/>
                </a:moveTo>
                <a:lnTo>
                  <a:pt x="1422" y="5689"/>
                </a:lnTo>
                <a:lnTo>
                  <a:pt x="1422" y="4267"/>
                </a:lnTo>
                <a:lnTo>
                  <a:pt x="1707" y="4267"/>
                </a:lnTo>
                <a:lnTo>
                  <a:pt x="1707" y="5689"/>
                </a:lnTo>
                <a:close/>
                <a:moveTo>
                  <a:pt x="2276" y="5689"/>
                </a:moveTo>
                <a:lnTo>
                  <a:pt x="1991" y="5689"/>
                </a:lnTo>
                <a:lnTo>
                  <a:pt x="1991" y="4267"/>
                </a:lnTo>
                <a:lnTo>
                  <a:pt x="2276" y="4267"/>
                </a:lnTo>
                <a:lnTo>
                  <a:pt x="2276" y="5689"/>
                </a:lnTo>
                <a:close/>
                <a:moveTo>
                  <a:pt x="2845" y="5689"/>
                </a:moveTo>
                <a:lnTo>
                  <a:pt x="2560" y="5689"/>
                </a:lnTo>
                <a:lnTo>
                  <a:pt x="2560" y="4267"/>
                </a:lnTo>
                <a:lnTo>
                  <a:pt x="2845" y="4267"/>
                </a:lnTo>
                <a:lnTo>
                  <a:pt x="2845" y="5689"/>
                </a:lnTo>
                <a:close/>
                <a:moveTo>
                  <a:pt x="3414" y="5689"/>
                </a:moveTo>
                <a:lnTo>
                  <a:pt x="3129" y="5689"/>
                </a:lnTo>
                <a:lnTo>
                  <a:pt x="3129" y="4267"/>
                </a:lnTo>
                <a:lnTo>
                  <a:pt x="3414" y="4267"/>
                </a:lnTo>
                <a:lnTo>
                  <a:pt x="3414" y="5689"/>
                </a:lnTo>
                <a:close/>
                <a:moveTo>
                  <a:pt x="3982" y="5689"/>
                </a:moveTo>
                <a:lnTo>
                  <a:pt x="3698" y="5689"/>
                </a:lnTo>
                <a:lnTo>
                  <a:pt x="3698" y="4267"/>
                </a:lnTo>
                <a:lnTo>
                  <a:pt x="3982" y="4267"/>
                </a:lnTo>
                <a:lnTo>
                  <a:pt x="3982" y="5689"/>
                </a:lnTo>
                <a:close/>
                <a:moveTo>
                  <a:pt x="4551" y="5689"/>
                </a:moveTo>
                <a:lnTo>
                  <a:pt x="4267" y="5689"/>
                </a:lnTo>
                <a:lnTo>
                  <a:pt x="4267" y="4267"/>
                </a:lnTo>
                <a:lnTo>
                  <a:pt x="4551" y="4267"/>
                </a:lnTo>
                <a:lnTo>
                  <a:pt x="4551" y="5689"/>
                </a:lnTo>
                <a:close/>
                <a:moveTo>
                  <a:pt x="5120" y="5689"/>
                </a:moveTo>
                <a:lnTo>
                  <a:pt x="4836" y="5689"/>
                </a:lnTo>
                <a:lnTo>
                  <a:pt x="4836" y="4267"/>
                </a:lnTo>
                <a:lnTo>
                  <a:pt x="5120" y="4267"/>
                </a:lnTo>
                <a:lnTo>
                  <a:pt x="5120" y="5689"/>
                </a:lnTo>
                <a:close/>
              </a:path>
            </a:pathLst>
          </a:custGeom>
          <a:solidFill>
            <a:srgbClr val="FF3300"/>
          </a:solidFill>
          <a:ln>
            <a:noFill/>
          </a:ln>
        </p:spPr>
        <p:style>
          <a:lnRef idx="3">
            <a:schemeClr val="lt1"/>
          </a:lnRef>
          <a:fillRef idx="1">
            <a:schemeClr val="accent2"/>
          </a:fillRef>
          <a:effectRef idx="1">
            <a:schemeClr val="accent2"/>
          </a:effectRef>
          <a:fontRef idx="minor">
            <a:schemeClr val="lt1"/>
          </a:fontRef>
        </p:style>
        <p:txBody>
          <a:bodyPr/>
          <a:lstStyle/>
          <a:p>
            <a:pPr marL="0" marR="0" lvl="0" indent="0" algn="l" defTabSz="914400" rtl="0" eaLnBrk="1" fontAlgn="auto" latinLnBrk="0" hangingPunct="1">
              <a:lnSpc>
                <a:spcPct val="80000"/>
              </a:lnSpc>
              <a:spcBef>
                <a:spcPct val="20000"/>
              </a:spcBef>
              <a:spcAft>
                <a:spcPct val="0"/>
              </a:spcAft>
              <a:buClrTx/>
              <a:buSzTx/>
              <a:buFontTx/>
              <a:buNone/>
              <a:defRPr/>
            </a:pPr>
            <a:endParaRPr kumimoji="0" lang="zh-CN" altLang="en-US" sz="2000" b="0" i="0" u="none" strike="noStrike" kern="1200" cap="none" spc="0" normalizeH="0" baseline="0" noProof="0">
              <a:ln>
                <a:noFill/>
              </a:ln>
              <a:solidFill>
                <a:schemeClr val="tx1"/>
              </a:solidFill>
              <a:effectLst/>
              <a:uLnTx/>
              <a:uFillTx/>
              <a:latin typeface="华文楷体" panose="02010600040101010101" charset="-122"/>
              <a:ea typeface="华文楷体" panose="02010600040101010101" charset="-122"/>
              <a:cs typeface="+mn-cs"/>
            </a:endParaRPr>
          </a:p>
        </p:txBody>
      </p:sp>
      <p:sp>
        <p:nvSpPr>
          <p:cNvPr id="34" name="矩形 33"/>
          <p:cNvSpPr/>
          <p:nvPr/>
        </p:nvSpPr>
        <p:spPr>
          <a:xfrm>
            <a:off x="7898514" y="3104123"/>
            <a:ext cx="1320240" cy="403253"/>
          </a:xfrm>
          <a:prstGeom prst="rect">
            <a:avLst/>
          </a:prstGeom>
          <a:noFill/>
          <a:ln w="25400" cap="flat" cmpd="sng" algn="ctr">
            <a:noFill/>
            <a:prstDash val="solid"/>
          </a:ln>
          <a:effectLst/>
        </p:spPr>
        <p:txBody>
          <a:bodyPr lIns="91420" tIns="45711" rIns="91420" bIns="45711" rtlCol="0" anchor="ctr"/>
          <a:lstStyle/>
          <a:p>
            <a:pPr marL="0" marR="0" lvl="0" indent="0" algn="ctr" defTabSz="932815" rtl="0" eaLnBrk="1" fontAlgn="auto" latinLnBrk="0" hangingPunct="1">
              <a:lnSpc>
                <a:spcPct val="80000"/>
              </a:lnSpc>
              <a:spcBef>
                <a:spcPct val="20000"/>
              </a:spcBef>
              <a:spcAft>
                <a:spcPct val="0"/>
              </a:spcAft>
              <a:buClrTx/>
              <a:buSzTx/>
              <a:buFontTx/>
              <a:buNone/>
              <a:defRPr/>
            </a:pPr>
            <a:r>
              <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智慧</a:t>
            </a:r>
            <a:r>
              <a:rPr kumimoji="1" lang="zh-TW"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rPr>
              <a:t>财政</a:t>
            </a:r>
            <a:endParaRPr kumimoji="1" lang="zh-CN" altLang="en-US" sz="1800" b="1" i="0" u="none" strike="noStrike" kern="0" cap="none" spc="0" normalizeH="0" baseline="0" noProof="0" dirty="0">
              <a:ln>
                <a:noFill/>
              </a:ln>
              <a:effectLst/>
              <a:uLnTx/>
              <a:uFillTx/>
              <a:latin typeface="华文楷体" panose="02010600040101010101" charset="-122"/>
              <a:ea typeface="华文楷体" panose="02010600040101010101" charset="-122"/>
              <a:cs typeface="+mn-ea"/>
              <a:sym typeface="+mn-lt"/>
            </a:endParaRPr>
          </a:p>
        </p:txBody>
      </p:sp>
      <p:sp>
        <p:nvSpPr>
          <p:cNvPr id="35" name="banking_156749"/>
          <p:cNvSpPr>
            <a:spLocks noChangeAspect="1"/>
          </p:cNvSpPr>
          <p:nvPr/>
        </p:nvSpPr>
        <p:spPr bwMode="auto">
          <a:xfrm>
            <a:off x="7414286" y="3101048"/>
            <a:ext cx="493016" cy="403253"/>
          </a:xfrm>
          <a:custGeom>
            <a:avLst/>
            <a:gdLst>
              <a:gd name="connsiteX0" fmla="*/ 62938 w 606580"/>
              <a:gd name="connsiteY0" fmla="*/ 487524 h 552386"/>
              <a:gd name="connsiteX1" fmla="*/ 62938 w 606580"/>
              <a:gd name="connsiteY1" fmla="*/ 514951 h 552386"/>
              <a:gd name="connsiteX2" fmla="*/ 543642 w 606580"/>
              <a:gd name="connsiteY2" fmla="*/ 514951 h 552386"/>
              <a:gd name="connsiteX3" fmla="*/ 543642 w 606580"/>
              <a:gd name="connsiteY3" fmla="*/ 487524 h 552386"/>
              <a:gd name="connsiteX4" fmla="*/ 25333 w 606580"/>
              <a:gd name="connsiteY4" fmla="*/ 449996 h 552386"/>
              <a:gd name="connsiteX5" fmla="*/ 581247 w 606580"/>
              <a:gd name="connsiteY5" fmla="*/ 449996 h 552386"/>
              <a:gd name="connsiteX6" fmla="*/ 581247 w 606580"/>
              <a:gd name="connsiteY6" fmla="*/ 552386 h 552386"/>
              <a:gd name="connsiteX7" fmla="*/ 25333 w 606580"/>
              <a:gd name="connsiteY7" fmla="*/ 552386 h 552386"/>
              <a:gd name="connsiteX8" fmla="*/ 296458 w 606580"/>
              <a:gd name="connsiteY8" fmla="*/ 248884 h 552386"/>
              <a:gd name="connsiteX9" fmla="*/ 315503 w 606580"/>
              <a:gd name="connsiteY9" fmla="*/ 248884 h 552386"/>
              <a:gd name="connsiteX10" fmla="*/ 315503 w 606580"/>
              <a:gd name="connsiteY10" fmla="*/ 266036 h 552386"/>
              <a:gd name="connsiteX11" fmla="*/ 343746 w 606580"/>
              <a:gd name="connsiteY11" fmla="*/ 272433 h 552386"/>
              <a:gd name="connsiteX12" fmla="*/ 338172 w 606580"/>
              <a:gd name="connsiteY12" fmla="*/ 294406 h 552386"/>
              <a:gd name="connsiteX13" fmla="*/ 310115 w 606580"/>
              <a:gd name="connsiteY13" fmla="*/ 287731 h 552386"/>
              <a:gd name="connsiteX14" fmla="*/ 293299 w 606580"/>
              <a:gd name="connsiteY14" fmla="*/ 298671 h 552386"/>
              <a:gd name="connsiteX15" fmla="*/ 316711 w 606580"/>
              <a:gd name="connsiteY15" fmla="*/ 315359 h 552386"/>
              <a:gd name="connsiteX16" fmla="*/ 349228 w 606580"/>
              <a:gd name="connsiteY16" fmla="*/ 351702 h 552386"/>
              <a:gd name="connsiteX17" fmla="*/ 314574 w 606580"/>
              <a:gd name="connsiteY17" fmla="*/ 387675 h 552386"/>
              <a:gd name="connsiteX18" fmla="*/ 314574 w 606580"/>
              <a:gd name="connsiteY18" fmla="*/ 407515 h 552386"/>
              <a:gd name="connsiteX19" fmla="*/ 295436 w 606580"/>
              <a:gd name="connsiteY19" fmla="*/ 407515 h 552386"/>
              <a:gd name="connsiteX20" fmla="*/ 295436 w 606580"/>
              <a:gd name="connsiteY20" fmla="*/ 389065 h 552386"/>
              <a:gd name="connsiteX21" fmla="*/ 262362 w 606580"/>
              <a:gd name="connsiteY21" fmla="*/ 380721 h 552386"/>
              <a:gd name="connsiteX22" fmla="*/ 268215 w 606580"/>
              <a:gd name="connsiteY22" fmla="*/ 358007 h 552386"/>
              <a:gd name="connsiteX23" fmla="*/ 300546 w 606580"/>
              <a:gd name="connsiteY23" fmla="*/ 366536 h 552386"/>
              <a:gd name="connsiteX24" fmla="*/ 319219 w 606580"/>
              <a:gd name="connsiteY24" fmla="*/ 354483 h 552386"/>
              <a:gd name="connsiteX25" fmla="*/ 298595 w 606580"/>
              <a:gd name="connsiteY25" fmla="*/ 337517 h 552386"/>
              <a:gd name="connsiteX26" fmla="*/ 263477 w 606580"/>
              <a:gd name="connsiteY26" fmla="*/ 302008 h 552386"/>
              <a:gd name="connsiteX27" fmla="*/ 296458 w 606580"/>
              <a:gd name="connsiteY27" fmla="*/ 267334 h 552386"/>
              <a:gd name="connsiteX28" fmla="*/ 463756 w 606580"/>
              <a:gd name="connsiteY28" fmla="*/ 229690 h 552386"/>
              <a:gd name="connsiteX29" fmla="*/ 520138 w 606580"/>
              <a:gd name="connsiteY29" fmla="*/ 229690 h 552386"/>
              <a:gd name="connsiteX30" fmla="*/ 520138 w 606580"/>
              <a:gd name="connsiteY30" fmla="*/ 421981 h 552386"/>
              <a:gd name="connsiteX31" fmla="*/ 463756 w 606580"/>
              <a:gd name="connsiteY31" fmla="*/ 421981 h 552386"/>
              <a:gd name="connsiteX32" fmla="*/ 377666 w 606580"/>
              <a:gd name="connsiteY32" fmla="*/ 229690 h 552386"/>
              <a:gd name="connsiteX33" fmla="*/ 434048 w 606580"/>
              <a:gd name="connsiteY33" fmla="*/ 229690 h 552386"/>
              <a:gd name="connsiteX34" fmla="*/ 434048 w 606580"/>
              <a:gd name="connsiteY34" fmla="*/ 421981 h 552386"/>
              <a:gd name="connsiteX35" fmla="*/ 377666 w 606580"/>
              <a:gd name="connsiteY35" fmla="*/ 421981 h 552386"/>
              <a:gd name="connsiteX36" fmla="*/ 172603 w 606580"/>
              <a:gd name="connsiteY36" fmla="*/ 229690 h 552386"/>
              <a:gd name="connsiteX37" fmla="*/ 228985 w 606580"/>
              <a:gd name="connsiteY37" fmla="*/ 229690 h 552386"/>
              <a:gd name="connsiteX38" fmla="*/ 228985 w 606580"/>
              <a:gd name="connsiteY38" fmla="*/ 421981 h 552386"/>
              <a:gd name="connsiteX39" fmla="*/ 172603 w 606580"/>
              <a:gd name="connsiteY39" fmla="*/ 421981 h 552386"/>
              <a:gd name="connsiteX40" fmla="*/ 86443 w 606580"/>
              <a:gd name="connsiteY40" fmla="*/ 229690 h 552386"/>
              <a:gd name="connsiteX41" fmla="*/ 142825 w 606580"/>
              <a:gd name="connsiteY41" fmla="*/ 229690 h 552386"/>
              <a:gd name="connsiteX42" fmla="*/ 142825 w 606580"/>
              <a:gd name="connsiteY42" fmla="*/ 421981 h 552386"/>
              <a:gd name="connsiteX43" fmla="*/ 86443 w 606580"/>
              <a:gd name="connsiteY43" fmla="*/ 421981 h 552386"/>
              <a:gd name="connsiteX44" fmla="*/ 303290 w 606580"/>
              <a:gd name="connsiteY44" fmla="*/ 87854 h 552386"/>
              <a:gd name="connsiteX45" fmla="*/ 329893 w 606580"/>
              <a:gd name="connsiteY45" fmla="*/ 114210 h 552386"/>
              <a:gd name="connsiteX46" fmla="*/ 303290 w 606580"/>
              <a:gd name="connsiteY46" fmla="*/ 140566 h 552386"/>
              <a:gd name="connsiteX47" fmla="*/ 276687 w 606580"/>
              <a:gd name="connsiteY47" fmla="*/ 114210 h 552386"/>
              <a:gd name="connsiteX48" fmla="*/ 303290 w 606580"/>
              <a:gd name="connsiteY48" fmla="*/ 87854 h 552386"/>
              <a:gd name="connsiteX49" fmla="*/ 303336 w 606580"/>
              <a:gd name="connsiteY49" fmla="*/ 45057 h 552386"/>
              <a:gd name="connsiteX50" fmla="*/ 124417 w 606580"/>
              <a:gd name="connsiteY50" fmla="*/ 163634 h 552386"/>
              <a:gd name="connsiteX51" fmla="*/ 482163 w 606580"/>
              <a:gd name="connsiteY51" fmla="*/ 163634 h 552386"/>
              <a:gd name="connsiteX52" fmla="*/ 303336 w 606580"/>
              <a:gd name="connsiteY52" fmla="*/ 0 h 552386"/>
              <a:gd name="connsiteX53" fmla="*/ 606580 w 606580"/>
              <a:gd name="connsiteY53" fmla="*/ 201182 h 552386"/>
              <a:gd name="connsiteX54" fmla="*/ 0 w 606580"/>
              <a:gd name="connsiteY54" fmla="*/ 201182 h 55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06580" h="552386">
                <a:moveTo>
                  <a:pt x="62938" y="487524"/>
                </a:moveTo>
                <a:lnTo>
                  <a:pt x="62938" y="514951"/>
                </a:lnTo>
                <a:lnTo>
                  <a:pt x="543642" y="514951"/>
                </a:lnTo>
                <a:lnTo>
                  <a:pt x="543642" y="487524"/>
                </a:lnTo>
                <a:close/>
                <a:moveTo>
                  <a:pt x="25333" y="449996"/>
                </a:moveTo>
                <a:lnTo>
                  <a:pt x="581247" y="449996"/>
                </a:lnTo>
                <a:lnTo>
                  <a:pt x="581247" y="552386"/>
                </a:lnTo>
                <a:lnTo>
                  <a:pt x="25333" y="552386"/>
                </a:lnTo>
                <a:close/>
                <a:moveTo>
                  <a:pt x="296458" y="248884"/>
                </a:moveTo>
                <a:lnTo>
                  <a:pt x="315503" y="248884"/>
                </a:lnTo>
                <a:lnTo>
                  <a:pt x="315503" y="266036"/>
                </a:lnTo>
                <a:cubicBezTo>
                  <a:pt x="328603" y="266592"/>
                  <a:pt x="337336" y="269281"/>
                  <a:pt x="343746" y="272433"/>
                </a:cubicBezTo>
                <a:lnTo>
                  <a:pt x="338172" y="294406"/>
                </a:lnTo>
                <a:cubicBezTo>
                  <a:pt x="333062" y="292273"/>
                  <a:pt x="324143" y="287731"/>
                  <a:pt x="310115" y="287731"/>
                </a:cubicBezTo>
                <a:cubicBezTo>
                  <a:pt x="297387" y="287731"/>
                  <a:pt x="293299" y="293201"/>
                  <a:pt x="293299" y="298671"/>
                </a:cubicBezTo>
                <a:cubicBezTo>
                  <a:pt x="293299" y="305068"/>
                  <a:pt x="300174" y="309147"/>
                  <a:pt x="316711" y="315359"/>
                </a:cubicBezTo>
                <a:cubicBezTo>
                  <a:pt x="339844" y="323518"/>
                  <a:pt x="349228" y="334272"/>
                  <a:pt x="349228" y="351702"/>
                </a:cubicBezTo>
                <a:cubicBezTo>
                  <a:pt x="349228" y="369039"/>
                  <a:pt x="336964" y="383781"/>
                  <a:pt x="314574" y="387675"/>
                </a:cubicBezTo>
                <a:lnTo>
                  <a:pt x="314574" y="407515"/>
                </a:lnTo>
                <a:lnTo>
                  <a:pt x="295436" y="407515"/>
                </a:lnTo>
                <a:lnTo>
                  <a:pt x="295436" y="389065"/>
                </a:lnTo>
                <a:cubicBezTo>
                  <a:pt x="282429" y="388509"/>
                  <a:pt x="269794" y="384986"/>
                  <a:pt x="262362" y="380721"/>
                </a:cubicBezTo>
                <a:lnTo>
                  <a:pt x="268215" y="358007"/>
                </a:lnTo>
                <a:cubicBezTo>
                  <a:pt x="276390" y="362457"/>
                  <a:pt x="287911" y="366536"/>
                  <a:pt x="300546" y="366536"/>
                </a:cubicBezTo>
                <a:cubicBezTo>
                  <a:pt x="311601" y="366536"/>
                  <a:pt x="319219" y="362271"/>
                  <a:pt x="319219" y="354483"/>
                </a:cubicBezTo>
                <a:cubicBezTo>
                  <a:pt x="319219" y="347066"/>
                  <a:pt x="312995" y="342431"/>
                  <a:pt x="298595" y="337517"/>
                </a:cubicBezTo>
                <a:cubicBezTo>
                  <a:pt x="277784" y="330564"/>
                  <a:pt x="263477" y="320829"/>
                  <a:pt x="263477" y="302008"/>
                </a:cubicBezTo>
                <a:cubicBezTo>
                  <a:pt x="263477" y="284856"/>
                  <a:pt x="275647" y="271413"/>
                  <a:pt x="296458" y="267334"/>
                </a:cubicBezTo>
                <a:close/>
                <a:moveTo>
                  <a:pt x="463756" y="229690"/>
                </a:moveTo>
                <a:lnTo>
                  <a:pt x="520138" y="229690"/>
                </a:lnTo>
                <a:lnTo>
                  <a:pt x="520138" y="421981"/>
                </a:lnTo>
                <a:lnTo>
                  <a:pt x="463756" y="421981"/>
                </a:lnTo>
                <a:close/>
                <a:moveTo>
                  <a:pt x="377666" y="229690"/>
                </a:moveTo>
                <a:lnTo>
                  <a:pt x="434048" y="229690"/>
                </a:lnTo>
                <a:lnTo>
                  <a:pt x="434048" y="421981"/>
                </a:lnTo>
                <a:lnTo>
                  <a:pt x="377666" y="421981"/>
                </a:lnTo>
                <a:close/>
                <a:moveTo>
                  <a:pt x="172603" y="229690"/>
                </a:moveTo>
                <a:lnTo>
                  <a:pt x="228985" y="229690"/>
                </a:lnTo>
                <a:lnTo>
                  <a:pt x="228985" y="421981"/>
                </a:lnTo>
                <a:lnTo>
                  <a:pt x="172603" y="421981"/>
                </a:lnTo>
                <a:close/>
                <a:moveTo>
                  <a:pt x="86443" y="229690"/>
                </a:moveTo>
                <a:lnTo>
                  <a:pt x="142825" y="229690"/>
                </a:lnTo>
                <a:lnTo>
                  <a:pt x="142825" y="421981"/>
                </a:lnTo>
                <a:lnTo>
                  <a:pt x="86443" y="421981"/>
                </a:lnTo>
                <a:close/>
                <a:moveTo>
                  <a:pt x="303290" y="87854"/>
                </a:moveTo>
                <a:cubicBezTo>
                  <a:pt x="317982" y="87854"/>
                  <a:pt x="329893" y="99654"/>
                  <a:pt x="329893" y="114210"/>
                </a:cubicBezTo>
                <a:cubicBezTo>
                  <a:pt x="329893" y="128766"/>
                  <a:pt x="317982" y="140566"/>
                  <a:pt x="303290" y="140566"/>
                </a:cubicBezTo>
                <a:cubicBezTo>
                  <a:pt x="288598" y="140566"/>
                  <a:pt x="276687" y="128766"/>
                  <a:pt x="276687" y="114210"/>
                </a:cubicBezTo>
                <a:cubicBezTo>
                  <a:pt x="276687" y="99654"/>
                  <a:pt x="288598" y="87854"/>
                  <a:pt x="303290" y="87854"/>
                </a:cubicBezTo>
                <a:close/>
                <a:moveTo>
                  <a:pt x="303336" y="45057"/>
                </a:moveTo>
                <a:lnTo>
                  <a:pt x="124417" y="163634"/>
                </a:lnTo>
                <a:lnTo>
                  <a:pt x="482163" y="163634"/>
                </a:lnTo>
                <a:close/>
                <a:moveTo>
                  <a:pt x="303336" y="0"/>
                </a:moveTo>
                <a:lnTo>
                  <a:pt x="606580" y="201182"/>
                </a:lnTo>
                <a:lnTo>
                  <a:pt x="0" y="201182"/>
                </a:lnTo>
                <a:close/>
              </a:path>
            </a:pathLst>
          </a:custGeom>
          <a:solidFill>
            <a:srgbClr val="FF3300"/>
          </a:solidFill>
          <a:ln>
            <a:noFill/>
          </a:ln>
        </p:spPr>
        <p:style>
          <a:lnRef idx="3">
            <a:schemeClr val="lt1"/>
          </a:lnRef>
          <a:fillRef idx="1">
            <a:schemeClr val="accent2"/>
          </a:fillRef>
          <a:effectRef idx="1">
            <a:schemeClr val="accent2"/>
          </a:effectRef>
          <a:fontRef idx="minor">
            <a:schemeClr val="lt1"/>
          </a:fontRef>
        </p:style>
        <p:txBody>
          <a:bodyPr/>
          <a:lstStyle/>
          <a:p>
            <a:pPr marL="0" marR="0" lvl="0" indent="0" algn="l" defTabSz="914400" rtl="0" eaLnBrk="1" fontAlgn="auto" latinLnBrk="0" hangingPunct="1">
              <a:lnSpc>
                <a:spcPct val="80000"/>
              </a:lnSpc>
              <a:spcBef>
                <a:spcPct val="20000"/>
              </a:spcBef>
              <a:spcAft>
                <a:spcPct val="0"/>
              </a:spcAft>
              <a:buClrTx/>
              <a:buSzTx/>
              <a:buFontTx/>
              <a:buNone/>
              <a:defRPr/>
            </a:pPr>
            <a:endParaRPr kumimoji="0" lang="zh-CN" altLang="en-US" sz="2000" b="0" i="0" u="none" strike="noStrike" kern="1200" cap="none" spc="0" normalizeH="0" baseline="0" noProof="0">
              <a:ln>
                <a:noFill/>
              </a:ln>
              <a:solidFill>
                <a:schemeClr val="tx1"/>
              </a:solidFill>
              <a:effectLst/>
              <a:uLnTx/>
              <a:uFillTx/>
              <a:latin typeface="华文楷体" panose="02010600040101010101" charset="-122"/>
              <a:ea typeface="华文楷体" panose="02010600040101010101" charset="-122"/>
              <a:cs typeface="+mn-cs"/>
            </a:endParaRPr>
          </a:p>
        </p:txBody>
      </p:sp>
      <p:sp>
        <p:nvSpPr>
          <p:cNvPr id="36" name="矩形 35"/>
          <p:cNvSpPr/>
          <p:nvPr/>
        </p:nvSpPr>
        <p:spPr>
          <a:xfrm>
            <a:off x="9686132" y="3608174"/>
            <a:ext cx="2221959" cy="437043"/>
          </a:xfrm>
          <a:prstGeom prst="rect">
            <a:avLst/>
          </a:prstGeom>
        </p:spPr>
        <p:txBody>
          <a:bodyPr wrap="square">
            <a:spAutoFit/>
          </a:bodyPr>
          <a:lstStyle/>
          <a:p>
            <a:pPr marL="0" marR="0" lvl="0" indent="0" algn="l" defTabSz="914400" rtl="0" eaLnBrk="1" fontAlgn="auto" latinLnBrk="1" hangingPunct="1">
              <a:lnSpc>
                <a:spcPct val="80000"/>
              </a:lnSpc>
              <a:spcBef>
                <a:spcPct val="20000"/>
              </a:spcBef>
              <a:spcAft>
                <a:spcPct val="0"/>
              </a:spcAft>
              <a:buClrTx/>
              <a:buSzTx/>
              <a:buFontTx/>
              <a:buNone/>
              <a:defRPr/>
            </a:pP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在</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深圳、重庆、南京</a:t>
            </a: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等</a:t>
            </a:r>
            <a:r>
              <a:rPr kumimoji="0" lang="zh-CN" altLang="en-US" sz="14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rPr>
              <a:t>多个城市落地并逐步推广</a:t>
            </a:r>
            <a:endParaRPr kumimoji="0" lang="zh-CN" altLang="en-US" sz="14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37" name="矩形 36"/>
          <p:cNvSpPr/>
          <p:nvPr/>
        </p:nvSpPr>
        <p:spPr>
          <a:xfrm>
            <a:off x="7394735" y="3602498"/>
            <a:ext cx="2221959" cy="443968"/>
          </a:xfrm>
          <a:prstGeom prst="rect">
            <a:avLst/>
          </a:prstGeom>
        </p:spPr>
        <p:txBody>
          <a:bodyPr wrap="square">
            <a:spAutoFit/>
          </a:bodyPr>
          <a:lstStyle/>
          <a:p>
            <a:pPr marL="0" marR="0" lvl="0" indent="0" algn="l" defTabSz="914400" rtl="0" eaLnBrk="1" fontAlgn="auto" latinLnBrk="1" hangingPunct="1">
              <a:lnSpc>
                <a:spcPct val="80000"/>
              </a:lnSpc>
              <a:spcBef>
                <a:spcPct val="20000"/>
              </a:spcBef>
              <a:spcAft>
                <a:spcPct val="0"/>
              </a:spcAft>
              <a:buClrTx/>
              <a:buSzTx/>
              <a:buFontTx/>
              <a:buNone/>
              <a:defRPr/>
            </a:pP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在</a:t>
            </a:r>
            <a:r>
              <a:rPr kumimoji="0" lang="zh-CN" altLang="en-US" sz="1400" b="1" i="0" u="none" strike="noStrike" kern="1200" cap="none" spc="0" normalizeH="0" baseline="0" noProof="0" dirty="0">
                <a:ln>
                  <a:noFill/>
                </a:ln>
                <a:effectLst/>
                <a:uLnTx/>
                <a:uFillTx/>
                <a:latin typeface="华文楷体" panose="02010600040101010101" charset="-122"/>
                <a:ea typeface="华文楷体" panose="02010600040101010101" charset="-122"/>
                <a:cs typeface="Times New Roman" panose="02020603050405020304" pitchFamily="18" charset="0"/>
              </a:rPr>
              <a:t>广东、</a:t>
            </a:r>
            <a:r>
              <a:rPr kumimoji="0" lang="zh-CN" altLang="en-US" sz="1400" b="1" i="0" u="none" strike="noStrike" kern="1200" cap="none" spc="0" normalizeH="0" baseline="0" noProof="0" dirty="0" smtClean="0">
                <a:ln>
                  <a:noFill/>
                </a:ln>
                <a:effectLst/>
                <a:uLnTx/>
                <a:uFillTx/>
                <a:latin typeface="华文楷体" panose="02010600040101010101" charset="-122"/>
                <a:ea typeface="华文楷体" panose="02010600040101010101" charset="-122"/>
                <a:cs typeface="Times New Roman" panose="02020603050405020304" pitchFamily="18" charset="0"/>
              </a:rPr>
              <a:t>深圳</a:t>
            </a:r>
            <a:r>
              <a:rPr kumimoji="0" lang="zh-CN" altLang="en-US" sz="1400" b="0" i="0" u="none" strike="noStrike" kern="1200" cap="none" spc="0" normalizeH="0" baseline="0" noProof="0" dirty="0" smtClean="0">
                <a:ln>
                  <a:noFill/>
                </a:ln>
                <a:effectLst/>
                <a:uLnTx/>
                <a:uFillTx/>
                <a:latin typeface="华文楷体" panose="02010600040101010101" charset="-122"/>
                <a:ea typeface="华文楷体" panose="02010600040101010101" charset="-122"/>
                <a:cs typeface="+mn-cs"/>
              </a:rPr>
              <a:t>等</a:t>
            </a:r>
            <a:r>
              <a:rPr kumimoji="0" lang="zh-CN" altLang="en-US"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市上线推广</a:t>
            </a:r>
            <a:r>
              <a:rPr kumimoji="0" lang="zh-CN" altLang="en-US" sz="1400" b="0" i="0" u="none" strike="noStrike" kern="1200" cap="none" spc="0" normalizeH="0" baseline="0" noProof="0" dirty="0" smtClean="0">
                <a:ln>
                  <a:noFill/>
                </a:ln>
                <a:effectLst/>
                <a:uLnTx/>
                <a:uFillTx/>
                <a:latin typeface="华文楷体" panose="02010600040101010101" charset="-122"/>
                <a:ea typeface="华文楷体" panose="02010600040101010101" charset="-122"/>
                <a:cs typeface="+mn-cs"/>
              </a:rPr>
              <a:t>；</a:t>
            </a:r>
            <a:endParaRPr kumimoji="0" lang="en-US" altLang="zh-CN" sz="14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p:txBody>
      </p:sp>
      <p:sp>
        <p:nvSpPr>
          <p:cNvPr id="39"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1+N</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直接连接符 56"/>
          <p:cNvCxnSpPr>
            <a:endCxn id="106" idx="4"/>
          </p:cNvCxnSpPr>
          <p:nvPr/>
        </p:nvCxnSpPr>
        <p:spPr>
          <a:xfrm flipH="1" flipV="1">
            <a:off x="1100767" y="3119317"/>
            <a:ext cx="3783487" cy="1"/>
          </a:xfrm>
          <a:prstGeom prst="line">
            <a:avLst/>
          </a:prstGeom>
          <a:noFill/>
          <a:ln w="6350" cap="rnd" cmpd="sng" algn="ctr">
            <a:solidFill>
              <a:sysClr val="windowText" lastClr="000000">
                <a:lumMod val="50000"/>
                <a:lumOff val="50000"/>
              </a:sysClr>
            </a:solidFill>
            <a:prstDash val="solid"/>
            <a:round/>
          </a:ln>
          <a:effectLst/>
        </p:spPr>
      </p:cxnSp>
      <p:cxnSp>
        <p:nvCxnSpPr>
          <p:cNvPr id="58" name="直接连接符 57"/>
          <p:cNvCxnSpPr/>
          <p:nvPr/>
        </p:nvCxnSpPr>
        <p:spPr>
          <a:xfrm flipH="1">
            <a:off x="662954" y="3986963"/>
            <a:ext cx="3867057" cy="0"/>
          </a:xfrm>
          <a:prstGeom prst="line">
            <a:avLst/>
          </a:prstGeom>
          <a:noFill/>
          <a:ln w="6350" cap="rnd" cmpd="sng" algn="ctr">
            <a:solidFill>
              <a:sysClr val="windowText" lastClr="000000">
                <a:lumMod val="50000"/>
                <a:lumOff val="50000"/>
              </a:sysClr>
            </a:solidFill>
            <a:prstDash val="solid"/>
            <a:round/>
          </a:ln>
          <a:effectLst/>
        </p:spPr>
      </p:cxnSp>
      <p:cxnSp>
        <p:nvCxnSpPr>
          <p:cNvPr id="59" name="直接连接符 58"/>
          <p:cNvCxnSpPr>
            <a:endCxn id="73" idx="4"/>
          </p:cNvCxnSpPr>
          <p:nvPr/>
        </p:nvCxnSpPr>
        <p:spPr>
          <a:xfrm flipH="1">
            <a:off x="1100766" y="4880734"/>
            <a:ext cx="3794289" cy="0"/>
          </a:xfrm>
          <a:prstGeom prst="line">
            <a:avLst/>
          </a:prstGeom>
          <a:noFill/>
          <a:ln w="6350" cap="rnd" cmpd="sng" algn="ctr">
            <a:solidFill>
              <a:sysClr val="windowText" lastClr="000000">
                <a:lumMod val="50000"/>
                <a:lumOff val="50000"/>
              </a:sysClr>
            </a:solidFill>
            <a:prstDash val="solid"/>
            <a:round/>
          </a:ln>
          <a:effectLst/>
        </p:spPr>
      </p:cxnSp>
      <p:cxnSp>
        <p:nvCxnSpPr>
          <p:cNvPr id="60" name="直接连接符 59"/>
          <p:cNvCxnSpPr>
            <a:stCxn id="87" idx="4"/>
          </p:cNvCxnSpPr>
          <p:nvPr/>
        </p:nvCxnSpPr>
        <p:spPr>
          <a:xfrm flipH="1">
            <a:off x="7977876" y="4895886"/>
            <a:ext cx="3423891" cy="0"/>
          </a:xfrm>
          <a:prstGeom prst="line">
            <a:avLst/>
          </a:prstGeom>
          <a:noFill/>
          <a:ln w="6350" cap="rnd" cmpd="sng" algn="ctr">
            <a:solidFill>
              <a:sysClr val="windowText" lastClr="000000">
                <a:lumMod val="50000"/>
                <a:lumOff val="50000"/>
              </a:sysClr>
            </a:solidFill>
            <a:prstDash val="solid"/>
            <a:round/>
          </a:ln>
          <a:effectLst/>
        </p:spPr>
      </p:cxnSp>
      <p:cxnSp>
        <p:nvCxnSpPr>
          <p:cNvPr id="61" name="直接连接符 60"/>
          <p:cNvCxnSpPr/>
          <p:nvPr/>
        </p:nvCxnSpPr>
        <p:spPr>
          <a:xfrm flipH="1">
            <a:off x="1489027" y="5804806"/>
            <a:ext cx="3867057" cy="0"/>
          </a:xfrm>
          <a:prstGeom prst="line">
            <a:avLst/>
          </a:prstGeom>
          <a:noFill/>
          <a:ln w="6350" cap="rnd" cmpd="sng" algn="ctr">
            <a:solidFill>
              <a:sysClr val="windowText" lastClr="000000">
                <a:lumMod val="50000"/>
                <a:lumOff val="50000"/>
              </a:sysClr>
            </a:solidFill>
            <a:prstDash val="solid"/>
            <a:round/>
          </a:ln>
          <a:effectLst/>
        </p:spPr>
      </p:cxnSp>
      <p:cxnSp>
        <p:nvCxnSpPr>
          <p:cNvPr id="62" name="直接连接符 61"/>
          <p:cNvCxnSpPr/>
          <p:nvPr/>
        </p:nvCxnSpPr>
        <p:spPr>
          <a:xfrm flipH="1">
            <a:off x="1410260" y="2164537"/>
            <a:ext cx="4561170" cy="0"/>
          </a:xfrm>
          <a:prstGeom prst="line">
            <a:avLst/>
          </a:prstGeom>
          <a:noFill/>
          <a:ln w="6350" cap="rnd" cmpd="sng" algn="ctr">
            <a:solidFill>
              <a:sysClr val="windowText" lastClr="000000">
                <a:lumMod val="50000"/>
                <a:lumOff val="50000"/>
              </a:sysClr>
            </a:solidFill>
            <a:prstDash val="solid"/>
            <a:round/>
          </a:ln>
          <a:effectLst/>
        </p:spPr>
      </p:cxnSp>
      <p:cxnSp>
        <p:nvCxnSpPr>
          <p:cNvPr id="63" name="直接连接符 62"/>
          <p:cNvCxnSpPr/>
          <p:nvPr/>
        </p:nvCxnSpPr>
        <p:spPr>
          <a:xfrm flipH="1">
            <a:off x="7018588" y="5804806"/>
            <a:ext cx="3867057" cy="0"/>
          </a:xfrm>
          <a:prstGeom prst="line">
            <a:avLst/>
          </a:prstGeom>
          <a:noFill/>
          <a:ln w="6350" cap="rnd" cmpd="sng" algn="ctr">
            <a:solidFill>
              <a:sysClr val="windowText" lastClr="000000">
                <a:lumMod val="50000"/>
                <a:lumOff val="50000"/>
              </a:sysClr>
            </a:solidFill>
            <a:prstDash val="solid"/>
            <a:round/>
          </a:ln>
          <a:effectLst/>
        </p:spPr>
      </p:cxnSp>
      <p:cxnSp>
        <p:nvCxnSpPr>
          <p:cNvPr id="64" name="直接连接符 63"/>
          <p:cNvCxnSpPr>
            <a:stCxn id="84" idx="4"/>
          </p:cNvCxnSpPr>
          <p:nvPr/>
        </p:nvCxnSpPr>
        <p:spPr>
          <a:xfrm flipH="1">
            <a:off x="6610306" y="2169118"/>
            <a:ext cx="4041474" cy="0"/>
          </a:xfrm>
          <a:prstGeom prst="line">
            <a:avLst/>
          </a:prstGeom>
          <a:noFill/>
          <a:ln w="6350" cap="rnd" cmpd="sng" algn="ctr">
            <a:solidFill>
              <a:sysClr val="windowText" lastClr="000000">
                <a:lumMod val="50000"/>
                <a:lumOff val="50000"/>
              </a:sysClr>
            </a:solidFill>
            <a:prstDash val="solid"/>
            <a:round/>
          </a:ln>
          <a:effectLst/>
        </p:spPr>
      </p:cxnSp>
      <p:cxnSp>
        <p:nvCxnSpPr>
          <p:cNvPr id="65" name="直接连接符 64"/>
          <p:cNvCxnSpPr>
            <a:stCxn id="85" idx="4"/>
          </p:cNvCxnSpPr>
          <p:nvPr/>
        </p:nvCxnSpPr>
        <p:spPr>
          <a:xfrm flipH="1">
            <a:off x="7542628" y="3078040"/>
            <a:ext cx="3580411" cy="0"/>
          </a:xfrm>
          <a:prstGeom prst="line">
            <a:avLst/>
          </a:prstGeom>
          <a:noFill/>
          <a:ln w="6350" cap="rnd" cmpd="sng" algn="ctr">
            <a:solidFill>
              <a:sysClr val="windowText" lastClr="000000">
                <a:lumMod val="50000"/>
                <a:lumOff val="50000"/>
              </a:sysClr>
            </a:solidFill>
            <a:prstDash val="solid"/>
            <a:round/>
          </a:ln>
          <a:effectLst/>
        </p:spPr>
      </p:cxnSp>
      <p:cxnSp>
        <p:nvCxnSpPr>
          <p:cNvPr id="66" name="直接连接符 65"/>
          <p:cNvCxnSpPr>
            <a:stCxn id="86" idx="4"/>
          </p:cNvCxnSpPr>
          <p:nvPr/>
        </p:nvCxnSpPr>
        <p:spPr>
          <a:xfrm flipH="1">
            <a:off x="7897567" y="3986963"/>
            <a:ext cx="3611667" cy="0"/>
          </a:xfrm>
          <a:prstGeom prst="line">
            <a:avLst/>
          </a:prstGeom>
          <a:noFill/>
          <a:ln w="6350" cap="rnd" cmpd="sng" algn="ctr">
            <a:solidFill>
              <a:sysClr val="windowText" lastClr="000000">
                <a:lumMod val="50000"/>
                <a:lumOff val="50000"/>
              </a:sysClr>
            </a:solidFill>
            <a:prstDash val="solid"/>
            <a:round/>
          </a:ln>
          <a:effectLst/>
        </p:spPr>
      </p:cxnSp>
      <p:sp>
        <p:nvSpPr>
          <p:cNvPr id="67" name="椭圆 66"/>
          <p:cNvSpPr/>
          <p:nvPr/>
        </p:nvSpPr>
        <p:spPr>
          <a:xfrm>
            <a:off x="4279465" y="2115304"/>
            <a:ext cx="3782597" cy="3755354"/>
          </a:xfrm>
          <a:prstGeom prst="ellipse">
            <a:avLst/>
          </a:prstGeom>
          <a:solidFill>
            <a:sysClr val="window" lastClr="FFFFFF"/>
          </a:solidFill>
          <a:ln w="38100" cap="rnd" cmpd="sng" algn="ctr">
            <a:solidFill>
              <a:srgbClr val="FE5817"/>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en-US" altLang="zh-CN" sz="1600" b="0" i="0" u="none" strike="noStrike" kern="0" cap="none" spc="0" normalizeH="0" baseline="0" noProof="0" dirty="0">
                <a:ln>
                  <a:noFill/>
                </a:ln>
                <a:effectLst/>
                <a:uLnTx/>
                <a:uFillTx/>
                <a:latin typeface="Arial" panose="020B0604020202020204"/>
                <a:ea typeface="华文楷体" panose="02010600040101010101" charset="-122"/>
                <a:cs typeface="+mn-cs"/>
              </a:rPr>
              <a:t>                                                    </a:t>
            </a:r>
            <a:endParaRPr kumimoji="0" lang="zh-CN" altLang="en-US" sz="1600" b="0" i="0" u="none" strike="noStrike" kern="0" cap="none" spc="0" normalizeH="0" baseline="0" noProof="0" dirty="0">
              <a:ln>
                <a:noFill/>
              </a:ln>
              <a:effectLst/>
              <a:uLnTx/>
              <a:uFillTx/>
              <a:latin typeface="Arial" panose="020B0604020202020204"/>
              <a:ea typeface="华文楷体" panose="02010600040101010101" charset="-122"/>
              <a:cs typeface="+mn-cs"/>
            </a:endParaRPr>
          </a:p>
        </p:txBody>
      </p:sp>
      <p:sp>
        <p:nvSpPr>
          <p:cNvPr id="68" name="cityscape_327331"/>
          <p:cNvSpPr>
            <a:spLocks noChangeAspect="1"/>
          </p:cNvSpPr>
          <p:nvPr/>
        </p:nvSpPr>
        <p:spPr bwMode="auto">
          <a:xfrm>
            <a:off x="5097260" y="2919579"/>
            <a:ext cx="2137997" cy="2134767"/>
          </a:xfrm>
          <a:custGeom>
            <a:avLst/>
            <a:gdLst>
              <a:gd name="connsiteX0" fmla="*/ 252618 w 607639"/>
              <a:gd name="connsiteY0" fmla="*/ 587528 h 606722"/>
              <a:gd name="connsiteX1" fmla="*/ 354932 w 607639"/>
              <a:gd name="connsiteY1" fmla="*/ 587528 h 606722"/>
              <a:gd name="connsiteX2" fmla="*/ 364541 w 607639"/>
              <a:gd name="connsiteY2" fmla="*/ 597125 h 606722"/>
              <a:gd name="connsiteX3" fmla="*/ 354932 w 607639"/>
              <a:gd name="connsiteY3" fmla="*/ 606722 h 606722"/>
              <a:gd name="connsiteX4" fmla="*/ 252618 w 607639"/>
              <a:gd name="connsiteY4" fmla="*/ 606722 h 606722"/>
              <a:gd name="connsiteX5" fmla="*/ 243098 w 607639"/>
              <a:gd name="connsiteY5" fmla="*/ 597125 h 606722"/>
              <a:gd name="connsiteX6" fmla="*/ 252618 w 607639"/>
              <a:gd name="connsiteY6" fmla="*/ 587528 h 606722"/>
              <a:gd name="connsiteX7" fmla="*/ 495665 w 607639"/>
              <a:gd name="connsiteY7" fmla="*/ 549211 h 606722"/>
              <a:gd name="connsiteX8" fmla="*/ 559642 w 607639"/>
              <a:gd name="connsiteY8" fmla="*/ 549211 h 606722"/>
              <a:gd name="connsiteX9" fmla="*/ 569252 w 607639"/>
              <a:gd name="connsiteY9" fmla="*/ 558808 h 606722"/>
              <a:gd name="connsiteX10" fmla="*/ 559642 w 607639"/>
              <a:gd name="connsiteY10" fmla="*/ 568405 h 606722"/>
              <a:gd name="connsiteX11" fmla="*/ 495665 w 607639"/>
              <a:gd name="connsiteY11" fmla="*/ 568405 h 606722"/>
              <a:gd name="connsiteX12" fmla="*/ 486055 w 607639"/>
              <a:gd name="connsiteY12" fmla="*/ 558808 h 606722"/>
              <a:gd name="connsiteX13" fmla="*/ 495665 w 607639"/>
              <a:gd name="connsiteY13" fmla="*/ 549211 h 606722"/>
              <a:gd name="connsiteX14" fmla="*/ 48000 w 607639"/>
              <a:gd name="connsiteY14" fmla="*/ 549211 h 606722"/>
              <a:gd name="connsiteX15" fmla="*/ 111991 w 607639"/>
              <a:gd name="connsiteY15" fmla="*/ 549211 h 606722"/>
              <a:gd name="connsiteX16" fmla="*/ 121514 w 607639"/>
              <a:gd name="connsiteY16" fmla="*/ 558808 h 606722"/>
              <a:gd name="connsiteX17" fmla="*/ 111991 w 607639"/>
              <a:gd name="connsiteY17" fmla="*/ 568405 h 606722"/>
              <a:gd name="connsiteX18" fmla="*/ 48000 w 607639"/>
              <a:gd name="connsiteY18" fmla="*/ 568405 h 606722"/>
              <a:gd name="connsiteX19" fmla="*/ 38388 w 607639"/>
              <a:gd name="connsiteY19" fmla="*/ 558808 h 606722"/>
              <a:gd name="connsiteX20" fmla="*/ 48000 w 607639"/>
              <a:gd name="connsiteY20" fmla="*/ 549211 h 606722"/>
              <a:gd name="connsiteX21" fmla="*/ 201482 w 607639"/>
              <a:gd name="connsiteY21" fmla="*/ 540673 h 606722"/>
              <a:gd name="connsiteX22" fmla="*/ 406156 w 607639"/>
              <a:gd name="connsiteY22" fmla="*/ 540673 h 606722"/>
              <a:gd name="connsiteX23" fmla="*/ 415771 w 607639"/>
              <a:gd name="connsiteY23" fmla="*/ 550270 h 606722"/>
              <a:gd name="connsiteX24" fmla="*/ 406156 w 607639"/>
              <a:gd name="connsiteY24" fmla="*/ 559867 h 606722"/>
              <a:gd name="connsiteX25" fmla="*/ 201482 w 607639"/>
              <a:gd name="connsiteY25" fmla="*/ 559867 h 606722"/>
              <a:gd name="connsiteX26" fmla="*/ 191867 w 607639"/>
              <a:gd name="connsiteY26" fmla="*/ 550270 h 606722"/>
              <a:gd name="connsiteX27" fmla="*/ 201482 w 607639"/>
              <a:gd name="connsiteY27" fmla="*/ 540673 h 606722"/>
              <a:gd name="connsiteX28" fmla="*/ 124705 w 607639"/>
              <a:gd name="connsiteY28" fmla="*/ 493888 h 606722"/>
              <a:gd name="connsiteX29" fmla="*/ 482863 w 607639"/>
              <a:gd name="connsiteY29" fmla="*/ 493888 h 606722"/>
              <a:gd name="connsiteX30" fmla="*/ 492476 w 607639"/>
              <a:gd name="connsiteY30" fmla="*/ 503485 h 606722"/>
              <a:gd name="connsiteX31" fmla="*/ 482863 w 607639"/>
              <a:gd name="connsiteY31" fmla="*/ 513082 h 606722"/>
              <a:gd name="connsiteX32" fmla="*/ 124705 w 607639"/>
              <a:gd name="connsiteY32" fmla="*/ 513082 h 606722"/>
              <a:gd name="connsiteX33" fmla="*/ 115092 w 607639"/>
              <a:gd name="connsiteY33" fmla="*/ 503485 h 606722"/>
              <a:gd name="connsiteX34" fmla="*/ 124705 w 607639"/>
              <a:gd name="connsiteY34" fmla="*/ 493888 h 606722"/>
              <a:gd name="connsiteX35" fmla="*/ 334845 w 607639"/>
              <a:gd name="connsiteY35" fmla="*/ 395943 h 606722"/>
              <a:gd name="connsiteX36" fmla="*/ 344456 w 607639"/>
              <a:gd name="connsiteY36" fmla="*/ 405539 h 606722"/>
              <a:gd name="connsiteX37" fmla="*/ 344456 w 607639"/>
              <a:gd name="connsiteY37" fmla="*/ 447034 h 606722"/>
              <a:gd name="connsiteX38" fmla="*/ 387439 w 607639"/>
              <a:gd name="connsiteY38" fmla="*/ 447034 h 606722"/>
              <a:gd name="connsiteX39" fmla="*/ 387439 w 607639"/>
              <a:gd name="connsiteY39" fmla="*/ 405539 h 606722"/>
              <a:gd name="connsiteX40" fmla="*/ 396962 w 607639"/>
              <a:gd name="connsiteY40" fmla="*/ 395943 h 606722"/>
              <a:gd name="connsiteX41" fmla="*/ 406573 w 607639"/>
              <a:gd name="connsiteY41" fmla="*/ 405539 h 606722"/>
              <a:gd name="connsiteX42" fmla="*/ 406573 w 607639"/>
              <a:gd name="connsiteY42" fmla="*/ 447034 h 606722"/>
              <a:gd name="connsiteX43" fmla="*/ 449556 w 607639"/>
              <a:gd name="connsiteY43" fmla="*/ 447034 h 606722"/>
              <a:gd name="connsiteX44" fmla="*/ 449556 w 607639"/>
              <a:gd name="connsiteY44" fmla="*/ 405539 h 606722"/>
              <a:gd name="connsiteX45" fmla="*/ 459167 w 607639"/>
              <a:gd name="connsiteY45" fmla="*/ 395943 h 606722"/>
              <a:gd name="connsiteX46" fmla="*/ 468689 w 607639"/>
              <a:gd name="connsiteY46" fmla="*/ 405539 h 606722"/>
              <a:gd name="connsiteX47" fmla="*/ 468689 w 607639"/>
              <a:gd name="connsiteY47" fmla="*/ 447034 h 606722"/>
              <a:gd name="connsiteX48" fmla="*/ 475809 w 607639"/>
              <a:gd name="connsiteY48" fmla="*/ 447034 h 606722"/>
              <a:gd name="connsiteX49" fmla="*/ 485420 w 607639"/>
              <a:gd name="connsiteY49" fmla="*/ 456630 h 606722"/>
              <a:gd name="connsiteX50" fmla="*/ 475809 w 607639"/>
              <a:gd name="connsiteY50" fmla="*/ 466226 h 606722"/>
              <a:gd name="connsiteX51" fmla="*/ 319182 w 607639"/>
              <a:gd name="connsiteY51" fmla="*/ 466226 h 606722"/>
              <a:gd name="connsiteX52" fmla="*/ 309571 w 607639"/>
              <a:gd name="connsiteY52" fmla="*/ 456630 h 606722"/>
              <a:gd name="connsiteX53" fmla="*/ 319182 w 607639"/>
              <a:gd name="connsiteY53" fmla="*/ 447034 h 606722"/>
              <a:gd name="connsiteX54" fmla="*/ 325323 w 607639"/>
              <a:gd name="connsiteY54" fmla="*/ 447034 h 606722"/>
              <a:gd name="connsiteX55" fmla="*/ 325323 w 607639"/>
              <a:gd name="connsiteY55" fmla="*/ 405539 h 606722"/>
              <a:gd name="connsiteX56" fmla="*/ 334845 w 607639"/>
              <a:gd name="connsiteY56" fmla="*/ 395943 h 606722"/>
              <a:gd name="connsiteX57" fmla="*/ 148468 w 607639"/>
              <a:gd name="connsiteY57" fmla="*/ 395943 h 606722"/>
              <a:gd name="connsiteX58" fmla="*/ 158077 w 607639"/>
              <a:gd name="connsiteY58" fmla="*/ 405539 h 606722"/>
              <a:gd name="connsiteX59" fmla="*/ 158077 w 607639"/>
              <a:gd name="connsiteY59" fmla="*/ 447034 h 606722"/>
              <a:gd name="connsiteX60" fmla="*/ 200965 w 607639"/>
              <a:gd name="connsiteY60" fmla="*/ 447034 h 606722"/>
              <a:gd name="connsiteX61" fmla="*/ 200965 w 607639"/>
              <a:gd name="connsiteY61" fmla="*/ 405539 h 606722"/>
              <a:gd name="connsiteX62" fmla="*/ 210575 w 607639"/>
              <a:gd name="connsiteY62" fmla="*/ 395943 h 606722"/>
              <a:gd name="connsiteX63" fmla="*/ 220184 w 607639"/>
              <a:gd name="connsiteY63" fmla="*/ 405539 h 606722"/>
              <a:gd name="connsiteX64" fmla="*/ 220184 w 607639"/>
              <a:gd name="connsiteY64" fmla="*/ 447034 h 606722"/>
              <a:gd name="connsiteX65" fmla="*/ 263161 w 607639"/>
              <a:gd name="connsiteY65" fmla="*/ 447034 h 606722"/>
              <a:gd name="connsiteX66" fmla="*/ 263161 w 607639"/>
              <a:gd name="connsiteY66" fmla="*/ 405539 h 606722"/>
              <a:gd name="connsiteX67" fmla="*/ 272682 w 607639"/>
              <a:gd name="connsiteY67" fmla="*/ 395943 h 606722"/>
              <a:gd name="connsiteX68" fmla="*/ 282292 w 607639"/>
              <a:gd name="connsiteY68" fmla="*/ 405539 h 606722"/>
              <a:gd name="connsiteX69" fmla="*/ 282292 w 607639"/>
              <a:gd name="connsiteY69" fmla="*/ 447034 h 606722"/>
              <a:gd name="connsiteX70" fmla="*/ 287541 w 607639"/>
              <a:gd name="connsiteY70" fmla="*/ 447034 h 606722"/>
              <a:gd name="connsiteX71" fmla="*/ 297151 w 607639"/>
              <a:gd name="connsiteY71" fmla="*/ 456630 h 606722"/>
              <a:gd name="connsiteX72" fmla="*/ 287541 w 607639"/>
              <a:gd name="connsiteY72" fmla="*/ 466226 h 606722"/>
              <a:gd name="connsiteX73" fmla="*/ 135922 w 607639"/>
              <a:gd name="connsiteY73" fmla="*/ 466226 h 606722"/>
              <a:gd name="connsiteX74" fmla="*/ 126312 w 607639"/>
              <a:gd name="connsiteY74" fmla="*/ 456630 h 606722"/>
              <a:gd name="connsiteX75" fmla="*/ 135922 w 607639"/>
              <a:gd name="connsiteY75" fmla="*/ 447034 h 606722"/>
              <a:gd name="connsiteX76" fmla="*/ 138858 w 607639"/>
              <a:gd name="connsiteY76" fmla="*/ 447034 h 606722"/>
              <a:gd name="connsiteX77" fmla="*/ 138858 w 607639"/>
              <a:gd name="connsiteY77" fmla="*/ 405539 h 606722"/>
              <a:gd name="connsiteX78" fmla="*/ 148468 w 607639"/>
              <a:gd name="connsiteY78" fmla="*/ 395943 h 606722"/>
              <a:gd name="connsiteX79" fmla="*/ 572393 w 607639"/>
              <a:gd name="connsiteY79" fmla="*/ 236312 h 606722"/>
              <a:gd name="connsiteX80" fmla="*/ 556461 w 607639"/>
              <a:gd name="connsiteY80" fmla="*/ 252221 h 606722"/>
              <a:gd name="connsiteX81" fmla="*/ 572393 w 607639"/>
              <a:gd name="connsiteY81" fmla="*/ 268218 h 606722"/>
              <a:gd name="connsiteX82" fmla="*/ 588414 w 607639"/>
              <a:gd name="connsiteY82" fmla="*/ 252221 h 606722"/>
              <a:gd name="connsiteX83" fmla="*/ 572393 w 607639"/>
              <a:gd name="connsiteY83" fmla="*/ 236312 h 606722"/>
              <a:gd name="connsiteX84" fmla="*/ 303775 w 607639"/>
              <a:gd name="connsiteY84" fmla="*/ 236312 h 606722"/>
              <a:gd name="connsiteX85" fmla="*/ 287843 w 607639"/>
              <a:gd name="connsiteY85" fmla="*/ 252221 h 606722"/>
              <a:gd name="connsiteX86" fmla="*/ 303775 w 607639"/>
              <a:gd name="connsiteY86" fmla="*/ 268218 h 606722"/>
              <a:gd name="connsiteX87" fmla="*/ 319796 w 607639"/>
              <a:gd name="connsiteY87" fmla="*/ 252221 h 606722"/>
              <a:gd name="connsiteX88" fmla="*/ 303775 w 607639"/>
              <a:gd name="connsiteY88" fmla="*/ 236312 h 606722"/>
              <a:gd name="connsiteX89" fmla="*/ 35157 w 607639"/>
              <a:gd name="connsiteY89" fmla="*/ 236312 h 606722"/>
              <a:gd name="connsiteX90" fmla="*/ 19225 w 607639"/>
              <a:gd name="connsiteY90" fmla="*/ 252221 h 606722"/>
              <a:gd name="connsiteX91" fmla="*/ 35157 w 607639"/>
              <a:gd name="connsiteY91" fmla="*/ 268218 h 606722"/>
              <a:gd name="connsiteX92" fmla="*/ 51178 w 607639"/>
              <a:gd name="connsiteY92" fmla="*/ 252221 h 606722"/>
              <a:gd name="connsiteX93" fmla="*/ 35157 w 607639"/>
              <a:gd name="connsiteY93" fmla="*/ 236312 h 606722"/>
              <a:gd name="connsiteX94" fmla="*/ 201479 w 607639"/>
              <a:gd name="connsiteY94" fmla="*/ 191585 h 606722"/>
              <a:gd name="connsiteX95" fmla="*/ 239836 w 607639"/>
              <a:gd name="connsiteY95" fmla="*/ 191585 h 606722"/>
              <a:gd name="connsiteX96" fmla="*/ 249448 w 607639"/>
              <a:gd name="connsiteY96" fmla="*/ 201191 h 606722"/>
              <a:gd name="connsiteX97" fmla="*/ 239836 w 607639"/>
              <a:gd name="connsiteY97" fmla="*/ 210708 h 606722"/>
              <a:gd name="connsiteX98" fmla="*/ 201479 w 607639"/>
              <a:gd name="connsiteY98" fmla="*/ 210708 h 606722"/>
              <a:gd name="connsiteX99" fmla="*/ 191867 w 607639"/>
              <a:gd name="connsiteY99" fmla="*/ 201191 h 606722"/>
              <a:gd name="connsiteX100" fmla="*/ 201479 w 607639"/>
              <a:gd name="connsiteY100" fmla="*/ 191585 h 606722"/>
              <a:gd name="connsiteX101" fmla="*/ 201479 w 607639"/>
              <a:gd name="connsiteY101" fmla="*/ 153339 h 606722"/>
              <a:gd name="connsiteX102" fmla="*/ 239836 w 607639"/>
              <a:gd name="connsiteY102" fmla="*/ 153339 h 606722"/>
              <a:gd name="connsiteX103" fmla="*/ 249448 w 607639"/>
              <a:gd name="connsiteY103" fmla="*/ 162821 h 606722"/>
              <a:gd name="connsiteX104" fmla="*/ 239836 w 607639"/>
              <a:gd name="connsiteY104" fmla="*/ 172392 h 606722"/>
              <a:gd name="connsiteX105" fmla="*/ 201479 w 607639"/>
              <a:gd name="connsiteY105" fmla="*/ 172392 h 606722"/>
              <a:gd name="connsiteX106" fmla="*/ 191867 w 607639"/>
              <a:gd name="connsiteY106" fmla="*/ 162821 h 606722"/>
              <a:gd name="connsiteX107" fmla="*/ 201479 w 607639"/>
              <a:gd name="connsiteY107" fmla="*/ 153339 h 606722"/>
              <a:gd name="connsiteX108" fmla="*/ 470116 w 607639"/>
              <a:gd name="connsiteY108" fmla="*/ 140496 h 606722"/>
              <a:gd name="connsiteX109" fmla="*/ 479633 w 607639"/>
              <a:gd name="connsiteY109" fmla="*/ 150095 h 606722"/>
              <a:gd name="connsiteX110" fmla="*/ 479633 w 607639"/>
              <a:gd name="connsiteY110" fmla="*/ 333984 h 606722"/>
              <a:gd name="connsiteX111" fmla="*/ 470116 w 607639"/>
              <a:gd name="connsiteY111" fmla="*/ 343583 h 606722"/>
              <a:gd name="connsiteX112" fmla="*/ 460510 w 607639"/>
              <a:gd name="connsiteY112" fmla="*/ 333984 h 606722"/>
              <a:gd name="connsiteX113" fmla="*/ 460510 w 607639"/>
              <a:gd name="connsiteY113" fmla="*/ 150095 h 606722"/>
              <a:gd name="connsiteX114" fmla="*/ 470116 w 607639"/>
              <a:gd name="connsiteY114" fmla="*/ 140496 h 606722"/>
              <a:gd name="connsiteX115" fmla="*/ 201479 w 607639"/>
              <a:gd name="connsiteY115" fmla="*/ 114881 h 606722"/>
              <a:gd name="connsiteX116" fmla="*/ 239836 w 607639"/>
              <a:gd name="connsiteY116" fmla="*/ 114881 h 606722"/>
              <a:gd name="connsiteX117" fmla="*/ 249448 w 607639"/>
              <a:gd name="connsiteY117" fmla="*/ 124513 h 606722"/>
              <a:gd name="connsiteX118" fmla="*/ 239836 w 607639"/>
              <a:gd name="connsiteY118" fmla="*/ 134145 h 606722"/>
              <a:gd name="connsiteX119" fmla="*/ 201479 w 607639"/>
              <a:gd name="connsiteY119" fmla="*/ 134145 h 606722"/>
              <a:gd name="connsiteX120" fmla="*/ 191867 w 607639"/>
              <a:gd name="connsiteY120" fmla="*/ 124513 h 606722"/>
              <a:gd name="connsiteX121" fmla="*/ 201479 w 607639"/>
              <a:gd name="connsiteY121" fmla="*/ 114881 h 606722"/>
              <a:gd name="connsiteX122" fmla="*/ 393322 w 607639"/>
              <a:gd name="connsiteY122" fmla="*/ 63932 h 606722"/>
              <a:gd name="connsiteX123" fmla="*/ 402928 w 607639"/>
              <a:gd name="connsiteY123" fmla="*/ 73440 h 606722"/>
              <a:gd name="connsiteX124" fmla="*/ 402928 w 607639"/>
              <a:gd name="connsiteY124" fmla="*/ 333986 h 606722"/>
              <a:gd name="connsiteX125" fmla="*/ 393322 w 607639"/>
              <a:gd name="connsiteY125" fmla="*/ 343583 h 606722"/>
              <a:gd name="connsiteX126" fmla="*/ 383805 w 607639"/>
              <a:gd name="connsiteY126" fmla="*/ 333986 h 606722"/>
              <a:gd name="connsiteX127" fmla="*/ 383805 w 607639"/>
              <a:gd name="connsiteY127" fmla="*/ 73440 h 606722"/>
              <a:gd name="connsiteX128" fmla="*/ 393322 w 607639"/>
              <a:gd name="connsiteY128" fmla="*/ 63932 h 606722"/>
              <a:gd name="connsiteX129" fmla="*/ 559851 w 607639"/>
              <a:gd name="connsiteY129" fmla="*/ 55551 h 606722"/>
              <a:gd name="connsiteX130" fmla="*/ 574899 w 607639"/>
              <a:gd name="connsiteY130" fmla="*/ 56973 h 606722"/>
              <a:gd name="connsiteX131" fmla="*/ 582023 w 607639"/>
              <a:gd name="connsiteY131" fmla="*/ 70214 h 606722"/>
              <a:gd name="connsiteX132" fmla="*/ 582023 w 607639"/>
              <a:gd name="connsiteY132" fmla="*/ 191515 h 606722"/>
              <a:gd name="connsiteX133" fmla="*/ 572406 w 607639"/>
              <a:gd name="connsiteY133" fmla="*/ 201112 h 606722"/>
              <a:gd name="connsiteX134" fmla="*/ 562878 w 607639"/>
              <a:gd name="connsiteY134" fmla="*/ 191515 h 606722"/>
              <a:gd name="connsiteX135" fmla="*/ 562878 w 607639"/>
              <a:gd name="connsiteY135" fmla="*/ 75012 h 606722"/>
              <a:gd name="connsiteX136" fmla="*/ 467421 w 607639"/>
              <a:gd name="connsiteY136" fmla="*/ 114735 h 606722"/>
              <a:gd name="connsiteX137" fmla="*/ 454866 w 607639"/>
              <a:gd name="connsiteY137" fmla="*/ 109581 h 606722"/>
              <a:gd name="connsiteX138" fmla="*/ 460031 w 607639"/>
              <a:gd name="connsiteY138" fmla="*/ 97051 h 606722"/>
              <a:gd name="connsiteX139" fmla="*/ 35158 w 607639"/>
              <a:gd name="connsiteY139" fmla="*/ 25474 h 606722"/>
              <a:gd name="connsiteX140" fmla="*/ 111971 w 607639"/>
              <a:gd name="connsiteY140" fmla="*/ 25474 h 606722"/>
              <a:gd name="connsiteX141" fmla="*/ 147129 w 607639"/>
              <a:gd name="connsiteY141" fmla="*/ 60667 h 606722"/>
              <a:gd name="connsiteX142" fmla="*/ 142412 w 607639"/>
              <a:gd name="connsiteY142" fmla="*/ 78174 h 606722"/>
              <a:gd name="connsiteX143" fmla="*/ 129239 w 607639"/>
              <a:gd name="connsiteY143" fmla="*/ 81729 h 606722"/>
              <a:gd name="connsiteX144" fmla="*/ 125767 w 607639"/>
              <a:gd name="connsiteY144" fmla="*/ 68576 h 606722"/>
              <a:gd name="connsiteX145" fmla="*/ 127903 w 607639"/>
              <a:gd name="connsiteY145" fmla="*/ 60667 h 606722"/>
              <a:gd name="connsiteX146" fmla="*/ 111971 w 607639"/>
              <a:gd name="connsiteY146" fmla="*/ 44670 h 606722"/>
              <a:gd name="connsiteX147" fmla="*/ 35158 w 607639"/>
              <a:gd name="connsiteY147" fmla="*/ 44670 h 606722"/>
              <a:gd name="connsiteX148" fmla="*/ 19226 w 607639"/>
              <a:gd name="connsiteY148" fmla="*/ 60667 h 606722"/>
              <a:gd name="connsiteX149" fmla="*/ 35158 w 607639"/>
              <a:gd name="connsiteY149" fmla="*/ 76575 h 606722"/>
              <a:gd name="connsiteX150" fmla="*/ 64174 w 607639"/>
              <a:gd name="connsiteY150" fmla="*/ 76575 h 606722"/>
              <a:gd name="connsiteX151" fmla="*/ 72541 w 607639"/>
              <a:gd name="connsiteY151" fmla="*/ 81374 h 606722"/>
              <a:gd name="connsiteX152" fmla="*/ 72541 w 607639"/>
              <a:gd name="connsiteY152" fmla="*/ 90972 h 606722"/>
              <a:gd name="connsiteX153" fmla="*/ 70316 w 607639"/>
              <a:gd name="connsiteY153" fmla="*/ 98970 h 606722"/>
              <a:gd name="connsiteX154" fmla="*/ 86337 w 607639"/>
              <a:gd name="connsiteY154" fmla="*/ 114878 h 606722"/>
              <a:gd name="connsiteX155" fmla="*/ 126390 w 607639"/>
              <a:gd name="connsiteY155" fmla="*/ 114878 h 606722"/>
              <a:gd name="connsiteX156" fmla="*/ 136003 w 607639"/>
              <a:gd name="connsiteY156" fmla="*/ 124476 h 606722"/>
              <a:gd name="connsiteX157" fmla="*/ 126390 w 607639"/>
              <a:gd name="connsiteY157" fmla="*/ 134074 h 606722"/>
              <a:gd name="connsiteX158" fmla="*/ 86337 w 607639"/>
              <a:gd name="connsiteY158" fmla="*/ 134074 h 606722"/>
              <a:gd name="connsiteX159" fmla="*/ 51179 w 607639"/>
              <a:gd name="connsiteY159" fmla="*/ 98970 h 606722"/>
              <a:gd name="connsiteX160" fmla="*/ 51357 w 607639"/>
              <a:gd name="connsiteY160" fmla="*/ 95771 h 606722"/>
              <a:gd name="connsiteX161" fmla="*/ 35158 w 607639"/>
              <a:gd name="connsiteY161" fmla="*/ 95771 h 606722"/>
              <a:gd name="connsiteX162" fmla="*/ 0 w 607639"/>
              <a:gd name="connsiteY162" fmla="*/ 60667 h 606722"/>
              <a:gd name="connsiteX163" fmla="*/ 35158 w 607639"/>
              <a:gd name="connsiteY163" fmla="*/ 25474 h 606722"/>
              <a:gd name="connsiteX164" fmla="*/ 297367 w 607639"/>
              <a:gd name="connsiteY164" fmla="*/ 0 h 606722"/>
              <a:gd name="connsiteX165" fmla="*/ 374178 w 607639"/>
              <a:gd name="connsiteY165" fmla="*/ 0 h 606722"/>
              <a:gd name="connsiteX166" fmla="*/ 390110 w 607639"/>
              <a:gd name="connsiteY166" fmla="*/ 15997 h 606722"/>
              <a:gd name="connsiteX167" fmla="*/ 390110 w 607639"/>
              <a:gd name="connsiteY167" fmla="*/ 25506 h 606722"/>
              <a:gd name="connsiteX168" fmla="*/ 425356 w 607639"/>
              <a:gd name="connsiteY168" fmla="*/ 25506 h 606722"/>
              <a:gd name="connsiteX169" fmla="*/ 441288 w 607639"/>
              <a:gd name="connsiteY169" fmla="*/ 41504 h 606722"/>
              <a:gd name="connsiteX170" fmla="*/ 441288 w 607639"/>
              <a:gd name="connsiteY170" fmla="*/ 357624 h 606722"/>
              <a:gd name="connsiteX171" fmla="*/ 562869 w 607639"/>
              <a:gd name="connsiteY171" fmla="*/ 357624 h 606722"/>
              <a:gd name="connsiteX172" fmla="*/ 562869 w 607639"/>
              <a:gd name="connsiteY172" fmla="*/ 286081 h 606722"/>
              <a:gd name="connsiteX173" fmla="*/ 537236 w 607639"/>
              <a:gd name="connsiteY173" fmla="*/ 252221 h 606722"/>
              <a:gd name="connsiteX174" fmla="*/ 572393 w 607639"/>
              <a:gd name="connsiteY174" fmla="*/ 217116 h 606722"/>
              <a:gd name="connsiteX175" fmla="*/ 607639 w 607639"/>
              <a:gd name="connsiteY175" fmla="*/ 252221 h 606722"/>
              <a:gd name="connsiteX176" fmla="*/ 582006 w 607639"/>
              <a:gd name="connsiteY176" fmla="*/ 286081 h 606722"/>
              <a:gd name="connsiteX177" fmla="*/ 582006 w 607639"/>
              <a:gd name="connsiteY177" fmla="*/ 357624 h 606722"/>
              <a:gd name="connsiteX178" fmla="*/ 598026 w 607639"/>
              <a:gd name="connsiteY178" fmla="*/ 357624 h 606722"/>
              <a:gd name="connsiteX179" fmla="*/ 607639 w 607639"/>
              <a:gd name="connsiteY179" fmla="*/ 367222 h 606722"/>
              <a:gd name="connsiteX180" fmla="*/ 598026 w 607639"/>
              <a:gd name="connsiteY180" fmla="*/ 376820 h 606722"/>
              <a:gd name="connsiteX181" fmla="*/ 594822 w 607639"/>
              <a:gd name="connsiteY181" fmla="*/ 376820 h 606722"/>
              <a:gd name="connsiteX182" fmla="*/ 594822 w 607639"/>
              <a:gd name="connsiteY182" fmla="*/ 447029 h 606722"/>
              <a:gd name="connsiteX183" fmla="*/ 598026 w 607639"/>
              <a:gd name="connsiteY183" fmla="*/ 447029 h 606722"/>
              <a:gd name="connsiteX184" fmla="*/ 607639 w 607639"/>
              <a:gd name="connsiteY184" fmla="*/ 456628 h 606722"/>
              <a:gd name="connsiteX185" fmla="*/ 598026 w 607639"/>
              <a:gd name="connsiteY185" fmla="*/ 466226 h 606722"/>
              <a:gd name="connsiteX186" fmla="*/ 507152 w 607639"/>
              <a:gd name="connsiteY186" fmla="*/ 466226 h 606722"/>
              <a:gd name="connsiteX187" fmla="*/ 497628 w 607639"/>
              <a:gd name="connsiteY187" fmla="*/ 456628 h 606722"/>
              <a:gd name="connsiteX188" fmla="*/ 507152 w 607639"/>
              <a:gd name="connsiteY188" fmla="*/ 447029 h 606722"/>
              <a:gd name="connsiteX189" fmla="*/ 511691 w 607639"/>
              <a:gd name="connsiteY189" fmla="*/ 447029 h 606722"/>
              <a:gd name="connsiteX190" fmla="*/ 511691 w 607639"/>
              <a:gd name="connsiteY190" fmla="*/ 405526 h 606722"/>
              <a:gd name="connsiteX191" fmla="*/ 521304 w 607639"/>
              <a:gd name="connsiteY191" fmla="*/ 395928 h 606722"/>
              <a:gd name="connsiteX192" fmla="*/ 530827 w 607639"/>
              <a:gd name="connsiteY192" fmla="*/ 405526 h 606722"/>
              <a:gd name="connsiteX193" fmla="*/ 530827 w 607639"/>
              <a:gd name="connsiteY193" fmla="*/ 447029 h 606722"/>
              <a:gd name="connsiteX194" fmla="*/ 575597 w 607639"/>
              <a:gd name="connsiteY194" fmla="*/ 447029 h 606722"/>
              <a:gd name="connsiteX195" fmla="*/ 575597 w 607639"/>
              <a:gd name="connsiteY195" fmla="*/ 376820 h 606722"/>
              <a:gd name="connsiteX196" fmla="*/ 31953 w 607639"/>
              <a:gd name="connsiteY196" fmla="*/ 376820 h 606722"/>
              <a:gd name="connsiteX197" fmla="*/ 31953 w 607639"/>
              <a:gd name="connsiteY197" fmla="*/ 447029 h 606722"/>
              <a:gd name="connsiteX198" fmla="*/ 76723 w 607639"/>
              <a:gd name="connsiteY198" fmla="*/ 447029 h 606722"/>
              <a:gd name="connsiteX199" fmla="*/ 76723 w 607639"/>
              <a:gd name="connsiteY199" fmla="*/ 405526 h 606722"/>
              <a:gd name="connsiteX200" fmla="*/ 86335 w 607639"/>
              <a:gd name="connsiteY200" fmla="*/ 395928 h 606722"/>
              <a:gd name="connsiteX201" fmla="*/ 95948 w 607639"/>
              <a:gd name="connsiteY201" fmla="*/ 405526 h 606722"/>
              <a:gd name="connsiteX202" fmla="*/ 95948 w 607639"/>
              <a:gd name="connsiteY202" fmla="*/ 447029 h 606722"/>
              <a:gd name="connsiteX203" fmla="*/ 102623 w 607639"/>
              <a:gd name="connsiteY203" fmla="*/ 447029 h 606722"/>
              <a:gd name="connsiteX204" fmla="*/ 112236 w 607639"/>
              <a:gd name="connsiteY204" fmla="*/ 456628 h 606722"/>
              <a:gd name="connsiteX205" fmla="*/ 102623 w 607639"/>
              <a:gd name="connsiteY205" fmla="*/ 466226 h 606722"/>
              <a:gd name="connsiteX206" fmla="*/ 9613 w 607639"/>
              <a:gd name="connsiteY206" fmla="*/ 466226 h 606722"/>
              <a:gd name="connsiteX207" fmla="*/ 0 w 607639"/>
              <a:gd name="connsiteY207" fmla="*/ 456628 h 606722"/>
              <a:gd name="connsiteX208" fmla="*/ 9613 w 607639"/>
              <a:gd name="connsiteY208" fmla="*/ 447029 h 606722"/>
              <a:gd name="connsiteX209" fmla="*/ 12817 w 607639"/>
              <a:gd name="connsiteY209" fmla="*/ 447029 h 606722"/>
              <a:gd name="connsiteX210" fmla="*/ 12817 w 607639"/>
              <a:gd name="connsiteY210" fmla="*/ 376820 h 606722"/>
              <a:gd name="connsiteX211" fmla="*/ 9613 w 607639"/>
              <a:gd name="connsiteY211" fmla="*/ 376820 h 606722"/>
              <a:gd name="connsiteX212" fmla="*/ 0 w 607639"/>
              <a:gd name="connsiteY212" fmla="*/ 367222 h 606722"/>
              <a:gd name="connsiteX213" fmla="*/ 9613 w 607639"/>
              <a:gd name="connsiteY213" fmla="*/ 357624 h 606722"/>
              <a:gd name="connsiteX214" fmla="*/ 25545 w 607639"/>
              <a:gd name="connsiteY214" fmla="*/ 357624 h 606722"/>
              <a:gd name="connsiteX215" fmla="*/ 25545 w 607639"/>
              <a:gd name="connsiteY215" fmla="*/ 286081 h 606722"/>
              <a:gd name="connsiteX216" fmla="*/ 0 w 607639"/>
              <a:gd name="connsiteY216" fmla="*/ 252221 h 606722"/>
              <a:gd name="connsiteX217" fmla="*/ 35157 w 607639"/>
              <a:gd name="connsiteY217" fmla="*/ 217116 h 606722"/>
              <a:gd name="connsiteX218" fmla="*/ 70314 w 607639"/>
              <a:gd name="connsiteY218" fmla="*/ 252221 h 606722"/>
              <a:gd name="connsiteX219" fmla="*/ 44770 w 607639"/>
              <a:gd name="connsiteY219" fmla="*/ 286081 h 606722"/>
              <a:gd name="connsiteX220" fmla="*/ 44770 w 607639"/>
              <a:gd name="connsiteY220" fmla="*/ 357624 h 606722"/>
              <a:gd name="connsiteX221" fmla="*/ 236665 w 607639"/>
              <a:gd name="connsiteY221" fmla="*/ 357624 h 606722"/>
              <a:gd name="connsiteX222" fmla="*/ 236665 w 607639"/>
              <a:gd name="connsiteY222" fmla="*/ 345359 h 606722"/>
              <a:gd name="connsiteX223" fmla="*/ 181749 w 607639"/>
              <a:gd name="connsiteY223" fmla="*/ 290614 h 606722"/>
              <a:gd name="connsiteX224" fmla="*/ 166796 w 607639"/>
              <a:gd name="connsiteY224" fmla="*/ 292658 h 606722"/>
              <a:gd name="connsiteX225" fmla="*/ 158340 w 607639"/>
              <a:gd name="connsiteY225" fmla="*/ 291058 h 606722"/>
              <a:gd name="connsiteX226" fmla="*/ 154602 w 607639"/>
              <a:gd name="connsiteY226" fmla="*/ 283415 h 606722"/>
              <a:gd name="connsiteX227" fmla="*/ 154602 w 607639"/>
              <a:gd name="connsiteY227" fmla="*/ 240045 h 606722"/>
              <a:gd name="connsiteX228" fmla="*/ 99686 w 607639"/>
              <a:gd name="connsiteY228" fmla="*/ 185211 h 606722"/>
              <a:gd name="connsiteX229" fmla="*/ 56073 w 607639"/>
              <a:gd name="connsiteY229" fmla="*/ 206718 h 606722"/>
              <a:gd name="connsiteX230" fmla="*/ 42634 w 607639"/>
              <a:gd name="connsiteY230" fmla="*/ 208406 h 606722"/>
              <a:gd name="connsiteX231" fmla="*/ 40853 w 607639"/>
              <a:gd name="connsiteY231" fmla="*/ 194987 h 606722"/>
              <a:gd name="connsiteX232" fmla="*/ 99686 w 607639"/>
              <a:gd name="connsiteY232" fmla="*/ 166014 h 606722"/>
              <a:gd name="connsiteX233" fmla="*/ 173738 w 607639"/>
              <a:gd name="connsiteY233" fmla="*/ 240045 h 606722"/>
              <a:gd name="connsiteX234" fmla="*/ 173738 w 607639"/>
              <a:gd name="connsiteY234" fmla="*/ 271861 h 606722"/>
              <a:gd name="connsiteX235" fmla="*/ 181749 w 607639"/>
              <a:gd name="connsiteY235" fmla="*/ 271417 h 606722"/>
              <a:gd name="connsiteX236" fmla="*/ 255801 w 607639"/>
              <a:gd name="connsiteY236" fmla="*/ 345359 h 606722"/>
              <a:gd name="connsiteX237" fmla="*/ 255801 w 607639"/>
              <a:gd name="connsiteY237" fmla="*/ 357624 h 606722"/>
              <a:gd name="connsiteX238" fmla="*/ 294251 w 607639"/>
              <a:gd name="connsiteY238" fmla="*/ 357624 h 606722"/>
              <a:gd name="connsiteX239" fmla="*/ 294251 w 607639"/>
              <a:gd name="connsiteY239" fmla="*/ 286081 h 606722"/>
              <a:gd name="connsiteX240" fmla="*/ 268618 w 607639"/>
              <a:gd name="connsiteY240" fmla="*/ 252221 h 606722"/>
              <a:gd name="connsiteX241" fmla="*/ 303775 w 607639"/>
              <a:gd name="connsiteY241" fmla="*/ 217116 h 606722"/>
              <a:gd name="connsiteX242" fmla="*/ 339021 w 607639"/>
              <a:gd name="connsiteY242" fmla="*/ 252221 h 606722"/>
              <a:gd name="connsiteX243" fmla="*/ 313388 w 607639"/>
              <a:gd name="connsiteY243" fmla="*/ 286081 h 606722"/>
              <a:gd name="connsiteX244" fmla="*/ 313388 w 607639"/>
              <a:gd name="connsiteY244" fmla="*/ 357624 h 606722"/>
              <a:gd name="connsiteX245" fmla="*/ 422152 w 607639"/>
              <a:gd name="connsiteY245" fmla="*/ 357624 h 606722"/>
              <a:gd name="connsiteX246" fmla="*/ 422152 w 607639"/>
              <a:gd name="connsiteY246" fmla="*/ 44703 h 606722"/>
              <a:gd name="connsiteX247" fmla="*/ 386906 w 607639"/>
              <a:gd name="connsiteY247" fmla="*/ 44703 h 606722"/>
              <a:gd name="connsiteX248" fmla="*/ 370974 w 607639"/>
              <a:gd name="connsiteY248" fmla="*/ 28706 h 606722"/>
              <a:gd name="connsiteX249" fmla="*/ 370974 w 607639"/>
              <a:gd name="connsiteY249" fmla="*/ 19196 h 606722"/>
              <a:gd name="connsiteX250" fmla="*/ 300571 w 607639"/>
              <a:gd name="connsiteY250" fmla="*/ 19196 h 606722"/>
              <a:gd name="connsiteX251" fmla="*/ 300571 w 607639"/>
              <a:gd name="connsiteY251" fmla="*/ 59989 h 606722"/>
              <a:gd name="connsiteX252" fmla="*/ 291047 w 607639"/>
              <a:gd name="connsiteY252" fmla="*/ 69587 h 606722"/>
              <a:gd name="connsiteX253" fmla="*/ 281435 w 607639"/>
              <a:gd name="connsiteY253" fmla="*/ 59989 h 606722"/>
              <a:gd name="connsiteX254" fmla="*/ 281435 w 607639"/>
              <a:gd name="connsiteY254" fmla="*/ 15997 h 606722"/>
              <a:gd name="connsiteX255" fmla="*/ 297367 w 607639"/>
              <a:gd name="connsiteY255" fmla="*/ 0 h 606722"/>
              <a:gd name="connsiteX256" fmla="*/ 188702 w 607639"/>
              <a:gd name="connsiteY256" fmla="*/ 0 h 606722"/>
              <a:gd name="connsiteX257" fmla="*/ 198313 w 607639"/>
              <a:gd name="connsiteY257" fmla="*/ 9599 h 606722"/>
              <a:gd name="connsiteX258" fmla="*/ 198313 w 607639"/>
              <a:gd name="connsiteY258" fmla="*/ 63904 h 606722"/>
              <a:gd name="connsiteX259" fmla="*/ 238627 w 607639"/>
              <a:gd name="connsiteY259" fmla="*/ 63904 h 606722"/>
              <a:gd name="connsiteX260" fmla="*/ 244590 w 607639"/>
              <a:gd name="connsiteY260" fmla="*/ 64970 h 606722"/>
              <a:gd name="connsiteX261" fmla="*/ 303325 w 607639"/>
              <a:gd name="connsiteY261" fmla="*/ 88523 h 606722"/>
              <a:gd name="connsiteX262" fmla="*/ 313381 w 607639"/>
              <a:gd name="connsiteY262" fmla="*/ 103277 h 606722"/>
              <a:gd name="connsiteX263" fmla="*/ 313381 w 607639"/>
              <a:gd name="connsiteY263" fmla="*/ 193488 h 606722"/>
              <a:gd name="connsiteX264" fmla="*/ 303770 w 607639"/>
              <a:gd name="connsiteY264" fmla="*/ 203087 h 606722"/>
              <a:gd name="connsiteX265" fmla="*/ 294248 w 607639"/>
              <a:gd name="connsiteY265" fmla="*/ 193488 h 606722"/>
              <a:gd name="connsiteX266" fmla="*/ 294248 w 607639"/>
              <a:gd name="connsiteY266" fmla="*/ 105499 h 606722"/>
              <a:gd name="connsiteX267" fmla="*/ 238004 w 607639"/>
              <a:gd name="connsiteY267" fmla="*/ 83012 h 606722"/>
              <a:gd name="connsiteX268" fmla="*/ 172683 w 607639"/>
              <a:gd name="connsiteY268" fmla="*/ 83012 h 606722"/>
              <a:gd name="connsiteX269" fmla="*/ 172683 w 607639"/>
              <a:gd name="connsiteY269" fmla="*/ 168602 h 606722"/>
              <a:gd name="connsiteX270" fmla="*/ 163072 w 607639"/>
              <a:gd name="connsiteY270" fmla="*/ 178201 h 606722"/>
              <a:gd name="connsiteX271" fmla="*/ 153550 w 607639"/>
              <a:gd name="connsiteY271" fmla="*/ 168602 h 606722"/>
              <a:gd name="connsiteX272" fmla="*/ 153550 w 607639"/>
              <a:gd name="connsiteY272" fmla="*/ 79813 h 606722"/>
              <a:gd name="connsiteX273" fmla="*/ 169480 w 607639"/>
              <a:gd name="connsiteY273" fmla="*/ 63904 h 606722"/>
              <a:gd name="connsiteX274" fmla="*/ 179091 w 607639"/>
              <a:gd name="connsiteY274" fmla="*/ 63904 h 606722"/>
              <a:gd name="connsiteX275" fmla="*/ 179091 w 607639"/>
              <a:gd name="connsiteY275" fmla="*/ 9599 h 606722"/>
              <a:gd name="connsiteX276" fmla="*/ 188702 w 607639"/>
              <a:gd name="connsiteY276"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Lst>
            <a:rect l="l" t="t" r="r" b="b"/>
            <a:pathLst>
              <a:path w="607639" h="606722">
                <a:moveTo>
                  <a:pt x="252618" y="587528"/>
                </a:moveTo>
                <a:lnTo>
                  <a:pt x="354932" y="587528"/>
                </a:lnTo>
                <a:cubicBezTo>
                  <a:pt x="360270" y="587528"/>
                  <a:pt x="364541" y="591793"/>
                  <a:pt x="364541" y="597125"/>
                </a:cubicBezTo>
                <a:cubicBezTo>
                  <a:pt x="364541" y="602368"/>
                  <a:pt x="360270" y="606722"/>
                  <a:pt x="354932" y="606722"/>
                </a:cubicBezTo>
                <a:lnTo>
                  <a:pt x="252618" y="606722"/>
                </a:lnTo>
                <a:cubicBezTo>
                  <a:pt x="247369" y="606722"/>
                  <a:pt x="243098" y="602368"/>
                  <a:pt x="243098" y="597125"/>
                </a:cubicBezTo>
                <a:cubicBezTo>
                  <a:pt x="243098" y="591793"/>
                  <a:pt x="247369" y="587528"/>
                  <a:pt x="252618" y="587528"/>
                </a:cubicBezTo>
                <a:close/>
                <a:moveTo>
                  <a:pt x="495665" y="549211"/>
                </a:moveTo>
                <a:lnTo>
                  <a:pt x="559642" y="549211"/>
                </a:lnTo>
                <a:cubicBezTo>
                  <a:pt x="564892" y="549211"/>
                  <a:pt x="569252" y="553476"/>
                  <a:pt x="569252" y="558808"/>
                </a:cubicBezTo>
                <a:cubicBezTo>
                  <a:pt x="569252" y="564051"/>
                  <a:pt x="564892" y="568405"/>
                  <a:pt x="559642" y="568405"/>
                </a:cubicBezTo>
                <a:lnTo>
                  <a:pt x="495665" y="568405"/>
                </a:lnTo>
                <a:cubicBezTo>
                  <a:pt x="490415" y="568405"/>
                  <a:pt x="486055" y="564051"/>
                  <a:pt x="486055" y="558808"/>
                </a:cubicBezTo>
                <a:cubicBezTo>
                  <a:pt x="486055" y="553476"/>
                  <a:pt x="490415" y="549211"/>
                  <a:pt x="495665" y="549211"/>
                </a:cubicBezTo>
                <a:close/>
                <a:moveTo>
                  <a:pt x="48000" y="549211"/>
                </a:moveTo>
                <a:lnTo>
                  <a:pt x="111991" y="549211"/>
                </a:lnTo>
                <a:cubicBezTo>
                  <a:pt x="117242" y="549211"/>
                  <a:pt x="121514" y="553476"/>
                  <a:pt x="121514" y="558808"/>
                </a:cubicBezTo>
                <a:cubicBezTo>
                  <a:pt x="121514" y="564051"/>
                  <a:pt x="117242" y="568405"/>
                  <a:pt x="111991" y="568405"/>
                </a:cubicBezTo>
                <a:lnTo>
                  <a:pt x="48000" y="568405"/>
                </a:lnTo>
                <a:cubicBezTo>
                  <a:pt x="42660" y="568405"/>
                  <a:pt x="38388" y="564051"/>
                  <a:pt x="38388" y="558808"/>
                </a:cubicBezTo>
                <a:cubicBezTo>
                  <a:pt x="38388" y="553476"/>
                  <a:pt x="42660" y="549211"/>
                  <a:pt x="48000" y="549211"/>
                </a:cubicBezTo>
                <a:close/>
                <a:moveTo>
                  <a:pt x="201482" y="540673"/>
                </a:moveTo>
                <a:lnTo>
                  <a:pt x="406156" y="540673"/>
                </a:lnTo>
                <a:cubicBezTo>
                  <a:pt x="411498" y="540673"/>
                  <a:pt x="415771" y="544938"/>
                  <a:pt x="415771" y="550270"/>
                </a:cubicBezTo>
                <a:cubicBezTo>
                  <a:pt x="415771" y="555513"/>
                  <a:pt x="411498" y="559867"/>
                  <a:pt x="406156" y="559867"/>
                </a:cubicBezTo>
                <a:lnTo>
                  <a:pt x="201482" y="559867"/>
                </a:lnTo>
                <a:cubicBezTo>
                  <a:pt x="196140" y="559867"/>
                  <a:pt x="191867" y="555513"/>
                  <a:pt x="191867" y="550270"/>
                </a:cubicBezTo>
                <a:cubicBezTo>
                  <a:pt x="191867" y="544938"/>
                  <a:pt x="196140" y="540673"/>
                  <a:pt x="201482" y="540673"/>
                </a:cubicBezTo>
                <a:close/>
                <a:moveTo>
                  <a:pt x="124705" y="493888"/>
                </a:moveTo>
                <a:lnTo>
                  <a:pt x="482863" y="493888"/>
                </a:lnTo>
                <a:cubicBezTo>
                  <a:pt x="488204" y="493888"/>
                  <a:pt x="492476" y="498153"/>
                  <a:pt x="492476" y="503485"/>
                </a:cubicBezTo>
                <a:cubicBezTo>
                  <a:pt x="492476" y="508728"/>
                  <a:pt x="488204" y="513082"/>
                  <a:pt x="482863" y="513082"/>
                </a:cubicBezTo>
                <a:lnTo>
                  <a:pt x="124705" y="513082"/>
                </a:lnTo>
                <a:cubicBezTo>
                  <a:pt x="119453" y="513082"/>
                  <a:pt x="115092" y="508728"/>
                  <a:pt x="115092" y="503485"/>
                </a:cubicBezTo>
                <a:cubicBezTo>
                  <a:pt x="115092" y="498153"/>
                  <a:pt x="119453" y="493888"/>
                  <a:pt x="124705" y="493888"/>
                </a:cubicBezTo>
                <a:close/>
                <a:moveTo>
                  <a:pt x="334845" y="395943"/>
                </a:moveTo>
                <a:cubicBezTo>
                  <a:pt x="340184" y="395943"/>
                  <a:pt x="344456" y="400297"/>
                  <a:pt x="344456" y="405539"/>
                </a:cubicBezTo>
                <a:lnTo>
                  <a:pt x="344456" y="447034"/>
                </a:lnTo>
                <a:lnTo>
                  <a:pt x="387439" y="447034"/>
                </a:lnTo>
                <a:lnTo>
                  <a:pt x="387439" y="405539"/>
                </a:lnTo>
                <a:cubicBezTo>
                  <a:pt x="387439" y="400297"/>
                  <a:pt x="391711" y="395943"/>
                  <a:pt x="396962" y="395943"/>
                </a:cubicBezTo>
                <a:cubicBezTo>
                  <a:pt x="402301" y="395943"/>
                  <a:pt x="406573" y="400297"/>
                  <a:pt x="406573" y="405539"/>
                </a:cubicBezTo>
                <a:lnTo>
                  <a:pt x="406573" y="447034"/>
                </a:lnTo>
                <a:lnTo>
                  <a:pt x="449556" y="447034"/>
                </a:lnTo>
                <a:lnTo>
                  <a:pt x="449556" y="405539"/>
                </a:lnTo>
                <a:cubicBezTo>
                  <a:pt x="449556" y="400297"/>
                  <a:pt x="453828" y="395943"/>
                  <a:pt x="459167" y="395943"/>
                </a:cubicBezTo>
                <a:cubicBezTo>
                  <a:pt x="464418" y="395943"/>
                  <a:pt x="468689" y="400297"/>
                  <a:pt x="468689" y="405539"/>
                </a:cubicBezTo>
                <a:lnTo>
                  <a:pt x="468689" y="447034"/>
                </a:lnTo>
                <a:lnTo>
                  <a:pt x="475809" y="447034"/>
                </a:lnTo>
                <a:cubicBezTo>
                  <a:pt x="481148" y="447034"/>
                  <a:pt x="485420" y="451299"/>
                  <a:pt x="485420" y="456630"/>
                </a:cubicBezTo>
                <a:cubicBezTo>
                  <a:pt x="485420" y="461961"/>
                  <a:pt x="481148" y="466226"/>
                  <a:pt x="475809" y="466226"/>
                </a:cubicBezTo>
                <a:lnTo>
                  <a:pt x="319182" y="466226"/>
                </a:lnTo>
                <a:cubicBezTo>
                  <a:pt x="313843" y="466226"/>
                  <a:pt x="309571" y="461961"/>
                  <a:pt x="309571" y="456630"/>
                </a:cubicBezTo>
                <a:cubicBezTo>
                  <a:pt x="309571" y="451299"/>
                  <a:pt x="313843" y="447034"/>
                  <a:pt x="319182" y="447034"/>
                </a:cubicBezTo>
                <a:lnTo>
                  <a:pt x="325323" y="447034"/>
                </a:lnTo>
                <a:lnTo>
                  <a:pt x="325323" y="405539"/>
                </a:lnTo>
                <a:cubicBezTo>
                  <a:pt x="325323" y="400297"/>
                  <a:pt x="329594" y="395943"/>
                  <a:pt x="334845" y="395943"/>
                </a:cubicBezTo>
                <a:close/>
                <a:moveTo>
                  <a:pt x="148468" y="395943"/>
                </a:moveTo>
                <a:cubicBezTo>
                  <a:pt x="153806" y="395943"/>
                  <a:pt x="158077" y="400297"/>
                  <a:pt x="158077" y="405539"/>
                </a:cubicBezTo>
                <a:lnTo>
                  <a:pt x="158077" y="447034"/>
                </a:lnTo>
                <a:lnTo>
                  <a:pt x="200965" y="447034"/>
                </a:lnTo>
                <a:lnTo>
                  <a:pt x="200965" y="405539"/>
                </a:lnTo>
                <a:cubicBezTo>
                  <a:pt x="200965" y="400297"/>
                  <a:pt x="205325" y="395943"/>
                  <a:pt x="210575" y="395943"/>
                </a:cubicBezTo>
                <a:cubicBezTo>
                  <a:pt x="215914" y="395943"/>
                  <a:pt x="220184" y="400297"/>
                  <a:pt x="220184" y="405539"/>
                </a:cubicBezTo>
                <a:lnTo>
                  <a:pt x="220184" y="447034"/>
                </a:lnTo>
                <a:lnTo>
                  <a:pt x="263161" y="447034"/>
                </a:lnTo>
                <a:lnTo>
                  <a:pt x="263161" y="405539"/>
                </a:lnTo>
                <a:cubicBezTo>
                  <a:pt x="263161" y="400297"/>
                  <a:pt x="267432" y="395943"/>
                  <a:pt x="272682" y="395943"/>
                </a:cubicBezTo>
                <a:cubicBezTo>
                  <a:pt x="278021" y="395943"/>
                  <a:pt x="282292" y="400297"/>
                  <a:pt x="282292" y="405539"/>
                </a:cubicBezTo>
                <a:lnTo>
                  <a:pt x="282292" y="447034"/>
                </a:lnTo>
                <a:lnTo>
                  <a:pt x="287541" y="447034"/>
                </a:lnTo>
                <a:cubicBezTo>
                  <a:pt x="292880" y="447034"/>
                  <a:pt x="297151" y="451299"/>
                  <a:pt x="297151" y="456630"/>
                </a:cubicBezTo>
                <a:cubicBezTo>
                  <a:pt x="297151" y="461961"/>
                  <a:pt x="292880" y="466226"/>
                  <a:pt x="287541" y="466226"/>
                </a:cubicBezTo>
                <a:lnTo>
                  <a:pt x="135922" y="466226"/>
                </a:lnTo>
                <a:cubicBezTo>
                  <a:pt x="130583" y="466226"/>
                  <a:pt x="126312" y="461961"/>
                  <a:pt x="126312" y="456630"/>
                </a:cubicBezTo>
                <a:cubicBezTo>
                  <a:pt x="126312" y="451299"/>
                  <a:pt x="130583" y="447034"/>
                  <a:pt x="135922" y="447034"/>
                </a:cubicBezTo>
                <a:lnTo>
                  <a:pt x="138858" y="447034"/>
                </a:lnTo>
                <a:lnTo>
                  <a:pt x="138858" y="405539"/>
                </a:lnTo>
                <a:cubicBezTo>
                  <a:pt x="138858" y="400297"/>
                  <a:pt x="143218" y="395943"/>
                  <a:pt x="148468" y="395943"/>
                </a:cubicBezTo>
                <a:close/>
                <a:moveTo>
                  <a:pt x="572393" y="236312"/>
                </a:moveTo>
                <a:cubicBezTo>
                  <a:pt x="563581" y="236312"/>
                  <a:pt x="556461" y="243422"/>
                  <a:pt x="556461" y="252221"/>
                </a:cubicBezTo>
                <a:cubicBezTo>
                  <a:pt x="556461" y="261108"/>
                  <a:pt x="563581" y="268218"/>
                  <a:pt x="572393" y="268218"/>
                </a:cubicBezTo>
                <a:cubicBezTo>
                  <a:pt x="581293" y="268218"/>
                  <a:pt x="588414" y="261108"/>
                  <a:pt x="588414" y="252221"/>
                </a:cubicBezTo>
                <a:cubicBezTo>
                  <a:pt x="588414" y="243422"/>
                  <a:pt x="581293" y="236312"/>
                  <a:pt x="572393" y="236312"/>
                </a:cubicBezTo>
                <a:close/>
                <a:moveTo>
                  <a:pt x="303775" y="236312"/>
                </a:moveTo>
                <a:cubicBezTo>
                  <a:pt x="294963" y="236312"/>
                  <a:pt x="287843" y="243422"/>
                  <a:pt x="287843" y="252221"/>
                </a:cubicBezTo>
                <a:cubicBezTo>
                  <a:pt x="287843" y="261108"/>
                  <a:pt x="294963" y="268218"/>
                  <a:pt x="303775" y="268218"/>
                </a:cubicBezTo>
                <a:cubicBezTo>
                  <a:pt x="312587" y="268218"/>
                  <a:pt x="319796" y="261108"/>
                  <a:pt x="319796" y="252221"/>
                </a:cubicBezTo>
                <a:cubicBezTo>
                  <a:pt x="319796" y="243422"/>
                  <a:pt x="312587" y="236312"/>
                  <a:pt x="303775" y="236312"/>
                </a:cubicBezTo>
                <a:close/>
                <a:moveTo>
                  <a:pt x="35157" y="236312"/>
                </a:moveTo>
                <a:cubicBezTo>
                  <a:pt x="26346" y="236312"/>
                  <a:pt x="19225" y="243422"/>
                  <a:pt x="19225" y="252221"/>
                </a:cubicBezTo>
                <a:cubicBezTo>
                  <a:pt x="19225" y="261108"/>
                  <a:pt x="26346" y="268218"/>
                  <a:pt x="35157" y="268218"/>
                </a:cubicBezTo>
                <a:cubicBezTo>
                  <a:pt x="43969" y="268218"/>
                  <a:pt x="51178" y="261108"/>
                  <a:pt x="51178" y="252221"/>
                </a:cubicBezTo>
                <a:cubicBezTo>
                  <a:pt x="51178" y="243422"/>
                  <a:pt x="43969" y="236312"/>
                  <a:pt x="35157" y="236312"/>
                </a:cubicBezTo>
                <a:close/>
                <a:moveTo>
                  <a:pt x="201479" y="191585"/>
                </a:moveTo>
                <a:lnTo>
                  <a:pt x="239836" y="191585"/>
                </a:lnTo>
                <a:cubicBezTo>
                  <a:pt x="245087" y="191585"/>
                  <a:pt x="249448" y="195854"/>
                  <a:pt x="249448" y="201191"/>
                </a:cubicBezTo>
                <a:cubicBezTo>
                  <a:pt x="249448" y="206439"/>
                  <a:pt x="245087" y="210708"/>
                  <a:pt x="239836" y="210708"/>
                </a:cubicBezTo>
                <a:lnTo>
                  <a:pt x="201479" y="210708"/>
                </a:lnTo>
                <a:cubicBezTo>
                  <a:pt x="196139" y="210708"/>
                  <a:pt x="191867" y="206439"/>
                  <a:pt x="191867" y="201191"/>
                </a:cubicBezTo>
                <a:cubicBezTo>
                  <a:pt x="191867" y="195854"/>
                  <a:pt x="196139" y="191585"/>
                  <a:pt x="201479" y="191585"/>
                </a:cubicBezTo>
                <a:close/>
                <a:moveTo>
                  <a:pt x="201479" y="153339"/>
                </a:moveTo>
                <a:lnTo>
                  <a:pt x="239836" y="153339"/>
                </a:lnTo>
                <a:cubicBezTo>
                  <a:pt x="245087" y="153339"/>
                  <a:pt x="249448" y="157593"/>
                  <a:pt x="249448" y="162821"/>
                </a:cubicBezTo>
                <a:cubicBezTo>
                  <a:pt x="249448" y="168138"/>
                  <a:pt x="245087" y="172392"/>
                  <a:pt x="239836" y="172392"/>
                </a:cubicBezTo>
                <a:lnTo>
                  <a:pt x="201479" y="172392"/>
                </a:lnTo>
                <a:cubicBezTo>
                  <a:pt x="196139" y="172392"/>
                  <a:pt x="191867" y="168138"/>
                  <a:pt x="191867" y="162821"/>
                </a:cubicBezTo>
                <a:cubicBezTo>
                  <a:pt x="191867" y="157593"/>
                  <a:pt x="196139" y="153339"/>
                  <a:pt x="201479" y="153339"/>
                </a:cubicBezTo>
                <a:close/>
                <a:moveTo>
                  <a:pt x="470116" y="140496"/>
                </a:moveTo>
                <a:cubicBezTo>
                  <a:pt x="475364" y="140496"/>
                  <a:pt x="479633" y="144762"/>
                  <a:pt x="479633" y="150095"/>
                </a:cubicBezTo>
                <a:lnTo>
                  <a:pt x="479633" y="333984"/>
                </a:lnTo>
                <a:cubicBezTo>
                  <a:pt x="479633" y="339317"/>
                  <a:pt x="475364" y="343583"/>
                  <a:pt x="470116" y="343583"/>
                </a:cubicBezTo>
                <a:cubicBezTo>
                  <a:pt x="464779" y="343583"/>
                  <a:pt x="460510" y="339317"/>
                  <a:pt x="460510" y="333984"/>
                </a:cubicBezTo>
                <a:lnTo>
                  <a:pt x="460510" y="150095"/>
                </a:lnTo>
                <a:cubicBezTo>
                  <a:pt x="460510" y="144762"/>
                  <a:pt x="464779" y="140496"/>
                  <a:pt x="470116" y="140496"/>
                </a:cubicBezTo>
                <a:close/>
                <a:moveTo>
                  <a:pt x="201479" y="114881"/>
                </a:moveTo>
                <a:lnTo>
                  <a:pt x="239836" y="114881"/>
                </a:lnTo>
                <a:cubicBezTo>
                  <a:pt x="245087" y="114881"/>
                  <a:pt x="249448" y="119251"/>
                  <a:pt x="249448" y="124513"/>
                </a:cubicBezTo>
                <a:cubicBezTo>
                  <a:pt x="249448" y="129864"/>
                  <a:pt x="245087" y="134145"/>
                  <a:pt x="239836" y="134145"/>
                </a:cubicBezTo>
                <a:lnTo>
                  <a:pt x="201479" y="134145"/>
                </a:lnTo>
                <a:cubicBezTo>
                  <a:pt x="196139" y="134145"/>
                  <a:pt x="191867" y="129864"/>
                  <a:pt x="191867" y="124513"/>
                </a:cubicBezTo>
                <a:cubicBezTo>
                  <a:pt x="191867" y="119251"/>
                  <a:pt x="196139" y="114881"/>
                  <a:pt x="201479" y="114881"/>
                </a:cubicBezTo>
                <a:close/>
                <a:moveTo>
                  <a:pt x="393322" y="63932"/>
                </a:moveTo>
                <a:cubicBezTo>
                  <a:pt x="398659" y="63932"/>
                  <a:pt x="402928" y="68197"/>
                  <a:pt x="402928" y="73440"/>
                </a:cubicBezTo>
                <a:lnTo>
                  <a:pt x="402928" y="333986"/>
                </a:lnTo>
                <a:cubicBezTo>
                  <a:pt x="402928" y="339318"/>
                  <a:pt x="398659" y="343583"/>
                  <a:pt x="393322" y="343583"/>
                </a:cubicBezTo>
                <a:cubicBezTo>
                  <a:pt x="388074" y="343583"/>
                  <a:pt x="383805" y="339318"/>
                  <a:pt x="383805" y="333986"/>
                </a:cubicBezTo>
                <a:lnTo>
                  <a:pt x="383805" y="73440"/>
                </a:lnTo>
                <a:cubicBezTo>
                  <a:pt x="383805" y="68197"/>
                  <a:pt x="388074" y="63932"/>
                  <a:pt x="393322" y="63932"/>
                </a:cubicBezTo>
                <a:close/>
                <a:moveTo>
                  <a:pt x="559851" y="55551"/>
                </a:moveTo>
                <a:cubicBezTo>
                  <a:pt x="564837" y="53418"/>
                  <a:pt x="570447" y="54040"/>
                  <a:pt x="574899" y="56973"/>
                </a:cubicBezTo>
                <a:cubicBezTo>
                  <a:pt x="579352" y="59905"/>
                  <a:pt x="582023" y="64882"/>
                  <a:pt x="582023" y="70214"/>
                </a:cubicBezTo>
                <a:lnTo>
                  <a:pt x="582023" y="191515"/>
                </a:lnTo>
                <a:cubicBezTo>
                  <a:pt x="582023" y="196846"/>
                  <a:pt x="577749" y="201112"/>
                  <a:pt x="572406" y="201112"/>
                </a:cubicBezTo>
                <a:cubicBezTo>
                  <a:pt x="567152" y="201112"/>
                  <a:pt x="562878" y="196846"/>
                  <a:pt x="562878" y="191515"/>
                </a:cubicBezTo>
                <a:lnTo>
                  <a:pt x="562878" y="75012"/>
                </a:lnTo>
                <a:lnTo>
                  <a:pt x="467421" y="114735"/>
                </a:lnTo>
                <a:cubicBezTo>
                  <a:pt x="462524" y="116779"/>
                  <a:pt x="456914" y="114468"/>
                  <a:pt x="454866" y="109581"/>
                </a:cubicBezTo>
                <a:cubicBezTo>
                  <a:pt x="452818" y="104693"/>
                  <a:pt x="455133" y="99095"/>
                  <a:pt x="460031" y="97051"/>
                </a:cubicBezTo>
                <a:close/>
                <a:moveTo>
                  <a:pt x="35158" y="25474"/>
                </a:moveTo>
                <a:lnTo>
                  <a:pt x="111971" y="25474"/>
                </a:lnTo>
                <a:cubicBezTo>
                  <a:pt x="131286" y="25474"/>
                  <a:pt x="147129" y="41293"/>
                  <a:pt x="147129" y="60667"/>
                </a:cubicBezTo>
                <a:cubicBezTo>
                  <a:pt x="147129" y="66799"/>
                  <a:pt x="145438" y="72842"/>
                  <a:pt x="142412" y="78174"/>
                </a:cubicBezTo>
                <a:cubicBezTo>
                  <a:pt x="139741" y="82796"/>
                  <a:pt x="133867" y="84395"/>
                  <a:pt x="129239" y="81729"/>
                </a:cubicBezTo>
                <a:cubicBezTo>
                  <a:pt x="124699" y="79063"/>
                  <a:pt x="123097" y="73198"/>
                  <a:pt x="125767" y="68576"/>
                </a:cubicBezTo>
                <a:cubicBezTo>
                  <a:pt x="127191" y="66177"/>
                  <a:pt x="127903" y="63422"/>
                  <a:pt x="127903" y="60667"/>
                </a:cubicBezTo>
                <a:cubicBezTo>
                  <a:pt x="127903" y="51869"/>
                  <a:pt x="120783" y="44670"/>
                  <a:pt x="111971" y="44670"/>
                </a:cubicBezTo>
                <a:lnTo>
                  <a:pt x="35158" y="44670"/>
                </a:lnTo>
                <a:cubicBezTo>
                  <a:pt x="26346" y="44670"/>
                  <a:pt x="19226" y="51869"/>
                  <a:pt x="19226" y="60667"/>
                </a:cubicBezTo>
                <a:cubicBezTo>
                  <a:pt x="19226" y="69465"/>
                  <a:pt x="26346" y="76575"/>
                  <a:pt x="35158" y="76575"/>
                </a:cubicBezTo>
                <a:lnTo>
                  <a:pt x="64174" y="76575"/>
                </a:lnTo>
                <a:cubicBezTo>
                  <a:pt x="67646" y="76575"/>
                  <a:pt x="70850" y="78441"/>
                  <a:pt x="72541" y="81374"/>
                </a:cubicBezTo>
                <a:cubicBezTo>
                  <a:pt x="74232" y="84395"/>
                  <a:pt x="74232" y="88039"/>
                  <a:pt x="72541" y="90972"/>
                </a:cubicBezTo>
                <a:cubicBezTo>
                  <a:pt x="71117" y="93460"/>
                  <a:pt x="70316" y="96126"/>
                  <a:pt x="70316" y="98970"/>
                </a:cubicBezTo>
                <a:cubicBezTo>
                  <a:pt x="70316" y="107768"/>
                  <a:pt x="77525" y="114878"/>
                  <a:pt x="86337" y="114878"/>
                </a:cubicBezTo>
                <a:lnTo>
                  <a:pt x="126390" y="114878"/>
                </a:lnTo>
                <a:cubicBezTo>
                  <a:pt x="131731" y="114878"/>
                  <a:pt x="136003" y="119233"/>
                  <a:pt x="136003" y="124476"/>
                </a:cubicBezTo>
                <a:cubicBezTo>
                  <a:pt x="136003" y="129808"/>
                  <a:pt x="131731" y="134074"/>
                  <a:pt x="126390" y="134074"/>
                </a:cubicBezTo>
                <a:lnTo>
                  <a:pt x="86337" y="134074"/>
                </a:lnTo>
                <a:cubicBezTo>
                  <a:pt x="66933" y="134074"/>
                  <a:pt x="51179" y="118344"/>
                  <a:pt x="51179" y="98970"/>
                </a:cubicBezTo>
                <a:cubicBezTo>
                  <a:pt x="51179" y="97904"/>
                  <a:pt x="51179" y="96837"/>
                  <a:pt x="51357" y="95771"/>
                </a:cubicBezTo>
                <a:lnTo>
                  <a:pt x="35158" y="95771"/>
                </a:lnTo>
                <a:cubicBezTo>
                  <a:pt x="15754" y="95771"/>
                  <a:pt x="0" y="80041"/>
                  <a:pt x="0" y="60667"/>
                </a:cubicBezTo>
                <a:cubicBezTo>
                  <a:pt x="0" y="41293"/>
                  <a:pt x="15754" y="25474"/>
                  <a:pt x="35158" y="25474"/>
                </a:cubicBezTo>
                <a:close/>
                <a:moveTo>
                  <a:pt x="297367" y="0"/>
                </a:moveTo>
                <a:lnTo>
                  <a:pt x="374178" y="0"/>
                </a:lnTo>
                <a:cubicBezTo>
                  <a:pt x="382990" y="0"/>
                  <a:pt x="390110" y="7199"/>
                  <a:pt x="390110" y="15997"/>
                </a:cubicBezTo>
                <a:lnTo>
                  <a:pt x="390110" y="25506"/>
                </a:lnTo>
                <a:lnTo>
                  <a:pt x="425356" y="25506"/>
                </a:lnTo>
                <a:cubicBezTo>
                  <a:pt x="434168" y="25506"/>
                  <a:pt x="441288" y="32705"/>
                  <a:pt x="441288" y="41504"/>
                </a:cubicBezTo>
                <a:lnTo>
                  <a:pt x="441288" y="357624"/>
                </a:lnTo>
                <a:lnTo>
                  <a:pt x="562869" y="357624"/>
                </a:lnTo>
                <a:lnTo>
                  <a:pt x="562869" y="286081"/>
                </a:lnTo>
                <a:cubicBezTo>
                  <a:pt x="548094" y="281904"/>
                  <a:pt x="537236" y="268307"/>
                  <a:pt x="537236" y="252221"/>
                </a:cubicBezTo>
                <a:cubicBezTo>
                  <a:pt x="537236" y="232935"/>
                  <a:pt x="553079" y="217116"/>
                  <a:pt x="572393" y="217116"/>
                </a:cubicBezTo>
                <a:cubicBezTo>
                  <a:pt x="591796" y="217116"/>
                  <a:pt x="607639" y="232935"/>
                  <a:pt x="607639" y="252221"/>
                </a:cubicBezTo>
                <a:cubicBezTo>
                  <a:pt x="607639" y="268307"/>
                  <a:pt x="596780" y="281904"/>
                  <a:pt x="582006" y="286081"/>
                </a:cubicBezTo>
                <a:lnTo>
                  <a:pt x="582006" y="357624"/>
                </a:lnTo>
                <a:lnTo>
                  <a:pt x="598026" y="357624"/>
                </a:lnTo>
                <a:cubicBezTo>
                  <a:pt x="603278" y="357624"/>
                  <a:pt x="607639" y="361889"/>
                  <a:pt x="607639" y="367222"/>
                </a:cubicBezTo>
                <a:cubicBezTo>
                  <a:pt x="607639" y="372465"/>
                  <a:pt x="603278" y="376820"/>
                  <a:pt x="598026" y="376820"/>
                </a:cubicBezTo>
                <a:lnTo>
                  <a:pt x="594822" y="376820"/>
                </a:lnTo>
                <a:lnTo>
                  <a:pt x="594822" y="447029"/>
                </a:lnTo>
                <a:lnTo>
                  <a:pt x="598026" y="447029"/>
                </a:lnTo>
                <a:cubicBezTo>
                  <a:pt x="603278" y="447029"/>
                  <a:pt x="607639" y="451295"/>
                  <a:pt x="607639" y="456628"/>
                </a:cubicBezTo>
                <a:cubicBezTo>
                  <a:pt x="607639" y="461871"/>
                  <a:pt x="603278" y="466226"/>
                  <a:pt x="598026" y="466226"/>
                </a:cubicBezTo>
                <a:lnTo>
                  <a:pt x="507152" y="466226"/>
                </a:lnTo>
                <a:cubicBezTo>
                  <a:pt x="501901" y="466226"/>
                  <a:pt x="497628" y="461871"/>
                  <a:pt x="497628" y="456628"/>
                </a:cubicBezTo>
                <a:cubicBezTo>
                  <a:pt x="497628" y="451295"/>
                  <a:pt x="501901" y="447029"/>
                  <a:pt x="507152" y="447029"/>
                </a:cubicBezTo>
                <a:lnTo>
                  <a:pt x="511691" y="447029"/>
                </a:lnTo>
                <a:lnTo>
                  <a:pt x="511691" y="405526"/>
                </a:lnTo>
                <a:cubicBezTo>
                  <a:pt x="511691" y="400282"/>
                  <a:pt x="515964" y="395928"/>
                  <a:pt x="521304" y="395928"/>
                </a:cubicBezTo>
                <a:cubicBezTo>
                  <a:pt x="526555" y="395928"/>
                  <a:pt x="530827" y="400282"/>
                  <a:pt x="530827" y="405526"/>
                </a:cubicBezTo>
                <a:lnTo>
                  <a:pt x="530827" y="447029"/>
                </a:lnTo>
                <a:lnTo>
                  <a:pt x="575597" y="447029"/>
                </a:lnTo>
                <a:lnTo>
                  <a:pt x="575597" y="376820"/>
                </a:lnTo>
                <a:lnTo>
                  <a:pt x="31953" y="376820"/>
                </a:lnTo>
                <a:lnTo>
                  <a:pt x="31953" y="447029"/>
                </a:lnTo>
                <a:lnTo>
                  <a:pt x="76723" y="447029"/>
                </a:lnTo>
                <a:lnTo>
                  <a:pt x="76723" y="405526"/>
                </a:lnTo>
                <a:cubicBezTo>
                  <a:pt x="76723" y="400282"/>
                  <a:pt x="81084" y="395928"/>
                  <a:pt x="86335" y="395928"/>
                </a:cubicBezTo>
                <a:cubicBezTo>
                  <a:pt x="91675" y="395928"/>
                  <a:pt x="95948" y="400282"/>
                  <a:pt x="95948" y="405526"/>
                </a:cubicBezTo>
                <a:lnTo>
                  <a:pt x="95948" y="447029"/>
                </a:lnTo>
                <a:lnTo>
                  <a:pt x="102623" y="447029"/>
                </a:lnTo>
                <a:cubicBezTo>
                  <a:pt x="107963" y="447029"/>
                  <a:pt x="112236" y="451295"/>
                  <a:pt x="112236" y="456628"/>
                </a:cubicBezTo>
                <a:cubicBezTo>
                  <a:pt x="112236" y="461871"/>
                  <a:pt x="107963" y="466226"/>
                  <a:pt x="102623" y="466226"/>
                </a:cubicBezTo>
                <a:lnTo>
                  <a:pt x="9613" y="466226"/>
                </a:lnTo>
                <a:cubicBezTo>
                  <a:pt x="4272" y="466226"/>
                  <a:pt x="0" y="461871"/>
                  <a:pt x="0" y="456628"/>
                </a:cubicBezTo>
                <a:cubicBezTo>
                  <a:pt x="0" y="451295"/>
                  <a:pt x="4272" y="447029"/>
                  <a:pt x="9613" y="447029"/>
                </a:cubicBezTo>
                <a:lnTo>
                  <a:pt x="12817" y="447029"/>
                </a:lnTo>
                <a:lnTo>
                  <a:pt x="12817" y="376820"/>
                </a:lnTo>
                <a:lnTo>
                  <a:pt x="9613" y="376820"/>
                </a:lnTo>
                <a:cubicBezTo>
                  <a:pt x="4272" y="376820"/>
                  <a:pt x="0" y="372465"/>
                  <a:pt x="0" y="367222"/>
                </a:cubicBezTo>
                <a:cubicBezTo>
                  <a:pt x="0" y="361889"/>
                  <a:pt x="4272" y="357624"/>
                  <a:pt x="9613" y="357624"/>
                </a:cubicBezTo>
                <a:lnTo>
                  <a:pt x="25545" y="357624"/>
                </a:lnTo>
                <a:lnTo>
                  <a:pt x="25545" y="286081"/>
                </a:lnTo>
                <a:cubicBezTo>
                  <a:pt x="10859" y="281904"/>
                  <a:pt x="0" y="268307"/>
                  <a:pt x="0" y="252221"/>
                </a:cubicBezTo>
                <a:cubicBezTo>
                  <a:pt x="0" y="232935"/>
                  <a:pt x="15754" y="217116"/>
                  <a:pt x="35157" y="217116"/>
                </a:cubicBezTo>
                <a:cubicBezTo>
                  <a:pt x="54560" y="217116"/>
                  <a:pt x="70314" y="232935"/>
                  <a:pt x="70314" y="252221"/>
                </a:cubicBezTo>
                <a:cubicBezTo>
                  <a:pt x="70314" y="268307"/>
                  <a:pt x="59545" y="281904"/>
                  <a:pt x="44770" y="286081"/>
                </a:cubicBezTo>
                <a:lnTo>
                  <a:pt x="44770" y="357624"/>
                </a:lnTo>
                <a:lnTo>
                  <a:pt x="236665" y="357624"/>
                </a:lnTo>
                <a:lnTo>
                  <a:pt x="236665" y="345359"/>
                </a:lnTo>
                <a:cubicBezTo>
                  <a:pt x="236665" y="315142"/>
                  <a:pt x="212011" y="290614"/>
                  <a:pt x="181749" y="290614"/>
                </a:cubicBezTo>
                <a:cubicBezTo>
                  <a:pt x="176675" y="290614"/>
                  <a:pt x="171691" y="291325"/>
                  <a:pt x="166796" y="292658"/>
                </a:cubicBezTo>
                <a:cubicBezTo>
                  <a:pt x="163859" y="293458"/>
                  <a:pt x="160744" y="292924"/>
                  <a:pt x="158340" y="291058"/>
                </a:cubicBezTo>
                <a:cubicBezTo>
                  <a:pt x="155937" y="289281"/>
                  <a:pt x="154602" y="286437"/>
                  <a:pt x="154602" y="283415"/>
                </a:cubicBezTo>
                <a:lnTo>
                  <a:pt x="154602" y="240045"/>
                </a:lnTo>
                <a:cubicBezTo>
                  <a:pt x="154602" y="209828"/>
                  <a:pt x="129948" y="185211"/>
                  <a:pt x="99686" y="185211"/>
                </a:cubicBezTo>
                <a:cubicBezTo>
                  <a:pt x="82508" y="185211"/>
                  <a:pt x="66576" y="193031"/>
                  <a:pt x="56073" y="206718"/>
                </a:cubicBezTo>
                <a:cubicBezTo>
                  <a:pt x="52869" y="210895"/>
                  <a:pt x="46817" y="211695"/>
                  <a:pt x="42634" y="208406"/>
                </a:cubicBezTo>
                <a:cubicBezTo>
                  <a:pt x="38450" y="205207"/>
                  <a:pt x="37649" y="199164"/>
                  <a:pt x="40853" y="194987"/>
                </a:cubicBezTo>
                <a:cubicBezTo>
                  <a:pt x="55005" y="176590"/>
                  <a:pt x="76456" y="166014"/>
                  <a:pt x="99686" y="166014"/>
                </a:cubicBezTo>
                <a:cubicBezTo>
                  <a:pt x="140539" y="166014"/>
                  <a:pt x="173738" y="199253"/>
                  <a:pt x="173738" y="240045"/>
                </a:cubicBezTo>
                <a:lnTo>
                  <a:pt x="173738" y="271861"/>
                </a:lnTo>
                <a:cubicBezTo>
                  <a:pt x="176408" y="271595"/>
                  <a:pt x="179079" y="271417"/>
                  <a:pt x="181749" y="271417"/>
                </a:cubicBezTo>
                <a:cubicBezTo>
                  <a:pt x="222602" y="271417"/>
                  <a:pt x="255801" y="304567"/>
                  <a:pt x="255801" y="345359"/>
                </a:cubicBezTo>
                <a:lnTo>
                  <a:pt x="255801" y="357624"/>
                </a:lnTo>
                <a:lnTo>
                  <a:pt x="294251" y="357624"/>
                </a:lnTo>
                <a:lnTo>
                  <a:pt x="294251" y="286081"/>
                </a:lnTo>
                <a:cubicBezTo>
                  <a:pt x="279477" y="281904"/>
                  <a:pt x="268618" y="268307"/>
                  <a:pt x="268618" y="252221"/>
                </a:cubicBezTo>
                <a:cubicBezTo>
                  <a:pt x="268618" y="232935"/>
                  <a:pt x="284372" y="217116"/>
                  <a:pt x="303775" y="217116"/>
                </a:cubicBezTo>
                <a:cubicBezTo>
                  <a:pt x="323178" y="217116"/>
                  <a:pt x="339021" y="232935"/>
                  <a:pt x="339021" y="252221"/>
                </a:cubicBezTo>
                <a:cubicBezTo>
                  <a:pt x="339021" y="268307"/>
                  <a:pt x="328162" y="281904"/>
                  <a:pt x="313388" y="286081"/>
                </a:cubicBezTo>
                <a:lnTo>
                  <a:pt x="313388" y="357624"/>
                </a:lnTo>
                <a:lnTo>
                  <a:pt x="422152" y="357624"/>
                </a:lnTo>
                <a:lnTo>
                  <a:pt x="422152" y="44703"/>
                </a:lnTo>
                <a:lnTo>
                  <a:pt x="386906" y="44703"/>
                </a:lnTo>
                <a:cubicBezTo>
                  <a:pt x="378094" y="44703"/>
                  <a:pt x="370974" y="37504"/>
                  <a:pt x="370974" y="28706"/>
                </a:cubicBezTo>
                <a:lnTo>
                  <a:pt x="370974" y="19196"/>
                </a:lnTo>
                <a:lnTo>
                  <a:pt x="300571" y="19196"/>
                </a:lnTo>
                <a:lnTo>
                  <a:pt x="300571" y="59989"/>
                </a:lnTo>
                <a:cubicBezTo>
                  <a:pt x="300571" y="65321"/>
                  <a:pt x="296299" y="69587"/>
                  <a:pt x="291047" y="69587"/>
                </a:cubicBezTo>
                <a:cubicBezTo>
                  <a:pt x="285707" y="69587"/>
                  <a:pt x="281435" y="65321"/>
                  <a:pt x="281435" y="59989"/>
                </a:cubicBezTo>
                <a:lnTo>
                  <a:pt x="281435" y="15997"/>
                </a:lnTo>
                <a:cubicBezTo>
                  <a:pt x="281435" y="7199"/>
                  <a:pt x="288555" y="0"/>
                  <a:pt x="297367" y="0"/>
                </a:cubicBezTo>
                <a:close/>
                <a:moveTo>
                  <a:pt x="188702" y="0"/>
                </a:moveTo>
                <a:cubicBezTo>
                  <a:pt x="193953" y="0"/>
                  <a:pt x="198313" y="4266"/>
                  <a:pt x="198313" y="9599"/>
                </a:cubicBezTo>
                <a:lnTo>
                  <a:pt x="198313" y="63904"/>
                </a:lnTo>
                <a:lnTo>
                  <a:pt x="238627" y="63904"/>
                </a:lnTo>
                <a:cubicBezTo>
                  <a:pt x="240674" y="63904"/>
                  <a:pt x="242632" y="64259"/>
                  <a:pt x="244590" y="64970"/>
                </a:cubicBezTo>
                <a:lnTo>
                  <a:pt x="303325" y="88523"/>
                </a:lnTo>
                <a:cubicBezTo>
                  <a:pt x="309465" y="90923"/>
                  <a:pt x="313381" y="96789"/>
                  <a:pt x="313381" y="103277"/>
                </a:cubicBezTo>
                <a:lnTo>
                  <a:pt x="313381" y="193488"/>
                </a:lnTo>
                <a:cubicBezTo>
                  <a:pt x="313381" y="198821"/>
                  <a:pt x="309109" y="203087"/>
                  <a:pt x="303770" y="203087"/>
                </a:cubicBezTo>
                <a:cubicBezTo>
                  <a:pt x="298519" y="203087"/>
                  <a:pt x="294248" y="198821"/>
                  <a:pt x="294248" y="193488"/>
                </a:cubicBezTo>
                <a:lnTo>
                  <a:pt x="294248" y="105499"/>
                </a:lnTo>
                <a:lnTo>
                  <a:pt x="238004" y="83012"/>
                </a:lnTo>
                <a:lnTo>
                  <a:pt x="172683" y="83012"/>
                </a:lnTo>
                <a:lnTo>
                  <a:pt x="172683" y="168602"/>
                </a:lnTo>
                <a:cubicBezTo>
                  <a:pt x="172683" y="173935"/>
                  <a:pt x="168412" y="178201"/>
                  <a:pt x="163072" y="178201"/>
                </a:cubicBezTo>
                <a:cubicBezTo>
                  <a:pt x="157822" y="178201"/>
                  <a:pt x="153550" y="173935"/>
                  <a:pt x="153550" y="168602"/>
                </a:cubicBezTo>
                <a:lnTo>
                  <a:pt x="153550" y="79813"/>
                </a:lnTo>
                <a:cubicBezTo>
                  <a:pt x="153550" y="71014"/>
                  <a:pt x="160669" y="63904"/>
                  <a:pt x="169480" y="63904"/>
                </a:cubicBezTo>
                <a:lnTo>
                  <a:pt x="179091" y="63904"/>
                </a:lnTo>
                <a:lnTo>
                  <a:pt x="179091" y="9599"/>
                </a:lnTo>
                <a:cubicBezTo>
                  <a:pt x="179091" y="4266"/>
                  <a:pt x="183363" y="0"/>
                  <a:pt x="188702" y="0"/>
                </a:cubicBezTo>
                <a:close/>
              </a:path>
            </a:pathLst>
          </a:custGeom>
          <a:solidFill>
            <a:srgbClr val="FE5817"/>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effectLst/>
              <a:uLnTx/>
              <a:uFillTx/>
            </a:endParaRPr>
          </a:p>
        </p:txBody>
      </p:sp>
      <p:sp>
        <p:nvSpPr>
          <p:cNvPr id="69" name="矩形 68"/>
          <p:cNvSpPr/>
          <p:nvPr/>
        </p:nvSpPr>
        <p:spPr>
          <a:xfrm>
            <a:off x="1427932" y="4340340"/>
            <a:ext cx="3051535" cy="307777"/>
          </a:xfrm>
          <a:prstGeom prst="rect">
            <a:avLst/>
          </a:prstGeom>
        </p:spPr>
        <p:txBody>
          <a:bodyPr wrap="square">
            <a:spAutoFit/>
          </a:bodyPr>
          <a:lstStyle/>
          <a:p>
            <a:pPr lvl="0" latinLnBrk="1">
              <a:defRPr/>
            </a:pPr>
            <a:r>
              <a:rPr lang="en-US" altLang="zh-CN" sz="1400" kern="0" dirty="0" err="1"/>
              <a:t>xxxxxxxxxxxxxxxxxxxx</a:t>
            </a:r>
            <a:endParaRPr kumimoji="0" lang="zh-CN" altLang="en-US" sz="1400" b="0" i="0" u="none" strike="noStrike" kern="0" cap="none" spc="0" normalizeH="0" baseline="0" noProof="0" dirty="0">
              <a:ln>
                <a:noFill/>
              </a:ln>
              <a:effectLst/>
              <a:uLnTx/>
              <a:uFillTx/>
            </a:endParaRPr>
          </a:p>
        </p:txBody>
      </p:sp>
      <p:sp>
        <p:nvSpPr>
          <p:cNvPr id="70" name="矩形 69"/>
          <p:cNvSpPr/>
          <p:nvPr/>
        </p:nvSpPr>
        <p:spPr>
          <a:xfrm>
            <a:off x="991748" y="3375196"/>
            <a:ext cx="2987968" cy="307777"/>
          </a:xfrm>
          <a:prstGeom prst="rect">
            <a:avLst/>
          </a:prstGeom>
        </p:spPr>
        <p:txBody>
          <a:bodyPr wrap="square">
            <a:spAutoFit/>
          </a:bodyPr>
          <a:lstStyle/>
          <a:p>
            <a:pPr lvl="0">
              <a:spcAft>
                <a:spcPts val="600"/>
              </a:spcAft>
              <a:buClr>
                <a:srgbClr val="FFFFFF"/>
              </a:buClr>
              <a:defRPr/>
            </a:pPr>
            <a:r>
              <a:rPr lang="en-US" altLang="zh-CN" sz="1400" kern="0" dirty="0" err="1"/>
              <a:t>xxxxxxxxxxxxxxxxxxxx</a:t>
            </a:r>
            <a:endParaRPr kumimoji="0" lang="en-US" altLang="zh-CN" sz="1400" b="0" i="0" u="none" strike="noStrike" kern="0" cap="none" spc="0" normalizeH="0" baseline="0" noProof="0" dirty="0">
              <a:ln>
                <a:noFill/>
              </a:ln>
              <a:effectLst/>
              <a:uLnTx/>
              <a:uFillTx/>
              <a:cs typeface="Arial" panose="020B0604020202020204" pitchFamily="34" charset="0"/>
            </a:endParaRPr>
          </a:p>
        </p:txBody>
      </p:sp>
      <p:sp>
        <p:nvSpPr>
          <p:cNvPr id="71" name="矩形 70"/>
          <p:cNvSpPr/>
          <p:nvPr/>
        </p:nvSpPr>
        <p:spPr>
          <a:xfrm>
            <a:off x="1805478" y="1657219"/>
            <a:ext cx="3476426" cy="307777"/>
          </a:xfrm>
          <a:prstGeom prst="rect">
            <a:avLst/>
          </a:prstGeom>
        </p:spPr>
        <p:txBody>
          <a:bodyPr wrap="square">
            <a:spAutoFit/>
          </a:bodyPr>
          <a:lstStyle/>
          <a:p>
            <a:pPr marL="0" marR="0" lvl="0" indent="0" defTabSz="914400" eaLnBrk="1" fontAlgn="auto" latinLnBrk="1"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effectLst/>
                <a:uLnTx/>
                <a:uFillTx/>
              </a:rPr>
              <a:t>xxxxxxxxxxxxxxxxxxxxx</a:t>
            </a:r>
            <a:endParaRPr kumimoji="0" lang="zh-CN" altLang="en-US" sz="1400" b="0" i="0" u="none" strike="noStrike" kern="0" cap="none" spc="0" normalizeH="0" baseline="0" noProof="0" dirty="0">
              <a:ln>
                <a:noFill/>
              </a:ln>
              <a:effectLst/>
              <a:uLnTx/>
              <a:uFillTx/>
            </a:endParaRPr>
          </a:p>
        </p:txBody>
      </p:sp>
      <p:sp>
        <p:nvSpPr>
          <p:cNvPr id="72" name="椭圆 71"/>
          <p:cNvSpPr/>
          <p:nvPr/>
        </p:nvSpPr>
        <p:spPr>
          <a:xfrm>
            <a:off x="977861" y="1232115"/>
            <a:ext cx="920682" cy="929681"/>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36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rPr>
              <a:t>医</a:t>
            </a:r>
            <a:endParaRPr kumimoji="0" lang="zh-CN" altLang="en-US" sz="36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endParaRPr>
          </a:p>
        </p:txBody>
      </p:sp>
      <p:sp>
        <p:nvSpPr>
          <p:cNvPr id="73" name="椭圆 72"/>
          <p:cNvSpPr/>
          <p:nvPr/>
        </p:nvSpPr>
        <p:spPr>
          <a:xfrm>
            <a:off x="791272" y="4261747"/>
            <a:ext cx="618987" cy="618987"/>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rPr>
              <a:t>学</a:t>
            </a:r>
            <a:endPar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endParaRPr>
          </a:p>
        </p:txBody>
      </p:sp>
      <p:sp>
        <p:nvSpPr>
          <p:cNvPr id="74" name="椭圆 73"/>
          <p:cNvSpPr/>
          <p:nvPr/>
        </p:nvSpPr>
        <p:spPr>
          <a:xfrm>
            <a:off x="373271" y="3367976"/>
            <a:ext cx="618987" cy="618987"/>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rPr>
              <a:t>住</a:t>
            </a:r>
            <a:endPar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endParaRPr>
          </a:p>
        </p:txBody>
      </p:sp>
      <p:sp>
        <p:nvSpPr>
          <p:cNvPr id="75" name="椭圆 74"/>
          <p:cNvSpPr/>
          <p:nvPr/>
        </p:nvSpPr>
        <p:spPr>
          <a:xfrm>
            <a:off x="1209274" y="5185819"/>
            <a:ext cx="618987" cy="618987"/>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rPr>
              <a:t>安</a:t>
            </a:r>
            <a:endPar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endParaRPr>
          </a:p>
        </p:txBody>
      </p:sp>
      <p:sp>
        <p:nvSpPr>
          <p:cNvPr id="76" name="椭圆 75"/>
          <p:cNvSpPr/>
          <p:nvPr/>
        </p:nvSpPr>
        <p:spPr>
          <a:xfrm>
            <a:off x="3979716" y="3711815"/>
            <a:ext cx="550295" cy="550294"/>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600" b="0" i="0" u="none" strike="noStrike" kern="0" cap="none" spc="0" normalizeH="0" baseline="0" noProof="0" dirty="0">
              <a:ln>
                <a:noFill/>
              </a:ln>
              <a:effectLst/>
              <a:uLnTx/>
              <a:uFillTx/>
              <a:latin typeface="Arial" panose="020B0604020202020204"/>
              <a:ea typeface="华文楷体" panose="02010600040101010101" charset="-122"/>
              <a:cs typeface="+mn-cs"/>
            </a:endParaRPr>
          </a:p>
        </p:txBody>
      </p:sp>
      <p:sp>
        <p:nvSpPr>
          <p:cNvPr id="77" name="椭圆 76"/>
          <p:cNvSpPr/>
          <p:nvPr/>
        </p:nvSpPr>
        <p:spPr>
          <a:xfrm>
            <a:off x="4344760" y="4743721"/>
            <a:ext cx="550295" cy="550294"/>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600" b="0" i="0" u="none" strike="noStrike" kern="0" cap="none" spc="0" normalizeH="0" baseline="0" noProof="0" dirty="0">
              <a:ln>
                <a:noFill/>
              </a:ln>
              <a:effectLst/>
              <a:uLnTx/>
              <a:uFillTx/>
              <a:latin typeface="Arial" panose="020B0604020202020204"/>
              <a:ea typeface="华文楷体" panose="02010600040101010101" charset="-122"/>
              <a:cs typeface="+mn-cs"/>
            </a:endParaRPr>
          </a:p>
        </p:txBody>
      </p:sp>
      <p:sp>
        <p:nvSpPr>
          <p:cNvPr id="78" name="椭圆 77"/>
          <p:cNvSpPr/>
          <p:nvPr/>
        </p:nvSpPr>
        <p:spPr>
          <a:xfrm>
            <a:off x="5300459" y="1893971"/>
            <a:ext cx="550295" cy="550294"/>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600" b="0" i="0" u="none" strike="noStrike" kern="0" cap="none" spc="0" normalizeH="0" baseline="0" noProof="0" dirty="0">
              <a:ln>
                <a:noFill/>
              </a:ln>
              <a:effectLst/>
              <a:uLnTx/>
              <a:uFillTx/>
              <a:latin typeface="Arial" panose="020B0604020202020204"/>
              <a:ea typeface="华文楷体" panose="02010600040101010101" charset="-122"/>
              <a:cs typeface="+mn-cs"/>
            </a:endParaRPr>
          </a:p>
        </p:txBody>
      </p:sp>
      <p:sp>
        <p:nvSpPr>
          <p:cNvPr id="79" name="椭圆 78"/>
          <p:cNvSpPr/>
          <p:nvPr/>
        </p:nvSpPr>
        <p:spPr>
          <a:xfrm>
            <a:off x="6481765" y="1893971"/>
            <a:ext cx="550295" cy="550294"/>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600" b="0" i="0" u="none" strike="noStrike" kern="0" cap="none" spc="0" normalizeH="0" baseline="0" noProof="0" dirty="0">
              <a:ln>
                <a:noFill/>
              </a:ln>
              <a:effectLst/>
              <a:uLnTx/>
              <a:uFillTx/>
              <a:latin typeface="Arial" panose="020B0604020202020204"/>
              <a:ea typeface="华文楷体" panose="02010600040101010101" charset="-122"/>
              <a:cs typeface="+mn-cs"/>
            </a:endParaRPr>
          </a:p>
        </p:txBody>
      </p:sp>
      <p:sp>
        <p:nvSpPr>
          <p:cNvPr id="80" name="椭圆 79"/>
          <p:cNvSpPr/>
          <p:nvPr/>
        </p:nvSpPr>
        <p:spPr>
          <a:xfrm>
            <a:off x="7437464" y="2588326"/>
            <a:ext cx="550295" cy="550294"/>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600" b="0" i="0" u="none" strike="noStrike" kern="0" cap="none" spc="0" normalizeH="0" baseline="0" noProof="0" dirty="0">
              <a:ln>
                <a:noFill/>
              </a:ln>
              <a:effectLst/>
              <a:uLnTx/>
              <a:uFillTx/>
              <a:latin typeface="Arial" panose="020B0604020202020204"/>
              <a:ea typeface="华文楷体" panose="02010600040101010101" charset="-122"/>
              <a:cs typeface="+mn-cs"/>
            </a:endParaRPr>
          </a:p>
        </p:txBody>
      </p:sp>
      <p:sp>
        <p:nvSpPr>
          <p:cNvPr id="81" name="椭圆 80"/>
          <p:cNvSpPr/>
          <p:nvPr/>
        </p:nvSpPr>
        <p:spPr>
          <a:xfrm>
            <a:off x="7802508" y="3711815"/>
            <a:ext cx="550295" cy="550294"/>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600" b="0" i="0" u="none" strike="noStrike" kern="0" cap="none" spc="0" normalizeH="0" baseline="0" noProof="0" dirty="0">
              <a:ln>
                <a:noFill/>
              </a:ln>
              <a:effectLst/>
              <a:uLnTx/>
              <a:uFillTx/>
              <a:latin typeface="Arial" panose="020B0604020202020204"/>
              <a:ea typeface="华文楷体" panose="02010600040101010101" charset="-122"/>
              <a:cs typeface="+mn-cs"/>
            </a:endParaRPr>
          </a:p>
        </p:txBody>
      </p:sp>
      <p:sp>
        <p:nvSpPr>
          <p:cNvPr id="82" name="椭圆 81"/>
          <p:cNvSpPr/>
          <p:nvPr/>
        </p:nvSpPr>
        <p:spPr>
          <a:xfrm>
            <a:off x="6481765" y="5529660"/>
            <a:ext cx="550295" cy="550294"/>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600" b="0" i="0" u="none" strike="noStrike" kern="0" cap="none" spc="0" normalizeH="0" baseline="0" noProof="0" dirty="0">
              <a:ln>
                <a:noFill/>
              </a:ln>
              <a:effectLst/>
              <a:uLnTx/>
              <a:uFillTx/>
              <a:latin typeface="Arial" panose="020B0604020202020204"/>
              <a:ea typeface="华文楷体" panose="02010600040101010101" charset="-122"/>
              <a:cs typeface="+mn-cs"/>
            </a:endParaRPr>
          </a:p>
        </p:txBody>
      </p:sp>
      <p:sp>
        <p:nvSpPr>
          <p:cNvPr id="83" name="椭圆 82"/>
          <p:cNvSpPr/>
          <p:nvPr/>
        </p:nvSpPr>
        <p:spPr>
          <a:xfrm>
            <a:off x="5300459" y="5529660"/>
            <a:ext cx="550295" cy="550294"/>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600" b="0" i="0" u="none" strike="noStrike" kern="0" cap="none" spc="0" normalizeH="0" baseline="0" noProof="0" dirty="0">
              <a:ln>
                <a:noFill/>
              </a:ln>
              <a:effectLst/>
              <a:uLnTx/>
              <a:uFillTx/>
              <a:latin typeface="Arial" panose="020B0604020202020204"/>
              <a:ea typeface="华文楷体" panose="02010600040101010101" charset="-122"/>
              <a:cs typeface="+mn-cs"/>
            </a:endParaRPr>
          </a:p>
        </p:txBody>
      </p:sp>
      <p:sp>
        <p:nvSpPr>
          <p:cNvPr id="84" name="椭圆 83"/>
          <p:cNvSpPr/>
          <p:nvPr/>
        </p:nvSpPr>
        <p:spPr>
          <a:xfrm>
            <a:off x="10342286" y="1550131"/>
            <a:ext cx="618987" cy="618987"/>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rPr>
              <a:t>养</a:t>
            </a:r>
            <a:endPar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endParaRPr>
          </a:p>
        </p:txBody>
      </p:sp>
      <p:sp>
        <p:nvSpPr>
          <p:cNvPr id="85" name="椭圆 84"/>
          <p:cNvSpPr/>
          <p:nvPr/>
        </p:nvSpPr>
        <p:spPr>
          <a:xfrm>
            <a:off x="10813545" y="2459053"/>
            <a:ext cx="618987" cy="618987"/>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rPr>
              <a:t>保</a:t>
            </a:r>
            <a:endPar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endParaRPr>
          </a:p>
        </p:txBody>
      </p:sp>
      <p:sp>
        <p:nvSpPr>
          <p:cNvPr id="86" name="椭圆 85"/>
          <p:cNvSpPr/>
          <p:nvPr/>
        </p:nvSpPr>
        <p:spPr>
          <a:xfrm>
            <a:off x="11199741" y="3367976"/>
            <a:ext cx="618987" cy="618987"/>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rPr>
              <a:t>民</a:t>
            </a:r>
            <a:endPar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endParaRPr>
          </a:p>
        </p:txBody>
      </p:sp>
      <p:sp>
        <p:nvSpPr>
          <p:cNvPr id="87" name="椭圆 86"/>
          <p:cNvSpPr/>
          <p:nvPr/>
        </p:nvSpPr>
        <p:spPr>
          <a:xfrm>
            <a:off x="11092274" y="4276899"/>
            <a:ext cx="618987" cy="618987"/>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rPr>
              <a:t>政</a:t>
            </a:r>
            <a:endPar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endParaRPr>
          </a:p>
        </p:txBody>
      </p:sp>
      <p:sp>
        <p:nvSpPr>
          <p:cNvPr id="88" name="椭圆 87"/>
          <p:cNvSpPr/>
          <p:nvPr/>
        </p:nvSpPr>
        <p:spPr>
          <a:xfrm>
            <a:off x="10580753" y="5185819"/>
            <a:ext cx="618987" cy="618987"/>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rPr>
              <a:t>财</a:t>
            </a:r>
            <a:endPar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endParaRPr>
          </a:p>
        </p:txBody>
      </p:sp>
      <p:sp>
        <p:nvSpPr>
          <p:cNvPr id="89" name="矩形 88"/>
          <p:cNvSpPr/>
          <p:nvPr/>
        </p:nvSpPr>
        <p:spPr>
          <a:xfrm>
            <a:off x="1827739" y="5212712"/>
            <a:ext cx="2769457" cy="307777"/>
          </a:xfrm>
          <a:prstGeom prst="rect">
            <a:avLst/>
          </a:prstGeom>
        </p:spPr>
        <p:txBody>
          <a:bodyPr wrap="square">
            <a:spAutoFit/>
          </a:bodyPr>
          <a:lstStyle/>
          <a:p>
            <a:pPr>
              <a:defRPr/>
            </a:pPr>
            <a:r>
              <a:rPr lang="en-US" altLang="zh-CN" sz="1400" kern="0" dirty="0" err="1"/>
              <a:t>xxxxxxxxxxxxxxxxxxxx</a:t>
            </a:r>
            <a:endParaRPr lang="en-US" altLang="zh-CN" b="1" dirty="0">
              <a:cs typeface="Arial" panose="020B0604020202020204" pitchFamily="34" charset="0"/>
            </a:endParaRPr>
          </a:p>
        </p:txBody>
      </p:sp>
      <p:sp>
        <p:nvSpPr>
          <p:cNvPr id="90" name="矩形 89"/>
          <p:cNvSpPr/>
          <p:nvPr/>
        </p:nvSpPr>
        <p:spPr>
          <a:xfrm>
            <a:off x="7060213" y="1636515"/>
            <a:ext cx="3453052" cy="307777"/>
          </a:xfrm>
          <a:prstGeom prst="rect">
            <a:avLst/>
          </a:prstGeom>
        </p:spPr>
        <p:txBody>
          <a:bodyPr wrap="square">
            <a:spAutoFit/>
          </a:bodyPr>
          <a:lstStyle/>
          <a:p>
            <a:pPr lvl="0" latinLnBrk="1">
              <a:defRPr/>
            </a:pPr>
            <a:r>
              <a:rPr lang="en-US" altLang="zh-CN" sz="1400" kern="0" dirty="0" err="1"/>
              <a:t>xxxxxxxxxxxxxxxxxxxx</a:t>
            </a:r>
            <a:endParaRPr kumimoji="0" lang="zh-CN" altLang="en-US" sz="1400" b="0" i="0" u="none" strike="noStrike" kern="0" cap="none" spc="0" normalizeH="0" baseline="0" noProof="0" dirty="0">
              <a:ln>
                <a:noFill/>
              </a:ln>
              <a:effectLst/>
              <a:uLnTx/>
              <a:uFillTx/>
            </a:endParaRPr>
          </a:p>
        </p:txBody>
      </p:sp>
      <p:sp>
        <p:nvSpPr>
          <p:cNvPr id="91" name="矩形 90"/>
          <p:cNvSpPr/>
          <p:nvPr/>
        </p:nvSpPr>
        <p:spPr>
          <a:xfrm>
            <a:off x="7926352" y="2509115"/>
            <a:ext cx="2844661" cy="307777"/>
          </a:xfrm>
          <a:prstGeom prst="rect">
            <a:avLst/>
          </a:prstGeom>
        </p:spPr>
        <p:txBody>
          <a:bodyPr wrap="square">
            <a:spAutoFit/>
          </a:bodyPr>
          <a:lstStyle/>
          <a:p>
            <a:pPr latinLnBrk="1">
              <a:defRPr/>
            </a:pPr>
            <a:r>
              <a:rPr lang="en-US" altLang="zh-CN" sz="1400" kern="0" dirty="0" err="1"/>
              <a:t>xxxxxxxxxxxxxxxxxxxx</a:t>
            </a:r>
            <a:endParaRPr lang="en-US" altLang="zh-CN" sz="1400" dirty="0">
              <a:cs typeface="Arial" panose="020B0604020202020204" pitchFamily="34" charset="0"/>
            </a:endParaRPr>
          </a:p>
        </p:txBody>
      </p:sp>
      <p:sp>
        <p:nvSpPr>
          <p:cNvPr id="92" name="矩形 91"/>
          <p:cNvSpPr/>
          <p:nvPr/>
        </p:nvSpPr>
        <p:spPr>
          <a:xfrm>
            <a:off x="8311425" y="3468872"/>
            <a:ext cx="2888315" cy="307777"/>
          </a:xfrm>
          <a:prstGeom prst="rect">
            <a:avLst/>
          </a:prstGeom>
        </p:spPr>
        <p:txBody>
          <a:bodyPr wrap="square">
            <a:spAutoFit/>
          </a:bodyPr>
          <a:lstStyle/>
          <a:p>
            <a:pPr>
              <a:spcAft>
                <a:spcPts val="600"/>
              </a:spcAft>
              <a:buClr>
                <a:srgbClr val="FFFFFF"/>
              </a:buClr>
              <a:defRPr/>
            </a:pPr>
            <a:r>
              <a:rPr lang="en-US" altLang="zh-CN" sz="1400" kern="0" dirty="0" err="1"/>
              <a:t>xxxxxxxxxxxxxxxxxxxx</a:t>
            </a:r>
            <a:endParaRPr lang="en-US" altLang="zh-CN" sz="1400" dirty="0">
              <a:cs typeface="Arial" panose="020B0604020202020204" pitchFamily="34" charset="0"/>
            </a:endParaRPr>
          </a:p>
        </p:txBody>
      </p:sp>
      <p:sp>
        <p:nvSpPr>
          <p:cNvPr id="93" name="矩形 92"/>
          <p:cNvSpPr/>
          <p:nvPr/>
        </p:nvSpPr>
        <p:spPr>
          <a:xfrm>
            <a:off x="7941546" y="4300067"/>
            <a:ext cx="3258194" cy="307777"/>
          </a:xfrm>
          <a:prstGeom prst="rect">
            <a:avLst/>
          </a:prstGeom>
        </p:spPr>
        <p:txBody>
          <a:bodyPr wrap="square">
            <a:spAutoFit/>
          </a:bodyPr>
          <a:lstStyle/>
          <a:p>
            <a:pPr lvl="0">
              <a:defRPr/>
            </a:pPr>
            <a:r>
              <a:rPr lang="en-US" altLang="zh-CN" sz="1400" kern="0" dirty="0" err="1"/>
              <a:t>xxxxxxxxxxxxxxxxxxxx</a:t>
            </a:r>
            <a:endParaRPr kumimoji="0" lang="zh-CN" altLang="en-US" sz="1400" b="0" i="0" u="none" strike="noStrike" kern="0" cap="none" spc="0" normalizeH="0" baseline="0" noProof="0" dirty="0">
              <a:ln>
                <a:noFill/>
              </a:ln>
              <a:effectLst/>
              <a:uLnTx/>
              <a:uFillTx/>
            </a:endParaRPr>
          </a:p>
        </p:txBody>
      </p:sp>
      <p:sp>
        <p:nvSpPr>
          <p:cNvPr id="94" name="矩形 93"/>
          <p:cNvSpPr/>
          <p:nvPr/>
        </p:nvSpPr>
        <p:spPr>
          <a:xfrm>
            <a:off x="7983311" y="5219810"/>
            <a:ext cx="2649559" cy="307777"/>
          </a:xfrm>
          <a:prstGeom prst="rect">
            <a:avLst/>
          </a:prstGeom>
        </p:spPr>
        <p:txBody>
          <a:bodyPr wrap="square">
            <a:spAutoFit/>
          </a:bodyPr>
          <a:lstStyle/>
          <a:p>
            <a:pPr lvl="0" latinLnBrk="1">
              <a:defRPr/>
            </a:pPr>
            <a:r>
              <a:rPr lang="en-US" altLang="zh-CN" sz="1400" kern="0" dirty="0" err="1"/>
              <a:t>xxxxxxxxxxxxxxxxxxxx</a:t>
            </a:r>
            <a:endParaRPr kumimoji="0" lang="zh-CN" altLang="en-US" sz="1400" b="0" i="0" u="none" strike="noStrike" kern="0" cap="none" spc="0" normalizeH="0" baseline="0" noProof="0" dirty="0">
              <a:ln>
                <a:noFill/>
              </a:ln>
              <a:effectLst/>
              <a:uLnTx/>
              <a:uFillTx/>
            </a:endParaRPr>
          </a:p>
        </p:txBody>
      </p:sp>
      <p:sp>
        <p:nvSpPr>
          <p:cNvPr id="95" name="first-aid-kit_20438"/>
          <p:cNvSpPr>
            <a:spLocks noChangeAspect="1"/>
          </p:cNvSpPr>
          <p:nvPr/>
        </p:nvSpPr>
        <p:spPr bwMode="auto">
          <a:xfrm>
            <a:off x="5411261" y="2005842"/>
            <a:ext cx="328689" cy="326553"/>
          </a:xfrm>
          <a:custGeom>
            <a:avLst/>
            <a:gdLst>
              <a:gd name="T0" fmla="*/ 4069 w 4147"/>
              <a:gd name="T1" fmla="*/ 650 h 4126"/>
              <a:gd name="T2" fmla="*/ 3881 w 4147"/>
              <a:gd name="T3" fmla="*/ 573 h 4126"/>
              <a:gd name="T4" fmla="*/ 3155 w 4147"/>
              <a:gd name="T5" fmla="*/ 573 h 4126"/>
              <a:gd name="T6" fmla="*/ 3155 w 4147"/>
              <a:gd name="T7" fmla="*/ 204 h 4126"/>
              <a:gd name="T8" fmla="*/ 2952 w 4147"/>
              <a:gd name="T9" fmla="*/ 0 h 4126"/>
              <a:gd name="T10" fmla="*/ 1195 w 4147"/>
              <a:gd name="T11" fmla="*/ 0 h 4126"/>
              <a:gd name="T12" fmla="*/ 991 w 4147"/>
              <a:gd name="T13" fmla="*/ 204 h 4126"/>
              <a:gd name="T14" fmla="*/ 991 w 4147"/>
              <a:gd name="T15" fmla="*/ 573 h 4126"/>
              <a:gd name="T16" fmla="*/ 266 w 4147"/>
              <a:gd name="T17" fmla="*/ 573 h 4126"/>
              <a:gd name="T18" fmla="*/ 0 w 4147"/>
              <a:gd name="T19" fmla="*/ 838 h 4126"/>
              <a:gd name="T20" fmla="*/ 0 w 4147"/>
              <a:gd name="T21" fmla="*/ 3861 h 4126"/>
              <a:gd name="T22" fmla="*/ 266 w 4147"/>
              <a:gd name="T23" fmla="*/ 4126 h 4126"/>
              <a:gd name="T24" fmla="*/ 3881 w 4147"/>
              <a:gd name="T25" fmla="*/ 4126 h 4126"/>
              <a:gd name="T26" fmla="*/ 4146 w 4147"/>
              <a:gd name="T27" fmla="*/ 3861 h 4126"/>
              <a:gd name="T28" fmla="*/ 4146 w 4147"/>
              <a:gd name="T29" fmla="*/ 838 h 4126"/>
              <a:gd name="T30" fmla="*/ 4069 w 4147"/>
              <a:gd name="T31" fmla="*/ 650 h 4126"/>
              <a:gd name="T32" fmla="*/ 1239 w 4147"/>
              <a:gd name="T33" fmla="*/ 248 h 4126"/>
              <a:gd name="T34" fmla="*/ 2907 w 4147"/>
              <a:gd name="T35" fmla="*/ 248 h 4126"/>
              <a:gd name="T36" fmla="*/ 2907 w 4147"/>
              <a:gd name="T37" fmla="*/ 717 h 4126"/>
              <a:gd name="T38" fmla="*/ 1239 w 4147"/>
              <a:gd name="T39" fmla="*/ 717 h 4126"/>
              <a:gd name="T40" fmla="*/ 1239 w 4147"/>
              <a:gd name="T41" fmla="*/ 248 h 4126"/>
              <a:gd name="T42" fmla="*/ 2969 w 4147"/>
              <a:gd name="T43" fmla="*/ 2543 h 4126"/>
              <a:gd name="T44" fmla="*/ 2266 w 4147"/>
              <a:gd name="T45" fmla="*/ 2543 h 4126"/>
              <a:gd name="T46" fmla="*/ 2266 w 4147"/>
              <a:gd name="T47" fmla="*/ 3246 h 4126"/>
              <a:gd name="T48" fmla="*/ 1880 w 4147"/>
              <a:gd name="T49" fmla="*/ 3246 h 4126"/>
              <a:gd name="T50" fmla="*/ 1880 w 4147"/>
              <a:gd name="T51" fmla="*/ 2543 h 4126"/>
              <a:gd name="T52" fmla="*/ 1177 w 4147"/>
              <a:gd name="T53" fmla="*/ 2543 h 4126"/>
              <a:gd name="T54" fmla="*/ 1177 w 4147"/>
              <a:gd name="T55" fmla="*/ 2156 h 4126"/>
              <a:gd name="T56" fmla="*/ 1880 w 4147"/>
              <a:gd name="T57" fmla="*/ 2156 h 4126"/>
              <a:gd name="T58" fmla="*/ 1880 w 4147"/>
              <a:gd name="T59" fmla="*/ 1453 h 4126"/>
              <a:gd name="T60" fmla="*/ 2266 w 4147"/>
              <a:gd name="T61" fmla="*/ 1453 h 4126"/>
              <a:gd name="T62" fmla="*/ 2266 w 4147"/>
              <a:gd name="T63" fmla="*/ 2156 h 4126"/>
              <a:gd name="T64" fmla="*/ 2969 w 4147"/>
              <a:gd name="T65" fmla="*/ 2156 h 4126"/>
              <a:gd name="T66" fmla="*/ 2969 w 4147"/>
              <a:gd name="T67" fmla="*/ 2543 h 4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47" h="4126">
                <a:moveTo>
                  <a:pt x="4069" y="650"/>
                </a:moveTo>
                <a:cubicBezTo>
                  <a:pt x="4019" y="600"/>
                  <a:pt x="3952" y="573"/>
                  <a:pt x="3881" y="573"/>
                </a:cubicBezTo>
                <a:lnTo>
                  <a:pt x="3155" y="573"/>
                </a:lnTo>
                <a:lnTo>
                  <a:pt x="3155" y="204"/>
                </a:lnTo>
                <a:cubicBezTo>
                  <a:pt x="3155" y="92"/>
                  <a:pt x="3064" y="0"/>
                  <a:pt x="2952" y="0"/>
                </a:cubicBezTo>
                <a:lnTo>
                  <a:pt x="1195" y="0"/>
                </a:lnTo>
                <a:cubicBezTo>
                  <a:pt x="1083" y="0"/>
                  <a:pt x="991" y="92"/>
                  <a:pt x="991" y="204"/>
                </a:cubicBezTo>
                <a:lnTo>
                  <a:pt x="991" y="573"/>
                </a:lnTo>
                <a:lnTo>
                  <a:pt x="266" y="573"/>
                </a:lnTo>
                <a:cubicBezTo>
                  <a:pt x="119" y="573"/>
                  <a:pt x="0" y="692"/>
                  <a:pt x="0" y="838"/>
                </a:cubicBezTo>
                <a:lnTo>
                  <a:pt x="0" y="3861"/>
                </a:lnTo>
                <a:cubicBezTo>
                  <a:pt x="0" y="4007"/>
                  <a:pt x="119" y="4126"/>
                  <a:pt x="266" y="4126"/>
                </a:cubicBezTo>
                <a:lnTo>
                  <a:pt x="3881" y="4126"/>
                </a:lnTo>
                <a:cubicBezTo>
                  <a:pt x="4027" y="4126"/>
                  <a:pt x="4146" y="4007"/>
                  <a:pt x="4146" y="3861"/>
                </a:cubicBezTo>
                <a:lnTo>
                  <a:pt x="4146" y="838"/>
                </a:lnTo>
                <a:cubicBezTo>
                  <a:pt x="4147" y="767"/>
                  <a:pt x="4119" y="700"/>
                  <a:pt x="4069" y="650"/>
                </a:cubicBezTo>
                <a:close/>
                <a:moveTo>
                  <a:pt x="1239" y="248"/>
                </a:moveTo>
                <a:lnTo>
                  <a:pt x="2907" y="248"/>
                </a:lnTo>
                <a:lnTo>
                  <a:pt x="2907" y="717"/>
                </a:lnTo>
                <a:lnTo>
                  <a:pt x="1239" y="717"/>
                </a:lnTo>
                <a:lnTo>
                  <a:pt x="1239" y="248"/>
                </a:lnTo>
                <a:close/>
                <a:moveTo>
                  <a:pt x="2969" y="2543"/>
                </a:moveTo>
                <a:lnTo>
                  <a:pt x="2266" y="2543"/>
                </a:lnTo>
                <a:lnTo>
                  <a:pt x="2266" y="3246"/>
                </a:lnTo>
                <a:lnTo>
                  <a:pt x="1880" y="3246"/>
                </a:lnTo>
                <a:lnTo>
                  <a:pt x="1880" y="2543"/>
                </a:lnTo>
                <a:lnTo>
                  <a:pt x="1177" y="2543"/>
                </a:lnTo>
                <a:lnTo>
                  <a:pt x="1177" y="2156"/>
                </a:lnTo>
                <a:lnTo>
                  <a:pt x="1880" y="2156"/>
                </a:lnTo>
                <a:lnTo>
                  <a:pt x="1880" y="1453"/>
                </a:lnTo>
                <a:lnTo>
                  <a:pt x="2266" y="1453"/>
                </a:lnTo>
                <a:lnTo>
                  <a:pt x="2266" y="2156"/>
                </a:lnTo>
                <a:lnTo>
                  <a:pt x="2969" y="2156"/>
                </a:lnTo>
                <a:lnTo>
                  <a:pt x="2969" y="2543"/>
                </a:lnTo>
                <a:close/>
              </a:path>
            </a:pathLst>
          </a:custGeom>
          <a:solidFill>
            <a:sysClr val="window" lastClr="FFFFF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effectLst/>
              <a:uLnTx/>
              <a:uFillTx/>
            </a:endParaRPr>
          </a:p>
        </p:txBody>
      </p:sp>
      <p:sp>
        <p:nvSpPr>
          <p:cNvPr id="96" name="open-book-top-view_43212"/>
          <p:cNvSpPr>
            <a:spLocks noChangeAspect="1"/>
          </p:cNvSpPr>
          <p:nvPr/>
        </p:nvSpPr>
        <p:spPr bwMode="auto">
          <a:xfrm>
            <a:off x="4452525" y="4906937"/>
            <a:ext cx="334765" cy="249988"/>
          </a:xfrm>
          <a:custGeom>
            <a:avLst/>
            <a:gdLst>
              <a:gd name="connsiteX0" fmla="*/ 462404 w 602788"/>
              <a:gd name="connsiteY0" fmla="*/ 304764 h 450137"/>
              <a:gd name="connsiteX1" fmla="*/ 531061 w 602788"/>
              <a:gd name="connsiteY1" fmla="*/ 312495 h 450137"/>
              <a:gd name="connsiteX2" fmla="*/ 526755 w 602788"/>
              <a:gd name="connsiteY2" fmla="*/ 325402 h 450137"/>
              <a:gd name="connsiteX3" fmla="*/ 355930 w 602788"/>
              <a:gd name="connsiteY3" fmla="*/ 346914 h 450137"/>
              <a:gd name="connsiteX4" fmla="*/ 348753 w 602788"/>
              <a:gd name="connsiteY4" fmla="*/ 334007 h 450137"/>
              <a:gd name="connsiteX5" fmla="*/ 462404 w 602788"/>
              <a:gd name="connsiteY5" fmla="*/ 304764 h 450137"/>
              <a:gd name="connsiteX6" fmla="*/ 149121 w 602788"/>
              <a:gd name="connsiteY6" fmla="*/ 303384 h 450137"/>
              <a:gd name="connsiteX7" fmla="*/ 262772 w 602788"/>
              <a:gd name="connsiteY7" fmla="*/ 332627 h 450137"/>
              <a:gd name="connsiteX8" fmla="*/ 255595 w 602788"/>
              <a:gd name="connsiteY8" fmla="*/ 345534 h 450137"/>
              <a:gd name="connsiteX9" fmla="*/ 84770 w 602788"/>
              <a:gd name="connsiteY9" fmla="*/ 325456 h 450137"/>
              <a:gd name="connsiteX10" fmla="*/ 80464 w 602788"/>
              <a:gd name="connsiteY10" fmla="*/ 311115 h 450137"/>
              <a:gd name="connsiteX11" fmla="*/ 149121 w 602788"/>
              <a:gd name="connsiteY11" fmla="*/ 303384 h 450137"/>
              <a:gd name="connsiteX12" fmla="*/ 462404 w 602788"/>
              <a:gd name="connsiteY12" fmla="*/ 266141 h 450137"/>
              <a:gd name="connsiteX13" fmla="*/ 531061 w 602788"/>
              <a:gd name="connsiteY13" fmla="*/ 273872 h 450137"/>
              <a:gd name="connsiteX14" fmla="*/ 526755 w 602788"/>
              <a:gd name="connsiteY14" fmla="*/ 286779 h 450137"/>
              <a:gd name="connsiteX15" fmla="*/ 355930 w 602788"/>
              <a:gd name="connsiteY15" fmla="*/ 308291 h 450137"/>
              <a:gd name="connsiteX16" fmla="*/ 348753 w 602788"/>
              <a:gd name="connsiteY16" fmla="*/ 295384 h 450137"/>
              <a:gd name="connsiteX17" fmla="*/ 462404 w 602788"/>
              <a:gd name="connsiteY17" fmla="*/ 266141 h 450137"/>
              <a:gd name="connsiteX18" fmla="*/ 149121 w 602788"/>
              <a:gd name="connsiteY18" fmla="*/ 264762 h 450137"/>
              <a:gd name="connsiteX19" fmla="*/ 262772 w 602788"/>
              <a:gd name="connsiteY19" fmla="*/ 294005 h 450137"/>
              <a:gd name="connsiteX20" fmla="*/ 255595 w 602788"/>
              <a:gd name="connsiteY20" fmla="*/ 306912 h 450137"/>
              <a:gd name="connsiteX21" fmla="*/ 84770 w 602788"/>
              <a:gd name="connsiteY21" fmla="*/ 285400 h 450137"/>
              <a:gd name="connsiteX22" fmla="*/ 80464 w 602788"/>
              <a:gd name="connsiteY22" fmla="*/ 272493 h 450137"/>
              <a:gd name="connsiteX23" fmla="*/ 149121 w 602788"/>
              <a:gd name="connsiteY23" fmla="*/ 264762 h 450137"/>
              <a:gd name="connsiteX24" fmla="*/ 462404 w 602788"/>
              <a:gd name="connsiteY24" fmla="*/ 227519 h 450137"/>
              <a:gd name="connsiteX25" fmla="*/ 531061 w 602788"/>
              <a:gd name="connsiteY25" fmla="*/ 235250 h 450137"/>
              <a:gd name="connsiteX26" fmla="*/ 526755 w 602788"/>
              <a:gd name="connsiteY26" fmla="*/ 248157 h 450137"/>
              <a:gd name="connsiteX27" fmla="*/ 355930 w 602788"/>
              <a:gd name="connsiteY27" fmla="*/ 269669 h 450137"/>
              <a:gd name="connsiteX28" fmla="*/ 348753 w 602788"/>
              <a:gd name="connsiteY28" fmla="*/ 256762 h 450137"/>
              <a:gd name="connsiteX29" fmla="*/ 462404 w 602788"/>
              <a:gd name="connsiteY29" fmla="*/ 227519 h 450137"/>
              <a:gd name="connsiteX30" fmla="*/ 149121 w 602788"/>
              <a:gd name="connsiteY30" fmla="*/ 225909 h 450137"/>
              <a:gd name="connsiteX31" fmla="*/ 262772 w 602788"/>
              <a:gd name="connsiteY31" fmla="*/ 255152 h 450137"/>
              <a:gd name="connsiteX32" fmla="*/ 255595 w 602788"/>
              <a:gd name="connsiteY32" fmla="*/ 268059 h 450137"/>
              <a:gd name="connsiteX33" fmla="*/ 84770 w 602788"/>
              <a:gd name="connsiteY33" fmla="*/ 246547 h 450137"/>
              <a:gd name="connsiteX34" fmla="*/ 80464 w 602788"/>
              <a:gd name="connsiteY34" fmla="*/ 233640 h 450137"/>
              <a:gd name="connsiteX35" fmla="*/ 149121 w 602788"/>
              <a:gd name="connsiteY35" fmla="*/ 225909 h 450137"/>
              <a:gd name="connsiteX36" fmla="*/ 462404 w 602788"/>
              <a:gd name="connsiteY36" fmla="*/ 189417 h 450137"/>
              <a:gd name="connsiteX37" fmla="*/ 531061 w 602788"/>
              <a:gd name="connsiteY37" fmla="*/ 196500 h 450137"/>
              <a:gd name="connsiteX38" fmla="*/ 526755 w 602788"/>
              <a:gd name="connsiteY38" fmla="*/ 210798 h 450137"/>
              <a:gd name="connsiteX39" fmla="*/ 355930 w 602788"/>
              <a:gd name="connsiteY39" fmla="*/ 230816 h 450137"/>
              <a:gd name="connsiteX40" fmla="*/ 348753 w 602788"/>
              <a:gd name="connsiteY40" fmla="*/ 219377 h 450137"/>
              <a:gd name="connsiteX41" fmla="*/ 462404 w 602788"/>
              <a:gd name="connsiteY41" fmla="*/ 189417 h 450137"/>
              <a:gd name="connsiteX42" fmla="*/ 149121 w 602788"/>
              <a:gd name="connsiteY42" fmla="*/ 188683 h 450137"/>
              <a:gd name="connsiteX43" fmla="*/ 262772 w 602788"/>
              <a:gd name="connsiteY43" fmla="*/ 217952 h 450137"/>
              <a:gd name="connsiteX44" fmla="*/ 255595 w 602788"/>
              <a:gd name="connsiteY44" fmla="*/ 229436 h 450137"/>
              <a:gd name="connsiteX45" fmla="*/ 84770 w 602788"/>
              <a:gd name="connsiteY45" fmla="*/ 209340 h 450137"/>
              <a:gd name="connsiteX46" fmla="*/ 80464 w 602788"/>
              <a:gd name="connsiteY46" fmla="*/ 196421 h 450137"/>
              <a:gd name="connsiteX47" fmla="*/ 149121 w 602788"/>
              <a:gd name="connsiteY47" fmla="*/ 188683 h 450137"/>
              <a:gd name="connsiteX48" fmla="*/ 462404 w 602788"/>
              <a:gd name="connsiteY48" fmla="*/ 148664 h 450137"/>
              <a:gd name="connsiteX49" fmla="*/ 531061 w 602788"/>
              <a:gd name="connsiteY49" fmla="*/ 156395 h 450137"/>
              <a:gd name="connsiteX50" fmla="*/ 526755 w 602788"/>
              <a:gd name="connsiteY50" fmla="*/ 169302 h 450137"/>
              <a:gd name="connsiteX51" fmla="*/ 355930 w 602788"/>
              <a:gd name="connsiteY51" fmla="*/ 190814 h 450137"/>
              <a:gd name="connsiteX52" fmla="*/ 348753 w 602788"/>
              <a:gd name="connsiteY52" fmla="*/ 177907 h 450137"/>
              <a:gd name="connsiteX53" fmla="*/ 462404 w 602788"/>
              <a:gd name="connsiteY53" fmla="*/ 148664 h 450137"/>
              <a:gd name="connsiteX54" fmla="*/ 149121 w 602788"/>
              <a:gd name="connsiteY54" fmla="*/ 147806 h 450137"/>
              <a:gd name="connsiteX55" fmla="*/ 262772 w 602788"/>
              <a:gd name="connsiteY55" fmla="*/ 177766 h 450137"/>
              <a:gd name="connsiteX56" fmla="*/ 255595 w 602788"/>
              <a:gd name="connsiteY56" fmla="*/ 189205 h 450137"/>
              <a:gd name="connsiteX57" fmla="*/ 84770 w 602788"/>
              <a:gd name="connsiteY57" fmla="*/ 169187 h 450137"/>
              <a:gd name="connsiteX58" fmla="*/ 80464 w 602788"/>
              <a:gd name="connsiteY58" fmla="*/ 154889 h 450137"/>
              <a:gd name="connsiteX59" fmla="*/ 149121 w 602788"/>
              <a:gd name="connsiteY59" fmla="*/ 147806 h 450137"/>
              <a:gd name="connsiteX60" fmla="*/ 462404 w 602788"/>
              <a:gd name="connsiteY60" fmla="*/ 111421 h 450137"/>
              <a:gd name="connsiteX61" fmla="*/ 531061 w 602788"/>
              <a:gd name="connsiteY61" fmla="*/ 119152 h 450137"/>
              <a:gd name="connsiteX62" fmla="*/ 526755 w 602788"/>
              <a:gd name="connsiteY62" fmla="*/ 132059 h 450137"/>
              <a:gd name="connsiteX63" fmla="*/ 355930 w 602788"/>
              <a:gd name="connsiteY63" fmla="*/ 153571 h 450137"/>
              <a:gd name="connsiteX64" fmla="*/ 348753 w 602788"/>
              <a:gd name="connsiteY64" fmla="*/ 140664 h 450137"/>
              <a:gd name="connsiteX65" fmla="*/ 462404 w 602788"/>
              <a:gd name="connsiteY65" fmla="*/ 111421 h 450137"/>
              <a:gd name="connsiteX66" fmla="*/ 149121 w 602788"/>
              <a:gd name="connsiteY66" fmla="*/ 110563 h 450137"/>
              <a:gd name="connsiteX67" fmla="*/ 262772 w 602788"/>
              <a:gd name="connsiteY67" fmla="*/ 140523 h 450137"/>
              <a:gd name="connsiteX68" fmla="*/ 255595 w 602788"/>
              <a:gd name="connsiteY68" fmla="*/ 151962 h 450137"/>
              <a:gd name="connsiteX69" fmla="*/ 84770 w 602788"/>
              <a:gd name="connsiteY69" fmla="*/ 131944 h 450137"/>
              <a:gd name="connsiteX70" fmla="*/ 80464 w 602788"/>
              <a:gd name="connsiteY70" fmla="*/ 117646 h 450137"/>
              <a:gd name="connsiteX71" fmla="*/ 149121 w 602788"/>
              <a:gd name="connsiteY71" fmla="*/ 110563 h 450137"/>
              <a:gd name="connsiteX72" fmla="*/ 462404 w 602788"/>
              <a:gd name="connsiteY72" fmla="*/ 71777 h 450137"/>
              <a:gd name="connsiteX73" fmla="*/ 531061 w 602788"/>
              <a:gd name="connsiteY73" fmla="*/ 78887 h 450137"/>
              <a:gd name="connsiteX74" fmla="*/ 526755 w 602788"/>
              <a:gd name="connsiteY74" fmla="*/ 93242 h 450137"/>
              <a:gd name="connsiteX75" fmla="*/ 355930 w 602788"/>
              <a:gd name="connsiteY75" fmla="*/ 113338 h 450137"/>
              <a:gd name="connsiteX76" fmla="*/ 348753 w 602788"/>
              <a:gd name="connsiteY76" fmla="*/ 101854 h 450137"/>
              <a:gd name="connsiteX77" fmla="*/ 462404 w 602788"/>
              <a:gd name="connsiteY77" fmla="*/ 71777 h 450137"/>
              <a:gd name="connsiteX78" fmla="*/ 149121 w 602788"/>
              <a:gd name="connsiteY78" fmla="*/ 71189 h 450137"/>
              <a:gd name="connsiteX79" fmla="*/ 262772 w 602788"/>
              <a:gd name="connsiteY79" fmla="*/ 100432 h 450137"/>
              <a:gd name="connsiteX80" fmla="*/ 255595 w 602788"/>
              <a:gd name="connsiteY80" fmla="*/ 113339 h 450137"/>
              <a:gd name="connsiteX81" fmla="*/ 84770 w 602788"/>
              <a:gd name="connsiteY81" fmla="*/ 91827 h 450137"/>
              <a:gd name="connsiteX82" fmla="*/ 80464 w 602788"/>
              <a:gd name="connsiteY82" fmla="*/ 78920 h 450137"/>
              <a:gd name="connsiteX83" fmla="*/ 149121 w 602788"/>
              <a:gd name="connsiteY83" fmla="*/ 71189 h 450137"/>
              <a:gd name="connsiteX84" fmla="*/ 466443 w 602788"/>
              <a:gd name="connsiteY84" fmla="*/ 17203 h 450137"/>
              <a:gd name="connsiteX85" fmla="*/ 317181 w 602788"/>
              <a:gd name="connsiteY85" fmla="*/ 68811 h 450137"/>
              <a:gd name="connsiteX86" fmla="*/ 317181 w 602788"/>
              <a:gd name="connsiteY86" fmla="*/ 279544 h 450137"/>
              <a:gd name="connsiteX87" fmla="*/ 307135 w 602788"/>
              <a:gd name="connsiteY87" fmla="*/ 268075 h 450137"/>
              <a:gd name="connsiteX88" fmla="*/ 307135 w 602788"/>
              <a:gd name="connsiteY88" fmla="*/ 407130 h 450137"/>
              <a:gd name="connsiteX89" fmla="*/ 477925 w 602788"/>
              <a:gd name="connsiteY89" fmla="*/ 368424 h 450137"/>
              <a:gd name="connsiteX90" fmla="*/ 561167 w 602788"/>
              <a:gd name="connsiteY90" fmla="*/ 382760 h 450137"/>
              <a:gd name="connsiteX91" fmla="*/ 561167 w 602788"/>
              <a:gd name="connsiteY91" fmla="*/ 31538 h 450137"/>
              <a:gd name="connsiteX92" fmla="*/ 466443 w 602788"/>
              <a:gd name="connsiteY92" fmla="*/ 17203 h 450137"/>
              <a:gd name="connsiteX93" fmla="*/ 140651 w 602788"/>
              <a:gd name="connsiteY93" fmla="*/ 17203 h 450137"/>
              <a:gd name="connsiteX94" fmla="*/ 45927 w 602788"/>
              <a:gd name="connsiteY94" fmla="*/ 31538 h 450137"/>
              <a:gd name="connsiteX95" fmla="*/ 45927 w 602788"/>
              <a:gd name="connsiteY95" fmla="*/ 382760 h 450137"/>
              <a:gd name="connsiteX96" fmla="*/ 126298 w 602788"/>
              <a:gd name="connsiteY96" fmla="*/ 369858 h 450137"/>
              <a:gd name="connsiteX97" fmla="*/ 301394 w 602788"/>
              <a:gd name="connsiteY97" fmla="*/ 407130 h 450137"/>
              <a:gd name="connsiteX98" fmla="*/ 301394 w 602788"/>
              <a:gd name="connsiteY98" fmla="*/ 268075 h 450137"/>
              <a:gd name="connsiteX99" fmla="*/ 291348 w 602788"/>
              <a:gd name="connsiteY99" fmla="*/ 279544 h 450137"/>
              <a:gd name="connsiteX100" fmla="*/ 291348 w 602788"/>
              <a:gd name="connsiteY100" fmla="*/ 68811 h 450137"/>
              <a:gd name="connsiteX101" fmla="*/ 140651 w 602788"/>
              <a:gd name="connsiteY101" fmla="*/ 17203 h 450137"/>
              <a:gd name="connsiteX102" fmla="*/ 140651 w 602788"/>
              <a:gd name="connsiteY102" fmla="*/ 0 h 450137"/>
              <a:gd name="connsiteX103" fmla="*/ 304264 w 602788"/>
              <a:gd name="connsiteY103" fmla="*/ 57342 h 450137"/>
              <a:gd name="connsiteX104" fmla="*/ 466443 w 602788"/>
              <a:gd name="connsiteY104" fmla="*/ 0 h 450137"/>
              <a:gd name="connsiteX105" fmla="*/ 572649 w 602788"/>
              <a:gd name="connsiteY105" fmla="*/ 18636 h 450137"/>
              <a:gd name="connsiteX106" fmla="*/ 578389 w 602788"/>
              <a:gd name="connsiteY106" fmla="*/ 20070 h 450137"/>
              <a:gd name="connsiteX107" fmla="*/ 578389 w 602788"/>
              <a:gd name="connsiteY107" fmla="*/ 57342 h 450137"/>
              <a:gd name="connsiteX108" fmla="*/ 602788 w 602788"/>
              <a:gd name="connsiteY108" fmla="*/ 74545 h 450137"/>
              <a:gd name="connsiteX109" fmla="*/ 602788 w 602788"/>
              <a:gd name="connsiteY109" fmla="*/ 435801 h 450137"/>
              <a:gd name="connsiteX110" fmla="*/ 341580 w 602788"/>
              <a:gd name="connsiteY110" fmla="*/ 435801 h 450137"/>
              <a:gd name="connsiteX111" fmla="*/ 304264 w 602788"/>
              <a:gd name="connsiteY111" fmla="*/ 450137 h 450137"/>
              <a:gd name="connsiteX112" fmla="*/ 266949 w 602788"/>
              <a:gd name="connsiteY112" fmla="*/ 435801 h 450137"/>
              <a:gd name="connsiteX113" fmla="*/ 0 w 602788"/>
              <a:gd name="connsiteY113" fmla="*/ 435801 h 450137"/>
              <a:gd name="connsiteX114" fmla="*/ 0 w 602788"/>
              <a:gd name="connsiteY114" fmla="*/ 74545 h 450137"/>
              <a:gd name="connsiteX115" fmla="*/ 28704 w 602788"/>
              <a:gd name="connsiteY115" fmla="*/ 55909 h 450137"/>
              <a:gd name="connsiteX116" fmla="*/ 28704 w 602788"/>
              <a:gd name="connsiteY116" fmla="*/ 20070 h 450137"/>
              <a:gd name="connsiteX117" fmla="*/ 34445 w 602788"/>
              <a:gd name="connsiteY117" fmla="*/ 18636 h 450137"/>
              <a:gd name="connsiteX118" fmla="*/ 140651 w 602788"/>
              <a:gd name="connsiteY118" fmla="*/ 0 h 45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602788" h="450137">
                <a:moveTo>
                  <a:pt x="462404" y="304764"/>
                </a:moveTo>
                <a:cubicBezTo>
                  <a:pt x="483779" y="304070"/>
                  <a:pt x="507017" y="306042"/>
                  <a:pt x="531061" y="312495"/>
                </a:cubicBezTo>
                <a:lnTo>
                  <a:pt x="526755" y="325402"/>
                </a:lnTo>
                <a:cubicBezTo>
                  <a:pt x="437754" y="302456"/>
                  <a:pt x="355930" y="345480"/>
                  <a:pt x="355930" y="346914"/>
                </a:cubicBezTo>
                <a:lnTo>
                  <a:pt x="348753" y="334007"/>
                </a:lnTo>
                <a:cubicBezTo>
                  <a:pt x="350906" y="332931"/>
                  <a:pt x="398278" y="306848"/>
                  <a:pt x="462404" y="304764"/>
                </a:cubicBezTo>
                <a:close/>
                <a:moveTo>
                  <a:pt x="149121" y="303384"/>
                </a:moveTo>
                <a:cubicBezTo>
                  <a:pt x="213247" y="305468"/>
                  <a:pt x="260619" y="331551"/>
                  <a:pt x="262772" y="332627"/>
                </a:cubicBezTo>
                <a:lnTo>
                  <a:pt x="255595" y="345534"/>
                </a:lnTo>
                <a:cubicBezTo>
                  <a:pt x="255595" y="345534"/>
                  <a:pt x="173771" y="301076"/>
                  <a:pt x="84770" y="325456"/>
                </a:cubicBezTo>
                <a:lnTo>
                  <a:pt x="80464" y="311115"/>
                </a:lnTo>
                <a:cubicBezTo>
                  <a:pt x="104509" y="304662"/>
                  <a:pt x="127746" y="302690"/>
                  <a:pt x="149121" y="303384"/>
                </a:cubicBezTo>
                <a:close/>
                <a:moveTo>
                  <a:pt x="462404" y="266141"/>
                </a:moveTo>
                <a:cubicBezTo>
                  <a:pt x="483779" y="265447"/>
                  <a:pt x="507017" y="267419"/>
                  <a:pt x="531061" y="273872"/>
                </a:cubicBezTo>
                <a:lnTo>
                  <a:pt x="526755" y="286779"/>
                </a:lnTo>
                <a:cubicBezTo>
                  <a:pt x="437754" y="262399"/>
                  <a:pt x="355930" y="306857"/>
                  <a:pt x="355930" y="308291"/>
                </a:cubicBezTo>
                <a:lnTo>
                  <a:pt x="348753" y="295384"/>
                </a:lnTo>
                <a:cubicBezTo>
                  <a:pt x="350906" y="294309"/>
                  <a:pt x="398278" y="268225"/>
                  <a:pt x="462404" y="266141"/>
                </a:cubicBezTo>
                <a:close/>
                <a:moveTo>
                  <a:pt x="149121" y="264762"/>
                </a:moveTo>
                <a:cubicBezTo>
                  <a:pt x="213247" y="266846"/>
                  <a:pt x="260619" y="292929"/>
                  <a:pt x="262772" y="294005"/>
                </a:cubicBezTo>
                <a:lnTo>
                  <a:pt x="255595" y="306912"/>
                </a:lnTo>
                <a:cubicBezTo>
                  <a:pt x="255595" y="306912"/>
                  <a:pt x="173771" y="262454"/>
                  <a:pt x="84770" y="285400"/>
                </a:cubicBezTo>
                <a:lnTo>
                  <a:pt x="80464" y="272493"/>
                </a:lnTo>
                <a:cubicBezTo>
                  <a:pt x="104509" y="266040"/>
                  <a:pt x="127746" y="264068"/>
                  <a:pt x="149121" y="264762"/>
                </a:cubicBezTo>
                <a:close/>
                <a:moveTo>
                  <a:pt x="462404" y="227519"/>
                </a:moveTo>
                <a:cubicBezTo>
                  <a:pt x="483779" y="226825"/>
                  <a:pt x="507017" y="228797"/>
                  <a:pt x="531061" y="235250"/>
                </a:cubicBezTo>
                <a:lnTo>
                  <a:pt x="526755" y="248157"/>
                </a:lnTo>
                <a:cubicBezTo>
                  <a:pt x="437754" y="223777"/>
                  <a:pt x="355930" y="268235"/>
                  <a:pt x="355930" y="269669"/>
                </a:cubicBezTo>
                <a:lnTo>
                  <a:pt x="348753" y="256762"/>
                </a:lnTo>
                <a:cubicBezTo>
                  <a:pt x="350906" y="255687"/>
                  <a:pt x="398278" y="229603"/>
                  <a:pt x="462404" y="227519"/>
                </a:cubicBezTo>
                <a:close/>
                <a:moveTo>
                  <a:pt x="149121" y="225909"/>
                </a:moveTo>
                <a:cubicBezTo>
                  <a:pt x="213247" y="227993"/>
                  <a:pt x="260619" y="254077"/>
                  <a:pt x="262772" y="255152"/>
                </a:cubicBezTo>
                <a:lnTo>
                  <a:pt x="255595" y="268059"/>
                </a:lnTo>
                <a:cubicBezTo>
                  <a:pt x="255595" y="266625"/>
                  <a:pt x="173771" y="223601"/>
                  <a:pt x="84770" y="246547"/>
                </a:cubicBezTo>
                <a:lnTo>
                  <a:pt x="80464" y="233640"/>
                </a:lnTo>
                <a:cubicBezTo>
                  <a:pt x="104509" y="227186"/>
                  <a:pt x="127746" y="225215"/>
                  <a:pt x="149121" y="225909"/>
                </a:cubicBezTo>
                <a:close/>
                <a:moveTo>
                  <a:pt x="462404" y="189417"/>
                </a:moveTo>
                <a:cubicBezTo>
                  <a:pt x="483779" y="188636"/>
                  <a:pt x="507017" y="190423"/>
                  <a:pt x="531061" y="196500"/>
                </a:cubicBezTo>
                <a:lnTo>
                  <a:pt x="526755" y="210798"/>
                </a:lnTo>
                <a:cubicBezTo>
                  <a:pt x="437754" y="186491"/>
                  <a:pt x="355930" y="230816"/>
                  <a:pt x="355930" y="230816"/>
                </a:cubicBezTo>
                <a:lnTo>
                  <a:pt x="348753" y="219377"/>
                </a:lnTo>
                <a:cubicBezTo>
                  <a:pt x="350906" y="217232"/>
                  <a:pt x="398278" y="191763"/>
                  <a:pt x="462404" y="189417"/>
                </a:cubicBezTo>
                <a:close/>
                <a:moveTo>
                  <a:pt x="149121" y="188683"/>
                </a:moveTo>
                <a:cubicBezTo>
                  <a:pt x="213247" y="190769"/>
                  <a:pt x="260619" y="216876"/>
                  <a:pt x="262772" y="217952"/>
                </a:cubicBezTo>
                <a:lnTo>
                  <a:pt x="255595" y="229436"/>
                </a:lnTo>
                <a:cubicBezTo>
                  <a:pt x="255595" y="229436"/>
                  <a:pt x="173771" y="184937"/>
                  <a:pt x="84770" y="209340"/>
                </a:cubicBezTo>
                <a:lnTo>
                  <a:pt x="80464" y="196421"/>
                </a:lnTo>
                <a:cubicBezTo>
                  <a:pt x="104509" y="189962"/>
                  <a:pt x="127746" y="187988"/>
                  <a:pt x="149121" y="188683"/>
                </a:cubicBezTo>
                <a:close/>
                <a:moveTo>
                  <a:pt x="462404" y="148664"/>
                </a:moveTo>
                <a:cubicBezTo>
                  <a:pt x="483779" y="147970"/>
                  <a:pt x="507017" y="149942"/>
                  <a:pt x="531061" y="156395"/>
                </a:cubicBezTo>
                <a:lnTo>
                  <a:pt x="526755" y="169302"/>
                </a:lnTo>
                <a:cubicBezTo>
                  <a:pt x="437754" y="146356"/>
                  <a:pt x="355930" y="189380"/>
                  <a:pt x="355930" y="190814"/>
                </a:cubicBezTo>
                <a:lnTo>
                  <a:pt x="348753" y="177907"/>
                </a:lnTo>
                <a:cubicBezTo>
                  <a:pt x="350906" y="176832"/>
                  <a:pt x="398278" y="150748"/>
                  <a:pt x="462404" y="148664"/>
                </a:cubicBezTo>
                <a:close/>
                <a:moveTo>
                  <a:pt x="149121" y="147806"/>
                </a:moveTo>
                <a:cubicBezTo>
                  <a:pt x="213247" y="150152"/>
                  <a:pt x="260619" y="175621"/>
                  <a:pt x="262772" y="177766"/>
                </a:cubicBezTo>
                <a:lnTo>
                  <a:pt x="255595" y="189205"/>
                </a:lnTo>
                <a:cubicBezTo>
                  <a:pt x="255595" y="189205"/>
                  <a:pt x="173771" y="144880"/>
                  <a:pt x="84770" y="169187"/>
                </a:cubicBezTo>
                <a:lnTo>
                  <a:pt x="80464" y="154889"/>
                </a:lnTo>
                <a:cubicBezTo>
                  <a:pt x="104509" y="148812"/>
                  <a:pt x="127746" y="147025"/>
                  <a:pt x="149121" y="147806"/>
                </a:cubicBezTo>
                <a:close/>
                <a:moveTo>
                  <a:pt x="462404" y="111421"/>
                </a:moveTo>
                <a:cubicBezTo>
                  <a:pt x="483779" y="110727"/>
                  <a:pt x="507017" y="112699"/>
                  <a:pt x="531061" y="119152"/>
                </a:cubicBezTo>
                <a:lnTo>
                  <a:pt x="526755" y="132059"/>
                </a:lnTo>
                <a:cubicBezTo>
                  <a:pt x="437754" y="109113"/>
                  <a:pt x="355930" y="153571"/>
                  <a:pt x="355930" y="153571"/>
                </a:cubicBezTo>
                <a:lnTo>
                  <a:pt x="348753" y="140664"/>
                </a:lnTo>
                <a:cubicBezTo>
                  <a:pt x="350906" y="139589"/>
                  <a:pt x="398278" y="113505"/>
                  <a:pt x="462404" y="111421"/>
                </a:cubicBezTo>
                <a:close/>
                <a:moveTo>
                  <a:pt x="149121" y="110563"/>
                </a:moveTo>
                <a:cubicBezTo>
                  <a:pt x="213247" y="112909"/>
                  <a:pt x="260619" y="138378"/>
                  <a:pt x="262772" y="140523"/>
                </a:cubicBezTo>
                <a:lnTo>
                  <a:pt x="255595" y="151962"/>
                </a:lnTo>
                <a:cubicBezTo>
                  <a:pt x="255595" y="151962"/>
                  <a:pt x="173771" y="107637"/>
                  <a:pt x="84770" y="131944"/>
                </a:cubicBezTo>
                <a:lnTo>
                  <a:pt x="80464" y="117646"/>
                </a:lnTo>
                <a:cubicBezTo>
                  <a:pt x="104509" y="111569"/>
                  <a:pt x="127746" y="109782"/>
                  <a:pt x="149121" y="110563"/>
                </a:cubicBezTo>
                <a:close/>
                <a:moveTo>
                  <a:pt x="462404" y="71777"/>
                </a:moveTo>
                <a:cubicBezTo>
                  <a:pt x="483779" y="70992"/>
                  <a:pt x="507017" y="72787"/>
                  <a:pt x="531061" y="78887"/>
                </a:cubicBezTo>
                <a:lnTo>
                  <a:pt x="526755" y="93242"/>
                </a:lnTo>
                <a:cubicBezTo>
                  <a:pt x="437754" y="68839"/>
                  <a:pt x="355930" y="113338"/>
                  <a:pt x="355930" y="113338"/>
                </a:cubicBezTo>
                <a:lnTo>
                  <a:pt x="348753" y="101854"/>
                </a:lnTo>
                <a:cubicBezTo>
                  <a:pt x="350906" y="99702"/>
                  <a:pt x="398278" y="74133"/>
                  <a:pt x="462404" y="71777"/>
                </a:cubicBezTo>
                <a:close/>
                <a:moveTo>
                  <a:pt x="149121" y="71189"/>
                </a:moveTo>
                <a:cubicBezTo>
                  <a:pt x="213247" y="73273"/>
                  <a:pt x="260619" y="99357"/>
                  <a:pt x="262772" y="100432"/>
                </a:cubicBezTo>
                <a:lnTo>
                  <a:pt x="255595" y="113339"/>
                </a:lnTo>
                <a:cubicBezTo>
                  <a:pt x="255595" y="111905"/>
                  <a:pt x="173771" y="67447"/>
                  <a:pt x="84770" y="91827"/>
                </a:cubicBezTo>
                <a:lnTo>
                  <a:pt x="80464" y="78920"/>
                </a:lnTo>
                <a:cubicBezTo>
                  <a:pt x="104509" y="72467"/>
                  <a:pt x="127746" y="70495"/>
                  <a:pt x="149121" y="71189"/>
                </a:cubicBezTo>
                <a:close/>
                <a:moveTo>
                  <a:pt x="466443" y="17203"/>
                </a:moveTo>
                <a:cubicBezTo>
                  <a:pt x="407599" y="17203"/>
                  <a:pt x="357367" y="34405"/>
                  <a:pt x="317181" y="68811"/>
                </a:cubicBezTo>
                <a:lnTo>
                  <a:pt x="317181" y="279544"/>
                </a:lnTo>
                <a:lnTo>
                  <a:pt x="307135" y="268075"/>
                </a:lnTo>
                <a:lnTo>
                  <a:pt x="307135" y="407130"/>
                </a:lnTo>
                <a:cubicBezTo>
                  <a:pt x="328663" y="397095"/>
                  <a:pt x="400423" y="368424"/>
                  <a:pt x="477925" y="368424"/>
                </a:cubicBezTo>
                <a:cubicBezTo>
                  <a:pt x="508064" y="368424"/>
                  <a:pt x="536768" y="374158"/>
                  <a:pt x="561167" y="382760"/>
                </a:cubicBezTo>
                <a:lnTo>
                  <a:pt x="561167" y="31538"/>
                </a:lnTo>
                <a:cubicBezTo>
                  <a:pt x="548250" y="27238"/>
                  <a:pt x="510935" y="17203"/>
                  <a:pt x="466443" y="17203"/>
                </a:cubicBezTo>
                <a:close/>
                <a:moveTo>
                  <a:pt x="140651" y="17203"/>
                </a:moveTo>
                <a:cubicBezTo>
                  <a:pt x="96159" y="17203"/>
                  <a:pt x="60279" y="27238"/>
                  <a:pt x="45927" y="31538"/>
                </a:cubicBezTo>
                <a:lnTo>
                  <a:pt x="45927" y="382760"/>
                </a:lnTo>
                <a:cubicBezTo>
                  <a:pt x="68890" y="374158"/>
                  <a:pt x="96159" y="369858"/>
                  <a:pt x="126298" y="369858"/>
                </a:cubicBezTo>
                <a:cubicBezTo>
                  <a:pt x="202365" y="369858"/>
                  <a:pt x="278431" y="398529"/>
                  <a:pt x="301394" y="407130"/>
                </a:cubicBezTo>
                <a:lnTo>
                  <a:pt x="301394" y="268075"/>
                </a:lnTo>
                <a:lnTo>
                  <a:pt x="291348" y="279544"/>
                </a:lnTo>
                <a:lnTo>
                  <a:pt x="291348" y="68811"/>
                </a:lnTo>
                <a:cubicBezTo>
                  <a:pt x="249726" y="34405"/>
                  <a:pt x="199494" y="17203"/>
                  <a:pt x="140651" y="17203"/>
                </a:cubicBezTo>
                <a:close/>
                <a:moveTo>
                  <a:pt x="140651" y="0"/>
                </a:moveTo>
                <a:cubicBezTo>
                  <a:pt x="203800" y="0"/>
                  <a:pt x="259773" y="20070"/>
                  <a:pt x="304264" y="57342"/>
                </a:cubicBezTo>
                <a:cubicBezTo>
                  <a:pt x="348756" y="20070"/>
                  <a:pt x="403294" y="0"/>
                  <a:pt x="466443" y="0"/>
                </a:cubicBezTo>
                <a:cubicBezTo>
                  <a:pt x="526722" y="0"/>
                  <a:pt x="571213" y="17203"/>
                  <a:pt x="572649" y="18636"/>
                </a:cubicBezTo>
                <a:lnTo>
                  <a:pt x="578389" y="20070"/>
                </a:lnTo>
                <a:lnTo>
                  <a:pt x="578389" y="57342"/>
                </a:lnTo>
                <a:cubicBezTo>
                  <a:pt x="592742" y="61643"/>
                  <a:pt x="602788" y="65944"/>
                  <a:pt x="602788" y="74545"/>
                </a:cubicBezTo>
                <a:lnTo>
                  <a:pt x="602788" y="435801"/>
                </a:lnTo>
                <a:lnTo>
                  <a:pt x="341580" y="435801"/>
                </a:lnTo>
                <a:cubicBezTo>
                  <a:pt x="332969" y="444403"/>
                  <a:pt x="320052" y="450137"/>
                  <a:pt x="304264" y="450137"/>
                </a:cubicBezTo>
                <a:cubicBezTo>
                  <a:pt x="289912" y="450137"/>
                  <a:pt x="275560" y="444403"/>
                  <a:pt x="266949" y="435801"/>
                </a:cubicBezTo>
                <a:lnTo>
                  <a:pt x="0" y="435801"/>
                </a:lnTo>
                <a:lnTo>
                  <a:pt x="0" y="74545"/>
                </a:lnTo>
                <a:cubicBezTo>
                  <a:pt x="0" y="64510"/>
                  <a:pt x="11482" y="58776"/>
                  <a:pt x="28704" y="55909"/>
                </a:cubicBezTo>
                <a:lnTo>
                  <a:pt x="28704" y="20070"/>
                </a:lnTo>
                <a:lnTo>
                  <a:pt x="34445" y="18636"/>
                </a:lnTo>
                <a:cubicBezTo>
                  <a:pt x="35880" y="17203"/>
                  <a:pt x="81807" y="0"/>
                  <a:pt x="140651" y="0"/>
                </a:cubicBezTo>
                <a:close/>
              </a:path>
            </a:pathLst>
          </a:custGeom>
          <a:solidFill>
            <a:sysClr val="window" lastClr="FFFFF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effectLst/>
              <a:uLnTx/>
              <a:uFillTx/>
            </a:endParaRPr>
          </a:p>
        </p:txBody>
      </p:sp>
      <p:sp>
        <p:nvSpPr>
          <p:cNvPr id="97" name="house-with-two-doors_21086"/>
          <p:cNvSpPr>
            <a:spLocks noChangeAspect="1"/>
          </p:cNvSpPr>
          <p:nvPr/>
        </p:nvSpPr>
        <p:spPr bwMode="auto">
          <a:xfrm>
            <a:off x="4058947" y="3823686"/>
            <a:ext cx="391831" cy="326553"/>
          </a:xfrm>
          <a:custGeom>
            <a:avLst/>
            <a:gdLst>
              <a:gd name="T0" fmla="*/ 657 w 810"/>
              <a:gd name="T1" fmla="*/ 202 h 676"/>
              <a:gd name="T2" fmla="*/ 657 w 810"/>
              <a:gd name="T3" fmla="*/ 39 h 676"/>
              <a:gd name="T4" fmla="*/ 569 w 810"/>
              <a:gd name="T5" fmla="*/ 39 h 676"/>
              <a:gd name="T6" fmla="*/ 569 w 810"/>
              <a:gd name="T7" fmla="*/ 132 h 676"/>
              <a:gd name="T8" fmla="*/ 405 w 810"/>
              <a:gd name="T9" fmla="*/ 0 h 676"/>
              <a:gd name="T10" fmla="*/ 0 w 810"/>
              <a:gd name="T11" fmla="*/ 324 h 676"/>
              <a:gd name="T12" fmla="*/ 111 w 810"/>
              <a:gd name="T13" fmla="*/ 324 h 676"/>
              <a:gd name="T14" fmla="*/ 111 w 810"/>
              <a:gd name="T15" fmla="*/ 676 h 676"/>
              <a:gd name="T16" fmla="*/ 698 w 810"/>
              <a:gd name="T17" fmla="*/ 676 h 676"/>
              <a:gd name="T18" fmla="*/ 698 w 810"/>
              <a:gd name="T19" fmla="*/ 324 h 676"/>
              <a:gd name="T20" fmla="*/ 810 w 810"/>
              <a:gd name="T21" fmla="*/ 324 h 676"/>
              <a:gd name="T22" fmla="*/ 657 w 810"/>
              <a:gd name="T23" fmla="*/ 202 h 676"/>
              <a:gd name="T24" fmla="*/ 657 w 810"/>
              <a:gd name="T25" fmla="*/ 635 h 676"/>
              <a:gd name="T26" fmla="*/ 509 w 810"/>
              <a:gd name="T27" fmla="*/ 635 h 676"/>
              <a:gd name="T28" fmla="*/ 509 w 810"/>
              <a:gd name="T29" fmla="*/ 441 h 676"/>
              <a:gd name="T30" fmla="*/ 410 w 810"/>
              <a:gd name="T31" fmla="*/ 441 h 676"/>
              <a:gd name="T32" fmla="*/ 410 w 810"/>
              <a:gd name="T33" fmla="*/ 635 h 676"/>
              <a:gd name="T34" fmla="*/ 400 w 810"/>
              <a:gd name="T35" fmla="*/ 635 h 676"/>
              <a:gd name="T36" fmla="*/ 400 w 810"/>
              <a:gd name="T37" fmla="*/ 441 h 676"/>
              <a:gd name="T38" fmla="*/ 301 w 810"/>
              <a:gd name="T39" fmla="*/ 441 h 676"/>
              <a:gd name="T40" fmla="*/ 301 w 810"/>
              <a:gd name="T41" fmla="*/ 635 h 676"/>
              <a:gd name="T42" fmla="*/ 153 w 810"/>
              <a:gd name="T43" fmla="*/ 635 h 676"/>
              <a:gd name="T44" fmla="*/ 153 w 810"/>
              <a:gd name="T45" fmla="*/ 324 h 676"/>
              <a:gd name="T46" fmla="*/ 657 w 810"/>
              <a:gd name="T47" fmla="*/ 324 h 676"/>
              <a:gd name="T48" fmla="*/ 657 w 810"/>
              <a:gd name="T49" fmla="*/ 635 h 676"/>
              <a:gd name="T50" fmla="*/ 657 w 810"/>
              <a:gd name="T51" fmla="*/ 635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676">
                <a:moveTo>
                  <a:pt x="657" y="202"/>
                </a:moveTo>
                <a:lnTo>
                  <a:pt x="657" y="39"/>
                </a:lnTo>
                <a:lnTo>
                  <a:pt x="569" y="39"/>
                </a:lnTo>
                <a:lnTo>
                  <a:pt x="569" y="132"/>
                </a:lnTo>
                <a:lnTo>
                  <a:pt x="405" y="0"/>
                </a:lnTo>
                <a:lnTo>
                  <a:pt x="0" y="324"/>
                </a:lnTo>
                <a:lnTo>
                  <a:pt x="111" y="324"/>
                </a:lnTo>
                <a:lnTo>
                  <a:pt x="111" y="676"/>
                </a:lnTo>
                <a:lnTo>
                  <a:pt x="698" y="676"/>
                </a:lnTo>
                <a:lnTo>
                  <a:pt x="698" y="324"/>
                </a:lnTo>
                <a:lnTo>
                  <a:pt x="810" y="324"/>
                </a:lnTo>
                <a:lnTo>
                  <a:pt x="657" y="202"/>
                </a:lnTo>
                <a:close/>
                <a:moveTo>
                  <a:pt x="657" y="635"/>
                </a:moveTo>
                <a:lnTo>
                  <a:pt x="509" y="635"/>
                </a:lnTo>
                <a:lnTo>
                  <a:pt x="509" y="441"/>
                </a:lnTo>
                <a:lnTo>
                  <a:pt x="410" y="441"/>
                </a:lnTo>
                <a:lnTo>
                  <a:pt x="410" y="635"/>
                </a:lnTo>
                <a:lnTo>
                  <a:pt x="400" y="635"/>
                </a:lnTo>
                <a:lnTo>
                  <a:pt x="400" y="441"/>
                </a:lnTo>
                <a:lnTo>
                  <a:pt x="301" y="441"/>
                </a:lnTo>
                <a:lnTo>
                  <a:pt x="301" y="635"/>
                </a:lnTo>
                <a:lnTo>
                  <a:pt x="153" y="635"/>
                </a:lnTo>
                <a:lnTo>
                  <a:pt x="153" y="324"/>
                </a:lnTo>
                <a:lnTo>
                  <a:pt x="657" y="324"/>
                </a:lnTo>
                <a:lnTo>
                  <a:pt x="657" y="635"/>
                </a:lnTo>
                <a:lnTo>
                  <a:pt x="657" y="635"/>
                </a:lnTo>
                <a:close/>
              </a:path>
            </a:pathLst>
          </a:custGeom>
          <a:solidFill>
            <a:sysClr val="window" lastClr="FFFFF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effectLst/>
              <a:uLnTx/>
              <a:uFillTx/>
            </a:endParaRPr>
          </a:p>
        </p:txBody>
      </p:sp>
      <p:sp>
        <p:nvSpPr>
          <p:cNvPr id="98" name="shield_2102"/>
          <p:cNvSpPr>
            <a:spLocks noChangeAspect="1"/>
          </p:cNvSpPr>
          <p:nvPr/>
        </p:nvSpPr>
        <p:spPr bwMode="auto">
          <a:xfrm>
            <a:off x="5390265" y="5576190"/>
            <a:ext cx="370680" cy="457234"/>
          </a:xfrm>
          <a:custGeom>
            <a:avLst/>
            <a:gdLst>
              <a:gd name="T0" fmla="*/ 307 w 313"/>
              <a:gd name="T1" fmla="*/ 51 h 423"/>
              <a:gd name="T2" fmla="*/ 162 w 313"/>
              <a:gd name="T3" fmla="*/ 4 h 423"/>
              <a:gd name="T4" fmla="*/ 156 w 313"/>
              <a:gd name="T5" fmla="*/ 0 h 423"/>
              <a:gd name="T6" fmla="*/ 156 w 313"/>
              <a:gd name="T7" fmla="*/ 0 h 423"/>
              <a:gd name="T8" fmla="*/ 151 w 313"/>
              <a:gd name="T9" fmla="*/ 4 h 423"/>
              <a:gd name="T10" fmla="*/ 6 w 313"/>
              <a:gd name="T11" fmla="*/ 51 h 423"/>
              <a:gd name="T12" fmla="*/ 0 w 313"/>
              <a:gd name="T13" fmla="*/ 57 h 423"/>
              <a:gd name="T14" fmla="*/ 0 w 313"/>
              <a:gd name="T15" fmla="*/ 268 h 423"/>
              <a:gd name="T16" fmla="*/ 154 w 313"/>
              <a:gd name="T17" fmla="*/ 422 h 423"/>
              <a:gd name="T18" fmla="*/ 156 w 313"/>
              <a:gd name="T19" fmla="*/ 423 h 423"/>
              <a:gd name="T20" fmla="*/ 159 w 313"/>
              <a:gd name="T21" fmla="*/ 422 h 423"/>
              <a:gd name="T22" fmla="*/ 313 w 313"/>
              <a:gd name="T23" fmla="*/ 268 h 423"/>
              <a:gd name="T24" fmla="*/ 313 w 313"/>
              <a:gd name="T25" fmla="*/ 57 h 423"/>
              <a:gd name="T26" fmla="*/ 307 w 313"/>
              <a:gd name="T27" fmla="*/ 51 h 423"/>
              <a:gd name="T28" fmla="*/ 279 w 313"/>
              <a:gd name="T29" fmla="*/ 255 h 423"/>
              <a:gd name="T30" fmla="*/ 158 w 313"/>
              <a:gd name="T31" fmla="*/ 376 h 423"/>
              <a:gd name="T32" fmla="*/ 156 w 313"/>
              <a:gd name="T33" fmla="*/ 377 h 423"/>
              <a:gd name="T34" fmla="*/ 154 w 313"/>
              <a:gd name="T35" fmla="*/ 376 h 423"/>
              <a:gd name="T36" fmla="*/ 34 w 313"/>
              <a:gd name="T37" fmla="*/ 255 h 423"/>
              <a:gd name="T38" fmla="*/ 34 w 313"/>
              <a:gd name="T39" fmla="*/ 91 h 423"/>
              <a:gd name="T40" fmla="*/ 39 w 313"/>
              <a:gd name="T41" fmla="*/ 86 h 423"/>
              <a:gd name="T42" fmla="*/ 152 w 313"/>
              <a:gd name="T43" fmla="*/ 49 h 423"/>
              <a:gd name="T44" fmla="*/ 156 w 313"/>
              <a:gd name="T45" fmla="*/ 46 h 423"/>
              <a:gd name="T46" fmla="*/ 156 w 313"/>
              <a:gd name="T47" fmla="*/ 46 h 423"/>
              <a:gd name="T48" fmla="*/ 161 w 313"/>
              <a:gd name="T49" fmla="*/ 49 h 423"/>
              <a:gd name="T50" fmla="*/ 274 w 313"/>
              <a:gd name="T51" fmla="*/ 86 h 423"/>
              <a:gd name="T52" fmla="*/ 279 w 313"/>
              <a:gd name="T53" fmla="*/ 91 h 423"/>
              <a:gd name="T54" fmla="*/ 279 w 313"/>
              <a:gd name="T55" fmla="*/ 255 h 423"/>
              <a:gd name="T56" fmla="*/ 256 w 313"/>
              <a:gd name="T57" fmla="*/ 254 h 423"/>
              <a:gd name="T58" fmla="*/ 158 w 313"/>
              <a:gd name="T59" fmla="*/ 352 h 423"/>
              <a:gd name="T60" fmla="*/ 156 w 313"/>
              <a:gd name="T61" fmla="*/ 352 h 423"/>
              <a:gd name="T62" fmla="*/ 156 w 313"/>
              <a:gd name="T63" fmla="*/ 84 h 423"/>
              <a:gd name="T64" fmla="*/ 156 w 313"/>
              <a:gd name="T65" fmla="*/ 84 h 423"/>
              <a:gd name="T66" fmla="*/ 160 w 313"/>
              <a:gd name="T67" fmla="*/ 86 h 423"/>
              <a:gd name="T68" fmla="*/ 252 w 313"/>
              <a:gd name="T69" fmla="*/ 116 h 423"/>
              <a:gd name="T70" fmla="*/ 256 w 313"/>
              <a:gd name="T71" fmla="*/ 120 h 423"/>
              <a:gd name="T72" fmla="*/ 256 w 313"/>
              <a:gd name="T73" fmla="*/ 254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423">
                <a:moveTo>
                  <a:pt x="307" y="51"/>
                </a:moveTo>
                <a:cubicBezTo>
                  <a:pt x="183" y="51"/>
                  <a:pt x="162" y="4"/>
                  <a:pt x="162" y="4"/>
                </a:cubicBezTo>
                <a:cubicBezTo>
                  <a:pt x="161" y="2"/>
                  <a:pt x="159" y="0"/>
                  <a:pt x="156" y="0"/>
                </a:cubicBezTo>
                <a:lnTo>
                  <a:pt x="156" y="0"/>
                </a:lnTo>
                <a:cubicBezTo>
                  <a:pt x="154" y="0"/>
                  <a:pt x="152" y="2"/>
                  <a:pt x="151" y="4"/>
                </a:cubicBezTo>
                <a:cubicBezTo>
                  <a:pt x="150" y="4"/>
                  <a:pt x="129" y="51"/>
                  <a:pt x="6" y="51"/>
                </a:cubicBezTo>
                <a:cubicBezTo>
                  <a:pt x="2" y="51"/>
                  <a:pt x="0" y="54"/>
                  <a:pt x="0" y="57"/>
                </a:cubicBezTo>
                <a:lnTo>
                  <a:pt x="0" y="268"/>
                </a:lnTo>
                <a:cubicBezTo>
                  <a:pt x="0" y="354"/>
                  <a:pt x="148" y="419"/>
                  <a:pt x="154" y="422"/>
                </a:cubicBezTo>
                <a:cubicBezTo>
                  <a:pt x="155" y="422"/>
                  <a:pt x="155" y="423"/>
                  <a:pt x="156" y="423"/>
                </a:cubicBezTo>
                <a:cubicBezTo>
                  <a:pt x="157" y="423"/>
                  <a:pt x="158" y="422"/>
                  <a:pt x="159" y="422"/>
                </a:cubicBezTo>
                <a:cubicBezTo>
                  <a:pt x="165" y="419"/>
                  <a:pt x="313" y="354"/>
                  <a:pt x="313" y="268"/>
                </a:cubicBezTo>
                <a:lnTo>
                  <a:pt x="313" y="57"/>
                </a:lnTo>
                <a:cubicBezTo>
                  <a:pt x="313" y="54"/>
                  <a:pt x="310" y="51"/>
                  <a:pt x="307" y="51"/>
                </a:cubicBezTo>
                <a:close/>
                <a:moveTo>
                  <a:pt x="279" y="255"/>
                </a:moveTo>
                <a:cubicBezTo>
                  <a:pt x="279" y="323"/>
                  <a:pt x="163" y="374"/>
                  <a:pt x="158" y="376"/>
                </a:cubicBezTo>
                <a:cubicBezTo>
                  <a:pt x="158" y="377"/>
                  <a:pt x="157" y="377"/>
                  <a:pt x="156" y="377"/>
                </a:cubicBezTo>
                <a:cubicBezTo>
                  <a:pt x="156" y="377"/>
                  <a:pt x="155" y="377"/>
                  <a:pt x="154" y="376"/>
                </a:cubicBezTo>
                <a:cubicBezTo>
                  <a:pt x="149" y="374"/>
                  <a:pt x="34" y="323"/>
                  <a:pt x="34" y="255"/>
                </a:cubicBezTo>
                <a:lnTo>
                  <a:pt x="34" y="91"/>
                </a:lnTo>
                <a:cubicBezTo>
                  <a:pt x="34" y="88"/>
                  <a:pt x="36" y="86"/>
                  <a:pt x="39" y="86"/>
                </a:cubicBezTo>
                <a:cubicBezTo>
                  <a:pt x="135" y="86"/>
                  <a:pt x="152" y="49"/>
                  <a:pt x="152" y="49"/>
                </a:cubicBezTo>
                <a:cubicBezTo>
                  <a:pt x="153" y="47"/>
                  <a:pt x="154" y="46"/>
                  <a:pt x="156" y="46"/>
                </a:cubicBezTo>
                <a:lnTo>
                  <a:pt x="156" y="46"/>
                </a:lnTo>
                <a:cubicBezTo>
                  <a:pt x="158" y="46"/>
                  <a:pt x="160" y="47"/>
                  <a:pt x="161" y="49"/>
                </a:cubicBezTo>
                <a:cubicBezTo>
                  <a:pt x="161" y="49"/>
                  <a:pt x="177" y="86"/>
                  <a:pt x="274" y="86"/>
                </a:cubicBezTo>
                <a:cubicBezTo>
                  <a:pt x="277" y="86"/>
                  <a:pt x="279" y="88"/>
                  <a:pt x="279" y="91"/>
                </a:cubicBezTo>
                <a:cubicBezTo>
                  <a:pt x="279" y="91"/>
                  <a:pt x="279" y="255"/>
                  <a:pt x="279" y="255"/>
                </a:cubicBezTo>
                <a:close/>
                <a:moveTo>
                  <a:pt x="256" y="254"/>
                </a:moveTo>
                <a:cubicBezTo>
                  <a:pt x="256" y="308"/>
                  <a:pt x="162" y="350"/>
                  <a:pt x="158" y="352"/>
                </a:cubicBezTo>
                <a:cubicBezTo>
                  <a:pt x="157" y="352"/>
                  <a:pt x="157" y="352"/>
                  <a:pt x="156" y="352"/>
                </a:cubicBezTo>
                <a:cubicBezTo>
                  <a:pt x="156" y="352"/>
                  <a:pt x="155" y="84"/>
                  <a:pt x="156" y="84"/>
                </a:cubicBezTo>
                <a:lnTo>
                  <a:pt x="156" y="84"/>
                </a:lnTo>
                <a:cubicBezTo>
                  <a:pt x="158" y="84"/>
                  <a:pt x="159" y="85"/>
                  <a:pt x="160" y="86"/>
                </a:cubicBezTo>
                <a:cubicBezTo>
                  <a:pt x="160" y="86"/>
                  <a:pt x="173" y="116"/>
                  <a:pt x="252" y="116"/>
                </a:cubicBezTo>
                <a:cubicBezTo>
                  <a:pt x="254" y="116"/>
                  <a:pt x="256" y="118"/>
                  <a:pt x="256" y="120"/>
                </a:cubicBezTo>
                <a:lnTo>
                  <a:pt x="256" y="254"/>
                </a:lnTo>
                <a:close/>
              </a:path>
            </a:pathLst>
          </a:custGeom>
          <a:solidFill>
            <a:sysClr val="window" lastClr="FFFFF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effectLst/>
              <a:uLnTx/>
              <a:uFillTx/>
            </a:endParaRPr>
          </a:p>
        </p:txBody>
      </p:sp>
      <p:sp>
        <p:nvSpPr>
          <p:cNvPr id="99" name="grandfather-silhouette_43840"/>
          <p:cNvSpPr>
            <a:spLocks noChangeAspect="1"/>
          </p:cNvSpPr>
          <p:nvPr/>
        </p:nvSpPr>
        <p:spPr bwMode="auto">
          <a:xfrm>
            <a:off x="6611120" y="1940502"/>
            <a:ext cx="291584" cy="457234"/>
          </a:xfrm>
          <a:custGeom>
            <a:avLst/>
            <a:gdLst>
              <a:gd name="T0" fmla="*/ 218 w 4925"/>
              <a:gd name="T1" fmla="*/ 4086 h 7734"/>
              <a:gd name="T2" fmla="*/ 387 w 4925"/>
              <a:gd name="T3" fmla="*/ 4131 h 7734"/>
              <a:gd name="T4" fmla="*/ 681 w 4925"/>
              <a:gd name="T5" fmla="*/ 3961 h 7734"/>
              <a:gd name="T6" fmla="*/ 846 w 4925"/>
              <a:gd name="T7" fmla="*/ 3657 h 7734"/>
              <a:gd name="T8" fmla="*/ 1363 w 4925"/>
              <a:gd name="T9" fmla="*/ 2701 h 7734"/>
              <a:gd name="T10" fmla="*/ 1371 w 4925"/>
              <a:gd name="T11" fmla="*/ 2688 h 7734"/>
              <a:gd name="T12" fmla="*/ 1371 w 4925"/>
              <a:gd name="T13" fmla="*/ 4224 h 7734"/>
              <a:gd name="T14" fmla="*/ 1132 w 4925"/>
              <a:gd name="T15" fmla="*/ 7059 h 7734"/>
              <a:gd name="T16" fmla="*/ 1106 w 4925"/>
              <a:gd name="T17" fmla="*/ 7362 h 7734"/>
              <a:gd name="T18" fmla="*/ 1416 w 4925"/>
              <a:gd name="T19" fmla="*/ 7728 h 7734"/>
              <a:gd name="T20" fmla="*/ 1435 w 4925"/>
              <a:gd name="T21" fmla="*/ 7729 h 7734"/>
              <a:gd name="T22" fmla="*/ 1445 w 4925"/>
              <a:gd name="T23" fmla="*/ 7730 h 7734"/>
              <a:gd name="T24" fmla="*/ 1782 w 4925"/>
              <a:gd name="T25" fmla="*/ 7419 h 7734"/>
              <a:gd name="T26" fmla="*/ 2129 w 4925"/>
              <a:gd name="T27" fmla="*/ 4371 h 7734"/>
              <a:gd name="T28" fmla="*/ 2485 w 4925"/>
              <a:gd name="T29" fmla="*/ 4371 h 7734"/>
              <a:gd name="T30" fmla="*/ 2717 w 4925"/>
              <a:gd name="T31" fmla="*/ 7397 h 7734"/>
              <a:gd name="T32" fmla="*/ 3056 w 4925"/>
              <a:gd name="T33" fmla="*/ 7730 h 7734"/>
              <a:gd name="T34" fmla="*/ 3062 w 4925"/>
              <a:gd name="T35" fmla="*/ 7730 h 7734"/>
              <a:gd name="T36" fmla="*/ 3395 w 4925"/>
              <a:gd name="T37" fmla="*/ 7384 h 7734"/>
              <a:gd name="T38" fmla="*/ 3293 w 4925"/>
              <a:gd name="T39" fmla="*/ 3546 h 7734"/>
              <a:gd name="T40" fmla="*/ 3293 w 4925"/>
              <a:gd name="T41" fmla="*/ 2235 h 7734"/>
              <a:gd name="T42" fmla="*/ 3298 w 4925"/>
              <a:gd name="T43" fmla="*/ 2238 h 7734"/>
              <a:gd name="T44" fmla="*/ 3634 w 4925"/>
              <a:gd name="T45" fmla="*/ 2483 h 7734"/>
              <a:gd name="T46" fmla="*/ 3840 w 4925"/>
              <a:gd name="T47" fmla="*/ 3134 h 7734"/>
              <a:gd name="T48" fmla="*/ 3581 w 4925"/>
              <a:gd name="T49" fmla="*/ 3678 h 7734"/>
              <a:gd name="T50" fmla="*/ 3911 w 4925"/>
              <a:gd name="T51" fmla="*/ 3737 h 7734"/>
              <a:gd name="T52" fmla="*/ 3966 w 4925"/>
              <a:gd name="T53" fmla="*/ 3515 h 7734"/>
              <a:gd name="T54" fmla="*/ 4269 w 4925"/>
              <a:gd name="T55" fmla="*/ 3701 h 7734"/>
              <a:gd name="T56" fmla="*/ 4371 w 4925"/>
              <a:gd name="T57" fmla="*/ 3685 h 7734"/>
              <a:gd name="T58" fmla="*/ 4546 w 4925"/>
              <a:gd name="T59" fmla="*/ 3555 h 7734"/>
              <a:gd name="T60" fmla="*/ 4567 w 4925"/>
              <a:gd name="T61" fmla="*/ 3679 h 7734"/>
              <a:gd name="T62" fmla="*/ 4573 w 4925"/>
              <a:gd name="T63" fmla="*/ 7590 h 7734"/>
              <a:gd name="T64" fmla="*/ 4752 w 4925"/>
              <a:gd name="T65" fmla="*/ 7734 h 7734"/>
              <a:gd name="T66" fmla="*/ 4922 w 4925"/>
              <a:gd name="T67" fmla="*/ 7577 h 7734"/>
              <a:gd name="T68" fmla="*/ 4922 w 4925"/>
              <a:gd name="T69" fmla="*/ 3628 h 7734"/>
              <a:gd name="T70" fmla="*/ 4826 w 4925"/>
              <a:gd name="T71" fmla="*/ 3290 h 7734"/>
              <a:gd name="T72" fmla="*/ 4529 w 4925"/>
              <a:gd name="T73" fmla="*/ 3060 h 7734"/>
              <a:gd name="T74" fmla="*/ 4240 w 4925"/>
              <a:gd name="T75" fmla="*/ 2150 h 7734"/>
              <a:gd name="T76" fmla="*/ 4107 w 4925"/>
              <a:gd name="T77" fmla="*/ 1969 h 7734"/>
              <a:gd name="T78" fmla="*/ 3344 w 4925"/>
              <a:gd name="T79" fmla="*/ 1435 h 7734"/>
              <a:gd name="T80" fmla="*/ 3171 w 4925"/>
              <a:gd name="T81" fmla="*/ 1387 h 7734"/>
              <a:gd name="T82" fmla="*/ 2936 w 4925"/>
              <a:gd name="T83" fmla="*/ 1385 h 7734"/>
              <a:gd name="T84" fmla="*/ 2946 w 4925"/>
              <a:gd name="T85" fmla="*/ 1366 h 7734"/>
              <a:gd name="T86" fmla="*/ 3159 w 4925"/>
              <a:gd name="T87" fmla="*/ 816 h 7734"/>
              <a:gd name="T88" fmla="*/ 2343 w 4925"/>
              <a:gd name="T89" fmla="*/ 0 h 7734"/>
              <a:gd name="T90" fmla="*/ 1526 w 4925"/>
              <a:gd name="T91" fmla="*/ 816 h 7734"/>
              <a:gd name="T92" fmla="*/ 1740 w 4925"/>
              <a:gd name="T93" fmla="*/ 1366 h 7734"/>
              <a:gd name="T94" fmla="*/ 1742 w 4925"/>
              <a:gd name="T95" fmla="*/ 1385 h 7734"/>
              <a:gd name="T96" fmla="*/ 1494 w 4925"/>
              <a:gd name="T97" fmla="*/ 1387 h 7734"/>
              <a:gd name="T98" fmla="*/ 1212 w 4925"/>
              <a:gd name="T99" fmla="*/ 1556 h 7734"/>
              <a:gd name="T100" fmla="*/ 93 w 4925"/>
              <a:gd name="T101" fmla="*/ 3623 h 7734"/>
              <a:gd name="T102" fmla="*/ 218 w 4925"/>
              <a:gd name="T103" fmla="*/ 4086 h 7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25" h="7734">
                <a:moveTo>
                  <a:pt x="218" y="4086"/>
                </a:moveTo>
                <a:cubicBezTo>
                  <a:pt x="271" y="4117"/>
                  <a:pt x="329" y="4131"/>
                  <a:pt x="387" y="4131"/>
                </a:cubicBezTo>
                <a:cubicBezTo>
                  <a:pt x="504" y="4131"/>
                  <a:pt x="619" y="4070"/>
                  <a:pt x="681" y="3961"/>
                </a:cubicBezTo>
                <a:lnTo>
                  <a:pt x="846" y="3657"/>
                </a:lnTo>
                <a:lnTo>
                  <a:pt x="1363" y="2701"/>
                </a:lnTo>
                <a:lnTo>
                  <a:pt x="1371" y="2688"/>
                </a:lnTo>
                <a:lnTo>
                  <a:pt x="1371" y="4224"/>
                </a:lnTo>
                <a:lnTo>
                  <a:pt x="1132" y="7059"/>
                </a:lnTo>
                <a:lnTo>
                  <a:pt x="1106" y="7362"/>
                </a:lnTo>
                <a:cubicBezTo>
                  <a:pt x="1090" y="7549"/>
                  <a:pt x="1229" y="7713"/>
                  <a:pt x="1416" y="7728"/>
                </a:cubicBezTo>
                <a:cubicBezTo>
                  <a:pt x="1422" y="7729"/>
                  <a:pt x="1429" y="7729"/>
                  <a:pt x="1435" y="7729"/>
                </a:cubicBezTo>
                <a:cubicBezTo>
                  <a:pt x="1439" y="7729"/>
                  <a:pt x="1442" y="7730"/>
                  <a:pt x="1445" y="7730"/>
                </a:cubicBezTo>
                <a:cubicBezTo>
                  <a:pt x="1619" y="7730"/>
                  <a:pt x="1767" y="7596"/>
                  <a:pt x="1782" y="7419"/>
                </a:cubicBezTo>
                <a:lnTo>
                  <a:pt x="2129" y="4371"/>
                </a:lnTo>
                <a:lnTo>
                  <a:pt x="2485" y="4371"/>
                </a:lnTo>
                <a:lnTo>
                  <a:pt x="2717" y="7397"/>
                </a:lnTo>
                <a:cubicBezTo>
                  <a:pt x="2720" y="7582"/>
                  <a:pt x="2871" y="7730"/>
                  <a:pt x="3056" y="7730"/>
                </a:cubicBezTo>
                <a:cubicBezTo>
                  <a:pt x="3058" y="7730"/>
                  <a:pt x="3060" y="7730"/>
                  <a:pt x="3062" y="7730"/>
                </a:cubicBezTo>
                <a:cubicBezTo>
                  <a:pt x="3249" y="7726"/>
                  <a:pt x="3398" y="7572"/>
                  <a:pt x="3395" y="7384"/>
                </a:cubicBezTo>
                <a:cubicBezTo>
                  <a:pt x="3395" y="7384"/>
                  <a:pt x="3295" y="3550"/>
                  <a:pt x="3293" y="3546"/>
                </a:cubicBezTo>
                <a:lnTo>
                  <a:pt x="3293" y="2235"/>
                </a:lnTo>
                <a:lnTo>
                  <a:pt x="3298" y="2238"/>
                </a:lnTo>
                <a:lnTo>
                  <a:pt x="3634" y="2483"/>
                </a:lnTo>
                <a:lnTo>
                  <a:pt x="3840" y="3134"/>
                </a:lnTo>
                <a:cubicBezTo>
                  <a:pt x="3675" y="3254"/>
                  <a:pt x="3587" y="3467"/>
                  <a:pt x="3581" y="3678"/>
                </a:cubicBezTo>
                <a:cubicBezTo>
                  <a:pt x="3573" y="3923"/>
                  <a:pt x="3885" y="3876"/>
                  <a:pt x="3911" y="3737"/>
                </a:cubicBezTo>
                <a:cubicBezTo>
                  <a:pt x="3934" y="3613"/>
                  <a:pt x="3942" y="3545"/>
                  <a:pt x="3966" y="3515"/>
                </a:cubicBezTo>
                <a:cubicBezTo>
                  <a:pt x="4024" y="3630"/>
                  <a:pt x="4142" y="3701"/>
                  <a:pt x="4269" y="3701"/>
                </a:cubicBezTo>
                <a:cubicBezTo>
                  <a:pt x="4302" y="3701"/>
                  <a:pt x="4337" y="3696"/>
                  <a:pt x="4371" y="3685"/>
                </a:cubicBezTo>
                <a:cubicBezTo>
                  <a:pt x="4445" y="3662"/>
                  <a:pt x="4505" y="3614"/>
                  <a:pt x="4546" y="3555"/>
                </a:cubicBezTo>
                <a:cubicBezTo>
                  <a:pt x="4566" y="3607"/>
                  <a:pt x="4564" y="3645"/>
                  <a:pt x="4567" y="3679"/>
                </a:cubicBezTo>
                <a:cubicBezTo>
                  <a:pt x="4571" y="3725"/>
                  <a:pt x="4573" y="7590"/>
                  <a:pt x="4573" y="7590"/>
                </a:cubicBezTo>
                <a:cubicBezTo>
                  <a:pt x="4573" y="7590"/>
                  <a:pt x="4584" y="7734"/>
                  <a:pt x="4752" y="7734"/>
                </a:cubicBezTo>
                <a:cubicBezTo>
                  <a:pt x="4919" y="7734"/>
                  <a:pt x="4922" y="7577"/>
                  <a:pt x="4922" y="7577"/>
                </a:cubicBezTo>
                <a:lnTo>
                  <a:pt x="4922" y="3628"/>
                </a:lnTo>
                <a:cubicBezTo>
                  <a:pt x="4922" y="3628"/>
                  <a:pt x="4925" y="3445"/>
                  <a:pt x="4826" y="3290"/>
                </a:cubicBezTo>
                <a:cubicBezTo>
                  <a:pt x="4826" y="3290"/>
                  <a:pt x="4727" y="3131"/>
                  <a:pt x="4529" y="3060"/>
                </a:cubicBezTo>
                <a:lnTo>
                  <a:pt x="4240" y="2150"/>
                </a:lnTo>
                <a:cubicBezTo>
                  <a:pt x="4240" y="2150"/>
                  <a:pt x="4211" y="2041"/>
                  <a:pt x="4107" y="1969"/>
                </a:cubicBezTo>
                <a:lnTo>
                  <a:pt x="3344" y="1435"/>
                </a:lnTo>
                <a:cubicBezTo>
                  <a:pt x="3290" y="1402"/>
                  <a:pt x="3230" y="1387"/>
                  <a:pt x="3171" y="1387"/>
                </a:cubicBezTo>
                <a:cubicBezTo>
                  <a:pt x="3166" y="1386"/>
                  <a:pt x="2936" y="1385"/>
                  <a:pt x="2936" y="1385"/>
                </a:cubicBezTo>
                <a:cubicBezTo>
                  <a:pt x="2935" y="1382"/>
                  <a:pt x="2938" y="1375"/>
                  <a:pt x="2946" y="1366"/>
                </a:cubicBezTo>
                <a:cubicBezTo>
                  <a:pt x="3078" y="1221"/>
                  <a:pt x="3159" y="1028"/>
                  <a:pt x="3159" y="816"/>
                </a:cubicBezTo>
                <a:cubicBezTo>
                  <a:pt x="3159" y="365"/>
                  <a:pt x="2793" y="0"/>
                  <a:pt x="2343" y="0"/>
                </a:cubicBezTo>
                <a:cubicBezTo>
                  <a:pt x="1892" y="0"/>
                  <a:pt x="1526" y="365"/>
                  <a:pt x="1526" y="816"/>
                </a:cubicBezTo>
                <a:cubicBezTo>
                  <a:pt x="1526" y="1028"/>
                  <a:pt x="1607" y="1221"/>
                  <a:pt x="1740" y="1366"/>
                </a:cubicBezTo>
                <a:cubicBezTo>
                  <a:pt x="1747" y="1375"/>
                  <a:pt x="1748" y="1382"/>
                  <a:pt x="1742" y="1385"/>
                </a:cubicBezTo>
                <a:cubicBezTo>
                  <a:pt x="1742" y="1385"/>
                  <a:pt x="1498" y="1386"/>
                  <a:pt x="1494" y="1387"/>
                </a:cubicBezTo>
                <a:cubicBezTo>
                  <a:pt x="1381" y="1391"/>
                  <a:pt x="1273" y="1450"/>
                  <a:pt x="1212" y="1556"/>
                </a:cubicBezTo>
                <a:lnTo>
                  <a:pt x="93" y="3623"/>
                </a:lnTo>
                <a:cubicBezTo>
                  <a:pt x="0" y="3785"/>
                  <a:pt x="56" y="3993"/>
                  <a:pt x="218" y="4086"/>
                </a:cubicBezTo>
                <a:close/>
              </a:path>
            </a:pathLst>
          </a:custGeom>
          <a:solidFill>
            <a:sysClr val="window" lastClr="FFFFF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effectLst/>
              <a:uLnTx/>
              <a:uFillTx/>
            </a:endParaRPr>
          </a:p>
        </p:txBody>
      </p:sp>
      <p:sp>
        <p:nvSpPr>
          <p:cNvPr id="100" name="leaves_25058"/>
          <p:cNvSpPr>
            <a:spLocks noChangeAspect="1"/>
          </p:cNvSpPr>
          <p:nvPr/>
        </p:nvSpPr>
        <p:spPr bwMode="auto">
          <a:xfrm>
            <a:off x="7483678" y="2634857"/>
            <a:ext cx="457867" cy="457234"/>
          </a:xfrm>
          <a:custGeom>
            <a:avLst/>
            <a:gdLst>
              <a:gd name="T0" fmla="*/ 0 w 1277"/>
              <a:gd name="T1" fmla="*/ 639 h 1277"/>
              <a:gd name="T2" fmla="*/ 1277 w 1277"/>
              <a:gd name="T3" fmla="*/ 639 h 1277"/>
              <a:gd name="T4" fmla="*/ 856 w 1277"/>
              <a:gd name="T5" fmla="*/ 651 h 1277"/>
              <a:gd name="T6" fmla="*/ 829 w 1277"/>
              <a:gd name="T7" fmla="*/ 552 h 1277"/>
              <a:gd name="T8" fmla="*/ 863 w 1277"/>
              <a:gd name="T9" fmla="*/ 650 h 1277"/>
              <a:gd name="T10" fmla="*/ 881 w 1277"/>
              <a:gd name="T11" fmla="*/ 807 h 1277"/>
              <a:gd name="T12" fmla="*/ 851 w 1277"/>
              <a:gd name="T13" fmla="*/ 1003 h 1277"/>
              <a:gd name="T14" fmla="*/ 789 w 1277"/>
              <a:gd name="T15" fmla="*/ 1179 h 1277"/>
              <a:gd name="T16" fmla="*/ 781 w 1277"/>
              <a:gd name="T17" fmla="*/ 1089 h 1277"/>
              <a:gd name="T18" fmla="*/ 846 w 1277"/>
              <a:gd name="T19" fmla="*/ 898 h 1277"/>
              <a:gd name="T20" fmla="*/ 864 w 1277"/>
              <a:gd name="T21" fmla="*/ 722 h 1277"/>
              <a:gd name="T22" fmla="*/ 883 w 1277"/>
              <a:gd name="T23" fmla="*/ 1144 h 1277"/>
              <a:gd name="T24" fmla="*/ 1030 w 1277"/>
              <a:gd name="T25" fmla="*/ 947 h 1277"/>
              <a:gd name="T26" fmla="*/ 1064 w 1277"/>
              <a:gd name="T27" fmla="*/ 516 h 1277"/>
              <a:gd name="T28" fmla="*/ 827 w 1277"/>
              <a:gd name="T29" fmla="*/ 219 h 1277"/>
              <a:gd name="T30" fmla="*/ 758 w 1277"/>
              <a:gd name="T31" fmla="*/ 207 h 1277"/>
              <a:gd name="T32" fmla="*/ 742 w 1277"/>
              <a:gd name="T33" fmla="*/ 268 h 1277"/>
              <a:gd name="T34" fmla="*/ 596 w 1277"/>
              <a:gd name="T35" fmla="*/ 697 h 1277"/>
              <a:gd name="T36" fmla="*/ 643 w 1277"/>
              <a:gd name="T37" fmla="*/ 1039 h 1277"/>
              <a:gd name="T38" fmla="*/ 646 w 1277"/>
              <a:gd name="T39" fmla="*/ 1200 h 1277"/>
              <a:gd name="T40" fmla="*/ 554 w 1277"/>
              <a:gd name="T41" fmla="*/ 1100 h 1277"/>
              <a:gd name="T42" fmla="*/ 462 w 1277"/>
              <a:gd name="T43" fmla="*/ 958 h 1277"/>
              <a:gd name="T44" fmla="*/ 420 w 1277"/>
              <a:gd name="T45" fmla="*/ 829 h 1277"/>
              <a:gd name="T46" fmla="*/ 413 w 1277"/>
              <a:gd name="T47" fmla="*/ 741 h 1277"/>
              <a:gd name="T48" fmla="*/ 426 w 1277"/>
              <a:gd name="T49" fmla="*/ 828 h 1277"/>
              <a:gd name="T50" fmla="*/ 476 w 1277"/>
              <a:gd name="T51" fmla="*/ 950 h 1277"/>
              <a:gd name="T52" fmla="*/ 575 w 1277"/>
              <a:gd name="T53" fmla="*/ 1082 h 1277"/>
              <a:gd name="T54" fmla="*/ 657 w 1277"/>
              <a:gd name="T55" fmla="*/ 1158 h 1277"/>
              <a:gd name="T56" fmla="*/ 624 w 1277"/>
              <a:gd name="T57" fmla="*/ 1069 h 1277"/>
              <a:gd name="T58" fmla="*/ 575 w 1277"/>
              <a:gd name="T59" fmla="*/ 711 h 1277"/>
              <a:gd name="T60" fmla="*/ 465 w 1277"/>
              <a:gd name="T61" fmla="*/ 564 h 1277"/>
              <a:gd name="T62" fmla="*/ 355 w 1277"/>
              <a:gd name="T63" fmla="*/ 460 h 1277"/>
              <a:gd name="T64" fmla="*/ 333 w 1277"/>
              <a:gd name="T65" fmla="*/ 455 h 1277"/>
              <a:gd name="T66" fmla="*/ 226 w 1277"/>
              <a:gd name="T67" fmla="*/ 611 h 1277"/>
              <a:gd name="T68" fmla="*/ 278 w 1277"/>
              <a:gd name="T69" fmla="*/ 976 h 1277"/>
              <a:gd name="T70" fmla="*/ 474 w 1277"/>
              <a:gd name="T71" fmla="*/ 1176 h 1277"/>
              <a:gd name="T72" fmla="*/ 639 w 1277"/>
              <a:gd name="T73" fmla="*/ 77 h 1277"/>
              <a:gd name="T74" fmla="*/ 883 w 1277"/>
              <a:gd name="T75" fmla="*/ 1144 h 1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7" h="1277">
                <a:moveTo>
                  <a:pt x="639" y="0"/>
                </a:moveTo>
                <a:cubicBezTo>
                  <a:pt x="286" y="0"/>
                  <a:pt x="0" y="287"/>
                  <a:pt x="0" y="639"/>
                </a:cubicBezTo>
                <a:cubicBezTo>
                  <a:pt x="0" y="991"/>
                  <a:pt x="286" y="1277"/>
                  <a:pt x="639" y="1277"/>
                </a:cubicBezTo>
                <a:cubicBezTo>
                  <a:pt x="991" y="1277"/>
                  <a:pt x="1277" y="991"/>
                  <a:pt x="1277" y="639"/>
                </a:cubicBezTo>
                <a:cubicBezTo>
                  <a:pt x="1277" y="287"/>
                  <a:pt x="991" y="0"/>
                  <a:pt x="639" y="0"/>
                </a:cubicBezTo>
                <a:close/>
                <a:moveTo>
                  <a:pt x="856" y="651"/>
                </a:moveTo>
                <a:cubicBezTo>
                  <a:pt x="855" y="630"/>
                  <a:pt x="846" y="613"/>
                  <a:pt x="843" y="598"/>
                </a:cubicBezTo>
                <a:cubicBezTo>
                  <a:pt x="834" y="569"/>
                  <a:pt x="829" y="552"/>
                  <a:pt x="829" y="552"/>
                </a:cubicBezTo>
                <a:cubicBezTo>
                  <a:pt x="829" y="552"/>
                  <a:pt x="835" y="568"/>
                  <a:pt x="846" y="597"/>
                </a:cubicBezTo>
                <a:cubicBezTo>
                  <a:pt x="851" y="611"/>
                  <a:pt x="861" y="628"/>
                  <a:pt x="863" y="650"/>
                </a:cubicBezTo>
                <a:cubicBezTo>
                  <a:pt x="867" y="671"/>
                  <a:pt x="872" y="695"/>
                  <a:pt x="877" y="721"/>
                </a:cubicBezTo>
                <a:cubicBezTo>
                  <a:pt x="878" y="747"/>
                  <a:pt x="880" y="776"/>
                  <a:pt x="881" y="807"/>
                </a:cubicBezTo>
                <a:cubicBezTo>
                  <a:pt x="878" y="837"/>
                  <a:pt x="876" y="869"/>
                  <a:pt x="872" y="903"/>
                </a:cubicBezTo>
                <a:cubicBezTo>
                  <a:pt x="865" y="935"/>
                  <a:pt x="860" y="970"/>
                  <a:pt x="851" y="1003"/>
                </a:cubicBezTo>
                <a:cubicBezTo>
                  <a:pt x="840" y="1037"/>
                  <a:pt x="832" y="1072"/>
                  <a:pt x="819" y="1105"/>
                </a:cubicBezTo>
                <a:cubicBezTo>
                  <a:pt x="810" y="1130"/>
                  <a:pt x="799" y="1155"/>
                  <a:pt x="789" y="1179"/>
                </a:cubicBezTo>
                <a:cubicBezTo>
                  <a:pt x="769" y="1185"/>
                  <a:pt x="749" y="1189"/>
                  <a:pt x="729" y="1192"/>
                </a:cubicBezTo>
                <a:cubicBezTo>
                  <a:pt x="747" y="1159"/>
                  <a:pt x="765" y="1125"/>
                  <a:pt x="781" y="1089"/>
                </a:cubicBezTo>
                <a:cubicBezTo>
                  <a:pt x="796" y="1058"/>
                  <a:pt x="806" y="1026"/>
                  <a:pt x="819" y="994"/>
                </a:cubicBezTo>
                <a:cubicBezTo>
                  <a:pt x="831" y="962"/>
                  <a:pt x="837" y="929"/>
                  <a:pt x="846" y="898"/>
                </a:cubicBezTo>
                <a:cubicBezTo>
                  <a:pt x="853" y="866"/>
                  <a:pt x="857" y="835"/>
                  <a:pt x="862" y="806"/>
                </a:cubicBezTo>
                <a:cubicBezTo>
                  <a:pt x="863" y="776"/>
                  <a:pt x="863" y="748"/>
                  <a:pt x="864" y="722"/>
                </a:cubicBezTo>
                <a:cubicBezTo>
                  <a:pt x="861" y="696"/>
                  <a:pt x="858" y="672"/>
                  <a:pt x="856" y="651"/>
                </a:cubicBezTo>
                <a:close/>
                <a:moveTo>
                  <a:pt x="883" y="1144"/>
                </a:moveTo>
                <a:cubicBezTo>
                  <a:pt x="894" y="1134"/>
                  <a:pt x="906" y="1123"/>
                  <a:pt x="917" y="1112"/>
                </a:cubicBezTo>
                <a:cubicBezTo>
                  <a:pt x="961" y="1067"/>
                  <a:pt x="1000" y="1011"/>
                  <a:pt x="1030" y="947"/>
                </a:cubicBezTo>
                <a:cubicBezTo>
                  <a:pt x="1060" y="884"/>
                  <a:pt x="1079" y="812"/>
                  <a:pt x="1086" y="738"/>
                </a:cubicBezTo>
                <a:cubicBezTo>
                  <a:pt x="1092" y="664"/>
                  <a:pt x="1086" y="588"/>
                  <a:pt x="1064" y="516"/>
                </a:cubicBezTo>
                <a:cubicBezTo>
                  <a:pt x="1044" y="444"/>
                  <a:pt x="1009" y="376"/>
                  <a:pt x="965" y="323"/>
                </a:cubicBezTo>
                <a:cubicBezTo>
                  <a:pt x="921" y="270"/>
                  <a:pt x="868" y="234"/>
                  <a:pt x="827" y="219"/>
                </a:cubicBezTo>
                <a:cubicBezTo>
                  <a:pt x="807" y="210"/>
                  <a:pt x="788" y="209"/>
                  <a:pt x="776" y="208"/>
                </a:cubicBezTo>
                <a:cubicBezTo>
                  <a:pt x="765" y="207"/>
                  <a:pt x="758" y="207"/>
                  <a:pt x="758" y="207"/>
                </a:cubicBezTo>
                <a:cubicBezTo>
                  <a:pt x="758" y="207"/>
                  <a:pt x="757" y="213"/>
                  <a:pt x="755" y="224"/>
                </a:cubicBezTo>
                <a:cubicBezTo>
                  <a:pt x="754" y="235"/>
                  <a:pt x="747" y="252"/>
                  <a:pt x="742" y="268"/>
                </a:cubicBezTo>
                <a:cubicBezTo>
                  <a:pt x="730" y="303"/>
                  <a:pt x="710" y="344"/>
                  <a:pt x="688" y="388"/>
                </a:cubicBezTo>
                <a:cubicBezTo>
                  <a:pt x="644" y="474"/>
                  <a:pt x="605" y="580"/>
                  <a:pt x="596" y="697"/>
                </a:cubicBezTo>
                <a:cubicBezTo>
                  <a:pt x="592" y="754"/>
                  <a:pt x="592" y="814"/>
                  <a:pt x="602" y="873"/>
                </a:cubicBezTo>
                <a:cubicBezTo>
                  <a:pt x="610" y="931"/>
                  <a:pt x="625" y="988"/>
                  <a:pt x="643" y="1039"/>
                </a:cubicBezTo>
                <a:cubicBezTo>
                  <a:pt x="657" y="1077"/>
                  <a:pt x="684" y="1154"/>
                  <a:pt x="703" y="1196"/>
                </a:cubicBezTo>
                <a:cubicBezTo>
                  <a:pt x="685" y="1198"/>
                  <a:pt x="666" y="1200"/>
                  <a:pt x="646" y="1200"/>
                </a:cubicBezTo>
                <a:cubicBezTo>
                  <a:pt x="636" y="1189"/>
                  <a:pt x="625" y="1179"/>
                  <a:pt x="614" y="1168"/>
                </a:cubicBezTo>
                <a:cubicBezTo>
                  <a:pt x="592" y="1147"/>
                  <a:pt x="573" y="1123"/>
                  <a:pt x="554" y="1100"/>
                </a:cubicBezTo>
                <a:cubicBezTo>
                  <a:pt x="534" y="1077"/>
                  <a:pt x="519" y="1052"/>
                  <a:pt x="502" y="1029"/>
                </a:cubicBezTo>
                <a:cubicBezTo>
                  <a:pt x="487" y="1005"/>
                  <a:pt x="474" y="980"/>
                  <a:pt x="462" y="958"/>
                </a:cubicBezTo>
                <a:cubicBezTo>
                  <a:pt x="452" y="933"/>
                  <a:pt x="443" y="911"/>
                  <a:pt x="434" y="890"/>
                </a:cubicBezTo>
                <a:cubicBezTo>
                  <a:pt x="429" y="868"/>
                  <a:pt x="424" y="847"/>
                  <a:pt x="420" y="829"/>
                </a:cubicBezTo>
                <a:cubicBezTo>
                  <a:pt x="414" y="812"/>
                  <a:pt x="417" y="795"/>
                  <a:pt x="415" y="782"/>
                </a:cubicBezTo>
                <a:cubicBezTo>
                  <a:pt x="413" y="756"/>
                  <a:pt x="413" y="741"/>
                  <a:pt x="413" y="741"/>
                </a:cubicBezTo>
                <a:cubicBezTo>
                  <a:pt x="413" y="741"/>
                  <a:pt x="415" y="756"/>
                  <a:pt x="418" y="782"/>
                </a:cubicBezTo>
                <a:cubicBezTo>
                  <a:pt x="421" y="795"/>
                  <a:pt x="419" y="811"/>
                  <a:pt x="426" y="828"/>
                </a:cubicBezTo>
                <a:cubicBezTo>
                  <a:pt x="432" y="845"/>
                  <a:pt x="438" y="865"/>
                  <a:pt x="444" y="886"/>
                </a:cubicBezTo>
                <a:cubicBezTo>
                  <a:pt x="454" y="906"/>
                  <a:pt x="465" y="927"/>
                  <a:pt x="476" y="950"/>
                </a:cubicBezTo>
                <a:cubicBezTo>
                  <a:pt x="490" y="971"/>
                  <a:pt x="504" y="994"/>
                  <a:pt x="520" y="1017"/>
                </a:cubicBezTo>
                <a:cubicBezTo>
                  <a:pt x="538" y="1038"/>
                  <a:pt x="555" y="1061"/>
                  <a:pt x="575" y="1082"/>
                </a:cubicBezTo>
                <a:cubicBezTo>
                  <a:pt x="596" y="1102"/>
                  <a:pt x="616" y="1124"/>
                  <a:pt x="638" y="1143"/>
                </a:cubicBezTo>
                <a:cubicBezTo>
                  <a:pt x="644" y="1148"/>
                  <a:pt x="651" y="1153"/>
                  <a:pt x="657" y="1158"/>
                </a:cubicBezTo>
                <a:cubicBezTo>
                  <a:pt x="649" y="1137"/>
                  <a:pt x="640" y="1114"/>
                  <a:pt x="631" y="1090"/>
                </a:cubicBezTo>
                <a:lnTo>
                  <a:pt x="624" y="1069"/>
                </a:lnTo>
                <a:cubicBezTo>
                  <a:pt x="603" y="1012"/>
                  <a:pt x="588" y="951"/>
                  <a:pt x="580" y="895"/>
                </a:cubicBezTo>
                <a:cubicBezTo>
                  <a:pt x="571" y="840"/>
                  <a:pt x="569" y="779"/>
                  <a:pt x="575" y="711"/>
                </a:cubicBezTo>
                <a:cubicBezTo>
                  <a:pt x="575" y="699"/>
                  <a:pt x="577" y="688"/>
                  <a:pt x="578" y="676"/>
                </a:cubicBezTo>
                <a:cubicBezTo>
                  <a:pt x="542" y="633"/>
                  <a:pt x="503" y="595"/>
                  <a:pt x="465" y="564"/>
                </a:cubicBezTo>
                <a:cubicBezTo>
                  <a:pt x="432" y="538"/>
                  <a:pt x="402" y="513"/>
                  <a:pt x="380" y="490"/>
                </a:cubicBezTo>
                <a:cubicBezTo>
                  <a:pt x="371" y="479"/>
                  <a:pt x="360" y="468"/>
                  <a:pt x="355" y="460"/>
                </a:cubicBezTo>
                <a:cubicBezTo>
                  <a:pt x="349" y="452"/>
                  <a:pt x="347" y="448"/>
                  <a:pt x="347" y="448"/>
                </a:cubicBezTo>
                <a:cubicBezTo>
                  <a:pt x="347" y="448"/>
                  <a:pt x="342" y="450"/>
                  <a:pt x="333" y="455"/>
                </a:cubicBezTo>
                <a:cubicBezTo>
                  <a:pt x="324" y="460"/>
                  <a:pt x="310" y="468"/>
                  <a:pt x="297" y="482"/>
                </a:cubicBezTo>
                <a:cubicBezTo>
                  <a:pt x="271" y="508"/>
                  <a:pt x="242" y="554"/>
                  <a:pt x="226" y="611"/>
                </a:cubicBezTo>
                <a:cubicBezTo>
                  <a:pt x="211" y="668"/>
                  <a:pt x="207" y="733"/>
                  <a:pt x="217" y="796"/>
                </a:cubicBezTo>
                <a:cubicBezTo>
                  <a:pt x="225" y="860"/>
                  <a:pt x="248" y="921"/>
                  <a:pt x="278" y="976"/>
                </a:cubicBezTo>
                <a:cubicBezTo>
                  <a:pt x="309" y="1031"/>
                  <a:pt x="348" y="1081"/>
                  <a:pt x="395" y="1119"/>
                </a:cubicBezTo>
                <a:cubicBezTo>
                  <a:pt x="420" y="1141"/>
                  <a:pt x="447" y="1160"/>
                  <a:pt x="474" y="1176"/>
                </a:cubicBezTo>
                <a:cubicBezTo>
                  <a:pt x="244" y="1105"/>
                  <a:pt x="77" y="891"/>
                  <a:pt x="77" y="639"/>
                </a:cubicBezTo>
                <a:cubicBezTo>
                  <a:pt x="77" y="329"/>
                  <a:pt x="329" y="77"/>
                  <a:pt x="639" y="77"/>
                </a:cubicBezTo>
                <a:cubicBezTo>
                  <a:pt x="948" y="77"/>
                  <a:pt x="1200" y="329"/>
                  <a:pt x="1200" y="639"/>
                </a:cubicBezTo>
                <a:cubicBezTo>
                  <a:pt x="1200" y="861"/>
                  <a:pt x="1070" y="1053"/>
                  <a:pt x="883" y="1144"/>
                </a:cubicBezTo>
                <a:close/>
              </a:path>
            </a:pathLst>
          </a:custGeom>
          <a:solidFill>
            <a:sysClr val="window" lastClr="FFFFF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effectLst/>
              <a:uLnTx/>
              <a:uFillTx/>
            </a:endParaRPr>
          </a:p>
        </p:txBody>
      </p:sp>
      <p:sp>
        <p:nvSpPr>
          <p:cNvPr id="101" name="holding-hands-in-a-circle_64932"/>
          <p:cNvSpPr>
            <a:spLocks noChangeAspect="1"/>
          </p:cNvSpPr>
          <p:nvPr/>
        </p:nvSpPr>
        <p:spPr bwMode="auto">
          <a:xfrm>
            <a:off x="7874230" y="3813605"/>
            <a:ext cx="406848" cy="346716"/>
          </a:xfrm>
          <a:custGeom>
            <a:avLst/>
            <a:gdLst>
              <a:gd name="connsiteX0" fmla="*/ 448851 w 599209"/>
              <a:gd name="connsiteY0" fmla="*/ 362464 h 558400"/>
              <a:gd name="connsiteX1" fmla="*/ 467957 w 599209"/>
              <a:gd name="connsiteY1" fmla="*/ 368908 h 558400"/>
              <a:gd name="connsiteX2" fmla="*/ 469942 w 599209"/>
              <a:gd name="connsiteY2" fmla="*/ 405589 h 558400"/>
              <a:gd name="connsiteX3" fmla="*/ 433219 w 599209"/>
              <a:gd name="connsiteY3" fmla="*/ 447227 h 558400"/>
              <a:gd name="connsiteX4" fmla="*/ 413369 w 599209"/>
              <a:gd name="connsiteY4" fmla="*/ 456149 h 558400"/>
              <a:gd name="connsiteX5" fmla="*/ 396496 w 599209"/>
              <a:gd name="connsiteY5" fmla="*/ 450201 h 558400"/>
              <a:gd name="connsiteX6" fmla="*/ 393519 w 599209"/>
              <a:gd name="connsiteY6" fmla="*/ 413520 h 558400"/>
              <a:gd name="connsiteX7" fmla="*/ 431234 w 599209"/>
              <a:gd name="connsiteY7" fmla="*/ 370891 h 558400"/>
              <a:gd name="connsiteX8" fmla="*/ 448851 w 599209"/>
              <a:gd name="connsiteY8" fmla="*/ 362464 h 558400"/>
              <a:gd name="connsiteX9" fmla="*/ 150298 w 599209"/>
              <a:gd name="connsiteY9" fmla="*/ 362464 h 558400"/>
              <a:gd name="connsiteX10" fmla="*/ 167938 w 599209"/>
              <a:gd name="connsiteY10" fmla="*/ 370891 h 558400"/>
              <a:gd name="connsiteX11" fmla="*/ 205701 w 599209"/>
              <a:gd name="connsiteY11" fmla="*/ 413520 h 558400"/>
              <a:gd name="connsiteX12" fmla="*/ 202720 w 599209"/>
              <a:gd name="connsiteY12" fmla="*/ 450201 h 558400"/>
              <a:gd name="connsiteX13" fmla="*/ 185826 w 599209"/>
              <a:gd name="connsiteY13" fmla="*/ 456149 h 558400"/>
              <a:gd name="connsiteX14" fmla="*/ 165950 w 599209"/>
              <a:gd name="connsiteY14" fmla="*/ 447227 h 558400"/>
              <a:gd name="connsiteX15" fmla="*/ 129180 w 599209"/>
              <a:gd name="connsiteY15" fmla="*/ 405589 h 558400"/>
              <a:gd name="connsiteX16" fmla="*/ 131168 w 599209"/>
              <a:gd name="connsiteY16" fmla="*/ 368908 h 558400"/>
              <a:gd name="connsiteX17" fmla="*/ 150298 w 599209"/>
              <a:gd name="connsiteY17" fmla="*/ 362464 h 558400"/>
              <a:gd name="connsiteX18" fmla="*/ 299119 w 599209"/>
              <a:gd name="connsiteY18" fmla="*/ 291623 h 558400"/>
              <a:gd name="connsiteX19" fmla="*/ 300113 w 599209"/>
              <a:gd name="connsiteY19" fmla="*/ 291623 h 558400"/>
              <a:gd name="connsiteX20" fmla="*/ 342846 w 599209"/>
              <a:gd name="connsiteY20" fmla="*/ 311458 h 558400"/>
              <a:gd name="connsiteX21" fmla="*/ 357753 w 599209"/>
              <a:gd name="connsiteY21" fmla="*/ 356086 h 558400"/>
              <a:gd name="connsiteX22" fmla="*/ 330920 w 599209"/>
              <a:gd name="connsiteY22" fmla="*/ 528648 h 558400"/>
              <a:gd name="connsiteX23" fmla="*/ 299119 w 599209"/>
              <a:gd name="connsiteY23" fmla="*/ 558400 h 558400"/>
              <a:gd name="connsiteX24" fmla="*/ 268311 w 599209"/>
              <a:gd name="connsiteY24" fmla="*/ 528648 h 558400"/>
              <a:gd name="connsiteX25" fmla="*/ 241479 w 599209"/>
              <a:gd name="connsiteY25" fmla="*/ 356086 h 558400"/>
              <a:gd name="connsiteX26" fmla="*/ 256386 w 599209"/>
              <a:gd name="connsiteY26" fmla="*/ 311458 h 558400"/>
              <a:gd name="connsiteX27" fmla="*/ 299119 w 599209"/>
              <a:gd name="connsiteY27" fmla="*/ 291623 h 558400"/>
              <a:gd name="connsiteX28" fmla="*/ 545449 w 599209"/>
              <a:gd name="connsiteY28" fmla="*/ 211192 h 558400"/>
              <a:gd name="connsiteX29" fmla="*/ 546442 w 599209"/>
              <a:gd name="connsiteY29" fmla="*/ 211192 h 558400"/>
              <a:gd name="connsiteX30" fmla="*/ 585179 w 599209"/>
              <a:gd name="connsiteY30" fmla="*/ 230038 h 558400"/>
              <a:gd name="connsiteX31" fmla="*/ 599085 w 599209"/>
              <a:gd name="connsiteY31" fmla="*/ 270705 h 558400"/>
              <a:gd name="connsiteX32" fmla="*/ 574253 w 599209"/>
              <a:gd name="connsiteY32" fmla="*/ 428413 h 558400"/>
              <a:gd name="connsiteX33" fmla="*/ 545449 w 599209"/>
              <a:gd name="connsiteY33" fmla="*/ 455193 h 558400"/>
              <a:gd name="connsiteX34" fmla="*/ 517637 w 599209"/>
              <a:gd name="connsiteY34" fmla="*/ 428413 h 558400"/>
              <a:gd name="connsiteX35" fmla="*/ 492806 w 599209"/>
              <a:gd name="connsiteY35" fmla="*/ 270705 h 558400"/>
              <a:gd name="connsiteX36" fmla="*/ 505718 w 599209"/>
              <a:gd name="connsiteY36" fmla="*/ 230038 h 558400"/>
              <a:gd name="connsiteX37" fmla="*/ 545449 w 599209"/>
              <a:gd name="connsiteY37" fmla="*/ 211192 h 558400"/>
              <a:gd name="connsiteX38" fmla="*/ 52789 w 599209"/>
              <a:gd name="connsiteY38" fmla="*/ 211192 h 558400"/>
              <a:gd name="connsiteX39" fmla="*/ 53783 w 599209"/>
              <a:gd name="connsiteY39" fmla="*/ 211192 h 558400"/>
              <a:gd name="connsiteX40" fmla="*/ 93513 w 599209"/>
              <a:gd name="connsiteY40" fmla="*/ 230038 h 558400"/>
              <a:gd name="connsiteX41" fmla="*/ 106426 w 599209"/>
              <a:gd name="connsiteY41" fmla="*/ 270705 h 558400"/>
              <a:gd name="connsiteX42" fmla="*/ 81594 w 599209"/>
              <a:gd name="connsiteY42" fmla="*/ 428413 h 558400"/>
              <a:gd name="connsiteX43" fmla="*/ 53783 w 599209"/>
              <a:gd name="connsiteY43" fmla="*/ 455193 h 558400"/>
              <a:gd name="connsiteX44" fmla="*/ 24978 w 599209"/>
              <a:gd name="connsiteY44" fmla="*/ 428413 h 558400"/>
              <a:gd name="connsiteX45" fmla="*/ 146 w 599209"/>
              <a:gd name="connsiteY45" fmla="*/ 270705 h 558400"/>
              <a:gd name="connsiteX46" fmla="*/ 14052 w 599209"/>
              <a:gd name="connsiteY46" fmla="*/ 230038 h 558400"/>
              <a:gd name="connsiteX47" fmla="*/ 52789 w 599209"/>
              <a:gd name="connsiteY47" fmla="*/ 211192 h 558400"/>
              <a:gd name="connsiteX48" fmla="*/ 299615 w 599209"/>
              <a:gd name="connsiteY48" fmla="*/ 161659 h 558400"/>
              <a:gd name="connsiteX49" fmla="*/ 356713 w 599209"/>
              <a:gd name="connsiteY49" fmla="*/ 219156 h 558400"/>
              <a:gd name="connsiteX50" fmla="*/ 299615 w 599209"/>
              <a:gd name="connsiteY50" fmla="*/ 276653 h 558400"/>
              <a:gd name="connsiteX51" fmla="*/ 242517 w 599209"/>
              <a:gd name="connsiteY51" fmla="*/ 219156 h 558400"/>
              <a:gd name="connsiteX52" fmla="*/ 299615 w 599209"/>
              <a:gd name="connsiteY52" fmla="*/ 161659 h 558400"/>
              <a:gd name="connsiteX53" fmla="*/ 414897 w 599209"/>
              <a:gd name="connsiteY53" fmla="*/ 115933 h 558400"/>
              <a:gd name="connsiteX54" fmla="*/ 433282 w 599209"/>
              <a:gd name="connsiteY54" fmla="*/ 123991 h 558400"/>
              <a:gd name="connsiteX55" fmla="*/ 470051 w 599209"/>
              <a:gd name="connsiteY55" fmla="*/ 166636 h 558400"/>
              <a:gd name="connsiteX56" fmla="*/ 468064 w 599209"/>
              <a:gd name="connsiteY56" fmla="*/ 203331 h 558400"/>
              <a:gd name="connsiteX57" fmla="*/ 450176 w 599209"/>
              <a:gd name="connsiteY57" fmla="*/ 209281 h 558400"/>
              <a:gd name="connsiteX58" fmla="*/ 431294 w 599209"/>
              <a:gd name="connsiteY58" fmla="*/ 201347 h 558400"/>
              <a:gd name="connsiteX59" fmla="*/ 393530 w 599209"/>
              <a:gd name="connsiteY59" fmla="*/ 158702 h 558400"/>
              <a:gd name="connsiteX60" fmla="*/ 396512 w 599209"/>
              <a:gd name="connsiteY60" fmla="*/ 122008 h 558400"/>
              <a:gd name="connsiteX61" fmla="*/ 414897 w 599209"/>
              <a:gd name="connsiteY61" fmla="*/ 115933 h 558400"/>
              <a:gd name="connsiteX62" fmla="*/ 183962 w 599209"/>
              <a:gd name="connsiteY62" fmla="*/ 115933 h 558400"/>
              <a:gd name="connsiteX63" fmla="*/ 202720 w 599209"/>
              <a:gd name="connsiteY63" fmla="*/ 122008 h 558400"/>
              <a:gd name="connsiteX64" fmla="*/ 205701 w 599209"/>
              <a:gd name="connsiteY64" fmla="*/ 158702 h 558400"/>
              <a:gd name="connsiteX65" fmla="*/ 167938 w 599209"/>
              <a:gd name="connsiteY65" fmla="*/ 201347 h 558400"/>
              <a:gd name="connsiteX66" fmla="*/ 149056 w 599209"/>
              <a:gd name="connsiteY66" fmla="*/ 209281 h 558400"/>
              <a:gd name="connsiteX67" fmla="*/ 131168 w 599209"/>
              <a:gd name="connsiteY67" fmla="*/ 203331 h 558400"/>
              <a:gd name="connsiteX68" fmla="*/ 129180 w 599209"/>
              <a:gd name="connsiteY68" fmla="*/ 166636 h 558400"/>
              <a:gd name="connsiteX69" fmla="*/ 165950 w 599209"/>
              <a:gd name="connsiteY69" fmla="*/ 123991 h 558400"/>
              <a:gd name="connsiteX70" fmla="*/ 183962 w 599209"/>
              <a:gd name="connsiteY70" fmla="*/ 115933 h 558400"/>
              <a:gd name="connsiteX71" fmla="*/ 293238 w 599209"/>
              <a:gd name="connsiteY71" fmla="*/ 107026 h 558400"/>
              <a:gd name="connsiteX72" fmla="*/ 349865 w 599209"/>
              <a:gd name="connsiteY72" fmla="*/ 147803 h 558400"/>
              <a:gd name="connsiteX73" fmla="*/ 299199 w 599209"/>
              <a:gd name="connsiteY73" fmla="*/ 130896 h 558400"/>
              <a:gd name="connsiteX74" fmla="*/ 249525 w 599209"/>
              <a:gd name="connsiteY74" fmla="*/ 147803 h 558400"/>
              <a:gd name="connsiteX75" fmla="*/ 293238 w 599209"/>
              <a:gd name="connsiteY75" fmla="*/ 107026 h 558400"/>
              <a:gd name="connsiteX76" fmla="*/ 546006 w 599209"/>
              <a:gd name="connsiteY76" fmla="*/ 94128 h 558400"/>
              <a:gd name="connsiteX77" fmla="*/ 598167 w 599209"/>
              <a:gd name="connsiteY77" fmla="*/ 146209 h 558400"/>
              <a:gd name="connsiteX78" fmla="*/ 546006 w 599209"/>
              <a:gd name="connsiteY78" fmla="*/ 198290 h 558400"/>
              <a:gd name="connsiteX79" fmla="*/ 493845 w 599209"/>
              <a:gd name="connsiteY79" fmla="*/ 146209 h 558400"/>
              <a:gd name="connsiteX80" fmla="*/ 546006 w 599209"/>
              <a:gd name="connsiteY80" fmla="*/ 94128 h 558400"/>
              <a:gd name="connsiteX81" fmla="*/ 53225 w 599209"/>
              <a:gd name="connsiteY81" fmla="*/ 94128 h 558400"/>
              <a:gd name="connsiteX82" fmla="*/ 105386 w 599209"/>
              <a:gd name="connsiteY82" fmla="*/ 146209 h 558400"/>
              <a:gd name="connsiteX83" fmla="*/ 53225 w 599209"/>
              <a:gd name="connsiteY83" fmla="*/ 198290 h 558400"/>
              <a:gd name="connsiteX84" fmla="*/ 1064 w 599209"/>
              <a:gd name="connsiteY84" fmla="*/ 146209 h 558400"/>
              <a:gd name="connsiteX85" fmla="*/ 53225 w 599209"/>
              <a:gd name="connsiteY85" fmla="*/ 94128 h 558400"/>
              <a:gd name="connsiteX86" fmla="*/ 299616 w 599209"/>
              <a:gd name="connsiteY86" fmla="*/ 0 h 558400"/>
              <a:gd name="connsiteX87" fmla="*/ 346840 w 599209"/>
              <a:gd name="connsiteY87" fmla="*/ 46587 h 558400"/>
              <a:gd name="connsiteX88" fmla="*/ 299616 w 599209"/>
              <a:gd name="connsiteY88" fmla="*/ 93174 h 558400"/>
              <a:gd name="connsiteX89" fmla="*/ 252392 w 599209"/>
              <a:gd name="connsiteY89" fmla="*/ 46587 h 558400"/>
              <a:gd name="connsiteX90" fmla="*/ 299616 w 599209"/>
              <a:gd name="connsiteY90" fmla="*/ 0 h 55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599209" h="558400">
                <a:moveTo>
                  <a:pt x="448851" y="362464"/>
                </a:moveTo>
                <a:cubicBezTo>
                  <a:pt x="455551" y="361968"/>
                  <a:pt x="462498" y="363951"/>
                  <a:pt x="467957" y="368908"/>
                </a:cubicBezTo>
                <a:cubicBezTo>
                  <a:pt x="477882" y="378822"/>
                  <a:pt x="478874" y="394684"/>
                  <a:pt x="469942" y="405589"/>
                </a:cubicBezTo>
                <a:lnTo>
                  <a:pt x="433219" y="447227"/>
                </a:lnTo>
                <a:cubicBezTo>
                  <a:pt x="427264" y="453175"/>
                  <a:pt x="420316" y="456149"/>
                  <a:pt x="413369" y="456149"/>
                </a:cubicBezTo>
                <a:cubicBezTo>
                  <a:pt x="407414" y="456149"/>
                  <a:pt x="401459" y="454166"/>
                  <a:pt x="396496" y="450201"/>
                </a:cubicBezTo>
                <a:cubicBezTo>
                  <a:pt x="385579" y="440287"/>
                  <a:pt x="384586" y="424425"/>
                  <a:pt x="393519" y="413520"/>
                </a:cubicBezTo>
                <a:lnTo>
                  <a:pt x="431234" y="370891"/>
                </a:lnTo>
                <a:cubicBezTo>
                  <a:pt x="435700" y="365934"/>
                  <a:pt x="442152" y="362960"/>
                  <a:pt x="448851" y="362464"/>
                </a:cubicBezTo>
                <a:close/>
                <a:moveTo>
                  <a:pt x="150298" y="362464"/>
                </a:moveTo>
                <a:cubicBezTo>
                  <a:pt x="157006" y="362960"/>
                  <a:pt x="163465" y="365934"/>
                  <a:pt x="167938" y="370891"/>
                </a:cubicBezTo>
                <a:lnTo>
                  <a:pt x="205701" y="413520"/>
                </a:lnTo>
                <a:cubicBezTo>
                  <a:pt x="214645" y="424425"/>
                  <a:pt x="213651" y="440287"/>
                  <a:pt x="202720" y="450201"/>
                </a:cubicBezTo>
                <a:cubicBezTo>
                  <a:pt x="197751" y="454166"/>
                  <a:pt x="191788" y="456149"/>
                  <a:pt x="185826" y="456149"/>
                </a:cubicBezTo>
                <a:cubicBezTo>
                  <a:pt x="178869" y="456149"/>
                  <a:pt x="171913" y="453175"/>
                  <a:pt x="165950" y="447227"/>
                </a:cubicBezTo>
                <a:lnTo>
                  <a:pt x="129180" y="405589"/>
                </a:lnTo>
                <a:cubicBezTo>
                  <a:pt x="119242" y="394684"/>
                  <a:pt x="121230" y="378822"/>
                  <a:pt x="131168" y="368908"/>
                </a:cubicBezTo>
                <a:cubicBezTo>
                  <a:pt x="136633" y="363951"/>
                  <a:pt x="143590" y="361968"/>
                  <a:pt x="150298" y="362464"/>
                </a:cubicBezTo>
                <a:close/>
                <a:moveTo>
                  <a:pt x="299119" y="291623"/>
                </a:moveTo>
                <a:lnTo>
                  <a:pt x="300113" y="291623"/>
                </a:lnTo>
                <a:cubicBezTo>
                  <a:pt x="316013" y="291623"/>
                  <a:pt x="331914" y="298565"/>
                  <a:pt x="342846" y="311458"/>
                </a:cubicBezTo>
                <a:cubicBezTo>
                  <a:pt x="354771" y="323359"/>
                  <a:pt x="359740" y="340218"/>
                  <a:pt x="357753" y="356086"/>
                </a:cubicBezTo>
                <a:lnTo>
                  <a:pt x="330920" y="528648"/>
                </a:lnTo>
                <a:cubicBezTo>
                  <a:pt x="328933" y="545508"/>
                  <a:pt x="316013" y="558400"/>
                  <a:pt x="299119" y="558400"/>
                </a:cubicBezTo>
                <a:cubicBezTo>
                  <a:pt x="283218" y="558400"/>
                  <a:pt x="270299" y="545508"/>
                  <a:pt x="268311" y="528648"/>
                </a:cubicBezTo>
                <a:lnTo>
                  <a:pt x="241479" y="356086"/>
                </a:lnTo>
                <a:cubicBezTo>
                  <a:pt x="239491" y="340218"/>
                  <a:pt x="244460" y="323359"/>
                  <a:pt x="256386" y="311458"/>
                </a:cubicBezTo>
                <a:cubicBezTo>
                  <a:pt x="267317" y="298565"/>
                  <a:pt x="283218" y="291623"/>
                  <a:pt x="299119" y="291623"/>
                </a:cubicBezTo>
                <a:close/>
                <a:moveTo>
                  <a:pt x="545449" y="211192"/>
                </a:moveTo>
                <a:lnTo>
                  <a:pt x="546442" y="211192"/>
                </a:lnTo>
                <a:cubicBezTo>
                  <a:pt x="561341" y="211192"/>
                  <a:pt x="575247" y="218135"/>
                  <a:pt x="585179" y="230038"/>
                </a:cubicBezTo>
                <a:cubicBezTo>
                  <a:pt x="595112" y="240948"/>
                  <a:pt x="600078" y="255827"/>
                  <a:pt x="599085" y="270705"/>
                </a:cubicBezTo>
                <a:lnTo>
                  <a:pt x="574253" y="428413"/>
                </a:lnTo>
                <a:cubicBezTo>
                  <a:pt x="572267" y="443291"/>
                  <a:pt x="560348" y="455193"/>
                  <a:pt x="545449" y="455193"/>
                </a:cubicBezTo>
                <a:cubicBezTo>
                  <a:pt x="531543" y="455193"/>
                  <a:pt x="518631" y="443291"/>
                  <a:pt x="517637" y="428413"/>
                </a:cubicBezTo>
                <a:lnTo>
                  <a:pt x="492806" y="270705"/>
                </a:lnTo>
                <a:cubicBezTo>
                  <a:pt x="490819" y="255827"/>
                  <a:pt x="495786" y="240948"/>
                  <a:pt x="505718" y="230038"/>
                </a:cubicBezTo>
                <a:cubicBezTo>
                  <a:pt x="515651" y="218135"/>
                  <a:pt x="530550" y="211192"/>
                  <a:pt x="545449" y="211192"/>
                </a:cubicBezTo>
                <a:close/>
                <a:moveTo>
                  <a:pt x="52789" y="211192"/>
                </a:moveTo>
                <a:lnTo>
                  <a:pt x="53783" y="211192"/>
                </a:lnTo>
                <a:cubicBezTo>
                  <a:pt x="68682" y="211192"/>
                  <a:pt x="82587" y="218135"/>
                  <a:pt x="93513" y="230038"/>
                </a:cubicBezTo>
                <a:cubicBezTo>
                  <a:pt x="103446" y="240948"/>
                  <a:pt x="108412" y="255827"/>
                  <a:pt x="106426" y="270705"/>
                </a:cubicBezTo>
                <a:lnTo>
                  <a:pt x="81594" y="428413"/>
                </a:lnTo>
                <a:cubicBezTo>
                  <a:pt x="80601" y="443291"/>
                  <a:pt x="67688" y="455193"/>
                  <a:pt x="53783" y="455193"/>
                </a:cubicBezTo>
                <a:cubicBezTo>
                  <a:pt x="38884" y="455193"/>
                  <a:pt x="26965" y="443291"/>
                  <a:pt x="24978" y="428413"/>
                </a:cubicBezTo>
                <a:lnTo>
                  <a:pt x="146" y="270705"/>
                </a:lnTo>
                <a:cubicBezTo>
                  <a:pt x="-847" y="255827"/>
                  <a:pt x="3126" y="240948"/>
                  <a:pt x="14052" y="230038"/>
                </a:cubicBezTo>
                <a:cubicBezTo>
                  <a:pt x="23985" y="218135"/>
                  <a:pt x="37891" y="211192"/>
                  <a:pt x="52789" y="211192"/>
                </a:cubicBezTo>
                <a:close/>
                <a:moveTo>
                  <a:pt x="299615" y="161659"/>
                </a:moveTo>
                <a:cubicBezTo>
                  <a:pt x="331149" y="161659"/>
                  <a:pt x="356713" y="187401"/>
                  <a:pt x="356713" y="219156"/>
                </a:cubicBezTo>
                <a:cubicBezTo>
                  <a:pt x="356713" y="250911"/>
                  <a:pt x="331149" y="276653"/>
                  <a:pt x="299615" y="276653"/>
                </a:cubicBezTo>
                <a:cubicBezTo>
                  <a:pt x="268081" y="276653"/>
                  <a:pt x="242517" y="250911"/>
                  <a:pt x="242517" y="219156"/>
                </a:cubicBezTo>
                <a:cubicBezTo>
                  <a:pt x="242517" y="187401"/>
                  <a:pt x="268081" y="161659"/>
                  <a:pt x="299615" y="161659"/>
                </a:cubicBezTo>
                <a:close/>
                <a:moveTo>
                  <a:pt x="414897" y="115933"/>
                </a:moveTo>
                <a:cubicBezTo>
                  <a:pt x="421605" y="116305"/>
                  <a:pt x="428313" y="119033"/>
                  <a:pt x="433282" y="123991"/>
                </a:cubicBezTo>
                <a:lnTo>
                  <a:pt x="470051" y="166636"/>
                </a:lnTo>
                <a:cubicBezTo>
                  <a:pt x="479989" y="177545"/>
                  <a:pt x="478002" y="193413"/>
                  <a:pt x="468064" y="203331"/>
                </a:cubicBezTo>
                <a:cubicBezTo>
                  <a:pt x="463095" y="207298"/>
                  <a:pt x="456138" y="209281"/>
                  <a:pt x="450176" y="209281"/>
                </a:cubicBezTo>
                <a:cubicBezTo>
                  <a:pt x="443219" y="209281"/>
                  <a:pt x="436263" y="206306"/>
                  <a:pt x="431294" y="201347"/>
                </a:cubicBezTo>
                <a:lnTo>
                  <a:pt x="393530" y="158702"/>
                </a:lnTo>
                <a:cubicBezTo>
                  <a:pt x="384586" y="147793"/>
                  <a:pt x="385580" y="131925"/>
                  <a:pt x="396512" y="122008"/>
                </a:cubicBezTo>
                <a:cubicBezTo>
                  <a:pt x="401481" y="117545"/>
                  <a:pt x="408188" y="115562"/>
                  <a:pt x="414897" y="115933"/>
                </a:cubicBezTo>
                <a:close/>
                <a:moveTo>
                  <a:pt x="183962" y="115933"/>
                </a:moveTo>
                <a:cubicBezTo>
                  <a:pt x="190546" y="115562"/>
                  <a:pt x="197254" y="117545"/>
                  <a:pt x="202720" y="122008"/>
                </a:cubicBezTo>
                <a:cubicBezTo>
                  <a:pt x="213651" y="131925"/>
                  <a:pt x="214645" y="147793"/>
                  <a:pt x="205701" y="158702"/>
                </a:cubicBezTo>
                <a:lnTo>
                  <a:pt x="167938" y="201347"/>
                </a:lnTo>
                <a:cubicBezTo>
                  <a:pt x="162969" y="206306"/>
                  <a:pt x="156012" y="209281"/>
                  <a:pt x="149056" y="209281"/>
                </a:cubicBezTo>
                <a:cubicBezTo>
                  <a:pt x="143093" y="209281"/>
                  <a:pt x="136137" y="207298"/>
                  <a:pt x="131168" y="203331"/>
                </a:cubicBezTo>
                <a:cubicBezTo>
                  <a:pt x="121230" y="193413"/>
                  <a:pt x="119242" y="177545"/>
                  <a:pt x="129180" y="166636"/>
                </a:cubicBezTo>
                <a:lnTo>
                  <a:pt x="165950" y="123991"/>
                </a:lnTo>
                <a:cubicBezTo>
                  <a:pt x="170919" y="119033"/>
                  <a:pt x="177378" y="116305"/>
                  <a:pt x="183962" y="115933"/>
                </a:cubicBezTo>
                <a:close/>
                <a:moveTo>
                  <a:pt x="293238" y="107026"/>
                </a:moveTo>
                <a:cubicBezTo>
                  <a:pt x="320061" y="103048"/>
                  <a:pt x="344898" y="120950"/>
                  <a:pt x="349865" y="147803"/>
                </a:cubicBezTo>
                <a:cubicBezTo>
                  <a:pt x="335957" y="136863"/>
                  <a:pt x="319068" y="130896"/>
                  <a:pt x="299199" y="130896"/>
                </a:cubicBezTo>
                <a:cubicBezTo>
                  <a:pt x="280323" y="130896"/>
                  <a:pt x="263434" y="136863"/>
                  <a:pt x="249525" y="147803"/>
                </a:cubicBezTo>
                <a:cubicBezTo>
                  <a:pt x="253499" y="126918"/>
                  <a:pt x="270388" y="110010"/>
                  <a:pt x="293238" y="107026"/>
                </a:cubicBezTo>
                <a:close/>
                <a:moveTo>
                  <a:pt x="546006" y="94128"/>
                </a:moveTo>
                <a:cubicBezTo>
                  <a:pt x="574814" y="94128"/>
                  <a:pt x="598167" y="117445"/>
                  <a:pt x="598167" y="146209"/>
                </a:cubicBezTo>
                <a:cubicBezTo>
                  <a:pt x="598167" y="174973"/>
                  <a:pt x="574814" y="198290"/>
                  <a:pt x="546006" y="198290"/>
                </a:cubicBezTo>
                <a:cubicBezTo>
                  <a:pt x="517198" y="198290"/>
                  <a:pt x="493845" y="174973"/>
                  <a:pt x="493845" y="146209"/>
                </a:cubicBezTo>
                <a:cubicBezTo>
                  <a:pt x="493845" y="117445"/>
                  <a:pt x="517198" y="94128"/>
                  <a:pt x="546006" y="94128"/>
                </a:cubicBezTo>
                <a:close/>
                <a:moveTo>
                  <a:pt x="53225" y="94128"/>
                </a:moveTo>
                <a:cubicBezTo>
                  <a:pt x="82033" y="94128"/>
                  <a:pt x="105386" y="117445"/>
                  <a:pt x="105386" y="146209"/>
                </a:cubicBezTo>
                <a:cubicBezTo>
                  <a:pt x="105386" y="174973"/>
                  <a:pt x="82033" y="198290"/>
                  <a:pt x="53225" y="198290"/>
                </a:cubicBezTo>
                <a:cubicBezTo>
                  <a:pt x="24417" y="198290"/>
                  <a:pt x="1064" y="174973"/>
                  <a:pt x="1064" y="146209"/>
                </a:cubicBezTo>
                <a:cubicBezTo>
                  <a:pt x="1064" y="117445"/>
                  <a:pt x="24417" y="94128"/>
                  <a:pt x="53225" y="94128"/>
                </a:cubicBezTo>
                <a:close/>
                <a:moveTo>
                  <a:pt x="299616" y="0"/>
                </a:moveTo>
                <a:cubicBezTo>
                  <a:pt x="325697" y="0"/>
                  <a:pt x="346840" y="20858"/>
                  <a:pt x="346840" y="46587"/>
                </a:cubicBezTo>
                <a:cubicBezTo>
                  <a:pt x="346840" y="72316"/>
                  <a:pt x="325697" y="93174"/>
                  <a:pt x="299616" y="93174"/>
                </a:cubicBezTo>
                <a:cubicBezTo>
                  <a:pt x="273535" y="93174"/>
                  <a:pt x="252392" y="72316"/>
                  <a:pt x="252392" y="46587"/>
                </a:cubicBezTo>
                <a:cubicBezTo>
                  <a:pt x="252392" y="20858"/>
                  <a:pt x="273535" y="0"/>
                  <a:pt x="299616" y="0"/>
                </a:cubicBezTo>
                <a:close/>
              </a:path>
            </a:pathLst>
          </a:custGeom>
          <a:solidFill>
            <a:sysClr val="window" lastClr="FFFFF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effectLst/>
              <a:uLnTx/>
              <a:uFillTx/>
            </a:endParaRPr>
          </a:p>
        </p:txBody>
      </p:sp>
      <p:sp>
        <p:nvSpPr>
          <p:cNvPr id="102" name="banking_156749"/>
          <p:cNvSpPr>
            <a:spLocks noChangeAspect="1"/>
          </p:cNvSpPr>
          <p:nvPr/>
        </p:nvSpPr>
        <p:spPr bwMode="auto">
          <a:xfrm>
            <a:off x="6539978" y="5624149"/>
            <a:ext cx="433868" cy="361315"/>
          </a:xfrm>
          <a:custGeom>
            <a:avLst/>
            <a:gdLst>
              <a:gd name="connsiteX0" fmla="*/ 62938 w 606580"/>
              <a:gd name="connsiteY0" fmla="*/ 487524 h 552386"/>
              <a:gd name="connsiteX1" fmla="*/ 62938 w 606580"/>
              <a:gd name="connsiteY1" fmla="*/ 514951 h 552386"/>
              <a:gd name="connsiteX2" fmla="*/ 543642 w 606580"/>
              <a:gd name="connsiteY2" fmla="*/ 514951 h 552386"/>
              <a:gd name="connsiteX3" fmla="*/ 543642 w 606580"/>
              <a:gd name="connsiteY3" fmla="*/ 487524 h 552386"/>
              <a:gd name="connsiteX4" fmla="*/ 25333 w 606580"/>
              <a:gd name="connsiteY4" fmla="*/ 449996 h 552386"/>
              <a:gd name="connsiteX5" fmla="*/ 581247 w 606580"/>
              <a:gd name="connsiteY5" fmla="*/ 449996 h 552386"/>
              <a:gd name="connsiteX6" fmla="*/ 581247 w 606580"/>
              <a:gd name="connsiteY6" fmla="*/ 552386 h 552386"/>
              <a:gd name="connsiteX7" fmla="*/ 25333 w 606580"/>
              <a:gd name="connsiteY7" fmla="*/ 552386 h 552386"/>
              <a:gd name="connsiteX8" fmla="*/ 296458 w 606580"/>
              <a:gd name="connsiteY8" fmla="*/ 248884 h 552386"/>
              <a:gd name="connsiteX9" fmla="*/ 315503 w 606580"/>
              <a:gd name="connsiteY9" fmla="*/ 248884 h 552386"/>
              <a:gd name="connsiteX10" fmla="*/ 315503 w 606580"/>
              <a:gd name="connsiteY10" fmla="*/ 266036 h 552386"/>
              <a:gd name="connsiteX11" fmla="*/ 343746 w 606580"/>
              <a:gd name="connsiteY11" fmla="*/ 272433 h 552386"/>
              <a:gd name="connsiteX12" fmla="*/ 338172 w 606580"/>
              <a:gd name="connsiteY12" fmla="*/ 294406 h 552386"/>
              <a:gd name="connsiteX13" fmla="*/ 310115 w 606580"/>
              <a:gd name="connsiteY13" fmla="*/ 287731 h 552386"/>
              <a:gd name="connsiteX14" fmla="*/ 293299 w 606580"/>
              <a:gd name="connsiteY14" fmla="*/ 298671 h 552386"/>
              <a:gd name="connsiteX15" fmla="*/ 316711 w 606580"/>
              <a:gd name="connsiteY15" fmla="*/ 315359 h 552386"/>
              <a:gd name="connsiteX16" fmla="*/ 349228 w 606580"/>
              <a:gd name="connsiteY16" fmla="*/ 351702 h 552386"/>
              <a:gd name="connsiteX17" fmla="*/ 314574 w 606580"/>
              <a:gd name="connsiteY17" fmla="*/ 387675 h 552386"/>
              <a:gd name="connsiteX18" fmla="*/ 314574 w 606580"/>
              <a:gd name="connsiteY18" fmla="*/ 407515 h 552386"/>
              <a:gd name="connsiteX19" fmla="*/ 295436 w 606580"/>
              <a:gd name="connsiteY19" fmla="*/ 407515 h 552386"/>
              <a:gd name="connsiteX20" fmla="*/ 295436 w 606580"/>
              <a:gd name="connsiteY20" fmla="*/ 389065 h 552386"/>
              <a:gd name="connsiteX21" fmla="*/ 262362 w 606580"/>
              <a:gd name="connsiteY21" fmla="*/ 380721 h 552386"/>
              <a:gd name="connsiteX22" fmla="*/ 268215 w 606580"/>
              <a:gd name="connsiteY22" fmla="*/ 358007 h 552386"/>
              <a:gd name="connsiteX23" fmla="*/ 300546 w 606580"/>
              <a:gd name="connsiteY23" fmla="*/ 366536 h 552386"/>
              <a:gd name="connsiteX24" fmla="*/ 319219 w 606580"/>
              <a:gd name="connsiteY24" fmla="*/ 354483 h 552386"/>
              <a:gd name="connsiteX25" fmla="*/ 298595 w 606580"/>
              <a:gd name="connsiteY25" fmla="*/ 337517 h 552386"/>
              <a:gd name="connsiteX26" fmla="*/ 263477 w 606580"/>
              <a:gd name="connsiteY26" fmla="*/ 302008 h 552386"/>
              <a:gd name="connsiteX27" fmla="*/ 296458 w 606580"/>
              <a:gd name="connsiteY27" fmla="*/ 267334 h 552386"/>
              <a:gd name="connsiteX28" fmla="*/ 463756 w 606580"/>
              <a:gd name="connsiteY28" fmla="*/ 229690 h 552386"/>
              <a:gd name="connsiteX29" fmla="*/ 520138 w 606580"/>
              <a:gd name="connsiteY29" fmla="*/ 229690 h 552386"/>
              <a:gd name="connsiteX30" fmla="*/ 520138 w 606580"/>
              <a:gd name="connsiteY30" fmla="*/ 421981 h 552386"/>
              <a:gd name="connsiteX31" fmla="*/ 463756 w 606580"/>
              <a:gd name="connsiteY31" fmla="*/ 421981 h 552386"/>
              <a:gd name="connsiteX32" fmla="*/ 377666 w 606580"/>
              <a:gd name="connsiteY32" fmla="*/ 229690 h 552386"/>
              <a:gd name="connsiteX33" fmla="*/ 434048 w 606580"/>
              <a:gd name="connsiteY33" fmla="*/ 229690 h 552386"/>
              <a:gd name="connsiteX34" fmla="*/ 434048 w 606580"/>
              <a:gd name="connsiteY34" fmla="*/ 421981 h 552386"/>
              <a:gd name="connsiteX35" fmla="*/ 377666 w 606580"/>
              <a:gd name="connsiteY35" fmla="*/ 421981 h 552386"/>
              <a:gd name="connsiteX36" fmla="*/ 172603 w 606580"/>
              <a:gd name="connsiteY36" fmla="*/ 229690 h 552386"/>
              <a:gd name="connsiteX37" fmla="*/ 228985 w 606580"/>
              <a:gd name="connsiteY37" fmla="*/ 229690 h 552386"/>
              <a:gd name="connsiteX38" fmla="*/ 228985 w 606580"/>
              <a:gd name="connsiteY38" fmla="*/ 421981 h 552386"/>
              <a:gd name="connsiteX39" fmla="*/ 172603 w 606580"/>
              <a:gd name="connsiteY39" fmla="*/ 421981 h 552386"/>
              <a:gd name="connsiteX40" fmla="*/ 86443 w 606580"/>
              <a:gd name="connsiteY40" fmla="*/ 229690 h 552386"/>
              <a:gd name="connsiteX41" fmla="*/ 142825 w 606580"/>
              <a:gd name="connsiteY41" fmla="*/ 229690 h 552386"/>
              <a:gd name="connsiteX42" fmla="*/ 142825 w 606580"/>
              <a:gd name="connsiteY42" fmla="*/ 421981 h 552386"/>
              <a:gd name="connsiteX43" fmla="*/ 86443 w 606580"/>
              <a:gd name="connsiteY43" fmla="*/ 421981 h 552386"/>
              <a:gd name="connsiteX44" fmla="*/ 303290 w 606580"/>
              <a:gd name="connsiteY44" fmla="*/ 87854 h 552386"/>
              <a:gd name="connsiteX45" fmla="*/ 329893 w 606580"/>
              <a:gd name="connsiteY45" fmla="*/ 114210 h 552386"/>
              <a:gd name="connsiteX46" fmla="*/ 303290 w 606580"/>
              <a:gd name="connsiteY46" fmla="*/ 140566 h 552386"/>
              <a:gd name="connsiteX47" fmla="*/ 276687 w 606580"/>
              <a:gd name="connsiteY47" fmla="*/ 114210 h 552386"/>
              <a:gd name="connsiteX48" fmla="*/ 303290 w 606580"/>
              <a:gd name="connsiteY48" fmla="*/ 87854 h 552386"/>
              <a:gd name="connsiteX49" fmla="*/ 303336 w 606580"/>
              <a:gd name="connsiteY49" fmla="*/ 45057 h 552386"/>
              <a:gd name="connsiteX50" fmla="*/ 124417 w 606580"/>
              <a:gd name="connsiteY50" fmla="*/ 163634 h 552386"/>
              <a:gd name="connsiteX51" fmla="*/ 482163 w 606580"/>
              <a:gd name="connsiteY51" fmla="*/ 163634 h 552386"/>
              <a:gd name="connsiteX52" fmla="*/ 303336 w 606580"/>
              <a:gd name="connsiteY52" fmla="*/ 0 h 552386"/>
              <a:gd name="connsiteX53" fmla="*/ 606580 w 606580"/>
              <a:gd name="connsiteY53" fmla="*/ 201182 h 552386"/>
              <a:gd name="connsiteX54" fmla="*/ 0 w 606580"/>
              <a:gd name="connsiteY54" fmla="*/ 201182 h 55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06580" h="552386">
                <a:moveTo>
                  <a:pt x="62938" y="487524"/>
                </a:moveTo>
                <a:lnTo>
                  <a:pt x="62938" y="514951"/>
                </a:lnTo>
                <a:lnTo>
                  <a:pt x="543642" y="514951"/>
                </a:lnTo>
                <a:lnTo>
                  <a:pt x="543642" y="487524"/>
                </a:lnTo>
                <a:close/>
                <a:moveTo>
                  <a:pt x="25333" y="449996"/>
                </a:moveTo>
                <a:lnTo>
                  <a:pt x="581247" y="449996"/>
                </a:lnTo>
                <a:lnTo>
                  <a:pt x="581247" y="552386"/>
                </a:lnTo>
                <a:lnTo>
                  <a:pt x="25333" y="552386"/>
                </a:lnTo>
                <a:close/>
                <a:moveTo>
                  <a:pt x="296458" y="248884"/>
                </a:moveTo>
                <a:lnTo>
                  <a:pt x="315503" y="248884"/>
                </a:lnTo>
                <a:lnTo>
                  <a:pt x="315503" y="266036"/>
                </a:lnTo>
                <a:cubicBezTo>
                  <a:pt x="328603" y="266592"/>
                  <a:pt x="337336" y="269281"/>
                  <a:pt x="343746" y="272433"/>
                </a:cubicBezTo>
                <a:lnTo>
                  <a:pt x="338172" y="294406"/>
                </a:lnTo>
                <a:cubicBezTo>
                  <a:pt x="333062" y="292273"/>
                  <a:pt x="324143" y="287731"/>
                  <a:pt x="310115" y="287731"/>
                </a:cubicBezTo>
                <a:cubicBezTo>
                  <a:pt x="297387" y="287731"/>
                  <a:pt x="293299" y="293201"/>
                  <a:pt x="293299" y="298671"/>
                </a:cubicBezTo>
                <a:cubicBezTo>
                  <a:pt x="293299" y="305068"/>
                  <a:pt x="300174" y="309147"/>
                  <a:pt x="316711" y="315359"/>
                </a:cubicBezTo>
                <a:cubicBezTo>
                  <a:pt x="339844" y="323518"/>
                  <a:pt x="349228" y="334272"/>
                  <a:pt x="349228" y="351702"/>
                </a:cubicBezTo>
                <a:cubicBezTo>
                  <a:pt x="349228" y="369039"/>
                  <a:pt x="336964" y="383781"/>
                  <a:pt x="314574" y="387675"/>
                </a:cubicBezTo>
                <a:lnTo>
                  <a:pt x="314574" y="407515"/>
                </a:lnTo>
                <a:lnTo>
                  <a:pt x="295436" y="407515"/>
                </a:lnTo>
                <a:lnTo>
                  <a:pt x="295436" y="389065"/>
                </a:lnTo>
                <a:cubicBezTo>
                  <a:pt x="282429" y="388509"/>
                  <a:pt x="269794" y="384986"/>
                  <a:pt x="262362" y="380721"/>
                </a:cubicBezTo>
                <a:lnTo>
                  <a:pt x="268215" y="358007"/>
                </a:lnTo>
                <a:cubicBezTo>
                  <a:pt x="276390" y="362457"/>
                  <a:pt x="287911" y="366536"/>
                  <a:pt x="300546" y="366536"/>
                </a:cubicBezTo>
                <a:cubicBezTo>
                  <a:pt x="311601" y="366536"/>
                  <a:pt x="319219" y="362271"/>
                  <a:pt x="319219" y="354483"/>
                </a:cubicBezTo>
                <a:cubicBezTo>
                  <a:pt x="319219" y="347066"/>
                  <a:pt x="312995" y="342431"/>
                  <a:pt x="298595" y="337517"/>
                </a:cubicBezTo>
                <a:cubicBezTo>
                  <a:pt x="277784" y="330564"/>
                  <a:pt x="263477" y="320829"/>
                  <a:pt x="263477" y="302008"/>
                </a:cubicBezTo>
                <a:cubicBezTo>
                  <a:pt x="263477" y="284856"/>
                  <a:pt x="275647" y="271413"/>
                  <a:pt x="296458" y="267334"/>
                </a:cubicBezTo>
                <a:close/>
                <a:moveTo>
                  <a:pt x="463756" y="229690"/>
                </a:moveTo>
                <a:lnTo>
                  <a:pt x="520138" y="229690"/>
                </a:lnTo>
                <a:lnTo>
                  <a:pt x="520138" y="421981"/>
                </a:lnTo>
                <a:lnTo>
                  <a:pt x="463756" y="421981"/>
                </a:lnTo>
                <a:close/>
                <a:moveTo>
                  <a:pt x="377666" y="229690"/>
                </a:moveTo>
                <a:lnTo>
                  <a:pt x="434048" y="229690"/>
                </a:lnTo>
                <a:lnTo>
                  <a:pt x="434048" y="421981"/>
                </a:lnTo>
                <a:lnTo>
                  <a:pt x="377666" y="421981"/>
                </a:lnTo>
                <a:close/>
                <a:moveTo>
                  <a:pt x="172603" y="229690"/>
                </a:moveTo>
                <a:lnTo>
                  <a:pt x="228985" y="229690"/>
                </a:lnTo>
                <a:lnTo>
                  <a:pt x="228985" y="421981"/>
                </a:lnTo>
                <a:lnTo>
                  <a:pt x="172603" y="421981"/>
                </a:lnTo>
                <a:close/>
                <a:moveTo>
                  <a:pt x="86443" y="229690"/>
                </a:moveTo>
                <a:lnTo>
                  <a:pt x="142825" y="229690"/>
                </a:lnTo>
                <a:lnTo>
                  <a:pt x="142825" y="421981"/>
                </a:lnTo>
                <a:lnTo>
                  <a:pt x="86443" y="421981"/>
                </a:lnTo>
                <a:close/>
                <a:moveTo>
                  <a:pt x="303290" y="87854"/>
                </a:moveTo>
                <a:cubicBezTo>
                  <a:pt x="317982" y="87854"/>
                  <a:pt x="329893" y="99654"/>
                  <a:pt x="329893" y="114210"/>
                </a:cubicBezTo>
                <a:cubicBezTo>
                  <a:pt x="329893" y="128766"/>
                  <a:pt x="317982" y="140566"/>
                  <a:pt x="303290" y="140566"/>
                </a:cubicBezTo>
                <a:cubicBezTo>
                  <a:pt x="288598" y="140566"/>
                  <a:pt x="276687" y="128766"/>
                  <a:pt x="276687" y="114210"/>
                </a:cubicBezTo>
                <a:cubicBezTo>
                  <a:pt x="276687" y="99654"/>
                  <a:pt x="288598" y="87854"/>
                  <a:pt x="303290" y="87854"/>
                </a:cubicBezTo>
                <a:close/>
                <a:moveTo>
                  <a:pt x="303336" y="45057"/>
                </a:moveTo>
                <a:lnTo>
                  <a:pt x="124417" y="163634"/>
                </a:lnTo>
                <a:lnTo>
                  <a:pt x="482163" y="163634"/>
                </a:lnTo>
                <a:close/>
                <a:moveTo>
                  <a:pt x="303336" y="0"/>
                </a:moveTo>
                <a:lnTo>
                  <a:pt x="606580" y="201182"/>
                </a:lnTo>
                <a:lnTo>
                  <a:pt x="0" y="201182"/>
                </a:lnTo>
                <a:close/>
              </a:path>
            </a:pathLst>
          </a:custGeom>
          <a:solidFill>
            <a:sysClr val="window" lastClr="FFFFF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effectLst/>
              <a:uLnTx/>
              <a:uFillTx/>
            </a:endParaRPr>
          </a:p>
        </p:txBody>
      </p:sp>
      <p:grpSp>
        <p:nvGrpSpPr>
          <p:cNvPr id="103" name="组合 102"/>
          <p:cNvGrpSpPr/>
          <p:nvPr/>
        </p:nvGrpSpPr>
        <p:grpSpPr>
          <a:xfrm>
            <a:off x="7453665" y="4797501"/>
            <a:ext cx="550295" cy="550294"/>
            <a:chOff x="7216360" y="4441862"/>
            <a:chExt cx="485327" cy="485327"/>
          </a:xfrm>
          <a:solidFill>
            <a:srgbClr val="FF0000"/>
          </a:solidFill>
        </p:grpSpPr>
        <p:sp>
          <p:nvSpPr>
            <p:cNvPr id="104" name="椭圆 103"/>
            <p:cNvSpPr/>
            <p:nvPr/>
          </p:nvSpPr>
          <p:spPr>
            <a:xfrm>
              <a:off x="7216360" y="4441862"/>
              <a:ext cx="485327" cy="485327"/>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600" b="0" i="0" u="none" strike="noStrike" kern="0" cap="none" spc="0" normalizeH="0" baseline="0" noProof="0" dirty="0">
                <a:ln>
                  <a:noFill/>
                </a:ln>
                <a:effectLst/>
                <a:uLnTx/>
                <a:uFillTx/>
                <a:latin typeface="Arial" panose="020B0604020202020204"/>
                <a:ea typeface="华文楷体" panose="02010600040101010101" charset="-122"/>
                <a:cs typeface="+mn-cs"/>
              </a:endParaRPr>
            </a:p>
          </p:txBody>
        </p:sp>
        <p:sp>
          <p:nvSpPr>
            <p:cNvPr id="105" name="american-government-building_48751"/>
            <p:cNvSpPr>
              <a:spLocks noChangeAspect="1"/>
            </p:cNvSpPr>
            <p:nvPr/>
          </p:nvSpPr>
          <p:spPr bwMode="auto">
            <a:xfrm>
              <a:off x="7321266" y="4529952"/>
              <a:ext cx="275515" cy="309147"/>
            </a:xfrm>
            <a:custGeom>
              <a:avLst/>
              <a:gdLst>
                <a:gd name="connsiteX0" fmla="*/ 0 w 532980"/>
                <a:gd name="connsiteY0" fmla="*/ 568969 h 598042"/>
                <a:gd name="connsiteX1" fmla="*/ 532980 w 532980"/>
                <a:gd name="connsiteY1" fmla="*/ 568969 h 598042"/>
                <a:gd name="connsiteX2" fmla="*/ 532980 w 532980"/>
                <a:gd name="connsiteY2" fmla="*/ 598042 h 598042"/>
                <a:gd name="connsiteX3" fmla="*/ 0 w 532980"/>
                <a:gd name="connsiteY3" fmla="*/ 598042 h 598042"/>
                <a:gd name="connsiteX4" fmla="*/ 494240 w 532980"/>
                <a:gd name="connsiteY4" fmla="*/ 437153 h 598042"/>
                <a:gd name="connsiteX5" fmla="*/ 524442 w 532980"/>
                <a:gd name="connsiteY5" fmla="*/ 437153 h 598042"/>
                <a:gd name="connsiteX6" fmla="*/ 524442 w 532980"/>
                <a:gd name="connsiteY6" fmla="*/ 559372 h 598042"/>
                <a:gd name="connsiteX7" fmla="*/ 494240 w 532980"/>
                <a:gd name="connsiteY7" fmla="*/ 559372 h 598042"/>
                <a:gd name="connsiteX8" fmla="*/ 412737 w 532980"/>
                <a:gd name="connsiteY8" fmla="*/ 437153 h 598042"/>
                <a:gd name="connsiteX9" fmla="*/ 442939 w 532980"/>
                <a:gd name="connsiteY9" fmla="*/ 437153 h 598042"/>
                <a:gd name="connsiteX10" fmla="*/ 442939 w 532980"/>
                <a:gd name="connsiteY10" fmla="*/ 559372 h 598042"/>
                <a:gd name="connsiteX11" fmla="*/ 412737 w 532980"/>
                <a:gd name="connsiteY11" fmla="*/ 559372 h 598042"/>
                <a:gd name="connsiteX12" fmla="*/ 338572 w 532980"/>
                <a:gd name="connsiteY12" fmla="*/ 437153 h 598042"/>
                <a:gd name="connsiteX13" fmla="*/ 368845 w 532980"/>
                <a:gd name="connsiteY13" fmla="*/ 437153 h 598042"/>
                <a:gd name="connsiteX14" fmla="*/ 368845 w 532980"/>
                <a:gd name="connsiteY14" fmla="*/ 559372 h 598042"/>
                <a:gd name="connsiteX15" fmla="*/ 338572 w 532980"/>
                <a:gd name="connsiteY15" fmla="*/ 559372 h 598042"/>
                <a:gd name="connsiteX16" fmla="*/ 256717 w 532980"/>
                <a:gd name="connsiteY16" fmla="*/ 437153 h 598042"/>
                <a:gd name="connsiteX17" fmla="*/ 287342 w 532980"/>
                <a:gd name="connsiteY17" fmla="*/ 437153 h 598042"/>
                <a:gd name="connsiteX18" fmla="*/ 287342 w 532980"/>
                <a:gd name="connsiteY18" fmla="*/ 559372 h 598042"/>
                <a:gd name="connsiteX19" fmla="*/ 256717 w 532980"/>
                <a:gd name="connsiteY19" fmla="*/ 559372 h 598042"/>
                <a:gd name="connsiteX20" fmla="*/ 175214 w 532980"/>
                <a:gd name="connsiteY20" fmla="*/ 437153 h 598042"/>
                <a:gd name="connsiteX21" fmla="*/ 205487 w 532980"/>
                <a:gd name="connsiteY21" fmla="*/ 437153 h 598042"/>
                <a:gd name="connsiteX22" fmla="*/ 205487 w 532980"/>
                <a:gd name="connsiteY22" fmla="*/ 559372 h 598042"/>
                <a:gd name="connsiteX23" fmla="*/ 175214 w 532980"/>
                <a:gd name="connsiteY23" fmla="*/ 559372 h 598042"/>
                <a:gd name="connsiteX24" fmla="*/ 88912 w 532980"/>
                <a:gd name="connsiteY24" fmla="*/ 437153 h 598042"/>
                <a:gd name="connsiteX25" fmla="*/ 119185 w 532980"/>
                <a:gd name="connsiteY25" fmla="*/ 437153 h 598042"/>
                <a:gd name="connsiteX26" fmla="*/ 119185 w 532980"/>
                <a:gd name="connsiteY26" fmla="*/ 559372 h 598042"/>
                <a:gd name="connsiteX27" fmla="*/ 88912 w 532980"/>
                <a:gd name="connsiteY27" fmla="*/ 559372 h 598042"/>
                <a:gd name="connsiteX28" fmla="*/ 7409 w 532980"/>
                <a:gd name="connsiteY28" fmla="*/ 437153 h 598042"/>
                <a:gd name="connsiteX29" fmla="*/ 37611 w 532980"/>
                <a:gd name="connsiteY29" fmla="*/ 437153 h 598042"/>
                <a:gd name="connsiteX30" fmla="*/ 37611 w 532980"/>
                <a:gd name="connsiteY30" fmla="*/ 559372 h 598042"/>
                <a:gd name="connsiteX31" fmla="*/ 7409 w 532980"/>
                <a:gd name="connsiteY31" fmla="*/ 559372 h 598042"/>
                <a:gd name="connsiteX32" fmla="*/ 0 w 532980"/>
                <a:gd name="connsiteY32" fmla="*/ 398483 h 598042"/>
                <a:gd name="connsiteX33" fmla="*/ 71187 w 532980"/>
                <a:gd name="connsiteY33" fmla="*/ 398483 h 598042"/>
                <a:gd name="connsiteX34" fmla="*/ 464006 w 532980"/>
                <a:gd name="connsiteY34" fmla="*/ 398483 h 598042"/>
                <a:gd name="connsiteX35" fmla="*/ 532980 w 532980"/>
                <a:gd name="connsiteY35" fmla="*/ 398483 h 598042"/>
                <a:gd name="connsiteX36" fmla="*/ 532980 w 532980"/>
                <a:gd name="connsiteY36" fmla="*/ 427556 h 598042"/>
                <a:gd name="connsiteX37" fmla="*/ 0 w 532980"/>
                <a:gd name="connsiteY37" fmla="*/ 427556 h 598042"/>
                <a:gd name="connsiteX38" fmla="*/ 415700 w 532980"/>
                <a:gd name="connsiteY38" fmla="*/ 265891 h 598042"/>
                <a:gd name="connsiteX39" fmla="*/ 445902 w 532980"/>
                <a:gd name="connsiteY39" fmla="*/ 265891 h 598042"/>
                <a:gd name="connsiteX40" fmla="*/ 445902 w 532980"/>
                <a:gd name="connsiteY40" fmla="*/ 388181 h 598042"/>
                <a:gd name="connsiteX41" fmla="*/ 415700 w 532980"/>
                <a:gd name="connsiteY41" fmla="*/ 388181 h 598042"/>
                <a:gd name="connsiteX42" fmla="*/ 334197 w 532980"/>
                <a:gd name="connsiteY42" fmla="*/ 265891 h 598042"/>
                <a:gd name="connsiteX43" fmla="*/ 364399 w 532980"/>
                <a:gd name="connsiteY43" fmla="*/ 265891 h 598042"/>
                <a:gd name="connsiteX44" fmla="*/ 364399 w 532980"/>
                <a:gd name="connsiteY44" fmla="*/ 388181 h 598042"/>
                <a:gd name="connsiteX45" fmla="*/ 334197 w 532980"/>
                <a:gd name="connsiteY45" fmla="*/ 388181 h 598042"/>
                <a:gd name="connsiteX46" fmla="*/ 252271 w 532980"/>
                <a:gd name="connsiteY46" fmla="*/ 265891 h 598042"/>
                <a:gd name="connsiteX47" fmla="*/ 282896 w 532980"/>
                <a:gd name="connsiteY47" fmla="*/ 265891 h 598042"/>
                <a:gd name="connsiteX48" fmla="*/ 282896 w 532980"/>
                <a:gd name="connsiteY48" fmla="*/ 388181 h 598042"/>
                <a:gd name="connsiteX49" fmla="*/ 252271 w 532980"/>
                <a:gd name="connsiteY49" fmla="*/ 388181 h 598042"/>
                <a:gd name="connsiteX50" fmla="*/ 166393 w 532980"/>
                <a:gd name="connsiteY50" fmla="*/ 265891 h 598042"/>
                <a:gd name="connsiteX51" fmla="*/ 196595 w 532980"/>
                <a:gd name="connsiteY51" fmla="*/ 265891 h 598042"/>
                <a:gd name="connsiteX52" fmla="*/ 196595 w 532980"/>
                <a:gd name="connsiteY52" fmla="*/ 388181 h 598042"/>
                <a:gd name="connsiteX53" fmla="*/ 166393 w 532980"/>
                <a:gd name="connsiteY53" fmla="*/ 388181 h 598042"/>
                <a:gd name="connsiteX54" fmla="*/ 84467 w 532980"/>
                <a:gd name="connsiteY54" fmla="*/ 265891 h 598042"/>
                <a:gd name="connsiteX55" fmla="*/ 115092 w 532980"/>
                <a:gd name="connsiteY55" fmla="*/ 265891 h 598042"/>
                <a:gd name="connsiteX56" fmla="*/ 115092 w 532980"/>
                <a:gd name="connsiteY56" fmla="*/ 388181 h 598042"/>
                <a:gd name="connsiteX57" fmla="*/ 84467 w 532980"/>
                <a:gd name="connsiteY57" fmla="*/ 388181 h 598042"/>
                <a:gd name="connsiteX58" fmla="*/ 267768 w 532980"/>
                <a:gd name="connsiteY58" fmla="*/ 0 h 598042"/>
                <a:gd name="connsiteX59" fmla="*/ 278463 w 532980"/>
                <a:gd name="connsiteY59" fmla="*/ 83234 h 598042"/>
                <a:gd name="connsiteX60" fmla="*/ 389102 w 532980"/>
                <a:gd name="connsiteY60" fmla="*/ 227974 h 598042"/>
                <a:gd name="connsiteX61" fmla="*/ 463967 w 532980"/>
                <a:gd name="connsiteY61" fmla="*/ 227974 h 598042"/>
                <a:gd name="connsiteX62" fmla="*/ 463967 w 532980"/>
                <a:gd name="connsiteY62" fmla="*/ 257070 h 598042"/>
                <a:gd name="connsiteX63" fmla="*/ 71200 w 532980"/>
                <a:gd name="connsiteY63" fmla="*/ 257070 h 598042"/>
                <a:gd name="connsiteX64" fmla="*/ 71200 w 532980"/>
                <a:gd name="connsiteY64" fmla="*/ 227974 h 598042"/>
                <a:gd name="connsiteX65" fmla="*/ 146065 w 532980"/>
                <a:gd name="connsiteY65" fmla="*/ 227974 h 598042"/>
                <a:gd name="connsiteX66" fmla="*/ 256704 w 532980"/>
                <a:gd name="connsiteY66" fmla="*/ 83234 h 598042"/>
                <a:gd name="connsiteX67" fmla="*/ 267768 w 532980"/>
                <a:gd name="connsiteY67" fmla="*/ 0 h 59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32980" h="598042">
                  <a:moveTo>
                    <a:pt x="0" y="568969"/>
                  </a:moveTo>
                  <a:lnTo>
                    <a:pt x="532980" y="568969"/>
                  </a:lnTo>
                  <a:lnTo>
                    <a:pt x="532980" y="598042"/>
                  </a:lnTo>
                  <a:lnTo>
                    <a:pt x="0" y="598042"/>
                  </a:lnTo>
                  <a:close/>
                  <a:moveTo>
                    <a:pt x="494240" y="437153"/>
                  </a:moveTo>
                  <a:lnTo>
                    <a:pt x="524442" y="437153"/>
                  </a:lnTo>
                  <a:lnTo>
                    <a:pt x="524442" y="559372"/>
                  </a:lnTo>
                  <a:lnTo>
                    <a:pt x="494240" y="559372"/>
                  </a:lnTo>
                  <a:close/>
                  <a:moveTo>
                    <a:pt x="412737" y="437153"/>
                  </a:moveTo>
                  <a:lnTo>
                    <a:pt x="442939" y="437153"/>
                  </a:lnTo>
                  <a:lnTo>
                    <a:pt x="442939" y="559372"/>
                  </a:lnTo>
                  <a:lnTo>
                    <a:pt x="412737" y="559372"/>
                  </a:lnTo>
                  <a:close/>
                  <a:moveTo>
                    <a:pt x="338572" y="437153"/>
                  </a:moveTo>
                  <a:lnTo>
                    <a:pt x="368845" y="437153"/>
                  </a:lnTo>
                  <a:lnTo>
                    <a:pt x="368845" y="559372"/>
                  </a:lnTo>
                  <a:lnTo>
                    <a:pt x="338572" y="559372"/>
                  </a:lnTo>
                  <a:close/>
                  <a:moveTo>
                    <a:pt x="256717" y="437153"/>
                  </a:moveTo>
                  <a:lnTo>
                    <a:pt x="287342" y="437153"/>
                  </a:lnTo>
                  <a:lnTo>
                    <a:pt x="287342" y="559372"/>
                  </a:lnTo>
                  <a:lnTo>
                    <a:pt x="256717" y="559372"/>
                  </a:lnTo>
                  <a:close/>
                  <a:moveTo>
                    <a:pt x="175214" y="437153"/>
                  </a:moveTo>
                  <a:lnTo>
                    <a:pt x="205487" y="437153"/>
                  </a:lnTo>
                  <a:lnTo>
                    <a:pt x="205487" y="559372"/>
                  </a:lnTo>
                  <a:lnTo>
                    <a:pt x="175214" y="559372"/>
                  </a:lnTo>
                  <a:close/>
                  <a:moveTo>
                    <a:pt x="88912" y="437153"/>
                  </a:moveTo>
                  <a:lnTo>
                    <a:pt x="119185" y="437153"/>
                  </a:lnTo>
                  <a:lnTo>
                    <a:pt x="119185" y="559372"/>
                  </a:lnTo>
                  <a:lnTo>
                    <a:pt x="88912" y="559372"/>
                  </a:lnTo>
                  <a:close/>
                  <a:moveTo>
                    <a:pt x="7409" y="437153"/>
                  </a:moveTo>
                  <a:lnTo>
                    <a:pt x="37611" y="437153"/>
                  </a:lnTo>
                  <a:lnTo>
                    <a:pt x="37611" y="559372"/>
                  </a:lnTo>
                  <a:lnTo>
                    <a:pt x="7409" y="559372"/>
                  </a:lnTo>
                  <a:close/>
                  <a:moveTo>
                    <a:pt x="0" y="398483"/>
                  </a:moveTo>
                  <a:lnTo>
                    <a:pt x="71187" y="398483"/>
                  </a:lnTo>
                  <a:lnTo>
                    <a:pt x="464006" y="398483"/>
                  </a:lnTo>
                  <a:lnTo>
                    <a:pt x="532980" y="398483"/>
                  </a:lnTo>
                  <a:lnTo>
                    <a:pt x="532980" y="427556"/>
                  </a:lnTo>
                  <a:lnTo>
                    <a:pt x="0" y="427556"/>
                  </a:lnTo>
                  <a:close/>
                  <a:moveTo>
                    <a:pt x="415700" y="265891"/>
                  </a:moveTo>
                  <a:lnTo>
                    <a:pt x="445902" y="265891"/>
                  </a:lnTo>
                  <a:lnTo>
                    <a:pt x="445902" y="388181"/>
                  </a:lnTo>
                  <a:lnTo>
                    <a:pt x="415700" y="388181"/>
                  </a:lnTo>
                  <a:close/>
                  <a:moveTo>
                    <a:pt x="334197" y="265891"/>
                  </a:moveTo>
                  <a:lnTo>
                    <a:pt x="364399" y="265891"/>
                  </a:lnTo>
                  <a:lnTo>
                    <a:pt x="364399" y="388181"/>
                  </a:lnTo>
                  <a:lnTo>
                    <a:pt x="334197" y="388181"/>
                  </a:lnTo>
                  <a:close/>
                  <a:moveTo>
                    <a:pt x="252271" y="265891"/>
                  </a:moveTo>
                  <a:lnTo>
                    <a:pt x="282896" y="265891"/>
                  </a:lnTo>
                  <a:lnTo>
                    <a:pt x="282896" y="388181"/>
                  </a:lnTo>
                  <a:lnTo>
                    <a:pt x="252271" y="388181"/>
                  </a:lnTo>
                  <a:close/>
                  <a:moveTo>
                    <a:pt x="166393" y="265891"/>
                  </a:moveTo>
                  <a:lnTo>
                    <a:pt x="196595" y="265891"/>
                  </a:lnTo>
                  <a:lnTo>
                    <a:pt x="196595" y="388181"/>
                  </a:lnTo>
                  <a:lnTo>
                    <a:pt x="166393" y="388181"/>
                  </a:lnTo>
                  <a:close/>
                  <a:moveTo>
                    <a:pt x="84467" y="265891"/>
                  </a:moveTo>
                  <a:lnTo>
                    <a:pt x="115092" y="265891"/>
                  </a:lnTo>
                  <a:lnTo>
                    <a:pt x="115092" y="388181"/>
                  </a:lnTo>
                  <a:lnTo>
                    <a:pt x="84467" y="388181"/>
                  </a:lnTo>
                  <a:close/>
                  <a:moveTo>
                    <a:pt x="267768" y="0"/>
                  </a:moveTo>
                  <a:cubicBezTo>
                    <a:pt x="267768" y="0"/>
                    <a:pt x="276619" y="36093"/>
                    <a:pt x="278463" y="83234"/>
                  </a:cubicBezTo>
                  <a:cubicBezTo>
                    <a:pt x="337839" y="89864"/>
                    <a:pt x="385045" y="151369"/>
                    <a:pt x="389102" y="227974"/>
                  </a:cubicBezTo>
                  <a:lnTo>
                    <a:pt x="463967" y="227974"/>
                  </a:lnTo>
                  <a:lnTo>
                    <a:pt x="463967" y="257070"/>
                  </a:lnTo>
                  <a:lnTo>
                    <a:pt x="71200" y="257070"/>
                  </a:lnTo>
                  <a:lnTo>
                    <a:pt x="71200" y="227974"/>
                  </a:lnTo>
                  <a:lnTo>
                    <a:pt x="146065" y="227974"/>
                  </a:lnTo>
                  <a:cubicBezTo>
                    <a:pt x="150122" y="151369"/>
                    <a:pt x="197328" y="89864"/>
                    <a:pt x="256704" y="83234"/>
                  </a:cubicBezTo>
                  <a:cubicBezTo>
                    <a:pt x="258548" y="36093"/>
                    <a:pt x="267768" y="0"/>
                    <a:pt x="267768" y="0"/>
                  </a:cubicBezTo>
                  <a:close/>
                </a:path>
              </a:pathLst>
            </a:custGeom>
            <a:solidFill>
              <a:sysClr val="window" lastClr="FFFFF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effectLst/>
                <a:uLnTx/>
                <a:uFillTx/>
              </a:endParaRPr>
            </a:p>
          </p:txBody>
        </p:sp>
      </p:grpSp>
      <p:sp>
        <p:nvSpPr>
          <p:cNvPr id="106" name="椭圆 105"/>
          <p:cNvSpPr/>
          <p:nvPr/>
        </p:nvSpPr>
        <p:spPr>
          <a:xfrm>
            <a:off x="698889" y="2500330"/>
            <a:ext cx="618987" cy="618987"/>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r>
              <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rPr>
              <a:t>行</a:t>
            </a:r>
            <a:endParaRPr kumimoji="0" lang="zh-CN" altLang="en-US" sz="2800" b="1" i="0" u="none" strike="noStrike" kern="0" cap="none" spc="0" normalizeH="0" baseline="0" noProof="0" dirty="0">
              <a:ln>
                <a:noFill/>
              </a:ln>
              <a:solidFill>
                <a:schemeClr val="bg1"/>
              </a:solidFill>
              <a:effectLst/>
              <a:uLnTx/>
              <a:uFillTx/>
              <a:latin typeface="Arial" panose="020B0604020202020204"/>
              <a:ea typeface="华文楷体" panose="02010600040101010101" charset="-122"/>
              <a:cs typeface="+mn-cs"/>
            </a:endParaRPr>
          </a:p>
        </p:txBody>
      </p:sp>
      <p:sp>
        <p:nvSpPr>
          <p:cNvPr id="107" name="矩形 106"/>
          <p:cNvSpPr/>
          <p:nvPr/>
        </p:nvSpPr>
        <p:spPr>
          <a:xfrm>
            <a:off x="1272951" y="2510052"/>
            <a:ext cx="2936787" cy="307777"/>
          </a:xfrm>
          <a:prstGeom prst="rect">
            <a:avLst/>
          </a:prstGeom>
        </p:spPr>
        <p:txBody>
          <a:bodyPr wrap="square">
            <a:spAutoFit/>
          </a:bodyPr>
          <a:lstStyle/>
          <a:p>
            <a:pPr lvl="0" latinLnBrk="1">
              <a:defRPr/>
            </a:pPr>
            <a:r>
              <a:rPr lang="en-US" altLang="zh-CN" sz="1400" kern="0" dirty="0" err="1"/>
              <a:t>xxxxxxxxxxxxxxxxxxxx</a:t>
            </a:r>
            <a:endParaRPr kumimoji="0" lang="en-US" altLang="zh-CN" sz="1400" b="0" i="0" u="none" strike="noStrike" kern="0" cap="none" spc="0" normalizeH="0" baseline="0" noProof="0" dirty="0">
              <a:ln>
                <a:noFill/>
              </a:ln>
              <a:effectLst/>
              <a:uLnTx/>
              <a:uFillTx/>
              <a:cs typeface="Arial" panose="020B0604020202020204" pitchFamily="34" charset="0"/>
            </a:endParaRPr>
          </a:p>
        </p:txBody>
      </p:sp>
      <p:grpSp>
        <p:nvGrpSpPr>
          <p:cNvPr id="108" name="组合 107"/>
          <p:cNvGrpSpPr/>
          <p:nvPr/>
        </p:nvGrpSpPr>
        <p:grpSpPr>
          <a:xfrm>
            <a:off x="4333959" y="2589854"/>
            <a:ext cx="550295" cy="550294"/>
            <a:chOff x="4488780" y="4441862"/>
            <a:chExt cx="485327" cy="485327"/>
          </a:xfrm>
          <a:solidFill>
            <a:srgbClr val="FF0000"/>
          </a:solidFill>
        </p:grpSpPr>
        <p:sp>
          <p:nvSpPr>
            <p:cNvPr id="109" name="椭圆 108"/>
            <p:cNvSpPr/>
            <p:nvPr/>
          </p:nvSpPr>
          <p:spPr>
            <a:xfrm>
              <a:off x="4488780" y="4441862"/>
              <a:ext cx="485327" cy="485327"/>
            </a:xfrm>
            <a:prstGeom prst="ellipse">
              <a:avLst/>
            </a:prstGeom>
            <a:solidFill>
              <a:srgbClr val="FE5817"/>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600" b="0" i="0" u="none" strike="noStrike" kern="0" cap="none" spc="0" normalizeH="0" baseline="0" noProof="0" dirty="0">
                <a:ln>
                  <a:noFill/>
                </a:ln>
                <a:effectLst/>
                <a:uLnTx/>
                <a:uFillTx/>
                <a:latin typeface="Arial" panose="020B0604020202020204"/>
                <a:ea typeface="华文楷体" panose="02010600040101010101" charset="-122"/>
                <a:cs typeface="+mn-cs"/>
              </a:endParaRPr>
            </a:p>
          </p:txBody>
        </p:sp>
        <p:sp>
          <p:nvSpPr>
            <p:cNvPr id="110" name="front-of-bus_308"/>
            <p:cNvSpPr>
              <a:spLocks noChangeAspect="1"/>
            </p:cNvSpPr>
            <p:nvPr/>
          </p:nvSpPr>
          <p:spPr bwMode="auto">
            <a:xfrm>
              <a:off x="4560221" y="4508464"/>
              <a:ext cx="342445" cy="352123"/>
            </a:xfrm>
            <a:custGeom>
              <a:avLst/>
              <a:gdLst>
                <a:gd name="T0" fmla="*/ 526 w 554"/>
                <a:gd name="T1" fmla="*/ 166 h 624"/>
                <a:gd name="T2" fmla="*/ 501 w 554"/>
                <a:gd name="T3" fmla="*/ 65 h 624"/>
                <a:gd name="T4" fmla="*/ 48 w 554"/>
                <a:gd name="T5" fmla="*/ 65 h 624"/>
                <a:gd name="T6" fmla="*/ 27 w 554"/>
                <a:gd name="T7" fmla="*/ 166 h 624"/>
                <a:gd name="T8" fmla="*/ 0 w 554"/>
                <a:gd name="T9" fmla="*/ 196 h 624"/>
                <a:gd name="T10" fmla="*/ 0 w 554"/>
                <a:gd name="T11" fmla="*/ 256 h 624"/>
                <a:gd name="T12" fmla="*/ 20 w 554"/>
                <a:gd name="T13" fmla="*/ 284 h 624"/>
                <a:gd name="T14" fmla="*/ 23 w 554"/>
                <a:gd name="T15" fmla="*/ 523 h 624"/>
                <a:gd name="T16" fmla="*/ 48 w 554"/>
                <a:gd name="T17" fmla="*/ 555 h 624"/>
                <a:gd name="T18" fmla="*/ 72 w 554"/>
                <a:gd name="T19" fmla="*/ 555 h 624"/>
                <a:gd name="T20" fmla="*/ 72 w 554"/>
                <a:gd name="T21" fmla="*/ 595 h 624"/>
                <a:gd name="T22" fmla="*/ 109 w 554"/>
                <a:gd name="T23" fmla="*/ 624 h 624"/>
                <a:gd name="T24" fmla="*/ 146 w 554"/>
                <a:gd name="T25" fmla="*/ 595 h 624"/>
                <a:gd name="T26" fmla="*/ 146 w 554"/>
                <a:gd name="T27" fmla="*/ 555 h 624"/>
                <a:gd name="T28" fmla="*/ 419 w 554"/>
                <a:gd name="T29" fmla="*/ 555 h 624"/>
                <a:gd name="T30" fmla="*/ 419 w 554"/>
                <a:gd name="T31" fmla="*/ 595 h 624"/>
                <a:gd name="T32" fmla="*/ 456 w 554"/>
                <a:gd name="T33" fmla="*/ 624 h 624"/>
                <a:gd name="T34" fmla="*/ 493 w 554"/>
                <a:gd name="T35" fmla="*/ 595 h 624"/>
                <a:gd name="T36" fmla="*/ 493 w 554"/>
                <a:gd name="T37" fmla="*/ 555 h 624"/>
                <a:gd name="T38" fmla="*/ 501 w 554"/>
                <a:gd name="T39" fmla="*/ 555 h 624"/>
                <a:gd name="T40" fmla="*/ 532 w 554"/>
                <a:gd name="T41" fmla="*/ 541 h 624"/>
                <a:gd name="T42" fmla="*/ 533 w 554"/>
                <a:gd name="T43" fmla="*/ 285 h 624"/>
                <a:gd name="T44" fmla="*/ 554 w 554"/>
                <a:gd name="T45" fmla="*/ 256 h 624"/>
                <a:gd name="T46" fmla="*/ 554 w 554"/>
                <a:gd name="T47" fmla="*/ 196 h 624"/>
                <a:gd name="T48" fmla="*/ 526 w 554"/>
                <a:gd name="T49" fmla="*/ 166 h 624"/>
                <a:gd name="T50" fmla="*/ 136 w 554"/>
                <a:gd name="T51" fmla="*/ 74 h 624"/>
                <a:gd name="T52" fmla="*/ 413 w 554"/>
                <a:gd name="T53" fmla="*/ 74 h 624"/>
                <a:gd name="T54" fmla="*/ 413 w 554"/>
                <a:gd name="T55" fmla="*/ 116 h 624"/>
                <a:gd name="T56" fmla="*/ 136 w 554"/>
                <a:gd name="T57" fmla="*/ 116 h 624"/>
                <a:gd name="T58" fmla="*/ 136 w 554"/>
                <a:gd name="T59" fmla="*/ 74 h 624"/>
                <a:gd name="T60" fmla="*/ 140 w 554"/>
                <a:gd name="T61" fmla="*/ 507 h 624"/>
                <a:gd name="T62" fmla="*/ 101 w 554"/>
                <a:gd name="T63" fmla="*/ 468 h 624"/>
                <a:gd name="T64" fmla="*/ 140 w 554"/>
                <a:gd name="T65" fmla="*/ 428 h 624"/>
                <a:gd name="T66" fmla="*/ 180 w 554"/>
                <a:gd name="T67" fmla="*/ 468 h 624"/>
                <a:gd name="T68" fmla="*/ 140 w 554"/>
                <a:gd name="T69" fmla="*/ 507 h 624"/>
                <a:gd name="T70" fmla="*/ 411 w 554"/>
                <a:gd name="T71" fmla="*/ 507 h 624"/>
                <a:gd name="T72" fmla="*/ 372 w 554"/>
                <a:gd name="T73" fmla="*/ 468 h 624"/>
                <a:gd name="T74" fmla="*/ 411 w 554"/>
                <a:gd name="T75" fmla="*/ 428 h 624"/>
                <a:gd name="T76" fmla="*/ 451 w 554"/>
                <a:gd name="T77" fmla="*/ 468 h 624"/>
                <a:gd name="T78" fmla="*/ 411 w 554"/>
                <a:gd name="T79" fmla="*/ 507 h 624"/>
                <a:gd name="T80" fmla="*/ 461 w 554"/>
                <a:gd name="T81" fmla="*/ 335 h 624"/>
                <a:gd name="T82" fmla="*/ 88 w 554"/>
                <a:gd name="T83" fmla="*/ 335 h 624"/>
                <a:gd name="T84" fmla="*/ 88 w 554"/>
                <a:gd name="T85" fmla="*/ 139 h 624"/>
                <a:gd name="T86" fmla="*/ 461 w 554"/>
                <a:gd name="T87" fmla="*/ 139 h 624"/>
                <a:gd name="T88" fmla="*/ 461 w 554"/>
                <a:gd name="T89" fmla="*/ 335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4" h="624">
                  <a:moveTo>
                    <a:pt x="526" y="166"/>
                  </a:moveTo>
                  <a:cubicBezTo>
                    <a:pt x="521" y="118"/>
                    <a:pt x="513" y="80"/>
                    <a:pt x="501" y="65"/>
                  </a:cubicBezTo>
                  <a:cubicBezTo>
                    <a:pt x="449" y="4"/>
                    <a:pt x="89" y="0"/>
                    <a:pt x="48" y="65"/>
                  </a:cubicBezTo>
                  <a:cubicBezTo>
                    <a:pt x="38" y="81"/>
                    <a:pt x="31" y="119"/>
                    <a:pt x="27" y="166"/>
                  </a:cubicBezTo>
                  <a:cubicBezTo>
                    <a:pt x="12" y="168"/>
                    <a:pt x="0" y="181"/>
                    <a:pt x="0" y="196"/>
                  </a:cubicBezTo>
                  <a:lnTo>
                    <a:pt x="0" y="256"/>
                  </a:lnTo>
                  <a:cubicBezTo>
                    <a:pt x="0" y="269"/>
                    <a:pt x="8" y="280"/>
                    <a:pt x="20" y="284"/>
                  </a:cubicBezTo>
                  <a:cubicBezTo>
                    <a:pt x="17" y="378"/>
                    <a:pt x="19" y="475"/>
                    <a:pt x="23" y="523"/>
                  </a:cubicBezTo>
                  <a:cubicBezTo>
                    <a:pt x="23" y="561"/>
                    <a:pt x="48" y="555"/>
                    <a:pt x="48" y="555"/>
                  </a:cubicBezTo>
                  <a:lnTo>
                    <a:pt x="72" y="555"/>
                  </a:lnTo>
                  <a:lnTo>
                    <a:pt x="72" y="595"/>
                  </a:lnTo>
                  <a:cubicBezTo>
                    <a:pt x="72" y="611"/>
                    <a:pt x="88" y="624"/>
                    <a:pt x="109" y="624"/>
                  </a:cubicBezTo>
                  <a:cubicBezTo>
                    <a:pt x="129" y="624"/>
                    <a:pt x="146" y="611"/>
                    <a:pt x="146" y="595"/>
                  </a:cubicBezTo>
                  <a:lnTo>
                    <a:pt x="146" y="555"/>
                  </a:lnTo>
                  <a:lnTo>
                    <a:pt x="419" y="555"/>
                  </a:lnTo>
                  <a:lnTo>
                    <a:pt x="419" y="595"/>
                  </a:lnTo>
                  <a:cubicBezTo>
                    <a:pt x="419" y="611"/>
                    <a:pt x="436" y="624"/>
                    <a:pt x="456" y="624"/>
                  </a:cubicBezTo>
                  <a:cubicBezTo>
                    <a:pt x="477" y="624"/>
                    <a:pt x="493" y="611"/>
                    <a:pt x="493" y="595"/>
                  </a:cubicBezTo>
                  <a:lnTo>
                    <a:pt x="493" y="555"/>
                  </a:lnTo>
                  <a:lnTo>
                    <a:pt x="501" y="555"/>
                  </a:lnTo>
                  <a:cubicBezTo>
                    <a:pt x="501" y="555"/>
                    <a:pt x="530" y="559"/>
                    <a:pt x="532" y="541"/>
                  </a:cubicBezTo>
                  <a:cubicBezTo>
                    <a:pt x="532" y="493"/>
                    <a:pt x="535" y="386"/>
                    <a:pt x="533" y="285"/>
                  </a:cubicBezTo>
                  <a:cubicBezTo>
                    <a:pt x="545" y="281"/>
                    <a:pt x="554" y="269"/>
                    <a:pt x="554" y="256"/>
                  </a:cubicBezTo>
                  <a:lnTo>
                    <a:pt x="554" y="196"/>
                  </a:lnTo>
                  <a:cubicBezTo>
                    <a:pt x="554" y="180"/>
                    <a:pt x="542" y="167"/>
                    <a:pt x="526" y="166"/>
                  </a:cubicBezTo>
                  <a:close/>
                  <a:moveTo>
                    <a:pt x="136" y="74"/>
                  </a:moveTo>
                  <a:lnTo>
                    <a:pt x="413" y="74"/>
                  </a:lnTo>
                  <a:lnTo>
                    <a:pt x="413" y="116"/>
                  </a:lnTo>
                  <a:lnTo>
                    <a:pt x="136" y="116"/>
                  </a:lnTo>
                  <a:lnTo>
                    <a:pt x="136" y="74"/>
                  </a:lnTo>
                  <a:close/>
                  <a:moveTo>
                    <a:pt x="140" y="507"/>
                  </a:moveTo>
                  <a:cubicBezTo>
                    <a:pt x="119" y="507"/>
                    <a:pt x="101" y="489"/>
                    <a:pt x="101" y="468"/>
                  </a:cubicBezTo>
                  <a:cubicBezTo>
                    <a:pt x="101" y="446"/>
                    <a:pt x="119" y="428"/>
                    <a:pt x="140" y="428"/>
                  </a:cubicBezTo>
                  <a:cubicBezTo>
                    <a:pt x="162" y="428"/>
                    <a:pt x="180" y="446"/>
                    <a:pt x="180" y="468"/>
                  </a:cubicBezTo>
                  <a:cubicBezTo>
                    <a:pt x="180" y="489"/>
                    <a:pt x="162" y="507"/>
                    <a:pt x="140" y="507"/>
                  </a:cubicBezTo>
                  <a:close/>
                  <a:moveTo>
                    <a:pt x="411" y="507"/>
                  </a:moveTo>
                  <a:cubicBezTo>
                    <a:pt x="390" y="507"/>
                    <a:pt x="372" y="489"/>
                    <a:pt x="372" y="468"/>
                  </a:cubicBezTo>
                  <a:cubicBezTo>
                    <a:pt x="372" y="446"/>
                    <a:pt x="390" y="428"/>
                    <a:pt x="411" y="428"/>
                  </a:cubicBezTo>
                  <a:cubicBezTo>
                    <a:pt x="433" y="428"/>
                    <a:pt x="451" y="446"/>
                    <a:pt x="451" y="468"/>
                  </a:cubicBezTo>
                  <a:cubicBezTo>
                    <a:pt x="451" y="489"/>
                    <a:pt x="433" y="507"/>
                    <a:pt x="411" y="507"/>
                  </a:cubicBezTo>
                  <a:close/>
                  <a:moveTo>
                    <a:pt x="461" y="335"/>
                  </a:moveTo>
                  <a:lnTo>
                    <a:pt x="88" y="335"/>
                  </a:lnTo>
                  <a:lnTo>
                    <a:pt x="88" y="139"/>
                  </a:lnTo>
                  <a:lnTo>
                    <a:pt x="461" y="139"/>
                  </a:lnTo>
                  <a:lnTo>
                    <a:pt x="461" y="335"/>
                  </a:lnTo>
                  <a:close/>
                </a:path>
              </a:pathLst>
            </a:custGeom>
            <a:solidFill>
              <a:sysClr val="window" lastClr="FFFFFF"/>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effectLst/>
                <a:uLnTx/>
                <a:uFillTx/>
              </a:endParaRPr>
            </a:p>
          </p:txBody>
        </p:sp>
      </p:grpSp>
      <p:sp>
        <p:nvSpPr>
          <p:cNvPr id="111"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a:defRPr/>
            </a:pPr>
            <a:r>
              <a:rPr lang="zh-CN" altLang="en-US" sz="2400" dirty="0" smtClean="0">
                <a:solidFill>
                  <a:prstClr val="black"/>
                </a:solidFill>
                <a:latin typeface="华文楷体" panose="02010600040101010101" charset="-122"/>
              </a:rPr>
              <a:t>规划</a:t>
            </a:r>
            <a:r>
              <a:rPr lang="en-US" altLang="zh-CN" sz="2400" dirty="0">
                <a:solidFill>
                  <a:prstClr val="black"/>
                </a:solidFill>
                <a:latin typeface="华文楷体" panose="02010600040101010101" charset="-122"/>
              </a:rPr>
              <a:t>-</a:t>
            </a:r>
            <a:r>
              <a:rPr lang="en-US" altLang="zh-CN" sz="2400" dirty="0" smtClean="0">
                <a:solidFill>
                  <a:prstClr val="black"/>
                </a:solidFill>
                <a:latin typeface="华文楷体" panose="02010600040101010101" charset="-122"/>
              </a:rPr>
              <a:t>1+N</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9"/>
          <p:cNvSpPr/>
          <p:nvPr/>
        </p:nvSpPr>
        <p:spPr>
          <a:xfrm>
            <a:off x="543613" y="792391"/>
            <a:ext cx="2524779" cy="830997"/>
          </a:xfrm>
          <a:prstGeom prst="rect">
            <a:avLst/>
          </a:prstGeom>
        </p:spPr>
        <p:txBody>
          <a:bodyPr wrap="square">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smtClean="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rPr>
              <a:t>领先</a:t>
            </a:r>
            <a:r>
              <a:rPr kumimoji="0" lang="en-US" altLang="zh-CN" sz="2400" b="1" i="0" u="none" strike="noStrike" kern="1200" cap="none" spc="0" normalizeH="0" baseline="0" noProof="0" dirty="0" smtClean="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rPr>
              <a:t>1</a:t>
            </a:r>
            <a:endParaRPr kumimoji="0" lang="en-US" altLang="zh-CN" sz="2400" b="1" i="0" u="none" strike="noStrike" kern="1200" cap="none" spc="0" normalizeH="0" baseline="0" noProof="0" dirty="0" smtClean="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smtClean="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xx</a:t>
            </a:r>
            <a:r>
              <a:rPr kumimoji="0" lang="zh-CN" altLang="en-US" sz="2400" b="1" i="0" u="none" strike="noStrike" kern="1200" cap="none" spc="0" normalizeH="0" baseline="0" noProof="0" dirty="0" smtClean="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能力</a:t>
            </a:r>
            <a:r>
              <a:rPr kumimoji="0" lang="en-US" altLang="zh-CN" sz="2400" b="1" i="0" u="none" strike="noStrike" kern="1200" cap="none" spc="0" normalizeH="0" baseline="0" noProof="0" dirty="0" smtClean="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a:t>
            </a:r>
            <a:r>
              <a:rPr kumimoji="0" lang="zh-CN" altLang="en-US" sz="2400" b="1" i="0" u="none" strike="noStrike" kern="1200" cap="none" spc="0" normalizeH="0" baseline="0" noProof="0" dirty="0" smtClean="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方面</a:t>
            </a:r>
            <a:endParaRPr kumimoji="0" lang="en-US" altLang="zh-CN" sz="24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4" name="Rectangle 52"/>
          <p:cNvSpPr/>
          <p:nvPr/>
        </p:nvSpPr>
        <p:spPr>
          <a:xfrm>
            <a:off x="4980351" y="772892"/>
            <a:ext cx="2408350" cy="830997"/>
          </a:xfrm>
          <a:prstGeom prst="rect">
            <a:avLst/>
          </a:prstGeom>
        </p:spPr>
        <p:txBody>
          <a:bodyPr wrap="square">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rPr>
              <a:t>领先</a:t>
            </a:r>
            <a:r>
              <a:rPr kumimoji="0" lang="en-US" altLang="zh-CN" sz="2400" b="1" i="0" u="none" strike="noStrike" kern="1200" cap="none" spc="0" normalizeH="0" baseline="0" noProof="0" dirty="0" smtClean="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rPr>
              <a:t>2</a:t>
            </a:r>
            <a:endParaRPr kumimoji="0" lang="en-US" altLang="zh-CN" sz="2400" b="1" i="0" u="none" strike="noStrike" kern="1200" cap="none" spc="0" normalizeH="0" baseline="0" noProof="0" dirty="0" smtClean="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x</a:t>
            </a:r>
            <a:r>
              <a:rPr kumimoji="0" lang="en-US" altLang="zh-CN" sz="2400" b="1" i="0" u="none" strike="noStrike" kern="1200" cap="none" spc="0" normalizeH="0" baseline="0" noProof="0" dirty="0" smtClean="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x</a:t>
            </a:r>
            <a:r>
              <a:rPr kumimoji="0" lang="zh-CN" altLang="en-US" sz="2400" b="1" i="0" u="none" strike="noStrike" kern="1200" cap="none" spc="0" normalizeH="0" baseline="0" noProof="0" dirty="0" smtClean="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能力</a:t>
            </a:r>
            <a:r>
              <a:rPr kumimoji="0" lang="en-US" altLang="zh-CN" sz="2400" b="1" i="0" u="none" strike="noStrike" kern="1200" cap="none" spc="0" normalizeH="0" baseline="0" noProof="0" dirty="0" smtClean="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a:t>
            </a:r>
            <a:r>
              <a:rPr kumimoji="0" lang="zh-CN" altLang="en-US" sz="2400" b="1" i="0" u="none" strike="noStrike" kern="1200" cap="none" spc="0" normalizeH="0" baseline="0" noProof="0" dirty="0" smtClean="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方面</a:t>
            </a:r>
            <a:endParaRPr kumimoji="0" lang="en-US" altLang="zh-CN" sz="24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5" name="Rectangle 54"/>
          <p:cNvSpPr/>
          <p:nvPr/>
        </p:nvSpPr>
        <p:spPr>
          <a:xfrm>
            <a:off x="9128630" y="792391"/>
            <a:ext cx="2408350" cy="830997"/>
          </a:xfrm>
          <a:prstGeom prst="rect">
            <a:avLst/>
          </a:prstGeom>
        </p:spPr>
        <p:txBody>
          <a:bodyPr wrap="square">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rPr>
              <a:t>领先</a:t>
            </a:r>
            <a:r>
              <a:rPr kumimoji="0" lang="en-US" altLang="zh-CN" sz="2400" b="1" i="0" u="none" strike="noStrike" kern="1200" cap="none" spc="0" normalizeH="0" baseline="0" noProof="0" dirty="0" smtClean="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rPr>
              <a:t>3</a:t>
            </a:r>
            <a:endParaRPr kumimoji="0" lang="en-US" altLang="zh-CN" sz="2400" b="1" i="0" u="none" strike="noStrike" kern="1200" cap="none" spc="0" normalizeH="0" baseline="0" noProof="0" dirty="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xx</a:t>
            </a:r>
            <a:r>
              <a:rPr kumimoji="0" lang="zh-CN" altLang="en-US" sz="24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能力</a:t>
            </a:r>
            <a:r>
              <a:rPr kumimoji="0" lang="en-US" altLang="zh-CN" sz="24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a:t>
            </a:r>
            <a:r>
              <a:rPr kumimoji="0" lang="zh-CN" altLang="en-US" sz="24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rPr>
              <a:t>方面</a:t>
            </a:r>
            <a:endParaRPr kumimoji="0" lang="en-US" altLang="zh-CN" sz="24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6" name="椭圆 81"/>
          <p:cNvSpPr/>
          <p:nvPr/>
        </p:nvSpPr>
        <p:spPr>
          <a:xfrm>
            <a:off x="863724" y="792391"/>
            <a:ext cx="396000" cy="396000"/>
          </a:xfrm>
          <a:prstGeom prst="ellipse">
            <a:avLst/>
          </a:prstGeom>
          <a:noFill/>
          <a:ln w="3810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rPr>
              <a:t>A</a:t>
            </a:r>
            <a:endParaRPr kumimoji="0" lang="zh-CN" altLang="en-US" sz="1800" b="1" i="0" u="none" strike="noStrike" kern="1200" cap="none" spc="0" normalizeH="0" baseline="0" noProof="0" dirty="0" err="1">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7" name="椭圆 81"/>
          <p:cNvSpPr/>
          <p:nvPr/>
        </p:nvSpPr>
        <p:spPr>
          <a:xfrm>
            <a:off x="5128854" y="772892"/>
            <a:ext cx="396000" cy="396000"/>
          </a:xfrm>
          <a:prstGeom prst="ellipse">
            <a:avLst/>
          </a:prstGeom>
          <a:noFill/>
          <a:ln w="3810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rPr>
              <a:t>B</a:t>
            </a:r>
            <a:endParaRPr kumimoji="0" lang="zh-CN" altLang="en-US" sz="1800" b="0" i="0" u="none" strike="noStrike" kern="1200" cap="none" spc="0" normalizeH="0" baseline="0" noProof="0" dirty="0" err="1">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8" name="椭圆 81"/>
          <p:cNvSpPr/>
          <p:nvPr/>
        </p:nvSpPr>
        <p:spPr>
          <a:xfrm>
            <a:off x="9225926" y="792391"/>
            <a:ext cx="396000" cy="396000"/>
          </a:xfrm>
          <a:prstGeom prst="ellipse">
            <a:avLst/>
          </a:prstGeom>
          <a:noFill/>
          <a:ln w="3810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rPr>
              <a:t>C</a:t>
            </a:r>
            <a:endParaRPr kumimoji="0" lang="zh-CN" altLang="en-US" sz="1800" b="0" i="0" u="none" strike="noStrike" kern="1200" cap="none" spc="0" normalizeH="0" baseline="0" noProof="0" dirty="0" err="1">
              <a:ln>
                <a:noFill/>
              </a:ln>
              <a:solidFill>
                <a:srgbClr val="FF33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9" name="Rectangle 59"/>
          <p:cNvSpPr/>
          <p:nvPr/>
        </p:nvSpPr>
        <p:spPr>
          <a:xfrm>
            <a:off x="838783" y="3271114"/>
            <a:ext cx="1934438" cy="738664"/>
          </a:xfrm>
          <a:prstGeom prst="rect">
            <a:avLst/>
          </a:prstGeom>
        </p:spPr>
        <p:txBody>
          <a:bodyPr wrap="square">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smtClean="0">
                <a:ln>
                  <a:noFill/>
                </a:ln>
                <a:solidFill>
                  <a:srgbClr val="FE5817"/>
                </a:solidFill>
                <a:effectLst/>
                <a:uLnTx/>
                <a:uFillTx/>
                <a:latin typeface="Arial" panose="020B0604020202020204" pitchFamily="34" charset="0"/>
                <a:ea typeface="华文楷体" panose="02010600040101010101" charset="-122"/>
                <a:cs typeface="Arial" panose="020B0604020202020204" pitchFamily="34" charset="0"/>
              </a:rPr>
              <a:t>xx</a:t>
            </a:r>
            <a:r>
              <a:rPr kumimoji="0" lang="zh-CN" altLang="en-US" sz="2400" b="1" i="0" u="none" strike="noStrike" kern="1200" cap="none" spc="0" normalizeH="0" baseline="0" noProof="0" dirty="0" smtClean="0">
                <a:ln>
                  <a:noFill/>
                </a:ln>
                <a:solidFill>
                  <a:srgbClr val="FE5817"/>
                </a:solidFill>
                <a:effectLst/>
                <a:uLnTx/>
                <a:uFillTx/>
                <a:latin typeface="Arial" panose="020B0604020202020204" pitchFamily="34" charset="0"/>
                <a:ea typeface="华文楷体" panose="02010600040101010101" charset="-122"/>
                <a:cs typeface="Arial" panose="020B0604020202020204" pitchFamily="34" charset="0"/>
              </a:rPr>
              <a:t>亿</a:t>
            </a:r>
            <a:r>
              <a:rPr kumimoji="0" lang="en-US" altLang="zh-CN" sz="2400" b="1" i="0" u="none" strike="noStrike" kern="1200" cap="none" spc="0" normalizeH="0" baseline="0" noProof="0" dirty="0">
                <a:ln>
                  <a:noFill/>
                </a:ln>
                <a:solidFill>
                  <a:srgbClr val="FE5817"/>
                </a:solidFill>
                <a:effectLst/>
                <a:uLnTx/>
                <a:uFillTx/>
                <a:latin typeface="Arial" panose="020B0604020202020204" pitchFamily="34" charset="0"/>
                <a:ea typeface="华文楷体" panose="02010600040101010101" charset="-122"/>
                <a:cs typeface="Arial" panose="020B0604020202020204" pitchFamily="34" charset="0"/>
              </a:rPr>
              <a:t>+</a:t>
            </a:r>
            <a:endParaRPr kumimoji="0" lang="en-US" altLang="zh-CN" sz="2400" b="1" i="0" u="none" strike="noStrike" kern="1200" cap="none" spc="0" normalizeH="0" baseline="0" noProof="0" dirty="0">
              <a:ln>
                <a:noFill/>
              </a:ln>
              <a:solidFill>
                <a:srgbClr val="FE5817"/>
              </a:solidFill>
              <a:effectLst/>
              <a:uLnTx/>
              <a:uFillTx/>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rPr>
              <a:t>累计投资</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sp>
        <p:nvSpPr>
          <p:cNvPr id="10" name="Rectangle 59"/>
          <p:cNvSpPr/>
          <p:nvPr/>
        </p:nvSpPr>
        <p:spPr>
          <a:xfrm>
            <a:off x="838783" y="5290646"/>
            <a:ext cx="1934438" cy="738664"/>
          </a:xfrm>
          <a:prstGeom prst="rect">
            <a:avLst/>
          </a:prstGeom>
        </p:spPr>
        <p:txBody>
          <a:bodyPr wrap="square">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a:t>
            </a:r>
            <a:endPar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effectLst/>
                <a:uLnTx/>
                <a:uFillTx/>
                <a:latin typeface="Arial" panose="020B0604020202020204" pitchFamily="34" charset="0"/>
                <a:ea typeface="华文楷体" panose="02010600040101010101" charset="-122"/>
                <a:cs typeface="Arial" panose="020B0604020202020204" pitchFamily="34" charset="0"/>
              </a:rPr>
              <a:t>…</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sp>
        <p:nvSpPr>
          <p:cNvPr id="11" name="Rectangle 59"/>
          <p:cNvSpPr/>
          <p:nvPr/>
        </p:nvSpPr>
        <p:spPr>
          <a:xfrm>
            <a:off x="766295" y="4284877"/>
            <a:ext cx="2079415" cy="738664"/>
          </a:xfrm>
          <a:prstGeom prst="rect">
            <a:avLst/>
          </a:prstGeom>
        </p:spPr>
        <p:txBody>
          <a:bodyPr wrap="square">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a:t>
            </a:r>
            <a:endPar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effectLst/>
                <a:uLnTx/>
                <a:uFillTx/>
                <a:latin typeface="Arial" panose="020B0604020202020204" pitchFamily="34" charset="0"/>
                <a:ea typeface="华文楷体" panose="02010600040101010101" charset="-122"/>
                <a:cs typeface="Arial" panose="020B0604020202020204" pitchFamily="34" charset="0"/>
              </a:rPr>
              <a:t>…</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sp>
        <p:nvSpPr>
          <p:cNvPr id="12" name="Rectangle 59"/>
          <p:cNvSpPr/>
          <p:nvPr/>
        </p:nvSpPr>
        <p:spPr>
          <a:xfrm>
            <a:off x="3948103" y="5152147"/>
            <a:ext cx="1986535" cy="738664"/>
          </a:xfrm>
          <a:prstGeom prst="rect">
            <a:avLst/>
          </a:prstGeom>
        </p:spPr>
        <p:txBody>
          <a:bodyPr wrap="square">
            <a:spAutoFit/>
          </a:bodyPr>
          <a:lstStyle/>
          <a:p>
            <a:pPr algn="ctr" latinLnBrk="1">
              <a:defRPr/>
            </a:pP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a:t>
            </a:r>
            <a:endPar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effectLst/>
                <a:uLnTx/>
                <a:uFillTx/>
                <a:latin typeface="Arial" panose="020B0604020202020204" pitchFamily="34" charset="0"/>
                <a:ea typeface="华文楷体" panose="02010600040101010101" charset="-122"/>
                <a:cs typeface="Arial" panose="020B0604020202020204" pitchFamily="34" charset="0"/>
              </a:rPr>
              <a:t>…</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sp>
        <p:nvSpPr>
          <p:cNvPr id="13" name="Rectangle 59"/>
          <p:cNvSpPr/>
          <p:nvPr/>
        </p:nvSpPr>
        <p:spPr>
          <a:xfrm>
            <a:off x="3965102" y="4284877"/>
            <a:ext cx="1934438" cy="738664"/>
          </a:xfrm>
          <a:prstGeom prst="rect">
            <a:avLst/>
          </a:prstGeom>
        </p:spPr>
        <p:txBody>
          <a:bodyPr wrap="square">
            <a:spAutoFit/>
          </a:bodyPr>
          <a:lstStyle/>
          <a:p>
            <a:pPr algn="ctr" latinLnBrk="1">
              <a:defRPr/>
            </a:pP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a:t>
            </a:r>
            <a:endPar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effectLst/>
                <a:uLnTx/>
                <a:uFillTx/>
                <a:latin typeface="Arial" panose="020B0604020202020204" pitchFamily="34" charset="0"/>
                <a:ea typeface="华文楷体" panose="02010600040101010101" charset="-122"/>
                <a:cs typeface="Arial" panose="020B0604020202020204" pitchFamily="34" charset="0"/>
              </a:rPr>
              <a:t>…</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sp>
        <p:nvSpPr>
          <p:cNvPr id="14" name="Rectangle 59"/>
          <p:cNvSpPr/>
          <p:nvPr/>
        </p:nvSpPr>
        <p:spPr>
          <a:xfrm>
            <a:off x="3892614" y="3271114"/>
            <a:ext cx="2079415" cy="738664"/>
          </a:xfrm>
          <a:prstGeom prst="rect">
            <a:avLst/>
          </a:prstGeom>
        </p:spPr>
        <p:txBody>
          <a:bodyPr wrap="square">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xx</a:t>
            </a:r>
            <a:r>
              <a:rPr lang="zh-CN" altLang="en-US" sz="2400" b="1" dirty="0">
                <a:solidFill>
                  <a:srgbClr val="FE5817"/>
                </a:solidFill>
                <a:latin typeface="Arial" panose="020B0604020202020204" pitchFamily="34" charset="0"/>
                <a:ea typeface="华文楷体" panose="02010600040101010101" charset="-122"/>
                <a:cs typeface="Arial" panose="020B0604020202020204" pitchFamily="34" charset="0"/>
              </a:rPr>
              <a:t>万</a:t>
            </a: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a:t>
            </a:r>
            <a:endPar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rPr>
              <a:t>每月智能</a:t>
            </a:r>
            <a:r>
              <a:rPr kumimoji="0" lang="zh-CN" altLang="en-US" sz="1800" b="1" i="0" u="none" strike="noStrike" kern="1200" cap="none" spc="0" normalizeH="0" baseline="0" noProof="0" dirty="0" smtClean="0">
                <a:ln>
                  <a:noFill/>
                </a:ln>
                <a:effectLst/>
                <a:uLnTx/>
                <a:uFillTx/>
                <a:latin typeface="Arial" panose="020B0604020202020204" pitchFamily="34" charset="0"/>
                <a:ea typeface="华文楷体" panose="02010600040101010101" charset="-122"/>
                <a:cs typeface="Arial" panose="020B0604020202020204" pitchFamily="34" charset="0"/>
              </a:rPr>
              <a:t>影像</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sp>
        <p:nvSpPr>
          <p:cNvPr id="15" name="Rectangle 59"/>
          <p:cNvSpPr/>
          <p:nvPr/>
        </p:nvSpPr>
        <p:spPr>
          <a:xfrm>
            <a:off x="9267554" y="3271114"/>
            <a:ext cx="2130502" cy="738664"/>
          </a:xfrm>
          <a:prstGeom prst="rect">
            <a:avLst/>
          </a:prstGeom>
        </p:spPr>
        <p:txBody>
          <a:bodyPr wrap="square">
            <a:spAutoFit/>
          </a:bodyPr>
          <a:lstStyle/>
          <a:p>
            <a:pPr algn="ctr" latinLnBrk="1">
              <a:defRPr/>
            </a:pP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x</a:t>
            </a:r>
            <a:r>
              <a:rPr lang="zh-CN" altLang="en-US" sz="2400" b="1" dirty="0">
                <a:solidFill>
                  <a:srgbClr val="FE5817"/>
                </a:solidFill>
                <a:latin typeface="Arial" panose="020B0604020202020204" pitchFamily="34" charset="0"/>
                <a:ea typeface="华文楷体" panose="02010600040101010101" charset="-122"/>
                <a:cs typeface="Arial" panose="020B0604020202020204" pitchFamily="34" charset="0"/>
              </a:rPr>
              <a:t>亿</a:t>
            </a: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a:t>
            </a:r>
            <a:endPar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rPr>
              <a:t>覆盖人口数量</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sp>
        <p:nvSpPr>
          <p:cNvPr id="16" name="Rectangle 59"/>
          <p:cNvSpPr/>
          <p:nvPr/>
        </p:nvSpPr>
        <p:spPr>
          <a:xfrm>
            <a:off x="9316571" y="5290646"/>
            <a:ext cx="2032469" cy="738664"/>
          </a:xfrm>
          <a:prstGeom prst="rect">
            <a:avLst/>
          </a:prstGeom>
        </p:spPr>
        <p:txBody>
          <a:bodyPr wrap="square">
            <a:spAutoFit/>
          </a:bodyPr>
          <a:lstStyle/>
          <a:p>
            <a:pPr algn="ctr" latinLnBrk="1">
              <a:defRPr/>
            </a:pP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a:t>
            </a:r>
            <a:endPar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effectLst/>
                <a:uLnTx/>
                <a:uFillTx/>
                <a:latin typeface="Arial" panose="020B0604020202020204" pitchFamily="34" charset="0"/>
                <a:ea typeface="华文楷体" panose="02010600040101010101" charset="-122"/>
                <a:cs typeface="Arial" panose="020B0604020202020204" pitchFamily="34" charset="0"/>
              </a:rPr>
              <a:t>…</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sp>
        <p:nvSpPr>
          <p:cNvPr id="17" name="Rectangle 59"/>
          <p:cNvSpPr/>
          <p:nvPr/>
        </p:nvSpPr>
        <p:spPr>
          <a:xfrm>
            <a:off x="9077097" y="4284877"/>
            <a:ext cx="2511417" cy="738664"/>
          </a:xfrm>
          <a:prstGeom prst="rect">
            <a:avLst/>
          </a:prstGeom>
        </p:spPr>
        <p:txBody>
          <a:bodyPr wrap="square">
            <a:spAutoFit/>
          </a:bodyPr>
          <a:lstStyle/>
          <a:p>
            <a:pPr algn="ctr" latinLnBrk="1">
              <a:defRPr/>
            </a:pP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a:t>
            </a:r>
            <a:endPar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effectLst/>
                <a:uLnTx/>
                <a:uFillTx/>
                <a:latin typeface="Arial" panose="020B0604020202020204" pitchFamily="34" charset="0"/>
                <a:ea typeface="华文楷体" panose="02010600040101010101" charset="-122"/>
                <a:cs typeface="Arial" panose="020B0604020202020204" pitchFamily="34" charset="0"/>
              </a:rPr>
              <a:t>…</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sp>
        <p:nvSpPr>
          <p:cNvPr id="18" name="Oval 1"/>
          <p:cNvSpPr/>
          <p:nvPr/>
        </p:nvSpPr>
        <p:spPr>
          <a:xfrm>
            <a:off x="1189508" y="1909890"/>
            <a:ext cx="1232989" cy="1232989"/>
          </a:xfrm>
          <a:prstGeom prst="ellipse">
            <a:avLst/>
          </a:prstGeom>
          <a:noFill/>
          <a:ln w="7620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Malgun Gothic" panose="020B0503020000020004" charset="-127"/>
              <a:ea typeface="+mn-ea"/>
              <a:cs typeface="+mn-cs"/>
            </a:endParaRPr>
          </a:p>
        </p:txBody>
      </p:sp>
      <p:sp>
        <p:nvSpPr>
          <p:cNvPr id="19" name="Oval 55"/>
          <p:cNvSpPr/>
          <p:nvPr/>
        </p:nvSpPr>
        <p:spPr>
          <a:xfrm>
            <a:off x="5524854" y="1887247"/>
            <a:ext cx="1232989" cy="1232989"/>
          </a:xfrm>
          <a:prstGeom prst="ellipse">
            <a:avLst/>
          </a:prstGeom>
          <a:noFill/>
          <a:ln w="7620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Malgun Gothic" panose="020B0503020000020004" charset="-127"/>
              <a:ea typeface="+mn-ea"/>
              <a:cs typeface="+mn-cs"/>
            </a:endParaRPr>
          </a:p>
        </p:txBody>
      </p:sp>
      <p:sp>
        <p:nvSpPr>
          <p:cNvPr id="20" name="Oval 56"/>
          <p:cNvSpPr/>
          <p:nvPr/>
        </p:nvSpPr>
        <p:spPr>
          <a:xfrm>
            <a:off x="9716311" y="1892582"/>
            <a:ext cx="1232989" cy="1232989"/>
          </a:xfrm>
          <a:prstGeom prst="ellipse">
            <a:avLst/>
          </a:prstGeom>
          <a:noFill/>
          <a:ln w="7620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Malgun Gothic" panose="020B0503020000020004" charset="-127"/>
              <a:ea typeface="+mn-ea"/>
              <a:cs typeface="+mn-cs"/>
            </a:endParaRPr>
          </a:p>
        </p:txBody>
      </p:sp>
      <p:pic>
        <p:nvPicPr>
          <p:cNvPr id="21" name="Picture 10"/>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445528" y="2141479"/>
            <a:ext cx="724526" cy="724526"/>
          </a:xfrm>
          <a:prstGeom prst="rect">
            <a:avLst/>
          </a:prstGeom>
        </p:spPr>
      </p:pic>
      <p:pic>
        <p:nvPicPr>
          <p:cNvPr id="22"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88507" y="2150900"/>
            <a:ext cx="705681" cy="705681"/>
          </a:xfrm>
          <a:prstGeom prst="rect">
            <a:avLst/>
          </a:prstGeom>
        </p:spPr>
      </p:pic>
      <p:pic>
        <p:nvPicPr>
          <p:cNvPr id="23"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96618" y="2211806"/>
            <a:ext cx="660037" cy="629097"/>
          </a:xfrm>
          <a:prstGeom prst="rect">
            <a:avLst/>
          </a:prstGeom>
        </p:spPr>
      </p:pic>
      <p:sp>
        <p:nvSpPr>
          <p:cNvPr id="24" name="Rectangle 59"/>
          <p:cNvSpPr/>
          <p:nvPr/>
        </p:nvSpPr>
        <p:spPr>
          <a:xfrm>
            <a:off x="6240986" y="3271114"/>
            <a:ext cx="2130502" cy="738664"/>
          </a:xfrm>
          <a:prstGeom prst="rect">
            <a:avLst/>
          </a:prstGeom>
        </p:spPr>
        <p:txBody>
          <a:bodyPr wrap="square">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xx</a:t>
            </a:r>
            <a:r>
              <a:rPr lang="zh-CN" altLang="en-US" sz="2400" b="1" dirty="0">
                <a:solidFill>
                  <a:srgbClr val="FE5817"/>
                </a:solidFill>
                <a:latin typeface="Arial" panose="020B0604020202020204" pitchFamily="34" charset="0"/>
                <a:ea typeface="华文楷体" panose="02010600040101010101" charset="-122"/>
                <a:cs typeface="Arial" panose="020B0604020202020204" pitchFamily="34" charset="0"/>
              </a:rPr>
              <a:t>万</a:t>
            </a: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a:t>
            </a:r>
            <a:endPar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effectLst/>
                <a:uLnTx/>
                <a:uFillTx/>
                <a:latin typeface="Arial" panose="020B0604020202020204" pitchFamily="34" charset="0"/>
                <a:ea typeface="华文楷体" panose="02010600040101010101" charset="-122"/>
                <a:cs typeface="Arial" panose="020B0604020202020204" pitchFamily="34" charset="0"/>
              </a:rPr>
              <a:t>每日线上</a:t>
            </a:r>
            <a:r>
              <a:rPr kumimoji="0" lang="en-US" altLang="zh-CN" sz="1800" b="1" i="0" u="none" strike="noStrike" kern="1200" cap="none" spc="0" normalizeH="0" baseline="0" noProof="0" dirty="0" smtClean="0">
                <a:ln>
                  <a:noFill/>
                </a:ln>
                <a:effectLst/>
                <a:uLnTx/>
                <a:uFillTx/>
                <a:latin typeface="Arial" panose="020B0604020202020204" pitchFamily="34" charset="0"/>
                <a:ea typeface="华文楷体" panose="02010600040101010101" charset="-122"/>
                <a:cs typeface="Arial" panose="020B0604020202020204" pitchFamily="34" charset="0"/>
              </a:rPr>
              <a:t>xx</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sp>
        <p:nvSpPr>
          <p:cNvPr id="25" name="Rectangle 59"/>
          <p:cNvSpPr/>
          <p:nvPr/>
        </p:nvSpPr>
        <p:spPr>
          <a:xfrm>
            <a:off x="6266529" y="5152147"/>
            <a:ext cx="2079415" cy="738664"/>
          </a:xfrm>
          <a:prstGeom prst="rect">
            <a:avLst/>
          </a:prstGeom>
        </p:spPr>
        <p:txBody>
          <a:bodyPr wrap="square">
            <a:spAutoFit/>
          </a:bodyPr>
          <a:lstStyle/>
          <a:p>
            <a:pPr algn="ctr" latinLnBrk="1">
              <a:defRPr/>
            </a:pPr>
            <a:r>
              <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rPr>
              <a:t>…</a:t>
            </a:r>
            <a:endParaRPr lang="en-US" altLang="zh-CN" sz="2400" b="1" dirty="0">
              <a:solidFill>
                <a:srgbClr val="FE5817"/>
              </a:solidFill>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effectLst/>
                <a:uLnTx/>
                <a:uFillTx/>
                <a:latin typeface="Arial" panose="020B0604020202020204" pitchFamily="34" charset="0"/>
                <a:ea typeface="华文楷体" panose="02010600040101010101" charset="-122"/>
                <a:cs typeface="Arial" panose="020B0604020202020204" pitchFamily="34" charset="0"/>
              </a:rPr>
              <a:t>…</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sp>
        <p:nvSpPr>
          <p:cNvPr id="26" name="Rectangle 59"/>
          <p:cNvSpPr/>
          <p:nvPr/>
        </p:nvSpPr>
        <p:spPr>
          <a:xfrm>
            <a:off x="6266530" y="4284877"/>
            <a:ext cx="2079415" cy="738664"/>
          </a:xfrm>
          <a:prstGeom prst="rect">
            <a:avLst/>
          </a:prstGeom>
        </p:spPr>
        <p:txBody>
          <a:bodyPr wrap="square">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smtClean="0">
                <a:ln>
                  <a:noFill/>
                </a:ln>
                <a:solidFill>
                  <a:srgbClr val="FE5817"/>
                </a:solidFill>
                <a:effectLst/>
                <a:uLnTx/>
                <a:uFillTx/>
                <a:latin typeface="Arial" panose="020B0604020202020204" pitchFamily="34" charset="0"/>
                <a:ea typeface="华文楷体" panose="02010600040101010101" charset="-122"/>
                <a:cs typeface="Arial" panose="020B0604020202020204" pitchFamily="34" charset="0"/>
              </a:rPr>
              <a:t>...</a:t>
            </a:r>
            <a:endParaRPr kumimoji="0" lang="en-US" altLang="zh-CN" sz="2400" b="1" i="0" u="none" strike="noStrike" kern="1200" cap="none" spc="0" normalizeH="0" baseline="0" noProof="0" dirty="0">
              <a:ln>
                <a:noFill/>
              </a:ln>
              <a:solidFill>
                <a:srgbClr val="FE5817"/>
              </a:solidFill>
              <a:effectLst/>
              <a:uLnTx/>
              <a:uFillTx/>
              <a:latin typeface="Arial" panose="020B0604020202020204" pitchFamily="34" charset="0"/>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effectLst/>
                <a:uLnTx/>
                <a:uFillTx/>
                <a:latin typeface="Arial" panose="020B0604020202020204" pitchFamily="34" charset="0"/>
                <a:ea typeface="华文楷体" panose="02010600040101010101" charset="-122"/>
                <a:cs typeface="Arial" panose="020B0604020202020204" pitchFamily="34" charset="0"/>
              </a:rPr>
              <a:t>…</a:t>
            </a:r>
            <a:endParaRPr kumimoji="0" lang="en-US" altLang="zh-CN" sz="1800" b="1" i="0" u="none" strike="noStrike" kern="1200" cap="none" spc="0" normalizeH="0" baseline="0" noProof="0" dirty="0">
              <a:ln>
                <a:noFill/>
              </a:ln>
              <a:effectLst/>
              <a:uLnTx/>
              <a:uFillTx/>
              <a:latin typeface="Arial" panose="020B0604020202020204" pitchFamily="34" charset="0"/>
              <a:ea typeface="华文楷体" panose="02010600040101010101" charset="-122"/>
              <a:cs typeface="Arial" panose="020B0604020202020204" pitchFamily="34" charset="0"/>
            </a:endParaRPr>
          </a:p>
        </p:txBody>
      </p:sp>
      <p:cxnSp>
        <p:nvCxnSpPr>
          <p:cNvPr id="27" name="直接连接符 26"/>
          <p:cNvCxnSpPr/>
          <p:nvPr/>
        </p:nvCxnSpPr>
        <p:spPr>
          <a:xfrm flipH="1">
            <a:off x="3469342" y="990391"/>
            <a:ext cx="0" cy="4788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8677836" y="990391"/>
            <a:ext cx="0" cy="4788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9"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优势</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88"/>
          <p:cNvSpPr/>
          <p:nvPr/>
        </p:nvSpPr>
        <p:spPr>
          <a:xfrm>
            <a:off x="431292" y="4212172"/>
            <a:ext cx="8121839" cy="1172381"/>
          </a:xfrm>
          <a:prstGeom prst="rect">
            <a:avLst/>
          </a:prstGeom>
          <a:solidFill>
            <a:schemeClr val="bg1"/>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0" bIns="0" rtlCol="0" anchor="t"/>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6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sp>
        <p:nvSpPr>
          <p:cNvPr id="4" name="object 32"/>
          <p:cNvSpPr/>
          <p:nvPr/>
        </p:nvSpPr>
        <p:spPr>
          <a:xfrm>
            <a:off x="8822070" y="1019324"/>
            <a:ext cx="2763530" cy="5312854"/>
          </a:xfrm>
          <a:prstGeom prst="rect">
            <a:avLst/>
          </a:prstGeom>
          <a:solidFill>
            <a:schemeClr val="bg1"/>
          </a:solidFill>
          <a:ln w="12700">
            <a:solidFill>
              <a:schemeClr val="bg1">
                <a:lumMod val="65000"/>
              </a:schemeClr>
            </a:solidFill>
          </a:ln>
        </p:spPr>
        <p:txBody>
          <a:bodyPr wrap="square" lIns="0" tIns="0" rIns="0" bIns="0" rtlCol="0"/>
          <a:lstStyle/>
          <a:p>
            <a:pPr marL="0" marR="0" lvl="0" indent="0" algn="l" defTabSz="895985" rtl="0" eaLnBrk="1" fontAlgn="auto" latinLnBrk="1" hangingPunct="1">
              <a:lnSpc>
                <a:spcPct val="100000"/>
              </a:lnSpc>
              <a:spcBef>
                <a:spcPts val="0"/>
              </a:spcBef>
              <a:spcAft>
                <a:spcPts val="0"/>
              </a:spcAft>
              <a:buClrTx/>
              <a:buSzTx/>
              <a:buFontTx/>
              <a:buNone/>
              <a:defRPr/>
            </a:pPr>
            <a:endParaRPr kumimoji="0" sz="1765" b="0" i="0" u="none" strike="noStrike" kern="1200" cap="none" spc="0" normalizeH="0" baseline="0" noProof="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5" name="Straight Connector 10"/>
          <p:cNvCxnSpPr/>
          <p:nvPr/>
        </p:nvCxnSpPr>
        <p:spPr>
          <a:xfrm>
            <a:off x="250508" y="764492"/>
            <a:ext cx="1152000" cy="0"/>
          </a:xfrm>
          <a:prstGeom prst="line">
            <a:avLst/>
          </a:prstGeom>
          <a:ln>
            <a:solidFill>
              <a:srgbClr val="FF3300"/>
            </a:solidFill>
            <a:prstDash val="dash"/>
            <a:headEnd type="diamond"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96"/>
          <p:cNvCxnSpPr/>
          <p:nvPr/>
        </p:nvCxnSpPr>
        <p:spPr>
          <a:xfrm>
            <a:off x="8849600" y="764491"/>
            <a:ext cx="2736000" cy="0"/>
          </a:xfrm>
          <a:prstGeom prst="line">
            <a:avLst/>
          </a:prstGeom>
          <a:ln>
            <a:solidFill>
              <a:srgbClr val="FF3300"/>
            </a:solidFill>
            <a:prstDash val="dash"/>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7" name="Title 1"/>
          <p:cNvSpPr txBox="1"/>
          <p:nvPr/>
        </p:nvSpPr>
        <p:spPr>
          <a:xfrm>
            <a:off x="9339491" y="564212"/>
            <a:ext cx="1784657" cy="400110"/>
          </a:xfrm>
          <a:prstGeom prst="rect">
            <a:avLst/>
          </a:prstGeom>
          <a:solidFill>
            <a:schemeClr val="bg1"/>
          </a:solidFill>
          <a:ln>
            <a:noFill/>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rgbClr val="FF0000"/>
                </a:solidFill>
                <a:effectLst/>
                <a:uLnTx/>
                <a:uFillTx/>
                <a:latin typeface="华文楷体" panose="02010600040101010101" charset="-122"/>
                <a:ea typeface="华文楷体" panose="02010600040101010101" charset="-122"/>
                <a:cs typeface="Times New Roman" panose="02020603050405020304" pitchFamily="18" charset="0"/>
              </a:rPr>
              <a:t>系统特点</a:t>
            </a:r>
            <a:endParaRPr kumimoji="0" lang="zh-CN" altLang="en-US" sz="2000" b="1" i="0" u="none" strike="noStrike" kern="1200" cap="none" spc="0" normalizeH="0" baseline="0" noProof="0" dirty="0">
              <a:ln>
                <a:noFill/>
              </a:ln>
              <a:solidFill>
                <a:srgbClr val="FF0000"/>
              </a:solidFill>
              <a:effectLst/>
              <a:uLnTx/>
              <a:uFillTx/>
              <a:latin typeface="华文楷体" panose="02010600040101010101" charset="-122"/>
              <a:ea typeface="华文楷体" panose="02010600040101010101" charset="-122"/>
              <a:cs typeface="Times New Roman" panose="02020603050405020304" pitchFamily="18" charset="0"/>
            </a:endParaRPr>
          </a:p>
        </p:txBody>
      </p:sp>
      <p:sp>
        <p:nvSpPr>
          <p:cNvPr id="8" name="标题 1"/>
          <p:cNvSpPr txBox="1"/>
          <p:nvPr/>
        </p:nvSpPr>
        <p:spPr>
          <a:xfrm>
            <a:off x="4228950" y="570770"/>
            <a:ext cx="3098419" cy="400110"/>
          </a:xfrm>
          <a:prstGeom prst="rect">
            <a:avLst/>
          </a:prstGeom>
          <a:solidFill>
            <a:schemeClr val="bg1"/>
          </a:solidFill>
          <a:ln w="9525" algn="ctr">
            <a:noFill/>
            <a:miter lim="800000"/>
          </a:ln>
          <a:effectLst/>
        </p:spPr>
        <p:txBody>
          <a:bodyPr wrap="square">
            <a:spAutoFit/>
          </a:bodyPr>
          <a:lstStyle>
            <a:defPPr>
              <a:defRPr lang="ko-KR"/>
            </a:defPPr>
            <a:lvl1pPr marR="0" lvl="0" indent="0" defTabSz="913765" fontAlgn="auto" latinLnBrk="0">
              <a:lnSpc>
                <a:spcPct val="100000"/>
              </a:lnSpc>
              <a:spcBef>
                <a:spcPts val="0"/>
              </a:spcBef>
              <a:spcAft>
                <a:spcPts val="0"/>
              </a:spcAft>
              <a:buClrTx/>
              <a:buSzTx/>
              <a:buFontTx/>
              <a:buNone/>
              <a:defRPr sz="2400" b="1">
                <a:solidFill>
                  <a:schemeClr val="bg1"/>
                </a:solidFill>
                <a:latin typeface="华文楷体" panose="02010600040101010101" charset="-122"/>
                <a:ea typeface="华文楷体" panose="02010600040101010101" charset="-122"/>
                <a:cs typeface="Times New Roman" panose="02020603050405020304" pitchFamily="18" charset="0"/>
              </a:defRPr>
            </a:lvl1p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sym typeface="+mn-ea"/>
              </a:rPr>
              <a:t>平安医疗保险系统全景图</a:t>
            </a:r>
            <a:endParaRPr kumimoji="0" lang="zh-CN" altLang="en-US" sz="2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endParaRPr>
          </a:p>
        </p:txBody>
      </p:sp>
      <p:sp>
        <p:nvSpPr>
          <p:cNvPr id="9" name="Rectangle 19"/>
          <p:cNvSpPr/>
          <p:nvPr/>
        </p:nvSpPr>
        <p:spPr>
          <a:xfrm>
            <a:off x="8919679" y="1888950"/>
            <a:ext cx="2511380" cy="400110"/>
          </a:xfrm>
          <a:prstGeom prst="rect">
            <a:avLst/>
          </a:prstGeom>
          <a:solidFill>
            <a:schemeClr val="bg1"/>
          </a:solidFill>
        </p:spPr>
        <p:txBody>
          <a:bodyPr wrap="square">
            <a:spAutoFit/>
          </a:bodyPr>
          <a:lstStyle/>
          <a:p>
            <a:pPr marL="285750" marR="0" lvl="0" indent="-285750" algn="l" defTabSz="914400" rtl="0" eaLnBrk="1" fontAlgn="auto" latinLnBrk="1" hangingPunct="1">
              <a:lnSpc>
                <a:spcPct val="100000"/>
              </a:lnSpc>
              <a:spcBef>
                <a:spcPts val="0"/>
              </a:spcBef>
              <a:spcAft>
                <a:spcPts val="0"/>
              </a:spcAft>
              <a:buClrTx/>
              <a:buSzPct val="80000"/>
              <a:buFont typeface="Wingdings" panose="05000000000000000000" pitchFamily="2" charset="2"/>
              <a:buChar char="u"/>
              <a:defRPr/>
            </a:pPr>
            <a:r>
              <a:rPr kumimoji="0" lang="zh-CN" altLang="en-US" sz="2000" b="1" i="0" u="none" strike="noStrike" kern="1200" cap="none" spc="0" normalizeH="0" baseline="0" noProof="0" dirty="0">
                <a:ln>
                  <a:noFill/>
                </a:ln>
                <a:solidFill>
                  <a:srgbClr val="FF5500"/>
                </a:solidFill>
                <a:effectLst/>
                <a:uLnTx/>
                <a:uFillTx/>
                <a:latin typeface="华文楷体" panose="02010600040101010101" charset="-122"/>
                <a:ea typeface="华文楷体" panose="02010600040101010101" charset="-122"/>
                <a:cs typeface="+mn-cs"/>
              </a:rPr>
              <a:t>累计投资</a:t>
            </a:r>
            <a:r>
              <a:rPr kumimoji="0" lang="zh-CN" altLang="en-US" sz="2000" b="1" i="0" u="none" strike="noStrike" kern="1200" cap="none" spc="0" normalizeH="0" baseline="0" noProof="0" dirty="0" smtClean="0">
                <a:ln>
                  <a:noFill/>
                </a:ln>
                <a:solidFill>
                  <a:srgbClr val="FF5500"/>
                </a:solidFill>
                <a:effectLst/>
                <a:uLnTx/>
                <a:uFillTx/>
                <a:latin typeface="华文楷体" panose="02010600040101010101" charset="-122"/>
                <a:ea typeface="华文楷体" panose="02010600040101010101" charset="-122"/>
                <a:cs typeface="+mn-cs"/>
              </a:rPr>
              <a:t>超</a:t>
            </a:r>
            <a:r>
              <a:rPr kumimoji="0" lang="en-US" altLang="zh-CN" sz="2000" b="1" i="0" u="sng" strike="noStrike" kern="1200" cap="none" spc="0" normalizeH="0" baseline="0" noProof="0" dirty="0" smtClean="0">
                <a:ln>
                  <a:noFill/>
                </a:ln>
                <a:solidFill>
                  <a:srgbClr val="FF5500"/>
                </a:solidFill>
                <a:effectLst/>
                <a:uLnTx/>
                <a:uFillTx/>
                <a:latin typeface="华文楷体" panose="02010600040101010101" charset="-122"/>
                <a:ea typeface="华文楷体" panose="02010600040101010101" charset="-122"/>
                <a:cs typeface="+mn-cs"/>
              </a:rPr>
              <a:t>xxx</a:t>
            </a:r>
            <a:endParaRPr kumimoji="0" lang="en-US" sz="2000" b="0" i="0" u="sng" strike="noStrike" kern="1200" cap="none" spc="0" normalizeH="0" baseline="0" noProof="0" dirty="0">
              <a:ln>
                <a:noFill/>
              </a:ln>
              <a:solidFill>
                <a:srgbClr val="FF5500"/>
              </a:solidFill>
              <a:effectLst/>
              <a:uLnTx/>
              <a:uFillTx/>
              <a:latin typeface="华文楷体" panose="02010600040101010101" charset="-122"/>
              <a:ea typeface="华文楷体" panose="02010600040101010101" charset="-122"/>
              <a:cs typeface="+mn-cs"/>
            </a:endParaRPr>
          </a:p>
        </p:txBody>
      </p:sp>
      <p:sp>
        <p:nvSpPr>
          <p:cNvPr id="10" name="Rectangle 233"/>
          <p:cNvSpPr/>
          <p:nvPr/>
        </p:nvSpPr>
        <p:spPr>
          <a:xfrm>
            <a:off x="8919679" y="3445514"/>
            <a:ext cx="2511380" cy="400110"/>
          </a:xfrm>
          <a:prstGeom prst="rect">
            <a:avLst/>
          </a:prstGeom>
          <a:solidFill>
            <a:schemeClr val="bg1"/>
          </a:solidFill>
        </p:spPr>
        <p:txBody>
          <a:bodyPr wrap="square">
            <a:spAutoFit/>
          </a:bodyPr>
          <a:lstStyle/>
          <a:p>
            <a:pPr marL="285750" marR="0" lvl="0" indent="-285750" algn="l" defTabSz="914400" rtl="0" eaLnBrk="1" fontAlgn="auto" latinLnBrk="1" hangingPunct="1">
              <a:lnSpc>
                <a:spcPct val="100000"/>
              </a:lnSpc>
              <a:spcBef>
                <a:spcPts val="0"/>
              </a:spcBef>
              <a:spcAft>
                <a:spcPts val="0"/>
              </a:spcAft>
              <a:buClrTx/>
              <a:buSzPct val="80000"/>
              <a:buFont typeface="Wingdings" panose="05000000000000000000" pitchFamily="2" charset="2"/>
              <a:buChar char="u"/>
              <a:defRPr/>
            </a:pPr>
            <a:r>
              <a:rPr kumimoji="0" lang="zh-CN" altLang="en-US" sz="2000" b="1" i="0" u="none" strike="noStrike" kern="1200" cap="none" spc="0" normalizeH="0" baseline="0" noProof="0" dirty="0">
                <a:ln>
                  <a:noFill/>
                </a:ln>
                <a:solidFill>
                  <a:srgbClr val="FF5500"/>
                </a:solidFill>
                <a:effectLst/>
                <a:uLnTx/>
                <a:uFillTx/>
                <a:latin typeface="华文楷体" panose="02010600040101010101" charset="-122"/>
                <a:ea typeface="华文楷体" panose="02010600040101010101" charset="-122"/>
                <a:cs typeface="+mn-cs"/>
              </a:rPr>
              <a:t>医疗险年控</a:t>
            </a:r>
            <a:r>
              <a:rPr kumimoji="0" lang="zh-CN" altLang="en-US" sz="2000" b="1" i="0" u="none" strike="noStrike" kern="1200" cap="none" spc="0" normalizeH="0" baseline="0" noProof="0" dirty="0" smtClean="0">
                <a:ln>
                  <a:noFill/>
                </a:ln>
                <a:solidFill>
                  <a:srgbClr val="FF5500"/>
                </a:solidFill>
                <a:effectLst/>
                <a:uLnTx/>
                <a:uFillTx/>
                <a:latin typeface="华文楷体" panose="02010600040101010101" charset="-122"/>
                <a:ea typeface="华文楷体" panose="02010600040101010101" charset="-122"/>
                <a:cs typeface="+mn-cs"/>
              </a:rPr>
              <a:t>费</a:t>
            </a:r>
            <a:r>
              <a:rPr kumimoji="0" lang="en-US" altLang="zh-CN" sz="2000" b="1" i="0" u="sng" strike="noStrike" kern="1200" cap="none" spc="0" normalizeH="0" baseline="0" noProof="0" dirty="0" smtClean="0">
                <a:ln>
                  <a:noFill/>
                </a:ln>
                <a:solidFill>
                  <a:srgbClr val="FF5500"/>
                </a:solidFill>
                <a:effectLst/>
                <a:uLnTx/>
                <a:uFillTx/>
                <a:latin typeface="华文楷体" panose="02010600040101010101" charset="-122"/>
                <a:ea typeface="华文楷体" panose="02010600040101010101" charset="-122"/>
                <a:cs typeface="+mn-cs"/>
              </a:rPr>
              <a:t>xx</a:t>
            </a:r>
            <a:endParaRPr kumimoji="0" lang="en-US" sz="2000" b="0" i="0" u="sng" strike="noStrike" kern="1200" cap="none" spc="0" normalizeH="0" baseline="0" noProof="0" dirty="0">
              <a:ln>
                <a:noFill/>
              </a:ln>
              <a:solidFill>
                <a:srgbClr val="FF5500"/>
              </a:solidFill>
              <a:effectLst/>
              <a:uLnTx/>
              <a:uFillTx/>
              <a:latin typeface="华文楷体" panose="02010600040101010101" charset="-122"/>
              <a:ea typeface="华文楷体" panose="02010600040101010101" charset="-122"/>
              <a:cs typeface="+mn-cs"/>
            </a:endParaRPr>
          </a:p>
        </p:txBody>
      </p:sp>
      <p:sp>
        <p:nvSpPr>
          <p:cNvPr id="11" name="Rectangle 235"/>
          <p:cNvSpPr/>
          <p:nvPr/>
        </p:nvSpPr>
        <p:spPr>
          <a:xfrm>
            <a:off x="8919679" y="4223796"/>
            <a:ext cx="2511380" cy="400110"/>
          </a:xfrm>
          <a:prstGeom prst="rect">
            <a:avLst/>
          </a:prstGeom>
          <a:solidFill>
            <a:schemeClr val="bg1"/>
          </a:solidFill>
        </p:spPr>
        <p:txBody>
          <a:bodyPr wrap="square">
            <a:spAutoFit/>
          </a:bodyPr>
          <a:lstStyle/>
          <a:p>
            <a:pPr marL="285750" marR="0" lvl="0" indent="-285750" algn="l" defTabSz="914400" rtl="0" eaLnBrk="1" fontAlgn="auto" latinLnBrk="1" hangingPunct="1">
              <a:lnSpc>
                <a:spcPct val="100000"/>
              </a:lnSpc>
              <a:spcBef>
                <a:spcPts val="0"/>
              </a:spcBef>
              <a:spcAft>
                <a:spcPts val="0"/>
              </a:spcAft>
              <a:buClrTx/>
              <a:buSzPct val="80000"/>
              <a:buFont typeface="Wingdings" panose="05000000000000000000" pitchFamily="2" charset="2"/>
              <a:buChar char="u"/>
              <a:defRPr/>
            </a:pPr>
            <a:r>
              <a:rPr kumimoji="0" lang="zh-CN" altLang="en-US" sz="2000" b="1" i="0" u="none" strike="noStrike" kern="1200" cap="none" spc="0" normalizeH="0" baseline="0" noProof="0" dirty="0">
                <a:ln>
                  <a:noFill/>
                </a:ln>
                <a:solidFill>
                  <a:srgbClr val="FF5500"/>
                </a:solidFill>
                <a:effectLst/>
                <a:uLnTx/>
                <a:uFillTx/>
                <a:latin typeface="华文楷体" panose="02010600040101010101" charset="-122"/>
                <a:ea typeface="华文楷体" panose="02010600040101010101" charset="-122"/>
                <a:cs typeface="+mn-cs"/>
              </a:rPr>
              <a:t>客户满意</a:t>
            </a:r>
            <a:r>
              <a:rPr kumimoji="0" lang="zh-CN" altLang="en-US" sz="2000" b="1" i="0" u="none" strike="noStrike" kern="1200" cap="none" spc="0" normalizeH="0" baseline="0" noProof="0" dirty="0" smtClean="0">
                <a:ln>
                  <a:noFill/>
                </a:ln>
                <a:solidFill>
                  <a:srgbClr val="FF5500"/>
                </a:solidFill>
                <a:effectLst/>
                <a:uLnTx/>
                <a:uFillTx/>
                <a:latin typeface="华文楷体" panose="02010600040101010101" charset="-122"/>
                <a:ea typeface="华文楷体" panose="02010600040101010101" charset="-122"/>
                <a:cs typeface="+mn-cs"/>
              </a:rPr>
              <a:t>度</a:t>
            </a:r>
            <a:r>
              <a:rPr kumimoji="0" lang="en-US" altLang="zh-CN" sz="2000" b="1" i="0" u="sng" strike="noStrike" kern="1200" cap="none" spc="0" normalizeH="0" baseline="0" noProof="0" dirty="0" smtClean="0">
                <a:ln>
                  <a:noFill/>
                </a:ln>
                <a:solidFill>
                  <a:srgbClr val="FF5500"/>
                </a:solidFill>
                <a:effectLst/>
                <a:uLnTx/>
                <a:uFillTx/>
                <a:latin typeface="华文楷体" panose="02010600040101010101" charset="-122"/>
                <a:ea typeface="华文楷体" panose="02010600040101010101" charset="-122"/>
                <a:cs typeface="+mn-cs"/>
              </a:rPr>
              <a:t>xx</a:t>
            </a:r>
            <a:endParaRPr kumimoji="0" lang="en-US" sz="2000" b="0" i="0" u="sng" strike="noStrike" kern="1200" cap="none" spc="0" normalizeH="0" baseline="0" noProof="0" dirty="0">
              <a:ln>
                <a:noFill/>
              </a:ln>
              <a:solidFill>
                <a:srgbClr val="FF5500"/>
              </a:solidFill>
              <a:effectLst/>
              <a:uLnTx/>
              <a:uFillTx/>
              <a:latin typeface="华文楷体" panose="02010600040101010101" charset="-122"/>
              <a:ea typeface="华文楷体" panose="02010600040101010101" charset="-122"/>
              <a:cs typeface="+mn-cs"/>
            </a:endParaRPr>
          </a:p>
        </p:txBody>
      </p:sp>
      <p:sp>
        <p:nvSpPr>
          <p:cNvPr id="12" name="Rectangle 237"/>
          <p:cNvSpPr/>
          <p:nvPr/>
        </p:nvSpPr>
        <p:spPr>
          <a:xfrm>
            <a:off x="8919679" y="2667232"/>
            <a:ext cx="2511380" cy="400110"/>
          </a:xfrm>
          <a:prstGeom prst="rect">
            <a:avLst/>
          </a:prstGeom>
          <a:solidFill>
            <a:schemeClr val="bg1"/>
          </a:solidFill>
        </p:spPr>
        <p:txBody>
          <a:bodyPr wrap="square">
            <a:spAutoFit/>
          </a:bodyPr>
          <a:lstStyle/>
          <a:p>
            <a:pPr marL="285750" marR="0" lvl="0" indent="-285750" algn="l" defTabSz="914400" rtl="0" eaLnBrk="1" fontAlgn="auto" latinLnBrk="1" hangingPunct="1">
              <a:lnSpc>
                <a:spcPct val="100000"/>
              </a:lnSpc>
              <a:spcBef>
                <a:spcPts val="0"/>
              </a:spcBef>
              <a:spcAft>
                <a:spcPts val="0"/>
              </a:spcAft>
              <a:buClrTx/>
              <a:buSzPct val="80000"/>
              <a:buFont typeface="Wingdings" panose="05000000000000000000" pitchFamily="2" charset="2"/>
              <a:buChar char="u"/>
              <a:defRPr/>
            </a:pPr>
            <a:r>
              <a:rPr kumimoji="0" lang="zh-CN" altLang="en-US" sz="2000" b="1" i="0" u="none" strike="noStrike" kern="1200" cap="none" spc="0" normalizeH="0" baseline="0" noProof="0" dirty="0">
                <a:ln>
                  <a:noFill/>
                </a:ln>
                <a:solidFill>
                  <a:srgbClr val="FF5500"/>
                </a:solidFill>
                <a:effectLst/>
                <a:uLnTx/>
                <a:uFillTx/>
                <a:latin typeface="华文楷体" panose="02010600040101010101" charset="-122"/>
                <a:ea typeface="华文楷体" panose="02010600040101010101" charset="-122"/>
                <a:cs typeface="+mn-cs"/>
              </a:rPr>
              <a:t>整合</a:t>
            </a:r>
            <a:r>
              <a:rPr kumimoji="0" lang="zh-CN" altLang="en-US" sz="2000" b="1" i="0" u="none" strike="noStrike" kern="1200" cap="none" spc="0" normalizeH="0" baseline="0" noProof="0" dirty="0" smtClean="0">
                <a:ln>
                  <a:noFill/>
                </a:ln>
                <a:solidFill>
                  <a:srgbClr val="FF5500"/>
                </a:solidFill>
                <a:effectLst/>
                <a:uLnTx/>
                <a:uFillTx/>
                <a:latin typeface="华文楷体" panose="02010600040101010101" charset="-122"/>
                <a:ea typeface="华文楷体" panose="02010600040101010101" charset="-122"/>
                <a:cs typeface="+mn-cs"/>
              </a:rPr>
              <a:t>全球</a:t>
            </a:r>
            <a:r>
              <a:rPr kumimoji="0" lang="en-US" altLang="zh-CN" sz="2000" b="1" i="0" u="sng" strike="noStrike" kern="1200" cap="none" spc="0" normalizeH="0" baseline="0" noProof="0" dirty="0" smtClean="0">
                <a:ln>
                  <a:noFill/>
                </a:ln>
                <a:solidFill>
                  <a:srgbClr val="FF5500"/>
                </a:solidFill>
                <a:effectLst/>
                <a:uLnTx/>
                <a:uFillTx/>
                <a:latin typeface="华文楷体" panose="02010600040101010101" charset="-122"/>
                <a:ea typeface="华文楷体" panose="02010600040101010101" charset="-122"/>
                <a:cs typeface="+mn-cs"/>
              </a:rPr>
              <a:t>xx</a:t>
            </a:r>
            <a:r>
              <a:rPr kumimoji="0" lang="zh-CN" altLang="en-US" sz="2000" b="1" i="0" u="none" strike="noStrike" kern="1200" cap="none" spc="0" normalizeH="0" baseline="0" noProof="0" dirty="0" smtClean="0">
                <a:ln>
                  <a:noFill/>
                </a:ln>
                <a:solidFill>
                  <a:srgbClr val="FF5500"/>
                </a:solidFill>
                <a:effectLst/>
                <a:uLnTx/>
                <a:uFillTx/>
                <a:latin typeface="华文楷体" panose="02010600040101010101" charset="-122"/>
                <a:ea typeface="华文楷体" panose="02010600040101010101" charset="-122"/>
                <a:cs typeface="+mn-cs"/>
              </a:rPr>
              <a:t>功能</a:t>
            </a:r>
            <a:endParaRPr kumimoji="0" lang="en-US" sz="2000" b="0" i="0" u="none" strike="noStrike" kern="1200" cap="none" spc="0" normalizeH="0" baseline="0" noProof="0" dirty="0">
              <a:ln>
                <a:noFill/>
              </a:ln>
              <a:solidFill>
                <a:srgbClr val="FF5500"/>
              </a:solidFill>
              <a:effectLst/>
              <a:uLnTx/>
              <a:uFillTx/>
              <a:latin typeface="华文楷体" panose="02010600040101010101" charset="-122"/>
              <a:ea typeface="华文楷体" panose="02010600040101010101" charset="-122"/>
              <a:cs typeface="+mn-cs"/>
            </a:endParaRPr>
          </a:p>
        </p:txBody>
      </p:sp>
      <p:sp>
        <p:nvSpPr>
          <p:cNvPr id="13" name="Rectangle 90"/>
          <p:cNvSpPr/>
          <p:nvPr/>
        </p:nvSpPr>
        <p:spPr>
          <a:xfrm>
            <a:off x="8919679" y="5002078"/>
            <a:ext cx="2511380" cy="400110"/>
          </a:xfrm>
          <a:prstGeom prst="rect">
            <a:avLst/>
          </a:prstGeom>
          <a:solidFill>
            <a:schemeClr val="bg1"/>
          </a:solidFill>
        </p:spPr>
        <p:txBody>
          <a:bodyPr wrap="square">
            <a:spAutoFit/>
          </a:bodyPr>
          <a:lstStyle/>
          <a:p>
            <a:pPr marL="285750" marR="0" lvl="0" indent="-285750" algn="l" defTabSz="914400" rtl="0" eaLnBrk="1" fontAlgn="auto" latinLnBrk="1" hangingPunct="1">
              <a:lnSpc>
                <a:spcPct val="100000"/>
              </a:lnSpc>
              <a:spcBef>
                <a:spcPts val="0"/>
              </a:spcBef>
              <a:spcAft>
                <a:spcPts val="0"/>
              </a:spcAft>
              <a:buClrTx/>
              <a:buSzPct val="80000"/>
              <a:buFont typeface="Wingdings" panose="05000000000000000000" pitchFamily="2" charset="2"/>
              <a:buChar char="u"/>
              <a:defRPr/>
            </a:pPr>
            <a:r>
              <a:rPr kumimoji="0" lang="zh-CN" altLang="en-US" sz="2000" b="1" i="0" u="none" strike="noStrike" kern="1200" cap="none" spc="0" normalizeH="0" baseline="0" noProof="0" dirty="0">
                <a:ln>
                  <a:noFill/>
                </a:ln>
                <a:solidFill>
                  <a:srgbClr val="FF5500"/>
                </a:solidFill>
                <a:effectLst/>
                <a:uLnTx/>
                <a:uFillTx/>
                <a:latin typeface="华文楷体" panose="02010600040101010101" charset="-122"/>
                <a:ea typeface="华文楷体" panose="02010600040101010101" charset="-122"/>
                <a:cs typeface="+mn-cs"/>
              </a:rPr>
              <a:t>效率</a:t>
            </a:r>
            <a:r>
              <a:rPr kumimoji="0" lang="zh-CN" altLang="en-US" sz="2000" b="1" i="0" u="none" strike="noStrike" kern="1200" cap="none" spc="0" normalizeH="0" baseline="0" noProof="0" dirty="0" smtClean="0">
                <a:ln>
                  <a:noFill/>
                </a:ln>
                <a:solidFill>
                  <a:srgbClr val="FF5500"/>
                </a:solidFill>
                <a:effectLst/>
                <a:uLnTx/>
                <a:uFillTx/>
                <a:latin typeface="华文楷体" panose="02010600040101010101" charset="-122"/>
                <a:ea typeface="华文楷体" panose="02010600040101010101" charset="-122"/>
                <a:cs typeface="+mn-cs"/>
              </a:rPr>
              <a:t>提升</a:t>
            </a:r>
            <a:r>
              <a:rPr kumimoji="0" lang="en-US" altLang="zh-CN" sz="2000" b="1" i="0" u="sng" strike="noStrike" kern="1200" cap="none" spc="0" normalizeH="0" baseline="0" noProof="0" dirty="0" smtClean="0">
                <a:ln>
                  <a:noFill/>
                </a:ln>
                <a:solidFill>
                  <a:srgbClr val="FF5500"/>
                </a:solidFill>
                <a:effectLst/>
                <a:uLnTx/>
                <a:uFillTx/>
                <a:latin typeface="华文楷体" panose="02010600040101010101" charset="-122"/>
                <a:ea typeface="华文楷体" panose="02010600040101010101" charset="-122"/>
                <a:cs typeface="+mn-cs"/>
              </a:rPr>
              <a:t>xx</a:t>
            </a:r>
            <a:endParaRPr kumimoji="0" lang="en-US" sz="2000" b="1" i="0" u="sng" strike="noStrike" kern="1200" cap="none" spc="0" normalizeH="0" baseline="0" noProof="0" dirty="0">
              <a:ln>
                <a:noFill/>
              </a:ln>
              <a:solidFill>
                <a:srgbClr val="FF5500"/>
              </a:solidFill>
              <a:effectLst/>
              <a:uLnTx/>
              <a:uFillTx/>
              <a:latin typeface="华文楷体" panose="02010600040101010101" charset="-122"/>
              <a:ea typeface="华文楷体" panose="02010600040101010101" charset="-122"/>
              <a:cs typeface="+mn-cs"/>
            </a:endParaRPr>
          </a:p>
        </p:txBody>
      </p:sp>
      <p:sp>
        <p:nvSpPr>
          <p:cNvPr id="14" name="Slide Number Placeholder 2"/>
          <p:cNvSpPr txBox="1"/>
          <p:nvPr/>
        </p:nvSpPr>
        <p:spPr>
          <a:xfrm>
            <a:off x="11692887" y="6485459"/>
            <a:ext cx="503906" cy="372541"/>
          </a:xfrm>
          <a:prstGeom prst="rect">
            <a:avLst/>
          </a:prstGeom>
        </p:spPr>
        <p:txBody>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r" defTabSz="932815" rtl="0" eaLnBrk="1" fontAlgn="base" latinLnBrk="0" hangingPunct="1">
              <a:lnSpc>
                <a:spcPct val="100000"/>
              </a:lnSpc>
              <a:spcBef>
                <a:spcPct val="0"/>
              </a:spcBef>
              <a:spcAft>
                <a:spcPct val="0"/>
              </a:spcAft>
              <a:buClrTx/>
              <a:buSzTx/>
              <a:buFontTx/>
              <a:buNone/>
              <a:defRPr/>
            </a:pPr>
            <a:fld id="{D9031528-5AE3-48B4-B7AE-562877B1C66F}" type="slidenum">
              <a:rPr kumimoji="0" lang="zh-CN" altLang="en-US" sz="1400" b="0" i="0" u="none" strike="noStrike" kern="1200" cap="none" spc="0" normalizeH="0" baseline="0" noProof="0" smtClean="0">
                <a:ln>
                  <a:noFill/>
                </a:ln>
                <a:solidFill>
                  <a:prstClr val="white"/>
                </a:solidFill>
                <a:effectLst/>
                <a:uLnTx/>
                <a:uFillTx/>
                <a:latin typeface="华文楷体" panose="02010600040101010101" charset="-122"/>
                <a:ea typeface="华文楷体" panose="02010600040101010101" charset="-122"/>
                <a:cs typeface="Arial" panose="020B0604020202020204" pitchFamily="34" charset="0"/>
              </a:rPr>
            </a:fld>
            <a:endParaRPr kumimoji="0" lang="zh-CN" altLang="en-US" sz="14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15" name="object 32"/>
          <p:cNvSpPr/>
          <p:nvPr/>
        </p:nvSpPr>
        <p:spPr>
          <a:xfrm>
            <a:off x="431292" y="1019324"/>
            <a:ext cx="8121839" cy="3120994"/>
          </a:xfrm>
          <a:prstGeom prst="rect">
            <a:avLst/>
          </a:prstGeom>
          <a:solidFill>
            <a:schemeClr val="bg1"/>
          </a:solidFill>
          <a:ln w="12700">
            <a:solidFill>
              <a:schemeClr val="bg1">
                <a:lumMod val="65000"/>
              </a:schemeClr>
            </a:solidFill>
          </a:ln>
        </p:spPr>
        <p:txBody>
          <a:bodyPr wrap="square" lIns="0" tIns="0" rIns="0" bIns="0" rtlCol="0"/>
          <a:lstStyle/>
          <a:p>
            <a:pPr marL="0" marR="0" lvl="0" indent="0" algn="l" defTabSz="895985" rtl="0" eaLnBrk="1" fontAlgn="auto" latinLnBrk="1" hangingPunct="1">
              <a:lnSpc>
                <a:spcPct val="100000"/>
              </a:lnSpc>
              <a:spcBef>
                <a:spcPts val="0"/>
              </a:spcBef>
              <a:spcAft>
                <a:spcPts val="0"/>
              </a:spcAft>
              <a:buClrTx/>
              <a:buSzTx/>
              <a:buFontTx/>
              <a:buNone/>
              <a:defRPr/>
            </a:pPr>
            <a:endParaRPr kumimoji="0" sz="1765" b="0" i="0" u="none" strike="noStrike" kern="1200" cap="none" spc="0" normalizeH="0" baseline="0" noProof="0">
              <a:ln>
                <a:noFill/>
              </a:ln>
              <a:effectLst/>
              <a:uLnTx/>
              <a:uFillTx/>
              <a:latin typeface="华文楷体" panose="02010600040101010101" charset="-122"/>
              <a:ea typeface="华文楷体" panose="02010600040101010101" charset="-122"/>
              <a:cs typeface="+mn-cs"/>
            </a:endParaRPr>
          </a:p>
        </p:txBody>
      </p:sp>
      <p:sp>
        <p:nvSpPr>
          <p:cNvPr id="16" name="Rectangle 88"/>
          <p:cNvSpPr/>
          <p:nvPr/>
        </p:nvSpPr>
        <p:spPr>
          <a:xfrm>
            <a:off x="4574793" y="3515655"/>
            <a:ext cx="3927594" cy="540000"/>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功能</a:t>
            </a:r>
            <a:r>
              <a:rPr kumimoji="0" lang="en-US" altLang="zh-CN"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8</a:t>
            </a:r>
            <a:endParaRPr kumimoji="0" lang="en-US" alt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17" name="Rectangle 97"/>
          <p:cNvSpPr/>
          <p:nvPr/>
        </p:nvSpPr>
        <p:spPr>
          <a:xfrm>
            <a:off x="3693282" y="1317697"/>
            <a:ext cx="1987545" cy="1137953"/>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人群</a:t>
            </a:r>
            <a:r>
              <a:rPr kumimoji="0" lang="en-US" sz="1100" b="1" i="0" u="none" strike="noStrike" kern="1200" cap="none" spc="0" normalizeH="0" baseline="0" noProof="0" dirty="0" err="1">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疾病</a:t>
            </a:r>
            <a:r>
              <a:rPr kumimoji="0" lang="zh-CN" alt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和健康</a:t>
            </a:r>
            <a:r>
              <a:rPr kumimoji="0" lang="en-US" sz="1100" b="1" i="0" u="none" strike="noStrike" kern="1200" cap="none" spc="0" normalizeH="0" baseline="0" noProof="0" dirty="0" err="1">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管理</a:t>
            </a:r>
            <a:r>
              <a:rPr kumimoji="0" 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 </a:t>
            </a:r>
            <a:endParaRPr kumimoji="0" lang="en-US" alt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18" name="Rectangle 48"/>
          <p:cNvSpPr/>
          <p:nvPr/>
        </p:nvSpPr>
        <p:spPr>
          <a:xfrm>
            <a:off x="539445" y="1317698"/>
            <a:ext cx="3065319" cy="1137953"/>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医疗网络管理</a:t>
            </a:r>
            <a:endParaRPr kumimoji="0" 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19" name="Rectangle 53"/>
          <p:cNvSpPr/>
          <p:nvPr/>
        </p:nvSpPr>
        <p:spPr>
          <a:xfrm>
            <a:off x="606400" y="1585156"/>
            <a:ext cx="945532" cy="227341"/>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协议管理</a:t>
            </a: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20" name="Rectangle 73"/>
          <p:cNvSpPr/>
          <p:nvPr/>
        </p:nvSpPr>
        <p:spPr>
          <a:xfrm>
            <a:off x="1593391" y="1585156"/>
            <a:ext cx="945532" cy="227341"/>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绩效管理</a:t>
            </a: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21" name="Rectangle 75"/>
          <p:cNvSpPr/>
          <p:nvPr/>
        </p:nvSpPr>
        <p:spPr>
          <a:xfrm>
            <a:off x="2589790" y="1585156"/>
            <a:ext cx="945532" cy="227341"/>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sz="1200" b="0"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a:t>
            </a: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22" name="Rectangle 77"/>
          <p:cNvSpPr/>
          <p:nvPr/>
        </p:nvSpPr>
        <p:spPr>
          <a:xfrm>
            <a:off x="1593391" y="1881374"/>
            <a:ext cx="945532" cy="220303"/>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23" name="Rectangle 66"/>
          <p:cNvSpPr/>
          <p:nvPr/>
        </p:nvSpPr>
        <p:spPr>
          <a:xfrm>
            <a:off x="2589790" y="1881374"/>
            <a:ext cx="945532" cy="220303"/>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24" name="Rectangle 76"/>
          <p:cNvSpPr/>
          <p:nvPr/>
        </p:nvSpPr>
        <p:spPr>
          <a:xfrm>
            <a:off x="606400" y="2159652"/>
            <a:ext cx="945532" cy="220303"/>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25" name="Rectangle 74"/>
          <p:cNvSpPr/>
          <p:nvPr/>
        </p:nvSpPr>
        <p:spPr>
          <a:xfrm>
            <a:off x="606400" y="1881374"/>
            <a:ext cx="945532" cy="227341"/>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26" name="Rectangle 78"/>
          <p:cNvSpPr/>
          <p:nvPr/>
        </p:nvSpPr>
        <p:spPr>
          <a:xfrm>
            <a:off x="1593391" y="2159652"/>
            <a:ext cx="945532" cy="220303"/>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sz="1200" b="0"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 </a:t>
            </a: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27" name="Text Box 7"/>
          <p:cNvSpPr txBox="1">
            <a:spLocks noChangeArrowheads="1"/>
          </p:cNvSpPr>
          <p:nvPr/>
        </p:nvSpPr>
        <p:spPr bwMode="auto">
          <a:xfrm>
            <a:off x="5774891" y="1317698"/>
            <a:ext cx="2727496" cy="1137954"/>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ko-KR"/>
            </a:defPPr>
            <a:lvl1pPr algn="ctr">
              <a:defRPr sz="1100" b="1">
                <a:solidFill>
                  <a:schemeClr val="bg1"/>
                </a:solidFill>
                <a:latin typeface="华文楷体" panose="02010600040101010101" charset="-122"/>
                <a:ea typeface="华文楷体" panose="02010600040101010101" charset="-122"/>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功能</a:t>
            </a:r>
            <a:r>
              <a:rPr kumimoji="0" lang="en-US" altLang="zh-CN"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3</a:t>
            </a:r>
            <a:endParaRPr kumimoji="0" lang="en-GB" alt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28" name="Rectangle 68"/>
          <p:cNvSpPr/>
          <p:nvPr/>
        </p:nvSpPr>
        <p:spPr>
          <a:xfrm>
            <a:off x="5626697" y="3746021"/>
            <a:ext cx="872799"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29" name="Rectangle 69"/>
          <p:cNvSpPr/>
          <p:nvPr/>
        </p:nvSpPr>
        <p:spPr>
          <a:xfrm>
            <a:off x="7546714" y="3746021"/>
            <a:ext cx="872799"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30" name="Rectangle 70"/>
          <p:cNvSpPr/>
          <p:nvPr/>
        </p:nvSpPr>
        <p:spPr>
          <a:xfrm>
            <a:off x="6586705" y="3746021"/>
            <a:ext cx="872799"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31" name="Rectangle 71"/>
          <p:cNvSpPr/>
          <p:nvPr/>
        </p:nvSpPr>
        <p:spPr>
          <a:xfrm>
            <a:off x="4666689" y="3746021"/>
            <a:ext cx="872799"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32" name="Rectangle 105"/>
          <p:cNvSpPr/>
          <p:nvPr/>
        </p:nvSpPr>
        <p:spPr>
          <a:xfrm>
            <a:off x="3816573" y="1585156"/>
            <a:ext cx="8364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33" name="Rectangle 106"/>
          <p:cNvSpPr/>
          <p:nvPr/>
        </p:nvSpPr>
        <p:spPr>
          <a:xfrm>
            <a:off x="4745541" y="1585156"/>
            <a:ext cx="8364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34" name="Rectangle 107"/>
          <p:cNvSpPr/>
          <p:nvPr/>
        </p:nvSpPr>
        <p:spPr>
          <a:xfrm>
            <a:off x="3816573" y="1881374"/>
            <a:ext cx="8364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1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35" name="Rectangle 108"/>
          <p:cNvSpPr/>
          <p:nvPr/>
        </p:nvSpPr>
        <p:spPr>
          <a:xfrm>
            <a:off x="4745541" y="1881374"/>
            <a:ext cx="8364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36" name="Rectangle 119"/>
          <p:cNvSpPr/>
          <p:nvPr/>
        </p:nvSpPr>
        <p:spPr>
          <a:xfrm>
            <a:off x="7613156" y="1585156"/>
            <a:ext cx="8364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37" name="Rectangle 120"/>
          <p:cNvSpPr/>
          <p:nvPr/>
        </p:nvSpPr>
        <p:spPr>
          <a:xfrm>
            <a:off x="6727922" y="1585156"/>
            <a:ext cx="8364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38" name="Rectangle 121"/>
          <p:cNvSpPr/>
          <p:nvPr/>
        </p:nvSpPr>
        <p:spPr>
          <a:xfrm>
            <a:off x="5842687" y="1881374"/>
            <a:ext cx="8364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39" name="Rectangle 122"/>
          <p:cNvSpPr/>
          <p:nvPr/>
        </p:nvSpPr>
        <p:spPr>
          <a:xfrm>
            <a:off x="5842687" y="1585156"/>
            <a:ext cx="8364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0" name="Text Box 7"/>
          <p:cNvSpPr txBox="1">
            <a:spLocks noChangeArrowheads="1"/>
          </p:cNvSpPr>
          <p:nvPr/>
        </p:nvSpPr>
        <p:spPr bwMode="auto">
          <a:xfrm>
            <a:off x="532902" y="3507662"/>
            <a:ext cx="3927594" cy="540000"/>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ko-KR"/>
            </a:defPPr>
            <a:lvl1pPr algn="ctr">
              <a:defRPr sz="1100" b="1">
                <a:solidFill>
                  <a:schemeClr val="bg1"/>
                </a:solidFill>
                <a:latin typeface="华文楷体" panose="02010600040101010101" charset="-122"/>
                <a:ea typeface="华文楷体" panose="02010600040101010101" charset="-122"/>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功能</a:t>
            </a:r>
            <a:r>
              <a:rPr kumimoji="0" lang="en-US" altLang="zh-CN"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7</a:t>
            </a:r>
            <a:endParaRPr kumimoji="0" lang="en-GB" alt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1" name="Rectangle 133"/>
          <p:cNvSpPr/>
          <p:nvPr/>
        </p:nvSpPr>
        <p:spPr>
          <a:xfrm>
            <a:off x="1696505" y="3746021"/>
            <a:ext cx="9455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2" name="Rectangle 134"/>
          <p:cNvSpPr/>
          <p:nvPr/>
        </p:nvSpPr>
        <p:spPr>
          <a:xfrm>
            <a:off x="2783598" y="3746021"/>
            <a:ext cx="1600131"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3" name="Rectangle 136"/>
          <p:cNvSpPr/>
          <p:nvPr/>
        </p:nvSpPr>
        <p:spPr>
          <a:xfrm>
            <a:off x="606400" y="3746021"/>
            <a:ext cx="9455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4" name="Rectangle 195"/>
          <p:cNvSpPr/>
          <p:nvPr/>
        </p:nvSpPr>
        <p:spPr>
          <a:xfrm>
            <a:off x="5759807" y="2526657"/>
            <a:ext cx="2742580" cy="925749"/>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功能</a:t>
            </a:r>
            <a:r>
              <a:rPr kumimoji="0" lang="en-US" altLang="zh-CN"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6</a:t>
            </a:r>
            <a:endParaRPr kumimoji="0" lang="en-US" alt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5" name="Rectangle 196"/>
          <p:cNvSpPr/>
          <p:nvPr/>
        </p:nvSpPr>
        <p:spPr>
          <a:xfrm>
            <a:off x="7209319" y="3107710"/>
            <a:ext cx="1223814"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6" name="Rectangle 197"/>
          <p:cNvSpPr/>
          <p:nvPr/>
        </p:nvSpPr>
        <p:spPr>
          <a:xfrm>
            <a:off x="7209319" y="2822383"/>
            <a:ext cx="1223814"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1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7" name="Rectangle 198"/>
          <p:cNvSpPr/>
          <p:nvPr/>
        </p:nvSpPr>
        <p:spPr>
          <a:xfrm>
            <a:off x="5842687" y="3107710"/>
            <a:ext cx="1223814"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8" name="Rectangle 199"/>
          <p:cNvSpPr/>
          <p:nvPr/>
        </p:nvSpPr>
        <p:spPr>
          <a:xfrm>
            <a:off x="5842687" y="2822383"/>
            <a:ext cx="1223814"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zh-CN"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9" name="Text Box 7"/>
          <p:cNvSpPr txBox="1">
            <a:spLocks noChangeArrowheads="1"/>
          </p:cNvSpPr>
          <p:nvPr/>
        </p:nvSpPr>
        <p:spPr bwMode="auto">
          <a:xfrm>
            <a:off x="532902" y="2526657"/>
            <a:ext cx="2357359" cy="925749"/>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ko-KR"/>
            </a:defPPr>
            <a:lvl1pPr algn="ctr">
              <a:defRPr sz="1100" b="1">
                <a:solidFill>
                  <a:schemeClr val="bg1"/>
                </a:solidFill>
                <a:latin typeface="华文楷体" panose="02010600040101010101" charset="-122"/>
                <a:ea typeface="华文楷体" panose="02010600040101010101" charset="-122"/>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功能</a:t>
            </a:r>
            <a:r>
              <a:rPr kumimoji="0" lang="en-US" altLang="zh-CN"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4</a:t>
            </a:r>
            <a:endParaRPr kumimoji="0" lang="en-GB" alt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0" name="Rectangle 207"/>
          <p:cNvSpPr/>
          <p:nvPr/>
        </p:nvSpPr>
        <p:spPr>
          <a:xfrm>
            <a:off x="2982098" y="2526657"/>
            <a:ext cx="2706865" cy="925749"/>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功能</a:t>
            </a:r>
            <a:r>
              <a:rPr kumimoji="0" lang="en-US" altLang="zh-CN" sz="11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5</a:t>
            </a:r>
            <a:endParaRPr kumimoji="0" lang="en-US" altLang="en-US" sz="11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1" name="Rectangle 209"/>
          <p:cNvSpPr/>
          <p:nvPr/>
        </p:nvSpPr>
        <p:spPr>
          <a:xfrm>
            <a:off x="1746260" y="3107710"/>
            <a:ext cx="10546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2" name="Rectangle 210"/>
          <p:cNvSpPr/>
          <p:nvPr/>
        </p:nvSpPr>
        <p:spPr>
          <a:xfrm>
            <a:off x="606400" y="3107710"/>
            <a:ext cx="10546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3" name="Rectangle 211"/>
          <p:cNvSpPr/>
          <p:nvPr/>
        </p:nvSpPr>
        <p:spPr>
          <a:xfrm>
            <a:off x="1746260" y="2822383"/>
            <a:ext cx="10546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4" name="Rectangle 212"/>
          <p:cNvSpPr/>
          <p:nvPr/>
        </p:nvSpPr>
        <p:spPr>
          <a:xfrm>
            <a:off x="606400" y="2822383"/>
            <a:ext cx="10546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5" name="Rectangle 213"/>
          <p:cNvSpPr/>
          <p:nvPr/>
        </p:nvSpPr>
        <p:spPr>
          <a:xfrm>
            <a:off x="3084995" y="2822383"/>
            <a:ext cx="1200098" cy="236356"/>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6" name="Rectangle 214"/>
          <p:cNvSpPr/>
          <p:nvPr/>
        </p:nvSpPr>
        <p:spPr>
          <a:xfrm>
            <a:off x="4393840" y="2822383"/>
            <a:ext cx="1200098" cy="231463"/>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7" name="Rectangle 215"/>
          <p:cNvSpPr/>
          <p:nvPr/>
        </p:nvSpPr>
        <p:spPr>
          <a:xfrm>
            <a:off x="3084995" y="3107710"/>
            <a:ext cx="1200098" cy="231463"/>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8" name="Rectangle 216"/>
          <p:cNvSpPr/>
          <p:nvPr/>
        </p:nvSpPr>
        <p:spPr>
          <a:xfrm>
            <a:off x="4393840" y="3107710"/>
            <a:ext cx="1200098" cy="231463"/>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9" name="Rectangle 222"/>
          <p:cNvSpPr/>
          <p:nvPr/>
        </p:nvSpPr>
        <p:spPr>
          <a:xfrm>
            <a:off x="5842687" y="2159652"/>
            <a:ext cx="1709231"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0" name="Rectangle 223"/>
          <p:cNvSpPr/>
          <p:nvPr/>
        </p:nvSpPr>
        <p:spPr>
          <a:xfrm>
            <a:off x="7613156" y="1881374"/>
            <a:ext cx="8364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1" name="Rectangle 224"/>
          <p:cNvSpPr/>
          <p:nvPr/>
        </p:nvSpPr>
        <p:spPr>
          <a:xfrm>
            <a:off x="7613156" y="2159652"/>
            <a:ext cx="8364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2" name="Rectangle 225"/>
          <p:cNvSpPr/>
          <p:nvPr/>
        </p:nvSpPr>
        <p:spPr>
          <a:xfrm>
            <a:off x="6727922" y="1881374"/>
            <a:ext cx="836432" cy="237854"/>
          </a:xfrm>
          <a:prstGeom prst="rect">
            <a:avLst/>
          </a:prstGeom>
          <a:solidFill>
            <a:schemeClr val="bg1"/>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3" name="标题 1"/>
          <p:cNvSpPr txBox="1"/>
          <p:nvPr/>
        </p:nvSpPr>
        <p:spPr>
          <a:xfrm>
            <a:off x="2589790" y="984493"/>
            <a:ext cx="3937677" cy="338554"/>
          </a:xfrm>
          <a:prstGeom prst="rect">
            <a:avLst/>
          </a:prstGeom>
          <a:noFill/>
          <a:ln w="9525" algn="ctr">
            <a:noFill/>
            <a:miter lim="800000"/>
          </a:ln>
          <a:effectLst/>
        </p:spPr>
        <p:txBody>
          <a:bodyPr wrap="square">
            <a:spAutoFit/>
          </a:bodyPr>
          <a:lstStyle>
            <a:defPPr>
              <a:defRPr lang="ko-KR"/>
            </a:defPPr>
            <a:lvl1pPr marR="0" lvl="0" indent="0" defTabSz="913765" fontAlgn="auto" latinLnBrk="0">
              <a:lnSpc>
                <a:spcPct val="100000"/>
              </a:lnSpc>
              <a:spcBef>
                <a:spcPts val="0"/>
              </a:spcBef>
              <a:spcAft>
                <a:spcPts val="0"/>
              </a:spcAft>
              <a:buClrTx/>
              <a:buSzTx/>
              <a:buFontTx/>
              <a:buNone/>
              <a:defRPr sz="2400" b="1">
                <a:solidFill>
                  <a:schemeClr val="bg1"/>
                </a:solidFill>
                <a:latin typeface="华文楷体" panose="02010600040101010101" charset="-122"/>
                <a:ea typeface="华文楷体" panose="02010600040101010101" charset="-122"/>
                <a:cs typeface="Times New Roman" panose="02020603050405020304" pitchFamily="18" charset="0"/>
              </a:defRPr>
            </a:lvl1p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ED7D31"/>
                </a:solidFill>
                <a:effectLst/>
                <a:uLnTx/>
                <a:uFillTx/>
                <a:latin typeface="华文楷体" panose="02010600040101010101" charset="-122"/>
                <a:ea typeface="华文楷体" panose="02010600040101010101" charset="-122"/>
                <a:cs typeface="Arial" panose="020B0604020202020204" pitchFamily="34" charset="0"/>
                <a:sym typeface="+mn-ea"/>
              </a:rPr>
              <a:t>平安医疗保险系统功能图</a:t>
            </a:r>
            <a:endParaRPr kumimoji="0" lang="zh-CN" altLang="en-US" sz="1600" b="1" i="0" u="none" strike="noStrike" kern="1200" cap="none" spc="0" normalizeH="0" baseline="0" noProof="0" dirty="0">
              <a:ln>
                <a:noFill/>
              </a:ln>
              <a:solidFill>
                <a:srgbClr val="ED7D31"/>
              </a:solidFill>
              <a:effectLst/>
              <a:uLnTx/>
              <a:uFillTx/>
              <a:latin typeface="华文楷体" panose="02010600040101010101" charset="-122"/>
              <a:ea typeface="华文楷体" panose="02010600040101010101" charset="-122"/>
              <a:cs typeface="Times New Roman" panose="02020603050405020304" pitchFamily="18" charset="0"/>
            </a:endParaRPr>
          </a:p>
        </p:txBody>
      </p:sp>
      <p:sp>
        <p:nvSpPr>
          <p:cNvPr id="64" name="Rectangle 226"/>
          <p:cNvSpPr/>
          <p:nvPr/>
        </p:nvSpPr>
        <p:spPr>
          <a:xfrm>
            <a:off x="648133" y="4902990"/>
            <a:ext cx="1285853" cy="428010"/>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科技</a:t>
            </a:r>
            <a:r>
              <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1</a:t>
            </a:r>
            <a:endPar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lang="en-US" altLang="zh-CN" sz="1400" b="1" dirty="0">
                <a:solidFill>
                  <a:schemeClr val="tx1"/>
                </a:solidFill>
                <a:latin typeface="华文楷体" panose="02010600040101010101" charset="-122"/>
                <a:ea typeface="华文楷体" panose="02010600040101010101" charset="-122"/>
                <a:cs typeface="Arial" panose="020B0604020202020204" pitchFamily="34" charset="0"/>
              </a:rPr>
              <a:t>……</a:t>
            </a:r>
            <a:endPar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5" name="Rectangle 227"/>
          <p:cNvSpPr/>
          <p:nvPr/>
        </p:nvSpPr>
        <p:spPr>
          <a:xfrm>
            <a:off x="2053815" y="4902990"/>
            <a:ext cx="1146617" cy="428010"/>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lang="zh-CN" altLang="en-US" sz="1400" b="1" dirty="0" smtClean="0">
                <a:solidFill>
                  <a:schemeClr val="tx1"/>
                </a:solidFill>
                <a:latin typeface="华文楷体" panose="02010600040101010101" charset="-122"/>
                <a:ea typeface="华文楷体" panose="02010600040101010101" charset="-122"/>
                <a:cs typeface="Arial" panose="020B0604020202020204" pitchFamily="34" charset="0"/>
              </a:rPr>
              <a:t>科技</a:t>
            </a:r>
            <a:r>
              <a:rPr lang="en-US" altLang="zh-CN" sz="1400" b="1" dirty="0" smtClean="0">
                <a:solidFill>
                  <a:schemeClr val="tx1"/>
                </a:solidFill>
                <a:latin typeface="华文楷体" panose="02010600040101010101" charset="-122"/>
                <a:ea typeface="华文楷体" panose="02010600040101010101" charset="-122"/>
                <a:cs typeface="Arial" panose="020B0604020202020204" pitchFamily="34" charset="0"/>
              </a:rPr>
              <a:t>2</a:t>
            </a:r>
            <a:endParaRPr lang="en-US" altLang="zh-CN" sz="1400" b="1" dirty="0" smtClean="0">
              <a:solidFill>
                <a:schemeClr val="tx1"/>
              </a:solidFill>
              <a:latin typeface="华文楷体" panose="02010600040101010101" charset="-122"/>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a:t>
            </a:r>
            <a:endParaRPr kumimoji="0" lang="en-US" altLang="zh-CN" sz="14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6" name="Rectangle 228"/>
          <p:cNvSpPr/>
          <p:nvPr/>
        </p:nvSpPr>
        <p:spPr>
          <a:xfrm>
            <a:off x="3320261" y="4902990"/>
            <a:ext cx="1146617" cy="428010"/>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科技</a:t>
            </a:r>
            <a:r>
              <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3</a:t>
            </a:r>
            <a:endParaRPr kumimoji="0" lang="en-US" altLang="zh-CN" sz="14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en-US" sz="1200" b="0"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a:t>
            </a: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7" name="Rectangle 229"/>
          <p:cNvSpPr/>
          <p:nvPr/>
        </p:nvSpPr>
        <p:spPr>
          <a:xfrm>
            <a:off x="4586707" y="4902990"/>
            <a:ext cx="1146617" cy="428010"/>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科技</a:t>
            </a:r>
            <a:r>
              <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4</a:t>
            </a:r>
            <a:endPar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a:t>
            </a: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8" name="Rectangle 230"/>
          <p:cNvSpPr/>
          <p:nvPr/>
        </p:nvSpPr>
        <p:spPr>
          <a:xfrm>
            <a:off x="5853153" y="4902990"/>
            <a:ext cx="1146617" cy="428010"/>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科技</a:t>
            </a:r>
            <a:r>
              <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5</a:t>
            </a:r>
            <a:endParaRPr kumimoji="0" lang="en-US" altLang="zh-CN" sz="14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a:t>
            </a:r>
            <a:endParaRPr kumimoji="0" lang="en-US" altLang="zh-CN"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9" name="Rectangle 231"/>
          <p:cNvSpPr/>
          <p:nvPr/>
        </p:nvSpPr>
        <p:spPr>
          <a:xfrm>
            <a:off x="7119601" y="4902990"/>
            <a:ext cx="1195080" cy="428010"/>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科技</a:t>
            </a:r>
            <a:r>
              <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6</a:t>
            </a:r>
            <a:endPar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a:t>
            </a:r>
            <a:endParaRPr kumimoji="0" lang="en-US" altLang="en-US" sz="1200" b="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70" name="Rounded Rectangle 56"/>
          <p:cNvSpPr/>
          <p:nvPr/>
        </p:nvSpPr>
        <p:spPr>
          <a:xfrm>
            <a:off x="2170433" y="4209166"/>
            <a:ext cx="4610238" cy="289859"/>
          </a:xfrm>
          <a:prstGeom prst="roundRect">
            <a:avLst>
              <a:gd name="adj" fmla="val 20290"/>
            </a:avLst>
          </a:prstGeom>
          <a:noFill/>
          <a:ln w="13970">
            <a:noFill/>
            <a:prstDash val="solid"/>
          </a:ln>
          <a:effectLst>
            <a:outerShdw sx="0" sy="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144000"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rPr>
              <a:t>应用最领先的科技</a:t>
            </a:r>
            <a:endParaRPr kumimoji="0" lang="en-GB" sz="1600" b="1" i="0" u="none" strike="noStrike" kern="0" cap="none" spc="0" normalizeH="0" baseline="0" noProof="0" dirty="0">
              <a:ln>
                <a:noFill/>
              </a:ln>
              <a:solidFill>
                <a:schemeClr val="tx1"/>
              </a:solidFill>
              <a:effectLst/>
              <a:uLnTx/>
              <a:uFillTx/>
              <a:latin typeface="华文楷体" panose="02010600040101010101" charset="-122"/>
              <a:ea typeface="华文楷体" panose="02010600040101010101" charset="-122"/>
              <a:cs typeface="Arial" panose="020B0604020202020204" pitchFamily="34" charset="0"/>
            </a:endParaRPr>
          </a:p>
        </p:txBody>
      </p:sp>
      <p:cxnSp>
        <p:nvCxnSpPr>
          <p:cNvPr id="71" name="Straight Connector 85"/>
          <p:cNvCxnSpPr/>
          <p:nvPr/>
        </p:nvCxnSpPr>
        <p:spPr>
          <a:xfrm flipH="1">
            <a:off x="7204094" y="777073"/>
            <a:ext cx="1368000" cy="0"/>
          </a:xfrm>
          <a:prstGeom prst="line">
            <a:avLst/>
          </a:prstGeom>
          <a:ln>
            <a:solidFill>
              <a:srgbClr val="FF3300"/>
            </a:solidFill>
            <a:prstDash val="dash"/>
            <a:headEnd type="diamond"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88"/>
          <p:cNvSpPr/>
          <p:nvPr/>
        </p:nvSpPr>
        <p:spPr>
          <a:xfrm>
            <a:off x="431292" y="5491878"/>
            <a:ext cx="8121839" cy="840303"/>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0" bIns="0" rtlCol="0" anchor="t"/>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rPr>
              <a:t>平安五大数据库</a:t>
            </a:r>
            <a:endParaRPr kumimoji="0" lang="en-US" sz="16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sp>
        <p:nvSpPr>
          <p:cNvPr id="73" name="Rectangle: Rounded Corners 78"/>
          <p:cNvSpPr/>
          <p:nvPr/>
        </p:nvSpPr>
        <p:spPr>
          <a:xfrm>
            <a:off x="526678" y="5914112"/>
            <a:ext cx="1333392" cy="221750"/>
          </a:xfrm>
          <a:prstGeom prst="rect">
            <a:avLst/>
          </a:prstGeom>
          <a:solidFill>
            <a:schemeClr val="bg1"/>
          </a:solidFill>
          <a:ln w="952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xxx</a:t>
            </a:r>
            <a:r>
              <a:rPr kumimoji="0" lang="zh-CN" altLang="en-US"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库</a:t>
            </a:r>
            <a:endParaRPr kumimoji="0" lang="zh-CN" altLang="en-US" sz="14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sp>
        <p:nvSpPr>
          <p:cNvPr id="74" name="Rectangle: Rounded Corners 78"/>
          <p:cNvSpPr/>
          <p:nvPr/>
        </p:nvSpPr>
        <p:spPr>
          <a:xfrm>
            <a:off x="2006328" y="5914112"/>
            <a:ext cx="1333392" cy="221750"/>
          </a:xfrm>
          <a:prstGeom prst="rect">
            <a:avLst/>
          </a:prstGeom>
          <a:solidFill>
            <a:schemeClr val="bg1"/>
          </a:solidFill>
          <a:ln w="952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a:t>
            </a:r>
            <a:endParaRPr kumimoji="0" lang="zh-CN" altLang="en-US" sz="14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sp>
        <p:nvSpPr>
          <p:cNvPr id="75" name="Rectangle: Rounded Corners 78"/>
          <p:cNvSpPr/>
          <p:nvPr/>
        </p:nvSpPr>
        <p:spPr>
          <a:xfrm>
            <a:off x="3485978" y="5914112"/>
            <a:ext cx="1472560" cy="221750"/>
          </a:xfrm>
          <a:prstGeom prst="rect">
            <a:avLst/>
          </a:prstGeom>
          <a:solidFill>
            <a:schemeClr val="bg1"/>
          </a:solidFill>
          <a:ln w="952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a:t>
            </a:r>
            <a:endParaRPr kumimoji="0" lang="zh-CN" altLang="en-US" sz="14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sp>
        <p:nvSpPr>
          <p:cNvPr id="76" name="Rectangle: Rounded Corners 78"/>
          <p:cNvSpPr/>
          <p:nvPr/>
        </p:nvSpPr>
        <p:spPr>
          <a:xfrm>
            <a:off x="5104796" y="5914112"/>
            <a:ext cx="1472560" cy="221750"/>
          </a:xfrm>
          <a:prstGeom prst="rect">
            <a:avLst/>
          </a:prstGeom>
          <a:solidFill>
            <a:schemeClr val="bg1"/>
          </a:solidFill>
          <a:ln w="952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a:t>
            </a:r>
            <a:endParaRPr kumimoji="0" lang="zh-CN" altLang="en-US" sz="14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sp>
        <p:nvSpPr>
          <p:cNvPr id="77" name="Rectangle: Rounded Corners 78"/>
          <p:cNvSpPr/>
          <p:nvPr/>
        </p:nvSpPr>
        <p:spPr>
          <a:xfrm>
            <a:off x="6723614" y="5914112"/>
            <a:ext cx="1733718" cy="221750"/>
          </a:xfrm>
          <a:prstGeom prst="rect">
            <a:avLst/>
          </a:prstGeom>
          <a:solidFill>
            <a:schemeClr val="bg1"/>
          </a:solidFill>
          <a:ln w="952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a:t>
            </a:r>
            <a:endParaRPr kumimoji="0" lang="zh-CN" altLang="en-US" sz="140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grpSp>
        <p:nvGrpSpPr>
          <p:cNvPr id="78" name="Group 91"/>
          <p:cNvGrpSpPr/>
          <p:nvPr/>
        </p:nvGrpSpPr>
        <p:grpSpPr>
          <a:xfrm>
            <a:off x="3654987" y="4484081"/>
            <a:ext cx="414595" cy="328353"/>
            <a:chOff x="3268565" y="520476"/>
            <a:chExt cx="1072523" cy="908455"/>
          </a:xfrm>
          <a:solidFill>
            <a:schemeClr val="bg1"/>
          </a:solidFill>
        </p:grpSpPr>
        <p:sp>
          <p:nvSpPr>
            <p:cNvPr id="79" name="Freeform 14"/>
            <p:cNvSpPr/>
            <p:nvPr/>
          </p:nvSpPr>
          <p:spPr bwMode="auto">
            <a:xfrm>
              <a:off x="3684813" y="702774"/>
              <a:ext cx="656275" cy="726157"/>
            </a:xfrm>
            <a:custGeom>
              <a:avLst/>
              <a:gdLst>
                <a:gd name="T0" fmla="*/ 53 w 91"/>
                <a:gd name="T1" fmla="*/ 14 h 101"/>
                <a:gd name="T2" fmla="*/ 46 w 91"/>
                <a:gd name="T3" fmla="*/ 3 h 101"/>
                <a:gd name="T4" fmla="*/ 44 w 91"/>
                <a:gd name="T5" fmla="*/ 0 h 101"/>
                <a:gd name="T6" fmla="*/ 33 w 91"/>
                <a:gd name="T7" fmla="*/ 12 h 101"/>
                <a:gd name="T8" fmla="*/ 34 w 91"/>
                <a:gd name="T9" fmla="*/ 13 h 101"/>
                <a:gd name="T10" fmla="*/ 40 w 91"/>
                <a:gd name="T11" fmla="*/ 25 h 101"/>
                <a:gd name="T12" fmla="*/ 42 w 91"/>
                <a:gd name="T13" fmla="*/ 33 h 101"/>
                <a:gd name="T14" fmla="*/ 50 w 91"/>
                <a:gd name="T15" fmla="*/ 31 h 101"/>
                <a:gd name="T16" fmla="*/ 75 w 91"/>
                <a:gd name="T17" fmla="*/ 49 h 101"/>
                <a:gd name="T18" fmla="*/ 55 w 91"/>
                <a:gd name="T19" fmla="*/ 67 h 101"/>
                <a:gd name="T20" fmla="*/ 23 w 91"/>
                <a:gd name="T21" fmla="*/ 67 h 101"/>
                <a:gd name="T22" fmla="*/ 32 w 91"/>
                <a:gd name="T23" fmla="*/ 57 h 101"/>
                <a:gd name="T24" fmla="*/ 23 w 91"/>
                <a:gd name="T25" fmla="*/ 49 h 101"/>
                <a:gd name="T26" fmla="*/ 0 w 91"/>
                <a:gd name="T27" fmla="*/ 75 h 101"/>
                <a:gd name="T28" fmla="*/ 23 w 91"/>
                <a:gd name="T29" fmla="*/ 101 h 101"/>
                <a:gd name="T30" fmla="*/ 32 w 91"/>
                <a:gd name="T31" fmla="*/ 93 h 101"/>
                <a:gd name="T32" fmla="*/ 23 w 91"/>
                <a:gd name="T33" fmla="*/ 83 h 101"/>
                <a:gd name="T34" fmla="*/ 55 w 91"/>
                <a:gd name="T35" fmla="*/ 83 h 101"/>
                <a:gd name="T36" fmla="*/ 91 w 91"/>
                <a:gd name="T37" fmla="*/ 49 h 101"/>
                <a:gd name="T38" fmla="*/ 53 w 91"/>
                <a:gd name="T39" fmla="*/ 1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 h="101">
                  <a:moveTo>
                    <a:pt x="53" y="14"/>
                  </a:moveTo>
                  <a:cubicBezTo>
                    <a:pt x="52" y="10"/>
                    <a:pt x="49" y="6"/>
                    <a:pt x="46" y="3"/>
                  </a:cubicBezTo>
                  <a:cubicBezTo>
                    <a:pt x="46" y="2"/>
                    <a:pt x="45" y="1"/>
                    <a:pt x="44" y="0"/>
                  </a:cubicBezTo>
                  <a:cubicBezTo>
                    <a:pt x="33" y="12"/>
                    <a:pt x="33" y="12"/>
                    <a:pt x="33" y="12"/>
                  </a:cubicBezTo>
                  <a:cubicBezTo>
                    <a:pt x="33" y="12"/>
                    <a:pt x="34" y="13"/>
                    <a:pt x="34" y="13"/>
                  </a:cubicBezTo>
                  <a:cubicBezTo>
                    <a:pt x="37" y="17"/>
                    <a:pt x="39" y="21"/>
                    <a:pt x="40" y="25"/>
                  </a:cubicBezTo>
                  <a:cubicBezTo>
                    <a:pt x="42" y="33"/>
                    <a:pt x="42" y="33"/>
                    <a:pt x="42" y="33"/>
                  </a:cubicBezTo>
                  <a:cubicBezTo>
                    <a:pt x="50" y="31"/>
                    <a:pt x="50" y="31"/>
                    <a:pt x="50" y="31"/>
                  </a:cubicBezTo>
                  <a:cubicBezTo>
                    <a:pt x="63" y="27"/>
                    <a:pt x="75" y="37"/>
                    <a:pt x="75" y="49"/>
                  </a:cubicBezTo>
                  <a:cubicBezTo>
                    <a:pt x="75" y="59"/>
                    <a:pt x="66" y="67"/>
                    <a:pt x="55" y="67"/>
                  </a:cubicBezTo>
                  <a:cubicBezTo>
                    <a:pt x="54" y="67"/>
                    <a:pt x="36" y="67"/>
                    <a:pt x="23" y="67"/>
                  </a:cubicBezTo>
                  <a:cubicBezTo>
                    <a:pt x="32" y="57"/>
                    <a:pt x="32" y="57"/>
                    <a:pt x="32" y="57"/>
                  </a:cubicBezTo>
                  <a:cubicBezTo>
                    <a:pt x="23" y="49"/>
                    <a:pt x="23" y="49"/>
                    <a:pt x="23" y="49"/>
                  </a:cubicBezTo>
                  <a:cubicBezTo>
                    <a:pt x="0" y="75"/>
                    <a:pt x="0" y="75"/>
                    <a:pt x="0" y="75"/>
                  </a:cubicBezTo>
                  <a:cubicBezTo>
                    <a:pt x="23" y="101"/>
                    <a:pt x="23" y="101"/>
                    <a:pt x="23" y="101"/>
                  </a:cubicBezTo>
                  <a:cubicBezTo>
                    <a:pt x="32" y="93"/>
                    <a:pt x="32" y="93"/>
                    <a:pt x="32" y="93"/>
                  </a:cubicBezTo>
                  <a:cubicBezTo>
                    <a:pt x="23" y="83"/>
                    <a:pt x="23" y="83"/>
                    <a:pt x="23" y="83"/>
                  </a:cubicBezTo>
                  <a:cubicBezTo>
                    <a:pt x="36" y="83"/>
                    <a:pt x="54" y="83"/>
                    <a:pt x="55" y="83"/>
                  </a:cubicBezTo>
                  <a:cubicBezTo>
                    <a:pt x="75" y="83"/>
                    <a:pt x="91" y="68"/>
                    <a:pt x="91" y="49"/>
                  </a:cubicBezTo>
                  <a:cubicBezTo>
                    <a:pt x="91" y="29"/>
                    <a:pt x="74" y="13"/>
                    <a:pt x="53" y="14"/>
                  </a:cubicBezTo>
                  <a:close/>
                </a:path>
              </a:pathLst>
            </a:custGeom>
            <a:grpFill/>
            <a:ln w="9525">
              <a:solidFill>
                <a:srgbClr val="000000"/>
              </a:solidFill>
              <a:round/>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sp>
          <p:nvSpPr>
            <p:cNvPr id="80" name="Freeform 15"/>
            <p:cNvSpPr/>
            <p:nvPr/>
          </p:nvSpPr>
          <p:spPr bwMode="auto">
            <a:xfrm>
              <a:off x="3268565" y="520476"/>
              <a:ext cx="677544" cy="777808"/>
            </a:xfrm>
            <a:custGeom>
              <a:avLst/>
              <a:gdLst>
                <a:gd name="T0" fmla="*/ 77 w 94"/>
                <a:gd name="T1" fmla="*/ 0 h 108"/>
                <a:gd name="T2" fmla="*/ 67 w 94"/>
                <a:gd name="T3" fmla="*/ 7 h 108"/>
                <a:gd name="T4" fmla="*/ 72 w 94"/>
                <a:gd name="T5" fmla="*/ 12 h 108"/>
                <a:gd name="T6" fmla="*/ 71 w 94"/>
                <a:gd name="T7" fmla="*/ 12 h 108"/>
                <a:gd name="T8" fmla="*/ 27 w 94"/>
                <a:gd name="T9" fmla="*/ 49 h 108"/>
                <a:gd name="T10" fmla="*/ 0 w 94"/>
                <a:gd name="T11" fmla="*/ 78 h 108"/>
                <a:gd name="T12" fmla="*/ 29 w 94"/>
                <a:gd name="T13" fmla="*/ 108 h 108"/>
                <a:gd name="T14" fmla="*/ 56 w 94"/>
                <a:gd name="T15" fmla="*/ 108 h 108"/>
                <a:gd name="T16" fmla="*/ 56 w 94"/>
                <a:gd name="T17" fmla="*/ 108 h 108"/>
                <a:gd name="T18" fmla="*/ 48 w 94"/>
                <a:gd name="T19" fmla="*/ 100 h 108"/>
                <a:gd name="T20" fmla="*/ 56 w 94"/>
                <a:gd name="T21" fmla="*/ 93 h 108"/>
                <a:gd name="T22" fmla="*/ 56 w 94"/>
                <a:gd name="T23" fmla="*/ 92 h 108"/>
                <a:gd name="T24" fmla="*/ 29 w 94"/>
                <a:gd name="T25" fmla="*/ 92 h 108"/>
                <a:gd name="T26" fmla="*/ 16 w 94"/>
                <a:gd name="T27" fmla="*/ 78 h 108"/>
                <a:gd name="T28" fmla="*/ 29 w 94"/>
                <a:gd name="T29" fmla="*/ 65 h 108"/>
                <a:gd name="T30" fmla="*/ 33 w 94"/>
                <a:gd name="T31" fmla="*/ 65 h 108"/>
                <a:gd name="T32" fmla="*/ 42 w 94"/>
                <a:gd name="T33" fmla="*/ 67 h 108"/>
                <a:gd name="T34" fmla="*/ 42 w 94"/>
                <a:gd name="T35" fmla="*/ 57 h 108"/>
                <a:gd name="T36" fmla="*/ 70 w 94"/>
                <a:gd name="T37" fmla="*/ 29 h 108"/>
                <a:gd name="T38" fmla="*/ 66 w 94"/>
                <a:gd name="T39" fmla="*/ 33 h 108"/>
                <a:gd name="T40" fmla="*/ 75 w 94"/>
                <a:gd name="T41" fmla="*/ 41 h 108"/>
                <a:gd name="T42" fmla="*/ 94 w 94"/>
                <a:gd name="T43" fmla="*/ 21 h 108"/>
                <a:gd name="T44" fmla="*/ 77 w 94"/>
                <a:gd name="T4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108">
                  <a:moveTo>
                    <a:pt x="77" y="0"/>
                  </a:moveTo>
                  <a:cubicBezTo>
                    <a:pt x="67" y="7"/>
                    <a:pt x="67" y="7"/>
                    <a:pt x="67" y="7"/>
                  </a:cubicBezTo>
                  <a:cubicBezTo>
                    <a:pt x="72" y="12"/>
                    <a:pt x="72" y="12"/>
                    <a:pt x="72" y="12"/>
                  </a:cubicBezTo>
                  <a:cubicBezTo>
                    <a:pt x="71" y="12"/>
                    <a:pt x="71" y="12"/>
                    <a:pt x="71" y="12"/>
                  </a:cubicBezTo>
                  <a:cubicBezTo>
                    <a:pt x="49" y="12"/>
                    <a:pt x="31" y="28"/>
                    <a:pt x="27" y="49"/>
                  </a:cubicBezTo>
                  <a:cubicBezTo>
                    <a:pt x="12" y="50"/>
                    <a:pt x="0" y="63"/>
                    <a:pt x="0" y="78"/>
                  </a:cubicBezTo>
                  <a:cubicBezTo>
                    <a:pt x="0" y="95"/>
                    <a:pt x="13" y="108"/>
                    <a:pt x="29" y="108"/>
                  </a:cubicBezTo>
                  <a:cubicBezTo>
                    <a:pt x="56" y="108"/>
                    <a:pt x="56" y="108"/>
                    <a:pt x="56" y="108"/>
                  </a:cubicBezTo>
                  <a:cubicBezTo>
                    <a:pt x="56" y="108"/>
                    <a:pt x="56" y="108"/>
                    <a:pt x="56" y="108"/>
                  </a:cubicBezTo>
                  <a:cubicBezTo>
                    <a:pt x="48" y="100"/>
                    <a:pt x="48" y="100"/>
                    <a:pt x="48" y="100"/>
                  </a:cubicBezTo>
                  <a:cubicBezTo>
                    <a:pt x="56" y="93"/>
                    <a:pt x="56" y="93"/>
                    <a:pt x="56" y="93"/>
                  </a:cubicBezTo>
                  <a:cubicBezTo>
                    <a:pt x="56" y="92"/>
                    <a:pt x="56" y="92"/>
                    <a:pt x="56" y="92"/>
                  </a:cubicBezTo>
                  <a:cubicBezTo>
                    <a:pt x="29" y="92"/>
                    <a:pt x="29" y="92"/>
                    <a:pt x="29" y="92"/>
                  </a:cubicBezTo>
                  <a:cubicBezTo>
                    <a:pt x="22" y="92"/>
                    <a:pt x="16" y="86"/>
                    <a:pt x="16" y="78"/>
                  </a:cubicBezTo>
                  <a:cubicBezTo>
                    <a:pt x="16" y="71"/>
                    <a:pt x="22" y="65"/>
                    <a:pt x="29" y="65"/>
                  </a:cubicBezTo>
                  <a:cubicBezTo>
                    <a:pt x="30" y="65"/>
                    <a:pt x="31" y="65"/>
                    <a:pt x="33" y="65"/>
                  </a:cubicBezTo>
                  <a:cubicBezTo>
                    <a:pt x="42" y="67"/>
                    <a:pt x="42" y="67"/>
                    <a:pt x="42" y="67"/>
                  </a:cubicBezTo>
                  <a:cubicBezTo>
                    <a:pt x="42" y="57"/>
                    <a:pt x="42" y="57"/>
                    <a:pt x="42" y="57"/>
                  </a:cubicBezTo>
                  <a:cubicBezTo>
                    <a:pt x="42" y="41"/>
                    <a:pt x="55" y="29"/>
                    <a:pt x="70" y="29"/>
                  </a:cubicBezTo>
                  <a:cubicBezTo>
                    <a:pt x="66" y="33"/>
                    <a:pt x="66" y="33"/>
                    <a:pt x="66" y="33"/>
                  </a:cubicBezTo>
                  <a:cubicBezTo>
                    <a:pt x="75" y="41"/>
                    <a:pt x="75" y="41"/>
                    <a:pt x="75" y="41"/>
                  </a:cubicBezTo>
                  <a:cubicBezTo>
                    <a:pt x="94" y="21"/>
                    <a:pt x="94" y="21"/>
                    <a:pt x="94" y="21"/>
                  </a:cubicBezTo>
                  <a:lnTo>
                    <a:pt x="77" y="0"/>
                  </a:lnTo>
                  <a:close/>
                </a:path>
              </a:pathLst>
            </a:custGeom>
            <a:grpFill/>
            <a:ln w="9525">
              <a:solidFill>
                <a:srgbClr val="000000"/>
              </a:solidFill>
              <a:round/>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grpSp>
      <p:sp>
        <p:nvSpPr>
          <p:cNvPr id="81" name="Freeform 18"/>
          <p:cNvSpPr>
            <a:spLocks noEditPoints="1"/>
          </p:cNvSpPr>
          <p:nvPr/>
        </p:nvSpPr>
        <p:spPr bwMode="auto">
          <a:xfrm>
            <a:off x="4948747" y="4484081"/>
            <a:ext cx="414595" cy="328353"/>
          </a:xfrm>
          <a:custGeom>
            <a:avLst/>
            <a:gdLst>
              <a:gd name="T0" fmla="*/ 482 w 528"/>
              <a:gd name="T1" fmla="*/ 263 h 464"/>
              <a:gd name="T2" fmla="*/ 469 w 528"/>
              <a:gd name="T3" fmla="*/ 247 h 464"/>
              <a:gd name="T4" fmla="*/ 488 w 528"/>
              <a:gd name="T5" fmla="*/ 107 h 464"/>
              <a:gd name="T6" fmla="*/ 528 w 528"/>
              <a:gd name="T7" fmla="*/ 54 h 464"/>
              <a:gd name="T8" fmla="*/ 490 w 528"/>
              <a:gd name="T9" fmla="*/ 5 h 464"/>
              <a:gd name="T10" fmla="*/ 445 w 528"/>
              <a:gd name="T11" fmla="*/ 90 h 464"/>
              <a:gd name="T12" fmla="*/ 452 w 528"/>
              <a:gd name="T13" fmla="*/ 101 h 464"/>
              <a:gd name="T14" fmla="*/ 423 w 528"/>
              <a:gd name="T15" fmla="*/ 239 h 464"/>
              <a:gd name="T16" fmla="*/ 412 w 528"/>
              <a:gd name="T17" fmla="*/ 243 h 464"/>
              <a:gd name="T18" fmla="*/ 407 w 528"/>
              <a:gd name="T19" fmla="*/ 244 h 464"/>
              <a:gd name="T20" fmla="*/ 321 w 528"/>
              <a:gd name="T21" fmla="*/ 190 h 464"/>
              <a:gd name="T22" fmla="*/ 314 w 528"/>
              <a:gd name="T23" fmla="*/ 160 h 464"/>
              <a:gd name="T24" fmla="*/ 255 w 528"/>
              <a:gd name="T25" fmla="*/ 130 h 464"/>
              <a:gd name="T26" fmla="*/ 213 w 528"/>
              <a:gd name="T27" fmla="*/ 182 h 464"/>
              <a:gd name="T28" fmla="*/ 85 w 528"/>
              <a:gd name="T29" fmla="*/ 235 h 464"/>
              <a:gd name="T30" fmla="*/ 63 w 528"/>
              <a:gd name="T31" fmla="*/ 225 h 464"/>
              <a:gd name="T32" fmla="*/ 2 w 528"/>
              <a:gd name="T33" fmla="*/ 265 h 464"/>
              <a:gd name="T34" fmla="*/ 39 w 528"/>
              <a:gd name="T35" fmla="*/ 320 h 464"/>
              <a:gd name="T36" fmla="*/ 71 w 528"/>
              <a:gd name="T37" fmla="*/ 319 h 464"/>
              <a:gd name="T38" fmla="*/ 147 w 528"/>
              <a:gd name="T39" fmla="*/ 390 h 464"/>
              <a:gd name="T40" fmla="*/ 149 w 528"/>
              <a:gd name="T41" fmla="*/ 398 h 464"/>
              <a:gd name="T42" fmla="*/ 165 w 528"/>
              <a:gd name="T43" fmla="*/ 451 h 464"/>
              <a:gd name="T44" fmla="*/ 225 w 528"/>
              <a:gd name="T45" fmla="*/ 453 h 464"/>
              <a:gd name="T46" fmla="*/ 208 w 528"/>
              <a:gd name="T47" fmla="*/ 365 h 464"/>
              <a:gd name="T48" fmla="*/ 181 w 528"/>
              <a:gd name="T49" fmla="*/ 366 h 464"/>
              <a:gd name="T50" fmla="*/ 172 w 528"/>
              <a:gd name="T51" fmla="*/ 364 h 464"/>
              <a:gd name="T52" fmla="*/ 99 w 528"/>
              <a:gd name="T53" fmla="*/ 288 h 464"/>
              <a:gd name="T54" fmla="*/ 99 w 528"/>
              <a:gd name="T55" fmla="*/ 286 h 464"/>
              <a:gd name="T56" fmla="*/ 106 w 528"/>
              <a:gd name="T57" fmla="*/ 269 h 464"/>
              <a:gd name="T58" fmla="*/ 232 w 528"/>
              <a:gd name="T59" fmla="*/ 215 h 464"/>
              <a:gd name="T60" fmla="*/ 240 w 528"/>
              <a:gd name="T61" fmla="*/ 220 h 464"/>
              <a:gd name="T62" fmla="*/ 259 w 528"/>
              <a:gd name="T63" fmla="*/ 227 h 464"/>
              <a:gd name="T64" fmla="*/ 293 w 528"/>
              <a:gd name="T65" fmla="*/ 221 h 464"/>
              <a:gd name="T66" fmla="*/ 299 w 528"/>
              <a:gd name="T67" fmla="*/ 220 h 464"/>
              <a:gd name="T68" fmla="*/ 385 w 528"/>
              <a:gd name="T69" fmla="*/ 274 h 464"/>
              <a:gd name="T70" fmla="*/ 401 w 528"/>
              <a:gd name="T71" fmla="*/ 319 h 464"/>
              <a:gd name="T72" fmla="*/ 427 w 528"/>
              <a:gd name="T73" fmla="*/ 334 h 464"/>
              <a:gd name="T74" fmla="*/ 481 w 528"/>
              <a:gd name="T75" fmla="*/ 310 h 464"/>
              <a:gd name="T76" fmla="*/ 46 w 528"/>
              <a:gd name="T77" fmla="*/ 294 h 464"/>
              <a:gd name="T78" fmla="*/ 56 w 528"/>
              <a:gd name="T79" fmla="*/ 250 h 464"/>
              <a:gd name="T80" fmla="*/ 46 w 528"/>
              <a:gd name="T81" fmla="*/ 294 h 464"/>
              <a:gd name="T82" fmla="*/ 218 w 528"/>
              <a:gd name="T83" fmla="*/ 418 h 464"/>
              <a:gd name="T84" fmla="*/ 175 w 528"/>
              <a:gd name="T85" fmla="*/ 407 h 464"/>
              <a:gd name="T86" fmla="*/ 263 w 528"/>
              <a:gd name="T87" fmla="*/ 200 h 464"/>
              <a:gd name="T88" fmla="*/ 274 w 528"/>
              <a:gd name="T89" fmla="*/ 156 h 464"/>
              <a:gd name="T90" fmla="*/ 263 w 528"/>
              <a:gd name="T91" fmla="*/ 200 h 464"/>
              <a:gd name="T92" fmla="*/ 484 w 528"/>
              <a:gd name="T93" fmla="*/ 32 h 464"/>
              <a:gd name="T94" fmla="*/ 473 w 528"/>
              <a:gd name="T95" fmla="*/ 76 h 464"/>
              <a:gd name="T96" fmla="*/ 433 w 528"/>
              <a:gd name="T97" fmla="*/ 308 h 464"/>
              <a:gd name="T98" fmla="*/ 443 w 528"/>
              <a:gd name="T99" fmla="*/ 264 h 464"/>
              <a:gd name="T100" fmla="*/ 433 w 528"/>
              <a:gd name="T101" fmla="*/ 30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8" h="464">
                <a:moveTo>
                  <a:pt x="487" y="275"/>
                </a:moveTo>
                <a:cubicBezTo>
                  <a:pt x="485" y="271"/>
                  <a:pt x="485" y="270"/>
                  <a:pt x="482" y="263"/>
                </a:cubicBezTo>
                <a:cubicBezTo>
                  <a:pt x="482" y="262"/>
                  <a:pt x="482" y="262"/>
                  <a:pt x="481" y="261"/>
                </a:cubicBezTo>
                <a:cubicBezTo>
                  <a:pt x="476" y="253"/>
                  <a:pt x="469" y="247"/>
                  <a:pt x="469" y="247"/>
                </a:cubicBezTo>
                <a:cubicBezTo>
                  <a:pt x="466" y="245"/>
                  <a:pt x="465" y="241"/>
                  <a:pt x="465" y="238"/>
                </a:cubicBezTo>
                <a:cubicBezTo>
                  <a:pt x="488" y="107"/>
                  <a:pt x="488" y="107"/>
                  <a:pt x="488" y="107"/>
                </a:cubicBezTo>
                <a:cubicBezTo>
                  <a:pt x="488" y="105"/>
                  <a:pt x="491" y="101"/>
                  <a:pt x="494" y="101"/>
                </a:cubicBezTo>
                <a:cubicBezTo>
                  <a:pt x="514" y="95"/>
                  <a:pt x="528" y="75"/>
                  <a:pt x="528" y="54"/>
                </a:cubicBezTo>
                <a:cubicBezTo>
                  <a:pt x="528" y="31"/>
                  <a:pt x="512" y="11"/>
                  <a:pt x="490" y="5"/>
                </a:cubicBezTo>
                <a:cubicBezTo>
                  <a:pt x="490" y="5"/>
                  <a:pt x="490" y="5"/>
                  <a:pt x="490" y="5"/>
                </a:cubicBezTo>
                <a:cubicBezTo>
                  <a:pt x="468" y="0"/>
                  <a:pt x="445" y="11"/>
                  <a:pt x="434" y="31"/>
                </a:cubicBezTo>
                <a:cubicBezTo>
                  <a:pt x="424" y="51"/>
                  <a:pt x="429" y="75"/>
                  <a:pt x="445" y="90"/>
                </a:cubicBezTo>
                <a:cubicBezTo>
                  <a:pt x="446" y="91"/>
                  <a:pt x="447" y="92"/>
                  <a:pt x="448" y="92"/>
                </a:cubicBezTo>
                <a:cubicBezTo>
                  <a:pt x="450" y="94"/>
                  <a:pt x="452" y="98"/>
                  <a:pt x="452" y="101"/>
                </a:cubicBezTo>
                <a:cubicBezTo>
                  <a:pt x="429" y="232"/>
                  <a:pt x="429" y="232"/>
                  <a:pt x="429" y="232"/>
                </a:cubicBezTo>
                <a:cubicBezTo>
                  <a:pt x="428" y="235"/>
                  <a:pt x="425" y="238"/>
                  <a:pt x="423" y="239"/>
                </a:cubicBezTo>
                <a:cubicBezTo>
                  <a:pt x="419" y="240"/>
                  <a:pt x="417" y="241"/>
                  <a:pt x="414" y="242"/>
                </a:cubicBezTo>
                <a:cubicBezTo>
                  <a:pt x="412" y="243"/>
                  <a:pt x="412" y="243"/>
                  <a:pt x="412" y="243"/>
                </a:cubicBezTo>
                <a:cubicBezTo>
                  <a:pt x="412" y="243"/>
                  <a:pt x="412" y="243"/>
                  <a:pt x="412" y="243"/>
                </a:cubicBezTo>
                <a:cubicBezTo>
                  <a:pt x="411" y="244"/>
                  <a:pt x="409" y="244"/>
                  <a:pt x="407" y="244"/>
                </a:cubicBezTo>
                <a:cubicBezTo>
                  <a:pt x="406" y="244"/>
                  <a:pt x="405" y="243"/>
                  <a:pt x="404" y="243"/>
                </a:cubicBezTo>
                <a:cubicBezTo>
                  <a:pt x="321" y="190"/>
                  <a:pt x="321" y="190"/>
                  <a:pt x="321" y="190"/>
                </a:cubicBezTo>
                <a:cubicBezTo>
                  <a:pt x="319" y="189"/>
                  <a:pt x="317" y="186"/>
                  <a:pt x="317" y="184"/>
                </a:cubicBezTo>
                <a:cubicBezTo>
                  <a:pt x="318" y="176"/>
                  <a:pt x="317" y="168"/>
                  <a:pt x="314" y="160"/>
                </a:cubicBezTo>
                <a:cubicBezTo>
                  <a:pt x="309" y="146"/>
                  <a:pt x="295" y="134"/>
                  <a:pt x="279" y="130"/>
                </a:cubicBezTo>
                <a:cubicBezTo>
                  <a:pt x="271" y="128"/>
                  <a:pt x="262" y="128"/>
                  <a:pt x="255" y="130"/>
                </a:cubicBezTo>
                <a:cubicBezTo>
                  <a:pt x="234" y="136"/>
                  <a:pt x="219" y="154"/>
                  <a:pt x="218" y="174"/>
                </a:cubicBezTo>
                <a:cubicBezTo>
                  <a:pt x="218" y="177"/>
                  <a:pt x="216" y="181"/>
                  <a:pt x="213" y="182"/>
                </a:cubicBezTo>
                <a:cubicBezTo>
                  <a:pt x="91" y="235"/>
                  <a:pt x="91" y="235"/>
                  <a:pt x="91" y="235"/>
                </a:cubicBezTo>
                <a:cubicBezTo>
                  <a:pt x="90" y="236"/>
                  <a:pt x="87" y="236"/>
                  <a:pt x="85" y="235"/>
                </a:cubicBezTo>
                <a:cubicBezTo>
                  <a:pt x="84" y="235"/>
                  <a:pt x="83" y="234"/>
                  <a:pt x="82" y="234"/>
                </a:cubicBezTo>
                <a:cubicBezTo>
                  <a:pt x="76" y="229"/>
                  <a:pt x="70" y="226"/>
                  <a:pt x="63" y="225"/>
                </a:cubicBezTo>
                <a:cubicBezTo>
                  <a:pt x="50" y="221"/>
                  <a:pt x="35" y="224"/>
                  <a:pt x="23" y="232"/>
                </a:cubicBezTo>
                <a:cubicBezTo>
                  <a:pt x="12" y="239"/>
                  <a:pt x="4" y="251"/>
                  <a:pt x="2" y="265"/>
                </a:cubicBezTo>
                <a:cubicBezTo>
                  <a:pt x="0" y="282"/>
                  <a:pt x="6" y="300"/>
                  <a:pt x="20" y="311"/>
                </a:cubicBezTo>
                <a:cubicBezTo>
                  <a:pt x="26" y="316"/>
                  <a:pt x="32" y="319"/>
                  <a:pt x="39" y="320"/>
                </a:cubicBezTo>
                <a:cubicBezTo>
                  <a:pt x="47" y="322"/>
                  <a:pt x="57" y="322"/>
                  <a:pt x="66" y="319"/>
                </a:cubicBezTo>
                <a:cubicBezTo>
                  <a:pt x="68" y="319"/>
                  <a:pt x="69" y="319"/>
                  <a:pt x="71" y="319"/>
                </a:cubicBezTo>
                <a:cubicBezTo>
                  <a:pt x="73" y="320"/>
                  <a:pt x="75" y="320"/>
                  <a:pt x="76" y="321"/>
                </a:cubicBezTo>
                <a:cubicBezTo>
                  <a:pt x="147" y="390"/>
                  <a:pt x="147" y="390"/>
                  <a:pt x="147" y="390"/>
                </a:cubicBezTo>
                <a:cubicBezTo>
                  <a:pt x="149" y="392"/>
                  <a:pt x="150" y="396"/>
                  <a:pt x="149" y="398"/>
                </a:cubicBezTo>
                <a:cubicBezTo>
                  <a:pt x="149" y="398"/>
                  <a:pt x="149" y="398"/>
                  <a:pt x="149" y="398"/>
                </a:cubicBezTo>
                <a:cubicBezTo>
                  <a:pt x="149" y="398"/>
                  <a:pt x="149" y="398"/>
                  <a:pt x="149" y="398"/>
                </a:cubicBezTo>
                <a:cubicBezTo>
                  <a:pt x="144" y="419"/>
                  <a:pt x="150" y="439"/>
                  <a:pt x="165" y="451"/>
                </a:cubicBezTo>
                <a:cubicBezTo>
                  <a:pt x="171" y="456"/>
                  <a:pt x="177" y="459"/>
                  <a:pt x="184" y="461"/>
                </a:cubicBezTo>
                <a:cubicBezTo>
                  <a:pt x="199" y="464"/>
                  <a:pt x="213" y="461"/>
                  <a:pt x="225" y="453"/>
                </a:cubicBezTo>
                <a:cubicBezTo>
                  <a:pt x="243" y="440"/>
                  <a:pt x="250" y="417"/>
                  <a:pt x="243" y="396"/>
                </a:cubicBezTo>
                <a:cubicBezTo>
                  <a:pt x="238" y="381"/>
                  <a:pt x="224" y="369"/>
                  <a:pt x="208" y="365"/>
                </a:cubicBezTo>
                <a:cubicBezTo>
                  <a:pt x="203" y="363"/>
                  <a:pt x="197" y="363"/>
                  <a:pt x="191" y="364"/>
                </a:cubicBezTo>
                <a:cubicBezTo>
                  <a:pt x="188" y="364"/>
                  <a:pt x="185" y="365"/>
                  <a:pt x="181" y="366"/>
                </a:cubicBezTo>
                <a:cubicBezTo>
                  <a:pt x="180" y="366"/>
                  <a:pt x="178" y="366"/>
                  <a:pt x="177" y="366"/>
                </a:cubicBezTo>
                <a:cubicBezTo>
                  <a:pt x="175" y="365"/>
                  <a:pt x="173" y="365"/>
                  <a:pt x="172" y="364"/>
                </a:cubicBezTo>
                <a:cubicBezTo>
                  <a:pt x="101" y="295"/>
                  <a:pt x="101" y="295"/>
                  <a:pt x="101" y="295"/>
                </a:cubicBezTo>
                <a:cubicBezTo>
                  <a:pt x="99" y="293"/>
                  <a:pt x="98" y="289"/>
                  <a:pt x="99" y="288"/>
                </a:cubicBezTo>
                <a:cubicBezTo>
                  <a:pt x="99" y="287"/>
                  <a:pt x="99" y="287"/>
                  <a:pt x="99" y="287"/>
                </a:cubicBezTo>
                <a:cubicBezTo>
                  <a:pt x="99" y="286"/>
                  <a:pt x="99" y="286"/>
                  <a:pt x="99" y="286"/>
                </a:cubicBezTo>
                <a:cubicBezTo>
                  <a:pt x="100" y="283"/>
                  <a:pt x="101" y="280"/>
                  <a:pt x="101" y="276"/>
                </a:cubicBezTo>
                <a:cubicBezTo>
                  <a:pt x="101" y="273"/>
                  <a:pt x="103" y="270"/>
                  <a:pt x="106" y="269"/>
                </a:cubicBezTo>
                <a:cubicBezTo>
                  <a:pt x="228" y="216"/>
                  <a:pt x="228" y="216"/>
                  <a:pt x="228" y="216"/>
                </a:cubicBezTo>
                <a:cubicBezTo>
                  <a:pt x="229" y="215"/>
                  <a:pt x="231" y="215"/>
                  <a:pt x="232" y="215"/>
                </a:cubicBezTo>
                <a:cubicBezTo>
                  <a:pt x="234" y="216"/>
                  <a:pt x="236" y="217"/>
                  <a:pt x="238" y="219"/>
                </a:cubicBezTo>
                <a:cubicBezTo>
                  <a:pt x="239" y="219"/>
                  <a:pt x="240" y="219"/>
                  <a:pt x="240" y="220"/>
                </a:cubicBezTo>
                <a:cubicBezTo>
                  <a:pt x="245" y="223"/>
                  <a:pt x="251" y="225"/>
                  <a:pt x="256" y="227"/>
                </a:cubicBezTo>
                <a:cubicBezTo>
                  <a:pt x="257" y="227"/>
                  <a:pt x="258" y="227"/>
                  <a:pt x="259" y="227"/>
                </a:cubicBezTo>
                <a:cubicBezTo>
                  <a:pt x="270" y="229"/>
                  <a:pt x="281" y="227"/>
                  <a:pt x="293" y="221"/>
                </a:cubicBezTo>
                <a:cubicBezTo>
                  <a:pt x="293" y="221"/>
                  <a:pt x="293" y="221"/>
                  <a:pt x="293" y="221"/>
                </a:cubicBezTo>
                <a:cubicBezTo>
                  <a:pt x="294" y="221"/>
                  <a:pt x="294" y="221"/>
                  <a:pt x="294" y="221"/>
                </a:cubicBezTo>
                <a:cubicBezTo>
                  <a:pt x="295" y="220"/>
                  <a:pt x="297" y="220"/>
                  <a:pt x="299" y="220"/>
                </a:cubicBezTo>
                <a:cubicBezTo>
                  <a:pt x="300" y="221"/>
                  <a:pt x="301" y="221"/>
                  <a:pt x="301" y="221"/>
                </a:cubicBezTo>
                <a:cubicBezTo>
                  <a:pt x="385" y="274"/>
                  <a:pt x="385" y="274"/>
                  <a:pt x="385" y="274"/>
                </a:cubicBezTo>
                <a:cubicBezTo>
                  <a:pt x="387" y="276"/>
                  <a:pt x="389" y="280"/>
                  <a:pt x="389" y="283"/>
                </a:cubicBezTo>
                <a:cubicBezTo>
                  <a:pt x="389" y="297"/>
                  <a:pt x="393" y="309"/>
                  <a:pt x="401" y="319"/>
                </a:cubicBezTo>
                <a:cubicBezTo>
                  <a:pt x="408" y="326"/>
                  <a:pt x="417" y="332"/>
                  <a:pt x="427" y="334"/>
                </a:cubicBezTo>
                <a:cubicBezTo>
                  <a:pt x="427" y="334"/>
                  <a:pt x="427" y="334"/>
                  <a:pt x="427" y="334"/>
                </a:cubicBezTo>
                <a:cubicBezTo>
                  <a:pt x="432" y="335"/>
                  <a:pt x="437" y="336"/>
                  <a:pt x="443" y="335"/>
                </a:cubicBezTo>
                <a:cubicBezTo>
                  <a:pt x="459" y="334"/>
                  <a:pt x="473" y="324"/>
                  <a:pt x="481" y="310"/>
                </a:cubicBezTo>
                <a:cubicBezTo>
                  <a:pt x="487" y="299"/>
                  <a:pt x="489" y="287"/>
                  <a:pt x="487" y="275"/>
                </a:cubicBezTo>
                <a:close/>
                <a:moveTo>
                  <a:pt x="46" y="294"/>
                </a:moveTo>
                <a:cubicBezTo>
                  <a:pt x="34" y="291"/>
                  <a:pt x="26" y="279"/>
                  <a:pt x="29" y="267"/>
                </a:cubicBezTo>
                <a:cubicBezTo>
                  <a:pt x="32" y="255"/>
                  <a:pt x="44" y="247"/>
                  <a:pt x="56" y="250"/>
                </a:cubicBezTo>
                <a:cubicBezTo>
                  <a:pt x="69" y="253"/>
                  <a:pt x="76" y="265"/>
                  <a:pt x="73" y="277"/>
                </a:cubicBezTo>
                <a:cubicBezTo>
                  <a:pt x="70" y="290"/>
                  <a:pt x="58" y="297"/>
                  <a:pt x="46" y="294"/>
                </a:cubicBezTo>
                <a:close/>
                <a:moveTo>
                  <a:pt x="202" y="391"/>
                </a:moveTo>
                <a:cubicBezTo>
                  <a:pt x="214" y="394"/>
                  <a:pt x="221" y="406"/>
                  <a:pt x="218" y="418"/>
                </a:cubicBezTo>
                <a:cubicBezTo>
                  <a:pt x="216" y="430"/>
                  <a:pt x="203" y="438"/>
                  <a:pt x="191" y="435"/>
                </a:cubicBezTo>
                <a:cubicBezTo>
                  <a:pt x="179" y="432"/>
                  <a:pt x="172" y="420"/>
                  <a:pt x="175" y="407"/>
                </a:cubicBezTo>
                <a:cubicBezTo>
                  <a:pt x="177" y="395"/>
                  <a:pt x="190" y="388"/>
                  <a:pt x="202" y="391"/>
                </a:cubicBezTo>
                <a:close/>
                <a:moveTo>
                  <a:pt x="263" y="200"/>
                </a:moveTo>
                <a:cubicBezTo>
                  <a:pt x="251" y="197"/>
                  <a:pt x="243" y="185"/>
                  <a:pt x="246" y="173"/>
                </a:cubicBezTo>
                <a:cubicBezTo>
                  <a:pt x="249" y="161"/>
                  <a:pt x="261" y="153"/>
                  <a:pt x="274" y="156"/>
                </a:cubicBezTo>
                <a:cubicBezTo>
                  <a:pt x="286" y="159"/>
                  <a:pt x="293" y="171"/>
                  <a:pt x="290" y="184"/>
                </a:cubicBezTo>
                <a:cubicBezTo>
                  <a:pt x="287" y="196"/>
                  <a:pt x="275" y="203"/>
                  <a:pt x="263" y="200"/>
                </a:cubicBezTo>
                <a:close/>
                <a:moveTo>
                  <a:pt x="457" y="48"/>
                </a:moveTo>
                <a:cubicBezTo>
                  <a:pt x="460" y="36"/>
                  <a:pt x="472" y="29"/>
                  <a:pt x="484" y="32"/>
                </a:cubicBezTo>
                <a:cubicBezTo>
                  <a:pt x="496" y="35"/>
                  <a:pt x="504" y="47"/>
                  <a:pt x="501" y="59"/>
                </a:cubicBezTo>
                <a:cubicBezTo>
                  <a:pt x="498" y="71"/>
                  <a:pt x="486" y="78"/>
                  <a:pt x="473" y="76"/>
                </a:cubicBezTo>
                <a:cubicBezTo>
                  <a:pt x="461" y="73"/>
                  <a:pt x="454" y="61"/>
                  <a:pt x="457" y="48"/>
                </a:cubicBezTo>
                <a:close/>
                <a:moveTo>
                  <a:pt x="433" y="308"/>
                </a:moveTo>
                <a:cubicBezTo>
                  <a:pt x="421" y="305"/>
                  <a:pt x="413" y="293"/>
                  <a:pt x="416" y="281"/>
                </a:cubicBezTo>
                <a:cubicBezTo>
                  <a:pt x="419" y="269"/>
                  <a:pt x="431" y="261"/>
                  <a:pt x="443" y="264"/>
                </a:cubicBezTo>
                <a:cubicBezTo>
                  <a:pt x="456" y="267"/>
                  <a:pt x="463" y="279"/>
                  <a:pt x="460" y="291"/>
                </a:cubicBezTo>
                <a:cubicBezTo>
                  <a:pt x="457" y="303"/>
                  <a:pt x="445" y="311"/>
                  <a:pt x="433" y="308"/>
                </a:cubicBezTo>
                <a:close/>
              </a:path>
            </a:pathLst>
          </a:custGeom>
          <a:solidFill>
            <a:schemeClr val="bg1"/>
          </a:solidFill>
          <a:ln>
            <a:solidFill>
              <a:schemeClr val="bg1"/>
            </a:solidFill>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sp>
        <p:nvSpPr>
          <p:cNvPr id="82" name="Freeform 15"/>
          <p:cNvSpPr>
            <a:spLocks noEditPoints="1"/>
          </p:cNvSpPr>
          <p:nvPr/>
        </p:nvSpPr>
        <p:spPr bwMode="auto">
          <a:xfrm>
            <a:off x="1067467" y="4484081"/>
            <a:ext cx="414595" cy="328353"/>
          </a:xfrm>
          <a:custGeom>
            <a:avLst/>
            <a:gdLst>
              <a:gd name="T0" fmla="*/ 99 w 99"/>
              <a:gd name="T1" fmla="*/ 27 h 99"/>
              <a:gd name="T2" fmla="*/ 91 w 99"/>
              <a:gd name="T3" fmla="*/ 46 h 99"/>
              <a:gd name="T4" fmla="*/ 74 w 99"/>
              <a:gd name="T5" fmla="*/ 63 h 99"/>
              <a:gd name="T6" fmla="*/ 36 w 99"/>
              <a:gd name="T7" fmla="*/ 63 h 99"/>
              <a:gd name="T8" fmla="*/ 37 w 99"/>
              <a:gd name="T9" fmla="*/ 48 h 99"/>
              <a:gd name="T10" fmla="*/ 40 w 99"/>
              <a:gd name="T11" fmla="*/ 46 h 99"/>
              <a:gd name="T12" fmla="*/ 47 w 99"/>
              <a:gd name="T13" fmla="*/ 53 h 99"/>
              <a:gd name="T14" fmla="*/ 64 w 99"/>
              <a:gd name="T15" fmla="*/ 53 h 99"/>
              <a:gd name="T16" fmla="*/ 81 w 99"/>
              <a:gd name="T17" fmla="*/ 35 h 99"/>
              <a:gd name="T18" fmla="*/ 85 w 99"/>
              <a:gd name="T19" fmla="*/ 27 h 99"/>
              <a:gd name="T20" fmla="*/ 73 w 99"/>
              <a:gd name="T21" fmla="*/ 14 h 99"/>
              <a:gd name="T22" fmla="*/ 64 w 99"/>
              <a:gd name="T23" fmla="*/ 18 h 99"/>
              <a:gd name="T24" fmla="*/ 44 w 99"/>
              <a:gd name="T25" fmla="*/ 26 h 99"/>
              <a:gd name="T26" fmla="*/ 36 w 99"/>
              <a:gd name="T27" fmla="*/ 25 h 99"/>
              <a:gd name="T28" fmla="*/ 54 w 99"/>
              <a:gd name="T29" fmla="*/ 8 h 99"/>
              <a:gd name="T30" fmla="*/ 91 w 99"/>
              <a:gd name="T31" fmla="*/ 8 h 99"/>
              <a:gd name="T32" fmla="*/ 44 w 99"/>
              <a:gd name="T33" fmla="*/ 29 h 99"/>
              <a:gd name="T34" fmla="*/ 25 w 99"/>
              <a:gd name="T35" fmla="*/ 36 h 99"/>
              <a:gd name="T36" fmla="*/ 0 w 99"/>
              <a:gd name="T37" fmla="*/ 73 h 99"/>
              <a:gd name="T38" fmla="*/ 27 w 99"/>
              <a:gd name="T39" fmla="*/ 99 h 99"/>
              <a:gd name="T40" fmla="*/ 46 w 99"/>
              <a:gd name="T41" fmla="*/ 91 h 99"/>
              <a:gd name="T42" fmla="*/ 63 w 99"/>
              <a:gd name="T43" fmla="*/ 74 h 99"/>
              <a:gd name="T44" fmla="*/ 55 w 99"/>
              <a:gd name="T45" fmla="*/ 73 h 99"/>
              <a:gd name="T46" fmla="*/ 45 w 99"/>
              <a:gd name="T47" fmla="*/ 71 h 99"/>
              <a:gd name="T48" fmla="*/ 35 w 99"/>
              <a:gd name="T49" fmla="*/ 81 h 99"/>
              <a:gd name="T50" fmla="*/ 18 w 99"/>
              <a:gd name="T51" fmla="*/ 81 h 99"/>
              <a:gd name="T52" fmla="*/ 18 w 99"/>
              <a:gd name="T53" fmla="*/ 64 h 99"/>
              <a:gd name="T54" fmla="*/ 35 w 99"/>
              <a:gd name="T55" fmla="*/ 47 h 99"/>
              <a:gd name="T56" fmla="*/ 53 w 99"/>
              <a:gd name="T57" fmla="*/ 47 h 99"/>
              <a:gd name="T58" fmla="*/ 59 w 99"/>
              <a:gd name="T59" fmla="*/ 53 h 99"/>
              <a:gd name="T60" fmla="*/ 62 w 99"/>
              <a:gd name="T61" fmla="*/ 51 h 99"/>
              <a:gd name="T62" fmla="*/ 63 w 99"/>
              <a:gd name="T63" fmla="*/ 3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99">
                <a:moveTo>
                  <a:pt x="91" y="8"/>
                </a:moveTo>
                <a:cubicBezTo>
                  <a:pt x="97" y="13"/>
                  <a:pt x="99" y="20"/>
                  <a:pt x="99" y="27"/>
                </a:cubicBezTo>
                <a:cubicBezTo>
                  <a:pt x="99" y="34"/>
                  <a:pt x="97" y="40"/>
                  <a:pt x="91" y="46"/>
                </a:cubicBezTo>
                <a:cubicBezTo>
                  <a:pt x="91" y="46"/>
                  <a:pt x="91" y="46"/>
                  <a:pt x="91" y="46"/>
                </a:cubicBezTo>
                <a:cubicBezTo>
                  <a:pt x="74" y="63"/>
                  <a:pt x="74" y="63"/>
                  <a:pt x="74" y="63"/>
                </a:cubicBezTo>
                <a:cubicBezTo>
                  <a:pt x="74" y="63"/>
                  <a:pt x="74" y="63"/>
                  <a:pt x="74" y="63"/>
                </a:cubicBezTo>
                <a:cubicBezTo>
                  <a:pt x="69" y="68"/>
                  <a:pt x="62" y="71"/>
                  <a:pt x="55" y="71"/>
                </a:cubicBezTo>
                <a:cubicBezTo>
                  <a:pt x="49" y="71"/>
                  <a:pt x="42" y="68"/>
                  <a:pt x="36" y="63"/>
                </a:cubicBezTo>
                <a:cubicBezTo>
                  <a:pt x="34" y="60"/>
                  <a:pt x="32" y="58"/>
                  <a:pt x="31" y="55"/>
                </a:cubicBezTo>
                <a:cubicBezTo>
                  <a:pt x="37" y="48"/>
                  <a:pt x="37" y="48"/>
                  <a:pt x="37" y="48"/>
                </a:cubicBezTo>
                <a:cubicBezTo>
                  <a:pt x="37" y="48"/>
                  <a:pt x="37" y="48"/>
                  <a:pt x="37" y="48"/>
                </a:cubicBezTo>
                <a:cubicBezTo>
                  <a:pt x="38" y="47"/>
                  <a:pt x="39" y="47"/>
                  <a:pt x="40" y="46"/>
                </a:cubicBezTo>
                <a:cubicBezTo>
                  <a:pt x="41" y="46"/>
                  <a:pt x="42" y="46"/>
                  <a:pt x="43" y="46"/>
                </a:cubicBezTo>
                <a:cubicBezTo>
                  <a:pt x="43" y="48"/>
                  <a:pt x="45" y="51"/>
                  <a:pt x="47" y="53"/>
                </a:cubicBezTo>
                <a:cubicBezTo>
                  <a:pt x="49" y="55"/>
                  <a:pt x="52" y="56"/>
                  <a:pt x="55" y="56"/>
                </a:cubicBezTo>
                <a:cubicBezTo>
                  <a:pt x="59" y="56"/>
                  <a:pt x="62" y="55"/>
                  <a:pt x="64" y="53"/>
                </a:cubicBezTo>
                <a:cubicBezTo>
                  <a:pt x="64" y="53"/>
                  <a:pt x="64" y="53"/>
                  <a:pt x="64" y="53"/>
                </a:cubicBezTo>
                <a:cubicBezTo>
                  <a:pt x="81" y="35"/>
                  <a:pt x="81" y="35"/>
                  <a:pt x="81" y="35"/>
                </a:cubicBezTo>
                <a:cubicBezTo>
                  <a:pt x="81" y="35"/>
                  <a:pt x="81" y="35"/>
                  <a:pt x="81" y="35"/>
                </a:cubicBezTo>
                <a:cubicBezTo>
                  <a:pt x="84" y="33"/>
                  <a:pt x="85" y="30"/>
                  <a:pt x="85" y="27"/>
                </a:cubicBezTo>
                <a:cubicBezTo>
                  <a:pt x="85" y="24"/>
                  <a:pt x="84" y="20"/>
                  <a:pt x="81" y="18"/>
                </a:cubicBezTo>
                <a:cubicBezTo>
                  <a:pt x="79" y="16"/>
                  <a:pt x="76" y="14"/>
                  <a:pt x="73" y="14"/>
                </a:cubicBezTo>
                <a:cubicBezTo>
                  <a:pt x="69" y="14"/>
                  <a:pt x="66" y="16"/>
                  <a:pt x="64" y="18"/>
                </a:cubicBezTo>
                <a:cubicBezTo>
                  <a:pt x="64" y="18"/>
                  <a:pt x="64" y="18"/>
                  <a:pt x="64" y="18"/>
                </a:cubicBezTo>
                <a:cubicBezTo>
                  <a:pt x="54" y="28"/>
                  <a:pt x="54" y="28"/>
                  <a:pt x="54" y="28"/>
                </a:cubicBezTo>
                <a:cubicBezTo>
                  <a:pt x="51" y="27"/>
                  <a:pt x="47" y="26"/>
                  <a:pt x="44" y="26"/>
                </a:cubicBezTo>
                <a:cubicBezTo>
                  <a:pt x="41" y="26"/>
                  <a:pt x="37" y="27"/>
                  <a:pt x="34" y="28"/>
                </a:cubicBezTo>
                <a:cubicBezTo>
                  <a:pt x="35" y="27"/>
                  <a:pt x="36" y="26"/>
                  <a:pt x="36" y="25"/>
                </a:cubicBezTo>
                <a:cubicBezTo>
                  <a:pt x="54" y="8"/>
                  <a:pt x="54" y="8"/>
                  <a:pt x="54" y="8"/>
                </a:cubicBezTo>
                <a:cubicBezTo>
                  <a:pt x="54" y="8"/>
                  <a:pt x="54" y="8"/>
                  <a:pt x="54" y="8"/>
                </a:cubicBezTo>
                <a:cubicBezTo>
                  <a:pt x="59" y="3"/>
                  <a:pt x="66" y="0"/>
                  <a:pt x="73" y="0"/>
                </a:cubicBezTo>
                <a:cubicBezTo>
                  <a:pt x="79" y="0"/>
                  <a:pt x="86" y="3"/>
                  <a:pt x="91" y="8"/>
                </a:cubicBezTo>
                <a:close/>
                <a:moveTo>
                  <a:pt x="63" y="36"/>
                </a:moveTo>
                <a:cubicBezTo>
                  <a:pt x="58" y="31"/>
                  <a:pt x="51" y="29"/>
                  <a:pt x="44" y="29"/>
                </a:cubicBezTo>
                <a:cubicBezTo>
                  <a:pt x="37" y="29"/>
                  <a:pt x="30" y="31"/>
                  <a:pt x="25" y="36"/>
                </a:cubicBezTo>
                <a:cubicBezTo>
                  <a:pt x="25" y="36"/>
                  <a:pt x="25" y="36"/>
                  <a:pt x="25" y="36"/>
                </a:cubicBezTo>
                <a:cubicBezTo>
                  <a:pt x="8" y="54"/>
                  <a:pt x="8" y="54"/>
                  <a:pt x="8" y="54"/>
                </a:cubicBezTo>
                <a:cubicBezTo>
                  <a:pt x="3" y="59"/>
                  <a:pt x="0" y="66"/>
                  <a:pt x="0" y="73"/>
                </a:cubicBezTo>
                <a:cubicBezTo>
                  <a:pt x="0" y="79"/>
                  <a:pt x="3" y="86"/>
                  <a:pt x="8" y="91"/>
                </a:cubicBezTo>
                <a:cubicBezTo>
                  <a:pt x="13" y="97"/>
                  <a:pt x="20" y="99"/>
                  <a:pt x="27" y="99"/>
                </a:cubicBezTo>
                <a:cubicBezTo>
                  <a:pt x="34" y="99"/>
                  <a:pt x="40" y="97"/>
                  <a:pt x="46" y="91"/>
                </a:cubicBezTo>
                <a:cubicBezTo>
                  <a:pt x="46" y="91"/>
                  <a:pt x="46" y="91"/>
                  <a:pt x="46" y="91"/>
                </a:cubicBezTo>
                <a:cubicBezTo>
                  <a:pt x="63" y="74"/>
                  <a:pt x="63" y="74"/>
                  <a:pt x="63" y="74"/>
                </a:cubicBezTo>
                <a:cubicBezTo>
                  <a:pt x="63" y="74"/>
                  <a:pt x="63" y="74"/>
                  <a:pt x="63" y="74"/>
                </a:cubicBezTo>
                <a:cubicBezTo>
                  <a:pt x="64" y="73"/>
                  <a:pt x="65" y="72"/>
                  <a:pt x="65" y="71"/>
                </a:cubicBezTo>
                <a:cubicBezTo>
                  <a:pt x="62" y="72"/>
                  <a:pt x="59" y="73"/>
                  <a:pt x="55" y="73"/>
                </a:cubicBezTo>
                <a:cubicBezTo>
                  <a:pt x="52" y="73"/>
                  <a:pt x="49" y="72"/>
                  <a:pt x="46" y="71"/>
                </a:cubicBezTo>
                <a:cubicBezTo>
                  <a:pt x="45" y="71"/>
                  <a:pt x="45" y="71"/>
                  <a:pt x="45" y="71"/>
                </a:cubicBezTo>
                <a:cubicBezTo>
                  <a:pt x="35" y="81"/>
                  <a:pt x="35" y="81"/>
                  <a:pt x="35" y="81"/>
                </a:cubicBezTo>
                <a:cubicBezTo>
                  <a:pt x="35" y="81"/>
                  <a:pt x="35" y="81"/>
                  <a:pt x="35" y="81"/>
                </a:cubicBezTo>
                <a:cubicBezTo>
                  <a:pt x="33" y="84"/>
                  <a:pt x="30" y="85"/>
                  <a:pt x="27" y="85"/>
                </a:cubicBezTo>
                <a:cubicBezTo>
                  <a:pt x="24" y="85"/>
                  <a:pt x="20" y="84"/>
                  <a:pt x="18" y="81"/>
                </a:cubicBezTo>
                <a:cubicBezTo>
                  <a:pt x="16" y="79"/>
                  <a:pt x="14" y="76"/>
                  <a:pt x="14" y="73"/>
                </a:cubicBezTo>
                <a:cubicBezTo>
                  <a:pt x="14" y="69"/>
                  <a:pt x="16" y="66"/>
                  <a:pt x="18" y="64"/>
                </a:cubicBezTo>
                <a:cubicBezTo>
                  <a:pt x="35" y="47"/>
                  <a:pt x="35" y="47"/>
                  <a:pt x="35" y="47"/>
                </a:cubicBezTo>
                <a:cubicBezTo>
                  <a:pt x="35" y="47"/>
                  <a:pt x="35" y="47"/>
                  <a:pt x="35" y="47"/>
                </a:cubicBezTo>
                <a:cubicBezTo>
                  <a:pt x="38" y="44"/>
                  <a:pt x="41" y="43"/>
                  <a:pt x="44" y="43"/>
                </a:cubicBezTo>
                <a:cubicBezTo>
                  <a:pt x="47" y="43"/>
                  <a:pt x="50" y="44"/>
                  <a:pt x="53" y="47"/>
                </a:cubicBezTo>
                <a:cubicBezTo>
                  <a:pt x="55" y="49"/>
                  <a:pt x="56" y="51"/>
                  <a:pt x="56" y="54"/>
                </a:cubicBezTo>
                <a:cubicBezTo>
                  <a:pt x="57" y="54"/>
                  <a:pt x="58" y="54"/>
                  <a:pt x="59" y="53"/>
                </a:cubicBezTo>
                <a:cubicBezTo>
                  <a:pt x="60" y="53"/>
                  <a:pt x="61" y="52"/>
                  <a:pt x="62" y="51"/>
                </a:cubicBezTo>
                <a:cubicBezTo>
                  <a:pt x="62" y="51"/>
                  <a:pt x="62" y="51"/>
                  <a:pt x="62" y="51"/>
                </a:cubicBezTo>
                <a:cubicBezTo>
                  <a:pt x="68" y="45"/>
                  <a:pt x="68" y="45"/>
                  <a:pt x="68" y="45"/>
                </a:cubicBezTo>
                <a:cubicBezTo>
                  <a:pt x="67" y="42"/>
                  <a:pt x="65" y="39"/>
                  <a:pt x="63" y="36"/>
                </a:cubicBezTo>
                <a:close/>
              </a:path>
            </a:pathLst>
          </a:custGeom>
          <a:solidFill>
            <a:schemeClr val="bg1"/>
          </a:solidFill>
          <a:ln>
            <a:noFill/>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sp>
        <p:nvSpPr>
          <p:cNvPr id="83" name="Freeform 49"/>
          <p:cNvSpPr>
            <a:spLocks noEditPoints="1"/>
          </p:cNvSpPr>
          <p:nvPr/>
        </p:nvSpPr>
        <p:spPr bwMode="auto">
          <a:xfrm>
            <a:off x="2361227" y="4484081"/>
            <a:ext cx="414595" cy="328353"/>
          </a:xfrm>
          <a:custGeom>
            <a:avLst/>
            <a:gdLst>
              <a:gd name="T0" fmla="*/ 28 w 244"/>
              <a:gd name="T1" fmla="*/ 109 h 266"/>
              <a:gd name="T2" fmla="*/ 24 w 244"/>
              <a:gd name="T3" fmla="*/ 169 h 266"/>
              <a:gd name="T4" fmla="*/ 27 w 244"/>
              <a:gd name="T5" fmla="*/ 201 h 266"/>
              <a:gd name="T6" fmla="*/ 93 w 244"/>
              <a:gd name="T7" fmla="*/ 265 h 266"/>
              <a:gd name="T8" fmla="*/ 203 w 244"/>
              <a:gd name="T9" fmla="*/ 159 h 266"/>
              <a:gd name="T10" fmla="*/ 108 w 244"/>
              <a:gd name="T11" fmla="*/ 135 h 266"/>
              <a:gd name="T12" fmla="*/ 100 w 244"/>
              <a:gd name="T13" fmla="*/ 140 h 266"/>
              <a:gd name="T14" fmla="*/ 86 w 244"/>
              <a:gd name="T15" fmla="*/ 141 h 266"/>
              <a:gd name="T16" fmla="*/ 77 w 244"/>
              <a:gd name="T17" fmla="*/ 138 h 266"/>
              <a:gd name="T18" fmla="*/ 65 w 244"/>
              <a:gd name="T19" fmla="*/ 130 h 266"/>
              <a:gd name="T20" fmla="*/ 58 w 244"/>
              <a:gd name="T21" fmla="*/ 124 h 266"/>
              <a:gd name="T22" fmla="*/ 61 w 244"/>
              <a:gd name="T23" fmla="*/ 107 h 266"/>
              <a:gd name="T24" fmla="*/ 51 w 244"/>
              <a:gd name="T25" fmla="*/ 99 h 266"/>
              <a:gd name="T26" fmla="*/ 64 w 244"/>
              <a:gd name="T27" fmla="*/ 89 h 266"/>
              <a:gd name="T28" fmla="*/ 61 w 244"/>
              <a:gd name="T29" fmla="*/ 77 h 266"/>
              <a:gd name="T30" fmla="*/ 80 w 244"/>
              <a:gd name="T31" fmla="*/ 76 h 266"/>
              <a:gd name="T32" fmla="*/ 93 w 244"/>
              <a:gd name="T33" fmla="*/ 65 h 266"/>
              <a:gd name="T34" fmla="*/ 102 w 244"/>
              <a:gd name="T35" fmla="*/ 68 h 266"/>
              <a:gd name="T36" fmla="*/ 115 w 244"/>
              <a:gd name="T37" fmla="*/ 76 h 266"/>
              <a:gd name="T38" fmla="*/ 122 w 244"/>
              <a:gd name="T39" fmla="*/ 82 h 266"/>
              <a:gd name="T40" fmla="*/ 126 w 244"/>
              <a:gd name="T41" fmla="*/ 96 h 266"/>
              <a:gd name="T42" fmla="*/ 128 w 244"/>
              <a:gd name="T43" fmla="*/ 105 h 266"/>
              <a:gd name="T44" fmla="*/ 124 w 244"/>
              <a:gd name="T45" fmla="*/ 118 h 266"/>
              <a:gd name="T46" fmla="*/ 120 w 244"/>
              <a:gd name="T47" fmla="*/ 127 h 266"/>
              <a:gd name="T48" fmla="*/ 161 w 244"/>
              <a:gd name="T49" fmla="*/ 150 h 266"/>
              <a:gd name="T50" fmla="*/ 160 w 244"/>
              <a:gd name="T51" fmla="*/ 154 h 266"/>
              <a:gd name="T52" fmla="*/ 154 w 244"/>
              <a:gd name="T53" fmla="*/ 159 h 266"/>
              <a:gd name="T54" fmla="*/ 149 w 244"/>
              <a:gd name="T55" fmla="*/ 161 h 266"/>
              <a:gd name="T56" fmla="*/ 142 w 244"/>
              <a:gd name="T57" fmla="*/ 161 h 266"/>
              <a:gd name="T58" fmla="*/ 137 w 244"/>
              <a:gd name="T59" fmla="*/ 161 h 266"/>
              <a:gd name="T60" fmla="*/ 130 w 244"/>
              <a:gd name="T61" fmla="*/ 158 h 266"/>
              <a:gd name="T62" fmla="*/ 128 w 244"/>
              <a:gd name="T63" fmla="*/ 153 h 266"/>
              <a:gd name="T64" fmla="*/ 124 w 244"/>
              <a:gd name="T65" fmla="*/ 146 h 266"/>
              <a:gd name="T66" fmla="*/ 123 w 244"/>
              <a:gd name="T67" fmla="*/ 142 h 266"/>
              <a:gd name="T68" fmla="*/ 130 w 244"/>
              <a:gd name="T69" fmla="*/ 135 h 266"/>
              <a:gd name="T70" fmla="*/ 128 w 244"/>
              <a:gd name="T71" fmla="*/ 129 h 266"/>
              <a:gd name="T72" fmla="*/ 136 w 244"/>
              <a:gd name="T73" fmla="*/ 128 h 266"/>
              <a:gd name="T74" fmla="*/ 138 w 244"/>
              <a:gd name="T75" fmla="*/ 122 h 266"/>
              <a:gd name="T76" fmla="*/ 147 w 244"/>
              <a:gd name="T77" fmla="*/ 127 h 266"/>
              <a:gd name="T78" fmla="*/ 156 w 244"/>
              <a:gd name="T79" fmla="*/ 126 h 266"/>
              <a:gd name="T80" fmla="*/ 159 w 244"/>
              <a:gd name="T81" fmla="*/ 130 h 266"/>
              <a:gd name="T82" fmla="*/ 162 w 244"/>
              <a:gd name="T83" fmla="*/ 137 h 266"/>
              <a:gd name="T84" fmla="*/ 164 w 244"/>
              <a:gd name="T85" fmla="*/ 142 h 266"/>
              <a:gd name="T86" fmla="*/ 183 w 244"/>
              <a:gd name="T87" fmla="*/ 106 h 266"/>
              <a:gd name="T88" fmla="*/ 174 w 244"/>
              <a:gd name="T89" fmla="*/ 112 h 266"/>
              <a:gd name="T90" fmla="*/ 169 w 244"/>
              <a:gd name="T91" fmla="*/ 115 h 266"/>
              <a:gd name="T92" fmla="*/ 159 w 244"/>
              <a:gd name="T93" fmla="*/ 115 h 266"/>
              <a:gd name="T94" fmla="*/ 152 w 244"/>
              <a:gd name="T95" fmla="*/ 115 h 266"/>
              <a:gd name="T96" fmla="*/ 144 w 244"/>
              <a:gd name="T97" fmla="*/ 110 h 266"/>
              <a:gd name="T98" fmla="*/ 140 w 244"/>
              <a:gd name="T99" fmla="*/ 105 h 266"/>
              <a:gd name="T100" fmla="*/ 135 w 244"/>
              <a:gd name="T101" fmla="*/ 95 h 266"/>
              <a:gd name="T102" fmla="*/ 134 w 244"/>
              <a:gd name="T103" fmla="*/ 88 h 266"/>
              <a:gd name="T104" fmla="*/ 143 w 244"/>
              <a:gd name="T105" fmla="*/ 80 h 266"/>
              <a:gd name="T106" fmla="*/ 140 w 244"/>
              <a:gd name="T107" fmla="*/ 72 h 266"/>
              <a:gd name="T108" fmla="*/ 152 w 244"/>
              <a:gd name="T109" fmla="*/ 71 h 266"/>
              <a:gd name="T110" fmla="*/ 155 w 244"/>
              <a:gd name="T111" fmla="*/ 63 h 266"/>
              <a:gd name="T112" fmla="*/ 167 w 244"/>
              <a:gd name="T113" fmla="*/ 70 h 266"/>
              <a:gd name="T114" fmla="*/ 179 w 244"/>
              <a:gd name="T115" fmla="*/ 69 h 266"/>
              <a:gd name="T116" fmla="*/ 182 w 244"/>
              <a:gd name="T117" fmla="*/ 74 h 266"/>
              <a:gd name="T118" fmla="*/ 187 w 244"/>
              <a:gd name="T119" fmla="*/ 84 h 266"/>
              <a:gd name="T120" fmla="*/ 188 w 244"/>
              <a:gd name="T121" fmla="*/ 90 h 266"/>
              <a:gd name="T122" fmla="*/ 185 w 244"/>
              <a:gd name="T123" fmla="*/ 10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4" h="266">
                <a:moveTo>
                  <a:pt x="203" y="159"/>
                </a:moveTo>
                <a:cubicBezTo>
                  <a:pt x="203" y="159"/>
                  <a:pt x="244" y="88"/>
                  <a:pt x="182" y="42"/>
                </a:cubicBezTo>
                <a:cubicBezTo>
                  <a:pt x="182" y="42"/>
                  <a:pt x="121" y="0"/>
                  <a:pt x="51" y="45"/>
                </a:cubicBezTo>
                <a:cubicBezTo>
                  <a:pt x="51" y="45"/>
                  <a:pt x="22" y="64"/>
                  <a:pt x="28" y="109"/>
                </a:cubicBezTo>
                <a:cubicBezTo>
                  <a:pt x="28" y="109"/>
                  <a:pt x="31" y="122"/>
                  <a:pt x="28" y="127"/>
                </a:cubicBezTo>
                <a:cubicBezTo>
                  <a:pt x="4" y="156"/>
                  <a:pt x="4" y="156"/>
                  <a:pt x="4" y="156"/>
                </a:cubicBezTo>
                <a:cubicBezTo>
                  <a:pt x="4" y="156"/>
                  <a:pt x="0" y="165"/>
                  <a:pt x="10" y="166"/>
                </a:cubicBezTo>
                <a:cubicBezTo>
                  <a:pt x="24" y="169"/>
                  <a:pt x="24" y="169"/>
                  <a:pt x="24" y="169"/>
                </a:cubicBezTo>
                <a:cubicBezTo>
                  <a:pt x="24" y="179"/>
                  <a:pt x="24" y="179"/>
                  <a:pt x="24" y="179"/>
                </a:cubicBezTo>
                <a:cubicBezTo>
                  <a:pt x="24" y="179"/>
                  <a:pt x="17" y="184"/>
                  <a:pt x="23" y="188"/>
                </a:cubicBezTo>
                <a:cubicBezTo>
                  <a:pt x="23" y="188"/>
                  <a:pt x="28" y="191"/>
                  <a:pt x="24" y="193"/>
                </a:cubicBezTo>
                <a:cubicBezTo>
                  <a:pt x="24" y="193"/>
                  <a:pt x="17" y="198"/>
                  <a:pt x="27" y="201"/>
                </a:cubicBezTo>
                <a:cubicBezTo>
                  <a:pt x="27" y="201"/>
                  <a:pt x="31" y="205"/>
                  <a:pt x="29" y="211"/>
                </a:cubicBezTo>
                <a:cubicBezTo>
                  <a:pt x="29" y="211"/>
                  <a:pt x="20" y="222"/>
                  <a:pt x="33" y="232"/>
                </a:cubicBezTo>
                <a:cubicBezTo>
                  <a:pt x="35" y="232"/>
                  <a:pt x="41" y="239"/>
                  <a:pt x="85" y="230"/>
                </a:cubicBezTo>
                <a:cubicBezTo>
                  <a:pt x="85" y="230"/>
                  <a:pt x="95" y="233"/>
                  <a:pt x="93" y="265"/>
                </a:cubicBezTo>
                <a:cubicBezTo>
                  <a:pt x="96" y="265"/>
                  <a:pt x="180" y="266"/>
                  <a:pt x="180" y="266"/>
                </a:cubicBezTo>
                <a:cubicBezTo>
                  <a:pt x="188" y="266"/>
                  <a:pt x="188" y="266"/>
                  <a:pt x="188" y="266"/>
                </a:cubicBezTo>
                <a:cubicBezTo>
                  <a:pt x="188" y="266"/>
                  <a:pt x="181" y="234"/>
                  <a:pt x="183" y="207"/>
                </a:cubicBezTo>
                <a:cubicBezTo>
                  <a:pt x="183" y="207"/>
                  <a:pt x="189" y="178"/>
                  <a:pt x="203" y="159"/>
                </a:cubicBezTo>
                <a:close/>
                <a:moveTo>
                  <a:pt x="119" y="129"/>
                </a:moveTo>
                <a:cubicBezTo>
                  <a:pt x="111" y="136"/>
                  <a:pt x="111" y="136"/>
                  <a:pt x="111" y="136"/>
                </a:cubicBezTo>
                <a:cubicBezTo>
                  <a:pt x="111" y="136"/>
                  <a:pt x="110" y="136"/>
                  <a:pt x="110" y="136"/>
                </a:cubicBezTo>
                <a:cubicBezTo>
                  <a:pt x="109" y="136"/>
                  <a:pt x="108" y="136"/>
                  <a:pt x="108" y="135"/>
                </a:cubicBezTo>
                <a:cubicBezTo>
                  <a:pt x="103" y="129"/>
                  <a:pt x="103" y="129"/>
                  <a:pt x="103" y="129"/>
                </a:cubicBezTo>
                <a:cubicBezTo>
                  <a:pt x="100" y="130"/>
                  <a:pt x="100" y="130"/>
                  <a:pt x="100" y="130"/>
                </a:cubicBezTo>
                <a:cubicBezTo>
                  <a:pt x="100" y="139"/>
                  <a:pt x="100" y="139"/>
                  <a:pt x="100" y="139"/>
                </a:cubicBezTo>
                <a:cubicBezTo>
                  <a:pt x="100" y="139"/>
                  <a:pt x="100" y="140"/>
                  <a:pt x="100" y="140"/>
                </a:cubicBezTo>
                <a:cubicBezTo>
                  <a:pt x="99" y="141"/>
                  <a:pt x="99" y="141"/>
                  <a:pt x="98" y="141"/>
                </a:cubicBezTo>
                <a:cubicBezTo>
                  <a:pt x="88" y="142"/>
                  <a:pt x="88" y="142"/>
                  <a:pt x="88" y="142"/>
                </a:cubicBezTo>
                <a:cubicBezTo>
                  <a:pt x="88" y="142"/>
                  <a:pt x="87" y="142"/>
                  <a:pt x="87" y="142"/>
                </a:cubicBezTo>
                <a:cubicBezTo>
                  <a:pt x="87" y="142"/>
                  <a:pt x="87" y="142"/>
                  <a:pt x="86" y="141"/>
                </a:cubicBezTo>
                <a:cubicBezTo>
                  <a:pt x="86" y="141"/>
                  <a:pt x="86" y="140"/>
                  <a:pt x="86" y="140"/>
                </a:cubicBezTo>
                <a:cubicBezTo>
                  <a:pt x="85" y="132"/>
                  <a:pt x="85" y="132"/>
                  <a:pt x="85" y="132"/>
                </a:cubicBezTo>
                <a:cubicBezTo>
                  <a:pt x="82" y="131"/>
                  <a:pt x="82" y="131"/>
                  <a:pt x="82" y="131"/>
                </a:cubicBezTo>
                <a:cubicBezTo>
                  <a:pt x="77" y="138"/>
                  <a:pt x="77" y="138"/>
                  <a:pt x="77" y="138"/>
                </a:cubicBezTo>
                <a:cubicBezTo>
                  <a:pt x="77" y="138"/>
                  <a:pt x="77" y="139"/>
                  <a:pt x="76" y="139"/>
                </a:cubicBezTo>
                <a:cubicBezTo>
                  <a:pt x="76" y="139"/>
                  <a:pt x="75" y="139"/>
                  <a:pt x="74" y="139"/>
                </a:cubicBezTo>
                <a:cubicBezTo>
                  <a:pt x="65" y="133"/>
                  <a:pt x="65" y="133"/>
                  <a:pt x="65" y="133"/>
                </a:cubicBezTo>
                <a:cubicBezTo>
                  <a:pt x="64" y="133"/>
                  <a:pt x="64" y="131"/>
                  <a:pt x="65" y="130"/>
                </a:cubicBezTo>
                <a:cubicBezTo>
                  <a:pt x="69" y="123"/>
                  <a:pt x="69" y="123"/>
                  <a:pt x="69" y="123"/>
                </a:cubicBezTo>
                <a:cubicBezTo>
                  <a:pt x="67" y="121"/>
                  <a:pt x="67" y="121"/>
                  <a:pt x="67" y="121"/>
                </a:cubicBezTo>
                <a:cubicBezTo>
                  <a:pt x="59" y="124"/>
                  <a:pt x="59" y="124"/>
                  <a:pt x="59" y="124"/>
                </a:cubicBezTo>
                <a:cubicBezTo>
                  <a:pt x="59" y="124"/>
                  <a:pt x="58" y="124"/>
                  <a:pt x="58" y="124"/>
                </a:cubicBezTo>
                <a:cubicBezTo>
                  <a:pt x="57" y="124"/>
                  <a:pt x="57" y="123"/>
                  <a:pt x="56" y="123"/>
                </a:cubicBezTo>
                <a:cubicBezTo>
                  <a:pt x="52" y="113"/>
                  <a:pt x="52" y="113"/>
                  <a:pt x="52" y="113"/>
                </a:cubicBezTo>
                <a:cubicBezTo>
                  <a:pt x="52" y="112"/>
                  <a:pt x="52" y="111"/>
                  <a:pt x="53" y="110"/>
                </a:cubicBezTo>
                <a:cubicBezTo>
                  <a:pt x="61" y="107"/>
                  <a:pt x="61" y="107"/>
                  <a:pt x="61" y="107"/>
                </a:cubicBezTo>
                <a:cubicBezTo>
                  <a:pt x="61" y="104"/>
                  <a:pt x="61" y="104"/>
                  <a:pt x="61" y="104"/>
                </a:cubicBezTo>
                <a:cubicBezTo>
                  <a:pt x="53" y="102"/>
                  <a:pt x="53" y="102"/>
                  <a:pt x="53" y="102"/>
                </a:cubicBezTo>
                <a:cubicBezTo>
                  <a:pt x="52" y="102"/>
                  <a:pt x="52" y="102"/>
                  <a:pt x="51" y="101"/>
                </a:cubicBezTo>
                <a:cubicBezTo>
                  <a:pt x="51" y="101"/>
                  <a:pt x="51" y="100"/>
                  <a:pt x="51" y="99"/>
                </a:cubicBezTo>
                <a:cubicBezTo>
                  <a:pt x="53" y="89"/>
                  <a:pt x="53" y="89"/>
                  <a:pt x="53" y="89"/>
                </a:cubicBezTo>
                <a:cubicBezTo>
                  <a:pt x="54" y="89"/>
                  <a:pt x="54" y="88"/>
                  <a:pt x="54" y="88"/>
                </a:cubicBezTo>
                <a:cubicBezTo>
                  <a:pt x="55" y="88"/>
                  <a:pt x="56" y="87"/>
                  <a:pt x="56" y="88"/>
                </a:cubicBezTo>
                <a:cubicBezTo>
                  <a:pt x="64" y="89"/>
                  <a:pt x="64" y="89"/>
                  <a:pt x="64" y="89"/>
                </a:cubicBezTo>
                <a:cubicBezTo>
                  <a:pt x="66" y="87"/>
                  <a:pt x="66" y="87"/>
                  <a:pt x="66" y="87"/>
                </a:cubicBezTo>
                <a:cubicBezTo>
                  <a:pt x="60" y="80"/>
                  <a:pt x="60" y="80"/>
                  <a:pt x="60" y="80"/>
                </a:cubicBezTo>
                <a:cubicBezTo>
                  <a:pt x="60" y="80"/>
                  <a:pt x="60" y="79"/>
                  <a:pt x="60" y="79"/>
                </a:cubicBezTo>
                <a:cubicBezTo>
                  <a:pt x="60" y="78"/>
                  <a:pt x="60" y="78"/>
                  <a:pt x="61" y="77"/>
                </a:cubicBezTo>
                <a:cubicBezTo>
                  <a:pt x="69" y="70"/>
                  <a:pt x="69" y="70"/>
                  <a:pt x="69" y="70"/>
                </a:cubicBezTo>
                <a:cubicBezTo>
                  <a:pt x="69" y="70"/>
                  <a:pt x="71" y="70"/>
                  <a:pt x="72" y="71"/>
                </a:cubicBezTo>
                <a:cubicBezTo>
                  <a:pt x="77" y="77"/>
                  <a:pt x="77" y="77"/>
                  <a:pt x="77" y="77"/>
                </a:cubicBezTo>
                <a:cubicBezTo>
                  <a:pt x="80" y="76"/>
                  <a:pt x="80" y="76"/>
                  <a:pt x="80" y="76"/>
                </a:cubicBezTo>
                <a:cubicBezTo>
                  <a:pt x="79" y="67"/>
                  <a:pt x="79" y="67"/>
                  <a:pt x="79" y="67"/>
                </a:cubicBezTo>
                <a:cubicBezTo>
                  <a:pt x="79" y="66"/>
                  <a:pt x="80" y="65"/>
                  <a:pt x="81" y="65"/>
                </a:cubicBezTo>
                <a:cubicBezTo>
                  <a:pt x="92" y="64"/>
                  <a:pt x="92" y="64"/>
                  <a:pt x="92" y="64"/>
                </a:cubicBezTo>
                <a:cubicBezTo>
                  <a:pt x="92" y="64"/>
                  <a:pt x="93" y="64"/>
                  <a:pt x="93" y="65"/>
                </a:cubicBezTo>
                <a:cubicBezTo>
                  <a:pt x="94" y="65"/>
                  <a:pt x="94" y="65"/>
                  <a:pt x="94" y="66"/>
                </a:cubicBezTo>
                <a:cubicBezTo>
                  <a:pt x="95" y="74"/>
                  <a:pt x="95" y="74"/>
                  <a:pt x="95" y="74"/>
                </a:cubicBezTo>
                <a:cubicBezTo>
                  <a:pt x="98" y="75"/>
                  <a:pt x="98" y="75"/>
                  <a:pt x="98" y="75"/>
                </a:cubicBezTo>
                <a:cubicBezTo>
                  <a:pt x="102" y="68"/>
                  <a:pt x="102" y="68"/>
                  <a:pt x="102" y="68"/>
                </a:cubicBezTo>
                <a:cubicBezTo>
                  <a:pt x="103" y="67"/>
                  <a:pt x="104" y="67"/>
                  <a:pt x="105" y="67"/>
                </a:cubicBezTo>
                <a:cubicBezTo>
                  <a:pt x="114" y="73"/>
                  <a:pt x="114" y="73"/>
                  <a:pt x="114" y="73"/>
                </a:cubicBezTo>
                <a:cubicBezTo>
                  <a:pt x="115" y="73"/>
                  <a:pt x="115" y="73"/>
                  <a:pt x="115" y="74"/>
                </a:cubicBezTo>
                <a:cubicBezTo>
                  <a:pt x="115" y="75"/>
                  <a:pt x="115" y="75"/>
                  <a:pt x="115" y="76"/>
                </a:cubicBezTo>
                <a:cubicBezTo>
                  <a:pt x="111" y="83"/>
                  <a:pt x="111" y="83"/>
                  <a:pt x="111" y="83"/>
                </a:cubicBezTo>
                <a:cubicBezTo>
                  <a:pt x="113" y="85"/>
                  <a:pt x="113" y="85"/>
                  <a:pt x="113" y="85"/>
                </a:cubicBezTo>
                <a:cubicBezTo>
                  <a:pt x="120" y="82"/>
                  <a:pt x="120" y="82"/>
                  <a:pt x="120" y="82"/>
                </a:cubicBezTo>
                <a:cubicBezTo>
                  <a:pt x="121" y="82"/>
                  <a:pt x="122" y="82"/>
                  <a:pt x="122" y="82"/>
                </a:cubicBezTo>
                <a:cubicBezTo>
                  <a:pt x="123" y="82"/>
                  <a:pt x="123" y="83"/>
                  <a:pt x="123" y="83"/>
                </a:cubicBezTo>
                <a:cubicBezTo>
                  <a:pt x="127" y="93"/>
                  <a:pt x="127" y="93"/>
                  <a:pt x="127" y="93"/>
                </a:cubicBezTo>
                <a:cubicBezTo>
                  <a:pt x="128" y="93"/>
                  <a:pt x="128" y="94"/>
                  <a:pt x="127" y="94"/>
                </a:cubicBezTo>
                <a:cubicBezTo>
                  <a:pt x="127" y="95"/>
                  <a:pt x="127" y="95"/>
                  <a:pt x="126" y="96"/>
                </a:cubicBezTo>
                <a:cubicBezTo>
                  <a:pt x="119" y="99"/>
                  <a:pt x="119" y="99"/>
                  <a:pt x="119" y="99"/>
                </a:cubicBezTo>
                <a:cubicBezTo>
                  <a:pt x="119" y="102"/>
                  <a:pt x="119" y="102"/>
                  <a:pt x="119" y="102"/>
                </a:cubicBezTo>
                <a:cubicBezTo>
                  <a:pt x="127" y="104"/>
                  <a:pt x="127" y="104"/>
                  <a:pt x="127" y="104"/>
                </a:cubicBezTo>
                <a:cubicBezTo>
                  <a:pt x="127" y="104"/>
                  <a:pt x="128" y="104"/>
                  <a:pt x="128" y="105"/>
                </a:cubicBezTo>
                <a:cubicBezTo>
                  <a:pt x="129" y="105"/>
                  <a:pt x="129" y="106"/>
                  <a:pt x="129" y="107"/>
                </a:cubicBezTo>
                <a:cubicBezTo>
                  <a:pt x="126" y="117"/>
                  <a:pt x="126" y="117"/>
                  <a:pt x="126" y="117"/>
                </a:cubicBezTo>
                <a:cubicBezTo>
                  <a:pt x="126" y="117"/>
                  <a:pt x="126" y="118"/>
                  <a:pt x="125" y="118"/>
                </a:cubicBezTo>
                <a:cubicBezTo>
                  <a:pt x="125" y="118"/>
                  <a:pt x="124" y="119"/>
                  <a:pt x="124" y="118"/>
                </a:cubicBezTo>
                <a:cubicBezTo>
                  <a:pt x="115" y="117"/>
                  <a:pt x="115" y="117"/>
                  <a:pt x="115" y="117"/>
                </a:cubicBezTo>
                <a:cubicBezTo>
                  <a:pt x="114" y="119"/>
                  <a:pt x="114" y="119"/>
                  <a:pt x="114" y="119"/>
                </a:cubicBezTo>
                <a:cubicBezTo>
                  <a:pt x="119" y="126"/>
                  <a:pt x="119" y="126"/>
                  <a:pt x="119" y="126"/>
                </a:cubicBezTo>
                <a:cubicBezTo>
                  <a:pt x="120" y="126"/>
                  <a:pt x="120" y="127"/>
                  <a:pt x="120" y="127"/>
                </a:cubicBezTo>
                <a:cubicBezTo>
                  <a:pt x="120" y="128"/>
                  <a:pt x="119" y="128"/>
                  <a:pt x="119" y="129"/>
                </a:cubicBezTo>
                <a:close/>
                <a:moveTo>
                  <a:pt x="163" y="149"/>
                </a:moveTo>
                <a:cubicBezTo>
                  <a:pt x="163" y="149"/>
                  <a:pt x="163" y="149"/>
                  <a:pt x="162" y="149"/>
                </a:cubicBezTo>
                <a:cubicBezTo>
                  <a:pt x="162" y="150"/>
                  <a:pt x="162" y="150"/>
                  <a:pt x="161" y="150"/>
                </a:cubicBezTo>
                <a:cubicBezTo>
                  <a:pt x="157" y="149"/>
                  <a:pt x="157" y="149"/>
                  <a:pt x="157" y="149"/>
                </a:cubicBezTo>
                <a:cubicBezTo>
                  <a:pt x="156" y="150"/>
                  <a:pt x="156" y="150"/>
                  <a:pt x="156" y="150"/>
                </a:cubicBezTo>
                <a:cubicBezTo>
                  <a:pt x="159" y="153"/>
                  <a:pt x="159" y="153"/>
                  <a:pt x="159" y="153"/>
                </a:cubicBezTo>
                <a:cubicBezTo>
                  <a:pt x="159" y="154"/>
                  <a:pt x="160" y="154"/>
                  <a:pt x="160" y="154"/>
                </a:cubicBezTo>
                <a:cubicBezTo>
                  <a:pt x="160" y="154"/>
                  <a:pt x="159" y="155"/>
                  <a:pt x="159" y="155"/>
                </a:cubicBezTo>
                <a:cubicBezTo>
                  <a:pt x="155" y="159"/>
                  <a:pt x="155" y="159"/>
                  <a:pt x="155" y="159"/>
                </a:cubicBezTo>
                <a:cubicBezTo>
                  <a:pt x="155" y="159"/>
                  <a:pt x="155" y="159"/>
                  <a:pt x="154" y="159"/>
                </a:cubicBezTo>
                <a:cubicBezTo>
                  <a:pt x="154" y="159"/>
                  <a:pt x="154" y="159"/>
                  <a:pt x="154" y="159"/>
                </a:cubicBezTo>
                <a:cubicBezTo>
                  <a:pt x="151" y="155"/>
                  <a:pt x="151" y="155"/>
                  <a:pt x="151" y="155"/>
                </a:cubicBezTo>
                <a:cubicBezTo>
                  <a:pt x="149" y="156"/>
                  <a:pt x="149" y="156"/>
                  <a:pt x="149" y="156"/>
                </a:cubicBezTo>
                <a:cubicBezTo>
                  <a:pt x="150" y="161"/>
                  <a:pt x="150" y="161"/>
                  <a:pt x="150" y="161"/>
                </a:cubicBezTo>
                <a:cubicBezTo>
                  <a:pt x="150" y="161"/>
                  <a:pt x="149" y="161"/>
                  <a:pt x="149" y="161"/>
                </a:cubicBezTo>
                <a:cubicBezTo>
                  <a:pt x="149" y="162"/>
                  <a:pt x="149" y="162"/>
                  <a:pt x="148" y="162"/>
                </a:cubicBezTo>
                <a:cubicBezTo>
                  <a:pt x="143" y="162"/>
                  <a:pt x="143" y="162"/>
                  <a:pt x="143" y="162"/>
                </a:cubicBezTo>
                <a:cubicBezTo>
                  <a:pt x="143" y="163"/>
                  <a:pt x="142" y="162"/>
                  <a:pt x="142" y="162"/>
                </a:cubicBezTo>
                <a:cubicBezTo>
                  <a:pt x="142" y="162"/>
                  <a:pt x="142" y="162"/>
                  <a:pt x="142" y="161"/>
                </a:cubicBezTo>
                <a:cubicBezTo>
                  <a:pt x="141" y="157"/>
                  <a:pt x="141" y="157"/>
                  <a:pt x="141" y="157"/>
                </a:cubicBezTo>
                <a:cubicBezTo>
                  <a:pt x="140" y="157"/>
                  <a:pt x="140" y="157"/>
                  <a:pt x="140" y="157"/>
                </a:cubicBezTo>
                <a:cubicBezTo>
                  <a:pt x="137" y="161"/>
                  <a:pt x="137" y="161"/>
                  <a:pt x="137" y="161"/>
                </a:cubicBezTo>
                <a:cubicBezTo>
                  <a:pt x="137" y="161"/>
                  <a:pt x="137" y="161"/>
                  <a:pt x="137" y="161"/>
                </a:cubicBezTo>
                <a:cubicBezTo>
                  <a:pt x="136" y="161"/>
                  <a:pt x="136" y="161"/>
                  <a:pt x="136" y="161"/>
                </a:cubicBezTo>
                <a:cubicBezTo>
                  <a:pt x="131" y="158"/>
                  <a:pt x="131" y="158"/>
                  <a:pt x="131" y="158"/>
                </a:cubicBezTo>
                <a:cubicBezTo>
                  <a:pt x="131" y="158"/>
                  <a:pt x="131" y="158"/>
                  <a:pt x="131" y="158"/>
                </a:cubicBezTo>
                <a:cubicBezTo>
                  <a:pt x="131" y="158"/>
                  <a:pt x="131" y="158"/>
                  <a:pt x="130" y="158"/>
                </a:cubicBezTo>
                <a:cubicBezTo>
                  <a:pt x="130" y="157"/>
                  <a:pt x="130" y="157"/>
                  <a:pt x="131" y="157"/>
                </a:cubicBezTo>
                <a:cubicBezTo>
                  <a:pt x="133" y="153"/>
                  <a:pt x="133" y="153"/>
                  <a:pt x="133" y="153"/>
                </a:cubicBezTo>
                <a:cubicBezTo>
                  <a:pt x="132" y="152"/>
                  <a:pt x="132" y="152"/>
                  <a:pt x="132" y="152"/>
                </a:cubicBezTo>
                <a:cubicBezTo>
                  <a:pt x="128" y="153"/>
                  <a:pt x="128" y="153"/>
                  <a:pt x="128" y="153"/>
                </a:cubicBezTo>
                <a:cubicBezTo>
                  <a:pt x="127" y="154"/>
                  <a:pt x="127" y="154"/>
                  <a:pt x="127" y="154"/>
                </a:cubicBezTo>
                <a:cubicBezTo>
                  <a:pt x="126" y="153"/>
                  <a:pt x="126" y="153"/>
                  <a:pt x="126" y="153"/>
                </a:cubicBezTo>
                <a:cubicBezTo>
                  <a:pt x="124" y="148"/>
                  <a:pt x="124" y="148"/>
                  <a:pt x="124" y="148"/>
                </a:cubicBezTo>
                <a:cubicBezTo>
                  <a:pt x="123" y="147"/>
                  <a:pt x="124" y="147"/>
                  <a:pt x="124" y="146"/>
                </a:cubicBezTo>
                <a:cubicBezTo>
                  <a:pt x="128" y="145"/>
                  <a:pt x="128" y="145"/>
                  <a:pt x="128" y="145"/>
                </a:cubicBezTo>
                <a:cubicBezTo>
                  <a:pt x="128" y="143"/>
                  <a:pt x="128" y="143"/>
                  <a:pt x="128" y="143"/>
                </a:cubicBezTo>
                <a:cubicBezTo>
                  <a:pt x="124" y="142"/>
                  <a:pt x="124" y="142"/>
                  <a:pt x="124" y="142"/>
                </a:cubicBezTo>
                <a:cubicBezTo>
                  <a:pt x="124" y="142"/>
                  <a:pt x="123" y="142"/>
                  <a:pt x="123" y="142"/>
                </a:cubicBezTo>
                <a:cubicBezTo>
                  <a:pt x="123" y="141"/>
                  <a:pt x="123" y="141"/>
                  <a:pt x="123" y="141"/>
                </a:cubicBezTo>
                <a:cubicBezTo>
                  <a:pt x="124" y="135"/>
                  <a:pt x="124" y="135"/>
                  <a:pt x="124" y="135"/>
                </a:cubicBezTo>
                <a:cubicBezTo>
                  <a:pt x="124" y="135"/>
                  <a:pt x="125" y="134"/>
                  <a:pt x="125" y="134"/>
                </a:cubicBezTo>
                <a:cubicBezTo>
                  <a:pt x="130" y="135"/>
                  <a:pt x="130" y="135"/>
                  <a:pt x="130" y="135"/>
                </a:cubicBezTo>
                <a:cubicBezTo>
                  <a:pt x="130" y="134"/>
                  <a:pt x="130" y="134"/>
                  <a:pt x="130" y="134"/>
                </a:cubicBezTo>
                <a:cubicBezTo>
                  <a:pt x="127" y="130"/>
                  <a:pt x="127" y="130"/>
                  <a:pt x="127" y="130"/>
                </a:cubicBezTo>
                <a:cubicBezTo>
                  <a:pt x="127" y="130"/>
                  <a:pt x="127" y="130"/>
                  <a:pt x="127" y="130"/>
                </a:cubicBezTo>
                <a:cubicBezTo>
                  <a:pt x="127" y="129"/>
                  <a:pt x="127" y="129"/>
                  <a:pt x="128" y="129"/>
                </a:cubicBezTo>
                <a:cubicBezTo>
                  <a:pt x="132" y="125"/>
                  <a:pt x="132" y="125"/>
                  <a:pt x="132" y="125"/>
                </a:cubicBezTo>
                <a:cubicBezTo>
                  <a:pt x="132" y="125"/>
                  <a:pt x="132" y="125"/>
                  <a:pt x="132" y="125"/>
                </a:cubicBezTo>
                <a:cubicBezTo>
                  <a:pt x="133" y="125"/>
                  <a:pt x="133" y="125"/>
                  <a:pt x="133" y="125"/>
                </a:cubicBezTo>
                <a:cubicBezTo>
                  <a:pt x="136" y="128"/>
                  <a:pt x="136" y="128"/>
                  <a:pt x="136" y="128"/>
                </a:cubicBezTo>
                <a:cubicBezTo>
                  <a:pt x="138" y="128"/>
                  <a:pt x="138" y="128"/>
                  <a:pt x="138" y="128"/>
                </a:cubicBezTo>
                <a:cubicBezTo>
                  <a:pt x="137" y="123"/>
                  <a:pt x="137" y="123"/>
                  <a:pt x="137" y="123"/>
                </a:cubicBezTo>
                <a:cubicBezTo>
                  <a:pt x="137" y="123"/>
                  <a:pt x="137" y="123"/>
                  <a:pt x="137" y="122"/>
                </a:cubicBezTo>
                <a:cubicBezTo>
                  <a:pt x="138" y="122"/>
                  <a:pt x="138" y="122"/>
                  <a:pt x="138" y="122"/>
                </a:cubicBezTo>
                <a:cubicBezTo>
                  <a:pt x="144" y="121"/>
                  <a:pt x="144" y="121"/>
                  <a:pt x="144" y="121"/>
                </a:cubicBezTo>
                <a:cubicBezTo>
                  <a:pt x="144" y="121"/>
                  <a:pt x="145" y="122"/>
                  <a:pt x="145" y="122"/>
                </a:cubicBezTo>
                <a:cubicBezTo>
                  <a:pt x="146" y="127"/>
                  <a:pt x="146" y="127"/>
                  <a:pt x="146" y="127"/>
                </a:cubicBezTo>
                <a:cubicBezTo>
                  <a:pt x="147" y="127"/>
                  <a:pt x="147" y="127"/>
                  <a:pt x="147" y="127"/>
                </a:cubicBezTo>
                <a:cubicBezTo>
                  <a:pt x="149" y="123"/>
                  <a:pt x="149" y="123"/>
                  <a:pt x="149" y="123"/>
                </a:cubicBezTo>
                <a:cubicBezTo>
                  <a:pt x="150" y="123"/>
                  <a:pt x="150" y="123"/>
                  <a:pt x="151" y="123"/>
                </a:cubicBezTo>
                <a:cubicBezTo>
                  <a:pt x="156" y="125"/>
                  <a:pt x="156" y="125"/>
                  <a:pt x="156" y="125"/>
                </a:cubicBezTo>
                <a:cubicBezTo>
                  <a:pt x="156" y="126"/>
                  <a:pt x="156" y="126"/>
                  <a:pt x="156" y="126"/>
                </a:cubicBezTo>
                <a:cubicBezTo>
                  <a:pt x="156" y="126"/>
                  <a:pt x="156" y="127"/>
                  <a:pt x="156" y="127"/>
                </a:cubicBezTo>
                <a:cubicBezTo>
                  <a:pt x="154" y="131"/>
                  <a:pt x="154" y="131"/>
                  <a:pt x="154" y="131"/>
                </a:cubicBezTo>
                <a:cubicBezTo>
                  <a:pt x="155" y="132"/>
                  <a:pt x="155" y="132"/>
                  <a:pt x="155" y="132"/>
                </a:cubicBezTo>
                <a:cubicBezTo>
                  <a:pt x="159" y="130"/>
                  <a:pt x="159" y="130"/>
                  <a:pt x="159" y="130"/>
                </a:cubicBezTo>
                <a:cubicBezTo>
                  <a:pt x="160" y="130"/>
                  <a:pt x="160" y="130"/>
                  <a:pt x="161" y="131"/>
                </a:cubicBezTo>
                <a:cubicBezTo>
                  <a:pt x="163" y="136"/>
                  <a:pt x="163" y="136"/>
                  <a:pt x="163" y="136"/>
                </a:cubicBezTo>
                <a:cubicBezTo>
                  <a:pt x="163" y="136"/>
                  <a:pt x="163" y="136"/>
                  <a:pt x="163" y="137"/>
                </a:cubicBezTo>
                <a:cubicBezTo>
                  <a:pt x="163" y="137"/>
                  <a:pt x="163" y="137"/>
                  <a:pt x="162" y="137"/>
                </a:cubicBezTo>
                <a:cubicBezTo>
                  <a:pt x="158" y="139"/>
                  <a:pt x="158" y="139"/>
                  <a:pt x="158" y="139"/>
                </a:cubicBezTo>
                <a:cubicBezTo>
                  <a:pt x="159" y="141"/>
                  <a:pt x="159" y="141"/>
                  <a:pt x="159" y="141"/>
                </a:cubicBezTo>
                <a:cubicBezTo>
                  <a:pt x="163" y="142"/>
                  <a:pt x="163" y="142"/>
                  <a:pt x="163" y="142"/>
                </a:cubicBezTo>
                <a:cubicBezTo>
                  <a:pt x="163" y="142"/>
                  <a:pt x="164" y="142"/>
                  <a:pt x="164" y="142"/>
                </a:cubicBezTo>
                <a:cubicBezTo>
                  <a:pt x="164" y="143"/>
                  <a:pt x="164" y="143"/>
                  <a:pt x="164" y="143"/>
                </a:cubicBezTo>
                <a:lnTo>
                  <a:pt x="163" y="149"/>
                </a:lnTo>
                <a:close/>
                <a:moveTo>
                  <a:pt x="182" y="105"/>
                </a:moveTo>
                <a:cubicBezTo>
                  <a:pt x="182" y="105"/>
                  <a:pt x="183" y="106"/>
                  <a:pt x="183" y="106"/>
                </a:cubicBezTo>
                <a:cubicBezTo>
                  <a:pt x="183" y="106"/>
                  <a:pt x="182" y="107"/>
                  <a:pt x="182" y="107"/>
                </a:cubicBezTo>
                <a:cubicBezTo>
                  <a:pt x="177" y="112"/>
                  <a:pt x="177" y="112"/>
                  <a:pt x="177" y="112"/>
                </a:cubicBezTo>
                <a:cubicBezTo>
                  <a:pt x="176" y="112"/>
                  <a:pt x="176" y="112"/>
                  <a:pt x="176" y="112"/>
                </a:cubicBezTo>
                <a:cubicBezTo>
                  <a:pt x="175" y="112"/>
                  <a:pt x="175" y="112"/>
                  <a:pt x="174" y="112"/>
                </a:cubicBezTo>
                <a:cubicBezTo>
                  <a:pt x="170" y="108"/>
                  <a:pt x="170" y="108"/>
                  <a:pt x="170" y="108"/>
                </a:cubicBezTo>
                <a:cubicBezTo>
                  <a:pt x="168" y="108"/>
                  <a:pt x="168" y="108"/>
                  <a:pt x="168" y="108"/>
                </a:cubicBezTo>
                <a:cubicBezTo>
                  <a:pt x="169" y="114"/>
                  <a:pt x="169" y="114"/>
                  <a:pt x="169" y="114"/>
                </a:cubicBezTo>
                <a:cubicBezTo>
                  <a:pt x="169" y="115"/>
                  <a:pt x="169" y="115"/>
                  <a:pt x="169" y="115"/>
                </a:cubicBezTo>
                <a:cubicBezTo>
                  <a:pt x="168" y="116"/>
                  <a:pt x="168" y="116"/>
                  <a:pt x="168" y="116"/>
                </a:cubicBezTo>
                <a:cubicBezTo>
                  <a:pt x="160" y="117"/>
                  <a:pt x="160" y="117"/>
                  <a:pt x="160" y="117"/>
                </a:cubicBezTo>
                <a:cubicBezTo>
                  <a:pt x="160" y="117"/>
                  <a:pt x="159" y="117"/>
                  <a:pt x="159" y="116"/>
                </a:cubicBezTo>
                <a:cubicBezTo>
                  <a:pt x="159" y="116"/>
                  <a:pt x="159" y="116"/>
                  <a:pt x="159" y="115"/>
                </a:cubicBezTo>
                <a:cubicBezTo>
                  <a:pt x="158" y="110"/>
                  <a:pt x="158" y="110"/>
                  <a:pt x="158" y="110"/>
                </a:cubicBezTo>
                <a:cubicBezTo>
                  <a:pt x="156" y="109"/>
                  <a:pt x="156" y="109"/>
                  <a:pt x="156" y="109"/>
                </a:cubicBezTo>
                <a:cubicBezTo>
                  <a:pt x="153" y="114"/>
                  <a:pt x="153" y="114"/>
                  <a:pt x="153" y="114"/>
                </a:cubicBezTo>
                <a:cubicBezTo>
                  <a:pt x="153" y="114"/>
                  <a:pt x="152" y="115"/>
                  <a:pt x="152" y="115"/>
                </a:cubicBezTo>
                <a:cubicBezTo>
                  <a:pt x="151" y="115"/>
                  <a:pt x="151" y="115"/>
                  <a:pt x="151" y="115"/>
                </a:cubicBezTo>
                <a:cubicBezTo>
                  <a:pt x="144" y="111"/>
                  <a:pt x="144" y="111"/>
                  <a:pt x="144" y="111"/>
                </a:cubicBezTo>
                <a:cubicBezTo>
                  <a:pt x="144" y="111"/>
                  <a:pt x="144" y="111"/>
                  <a:pt x="144" y="111"/>
                </a:cubicBezTo>
                <a:cubicBezTo>
                  <a:pt x="144" y="111"/>
                  <a:pt x="144" y="110"/>
                  <a:pt x="144" y="110"/>
                </a:cubicBezTo>
                <a:cubicBezTo>
                  <a:pt x="143" y="110"/>
                  <a:pt x="144" y="109"/>
                  <a:pt x="144" y="109"/>
                </a:cubicBezTo>
                <a:cubicBezTo>
                  <a:pt x="147" y="104"/>
                  <a:pt x="147" y="104"/>
                  <a:pt x="147" y="104"/>
                </a:cubicBezTo>
                <a:cubicBezTo>
                  <a:pt x="145" y="102"/>
                  <a:pt x="145" y="102"/>
                  <a:pt x="145" y="102"/>
                </a:cubicBezTo>
                <a:cubicBezTo>
                  <a:pt x="140" y="105"/>
                  <a:pt x="140" y="105"/>
                  <a:pt x="140" y="105"/>
                </a:cubicBezTo>
                <a:cubicBezTo>
                  <a:pt x="139" y="105"/>
                  <a:pt x="139" y="105"/>
                  <a:pt x="139" y="105"/>
                </a:cubicBezTo>
                <a:cubicBezTo>
                  <a:pt x="138" y="104"/>
                  <a:pt x="138" y="104"/>
                  <a:pt x="138" y="104"/>
                </a:cubicBezTo>
                <a:cubicBezTo>
                  <a:pt x="135" y="97"/>
                  <a:pt x="135" y="97"/>
                  <a:pt x="135" y="97"/>
                </a:cubicBezTo>
                <a:cubicBezTo>
                  <a:pt x="134" y="96"/>
                  <a:pt x="135" y="95"/>
                  <a:pt x="135" y="95"/>
                </a:cubicBezTo>
                <a:cubicBezTo>
                  <a:pt x="141" y="93"/>
                  <a:pt x="141" y="93"/>
                  <a:pt x="141" y="93"/>
                </a:cubicBezTo>
                <a:cubicBezTo>
                  <a:pt x="141" y="90"/>
                  <a:pt x="141" y="90"/>
                  <a:pt x="141" y="90"/>
                </a:cubicBezTo>
                <a:cubicBezTo>
                  <a:pt x="135" y="89"/>
                  <a:pt x="135" y="89"/>
                  <a:pt x="135" y="89"/>
                </a:cubicBezTo>
                <a:cubicBezTo>
                  <a:pt x="135" y="89"/>
                  <a:pt x="134" y="89"/>
                  <a:pt x="134" y="88"/>
                </a:cubicBezTo>
                <a:cubicBezTo>
                  <a:pt x="134" y="88"/>
                  <a:pt x="134" y="88"/>
                  <a:pt x="134" y="87"/>
                </a:cubicBezTo>
                <a:cubicBezTo>
                  <a:pt x="135" y="80"/>
                  <a:pt x="135" y="80"/>
                  <a:pt x="135" y="80"/>
                </a:cubicBezTo>
                <a:cubicBezTo>
                  <a:pt x="135" y="79"/>
                  <a:pt x="136" y="79"/>
                  <a:pt x="137" y="79"/>
                </a:cubicBezTo>
                <a:cubicBezTo>
                  <a:pt x="143" y="80"/>
                  <a:pt x="143" y="80"/>
                  <a:pt x="143" y="80"/>
                </a:cubicBezTo>
                <a:cubicBezTo>
                  <a:pt x="144" y="78"/>
                  <a:pt x="144" y="78"/>
                  <a:pt x="144" y="78"/>
                </a:cubicBezTo>
                <a:cubicBezTo>
                  <a:pt x="140" y="74"/>
                  <a:pt x="140" y="74"/>
                  <a:pt x="140" y="74"/>
                </a:cubicBezTo>
                <a:cubicBezTo>
                  <a:pt x="140" y="73"/>
                  <a:pt x="140" y="73"/>
                  <a:pt x="140" y="73"/>
                </a:cubicBezTo>
                <a:cubicBezTo>
                  <a:pt x="140" y="72"/>
                  <a:pt x="140" y="72"/>
                  <a:pt x="140" y="72"/>
                </a:cubicBezTo>
                <a:cubicBezTo>
                  <a:pt x="146" y="67"/>
                  <a:pt x="146" y="67"/>
                  <a:pt x="146" y="67"/>
                </a:cubicBezTo>
                <a:cubicBezTo>
                  <a:pt x="146" y="66"/>
                  <a:pt x="146" y="66"/>
                  <a:pt x="147" y="66"/>
                </a:cubicBezTo>
                <a:cubicBezTo>
                  <a:pt x="147" y="66"/>
                  <a:pt x="148" y="66"/>
                  <a:pt x="148" y="67"/>
                </a:cubicBezTo>
                <a:cubicBezTo>
                  <a:pt x="152" y="71"/>
                  <a:pt x="152" y="71"/>
                  <a:pt x="152" y="71"/>
                </a:cubicBezTo>
                <a:cubicBezTo>
                  <a:pt x="154" y="70"/>
                  <a:pt x="154" y="70"/>
                  <a:pt x="154" y="70"/>
                </a:cubicBezTo>
                <a:cubicBezTo>
                  <a:pt x="153" y="64"/>
                  <a:pt x="153" y="64"/>
                  <a:pt x="153" y="64"/>
                </a:cubicBezTo>
                <a:cubicBezTo>
                  <a:pt x="153" y="64"/>
                  <a:pt x="153" y="64"/>
                  <a:pt x="154" y="63"/>
                </a:cubicBezTo>
                <a:cubicBezTo>
                  <a:pt x="154" y="63"/>
                  <a:pt x="154" y="63"/>
                  <a:pt x="155" y="63"/>
                </a:cubicBezTo>
                <a:cubicBezTo>
                  <a:pt x="162" y="62"/>
                  <a:pt x="162" y="62"/>
                  <a:pt x="162" y="62"/>
                </a:cubicBezTo>
                <a:cubicBezTo>
                  <a:pt x="163" y="62"/>
                  <a:pt x="164" y="62"/>
                  <a:pt x="164" y="63"/>
                </a:cubicBezTo>
                <a:cubicBezTo>
                  <a:pt x="164" y="69"/>
                  <a:pt x="164" y="69"/>
                  <a:pt x="164" y="69"/>
                </a:cubicBezTo>
                <a:cubicBezTo>
                  <a:pt x="167" y="70"/>
                  <a:pt x="167" y="70"/>
                  <a:pt x="167" y="70"/>
                </a:cubicBezTo>
                <a:cubicBezTo>
                  <a:pt x="169" y="64"/>
                  <a:pt x="169" y="64"/>
                  <a:pt x="169" y="64"/>
                </a:cubicBezTo>
                <a:cubicBezTo>
                  <a:pt x="170" y="64"/>
                  <a:pt x="171" y="64"/>
                  <a:pt x="172" y="64"/>
                </a:cubicBezTo>
                <a:cubicBezTo>
                  <a:pt x="178" y="68"/>
                  <a:pt x="178" y="68"/>
                  <a:pt x="178" y="68"/>
                </a:cubicBezTo>
                <a:cubicBezTo>
                  <a:pt x="178" y="68"/>
                  <a:pt x="179" y="68"/>
                  <a:pt x="179" y="69"/>
                </a:cubicBezTo>
                <a:cubicBezTo>
                  <a:pt x="179" y="69"/>
                  <a:pt x="179" y="69"/>
                  <a:pt x="179" y="70"/>
                </a:cubicBezTo>
                <a:cubicBezTo>
                  <a:pt x="176" y="75"/>
                  <a:pt x="176" y="75"/>
                  <a:pt x="176" y="75"/>
                </a:cubicBezTo>
                <a:cubicBezTo>
                  <a:pt x="177" y="77"/>
                  <a:pt x="177" y="77"/>
                  <a:pt x="177" y="77"/>
                </a:cubicBezTo>
                <a:cubicBezTo>
                  <a:pt x="182" y="74"/>
                  <a:pt x="182" y="74"/>
                  <a:pt x="182" y="74"/>
                </a:cubicBezTo>
                <a:cubicBezTo>
                  <a:pt x="183" y="74"/>
                  <a:pt x="184" y="74"/>
                  <a:pt x="184" y="75"/>
                </a:cubicBezTo>
                <a:cubicBezTo>
                  <a:pt x="188" y="82"/>
                  <a:pt x="188" y="82"/>
                  <a:pt x="188" y="82"/>
                </a:cubicBezTo>
                <a:cubicBezTo>
                  <a:pt x="188" y="82"/>
                  <a:pt x="188" y="82"/>
                  <a:pt x="188" y="83"/>
                </a:cubicBezTo>
                <a:cubicBezTo>
                  <a:pt x="187" y="83"/>
                  <a:pt x="187" y="83"/>
                  <a:pt x="187" y="84"/>
                </a:cubicBezTo>
                <a:cubicBezTo>
                  <a:pt x="181" y="86"/>
                  <a:pt x="181" y="86"/>
                  <a:pt x="181" y="86"/>
                </a:cubicBezTo>
                <a:cubicBezTo>
                  <a:pt x="182" y="88"/>
                  <a:pt x="182" y="88"/>
                  <a:pt x="182" y="88"/>
                </a:cubicBezTo>
                <a:cubicBezTo>
                  <a:pt x="187" y="90"/>
                  <a:pt x="187" y="90"/>
                  <a:pt x="187" y="90"/>
                </a:cubicBezTo>
                <a:cubicBezTo>
                  <a:pt x="188" y="90"/>
                  <a:pt x="188" y="90"/>
                  <a:pt x="188" y="90"/>
                </a:cubicBezTo>
                <a:cubicBezTo>
                  <a:pt x="189" y="91"/>
                  <a:pt x="189" y="91"/>
                  <a:pt x="189" y="91"/>
                </a:cubicBezTo>
                <a:cubicBezTo>
                  <a:pt x="187" y="99"/>
                  <a:pt x="187" y="99"/>
                  <a:pt x="187" y="99"/>
                </a:cubicBezTo>
                <a:cubicBezTo>
                  <a:pt x="187" y="99"/>
                  <a:pt x="187" y="99"/>
                  <a:pt x="186" y="100"/>
                </a:cubicBezTo>
                <a:cubicBezTo>
                  <a:pt x="186" y="100"/>
                  <a:pt x="186" y="100"/>
                  <a:pt x="185" y="100"/>
                </a:cubicBezTo>
                <a:cubicBezTo>
                  <a:pt x="179" y="99"/>
                  <a:pt x="179" y="99"/>
                  <a:pt x="179" y="99"/>
                </a:cubicBezTo>
                <a:cubicBezTo>
                  <a:pt x="178" y="101"/>
                  <a:pt x="178" y="101"/>
                  <a:pt x="178" y="101"/>
                </a:cubicBezTo>
                <a:lnTo>
                  <a:pt x="182" y="105"/>
                </a:lnTo>
                <a:close/>
              </a:path>
            </a:pathLst>
          </a:custGeom>
          <a:solidFill>
            <a:schemeClr val="bg1"/>
          </a:solidFill>
          <a:ln>
            <a:noFill/>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grpSp>
        <p:nvGrpSpPr>
          <p:cNvPr id="84" name="Group 6"/>
          <p:cNvGrpSpPr/>
          <p:nvPr/>
        </p:nvGrpSpPr>
        <p:grpSpPr>
          <a:xfrm>
            <a:off x="6242507" y="4484081"/>
            <a:ext cx="414595" cy="328353"/>
            <a:chOff x="2908300" y="3916363"/>
            <a:chExt cx="468313" cy="407987"/>
          </a:xfrm>
          <a:solidFill>
            <a:schemeClr val="bg1"/>
          </a:solidFill>
        </p:grpSpPr>
        <p:sp>
          <p:nvSpPr>
            <p:cNvPr id="85" name="Freeform 27"/>
            <p:cNvSpPr>
              <a:spLocks noEditPoints="1"/>
            </p:cNvSpPr>
            <p:nvPr/>
          </p:nvSpPr>
          <p:spPr bwMode="auto">
            <a:xfrm>
              <a:off x="3190875" y="3916363"/>
              <a:ext cx="185738" cy="185737"/>
            </a:xfrm>
            <a:custGeom>
              <a:avLst/>
              <a:gdLst>
                <a:gd name="T0" fmla="*/ 147 w 147"/>
                <a:gd name="T1" fmla="*/ 82 h 147"/>
                <a:gd name="T2" fmla="*/ 147 w 147"/>
                <a:gd name="T3" fmla="*/ 65 h 147"/>
                <a:gd name="T4" fmla="*/ 132 w 147"/>
                <a:gd name="T5" fmla="*/ 61 h 147"/>
                <a:gd name="T6" fmla="*/ 124 w 147"/>
                <a:gd name="T7" fmla="*/ 42 h 147"/>
                <a:gd name="T8" fmla="*/ 131 w 147"/>
                <a:gd name="T9" fmla="*/ 28 h 147"/>
                <a:gd name="T10" fmla="*/ 119 w 147"/>
                <a:gd name="T11" fmla="*/ 16 h 147"/>
                <a:gd name="T12" fmla="*/ 105 w 147"/>
                <a:gd name="T13" fmla="*/ 23 h 147"/>
                <a:gd name="T14" fmla="*/ 87 w 147"/>
                <a:gd name="T15" fmla="*/ 15 h 147"/>
                <a:gd name="T16" fmla="*/ 82 w 147"/>
                <a:gd name="T17" fmla="*/ 0 h 147"/>
                <a:gd name="T18" fmla="*/ 65 w 147"/>
                <a:gd name="T19" fmla="*/ 0 h 147"/>
                <a:gd name="T20" fmla="*/ 60 w 147"/>
                <a:gd name="T21" fmla="*/ 15 h 147"/>
                <a:gd name="T22" fmla="*/ 41 w 147"/>
                <a:gd name="T23" fmla="*/ 23 h 147"/>
                <a:gd name="T24" fmla="*/ 27 w 147"/>
                <a:gd name="T25" fmla="*/ 16 h 147"/>
                <a:gd name="T26" fmla="*/ 15 w 147"/>
                <a:gd name="T27" fmla="*/ 28 h 147"/>
                <a:gd name="T28" fmla="*/ 22 w 147"/>
                <a:gd name="T29" fmla="*/ 42 h 147"/>
                <a:gd name="T30" fmla="*/ 14 w 147"/>
                <a:gd name="T31" fmla="*/ 61 h 147"/>
                <a:gd name="T32" fmla="*/ 0 w 147"/>
                <a:gd name="T33" fmla="*/ 65 h 147"/>
                <a:gd name="T34" fmla="*/ 0 w 147"/>
                <a:gd name="T35" fmla="*/ 82 h 147"/>
                <a:gd name="T36" fmla="*/ 14 w 147"/>
                <a:gd name="T37" fmla="*/ 87 h 147"/>
                <a:gd name="T38" fmla="*/ 22 w 147"/>
                <a:gd name="T39" fmla="*/ 106 h 147"/>
                <a:gd name="T40" fmla="*/ 15 w 147"/>
                <a:gd name="T41" fmla="*/ 120 h 147"/>
                <a:gd name="T42" fmla="*/ 27 w 147"/>
                <a:gd name="T43" fmla="*/ 132 h 147"/>
                <a:gd name="T44" fmla="*/ 41 w 147"/>
                <a:gd name="T45" fmla="*/ 125 h 147"/>
                <a:gd name="T46" fmla="*/ 60 w 147"/>
                <a:gd name="T47" fmla="*/ 133 h 147"/>
                <a:gd name="T48" fmla="*/ 65 w 147"/>
                <a:gd name="T49" fmla="*/ 147 h 147"/>
                <a:gd name="T50" fmla="*/ 82 w 147"/>
                <a:gd name="T51" fmla="*/ 147 h 147"/>
                <a:gd name="T52" fmla="*/ 87 w 147"/>
                <a:gd name="T53" fmla="*/ 133 h 147"/>
                <a:gd name="T54" fmla="*/ 105 w 147"/>
                <a:gd name="T55" fmla="*/ 125 h 147"/>
                <a:gd name="T56" fmla="*/ 119 w 147"/>
                <a:gd name="T57" fmla="*/ 132 h 147"/>
                <a:gd name="T58" fmla="*/ 131 w 147"/>
                <a:gd name="T59" fmla="*/ 120 h 147"/>
                <a:gd name="T60" fmla="*/ 124 w 147"/>
                <a:gd name="T61" fmla="*/ 106 h 147"/>
                <a:gd name="T62" fmla="*/ 132 w 147"/>
                <a:gd name="T63" fmla="*/ 87 h 147"/>
                <a:gd name="T64" fmla="*/ 147 w 147"/>
                <a:gd name="T65" fmla="*/ 82 h 147"/>
                <a:gd name="T66" fmla="*/ 73 w 147"/>
                <a:gd name="T67" fmla="*/ 106 h 147"/>
                <a:gd name="T68" fmla="*/ 41 w 147"/>
                <a:gd name="T69" fmla="*/ 74 h 147"/>
                <a:gd name="T70" fmla="*/ 73 w 147"/>
                <a:gd name="T71" fmla="*/ 42 h 147"/>
                <a:gd name="T72" fmla="*/ 105 w 147"/>
                <a:gd name="T73" fmla="*/ 74 h 147"/>
                <a:gd name="T74" fmla="*/ 73 w 147"/>
                <a:gd name="T75" fmla="*/ 10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7" h="147">
                  <a:moveTo>
                    <a:pt x="147" y="82"/>
                  </a:moveTo>
                  <a:cubicBezTo>
                    <a:pt x="147" y="65"/>
                    <a:pt x="147" y="65"/>
                    <a:pt x="147" y="65"/>
                  </a:cubicBezTo>
                  <a:cubicBezTo>
                    <a:pt x="132" y="61"/>
                    <a:pt x="132" y="61"/>
                    <a:pt x="132" y="61"/>
                  </a:cubicBezTo>
                  <a:cubicBezTo>
                    <a:pt x="130" y="54"/>
                    <a:pt x="128" y="47"/>
                    <a:pt x="124" y="42"/>
                  </a:cubicBezTo>
                  <a:cubicBezTo>
                    <a:pt x="131" y="28"/>
                    <a:pt x="131" y="28"/>
                    <a:pt x="131" y="28"/>
                  </a:cubicBezTo>
                  <a:cubicBezTo>
                    <a:pt x="119" y="16"/>
                    <a:pt x="119" y="16"/>
                    <a:pt x="119" y="16"/>
                  </a:cubicBezTo>
                  <a:cubicBezTo>
                    <a:pt x="105" y="23"/>
                    <a:pt x="105" y="23"/>
                    <a:pt x="105" y="23"/>
                  </a:cubicBezTo>
                  <a:cubicBezTo>
                    <a:pt x="100" y="19"/>
                    <a:pt x="93" y="17"/>
                    <a:pt x="87" y="15"/>
                  </a:cubicBezTo>
                  <a:cubicBezTo>
                    <a:pt x="82" y="0"/>
                    <a:pt x="82" y="0"/>
                    <a:pt x="82" y="0"/>
                  </a:cubicBezTo>
                  <a:cubicBezTo>
                    <a:pt x="65" y="0"/>
                    <a:pt x="65" y="0"/>
                    <a:pt x="65" y="0"/>
                  </a:cubicBezTo>
                  <a:cubicBezTo>
                    <a:pt x="60" y="15"/>
                    <a:pt x="60" y="15"/>
                    <a:pt x="60" y="15"/>
                  </a:cubicBezTo>
                  <a:cubicBezTo>
                    <a:pt x="53" y="17"/>
                    <a:pt x="47" y="19"/>
                    <a:pt x="41" y="23"/>
                  </a:cubicBezTo>
                  <a:cubicBezTo>
                    <a:pt x="27" y="16"/>
                    <a:pt x="27" y="16"/>
                    <a:pt x="27" y="16"/>
                  </a:cubicBezTo>
                  <a:cubicBezTo>
                    <a:pt x="15" y="28"/>
                    <a:pt x="15" y="28"/>
                    <a:pt x="15" y="28"/>
                  </a:cubicBezTo>
                  <a:cubicBezTo>
                    <a:pt x="22" y="42"/>
                    <a:pt x="22" y="42"/>
                    <a:pt x="22" y="42"/>
                  </a:cubicBezTo>
                  <a:cubicBezTo>
                    <a:pt x="19" y="47"/>
                    <a:pt x="16" y="54"/>
                    <a:pt x="14" y="61"/>
                  </a:cubicBezTo>
                  <a:cubicBezTo>
                    <a:pt x="0" y="65"/>
                    <a:pt x="0" y="65"/>
                    <a:pt x="0" y="65"/>
                  </a:cubicBezTo>
                  <a:cubicBezTo>
                    <a:pt x="0" y="82"/>
                    <a:pt x="0" y="82"/>
                    <a:pt x="0" y="82"/>
                  </a:cubicBezTo>
                  <a:cubicBezTo>
                    <a:pt x="14" y="87"/>
                    <a:pt x="14" y="87"/>
                    <a:pt x="14" y="87"/>
                  </a:cubicBezTo>
                  <a:cubicBezTo>
                    <a:pt x="16" y="94"/>
                    <a:pt x="19" y="100"/>
                    <a:pt x="22" y="106"/>
                  </a:cubicBezTo>
                  <a:cubicBezTo>
                    <a:pt x="15" y="120"/>
                    <a:pt x="15" y="120"/>
                    <a:pt x="15" y="120"/>
                  </a:cubicBezTo>
                  <a:cubicBezTo>
                    <a:pt x="27" y="132"/>
                    <a:pt x="27" y="132"/>
                    <a:pt x="27" y="132"/>
                  </a:cubicBezTo>
                  <a:cubicBezTo>
                    <a:pt x="41" y="125"/>
                    <a:pt x="41" y="125"/>
                    <a:pt x="41" y="125"/>
                  </a:cubicBezTo>
                  <a:cubicBezTo>
                    <a:pt x="47" y="129"/>
                    <a:pt x="53" y="131"/>
                    <a:pt x="60" y="133"/>
                  </a:cubicBezTo>
                  <a:cubicBezTo>
                    <a:pt x="65" y="147"/>
                    <a:pt x="65" y="147"/>
                    <a:pt x="65" y="147"/>
                  </a:cubicBezTo>
                  <a:cubicBezTo>
                    <a:pt x="82" y="147"/>
                    <a:pt x="82" y="147"/>
                    <a:pt x="82" y="147"/>
                  </a:cubicBezTo>
                  <a:cubicBezTo>
                    <a:pt x="87" y="133"/>
                    <a:pt x="87" y="133"/>
                    <a:pt x="87" y="133"/>
                  </a:cubicBezTo>
                  <a:cubicBezTo>
                    <a:pt x="93" y="131"/>
                    <a:pt x="100" y="129"/>
                    <a:pt x="105" y="125"/>
                  </a:cubicBezTo>
                  <a:cubicBezTo>
                    <a:pt x="119" y="132"/>
                    <a:pt x="119" y="132"/>
                    <a:pt x="119" y="132"/>
                  </a:cubicBezTo>
                  <a:cubicBezTo>
                    <a:pt x="131" y="120"/>
                    <a:pt x="131" y="120"/>
                    <a:pt x="131" y="120"/>
                  </a:cubicBezTo>
                  <a:cubicBezTo>
                    <a:pt x="124" y="106"/>
                    <a:pt x="124" y="106"/>
                    <a:pt x="124" y="106"/>
                  </a:cubicBezTo>
                  <a:cubicBezTo>
                    <a:pt x="128" y="100"/>
                    <a:pt x="130" y="94"/>
                    <a:pt x="132" y="87"/>
                  </a:cubicBezTo>
                  <a:lnTo>
                    <a:pt x="147" y="82"/>
                  </a:lnTo>
                  <a:close/>
                  <a:moveTo>
                    <a:pt x="73" y="106"/>
                  </a:moveTo>
                  <a:cubicBezTo>
                    <a:pt x="55" y="106"/>
                    <a:pt x="41" y="92"/>
                    <a:pt x="41" y="74"/>
                  </a:cubicBezTo>
                  <a:cubicBezTo>
                    <a:pt x="41" y="56"/>
                    <a:pt x="55" y="42"/>
                    <a:pt x="73" y="42"/>
                  </a:cubicBezTo>
                  <a:cubicBezTo>
                    <a:pt x="91" y="42"/>
                    <a:pt x="105" y="56"/>
                    <a:pt x="105" y="74"/>
                  </a:cubicBezTo>
                  <a:cubicBezTo>
                    <a:pt x="105" y="92"/>
                    <a:pt x="91" y="106"/>
                    <a:pt x="73" y="106"/>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sp>
          <p:nvSpPr>
            <p:cNvPr id="86" name="Freeform 28"/>
            <p:cNvSpPr>
              <a:spLocks noEditPoints="1"/>
            </p:cNvSpPr>
            <p:nvPr/>
          </p:nvSpPr>
          <p:spPr bwMode="auto">
            <a:xfrm>
              <a:off x="2908300" y="3970338"/>
              <a:ext cx="128588" cy="127000"/>
            </a:xfrm>
            <a:custGeom>
              <a:avLst/>
              <a:gdLst>
                <a:gd name="T0" fmla="*/ 101 w 101"/>
                <a:gd name="T1" fmla="*/ 56 h 101"/>
                <a:gd name="T2" fmla="*/ 101 w 101"/>
                <a:gd name="T3" fmla="*/ 44 h 101"/>
                <a:gd name="T4" fmla="*/ 91 w 101"/>
                <a:gd name="T5" fmla="*/ 41 h 101"/>
                <a:gd name="T6" fmla="*/ 85 w 101"/>
                <a:gd name="T7" fmla="*/ 28 h 101"/>
                <a:gd name="T8" fmla="*/ 90 w 101"/>
                <a:gd name="T9" fmla="*/ 19 h 101"/>
                <a:gd name="T10" fmla="*/ 82 w 101"/>
                <a:gd name="T11" fmla="*/ 10 h 101"/>
                <a:gd name="T12" fmla="*/ 72 w 101"/>
                <a:gd name="T13" fmla="*/ 15 h 101"/>
                <a:gd name="T14" fmla="*/ 60 w 101"/>
                <a:gd name="T15" fmla="*/ 10 h 101"/>
                <a:gd name="T16" fmla="*/ 56 w 101"/>
                <a:gd name="T17" fmla="*/ 0 h 101"/>
                <a:gd name="T18" fmla="*/ 45 w 101"/>
                <a:gd name="T19" fmla="*/ 0 h 101"/>
                <a:gd name="T20" fmla="*/ 41 w 101"/>
                <a:gd name="T21" fmla="*/ 10 h 101"/>
                <a:gd name="T22" fmla="*/ 28 w 101"/>
                <a:gd name="T23" fmla="*/ 15 h 101"/>
                <a:gd name="T24" fmla="*/ 19 w 101"/>
                <a:gd name="T25" fmla="*/ 10 h 101"/>
                <a:gd name="T26" fmla="*/ 11 w 101"/>
                <a:gd name="T27" fmla="*/ 19 h 101"/>
                <a:gd name="T28" fmla="*/ 15 w 101"/>
                <a:gd name="T29" fmla="*/ 28 h 101"/>
                <a:gd name="T30" fmla="*/ 10 w 101"/>
                <a:gd name="T31" fmla="*/ 41 h 101"/>
                <a:gd name="T32" fmla="*/ 0 w 101"/>
                <a:gd name="T33" fmla="*/ 44 h 101"/>
                <a:gd name="T34" fmla="*/ 0 w 101"/>
                <a:gd name="T35" fmla="*/ 56 h 101"/>
                <a:gd name="T36" fmla="*/ 10 w 101"/>
                <a:gd name="T37" fmla="*/ 59 h 101"/>
                <a:gd name="T38" fmla="*/ 15 w 101"/>
                <a:gd name="T39" fmla="*/ 72 h 101"/>
                <a:gd name="T40" fmla="*/ 11 w 101"/>
                <a:gd name="T41" fmla="*/ 82 h 101"/>
                <a:gd name="T42" fmla="*/ 19 w 101"/>
                <a:gd name="T43" fmla="*/ 90 h 101"/>
                <a:gd name="T44" fmla="*/ 28 w 101"/>
                <a:gd name="T45" fmla="*/ 85 h 101"/>
                <a:gd name="T46" fmla="*/ 41 w 101"/>
                <a:gd name="T47" fmla="*/ 91 h 101"/>
                <a:gd name="T48" fmla="*/ 45 w 101"/>
                <a:gd name="T49" fmla="*/ 101 h 101"/>
                <a:gd name="T50" fmla="*/ 56 w 101"/>
                <a:gd name="T51" fmla="*/ 101 h 101"/>
                <a:gd name="T52" fmla="*/ 60 w 101"/>
                <a:gd name="T53" fmla="*/ 91 h 101"/>
                <a:gd name="T54" fmla="*/ 72 w 101"/>
                <a:gd name="T55" fmla="*/ 85 h 101"/>
                <a:gd name="T56" fmla="*/ 82 w 101"/>
                <a:gd name="T57" fmla="*/ 90 h 101"/>
                <a:gd name="T58" fmla="*/ 90 w 101"/>
                <a:gd name="T59" fmla="*/ 82 h 101"/>
                <a:gd name="T60" fmla="*/ 85 w 101"/>
                <a:gd name="T61" fmla="*/ 72 h 101"/>
                <a:gd name="T62" fmla="*/ 91 w 101"/>
                <a:gd name="T63" fmla="*/ 59 h 101"/>
                <a:gd name="T64" fmla="*/ 101 w 101"/>
                <a:gd name="T65" fmla="*/ 56 h 101"/>
                <a:gd name="T66" fmla="*/ 50 w 101"/>
                <a:gd name="T67" fmla="*/ 72 h 101"/>
                <a:gd name="T68" fmla="*/ 28 w 101"/>
                <a:gd name="T69" fmla="*/ 50 h 101"/>
                <a:gd name="T70" fmla="*/ 50 w 101"/>
                <a:gd name="T71" fmla="*/ 28 h 101"/>
                <a:gd name="T72" fmla="*/ 73 w 101"/>
                <a:gd name="T73" fmla="*/ 50 h 101"/>
                <a:gd name="T74" fmla="*/ 50 w 101"/>
                <a:gd name="T75" fmla="*/ 7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6"/>
                  </a:moveTo>
                  <a:cubicBezTo>
                    <a:pt x="101" y="44"/>
                    <a:pt x="101" y="44"/>
                    <a:pt x="101" y="44"/>
                  </a:cubicBezTo>
                  <a:cubicBezTo>
                    <a:pt x="91" y="41"/>
                    <a:pt x="91" y="41"/>
                    <a:pt x="91" y="41"/>
                  </a:cubicBezTo>
                  <a:cubicBezTo>
                    <a:pt x="90" y="36"/>
                    <a:pt x="88" y="32"/>
                    <a:pt x="85" y="28"/>
                  </a:cubicBezTo>
                  <a:cubicBezTo>
                    <a:pt x="90" y="19"/>
                    <a:pt x="90" y="19"/>
                    <a:pt x="90" y="19"/>
                  </a:cubicBezTo>
                  <a:cubicBezTo>
                    <a:pt x="82" y="10"/>
                    <a:pt x="82" y="10"/>
                    <a:pt x="82" y="10"/>
                  </a:cubicBezTo>
                  <a:cubicBezTo>
                    <a:pt x="72" y="15"/>
                    <a:pt x="72" y="15"/>
                    <a:pt x="72" y="15"/>
                  </a:cubicBezTo>
                  <a:cubicBezTo>
                    <a:pt x="69" y="13"/>
                    <a:pt x="64" y="11"/>
                    <a:pt x="60" y="10"/>
                  </a:cubicBezTo>
                  <a:cubicBezTo>
                    <a:pt x="56" y="0"/>
                    <a:pt x="56" y="0"/>
                    <a:pt x="56" y="0"/>
                  </a:cubicBezTo>
                  <a:cubicBezTo>
                    <a:pt x="45" y="0"/>
                    <a:pt x="45" y="0"/>
                    <a:pt x="45" y="0"/>
                  </a:cubicBezTo>
                  <a:cubicBezTo>
                    <a:pt x="41" y="10"/>
                    <a:pt x="41" y="10"/>
                    <a:pt x="41" y="10"/>
                  </a:cubicBezTo>
                  <a:cubicBezTo>
                    <a:pt x="37" y="11"/>
                    <a:pt x="32" y="13"/>
                    <a:pt x="28" y="15"/>
                  </a:cubicBezTo>
                  <a:cubicBezTo>
                    <a:pt x="19" y="10"/>
                    <a:pt x="19" y="10"/>
                    <a:pt x="19" y="10"/>
                  </a:cubicBezTo>
                  <a:cubicBezTo>
                    <a:pt x="11" y="19"/>
                    <a:pt x="11" y="19"/>
                    <a:pt x="11" y="19"/>
                  </a:cubicBezTo>
                  <a:cubicBezTo>
                    <a:pt x="15" y="28"/>
                    <a:pt x="15" y="28"/>
                    <a:pt x="15" y="28"/>
                  </a:cubicBezTo>
                  <a:cubicBezTo>
                    <a:pt x="13" y="32"/>
                    <a:pt x="11" y="36"/>
                    <a:pt x="10" y="41"/>
                  </a:cubicBezTo>
                  <a:cubicBezTo>
                    <a:pt x="0" y="44"/>
                    <a:pt x="0" y="44"/>
                    <a:pt x="0" y="44"/>
                  </a:cubicBezTo>
                  <a:cubicBezTo>
                    <a:pt x="0" y="56"/>
                    <a:pt x="0" y="56"/>
                    <a:pt x="0" y="56"/>
                  </a:cubicBezTo>
                  <a:cubicBezTo>
                    <a:pt x="10" y="59"/>
                    <a:pt x="10" y="59"/>
                    <a:pt x="10" y="59"/>
                  </a:cubicBezTo>
                  <a:cubicBezTo>
                    <a:pt x="11" y="64"/>
                    <a:pt x="13" y="68"/>
                    <a:pt x="15" y="72"/>
                  </a:cubicBezTo>
                  <a:cubicBezTo>
                    <a:pt x="11" y="82"/>
                    <a:pt x="11" y="82"/>
                    <a:pt x="11" y="82"/>
                  </a:cubicBezTo>
                  <a:cubicBezTo>
                    <a:pt x="19" y="90"/>
                    <a:pt x="19" y="90"/>
                    <a:pt x="19" y="90"/>
                  </a:cubicBezTo>
                  <a:cubicBezTo>
                    <a:pt x="28" y="85"/>
                    <a:pt x="28" y="85"/>
                    <a:pt x="28" y="85"/>
                  </a:cubicBezTo>
                  <a:cubicBezTo>
                    <a:pt x="32" y="88"/>
                    <a:pt x="37" y="90"/>
                    <a:pt x="41" y="91"/>
                  </a:cubicBezTo>
                  <a:cubicBezTo>
                    <a:pt x="45" y="101"/>
                    <a:pt x="45" y="101"/>
                    <a:pt x="45" y="101"/>
                  </a:cubicBezTo>
                  <a:cubicBezTo>
                    <a:pt x="56" y="101"/>
                    <a:pt x="56" y="101"/>
                    <a:pt x="56" y="101"/>
                  </a:cubicBezTo>
                  <a:cubicBezTo>
                    <a:pt x="60" y="91"/>
                    <a:pt x="60" y="91"/>
                    <a:pt x="60" y="91"/>
                  </a:cubicBezTo>
                  <a:cubicBezTo>
                    <a:pt x="64" y="90"/>
                    <a:pt x="69" y="88"/>
                    <a:pt x="72" y="85"/>
                  </a:cubicBezTo>
                  <a:cubicBezTo>
                    <a:pt x="82" y="90"/>
                    <a:pt x="82" y="90"/>
                    <a:pt x="82" y="90"/>
                  </a:cubicBezTo>
                  <a:cubicBezTo>
                    <a:pt x="90" y="82"/>
                    <a:pt x="90" y="82"/>
                    <a:pt x="90" y="82"/>
                  </a:cubicBezTo>
                  <a:cubicBezTo>
                    <a:pt x="85" y="72"/>
                    <a:pt x="85" y="72"/>
                    <a:pt x="85" y="72"/>
                  </a:cubicBezTo>
                  <a:cubicBezTo>
                    <a:pt x="88" y="68"/>
                    <a:pt x="90" y="64"/>
                    <a:pt x="91" y="59"/>
                  </a:cubicBezTo>
                  <a:lnTo>
                    <a:pt x="101" y="56"/>
                  </a:lnTo>
                  <a:close/>
                  <a:moveTo>
                    <a:pt x="50" y="72"/>
                  </a:moveTo>
                  <a:cubicBezTo>
                    <a:pt x="38" y="72"/>
                    <a:pt x="28" y="62"/>
                    <a:pt x="28" y="50"/>
                  </a:cubicBezTo>
                  <a:cubicBezTo>
                    <a:pt x="28" y="38"/>
                    <a:pt x="38" y="28"/>
                    <a:pt x="50" y="28"/>
                  </a:cubicBezTo>
                  <a:cubicBezTo>
                    <a:pt x="63" y="28"/>
                    <a:pt x="73" y="38"/>
                    <a:pt x="73" y="50"/>
                  </a:cubicBezTo>
                  <a:cubicBezTo>
                    <a:pt x="73" y="62"/>
                    <a:pt x="63" y="72"/>
                    <a:pt x="50" y="72"/>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sp>
          <p:nvSpPr>
            <p:cNvPr id="87" name="Freeform 29"/>
            <p:cNvSpPr>
              <a:spLocks noEditPoints="1"/>
            </p:cNvSpPr>
            <p:nvPr/>
          </p:nvSpPr>
          <p:spPr bwMode="auto">
            <a:xfrm>
              <a:off x="2974975" y="4030663"/>
              <a:ext cx="293688" cy="293687"/>
            </a:xfrm>
            <a:custGeom>
              <a:avLst/>
              <a:gdLst>
                <a:gd name="T0" fmla="*/ 222 w 232"/>
                <a:gd name="T1" fmla="*/ 171 h 232"/>
                <a:gd name="T2" fmla="*/ 232 w 232"/>
                <a:gd name="T3" fmla="*/ 146 h 232"/>
                <a:gd name="T4" fmla="*/ 212 w 232"/>
                <a:gd name="T5" fmla="*/ 130 h 232"/>
                <a:gd name="T6" fmla="*/ 211 w 232"/>
                <a:gd name="T7" fmla="*/ 97 h 232"/>
                <a:gd name="T8" fmla="*/ 230 w 232"/>
                <a:gd name="T9" fmla="*/ 80 h 232"/>
                <a:gd name="T10" fmla="*/ 219 w 232"/>
                <a:gd name="T11" fmla="*/ 55 h 232"/>
                <a:gd name="T12" fmla="*/ 194 w 232"/>
                <a:gd name="T13" fmla="*/ 57 h 232"/>
                <a:gd name="T14" fmla="*/ 170 w 232"/>
                <a:gd name="T15" fmla="*/ 35 h 232"/>
                <a:gd name="T16" fmla="*/ 171 w 232"/>
                <a:gd name="T17" fmla="*/ 10 h 232"/>
                <a:gd name="T18" fmla="*/ 146 w 232"/>
                <a:gd name="T19" fmla="*/ 0 h 232"/>
                <a:gd name="T20" fmla="*/ 130 w 232"/>
                <a:gd name="T21" fmla="*/ 19 h 232"/>
                <a:gd name="T22" fmla="*/ 97 w 232"/>
                <a:gd name="T23" fmla="*/ 20 h 232"/>
                <a:gd name="T24" fmla="*/ 80 w 232"/>
                <a:gd name="T25" fmla="*/ 2 h 232"/>
                <a:gd name="T26" fmla="*/ 55 w 232"/>
                <a:gd name="T27" fmla="*/ 13 h 232"/>
                <a:gd name="T28" fmla="*/ 57 w 232"/>
                <a:gd name="T29" fmla="*/ 38 h 232"/>
                <a:gd name="T30" fmla="*/ 35 w 232"/>
                <a:gd name="T31" fmla="*/ 62 h 232"/>
                <a:gd name="T32" fmla="*/ 10 w 232"/>
                <a:gd name="T33" fmla="*/ 60 h 232"/>
                <a:gd name="T34" fmla="*/ 0 w 232"/>
                <a:gd name="T35" fmla="*/ 86 h 232"/>
                <a:gd name="T36" fmla="*/ 19 w 232"/>
                <a:gd name="T37" fmla="*/ 102 h 232"/>
                <a:gd name="T38" fmla="*/ 20 w 232"/>
                <a:gd name="T39" fmla="*/ 135 h 232"/>
                <a:gd name="T40" fmla="*/ 2 w 232"/>
                <a:gd name="T41" fmla="*/ 152 h 232"/>
                <a:gd name="T42" fmla="*/ 13 w 232"/>
                <a:gd name="T43" fmla="*/ 177 h 232"/>
                <a:gd name="T44" fmla="*/ 38 w 232"/>
                <a:gd name="T45" fmla="*/ 174 h 232"/>
                <a:gd name="T46" fmla="*/ 61 w 232"/>
                <a:gd name="T47" fmla="*/ 197 h 232"/>
                <a:gd name="T48" fmla="*/ 60 w 232"/>
                <a:gd name="T49" fmla="*/ 222 h 232"/>
                <a:gd name="T50" fmla="*/ 86 w 232"/>
                <a:gd name="T51" fmla="*/ 232 h 232"/>
                <a:gd name="T52" fmla="*/ 102 w 232"/>
                <a:gd name="T53" fmla="*/ 213 h 232"/>
                <a:gd name="T54" fmla="*/ 135 w 232"/>
                <a:gd name="T55" fmla="*/ 212 h 232"/>
                <a:gd name="T56" fmla="*/ 151 w 232"/>
                <a:gd name="T57" fmla="*/ 230 h 232"/>
                <a:gd name="T58" fmla="*/ 177 w 232"/>
                <a:gd name="T59" fmla="*/ 219 h 232"/>
                <a:gd name="T60" fmla="*/ 174 w 232"/>
                <a:gd name="T61" fmla="*/ 194 h 232"/>
                <a:gd name="T62" fmla="*/ 197 w 232"/>
                <a:gd name="T63" fmla="*/ 170 h 232"/>
                <a:gd name="T64" fmla="*/ 222 w 232"/>
                <a:gd name="T65" fmla="*/ 171 h 232"/>
                <a:gd name="T66" fmla="*/ 91 w 232"/>
                <a:gd name="T67" fmla="*/ 181 h 232"/>
                <a:gd name="T68" fmla="*/ 51 w 232"/>
                <a:gd name="T69" fmla="*/ 91 h 232"/>
                <a:gd name="T70" fmla="*/ 141 w 232"/>
                <a:gd name="T71" fmla="*/ 51 h 232"/>
                <a:gd name="T72" fmla="*/ 180 w 232"/>
                <a:gd name="T73" fmla="*/ 141 h 232"/>
                <a:gd name="T74" fmla="*/ 91 w 232"/>
                <a:gd name="T75" fmla="*/ 18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2" h="232">
                  <a:moveTo>
                    <a:pt x="222" y="171"/>
                  </a:moveTo>
                  <a:cubicBezTo>
                    <a:pt x="232" y="146"/>
                    <a:pt x="232" y="146"/>
                    <a:pt x="232" y="146"/>
                  </a:cubicBezTo>
                  <a:cubicBezTo>
                    <a:pt x="212" y="130"/>
                    <a:pt x="212" y="130"/>
                    <a:pt x="212" y="130"/>
                  </a:cubicBezTo>
                  <a:cubicBezTo>
                    <a:pt x="214" y="119"/>
                    <a:pt x="214" y="108"/>
                    <a:pt x="211" y="97"/>
                  </a:cubicBezTo>
                  <a:cubicBezTo>
                    <a:pt x="230" y="80"/>
                    <a:pt x="230" y="80"/>
                    <a:pt x="230" y="80"/>
                  </a:cubicBezTo>
                  <a:cubicBezTo>
                    <a:pt x="219" y="55"/>
                    <a:pt x="219" y="55"/>
                    <a:pt x="219" y="55"/>
                  </a:cubicBezTo>
                  <a:cubicBezTo>
                    <a:pt x="194" y="57"/>
                    <a:pt x="194" y="57"/>
                    <a:pt x="194" y="57"/>
                  </a:cubicBezTo>
                  <a:cubicBezTo>
                    <a:pt x="187" y="49"/>
                    <a:pt x="179" y="41"/>
                    <a:pt x="170" y="35"/>
                  </a:cubicBezTo>
                  <a:cubicBezTo>
                    <a:pt x="171" y="10"/>
                    <a:pt x="171" y="10"/>
                    <a:pt x="171" y="10"/>
                  </a:cubicBezTo>
                  <a:cubicBezTo>
                    <a:pt x="146" y="0"/>
                    <a:pt x="146" y="0"/>
                    <a:pt x="146" y="0"/>
                  </a:cubicBezTo>
                  <a:cubicBezTo>
                    <a:pt x="130" y="19"/>
                    <a:pt x="130" y="19"/>
                    <a:pt x="130" y="19"/>
                  </a:cubicBezTo>
                  <a:cubicBezTo>
                    <a:pt x="119" y="18"/>
                    <a:pt x="108" y="18"/>
                    <a:pt x="97" y="20"/>
                  </a:cubicBezTo>
                  <a:cubicBezTo>
                    <a:pt x="80" y="2"/>
                    <a:pt x="80" y="2"/>
                    <a:pt x="80" y="2"/>
                  </a:cubicBezTo>
                  <a:cubicBezTo>
                    <a:pt x="55" y="13"/>
                    <a:pt x="55" y="13"/>
                    <a:pt x="55" y="13"/>
                  </a:cubicBezTo>
                  <a:cubicBezTo>
                    <a:pt x="57" y="38"/>
                    <a:pt x="57" y="38"/>
                    <a:pt x="57" y="38"/>
                  </a:cubicBezTo>
                  <a:cubicBezTo>
                    <a:pt x="49" y="44"/>
                    <a:pt x="41" y="52"/>
                    <a:pt x="35" y="62"/>
                  </a:cubicBezTo>
                  <a:cubicBezTo>
                    <a:pt x="10" y="60"/>
                    <a:pt x="10" y="60"/>
                    <a:pt x="10" y="60"/>
                  </a:cubicBezTo>
                  <a:cubicBezTo>
                    <a:pt x="0" y="86"/>
                    <a:pt x="0" y="86"/>
                    <a:pt x="0" y="86"/>
                  </a:cubicBezTo>
                  <a:cubicBezTo>
                    <a:pt x="19" y="102"/>
                    <a:pt x="19" y="102"/>
                    <a:pt x="19" y="102"/>
                  </a:cubicBezTo>
                  <a:cubicBezTo>
                    <a:pt x="18" y="113"/>
                    <a:pt x="18" y="124"/>
                    <a:pt x="20" y="135"/>
                  </a:cubicBezTo>
                  <a:cubicBezTo>
                    <a:pt x="2" y="152"/>
                    <a:pt x="2" y="152"/>
                    <a:pt x="2" y="152"/>
                  </a:cubicBezTo>
                  <a:cubicBezTo>
                    <a:pt x="13" y="177"/>
                    <a:pt x="13" y="177"/>
                    <a:pt x="13" y="177"/>
                  </a:cubicBezTo>
                  <a:cubicBezTo>
                    <a:pt x="38" y="174"/>
                    <a:pt x="38" y="174"/>
                    <a:pt x="38" y="174"/>
                  </a:cubicBezTo>
                  <a:cubicBezTo>
                    <a:pt x="44" y="183"/>
                    <a:pt x="52" y="191"/>
                    <a:pt x="61" y="197"/>
                  </a:cubicBezTo>
                  <a:cubicBezTo>
                    <a:pt x="60" y="222"/>
                    <a:pt x="60" y="222"/>
                    <a:pt x="60" y="222"/>
                  </a:cubicBezTo>
                  <a:cubicBezTo>
                    <a:pt x="86" y="232"/>
                    <a:pt x="86" y="232"/>
                    <a:pt x="86" y="232"/>
                  </a:cubicBezTo>
                  <a:cubicBezTo>
                    <a:pt x="102" y="213"/>
                    <a:pt x="102" y="213"/>
                    <a:pt x="102" y="213"/>
                  </a:cubicBezTo>
                  <a:cubicBezTo>
                    <a:pt x="113" y="214"/>
                    <a:pt x="124" y="214"/>
                    <a:pt x="135" y="212"/>
                  </a:cubicBezTo>
                  <a:cubicBezTo>
                    <a:pt x="151" y="230"/>
                    <a:pt x="151" y="230"/>
                    <a:pt x="151" y="230"/>
                  </a:cubicBezTo>
                  <a:cubicBezTo>
                    <a:pt x="177" y="219"/>
                    <a:pt x="177" y="219"/>
                    <a:pt x="177" y="219"/>
                  </a:cubicBezTo>
                  <a:cubicBezTo>
                    <a:pt x="174" y="194"/>
                    <a:pt x="174" y="194"/>
                    <a:pt x="174" y="194"/>
                  </a:cubicBezTo>
                  <a:cubicBezTo>
                    <a:pt x="183" y="188"/>
                    <a:pt x="191" y="180"/>
                    <a:pt x="197" y="170"/>
                  </a:cubicBezTo>
                  <a:lnTo>
                    <a:pt x="222" y="171"/>
                  </a:lnTo>
                  <a:close/>
                  <a:moveTo>
                    <a:pt x="91" y="181"/>
                  </a:moveTo>
                  <a:cubicBezTo>
                    <a:pt x="55" y="167"/>
                    <a:pt x="37" y="127"/>
                    <a:pt x="51" y="91"/>
                  </a:cubicBezTo>
                  <a:cubicBezTo>
                    <a:pt x="65" y="55"/>
                    <a:pt x="105" y="38"/>
                    <a:pt x="141" y="51"/>
                  </a:cubicBezTo>
                  <a:cubicBezTo>
                    <a:pt x="176" y="65"/>
                    <a:pt x="194" y="105"/>
                    <a:pt x="180" y="141"/>
                  </a:cubicBezTo>
                  <a:cubicBezTo>
                    <a:pt x="167" y="176"/>
                    <a:pt x="127" y="194"/>
                    <a:pt x="91" y="181"/>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sp>
          <p:nvSpPr>
            <p:cNvPr id="88" name="Freeform 30"/>
            <p:cNvSpPr/>
            <p:nvPr/>
          </p:nvSpPr>
          <p:spPr bwMode="auto">
            <a:xfrm>
              <a:off x="3094038" y="4105275"/>
              <a:ext cx="52388" cy="57150"/>
            </a:xfrm>
            <a:custGeom>
              <a:avLst/>
              <a:gdLst>
                <a:gd name="T0" fmla="*/ 4 w 42"/>
                <a:gd name="T1" fmla="*/ 29 h 46"/>
                <a:gd name="T2" fmla="*/ 22 w 42"/>
                <a:gd name="T3" fmla="*/ 46 h 46"/>
                <a:gd name="T4" fmla="*/ 38 w 42"/>
                <a:gd name="T5" fmla="*/ 29 h 46"/>
                <a:gd name="T6" fmla="*/ 42 w 42"/>
                <a:gd name="T7" fmla="*/ 23 h 46"/>
                <a:gd name="T8" fmla="*/ 40 w 42"/>
                <a:gd name="T9" fmla="*/ 17 h 46"/>
                <a:gd name="T10" fmla="*/ 21 w 42"/>
                <a:gd name="T11" fmla="*/ 0 h 46"/>
                <a:gd name="T12" fmla="*/ 2 w 42"/>
                <a:gd name="T13" fmla="*/ 17 h 46"/>
                <a:gd name="T14" fmla="*/ 0 w 42"/>
                <a:gd name="T15" fmla="*/ 23 h 46"/>
                <a:gd name="T16" fmla="*/ 4 w 42"/>
                <a:gd name="T17"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6">
                  <a:moveTo>
                    <a:pt x="4" y="29"/>
                  </a:moveTo>
                  <a:cubicBezTo>
                    <a:pt x="7" y="37"/>
                    <a:pt x="12" y="46"/>
                    <a:pt x="22" y="46"/>
                  </a:cubicBezTo>
                  <a:cubicBezTo>
                    <a:pt x="32" y="46"/>
                    <a:pt x="36" y="37"/>
                    <a:pt x="38" y="29"/>
                  </a:cubicBezTo>
                  <a:cubicBezTo>
                    <a:pt x="40" y="28"/>
                    <a:pt x="41" y="26"/>
                    <a:pt x="42" y="23"/>
                  </a:cubicBezTo>
                  <a:cubicBezTo>
                    <a:pt x="42" y="20"/>
                    <a:pt x="41" y="18"/>
                    <a:pt x="40" y="17"/>
                  </a:cubicBezTo>
                  <a:cubicBezTo>
                    <a:pt x="40" y="7"/>
                    <a:pt x="31" y="0"/>
                    <a:pt x="21" y="0"/>
                  </a:cubicBezTo>
                  <a:cubicBezTo>
                    <a:pt x="11" y="0"/>
                    <a:pt x="3" y="7"/>
                    <a:pt x="2" y="17"/>
                  </a:cubicBezTo>
                  <a:cubicBezTo>
                    <a:pt x="1" y="18"/>
                    <a:pt x="0" y="20"/>
                    <a:pt x="0" y="23"/>
                  </a:cubicBezTo>
                  <a:cubicBezTo>
                    <a:pt x="1" y="26"/>
                    <a:pt x="2" y="29"/>
                    <a:pt x="4" y="29"/>
                  </a:cubicBez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sp>
          <p:nvSpPr>
            <p:cNvPr id="89" name="Freeform 31"/>
            <p:cNvSpPr/>
            <p:nvPr/>
          </p:nvSpPr>
          <p:spPr bwMode="auto">
            <a:xfrm>
              <a:off x="3116263" y="4168775"/>
              <a:ext cx="9525" cy="9525"/>
            </a:xfrm>
            <a:custGeom>
              <a:avLst/>
              <a:gdLst>
                <a:gd name="T0" fmla="*/ 3 w 7"/>
                <a:gd name="T1" fmla="*/ 0 h 8"/>
                <a:gd name="T2" fmla="*/ 0 w 7"/>
                <a:gd name="T3" fmla="*/ 2 h 8"/>
                <a:gd name="T4" fmla="*/ 0 w 7"/>
                <a:gd name="T5" fmla="*/ 5 h 8"/>
                <a:gd name="T6" fmla="*/ 3 w 7"/>
                <a:gd name="T7" fmla="*/ 8 h 8"/>
                <a:gd name="T8" fmla="*/ 4 w 7"/>
                <a:gd name="T9" fmla="*/ 8 h 8"/>
                <a:gd name="T10" fmla="*/ 7 w 7"/>
                <a:gd name="T11" fmla="*/ 5 h 8"/>
                <a:gd name="T12" fmla="*/ 7 w 7"/>
                <a:gd name="T13" fmla="*/ 2 h 8"/>
                <a:gd name="T14" fmla="*/ 4 w 7"/>
                <a:gd name="T15" fmla="*/ 0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1" y="0"/>
                    <a:pt x="0" y="1"/>
                    <a:pt x="0" y="2"/>
                  </a:cubicBezTo>
                  <a:cubicBezTo>
                    <a:pt x="0" y="5"/>
                    <a:pt x="0" y="5"/>
                    <a:pt x="0" y="5"/>
                  </a:cubicBezTo>
                  <a:cubicBezTo>
                    <a:pt x="0" y="7"/>
                    <a:pt x="1" y="8"/>
                    <a:pt x="3" y="8"/>
                  </a:cubicBezTo>
                  <a:cubicBezTo>
                    <a:pt x="4" y="8"/>
                    <a:pt x="4" y="8"/>
                    <a:pt x="4" y="8"/>
                  </a:cubicBezTo>
                  <a:cubicBezTo>
                    <a:pt x="6" y="8"/>
                    <a:pt x="7" y="7"/>
                    <a:pt x="7" y="5"/>
                  </a:cubicBezTo>
                  <a:cubicBezTo>
                    <a:pt x="7" y="2"/>
                    <a:pt x="7" y="2"/>
                    <a:pt x="7" y="2"/>
                  </a:cubicBezTo>
                  <a:cubicBezTo>
                    <a:pt x="7" y="1"/>
                    <a:pt x="6" y="0"/>
                    <a:pt x="4" y="0"/>
                  </a:cubicBezTo>
                  <a:lnTo>
                    <a:pt x="3" y="0"/>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sp>
          <p:nvSpPr>
            <p:cNvPr id="90" name="Freeform 32"/>
            <p:cNvSpPr/>
            <p:nvPr/>
          </p:nvSpPr>
          <p:spPr bwMode="auto">
            <a:xfrm>
              <a:off x="3060700" y="4170363"/>
              <a:ext cx="122238" cy="85725"/>
            </a:xfrm>
            <a:custGeom>
              <a:avLst/>
              <a:gdLst>
                <a:gd name="T0" fmla="*/ 80 w 97"/>
                <a:gd name="T1" fmla="*/ 7 h 67"/>
                <a:gd name="T2" fmla="*/ 73 w 97"/>
                <a:gd name="T3" fmla="*/ 3 h 67"/>
                <a:gd name="T4" fmla="*/ 62 w 97"/>
                <a:gd name="T5" fmla="*/ 0 h 67"/>
                <a:gd name="T6" fmla="*/ 60 w 97"/>
                <a:gd name="T7" fmla="*/ 0 h 67"/>
                <a:gd name="T8" fmla="*/ 52 w 97"/>
                <a:gd name="T9" fmla="*/ 23 h 67"/>
                <a:gd name="T10" fmla="*/ 50 w 97"/>
                <a:gd name="T11" fmla="*/ 10 h 67"/>
                <a:gd name="T12" fmla="*/ 49 w 97"/>
                <a:gd name="T13" fmla="*/ 10 h 67"/>
                <a:gd name="T14" fmla="*/ 46 w 97"/>
                <a:gd name="T15" fmla="*/ 10 h 67"/>
                <a:gd name="T16" fmla="*/ 45 w 97"/>
                <a:gd name="T17" fmla="*/ 10 h 67"/>
                <a:gd name="T18" fmla="*/ 43 w 97"/>
                <a:gd name="T19" fmla="*/ 23 h 67"/>
                <a:gd name="T20" fmla="*/ 34 w 97"/>
                <a:gd name="T21" fmla="*/ 0 h 67"/>
                <a:gd name="T22" fmla="*/ 32 w 97"/>
                <a:gd name="T23" fmla="*/ 0 h 67"/>
                <a:gd name="T24" fmla="*/ 22 w 97"/>
                <a:gd name="T25" fmla="*/ 3 h 67"/>
                <a:gd name="T26" fmla="*/ 14 w 97"/>
                <a:gd name="T27" fmla="*/ 7 h 67"/>
                <a:gd name="T28" fmla="*/ 0 w 97"/>
                <a:gd name="T29" fmla="*/ 42 h 67"/>
                <a:gd name="T30" fmla="*/ 10 w 97"/>
                <a:gd name="T31" fmla="*/ 53 h 67"/>
                <a:gd name="T32" fmla="*/ 17 w 97"/>
                <a:gd name="T33" fmla="*/ 38 h 67"/>
                <a:gd name="T34" fmla="*/ 17 w 97"/>
                <a:gd name="T35" fmla="*/ 58 h 67"/>
                <a:gd name="T36" fmla="*/ 49 w 97"/>
                <a:gd name="T37" fmla="*/ 67 h 67"/>
                <a:gd name="T38" fmla="*/ 77 w 97"/>
                <a:gd name="T39" fmla="*/ 60 h 67"/>
                <a:gd name="T40" fmla="*/ 77 w 97"/>
                <a:gd name="T41" fmla="*/ 35 h 67"/>
                <a:gd name="T42" fmla="*/ 86 w 97"/>
                <a:gd name="T43" fmla="*/ 54 h 67"/>
                <a:gd name="T44" fmla="*/ 97 w 97"/>
                <a:gd name="T45" fmla="*/ 44 h 67"/>
                <a:gd name="T46" fmla="*/ 80 w 97"/>
                <a:gd name="T47"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67">
                  <a:moveTo>
                    <a:pt x="80" y="7"/>
                  </a:moveTo>
                  <a:cubicBezTo>
                    <a:pt x="79" y="4"/>
                    <a:pt x="76" y="3"/>
                    <a:pt x="73" y="3"/>
                  </a:cubicBezTo>
                  <a:cubicBezTo>
                    <a:pt x="70" y="1"/>
                    <a:pt x="66" y="0"/>
                    <a:pt x="62" y="0"/>
                  </a:cubicBezTo>
                  <a:cubicBezTo>
                    <a:pt x="60" y="0"/>
                    <a:pt x="60" y="0"/>
                    <a:pt x="60" y="0"/>
                  </a:cubicBezTo>
                  <a:cubicBezTo>
                    <a:pt x="52" y="23"/>
                    <a:pt x="52" y="23"/>
                    <a:pt x="52" y="23"/>
                  </a:cubicBezTo>
                  <a:cubicBezTo>
                    <a:pt x="50" y="10"/>
                    <a:pt x="50" y="10"/>
                    <a:pt x="50" y="10"/>
                  </a:cubicBezTo>
                  <a:cubicBezTo>
                    <a:pt x="50" y="10"/>
                    <a:pt x="49" y="10"/>
                    <a:pt x="49" y="10"/>
                  </a:cubicBezTo>
                  <a:cubicBezTo>
                    <a:pt x="46" y="10"/>
                    <a:pt x="46" y="10"/>
                    <a:pt x="46" y="10"/>
                  </a:cubicBezTo>
                  <a:cubicBezTo>
                    <a:pt x="46" y="10"/>
                    <a:pt x="45" y="10"/>
                    <a:pt x="45" y="10"/>
                  </a:cubicBezTo>
                  <a:cubicBezTo>
                    <a:pt x="43" y="23"/>
                    <a:pt x="43" y="23"/>
                    <a:pt x="43" y="23"/>
                  </a:cubicBezTo>
                  <a:cubicBezTo>
                    <a:pt x="34" y="0"/>
                    <a:pt x="34" y="0"/>
                    <a:pt x="34" y="0"/>
                  </a:cubicBezTo>
                  <a:cubicBezTo>
                    <a:pt x="32" y="0"/>
                    <a:pt x="32" y="0"/>
                    <a:pt x="32" y="0"/>
                  </a:cubicBezTo>
                  <a:cubicBezTo>
                    <a:pt x="29" y="0"/>
                    <a:pt x="25" y="1"/>
                    <a:pt x="22" y="3"/>
                  </a:cubicBezTo>
                  <a:cubicBezTo>
                    <a:pt x="19" y="2"/>
                    <a:pt x="16" y="4"/>
                    <a:pt x="14" y="7"/>
                  </a:cubicBezTo>
                  <a:cubicBezTo>
                    <a:pt x="0" y="42"/>
                    <a:pt x="0" y="42"/>
                    <a:pt x="0" y="42"/>
                  </a:cubicBezTo>
                  <a:cubicBezTo>
                    <a:pt x="3" y="46"/>
                    <a:pt x="7" y="49"/>
                    <a:pt x="10" y="53"/>
                  </a:cubicBezTo>
                  <a:cubicBezTo>
                    <a:pt x="17" y="38"/>
                    <a:pt x="17" y="38"/>
                    <a:pt x="17" y="38"/>
                  </a:cubicBezTo>
                  <a:cubicBezTo>
                    <a:pt x="17" y="58"/>
                    <a:pt x="17" y="58"/>
                    <a:pt x="17" y="58"/>
                  </a:cubicBezTo>
                  <a:cubicBezTo>
                    <a:pt x="27" y="63"/>
                    <a:pt x="37" y="67"/>
                    <a:pt x="49" y="67"/>
                  </a:cubicBezTo>
                  <a:cubicBezTo>
                    <a:pt x="59" y="67"/>
                    <a:pt x="68" y="64"/>
                    <a:pt x="77" y="60"/>
                  </a:cubicBezTo>
                  <a:cubicBezTo>
                    <a:pt x="77" y="35"/>
                    <a:pt x="77" y="35"/>
                    <a:pt x="77" y="35"/>
                  </a:cubicBezTo>
                  <a:cubicBezTo>
                    <a:pt x="86" y="54"/>
                    <a:pt x="86" y="54"/>
                    <a:pt x="86" y="54"/>
                  </a:cubicBezTo>
                  <a:cubicBezTo>
                    <a:pt x="90" y="51"/>
                    <a:pt x="93" y="48"/>
                    <a:pt x="97" y="44"/>
                  </a:cubicBezTo>
                  <a:lnTo>
                    <a:pt x="80" y="7"/>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grpSp>
      <p:sp>
        <p:nvSpPr>
          <p:cNvPr id="91" name="Freeform 40"/>
          <p:cNvSpPr>
            <a:spLocks noEditPoints="1"/>
          </p:cNvSpPr>
          <p:nvPr/>
        </p:nvSpPr>
        <p:spPr bwMode="auto">
          <a:xfrm>
            <a:off x="7418222" y="4522870"/>
            <a:ext cx="486201" cy="256906"/>
          </a:xfrm>
          <a:custGeom>
            <a:avLst/>
            <a:gdLst>
              <a:gd name="T0" fmla="*/ 231 w 462"/>
              <a:gd name="T1" fmla="*/ 0 h 245"/>
              <a:gd name="T2" fmla="*/ 0 w 462"/>
              <a:gd name="T3" fmla="*/ 122 h 245"/>
              <a:gd name="T4" fmla="*/ 0 w 462"/>
              <a:gd name="T5" fmla="*/ 122 h 245"/>
              <a:gd name="T6" fmla="*/ 231 w 462"/>
              <a:gd name="T7" fmla="*/ 245 h 245"/>
              <a:gd name="T8" fmla="*/ 462 w 462"/>
              <a:gd name="T9" fmla="*/ 122 h 245"/>
              <a:gd name="T10" fmla="*/ 462 w 462"/>
              <a:gd name="T11" fmla="*/ 122 h 245"/>
              <a:gd name="T12" fmla="*/ 231 w 462"/>
              <a:gd name="T13" fmla="*/ 0 h 245"/>
              <a:gd name="T14" fmla="*/ 241 w 462"/>
              <a:gd name="T15" fmla="*/ 99 h 245"/>
              <a:gd name="T16" fmla="*/ 269 w 462"/>
              <a:gd name="T17" fmla="*/ 70 h 245"/>
              <a:gd name="T18" fmla="*/ 298 w 462"/>
              <a:gd name="T19" fmla="*/ 99 h 245"/>
              <a:gd name="T20" fmla="*/ 269 w 462"/>
              <a:gd name="T21" fmla="*/ 127 h 245"/>
              <a:gd name="T22" fmla="*/ 241 w 462"/>
              <a:gd name="T23" fmla="*/ 99 h 245"/>
              <a:gd name="T24" fmla="*/ 32 w 462"/>
              <a:gd name="T25" fmla="*/ 122 h 245"/>
              <a:gd name="T26" fmla="*/ 182 w 462"/>
              <a:gd name="T27" fmla="*/ 33 h 245"/>
              <a:gd name="T28" fmla="*/ 128 w 462"/>
              <a:gd name="T29" fmla="*/ 123 h 245"/>
              <a:gd name="T30" fmla="*/ 179 w 462"/>
              <a:gd name="T31" fmla="*/ 211 h 245"/>
              <a:gd name="T32" fmla="*/ 98 w 462"/>
              <a:gd name="T33" fmla="*/ 184 h 245"/>
              <a:gd name="T34" fmla="*/ 32 w 462"/>
              <a:gd name="T35" fmla="*/ 122 h 245"/>
              <a:gd name="T36" fmla="*/ 283 w 462"/>
              <a:gd name="T37" fmla="*/ 211 h 245"/>
              <a:gd name="T38" fmla="*/ 333 w 462"/>
              <a:gd name="T39" fmla="*/ 123 h 245"/>
              <a:gd name="T40" fmla="*/ 280 w 462"/>
              <a:gd name="T41" fmla="*/ 33 h 245"/>
              <a:gd name="T42" fmla="*/ 429 w 462"/>
              <a:gd name="T43" fmla="*/ 122 h 245"/>
              <a:gd name="T44" fmla="*/ 283 w 462"/>
              <a:gd name="T45" fmla="*/ 211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2" h="245">
                <a:moveTo>
                  <a:pt x="231" y="0"/>
                </a:moveTo>
                <a:cubicBezTo>
                  <a:pt x="120" y="0"/>
                  <a:pt x="27" y="52"/>
                  <a:pt x="0" y="122"/>
                </a:cubicBezTo>
                <a:cubicBezTo>
                  <a:pt x="0" y="122"/>
                  <a:pt x="0" y="122"/>
                  <a:pt x="0" y="122"/>
                </a:cubicBezTo>
                <a:cubicBezTo>
                  <a:pt x="27" y="193"/>
                  <a:pt x="120" y="245"/>
                  <a:pt x="231" y="245"/>
                </a:cubicBezTo>
                <a:cubicBezTo>
                  <a:pt x="341" y="245"/>
                  <a:pt x="434" y="193"/>
                  <a:pt x="462" y="122"/>
                </a:cubicBezTo>
                <a:cubicBezTo>
                  <a:pt x="462" y="122"/>
                  <a:pt x="462" y="122"/>
                  <a:pt x="462" y="122"/>
                </a:cubicBezTo>
                <a:cubicBezTo>
                  <a:pt x="434" y="52"/>
                  <a:pt x="341" y="0"/>
                  <a:pt x="231" y="0"/>
                </a:cubicBezTo>
                <a:close/>
                <a:moveTo>
                  <a:pt x="241" y="99"/>
                </a:moveTo>
                <a:cubicBezTo>
                  <a:pt x="241" y="83"/>
                  <a:pt x="253" y="70"/>
                  <a:pt x="269" y="70"/>
                </a:cubicBezTo>
                <a:cubicBezTo>
                  <a:pt x="285" y="70"/>
                  <a:pt x="298" y="83"/>
                  <a:pt x="298" y="99"/>
                </a:cubicBezTo>
                <a:cubicBezTo>
                  <a:pt x="298" y="114"/>
                  <a:pt x="285" y="127"/>
                  <a:pt x="269" y="127"/>
                </a:cubicBezTo>
                <a:cubicBezTo>
                  <a:pt x="253" y="127"/>
                  <a:pt x="241" y="114"/>
                  <a:pt x="241" y="99"/>
                </a:cubicBezTo>
                <a:close/>
                <a:moveTo>
                  <a:pt x="32" y="122"/>
                </a:moveTo>
                <a:cubicBezTo>
                  <a:pt x="55" y="78"/>
                  <a:pt x="113" y="44"/>
                  <a:pt x="182" y="33"/>
                </a:cubicBezTo>
                <a:cubicBezTo>
                  <a:pt x="150" y="50"/>
                  <a:pt x="128" y="84"/>
                  <a:pt x="128" y="123"/>
                </a:cubicBezTo>
                <a:cubicBezTo>
                  <a:pt x="128" y="160"/>
                  <a:pt x="149" y="193"/>
                  <a:pt x="179" y="211"/>
                </a:cubicBezTo>
                <a:cubicBezTo>
                  <a:pt x="150" y="206"/>
                  <a:pt x="122" y="197"/>
                  <a:pt x="98" y="184"/>
                </a:cubicBezTo>
                <a:cubicBezTo>
                  <a:pt x="68" y="168"/>
                  <a:pt x="45" y="146"/>
                  <a:pt x="32" y="122"/>
                </a:cubicBezTo>
                <a:close/>
                <a:moveTo>
                  <a:pt x="283" y="211"/>
                </a:moveTo>
                <a:cubicBezTo>
                  <a:pt x="313" y="193"/>
                  <a:pt x="333" y="160"/>
                  <a:pt x="333" y="123"/>
                </a:cubicBezTo>
                <a:cubicBezTo>
                  <a:pt x="333" y="84"/>
                  <a:pt x="312" y="50"/>
                  <a:pt x="280" y="33"/>
                </a:cubicBezTo>
                <a:cubicBezTo>
                  <a:pt x="348" y="44"/>
                  <a:pt x="406" y="78"/>
                  <a:pt x="429" y="122"/>
                </a:cubicBezTo>
                <a:cubicBezTo>
                  <a:pt x="406" y="166"/>
                  <a:pt x="350" y="199"/>
                  <a:pt x="283" y="211"/>
                </a:cubicBezTo>
                <a:close/>
              </a:path>
            </a:pathLst>
          </a:custGeom>
          <a:solidFill>
            <a:schemeClr val="bg1"/>
          </a:solidFill>
          <a:ln>
            <a:noFill/>
          </a:ln>
        </p:spPr>
        <p:txBody>
          <a:bodyPr vert="horz" wrap="square" lIns="91440" tIns="45720" rIns="91440" bIns="45720" numCol="1" anchor="t" anchorCtr="0" compatLnSpc="1"/>
          <a:lstStyle/>
          <a:p>
            <a:pPr marL="0" marR="0" lvl="0" indent="0" algn="l" defTabSz="914400" rtl="0" eaLnBrk="1" fontAlgn="auto" latinLnBrk="1"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effectLst/>
              <a:uLnTx/>
              <a:uFillTx/>
              <a:latin typeface="Malgun Gothic" panose="020B0503020000020004" charset="-127"/>
              <a:ea typeface="+mn-ea"/>
              <a:cs typeface="+mn-cs"/>
            </a:endParaRPr>
          </a:p>
        </p:txBody>
      </p:sp>
      <p:pic>
        <p:nvPicPr>
          <p:cNvPr id="92" name="Picture 2"/>
          <p:cNvPicPr>
            <a:picLocks noChangeAspect="1"/>
          </p:cNvPicPr>
          <p:nvPr/>
        </p:nvPicPr>
        <p:blipFill rotWithShape="1">
          <a:blip r:embed="rId1" cstate="print">
            <a:extLst>
              <a:ext uri="{28A0092B-C50C-407E-A947-70E740481C1C}">
                <a14:useLocalDpi xmlns:a14="http://schemas.microsoft.com/office/drawing/2010/main" val="0"/>
              </a:ext>
            </a:extLst>
          </a:blip>
          <a:srcRect/>
          <a:stretch>
            <a:fillRect/>
          </a:stretch>
        </p:blipFill>
        <p:spPr>
          <a:xfrm>
            <a:off x="1285194" y="508994"/>
            <a:ext cx="3164026" cy="473340"/>
          </a:xfrm>
          <a:prstGeom prst="rect">
            <a:avLst/>
          </a:prstGeom>
        </p:spPr>
      </p:pic>
      <p:sp>
        <p:nvSpPr>
          <p:cNvPr id="93"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全景图</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42"/>
          <p:cNvSpPr/>
          <p:nvPr/>
        </p:nvSpPr>
        <p:spPr>
          <a:xfrm>
            <a:off x="728477" y="4987296"/>
            <a:ext cx="11309726" cy="1069493"/>
          </a:xfrm>
          <a:prstGeom prst="rect">
            <a:avLst/>
          </a:prstGeom>
          <a:no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痛点</a:t>
            </a:r>
            <a:r>
              <a:rPr kumimoji="0" lang="en-US" altLang="zh-CN"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9</a:t>
            </a:r>
            <a:r>
              <a:rPr kumimoji="0" lang="zh-CN" altLang="en-US"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系统</a:t>
            </a:r>
            <a:r>
              <a:rPr kumimoji="0" lang="zh-CN" altLang="en-US" sz="18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平台</a:t>
            </a:r>
            <a:r>
              <a:rPr kumimoji="0" lang="zh-CN" altLang="en-US"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落后）</a:t>
            </a:r>
            <a:endParaRPr kumimoji="0" lang="en-US" altLang="zh-CN" sz="18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35" name="Rectangle 58"/>
          <p:cNvSpPr/>
          <p:nvPr/>
        </p:nvSpPr>
        <p:spPr>
          <a:xfrm>
            <a:off x="-25400" y="2621150"/>
            <a:ext cx="814177" cy="1015663"/>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业务</a:t>
            </a:r>
            <a:endParaRPr kumimoji="0" lang="en-US" altLang="zh-CN"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功能</a:t>
            </a:r>
            <a:endParaRPr kumimoji="0" lang="en-US" altLang="zh-CN"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板块</a:t>
            </a:r>
            <a:endParaRPr kumimoji="0" lang="zh-CN" altLang="en-US"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36" name="Rectangle 59"/>
          <p:cNvSpPr/>
          <p:nvPr/>
        </p:nvSpPr>
        <p:spPr>
          <a:xfrm>
            <a:off x="-25400" y="5045048"/>
            <a:ext cx="814177" cy="1015663"/>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系统</a:t>
            </a:r>
            <a:endParaRPr kumimoji="0" lang="en-US" altLang="zh-CN"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平台建设</a:t>
            </a:r>
            <a:endParaRPr kumimoji="0" lang="zh-CN" altLang="en-US"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37" name="Rectangle 60"/>
          <p:cNvSpPr/>
          <p:nvPr/>
        </p:nvSpPr>
        <p:spPr>
          <a:xfrm>
            <a:off x="944293" y="5399600"/>
            <a:ext cx="2108200" cy="3124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落后点</a:t>
            </a:r>
            <a:r>
              <a:rPr kumimoji="0" lang="en-US" altLang="zh-CN" sz="16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1</a:t>
            </a:r>
            <a:r>
              <a:rPr kumimoji="0" lang="zh-CN" altLang="en-US" sz="14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标准不一）</a:t>
            </a:r>
            <a:r>
              <a:rPr kumimoji="0" lang="zh-CN" altLang="en-US"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xx</a:t>
            </a:r>
            <a:endParaRPr kumimoji="0" lang="zh-CN" altLang="en-US"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38" name="Rectangle 61"/>
          <p:cNvSpPr/>
          <p:nvPr/>
        </p:nvSpPr>
        <p:spPr>
          <a:xfrm>
            <a:off x="3466952" y="5399600"/>
            <a:ext cx="2200450" cy="3124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cs"/>
              </a:rPr>
              <a:t>落后点</a:t>
            </a:r>
            <a:r>
              <a:rPr kumimoji="0" lang="en-US" altLang="zh-CN" sz="16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cs"/>
              </a:rPr>
              <a:t>2</a:t>
            </a:r>
            <a:r>
              <a:rPr kumimoji="0" lang="zh-CN" altLang="en-US" sz="14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a:t>
            </a:r>
            <a:r>
              <a:rPr kumimoji="0" lang="zh-CN" altLang="en-US" sz="14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cs"/>
              </a:rPr>
              <a:t>功能缺失</a:t>
            </a:r>
            <a:r>
              <a:rPr kumimoji="0" lang="zh-CN" altLang="en-US" sz="14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 </a:t>
            </a:r>
            <a:r>
              <a:rPr kumimoji="0" lang="zh-CN" altLang="en-US"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xx</a:t>
            </a:r>
            <a:endParaRPr kumimoji="0" lang="zh-CN" altLang="en-US"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39" name="Rectangle 62"/>
          <p:cNvSpPr/>
          <p:nvPr/>
        </p:nvSpPr>
        <p:spPr>
          <a:xfrm>
            <a:off x="6081861" y="5399600"/>
            <a:ext cx="2541490" cy="3124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6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a:t>
            </a:r>
            <a:r>
              <a:rPr kumimoji="0" lang="zh-CN" altLang="en-US"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kumimoji="0" lang="zh-CN" altLang="en-US"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40" name="Rectangle 63"/>
          <p:cNvSpPr/>
          <p:nvPr/>
        </p:nvSpPr>
        <p:spPr>
          <a:xfrm>
            <a:off x="9037809" y="5399600"/>
            <a:ext cx="2873446" cy="3124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落后点</a:t>
            </a:r>
            <a:r>
              <a:rPr kumimoji="0" lang="en-US" altLang="zh-CN" sz="16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N</a:t>
            </a:r>
            <a:r>
              <a:rPr kumimoji="0" lang="zh-CN" altLang="en-US"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xx</a:t>
            </a:r>
            <a:endParaRPr kumimoji="0" lang="zh-CN" altLang="en-US"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41" name="矩形 50"/>
          <p:cNvSpPr/>
          <p:nvPr/>
        </p:nvSpPr>
        <p:spPr>
          <a:xfrm>
            <a:off x="728477" y="2092584"/>
            <a:ext cx="1370055" cy="2561652"/>
          </a:xfrm>
          <a:prstGeom prst="rect">
            <a:avLst/>
          </a:prstGeom>
          <a:noFill/>
          <a:ln w="31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2" name="矩形 50"/>
          <p:cNvSpPr/>
          <p:nvPr/>
        </p:nvSpPr>
        <p:spPr>
          <a:xfrm>
            <a:off x="728477" y="1137313"/>
            <a:ext cx="1370055" cy="952897"/>
          </a:xfrm>
          <a:prstGeom prst="rect">
            <a:avLst/>
          </a:prstGeom>
          <a:no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监控管理</a:t>
            </a:r>
            <a:r>
              <a:rPr kumimoji="0" lang="zh-CN" altLang="en-US"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难</a:t>
            </a:r>
            <a:endParaRPr kumimoji="0" lang="zh-CN" altLang="en-US" sz="14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3" name="TextBox 67"/>
          <p:cNvSpPr txBox="1"/>
          <p:nvPr/>
        </p:nvSpPr>
        <p:spPr>
          <a:xfrm>
            <a:off x="755999" y="2179846"/>
            <a:ext cx="1353614" cy="187307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zh-CN"/>
            </a:defPPr>
            <a:lvl1pPr>
              <a:defRPr sz="1200">
                <a:solidFill>
                  <a:sysClr val="windowText" lastClr="00000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分点</a:t>
            </a: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1</a:t>
            </a:r>
            <a:endPar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分点</a:t>
            </a: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2</a:t>
            </a: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分点</a:t>
            </a: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N</a:t>
            </a:r>
            <a:endParaRPr kumimoji="0" lang="zh-CN" altLang="en-US"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44" name="矩形 49"/>
          <p:cNvSpPr/>
          <p:nvPr/>
        </p:nvSpPr>
        <p:spPr>
          <a:xfrm>
            <a:off x="7821498" y="2090843"/>
            <a:ext cx="1370055" cy="2564423"/>
          </a:xfrm>
          <a:prstGeom prst="rect">
            <a:avLst/>
          </a:prstGeom>
          <a:noFill/>
          <a:ln w="31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5" name="矩形 49"/>
          <p:cNvSpPr/>
          <p:nvPr/>
        </p:nvSpPr>
        <p:spPr>
          <a:xfrm>
            <a:off x="7821498" y="1137313"/>
            <a:ext cx="1370055" cy="953928"/>
          </a:xfrm>
          <a:prstGeom prst="rect">
            <a:avLst/>
          </a:prstGeom>
          <a:no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痛点</a:t>
            </a:r>
            <a:r>
              <a:rPr kumimoji="0" lang="en-US" altLang="zh-CN"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6</a:t>
            </a:r>
            <a:endParaRPr kumimoji="0" lang="zh-CN" altLang="en-US" sz="18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6" name="Rectangle 71"/>
          <p:cNvSpPr/>
          <p:nvPr/>
        </p:nvSpPr>
        <p:spPr>
          <a:xfrm>
            <a:off x="7919341" y="2176696"/>
            <a:ext cx="1374150" cy="292388"/>
          </a:xfrm>
          <a:prstGeom prst="rect">
            <a:avLst/>
          </a:prstGeom>
          <a:noFill/>
          <a:ln>
            <a:noFill/>
          </a:ln>
        </p:spPr>
        <p:txBody>
          <a:bodyPr wrap="square" anchor="ctr">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kumimoji="0" lang="zh-CN" altLang="en-US"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47" name="Rectangle 72"/>
          <p:cNvSpPr/>
          <p:nvPr/>
        </p:nvSpPr>
        <p:spPr>
          <a:xfrm>
            <a:off x="7959183" y="3648673"/>
            <a:ext cx="1094683" cy="307777"/>
          </a:xfrm>
          <a:prstGeom prst="rect">
            <a:avLst/>
          </a:prstGeom>
          <a:noFill/>
          <a:ln>
            <a:noFill/>
          </a:ln>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48" name="矩形 55"/>
          <p:cNvSpPr/>
          <p:nvPr/>
        </p:nvSpPr>
        <p:spPr>
          <a:xfrm>
            <a:off x="10676744" y="2090843"/>
            <a:ext cx="1370055" cy="2564423"/>
          </a:xfrm>
          <a:prstGeom prst="rect">
            <a:avLst/>
          </a:prstGeom>
          <a:noFill/>
          <a:ln w="31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49" name="矩形 55"/>
          <p:cNvSpPr/>
          <p:nvPr/>
        </p:nvSpPr>
        <p:spPr>
          <a:xfrm>
            <a:off x="10676744" y="1137313"/>
            <a:ext cx="1370055" cy="953928"/>
          </a:xfrm>
          <a:prstGeom prst="rect">
            <a:avLst/>
          </a:prstGeom>
          <a:no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痛点</a:t>
            </a:r>
            <a:r>
              <a:rPr kumimoji="0" lang="en-US" altLang="zh-CN"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8</a:t>
            </a:r>
            <a:endParaRPr kumimoji="0" lang="zh-CN" altLang="en-US" sz="18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0" name="TextBox 76"/>
          <p:cNvSpPr txBox="1"/>
          <p:nvPr/>
        </p:nvSpPr>
        <p:spPr>
          <a:xfrm>
            <a:off x="10699330" y="2176696"/>
            <a:ext cx="1307437" cy="14448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zh-CN"/>
            </a:defPPr>
            <a:lvl1pPr>
              <a:defRPr sz="1200">
                <a:solidFill>
                  <a:sysClr val="windowText" lastClr="00000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51" name="TextBox 77"/>
          <p:cNvSpPr txBox="1"/>
          <p:nvPr/>
        </p:nvSpPr>
        <p:spPr>
          <a:xfrm>
            <a:off x="10712534" y="3952991"/>
            <a:ext cx="1224939" cy="2736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zh-CN"/>
            </a:defPPr>
            <a:lvl1pPr>
              <a:defRPr sz="1200">
                <a:solidFill>
                  <a:sysClr val="windowText" lastClr="00000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52" name="矩形 43"/>
          <p:cNvSpPr/>
          <p:nvPr/>
        </p:nvSpPr>
        <p:spPr>
          <a:xfrm>
            <a:off x="2143834" y="2092584"/>
            <a:ext cx="1370055" cy="2561652"/>
          </a:xfrm>
          <a:prstGeom prst="rect">
            <a:avLst/>
          </a:prstGeom>
          <a:noFill/>
          <a:ln w="31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3" name="矩形 43"/>
          <p:cNvSpPr/>
          <p:nvPr/>
        </p:nvSpPr>
        <p:spPr>
          <a:xfrm>
            <a:off x="2143834" y="1137313"/>
            <a:ext cx="1370055" cy="952897"/>
          </a:xfrm>
          <a:prstGeom prst="rect">
            <a:avLst/>
          </a:prstGeom>
          <a:no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决策缺</a:t>
            </a:r>
            <a:r>
              <a:rPr kumimoji="0" lang="zh-CN" altLang="en-US"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手段</a:t>
            </a:r>
            <a:endParaRPr kumimoji="0" lang="zh-CN" altLang="en-US" sz="14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4" name="矩形 48"/>
          <p:cNvSpPr/>
          <p:nvPr/>
        </p:nvSpPr>
        <p:spPr>
          <a:xfrm>
            <a:off x="3562619" y="2092584"/>
            <a:ext cx="1370055" cy="2561652"/>
          </a:xfrm>
          <a:prstGeom prst="rect">
            <a:avLst/>
          </a:prstGeom>
          <a:noFill/>
          <a:ln w="31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5" name="矩形 48"/>
          <p:cNvSpPr/>
          <p:nvPr/>
        </p:nvSpPr>
        <p:spPr>
          <a:xfrm>
            <a:off x="3562619" y="1137313"/>
            <a:ext cx="1370055" cy="952897"/>
          </a:xfrm>
          <a:prstGeom prst="rect">
            <a:avLst/>
          </a:prstGeom>
          <a:no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风险控制</a:t>
            </a:r>
            <a:r>
              <a:rPr kumimoji="0" lang="zh-CN" altLang="en-US"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难</a:t>
            </a:r>
            <a:endParaRPr kumimoji="0" lang="en-US" altLang="zh-CN" sz="14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6" name="TextBox 85"/>
          <p:cNvSpPr txBox="1"/>
          <p:nvPr/>
        </p:nvSpPr>
        <p:spPr>
          <a:xfrm>
            <a:off x="3657113" y="2176696"/>
            <a:ext cx="1304692" cy="21266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zh-CN"/>
            </a:defPPr>
            <a:lvl1pPr>
              <a:defRPr sz="1200">
                <a:solidFill>
                  <a:sysClr val="windowText" lastClr="00000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57" name="矩形 54"/>
          <p:cNvSpPr/>
          <p:nvPr/>
        </p:nvSpPr>
        <p:spPr>
          <a:xfrm>
            <a:off x="4983327" y="2090843"/>
            <a:ext cx="1370055" cy="2564423"/>
          </a:xfrm>
          <a:prstGeom prst="rect">
            <a:avLst/>
          </a:prstGeom>
          <a:noFill/>
          <a:ln w="31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8" name="矩形 54"/>
          <p:cNvSpPr/>
          <p:nvPr/>
        </p:nvSpPr>
        <p:spPr>
          <a:xfrm>
            <a:off x="4983327" y="1137313"/>
            <a:ext cx="1370055" cy="953928"/>
          </a:xfrm>
          <a:prstGeom prst="rect">
            <a:avLst/>
          </a:prstGeom>
          <a:no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痛点</a:t>
            </a:r>
            <a:r>
              <a:rPr kumimoji="0" lang="en-US" altLang="zh-CN"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4</a:t>
            </a:r>
            <a:endParaRPr kumimoji="0" lang="en-US" altLang="zh-CN" sz="18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59" name="TextBox 89"/>
          <p:cNvSpPr txBox="1"/>
          <p:nvPr/>
        </p:nvSpPr>
        <p:spPr>
          <a:xfrm>
            <a:off x="5035226" y="2176696"/>
            <a:ext cx="1304693" cy="21266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zh-CN"/>
            </a:defPPr>
            <a:lvl1pPr>
              <a:defRPr sz="1200">
                <a:solidFill>
                  <a:sysClr val="windowText" lastClr="00000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60" name="矩形 41"/>
          <p:cNvSpPr/>
          <p:nvPr/>
        </p:nvSpPr>
        <p:spPr>
          <a:xfrm>
            <a:off x="6400303" y="2092584"/>
            <a:ext cx="1370055" cy="2561652"/>
          </a:xfrm>
          <a:prstGeom prst="rect">
            <a:avLst/>
          </a:prstGeom>
          <a:noFill/>
          <a:ln w="31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1" name="矩形 41"/>
          <p:cNvSpPr/>
          <p:nvPr/>
        </p:nvSpPr>
        <p:spPr>
          <a:xfrm>
            <a:off x="6400303" y="1137313"/>
            <a:ext cx="1370055" cy="952897"/>
          </a:xfrm>
          <a:prstGeom prst="rect">
            <a:avLst/>
          </a:prstGeom>
          <a:no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痛点</a:t>
            </a:r>
            <a:r>
              <a:rPr kumimoji="0" lang="en-US" altLang="zh-CN"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5</a:t>
            </a:r>
            <a:endParaRPr kumimoji="0" lang="zh-CN" altLang="en-US" sz="18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2" name="TextBox 93"/>
          <p:cNvSpPr txBox="1"/>
          <p:nvPr/>
        </p:nvSpPr>
        <p:spPr>
          <a:xfrm>
            <a:off x="6452020" y="2176696"/>
            <a:ext cx="1373355" cy="21266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zh-CN"/>
            </a:defPPr>
            <a:lvl1pPr>
              <a:defRPr sz="1200">
                <a:solidFill>
                  <a:sysClr val="windowText" lastClr="00000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63" name="矩形 55"/>
          <p:cNvSpPr/>
          <p:nvPr/>
        </p:nvSpPr>
        <p:spPr>
          <a:xfrm>
            <a:off x="9245094" y="2090843"/>
            <a:ext cx="1370055" cy="2564423"/>
          </a:xfrm>
          <a:prstGeom prst="rect">
            <a:avLst/>
          </a:prstGeom>
          <a:noFill/>
          <a:ln w="31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4" name="矩形 55"/>
          <p:cNvSpPr/>
          <p:nvPr/>
        </p:nvSpPr>
        <p:spPr>
          <a:xfrm>
            <a:off x="9245094" y="1137313"/>
            <a:ext cx="1370055" cy="953928"/>
          </a:xfrm>
          <a:prstGeom prst="rect">
            <a:avLst/>
          </a:prstGeom>
          <a:no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痛点</a:t>
            </a:r>
            <a:r>
              <a:rPr kumimoji="0" lang="en-US" altLang="zh-CN" sz="18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rPr>
              <a:t>7</a:t>
            </a:r>
            <a:endParaRPr kumimoji="0" lang="zh-CN" altLang="en-US" sz="18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5" name="TextBox 97"/>
          <p:cNvSpPr txBox="1"/>
          <p:nvPr/>
        </p:nvSpPr>
        <p:spPr>
          <a:xfrm>
            <a:off x="9267680" y="2176696"/>
            <a:ext cx="1307437" cy="23233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zh-CN"/>
            </a:defPPr>
            <a:lvl1pPr>
              <a:defRPr sz="1200">
                <a:solidFill>
                  <a:sysClr val="windowText" lastClr="00000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66" name="TextBox 85"/>
          <p:cNvSpPr txBox="1"/>
          <p:nvPr/>
        </p:nvSpPr>
        <p:spPr>
          <a:xfrm>
            <a:off x="2196332" y="2157815"/>
            <a:ext cx="1304692" cy="21266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zh-CN"/>
            </a:defPPr>
            <a:lvl1pPr>
              <a:defRPr sz="1200">
                <a:solidFill>
                  <a:sysClr val="windowText" lastClr="00000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kumimoji="0" lang="en-US" altLang="zh-CN" sz="13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67"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痛点</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81"/>
          <p:cNvSpPr txBox="1"/>
          <p:nvPr/>
        </p:nvSpPr>
        <p:spPr>
          <a:xfrm>
            <a:off x="321106" y="1399143"/>
            <a:ext cx="933747" cy="2275308"/>
          </a:xfrm>
          <a:prstGeom prst="rect">
            <a:avLst/>
          </a:prstGeom>
          <a:noFill/>
          <a:ln>
            <a:solidFill>
              <a:schemeClr val="bg1">
                <a:lumMod val="50000"/>
              </a:schemeClr>
            </a:solidFill>
            <a:prstDash val="dash"/>
          </a:ln>
        </p:spPr>
        <p:txBody>
          <a:bodyPr wrap="square" lIns="93296" tIns="46648" rIns="93296" bIns="4664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br>
              <a:rPr kumimoji="0" lang="en-US" altLang="zh-CN" sz="1800" b="1" i="0" u="none" strike="noStrike" kern="1200" cap="none" spc="0" normalizeH="0" baseline="0" noProof="0" dirty="0">
                <a:ln>
                  <a:noFill/>
                </a:ln>
                <a:solidFill>
                  <a:prstClr val="white"/>
                </a:solidFill>
                <a:uLnTx/>
                <a:uFillTx/>
                <a:latin typeface="华文楷体" panose="02010600040101010101" charset="-122"/>
                <a:ea typeface="华文楷体" panose="02010600040101010101" charset="-122"/>
                <a:cs typeface="+mn-cs"/>
              </a:rPr>
            </a:br>
            <a:r>
              <a:rPr kumimoji="0" lang="zh-CN" altLang="en-US"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功能</a:t>
            </a:r>
            <a:endParaRPr kumimoji="0" lang="en-US" altLang="zh-CN"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板块</a:t>
            </a:r>
            <a:endParaRPr kumimoji="0" lang="en-US" altLang="zh-CN" sz="20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6" name="矩形 100"/>
          <p:cNvSpPr/>
          <p:nvPr/>
        </p:nvSpPr>
        <p:spPr>
          <a:xfrm>
            <a:off x="1420588" y="5028334"/>
            <a:ext cx="1125382" cy="477753"/>
          </a:xfrm>
          <a:prstGeom prst="rect">
            <a:avLst/>
          </a:prstGeom>
          <a:noFill/>
          <a:ln w="9525" cap="flat" cmpd="sng" algn="ctr">
            <a:noFill/>
            <a:prstDash val="dash"/>
            <a:miter lim="800000"/>
          </a:ln>
          <a:effectLst/>
        </p:spPr>
        <p:txBody>
          <a:bodyPr wrap="square" lIns="93296" tIns="46648" rIns="93296" bIns="46648"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数据层</a:t>
            </a:r>
            <a:endParaRPr kumimoji="1" lang="en-US" altLang="zh-CN" sz="16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cxnSp>
        <p:nvCxnSpPr>
          <p:cNvPr id="7" name="直接连接符 119"/>
          <p:cNvCxnSpPr/>
          <p:nvPr/>
        </p:nvCxnSpPr>
        <p:spPr>
          <a:xfrm>
            <a:off x="1578736" y="5883901"/>
            <a:ext cx="10233880" cy="0"/>
          </a:xfrm>
          <a:prstGeom prst="line">
            <a:avLst/>
          </a:prstGeom>
          <a:noFill/>
          <a:ln w="3175" cap="flat" cmpd="sng" algn="ctr">
            <a:solidFill>
              <a:srgbClr val="FE5817"/>
            </a:solidFill>
            <a:prstDash val="dash"/>
            <a:miter lim="800000"/>
            <a:headEnd type="diamond" w="lg" len="lg"/>
            <a:tailEnd type="diamond" w="lg" len="lg"/>
          </a:ln>
          <a:effectLst/>
        </p:spPr>
      </p:cxnSp>
      <p:sp>
        <p:nvSpPr>
          <p:cNvPr id="8" name="矩形 165"/>
          <p:cNvSpPr/>
          <p:nvPr/>
        </p:nvSpPr>
        <p:spPr>
          <a:xfrm>
            <a:off x="3009049" y="6051216"/>
            <a:ext cx="2121133" cy="273651"/>
          </a:xfrm>
          <a:prstGeom prst="rect">
            <a:avLst/>
          </a:prstGeom>
          <a:noFill/>
        </p:spPr>
        <p:txBody>
          <a:bodyPr wrap="square"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rPr>
              <a:t>智能认知</a:t>
            </a:r>
            <a:endParaRPr kumimoji="0" lang="zh-CN" altLang="en-US"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endParaRPr>
          </a:p>
        </p:txBody>
      </p:sp>
      <p:sp>
        <p:nvSpPr>
          <p:cNvPr id="9" name="矩形 164"/>
          <p:cNvSpPr/>
          <p:nvPr/>
        </p:nvSpPr>
        <p:spPr>
          <a:xfrm>
            <a:off x="5328400" y="6051216"/>
            <a:ext cx="2121133" cy="273651"/>
          </a:xfrm>
          <a:prstGeom prst="rect">
            <a:avLst/>
          </a:prstGeom>
          <a:noFill/>
        </p:spPr>
        <p:txBody>
          <a:bodyPr wrap="square"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sym typeface="+mn-lt"/>
              </a:rPr>
              <a:t>人工智能</a:t>
            </a:r>
            <a:endParaRPr kumimoji="0" lang="zh-CN" altLang="en-US"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sym typeface="+mn-lt"/>
            </a:endParaRPr>
          </a:p>
        </p:txBody>
      </p:sp>
      <p:sp>
        <p:nvSpPr>
          <p:cNvPr id="10" name="矩形 163"/>
          <p:cNvSpPr/>
          <p:nvPr/>
        </p:nvSpPr>
        <p:spPr>
          <a:xfrm>
            <a:off x="7647751" y="6051216"/>
            <a:ext cx="2121133" cy="273651"/>
          </a:xfrm>
          <a:prstGeom prst="rect">
            <a:avLst/>
          </a:prstGeom>
          <a:noFill/>
        </p:spPr>
        <p:txBody>
          <a:bodyPr wrap="square"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rPr>
              <a:t>区块链</a:t>
            </a:r>
            <a:endParaRPr kumimoji="0" lang="en-US" altLang="zh-CN"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endParaRPr>
          </a:p>
        </p:txBody>
      </p:sp>
      <p:sp>
        <p:nvSpPr>
          <p:cNvPr id="11" name="矩形 110"/>
          <p:cNvSpPr/>
          <p:nvPr/>
        </p:nvSpPr>
        <p:spPr>
          <a:xfrm>
            <a:off x="9952355" y="6036468"/>
            <a:ext cx="1860262" cy="288393"/>
          </a:xfrm>
          <a:prstGeom prst="rect">
            <a:avLst/>
          </a:prstGeom>
          <a:noFill/>
        </p:spPr>
        <p:txBody>
          <a:bodyPr wrap="square"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sym typeface="+mn-lt"/>
              </a:rPr>
              <a:t>云</a:t>
            </a:r>
            <a:r>
              <a:rPr kumimoji="0" lang="zh-TW" altLang="en-US"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sym typeface="+mn-lt"/>
              </a:rPr>
              <a:t>计算</a:t>
            </a:r>
            <a:endParaRPr kumimoji="0" lang="zh-CN" altLang="en-US" sz="1600" b="1" i="0" u="none" strike="noStrike" kern="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sym typeface="+mn-lt"/>
            </a:endParaRPr>
          </a:p>
        </p:txBody>
      </p:sp>
      <p:sp>
        <p:nvSpPr>
          <p:cNvPr id="12" name="TextBox 81"/>
          <p:cNvSpPr txBox="1"/>
          <p:nvPr/>
        </p:nvSpPr>
        <p:spPr>
          <a:xfrm>
            <a:off x="563142" y="738759"/>
            <a:ext cx="848861" cy="547550"/>
          </a:xfrm>
          <a:prstGeom prst="rect">
            <a:avLst/>
          </a:prstGeom>
          <a:noFill/>
          <a:ln w="9525">
            <a:noFill/>
            <a:prstDash val="dash"/>
          </a:ln>
        </p:spPr>
        <p:txBody>
          <a:bodyPr wrap="square" lIns="93296" tIns="46648" rIns="93296" bIns="46648"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FE5817"/>
                </a:solidFill>
                <a:uLnTx/>
                <a:uFillTx/>
                <a:latin typeface="华文楷体" panose="02010600040101010101" charset="-122"/>
                <a:ea typeface="华文楷体" panose="02010600040101010101" charset="-122"/>
                <a:cs typeface="+mn-cs"/>
              </a:rPr>
              <a:t>用户</a:t>
            </a:r>
            <a:endParaRPr kumimoji="0" lang="zh-CN" altLang="en-US" sz="1800" b="1" i="0" u="none" strike="noStrike" kern="1200" cap="none" spc="0" normalizeH="0" baseline="0" noProof="0" dirty="0">
              <a:ln>
                <a:noFill/>
              </a:ln>
              <a:solidFill>
                <a:srgbClr val="FE5817"/>
              </a:solidFill>
              <a:uLnTx/>
              <a:uFillTx/>
              <a:latin typeface="华文楷体" panose="02010600040101010101" charset="-122"/>
              <a:ea typeface="华文楷体" panose="02010600040101010101" charset="-122"/>
              <a:cs typeface="+mn-cs"/>
            </a:endParaRPr>
          </a:p>
        </p:txBody>
      </p:sp>
      <p:cxnSp>
        <p:nvCxnSpPr>
          <p:cNvPr id="13" name="直接连接符 119"/>
          <p:cNvCxnSpPr/>
          <p:nvPr/>
        </p:nvCxnSpPr>
        <p:spPr>
          <a:xfrm>
            <a:off x="400616" y="1254836"/>
            <a:ext cx="11412000" cy="0"/>
          </a:xfrm>
          <a:prstGeom prst="line">
            <a:avLst/>
          </a:prstGeom>
          <a:noFill/>
          <a:ln w="3175" cap="flat" cmpd="sng" algn="ctr">
            <a:solidFill>
              <a:srgbClr val="FE5817"/>
            </a:solidFill>
            <a:prstDash val="dash"/>
            <a:miter lim="800000"/>
            <a:headEnd type="diamond" w="lg" len="lg"/>
            <a:tailEnd type="diamond" w="lg" len="lg"/>
          </a:ln>
          <a:effectLst/>
        </p:spPr>
      </p:cxnSp>
      <p:sp>
        <p:nvSpPr>
          <p:cNvPr id="14" name="TextBox 81"/>
          <p:cNvSpPr txBox="1"/>
          <p:nvPr/>
        </p:nvSpPr>
        <p:spPr>
          <a:xfrm>
            <a:off x="2315875" y="829293"/>
            <a:ext cx="2121133" cy="371206"/>
          </a:xfrm>
          <a:prstGeom prst="rect">
            <a:avLst/>
          </a:prstGeom>
          <a:noFill/>
        </p:spPr>
        <p:txBody>
          <a:bodyPr wrap="square" lIns="93296" tIns="46648" rIns="93296" bIns="46648"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FE5817"/>
                </a:solidFill>
                <a:uLnTx/>
                <a:uFillTx/>
                <a:latin typeface="华文楷体" panose="02010600040101010101" charset="-122"/>
                <a:ea typeface="华文楷体" panose="02010600040101010101" charset="-122"/>
                <a:cs typeface="+mn-cs"/>
              </a:rPr>
              <a:t>国家</a:t>
            </a:r>
            <a:r>
              <a:rPr kumimoji="0" lang="en-US" altLang="zh-CN" sz="1800" b="1" i="0" u="none" strike="noStrike" kern="1200" cap="none" spc="0" normalizeH="0" baseline="0" noProof="0" dirty="0" smtClean="0">
                <a:ln>
                  <a:noFill/>
                </a:ln>
                <a:solidFill>
                  <a:srgbClr val="FE5817"/>
                </a:solidFill>
                <a:uLnTx/>
                <a:uFillTx/>
                <a:latin typeface="华文楷体" panose="02010600040101010101" charset="-122"/>
                <a:ea typeface="华文楷体" panose="02010600040101010101" charset="-122"/>
                <a:cs typeface="+mn-cs"/>
              </a:rPr>
              <a:t>xx</a:t>
            </a:r>
            <a:r>
              <a:rPr kumimoji="0" lang="zh-CN" altLang="en-US" sz="1800" b="1" i="0" u="none" strike="noStrike" kern="1200" cap="none" spc="0" normalizeH="0" baseline="0" noProof="0" dirty="0" smtClean="0">
                <a:ln>
                  <a:noFill/>
                </a:ln>
                <a:solidFill>
                  <a:srgbClr val="FE5817"/>
                </a:solidFill>
                <a:uLnTx/>
                <a:uFillTx/>
                <a:latin typeface="华文楷体" panose="02010600040101010101" charset="-122"/>
                <a:ea typeface="华文楷体" panose="02010600040101010101" charset="-122"/>
                <a:cs typeface="+mn-cs"/>
              </a:rPr>
              <a:t>局</a:t>
            </a:r>
            <a:endParaRPr kumimoji="0" lang="zh-CN" altLang="en-US" sz="1800" b="1" i="0" u="none" strike="noStrike" kern="1200" cap="none" spc="0" normalizeH="0" baseline="0" noProof="0" dirty="0">
              <a:ln>
                <a:noFill/>
              </a:ln>
              <a:solidFill>
                <a:srgbClr val="FE5817"/>
              </a:solidFill>
              <a:uLnTx/>
              <a:uFillTx/>
              <a:latin typeface="华文楷体" panose="02010600040101010101" charset="-122"/>
              <a:ea typeface="华文楷体" panose="02010600040101010101" charset="-122"/>
              <a:cs typeface="+mn-cs"/>
            </a:endParaRPr>
          </a:p>
        </p:txBody>
      </p:sp>
      <p:grpSp>
        <p:nvGrpSpPr>
          <p:cNvPr id="15" name="Group 82"/>
          <p:cNvGrpSpPr/>
          <p:nvPr/>
        </p:nvGrpSpPr>
        <p:grpSpPr>
          <a:xfrm>
            <a:off x="2318662" y="892792"/>
            <a:ext cx="337775" cy="244208"/>
            <a:chOff x="4332288" y="1550988"/>
            <a:chExt cx="774700" cy="512762"/>
          </a:xfrm>
          <a:solidFill>
            <a:srgbClr val="FE5817"/>
          </a:solidFill>
        </p:grpSpPr>
        <p:sp>
          <p:nvSpPr>
            <p:cNvPr id="16" name="Freeform 91"/>
            <p:cNvSpPr/>
            <p:nvPr/>
          </p:nvSpPr>
          <p:spPr bwMode="auto">
            <a:xfrm>
              <a:off x="4376738" y="2017713"/>
              <a:ext cx="690563" cy="15875"/>
            </a:xfrm>
            <a:custGeom>
              <a:avLst/>
              <a:gdLst>
                <a:gd name="T0" fmla="*/ 219 w 219"/>
                <a:gd name="T1" fmla="*/ 5 h 5"/>
                <a:gd name="T2" fmla="*/ 219 w 219"/>
                <a:gd name="T3" fmla="*/ 5 h 5"/>
                <a:gd name="T4" fmla="*/ 0 w 219"/>
                <a:gd name="T5" fmla="*/ 5 h 5"/>
                <a:gd name="T6" fmla="*/ 0 w 219"/>
                <a:gd name="T7" fmla="*/ 5 h 5"/>
                <a:gd name="T8" fmla="*/ 0 w 219"/>
                <a:gd name="T9" fmla="*/ 0 h 5"/>
                <a:gd name="T10" fmla="*/ 0 w 219"/>
                <a:gd name="T11" fmla="*/ 0 h 5"/>
                <a:gd name="T12" fmla="*/ 219 w 219"/>
                <a:gd name="T13" fmla="*/ 0 h 5"/>
                <a:gd name="T14" fmla="*/ 219 w 219"/>
                <a:gd name="T15" fmla="*/ 0 h 5"/>
                <a:gd name="T16" fmla="*/ 219 w 219"/>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
                  <a:moveTo>
                    <a:pt x="219" y="5"/>
                  </a:moveTo>
                  <a:cubicBezTo>
                    <a:pt x="219" y="5"/>
                    <a:pt x="219" y="5"/>
                    <a:pt x="219" y="5"/>
                  </a:cubicBezTo>
                  <a:cubicBezTo>
                    <a:pt x="0" y="5"/>
                    <a:pt x="0" y="5"/>
                    <a:pt x="0" y="5"/>
                  </a:cubicBezTo>
                  <a:cubicBezTo>
                    <a:pt x="0" y="5"/>
                    <a:pt x="0" y="5"/>
                    <a:pt x="0" y="5"/>
                  </a:cubicBezTo>
                  <a:cubicBezTo>
                    <a:pt x="0" y="0"/>
                    <a:pt x="0" y="0"/>
                    <a:pt x="0" y="0"/>
                  </a:cubicBezTo>
                  <a:cubicBezTo>
                    <a:pt x="0" y="0"/>
                    <a:pt x="0" y="0"/>
                    <a:pt x="0" y="0"/>
                  </a:cubicBezTo>
                  <a:cubicBezTo>
                    <a:pt x="219" y="0"/>
                    <a:pt x="219" y="0"/>
                    <a:pt x="219" y="0"/>
                  </a:cubicBezTo>
                  <a:cubicBezTo>
                    <a:pt x="219" y="0"/>
                    <a:pt x="219" y="0"/>
                    <a:pt x="219" y="0"/>
                  </a:cubicBezTo>
                  <a:lnTo>
                    <a:pt x="219"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17" name="Freeform 92"/>
            <p:cNvSpPr/>
            <p:nvPr/>
          </p:nvSpPr>
          <p:spPr bwMode="auto">
            <a:xfrm>
              <a:off x="4424363" y="1985963"/>
              <a:ext cx="592138" cy="15875"/>
            </a:xfrm>
            <a:custGeom>
              <a:avLst/>
              <a:gdLst>
                <a:gd name="T0" fmla="*/ 188 w 188"/>
                <a:gd name="T1" fmla="*/ 5 h 5"/>
                <a:gd name="T2" fmla="*/ 188 w 188"/>
                <a:gd name="T3" fmla="*/ 5 h 5"/>
                <a:gd name="T4" fmla="*/ 0 w 188"/>
                <a:gd name="T5" fmla="*/ 5 h 5"/>
                <a:gd name="T6" fmla="*/ 0 w 188"/>
                <a:gd name="T7" fmla="*/ 5 h 5"/>
                <a:gd name="T8" fmla="*/ 0 w 188"/>
                <a:gd name="T9" fmla="*/ 0 h 5"/>
                <a:gd name="T10" fmla="*/ 0 w 188"/>
                <a:gd name="T11" fmla="*/ 0 h 5"/>
                <a:gd name="T12" fmla="*/ 188 w 188"/>
                <a:gd name="T13" fmla="*/ 0 h 5"/>
                <a:gd name="T14" fmla="*/ 188 w 188"/>
                <a:gd name="T15" fmla="*/ 0 h 5"/>
                <a:gd name="T16" fmla="*/ 188 w 188"/>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5">
                  <a:moveTo>
                    <a:pt x="188" y="5"/>
                  </a:moveTo>
                  <a:cubicBezTo>
                    <a:pt x="188" y="5"/>
                    <a:pt x="188" y="5"/>
                    <a:pt x="188" y="5"/>
                  </a:cubicBezTo>
                  <a:cubicBezTo>
                    <a:pt x="0" y="5"/>
                    <a:pt x="0" y="5"/>
                    <a:pt x="0" y="5"/>
                  </a:cubicBezTo>
                  <a:cubicBezTo>
                    <a:pt x="0" y="5"/>
                    <a:pt x="0" y="5"/>
                    <a:pt x="0" y="5"/>
                  </a:cubicBezTo>
                  <a:cubicBezTo>
                    <a:pt x="0" y="0"/>
                    <a:pt x="0" y="0"/>
                    <a:pt x="0" y="0"/>
                  </a:cubicBezTo>
                  <a:cubicBezTo>
                    <a:pt x="0" y="0"/>
                    <a:pt x="0" y="0"/>
                    <a:pt x="0" y="0"/>
                  </a:cubicBezTo>
                  <a:cubicBezTo>
                    <a:pt x="188" y="0"/>
                    <a:pt x="188" y="0"/>
                    <a:pt x="188" y="0"/>
                  </a:cubicBezTo>
                  <a:cubicBezTo>
                    <a:pt x="188" y="0"/>
                    <a:pt x="188" y="0"/>
                    <a:pt x="188" y="0"/>
                  </a:cubicBezTo>
                  <a:lnTo>
                    <a:pt x="188"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18" name="Freeform 93"/>
            <p:cNvSpPr/>
            <p:nvPr/>
          </p:nvSpPr>
          <p:spPr bwMode="auto">
            <a:xfrm>
              <a:off x="4421188" y="1657350"/>
              <a:ext cx="601663" cy="25400"/>
            </a:xfrm>
            <a:custGeom>
              <a:avLst/>
              <a:gdLst>
                <a:gd name="T0" fmla="*/ 191 w 191"/>
                <a:gd name="T1" fmla="*/ 8 h 8"/>
                <a:gd name="T2" fmla="*/ 191 w 191"/>
                <a:gd name="T3" fmla="*/ 8 h 8"/>
                <a:gd name="T4" fmla="*/ 0 w 191"/>
                <a:gd name="T5" fmla="*/ 8 h 8"/>
                <a:gd name="T6" fmla="*/ 0 w 191"/>
                <a:gd name="T7" fmla="*/ 8 h 8"/>
                <a:gd name="T8" fmla="*/ 0 w 191"/>
                <a:gd name="T9" fmla="*/ 1 h 8"/>
                <a:gd name="T10" fmla="*/ 0 w 191"/>
                <a:gd name="T11" fmla="*/ 0 h 8"/>
                <a:gd name="T12" fmla="*/ 191 w 191"/>
                <a:gd name="T13" fmla="*/ 0 h 8"/>
                <a:gd name="T14" fmla="*/ 191 w 191"/>
                <a:gd name="T15" fmla="*/ 1 h 8"/>
                <a:gd name="T16" fmla="*/ 191 w 19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8">
                  <a:moveTo>
                    <a:pt x="191" y="8"/>
                  </a:moveTo>
                  <a:cubicBezTo>
                    <a:pt x="191" y="8"/>
                    <a:pt x="191" y="8"/>
                    <a:pt x="191" y="8"/>
                  </a:cubicBezTo>
                  <a:cubicBezTo>
                    <a:pt x="0" y="8"/>
                    <a:pt x="0" y="8"/>
                    <a:pt x="0" y="8"/>
                  </a:cubicBezTo>
                  <a:cubicBezTo>
                    <a:pt x="0" y="8"/>
                    <a:pt x="0" y="8"/>
                    <a:pt x="0" y="8"/>
                  </a:cubicBezTo>
                  <a:cubicBezTo>
                    <a:pt x="0" y="1"/>
                    <a:pt x="0" y="1"/>
                    <a:pt x="0" y="1"/>
                  </a:cubicBezTo>
                  <a:cubicBezTo>
                    <a:pt x="0" y="1"/>
                    <a:pt x="0" y="0"/>
                    <a:pt x="0" y="0"/>
                  </a:cubicBezTo>
                  <a:cubicBezTo>
                    <a:pt x="191" y="0"/>
                    <a:pt x="191" y="0"/>
                    <a:pt x="191" y="0"/>
                  </a:cubicBezTo>
                  <a:cubicBezTo>
                    <a:pt x="191" y="0"/>
                    <a:pt x="191" y="1"/>
                    <a:pt x="191" y="1"/>
                  </a:cubicBezTo>
                  <a:lnTo>
                    <a:pt x="191"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19" name="Freeform 94"/>
            <p:cNvSpPr/>
            <p:nvPr/>
          </p:nvSpPr>
          <p:spPr bwMode="auto">
            <a:xfrm>
              <a:off x="4332288" y="2047875"/>
              <a:ext cx="774700" cy="15875"/>
            </a:xfrm>
            <a:custGeom>
              <a:avLst/>
              <a:gdLst>
                <a:gd name="T0" fmla="*/ 246 w 246"/>
                <a:gd name="T1" fmla="*/ 5 h 5"/>
                <a:gd name="T2" fmla="*/ 246 w 246"/>
                <a:gd name="T3" fmla="*/ 5 h 5"/>
                <a:gd name="T4" fmla="*/ 0 w 246"/>
                <a:gd name="T5" fmla="*/ 5 h 5"/>
                <a:gd name="T6" fmla="*/ 0 w 246"/>
                <a:gd name="T7" fmla="*/ 5 h 5"/>
                <a:gd name="T8" fmla="*/ 0 w 246"/>
                <a:gd name="T9" fmla="*/ 0 h 5"/>
                <a:gd name="T10" fmla="*/ 0 w 246"/>
                <a:gd name="T11" fmla="*/ 0 h 5"/>
                <a:gd name="T12" fmla="*/ 246 w 246"/>
                <a:gd name="T13" fmla="*/ 0 h 5"/>
                <a:gd name="T14" fmla="*/ 246 w 246"/>
                <a:gd name="T15" fmla="*/ 0 h 5"/>
                <a:gd name="T16" fmla="*/ 246 w 246"/>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5">
                  <a:moveTo>
                    <a:pt x="246" y="5"/>
                  </a:moveTo>
                  <a:cubicBezTo>
                    <a:pt x="246" y="5"/>
                    <a:pt x="246" y="5"/>
                    <a:pt x="246" y="5"/>
                  </a:cubicBezTo>
                  <a:cubicBezTo>
                    <a:pt x="0" y="5"/>
                    <a:pt x="0" y="5"/>
                    <a:pt x="0" y="5"/>
                  </a:cubicBezTo>
                  <a:cubicBezTo>
                    <a:pt x="0" y="5"/>
                    <a:pt x="0" y="5"/>
                    <a:pt x="0" y="5"/>
                  </a:cubicBezTo>
                  <a:cubicBezTo>
                    <a:pt x="0" y="0"/>
                    <a:pt x="0" y="0"/>
                    <a:pt x="0" y="0"/>
                  </a:cubicBezTo>
                  <a:cubicBezTo>
                    <a:pt x="0" y="0"/>
                    <a:pt x="0" y="0"/>
                    <a:pt x="0" y="0"/>
                  </a:cubicBezTo>
                  <a:cubicBezTo>
                    <a:pt x="246" y="0"/>
                    <a:pt x="246" y="0"/>
                    <a:pt x="246" y="0"/>
                  </a:cubicBezTo>
                  <a:cubicBezTo>
                    <a:pt x="246" y="0"/>
                    <a:pt x="246" y="0"/>
                    <a:pt x="246" y="0"/>
                  </a:cubicBezTo>
                  <a:lnTo>
                    <a:pt x="246"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20" name="Rectangle 95"/>
            <p:cNvSpPr>
              <a:spLocks noChangeArrowheads="1"/>
            </p:cNvSpPr>
            <p:nvPr/>
          </p:nvSpPr>
          <p:spPr bwMode="auto">
            <a:xfrm>
              <a:off x="4625976" y="1692275"/>
              <a:ext cx="44450" cy="280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21" name="Rectangle 96"/>
            <p:cNvSpPr>
              <a:spLocks noChangeArrowheads="1"/>
            </p:cNvSpPr>
            <p:nvPr/>
          </p:nvSpPr>
          <p:spPr bwMode="auto">
            <a:xfrm>
              <a:off x="4773613" y="1692275"/>
              <a:ext cx="41275" cy="280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22" name="Rectangle 97"/>
            <p:cNvSpPr>
              <a:spLocks noChangeArrowheads="1"/>
            </p:cNvSpPr>
            <p:nvPr/>
          </p:nvSpPr>
          <p:spPr bwMode="auto">
            <a:xfrm>
              <a:off x="4918076" y="1692275"/>
              <a:ext cx="44450" cy="280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23" name="Freeform 98"/>
            <p:cNvSpPr/>
            <p:nvPr/>
          </p:nvSpPr>
          <p:spPr bwMode="auto">
            <a:xfrm>
              <a:off x="4606926" y="1692275"/>
              <a:ext cx="82550" cy="38100"/>
            </a:xfrm>
            <a:custGeom>
              <a:avLst/>
              <a:gdLst>
                <a:gd name="T0" fmla="*/ 46 w 52"/>
                <a:gd name="T1" fmla="*/ 24 h 24"/>
                <a:gd name="T2" fmla="*/ 6 w 52"/>
                <a:gd name="T3" fmla="*/ 24 h 24"/>
                <a:gd name="T4" fmla="*/ 0 w 52"/>
                <a:gd name="T5" fmla="*/ 0 h 24"/>
                <a:gd name="T6" fmla="*/ 52 w 52"/>
                <a:gd name="T7" fmla="*/ 0 h 24"/>
                <a:gd name="T8" fmla="*/ 46 w 52"/>
                <a:gd name="T9" fmla="*/ 24 h 24"/>
              </a:gdLst>
              <a:ahLst/>
              <a:cxnLst>
                <a:cxn ang="0">
                  <a:pos x="T0" y="T1"/>
                </a:cxn>
                <a:cxn ang="0">
                  <a:pos x="T2" y="T3"/>
                </a:cxn>
                <a:cxn ang="0">
                  <a:pos x="T4" y="T5"/>
                </a:cxn>
                <a:cxn ang="0">
                  <a:pos x="T6" y="T7"/>
                </a:cxn>
                <a:cxn ang="0">
                  <a:pos x="T8" y="T9"/>
                </a:cxn>
              </a:cxnLst>
              <a:rect l="0" t="0" r="r" b="b"/>
              <a:pathLst>
                <a:path w="52" h="24">
                  <a:moveTo>
                    <a:pt x="46" y="24"/>
                  </a:moveTo>
                  <a:lnTo>
                    <a:pt x="6" y="24"/>
                  </a:lnTo>
                  <a:lnTo>
                    <a:pt x="0" y="0"/>
                  </a:lnTo>
                  <a:lnTo>
                    <a:pt x="52" y="0"/>
                  </a:lnTo>
                  <a:lnTo>
                    <a:pt x="46"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24" name="Freeform 99"/>
            <p:cNvSpPr/>
            <p:nvPr/>
          </p:nvSpPr>
          <p:spPr bwMode="auto">
            <a:xfrm>
              <a:off x="4606926" y="1938338"/>
              <a:ext cx="79375" cy="34925"/>
            </a:xfrm>
            <a:custGeom>
              <a:avLst/>
              <a:gdLst>
                <a:gd name="T0" fmla="*/ 46 w 50"/>
                <a:gd name="T1" fmla="*/ 0 h 22"/>
                <a:gd name="T2" fmla="*/ 6 w 50"/>
                <a:gd name="T3" fmla="*/ 0 h 22"/>
                <a:gd name="T4" fmla="*/ 0 w 50"/>
                <a:gd name="T5" fmla="*/ 22 h 22"/>
                <a:gd name="T6" fmla="*/ 50 w 50"/>
                <a:gd name="T7" fmla="*/ 22 h 22"/>
                <a:gd name="T8" fmla="*/ 46 w 50"/>
                <a:gd name="T9" fmla="*/ 0 h 22"/>
              </a:gdLst>
              <a:ahLst/>
              <a:cxnLst>
                <a:cxn ang="0">
                  <a:pos x="T0" y="T1"/>
                </a:cxn>
                <a:cxn ang="0">
                  <a:pos x="T2" y="T3"/>
                </a:cxn>
                <a:cxn ang="0">
                  <a:pos x="T4" y="T5"/>
                </a:cxn>
                <a:cxn ang="0">
                  <a:pos x="T6" y="T7"/>
                </a:cxn>
                <a:cxn ang="0">
                  <a:pos x="T8" y="T9"/>
                </a:cxn>
              </a:cxnLst>
              <a:rect l="0" t="0" r="r" b="b"/>
              <a:pathLst>
                <a:path w="50" h="22">
                  <a:moveTo>
                    <a:pt x="46" y="0"/>
                  </a:moveTo>
                  <a:lnTo>
                    <a:pt x="6" y="0"/>
                  </a:lnTo>
                  <a:lnTo>
                    <a:pt x="0" y="22"/>
                  </a:lnTo>
                  <a:lnTo>
                    <a:pt x="50" y="22"/>
                  </a:lnTo>
                  <a:lnTo>
                    <a:pt x="4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25" name="Rectangle 100"/>
            <p:cNvSpPr>
              <a:spLocks noChangeArrowheads="1"/>
            </p:cNvSpPr>
            <p:nvPr/>
          </p:nvSpPr>
          <p:spPr bwMode="auto">
            <a:xfrm>
              <a:off x="4481513" y="1692275"/>
              <a:ext cx="39688" cy="280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26" name="Freeform 101"/>
            <p:cNvSpPr/>
            <p:nvPr/>
          </p:nvSpPr>
          <p:spPr bwMode="auto">
            <a:xfrm>
              <a:off x="4459288" y="1692275"/>
              <a:ext cx="80963" cy="38100"/>
            </a:xfrm>
            <a:custGeom>
              <a:avLst/>
              <a:gdLst>
                <a:gd name="T0" fmla="*/ 47 w 51"/>
                <a:gd name="T1" fmla="*/ 24 h 24"/>
                <a:gd name="T2" fmla="*/ 6 w 51"/>
                <a:gd name="T3" fmla="*/ 24 h 24"/>
                <a:gd name="T4" fmla="*/ 0 w 51"/>
                <a:gd name="T5" fmla="*/ 0 h 24"/>
                <a:gd name="T6" fmla="*/ 51 w 51"/>
                <a:gd name="T7" fmla="*/ 0 h 24"/>
                <a:gd name="T8" fmla="*/ 47 w 51"/>
                <a:gd name="T9" fmla="*/ 24 h 24"/>
              </a:gdLst>
              <a:ahLst/>
              <a:cxnLst>
                <a:cxn ang="0">
                  <a:pos x="T0" y="T1"/>
                </a:cxn>
                <a:cxn ang="0">
                  <a:pos x="T2" y="T3"/>
                </a:cxn>
                <a:cxn ang="0">
                  <a:pos x="T4" y="T5"/>
                </a:cxn>
                <a:cxn ang="0">
                  <a:pos x="T6" y="T7"/>
                </a:cxn>
                <a:cxn ang="0">
                  <a:pos x="T8" y="T9"/>
                </a:cxn>
              </a:cxnLst>
              <a:rect l="0" t="0" r="r" b="b"/>
              <a:pathLst>
                <a:path w="51" h="24">
                  <a:moveTo>
                    <a:pt x="47" y="24"/>
                  </a:moveTo>
                  <a:lnTo>
                    <a:pt x="6" y="24"/>
                  </a:lnTo>
                  <a:lnTo>
                    <a:pt x="0" y="0"/>
                  </a:lnTo>
                  <a:lnTo>
                    <a:pt x="51" y="0"/>
                  </a:lnTo>
                  <a:lnTo>
                    <a:pt x="47"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27" name="Freeform 102"/>
            <p:cNvSpPr/>
            <p:nvPr/>
          </p:nvSpPr>
          <p:spPr bwMode="auto">
            <a:xfrm>
              <a:off x="4462463" y="1938338"/>
              <a:ext cx="77788" cy="34925"/>
            </a:xfrm>
            <a:custGeom>
              <a:avLst/>
              <a:gdLst>
                <a:gd name="T0" fmla="*/ 43 w 49"/>
                <a:gd name="T1" fmla="*/ 0 h 22"/>
                <a:gd name="T2" fmla="*/ 4 w 49"/>
                <a:gd name="T3" fmla="*/ 0 h 22"/>
                <a:gd name="T4" fmla="*/ 0 w 49"/>
                <a:gd name="T5" fmla="*/ 22 h 22"/>
                <a:gd name="T6" fmla="*/ 49 w 49"/>
                <a:gd name="T7" fmla="*/ 22 h 22"/>
                <a:gd name="T8" fmla="*/ 43 w 49"/>
                <a:gd name="T9" fmla="*/ 0 h 22"/>
              </a:gdLst>
              <a:ahLst/>
              <a:cxnLst>
                <a:cxn ang="0">
                  <a:pos x="T0" y="T1"/>
                </a:cxn>
                <a:cxn ang="0">
                  <a:pos x="T2" y="T3"/>
                </a:cxn>
                <a:cxn ang="0">
                  <a:pos x="T4" y="T5"/>
                </a:cxn>
                <a:cxn ang="0">
                  <a:pos x="T6" y="T7"/>
                </a:cxn>
                <a:cxn ang="0">
                  <a:pos x="T8" y="T9"/>
                </a:cxn>
              </a:cxnLst>
              <a:rect l="0" t="0" r="r" b="b"/>
              <a:pathLst>
                <a:path w="49" h="22">
                  <a:moveTo>
                    <a:pt x="43" y="0"/>
                  </a:moveTo>
                  <a:lnTo>
                    <a:pt x="4" y="0"/>
                  </a:lnTo>
                  <a:lnTo>
                    <a:pt x="0" y="22"/>
                  </a:lnTo>
                  <a:lnTo>
                    <a:pt x="49" y="22"/>
                  </a:lnTo>
                  <a:lnTo>
                    <a:pt x="4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28" name="Freeform 103"/>
            <p:cNvSpPr/>
            <p:nvPr/>
          </p:nvSpPr>
          <p:spPr bwMode="auto">
            <a:xfrm>
              <a:off x="4751388" y="1692275"/>
              <a:ext cx="82550" cy="38100"/>
            </a:xfrm>
            <a:custGeom>
              <a:avLst/>
              <a:gdLst>
                <a:gd name="T0" fmla="*/ 48 w 52"/>
                <a:gd name="T1" fmla="*/ 24 h 24"/>
                <a:gd name="T2" fmla="*/ 6 w 52"/>
                <a:gd name="T3" fmla="*/ 24 h 24"/>
                <a:gd name="T4" fmla="*/ 0 w 52"/>
                <a:gd name="T5" fmla="*/ 0 h 24"/>
                <a:gd name="T6" fmla="*/ 52 w 52"/>
                <a:gd name="T7" fmla="*/ 0 h 24"/>
                <a:gd name="T8" fmla="*/ 48 w 52"/>
                <a:gd name="T9" fmla="*/ 24 h 24"/>
              </a:gdLst>
              <a:ahLst/>
              <a:cxnLst>
                <a:cxn ang="0">
                  <a:pos x="T0" y="T1"/>
                </a:cxn>
                <a:cxn ang="0">
                  <a:pos x="T2" y="T3"/>
                </a:cxn>
                <a:cxn ang="0">
                  <a:pos x="T4" y="T5"/>
                </a:cxn>
                <a:cxn ang="0">
                  <a:pos x="T6" y="T7"/>
                </a:cxn>
                <a:cxn ang="0">
                  <a:pos x="T8" y="T9"/>
                </a:cxn>
              </a:cxnLst>
              <a:rect l="0" t="0" r="r" b="b"/>
              <a:pathLst>
                <a:path w="52" h="24">
                  <a:moveTo>
                    <a:pt x="48" y="24"/>
                  </a:moveTo>
                  <a:lnTo>
                    <a:pt x="6" y="24"/>
                  </a:lnTo>
                  <a:lnTo>
                    <a:pt x="0" y="0"/>
                  </a:lnTo>
                  <a:lnTo>
                    <a:pt x="52" y="0"/>
                  </a:lnTo>
                  <a:lnTo>
                    <a:pt x="4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29" name="Freeform 104"/>
            <p:cNvSpPr/>
            <p:nvPr/>
          </p:nvSpPr>
          <p:spPr bwMode="auto">
            <a:xfrm>
              <a:off x="4754563" y="1938338"/>
              <a:ext cx="79375" cy="34925"/>
            </a:xfrm>
            <a:custGeom>
              <a:avLst/>
              <a:gdLst>
                <a:gd name="T0" fmla="*/ 44 w 50"/>
                <a:gd name="T1" fmla="*/ 0 h 22"/>
                <a:gd name="T2" fmla="*/ 4 w 50"/>
                <a:gd name="T3" fmla="*/ 0 h 22"/>
                <a:gd name="T4" fmla="*/ 0 w 50"/>
                <a:gd name="T5" fmla="*/ 22 h 22"/>
                <a:gd name="T6" fmla="*/ 50 w 50"/>
                <a:gd name="T7" fmla="*/ 22 h 22"/>
                <a:gd name="T8" fmla="*/ 44 w 50"/>
                <a:gd name="T9" fmla="*/ 0 h 22"/>
              </a:gdLst>
              <a:ahLst/>
              <a:cxnLst>
                <a:cxn ang="0">
                  <a:pos x="T0" y="T1"/>
                </a:cxn>
                <a:cxn ang="0">
                  <a:pos x="T2" y="T3"/>
                </a:cxn>
                <a:cxn ang="0">
                  <a:pos x="T4" y="T5"/>
                </a:cxn>
                <a:cxn ang="0">
                  <a:pos x="T6" y="T7"/>
                </a:cxn>
                <a:cxn ang="0">
                  <a:pos x="T8" y="T9"/>
                </a:cxn>
              </a:cxnLst>
              <a:rect l="0" t="0" r="r" b="b"/>
              <a:pathLst>
                <a:path w="50" h="22">
                  <a:moveTo>
                    <a:pt x="44" y="0"/>
                  </a:moveTo>
                  <a:lnTo>
                    <a:pt x="4" y="0"/>
                  </a:lnTo>
                  <a:lnTo>
                    <a:pt x="0" y="22"/>
                  </a:lnTo>
                  <a:lnTo>
                    <a:pt x="50" y="22"/>
                  </a:lnTo>
                  <a:lnTo>
                    <a:pt x="4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30" name="Freeform 105"/>
            <p:cNvSpPr/>
            <p:nvPr/>
          </p:nvSpPr>
          <p:spPr bwMode="auto">
            <a:xfrm>
              <a:off x="4899026" y="1692275"/>
              <a:ext cx="82550" cy="38100"/>
            </a:xfrm>
            <a:custGeom>
              <a:avLst/>
              <a:gdLst>
                <a:gd name="T0" fmla="*/ 46 w 52"/>
                <a:gd name="T1" fmla="*/ 24 h 24"/>
                <a:gd name="T2" fmla="*/ 6 w 52"/>
                <a:gd name="T3" fmla="*/ 24 h 24"/>
                <a:gd name="T4" fmla="*/ 0 w 52"/>
                <a:gd name="T5" fmla="*/ 0 h 24"/>
                <a:gd name="T6" fmla="*/ 52 w 52"/>
                <a:gd name="T7" fmla="*/ 0 h 24"/>
                <a:gd name="T8" fmla="*/ 46 w 52"/>
                <a:gd name="T9" fmla="*/ 24 h 24"/>
              </a:gdLst>
              <a:ahLst/>
              <a:cxnLst>
                <a:cxn ang="0">
                  <a:pos x="T0" y="T1"/>
                </a:cxn>
                <a:cxn ang="0">
                  <a:pos x="T2" y="T3"/>
                </a:cxn>
                <a:cxn ang="0">
                  <a:pos x="T4" y="T5"/>
                </a:cxn>
                <a:cxn ang="0">
                  <a:pos x="T6" y="T7"/>
                </a:cxn>
                <a:cxn ang="0">
                  <a:pos x="T8" y="T9"/>
                </a:cxn>
              </a:cxnLst>
              <a:rect l="0" t="0" r="r" b="b"/>
              <a:pathLst>
                <a:path w="52" h="24">
                  <a:moveTo>
                    <a:pt x="46" y="24"/>
                  </a:moveTo>
                  <a:lnTo>
                    <a:pt x="6" y="24"/>
                  </a:lnTo>
                  <a:lnTo>
                    <a:pt x="0" y="0"/>
                  </a:lnTo>
                  <a:lnTo>
                    <a:pt x="52" y="0"/>
                  </a:lnTo>
                  <a:lnTo>
                    <a:pt x="46"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31" name="Freeform 106"/>
            <p:cNvSpPr/>
            <p:nvPr/>
          </p:nvSpPr>
          <p:spPr bwMode="auto">
            <a:xfrm>
              <a:off x="4899026" y="1938338"/>
              <a:ext cx="79375" cy="34925"/>
            </a:xfrm>
            <a:custGeom>
              <a:avLst/>
              <a:gdLst>
                <a:gd name="T0" fmla="*/ 46 w 50"/>
                <a:gd name="T1" fmla="*/ 0 h 22"/>
                <a:gd name="T2" fmla="*/ 6 w 50"/>
                <a:gd name="T3" fmla="*/ 0 h 22"/>
                <a:gd name="T4" fmla="*/ 0 w 50"/>
                <a:gd name="T5" fmla="*/ 22 h 22"/>
                <a:gd name="T6" fmla="*/ 50 w 50"/>
                <a:gd name="T7" fmla="*/ 22 h 22"/>
                <a:gd name="T8" fmla="*/ 46 w 50"/>
                <a:gd name="T9" fmla="*/ 0 h 22"/>
              </a:gdLst>
              <a:ahLst/>
              <a:cxnLst>
                <a:cxn ang="0">
                  <a:pos x="T0" y="T1"/>
                </a:cxn>
                <a:cxn ang="0">
                  <a:pos x="T2" y="T3"/>
                </a:cxn>
                <a:cxn ang="0">
                  <a:pos x="T4" y="T5"/>
                </a:cxn>
                <a:cxn ang="0">
                  <a:pos x="T6" y="T7"/>
                </a:cxn>
                <a:cxn ang="0">
                  <a:pos x="T8" y="T9"/>
                </a:cxn>
              </a:cxnLst>
              <a:rect l="0" t="0" r="r" b="b"/>
              <a:pathLst>
                <a:path w="50" h="22">
                  <a:moveTo>
                    <a:pt x="46" y="0"/>
                  </a:moveTo>
                  <a:lnTo>
                    <a:pt x="6" y="0"/>
                  </a:lnTo>
                  <a:lnTo>
                    <a:pt x="0" y="22"/>
                  </a:lnTo>
                  <a:lnTo>
                    <a:pt x="50" y="22"/>
                  </a:lnTo>
                  <a:lnTo>
                    <a:pt x="4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sp>
          <p:nvSpPr>
            <p:cNvPr id="32" name="Freeform 107"/>
            <p:cNvSpPr/>
            <p:nvPr/>
          </p:nvSpPr>
          <p:spPr bwMode="auto">
            <a:xfrm>
              <a:off x="4421188" y="1550988"/>
              <a:ext cx="601663" cy="109538"/>
            </a:xfrm>
            <a:custGeom>
              <a:avLst/>
              <a:gdLst>
                <a:gd name="T0" fmla="*/ 188 w 379"/>
                <a:gd name="T1" fmla="*/ 0 h 69"/>
                <a:gd name="T2" fmla="*/ 379 w 379"/>
                <a:gd name="T3" fmla="*/ 69 h 69"/>
                <a:gd name="T4" fmla="*/ 0 w 379"/>
                <a:gd name="T5" fmla="*/ 69 h 69"/>
                <a:gd name="T6" fmla="*/ 188 w 379"/>
                <a:gd name="T7" fmla="*/ 0 h 69"/>
              </a:gdLst>
              <a:ahLst/>
              <a:cxnLst>
                <a:cxn ang="0">
                  <a:pos x="T0" y="T1"/>
                </a:cxn>
                <a:cxn ang="0">
                  <a:pos x="T2" y="T3"/>
                </a:cxn>
                <a:cxn ang="0">
                  <a:pos x="T4" y="T5"/>
                </a:cxn>
                <a:cxn ang="0">
                  <a:pos x="T6" y="T7"/>
                </a:cxn>
              </a:cxnLst>
              <a:rect l="0" t="0" r="r" b="b"/>
              <a:pathLst>
                <a:path w="379" h="69">
                  <a:moveTo>
                    <a:pt x="188" y="0"/>
                  </a:moveTo>
                  <a:lnTo>
                    <a:pt x="379" y="69"/>
                  </a:lnTo>
                  <a:lnTo>
                    <a:pt x="0" y="69"/>
                  </a:lnTo>
                  <a:lnTo>
                    <a:pt x="18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E" sz="1800" b="0" i="0" u="none" strike="noStrike" kern="1200" cap="none" spc="0" normalizeH="0" baseline="0" noProof="0">
                <a:ln>
                  <a:noFill/>
                </a:ln>
                <a:solidFill>
                  <a:srgbClr val="FE5817"/>
                </a:solidFill>
                <a:uLnTx/>
                <a:uFillTx/>
                <a:latin typeface="华文楷体" panose="02010600040101010101" charset="-122"/>
                <a:ea typeface="华文楷体" panose="02010600040101010101" charset="-122"/>
                <a:cs typeface="+mn-cs"/>
              </a:endParaRPr>
            </a:p>
          </p:txBody>
        </p:sp>
      </p:grpSp>
      <p:sp>
        <p:nvSpPr>
          <p:cNvPr id="33" name="TextBox 81"/>
          <p:cNvSpPr txBox="1"/>
          <p:nvPr/>
        </p:nvSpPr>
        <p:spPr>
          <a:xfrm>
            <a:off x="9735507" y="829293"/>
            <a:ext cx="2121133" cy="371206"/>
          </a:xfrm>
          <a:prstGeom prst="rect">
            <a:avLst/>
          </a:prstGeom>
          <a:noFill/>
        </p:spPr>
        <p:txBody>
          <a:bodyPr wrap="square" lIns="93296" tIns="46648" rIns="93296" bIns="46648"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FE5817"/>
                </a:solidFill>
                <a:uLnTx/>
                <a:uFillTx/>
                <a:latin typeface="华文楷体" panose="02010600040101010101" charset="-122"/>
                <a:ea typeface="华文楷体" panose="02010600040101010101" charset="-122"/>
                <a:cs typeface="+mn-cs"/>
              </a:rPr>
              <a:t>参保人</a:t>
            </a:r>
            <a:endParaRPr kumimoji="0" lang="zh-CN" altLang="en-US" sz="1800" b="1" i="0" u="none" strike="noStrike" kern="1200" cap="none" spc="0" normalizeH="0" baseline="0" noProof="0" dirty="0">
              <a:ln>
                <a:noFill/>
              </a:ln>
              <a:solidFill>
                <a:srgbClr val="FE5817"/>
              </a:solidFill>
              <a:uLnTx/>
              <a:uFillTx/>
              <a:latin typeface="华文楷体" panose="02010600040101010101" charset="-122"/>
              <a:ea typeface="华文楷体" panose="02010600040101010101" charset="-122"/>
              <a:cs typeface="+mn-cs"/>
            </a:endParaRPr>
          </a:p>
        </p:txBody>
      </p:sp>
      <p:pic>
        <p:nvPicPr>
          <p:cNvPr id="34" name="Picture 65" descr="D:\Users\yingjingjing975.PAICDOM\Downloads\参保人.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0055446" y="870896"/>
            <a:ext cx="288000" cy="288000"/>
          </a:xfrm>
          <a:prstGeom prst="rect">
            <a:avLst/>
          </a:prstGeom>
          <a:solidFill>
            <a:srgbClr val="FE5817"/>
          </a:solidFill>
          <a:ln>
            <a:noFill/>
          </a:ln>
        </p:spPr>
      </p:pic>
      <p:sp>
        <p:nvSpPr>
          <p:cNvPr id="35" name="TextBox 81"/>
          <p:cNvSpPr txBox="1"/>
          <p:nvPr/>
        </p:nvSpPr>
        <p:spPr>
          <a:xfrm>
            <a:off x="4982979" y="829293"/>
            <a:ext cx="2121133" cy="371206"/>
          </a:xfrm>
          <a:prstGeom prst="rect">
            <a:avLst/>
          </a:prstGeom>
          <a:noFill/>
        </p:spPr>
        <p:txBody>
          <a:bodyPr wrap="square" lIns="93296" tIns="46648" rIns="93296" bIns="46648"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FE5817"/>
                </a:solidFill>
                <a:uLnTx/>
                <a:uFillTx/>
                <a:latin typeface="华文楷体" panose="02010600040101010101" charset="-122"/>
                <a:ea typeface="华文楷体" panose="02010600040101010101" charset="-122"/>
                <a:cs typeface="+mn-cs"/>
              </a:rPr>
              <a:t>省</a:t>
            </a:r>
            <a:r>
              <a:rPr kumimoji="0" lang="en-US" altLang="zh-CN" sz="1800" b="1" i="0" u="none" strike="noStrike" kern="1200" cap="none" spc="0" normalizeH="0" baseline="0" noProof="0" dirty="0" smtClean="0">
                <a:ln>
                  <a:noFill/>
                </a:ln>
                <a:solidFill>
                  <a:srgbClr val="FE5817"/>
                </a:solidFill>
                <a:uLnTx/>
                <a:uFillTx/>
                <a:latin typeface="华文楷体" panose="02010600040101010101" charset="-122"/>
                <a:ea typeface="华文楷体" panose="02010600040101010101" charset="-122"/>
                <a:cs typeface="+mn-cs"/>
              </a:rPr>
              <a:t>xx</a:t>
            </a:r>
            <a:r>
              <a:rPr kumimoji="0" lang="zh-CN" altLang="en-US" sz="1800" b="1" i="0" u="none" strike="noStrike" kern="1200" cap="none" spc="0" normalizeH="0" baseline="0" noProof="0" dirty="0" smtClean="0">
                <a:ln>
                  <a:noFill/>
                </a:ln>
                <a:solidFill>
                  <a:srgbClr val="FE5817"/>
                </a:solidFill>
                <a:uLnTx/>
                <a:uFillTx/>
                <a:latin typeface="华文楷体" panose="02010600040101010101" charset="-122"/>
                <a:ea typeface="华文楷体" panose="02010600040101010101" charset="-122"/>
                <a:cs typeface="+mn-cs"/>
              </a:rPr>
              <a:t>局</a:t>
            </a:r>
            <a:endParaRPr kumimoji="0" lang="zh-CN" altLang="en-US" sz="1800" b="1" i="0" u="none" strike="noStrike" kern="1200" cap="none" spc="0" normalizeH="0" baseline="0" noProof="0" dirty="0">
              <a:ln>
                <a:noFill/>
              </a:ln>
              <a:solidFill>
                <a:srgbClr val="FE5817"/>
              </a:solidFill>
              <a:uLnTx/>
              <a:uFillTx/>
              <a:latin typeface="华文楷体" panose="02010600040101010101" charset="-122"/>
              <a:ea typeface="华文楷体" panose="02010600040101010101" charset="-122"/>
              <a:cs typeface="+mn-cs"/>
            </a:endParaRPr>
          </a:p>
        </p:txBody>
      </p:sp>
      <p:sp>
        <p:nvSpPr>
          <p:cNvPr id="36" name="TextBox 81"/>
          <p:cNvSpPr txBox="1"/>
          <p:nvPr/>
        </p:nvSpPr>
        <p:spPr>
          <a:xfrm>
            <a:off x="7575267" y="829293"/>
            <a:ext cx="2121133" cy="371206"/>
          </a:xfrm>
          <a:prstGeom prst="rect">
            <a:avLst/>
          </a:prstGeom>
          <a:noFill/>
        </p:spPr>
        <p:txBody>
          <a:bodyPr wrap="square" lIns="93296" tIns="46648" rIns="93296" bIns="46648"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FE5817"/>
                </a:solidFill>
                <a:uLnTx/>
                <a:uFillTx/>
                <a:latin typeface="华文楷体" panose="02010600040101010101" charset="-122"/>
                <a:ea typeface="华文楷体" panose="02010600040101010101" charset="-122"/>
                <a:cs typeface="+mn-cs"/>
              </a:rPr>
              <a:t>市</a:t>
            </a:r>
            <a:r>
              <a:rPr kumimoji="0" lang="en-US" altLang="zh-CN" sz="1800" b="1" i="0" u="none" strike="noStrike" kern="1200" cap="none" spc="0" normalizeH="0" baseline="0" noProof="0" dirty="0" smtClean="0">
                <a:ln>
                  <a:noFill/>
                </a:ln>
                <a:solidFill>
                  <a:srgbClr val="FE5817"/>
                </a:solidFill>
                <a:uLnTx/>
                <a:uFillTx/>
                <a:latin typeface="华文楷体" panose="02010600040101010101" charset="-122"/>
                <a:ea typeface="华文楷体" panose="02010600040101010101" charset="-122"/>
                <a:cs typeface="+mn-cs"/>
              </a:rPr>
              <a:t>xx</a:t>
            </a:r>
            <a:r>
              <a:rPr kumimoji="0" lang="zh-CN" altLang="en-US" sz="1800" b="1" i="0" u="none" strike="noStrike" kern="1200" cap="none" spc="0" normalizeH="0" baseline="0" noProof="0" dirty="0" smtClean="0">
                <a:ln>
                  <a:noFill/>
                </a:ln>
                <a:solidFill>
                  <a:srgbClr val="FE5817"/>
                </a:solidFill>
                <a:uLnTx/>
                <a:uFillTx/>
                <a:latin typeface="华文楷体" panose="02010600040101010101" charset="-122"/>
                <a:ea typeface="华文楷体" panose="02010600040101010101" charset="-122"/>
                <a:cs typeface="+mn-cs"/>
              </a:rPr>
              <a:t>局</a:t>
            </a:r>
            <a:endParaRPr kumimoji="0" lang="zh-CN" altLang="en-US" sz="1800" b="1" i="0" u="none" strike="noStrike" kern="1200" cap="none" spc="0" normalizeH="0" baseline="0" noProof="0" dirty="0">
              <a:ln>
                <a:noFill/>
              </a:ln>
              <a:solidFill>
                <a:srgbClr val="FE5817"/>
              </a:solidFill>
              <a:uLnTx/>
              <a:uFillTx/>
              <a:latin typeface="华文楷体" panose="02010600040101010101" charset="-122"/>
              <a:ea typeface="华文楷体" panose="02010600040101010101" charset="-122"/>
              <a:cs typeface="+mn-cs"/>
            </a:endParaRPr>
          </a:p>
        </p:txBody>
      </p:sp>
      <p:pic>
        <p:nvPicPr>
          <p:cNvPr id="37" name="Graphic 25" descr="Building"/>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184" y="812055"/>
            <a:ext cx="405683" cy="405683"/>
          </a:xfrm>
          <a:prstGeom prst="rect">
            <a:avLst/>
          </a:prstGeom>
          <a:solidFill>
            <a:srgbClr val="FE5817"/>
          </a:solidFill>
        </p:spPr>
      </p:pic>
      <p:pic>
        <p:nvPicPr>
          <p:cNvPr id="38" name="Graphic 27" descr="Silo"/>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28004" y="821942"/>
            <a:ext cx="385908" cy="385908"/>
          </a:xfrm>
          <a:prstGeom prst="rect">
            <a:avLst/>
          </a:prstGeom>
          <a:solidFill>
            <a:srgbClr val="FE5817"/>
          </a:solidFill>
        </p:spPr>
      </p:pic>
      <p:cxnSp>
        <p:nvCxnSpPr>
          <p:cNvPr id="39" name="直接连接符 119"/>
          <p:cNvCxnSpPr/>
          <p:nvPr/>
        </p:nvCxnSpPr>
        <p:spPr>
          <a:xfrm>
            <a:off x="400616" y="3858872"/>
            <a:ext cx="11412000" cy="0"/>
          </a:xfrm>
          <a:prstGeom prst="line">
            <a:avLst/>
          </a:prstGeom>
          <a:noFill/>
          <a:ln w="3175" cap="flat" cmpd="sng" algn="ctr">
            <a:solidFill>
              <a:srgbClr val="FE5817"/>
            </a:solidFill>
            <a:prstDash val="dash"/>
            <a:miter lim="800000"/>
            <a:headEnd type="diamond" w="lg" len="lg"/>
            <a:tailEnd type="diamond" w="lg" len="lg"/>
          </a:ln>
          <a:effectLst/>
        </p:spPr>
      </p:cxnSp>
      <p:sp>
        <p:nvSpPr>
          <p:cNvPr id="40" name="TextBox 82"/>
          <p:cNvSpPr txBox="1"/>
          <p:nvPr/>
        </p:nvSpPr>
        <p:spPr>
          <a:xfrm>
            <a:off x="1311867" y="4000542"/>
            <a:ext cx="1342824" cy="450815"/>
          </a:xfrm>
          <a:prstGeom prst="rect">
            <a:avLst/>
          </a:prstGeom>
          <a:noFill/>
          <a:ln w="9525">
            <a:noFill/>
            <a:prstDash val="dash"/>
          </a:ln>
        </p:spPr>
        <p:txBody>
          <a:bodyPr wrap="square" lIns="93296" tIns="46648" rIns="93296" bIns="46648"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平台层</a:t>
            </a:r>
            <a:endParaRPr kumimoji="1" lang="zh-CN" altLang="en-US" sz="16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41" name="矩形 27"/>
          <p:cNvSpPr/>
          <p:nvPr/>
        </p:nvSpPr>
        <p:spPr>
          <a:xfrm>
            <a:off x="1438957" y="2851154"/>
            <a:ext cx="1143000" cy="905517"/>
          </a:xfrm>
          <a:prstGeom prst="rect">
            <a:avLst/>
          </a:prstGeom>
          <a:solidFill>
            <a:schemeClr val="bg1">
              <a:lumMod val="95000"/>
            </a:schemeClr>
          </a:solidFill>
          <a:ln w="9525" cap="flat" cmpd="sng" algn="ctr">
            <a:noFill/>
            <a:prstDash val="solid"/>
            <a:miter lim="800000"/>
          </a:ln>
          <a:effectLst/>
        </p:spPr>
        <p:txBody>
          <a:bodyPr lIns="0" rIns="0" rtlCol="0" anchor="ctr"/>
          <a:lstStyle/>
          <a:p>
            <a:pPr marL="0" marR="0" lvl="0" indent="0" algn="ctr" defTabSz="914400" rtl="0" eaLnBrk="1" fontAlgn="auto" latinLnBrk="0" hangingPunct="1">
              <a:lnSpc>
                <a:spcPct val="150000"/>
              </a:lnSpc>
              <a:spcBef>
                <a:spcPts val="0"/>
              </a:spcBef>
              <a:spcAft>
                <a:spcPts val="0"/>
              </a:spcAft>
              <a:buClrTx/>
              <a:buSzTx/>
              <a:buFontTx/>
              <a:buNone/>
              <a:defRPr/>
            </a:pPr>
            <a:r>
              <a:rPr kumimoji="1" lang="zh-CN" altLang="en-US"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功能点</a:t>
            </a:r>
            <a:r>
              <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1</a:t>
            </a:r>
            <a:endPar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50000"/>
              </a:lnSpc>
              <a:spcBef>
                <a:spcPts val="0"/>
              </a:spcBef>
              <a:spcAft>
                <a:spcPts val="0"/>
              </a:spcAft>
              <a:buClrTx/>
              <a:buSzTx/>
              <a:buFontTx/>
              <a:buNone/>
              <a:defRPr/>
            </a:pPr>
            <a:r>
              <a:rPr kumimoji="1" lang="zh-CN" altLang="en-US"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功能</a:t>
            </a:r>
            <a:r>
              <a:rPr kumimoji="1" lang="zh-CN" altLang="en-US"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点</a:t>
            </a:r>
            <a:r>
              <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2</a:t>
            </a:r>
            <a:endPar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50000"/>
              </a:lnSpc>
              <a:spcBef>
                <a:spcPts val="0"/>
              </a:spcBef>
              <a:spcAft>
                <a:spcPts val="0"/>
              </a:spcAft>
              <a:buClrTx/>
              <a:buSzTx/>
              <a:buFontTx/>
              <a:buNone/>
              <a:defRPr/>
            </a:pPr>
            <a:r>
              <a:rPr kumimoji="1" lang="zh-CN" altLang="en-US"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功能</a:t>
            </a:r>
            <a:r>
              <a:rPr kumimoji="1" lang="zh-CN" altLang="en-US"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点</a:t>
            </a:r>
            <a:r>
              <a:rPr kumimoji="1" lang="en-US" altLang="zh-CN"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n</a:t>
            </a:r>
            <a:endParaRPr kumimoji="1" lang="en-US" altLang="zh-CN"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42" name="矩形 56"/>
          <p:cNvSpPr/>
          <p:nvPr/>
        </p:nvSpPr>
        <p:spPr>
          <a:xfrm>
            <a:off x="1438957" y="2028145"/>
            <a:ext cx="1143000" cy="815136"/>
          </a:xfrm>
          <a:prstGeom prst="rect">
            <a:avLst/>
          </a:prstGeom>
          <a:solidFill>
            <a:srgbClr val="FE5817"/>
          </a:solidFill>
          <a:ln>
            <a:noFill/>
          </a:ln>
          <a:effectLst/>
        </p:spPr>
        <p:style>
          <a:lnRef idx="2">
            <a:schemeClr val="dk1">
              <a:shade val="50000"/>
            </a:schemeClr>
          </a:lnRef>
          <a:fillRef idx="1">
            <a:schemeClr val="dk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智能监控</a:t>
            </a:r>
            <a:endPar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p:txBody>
      </p:sp>
      <p:sp>
        <p:nvSpPr>
          <p:cNvPr id="43" name="矩形 27"/>
          <p:cNvSpPr/>
          <p:nvPr/>
        </p:nvSpPr>
        <p:spPr>
          <a:xfrm>
            <a:off x="2626982" y="2851154"/>
            <a:ext cx="1143000" cy="905517"/>
          </a:xfrm>
          <a:prstGeom prst="rect">
            <a:avLst/>
          </a:prstGeom>
          <a:solidFill>
            <a:schemeClr val="bg1">
              <a:lumMod val="95000"/>
            </a:schemeClr>
          </a:solidFill>
          <a:ln w="9525" cap="flat" cmpd="sng" algn="ctr">
            <a:noFill/>
            <a:prstDash val="solid"/>
            <a:miter lim="800000"/>
          </a:ln>
          <a:effectLst/>
        </p:spPr>
        <p:txBody>
          <a:bodyPr lIns="0" rIns="0" rtlCol="0" anchor="ctr"/>
          <a:lstStyle/>
          <a:p>
            <a:pPr marL="0" marR="0" lvl="0" indent="0" algn="ctr" defTabSz="914400" rtl="0" eaLnBrk="1" fontAlgn="auto" latinLnBrk="0" hangingPunct="1">
              <a:lnSpc>
                <a:spcPct val="150000"/>
              </a:lnSpc>
              <a:spcBef>
                <a:spcPts val="0"/>
              </a:spcBef>
              <a:spcAft>
                <a:spcPts val="0"/>
              </a:spcAft>
              <a:buClrTx/>
              <a:buSzTx/>
              <a:buFontTx/>
              <a:buNone/>
              <a:defRPr/>
            </a:pPr>
            <a:r>
              <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a:t>
            </a:r>
            <a:endParaRPr kumimoji="1" lang="en-US" altLang="zh-CN"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44" name="矩形 56"/>
          <p:cNvSpPr/>
          <p:nvPr/>
        </p:nvSpPr>
        <p:spPr>
          <a:xfrm>
            <a:off x="2626982" y="2028145"/>
            <a:ext cx="1143000" cy="815136"/>
          </a:xfrm>
          <a:prstGeom prst="rect">
            <a:avLst/>
          </a:prstGeom>
          <a:solidFill>
            <a:srgbClr val="FE5817"/>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智能决策</a:t>
            </a:r>
            <a:endPar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p:txBody>
      </p:sp>
      <p:sp>
        <p:nvSpPr>
          <p:cNvPr id="45" name="矩形 27"/>
          <p:cNvSpPr/>
          <p:nvPr/>
        </p:nvSpPr>
        <p:spPr>
          <a:xfrm>
            <a:off x="3831632" y="2851154"/>
            <a:ext cx="1143000" cy="905517"/>
          </a:xfrm>
          <a:prstGeom prst="rect">
            <a:avLst/>
          </a:prstGeom>
          <a:solidFill>
            <a:schemeClr val="bg1">
              <a:lumMod val="95000"/>
            </a:schemeClr>
          </a:solidFill>
          <a:ln w="9525" cap="flat" cmpd="sng" algn="ctr">
            <a:noFill/>
            <a:prstDash val="solid"/>
            <a:miter lim="800000"/>
          </a:ln>
          <a:effectLst/>
        </p:spPr>
        <p:txBody>
          <a:bodyPr lIns="0" rIns="0" rtlCol="0" anchor="ctr"/>
          <a:lstStyle/>
          <a:p>
            <a:pPr marL="0" marR="0" lvl="0" indent="0" algn="ctr" defTabSz="914400" rtl="0" eaLnBrk="1" fontAlgn="auto" latinLnBrk="0" hangingPunct="1">
              <a:lnSpc>
                <a:spcPct val="150000"/>
              </a:lnSpc>
              <a:spcBef>
                <a:spcPts val="0"/>
              </a:spcBef>
              <a:spcAft>
                <a:spcPts val="0"/>
              </a:spcAft>
              <a:buClrTx/>
              <a:buSzTx/>
              <a:buFontTx/>
              <a:buNone/>
              <a:defRPr/>
            </a:pPr>
            <a:r>
              <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a:t>
            </a:r>
            <a:endParaRPr kumimoji="1" lang="en-US" altLang="zh-CN"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46" name="矩形 56"/>
          <p:cNvSpPr/>
          <p:nvPr/>
        </p:nvSpPr>
        <p:spPr>
          <a:xfrm>
            <a:off x="3831632" y="2028145"/>
            <a:ext cx="1143000" cy="815136"/>
          </a:xfrm>
          <a:prstGeom prst="rect">
            <a:avLst/>
          </a:prstGeom>
          <a:solidFill>
            <a:srgbClr val="FE5817"/>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智能风控</a:t>
            </a:r>
            <a:endPar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p:txBody>
      </p:sp>
      <p:sp>
        <p:nvSpPr>
          <p:cNvPr id="47" name="矩形 27"/>
          <p:cNvSpPr/>
          <p:nvPr/>
        </p:nvSpPr>
        <p:spPr>
          <a:xfrm>
            <a:off x="5028453" y="2851154"/>
            <a:ext cx="1143000" cy="905517"/>
          </a:xfrm>
          <a:prstGeom prst="rect">
            <a:avLst/>
          </a:prstGeom>
          <a:solidFill>
            <a:schemeClr val="bg1">
              <a:lumMod val="95000"/>
            </a:schemeClr>
          </a:solidFill>
          <a:ln w="9525" cap="flat" cmpd="sng" algn="ctr">
            <a:noFill/>
            <a:prstDash val="solid"/>
            <a:miter lim="800000"/>
          </a:ln>
          <a:effectLst/>
        </p:spPr>
        <p:txBody>
          <a:bodyPr lIns="0" rIns="0" rtlCol="0" anchor="ctr"/>
          <a:lstStyle/>
          <a:p>
            <a:pPr marL="0" marR="0" lvl="0" indent="0" algn="ctr" defTabSz="914400" rtl="0" eaLnBrk="1" fontAlgn="auto" latinLnBrk="0" hangingPunct="1">
              <a:lnSpc>
                <a:spcPct val="150000"/>
              </a:lnSpc>
              <a:spcBef>
                <a:spcPts val="0"/>
              </a:spcBef>
              <a:spcAft>
                <a:spcPts val="0"/>
              </a:spcAft>
              <a:buClrTx/>
              <a:buSzTx/>
              <a:buFontTx/>
              <a:buNone/>
              <a:defRPr/>
            </a:pPr>
            <a:r>
              <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a:t>
            </a:r>
            <a:endParaRPr kumimoji="1" lang="zh-CN" altLang="en-US"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48" name="矩形 56"/>
          <p:cNvSpPr/>
          <p:nvPr/>
        </p:nvSpPr>
        <p:spPr>
          <a:xfrm>
            <a:off x="5028453" y="2028145"/>
            <a:ext cx="1143000" cy="815136"/>
          </a:xfrm>
          <a:prstGeom prst="rect">
            <a:avLst/>
          </a:prstGeom>
          <a:solidFill>
            <a:srgbClr val="FE5817"/>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智能控费</a:t>
            </a:r>
            <a:endPar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p:txBody>
      </p:sp>
      <p:sp>
        <p:nvSpPr>
          <p:cNvPr id="49" name="矩形 27"/>
          <p:cNvSpPr/>
          <p:nvPr/>
        </p:nvSpPr>
        <p:spPr>
          <a:xfrm>
            <a:off x="7982107" y="2851154"/>
            <a:ext cx="1303143" cy="905517"/>
          </a:xfrm>
          <a:prstGeom prst="rect">
            <a:avLst/>
          </a:prstGeom>
          <a:solidFill>
            <a:schemeClr val="bg1">
              <a:lumMod val="95000"/>
            </a:schemeClr>
          </a:solidFill>
          <a:ln w="9525" cap="flat" cmpd="sng" algn="ctr">
            <a:noFill/>
            <a:prstDash val="solid"/>
            <a:miter lim="800000"/>
          </a:ln>
          <a:effectLst/>
        </p:spPr>
        <p:txBody>
          <a:bodyPr lIns="0" rIns="0" rtlCol="0" anchor="ctr"/>
          <a:lstStyle/>
          <a:p>
            <a:pPr marL="0" marR="0" lvl="0" indent="0" algn="ctr" defTabSz="914400" rtl="0" eaLnBrk="1" fontAlgn="auto" latinLnBrk="0" hangingPunct="1">
              <a:lnSpc>
                <a:spcPct val="150000"/>
              </a:lnSpc>
              <a:spcBef>
                <a:spcPts val="0"/>
              </a:spcBef>
              <a:spcAft>
                <a:spcPts val="0"/>
              </a:spcAft>
              <a:buClrTx/>
              <a:buSzTx/>
              <a:buFontTx/>
              <a:buNone/>
              <a:defRPr/>
            </a:pPr>
            <a:r>
              <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a:t>
            </a:r>
            <a:endParaRPr kumimoji="1" lang="zh-CN" altLang="en-US"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50" name="矩形 56"/>
          <p:cNvSpPr/>
          <p:nvPr/>
        </p:nvSpPr>
        <p:spPr>
          <a:xfrm>
            <a:off x="7982107" y="2028145"/>
            <a:ext cx="1303143" cy="815136"/>
          </a:xfrm>
          <a:prstGeom prst="rect">
            <a:avLst/>
          </a:prstGeom>
          <a:solidFill>
            <a:srgbClr val="FE5817"/>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功能</a:t>
            </a:r>
            <a:r>
              <a:rPr kumimoji="1" lang="zh-CN" altLang="en-US"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平台</a:t>
            </a:r>
            <a:r>
              <a:rPr kumimoji="1" lang="en-US" altLang="zh-CN"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2</a:t>
            </a:r>
            <a:endParaRPr kumimoji="1" lang="en-US" altLang="zh-CN"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1" lang="en-US" altLang="zh-CN" sz="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统一</a:t>
            </a:r>
            <a:r>
              <a:rPr kumimoji="1" lang="zh-CN" altLang="en-US" sz="13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招采标准</a:t>
            </a:r>
            <a:endParaRPr kumimoji="1" lang="zh-CN" altLang="en-US" sz="13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p:txBody>
      </p:sp>
      <p:sp>
        <p:nvSpPr>
          <p:cNvPr id="51" name="矩形 27"/>
          <p:cNvSpPr/>
          <p:nvPr/>
        </p:nvSpPr>
        <p:spPr>
          <a:xfrm>
            <a:off x="6486025" y="2851154"/>
            <a:ext cx="1463040" cy="905517"/>
          </a:xfrm>
          <a:prstGeom prst="rect">
            <a:avLst/>
          </a:prstGeom>
          <a:solidFill>
            <a:schemeClr val="bg1">
              <a:lumMod val="95000"/>
            </a:schemeClr>
          </a:solidFill>
          <a:ln w="9525" cap="flat" cmpd="sng" algn="ctr">
            <a:noFill/>
            <a:prstDash val="solid"/>
            <a:miter lim="800000"/>
          </a:ln>
          <a:effectLst/>
        </p:spPr>
        <p:txBody>
          <a:bodyPr lIns="0" rIns="0" rtlCol="0" anchor="ctr"/>
          <a:lstStyle/>
          <a:p>
            <a:pPr marL="0" marR="0" lvl="0" indent="0" algn="ctr" defTabSz="914400" rtl="0" eaLnBrk="1" fontAlgn="auto" latinLnBrk="0" hangingPunct="1">
              <a:lnSpc>
                <a:spcPct val="150000"/>
              </a:lnSpc>
              <a:spcBef>
                <a:spcPts val="0"/>
              </a:spcBef>
              <a:spcAft>
                <a:spcPts val="0"/>
              </a:spcAft>
              <a:buClrTx/>
              <a:buSzTx/>
              <a:buFontTx/>
              <a:buNone/>
              <a:defRPr/>
            </a:pPr>
            <a:r>
              <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a:t>
            </a:r>
            <a:endParaRPr kumimoji="1" lang="en-US" altLang="zh-CN"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52" name="矩形 56"/>
          <p:cNvSpPr/>
          <p:nvPr/>
        </p:nvSpPr>
        <p:spPr>
          <a:xfrm>
            <a:off x="6486025" y="2028145"/>
            <a:ext cx="1463040" cy="815136"/>
          </a:xfrm>
          <a:prstGeom prst="rect">
            <a:avLst/>
          </a:prstGeom>
          <a:solidFill>
            <a:srgbClr val="FE5817"/>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功能</a:t>
            </a:r>
            <a:r>
              <a:rPr kumimoji="1" lang="zh-CN" altLang="en-US"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平台</a:t>
            </a:r>
            <a:r>
              <a:rPr kumimoji="1" lang="en-US" altLang="zh-CN"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1</a:t>
            </a:r>
            <a:endParaRPr kumimoji="1" lang="en-US" altLang="zh-CN"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br>
              <a:rPr kumimoji="1" lang="en-US" altLang="zh-CN" sz="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b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统一</a:t>
            </a:r>
            <a:r>
              <a:rPr kumimoji="1" lang="zh-CN" altLang="en-US" sz="13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流程标准</a:t>
            </a:r>
            <a:endParaRPr kumimoji="1" lang="zh-CN" altLang="en-US" sz="13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p:txBody>
      </p:sp>
      <p:sp>
        <p:nvSpPr>
          <p:cNvPr id="53" name="矩形 27"/>
          <p:cNvSpPr/>
          <p:nvPr/>
        </p:nvSpPr>
        <p:spPr>
          <a:xfrm>
            <a:off x="10694320" y="2842058"/>
            <a:ext cx="1303143" cy="905517"/>
          </a:xfrm>
          <a:prstGeom prst="rect">
            <a:avLst/>
          </a:prstGeom>
          <a:solidFill>
            <a:schemeClr val="bg1">
              <a:lumMod val="95000"/>
            </a:schemeClr>
          </a:solidFill>
          <a:ln w="9525" cap="flat" cmpd="sng" algn="ctr">
            <a:noFill/>
            <a:prstDash val="solid"/>
            <a:miter lim="800000"/>
          </a:ln>
          <a:effectLst/>
        </p:spPr>
        <p:txBody>
          <a:bodyPr lIns="0" rIns="0" rtlCol="0" anchor="ctr"/>
          <a:lstStyle/>
          <a:p>
            <a:pPr marL="0" marR="0" lvl="0" indent="0" algn="ctr" defTabSz="914400" rtl="0" eaLnBrk="1" fontAlgn="auto" latinLnBrk="0" hangingPunct="1">
              <a:lnSpc>
                <a:spcPct val="150000"/>
              </a:lnSpc>
              <a:spcBef>
                <a:spcPts val="0"/>
              </a:spcBef>
              <a:spcAft>
                <a:spcPts val="0"/>
              </a:spcAft>
              <a:buClrTx/>
              <a:buSzTx/>
              <a:buFontTx/>
              <a:buNone/>
              <a:defRPr/>
            </a:pPr>
            <a:r>
              <a:rPr kumimoji="1" lang="zh-CN" altLang="en-US"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功能</a:t>
            </a:r>
            <a:r>
              <a:rPr kumimoji="1" lang="zh-CN" altLang="en-US"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点</a:t>
            </a:r>
            <a:r>
              <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1</a:t>
            </a:r>
            <a:endPar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50000"/>
              </a:lnSpc>
              <a:spcBef>
                <a:spcPts val="0"/>
              </a:spcBef>
              <a:spcAft>
                <a:spcPts val="0"/>
              </a:spcAft>
              <a:buClrTx/>
              <a:buSzTx/>
              <a:buFontTx/>
              <a:buNone/>
              <a:defRPr/>
            </a:pPr>
            <a:r>
              <a:rPr kumimoji="1" lang="zh-CN" altLang="en-US"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功能</a:t>
            </a:r>
            <a:r>
              <a:rPr kumimoji="1" lang="zh-CN" altLang="en-US"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点</a:t>
            </a:r>
            <a:r>
              <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2</a:t>
            </a:r>
            <a:endPar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50000"/>
              </a:lnSpc>
              <a:spcBef>
                <a:spcPts val="0"/>
              </a:spcBef>
              <a:spcAft>
                <a:spcPts val="0"/>
              </a:spcAft>
              <a:buClrTx/>
              <a:buSzTx/>
              <a:buFontTx/>
              <a:buNone/>
              <a:defRPr/>
            </a:pPr>
            <a:r>
              <a:rPr kumimoji="1" lang="zh-CN" altLang="en-US"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功能</a:t>
            </a:r>
            <a:r>
              <a:rPr kumimoji="1" lang="zh-CN" altLang="en-US"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点</a:t>
            </a:r>
            <a:r>
              <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n</a:t>
            </a:r>
            <a:endParaRPr kumimoji="1" lang="zh-CN" altLang="en-US"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54" name="矩形 56"/>
          <p:cNvSpPr/>
          <p:nvPr/>
        </p:nvSpPr>
        <p:spPr>
          <a:xfrm>
            <a:off x="10694320" y="2018541"/>
            <a:ext cx="1303143" cy="815136"/>
          </a:xfrm>
          <a:prstGeom prst="rect">
            <a:avLst/>
          </a:prstGeom>
          <a:solidFill>
            <a:srgbClr val="FE5817"/>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功能</a:t>
            </a:r>
            <a:r>
              <a:rPr kumimoji="1" lang="zh-CN" altLang="en-US"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平台</a:t>
            </a:r>
            <a:r>
              <a:rPr kumimoji="1" lang="en-US" altLang="zh-CN"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4</a:t>
            </a:r>
            <a:endParaRPr kumimoji="1" lang="en-US" altLang="zh-CN"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1" lang="en-US" altLang="zh-CN" sz="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统一</a:t>
            </a:r>
            <a:r>
              <a:rPr kumimoji="1" lang="zh-CN" altLang="en-US" sz="13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服务标准</a:t>
            </a:r>
            <a:endParaRPr kumimoji="1" lang="zh-CN" altLang="en-US" sz="13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p:txBody>
      </p:sp>
      <p:sp>
        <p:nvSpPr>
          <p:cNvPr id="55" name="矩形 27"/>
          <p:cNvSpPr/>
          <p:nvPr/>
        </p:nvSpPr>
        <p:spPr>
          <a:xfrm>
            <a:off x="9331089" y="2851154"/>
            <a:ext cx="1303143" cy="905517"/>
          </a:xfrm>
          <a:prstGeom prst="rect">
            <a:avLst/>
          </a:prstGeom>
          <a:solidFill>
            <a:schemeClr val="bg1">
              <a:lumMod val="95000"/>
            </a:schemeClr>
          </a:solidFill>
          <a:ln w="9525" cap="flat" cmpd="sng" algn="ctr">
            <a:noFill/>
            <a:prstDash val="solid"/>
            <a:miter lim="800000"/>
          </a:ln>
          <a:effectLst/>
        </p:spPr>
        <p:txBody>
          <a:bodyPr lIns="0" rIns="0" rtlCol="0" anchor="ctr"/>
          <a:lstStyle/>
          <a:p>
            <a:pPr marL="0" marR="0" lvl="0" indent="0" algn="ctr" defTabSz="914400" rtl="0" eaLnBrk="1" fontAlgn="auto" latinLnBrk="0" hangingPunct="1">
              <a:lnSpc>
                <a:spcPct val="150000"/>
              </a:lnSpc>
              <a:spcBef>
                <a:spcPts val="0"/>
              </a:spcBef>
              <a:spcAft>
                <a:spcPts val="0"/>
              </a:spcAft>
              <a:buClrTx/>
              <a:buSzTx/>
              <a:buFontTx/>
              <a:buNone/>
              <a:defRPr/>
            </a:pPr>
            <a:r>
              <a:rPr kumimoji="1" lang="en-US" altLang="zh-CN" sz="1300" b="0"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mn-cs"/>
              </a:rPr>
              <a:t>…</a:t>
            </a:r>
            <a:endParaRPr kumimoji="1" lang="en-US" altLang="zh-CN"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56" name="矩形 56"/>
          <p:cNvSpPr/>
          <p:nvPr/>
        </p:nvSpPr>
        <p:spPr>
          <a:xfrm>
            <a:off x="9331089" y="2028145"/>
            <a:ext cx="1303143" cy="815136"/>
          </a:xfrm>
          <a:prstGeom prst="rect">
            <a:avLst/>
          </a:prstGeom>
          <a:solidFill>
            <a:srgbClr val="FE5817"/>
          </a:solidFill>
          <a:ln>
            <a:noFill/>
          </a:ln>
          <a:effectLst/>
        </p:spPr>
        <p:style>
          <a:lnRef idx="2">
            <a:schemeClr val="dk1">
              <a:shade val="50000"/>
            </a:schemeClr>
          </a:lnRef>
          <a:fillRef idx="1">
            <a:schemeClr val="dk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功能</a:t>
            </a:r>
            <a:r>
              <a:rPr kumimoji="1" lang="zh-CN" altLang="en-US"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平台</a:t>
            </a:r>
            <a:r>
              <a:rPr kumimoji="1" lang="en-US" altLang="zh-CN"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3</a:t>
            </a:r>
            <a:endParaRPr kumimoji="1" lang="en-US" altLang="zh-CN"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1" lang="en-US" altLang="zh-CN" sz="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统一</a:t>
            </a:r>
            <a:r>
              <a:rPr kumimoji="1" lang="zh-CN" altLang="en-US" sz="13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rPr>
              <a:t>评价标准</a:t>
            </a:r>
            <a:endParaRPr kumimoji="1" lang="zh-CN" altLang="en-US" sz="13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华文楷体" panose="02010600040101010101" charset="-122"/>
              <a:ea typeface="华文楷体" panose="02010600040101010101" charset="-122"/>
              <a:cs typeface="+mn-cs"/>
            </a:endParaRPr>
          </a:p>
        </p:txBody>
      </p:sp>
      <p:sp>
        <p:nvSpPr>
          <p:cNvPr id="57" name="椭圆 56"/>
          <p:cNvSpPr/>
          <p:nvPr/>
        </p:nvSpPr>
        <p:spPr>
          <a:xfrm>
            <a:off x="1304416" y="1861645"/>
            <a:ext cx="274320" cy="274320"/>
          </a:xfrm>
          <a:prstGeom prst="ellipse">
            <a:avLst/>
          </a:prstGeom>
          <a:solidFill>
            <a:schemeClr val="bg1"/>
          </a:solidFill>
          <a:ln w="28575">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rPr>
              <a:t>1</a:t>
            </a:r>
            <a:endParaRPr kumimoji="0" lang="zh-CN" altLang="en-US"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58" name="椭圆 57"/>
          <p:cNvSpPr/>
          <p:nvPr/>
        </p:nvSpPr>
        <p:spPr>
          <a:xfrm>
            <a:off x="2599770" y="1861645"/>
            <a:ext cx="274320" cy="274320"/>
          </a:xfrm>
          <a:prstGeom prst="ellipse">
            <a:avLst/>
          </a:prstGeom>
          <a:solidFill>
            <a:schemeClr val="bg1"/>
          </a:solidFill>
          <a:ln w="28575">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rPr>
              <a:t>2</a:t>
            </a:r>
            <a:endParaRPr kumimoji="0" lang="zh-CN" altLang="en-US"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59" name="椭圆 58"/>
          <p:cNvSpPr/>
          <p:nvPr/>
        </p:nvSpPr>
        <p:spPr>
          <a:xfrm>
            <a:off x="3818238" y="1861645"/>
            <a:ext cx="274320" cy="274320"/>
          </a:xfrm>
          <a:prstGeom prst="ellipse">
            <a:avLst/>
          </a:prstGeom>
          <a:solidFill>
            <a:schemeClr val="bg1"/>
          </a:solidFill>
          <a:ln w="28575">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rPr>
              <a:t>3</a:t>
            </a:r>
            <a:endParaRPr kumimoji="0" lang="zh-CN" altLang="en-US"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60" name="椭圆 59"/>
          <p:cNvSpPr/>
          <p:nvPr/>
        </p:nvSpPr>
        <p:spPr>
          <a:xfrm>
            <a:off x="4957615" y="1861645"/>
            <a:ext cx="274320" cy="274320"/>
          </a:xfrm>
          <a:prstGeom prst="ellipse">
            <a:avLst/>
          </a:prstGeom>
          <a:solidFill>
            <a:schemeClr val="bg1"/>
          </a:solidFill>
          <a:ln w="28575">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rPr>
              <a:t>4</a:t>
            </a:r>
            <a:endParaRPr kumimoji="0" lang="zh-CN" altLang="en-US"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61" name="椭圆 60"/>
          <p:cNvSpPr/>
          <p:nvPr/>
        </p:nvSpPr>
        <p:spPr>
          <a:xfrm>
            <a:off x="6450716" y="1861645"/>
            <a:ext cx="274320" cy="274320"/>
          </a:xfrm>
          <a:prstGeom prst="ellipse">
            <a:avLst/>
          </a:prstGeom>
          <a:solidFill>
            <a:schemeClr val="bg1"/>
          </a:solidFill>
          <a:ln w="28575">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rPr>
              <a:t>5</a:t>
            </a:r>
            <a:endParaRPr kumimoji="0" lang="zh-CN" altLang="en-US"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62" name="椭圆 61"/>
          <p:cNvSpPr/>
          <p:nvPr/>
        </p:nvSpPr>
        <p:spPr>
          <a:xfrm>
            <a:off x="7922616" y="1861645"/>
            <a:ext cx="274320" cy="274320"/>
          </a:xfrm>
          <a:prstGeom prst="ellipse">
            <a:avLst/>
          </a:prstGeom>
          <a:solidFill>
            <a:schemeClr val="bg1"/>
          </a:solidFill>
          <a:ln w="28575">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rPr>
              <a:t>6</a:t>
            </a:r>
            <a:endParaRPr kumimoji="0" lang="zh-CN" altLang="en-US"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63" name="椭圆 62"/>
          <p:cNvSpPr/>
          <p:nvPr/>
        </p:nvSpPr>
        <p:spPr>
          <a:xfrm>
            <a:off x="9288008" y="1861645"/>
            <a:ext cx="274320" cy="274320"/>
          </a:xfrm>
          <a:prstGeom prst="ellipse">
            <a:avLst/>
          </a:prstGeom>
          <a:solidFill>
            <a:schemeClr val="bg1"/>
          </a:solidFill>
          <a:ln w="28575">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smtClean="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rPr>
              <a:t>7</a:t>
            </a:r>
            <a:endParaRPr kumimoji="0" lang="zh-CN" altLang="en-US"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64" name="椭圆 153"/>
          <p:cNvSpPr/>
          <p:nvPr/>
        </p:nvSpPr>
        <p:spPr>
          <a:xfrm>
            <a:off x="10626271" y="1861645"/>
            <a:ext cx="274320" cy="274320"/>
          </a:xfrm>
          <a:prstGeom prst="ellipse">
            <a:avLst/>
          </a:prstGeom>
          <a:solidFill>
            <a:schemeClr val="bg1"/>
          </a:solidFill>
          <a:ln w="28575">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smtClean="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rPr>
              <a:t>8</a:t>
            </a:r>
            <a:endParaRPr kumimoji="0" lang="zh-CN" altLang="en-US" sz="1600" b="0" i="0" u="none" strike="noStrike" kern="1200" cap="none" spc="0" normalizeH="0" baseline="0" noProof="0" dirty="0">
              <a:ln>
                <a:noFill/>
              </a:ln>
              <a:solidFill>
                <a:srgbClr val="FE5817"/>
              </a:solidFill>
              <a:effectLst>
                <a:outerShdw blurRad="38100" dist="38100" dir="2700000" algn="tl">
                  <a:srgbClr val="000000">
                    <a:alpha val="43137"/>
                  </a:srgbClr>
                </a:outerShdw>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65" name="TextBox 248"/>
          <p:cNvSpPr txBox="1">
            <a:spLocks noChangeAspect="1"/>
          </p:cNvSpPr>
          <p:nvPr/>
        </p:nvSpPr>
        <p:spPr>
          <a:xfrm>
            <a:off x="6478040" y="5096989"/>
            <a:ext cx="1709520" cy="338554"/>
          </a:xfrm>
          <a:prstGeom prst="rect">
            <a:avLst/>
          </a:prstGeom>
          <a:solidFill>
            <a:schemeClr val="bg1">
              <a:lumMod val="95000"/>
            </a:schemeClr>
          </a:solidFill>
          <a:ln>
            <a:noFill/>
          </a:ln>
          <a:effectLst>
            <a:glow>
              <a:schemeClr val="accent3">
                <a:satMod val="175000"/>
                <a:alpha val="40000"/>
              </a:schemeClr>
            </a:glow>
          </a:effectLst>
        </p:spPr>
        <p:txBody>
          <a:bodyPr wrap="none">
            <a:noAutofit/>
          </a:bodyPr>
          <a:lstStyle>
            <a:defPPr>
              <a:defRPr lang="ko-KR"/>
            </a:defPPr>
            <a:lvl1pPr algn="ctr">
              <a:defRPr b="1">
                <a:solidFill>
                  <a:schemeClr val="bg1"/>
                </a:solidFill>
                <a:effectLst>
                  <a:outerShdw blurRad="38100" dist="38100" dir="2700000" algn="tl">
                    <a:srgbClr val="000000">
                      <a:alpha val="43137"/>
                    </a:srgbClr>
                  </a:outerShdw>
                </a:effectLst>
                <a:latin typeface="华文楷体" panose="02010600040101010101" charset="-122"/>
                <a:ea typeface="华文楷体" panose="02010600040101010101" charset="-122"/>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rPr>
              <a:t>…</a:t>
            </a:r>
            <a:endParaRPr kumimoji="0" lang="zh-CN" altLang="en-US"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6" name="TextBox 244"/>
          <p:cNvSpPr txBox="1">
            <a:spLocks noChangeAspect="1"/>
          </p:cNvSpPr>
          <p:nvPr/>
        </p:nvSpPr>
        <p:spPr>
          <a:xfrm>
            <a:off x="2856444" y="5096989"/>
            <a:ext cx="1709520" cy="338554"/>
          </a:xfrm>
          <a:prstGeom prst="rect">
            <a:avLst/>
          </a:prstGeom>
          <a:solidFill>
            <a:schemeClr val="bg1">
              <a:lumMod val="95000"/>
            </a:schemeClr>
          </a:solidFill>
          <a:ln>
            <a:noFill/>
          </a:ln>
          <a:effectLst>
            <a:glow>
              <a:schemeClr val="accent3">
                <a:satMod val="175000"/>
                <a:alpha val="40000"/>
              </a:schemeClr>
            </a:glow>
          </a:effectLst>
        </p:spPr>
        <p:txBody>
          <a:bodyPr wrap="none">
            <a:noAutofit/>
          </a:bodyPr>
          <a:lstStyle>
            <a:defPPr>
              <a:defRPr lang="ko-KR"/>
            </a:defPPr>
            <a:lvl1pPr algn="ctr">
              <a:defRPr b="1">
                <a:solidFill>
                  <a:schemeClr val="bg1"/>
                </a:solidFill>
                <a:effectLst>
                  <a:outerShdw blurRad="38100" dist="38100" dir="2700000" algn="tl">
                    <a:srgbClr val="000000">
                      <a:alpha val="43137"/>
                    </a:srgbClr>
                  </a:outerShdw>
                </a:effectLst>
                <a:latin typeface="华文楷体" panose="02010600040101010101" charset="-122"/>
                <a:ea typeface="华文楷体" panose="02010600040101010101" charset="-122"/>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rPr>
              <a:t>…</a:t>
            </a:r>
            <a:endParaRPr kumimoji="0" lang="zh-CN" altLang="en-US"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7" name="TextBox 239"/>
          <p:cNvSpPr txBox="1">
            <a:spLocks noChangeAspect="1"/>
          </p:cNvSpPr>
          <p:nvPr/>
        </p:nvSpPr>
        <p:spPr>
          <a:xfrm>
            <a:off x="4665511" y="5096989"/>
            <a:ext cx="1709520" cy="338554"/>
          </a:xfrm>
          <a:prstGeom prst="rect">
            <a:avLst/>
          </a:prstGeom>
          <a:solidFill>
            <a:schemeClr val="bg1">
              <a:lumMod val="95000"/>
            </a:schemeClr>
          </a:solidFill>
          <a:ln>
            <a:noFill/>
          </a:ln>
          <a:effectLst>
            <a:glow>
              <a:schemeClr val="accent3">
                <a:satMod val="175000"/>
                <a:alpha val="40000"/>
              </a:schemeClr>
            </a:glow>
          </a:effectLst>
        </p:spPr>
        <p:txBody>
          <a:bodyPr wrap="none">
            <a:noAutofit/>
          </a:bodyPr>
          <a:lstStyle>
            <a:defPPr>
              <a:defRPr lang="ko-KR"/>
            </a:defPPr>
            <a:lvl1pPr algn="ctr">
              <a:defRPr b="1">
                <a:solidFill>
                  <a:schemeClr val="bg1"/>
                </a:solidFill>
                <a:effectLst>
                  <a:outerShdw blurRad="38100" dist="38100" dir="2700000" algn="tl">
                    <a:srgbClr val="000000">
                      <a:alpha val="43137"/>
                    </a:srgbClr>
                  </a:outerShdw>
                </a:effectLst>
                <a:latin typeface="华文楷体" panose="02010600040101010101" charset="-122"/>
                <a:ea typeface="华文楷体" panose="02010600040101010101" charset="-122"/>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rPr>
              <a:t>…</a:t>
            </a:r>
            <a:endParaRPr kumimoji="0" lang="zh-CN" altLang="en-US"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8" name="TextBox 91"/>
          <p:cNvSpPr txBox="1">
            <a:spLocks noChangeAspect="1"/>
          </p:cNvSpPr>
          <p:nvPr/>
        </p:nvSpPr>
        <p:spPr>
          <a:xfrm>
            <a:off x="8290569" y="5096989"/>
            <a:ext cx="1709520" cy="338554"/>
          </a:xfrm>
          <a:prstGeom prst="rect">
            <a:avLst/>
          </a:prstGeom>
          <a:solidFill>
            <a:schemeClr val="bg1">
              <a:lumMod val="95000"/>
            </a:schemeClr>
          </a:solidFill>
          <a:ln>
            <a:noFill/>
          </a:ln>
          <a:effectLst>
            <a:glow>
              <a:schemeClr val="accent3">
                <a:satMod val="175000"/>
                <a:alpha val="40000"/>
              </a:schemeClr>
            </a:glow>
          </a:effectLst>
        </p:spPr>
        <p:txBody>
          <a:bodyPr wrap="none">
            <a:noAutofit/>
          </a:bodyPr>
          <a:lstStyle>
            <a:defPPr>
              <a:defRPr lang="ko-KR"/>
            </a:defPPr>
            <a:lvl1pPr algn="ctr">
              <a:defRPr b="1">
                <a:solidFill>
                  <a:schemeClr val="bg1"/>
                </a:solidFill>
                <a:effectLst>
                  <a:outerShdw blurRad="38100" dist="38100" dir="2700000" algn="tl">
                    <a:srgbClr val="000000">
                      <a:alpha val="43137"/>
                    </a:srgbClr>
                  </a:outerShdw>
                </a:effectLst>
                <a:latin typeface="华文楷体" panose="02010600040101010101" charset="-122"/>
                <a:ea typeface="华文楷体" panose="02010600040101010101" charset="-122"/>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rPr>
              <a:t>…</a:t>
            </a:r>
            <a:endParaRPr kumimoji="0" lang="zh-CN" altLang="en-US"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sp>
        <p:nvSpPr>
          <p:cNvPr id="69" name="TextBox 91"/>
          <p:cNvSpPr txBox="1">
            <a:spLocks noChangeAspect="1"/>
          </p:cNvSpPr>
          <p:nvPr/>
        </p:nvSpPr>
        <p:spPr>
          <a:xfrm>
            <a:off x="10103096" y="5096989"/>
            <a:ext cx="1709520" cy="338554"/>
          </a:xfrm>
          <a:prstGeom prst="rect">
            <a:avLst/>
          </a:prstGeom>
          <a:solidFill>
            <a:schemeClr val="bg1">
              <a:lumMod val="95000"/>
            </a:schemeClr>
          </a:solidFill>
          <a:ln>
            <a:noFill/>
          </a:ln>
          <a:effectLst>
            <a:glow>
              <a:schemeClr val="accent3">
                <a:satMod val="175000"/>
                <a:alpha val="40000"/>
              </a:schemeClr>
            </a:glow>
          </a:effectLst>
        </p:spPr>
        <p:txBody>
          <a:bodyPr wrap="none">
            <a:noAutofit/>
          </a:bodyPr>
          <a:lstStyle>
            <a:defPPr>
              <a:defRPr lang="ko-KR"/>
            </a:defPPr>
            <a:lvl1pPr algn="ctr">
              <a:defRPr b="1">
                <a:solidFill>
                  <a:schemeClr val="bg1"/>
                </a:solidFill>
                <a:effectLst>
                  <a:outerShdw blurRad="38100" dist="38100" dir="2700000" algn="tl">
                    <a:srgbClr val="000000">
                      <a:alpha val="43137"/>
                    </a:srgbClr>
                  </a:outerShdw>
                </a:effectLst>
                <a:latin typeface="华文楷体" panose="02010600040101010101" charset="-122"/>
                <a:ea typeface="华文楷体" panose="02010600040101010101" charset="-122"/>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rPr>
              <a:t>…</a:t>
            </a:r>
            <a:endParaRPr kumimoji="0" lang="zh-CN" altLang="en-US" sz="1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cxnSp>
        <p:nvCxnSpPr>
          <p:cNvPr id="70" name="直接连接符 119"/>
          <p:cNvCxnSpPr/>
          <p:nvPr/>
        </p:nvCxnSpPr>
        <p:spPr>
          <a:xfrm>
            <a:off x="1578736" y="4914046"/>
            <a:ext cx="10233880" cy="0"/>
          </a:xfrm>
          <a:prstGeom prst="line">
            <a:avLst/>
          </a:prstGeom>
          <a:noFill/>
          <a:ln w="3175" cap="flat" cmpd="sng" algn="ctr">
            <a:solidFill>
              <a:srgbClr val="FE5817"/>
            </a:solidFill>
            <a:prstDash val="dash"/>
            <a:miter lim="800000"/>
            <a:headEnd type="diamond" w="lg" len="lg"/>
            <a:tailEnd type="diamond" w="lg" len="lg"/>
          </a:ln>
          <a:effectLst/>
        </p:spPr>
      </p:cxnSp>
      <p:sp>
        <p:nvSpPr>
          <p:cNvPr id="71" name="矩形 70"/>
          <p:cNvSpPr/>
          <p:nvPr/>
        </p:nvSpPr>
        <p:spPr>
          <a:xfrm>
            <a:off x="3448933" y="4160524"/>
            <a:ext cx="1348447" cy="369332"/>
          </a:xfrm>
          <a:prstGeom prst="rect">
            <a:avLst/>
          </a:prstGeom>
          <a:solidFill>
            <a:schemeClr val="bg1">
              <a:lumMod val="95000"/>
            </a:schemeClr>
          </a:solidFill>
          <a:ln>
            <a:noFill/>
          </a:ln>
          <a:effectLst>
            <a:glow>
              <a:schemeClr val="accent3">
                <a:satMod val="175000"/>
                <a:alpha val="40000"/>
              </a:schemeClr>
            </a:glow>
          </a:effectLst>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rPr>
              <a:t>…</a:t>
            </a:r>
            <a:endParaRPr kumimoji="0" lang="zh-CN" altLang="en-US" sz="1800" b="0" i="0" u="none" strike="noStrike" kern="1200" cap="none" spc="0" normalizeH="0" baseline="0" noProof="0" dirty="0">
              <a:ln>
                <a:noFill/>
              </a:ln>
              <a:solidFill>
                <a:schemeClr val="tx1">
                  <a:lumMod val="75000"/>
                  <a:lumOff val="25000"/>
                </a:schemeClr>
              </a:solidFill>
              <a:uLnTx/>
              <a:uFillTx/>
              <a:latin typeface="Malgun Gothic" panose="020B0503020000020004" charset="-127"/>
              <a:ea typeface="宋体" panose="02010600030101010101" pitchFamily="2" charset="-122"/>
            </a:endParaRPr>
          </a:p>
        </p:txBody>
      </p:sp>
      <p:sp>
        <p:nvSpPr>
          <p:cNvPr id="72" name="矩形 71"/>
          <p:cNvSpPr/>
          <p:nvPr/>
        </p:nvSpPr>
        <p:spPr>
          <a:xfrm>
            <a:off x="6572400" y="4160524"/>
            <a:ext cx="1348447" cy="369332"/>
          </a:xfrm>
          <a:prstGeom prst="rect">
            <a:avLst/>
          </a:prstGeom>
          <a:solidFill>
            <a:schemeClr val="bg1">
              <a:lumMod val="95000"/>
            </a:schemeClr>
          </a:solidFill>
          <a:ln>
            <a:noFill/>
          </a:ln>
          <a:effectLst>
            <a:glow>
              <a:schemeClr val="accent3">
                <a:satMod val="175000"/>
                <a:alpha val="40000"/>
              </a:schemeClr>
            </a:glow>
          </a:effectLst>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rPr>
              <a:t>…</a:t>
            </a:r>
            <a:endParaRPr kumimoji="0" lang="zh-CN" altLang="en-US" sz="1800" b="0" i="0" u="none" strike="noStrike" kern="1200" cap="none" spc="0" normalizeH="0" baseline="0" noProof="0" dirty="0">
              <a:ln>
                <a:noFill/>
              </a:ln>
              <a:solidFill>
                <a:schemeClr val="tx1">
                  <a:lumMod val="75000"/>
                  <a:lumOff val="25000"/>
                </a:schemeClr>
              </a:solidFill>
              <a:uLnTx/>
              <a:uFillTx/>
              <a:latin typeface="Malgun Gothic" panose="020B0503020000020004" charset="-127"/>
              <a:ea typeface="宋体" panose="02010600030101010101" pitchFamily="2" charset="-122"/>
            </a:endParaRPr>
          </a:p>
        </p:txBody>
      </p:sp>
      <p:sp>
        <p:nvSpPr>
          <p:cNvPr id="73" name="矩形 72"/>
          <p:cNvSpPr/>
          <p:nvPr/>
        </p:nvSpPr>
        <p:spPr>
          <a:xfrm>
            <a:off x="9617620" y="4160524"/>
            <a:ext cx="1348447" cy="369332"/>
          </a:xfrm>
          <a:prstGeom prst="rect">
            <a:avLst/>
          </a:prstGeom>
          <a:solidFill>
            <a:schemeClr val="bg1">
              <a:lumMod val="95000"/>
            </a:schemeClr>
          </a:solidFill>
          <a:ln>
            <a:noFill/>
          </a:ln>
          <a:effectLst>
            <a:glow>
              <a:schemeClr val="accent3">
                <a:satMod val="175000"/>
                <a:alpha val="40000"/>
              </a:schemeClr>
            </a:glow>
          </a:effectLst>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chemeClr val="tx1">
                    <a:lumMod val="75000"/>
                    <a:lumOff val="25000"/>
                  </a:schemeClr>
                </a:solidFill>
                <a:uLnTx/>
                <a:uFillTx/>
                <a:latin typeface="华文楷体" panose="02010600040101010101" charset="-122"/>
                <a:ea typeface="华文楷体" panose="02010600040101010101" charset="-122"/>
                <a:cs typeface="Arial" panose="020B0604020202020204" pitchFamily="34" charset="0"/>
              </a:rPr>
              <a:t>…</a:t>
            </a:r>
            <a:endParaRPr kumimoji="0" lang="zh-CN" altLang="en-US" sz="1800" b="0" i="0" u="none" strike="noStrike" kern="1200" cap="none" spc="0" normalizeH="0" baseline="0" noProof="0" dirty="0">
              <a:ln>
                <a:noFill/>
              </a:ln>
              <a:solidFill>
                <a:schemeClr val="tx1">
                  <a:lumMod val="75000"/>
                  <a:lumOff val="25000"/>
                </a:schemeClr>
              </a:solidFill>
              <a:uLnTx/>
              <a:uFillTx/>
              <a:latin typeface="Malgun Gothic" panose="020B0503020000020004" charset="-127"/>
              <a:ea typeface="宋体" panose="02010600030101010101" pitchFamily="2" charset="-122"/>
            </a:endParaRPr>
          </a:p>
        </p:txBody>
      </p:sp>
      <p:grpSp>
        <p:nvGrpSpPr>
          <p:cNvPr id="74" name="组合 73"/>
          <p:cNvGrpSpPr/>
          <p:nvPr/>
        </p:nvGrpSpPr>
        <p:grpSpPr>
          <a:xfrm>
            <a:off x="4991083" y="4199162"/>
            <a:ext cx="1494203" cy="369332"/>
            <a:chOff x="4168584" y="3983527"/>
            <a:chExt cx="1616936" cy="446608"/>
          </a:xfrm>
        </p:grpSpPr>
        <p:pic>
          <p:nvPicPr>
            <p:cNvPr id="75" name="Picture 47"/>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168584" y="3983527"/>
              <a:ext cx="478997" cy="446608"/>
            </a:xfrm>
            <a:prstGeom prst="rect">
              <a:avLst/>
            </a:prstGeom>
          </p:spPr>
        </p:pic>
        <p:pic>
          <p:nvPicPr>
            <p:cNvPr id="76" name="Picture 47"/>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730459" y="3983527"/>
              <a:ext cx="478997" cy="446608"/>
            </a:xfrm>
            <a:prstGeom prst="rect">
              <a:avLst/>
            </a:prstGeom>
          </p:spPr>
        </p:pic>
        <p:pic>
          <p:nvPicPr>
            <p:cNvPr id="77" name="Picture 47"/>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5306523" y="3983527"/>
              <a:ext cx="478997" cy="446608"/>
            </a:xfrm>
            <a:prstGeom prst="rect">
              <a:avLst/>
            </a:prstGeom>
          </p:spPr>
        </p:pic>
      </p:grpSp>
      <p:grpSp>
        <p:nvGrpSpPr>
          <p:cNvPr id="78" name="组合 77"/>
          <p:cNvGrpSpPr/>
          <p:nvPr/>
        </p:nvGrpSpPr>
        <p:grpSpPr>
          <a:xfrm>
            <a:off x="8043106" y="4199162"/>
            <a:ext cx="1494203" cy="369332"/>
            <a:chOff x="7369697" y="3983527"/>
            <a:chExt cx="1616936" cy="446608"/>
          </a:xfrm>
        </p:grpSpPr>
        <p:pic>
          <p:nvPicPr>
            <p:cNvPr id="79" name="Picture 47"/>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7369697" y="3983527"/>
              <a:ext cx="478997" cy="446608"/>
            </a:xfrm>
            <a:prstGeom prst="rect">
              <a:avLst/>
            </a:prstGeom>
          </p:spPr>
        </p:pic>
        <p:pic>
          <p:nvPicPr>
            <p:cNvPr id="80" name="Picture 47"/>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7931572" y="3983527"/>
              <a:ext cx="478997" cy="446608"/>
            </a:xfrm>
            <a:prstGeom prst="rect">
              <a:avLst/>
            </a:prstGeom>
          </p:spPr>
        </p:pic>
        <p:pic>
          <p:nvPicPr>
            <p:cNvPr id="81" name="Picture 47"/>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8507636" y="3983527"/>
              <a:ext cx="478997" cy="446608"/>
            </a:xfrm>
            <a:prstGeom prst="rect">
              <a:avLst/>
            </a:prstGeom>
          </p:spPr>
        </p:pic>
      </p:grpSp>
      <p:pic>
        <p:nvPicPr>
          <p:cNvPr id="82" name="Picture 47"/>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2856445" y="4199162"/>
            <a:ext cx="442639" cy="369332"/>
          </a:xfrm>
          <a:prstGeom prst="rect">
            <a:avLst/>
          </a:prstGeom>
        </p:spPr>
      </p:pic>
      <p:pic>
        <p:nvPicPr>
          <p:cNvPr id="83" name="Picture 47"/>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11043249" y="4199162"/>
            <a:ext cx="442639" cy="369332"/>
          </a:xfrm>
          <a:prstGeom prst="rect">
            <a:avLst/>
          </a:prstGeom>
        </p:spPr>
      </p:pic>
      <p:grpSp>
        <p:nvGrpSpPr>
          <p:cNvPr id="84" name="组合 83"/>
          <p:cNvGrpSpPr/>
          <p:nvPr/>
        </p:nvGrpSpPr>
        <p:grpSpPr>
          <a:xfrm>
            <a:off x="5493584" y="5512544"/>
            <a:ext cx="961865" cy="340483"/>
            <a:chOff x="4168584" y="3983527"/>
            <a:chExt cx="1040872" cy="446608"/>
          </a:xfrm>
        </p:grpSpPr>
        <p:pic>
          <p:nvPicPr>
            <p:cNvPr id="85"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168584" y="3983527"/>
              <a:ext cx="478997" cy="446608"/>
            </a:xfrm>
            <a:prstGeom prst="rect">
              <a:avLst/>
            </a:prstGeom>
          </p:spPr>
        </p:pic>
        <p:pic>
          <p:nvPicPr>
            <p:cNvPr id="86"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730459" y="3983527"/>
              <a:ext cx="478997" cy="446608"/>
            </a:xfrm>
            <a:prstGeom prst="rect">
              <a:avLst/>
            </a:prstGeom>
          </p:spPr>
        </p:pic>
      </p:grpSp>
      <p:grpSp>
        <p:nvGrpSpPr>
          <p:cNvPr id="87" name="组合 86"/>
          <p:cNvGrpSpPr/>
          <p:nvPr/>
        </p:nvGrpSpPr>
        <p:grpSpPr>
          <a:xfrm>
            <a:off x="4425281" y="5512544"/>
            <a:ext cx="961865" cy="340483"/>
            <a:chOff x="4168584" y="3983527"/>
            <a:chExt cx="1040872" cy="446608"/>
          </a:xfrm>
        </p:grpSpPr>
        <p:pic>
          <p:nvPicPr>
            <p:cNvPr id="88"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168584" y="3983527"/>
              <a:ext cx="478997" cy="446608"/>
            </a:xfrm>
            <a:prstGeom prst="rect">
              <a:avLst/>
            </a:prstGeom>
          </p:spPr>
        </p:pic>
        <p:pic>
          <p:nvPicPr>
            <p:cNvPr id="89"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730459" y="3983527"/>
              <a:ext cx="478997" cy="446608"/>
            </a:xfrm>
            <a:prstGeom prst="rect">
              <a:avLst/>
            </a:prstGeom>
          </p:spPr>
        </p:pic>
      </p:grpSp>
      <p:grpSp>
        <p:nvGrpSpPr>
          <p:cNvPr id="90" name="组合 89"/>
          <p:cNvGrpSpPr/>
          <p:nvPr/>
        </p:nvGrpSpPr>
        <p:grpSpPr>
          <a:xfrm>
            <a:off x="9751915" y="5512544"/>
            <a:ext cx="961865" cy="340483"/>
            <a:chOff x="4168584" y="3983527"/>
            <a:chExt cx="1040872" cy="446608"/>
          </a:xfrm>
        </p:grpSpPr>
        <p:pic>
          <p:nvPicPr>
            <p:cNvPr id="91"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168584" y="3983527"/>
              <a:ext cx="478997" cy="446608"/>
            </a:xfrm>
            <a:prstGeom prst="rect">
              <a:avLst/>
            </a:prstGeom>
          </p:spPr>
        </p:pic>
        <p:pic>
          <p:nvPicPr>
            <p:cNvPr id="92"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730459" y="3983527"/>
              <a:ext cx="478997" cy="446608"/>
            </a:xfrm>
            <a:prstGeom prst="rect">
              <a:avLst/>
            </a:prstGeom>
          </p:spPr>
        </p:pic>
      </p:grpSp>
      <p:grpSp>
        <p:nvGrpSpPr>
          <p:cNvPr id="93" name="组合 92"/>
          <p:cNvGrpSpPr/>
          <p:nvPr/>
        </p:nvGrpSpPr>
        <p:grpSpPr>
          <a:xfrm>
            <a:off x="7623567" y="5512544"/>
            <a:ext cx="961865" cy="340483"/>
            <a:chOff x="4168584" y="3983527"/>
            <a:chExt cx="1040872" cy="446608"/>
          </a:xfrm>
        </p:grpSpPr>
        <p:pic>
          <p:nvPicPr>
            <p:cNvPr id="94"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168584" y="3983527"/>
              <a:ext cx="478997" cy="446608"/>
            </a:xfrm>
            <a:prstGeom prst="rect">
              <a:avLst/>
            </a:prstGeom>
          </p:spPr>
        </p:pic>
        <p:pic>
          <p:nvPicPr>
            <p:cNvPr id="95"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730459" y="3983527"/>
              <a:ext cx="478997" cy="446608"/>
            </a:xfrm>
            <a:prstGeom prst="rect">
              <a:avLst/>
            </a:prstGeom>
          </p:spPr>
        </p:pic>
      </p:grpSp>
      <p:grpSp>
        <p:nvGrpSpPr>
          <p:cNvPr id="96" name="组合 95"/>
          <p:cNvGrpSpPr/>
          <p:nvPr/>
        </p:nvGrpSpPr>
        <p:grpSpPr>
          <a:xfrm>
            <a:off x="8695226" y="5512544"/>
            <a:ext cx="961865" cy="340483"/>
            <a:chOff x="4168584" y="3983527"/>
            <a:chExt cx="1040872" cy="446608"/>
          </a:xfrm>
        </p:grpSpPr>
        <p:pic>
          <p:nvPicPr>
            <p:cNvPr id="97"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168584" y="3983527"/>
              <a:ext cx="478997" cy="446608"/>
            </a:xfrm>
            <a:prstGeom prst="rect">
              <a:avLst/>
            </a:prstGeom>
          </p:spPr>
        </p:pic>
        <p:pic>
          <p:nvPicPr>
            <p:cNvPr id="98"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730459" y="3983527"/>
              <a:ext cx="478997" cy="446608"/>
            </a:xfrm>
            <a:prstGeom prst="rect">
              <a:avLst/>
            </a:prstGeom>
          </p:spPr>
        </p:pic>
      </p:grpSp>
      <p:grpSp>
        <p:nvGrpSpPr>
          <p:cNvPr id="99" name="组合 98"/>
          <p:cNvGrpSpPr/>
          <p:nvPr/>
        </p:nvGrpSpPr>
        <p:grpSpPr>
          <a:xfrm>
            <a:off x="10790368" y="5512544"/>
            <a:ext cx="961865" cy="340483"/>
            <a:chOff x="4168584" y="3983527"/>
            <a:chExt cx="1040872" cy="446608"/>
          </a:xfrm>
        </p:grpSpPr>
        <p:pic>
          <p:nvPicPr>
            <p:cNvPr id="100"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168584" y="3983527"/>
              <a:ext cx="478997" cy="446608"/>
            </a:xfrm>
            <a:prstGeom prst="rect">
              <a:avLst/>
            </a:prstGeom>
          </p:spPr>
        </p:pic>
        <p:pic>
          <p:nvPicPr>
            <p:cNvPr id="101"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730459" y="3983527"/>
              <a:ext cx="478997" cy="446608"/>
            </a:xfrm>
            <a:prstGeom prst="rect">
              <a:avLst/>
            </a:prstGeom>
          </p:spPr>
        </p:pic>
      </p:grpSp>
      <p:grpSp>
        <p:nvGrpSpPr>
          <p:cNvPr id="102" name="组合 101"/>
          <p:cNvGrpSpPr/>
          <p:nvPr/>
        </p:nvGrpSpPr>
        <p:grpSpPr>
          <a:xfrm>
            <a:off x="6561886" y="5512544"/>
            <a:ext cx="961865" cy="340483"/>
            <a:chOff x="4168584" y="3983527"/>
            <a:chExt cx="1040872" cy="446608"/>
          </a:xfrm>
        </p:grpSpPr>
        <p:pic>
          <p:nvPicPr>
            <p:cNvPr id="103"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168584" y="3983527"/>
              <a:ext cx="478997" cy="446608"/>
            </a:xfrm>
            <a:prstGeom prst="rect">
              <a:avLst/>
            </a:prstGeom>
          </p:spPr>
        </p:pic>
        <p:pic>
          <p:nvPicPr>
            <p:cNvPr id="104"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730459" y="3983527"/>
              <a:ext cx="478997" cy="446608"/>
            </a:xfrm>
            <a:prstGeom prst="rect">
              <a:avLst/>
            </a:prstGeom>
          </p:spPr>
        </p:pic>
      </p:grpSp>
      <p:grpSp>
        <p:nvGrpSpPr>
          <p:cNvPr id="105" name="组合 104"/>
          <p:cNvGrpSpPr/>
          <p:nvPr/>
        </p:nvGrpSpPr>
        <p:grpSpPr>
          <a:xfrm>
            <a:off x="3385248" y="5512544"/>
            <a:ext cx="961865" cy="340483"/>
            <a:chOff x="4168584" y="3983527"/>
            <a:chExt cx="1040872" cy="446608"/>
          </a:xfrm>
        </p:grpSpPr>
        <p:pic>
          <p:nvPicPr>
            <p:cNvPr id="106"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168584" y="3983527"/>
              <a:ext cx="478997" cy="446608"/>
            </a:xfrm>
            <a:prstGeom prst="rect">
              <a:avLst/>
            </a:prstGeom>
          </p:spPr>
        </p:pic>
        <p:pic>
          <p:nvPicPr>
            <p:cNvPr id="107"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4730459" y="3983527"/>
              <a:ext cx="478997" cy="446608"/>
            </a:xfrm>
            <a:prstGeom prst="rect">
              <a:avLst/>
            </a:prstGeom>
          </p:spPr>
        </p:pic>
      </p:grpSp>
      <p:pic>
        <p:nvPicPr>
          <p:cNvPr id="108" name="Picture 4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0800000" flipV="1">
            <a:off x="2879104" y="5512544"/>
            <a:ext cx="442639" cy="340483"/>
          </a:xfrm>
          <a:prstGeom prst="rect">
            <a:avLst/>
          </a:prstGeom>
        </p:spPr>
      </p:pic>
      <p:sp>
        <p:nvSpPr>
          <p:cNvPr id="109" name="Rectangle 4"/>
          <p:cNvSpPr/>
          <p:nvPr/>
        </p:nvSpPr>
        <p:spPr>
          <a:xfrm>
            <a:off x="1322523" y="5489473"/>
            <a:ext cx="1313180"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chemeClr val="tx1">
                    <a:lumMod val="75000"/>
                    <a:lumOff val="25000"/>
                  </a:schemeClr>
                </a:solidFill>
                <a:uLnTx/>
                <a:uFillTx/>
                <a:latin typeface="Arial" panose="020B0604020202020204" pitchFamily="34" charset="0"/>
                <a:ea typeface="华文楷体" panose="02010600040101010101" charset="-122"/>
                <a:cs typeface="Arial" panose="020B0604020202020204" pitchFamily="34" charset="0"/>
              </a:rPr>
              <a:t>统一</a:t>
            </a:r>
            <a:r>
              <a:rPr kumimoji="1" lang="zh-CN" altLang="en-US"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数据标准</a:t>
            </a:r>
            <a:endParaRPr kumimoji="1" lang="en-US" altLang="zh-CN"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110" name="Rectangle 155"/>
          <p:cNvSpPr/>
          <p:nvPr/>
        </p:nvSpPr>
        <p:spPr>
          <a:xfrm>
            <a:off x="1324592" y="4396976"/>
            <a:ext cx="1313180"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chemeClr val="tx1">
                    <a:lumMod val="75000"/>
                    <a:lumOff val="25000"/>
                  </a:schemeClr>
                </a:solidFill>
                <a:uLnTx/>
                <a:uFillTx/>
                <a:latin typeface="Arial" panose="020B0604020202020204" pitchFamily="34" charset="0"/>
                <a:ea typeface="华文楷体" panose="02010600040101010101" charset="-122"/>
                <a:cs typeface="Arial" panose="020B0604020202020204" pitchFamily="34" charset="0"/>
              </a:rPr>
              <a:t>统一</a:t>
            </a:r>
            <a:r>
              <a:rPr kumimoji="1" lang="zh-CN" altLang="en-US"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架构标准</a:t>
            </a:r>
            <a:endParaRPr kumimoji="1" lang="zh-CN" altLang="en-US" sz="1300" b="0"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111" name="Plus Sign 37"/>
          <p:cNvSpPr/>
          <p:nvPr/>
        </p:nvSpPr>
        <p:spPr>
          <a:xfrm>
            <a:off x="6123241" y="2813565"/>
            <a:ext cx="415700" cy="415700"/>
          </a:xfrm>
          <a:prstGeom prst="mathPlus">
            <a:avLst>
              <a:gd name="adj1" fmla="val 24551"/>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Malgun Gothic" panose="020B0503020000020004" charset="-127"/>
              <a:ea typeface="+mn-ea"/>
              <a:cs typeface="+mn-cs"/>
            </a:endParaRPr>
          </a:p>
        </p:txBody>
      </p:sp>
      <p:sp>
        <p:nvSpPr>
          <p:cNvPr id="112" name="TextBox 81"/>
          <p:cNvSpPr txBox="1"/>
          <p:nvPr/>
        </p:nvSpPr>
        <p:spPr>
          <a:xfrm>
            <a:off x="312936" y="4000542"/>
            <a:ext cx="933747" cy="2324315"/>
          </a:xfrm>
          <a:prstGeom prst="rect">
            <a:avLst/>
          </a:prstGeom>
          <a:noFill/>
          <a:ln>
            <a:solidFill>
              <a:schemeClr val="bg1">
                <a:lumMod val="50000"/>
              </a:schemeClr>
            </a:solidFill>
            <a:prstDash val="dash"/>
          </a:ln>
        </p:spPr>
        <p:txBody>
          <a:bodyPr wrap="square" lIns="93296" tIns="46648" rIns="93296" bIns="4664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区块链</a:t>
            </a:r>
            <a:endParaRPr kumimoji="0" lang="en-US" altLang="zh-CN" sz="18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rPr>
              <a:t>云平台</a:t>
            </a:r>
            <a:endParaRPr kumimoji="0" lang="en-US" altLang="zh-CN" sz="1800" b="1" i="0" u="none" strike="noStrike" kern="1200" cap="none" spc="0" normalizeH="0" baseline="0" noProof="0" dirty="0">
              <a:ln>
                <a:noFill/>
              </a:ln>
              <a:solidFill>
                <a:schemeClr val="tx1">
                  <a:lumMod val="75000"/>
                  <a:lumOff val="25000"/>
                </a:schemeClr>
              </a:solidFill>
              <a:uLnTx/>
              <a:uFillTx/>
              <a:latin typeface="华文楷体" panose="02010600040101010101" charset="-122"/>
              <a:ea typeface="华文楷体" panose="02010600040101010101" charset="-122"/>
              <a:cs typeface="+mn-cs"/>
            </a:endParaRPr>
          </a:p>
        </p:txBody>
      </p:sp>
      <p:sp>
        <p:nvSpPr>
          <p:cNvPr id="113" name="Rectangle 41"/>
          <p:cNvSpPr/>
          <p:nvPr/>
        </p:nvSpPr>
        <p:spPr>
          <a:xfrm>
            <a:off x="359781" y="1895829"/>
            <a:ext cx="877163"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Arial" panose="020B0604020202020204" pitchFamily="34" charset="0"/>
                <a:ea typeface="华文楷体" panose="02010600040101010101" charset="-122"/>
                <a:cs typeface="Arial" panose="020B0604020202020204" pitchFamily="34" charset="0"/>
                <a:sym typeface="Trebuchet MS" panose="020B0603020202020204" pitchFamily="34" charset="0"/>
              </a:rPr>
              <a:t> </a:t>
            </a:r>
            <a:r>
              <a:rPr kumimoji="0" lang="en-US" altLang="zh-CN" sz="2400" b="1" i="0" u="none" strike="noStrike" kern="1200" cap="none" spc="0" normalizeH="0" baseline="0" noProof="0" dirty="0">
                <a:ln>
                  <a:noFill/>
                </a:ln>
                <a:solidFill>
                  <a:srgbClr val="FE5817"/>
                </a:solidFill>
                <a:uLnTx/>
                <a:uFillTx/>
                <a:latin typeface="Arial" panose="020B0604020202020204" pitchFamily="34" charset="0"/>
                <a:ea typeface="华文楷体" panose="02010600040101010101" charset="-122"/>
                <a:cs typeface="Arial" panose="020B0604020202020204" pitchFamily="34" charset="0"/>
                <a:sym typeface="Trebuchet MS" panose="020B0603020202020204" pitchFamily="34" charset="0"/>
              </a:rPr>
              <a:t>4+4</a:t>
            </a:r>
            <a:r>
              <a:rPr kumimoji="0" lang="en-US" altLang="zh-CN" sz="2400" b="1" i="0" u="none" strike="noStrike" kern="1200" cap="none" spc="0" normalizeH="0" baseline="0" noProof="0" dirty="0">
                <a:ln>
                  <a:noFill/>
                </a:ln>
                <a:solidFill>
                  <a:srgbClr val="FF0000"/>
                </a:solidFill>
                <a:uLnTx/>
                <a:uFillTx/>
                <a:latin typeface="Arial" panose="020B0604020202020204" pitchFamily="34" charset="0"/>
                <a:ea typeface="华文楷体" panose="02010600040101010101" charset="-122"/>
                <a:cs typeface="Arial" panose="020B0604020202020204" pitchFamily="34" charset="0"/>
                <a:sym typeface="Trebuchet MS" panose="020B0603020202020204" pitchFamily="34" charset="0"/>
              </a:rPr>
              <a:t> </a:t>
            </a:r>
            <a:endParaRPr kumimoji="0" lang="zh-CN" altLang="en-US" sz="2400" b="1" i="0" u="none" strike="noStrike" kern="1200" cap="none" spc="0" normalizeH="0" baseline="0" noProof="0" dirty="0">
              <a:ln>
                <a:noFill/>
              </a:ln>
              <a:solidFill>
                <a:srgbClr val="FF0000"/>
              </a:solidFill>
              <a:uLnTx/>
              <a:uFillTx/>
              <a:latin typeface="Arial" panose="020B0604020202020204" pitchFamily="34" charset="0"/>
              <a:ea typeface="华文楷体" panose="02010600040101010101" charset="-122"/>
              <a:cs typeface="Arial" panose="020B0604020202020204" pitchFamily="34" charset="0"/>
              <a:sym typeface="Trebuchet MS" panose="020B0603020202020204" pitchFamily="34" charset="0"/>
            </a:endParaRPr>
          </a:p>
        </p:txBody>
      </p:sp>
      <p:sp>
        <p:nvSpPr>
          <p:cNvPr id="114" name="Rectangle 160"/>
          <p:cNvSpPr/>
          <p:nvPr/>
        </p:nvSpPr>
        <p:spPr>
          <a:xfrm>
            <a:off x="537657" y="4497549"/>
            <a:ext cx="497251"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Arial" panose="020B0604020202020204" pitchFamily="34" charset="0"/>
                <a:ea typeface="华文楷体" panose="02010600040101010101" charset="-122"/>
                <a:cs typeface="Arial" panose="020B0604020202020204" pitchFamily="34" charset="0"/>
                <a:sym typeface="Trebuchet MS" panose="020B0603020202020204" pitchFamily="34" charset="0"/>
              </a:rPr>
              <a:t> </a:t>
            </a:r>
            <a:r>
              <a:rPr kumimoji="0" lang="en-US" altLang="zh-CN" sz="2400" b="1" i="0" u="none" strike="noStrike" kern="1200" cap="none" spc="0" normalizeH="0" baseline="0" noProof="0" dirty="0">
                <a:ln>
                  <a:noFill/>
                </a:ln>
                <a:solidFill>
                  <a:srgbClr val="FE5817"/>
                </a:solidFill>
                <a:uLnTx/>
                <a:uFillTx/>
                <a:latin typeface="Arial" panose="020B0604020202020204" pitchFamily="34" charset="0"/>
                <a:ea typeface="华文楷体" panose="02010600040101010101" charset="-122"/>
                <a:cs typeface="Arial" panose="020B0604020202020204" pitchFamily="34" charset="0"/>
                <a:sym typeface="Trebuchet MS" panose="020B0603020202020204" pitchFamily="34" charset="0"/>
              </a:rPr>
              <a:t>1</a:t>
            </a:r>
            <a:r>
              <a:rPr kumimoji="0" lang="en-US" altLang="zh-CN" sz="20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Arial" panose="020B0604020202020204" pitchFamily="34" charset="0"/>
                <a:ea typeface="华文楷体" panose="02010600040101010101" charset="-122"/>
                <a:cs typeface="Arial" panose="020B0604020202020204" pitchFamily="34" charset="0"/>
                <a:sym typeface="Trebuchet MS" panose="020B0603020202020204" pitchFamily="34" charset="0"/>
              </a:rPr>
              <a:t> </a:t>
            </a:r>
            <a:endParaRPr kumimoji="0" lang="zh-CN" altLang="en-US" sz="20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Arial" panose="020B0604020202020204" pitchFamily="34" charset="0"/>
              <a:ea typeface="华文楷体" panose="02010600040101010101" charset="-122"/>
              <a:cs typeface="Arial" panose="020B0604020202020204" pitchFamily="34" charset="0"/>
              <a:sym typeface="Trebuchet MS" panose="020B0603020202020204" pitchFamily="34" charset="0"/>
            </a:endParaRPr>
          </a:p>
        </p:txBody>
      </p:sp>
      <p:sp>
        <p:nvSpPr>
          <p:cNvPr id="115" name="Rectangle 3"/>
          <p:cNvSpPr/>
          <p:nvPr/>
        </p:nvSpPr>
        <p:spPr>
          <a:xfrm>
            <a:off x="3000394" y="1384064"/>
            <a:ext cx="1665117"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chemeClr val="tx1">
                    <a:lumMod val="75000"/>
                    <a:lumOff val="25000"/>
                  </a:schemeClr>
                </a:solidFill>
                <a:uLnTx/>
                <a:uFillTx/>
                <a:latin typeface="Arial" panose="020B0604020202020204" pitchFamily="34" charset="0"/>
                <a:ea typeface="华文楷体" panose="02010600040101010101" charset="-122"/>
                <a:cs typeface="Arial" panose="020B0604020202020204" pitchFamily="34" charset="0"/>
              </a:rPr>
              <a:t>4</a:t>
            </a:r>
            <a:r>
              <a:rPr kumimoji="0" lang="zh-CN" altLang="en-US" sz="1800" b="1" i="0" u="none" strike="noStrike" kern="1200" cap="none" spc="0" normalizeH="0" baseline="0" noProof="0" dirty="0">
                <a:ln>
                  <a:noFill/>
                </a:ln>
                <a:solidFill>
                  <a:schemeClr val="tx1">
                    <a:lumMod val="75000"/>
                    <a:lumOff val="25000"/>
                  </a:schemeClr>
                </a:solidFill>
                <a:uLnTx/>
                <a:uFillTx/>
                <a:latin typeface="Arial" panose="020B0604020202020204" pitchFamily="34" charset="0"/>
                <a:ea typeface="华文楷体" panose="02010600040101010101" charset="-122"/>
                <a:cs typeface="Arial" panose="020B0604020202020204" pitchFamily="34" charset="0"/>
              </a:rPr>
              <a:t>大智能平台</a:t>
            </a:r>
            <a:endParaRPr kumimoji="0" lang="en-US" altLang="zh-CN" sz="1800" b="1" i="0" u="none" strike="noStrike" kern="1200" cap="none" spc="0" normalizeH="0" baseline="0" noProof="0" dirty="0">
              <a:ln>
                <a:noFill/>
              </a:ln>
              <a:solidFill>
                <a:schemeClr val="tx1">
                  <a:lumMod val="75000"/>
                  <a:lumOff val="25000"/>
                </a:schemeClr>
              </a:solidFill>
              <a:uLnTx/>
              <a:uFillTx/>
              <a:latin typeface="Arial" panose="020B0604020202020204" pitchFamily="34" charset="0"/>
              <a:ea typeface="华文楷体" panose="02010600040101010101" charset="-122"/>
              <a:cs typeface="Arial" panose="020B0604020202020204" pitchFamily="34" charset="0"/>
            </a:endParaRPr>
          </a:p>
        </p:txBody>
      </p:sp>
      <p:sp>
        <p:nvSpPr>
          <p:cNvPr id="116" name="Rectangle 161"/>
          <p:cNvSpPr/>
          <p:nvPr/>
        </p:nvSpPr>
        <p:spPr>
          <a:xfrm>
            <a:off x="8529437" y="1384064"/>
            <a:ext cx="2164883"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chemeClr val="tx1">
                    <a:lumMod val="75000"/>
                    <a:lumOff val="25000"/>
                  </a:schemeClr>
                </a:solidFill>
                <a:uLnTx/>
                <a:uFillTx/>
                <a:latin typeface="Arial" panose="020B0604020202020204" pitchFamily="34" charset="0"/>
                <a:ea typeface="华文楷体" panose="02010600040101010101" charset="-122"/>
                <a:cs typeface="Arial" panose="020B0604020202020204" pitchFamily="34" charset="0"/>
              </a:rPr>
              <a:t>4</a:t>
            </a:r>
            <a:r>
              <a:rPr kumimoji="0" lang="zh-CN" altLang="en-US" sz="1800" b="1" i="0" u="none" strike="noStrike" kern="1200" cap="none" spc="0" normalizeH="0" baseline="0" noProof="0" dirty="0">
                <a:ln>
                  <a:noFill/>
                </a:ln>
                <a:solidFill>
                  <a:schemeClr val="tx1">
                    <a:lumMod val="75000"/>
                    <a:lumOff val="25000"/>
                  </a:schemeClr>
                </a:solidFill>
                <a:uLnTx/>
                <a:uFillTx/>
                <a:latin typeface="Arial" panose="020B0604020202020204" pitchFamily="34" charset="0"/>
                <a:ea typeface="华文楷体" panose="02010600040101010101" charset="-122"/>
                <a:cs typeface="Arial" panose="020B0604020202020204" pitchFamily="34" charset="0"/>
              </a:rPr>
              <a:t>大统一标准平台</a:t>
            </a:r>
            <a:endParaRPr kumimoji="0" lang="en-US" altLang="zh-CN" sz="1800" b="1" i="0" u="none" strike="noStrike" kern="1200" cap="none" spc="0" normalizeH="0" baseline="0" noProof="0" dirty="0">
              <a:ln>
                <a:noFill/>
              </a:ln>
              <a:solidFill>
                <a:schemeClr val="tx1">
                  <a:lumMod val="75000"/>
                  <a:lumOff val="25000"/>
                </a:schemeClr>
              </a:solidFill>
              <a:uLnTx/>
              <a:uFillTx/>
              <a:latin typeface="Arial" panose="020B0604020202020204" pitchFamily="34" charset="0"/>
              <a:ea typeface="华文楷体" panose="02010600040101010101" charset="-122"/>
              <a:cs typeface="Arial" panose="020B0604020202020204" pitchFamily="34" charset="0"/>
            </a:endParaRPr>
          </a:p>
        </p:txBody>
      </p:sp>
      <p:sp>
        <p:nvSpPr>
          <p:cNvPr id="117"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战略框架</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对象 10" hidden="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59900" name="think-cell Slide" r:id="rId2" imgW="12700" imgH="12700" progId="TCLayout.ActiveDocument.1">
                  <p:embed/>
                </p:oleObj>
              </mc:Choice>
              <mc:Fallback>
                <p:oleObj name="think-cell Slide" r:id="rId2" imgW="12700" imgH="12700" progId="TCLayout.ActiveDocument.1">
                  <p:embed/>
                  <p:pic>
                    <p:nvPicPr>
                      <p:cNvPr id="0" name="对象 10" hidden="1"/>
                      <p:cNvPicPr/>
                      <p:nvPr/>
                    </p:nvPicPr>
                    <p:blipFill>
                      <a:blip r:embed="rId3"/>
                      <a:stretch>
                        <a:fillRect/>
                      </a:stretch>
                    </p:blipFill>
                    <p:spPr>
                      <a:xfrm>
                        <a:off x="2118" y="2118"/>
                        <a:ext cx="2116" cy="2116"/>
                      </a:xfrm>
                      <a:prstGeom prst="rect">
                        <a:avLst/>
                      </a:prstGeom>
                    </p:spPr>
                  </p:pic>
                </p:oleObj>
              </mc:Fallback>
            </mc:AlternateContent>
          </a:graphicData>
        </a:graphic>
      </p:graphicFrame>
      <p:grpSp>
        <p:nvGrpSpPr>
          <p:cNvPr id="6" name="组合 5"/>
          <p:cNvGrpSpPr/>
          <p:nvPr/>
        </p:nvGrpSpPr>
        <p:grpSpPr>
          <a:xfrm>
            <a:off x="804697" y="5183842"/>
            <a:ext cx="9132752" cy="1205101"/>
            <a:chOff x="155342" y="3448702"/>
            <a:chExt cx="8718381" cy="1496442"/>
          </a:xfrm>
          <a:gradFill>
            <a:gsLst>
              <a:gs pos="0">
                <a:srgbClr val="FE5817"/>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grpSp>
          <p:nvGrpSpPr>
            <p:cNvPr id="87" name="组合 86"/>
            <p:cNvGrpSpPr/>
            <p:nvPr/>
          </p:nvGrpSpPr>
          <p:grpSpPr>
            <a:xfrm>
              <a:off x="155342" y="3448702"/>
              <a:ext cx="8718381" cy="1496442"/>
              <a:chOff x="1657358" y="3788037"/>
              <a:chExt cx="7319374" cy="1029289"/>
            </a:xfrm>
            <a:grpFill/>
          </p:grpSpPr>
          <p:sp>
            <p:nvSpPr>
              <p:cNvPr id="88" name="任意多边形 66"/>
              <p:cNvSpPr/>
              <p:nvPr/>
            </p:nvSpPr>
            <p:spPr>
              <a:xfrm>
                <a:off x="2585510" y="3788037"/>
                <a:ext cx="5463069" cy="696142"/>
              </a:xfrm>
              <a:custGeom>
                <a:avLst/>
                <a:gdLst>
                  <a:gd name="connsiteX0" fmla="*/ 2393693 w 4787386"/>
                  <a:gd name="connsiteY0" fmla="*/ 0 h 571628"/>
                  <a:gd name="connsiteX1" fmla="*/ 2394866 w 4787386"/>
                  <a:gd name="connsiteY1" fmla="*/ 7 h 571628"/>
                  <a:gd name="connsiteX2" fmla="*/ 2656609 w 4787386"/>
                  <a:gd name="connsiteY2" fmla="*/ 1807 h 571628"/>
                  <a:gd name="connsiteX3" fmla="*/ 2876106 w 4787386"/>
                  <a:gd name="connsiteY3" fmla="*/ 5807 h 571628"/>
                  <a:gd name="connsiteX4" fmla="*/ 4787386 w 4787386"/>
                  <a:gd name="connsiteY4" fmla="*/ 285814 h 571628"/>
                  <a:gd name="connsiteX5" fmla="*/ 2393693 w 4787386"/>
                  <a:gd name="connsiteY5" fmla="*/ 571628 h 571628"/>
                  <a:gd name="connsiteX6" fmla="*/ 0 w 4787386"/>
                  <a:gd name="connsiteY6" fmla="*/ 285814 h 571628"/>
                  <a:gd name="connsiteX7" fmla="*/ 1911280 w 4787386"/>
                  <a:gd name="connsiteY7" fmla="*/ 5807 h 571628"/>
                  <a:gd name="connsiteX8" fmla="*/ 2130778 w 4787386"/>
                  <a:gd name="connsiteY8" fmla="*/ 1807 h 571628"/>
                  <a:gd name="connsiteX9" fmla="*/ 2392504 w 4787386"/>
                  <a:gd name="connsiteY9" fmla="*/ 7 h 571628"/>
                  <a:gd name="connsiteX10" fmla="*/ 2393691 w 4787386"/>
                  <a:gd name="connsiteY10" fmla="*/ 0 h 571628"/>
                  <a:gd name="connsiteX11" fmla="*/ 2071244 w 4787386"/>
                  <a:gd name="connsiteY11" fmla="*/ 3881 h 571628"/>
                  <a:gd name="connsiteX12" fmla="*/ 793732 w 4787386"/>
                  <a:gd name="connsiteY12" fmla="*/ 191040 h 571628"/>
                  <a:gd name="connsiteX13" fmla="*/ 2393692 w 4787386"/>
                  <a:gd name="connsiteY13" fmla="*/ 382080 h 571628"/>
                  <a:gd name="connsiteX14" fmla="*/ 3993652 w 4787386"/>
                  <a:gd name="connsiteY14" fmla="*/ 191040 h 571628"/>
                  <a:gd name="connsiteX15" fmla="*/ 2716140 w 4787386"/>
                  <a:gd name="connsiteY15" fmla="*/ 3881 h 571628"/>
                  <a:gd name="connsiteX16" fmla="*/ 2393693 w 4787386"/>
                  <a:gd name="connsiteY16" fmla="*/ 0 h 571628"/>
                  <a:gd name="connsiteX17" fmla="*/ 2393693 w 4787386"/>
                  <a:gd name="connsiteY17" fmla="*/ 0 h 57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87386" h="571628">
                    <a:moveTo>
                      <a:pt x="2393693" y="0"/>
                    </a:moveTo>
                    <a:lnTo>
                      <a:pt x="2394866" y="7"/>
                    </a:lnTo>
                    <a:lnTo>
                      <a:pt x="2656609" y="1807"/>
                    </a:lnTo>
                    <a:lnTo>
                      <a:pt x="2876106" y="5807"/>
                    </a:lnTo>
                    <a:cubicBezTo>
                      <a:pt x="3966871" y="32458"/>
                      <a:pt x="4787386" y="147695"/>
                      <a:pt x="4787386" y="285814"/>
                    </a:cubicBezTo>
                    <a:cubicBezTo>
                      <a:pt x="4787386" y="443665"/>
                      <a:pt x="3715693" y="571628"/>
                      <a:pt x="2393693" y="571628"/>
                    </a:cubicBezTo>
                    <a:cubicBezTo>
                      <a:pt x="1071693" y="571628"/>
                      <a:pt x="0" y="443665"/>
                      <a:pt x="0" y="285814"/>
                    </a:cubicBezTo>
                    <a:cubicBezTo>
                      <a:pt x="0" y="147695"/>
                      <a:pt x="820515" y="32458"/>
                      <a:pt x="1911280" y="5807"/>
                    </a:cubicBezTo>
                    <a:lnTo>
                      <a:pt x="2130778" y="1807"/>
                    </a:lnTo>
                    <a:lnTo>
                      <a:pt x="2392504" y="7"/>
                    </a:lnTo>
                    <a:lnTo>
                      <a:pt x="2393691" y="0"/>
                    </a:lnTo>
                    <a:lnTo>
                      <a:pt x="2071244" y="3881"/>
                    </a:lnTo>
                    <a:cubicBezTo>
                      <a:pt x="1342169" y="21695"/>
                      <a:pt x="793732" y="98721"/>
                      <a:pt x="793732" y="191040"/>
                    </a:cubicBezTo>
                    <a:cubicBezTo>
                      <a:pt x="793732" y="296548"/>
                      <a:pt x="1510058" y="382080"/>
                      <a:pt x="2393692" y="382080"/>
                    </a:cubicBezTo>
                    <a:cubicBezTo>
                      <a:pt x="3277326" y="382080"/>
                      <a:pt x="3993652" y="296548"/>
                      <a:pt x="3993652" y="191040"/>
                    </a:cubicBezTo>
                    <a:cubicBezTo>
                      <a:pt x="3993652" y="98721"/>
                      <a:pt x="3445215" y="21695"/>
                      <a:pt x="2716140" y="3881"/>
                    </a:cubicBezTo>
                    <a:lnTo>
                      <a:pt x="2393693" y="0"/>
                    </a:lnTo>
                    <a:lnTo>
                      <a:pt x="2393693" y="0"/>
                    </a:lnTo>
                    <a:close/>
                  </a:path>
                </a:pathLst>
              </a:custGeom>
              <a:grpFill/>
              <a:ln w="28575" cap="flat" cmpd="sng" algn="ctr">
                <a:noFill/>
                <a:prstDash val="solid"/>
                <a:miter lim="800000"/>
              </a:ln>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zh-CN" altLang="en-US" sz="4265"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华文楷体" panose="02010600040101010101" charset="-122"/>
                  <a:cs typeface="+mn-cs"/>
                </a:endParaRPr>
              </a:p>
            </p:txBody>
          </p:sp>
          <p:sp>
            <p:nvSpPr>
              <p:cNvPr id="89" name="任意多边形 101"/>
              <p:cNvSpPr/>
              <p:nvPr/>
            </p:nvSpPr>
            <p:spPr>
              <a:xfrm>
                <a:off x="1657358" y="3837893"/>
                <a:ext cx="7319374" cy="979433"/>
              </a:xfrm>
              <a:custGeom>
                <a:avLst/>
                <a:gdLst>
                  <a:gd name="connsiteX0" fmla="*/ 1566472 w 6345470"/>
                  <a:gd name="connsiteY0" fmla="*/ 0 h 804249"/>
                  <a:gd name="connsiteX1" fmla="*/ 1374115 w 6345470"/>
                  <a:gd name="connsiteY1" fmla="*/ 17175 h 804249"/>
                  <a:gd name="connsiteX2" fmla="*/ 345129 w 6345470"/>
                  <a:gd name="connsiteY2" fmla="*/ 277703 h 804249"/>
                  <a:gd name="connsiteX3" fmla="*/ 3172736 w 6345470"/>
                  <a:gd name="connsiteY3" fmla="*/ 615328 h 804249"/>
                  <a:gd name="connsiteX4" fmla="*/ 6000343 w 6345470"/>
                  <a:gd name="connsiteY4" fmla="*/ 277703 h 804249"/>
                  <a:gd name="connsiteX5" fmla="*/ 4971357 w 6345470"/>
                  <a:gd name="connsiteY5" fmla="*/ 17175 h 804249"/>
                  <a:gd name="connsiteX6" fmla="*/ 4779026 w 6345470"/>
                  <a:gd name="connsiteY6" fmla="*/ 2 h 804249"/>
                  <a:gd name="connsiteX7" fmla="*/ 4946641 w 6345470"/>
                  <a:gd name="connsiteY7" fmla="*/ 13870 h 804249"/>
                  <a:gd name="connsiteX8" fmla="*/ 6345470 w 6345470"/>
                  <a:gd name="connsiteY8" fmla="*/ 372163 h 804249"/>
                  <a:gd name="connsiteX9" fmla="*/ 3172735 w 6345470"/>
                  <a:gd name="connsiteY9" fmla="*/ 804249 h 804249"/>
                  <a:gd name="connsiteX10" fmla="*/ 0 w 6345470"/>
                  <a:gd name="connsiteY10" fmla="*/ 372163 h 804249"/>
                  <a:gd name="connsiteX11" fmla="*/ 1398829 w 6345470"/>
                  <a:gd name="connsiteY11" fmla="*/ 13870 h 804249"/>
                  <a:gd name="connsiteX12" fmla="*/ 1566472 w 6345470"/>
                  <a:gd name="connsiteY12" fmla="*/ 0 h 80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5470" h="804249">
                    <a:moveTo>
                      <a:pt x="1566472" y="0"/>
                    </a:moveTo>
                    <a:lnTo>
                      <a:pt x="1374115" y="17175"/>
                    </a:lnTo>
                    <a:cubicBezTo>
                      <a:pt x="745687" y="79101"/>
                      <a:pt x="345129" y="172817"/>
                      <a:pt x="345129" y="277703"/>
                    </a:cubicBezTo>
                    <a:cubicBezTo>
                      <a:pt x="345129" y="464168"/>
                      <a:pt x="1611092" y="615328"/>
                      <a:pt x="3172736" y="615328"/>
                    </a:cubicBezTo>
                    <a:cubicBezTo>
                      <a:pt x="4734380" y="615328"/>
                      <a:pt x="6000343" y="464168"/>
                      <a:pt x="6000343" y="277703"/>
                    </a:cubicBezTo>
                    <a:cubicBezTo>
                      <a:pt x="6000343" y="172817"/>
                      <a:pt x="5599785" y="79101"/>
                      <a:pt x="4971357" y="17175"/>
                    </a:cubicBezTo>
                    <a:lnTo>
                      <a:pt x="4779026" y="2"/>
                    </a:lnTo>
                    <a:lnTo>
                      <a:pt x="4946641" y="13870"/>
                    </a:lnTo>
                    <a:cubicBezTo>
                      <a:pt x="5790594" y="91519"/>
                      <a:pt x="6345470" y="223016"/>
                      <a:pt x="6345470" y="372163"/>
                    </a:cubicBezTo>
                    <a:cubicBezTo>
                      <a:pt x="6345470" y="610798"/>
                      <a:pt x="4924988" y="804249"/>
                      <a:pt x="3172735" y="804249"/>
                    </a:cubicBezTo>
                    <a:cubicBezTo>
                      <a:pt x="1420482" y="804249"/>
                      <a:pt x="0" y="610798"/>
                      <a:pt x="0" y="372163"/>
                    </a:cubicBezTo>
                    <a:cubicBezTo>
                      <a:pt x="0" y="223016"/>
                      <a:pt x="554876" y="91519"/>
                      <a:pt x="1398829" y="13870"/>
                    </a:cubicBezTo>
                    <a:lnTo>
                      <a:pt x="1566472" y="0"/>
                    </a:lnTo>
                    <a:close/>
                  </a:path>
                </a:pathLst>
              </a:custGeom>
              <a:grpFill/>
              <a:ln w="28575" cap="flat" cmpd="sng" algn="ctr">
                <a:noFill/>
                <a:prstDash val="solid"/>
                <a:miter lim="800000"/>
              </a:ln>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zh-CN" altLang="en-US" sz="4265"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华文楷体" panose="02010600040101010101" charset="-122"/>
                  <a:cs typeface="+mn-cs"/>
                </a:endParaRPr>
              </a:p>
            </p:txBody>
          </p:sp>
        </p:grpSp>
        <p:sp>
          <p:nvSpPr>
            <p:cNvPr id="97" name="Rectangle 14"/>
            <p:cNvSpPr/>
            <p:nvPr/>
          </p:nvSpPr>
          <p:spPr>
            <a:xfrm>
              <a:off x="1405145" y="4235893"/>
              <a:ext cx="6294139" cy="435325"/>
            </a:xfrm>
            <a:prstGeom prst="rect">
              <a:avLst/>
            </a:prstGeom>
            <a:grpFill/>
          </p:spPr>
          <p:txBody>
            <a:bodyPr wrap="none">
              <a:prstTxWarp prst="textArchDown">
                <a:avLst>
                  <a:gd name="adj" fmla="val 1"/>
                </a:avLst>
              </a:prstTxWarp>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US" altLang="zh-CN" sz="3000" b="1" i="0" u="none" strike="noStrike" kern="1200" cap="none" spc="0" normalizeH="0" baseline="0" noProof="0" smtClean="0">
                  <a:ln>
                    <a:noFill/>
                  </a:ln>
                  <a:solidFill>
                    <a:srgbClr val="FE8637">
                      <a:lumMod val="50000"/>
                    </a:srgbClr>
                  </a:solidFill>
                  <a:effectLst>
                    <a:glow rad="63500">
                      <a:srgbClr val="FFFFFF">
                        <a:alpha val="87000"/>
                      </a:srgbClr>
                    </a:glow>
                  </a:effectLst>
                  <a:uLnTx/>
                  <a:uFillTx/>
                  <a:latin typeface="Arial" panose="020B0604020202020204"/>
                  <a:ea typeface="华文楷体" panose="02010600040101010101" charset="-122"/>
                  <a:cs typeface="Arial" panose="020B0604020202020204" pitchFamily="34" charset="0"/>
                </a:rPr>
                <a:t>XXXXXX</a:t>
              </a:r>
              <a:endParaRPr kumimoji="0" lang="en-US" altLang="zh-CN" sz="3000" b="1" i="0" u="none" strike="noStrike" kern="1200" cap="none" spc="0" normalizeH="0" baseline="0" noProof="0" dirty="0">
                <a:ln>
                  <a:noFill/>
                </a:ln>
                <a:solidFill>
                  <a:srgbClr val="FE8637">
                    <a:lumMod val="50000"/>
                  </a:srgbClr>
                </a:solidFill>
                <a:effectLst>
                  <a:glow rad="63500">
                    <a:srgbClr val="FFFFFF">
                      <a:alpha val="87000"/>
                    </a:srgbClr>
                  </a:glow>
                </a:effectLst>
                <a:uLnTx/>
                <a:uFillTx/>
                <a:latin typeface="Arial" panose="020B0604020202020204"/>
                <a:ea typeface="华文楷体" panose="02010600040101010101" charset="-122"/>
                <a:cs typeface="Arial" panose="020B0604020202020204" pitchFamily="34" charset="0"/>
              </a:endParaRPr>
            </a:p>
          </p:txBody>
        </p:sp>
      </p:grpSp>
      <p:sp>
        <p:nvSpPr>
          <p:cNvPr id="7" name="椭圆 6"/>
          <p:cNvSpPr/>
          <p:nvPr/>
        </p:nvSpPr>
        <p:spPr>
          <a:xfrm>
            <a:off x="651327" y="4280328"/>
            <a:ext cx="1367973" cy="1367973"/>
          </a:xfrm>
          <a:prstGeom prst="ellipse">
            <a:avLst/>
          </a:prstGeom>
          <a:solidFill>
            <a:srgbClr val="FFFFFF"/>
          </a:solidFill>
          <a:ln w="38100">
            <a:gradFill flip="none" rotWithShape="1">
              <a:gsLst>
                <a:gs pos="0">
                  <a:schemeClr val="accent1">
                    <a:lumMod val="75000"/>
                  </a:schemeClr>
                </a:gs>
                <a:gs pos="100000">
                  <a:schemeClr val="accent1">
                    <a:lumMod val="60000"/>
                    <a:lumOff val="4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200" rtl="0" eaLnBrk="1" fontAlgn="auto" latinLnBrk="0" hangingPunct="1">
              <a:lnSpc>
                <a:spcPct val="95000"/>
              </a:lnSpc>
              <a:spcBef>
                <a:spcPts val="0"/>
              </a:spcBef>
              <a:spcAft>
                <a:spcPts val="0"/>
              </a:spcAft>
              <a:buClrTx/>
              <a:buSzTx/>
              <a:buFontTx/>
              <a:buNone/>
              <a:defRPr/>
            </a:pPr>
            <a:endParaRPr kumimoji="0" lang="zh-CN" altLang="en-US" sz="2400" b="0" i="0" u="none" strike="noStrike" kern="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8" name="椭圆 97"/>
          <p:cNvSpPr/>
          <p:nvPr/>
        </p:nvSpPr>
        <p:spPr>
          <a:xfrm>
            <a:off x="4740727" y="4280328"/>
            <a:ext cx="1367973" cy="1367973"/>
          </a:xfrm>
          <a:prstGeom prst="ellipse">
            <a:avLst/>
          </a:prstGeom>
          <a:solidFill>
            <a:srgbClr val="FFFFFF"/>
          </a:solidFill>
          <a:ln w="38100">
            <a:gradFill flip="none" rotWithShape="1">
              <a:gsLst>
                <a:gs pos="0">
                  <a:schemeClr val="accent1">
                    <a:lumMod val="75000"/>
                  </a:schemeClr>
                </a:gs>
                <a:gs pos="100000">
                  <a:schemeClr val="accent1">
                    <a:lumMod val="60000"/>
                    <a:lumOff val="4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200" rtl="0" eaLnBrk="1" fontAlgn="auto" latinLnBrk="0" hangingPunct="1">
              <a:lnSpc>
                <a:spcPct val="95000"/>
              </a:lnSpc>
              <a:spcBef>
                <a:spcPts val="0"/>
              </a:spcBef>
              <a:spcAft>
                <a:spcPts val="0"/>
              </a:spcAft>
              <a:buClrTx/>
              <a:buSzTx/>
              <a:buFontTx/>
              <a:buNone/>
              <a:defRPr/>
            </a:pPr>
            <a:endParaRPr kumimoji="0" lang="zh-CN" altLang="en-US" sz="2400" b="0" i="0" u="none" strike="noStrike" kern="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01" name="椭圆 100"/>
          <p:cNvSpPr/>
          <p:nvPr/>
        </p:nvSpPr>
        <p:spPr>
          <a:xfrm>
            <a:off x="8512627" y="4280328"/>
            <a:ext cx="1367973" cy="1367973"/>
          </a:xfrm>
          <a:prstGeom prst="ellipse">
            <a:avLst/>
          </a:prstGeom>
          <a:solidFill>
            <a:srgbClr val="FFFFFF"/>
          </a:solidFill>
          <a:ln w="38100">
            <a:gradFill flip="none" rotWithShape="1">
              <a:gsLst>
                <a:gs pos="0">
                  <a:schemeClr val="accent1">
                    <a:lumMod val="75000"/>
                  </a:schemeClr>
                </a:gs>
                <a:gs pos="100000">
                  <a:schemeClr val="accent1">
                    <a:lumMod val="60000"/>
                    <a:lumOff val="4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200" rtl="0" eaLnBrk="1" fontAlgn="auto" latinLnBrk="0" hangingPunct="1">
              <a:lnSpc>
                <a:spcPct val="95000"/>
              </a:lnSpc>
              <a:spcBef>
                <a:spcPts val="0"/>
              </a:spcBef>
              <a:spcAft>
                <a:spcPts val="0"/>
              </a:spcAft>
              <a:buClrTx/>
              <a:buSzTx/>
              <a:buFontTx/>
              <a:buNone/>
              <a:defRPr/>
            </a:pPr>
            <a:endParaRPr kumimoji="0" lang="zh-CN" altLang="en-US" sz="2400" b="0" i="0" u="none" strike="noStrike" kern="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 name="Rectangle 3"/>
          <p:cNvSpPr/>
          <p:nvPr/>
        </p:nvSpPr>
        <p:spPr>
          <a:xfrm>
            <a:off x="559397" y="826654"/>
            <a:ext cx="9585264" cy="857081"/>
          </a:xfrm>
          <a:prstGeom prst="homePlate">
            <a:avLst>
              <a:gd name="adj" fmla="val 24458"/>
            </a:avLst>
          </a:prstGeom>
          <a:solidFill>
            <a:srgbClr val="FFE7D7"/>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67944"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65" b="1" i="0" u="none" strike="noStrike" kern="1200" cap="none" spc="0" normalizeH="0" baseline="0" noProof="0" dirty="0">
              <a:ln>
                <a:noFill/>
              </a:ln>
              <a:solidFill>
                <a:srgbClr val="FE8637">
                  <a:lumMod val="50000"/>
                </a:srgbClr>
              </a:solidFill>
              <a:effectLst/>
              <a:uLnTx/>
              <a:uFillTx/>
              <a:latin typeface="Arial" panose="020B0604020202020204"/>
              <a:ea typeface="华文楷体" panose="02010600040101010101" charset="-122"/>
              <a:cs typeface="+mn-ea"/>
              <a:sym typeface="+mn-lt"/>
            </a:endParaRPr>
          </a:p>
        </p:txBody>
      </p:sp>
      <p:sp>
        <p:nvSpPr>
          <p:cNvPr id="14" name="Rectangle 3"/>
          <p:cNvSpPr/>
          <p:nvPr/>
        </p:nvSpPr>
        <p:spPr>
          <a:xfrm>
            <a:off x="559397" y="1931059"/>
            <a:ext cx="9585264" cy="927320"/>
          </a:xfrm>
          <a:prstGeom prst="homePlate">
            <a:avLst>
              <a:gd name="adj" fmla="val 24458"/>
            </a:avLst>
          </a:prstGeom>
          <a:solidFill>
            <a:srgbClr val="FFE7D7"/>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67944"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65" b="1" i="0" u="none" strike="noStrike" kern="1200" cap="none" spc="0" normalizeH="0" baseline="0" noProof="0" dirty="0">
              <a:ln>
                <a:noFill/>
              </a:ln>
              <a:solidFill>
                <a:srgbClr val="FE8637">
                  <a:lumMod val="50000"/>
                </a:srgbClr>
              </a:solidFill>
              <a:effectLst/>
              <a:uLnTx/>
              <a:uFillTx/>
              <a:latin typeface="Arial" panose="020B0604020202020204"/>
              <a:ea typeface="华文楷体" panose="02010600040101010101" charset="-122"/>
              <a:cs typeface="+mn-ea"/>
              <a:sym typeface="+mn-lt"/>
            </a:endParaRPr>
          </a:p>
        </p:txBody>
      </p:sp>
      <p:sp>
        <p:nvSpPr>
          <p:cNvPr id="15" name="Rectangle 3"/>
          <p:cNvSpPr/>
          <p:nvPr/>
        </p:nvSpPr>
        <p:spPr>
          <a:xfrm>
            <a:off x="559397" y="3094263"/>
            <a:ext cx="9585264" cy="927320"/>
          </a:xfrm>
          <a:prstGeom prst="homePlate">
            <a:avLst>
              <a:gd name="adj" fmla="val 24458"/>
            </a:avLst>
          </a:prstGeom>
          <a:solidFill>
            <a:srgbClr val="FFE7D7"/>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67944"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665" b="1" i="0" u="none" strike="noStrike" kern="1200" cap="none" spc="0" normalizeH="0" baseline="0" noProof="0" dirty="0">
                <a:ln>
                  <a:noFill/>
                </a:ln>
                <a:solidFill>
                  <a:srgbClr val="FE8637">
                    <a:lumMod val="50000"/>
                  </a:srgbClr>
                </a:solidFill>
                <a:effectLst/>
                <a:uLnTx/>
                <a:uFillTx/>
                <a:latin typeface="Arial" panose="020B0604020202020204"/>
                <a:ea typeface="华文楷体" panose="02010600040101010101" charset="-122"/>
                <a:cs typeface="+mn-ea"/>
                <a:sym typeface="+mn-lt"/>
              </a:rPr>
              <a:t>行业</a:t>
            </a:r>
            <a:endParaRPr kumimoji="0" lang="en-US" sz="2665" b="1" i="0" u="none" strike="noStrike" kern="1200" cap="none" spc="0" normalizeH="0" baseline="0" noProof="0" dirty="0">
              <a:ln>
                <a:noFill/>
              </a:ln>
              <a:solidFill>
                <a:srgbClr val="FE8637">
                  <a:lumMod val="50000"/>
                </a:srgbClr>
              </a:solidFill>
              <a:effectLst/>
              <a:uLnTx/>
              <a:uFillTx/>
              <a:latin typeface="Arial" panose="020B0604020202020204"/>
              <a:ea typeface="华文楷体" panose="02010600040101010101" charset="-122"/>
              <a:cs typeface="+mn-ea"/>
              <a:sym typeface="+mn-lt"/>
            </a:endParaRPr>
          </a:p>
        </p:txBody>
      </p:sp>
      <p:grpSp>
        <p:nvGrpSpPr>
          <p:cNvPr id="90" name="组合 89"/>
          <p:cNvGrpSpPr/>
          <p:nvPr/>
        </p:nvGrpSpPr>
        <p:grpSpPr>
          <a:xfrm rot="5400000" flipH="1">
            <a:off x="3184106" y="1602770"/>
            <a:ext cx="406385" cy="460917"/>
            <a:chOff x="2368357" y="-791737"/>
            <a:chExt cx="307936" cy="345688"/>
          </a:xfrm>
        </p:grpSpPr>
        <p:sp>
          <p:nvSpPr>
            <p:cNvPr id="91" name="燕尾形 90"/>
            <p:cNvSpPr/>
            <p:nvPr/>
          </p:nvSpPr>
          <p:spPr>
            <a:xfrm>
              <a:off x="2475571" y="-791737"/>
              <a:ext cx="200722" cy="345688"/>
            </a:xfrm>
            <a:prstGeom prst="chevron">
              <a:avLst>
                <a:gd name="adj" fmla="val 342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 name="燕尾形 91"/>
            <p:cNvSpPr/>
            <p:nvPr/>
          </p:nvSpPr>
          <p:spPr>
            <a:xfrm>
              <a:off x="2368357" y="-723149"/>
              <a:ext cx="121072" cy="208512"/>
            </a:xfrm>
            <a:prstGeom prst="chevron">
              <a:avLst>
                <a:gd name="adj" fmla="val 342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93" name="组合 92"/>
          <p:cNvGrpSpPr/>
          <p:nvPr/>
        </p:nvGrpSpPr>
        <p:grpSpPr>
          <a:xfrm rot="5400000" flipH="1">
            <a:off x="6794834" y="1602770"/>
            <a:ext cx="406385" cy="460917"/>
            <a:chOff x="2368357" y="-791737"/>
            <a:chExt cx="307936" cy="345688"/>
          </a:xfrm>
        </p:grpSpPr>
        <p:sp>
          <p:nvSpPr>
            <p:cNvPr id="94" name="燕尾形 93"/>
            <p:cNvSpPr/>
            <p:nvPr/>
          </p:nvSpPr>
          <p:spPr>
            <a:xfrm>
              <a:off x="2475571" y="-791737"/>
              <a:ext cx="200722" cy="345688"/>
            </a:xfrm>
            <a:prstGeom prst="chevron">
              <a:avLst>
                <a:gd name="adj" fmla="val 342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 name="燕尾形 94"/>
            <p:cNvSpPr/>
            <p:nvPr/>
          </p:nvSpPr>
          <p:spPr>
            <a:xfrm>
              <a:off x="2368357" y="-723149"/>
              <a:ext cx="121072" cy="208512"/>
            </a:xfrm>
            <a:prstGeom prst="chevron">
              <a:avLst>
                <a:gd name="adj" fmla="val 342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cxnSp>
        <p:nvCxnSpPr>
          <p:cNvPr id="99" name="直接箭头连接符 98"/>
          <p:cNvCxnSpPr/>
          <p:nvPr/>
        </p:nvCxnSpPr>
        <p:spPr>
          <a:xfrm flipH="1">
            <a:off x="3951141" y="3550346"/>
            <a:ext cx="613203"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0" name="直接箭头连接符 99"/>
          <p:cNvCxnSpPr/>
          <p:nvPr/>
        </p:nvCxnSpPr>
        <p:spPr>
          <a:xfrm>
            <a:off x="6124508" y="3554821"/>
            <a:ext cx="559096"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06" name="矩形 105"/>
          <p:cNvSpPr/>
          <p:nvPr/>
        </p:nvSpPr>
        <p:spPr>
          <a:xfrm>
            <a:off x="10280554" y="3361861"/>
            <a:ext cx="118573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FE8637">
                    <a:lumMod val="50000"/>
                  </a:srgbClr>
                </a:solidFill>
                <a:effectLst/>
                <a:uLnTx/>
                <a:uFillTx/>
                <a:latin typeface="Arial" panose="020B0604020202020204"/>
                <a:ea typeface="华文楷体" panose="02010600040101010101" charset="-122"/>
                <a:cs typeface="+mn-ea"/>
                <a:sym typeface="+mn-lt"/>
              </a:rPr>
              <a:t>资金流</a:t>
            </a:r>
            <a:endParaRPr kumimoji="0" lang="en-US" altLang="zh-CN" sz="2400" b="1" i="0" u="none" strike="noStrike" kern="1200" cap="none" spc="0" normalizeH="0" baseline="0" noProof="0" dirty="0">
              <a:ln>
                <a:noFill/>
              </a:ln>
              <a:solidFill>
                <a:srgbClr val="FE8637">
                  <a:lumMod val="50000"/>
                </a:srgbClr>
              </a:solidFill>
              <a:effectLst/>
              <a:uLnTx/>
              <a:uFillTx/>
              <a:latin typeface="Arial" panose="020B0604020202020204"/>
              <a:ea typeface="华文楷体" panose="02010600040101010101" charset="-122"/>
              <a:cs typeface="+mn-ea"/>
              <a:sym typeface="+mn-lt"/>
            </a:endParaRPr>
          </a:p>
        </p:txBody>
      </p:sp>
      <p:sp>
        <p:nvSpPr>
          <p:cNvPr id="107" name="矩形 106"/>
          <p:cNvSpPr/>
          <p:nvPr/>
        </p:nvSpPr>
        <p:spPr>
          <a:xfrm>
            <a:off x="10280554" y="1031938"/>
            <a:ext cx="118573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FE8637">
                    <a:lumMod val="50000"/>
                  </a:srgbClr>
                </a:solidFill>
                <a:effectLst/>
                <a:uLnTx/>
                <a:uFillTx/>
                <a:latin typeface="Arial" panose="020B0604020202020204"/>
                <a:ea typeface="华文楷体" panose="02010600040101010101" charset="-122"/>
                <a:cs typeface="+mn-ea"/>
                <a:sym typeface="+mn-lt"/>
              </a:rPr>
              <a:t>物流</a:t>
            </a:r>
            <a:endParaRPr kumimoji="0" lang="en-US" altLang="zh-CN" sz="2400" b="1" i="0" u="none" strike="noStrike" kern="1200" cap="none" spc="0" normalizeH="0" baseline="0" noProof="0" dirty="0">
              <a:ln>
                <a:noFill/>
              </a:ln>
              <a:solidFill>
                <a:srgbClr val="FE8637">
                  <a:lumMod val="50000"/>
                </a:srgbClr>
              </a:solidFill>
              <a:effectLst/>
              <a:uLnTx/>
              <a:uFillTx/>
              <a:latin typeface="Arial" panose="020B0604020202020204"/>
              <a:ea typeface="华文楷体" panose="02010600040101010101" charset="-122"/>
              <a:cs typeface="+mn-ea"/>
              <a:sym typeface="+mn-lt"/>
            </a:endParaRPr>
          </a:p>
        </p:txBody>
      </p:sp>
      <p:sp>
        <p:nvSpPr>
          <p:cNvPr id="108" name="矩形 107"/>
          <p:cNvSpPr/>
          <p:nvPr/>
        </p:nvSpPr>
        <p:spPr>
          <a:xfrm>
            <a:off x="10280554" y="2160236"/>
            <a:ext cx="118573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FE8637">
                    <a:lumMod val="50000"/>
                  </a:srgbClr>
                </a:solidFill>
                <a:effectLst/>
                <a:uLnTx/>
                <a:uFillTx/>
                <a:latin typeface="Arial" panose="020B0604020202020204"/>
                <a:ea typeface="华文楷体" panose="02010600040101010101" charset="-122"/>
                <a:cs typeface="+mn-ea"/>
                <a:sym typeface="+mn-lt"/>
              </a:rPr>
              <a:t>信息流</a:t>
            </a:r>
            <a:endParaRPr kumimoji="0" lang="en-US" altLang="zh-CN" sz="2400" b="1" i="0" u="none" strike="noStrike" kern="1200" cap="none" spc="0" normalizeH="0" baseline="0" noProof="0" dirty="0">
              <a:ln>
                <a:noFill/>
              </a:ln>
              <a:solidFill>
                <a:srgbClr val="FE8637">
                  <a:lumMod val="50000"/>
                </a:srgbClr>
              </a:solidFill>
              <a:effectLst/>
              <a:uLnTx/>
              <a:uFillTx/>
              <a:latin typeface="Arial" panose="020B0604020202020204"/>
              <a:ea typeface="华文楷体" panose="02010600040101010101" charset="-122"/>
              <a:cs typeface="+mn-ea"/>
              <a:sym typeface="+mn-lt"/>
            </a:endParaRPr>
          </a:p>
        </p:txBody>
      </p:sp>
      <p:sp>
        <p:nvSpPr>
          <p:cNvPr id="151" name="稻壳儿小白白(http://dwz.cn/Wu2UP)"/>
          <p:cNvSpPr>
            <a:spLocks noEditPoints="1"/>
          </p:cNvSpPr>
          <p:nvPr/>
        </p:nvSpPr>
        <p:spPr bwMode="auto">
          <a:xfrm>
            <a:off x="3126799" y="5704362"/>
            <a:ext cx="722816" cy="508181"/>
          </a:xfrm>
          <a:custGeom>
            <a:avLst/>
            <a:gdLst>
              <a:gd name="T0" fmla="*/ 2147483646 w 54"/>
              <a:gd name="T1" fmla="*/ 1221443547 h 38"/>
              <a:gd name="T2" fmla="*/ 1994168749 w 54"/>
              <a:gd name="T3" fmla="*/ 1719071436 h 38"/>
              <a:gd name="T4" fmla="*/ 1948847803 w 54"/>
              <a:gd name="T5" fmla="*/ 1719071436 h 38"/>
              <a:gd name="T6" fmla="*/ 498543870 w 54"/>
              <a:gd name="T7" fmla="*/ 1719071436 h 38"/>
              <a:gd name="T8" fmla="*/ 498543870 w 54"/>
              <a:gd name="T9" fmla="*/ 1719071436 h 38"/>
              <a:gd name="T10" fmla="*/ 498543870 w 54"/>
              <a:gd name="T11" fmla="*/ 1719071436 h 38"/>
              <a:gd name="T12" fmla="*/ 453222924 w 54"/>
              <a:gd name="T13" fmla="*/ 1719071436 h 38"/>
              <a:gd name="T14" fmla="*/ 0 w 54"/>
              <a:gd name="T15" fmla="*/ 1221443547 h 38"/>
              <a:gd name="T16" fmla="*/ 226611462 w 54"/>
              <a:gd name="T17" fmla="*/ 814300182 h 38"/>
              <a:gd name="T18" fmla="*/ 226611462 w 54"/>
              <a:gd name="T19" fmla="*/ 723822384 h 38"/>
              <a:gd name="T20" fmla="*/ 543864816 w 54"/>
              <a:gd name="T21" fmla="*/ 361911192 h 38"/>
              <a:gd name="T22" fmla="*/ 770476279 w 54"/>
              <a:gd name="T23" fmla="*/ 452388990 h 38"/>
              <a:gd name="T24" fmla="*/ 1404982987 w 54"/>
              <a:gd name="T25" fmla="*/ 0 h 38"/>
              <a:gd name="T26" fmla="*/ 2147483646 w 54"/>
              <a:gd name="T27" fmla="*/ 769061283 h 38"/>
              <a:gd name="T28" fmla="*/ 2147483646 w 54"/>
              <a:gd name="T29" fmla="*/ 814300182 h 38"/>
              <a:gd name="T30" fmla="*/ 2147483646 w 54"/>
              <a:gd name="T31" fmla="*/ 1221443547 h 38"/>
              <a:gd name="T32" fmla="*/ 906439117 w 54"/>
              <a:gd name="T33" fmla="*/ 1447638042 h 38"/>
              <a:gd name="T34" fmla="*/ 1178371525 w 54"/>
              <a:gd name="T35" fmla="*/ 1311921345 h 38"/>
              <a:gd name="T36" fmla="*/ 1087729633 w 54"/>
              <a:gd name="T37" fmla="*/ 1176204648 h 38"/>
              <a:gd name="T38" fmla="*/ 906439117 w 54"/>
              <a:gd name="T39" fmla="*/ 1266682446 h 38"/>
              <a:gd name="T40" fmla="*/ 725155333 w 54"/>
              <a:gd name="T41" fmla="*/ 1130965749 h 38"/>
              <a:gd name="T42" fmla="*/ 906439117 w 54"/>
              <a:gd name="T43" fmla="*/ 950010153 h 38"/>
              <a:gd name="T44" fmla="*/ 1631594449 w 54"/>
              <a:gd name="T45" fmla="*/ 1447638042 h 38"/>
              <a:gd name="T46" fmla="*/ 1948847803 w 54"/>
              <a:gd name="T47" fmla="*/ 1130965749 h 38"/>
              <a:gd name="T48" fmla="*/ 1631594449 w 54"/>
              <a:gd name="T49" fmla="*/ 814300182 h 38"/>
              <a:gd name="T50" fmla="*/ 1314341095 w 54"/>
              <a:gd name="T51" fmla="*/ 904771254 h 38"/>
              <a:gd name="T52" fmla="*/ 1450303933 w 54"/>
              <a:gd name="T53" fmla="*/ 1040487951 h 38"/>
              <a:gd name="T54" fmla="*/ 1586273503 w 54"/>
              <a:gd name="T55" fmla="*/ 950010153 h 38"/>
              <a:gd name="T56" fmla="*/ 1767564019 w 54"/>
              <a:gd name="T57" fmla="*/ 1130965749 h 38"/>
              <a:gd name="T58" fmla="*/ 1586273503 w 54"/>
              <a:gd name="T59" fmla="*/ 1266682446 h 38"/>
              <a:gd name="T60" fmla="*/ 906439117 w 54"/>
              <a:gd name="T61" fmla="*/ 814300182 h 38"/>
              <a:gd name="T62" fmla="*/ 543864816 w 54"/>
              <a:gd name="T63" fmla="*/ 1130965749 h 38"/>
              <a:gd name="T64" fmla="*/ 906439117 w 54"/>
              <a:gd name="T65" fmla="*/ 1447638042 h 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4" h="38">
                <a:moveTo>
                  <a:pt x="54" y="27"/>
                </a:moveTo>
                <a:cubicBezTo>
                  <a:pt x="54" y="33"/>
                  <a:pt x="50" y="38"/>
                  <a:pt x="44" y="38"/>
                </a:cubicBezTo>
                <a:cubicBezTo>
                  <a:pt x="43" y="38"/>
                  <a:pt x="43" y="38"/>
                  <a:pt x="43" y="38"/>
                </a:cubicBezTo>
                <a:cubicBezTo>
                  <a:pt x="11" y="38"/>
                  <a:pt x="11" y="38"/>
                  <a:pt x="11" y="38"/>
                </a:cubicBezTo>
                <a:cubicBezTo>
                  <a:pt x="11" y="38"/>
                  <a:pt x="11" y="38"/>
                  <a:pt x="11" y="38"/>
                </a:cubicBezTo>
                <a:cubicBezTo>
                  <a:pt x="11" y="38"/>
                  <a:pt x="11" y="38"/>
                  <a:pt x="11" y="38"/>
                </a:cubicBezTo>
                <a:cubicBezTo>
                  <a:pt x="10" y="38"/>
                  <a:pt x="10" y="38"/>
                  <a:pt x="10" y="38"/>
                </a:cubicBezTo>
                <a:cubicBezTo>
                  <a:pt x="4" y="38"/>
                  <a:pt x="0" y="33"/>
                  <a:pt x="0" y="27"/>
                </a:cubicBezTo>
                <a:cubicBezTo>
                  <a:pt x="0" y="23"/>
                  <a:pt x="2" y="20"/>
                  <a:pt x="5" y="18"/>
                </a:cubicBezTo>
                <a:cubicBezTo>
                  <a:pt x="5" y="17"/>
                  <a:pt x="5" y="16"/>
                  <a:pt x="5" y="16"/>
                </a:cubicBezTo>
                <a:cubicBezTo>
                  <a:pt x="5" y="11"/>
                  <a:pt x="8" y="8"/>
                  <a:pt x="12" y="8"/>
                </a:cubicBezTo>
                <a:cubicBezTo>
                  <a:pt x="14" y="8"/>
                  <a:pt x="15" y="9"/>
                  <a:pt x="17" y="10"/>
                </a:cubicBezTo>
                <a:cubicBezTo>
                  <a:pt x="19" y="4"/>
                  <a:pt x="25" y="0"/>
                  <a:pt x="31" y="0"/>
                </a:cubicBezTo>
                <a:cubicBezTo>
                  <a:pt x="40" y="0"/>
                  <a:pt x="48" y="8"/>
                  <a:pt x="48" y="17"/>
                </a:cubicBezTo>
                <a:cubicBezTo>
                  <a:pt x="48" y="17"/>
                  <a:pt x="48" y="17"/>
                  <a:pt x="48" y="18"/>
                </a:cubicBezTo>
                <a:cubicBezTo>
                  <a:pt x="52" y="19"/>
                  <a:pt x="54" y="23"/>
                  <a:pt x="54" y="27"/>
                </a:cubicBezTo>
                <a:close/>
                <a:moveTo>
                  <a:pt x="20" y="32"/>
                </a:moveTo>
                <a:cubicBezTo>
                  <a:pt x="23" y="32"/>
                  <a:pt x="24" y="31"/>
                  <a:pt x="26" y="29"/>
                </a:cubicBezTo>
                <a:cubicBezTo>
                  <a:pt x="26" y="28"/>
                  <a:pt x="25" y="27"/>
                  <a:pt x="24" y="26"/>
                </a:cubicBezTo>
                <a:cubicBezTo>
                  <a:pt x="23" y="27"/>
                  <a:pt x="22" y="28"/>
                  <a:pt x="20" y="28"/>
                </a:cubicBezTo>
                <a:cubicBezTo>
                  <a:pt x="18" y="28"/>
                  <a:pt x="16" y="27"/>
                  <a:pt x="16" y="25"/>
                </a:cubicBezTo>
                <a:cubicBezTo>
                  <a:pt x="16" y="23"/>
                  <a:pt x="18" y="21"/>
                  <a:pt x="20" y="21"/>
                </a:cubicBezTo>
                <a:cubicBezTo>
                  <a:pt x="26" y="21"/>
                  <a:pt x="27" y="32"/>
                  <a:pt x="36" y="32"/>
                </a:cubicBezTo>
                <a:cubicBezTo>
                  <a:pt x="40" y="32"/>
                  <a:pt x="43" y="29"/>
                  <a:pt x="43" y="25"/>
                </a:cubicBezTo>
                <a:cubicBezTo>
                  <a:pt x="43" y="20"/>
                  <a:pt x="40" y="18"/>
                  <a:pt x="36" y="18"/>
                </a:cubicBezTo>
                <a:cubicBezTo>
                  <a:pt x="33" y="18"/>
                  <a:pt x="31" y="18"/>
                  <a:pt x="29" y="20"/>
                </a:cubicBezTo>
                <a:cubicBezTo>
                  <a:pt x="30" y="21"/>
                  <a:pt x="31" y="22"/>
                  <a:pt x="32" y="23"/>
                </a:cubicBezTo>
                <a:cubicBezTo>
                  <a:pt x="33" y="22"/>
                  <a:pt x="34" y="21"/>
                  <a:pt x="35" y="21"/>
                </a:cubicBezTo>
                <a:cubicBezTo>
                  <a:pt x="37" y="21"/>
                  <a:pt x="39" y="23"/>
                  <a:pt x="39" y="25"/>
                </a:cubicBezTo>
                <a:cubicBezTo>
                  <a:pt x="39" y="27"/>
                  <a:pt x="37" y="28"/>
                  <a:pt x="35" y="28"/>
                </a:cubicBezTo>
                <a:cubicBezTo>
                  <a:pt x="30" y="28"/>
                  <a:pt x="28" y="18"/>
                  <a:pt x="20" y="18"/>
                </a:cubicBezTo>
                <a:cubicBezTo>
                  <a:pt x="16" y="18"/>
                  <a:pt x="12" y="20"/>
                  <a:pt x="12" y="25"/>
                </a:cubicBezTo>
                <a:cubicBezTo>
                  <a:pt x="12" y="29"/>
                  <a:pt x="16" y="32"/>
                  <a:pt x="20" y="32"/>
                </a:cubicBezTo>
                <a:close/>
              </a:path>
            </a:pathLst>
          </a:custGeom>
          <a:solidFill>
            <a:schemeClr val="accent1">
              <a:lumMod val="50000"/>
            </a:schemeClr>
          </a:solidFill>
          <a:ln>
            <a:noFill/>
          </a:ln>
        </p:spPr>
        <p:txBody>
          <a:bodyPr lIns="162560" tIns="81280" rIns="162560" bIns="81280"/>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nvGrpSpPr>
          <p:cNvPr id="69" name="组合 68"/>
          <p:cNvGrpSpPr/>
          <p:nvPr/>
        </p:nvGrpSpPr>
        <p:grpSpPr>
          <a:xfrm rot="5400000" flipH="1">
            <a:off x="3184106" y="2752430"/>
            <a:ext cx="406385" cy="460917"/>
            <a:chOff x="2368357" y="-791737"/>
            <a:chExt cx="307936" cy="345688"/>
          </a:xfrm>
        </p:grpSpPr>
        <p:sp>
          <p:nvSpPr>
            <p:cNvPr id="70" name="燕尾形 69"/>
            <p:cNvSpPr/>
            <p:nvPr/>
          </p:nvSpPr>
          <p:spPr>
            <a:xfrm>
              <a:off x="2475571" y="-791737"/>
              <a:ext cx="200722" cy="345688"/>
            </a:xfrm>
            <a:prstGeom prst="chevron">
              <a:avLst>
                <a:gd name="adj" fmla="val 342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 name="燕尾形 70"/>
            <p:cNvSpPr/>
            <p:nvPr/>
          </p:nvSpPr>
          <p:spPr>
            <a:xfrm>
              <a:off x="2368357" y="-723149"/>
              <a:ext cx="121072" cy="208512"/>
            </a:xfrm>
            <a:prstGeom prst="chevron">
              <a:avLst>
                <a:gd name="adj" fmla="val 342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72" name="组合 71"/>
          <p:cNvGrpSpPr/>
          <p:nvPr/>
        </p:nvGrpSpPr>
        <p:grpSpPr>
          <a:xfrm rot="5400000" flipH="1">
            <a:off x="6794834" y="2752430"/>
            <a:ext cx="406385" cy="460917"/>
            <a:chOff x="2368357" y="-791737"/>
            <a:chExt cx="307936" cy="345688"/>
          </a:xfrm>
        </p:grpSpPr>
        <p:sp>
          <p:nvSpPr>
            <p:cNvPr id="74" name="燕尾形 73"/>
            <p:cNvSpPr/>
            <p:nvPr/>
          </p:nvSpPr>
          <p:spPr>
            <a:xfrm>
              <a:off x="2475571" y="-791737"/>
              <a:ext cx="200722" cy="345688"/>
            </a:xfrm>
            <a:prstGeom prst="chevron">
              <a:avLst>
                <a:gd name="adj" fmla="val 342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5" name="燕尾形 74"/>
            <p:cNvSpPr/>
            <p:nvPr/>
          </p:nvSpPr>
          <p:spPr>
            <a:xfrm>
              <a:off x="2368357" y="-723149"/>
              <a:ext cx="121072" cy="208512"/>
            </a:xfrm>
            <a:prstGeom prst="chevron">
              <a:avLst>
                <a:gd name="adj" fmla="val 342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76" name="组合 75"/>
          <p:cNvGrpSpPr/>
          <p:nvPr/>
        </p:nvGrpSpPr>
        <p:grpSpPr>
          <a:xfrm rot="5400000" flipH="1">
            <a:off x="3184106" y="4073241"/>
            <a:ext cx="406385" cy="460917"/>
            <a:chOff x="2368357" y="-791737"/>
            <a:chExt cx="307936" cy="345688"/>
          </a:xfrm>
        </p:grpSpPr>
        <p:sp>
          <p:nvSpPr>
            <p:cNvPr id="77" name="燕尾形 76"/>
            <p:cNvSpPr/>
            <p:nvPr/>
          </p:nvSpPr>
          <p:spPr>
            <a:xfrm>
              <a:off x="2475571" y="-791737"/>
              <a:ext cx="200722" cy="345688"/>
            </a:xfrm>
            <a:prstGeom prst="chevron">
              <a:avLst>
                <a:gd name="adj" fmla="val 342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 name="燕尾形 80"/>
            <p:cNvSpPr/>
            <p:nvPr/>
          </p:nvSpPr>
          <p:spPr>
            <a:xfrm>
              <a:off x="2368357" y="-723149"/>
              <a:ext cx="121072" cy="208512"/>
            </a:xfrm>
            <a:prstGeom prst="chevron">
              <a:avLst>
                <a:gd name="adj" fmla="val 342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82" name="组合 81"/>
          <p:cNvGrpSpPr/>
          <p:nvPr/>
        </p:nvGrpSpPr>
        <p:grpSpPr>
          <a:xfrm rot="5400000" flipH="1">
            <a:off x="6794834" y="4073241"/>
            <a:ext cx="406385" cy="460917"/>
            <a:chOff x="2368357" y="-791737"/>
            <a:chExt cx="307936" cy="345688"/>
          </a:xfrm>
        </p:grpSpPr>
        <p:sp>
          <p:nvSpPr>
            <p:cNvPr id="83" name="燕尾形 82"/>
            <p:cNvSpPr/>
            <p:nvPr/>
          </p:nvSpPr>
          <p:spPr>
            <a:xfrm>
              <a:off x="2475571" y="-791737"/>
              <a:ext cx="200722" cy="345688"/>
            </a:xfrm>
            <a:prstGeom prst="chevron">
              <a:avLst>
                <a:gd name="adj" fmla="val 3428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 name="燕尾形 95"/>
            <p:cNvSpPr/>
            <p:nvPr/>
          </p:nvSpPr>
          <p:spPr>
            <a:xfrm>
              <a:off x="2368357" y="-723149"/>
              <a:ext cx="121072" cy="208512"/>
            </a:xfrm>
            <a:prstGeom prst="chevron">
              <a:avLst>
                <a:gd name="adj" fmla="val 342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78" name="Rectangle 3"/>
          <p:cNvSpPr/>
          <p:nvPr/>
        </p:nvSpPr>
        <p:spPr>
          <a:xfrm>
            <a:off x="4969332" y="4879773"/>
            <a:ext cx="859969" cy="6976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65" b="1"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a:t>
            </a:r>
            <a:endParaRPr kumimoji="0" lang="zh-CN" altLang="en-US" sz="186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cxnSp>
        <p:nvCxnSpPr>
          <p:cNvPr id="79" name="直接箭头连接符 78"/>
          <p:cNvCxnSpPr/>
          <p:nvPr/>
        </p:nvCxnSpPr>
        <p:spPr>
          <a:xfrm flipH="1">
            <a:off x="2096709" y="4996923"/>
            <a:ext cx="242449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0" name="直接箭头连接符 79"/>
          <p:cNvCxnSpPr/>
          <p:nvPr/>
        </p:nvCxnSpPr>
        <p:spPr>
          <a:xfrm>
            <a:off x="6286500" y="4999986"/>
            <a:ext cx="2186755"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86" name="矩形 85"/>
          <p:cNvSpPr/>
          <p:nvPr/>
        </p:nvSpPr>
        <p:spPr>
          <a:xfrm>
            <a:off x="8701855" y="4854373"/>
            <a:ext cx="1013645" cy="697627"/>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65" b="1"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a:t>
            </a:r>
            <a:endParaRPr kumimoji="0" lang="en-US" altLang="zh-CN" sz="186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grpSp>
        <p:nvGrpSpPr>
          <p:cNvPr id="12" name="组合 11"/>
          <p:cNvGrpSpPr/>
          <p:nvPr/>
        </p:nvGrpSpPr>
        <p:grpSpPr>
          <a:xfrm>
            <a:off x="958247" y="4455718"/>
            <a:ext cx="730852" cy="1000275"/>
            <a:chOff x="699636" y="3502032"/>
            <a:chExt cx="489398" cy="669811"/>
          </a:xfrm>
        </p:grpSpPr>
        <p:sp>
          <p:nvSpPr>
            <p:cNvPr id="84" name="矩形 83"/>
            <p:cNvSpPr/>
            <p:nvPr/>
          </p:nvSpPr>
          <p:spPr>
            <a:xfrm>
              <a:off x="699636" y="3971925"/>
              <a:ext cx="489398" cy="199918"/>
            </a:xfrm>
            <a:prstGeom prst="rect">
              <a:avLst/>
            </a:prstGeom>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65" b="1"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a:t>
              </a:r>
              <a:endParaRPr kumimoji="0" lang="en-US" altLang="zh-CN" sz="186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102" name="Freeform 25"/>
            <p:cNvSpPr>
              <a:spLocks noEditPoints="1"/>
            </p:cNvSpPr>
            <p:nvPr/>
          </p:nvSpPr>
          <p:spPr bwMode="auto">
            <a:xfrm>
              <a:off x="738315" y="3502032"/>
              <a:ext cx="412040" cy="390240"/>
            </a:xfrm>
            <a:custGeom>
              <a:avLst/>
              <a:gdLst>
                <a:gd name="T0" fmla="*/ 221 w 234"/>
                <a:gd name="T1" fmla="*/ 230 h 230"/>
                <a:gd name="T2" fmla="*/ 13 w 234"/>
                <a:gd name="T3" fmla="*/ 230 h 230"/>
                <a:gd name="T4" fmla="*/ 13 w 234"/>
                <a:gd name="T5" fmla="*/ 211 h 230"/>
                <a:gd name="T6" fmla="*/ 221 w 234"/>
                <a:gd name="T7" fmla="*/ 211 h 230"/>
                <a:gd name="T8" fmla="*/ 221 w 234"/>
                <a:gd name="T9" fmla="*/ 230 h 230"/>
                <a:gd name="T10" fmla="*/ 117 w 234"/>
                <a:gd name="T11" fmla="*/ 0 h 230"/>
                <a:gd name="T12" fmla="*/ 0 w 234"/>
                <a:gd name="T13" fmla="*/ 83 h 230"/>
                <a:gd name="T14" fmla="*/ 21 w 234"/>
                <a:gd name="T15" fmla="*/ 83 h 230"/>
                <a:gd name="T16" fmla="*/ 117 w 234"/>
                <a:gd name="T17" fmla="*/ 16 h 230"/>
                <a:gd name="T18" fmla="*/ 213 w 234"/>
                <a:gd name="T19" fmla="*/ 83 h 230"/>
                <a:gd name="T20" fmla="*/ 234 w 234"/>
                <a:gd name="T21" fmla="*/ 83 h 230"/>
                <a:gd name="T22" fmla="*/ 117 w 234"/>
                <a:gd name="T23" fmla="*/ 0 h 230"/>
                <a:gd name="T24" fmla="*/ 128 w 234"/>
                <a:gd name="T25" fmla="*/ 177 h 230"/>
                <a:gd name="T26" fmla="*/ 128 w 234"/>
                <a:gd name="T27" fmla="*/ 98 h 230"/>
                <a:gd name="T28" fmla="*/ 137 w 234"/>
                <a:gd name="T29" fmla="*/ 90 h 230"/>
                <a:gd name="T30" fmla="*/ 98 w 234"/>
                <a:gd name="T31" fmla="*/ 90 h 230"/>
                <a:gd name="T32" fmla="*/ 106 w 234"/>
                <a:gd name="T33" fmla="*/ 98 h 230"/>
                <a:gd name="T34" fmla="*/ 106 w 234"/>
                <a:gd name="T35" fmla="*/ 177 h 230"/>
                <a:gd name="T36" fmla="*/ 98 w 234"/>
                <a:gd name="T37" fmla="*/ 186 h 230"/>
                <a:gd name="T38" fmla="*/ 137 w 234"/>
                <a:gd name="T39" fmla="*/ 186 h 230"/>
                <a:gd name="T40" fmla="*/ 128 w 234"/>
                <a:gd name="T41" fmla="*/ 177 h 230"/>
                <a:gd name="T42" fmla="*/ 71 w 234"/>
                <a:gd name="T43" fmla="*/ 177 h 230"/>
                <a:gd name="T44" fmla="*/ 71 w 234"/>
                <a:gd name="T45" fmla="*/ 98 h 230"/>
                <a:gd name="T46" fmla="*/ 79 w 234"/>
                <a:gd name="T47" fmla="*/ 90 h 230"/>
                <a:gd name="T48" fmla="*/ 40 w 234"/>
                <a:gd name="T49" fmla="*/ 90 h 230"/>
                <a:gd name="T50" fmla="*/ 48 w 234"/>
                <a:gd name="T51" fmla="*/ 98 h 230"/>
                <a:gd name="T52" fmla="*/ 48 w 234"/>
                <a:gd name="T53" fmla="*/ 177 h 230"/>
                <a:gd name="T54" fmla="*/ 40 w 234"/>
                <a:gd name="T55" fmla="*/ 186 h 230"/>
                <a:gd name="T56" fmla="*/ 79 w 234"/>
                <a:gd name="T57" fmla="*/ 186 h 230"/>
                <a:gd name="T58" fmla="*/ 71 w 234"/>
                <a:gd name="T59" fmla="*/ 177 h 230"/>
                <a:gd name="T60" fmla="*/ 186 w 234"/>
                <a:gd name="T61" fmla="*/ 177 h 230"/>
                <a:gd name="T62" fmla="*/ 186 w 234"/>
                <a:gd name="T63" fmla="*/ 98 h 230"/>
                <a:gd name="T64" fmla="*/ 194 w 234"/>
                <a:gd name="T65" fmla="*/ 90 h 230"/>
                <a:gd name="T66" fmla="*/ 155 w 234"/>
                <a:gd name="T67" fmla="*/ 90 h 230"/>
                <a:gd name="T68" fmla="*/ 163 w 234"/>
                <a:gd name="T69" fmla="*/ 98 h 230"/>
                <a:gd name="T70" fmla="*/ 163 w 234"/>
                <a:gd name="T71" fmla="*/ 177 h 230"/>
                <a:gd name="T72" fmla="*/ 155 w 234"/>
                <a:gd name="T73" fmla="*/ 186 h 230"/>
                <a:gd name="T74" fmla="*/ 194 w 234"/>
                <a:gd name="T75" fmla="*/ 186 h 230"/>
                <a:gd name="T76" fmla="*/ 186 w 234"/>
                <a:gd name="T77" fmla="*/ 177 h 230"/>
                <a:gd name="T78" fmla="*/ 197 w 234"/>
                <a:gd name="T79" fmla="*/ 83 h 230"/>
                <a:gd name="T80" fmla="*/ 117 w 234"/>
                <a:gd name="T81" fmla="*/ 26 h 230"/>
                <a:gd name="T82" fmla="*/ 37 w 234"/>
                <a:gd name="T83" fmla="*/ 83 h 230"/>
                <a:gd name="T84" fmla="*/ 197 w 234"/>
                <a:gd name="T85" fmla="*/ 83 h 230"/>
                <a:gd name="T86" fmla="*/ 205 w 234"/>
                <a:gd name="T87" fmla="*/ 192 h 230"/>
                <a:gd name="T88" fmla="*/ 29 w 234"/>
                <a:gd name="T89" fmla="*/ 192 h 230"/>
                <a:gd name="T90" fmla="*/ 29 w 234"/>
                <a:gd name="T91" fmla="*/ 205 h 230"/>
                <a:gd name="T92" fmla="*/ 205 w 234"/>
                <a:gd name="T93" fmla="*/ 205 h 230"/>
                <a:gd name="T94" fmla="*/ 205 w 234"/>
                <a:gd name="T95" fmla="*/ 19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4" h="230">
                  <a:moveTo>
                    <a:pt x="221" y="230"/>
                  </a:moveTo>
                  <a:cubicBezTo>
                    <a:pt x="13" y="230"/>
                    <a:pt x="13" y="230"/>
                    <a:pt x="13" y="230"/>
                  </a:cubicBezTo>
                  <a:cubicBezTo>
                    <a:pt x="13" y="211"/>
                    <a:pt x="13" y="211"/>
                    <a:pt x="13" y="211"/>
                  </a:cubicBezTo>
                  <a:cubicBezTo>
                    <a:pt x="221" y="211"/>
                    <a:pt x="221" y="211"/>
                    <a:pt x="221" y="211"/>
                  </a:cubicBezTo>
                  <a:lnTo>
                    <a:pt x="221" y="230"/>
                  </a:lnTo>
                  <a:close/>
                  <a:moveTo>
                    <a:pt x="117" y="0"/>
                  </a:moveTo>
                  <a:cubicBezTo>
                    <a:pt x="0" y="83"/>
                    <a:pt x="0" y="83"/>
                    <a:pt x="0" y="83"/>
                  </a:cubicBezTo>
                  <a:cubicBezTo>
                    <a:pt x="21" y="83"/>
                    <a:pt x="21" y="83"/>
                    <a:pt x="21" y="83"/>
                  </a:cubicBezTo>
                  <a:cubicBezTo>
                    <a:pt x="117" y="16"/>
                    <a:pt x="117" y="16"/>
                    <a:pt x="117" y="16"/>
                  </a:cubicBezTo>
                  <a:cubicBezTo>
                    <a:pt x="213" y="83"/>
                    <a:pt x="213" y="83"/>
                    <a:pt x="213" y="83"/>
                  </a:cubicBezTo>
                  <a:cubicBezTo>
                    <a:pt x="234" y="83"/>
                    <a:pt x="234" y="83"/>
                    <a:pt x="234" y="83"/>
                  </a:cubicBezTo>
                  <a:lnTo>
                    <a:pt x="117" y="0"/>
                  </a:lnTo>
                  <a:close/>
                  <a:moveTo>
                    <a:pt x="128" y="177"/>
                  </a:moveTo>
                  <a:cubicBezTo>
                    <a:pt x="128" y="98"/>
                    <a:pt x="128" y="98"/>
                    <a:pt x="128" y="98"/>
                  </a:cubicBezTo>
                  <a:cubicBezTo>
                    <a:pt x="132" y="96"/>
                    <a:pt x="135" y="93"/>
                    <a:pt x="137" y="90"/>
                  </a:cubicBezTo>
                  <a:cubicBezTo>
                    <a:pt x="98" y="90"/>
                    <a:pt x="98" y="90"/>
                    <a:pt x="98" y="90"/>
                  </a:cubicBezTo>
                  <a:cubicBezTo>
                    <a:pt x="99" y="93"/>
                    <a:pt x="102" y="96"/>
                    <a:pt x="106" y="98"/>
                  </a:cubicBezTo>
                  <a:cubicBezTo>
                    <a:pt x="106" y="177"/>
                    <a:pt x="106" y="177"/>
                    <a:pt x="106" y="177"/>
                  </a:cubicBezTo>
                  <a:cubicBezTo>
                    <a:pt x="102" y="179"/>
                    <a:pt x="99" y="182"/>
                    <a:pt x="98" y="186"/>
                  </a:cubicBezTo>
                  <a:cubicBezTo>
                    <a:pt x="137" y="186"/>
                    <a:pt x="137" y="186"/>
                    <a:pt x="137" y="186"/>
                  </a:cubicBezTo>
                  <a:cubicBezTo>
                    <a:pt x="135" y="182"/>
                    <a:pt x="132" y="179"/>
                    <a:pt x="128" y="177"/>
                  </a:cubicBezTo>
                  <a:close/>
                  <a:moveTo>
                    <a:pt x="71" y="177"/>
                  </a:moveTo>
                  <a:cubicBezTo>
                    <a:pt x="71" y="98"/>
                    <a:pt x="71" y="98"/>
                    <a:pt x="71" y="98"/>
                  </a:cubicBezTo>
                  <a:cubicBezTo>
                    <a:pt x="74" y="96"/>
                    <a:pt x="77" y="93"/>
                    <a:pt x="79" y="90"/>
                  </a:cubicBezTo>
                  <a:cubicBezTo>
                    <a:pt x="40" y="90"/>
                    <a:pt x="40" y="90"/>
                    <a:pt x="40" y="90"/>
                  </a:cubicBezTo>
                  <a:cubicBezTo>
                    <a:pt x="42" y="93"/>
                    <a:pt x="45" y="96"/>
                    <a:pt x="48" y="98"/>
                  </a:cubicBezTo>
                  <a:cubicBezTo>
                    <a:pt x="48" y="177"/>
                    <a:pt x="48" y="177"/>
                    <a:pt x="48" y="177"/>
                  </a:cubicBezTo>
                  <a:cubicBezTo>
                    <a:pt x="45" y="179"/>
                    <a:pt x="42" y="182"/>
                    <a:pt x="40" y="186"/>
                  </a:cubicBezTo>
                  <a:cubicBezTo>
                    <a:pt x="79" y="186"/>
                    <a:pt x="79" y="186"/>
                    <a:pt x="79" y="186"/>
                  </a:cubicBezTo>
                  <a:cubicBezTo>
                    <a:pt x="77" y="182"/>
                    <a:pt x="74" y="179"/>
                    <a:pt x="71" y="177"/>
                  </a:cubicBezTo>
                  <a:close/>
                  <a:moveTo>
                    <a:pt x="186" y="177"/>
                  </a:moveTo>
                  <a:cubicBezTo>
                    <a:pt x="186" y="98"/>
                    <a:pt x="186" y="98"/>
                    <a:pt x="186" y="98"/>
                  </a:cubicBezTo>
                  <a:cubicBezTo>
                    <a:pt x="190" y="96"/>
                    <a:pt x="193" y="93"/>
                    <a:pt x="194" y="90"/>
                  </a:cubicBezTo>
                  <a:cubicBezTo>
                    <a:pt x="155" y="90"/>
                    <a:pt x="155" y="90"/>
                    <a:pt x="155" y="90"/>
                  </a:cubicBezTo>
                  <a:cubicBezTo>
                    <a:pt x="157" y="93"/>
                    <a:pt x="160" y="96"/>
                    <a:pt x="163" y="98"/>
                  </a:cubicBezTo>
                  <a:cubicBezTo>
                    <a:pt x="163" y="177"/>
                    <a:pt x="163" y="177"/>
                    <a:pt x="163" y="177"/>
                  </a:cubicBezTo>
                  <a:cubicBezTo>
                    <a:pt x="160" y="179"/>
                    <a:pt x="157" y="182"/>
                    <a:pt x="155" y="186"/>
                  </a:cubicBezTo>
                  <a:cubicBezTo>
                    <a:pt x="194" y="186"/>
                    <a:pt x="194" y="186"/>
                    <a:pt x="194" y="186"/>
                  </a:cubicBezTo>
                  <a:cubicBezTo>
                    <a:pt x="193" y="182"/>
                    <a:pt x="190" y="179"/>
                    <a:pt x="186" y="177"/>
                  </a:cubicBezTo>
                  <a:close/>
                  <a:moveTo>
                    <a:pt x="197" y="83"/>
                  </a:moveTo>
                  <a:cubicBezTo>
                    <a:pt x="117" y="26"/>
                    <a:pt x="117" y="26"/>
                    <a:pt x="117" y="26"/>
                  </a:cubicBezTo>
                  <a:cubicBezTo>
                    <a:pt x="37" y="83"/>
                    <a:pt x="37" y="83"/>
                    <a:pt x="37" y="83"/>
                  </a:cubicBezTo>
                  <a:lnTo>
                    <a:pt x="197" y="83"/>
                  </a:lnTo>
                  <a:close/>
                  <a:moveTo>
                    <a:pt x="205" y="192"/>
                  </a:moveTo>
                  <a:cubicBezTo>
                    <a:pt x="29" y="192"/>
                    <a:pt x="29" y="192"/>
                    <a:pt x="29" y="192"/>
                  </a:cubicBezTo>
                  <a:cubicBezTo>
                    <a:pt x="29" y="205"/>
                    <a:pt x="29" y="205"/>
                    <a:pt x="29" y="205"/>
                  </a:cubicBezTo>
                  <a:cubicBezTo>
                    <a:pt x="205" y="205"/>
                    <a:pt x="205" y="205"/>
                    <a:pt x="205" y="205"/>
                  </a:cubicBezTo>
                  <a:lnTo>
                    <a:pt x="205" y="192"/>
                  </a:lnTo>
                  <a:close/>
                </a:path>
              </a:pathLst>
            </a:custGeom>
            <a:solidFill>
              <a:schemeClr val="accent1"/>
            </a:solidFill>
            <a:ln w="9525">
              <a:noFill/>
              <a:round/>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03" name="Group 469"/>
          <p:cNvGrpSpPr/>
          <p:nvPr/>
        </p:nvGrpSpPr>
        <p:grpSpPr>
          <a:xfrm>
            <a:off x="5131420" y="4356037"/>
            <a:ext cx="615061" cy="585847"/>
            <a:chOff x="2944813" y="1443038"/>
            <a:chExt cx="635000" cy="604838"/>
          </a:xfrm>
          <a:solidFill>
            <a:schemeClr val="accent1"/>
          </a:solidFill>
        </p:grpSpPr>
        <p:sp>
          <p:nvSpPr>
            <p:cNvPr id="104" name="Freeform 6"/>
            <p:cNvSpPr>
              <a:spLocks noEditPoints="1"/>
            </p:cNvSpPr>
            <p:nvPr/>
          </p:nvSpPr>
          <p:spPr bwMode="auto">
            <a:xfrm>
              <a:off x="2944813" y="1577976"/>
              <a:ext cx="77788" cy="469900"/>
            </a:xfrm>
            <a:custGeom>
              <a:avLst/>
              <a:gdLst>
                <a:gd name="T0" fmla="*/ 49 w 49"/>
                <a:gd name="T1" fmla="*/ 0 h 296"/>
                <a:gd name="T2" fmla="*/ 28 w 49"/>
                <a:gd name="T3" fmla="*/ 296 h 296"/>
                <a:gd name="T4" fmla="*/ 0 w 49"/>
                <a:gd name="T5" fmla="*/ 296 h 296"/>
                <a:gd name="T6" fmla="*/ 21 w 49"/>
                <a:gd name="T7" fmla="*/ 45 h 296"/>
                <a:gd name="T8" fmla="*/ 49 w 49"/>
                <a:gd name="T9" fmla="*/ 0 h 296"/>
                <a:gd name="T10" fmla="*/ 49 w 49"/>
                <a:gd name="T11" fmla="*/ 0 h 296"/>
                <a:gd name="T12" fmla="*/ 49 w 49"/>
                <a:gd name="T13" fmla="*/ 0 h 296"/>
              </a:gdLst>
              <a:ahLst/>
              <a:cxnLst>
                <a:cxn ang="0">
                  <a:pos x="T0" y="T1"/>
                </a:cxn>
                <a:cxn ang="0">
                  <a:pos x="T2" y="T3"/>
                </a:cxn>
                <a:cxn ang="0">
                  <a:pos x="T4" y="T5"/>
                </a:cxn>
                <a:cxn ang="0">
                  <a:pos x="T6" y="T7"/>
                </a:cxn>
                <a:cxn ang="0">
                  <a:pos x="T8" y="T9"/>
                </a:cxn>
                <a:cxn ang="0">
                  <a:pos x="T10" y="T11"/>
                </a:cxn>
                <a:cxn ang="0">
                  <a:pos x="T12" y="T13"/>
                </a:cxn>
              </a:cxnLst>
              <a:rect l="0" t="0" r="r" b="b"/>
              <a:pathLst>
                <a:path w="49" h="296">
                  <a:moveTo>
                    <a:pt x="49" y="0"/>
                  </a:moveTo>
                  <a:lnTo>
                    <a:pt x="28" y="296"/>
                  </a:lnTo>
                  <a:lnTo>
                    <a:pt x="0" y="296"/>
                  </a:lnTo>
                  <a:lnTo>
                    <a:pt x="21" y="45"/>
                  </a:lnTo>
                  <a:lnTo>
                    <a:pt x="49" y="0"/>
                  </a:lnTo>
                  <a:close/>
                  <a:moveTo>
                    <a:pt x="49" y="0"/>
                  </a:moveTo>
                  <a:lnTo>
                    <a:pt x="4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05" name="Freeform 7"/>
            <p:cNvSpPr>
              <a:spLocks noEditPoints="1"/>
            </p:cNvSpPr>
            <p:nvPr/>
          </p:nvSpPr>
          <p:spPr bwMode="auto">
            <a:xfrm>
              <a:off x="2944813" y="1577976"/>
              <a:ext cx="77788" cy="469900"/>
            </a:xfrm>
            <a:custGeom>
              <a:avLst/>
              <a:gdLst>
                <a:gd name="T0" fmla="*/ 49 w 49"/>
                <a:gd name="T1" fmla="*/ 0 h 296"/>
                <a:gd name="T2" fmla="*/ 28 w 49"/>
                <a:gd name="T3" fmla="*/ 296 h 296"/>
                <a:gd name="T4" fmla="*/ 0 w 49"/>
                <a:gd name="T5" fmla="*/ 296 h 296"/>
                <a:gd name="T6" fmla="*/ 21 w 49"/>
                <a:gd name="T7" fmla="*/ 45 h 296"/>
                <a:gd name="T8" fmla="*/ 49 w 49"/>
                <a:gd name="T9" fmla="*/ 0 h 296"/>
                <a:gd name="T10" fmla="*/ 49 w 49"/>
                <a:gd name="T11" fmla="*/ 0 h 296"/>
                <a:gd name="T12" fmla="*/ 49 w 49"/>
                <a:gd name="T13" fmla="*/ 0 h 296"/>
              </a:gdLst>
              <a:ahLst/>
              <a:cxnLst>
                <a:cxn ang="0">
                  <a:pos x="T0" y="T1"/>
                </a:cxn>
                <a:cxn ang="0">
                  <a:pos x="T2" y="T3"/>
                </a:cxn>
                <a:cxn ang="0">
                  <a:pos x="T4" y="T5"/>
                </a:cxn>
                <a:cxn ang="0">
                  <a:pos x="T6" y="T7"/>
                </a:cxn>
                <a:cxn ang="0">
                  <a:pos x="T8" y="T9"/>
                </a:cxn>
                <a:cxn ang="0">
                  <a:pos x="T10" y="T11"/>
                </a:cxn>
                <a:cxn ang="0">
                  <a:pos x="T12" y="T13"/>
                </a:cxn>
              </a:cxnLst>
              <a:rect l="0" t="0" r="r" b="b"/>
              <a:pathLst>
                <a:path w="49" h="296">
                  <a:moveTo>
                    <a:pt x="49" y="0"/>
                  </a:moveTo>
                  <a:lnTo>
                    <a:pt x="28" y="296"/>
                  </a:lnTo>
                  <a:lnTo>
                    <a:pt x="0" y="296"/>
                  </a:lnTo>
                  <a:lnTo>
                    <a:pt x="21" y="45"/>
                  </a:lnTo>
                  <a:lnTo>
                    <a:pt x="49" y="0"/>
                  </a:lnTo>
                  <a:moveTo>
                    <a:pt x="49" y="0"/>
                  </a:moveTo>
                  <a:lnTo>
                    <a:pt x="49"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3" name="Freeform 8"/>
            <p:cNvSpPr>
              <a:spLocks noEditPoints="1"/>
            </p:cNvSpPr>
            <p:nvPr/>
          </p:nvSpPr>
          <p:spPr bwMode="auto">
            <a:xfrm>
              <a:off x="3522663" y="1652588"/>
              <a:ext cx="57150" cy="395288"/>
            </a:xfrm>
            <a:custGeom>
              <a:avLst/>
              <a:gdLst>
                <a:gd name="T0" fmla="*/ 0 w 36"/>
                <a:gd name="T1" fmla="*/ 0 h 249"/>
                <a:gd name="T2" fmla="*/ 17 w 36"/>
                <a:gd name="T3" fmla="*/ 249 h 249"/>
                <a:gd name="T4" fmla="*/ 36 w 36"/>
                <a:gd name="T5" fmla="*/ 249 h 249"/>
                <a:gd name="T6" fmla="*/ 17 w 36"/>
                <a:gd name="T7" fmla="*/ 33 h 249"/>
                <a:gd name="T8" fmla="*/ 0 w 36"/>
                <a:gd name="T9" fmla="*/ 0 h 249"/>
                <a:gd name="T10" fmla="*/ 0 w 36"/>
                <a:gd name="T11" fmla="*/ 0 h 249"/>
                <a:gd name="T12" fmla="*/ 0 w 36"/>
                <a:gd name="T13" fmla="*/ 0 h 249"/>
              </a:gdLst>
              <a:ahLst/>
              <a:cxnLst>
                <a:cxn ang="0">
                  <a:pos x="T0" y="T1"/>
                </a:cxn>
                <a:cxn ang="0">
                  <a:pos x="T2" y="T3"/>
                </a:cxn>
                <a:cxn ang="0">
                  <a:pos x="T4" y="T5"/>
                </a:cxn>
                <a:cxn ang="0">
                  <a:pos x="T6" y="T7"/>
                </a:cxn>
                <a:cxn ang="0">
                  <a:pos x="T8" y="T9"/>
                </a:cxn>
                <a:cxn ang="0">
                  <a:pos x="T10" y="T11"/>
                </a:cxn>
                <a:cxn ang="0">
                  <a:pos x="T12" y="T13"/>
                </a:cxn>
              </a:cxnLst>
              <a:rect l="0" t="0" r="r" b="b"/>
              <a:pathLst>
                <a:path w="36" h="249">
                  <a:moveTo>
                    <a:pt x="0" y="0"/>
                  </a:moveTo>
                  <a:lnTo>
                    <a:pt x="17" y="249"/>
                  </a:lnTo>
                  <a:lnTo>
                    <a:pt x="36" y="249"/>
                  </a:lnTo>
                  <a:lnTo>
                    <a:pt x="17" y="33"/>
                  </a:lnTo>
                  <a:lnTo>
                    <a:pt x="0" y="0"/>
                  </a:lnTo>
                  <a:close/>
                  <a:moveTo>
                    <a:pt x="0" y="0"/>
                  </a:move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4" name="Freeform 9"/>
            <p:cNvSpPr>
              <a:spLocks noEditPoints="1"/>
            </p:cNvSpPr>
            <p:nvPr/>
          </p:nvSpPr>
          <p:spPr bwMode="auto">
            <a:xfrm>
              <a:off x="3522663" y="1652588"/>
              <a:ext cx="57150" cy="395288"/>
            </a:xfrm>
            <a:custGeom>
              <a:avLst/>
              <a:gdLst>
                <a:gd name="T0" fmla="*/ 0 w 36"/>
                <a:gd name="T1" fmla="*/ 0 h 249"/>
                <a:gd name="T2" fmla="*/ 17 w 36"/>
                <a:gd name="T3" fmla="*/ 249 h 249"/>
                <a:gd name="T4" fmla="*/ 36 w 36"/>
                <a:gd name="T5" fmla="*/ 249 h 249"/>
                <a:gd name="T6" fmla="*/ 17 w 36"/>
                <a:gd name="T7" fmla="*/ 33 h 249"/>
                <a:gd name="T8" fmla="*/ 0 w 36"/>
                <a:gd name="T9" fmla="*/ 0 h 249"/>
                <a:gd name="T10" fmla="*/ 0 w 36"/>
                <a:gd name="T11" fmla="*/ 0 h 249"/>
                <a:gd name="T12" fmla="*/ 0 w 36"/>
                <a:gd name="T13" fmla="*/ 0 h 249"/>
              </a:gdLst>
              <a:ahLst/>
              <a:cxnLst>
                <a:cxn ang="0">
                  <a:pos x="T0" y="T1"/>
                </a:cxn>
                <a:cxn ang="0">
                  <a:pos x="T2" y="T3"/>
                </a:cxn>
                <a:cxn ang="0">
                  <a:pos x="T4" y="T5"/>
                </a:cxn>
                <a:cxn ang="0">
                  <a:pos x="T6" y="T7"/>
                </a:cxn>
                <a:cxn ang="0">
                  <a:pos x="T8" y="T9"/>
                </a:cxn>
                <a:cxn ang="0">
                  <a:pos x="T10" y="T11"/>
                </a:cxn>
                <a:cxn ang="0">
                  <a:pos x="T12" y="T13"/>
                </a:cxn>
              </a:cxnLst>
              <a:rect l="0" t="0" r="r" b="b"/>
              <a:pathLst>
                <a:path w="36" h="249">
                  <a:moveTo>
                    <a:pt x="0" y="0"/>
                  </a:moveTo>
                  <a:lnTo>
                    <a:pt x="17" y="249"/>
                  </a:lnTo>
                  <a:lnTo>
                    <a:pt x="36" y="249"/>
                  </a:lnTo>
                  <a:lnTo>
                    <a:pt x="17" y="33"/>
                  </a:lnTo>
                  <a:lnTo>
                    <a:pt x="0" y="0"/>
                  </a:lnTo>
                  <a:moveTo>
                    <a:pt x="0" y="0"/>
                  </a:move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5" name="Freeform 10"/>
            <p:cNvSpPr>
              <a:spLocks noEditPoints="1"/>
            </p:cNvSpPr>
            <p:nvPr/>
          </p:nvSpPr>
          <p:spPr bwMode="auto">
            <a:xfrm>
              <a:off x="3071813" y="1443038"/>
              <a:ext cx="184150" cy="604838"/>
            </a:xfrm>
            <a:custGeom>
              <a:avLst/>
              <a:gdLst>
                <a:gd name="T0" fmla="*/ 54 w 116"/>
                <a:gd name="T1" fmla="*/ 57 h 381"/>
                <a:gd name="T2" fmla="*/ 0 w 116"/>
                <a:gd name="T3" fmla="*/ 381 h 381"/>
                <a:gd name="T4" fmla="*/ 116 w 116"/>
                <a:gd name="T5" fmla="*/ 381 h 381"/>
                <a:gd name="T6" fmla="*/ 116 w 116"/>
                <a:gd name="T7" fmla="*/ 0 h 381"/>
                <a:gd name="T8" fmla="*/ 54 w 116"/>
                <a:gd name="T9" fmla="*/ 57 h 381"/>
                <a:gd name="T10" fmla="*/ 104 w 116"/>
                <a:gd name="T11" fmla="*/ 319 h 381"/>
                <a:gd name="T12" fmla="*/ 17 w 116"/>
                <a:gd name="T13" fmla="*/ 352 h 381"/>
                <a:gd name="T14" fmla="*/ 21 w 116"/>
                <a:gd name="T15" fmla="*/ 319 h 381"/>
                <a:gd name="T16" fmla="*/ 104 w 116"/>
                <a:gd name="T17" fmla="*/ 286 h 381"/>
                <a:gd name="T18" fmla="*/ 104 w 116"/>
                <a:gd name="T19" fmla="*/ 319 h 381"/>
                <a:gd name="T20" fmla="*/ 104 w 116"/>
                <a:gd name="T21" fmla="*/ 270 h 381"/>
                <a:gd name="T22" fmla="*/ 24 w 116"/>
                <a:gd name="T23" fmla="*/ 303 h 381"/>
                <a:gd name="T24" fmla="*/ 28 w 116"/>
                <a:gd name="T25" fmla="*/ 270 h 381"/>
                <a:gd name="T26" fmla="*/ 104 w 116"/>
                <a:gd name="T27" fmla="*/ 234 h 381"/>
                <a:gd name="T28" fmla="*/ 104 w 116"/>
                <a:gd name="T29" fmla="*/ 270 h 381"/>
                <a:gd name="T30" fmla="*/ 104 w 116"/>
                <a:gd name="T31" fmla="*/ 218 h 381"/>
                <a:gd name="T32" fmla="*/ 31 w 116"/>
                <a:gd name="T33" fmla="*/ 251 h 381"/>
                <a:gd name="T34" fmla="*/ 35 w 116"/>
                <a:gd name="T35" fmla="*/ 215 h 381"/>
                <a:gd name="T36" fmla="*/ 104 w 116"/>
                <a:gd name="T37" fmla="*/ 184 h 381"/>
                <a:gd name="T38" fmla="*/ 104 w 116"/>
                <a:gd name="T39" fmla="*/ 218 h 381"/>
                <a:gd name="T40" fmla="*/ 104 w 116"/>
                <a:gd name="T41" fmla="*/ 168 h 381"/>
                <a:gd name="T42" fmla="*/ 40 w 116"/>
                <a:gd name="T43" fmla="*/ 201 h 381"/>
                <a:gd name="T44" fmla="*/ 45 w 116"/>
                <a:gd name="T45" fmla="*/ 168 h 381"/>
                <a:gd name="T46" fmla="*/ 104 w 116"/>
                <a:gd name="T47" fmla="*/ 132 h 381"/>
                <a:gd name="T48" fmla="*/ 104 w 116"/>
                <a:gd name="T49" fmla="*/ 168 h 381"/>
                <a:gd name="T50" fmla="*/ 104 w 116"/>
                <a:gd name="T51" fmla="*/ 116 h 381"/>
                <a:gd name="T52" fmla="*/ 47 w 116"/>
                <a:gd name="T53" fmla="*/ 151 h 381"/>
                <a:gd name="T54" fmla="*/ 52 w 116"/>
                <a:gd name="T55" fmla="*/ 116 h 381"/>
                <a:gd name="T56" fmla="*/ 104 w 116"/>
                <a:gd name="T57" fmla="*/ 80 h 381"/>
                <a:gd name="T58" fmla="*/ 104 w 116"/>
                <a:gd name="T59" fmla="*/ 116 h 381"/>
                <a:gd name="T60" fmla="*/ 104 w 116"/>
                <a:gd name="T61" fmla="*/ 66 h 381"/>
                <a:gd name="T62" fmla="*/ 54 w 116"/>
                <a:gd name="T63" fmla="*/ 99 h 381"/>
                <a:gd name="T64" fmla="*/ 62 w 116"/>
                <a:gd name="T65" fmla="*/ 66 h 381"/>
                <a:gd name="T66" fmla="*/ 104 w 116"/>
                <a:gd name="T67" fmla="*/ 31 h 381"/>
                <a:gd name="T68" fmla="*/ 104 w 116"/>
                <a:gd name="T69" fmla="*/ 66 h 381"/>
                <a:gd name="T70" fmla="*/ 104 w 116"/>
                <a:gd name="T71" fmla="*/ 66 h 381"/>
                <a:gd name="T72" fmla="*/ 104 w 116"/>
                <a:gd name="T73" fmla="*/ 6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381">
                  <a:moveTo>
                    <a:pt x="54" y="57"/>
                  </a:moveTo>
                  <a:lnTo>
                    <a:pt x="0" y="381"/>
                  </a:lnTo>
                  <a:lnTo>
                    <a:pt x="116" y="381"/>
                  </a:lnTo>
                  <a:lnTo>
                    <a:pt x="116" y="0"/>
                  </a:lnTo>
                  <a:lnTo>
                    <a:pt x="54" y="57"/>
                  </a:lnTo>
                  <a:close/>
                  <a:moveTo>
                    <a:pt x="104" y="319"/>
                  </a:moveTo>
                  <a:lnTo>
                    <a:pt x="17" y="352"/>
                  </a:lnTo>
                  <a:lnTo>
                    <a:pt x="21" y="319"/>
                  </a:lnTo>
                  <a:lnTo>
                    <a:pt x="104" y="286"/>
                  </a:lnTo>
                  <a:lnTo>
                    <a:pt x="104" y="319"/>
                  </a:lnTo>
                  <a:close/>
                  <a:moveTo>
                    <a:pt x="104" y="270"/>
                  </a:moveTo>
                  <a:lnTo>
                    <a:pt x="24" y="303"/>
                  </a:lnTo>
                  <a:lnTo>
                    <a:pt x="28" y="270"/>
                  </a:lnTo>
                  <a:lnTo>
                    <a:pt x="104" y="234"/>
                  </a:lnTo>
                  <a:lnTo>
                    <a:pt x="104" y="270"/>
                  </a:lnTo>
                  <a:close/>
                  <a:moveTo>
                    <a:pt x="104" y="218"/>
                  </a:moveTo>
                  <a:lnTo>
                    <a:pt x="31" y="251"/>
                  </a:lnTo>
                  <a:lnTo>
                    <a:pt x="35" y="215"/>
                  </a:lnTo>
                  <a:lnTo>
                    <a:pt x="104" y="184"/>
                  </a:lnTo>
                  <a:lnTo>
                    <a:pt x="104" y="218"/>
                  </a:lnTo>
                  <a:close/>
                  <a:moveTo>
                    <a:pt x="104" y="168"/>
                  </a:moveTo>
                  <a:lnTo>
                    <a:pt x="40" y="201"/>
                  </a:lnTo>
                  <a:lnTo>
                    <a:pt x="45" y="168"/>
                  </a:lnTo>
                  <a:lnTo>
                    <a:pt x="104" y="132"/>
                  </a:lnTo>
                  <a:lnTo>
                    <a:pt x="104" y="168"/>
                  </a:lnTo>
                  <a:close/>
                  <a:moveTo>
                    <a:pt x="104" y="116"/>
                  </a:moveTo>
                  <a:lnTo>
                    <a:pt x="47" y="151"/>
                  </a:lnTo>
                  <a:lnTo>
                    <a:pt x="52" y="116"/>
                  </a:lnTo>
                  <a:lnTo>
                    <a:pt x="104" y="80"/>
                  </a:lnTo>
                  <a:lnTo>
                    <a:pt x="104" y="116"/>
                  </a:lnTo>
                  <a:close/>
                  <a:moveTo>
                    <a:pt x="104" y="66"/>
                  </a:moveTo>
                  <a:lnTo>
                    <a:pt x="54" y="99"/>
                  </a:lnTo>
                  <a:lnTo>
                    <a:pt x="62" y="66"/>
                  </a:lnTo>
                  <a:lnTo>
                    <a:pt x="104" y="31"/>
                  </a:lnTo>
                  <a:lnTo>
                    <a:pt x="104" y="66"/>
                  </a:lnTo>
                  <a:close/>
                  <a:moveTo>
                    <a:pt x="104" y="66"/>
                  </a:moveTo>
                  <a:lnTo>
                    <a:pt x="104" y="6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6" name="Freeform 11"/>
            <p:cNvSpPr>
              <a:spLocks noEditPoints="1"/>
            </p:cNvSpPr>
            <p:nvPr/>
          </p:nvSpPr>
          <p:spPr bwMode="auto">
            <a:xfrm>
              <a:off x="3071813" y="1443038"/>
              <a:ext cx="184150" cy="604838"/>
            </a:xfrm>
            <a:custGeom>
              <a:avLst/>
              <a:gdLst>
                <a:gd name="T0" fmla="*/ 54 w 116"/>
                <a:gd name="T1" fmla="*/ 57 h 381"/>
                <a:gd name="T2" fmla="*/ 0 w 116"/>
                <a:gd name="T3" fmla="*/ 381 h 381"/>
                <a:gd name="T4" fmla="*/ 116 w 116"/>
                <a:gd name="T5" fmla="*/ 381 h 381"/>
                <a:gd name="T6" fmla="*/ 116 w 116"/>
                <a:gd name="T7" fmla="*/ 0 h 381"/>
                <a:gd name="T8" fmla="*/ 54 w 116"/>
                <a:gd name="T9" fmla="*/ 57 h 381"/>
                <a:gd name="T10" fmla="*/ 104 w 116"/>
                <a:gd name="T11" fmla="*/ 319 h 381"/>
                <a:gd name="T12" fmla="*/ 17 w 116"/>
                <a:gd name="T13" fmla="*/ 352 h 381"/>
                <a:gd name="T14" fmla="*/ 21 w 116"/>
                <a:gd name="T15" fmla="*/ 319 h 381"/>
                <a:gd name="T16" fmla="*/ 104 w 116"/>
                <a:gd name="T17" fmla="*/ 286 h 381"/>
                <a:gd name="T18" fmla="*/ 104 w 116"/>
                <a:gd name="T19" fmla="*/ 319 h 381"/>
                <a:gd name="T20" fmla="*/ 104 w 116"/>
                <a:gd name="T21" fmla="*/ 270 h 381"/>
                <a:gd name="T22" fmla="*/ 24 w 116"/>
                <a:gd name="T23" fmla="*/ 303 h 381"/>
                <a:gd name="T24" fmla="*/ 28 w 116"/>
                <a:gd name="T25" fmla="*/ 270 h 381"/>
                <a:gd name="T26" fmla="*/ 104 w 116"/>
                <a:gd name="T27" fmla="*/ 234 h 381"/>
                <a:gd name="T28" fmla="*/ 104 w 116"/>
                <a:gd name="T29" fmla="*/ 270 h 381"/>
                <a:gd name="T30" fmla="*/ 104 w 116"/>
                <a:gd name="T31" fmla="*/ 218 h 381"/>
                <a:gd name="T32" fmla="*/ 31 w 116"/>
                <a:gd name="T33" fmla="*/ 251 h 381"/>
                <a:gd name="T34" fmla="*/ 35 w 116"/>
                <a:gd name="T35" fmla="*/ 215 h 381"/>
                <a:gd name="T36" fmla="*/ 104 w 116"/>
                <a:gd name="T37" fmla="*/ 184 h 381"/>
                <a:gd name="T38" fmla="*/ 104 w 116"/>
                <a:gd name="T39" fmla="*/ 218 h 381"/>
                <a:gd name="T40" fmla="*/ 104 w 116"/>
                <a:gd name="T41" fmla="*/ 168 h 381"/>
                <a:gd name="T42" fmla="*/ 40 w 116"/>
                <a:gd name="T43" fmla="*/ 201 h 381"/>
                <a:gd name="T44" fmla="*/ 45 w 116"/>
                <a:gd name="T45" fmla="*/ 168 h 381"/>
                <a:gd name="T46" fmla="*/ 104 w 116"/>
                <a:gd name="T47" fmla="*/ 132 h 381"/>
                <a:gd name="T48" fmla="*/ 104 w 116"/>
                <a:gd name="T49" fmla="*/ 168 h 381"/>
                <a:gd name="T50" fmla="*/ 104 w 116"/>
                <a:gd name="T51" fmla="*/ 116 h 381"/>
                <a:gd name="T52" fmla="*/ 47 w 116"/>
                <a:gd name="T53" fmla="*/ 151 h 381"/>
                <a:gd name="T54" fmla="*/ 52 w 116"/>
                <a:gd name="T55" fmla="*/ 116 h 381"/>
                <a:gd name="T56" fmla="*/ 104 w 116"/>
                <a:gd name="T57" fmla="*/ 80 h 381"/>
                <a:gd name="T58" fmla="*/ 104 w 116"/>
                <a:gd name="T59" fmla="*/ 116 h 381"/>
                <a:gd name="T60" fmla="*/ 104 w 116"/>
                <a:gd name="T61" fmla="*/ 66 h 381"/>
                <a:gd name="T62" fmla="*/ 54 w 116"/>
                <a:gd name="T63" fmla="*/ 99 h 381"/>
                <a:gd name="T64" fmla="*/ 62 w 116"/>
                <a:gd name="T65" fmla="*/ 66 h 381"/>
                <a:gd name="T66" fmla="*/ 104 w 116"/>
                <a:gd name="T67" fmla="*/ 31 h 381"/>
                <a:gd name="T68" fmla="*/ 104 w 116"/>
                <a:gd name="T69" fmla="*/ 66 h 381"/>
                <a:gd name="T70" fmla="*/ 104 w 116"/>
                <a:gd name="T71" fmla="*/ 66 h 381"/>
                <a:gd name="T72" fmla="*/ 104 w 116"/>
                <a:gd name="T73" fmla="*/ 6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381">
                  <a:moveTo>
                    <a:pt x="54" y="57"/>
                  </a:moveTo>
                  <a:lnTo>
                    <a:pt x="0" y="381"/>
                  </a:lnTo>
                  <a:lnTo>
                    <a:pt x="116" y="381"/>
                  </a:lnTo>
                  <a:lnTo>
                    <a:pt x="116" y="0"/>
                  </a:lnTo>
                  <a:lnTo>
                    <a:pt x="54" y="57"/>
                  </a:lnTo>
                  <a:moveTo>
                    <a:pt x="104" y="319"/>
                  </a:moveTo>
                  <a:lnTo>
                    <a:pt x="17" y="352"/>
                  </a:lnTo>
                  <a:lnTo>
                    <a:pt x="21" y="319"/>
                  </a:lnTo>
                  <a:lnTo>
                    <a:pt x="104" y="286"/>
                  </a:lnTo>
                  <a:lnTo>
                    <a:pt x="104" y="319"/>
                  </a:lnTo>
                  <a:moveTo>
                    <a:pt x="104" y="270"/>
                  </a:moveTo>
                  <a:lnTo>
                    <a:pt x="24" y="303"/>
                  </a:lnTo>
                  <a:lnTo>
                    <a:pt x="28" y="270"/>
                  </a:lnTo>
                  <a:lnTo>
                    <a:pt x="104" y="234"/>
                  </a:lnTo>
                  <a:lnTo>
                    <a:pt x="104" y="270"/>
                  </a:lnTo>
                  <a:moveTo>
                    <a:pt x="104" y="218"/>
                  </a:moveTo>
                  <a:lnTo>
                    <a:pt x="31" y="251"/>
                  </a:lnTo>
                  <a:lnTo>
                    <a:pt x="35" y="215"/>
                  </a:lnTo>
                  <a:lnTo>
                    <a:pt x="104" y="184"/>
                  </a:lnTo>
                  <a:lnTo>
                    <a:pt x="104" y="218"/>
                  </a:lnTo>
                  <a:moveTo>
                    <a:pt x="104" y="168"/>
                  </a:moveTo>
                  <a:lnTo>
                    <a:pt x="40" y="201"/>
                  </a:lnTo>
                  <a:lnTo>
                    <a:pt x="45" y="168"/>
                  </a:lnTo>
                  <a:lnTo>
                    <a:pt x="104" y="132"/>
                  </a:lnTo>
                  <a:lnTo>
                    <a:pt x="104" y="168"/>
                  </a:lnTo>
                  <a:moveTo>
                    <a:pt x="104" y="116"/>
                  </a:moveTo>
                  <a:lnTo>
                    <a:pt x="47" y="151"/>
                  </a:lnTo>
                  <a:lnTo>
                    <a:pt x="52" y="116"/>
                  </a:lnTo>
                  <a:lnTo>
                    <a:pt x="104" y="80"/>
                  </a:lnTo>
                  <a:lnTo>
                    <a:pt x="104" y="116"/>
                  </a:lnTo>
                  <a:moveTo>
                    <a:pt x="104" y="66"/>
                  </a:moveTo>
                  <a:lnTo>
                    <a:pt x="54" y="99"/>
                  </a:lnTo>
                  <a:lnTo>
                    <a:pt x="62" y="66"/>
                  </a:lnTo>
                  <a:lnTo>
                    <a:pt x="104" y="31"/>
                  </a:lnTo>
                  <a:lnTo>
                    <a:pt x="104" y="66"/>
                  </a:lnTo>
                  <a:moveTo>
                    <a:pt x="104" y="66"/>
                  </a:moveTo>
                  <a:lnTo>
                    <a:pt x="104" y="6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7" name="Freeform 12"/>
            <p:cNvSpPr>
              <a:spLocks noEditPoints="1"/>
            </p:cNvSpPr>
            <p:nvPr/>
          </p:nvSpPr>
          <p:spPr bwMode="auto">
            <a:xfrm>
              <a:off x="3267076" y="1443038"/>
              <a:ext cx="176213" cy="604838"/>
            </a:xfrm>
            <a:custGeom>
              <a:avLst/>
              <a:gdLst>
                <a:gd name="T0" fmla="*/ 50 w 111"/>
                <a:gd name="T1" fmla="*/ 42 h 381"/>
                <a:gd name="T2" fmla="*/ 0 w 111"/>
                <a:gd name="T3" fmla="*/ 0 h 381"/>
                <a:gd name="T4" fmla="*/ 0 w 111"/>
                <a:gd name="T5" fmla="*/ 381 h 381"/>
                <a:gd name="T6" fmla="*/ 111 w 111"/>
                <a:gd name="T7" fmla="*/ 381 h 381"/>
                <a:gd name="T8" fmla="*/ 50 w 111"/>
                <a:gd name="T9" fmla="*/ 42 h 381"/>
                <a:gd name="T10" fmla="*/ 7 w 111"/>
                <a:gd name="T11" fmla="*/ 31 h 381"/>
                <a:gd name="T12" fmla="*/ 43 w 111"/>
                <a:gd name="T13" fmla="*/ 57 h 381"/>
                <a:gd name="T14" fmla="*/ 50 w 111"/>
                <a:gd name="T15" fmla="*/ 87 h 381"/>
                <a:gd name="T16" fmla="*/ 7 w 111"/>
                <a:gd name="T17" fmla="*/ 61 h 381"/>
                <a:gd name="T18" fmla="*/ 7 w 111"/>
                <a:gd name="T19" fmla="*/ 31 h 381"/>
                <a:gd name="T20" fmla="*/ 7 w 111"/>
                <a:gd name="T21" fmla="*/ 80 h 381"/>
                <a:gd name="T22" fmla="*/ 50 w 111"/>
                <a:gd name="T23" fmla="*/ 102 h 381"/>
                <a:gd name="T24" fmla="*/ 54 w 111"/>
                <a:gd name="T25" fmla="*/ 132 h 381"/>
                <a:gd name="T26" fmla="*/ 7 w 111"/>
                <a:gd name="T27" fmla="*/ 113 h 381"/>
                <a:gd name="T28" fmla="*/ 7 w 111"/>
                <a:gd name="T29" fmla="*/ 80 h 381"/>
                <a:gd name="T30" fmla="*/ 7 w 111"/>
                <a:gd name="T31" fmla="*/ 132 h 381"/>
                <a:gd name="T32" fmla="*/ 54 w 111"/>
                <a:gd name="T33" fmla="*/ 151 h 381"/>
                <a:gd name="T34" fmla="*/ 62 w 111"/>
                <a:gd name="T35" fmla="*/ 182 h 381"/>
                <a:gd name="T36" fmla="*/ 7 w 111"/>
                <a:gd name="T37" fmla="*/ 163 h 381"/>
                <a:gd name="T38" fmla="*/ 7 w 111"/>
                <a:gd name="T39" fmla="*/ 132 h 381"/>
                <a:gd name="T40" fmla="*/ 7 w 111"/>
                <a:gd name="T41" fmla="*/ 182 h 381"/>
                <a:gd name="T42" fmla="*/ 62 w 111"/>
                <a:gd name="T43" fmla="*/ 201 h 381"/>
                <a:gd name="T44" fmla="*/ 69 w 111"/>
                <a:gd name="T45" fmla="*/ 239 h 381"/>
                <a:gd name="T46" fmla="*/ 7 w 111"/>
                <a:gd name="T47" fmla="*/ 218 h 381"/>
                <a:gd name="T48" fmla="*/ 7 w 111"/>
                <a:gd name="T49" fmla="*/ 182 h 381"/>
                <a:gd name="T50" fmla="*/ 7 w 111"/>
                <a:gd name="T51" fmla="*/ 232 h 381"/>
                <a:gd name="T52" fmla="*/ 71 w 111"/>
                <a:gd name="T53" fmla="*/ 255 h 381"/>
                <a:gd name="T54" fmla="*/ 78 w 111"/>
                <a:gd name="T55" fmla="*/ 291 h 381"/>
                <a:gd name="T56" fmla="*/ 7 w 111"/>
                <a:gd name="T57" fmla="*/ 267 h 381"/>
                <a:gd name="T58" fmla="*/ 7 w 111"/>
                <a:gd name="T59" fmla="*/ 232 h 381"/>
                <a:gd name="T60" fmla="*/ 7 w 111"/>
                <a:gd name="T61" fmla="*/ 284 h 381"/>
                <a:gd name="T62" fmla="*/ 78 w 111"/>
                <a:gd name="T63" fmla="*/ 310 h 381"/>
                <a:gd name="T64" fmla="*/ 85 w 111"/>
                <a:gd name="T65" fmla="*/ 341 h 381"/>
                <a:gd name="T66" fmla="*/ 7 w 111"/>
                <a:gd name="T67" fmla="*/ 317 h 381"/>
                <a:gd name="T68" fmla="*/ 7 w 111"/>
                <a:gd name="T69" fmla="*/ 284 h 381"/>
                <a:gd name="T70" fmla="*/ 7 w 111"/>
                <a:gd name="T71" fmla="*/ 284 h 381"/>
                <a:gd name="T72" fmla="*/ 7 w 111"/>
                <a:gd name="T73" fmla="*/ 28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 h="381">
                  <a:moveTo>
                    <a:pt x="50" y="42"/>
                  </a:moveTo>
                  <a:lnTo>
                    <a:pt x="0" y="0"/>
                  </a:lnTo>
                  <a:lnTo>
                    <a:pt x="0" y="381"/>
                  </a:lnTo>
                  <a:lnTo>
                    <a:pt x="111" y="381"/>
                  </a:lnTo>
                  <a:lnTo>
                    <a:pt x="50" y="42"/>
                  </a:lnTo>
                  <a:close/>
                  <a:moveTo>
                    <a:pt x="7" y="31"/>
                  </a:moveTo>
                  <a:lnTo>
                    <a:pt x="43" y="57"/>
                  </a:lnTo>
                  <a:lnTo>
                    <a:pt x="50" y="87"/>
                  </a:lnTo>
                  <a:lnTo>
                    <a:pt x="7" y="61"/>
                  </a:lnTo>
                  <a:lnTo>
                    <a:pt x="7" y="31"/>
                  </a:lnTo>
                  <a:close/>
                  <a:moveTo>
                    <a:pt x="7" y="80"/>
                  </a:moveTo>
                  <a:lnTo>
                    <a:pt x="50" y="102"/>
                  </a:lnTo>
                  <a:lnTo>
                    <a:pt x="54" y="132"/>
                  </a:lnTo>
                  <a:lnTo>
                    <a:pt x="7" y="113"/>
                  </a:lnTo>
                  <a:lnTo>
                    <a:pt x="7" y="80"/>
                  </a:lnTo>
                  <a:close/>
                  <a:moveTo>
                    <a:pt x="7" y="132"/>
                  </a:moveTo>
                  <a:lnTo>
                    <a:pt x="54" y="151"/>
                  </a:lnTo>
                  <a:lnTo>
                    <a:pt x="62" y="182"/>
                  </a:lnTo>
                  <a:lnTo>
                    <a:pt x="7" y="163"/>
                  </a:lnTo>
                  <a:lnTo>
                    <a:pt x="7" y="132"/>
                  </a:lnTo>
                  <a:close/>
                  <a:moveTo>
                    <a:pt x="7" y="182"/>
                  </a:moveTo>
                  <a:lnTo>
                    <a:pt x="62" y="201"/>
                  </a:lnTo>
                  <a:lnTo>
                    <a:pt x="69" y="239"/>
                  </a:lnTo>
                  <a:lnTo>
                    <a:pt x="7" y="218"/>
                  </a:lnTo>
                  <a:lnTo>
                    <a:pt x="7" y="182"/>
                  </a:lnTo>
                  <a:close/>
                  <a:moveTo>
                    <a:pt x="7" y="232"/>
                  </a:moveTo>
                  <a:lnTo>
                    <a:pt x="71" y="255"/>
                  </a:lnTo>
                  <a:lnTo>
                    <a:pt x="78" y="291"/>
                  </a:lnTo>
                  <a:lnTo>
                    <a:pt x="7" y="267"/>
                  </a:lnTo>
                  <a:lnTo>
                    <a:pt x="7" y="232"/>
                  </a:lnTo>
                  <a:close/>
                  <a:moveTo>
                    <a:pt x="7" y="284"/>
                  </a:moveTo>
                  <a:lnTo>
                    <a:pt x="78" y="310"/>
                  </a:lnTo>
                  <a:lnTo>
                    <a:pt x="85" y="341"/>
                  </a:lnTo>
                  <a:lnTo>
                    <a:pt x="7" y="317"/>
                  </a:lnTo>
                  <a:lnTo>
                    <a:pt x="7" y="284"/>
                  </a:lnTo>
                  <a:close/>
                  <a:moveTo>
                    <a:pt x="7" y="284"/>
                  </a:moveTo>
                  <a:lnTo>
                    <a:pt x="7" y="28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8" name="Freeform 13"/>
            <p:cNvSpPr>
              <a:spLocks noEditPoints="1"/>
            </p:cNvSpPr>
            <p:nvPr/>
          </p:nvSpPr>
          <p:spPr bwMode="auto">
            <a:xfrm>
              <a:off x="3267076" y="1443038"/>
              <a:ext cx="176213" cy="604838"/>
            </a:xfrm>
            <a:custGeom>
              <a:avLst/>
              <a:gdLst>
                <a:gd name="T0" fmla="*/ 50 w 111"/>
                <a:gd name="T1" fmla="*/ 42 h 381"/>
                <a:gd name="T2" fmla="*/ 0 w 111"/>
                <a:gd name="T3" fmla="*/ 0 h 381"/>
                <a:gd name="T4" fmla="*/ 0 w 111"/>
                <a:gd name="T5" fmla="*/ 381 h 381"/>
                <a:gd name="T6" fmla="*/ 111 w 111"/>
                <a:gd name="T7" fmla="*/ 381 h 381"/>
                <a:gd name="T8" fmla="*/ 50 w 111"/>
                <a:gd name="T9" fmla="*/ 42 h 381"/>
                <a:gd name="T10" fmla="*/ 7 w 111"/>
                <a:gd name="T11" fmla="*/ 31 h 381"/>
                <a:gd name="T12" fmla="*/ 43 w 111"/>
                <a:gd name="T13" fmla="*/ 57 h 381"/>
                <a:gd name="T14" fmla="*/ 50 w 111"/>
                <a:gd name="T15" fmla="*/ 87 h 381"/>
                <a:gd name="T16" fmla="*/ 7 w 111"/>
                <a:gd name="T17" fmla="*/ 61 h 381"/>
                <a:gd name="T18" fmla="*/ 7 w 111"/>
                <a:gd name="T19" fmla="*/ 31 h 381"/>
                <a:gd name="T20" fmla="*/ 7 w 111"/>
                <a:gd name="T21" fmla="*/ 80 h 381"/>
                <a:gd name="T22" fmla="*/ 50 w 111"/>
                <a:gd name="T23" fmla="*/ 102 h 381"/>
                <a:gd name="T24" fmla="*/ 54 w 111"/>
                <a:gd name="T25" fmla="*/ 132 h 381"/>
                <a:gd name="T26" fmla="*/ 7 w 111"/>
                <a:gd name="T27" fmla="*/ 113 h 381"/>
                <a:gd name="T28" fmla="*/ 7 w 111"/>
                <a:gd name="T29" fmla="*/ 80 h 381"/>
                <a:gd name="T30" fmla="*/ 7 w 111"/>
                <a:gd name="T31" fmla="*/ 132 h 381"/>
                <a:gd name="T32" fmla="*/ 54 w 111"/>
                <a:gd name="T33" fmla="*/ 151 h 381"/>
                <a:gd name="T34" fmla="*/ 62 w 111"/>
                <a:gd name="T35" fmla="*/ 182 h 381"/>
                <a:gd name="T36" fmla="*/ 7 w 111"/>
                <a:gd name="T37" fmla="*/ 163 h 381"/>
                <a:gd name="T38" fmla="*/ 7 w 111"/>
                <a:gd name="T39" fmla="*/ 132 h 381"/>
                <a:gd name="T40" fmla="*/ 7 w 111"/>
                <a:gd name="T41" fmla="*/ 182 h 381"/>
                <a:gd name="T42" fmla="*/ 62 w 111"/>
                <a:gd name="T43" fmla="*/ 201 h 381"/>
                <a:gd name="T44" fmla="*/ 69 w 111"/>
                <a:gd name="T45" fmla="*/ 239 h 381"/>
                <a:gd name="T46" fmla="*/ 7 w 111"/>
                <a:gd name="T47" fmla="*/ 218 h 381"/>
                <a:gd name="T48" fmla="*/ 7 w 111"/>
                <a:gd name="T49" fmla="*/ 182 h 381"/>
                <a:gd name="T50" fmla="*/ 7 w 111"/>
                <a:gd name="T51" fmla="*/ 232 h 381"/>
                <a:gd name="T52" fmla="*/ 71 w 111"/>
                <a:gd name="T53" fmla="*/ 255 h 381"/>
                <a:gd name="T54" fmla="*/ 78 w 111"/>
                <a:gd name="T55" fmla="*/ 291 h 381"/>
                <a:gd name="T56" fmla="*/ 7 w 111"/>
                <a:gd name="T57" fmla="*/ 267 h 381"/>
                <a:gd name="T58" fmla="*/ 7 w 111"/>
                <a:gd name="T59" fmla="*/ 232 h 381"/>
                <a:gd name="T60" fmla="*/ 7 w 111"/>
                <a:gd name="T61" fmla="*/ 284 h 381"/>
                <a:gd name="T62" fmla="*/ 78 w 111"/>
                <a:gd name="T63" fmla="*/ 310 h 381"/>
                <a:gd name="T64" fmla="*/ 85 w 111"/>
                <a:gd name="T65" fmla="*/ 341 h 381"/>
                <a:gd name="T66" fmla="*/ 7 w 111"/>
                <a:gd name="T67" fmla="*/ 317 h 381"/>
                <a:gd name="T68" fmla="*/ 7 w 111"/>
                <a:gd name="T69" fmla="*/ 284 h 381"/>
                <a:gd name="T70" fmla="*/ 7 w 111"/>
                <a:gd name="T71" fmla="*/ 284 h 381"/>
                <a:gd name="T72" fmla="*/ 7 w 111"/>
                <a:gd name="T73" fmla="*/ 28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 h="381">
                  <a:moveTo>
                    <a:pt x="50" y="42"/>
                  </a:moveTo>
                  <a:lnTo>
                    <a:pt x="0" y="0"/>
                  </a:lnTo>
                  <a:lnTo>
                    <a:pt x="0" y="381"/>
                  </a:lnTo>
                  <a:lnTo>
                    <a:pt x="111" y="381"/>
                  </a:lnTo>
                  <a:lnTo>
                    <a:pt x="50" y="42"/>
                  </a:lnTo>
                  <a:moveTo>
                    <a:pt x="7" y="31"/>
                  </a:moveTo>
                  <a:lnTo>
                    <a:pt x="43" y="57"/>
                  </a:lnTo>
                  <a:lnTo>
                    <a:pt x="50" y="87"/>
                  </a:lnTo>
                  <a:lnTo>
                    <a:pt x="7" y="61"/>
                  </a:lnTo>
                  <a:lnTo>
                    <a:pt x="7" y="31"/>
                  </a:lnTo>
                  <a:moveTo>
                    <a:pt x="7" y="80"/>
                  </a:moveTo>
                  <a:lnTo>
                    <a:pt x="50" y="102"/>
                  </a:lnTo>
                  <a:lnTo>
                    <a:pt x="54" y="132"/>
                  </a:lnTo>
                  <a:lnTo>
                    <a:pt x="7" y="113"/>
                  </a:lnTo>
                  <a:lnTo>
                    <a:pt x="7" y="80"/>
                  </a:lnTo>
                  <a:moveTo>
                    <a:pt x="7" y="132"/>
                  </a:moveTo>
                  <a:lnTo>
                    <a:pt x="54" y="151"/>
                  </a:lnTo>
                  <a:lnTo>
                    <a:pt x="62" y="182"/>
                  </a:lnTo>
                  <a:lnTo>
                    <a:pt x="7" y="163"/>
                  </a:lnTo>
                  <a:lnTo>
                    <a:pt x="7" y="132"/>
                  </a:lnTo>
                  <a:moveTo>
                    <a:pt x="7" y="182"/>
                  </a:moveTo>
                  <a:lnTo>
                    <a:pt x="62" y="201"/>
                  </a:lnTo>
                  <a:lnTo>
                    <a:pt x="69" y="239"/>
                  </a:lnTo>
                  <a:lnTo>
                    <a:pt x="7" y="218"/>
                  </a:lnTo>
                  <a:lnTo>
                    <a:pt x="7" y="182"/>
                  </a:lnTo>
                  <a:moveTo>
                    <a:pt x="7" y="232"/>
                  </a:moveTo>
                  <a:lnTo>
                    <a:pt x="71" y="255"/>
                  </a:lnTo>
                  <a:lnTo>
                    <a:pt x="78" y="291"/>
                  </a:lnTo>
                  <a:lnTo>
                    <a:pt x="7" y="267"/>
                  </a:lnTo>
                  <a:lnTo>
                    <a:pt x="7" y="232"/>
                  </a:lnTo>
                  <a:moveTo>
                    <a:pt x="7" y="284"/>
                  </a:moveTo>
                  <a:lnTo>
                    <a:pt x="78" y="310"/>
                  </a:lnTo>
                  <a:lnTo>
                    <a:pt x="85" y="341"/>
                  </a:lnTo>
                  <a:lnTo>
                    <a:pt x="7" y="317"/>
                  </a:lnTo>
                  <a:lnTo>
                    <a:pt x="7" y="284"/>
                  </a:lnTo>
                  <a:moveTo>
                    <a:pt x="7" y="284"/>
                  </a:moveTo>
                  <a:lnTo>
                    <a:pt x="7" y="284"/>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9" name="Freeform 14"/>
            <p:cNvSpPr>
              <a:spLocks noEditPoints="1"/>
            </p:cNvSpPr>
            <p:nvPr/>
          </p:nvSpPr>
          <p:spPr bwMode="auto">
            <a:xfrm>
              <a:off x="2997201" y="1581151"/>
              <a:ext cx="119063" cy="466725"/>
            </a:xfrm>
            <a:custGeom>
              <a:avLst/>
              <a:gdLst>
                <a:gd name="T0" fmla="*/ 23 w 75"/>
                <a:gd name="T1" fmla="*/ 0 h 294"/>
                <a:gd name="T2" fmla="*/ 0 w 75"/>
                <a:gd name="T3" fmla="*/ 294 h 294"/>
                <a:gd name="T4" fmla="*/ 42 w 75"/>
                <a:gd name="T5" fmla="*/ 294 h 294"/>
                <a:gd name="T6" fmla="*/ 47 w 75"/>
                <a:gd name="T7" fmla="*/ 258 h 294"/>
                <a:gd name="T8" fmla="*/ 9 w 75"/>
                <a:gd name="T9" fmla="*/ 249 h 294"/>
                <a:gd name="T10" fmla="*/ 9 w 75"/>
                <a:gd name="T11" fmla="*/ 232 h 294"/>
                <a:gd name="T12" fmla="*/ 49 w 75"/>
                <a:gd name="T13" fmla="*/ 244 h 294"/>
                <a:gd name="T14" fmla="*/ 52 w 75"/>
                <a:gd name="T15" fmla="*/ 232 h 294"/>
                <a:gd name="T16" fmla="*/ 11 w 75"/>
                <a:gd name="T17" fmla="*/ 220 h 294"/>
                <a:gd name="T18" fmla="*/ 11 w 75"/>
                <a:gd name="T19" fmla="*/ 204 h 294"/>
                <a:gd name="T20" fmla="*/ 54 w 75"/>
                <a:gd name="T21" fmla="*/ 218 h 294"/>
                <a:gd name="T22" fmla="*/ 56 w 75"/>
                <a:gd name="T23" fmla="*/ 206 h 294"/>
                <a:gd name="T24" fmla="*/ 11 w 75"/>
                <a:gd name="T25" fmla="*/ 192 h 294"/>
                <a:gd name="T26" fmla="*/ 14 w 75"/>
                <a:gd name="T27" fmla="*/ 175 h 294"/>
                <a:gd name="T28" fmla="*/ 59 w 75"/>
                <a:gd name="T29" fmla="*/ 192 h 294"/>
                <a:gd name="T30" fmla="*/ 61 w 75"/>
                <a:gd name="T31" fmla="*/ 180 h 294"/>
                <a:gd name="T32" fmla="*/ 16 w 75"/>
                <a:gd name="T33" fmla="*/ 166 h 294"/>
                <a:gd name="T34" fmla="*/ 16 w 75"/>
                <a:gd name="T35" fmla="*/ 149 h 294"/>
                <a:gd name="T36" fmla="*/ 64 w 75"/>
                <a:gd name="T37" fmla="*/ 166 h 294"/>
                <a:gd name="T38" fmla="*/ 66 w 75"/>
                <a:gd name="T39" fmla="*/ 154 h 294"/>
                <a:gd name="T40" fmla="*/ 16 w 75"/>
                <a:gd name="T41" fmla="*/ 138 h 294"/>
                <a:gd name="T42" fmla="*/ 19 w 75"/>
                <a:gd name="T43" fmla="*/ 121 h 294"/>
                <a:gd name="T44" fmla="*/ 66 w 75"/>
                <a:gd name="T45" fmla="*/ 140 h 294"/>
                <a:gd name="T46" fmla="*/ 66 w 75"/>
                <a:gd name="T47" fmla="*/ 147 h 294"/>
                <a:gd name="T48" fmla="*/ 75 w 75"/>
                <a:gd name="T49" fmla="*/ 90 h 294"/>
                <a:gd name="T50" fmla="*/ 75 w 75"/>
                <a:gd name="T51" fmla="*/ 24 h 294"/>
                <a:gd name="T52" fmla="*/ 23 w 75"/>
                <a:gd name="T53" fmla="*/ 0 h 294"/>
                <a:gd name="T54" fmla="*/ 68 w 75"/>
                <a:gd name="T55" fmla="*/ 126 h 294"/>
                <a:gd name="T56" fmla="*/ 19 w 75"/>
                <a:gd name="T57" fmla="*/ 109 h 294"/>
                <a:gd name="T58" fmla="*/ 21 w 75"/>
                <a:gd name="T59" fmla="*/ 93 h 294"/>
                <a:gd name="T60" fmla="*/ 68 w 75"/>
                <a:gd name="T61" fmla="*/ 112 h 294"/>
                <a:gd name="T62" fmla="*/ 68 w 75"/>
                <a:gd name="T63" fmla="*/ 126 h 294"/>
                <a:gd name="T64" fmla="*/ 68 w 75"/>
                <a:gd name="T65" fmla="*/ 100 h 294"/>
                <a:gd name="T66" fmla="*/ 21 w 75"/>
                <a:gd name="T67" fmla="*/ 83 h 294"/>
                <a:gd name="T68" fmla="*/ 23 w 75"/>
                <a:gd name="T69" fmla="*/ 67 h 294"/>
                <a:gd name="T70" fmla="*/ 68 w 75"/>
                <a:gd name="T71" fmla="*/ 86 h 294"/>
                <a:gd name="T72" fmla="*/ 68 w 75"/>
                <a:gd name="T73" fmla="*/ 100 h 294"/>
                <a:gd name="T74" fmla="*/ 68 w 75"/>
                <a:gd name="T75" fmla="*/ 71 h 294"/>
                <a:gd name="T76" fmla="*/ 26 w 75"/>
                <a:gd name="T77" fmla="*/ 57 h 294"/>
                <a:gd name="T78" fmla="*/ 26 w 75"/>
                <a:gd name="T79" fmla="*/ 41 h 294"/>
                <a:gd name="T80" fmla="*/ 68 w 75"/>
                <a:gd name="T81" fmla="*/ 57 h 294"/>
                <a:gd name="T82" fmla="*/ 68 w 75"/>
                <a:gd name="T83" fmla="*/ 71 h 294"/>
                <a:gd name="T84" fmla="*/ 71 w 75"/>
                <a:gd name="T85" fmla="*/ 45 h 294"/>
                <a:gd name="T86" fmla="*/ 26 w 75"/>
                <a:gd name="T87" fmla="*/ 29 h 294"/>
                <a:gd name="T88" fmla="*/ 28 w 75"/>
                <a:gd name="T89" fmla="*/ 12 h 294"/>
                <a:gd name="T90" fmla="*/ 71 w 75"/>
                <a:gd name="T91" fmla="*/ 29 h 294"/>
                <a:gd name="T92" fmla="*/ 71 w 75"/>
                <a:gd name="T93" fmla="*/ 45 h 294"/>
                <a:gd name="T94" fmla="*/ 71 w 75"/>
                <a:gd name="T95" fmla="*/ 45 h 294"/>
                <a:gd name="T96" fmla="*/ 71 w 75"/>
                <a:gd name="T97" fmla="*/ 4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 h="294">
                  <a:moveTo>
                    <a:pt x="23" y="0"/>
                  </a:moveTo>
                  <a:lnTo>
                    <a:pt x="0" y="294"/>
                  </a:lnTo>
                  <a:lnTo>
                    <a:pt x="42" y="294"/>
                  </a:lnTo>
                  <a:lnTo>
                    <a:pt x="47" y="258"/>
                  </a:lnTo>
                  <a:lnTo>
                    <a:pt x="9" y="249"/>
                  </a:lnTo>
                  <a:lnTo>
                    <a:pt x="9" y="232"/>
                  </a:lnTo>
                  <a:lnTo>
                    <a:pt x="49" y="244"/>
                  </a:lnTo>
                  <a:lnTo>
                    <a:pt x="52" y="232"/>
                  </a:lnTo>
                  <a:lnTo>
                    <a:pt x="11" y="220"/>
                  </a:lnTo>
                  <a:lnTo>
                    <a:pt x="11" y="204"/>
                  </a:lnTo>
                  <a:lnTo>
                    <a:pt x="54" y="218"/>
                  </a:lnTo>
                  <a:lnTo>
                    <a:pt x="56" y="206"/>
                  </a:lnTo>
                  <a:lnTo>
                    <a:pt x="11" y="192"/>
                  </a:lnTo>
                  <a:lnTo>
                    <a:pt x="14" y="175"/>
                  </a:lnTo>
                  <a:lnTo>
                    <a:pt x="59" y="192"/>
                  </a:lnTo>
                  <a:lnTo>
                    <a:pt x="61" y="180"/>
                  </a:lnTo>
                  <a:lnTo>
                    <a:pt x="16" y="166"/>
                  </a:lnTo>
                  <a:lnTo>
                    <a:pt x="16" y="149"/>
                  </a:lnTo>
                  <a:lnTo>
                    <a:pt x="64" y="166"/>
                  </a:lnTo>
                  <a:lnTo>
                    <a:pt x="66" y="154"/>
                  </a:lnTo>
                  <a:lnTo>
                    <a:pt x="16" y="138"/>
                  </a:lnTo>
                  <a:lnTo>
                    <a:pt x="19" y="121"/>
                  </a:lnTo>
                  <a:lnTo>
                    <a:pt x="66" y="140"/>
                  </a:lnTo>
                  <a:lnTo>
                    <a:pt x="66" y="147"/>
                  </a:lnTo>
                  <a:lnTo>
                    <a:pt x="75" y="90"/>
                  </a:lnTo>
                  <a:lnTo>
                    <a:pt x="75" y="24"/>
                  </a:lnTo>
                  <a:lnTo>
                    <a:pt x="23" y="0"/>
                  </a:lnTo>
                  <a:close/>
                  <a:moveTo>
                    <a:pt x="68" y="126"/>
                  </a:moveTo>
                  <a:lnTo>
                    <a:pt x="19" y="109"/>
                  </a:lnTo>
                  <a:lnTo>
                    <a:pt x="21" y="93"/>
                  </a:lnTo>
                  <a:lnTo>
                    <a:pt x="68" y="112"/>
                  </a:lnTo>
                  <a:lnTo>
                    <a:pt x="68" y="126"/>
                  </a:lnTo>
                  <a:close/>
                  <a:moveTo>
                    <a:pt x="68" y="100"/>
                  </a:moveTo>
                  <a:lnTo>
                    <a:pt x="21" y="83"/>
                  </a:lnTo>
                  <a:lnTo>
                    <a:pt x="23" y="67"/>
                  </a:lnTo>
                  <a:lnTo>
                    <a:pt x="68" y="86"/>
                  </a:lnTo>
                  <a:lnTo>
                    <a:pt x="68" y="100"/>
                  </a:lnTo>
                  <a:close/>
                  <a:moveTo>
                    <a:pt x="68" y="71"/>
                  </a:moveTo>
                  <a:lnTo>
                    <a:pt x="26" y="57"/>
                  </a:lnTo>
                  <a:lnTo>
                    <a:pt x="26" y="41"/>
                  </a:lnTo>
                  <a:lnTo>
                    <a:pt x="68" y="57"/>
                  </a:lnTo>
                  <a:lnTo>
                    <a:pt x="68" y="71"/>
                  </a:lnTo>
                  <a:close/>
                  <a:moveTo>
                    <a:pt x="71" y="45"/>
                  </a:moveTo>
                  <a:lnTo>
                    <a:pt x="26" y="29"/>
                  </a:lnTo>
                  <a:lnTo>
                    <a:pt x="28" y="12"/>
                  </a:lnTo>
                  <a:lnTo>
                    <a:pt x="71" y="29"/>
                  </a:lnTo>
                  <a:lnTo>
                    <a:pt x="71" y="45"/>
                  </a:lnTo>
                  <a:close/>
                  <a:moveTo>
                    <a:pt x="71" y="45"/>
                  </a:moveTo>
                  <a:lnTo>
                    <a:pt x="71" y="4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0" name="Freeform 15"/>
            <p:cNvSpPr>
              <a:spLocks noEditPoints="1"/>
            </p:cNvSpPr>
            <p:nvPr/>
          </p:nvSpPr>
          <p:spPr bwMode="auto">
            <a:xfrm>
              <a:off x="2997201" y="1581151"/>
              <a:ext cx="119063" cy="466725"/>
            </a:xfrm>
            <a:custGeom>
              <a:avLst/>
              <a:gdLst>
                <a:gd name="T0" fmla="*/ 23 w 75"/>
                <a:gd name="T1" fmla="*/ 0 h 294"/>
                <a:gd name="T2" fmla="*/ 0 w 75"/>
                <a:gd name="T3" fmla="*/ 294 h 294"/>
                <a:gd name="T4" fmla="*/ 42 w 75"/>
                <a:gd name="T5" fmla="*/ 294 h 294"/>
                <a:gd name="T6" fmla="*/ 47 w 75"/>
                <a:gd name="T7" fmla="*/ 258 h 294"/>
                <a:gd name="T8" fmla="*/ 9 w 75"/>
                <a:gd name="T9" fmla="*/ 249 h 294"/>
                <a:gd name="T10" fmla="*/ 9 w 75"/>
                <a:gd name="T11" fmla="*/ 232 h 294"/>
                <a:gd name="T12" fmla="*/ 49 w 75"/>
                <a:gd name="T13" fmla="*/ 244 h 294"/>
                <a:gd name="T14" fmla="*/ 52 w 75"/>
                <a:gd name="T15" fmla="*/ 232 h 294"/>
                <a:gd name="T16" fmla="*/ 11 w 75"/>
                <a:gd name="T17" fmla="*/ 220 h 294"/>
                <a:gd name="T18" fmla="*/ 11 w 75"/>
                <a:gd name="T19" fmla="*/ 204 h 294"/>
                <a:gd name="T20" fmla="*/ 54 w 75"/>
                <a:gd name="T21" fmla="*/ 218 h 294"/>
                <a:gd name="T22" fmla="*/ 56 w 75"/>
                <a:gd name="T23" fmla="*/ 206 h 294"/>
                <a:gd name="T24" fmla="*/ 11 w 75"/>
                <a:gd name="T25" fmla="*/ 192 h 294"/>
                <a:gd name="T26" fmla="*/ 14 w 75"/>
                <a:gd name="T27" fmla="*/ 175 h 294"/>
                <a:gd name="T28" fmla="*/ 59 w 75"/>
                <a:gd name="T29" fmla="*/ 192 h 294"/>
                <a:gd name="T30" fmla="*/ 61 w 75"/>
                <a:gd name="T31" fmla="*/ 180 h 294"/>
                <a:gd name="T32" fmla="*/ 16 w 75"/>
                <a:gd name="T33" fmla="*/ 166 h 294"/>
                <a:gd name="T34" fmla="*/ 16 w 75"/>
                <a:gd name="T35" fmla="*/ 149 h 294"/>
                <a:gd name="T36" fmla="*/ 64 w 75"/>
                <a:gd name="T37" fmla="*/ 166 h 294"/>
                <a:gd name="T38" fmla="*/ 66 w 75"/>
                <a:gd name="T39" fmla="*/ 154 h 294"/>
                <a:gd name="T40" fmla="*/ 16 w 75"/>
                <a:gd name="T41" fmla="*/ 138 h 294"/>
                <a:gd name="T42" fmla="*/ 19 w 75"/>
                <a:gd name="T43" fmla="*/ 121 h 294"/>
                <a:gd name="T44" fmla="*/ 66 w 75"/>
                <a:gd name="T45" fmla="*/ 140 h 294"/>
                <a:gd name="T46" fmla="*/ 66 w 75"/>
                <a:gd name="T47" fmla="*/ 147 h 294"/>
                <a:gd name="T48" fmla="*/ 75 w 75"/>
                <a:gd name="T49" fmla="*/ 90 h 294"/>
                <a:gd name="T50" fmla="*/ 75 w 75"/>
                <a:gd name="T51" fmla="*/ 24 h 294"/>
                <a:gd name="T52" fmla="*/ 23 w 75"/>
                <a:gd name="T53" fmla="*/ 0 h 294"/>
                <a:gd name="T54" fmla="*/ 68 w 75"/>
                <a:gd name="T55" fmla="*/ 126 h 294"/>
                <a:gd name="T56" fmla="*/ 19 w 75"/>
                <a:gd name="T57" fmla="*/ 109 h 294"/>
                <a:gd name="T58" fmla="*/ 21 w 75"/>
                <a:gd name="T59" fmla="*/ 93 h 294"/>
                <a:gd name="T60" fmla="*/ 68 w 75"/>
                <a:gd name="T61" fmla="*/ 112 h 294"/>
                <a:gd name="T62" fmla="*/ 68 w 75"/>
                <a:gd name="T63" fmla="*/ 126 h 294"/>
                <a:gd name="T64" fmla="*/ 68 w 75"/>
                <a:gd name="T65" fmla="*/ 100 h 294"/>
                <a:gd name="T66" fmla="*/ 21 w 75"/>
                <a:gd name="T67" fmla="*/ 83 h 294"/>
                <a:gd name="T68" fmla="*/ 23 w 75"/>
                <a:gd name="T69" fmla="*/ 67 h 294"/>
                <a:gd name="T70" fmla="*/ 68 w 75"/>
                <a:gd name="T71" fmla="*/ 86 h 294"/>
                <a:gd name="T72" fmla="*/ 68 w 75"/>
                <a:gd name="T73" fmla="*/ 100 h 294"/>
                <a:gd name="T74" fmla="*/ 68 w 75"/>
                <a:gd name="T75" fmla="*/ 71 h 294"/>
                <a:gd name="T76" fmla="*/ 26 w 75"/>
                <a:gd name="T77" fmla="*/ 57 h 294"/>
                <a:gd name="T78" fmla="*/ 26 w 75"/>
                <a:gd name="T79" fmla="*/ 41 h 294"/>
                <a:gd name="T80" fmla="*/ 68 w 75"/>
                <a:gd name="T81" fmla="*/ 57 h 294"/>
                <a:gd name="T82" fmla="*/ 68 w 75"/>
                <a:gd name="T83" fmla="*/ 71 h 294"/>
                <a:gd name="T84" fmla="*/ 71 w 75"/>
                <a:gd name="T85" fmla="*/ 45 h 294"/>
                <a:gd name="T86" fmla="*/ 26 w 75"/>
                <a:gd name="T87" fmla="*/ 29 h 294"/>
                <a:gd name="T88" fmla="*/ 28 w 75"/>
                <a:gd name="T89" fmla="*/ 12 h 294"/>
                <a:gd name="T90" fmla="*/ 71 w 75"/>
                <a:gd name="T91" fmla="*/ 29 h 294"/>
                <a:gd name="T92" fmla="*/ 71 w 75"/>
                <a:gd name="T93" fmla="*/ 45 h 294"/>
                <a:gd name="T94" fmla="*/ 71 w 75"/>
                <a:gd name="T95" fmla="*/ 45 h 294"/>
                <a:gd name="T96" fmla="*/ 71 w 75"/>
                <a:gd name="T97" fmla="*/ 4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 h="294">
                  <a:moveTo>
                    <a:pt x="23" y="0"/>
                  </a:moveTo>
                  <a:lnTo>
                    <a:pt x="0" y="294"/>
                  </a:lnTo>
                  <a:lnTo>
                    <a:pt x="42" y="294"/>
                  </a:lnTo>
                  <a:lnTo>
                    <a:pt x="47" y="258"/>
                  </a:lnTo>
                  <a:lnTo>
                    <a:pt x="9" y="249"/>
                  </a:lnTo>
                  <a:lnTo>
                    <a:pt x="9" y="232"/>
                  </a:lnTo>
                  <a:lnTo>
                    <a:pt x="49" y="244"/>
                  </a:lnTo>
                  <a:lnTo>
                    <a:pt x="52" y="232"/>
                  </a:lnTo>
                  <a:lnTo>
                    <a:pt x="11" y="220"/>
                  </a:lnTo>
                  <a:lnTo>
                    <a:pt x="11" y="204"/>
                  </a:lnTo>
                  <a:lnTo>
                    <a:pt x="54" y="218"/>
                  </a:lnTo>
                  <a:lnTo>
                    <a:pt x="56" y="206"/>
                  </a:lnTo>
                  <a:lnTo>
                    <a:pt x="11" y="192"/>
                  </a:lnTo>
                  <a:lnTo>
                    <a:pt x="14" y="175"/>
                  </a:lnTo>
                  <a:lnTo>
                    <a:pt x="59" y="192"/>
                  </a:lnTo>
                  <a:lnTo>
                    <a:pt x="61" y="180"/>
                  </a:lnTo>
                  <a:lnTo>
                    <a:pt x="16" y="166"/>
                  </a:lnTo>
                  <a:lnTo>
                    <a:pt x="16" y="149"/>
                  </a:lnTo>
                  <a:lnTo>
                    <a:pt x="64" y="166"/>
                  </a:lnTo>
                  <a:lnTo>
                    <a:pt x="66" y="154"/>
                  </a:lnTo>
                  <a:lnTo>
                    <a:pt x="16" y="138"/>
                  </a:lnTo>
                  <a:lnTo>
                    <a:pt x="19" y="121"/>
                  </a:lnTo>
                  <a:lnTo>
                    <a:pt x="66" y="140"/>
                  </a:lnTo>
                  <a:lnTo>
                    <a:pt x="66" y="147"/>
                  </a:lnTo>
                  <a:lnTo>
                    <a:pt x="75" y="90"/>
                  </a:lnTo>
                  <a:lnTo>
                    <a:pt x="75" y="24"/>
                  </a:lnTo>
                  <a:lnTo>
                    <a:pt x="23" y="0"/>
                  </a:lnTo>
                  <a:moveTo>
                    <a:pt x="68" y="126"/>
                  </a:moveTo>
                  <a:lnTo>
                    <a:pt x="19" y="109"/>
                  </a:lnTo>
                  <a:lnTo>
                    <a:pt x="21" y="93"/>
                  </a:lnTo>
                  <a:lnTo>
                    <a:pt x="68" y="112"/>
                  </a:lnTo>
                  <a:lnTo>
                    <a:pt x="68" y="126"/>
                  </a:lnTo>
                  <a:moveTo>
                    <a:pt x="68" y="100"/>
                  </a:moveTo>
                  <a:lnTo>
                    <a:pt x="21" y="83"/>
                  </a:lnTo>
                  <a:lnTo>
                    <a:pt x="23" y="67"/>
                  </a:lnTo>
                  <a:lnTo>
                    <a:pt x="68" y="86"/>
                  </a:lnTo>
                  <a:lnTo>
                    <a:pt x="68" y="100"/>
                  </a:lnTo>
                  <a:moveTo>
                    <a:pt x="68" y="71"/>
                  </a:moveTo>
                  <a:lnTo>
                    <a:pt x="26" y="57"/>
                  </a:lnTo>
                  <a:lnTo>
                    <a:pt x="26" y="41"/>
                  </a:lnTo>
                  <a:lnTo>
                    <a:pt x="68" y="57"/>
                  </a:lnTo>
                  <a:lnTo>
                    <a:pt x="68" y="71"/>
                  </a:lnTo>
                  <a:moveTo>
                    <a:pt x="71" y="45"/>
                  </a:moveTo>
                  <a:lnTo>
                    <a:pt x="26" y="29"/>
                  </a:lnTo>
                  <a:lnTo>
                    <a:pt x="28" y="12"/>
                  </a:lnTo>
                  <a:lnTo>
                    <a:pt x="71" y="29"/>
                  </a:lnTo>
                  <a:lnTo>
                    <a:pt x="71" y="45"/>
                  </a:lnTo>
                  <a:moveTo>
                    <a:pt x="71" y="45"/>
                  </a:moveTo>
                  <a:lnTo>
                    <a:pt x="71" y="4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1" name="Freeform 16"/>
            <p:cNvSpPr>
              <a:spLocks noEditPoints="1"/>
            </p:cNvSpPr>
            <p:nvPr/>
          </p:nvSpPr>
          <p:spPr bwMode="auto">
            <a:xfrm>
              <a:off x="3417888" y="1649413"/>
              <a:ext cx="119063" cy="398463"/>
            </a:xfrm>
            <a:custGeom>
              <a:avLst/>
              <a:gdLst>
                <a:gd name="T0" fmla="*/ 61 w 75"/>
                <a:gd name="T1" fmla="*/ 0 h 251"/>
                <a:gd name="T2" fmla="*/ 9 w 75"/>
                <a:gd name="T3" fmla="*/ 21 h 251"/>
                <a:gd name="T4" fmla="*/ 0 w 75"/>
                <a:gd name="T5" fmla="*/ 135 h 251"/>
                <a:gd name="T6" fmla="*/ 4 w 75"/>
                <a:gd name="T7" fmla="*/ 161 h 251"/>
                <a:gd name="T8" fmla="*/ 64 w 75"/>
                <a:gd name="T9" fmla="*/ 147 h 251"/>
                <a:gd name="T10" fmla="*/ 66 w 75"/>
                <a:gd name="T11" fmla="*/ 166 h 251"/>
                <a:gd name="T12" fmla="*/ 9 w 75"/>
                <a:gd name="T13" fmla="*/ 177 h 251"/>
                <a:gd name="T14" fmla="*/ 12 w 75"/>
                <a:gd name="T15" fmla="*/ 189 h 251"/>
                <a:gd name="T16" fmla="*/ 66 w 75"/>
                <a:gd name="T17" fmla="*/ 177 h 251"/>
                <a:gd name="T18" fmla="*/ 68 w 75"/>
                <a:gd name="T19" fmla="*/ 199 h 251"/>
                <a:gd name="T20" fmla="*/ 14 w 75"/>
                <a:gd name="T21" fmla="*/ 206 h 251"/>
                <a:gd name="T22" fmla="*/ 23 w 75"/>
                <a:gd name="T23" fmla="*/ 251 h 251"/>
                <a:gd name="T24" fmla="*/ 75 w 75"/>
                <a:gd name="T25" fmla="*/ 251 h 251"/>
                <a:gd name="T26" fmla="*/ 61 w 75"/>
                <a:gd name="T27" fmla="*/ 0 h 251"/>
                <a:gd name="T28" fmla="*/ 14 w 75"/>
                <a:gd name="T29" fmla="*/ 33 h 251"/>
                <a:gd name="T30" fmla="*/ 57 w 75"/>
                <a:gd name="T31" fmla="*/ 17 h 251"/>
                <a:gd name="T32" fmla="*/ 59 w 75"/>
                <a:gd name="T33" fmla="*/ 35 h 251"/>
                <a:gd name="T34" fmla="*/ 12 w 75"/>
                <a:gd name="T35" fmla="*/ 50 h 251"/>
                <a:gd name="T36" fmla="*/ 14 w 75"/>
                <a:gd name="T37" fmla="*/ 33 h 251"/>
                <a:gd name="T38" fmla="*/ 12 w 75"/>
                <a:gd name="T39" fmla="*/ 59 h 251"/>
                <a:gd name="T40" fmla="*/ 59 w 75"/>
                <a:gd name="T41" fmla="*/ 43 h 251"/>
                <a:gd name="T42" fmla="*/ 61 w 75"/>
                <a:gd name="T43" fmla="*/ 59 h 251"/>
                <a:gd name="T44" fmla="*/ 9 w 75"/>
                <a:gd name="T45" fmla="*/ 73 h 251"/>
                <a:gd name="T46" fmla="*/ 12 w 75"/>
                <a:gd name="T47" fmla="*/ 59 h 251"/>
                <a:gd name="T48" fmla="*/ 9 w 75"/>
                <a:gd name="T49" fmla="*/ 83 h 251"/>
                <a:gd name="T50" fmla="*/ 61 w 75"/>
                <a:gd name="T51" fmla="*/ 69 h 251"/>
                <a:gd name="T52" fmla="*/ 61 w 75"/>
                <a:gd name="T53" fmla="*/ 85 h 251"/>
                <a:gd name="T54" fmla="*/ 7 w 75"/>
                <a:gd name="T55" fmla="*/ 99 h 251"/>
                <a:gd name="T56" fmla="*/ 9 w 75"/>
                <a:gd name="T57" fmla="*/ 83 h 251"/>
                <a:gd name="T58" fmla="*/ 7 w 75"/>
                <a:gd name="T59" fmla="*/ 109 h 251"/>
                <a:gd name="T60" fmla="*/ 61 w 75"/>
                <a:gd name="T61" fmla="*/ 92 h 251"/>
                <a:gd name="T62" fmla="*/ 64 w 75"/>
                <a:gd name="T63" fmla="*/ 111 h 251"/>
                <a:gd name="T64" fmla="*/ 4 w 75"/>
                <a:gd name="T65" fmla="*/ 125 h 251"/>
                <a:gd name="T66" fmla="*/ 7 w 75"/>
                <a:gd name="T67" fmla="*/ 109 h 251"/>
                <a:gd name="T68" fmla="*/ 2 w 75"/>
                <a:gd name="T69" fmla="*/ 151 h 251"/>
                <a:gd name="T70" fmla="*/ 4 w 75"/>
                <a:gd name="T71" fmla="*/ 135 h 251"/>
                <a:gd name="T72" fmla="*/ 64 w 75"/>
                <a:gd name="T73" fmla="*/ 118 h 251"/>
                <a:gd name="T74" fmla="*/ 64 w 75"/>
                <a:gd name="T75" fmla="*/ 135 h 251"/>
                <a:gd name="T76" fmla="*/ 2 w 75"/>
                <a:gd name="T77" fmla="*/ 151 h 251"/>
                <a:gd name="T78" fmla="*/ 2 w 75"/>
                <a:gd name="T79" fmla="*/ 151 h 251"/>
                <a:gd name="T80" fmla="*/ 2 w 75"/>
                <a:gd name="T81" fmla="*/ 1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 h="251">
                  <a:moveTo>
                    <a:pt x="61" y="0"/>
                  </a:moveTo>
                  <a:lnTo>
                    <a:pt x="9" y="21"/>
                  </a:lnTo>
                  <a:lnTo>
                    <a:pt x="0" y="135"/>
                  </a:lnTo>
                  <a:lnTo>
                    <a:pt x="4" y="161"/>
                  </a:lnTo>
                  <a:lnTo>
                    <a:pt x="64" y="147"/>
                  </a:lnTo>
                  <a:lnTo>
                    <a:pt x="66" y="166"/>
                  </a:lnTo>
                  <a:lnTo>
                    <a:pt x="9" y="177"/>
                  </a:lnTo>
                  <a:lnTo>
                    <a:pt x="12" y="189"/>
                  </a:lnTo>
                  <a:lnTo>
                    <a:pt x="66" y="177"/>
                  </a:lnTo>
                  <a:lnTo>
                    <a:pt x="68" y="199"/>
                  </a:lnTo>
                  <a:lnTo>
                    <a:pt x="14" y="206"/>
                  </a:lnTo>
                  <a:lnTo>
                    <a:pt x="23" y="251"/>
                  </a:lnTo>
                  <a:lnTo>
                    <a:pt x="75" y="251"/>
                  </a:lnTo>
                  <a:lnTo>
                    <a:pt x="61" y="0"/>
                  </a:lnTo>
                  <a:close/>
                  <a:moveTo>
                    <a:pt x="14" y="33"/>
                  </a:moveTo>
                  <a:lnTo>
                    <a:pt x="57" y="17"/>
                  </a:lnTo>
                  <a:lnTo>
                    <a:pt x="59" y="35"/>
                  </a:lnTo>
                  <a:lnTo>
                    <a:pt x="12" y="50"/>
                  </a:lnTo>
                  <a:lnTo>
                    <a:pt x="14" y="33"/>
                  </a:lnTo>
                  <a:close/>
                  <a:moveTo>
                    <a:pt x="12" y="59"/>
                  </a:moveTo>
                  <a:lnTo>
                    <a:pt x="59" y="43"/>
                  </a:lnTo>
                  <a:lnTo>
                    <a:pt x="61" y="59"/>
                  </a:lnTo>
                  <a:lnTo>
                    <a:pt x="9" y="73"/>
                  </a:lnTo>
                  <a:lnTo>
                    <a:pt x="12" y="59"/>
                  </a:lnTo>
                  <a:close/>
                  <a:moveTo>
                    <a:pt x="9" y="83"/>
                  </a:moveTo>
                  <a:lnTo>
                    <a:pt x="61" y="69"/>
                  </a:lnTo>
                  <a:lnTo>
                    <a:pt x="61" y="85"/>
                  </a:lnTo>
                  <a:lnTo>
                    <a:pt x="7" y="99"/>
                  </a:lnTo>
                  <a:lnTo>
                    <a:pt x="9" y="83"/>
                  </a:lnTo>
                  <a:close/>
                  <a:moveTo>
                    <a:pt x="7" y="109"/>
                  </a:moveTo>
                  <a:lnTo>
                    <a:pt x="61" y="92"/>
                  </a:lnTo>
                  <a:lnTo>
                    <a:pt x="64" y="111"/>
                  </a:lnTo>
                  <a:lnTo>
                    <a:pt x="4" y="125"/>
                  </a:lnTo>
                  <a:lnTo>
                    <a:pt x="7" y="109"/>
                  </a:lnTo>
                  <a:close/>
                  <a:moveTo>
                    <a:pt x="2" y="151"/>
                  </a:moveTo>
                  <a:lnTo>
                    <a:pt x="4" y="135"/>
                  </a:lnTo>
                  <a:lnTo>
                    <a:pt x="64" y="118"/>
                  </a:lnTo>
                  <a:lnTo>
                    <a:pt x="64" y="135"/>
                  </a:lnTo>
                  <a:lnTo>
                    <a:pt x="2" y="151"/>
                  </a:lnTo>
                  <a:close/>
                  <a:moveTo>
                    <a:pt x="2" y="151"/>
                  </a:moveTo>
                  <a:lnTo>
                    <a:pt x="2" y="1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2" name="Freeform 17"/>
            <p:cNvSpPr>
              <a:spLocks noEditPoints="1"/>
            </p:cNvSpPr>
            <p:nvPr/>
          </p:nvSpPr>
          <p:spPr bwMode="auto">
            <a:xfrm>
              <a:off x="3417888" y="1649413"/>
              <a:ext cx="119063" cy="398463"/>
            </a:xfrm>
            <a:custGeom>
              <a:avLst/>
              <a:gdLst>
                <a:gd name="T0" fmla="*/ 61 w 75"/>
                <a:gd name="T1" fmla="*/ 0 h 251"/>
                <a:gd name="T2" fmla="*/ 9 w 75"/>
                <a:gd name="T3" fmla="*/ 21 h 251"/>
                <a:gd name="T4" fmla="*/ 0 w 75"/>
                <a:gd name="T5" fmla="*/ 135 h 251"/>
                <a:gd name="T6" fmla="*/ 4 w 75"/>
                <a:gd name="T7" fmla="*/ 161 h 251"/>
                <a:gd name="T8" fmla="*/ 64 w 75"/>
                <a:gd name="T9" fmla="*/ 147 h 251"/>
                <a:gd name="T10" fmla="*/ 66 w 75"/>
                <a:gd name="T11" fmla="*/ 166 h 251"/>
                <a:gd name="T12" fmla="*/ 9 w 75"/>
                <a:gd name="T13" fmla="*/ 177 h 251"/>
                <a:gd name="T14" fmla="*/ 12 w 75"/>
                <a:gd name="T15" fmla="*/ 189 h 251"/>
                <a:gd name="T16" fmla="*/ 66 w 75"/>
                <a:gd name="T17" fmla="*/ 177 h 251"/>
                <a:gd name="T18" fmla="*/ 68 w 75"/>
                <a:gd name="T19" fmla="*/ 199 h 251"/>
                <a:gd name="T20" fmla="*/ 14 w 75"/>
                <a:gd name="T21" fmla="*/ 206 h 251"/>
                <a:gd name="T22" fmla="*/ 23 w 75"/>
                <a:gd name="T23" fmla="*/ 251 h 251"/>
                <a:gd name="T24" fmla="*/ 75 w 75"/>
                <a:gd name="T25" fmla="*/ 251 h 251"/>
                <a:gd name="T26" fmla="*/ 61 w 75"/>
                <a:gd name="T27" fmla="*/ 0 h 251"/>
                <a:gd name="T28" fmla="*/ 14 w 75"/>
                <a:gd name="T29" fmla="*/ 33 h 251"/>
                <a:gd name="T30" fmla="*/ 57 w 75"/>
                <a:gd name="T31" fmla="*/ 17 h 251"/>
                <a:gd name="T32" fmla="*/ 59 w 75"/>
                <a:gd name="T33" fmla="*/ 35 h 251"/>
                <a:gd name="T34" fmla="*/ 12 w 75"/>
                <a:gd name="T35" fmla="*/ 50 h 251"/>
                <a:gd name="T36" fmla="*/ 14 w 75"/>
                <a:gd name="T37" fmla="*/ 33 h 251"/>
                <a:gd name="T38" fmla="*/ 12 w 75"/>
                <a:gd name="T39" fmla="*/ 59 h 251"/>
                <a:gd name="T40" fmla="*/ 59 w 75"/>
                <a:gd name="T41" fmla="*/ 43 h 251"/>
                <a:gd name="T42" fmla="*/ 61 w 75"/>
                <a:gd name="T43" fmla="*/ 59 h 251"/>
                <a:gd name="T44" fmla="*/ 9 w 75"/>
                <a:gd name="T45" fmla="*/ 73 h 251"/>
                <a:gd name="T46" fmla="*/ 12 w 75"/>
                <a:gd name="T47" fmla="*/ 59 h 251"/>
                <a:gd name="T48" fmla="*/ 9 w 75"/>
                <a:gd name="T49" fmla="*/ 83 h 251"/>
                <a:gd name="T50" fmla="*/ 61 w 75"/>
                <a:gd name="T51" fmla="*/ 69 h 251"/>
                <a:gd name="T52" fmla="*/ 61 w 75"/>
                <a:gd name="T53" fmla="*/ 85 h 251"/>
                <a:gd name="T54" fmla="*/ 7 w 75"/>
                <a:gd name="T55" fmla="*/ 99 h 251"/>
                <a:gd name="T56" fmla="*/ 9 w 75"/>
                <a:gd name="T57" fmla="*/ 83 h 251"/>
                <a:gd name="T58" fmla="*/ 7 w 75"/>
                <a:gd name="T59" fmla="*/ 109 h 251"/>
                <a:gd name="T60" fmla="*/ 61 w 75"/>
                <a:gd name="T61" fmla="*/ 92 h 251"/>
                <a:gd name="T62" fmla="*/ 64 w 75"/>
                <a:gd name="T63" fmla="*/ 111 h 251"/>
                <a:gd name="T64" fmla="*/ 4 w 75"/>
                <a:gd name="T65" fmla="*/ 125 h 251"/>
                <a:gd name="T66" fmla="*/ 7 w 75"/>
                <a:gd name="T67" fmla="*/ 109 h 251"/>
                <a:gd name="T68" fmla="*/ 2 w 75"/>
                <a:gd name="T69" fmla="*/ 151 h 251"/>
                <a:gd name="T70" fmla="*/ 4 w 75"/>
                <a:gd name="T71" fmla="*/ 135 h 251"/>
                <a:gd name="T72" fmla="*/ 64 w 75"/>
                <a:gd name="T73" fmla="*/ 118 h 251"/>
                <a:gd name="T74" fmla="*/ 64 w 75"/>
                <a:gd name="T75" fmla="*/ 135 h 251"/>
                <a:gd name="T76" fmla="*/ 2 w 75"/>
                <a:gd name="T77" fmla="*/ 151 h 251"/>
                <a:gd name="T78" fmla="*/ 2 w 75"/>
                <a:gd name="T79" fmla="*/ 151 h 251"/>
                <a:gd name="T80" fmla="*/ 2 w 75"/>
                <a:gd name="T81" fmla="*/ 1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 h="251">
                  <a:moveTo>
                    <a:pt x="61" y="0"/>
                  </a:moveTo>
                  <a:lnTo>
                    <a:pt x="9" y="21"/>
                  </a:lnTo>
                  <a:lnTo>
                    <a:pt x="0" y="135"/>
                  </a:lnTo>
                  <a:lnTo>
                    <a:pt x="4" y="161"/>
                  </a:lnTo>
                  <a:lnTo>
                    <a:pt x="64" y="147"/>
                  </a:lnTo>
                  <a:lnTo>
                    <a:pt x="66" y="166"/>
                  </a:lnTo>
                  <a:lnTo>
                    <a:pt x="9" y="177"/>
                  </a:lnTo>
                  <a:lnTo>
                    <a:pt x="12" y="189"/>
                  </a:lnTo>
                  <a:lnTo>
                    <a:pt x="66" y="177"/>
                  </a:lnTo>
                  <a:lnTo>
                    <a:pt x="68" y="199"/>
                  </a:lnTo>
                  <a:lnTo>
                    <a:pt x="14" y="206"/>
                  </a:lnTo>
                  <a:lnTo>
                    <a:pt x="23" y="251"/>
                  </a:lnTo>
                  <a:lnTo>
                    <a:pt x="75" y="251"/>
                  </a:lnTo>
                  <a:lnTo>
                    <a:pt x="61" y="0"/>
                  </a:lnTo>
                  <a:moveTo>
                    <a:pt x="14" y="33"/>
                  </a:moveTo>
                  <a:lnTo>
                    <a:pt x="57" y="17"/>
                  </a:lnTo>
                  <a:lnTo>
                    <a:pt x="59" y="35"/>
                  </a:lnTo>
                  <a:lnTo>
                    <a:pt x="12" y="50"/>
                  </a:lnTo>
                  <a:lnTo>
                    <a:pt x="14" y="33"/>
                  </a:lnTo>
                  <a:moveTo>
                    <a:pt x="12" y="59"/>
                  </a:moveTo>
                  <a:lnTo>
                    <a:pt x="59" y="43"/>
                  </a:lnTo>
                  <a:lnTo>
                    <a:pt x="61" y="59"/>
                  </a:lnTo>
                  <a:lnTo>
                    <a:pt x="9" y="73"/>
                  </a:lnTo>
                  <a:lnTo>
                    <a:pt x="12" y="59"/>
                  </a:lnTo>
                  <a:moveTo>
                    <a:pt x="9" y="83"/>
                  </a:moveTo>
                  <a:lnTo>
                    <a:pt x="61" y="69"/>
                  </a:lnTo>
                  <a:lnTo>
                    <a:pt x="61" y="85"/>
                  </a:lnTo>
                  <a:lnTo>
                    <a:pt x="7" y="99"/>
                  </a:lnTo>
                  <a:lnTo>
                    <a:pt x="9" y="83"/>
                  </a:lnTo>
                  <a:moveTo>
                    <a:pt x="7" y="109"/>
                  </a:moveTo>
                  <a:lnTo>
                    <a:pt x="61" y="92"/>
                  </a:lnTo>
                  <a:lnTo>
                    <a:pt x="64" y="111"/>
                  </a:lnTo>
                  <a:lnTo>
                    <a:pt x="4" y="125"/>
                  </a:lnTo>
                  <a:lnTo>
                    <a:pt x="7" y="109"/>
                  </a:lnTo>
                  <a:moveTo>
                    <a:pt x="2" y="151"/>
                  </a:moveTo>
                  <a:lnTo>
                    <a:pt x="4" y="135"/>
                  </a:lnTo>
                  <a:lnTo>
                    <a:pt x="64" y="118"/>
                  </a:lnTo>
                  <a:lnTo>
                    <a:pt x="64" y="135"/>
                  </a:lnTo>
                  <a:lnTo>
                    <a:pt x="2" y="151"/>
                  </a:lnTo>
                  <a:moveTo>
                    <a:pt x="2" y="151"/>
                  </a:moveTo>
                  <a:lnTo>
                    <a:pt x="2" y="151"/>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sp>
        <p:nvSpPr>
          <p:cNvPr id="123" name="Freeform 34"/>
          <p:cNvSpPr>
            <a:spLocks noEditPoints="1"/>
          </p:cNvSpPr>
          <p:nvPr/>
        </p:nvSpPr>
        <p:spPr bwMode="auto">
          <a:xfrm>
            <a:off x="8965703" y="4375319"/>
            <a:ext cx="474541" cy="552017"/>
          </a:xfrm>
          <a:custGeom>
            <a:avLst/>
            <a:gdLst>
              <a:gd name="T0" fmla="*/ 598 w 882"/>
              <a:gd name="T1" fmla="*/ 194 h 1026"/>
              <a:gd name="T2" fmla="*/ 458 w 882"/>
              <a:gd name="T3" fmla="*/ 128 h 1026"/>
              <a:gd name="T4" fmla="*/ 372 w 882"/>
              <a:gd name="T5" fmla="*/ 162 h 1026"/>
              <a:gd name="T6" fmla="*/ 242 w 882"/>
              <a:gd name="T7" fmla="*/ 198 h 1026"/>
              <a:gd name="T8" fmla="*/ 218 w 882"/>
              <a:gd name="T9" fmla="*/ 242 h 1026"/>
              <a:gd name="T10" fmla="*/ 182 w 882"/>
              <a:gd name="T11" fmla="*/ 290 h 1026"/>
              <a:gd name="T12" fmla="*/ 96 w 882"/>
              <a:gd name="T13" fmla="*/ 318 h 1026"/>
              <a:gd name="T14" fmla="*/ 132 w 882"/>
              <a:gd name="T15" fmla="*/ 572 h 1026"/>
              <a:gd name="T16" fmla="*/ 664 w 882"/>
              <a:gd name="T17" fmla="*/ 240 h 1026"/>
              <a:gd name="T18" fmla="*/ 882 w 882"/>
              <a:gd name="T19" fmla="*/ 258 h 1026"/>
              <a:gd name="T20" fmla="*/ 800 w 882"/>
              <a:gd name="T21" fmla="*/ 244 h 1026"/>
              <a:gd name="T22" fmla="*/ 734 w 882"/>
              <a:gd name="T23" fmla="*/ 182 h 1026"/>
              <a:gd name="T24" fmla="*/ 712 w 882"/>
              <a:gd name="T25" fmla="*/ 108 h 1026"/>
              <a:gd name="T26" fmla="*/ 592 w 882"/>
              <a:gd name="T27" fmla="*/ 94 h 1026"/>
              <a:gd name="T28" fmla="*/ 468 w 882"/>
              <a:gd name="T29" fmla="*/ 24 h 1026"/>
              <a:gd name="T30" fmla="*/ 362 w 882"/>
              <a:gd name="T31" fmla="*/ 60 h 1026"/>
              <a:gd name="T32" fmla="*/ 248 w 882"/>
              <a:gd name="T33" fmla="*/ 104 h 1026"/>
              <a:gd name="T34" fmla="*/ 166 w 882"/>
              <a:gd name="T35" fmla="*/ 106 h 1026"/>
              <a:gd name="T36" fmla="*/ 126 w 882"/>
              <a:gd name="T37" fmla="*/ 216 h 1026"/>
              <a:gd name="T38" fmla="*/ 52 w 882"/>
              <a:gd name="T39" fmla="*/ 254 h 1026"/>
              <a:gd name="T40" fmla="*/ 0 w 882"/>
              <a:gd name="T41" fmla="*/ 316 h 1026"/>
              <a:gd name="T42" fmla="*/ 36 w 882"/>
              <a:gd name="T43" fmla="*/ 560 h 1026"/>
              <a:gd name="T44" fmla="*/ 116 w 882"/>
              <a:gd name="T45" fmla="*/ 744 h 1026"/>
              <a:gd name="T46" fmla="*/ 216 w 882"/>
              <a:gd name="T47" fmla="*/ 876 h 1026"/>
              <a:gd name="T48" fmla="*/ 370 w 882"/>
              <a:gd name="T49" fmla="*/ 994 h 1026"/>
              <a:gd name="T50" fmla="*/ 460 w 882"/>
              <a:gd name="T51" fmla="*/ 1020 h 1026"/>
              <a:gd name="T52" fmla="*/ 624 w 882"/>
              <a:gd name="T53" fmla="*/ 916 h 1026"/>
              <a:gd name="T54" fmla="*/ 728 w 882"/>
              <a:gd name="T55" fmla="*/ 802 h 1026"/>
              <a:gd name="T56" fmla="*/ 818 w 882"/>
              <a:gd name="T57" fmla="*/ 640 h 1026"/>
              <a:gd name="T58" fmla="*/ 874 w 882"/>
              <a:gd name="T59" fmla="*/ 420 h 1026"/>
              <a:gd name="T60" fmla="*/ 444 w 882"/>
              <a:gd name="T61" fmla="*/ 936 h 1026"/>
              <a:gd name="T62" fmla="*/ 402 w 882"/>
              <a:gd name="T63" fmla="*/ 922 h 1026"/>
              <a:gd name="T64" fmla="*/ 252 w 882"/>
              <a:gd name="T65" fmla="*/ 810 h 1026"/>
              <a:gd name="T66" fmla="*/ 154 w 882"/>
              <a:gd name="T67" fmla="*/ 676 h 1026"/>
              <a:gd name="T68" fmla="*/ 96 w 882"/>
              <a:gd name="T69" fmla="*/ 516 h 1026"/>
              <a:gd name="T70" fmla="*/ 74 w 882"/>
              <a:gd name="T71" fmla="*/ 308 h 1026"/>
              <a:gd name="T72" fmla="*/ 92 w 882"/>
              <a:gd name="T73" fmla="*/ 298 h 1026"/>
              <a:gd name="T74" fmla="*/ 172 w 882"/>
              <a:gd name="T75" fmla="*/ 272 h 1026"/>
              <a:gd name="T76" fmla="*/ 204 w 882"/>
              <a:gd name="T77" fmla="*/ 220 h 1026"/>
              <a:gd name="T78" fmla="*/ 220 w 882"/>
              <a:gd name="T79" fmla="*/ 176 h 1026"/>
              <a:gd name="T80" fmla="*/ 278 w 882"/>
              <a:gd name="T81" fmla="*/ 174 h 1026"/>
              <a:gd name="T82" fmla="*/ 404 w 882"/>
              <a:gd name="T83" fmla="*/ 116 h 1026"/>
              <a:gd name="T84" fmla="*/ 478 w 882"/>
              <a:gd name="T85" fmla="*/ 116 h 1026"/>
              <a:gd name="T86" fmla="*/ 604 w 882"/>
              <a:gd name="T87" fmla="*/ 174 h 1026"/>
              <a:gd name="T88" fmla="*/ 662 w 882"/>
              <a:gd name="T89" fmla="*/ 176 h 1026"/>
              <a:gd name="T90" fmla="*/ 678 w 882"/>
              <a:gd name="T91" fmla="*/ 220 h 1026"/>
              <a:gd name="T92" fmla="*/ 710 w 882"/>
              <a:gd name="T93" fmla="*/ 272 h 1026"/>
              <a:gd name="T94" fmla="*/ 790 w 882"/>
              <a:gd name="T95" fmla="*/ 298 h 1026"/>
              <a:gd name="T96" fmla="*/ 808 w 882"/>
              <a:gd name="T97" fmla="*/ 308 h 1026"/>
              <a:gd name="T98" fmla="*/ 786 w 882"/>
              <a:gd name="T99" fmla="*/ 516 h 1026"/>
              <a:gd name="T100" fmla="*/ 728 w 882"/>
              <a:gd name="T101" fmla="*/ 676 h 1026"/>
              <a:gd name="T102" fmla="*/ 630 w 882"/>
              <a:gd name="T103" fmla="*/ 810 h 1026"/>
              <a:gd name="T104" fmla="*/ 480 w 882"/>
              <a:gd name="T105" fmla="*/ 922 h 1026"/>
              <a:gd name="T106" fmla="*/ 252 w 882"/>
              <a:gd name="T107" fmla="*/ 780 h 1026"/>
              <a:gd name="T108" fmla="*/ 396 w 882"/>
              <a:gd name="T109" fmla="*/ 894 h 1026"/>
              <a:gd name="T110" fmla="*/ 486 w 882"/>
              <a:gd name="T111" fmla="*/ 894 h 1026"/>
              <a:gd name="T112" fmla="*/ 628 w 882"/>
              <a:gd name="T113" fmla="*/ 782 h 1026"/>
              <a:gd name="T114" fmla="*/ 728 w 882"/>
              <a:gd name="T115" fmla="*/ 630 h 1026"/>
              <a:gd name="T116" fmla="*/ 774 w 882"/>
              <a:gd name="T117" fmla="*/ 474 h 1026"/>
              <a:gd name="T118" fmla="*/ 786 w 882"/>
              <a:gd name="T119" fmla="*/ 318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2" h="1026">
                <a:moveTo>
                  <a:pt x="654" y="198"/>
                </a:moveTo>
                <a:lnTo>
                  <a:pt x="654" y="198"/>
                </a:lnTo>
                <a:lnTo>
                  <a:pt x="640" y="198"/>
                </a:lnTo>
                <a:lnTo>
                  <a:pt x="620" y="198"/>
                </a:lnTo>
                <a:lnTo>
                  <a:pt x="598" y="194"/>
                </a:lnTo>
                <a:lnTo>
                  <a:pt x="572" y="188"/>
                </a:lnTo>
                <a:lnTo>
                  <a:pt x="542" y="178"/>
                </a:lnTo>
                <a:lnTo>
                  <a:pt x="510" y="162"/>
                </a:lnTo>
                <a:lnTo>
                  <a:pt x="476" y="142"/>
                </a:lnTo>
                <a:lnTo>
                  <a:pt x="458" y="128"/>
                </a:lnTo>
                <a:lnTo>
                  <a:pt x="442" y="114"/>
                </a:lnTo>
                <a:lnTo>
                  <a:pt x="442" y="114"/>
                </a:lnTo>
                <a:lnTo>
                  <a:pt x="424" y="128"/>
                </a:lnTo>
                <a:lnTo>
                  <a:pt x="406" y="142"/>
                </a:lnTo>
                <a:lnTo>
                  <a:pt x="372" y="162"/>
                </a:lnTo>
                <a:lnTo>
                  <a:pt x="340" y="178"/>
                </a:lnTo>
                <a:lnTo>
                  <a:pt x="312" y="188"/>
                </a:lnTo>
                <a:lnTo>
                  <a:pt x="284" y="194"/>
                </a:lnTo>
                <a:lnTo>
                  <a:pt x="262" y="198"/>
                </a:lnTo>
                <a:lnTo>
                  <a:pt x="242" y="198"/>
                </a:lnTo>
                <a:lnTo>
                  <a:pt x="228" y="198"/>
                </a:lnTo>
                <a:lnTo>
                  <a:pt x="228" y="198"/>
                </a:lnTo>
                <a:lnTo>
                  <a:pt x="226" y="214"/>
                </a:lnTo>
                <a:lnTo>
                  <a:pt x="224" y="228"/>
                </a:lnTo>
                <a:lnTo>
                  <a:pt x="218" y="242"/>
                </a:lnTo>
                <a:lnTo>
                  <a:pt x="214" y="254"/>
                </a:lnTo>
                <a:lnTo>
                  <a:pt x="206" y="264"/>
                </a:lnTo>
                <a:lnTo>
                  <a:pt x="200" y="274"/>
                </a:lnTo>
                <a:lnTo>
                  <a:pt x="192" y="282"/>
                </a:lnTo>
                <a:lnTo>
                  <a:pt x="182" y="290"/>
                </a:lnTo>
                <a:lnTo>
                  <a:pt x="162" y="302"/>
                </a:lnTo>
                <a:lnTo>
                  <a:pt x="142" y="312"/>
                </a:lnTo>
                <a:lnTo>
                  <a:pt x="118" y="316"/>
                </a:lnTo>
                <a:lnTo>
                  <a:pt x="96" y="318"/>
                </a:lnTo>
                <a:lnTo>
                  <a:pt x="96" y="318"/>
                </a:lnTo>
                <a:lnTo>
                  <a:pt x="98" y="376"/>
                </a:lnTo>
                <a:lnTo>
                  <a:pt x="102" y="430"/>
                </a:lnTo>
                <a:lnTo>
                  <a:pt x="110" y="480"/>
                </a:lnTo>
                <a:lnTo>
                  <a:pt x="120" y="528"/>
                </a:lnTo>
                <a:lnTo>
                  <a:pt x="132" y="572"/>
                </a:lnTo>
                <a:lnTo>
                  <a:pt x="148" y="612"/>
                </a:lnTo>
                <a:lnTo>
                  <a:pt x="164" y="650"/>
                </a:lnTo>
                <a:lnTo>
                  <a:pt x="184" y="684"/>
                </a:lnTo>
                <a:lnTo>
                  <a:pt x="664" y="240"/>
                </a:lnTo>
                <a:lnTo>
                  <a:pt x="664" y="240"/>
                </a:lnTo>
                <a:lnTo>
                  <a:pt x="658" y="220"/>
                </a:lnTo>
                <a:lnTo>
                  <a:pt x="654" y="198"/>
                </a:lnTo>
                <a:lnTo>
                  <a:pt x="654" y="198"/>
                </a:lnTo>
                <a:close/>
                <a:moveTo>
                  <a:pt x="882" y="258"/>
                </a:moveTo>
                <a:lnTo>
                  <a:pt x="882" y="258"/>
                </a:lnTo>
                <a:lnTo>
                  <a:pt x="876" y="258"/>
                </a:lnTo>
                <a:lnTo>
                  <a:pt x="856" y="258"/>
                </a:lnTo>
                <a:lnTo>
                  <a:pt x="830" y="254"/>
                </a:lnTo>
                <a:lnTo>
                  <a:pt x="816" y="250"/>
                </a:lnTo>
                <a:lnTo>
                  <a:pt x="800" y="244"/>
                </a:lnTo>
                <a:lnTo>
                  <a:pt x="786" y="238"/>
                </a:lnTo>
                <a:lnTo>
                  <a:pt x="770" y="228"/>
                </a:lnTo>
                <a:lnTo>
                  <a:pt x="756" y="216"/>
                </a:lnTo>
                <a:lnTo>
                  <a:pt x="744" y="200"/>
                </a:lnTo>
                <a:lnTo>
                  <a:pt x="734" y="182"/>
                </a:lnTo>
                <a:lnTo>
                  <a:pt x="726" y="160"/>
                </a:lnTo>
                <a:lnTo>
                  <a:pt x="720" y="136"/>
                </a:lnTo>
                <a:lnTo>
                  <a:pt x="718" y="106"/>
                </a:lnTo>
                <a:lnTo>
                  <a:pt x="718" y="106"/>
                </a:lnTo>
                <a:lnTo>
                  <a:pt x="712" y="108"/>
                </a:lnTo>
                <a:lnTo>
                  <a:pt x="694" y="110"/>
                </a:lnTo>
                <a:lnTo>
                  <a:pt x="668" y="108"/>
                </a:lnTo>
                <a:lnTo>
                  <a:pt x="634" y="104"/>
                </a:lnTo>
                <a:lnTo>
                  <a:pt x="614" y="100"/>
                </a:lnTo>
                <a:lnTo>
                  <a:pt x="592" y="94"/>
                </a:lnTo>
                <a:lnTo>
                  <a:pt x="568" y="84"/>
                </a:lnTo>
                <a:lnTo>
                  <a:pt x="544" y="74"/>
                </a:lnTo>
                <a:lnTo>
                  <a:pt x="520" y="60"/>
                </a:lnTo>
                <a:lnTo>
                  <a:pt x="494" y="44"/>
                </a:lnTo>
                <a:lnTo>
                  <a:pt x="468" y="24"/>
                </a:lnTo>
                <a:lnTo>
                  <a:pt x="442" y="0"/>
                </a:lnTo>
                <a:lnTo>
                  <a:pt x="442" y="0"/>
                </a:lnTo>
                <a:lnTo>
                  <a:pt x="414" y="24"/>
                </a:lnTo>
                <a:lnTo>
                  <a:pt x="388" y="44"/>
                </a:lnTo>
                <a:lnTo>
                  <a:pt x="362" y="60"/>
                </a:lnTo>
                <a:lnTo>
                  <a:pt x="338" y="74"/>
                </a:lnTo>
                <a:lnTo>
                  <a:pt x="314" y="84"/>
                </a:lnTo>
                <a:lnTo>
                  <a:pt x="290" y="94"/>
                </a:lnTo>
                <a:lnTo>
                  <a:pt x="268" y="100"/>
                </a:lnTo>
                <a:lnTo>
                  <a:pt x="248" y="104"/>
                </a:lnTo>
                <a:lnTo>
                  <a:pt x="214" y="108"/>
                </a:lnTo>
                <a:lnTo>
                  <a:pt x="188" y="110"/>
                </a:lnTo>
                <a:lnTo>
                  <a:pt x="172" y="108"/>
                </a:lnTo>
                <a:lnTo>
                  <a:pt x="166" y="106"/>
                </a:lnTo>
                <a:lnTo>
                  <a:pt x="166" y="106"/>
                </a:lnTo>
                <a:lnTo>
                  <a:pt x="162" y="136"/>
                </a:lnTo>
                <a:lnTo>
                  <a:pt x="156" y="160"/>
                </a:lnTo>
                <a:lnTo>
                  <a:pt x="148" y="182"/>
                </a:lnTo>
                <a:lnTo>
                  <a:pt x="138" y="200"/>
                </a:lnTo>
                <a:lnTo>
                  <a:pt x="126" y="216"/>
                </a:lnTo>
                <a:lnTo>
                  <a:pt x="112" y="228"/>
                </a:lnTo>
                <a:lnTo>
                  <a:pt x="96" y="238"/>
                </a:lnTo>
                <a:lnTo>
                  <a:pt x="82" y="244"/>
                </a:lnTo>
                <a:lnTo>
                  <a:pt x="66" y="250"/>
                </a:lnTo>
                <a:lnTo>
                  <a:pt x="52" y="254"/>
                </a:lnTo>
                <a:lnTo>
                  <a:pt x="26" y="258"/>
                </a:lnTo>
                <a:lnTo>
                  <a:pt x="6" y="258"/>
                </a:lnTo>
                <a:lnTo>
                  <a:pt x="0" y="258"/>
                </a:lnTo>
                <a:lnTo>
                  <a:pt x="0" y="258"/>
                </a:lnTo>
                <a:lnTo>
                  <a:pt x="0" y="316"/>
                </a:lnTo>
                <a:lnTo>
                  <a:pt x="4" y="370"/>
                </a:lnTo>
                <a:lnTo>
                  <a:pt x="8" y="420"/>
                </a:lnTo>
                <a:lnTo>
                  <a:pt x="16" y="470"/>
                </a:lnTo>
                <a:lnTo>
                  <a:pt x="26" y="516"/>
                </a:lnTo>
                <a:lnTo>
                  <a:pt x="36" y="560"/>
                </a:lnTo>
                <a:lnTo>
                  <a:pt x="50" y="602"/>
                </a:lnTo>
                <a:lnTo>
                  <a:pt x="64" y="640"/>
                </a:lnTo>
                <a:lnTo>
                  <a:pt x="80" y="678"/>
                </a:lnTo>
                <a:lnTo>
                  <a:pt x="98" y="712"/>
                </a:lnTo>
                <a:lnTo>
                  <a:pt x="116" y="744"/>
                </a:lnTo>
                <a:lnTo>
                  <a:pt x="134" y="774"/>
                </a:lnTo>
                <a:lnTo>
                  <a:pt x="154" y="802"/>
                </a:lnTo>
                <a:lnTo>
                  <a:pt x="174" y="830"/>
                </a:lnTo>
                <a:lnTo>
                  <a:pt x="196" y="854"/>
                </a:lnTo>
                <a:lnTo>
                  <a:pt x="216" y="876"/>
                </a:lnTo>
                <a:lnTo>
                  <a:pt x="238" y="896"/>
                </a:lnTo>
                <a:lnTo>
                  <a:pt x="258" y="916"/>
                </a:lnTo>
                <a:lnTo>
                  <a:pt x="298" y="948"/>
                </a:lnTo>
                <a:lnTo>
                  <a:pt x="336" y="974"/>
                </a:lnTo>
                <a:lnTo>
                  <a:pt x="370" y="994"/>
                </a:lnTo>
                <a:lnTo>
                  <a:pt x="400" y="1008"/>
                </a:lnTo>
                <a:lnTo>
                  <a:pt x="422" y="1020"/>
                </a:lnTo>
                <a:lnTo>
                  <a:pt x="442" y="1026"/>
                </a:lnTo>
                <a:lnTo>
                  <a:pt x="442" y="1026"/>
                </a:lnTo>
                <a:lnTo>
                  <a:pt x="460" y="1020"/>
                </a:lnTo>
                <a:lnTo>
                  <a:pt x="482" y="1008"/>
                </a:lnTo>
                <a:lnTo>
                  <a:pt x="512" y="994"/>
                </a:lnTo>
                <a:lnTo>
                  <a:pt x="546" y="974"/>
                </a:lnTo>
                <a:lnTo>
                  <a:pt x="584" y="948"/>
                </a:lnTo>
                <a:lnTo>
                  <a:pt x="624" y="916"/>
                </a:lnTo>
                <a:lnTo>
                  <a:pt x="644" y="896"/>
                </a:lnTo>
                <a:lnTo>
                  <a:pt x="666" y="876"/>
                </a:lnTo>
                <a:lnTo>
                  <a:pt x="686" y="854"/>
                </a:lnTo>
                <a:lnTo>
                  <a:pt x="708" y="830"/>
                </a:lnTo>
                <a:lnTo>
                  <a:pt x="728" y="802"/>
                </a:lnTo>
                <a:lnTo>
                  <a:pt x="748" y="774"/>
                </a:lnTo>
                <a:lnTo>
                  <a:pt x="766" y="744"/>
                </a:lnTo>
                <a:lnTo>
                  <a:pt x="784" y="712"/>
                </a:lnTo>
                <a:lnTo>
                  <a:pt x="802" y="678"/>
                </a:lnTo>
                <a:lnTo>
                  <a:pt x="818" y="640"/>
                </a:lnTo>
                <a:lnTo>
                  <a:pt x="832" y="602"/>
                </a:lnTo>
                <a:lnTo>
                  <a:pt x="846" y="560"/>
                </a:lnTo>
                <a:lnTo>
                  <a:pt x="856" y="516"/>
                </a:lnTo>
                <a:lnTo>
                  <a:pt x="866" y="470"/>
                </a:lnTo>
                <a:lnTo>
                  <a:pt x="874" y="420"/>
                </a:lnTo>
                <a:lnTo>
                  <a:pt x="880" y="370"/>
                </a:lnTo>
                <a:lnTo>
                  <a:pt x="882" y="316"/>
                </a:lnTo>
                <a:lnTo>
                  <a:pt x="882" y="258"/>
                </a:lnTo>
                <a:lnTo>
                  <a:pt x="882" y="258"/>
                </a:lnTo>
                <a:close/>
                <a:moveTo>
                  <a:pt x="444" y="936"/>
                </a:moveTo>
                <a:lnTo>
                  <a:pt x="442" y="938"/>
                </a:lnTo>
                <a:lnTo>
                  <a:pt x="438" y="936"/>
                </a:lnTo>
                <a:lnTo>
                  <a:pt x="438" y="936"/>
                </a:lnTo>
                <a:lnTo>
                  <a:pt x="420" y="930"/>
                </a:lnTo>
                <a:lnTo>
                  <a:pt x="402" y="922"/>
                </a:lnTo>
                <a:lnTo>
                  <a:pt x="378" y="908"/>
                </a:lnTo>
                <a:lnTo>
                  <a:pt x="350" y="892"/>
                </a:lnTo>
                <a:lnTo>
                  <a:pt x="320" y="870"/>
                </a:lnTo>
                <a:lnTo>
                  <a:pt x="286" y="844"/>
                </a:lnTo>
                <a:lnTo>
                  <a:pt x="252" y="810"/>
                </a:lnTo>
                <a:lnTo>
                  <a:pt x="218" y="772"/>
                </a:lnTo>
                <a:lnTo>
                  <a:pt x="202" y="750"/>
                </a:lnTo>
                <a:lnTo>
                  <a:pt x="184" y="728"/>
                </a:lnTo>
                <a:lnTo>
                  <a:pt x="170" y="702"/>
                </a:lnTo>
                <a:lnTo>
                  <a:pt x="154" y="676"/>
                </a:lnTo>
                <a:lnTo>
                  <a:pt x="140" y="648"/>
                </a:lnTo>
                <a:lnTo>
                  <a:pt x="128" y="618"/>
                </a:lnTo>
                <a:lnTo>
                  <a:pt x="116" y="586"/>
                </a:lnTo>
                <a:lnTo>
                  <a:pt x="104" y="552"/>
                </a:lnTo>
                <a:lnTo>
                  <a:pt x="96" y="516"/>
                </a:lnTo>
                <a:lnTo>
                  <a:pt x="88" y="480"/>
                </a:lnTo>
                <a:lnTo>
                  <a:pt x="82" y="440"/>
                </a:lnTo>
                <a:lnTo>
                  <a:pt x="78" y="398"/>
                </a:lnTo>
                <a:lnTo>
                  <a:pt x="76" y="354"/>
                </a:lnTo>
                <a:lnTo>
                  <a:pt x="74" y="308"/>
                </a:lnTo>
                <a:lnTo>
                  <a:pt x="74" y="296"/>
                </a:lnTo>
                <a:lnTo>
                  <a:pt x="86" y="298"/>
                </a:lnTo>
                <a:lnTo>
                  <a:pt x="86" y="298"/>
                </a:lnTo>
                <a:lnTo>
                  <a:pt x="92" y="298"/>
                </a:lnTo>
                <a:lnTo>
                  <a:pt x="92" y="298"/>
                </a:lnTo>
                <a:lnTo>
                  <a:pt x="108" y="296"/>
                </a:lnTo>
                <a:lnTo>
                  <a:pt x="124" y="294"/>
                </a:lnTo>
                <a:lnTo>
                  <a:pt x="144" y="288"/>
                </a:lnTo>
                <a:lnTo>
                  <a:pt x="162" y="280"/>
                </a:lnTo>
                <a:lnTo>
                  <a:pt x="172" y="272"/>
                </a:lnTo>
                <a:lnTo>
                  <a:pt x="180" y="266"/>
                </a:lnTo>
                <a:lnTo>
                  <a:pt x="188" y="256"/>
                </a:lnTo>
                <a:lnTo>
                  <a:pt x="194" y="246"/>
                </a:lnTo>
                <a:lnTo>
                  <a:pt x="200" y="234"/>
                </a:lnTo>
                <a:lnTo>
                  <a:pt x="204" y="220"/>
                </a:lnTo>
                <a:lnTo>
                  <a:pt x="206" y="204"/>
                </a:lnTo>
                <a:lnTo>
                  <a:pt x="208" y="186"/>
                </a:lnTo>
                <a:lnTo>
                  <a:pt x="208" y="172"/>
                </a:lnTo>
                <a:lnTo>
                  <a:pt x="220" y="176"/>
                </a:lnTo>
                <a:lnTo>
                  <a:pt x="220" y="176"/>
                </a:lnTo>
                <a:lnTo>
                  <a:pt x="226" y="176"/>
                </a:lnTo>
                <a:lnTo>
                  <a:pt x="244" y="178"/>
                </a:lnTo>
                <a:lnTo>
                  <a:pt x="244" y="178"/>
                </a:lnTo>
                <a:lnTo>
                  <a:pt x="260" y="176"/>
                </a:lnTo>
                <a:lnTo>
                  <a:pt x="278" y="174"/>
                </a:lnTo>
                <a:lnTo>
                  <a:pt x="300" y="170"/>
                </a:lnTo>
                <a:lnTo>
                  <a:pt x="322" y="162"/>
                </a:lnTo>
                <a:lnTo>
                  <a:pt x="348" y="152"/>
                </a:lnTo>
                <a:lnTo>
                  <a:pt x="376" y="136"/>
                </a:lnTo>
                <a:lnTo>
                  <a:pt x="404" y="116"/>
                </a:lnTo>
                <a:lnTo>
                  <a:pt x="434" y="92"/>
                </a:lnTo>
                <a:lnTo>
                  <a:pt x="442" y="84"/>
                </a:lnTo>
                <a:lnTo>
                  <a:pt x="448" y="92"/>
                </a:lnTo>
                <a:lnTo>
                  <a:pt x="448" y="92"/>
                </a:lnTo>
                <a:lnTo>
                  <a:pt x="478" y="116"/>
                </a:lnTo>
                <a:lnTo>
                  <a:pt x="506" y="136"/>
                </a:lnTo>
                <a:lnTo>
                  <a:pt x="534" y="152"/>
                </a:lnTo>
                <a:lnTo>
                  <a:pt x="560" y="162"/>
                </a:lnTo>
                <a:lnTo>
                  <a:pt x="582" y="170"/>
                </a:lnTo>
                <a:lnTo>
                  <a:pt x="604" y="174"/>
                </a:lnTo>
                <a:lnTo>
                  <a:pt x="622" y="176"/>
                </a:lnTo>
                <a:lnTo>
                  <a:pt x="638" y="178"/>
                </a:lnTo>
                <a:lnTo>
                  <a:pt x="638" y="178"/>
                </a:lnTo>
                <a:lnTo>
                  <a:pt x="656" y="176"/>
                </a:lnTo>
                <a:lnTo>
                  <a:pt x="662" y="176"/>
                </a:lnTo>
                <a:lnTo>
                  <a:pt x="674" y="172"/>
                </a:lnTo>
                <a:lnTo>
                  <a:pt x="674" y="186"/>
                </a:lnTo>
                <a:lnTo>
                  <a:pt x="674" y="186"/>
                </a:lnTo>
                <a:lnTo>
                  <a:pt x="676" y="204"/>
                </a:lnTo>
                <a:lnTo>
                  <a:pt x="678" y="220"/>
                </a:lnTo>
                <a:lnTo>
                  <a:pt x="682" y="234"/>
                </a:lnTo>
                <a:lnTo>
                  <a:pt x="688" y="246"/>
                </a:lnTo>
                <a:lnTo>
                  <a:pt x="694" y="256"/>
                </a:lnTo>
                <a:lnTo>
                  <a:pt x="702" y="266"/>
                </a:lnTo>
                <a:lnTo>
                  <a:pt x="710" y="272"/>
                </a:lnTo>
                <a:lnTo>
                  <a:pt x="720" y="280"/>
                </a:lnTo>
                <a:lnTo>
                  <a:pt x="738" y="288"/>
                </a:lnTo>
                <a:lnTo>
                  <a:pt x="758" y="294"/>
                </a:lnTo>
                <a:lnTo>
                  <a:pt x="774" y="296"/>
                </a:lnTo>
                <a:lnTo>
                  <a:pt x="790" y="298"/>
                </a:lnTo>
                <a:lnTo>
                  <a:pt x="790" y="298"/>
                </a:lnTo>
                <a:lnTo>
                  <a:pt x="796" y="298"/>
                </a:lnTo>
                <a:lnTo>
                  <a:pt x="808" y="296"/>
                </a:lnTo>
                <a:lnTo>
                  <a:pt x="808" y="308"/>
                </a:lnTo>
                <a:lnTo>
                  <a:pt x="808" y="308"/>
                </a:lnTo>
                <a:lnTo>
                  <a:pt x="808" y="354"/>
                </a:lnTo>
                <a:lnTo>
                  <a:pt x="804" y="398"/>
                </a:lnTo>
                <a:lnTo>
                  <a:pt x="800" y="440"/>
                </a:lnTo>
                <a:lnTo>
                  <a:pt x="794" y="480"/>
                </a:lnTo>
                <a:lnTo>
                  <a:pt x="786" y="516"/>
                </a:lnTo>
                <a:lnTo>
                  <a:pt x="778" y="552"/>
                </a:lnTo>
                <a:lnTo>
                  <a:pt x="766" y="586"/>
                </a:lnTo>
                <a:lnTo>
                  <a:pt x="754" y="618"/>
                </a:lnTo>
                <a:lnTo>
                  <a:pt x="742" y="648"/>
                </a:lnTo>
                <a:lnTo>
                  <a:pt x="728" y="676"/>
                </a:lnTo>
                <a:lnTo>
                  <a:pt x="712" y="702"/>
                </a:lnTo>
                <a:lnTo>
                  <a:pt x="698" y="728"/>
                </a:lnTo>
                <a:lnTo>
                  <a:pt x="682" y="750"/>
                </a:lnTo>
                <a:lnTo>
                  <a:pt x="664" y="772"/>
                </a:lnTo>
                <a:lnTo>
                  <a:pt x="630" y="810"/>
                </a:lnTo>
                <a:lnTo>
                  <a:pt x="596" y="844"/>
                </a:lnTo>
                <a:lnTo>
                  <a:pt x="564" y="870"/>
                </a:lnTo>
                <a:lnTo>
                  <a:pt x="532" y="892"/>
                </a:lnTo>
                <a:lnTo>
                  <a:pt x="504" y="908"/>
                </a:lnTo>
                <a:lnTo>
                  <a:pt x="480" y="922"/>
                </a:lnTo>
                <a:lnTo>
                  <a:pt x="462" y="930"/>
                </a:lnTo>
                <a:lnTo>
                  <a:pt x="444" y="936"/>
                </a:lnTo>
                <a:lnTo>
                  <a:pt x="444" y="936"/>
                </a:lnTo>
                <a:close/>
                <a:moveTo>
                  <a:pt x="252" y="780"/>
                </a:moveTo>
                <a:lnTo>
                  <a:pt x="252" y="780"/>
                </a:lnTo>
                <a:lnTo>
                  <a:pt x="282" y="812"/>
                </a:lnTo>
                <a:lnTo>
                  <a:pt x="314" y="840"/>
                </a:lnTo>
                <a:lnTo>
                  <a:pt x="344" y="862"/>
                </a:lnTo>
                <a:lnTo>
                  <a:pt x="370" y="880"/>
                </a:lnTo>
                <a:lnTo>
                  <a:pt x="396" y="894"/>
                </a:lnTo>
                <a:lnTo>
                  <a:pt x="416" y="904"/>
                </a:lnTo>
                <a:lnTo>
                  <a:pt x="442" y="916"/>
                </a:lnTo>
                <a:lnTo>
                  <a:pt x="442" y="916"/>
                </a:lnTo>
                <a:lnTo>
                  <a:pt x="466" y="904"/>
                </a:lnTo>
                <a:lnTo>
                  <a:pt x="486" y="894"/>
                </a:lnTo>
                <a:lnTo>
                  <a:pt x="510" y="880"/>
                </a:lnTo>
                <a:lnTo>
                  <a:pt x="538" y="862"/>
                </a:lnTo>
                <a:lnTo>
                  <a:pt x="566" y="840"/>
                </a:lnTo>
                <a:lnTo>
                  <a:pt x="598" y="814"/>
                </a:lnTo>
                <a:lnTo>
                  <a:pt x="628" y="782"/>
                </a:lnTo>
                <a:lnTo>
                  <a:pt x="658" y="746"/>
                </a:lnTo>
                <a:lnTo>
                  <a:pt x="688" y="704"/>
                </a:lnTo>
                <a:lnTo>
                  <a:pt x="702" y="680"/>
                </a:lnTo>
                <a:lnTo>
                  <a:pt x="714" y="656"/>
                </a:lnTo>
                <a:lnTo>
                  <a:pt x="728" y="630"/>
                </a:lnTo>
                <a:lnTo>
                  <a:pt x="738" y="602"/>
                </a:lnTo>
                <a:lnTo>
                  <a:pt x="750" y="572"/>
                </a:lnTo>
                <a:lnTo>
                  <a:pt x="758" y="540"/>
                </a:lnTo>
                <a:lnTo>
                  <a:pt x="766" y="508"/>
                </a:lnTo>
                <a:lnTo>
                  <a:pt x="774" y="474"/>
                </a:lnTo>
                <a:lnTo>
                  <a:pt x="780" y="438"/>
                </a:lnTo>
                <a:lnTo>
                  <a:pt x="784" y="400"/>
                </a:lnTo>
                <a:lnTo>
                  <a:pt x="786" y="360"/>
                </a:lnTo>
                <a:lnTo>
                  <a:pt x="786" y="318"/>
                </a:lnTo>
                <a:lnTo>
                  <a:pt x="786" y="318"/>
                </a:lnTo>
                <a:lnTo>
                  <a:pt x="770" y="318"/>
                </a:lnTo>
                <a:lnTo>
                  <a:pt x="752" y="314"/>
                </a:lnTo>
                <a:lnTo>
                  <a:pt x="252" y="780"/>
                </a:lnTo>
                <a:close/>
              </a:path>
            </a:pathLst>
          </a:custGeom>
          <a:solidFill>
            <a:schemeClr val="accent1"/>
          </a:solid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nvGrpSpPr>
          <p:cNvPr id="21" name="组合 20"/>
          <p:cNvGrpSpPr/>
          <p:nvPr/>
        </p:nvGrpSpPr>
        <p:grpSpPr>
          <a:xfrm>
            <a:off x="1127873" y="2112445"/>
            <a:ext cx="8351864" cy="585845"/>
            <a:chOff x="1173138" y="2309756"/>
            <a:chExt cx="8351864" cy="585845"/>
          </a:xfrm>
        </p:grpSpPr>
        <p:grpSp>
          <p:nvGrpSpPr>
            <p:cNvPr id="124" name="Group 286"/>
            <p:cNvGrpSpPr/>
            <p:nvPr/>
          </p:nvGrpSpPr>
          <p:grpSpPr>
            <a:xfrm>
              <a:off x="1173138" y="2309756"/>
              <a:ext cx="448834" cy="442686"/>
              <a:chOff x="3664942" y="-448400"/>
              <a:chExt cx="296603" cy="292540"/>
            </a:xfrm>
            <a:solidFill>
              <a:schemeClr val="accent1"/>
            </a:solidFill>
          </p:grpSpPr>
          <p:sp>
            <p:nvSpPr>
              <p:cNvPr id="128" name="Freeform 97"/>
              <p:cNvSpPr>
                <a:spLocks noEditPoints="1"/>
              </p:cNvSpPr>
              <p:nvPr/>
            </p:nvSpPr>
            <p:spPr bwMode="auto">
              <a:xfrm>
                <a:off x="3664942" y="-448400"/>
                <a:ext cx="231594" cy="136790"/>
              </a:xfrm>
              <a:custGeom>
                <a:avLst/>
                <a:gdLst>
                  <a:gd name="T0" fmla="*/ 35 w 70"/>
                  <a:gd name="T1" fmla="*/ 41 h 41"/>
                  <a:gd name="T2" fmla="*/ 70 w 70"/>
                  <a:gd name="T3" fmla="*/ 27 h 41"/>
                  <a:gd name="T4" fmla="*/ 70 w 70"/>
                  <a:gd name="T5" fmla="*/ 14 h 41"/>
                  <a:gd name="T6" fmla="*/ 35 w 70"/>
                  <a:gd name="T7" fmla="*/ 0 h 41"/>
                  <a:gd name="T8" fmla="*/ 0 w 70"/>
                  <a:gd name="T9" fmla="*/ 14 h 41"/>
                  <a:gd name="T10" fmla="*/ 0 w 70"/>
                  <a:gd name="T11" fmla="*/ 27 h 41"/>
                  <a:gd name="T12" fmla="*/ 35 w 70"/>
                  <a:gd name="T13" fmla="*/ 41 h 41"/>
                  <a:gd name="T14" fmla="*/ 35 w 70"/>
                  <a:gd name="T15" fmla="*/ 3 h 41"/>
                  <a:gd name="T16" fmla="*/ 66 w 70"/>
                  <a:gd name="T17" fmla="*/ 14 h 41"/>
                  <a:gd name="T18" fmla="*/ 35 w 70"/>
                  <a:gd name="T19" fmla="*/ 24 h 41"/>
                  <a:gd name="T20" fmla="*/ 4 w 70"/>
                  <a:gd name="T21" fmla="*/ 14 h 41"/>
                  <a:gd name="T22" fmla="*/ 35 w 70"/>
                  <a:gd name="T23"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41">
                    <a:moveTo>
                      <a:pt x="35" y="41"/>
                    </a:moveTo>
                    <a:cubicBezTo>
                      <a:pt x="54" y="41"/>
                      <a:pt x="70" y="35"/>
                      <a:pt x="70" y="27"/>
                    </a:cubicBezTo>
                    <a:cubicBezTo>
                      <a:pt x="70" y="14"/>
                      <a:pt x="70" y="14"/>
                      <a:pt x="70" y="14"/>
                    </a:cubicBezTo>
                    <a:cubicBezTo>
                      <a:pt x="70" y="6"/>
                      <a:pt x="54" y="0"/>
                      <a:pt x="35" y="0"/>
                    </a:cubicBezTo>
                    <a:cubicBezTo>
                      <a:pt x="16" y="0"/>
                      <a:pt x="0" y="6"/>
                      <a:pt x="0" y="14"/>
                    </a:cubicBezTo>
                    <a:cubicBezTo>
                      <a:pt x="0" y="27"/>
                      <a:pt x="0" y="27"/>
                      <a:pt x="0" y="27"/>
                    </a:cubicBezTo>
                    <a:cubicBezTo>
                      <a:pt x="0" y="35"/>
                      <a:pt x="16" y="41"/>
                      <a:pt x="35" y="41"/>
                    </a:cubicBezTo>
                    <a:close/>
                    <a:moveTo>
                      <a:pt x="35" y="3"/>
                    </a:moveTo>
                    <a:cubicBezTo>
                      <a:pt x="54" y="3"/>
                      <a:pt x="66" y="9"/>
                      <a:pt x="66" y="14"/>
                    </a:cubicBezTo>
                    <a:cubicBezTo>
                      <a:pt x="66" y="18"/>
                      <a:pt x="54" y="24"/>
                      <a:pt x="35" y="24"/>
                    </a:cubicBezTo>
                    <a:cubicBezTo>
                      <a:pt x="16" y="24"/>
                      <a:pt x="4" y="18"/>
                      <a:pt x="4" y="14"/>
                    </a:cubicBezTo>
                    <a:cubicBezTo>
                      <a:pt x="4" y="9"/>
                      <a:pt x="16" y="3"/>
                      <a:pt x="3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 name="Freeform 98"/>
              <p:cNvSpPr/>
              <p:nvPr/>
            </p:nvSpPr>
            <p:spPr bwMode="auto">
              <a:xfrm>
                <a:off x="3664942" y="-334634"/>
                <a:ext cx="231594" cy="92096"/>
              </a:xfrm>
              <a:custGeom>
                <a:avLst/>
                <a:gdLst>
                  <a:gd name="T0" fmla="*/ 35 w 70"/>
                  <a:gd name="T1" fmla="*/ 28 h 28"/>
                  <a:gd name="T2" fmla="*/ 47 w 70"/>
                  <a:gd name="T3" fmla="*/ 27 h 28"/>
                  <a:gd name="T4" fmla="*/ 70 w 70"/>
                  <a:gd name="T5" fmla="*/ 10 h 28"/>
                  <a:gd name="T6" fmla="*/ 70 w 70"/>
                  <a:gd name="T7" fmla="*/ 0 h 28"/>
                  <a:gd name="T8" fmla="*/ 35 w 70"/>
                  <a:gd name="T9" fmla="*/ 14 h 28"/>
                  <a:gd name="T10" fmla="*/ 0 w 70"/>
                  <a:gd name="T11" fmla="*/ 0 h 28"/>
                  <a:gd name="T12" fmla="*/ 0 w 70"/>
                  <a:gd name="T13" fmla="*/ 14 h 28"/>
                  <a:gd name="T14" fmla="*/ 35 w 7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8">
                    <a:moveTo>
                      <a:pt x="35" y="28"/>
                    </a:moveTo>
                    <a:cubicBezTo>
                      <a:pt x="39" y="28"/>
                      <a:pt x="43" y="28"/>
                      <a:pt x="47" y="27"/>
                    </a:cubicBezTo>
                    <a:cubicBezTo>
                      <a:pt x="50" y="18"/>
                      <a:pt x="59" y="10"/>
                      <a:pt x="70" y="10"/>
                    </a:cubicBezTo>
                    <a:cubicBezTo>
                      <a:pt x="70" y="0"/>
                      <a:pt x="70" y="0"/>
                      <a:pt x="70" y="0"/>
                    </a:cubicBezTo>
                    <a:cubicBezTo>
                      <a:pt x="70" y="8"/>
                      <a:pt x="54" y="14"/>
                      <a:pt x="35" y="14"/>
                    </a:cubicBezTo>
                    <a:cubicBezTo>
                      <a:pt x="16" y="14"/>
                      <a:pt x="0" y="8"/>
                      <a:pt x="0" y="0"/>
                    </a:cubicBezTo>
                    <a:cubicBezTo>
                      <a:pt x="0" y="14"/>
                      <a:pt x="0" y="14"/>
                      <a:pt x="0" y="14"/>
                    </a:cubicBezTo>
                    <a:cubicBezTo>
                      <a:pt x="0" y="22"/>
                      <a:pt x="16" y="28"/>
                      <a:pt x="35"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 name="Freeform 99"/>
              <p:cNvSpPr/>
              <p:nvPr/>
            </p:nvSpPr>
            <p:spPr bwMode="auto">
              <a:xfrm>
                <a:off x="3664942" y="-265562"/>
                <a:ext cx="165231" cy="92096"/>
              </a:xfrm>
              <a:custGeom>
                <a:avLst/>
                <a:gdLst>
                  <a:gd name="T0" fmla="*/ 35 w 50"/>
                  <a:gd name="T1" fmla="*/ 14 h 28"/>
                  <a:gd name="T2" fmla="*/ 0 w 50"/>
                  <a:gd name="T3" fmla="*/ 0 h 28"/>
                  <a:gd name="T4" fmla="*/ 0 w 50"/>
                  <a:gd name="T5" fmla="*/ 14 h 28"/>
                  <a:gd name="T6" fmla="*/ 35 w 50"/>
                  <a:gd name="T7" fmla="*/ 28 h 28"/>
                  <a:gd name="T8" fmla="*/ 50 w 50"/>
                  <a:gd name="T9" fmla="*/ 27 h 28"/>
                  <a:gd name="T10" fmla="*/ 46 w 50"/>
                  <a:gd name="T11" fmla="*/ 14 h 28"/>
                  <a:gd name="T12" fmla="*/ 35 w 50"/>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50" h="28">
                    <a:moveTo>
                      <a:pt x="35" y="14"/>
                    </a:moveTo>
                    <a:cubicBezTo>
                      <a:pt x="16" y="14"/>
                      <a:pt x="0" y="8"/>
                      <a:pt x="0" y="0"/>
                    </a:cubicBezTo>
                    <a:cubicBezTo>
                      <a:pt x="0" y="14"/>
                      <a:pt x="0" y="14"/>
                      <a:pt x="0" y="14"/>
                    </a:cubicBezTo>
                    <a:cubicBezTo>
                      <a:pt x="0" y="22"/>
                      <a:pt x="16" y="28"/>
                      <a:pt x="35" y="28"/>
                    </a:cubicBezTo>
                    <a:cubicBezTo>
                      <a:pt x="40" y="28"/>
                      <a:pt x="45" y="28"/>
                      <a:pt x="50" y="27"/>
                    </a:cubicBezTo>
                    <a:cubicBezTo>
                      <a:pt x="47" y="23"/>
                      <a:pt x="46" y="18"/>
                      <a:pt x="46" y="14"/>
                    </a:cubicBezTo>
                    <a:cubicBezTo>
                      <a:pt x="42" y="14"/>
                      <a:pt x="39" y="14"/>
                      <a:pt x="3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 name="Freeform 100"/>
              <p:cNvSpPr>
                <a:spLocks noEditPoints="1"/>
              </p:cNvSpPr>
              <p:nvPr/>
            </p:nvSpPr>
            <p:spPr bwMode="auto">
              <a:xfrm>
                <a:off x="3830173" y="-288586"/>
                <a:ext cx="131372" cy="132726"/>
              </a:xfrm>
              <a:custGeom>
                <a:avLst/>
                <a:gdLst>
                  <a:gd name="T0" fmla="*/ 20 w 40"/>
                  <a:gd name="T1" fmla="*/ 0 h 40"/>
                  <a:gd name="T2" fmla="*/ 0 w 40"/>
                  <a:gd name="T3" fmla="*/ 20 h 40"/>
                  <a:gd name="T4" fmla="*/ 20 w 40"/>
                  <a:gd name="T5" fmla="*/ 40 h 40"/>
                  <a:gd name="T6" fmla="*/ 40 w 40"/>
                  <a:gd name="T7" fmla="*/ 20 h 40"/>
                  <a:gd name="T8" fmla="*/ 20 w 40"/>
                  <a:gd name="T9" fmla="*/ 0 h 40"/>
                  <a:gd name="T10" fmla="*/ 30 w 40"/>
                  <a:gd name="T11" fmla="*/ 23 h 40"/>
                  <a:gd name="T12" fmla="*/ 23 w 40"/>
                  <a:gd name="T13" fmla="*/ 23 h 40"/>
                  <a:gd name="T14" fmla="*/ 23 w 40"/>
                  <a:gd name="T15" fmla="*/ 30 h 40"/>
                  <a:gd name="T16" fmla="*/ 17 w 40"/>
                  <a:gd name="T17" fmla="*/ 30 h 40"/>
                  <a:gd name="T18" fmla="*/ 17 w 40"/>
                  <a:gd name="T19" fmla="*/ 23 h 40"/>
                  <a:gd name="T20" fmla="*/ 10 w 40"/>
                  <a:gd name="T21" fmla="*/ 23 h 40"/>
                  <a:gd name="T22" fmla="*/ 10 w 40"/>
                  <a:gd name="T23" fmla="*/ 17 h 40"/>
                  <a:gd name="T24" fmla="*/ 17 w 40"/>
                  <a:gd name="T25" fmla="*/ 17 h 40"/>
                  <a:gd name="T26" fmla="*/ 17 w 40"/>
                  <a:gd name="T27" fmla="*/ 10 h 40"/>
                  <a:gd name="T28" fmla="*/ 23 w 40"/>
                  <a:gd name="T29" fmla="*/ 10 h 40"/>
                  <a:gd name="T30" fmla="*/ 23 w 40"/>
                  <a:gd name="T31" fmla="*/ 17 h 40"/>
                  <a:gd name="T32" fmla="*/ 30 w 40"/>
                  <a:gd name="T33" fmla="*/ 17 h 40"/>
                  <a:gd name="T34" fmla="*/ 30 w 40"/>
                  <a:gd name="T35"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0">
                    <a:moveTo>
                      <a:pt x="20" y="0"/>
                    </a:moveTo>
                    <a:cubicBezTo>
                      <a:pt x="9" y="0"/>
                      <a:pt x="0" y="9"/>
                      <a:pt x="0" y="20"/>
                    </a:cubicBezTo>
                    <a:cubicBezTo>
                      <a:pt x="0" y="31"/>
                      <a:pt x="9" y="40"/>
                      <a:pt x="20" y="40"/>
                    </a:cubicBezTo>
                    <a:cubicBezTo>
                      <a:pt x="31" y="40"/>
                      <a:pt x="40" y="31"/>
                      <a:pt x="40" y="20"/>
                    </a:cubicBezTo>
                    <a:cubicBezTo>
                      <a:pt x="40" y="9"/>
                      <a:pt x="31" y="0"/>
                      <a:pt x="20" y="0"/>
                    </a:cubicBezTo>
                    <a:close/>
                    <a:moveTo>
                      <a:pt x="30" y="23"/>
                    </a:moveTo>
                    <a:cubicBezTo>
                      <a:pt x="23" y="23"/>
                      <a:pt x="23" y="23"/>
                      <a:pt x="23" y="23"/>
                    </a:cubicBezTo>
                    <a:cubicBezTo>
                      <a:pt x="23" y="30"/>
                      <a:pt x="23" y="30"/>
                      <a:pt x="23" y="30"/>
                    </a:cubicBezTo>
                    <a:cubicBezTo>
                      <a:pt x="17" y="30"/>
                      <a:pt x="17" y="30"/>
                      <a:pt x="17" y="30"/>
                    </a:cubicBezTo>
                    <a:cubicBezTo>
                      <a:pt x="17" y="23"/>
                      <a:pt x="17" y="23"/>
                      <a:pt x="17" y="23"/>
                    </a:cubicBezTo>
                    <a:cubicBezTo>
                      <a:pt x="10" y="23"/>
                      <a:pt x="10" y="23"/>
                      <a:pt x="10" y="23"/>
                    </a:cubicBezTo>
                    <a:cubicBezTo>
                      <a:pt x="10" y="17"/>
                      <a:pt x="10" y="17"/>
                      <a:pt x="10" y="17"/>
                    </a:cubicBezTo>
                    <a:cubicBezTo>
                      <a:pt x="17" y="17"/>
                      <a:pt x="17" y="17"/>
                      <a:pt x="17" y="17"/>
                    </a:cubicBezTo>
                    <a:cubicBezTo>
                      <a:pt x="17" y="10"/>
                      <a:pt x="17" y="10"/>
                      <a:pt x="17" y="10"/>
                    </a:cubicBezTo>
                    <a:cubicBezTo>
                      <a:pt x="23" y="10"/>
                      <a:pt x="23" y="10"/>
                      <a:pt x="23" y="10"/>
                    </a:cubicBezTo>
                    <a:cubicBezTo>
                      <a:pt x="23" y="17"/>
                      <a:pt x="23" y="17"/>
                      <a:pt x="23" y="17"/>
                    </a:cubicBezTo>
                    <a:cubicBezTo>
                      <a:pt x="30" y="17"/>
                      <a:pt x="30" y="17"/>
                      <a:pt x="30" y="17"/>
                    </a:cubicBezTo>
                    <a:lnTo>
                      <a:pt x="30" y="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44" name="Group 286"/>
            <p:cNvGrpSpPr/>
            <p:nvPr/>
          </p:nvGrpSpPr>
          <p:grpSpPr>
            <a:xfrm>
              <a:off x="2753744" y="2309756"/>
              <a:ext cx="448834" cy="442686"/>
              <a:chOff x="3664942" y="-448400"/>
              <a:chExt cx="296603" cy="292540"/>
            </a:xfrm>
            <a:solidFill>
              <a:schemeClr val="accent1"/>
            </a:solidFill>
          </p:grpSpPr>
          <p:sp>
            <p:nvSpPr>
              <p:cNvPr id="147" name="Freeform 97"/>
              <p:cNvSpPr>
                <a:spLocks noEditPoints="1"/>
              </p:cNvSpPr>
              <p:nvPr/>
            </p:nvSpPr>
            <p:spPr bwMode="auto">
              <a:xfrm>
                <a:off x="3664942" y="-448400"/>
                <a:ext cx="231594" cy="136790"/>
              </a:xfrm>
              <a:custGeom>
                <a:avLst/>
                <a:gdLst>
                  <a:gd name="T0" fmla="*/ 35 w 70"/>
                  <a:gd name="T1" fmla="*/ 41 h 41"/>
                  <a:gd name="T2" fmla="*/ 70 w 70"/>
                  <a:gd name="T3" fmla="*/ 27 h 41"/>
                  <a:gd name="T4" fmla="*/ 70 w 70"/>
                  <a:gd name="T5" fmla="*/ 14 h 41"/>
                  <a:gd name="T6" fmla="*/ 35 w 70"/>
                  <a:gd name="T7" fmla="*/ 0 h 41"/>
                  <a:gd name="T8" fmla="*/ 0 w 70"/>
                  <a:gd name="T9" fmla="*/ 14 h 41"/>
                  <a:gd name="T10" fmla="*/ 0 w 70"/>
                  <a:gd name="T11" fmla="*/ 27 h 41"/>
                  <a:gd name="T12" fmla="*/ 35 w 70"/>
                  <a:gd name="T13" fmla="*/ 41 h 41"/>
                  <a:gd name="T14" fmla="*/ 35 w 70"/>
                  <a:gd name="T15" fmla="*/ 3 h 41"/>
                  <a:gd name="T16" fmla="*/ 66 w 70"/>
                  <a:gd name="T17" fmla="*/ 14 h 41"/>
                  <a:gd name="T18" fmla="*/ 35 w 70"/>
                  <a:gd name="T19" fmla="*/ 24 h 41"/>
                  <a:gd name="T20" fmla="*/ 4 w 70"/>
                  <a:gd name="T21" fmla="*/ 14 h 41"/>
                  <a:gd name="T22" fmla="*/ 35 w 70"/>
                  <a:gd name="T23"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41">
                    <a:moveTo>
                      <a:pt x="35" y="41"/>
                    </a:moveTo>
                    <a:cubicBezTo>
                      <a:pt x="54" y="41"/>
                      <a:pt x="70" y="35"/>
                      <a:pt x="70" y="27"/>
                    </a:cubicBezTo>
                    <a:cubicBezTo>
                      <a:pt x="70" y="14"/>
                      <a:pt x="70" y="14"/>
                      <a:pt x="70" y="14"/>
                    </a:cubicBezTo>
                    <a:cubicBezTo>
                      <a:pt x="70" y="6"/>
                      <a:pt x="54" y="0"/>
                      <a:pt x="35" y="0"/>
                    </a:cubicBezTo>
                    <a:cubicBezTo>
                      <a:pt x="16" y="0"/>
                      <a:pt x="0" y="6"/>
                      <a:pt x="0" y="14"/>
                    </a:cubicBezTo>
                    <a:cubicBezTo>
                      <a:pt x="0" y="27"/>
                      <a:pt x="0" y="27"/>
                      <a:pt x="0" y="27"/>
                    </a:cubicBezTo>
                    <a:cubicBezTo>
                      <a:pt x="0" y="35"/>
                      <a:pt x="16" y="41"/>
                      <a:pt x="35" y="41"/>
                    </a:cubicBezTo>
                    <a:close/>
                    <a:moveTo>
                      <a:pt x="35" y="3"/>
                    </a:moveTo>
                    <a:cubicBezTo>
                      <a:pt x="54" y="3"/>
                      <a:pt x="66" y="9"/>
                      <a:pt x="66" y="14"/>
                    </a:cubicBezTo>
                    <a:cubicBezTo>
                      <a:pt x="66" y="18"/>
                      <a:pt x="54" y="24"/>
                      <a:pt x="35" y="24"/>
                    </a:cubicBezTo>
                    <a:cubicBezTo>
                      <a:pt x="16" y="24"/>
                      <a:pt x="4" y="18"/>
                      <a:pt x="4" y="14"/>
                    </a:cubicBezTo>
                    <a:cubicBezTo>
                      <a:pt x="4" y="9"/>
                      <a:pt x="16" y="3"/>
                      <a:pt x="3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8" name="Freeform 98"/>
              <p:cNvSpPr/>
              <p:nvPr/>
            </p:nvSpPr>
            <p:spPr bwMode="auto">
              <a:xfrm>
                <a:off x="3664942" y="-334634"/>
                <a:ext cx="231594" cy="92096"/>
              </a:xfrm>
              <a:custGeom>
                <a:avLst/>
                <a:gdLst>
                  <a:gd name="T0" fmla="*/ 35 w 70"/>
                  <a:gd name="T1" fmla="*/ 28 h 28"/>
                  <a:gd name="T2" fmla="*/ 47 w 70"/>
                  <a:gd name="T3" fmla="*/ 27 h 28"/>
                  <a:gd name="T4" fmla="*/ 70 w 70"/>
                  <a:gd name="T5" fmla="*/ 10 h 28"/>
                  <a:gd name="T6" fmla="*/ 70 w 70"/>
                  <a:gd name="T7" fmla="*/ 0 h 28"/>
                  <a:gd name="T8" fmla="*/ 35 w 70"/>
                  <a:gd name="T9" fmla="*/ 14 h 28"/>
                  <a:gd name="T10" fmla="*/ 0 w 70"/>
                  <a:gd name="T11" fmla="*/ 0 h 28"/>
                  <a:gd name="T12" fmla="*/ 0 w 70"/>
                  <a:gd name="T13" fmla="*/ 14 h 28"/>
                  <a:gd name="T14" fmla="*/ 35 w 7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8">
                    <a:moveTo>
                      <a:pt x="35" y="28"/>
                    </a:moveTo>
                    <a:cubicBezTo>
                      <a:pt x="39" y="28"/>
                      <a:pt x="43" y="28"/>
                      <a:pt x="47" y="27"/>
                    </a:cubicBezTo>
                    <a:cubicBezTo>
                      <a:pt x="50" y="18"/>
                      <a:pt x="59" y="10"/>
                      <a:pt x="70" y="10"/>
                    </a:cubicBezTo>
                    <a:cubicBezTo>
                      <a:pt x="70" y="0"/>
                      <a:pt x="70" y="0"/>
                      <a:pt x="70" y="0"/>
                    </a:cubicBezTo>
                    <a:cubicBezTo>
                      <a:pt x="70" y="8"/>
                      <a:pt x="54" y="14"/>
                      <a:pt x="35" y="14"/>
                    </a:cubicBezTo>
                    <a:cubicBezTo>
                      <a:pt x="16" y="14"/>
                      <a:pt x="0" y="8"/>
                      <a:pt x="0" y="0"/>
                    </a:cubicBezTo>
                    <a:cubicBezTo>
                      <a:pt x="0" y="14"/>
                      <a:pt x="0" y="14"/>
                      <a:pt x="0" y="14"/>
                    </a:cubicBezTo>
                    <a:cubicBezTo>
                      <a:pt x="0" y="22"/>
                      <a:pt x="16" y="28"/>
                      <a:pt x="35"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9" name="Freeform 99"/>
              <p:cNvSpPr/>
              <p:nvPr/>
            </p:nvSpPr>
            <p:spPr bwMode="auto">
              <a:xfrm>
                <a:off x="3664942" y="-265562"/>
                <a:ext cx="165231" cy="92096"/>
              </a:xfrm>
              <a:custGeom>
                <a:avLst/>
                <a:gdLst>
                  <a:gd name="T0" fmla="*/ 35 w 50"/>
                  <a:gd name="T1" fmla="*/ 14 h 28"/>
                  <a:gd name="T2" fmla="*/ 0 w 50"/>
                  <a:gd name="T3" fmla="*/ 0 h 28"/>
                  <a:gd name="T4" fmla="*/ 0 w 50"/>
                  <a:gd name="T5" fmla="*/ 14 h 28"/>
                  <a:gd name="T6" fmla="*/ 35 w 50"/>
                  <a:gd name="T7" fmla="*/ 28 h 28"/>
                  <a:gd name="T8" fmla="*/ 50 w 50"/>
                  <a:gd name="T9" fmla="*/ 27 h 28"/>
                  <a:gd name="T10" fmla="*/ 46 w 50"/>
                  <a:gd name="T11" fmla="*/ 14 h 28"/>
                  <a:gd name="T12" fmla="*/ 35 w 50"/>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50" h="28">
                    <a:moveTo>
                      <a:pt x="35" y="14"/>
                    </a:moveTo>
                    <a:cubicBezTo>
                      <a:pt x="16" y="14"/>
                      <a:pt x="0" y="8"/>
                      <a:pt x="0" y="0"/>
                    </a:cubicBezTo>
                    <a:cubicBezTo>
                      <a:pt x="0" y="14"/>
                      <a:pt x="0" y="14"/>
                      <a:pt x="0" y="14"/>
                    </a:cubicBezTo>
                    <a:cubicBezTo>
                      <a:pt x="0" y="22"/>
                      <a:pt x="16" y="28"/>
                      <a:pt x="35" y="28"/>
                    </a:cubicBezTo>
                    <a:cubicBezTo>
                      <a:pt x="40" y="28"/>
                      <a:pt x="45" y="28"/>
                      <a:pt x="50" y="27"/>
                    </a:cubicBezTo>
                    <a:cubicBezTo>
                      <a:pt x="47" y="23"/>
                      <a:pt x="46" y="18"/>
                      <a:pt x="46" y="14"/>
                    </a:cubicBezTo>
                    <a:cubicBezTo>
                      <a:pt x="42" y="14"/>
                      <a:pt x="39" y="14"/>
                      <a:pt x="3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7" name="Freeform 100"/>
              <p:cNvSpPr>
                <a:spLocks noEditPoints="1"/>
              </p:cNvSpPr>
              <p:nvPr/>
            </p:nvSpPr>
            <p:spPr bwMode="auto">
              <a:xfrm>
                <a:off x="3830173" y="-288586"/>
                <a:ext cx="131372" cy="132726"/>
              </a:xfrm>
              <a:custGeom>
                <a:avLst/>
                <a:gdLst>
                  <a:gd name="T0" fmla="*/ 20 w 40"/>
                  <a:gd name="T1" fmla="*/ 0 h 40"/>
                  <a:gd name="T2" fmla="*/ 0 w 40"/>
                  <a:gd name="T3" fmla="*/ 20 h 40"/>
                  <a:gd name="T4" fmla="*/ 20 w 40"/>
                  <a:gd name="T5" fmla="*/ 40 h 40"/>
                  <a:gd name="T6" fmla="*/ 40 w 40"/>
                  <a:gd name="T7" fmla="*/ 20 h 40"/>
                  <a:gd name="T8" fmla="*/ 20 w 40"/>
                  <a:gd name="T9" fmla="*/ 0 h 40"/>
                  <a:gd name="T10" fmla="*/ 30 w 40"/>
                  <a:gd name="T11" fmla="*/ 23 h 40"/>
                  <a:gd name="T12" fmla="*/ 23 w 40"/>
                  <a:gd name="T13" fmla="*/ 23 h 40"/>
                  <a:gd name="T14" fmla="*/ 23 w 40"/>
                  <a:gd name="T15" fmla="*/ 30 h 40"/>
                  <a:gd name="T16" fmla="*/ 17 w 40"/>
                  <a:gd name="T17" fmla="*/ 30 h 40"/>
                  <a:gd name="T18" fmla="*/ 17 w 40"/>
                  <a:gd name="T19" fmla="*/ 23 h 40"/>
                  <a:gd name="T20" fmla="*/ 10 w 40"/>
                  <a:gd name="T21" fmla="*/ 23 h 40"/>
                  <a:gd name="T22" fmla="*/ 10 w 40"/>
                  <a:gd name="T23" fmla="*/ 17 h 40"/>
                  <a:gd name="T24" fmla="*/ 17 w 40"/>
                  <a:gd name="T25" fmla="*/ 17 h 40"/>
                  <a:gd name="T26" fmla="*/ 17 w 40"/>
                  <a:gd name="T27" fmla="*/ 10 h 40"/>
                  <a:gd name="T28" fmla="*/ 23 w 40"/>
                  <a:gd name="T29" fmla="*/ 10 h 40"/>
                  <a:gd name="T30" fmla="*/ 23 w 40"/>
                  <a:gd name="T31" fmla="*/ 17 h 40"/>
                  <a:gd name="T32" fmla="*/ 30 w 40"/>
                  <a:gd name="T33" fmla="*/ 17 h 40"/>
                  <a:gd name="T34" fmla="*/ 30 w 40"/>
                  <a:gd name="T35"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0">
                    <a:moveTo>
                      <a:pt x="20" y="0"/>
                    </a:moveTo>
                    <a:cubicBezTo>
                      <a:pt x="9" y="0"/>
                      <a:pt x="0" y="9"/>
                      <a:pt x="0" y="20"/>
                    </a:cubicBezTo>
                    <a:cubicBezTo>
                      <a:pt x="0" y="31"/>
                      <a:pt x="9" y="40"/>
                      <a:pt x="20" y="40"/>
                    </a:cubicBezTo>
                    <a:cubicBezTo>
                      <a:pt x="31" y="40"/>
                      <a:pt x="40" y="31"/>
                      <a:pt x="40" y="20"/>
                    </a:cubicBezTo>
                    <a:cubicBezTo>
                      <a:pt x="40" y="9"/>
                      <a:pt x="31" y="0"/>
                      <a:pt x="20" y="0"/>
                    </a:cubicBezTo>
                    <a:close/>
                    <a:moveTo>
                      <a:pt x="30" y="23"/>
                    </a:moveTo>
                    <a:cubicBezTo>
                      <a:pt x="23" y="23"/>
                      <a:pt x="23" y="23"/>
                      <a:pt x="23" y="23"/>
                    </a:cubicBezTo>
                    <a:cubicBezTo>
                      <a:pt x="23" y="30"/>
                      <a:pt x="23" y="30"/>
                      <a:pt x="23" y="30"/>
                    </a:cubicBezTo>
                    <a:cubicBezTo>
                      <a:pt x="17" y="30"/>
                      <a:pt x="17" y="30"/>
                      <a:pt x="17" y="30"/>
                    </a:cubicBezTo>
                    <a:cubicBezTo>
                      <a:pt x="17" y="23"/>
                      <a:pt x="17" y="23"/>
                      <a:pt x="17" y="23"/>
                    </a:cubicBezTo>
                    <a:cubicBezTo>
                      <a:pt x="10" y="23"/>
                      <a:pt x="10" y="23"/>
                      <a:pt x="10" y="23"/>
                    </a:cubicBezTo>
                    <a:cubicBezTo>
                      <a:pt x="10" y="17"/>
                      <a:pt x="10" y="17"/>
                      <a:pt x="10" y="17"/>
                    </a:cubicBezTo>
                    <a:cubicBezTo>
                      <a:pt x="17" y="17"/>
                      <a:pt x="17" y="17"/>
                      <a:pt x="17" y="17"/>
                    </a:cubicBezTo>
                    <a:cubicBezTo>
                      <a:pt x="17" y="10"/>
                      <a:pt x="17" y="10"/>
                      <a:pt x="17" y="10"/>
                    </a:cubicBezTo>
                    <a:cubicBezTo>
                      <a:pt x="23" y="10"/>
                      <a:pt x="23" y="10"/>
                      <a:pt x="23" y="10"/>
                    </a:cubicBezTo>
                    <a:cubicBezTo>
                      <a:pt x="23" y="17"/>
                      <a:pt x="23" y="17"/>
                      <a:pt x="23" y="17"/>
                    </a:cubicBezTo>
                    <a:cubicBezTo>
                      <a:pt x="30" y="17"/>
                      <a:pt x="30" y="17"/>
                      <a:pt x="30" y="17"/>
                    </a:cubicBezTo>
                    <a:lnTo>
                      <a:pt x="30" y="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63" name="Group 286"/>
            <p:cNvGrpSpPr/>
            <p:nvPr/>
          </p:nvGrpSpPr>
          <p:grpSpPr>
            <a:xfrm>
              <a:off x="4334350" y="2309756"/>
              <a:ext cx="448834" cy="442686"/>
              <a:chOff x="3664942" y="-448400"/>
              <a:chExt cx="296603" cy="292540"/>
            </a:xfrm>
            <a:solidFill>
              <a:schemeClr val="accent1"/>
            </a:solidFill>
          </p:grpSpPr>
          <p:sp>
            <p:nvSpPr>
              <p:cNvPr id="164" name="Freeform 97"/>
              <p:cNvSpPr>
                <a:spLocks noEditPoints="1"/>
              </p:cNvSpPr>
              <p:nvPr/>
            </p:nvSpPr>
            <p:spPr bwMode="auto">
              <a:xfrm>
                <a:off x="3664942" y="-448400"/>
                <a:ext cx="231594" cy="136790"/>
              </a:xfrm>
              <a:custGeom>
                <a:avLst/>
                <a:gdLst>
                  <a:gd name="T0" fmla="*/ 35 w 70"/>
                  <a:gd name="T1" fmla="*/ 41 h 41"/>
                  <a:gd name="T2" fmla="*/ 70 w 70"/>
                  <a:gd name="T3" fmla="*/ 27 h 41"/>
                  <a:gd name="T4" fmla="*/ 70 w 70"/>
                  <a:gd name="T5" fmla="*/ 14 h 41"/>
                  <a:gd name="T6" fmla="*/ 35 w 70"/>
                  <a:gd name="T7" fmla="*/ 0 h 41"/>
                  <a:gd name="T8" fmla="*/ 0 w 70"/>
                  <a:gd name="T9" fmla="*/ 14 h 41"/>
                  <a:gd name="T10" fmla="*/ 0 w 70"/>
                  <a:gd name="T11" fmla="*/ 27 h 41"/>
                  <a:gd name="T12" fmla="*/ 35 w 70"/>
                  <a:gd name="T13" fmla="*/ 41 h 41"/>
                  <a:gd name="T14" fmla="*/ 35 w 70"/>
                  <a:gd name="T15" fmla="*/ 3 h 41"/>
                  <a:gd name="T16" fmla="*/ 66 w 70"/>
                  <a:gd name="T17" fmla="*/ 14 h 41"/>
                  <a:gd name="T18" fmla="*/ 35 w 70"/>
                  <a:gd name="T19" fmla="*/ 24 h 41"/>
                  <a:gd name="T20" fmla="*/ 4 w 70"/>
                  <a:gd name="T21" fmla="*/ 14 h 41"/>
                  <a:gd name="T22" fmla="*/ 35 w 70"/>
                  <a:gd name="T23"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41">
                    <a:moveTo>
                      <a:pt x="35" y="41"/>
                    </a:moveTo>
                    <a:cubicBezTo>
                      <a:pt x="54" y="41"/>
                      <a:pt x="70" y="35"/>
                      <a:pt x="70" y="27"/>
                    </a:cubicBezTo>
                    <a:cubicBezTo>
                      <a:pt x="70" y="14"/>
                      <a:pt x="70" y="14"/>
                      <a:pt x="70" y="14"/>
                    </a:cubicBezTo>
                    <a:cubicBezTo>
                      <a:pt x="70" y="6"/>
                      <a:pt x="54" y="0"/>
                      <a:pt x="35" y="0"/>
                    </a:cubicBezTo>
                    <a:cubicBezTo>
                      <a:pt x="16" y="0"/>
                      <a:pt x="0" y="6"/>
                      <a:pt x="0" y="14"/>
                    </a:cubicBezTo>
                    <a:cubicBezTo>
                      <a:pt x="0" y="27"/>
                      <a:pt x="0" y="27"/>
                      <a:pt x="0" y="27"/>
                    </a:cubicBezTo>
                    <a:cubicBezTo>
                      <a:pt x="0" y="35"/>
                      <a:pt x="16" y="41"/>
                      <a:pt x="35" y="41"/>
                    </a:cubicBezTo>
                    <a:close/>
                    <a:moveTo>
                      <a:pt x="35" y="3"/>
                    </a:moveTo>
                    <a:cubicBezTo>
                      <a:pt x="54" y="3"/>
                      <a:pt x="66" y="9"/>
                      <a:pt x="66" y="14"/>
                    </a:cubicBezTo>
                    <a:cubicBezTo>
                      <a:pt x="66" y="18"/>
                      <a:pt x="54" y="24"/>
                      <a:pt x="35" y="24"/>
                    </a:cubicBezTo>
                    <a:cubicBezTo>
                      <a:pt x="16" y="24"/>
                      <a:pt x="4" y="18"/>
                      <a:pt x="4" y="14"/>
                    </a:cubicBezTo>
                    <a:cubicBezTo>
                      <a:pt x="4" y="9"/>
                      <a:pt x="16" y="3"/>
                      <a:pt x="3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5" name="Freeform 98"/>
              <p:cNvSpPr/>
              <p:nvPr/>
            </p:nvSpPr>
            <p:spPr bwMode="auto">
              <a:xfrm>
                <a:off x="3664942" y="-334634"/>
                <a:ext cx="231594" cy="92096"/>
              </a:xfrm>
              <a:custGeom>
                <a:avLst/>
                <a:gdLst>
                  <a:gd name="T0" fmla="*/ 35 w 70"/>
                  <a:gd name="T1" fmla="*/ 28 h 28"/>
                  <a:gd name="T2" fmla="*/ 47 w 70"/>
                  <a:gd name="T3" fmla="*/ 27 h 28"/>
                  <a:gd name="T4" fmla="*/ 70 w 70"/>
                  <a:gd name="T5" fmla="*/ 10 h 28"/>
                  <a:gd name="T6" fmla="*/ 70 w 70"/>
                  <a:gd name="T7" fmla="*/ 0 h 28"/>
                  <a:gd name="T8" fmla="*/ 35 w 70"/>
                  <a:gd name="T9" fmla="*/ 14 h 28"/>
                  <a:gd name="T10" fmla="*/ 0 w 70"/>
                  <a:gd name="T11" fmla="*/ 0 h 28"/>
                  <a:gd name="T12" fmla="*/ 0 w 70"/>
                  <a:gd name="T13" fmla="*/ 14 h 28"/>
                  <a:gd name="T14" fmla="*/ 35 w 7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8">
                    <a:moveTo>
                      <a:pt x="35" y="28"/>
                    </a:moveTo>
                    <a:cubicBezTo>
                      <a:pt x="39" y="28"/>
                      <a:pt x="43" y="28"/>
                      <a:pt x="47" y="27"/>
                    </a:cubicBezTo>
                    <a:cubicBezTo>
                      <a:pt x="50" y="18"/>
                      <a:pt x="59" y="10"/>
                      <a:pt x="70" y="10"/>
                    </a:cubicBezTo>
                    <a:cubicBezTo>
                      <a:pt x="70" y="0"/>
                      <a:pt x="70" y="0"/>
                      <a:pt x="70" y="0"/>
                    </a:cubicBezTo>
                    <a:cubicBezTo>
                      <a:pt x="70" y="8"/>
                      <a:pt x="54" y="14"/>
                      <a:pt x="35" y="14"/>
                    </a:cubicBezTo>
                    <a:cubicBezTo>
                      <a:pt x="16" y="14"/>
                      <a:pt x="0" y="8"/>
                      <a:pt x="0" y="0"/>
                    </a:cubicBezTo>
                    <a:cubicBezTo>
                      <a:pt x="0" y="14"/>
                      <a:pt x="0" y="14"/>
                      <a:pt x="0" y="14"/>
                    </a:cubicBezTo>
                    <a:cubicBezTo>
                      <a:pt x="0" y="22"/>
                      <a:pt x="16" y="28"/>
                      <a:pt x="35"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6" name="Freeform 99"/>
              <p:cNvSpPr/>
              <p:nvPr/>
            </p:nvSpPr>
            <p:spPr bwMode="auto">
              <a:xfrm>
                <a:off x="3664942" y="-265562"/>
                <a:ext cx="165231" cy="92096"/>
              </a:xfrm>
              <a:custGeom>
                <a:avLst/>
                <a:gdLst>
                  <a:gd name="T0" fmla="*/ 35 w 50"/>
                  <a:gd name="T1" fmla="*/ 14 h 28"/>
                  <a:gd name="T2" fmla="*/ 0 w 50"/>
                  <a:gd name="T3" fmla="*/ 0 h 28"/>
                  <a:gd name="T4" fmla="*/ 0 w 50"/>
                  <a:gd name="T5" fmla="*/ 14 h 28"/>
                  <a:gd name="T6" fmla="*/ 35 w 50"/>
                  <a:gd name="T7" fmla="*/ 28 h 28"/>
                  <a:gd name="T8" fmla="*/ 50 w 50"/>
                  <a:gd name="T9" fmla="*/ 27 h 28"/>
                  <a:gd name="T10" fmla="*/ 46 w 50"/>
                  <a:gd name="T11" fmla="*/ 14 h 28"/>
                  <a:gd name="T12" fmla="*/ 35 w 50"/>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50" h="28">
                    <a:moveTo>
                      <a:pt x="35" y="14"/>
                    </a:moveTo>
                    <a:cubicBezTo>
                      <a:pt x="16" y="14"/>
                      <a:pt x="0" y="8"/>
                      <a:pt x="0" y="0"/>
                    </a:cubicBezTo>
                    <a:cubicBezTo>
                      <a:pt x="0" y="14"/>
                      <a:pt x="0" y="14"/>
                      <a:pt x="0" y="14"/>
                    </a:cubicBezTo>
                    <a:cubicBezTo>
                      <a:pt x="0" y="22"/>
                      <a:pt x="16" y="28"/>
                      <a:pt x="35" y="28"/>
                    </a:cubicBezTo>
                    <a:cubicBezTo>
                      <a:pt x="40" y="28"/>
                      <a:pt x="45" y="28"/>
                      <a:pt x="50" y="27"/>
                    </a:cubicBezTo>
                    <a:cubicBezTo>
                      <a:pt x="47" y="23"/>
                      <a:pt x="46" y="18"/>
                      <a:pt x="46" y="14"/>
                    </a:cubicBezTo>
                    <a:cubicBezTo>
                      <a:pt x="42" y="14"/>
                      <a:pt x="39" y="14"/>
                      <a:pt x="3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7" name="Freeform 100"/>
              <p:cNvSpPr>
                <a:spLocks noEditPoints="1"/>
              </p:cNvSpPr>
              <p:nvPr/>
            </p:nvSpPr>
            <p:spPr bwMode="auto">
              <a:xfrm>
                <a:off x="3830173" y="-288586"/>
                <a:ext cx="131372" cy="132726"/>
              </a:xfrm>
              <a:custGeom>
                <a:avLst/>
                <a:gdLst>
                  <a:gd name="T0" fmla="*/ 20 w 40"/>
                  <a:gd name="T1" fmla="*/ 0 h 40"/>
                  <a:gd name="T2" fmla="*/ 0 w 40"/>
                  <a:gd name="T3" fmla="*/ 20 h 40"/>
                  <a:gd name="T4" fmla="*/ 20 w 40"/>
                  <a:gd name="T5" fmla="*/ 40 h 40"/>
                  <a:gd name="T6" fmla="*/ 40 w 40"/>
                  <a:gd name="T7" fmla="*/ 20 h 40"/>
                  <a:gd name="T8" fmla="*/ 20 w 40"/>
                  <a:gd name="T9" fmla="*/ 0 h 40"/>
                  <a:gd name="T10" fmla="*/ 30 w 40"/>
                  <a:gd name="T11" fmla="*/ 23 h 40"/>
                  <a:gd name="T12" fmla="*/ 23 w 40"/>
                  <a:gd name="T13" fmla="*/ 23 h 40"/>
                  <a:gd name="T14" fmla="*/ 23 w 40"/>
                  <a:gd name="T15" fmla="*/ 30 h 40"/>
                  <a:gd name="T16" fmla="*/ 17 w 40"/>
                  <a:gd name="T17" fmla="*/ 30 h 40"/>
                  <a:gd name="T18" fmla="*/ 17 w 40"/>
                  <a:gd name="T19" fmla="*/ 23 h 40"/>
                  <a:gd name="T20" fmla="*/ 10 w 40"/>
                  <a:gd name="T21" fmla="*/ 23 h 40"/>
                  <a:gd name="T22" fmla="*/ 10 w 40"/>
                  <a:gd name="T23" fmla="*/ 17 h 40"/>
                  <a:gd name="T24" fmla="*/ 17 w 40"/>
                  <a:gd name="T25" fmla="*/ 17 h 40"/>
                  <a:gd name="T26" fmla="*/ 17 w 40"/>
                  <a:gd name="T27" fmla="*/ 10 h 40"/>
                  <a:gd name="T28" fmla="*/ 23 w 40"/>
                  <a:gd name="T29" fmla="*/ 10 h 40"/>
                  <a:gd name="T30" fmla="*/ 23 w 40"/>
                  <a:gd name="T31" fmla="*/ 17 h 40"/>
                  <a:gd name="T32" fmla="*/ 30 w 40"/>
                  <a:gd name="T33" fmla="*/ 17 h 40"/>
                  <a:gd name="T34" fmla="*/ 30 w 40"/>
                  <a:gd name="T35"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0">
                    <a:moveTo>
                      <a:pt x="20" y="0"/>
                    </a:moveTo>
                    <a:cubicBezTo>
                      <a:pt x="9" y="0"/>
                      <a:pt x="0" y="9"/>
                      <a:pt x="0" y="20"/>
                    </a:cubicBezTo>
                    <a:cubicBezTo>
                      <a:pt x="0" y="31"/>
                      <a:pt x="9" y="40"/>
                      <a:pt x="20" y="40"/>
                    </a:cubicBezTo>
                    <a:cubicBezTo>
                      <a:pt x="31" y="40"/>
                      <a:pt x="40" y="31"/>
                      <a:pt x="40" y="20"/>
                    </a:cubicBezTo>
                    <a:cubicBezTo>
                      <a:pt x="40" y="9"/>
                      <a:pt x="31" y="0"/>
                      <a:pt x="20" y="0"/>
                    </a:cubicBezTo>
                    <a:close/>
                    <a:moveTo>
                      <a:pt x="30" y="23"/>
                    </a:moveTo>
                    <a:cubicBezTo>
                      <a:pt x="23" y="23"/>
                      <a:pt x="23" y="23"/>
                      <a:pt x="23" y="23"/>
                    </a:cubicBezTo>
                    <a:cubicBezTo>
                      <a:pt x="23" y="30"/>
                      <a:pt x="23" y="30"/>
                      <a:pt x="23" y="30"/>
                    </a:cubicBezTo>
                    <a:cubicBezTo>
                      <a:pt x="17" y="30"/>
                      <a:pt x="17" y="30"/>
                      <a:pt x="17" y="30"/>
                    </a:cubicBezTo>
                    <a:cubicBezTo>
                      <a:pt x="17" y="23"/>
                      <a:pt x="17" y="23"/>
                      <a:pt x="17" y="23"/>
                    </a:cubicBezTo>
                    <a:cubicBezTo>
                      <a:pt x="10" y="23"/>
                      <a:pt x="10" y="23"/>
                      <a:pt x="10" y="23"/>
                    </a:cubicBezTo>
                    <a:cubicBezTo>
                      <a:pt x="10" y="17"/>
                      <a:pt x="10" y="17"/>
                      <a:pt x="10" y="17"/>
                    </a:cubicBezTo>
                    <a:cubicBezTo>
                      <a:pt x="17" y="17"/>
                      <a:pt x="17" y="17"/>
                      <a:pt x="17" y="17"/>
                    </a:cubicBezTo>
                    <a:cubicBezTo>
                      <a:pt x="17" y="10"/>
                      <a:pt x="17" y="10"/>
                      <a:pt x="17" y="10"/>
                    </a:cubicBezTo>
                    <a:cubicBezTo>
                      <a:pt x="23" y="10"/>
                      <a:pt x="23" y="10"/>
                      <a:pt x="23" y="10"/>
                    </a:cubicBezTo>
                    <a:cubicBezTo>
                      <a:pt x="23" y="17"/>
                      <a:pt x="23" y="17"/>
                      <a:pt x="23" y="17"/>
                    </a:cubicBezTo>
                    <a:cubicBezTo>
                      <a:pt x="30" y="17"/>
                      <a:pt x="30" y="17"/>
                      <a:pt x="30" y="17"/>
                    </a:cubicBezTo>
                    <a:lnTo>
                      <a:pt x="30" y="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68" name="Group 286"/>
            <p:cNvGrpSpPr/>
            <p:nvPr/>
          </p:nvGrpSpPr>
          <p:grpSpPr>
            <a:xfrm>
              <a:off x="5914956" y="2309756"/>
              <a:ext cx="448834" cy="442686"/>
              <a:chOff x="3664942" y="-448400"/>
              <a:chExt cx="296603" cy="292540"/>
            </a:xfrm>
            <a:solidFill>
              <a:schemeClr val="accent1"/>
            </a:solidFill>
          </p:grpSpPr>
          <p:sp>
            <p:nvSpPr>
              <p:cNvPr id="169" name="Freeform 97"/>
              <p:cNvSpPr>
                <a:spLocks noEditPoints="1"/>
              </p:cNvSpPr>
              <p:nvPr/>
            </p:nvSpPr>
            <p:spPr bwMode="auto">
              <a:xfrm>
                <a:off x="3664942" y="-448400"/>
                <a:ext cx="231594" cy="136790"/>
              </a:xfrm>
              <a:custGeom>
                <a:avLst/>
                <a:gdLst>
                  <a:gd name="T0" fmla="*/ 35 w 70"/>
                  <a:gd name="T1" fmla="*/ 41 h 41"/>
                  <a:gd name="T2" fmla="*/ 70 w 70"/>
                  <a:gd name="T3" fmla="*/ 27 h 41"/>
                  <a:gd name="T4" fmla="*/ 70 w 70"/>
                  <a:gd name="T5" fmla="*/ 14 h 41"/>
                  <a:gd name="T6" fmla="*/ 35 w 70"/>
                  <a:gd name="T7" fmla="*/ 0 h 41"/>
                  <a:gd name="T8" fmla="*/ 0 w 70"/>
                  <a:gd name="T9" fmla="*/ 14 h 41"/>
                  <a:gd name="T10" fmla="*/ 0 w 70"/>
                  <a:gd name="T11" fmla="*/ 27 h 41"/>
                  <a:gd name="T12" fmla="*/ 35 w 70"/>
                  <a:gd name="T13" fmla="*/ 41 h 41"/>
                  <a:gd name="T14" fmla="*/ 35 w 70"/>
                  <a:gd name="T15" fmla="*/ 3 h 41"/>
                  <a:gd name="T16" fmla="*/ 66 w 70"/>
                  <a:gd name="T17" fmla="*/ 14 h 41"/>
                  <a:gd name="T18" fmla="*/ 35 w 70"/>
                  <a:gd name="T19" fmla="*/ 24 h 41"/>
                  <a:gd name="T20" fmla="*/ 4 w 70"/>
                  <a:gd name="T21" fmla="*/ 14 h 41"/>
                  <a:gd name="T22" fmla="*/ 35 w 70"/>
                  <a:gd name="T23"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41">
                    <a:moveTo>
                      <a:pt x="35" y="41"/>
                    </a:moveTo>
                    <a:cubicBezTo>
                      <a:pt x="54" y="41"/>
                      <a:pt x="70" y="35"/>
                      <a:pt x="70" y="27"/>
                    </a:cubicBezTo>
                    <a:cubicBezTo>
                      <a:pt x="70" y="14"/>
                      <a:pt x="70" y="14"/>
                      <a:pt x="70" y="14"/>
                    </a:cubicBezTo>
                    <a:cubicBezTo>
                      <a:pt x="70" y="6"/>
                      <a:pt x="54" y="0"/>
                      <a:pt x="35" y="0"/>
                    </a:cubicBezTo>
                    <a:cubicBezTo>
                      <a:pt x="16" y="0"/>
                      <a:pt x="0" y="6"/>
                      <a:pt x="0" y="14"/>
                    </a:cubicBezTo>
                    <a:cubicBezTo>
                      <a:pt x="0" y="27"/>
                      <a:pt x="0" y="27"/>
                      <a:pt x="0" y="27"/>
                    </a:cubicBezTo>
                    <a:cubicBezTo>
                      <a:pt x="0" y="35"/>
                      <a:pt x="16" y="41"/>
                      <a:pt x="35" y="41"/>
                    </a:cubicBezTo>
                    <a:close/>
                    <a:moveTo>
                      <a:pt x="35" y="3"/>
                    </a:moveTo>
                    <a:cubicBezTo>
                      <a:pt x="54" y="3"/>
                      <a:pt x="66" y="9"/>
                      <a:pt x="66" y="14"/>
                    </a:cubicBezTo>
                    <a:cubicBezTo>
                      <a:pt x="66" y="18"/>
                      <a:pt x="54" y="24"/>
                      <a:pt x="35" y="24"/>
                    </a:cubicBezTo>
                    <a:cubicBezTo>
                      <a:pt x="16" y="24"/>
                      <a:pt x="4" y="18"/>
                      <a:pt x="4" y="14"/>
                    </a:cubicBezTo>
                    <a:cubicBezTo>
                      <a:pt x="4" y="9"/>
                      <a:pt x="16" y="3"/>
                      <a:pt x="3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0" name="Freeform 98"/>
              <p:cNvSpPr/>
              <p:nvPr/>
            </p:nvSpPr>
            <p:spPr bwMode="auto">
              <a:xfrm>
                <a:off x="3664942" y="-334634"/>
                <a:ext cx="231594" cy="92096"/>
              </a:xfrm>
              <a:custGeom>
                <a:avLst/>
                <a:gdLst>
                  <a:gd name="T0" fmla="*/ 35 w 70"/>
                  <a:gd name="T1" fmla="*/ 28 h 28"/>
                  <a:gd name="T2" fmla="*/ 47 w 70"/>
                  <a:gd name="T3" fmla="*/ 27 h 28"/>
                  <a:gd name="T4" fmla="*/ 70 w 70"/>
                  <a:gd name="T5" fmla="*/ 10 h 28"/>
                  <a:gd name="T6" fmla="*/ 70 w 70"/>
                  <a:gd name="T7" fmla="*/ 0 h 28"/>
                  <a:gd name="T8" fmla="*/ 35 w 70"/>
                  <a:gd name="T9" fmla="*/ 14 h 28"/>
                  <a:gd name="T10" fmla="*/ 0 w 70"/>
                  <a:gd name="T11" fmla="*/ 0 h 28"/>
                  <a:gd name="T12" fmla="*/ 0 w 70"/>
                  <a:gd name="T13" fmla="*/ 14 h 28"/>
                  <a:gd name="T14" fmla="*/ 35 w 7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8">
                    <a:moveTo>
                      <a:pt x="35" y="28"/>
                    </a:moveTo>
                    <a:cubicBezTo>
                      <a:pt x="39" y="28"/>
                      <a:pt x="43" y="28"/>
                      <a:pt x="47" y="27"/>
                    </a:cubicBezTo>
                    <a:cubicBezTo>
                      <a:pt x="50" y="18"/>
                      <a:pt x="59" y="10"/>
                      <a:pt x="70" y="10"/>
                    </a:cubicBezTo>
                    <a:cubicBezTo>
                      <a:pt x="70" y="0"/>
                      <a:pt x="70" y="0"/>
                      <a:pt x="70" y="0"/>
                    </a:cubicBezTo>
                    <a:cubicBezTo>
                      <a:pt x="70" y="8"/>
                      <a:pt x="54" y="14"/>
                      <a:pt x="35" y="14"/>
                    </a:cubicBezTo>
                    <a:cubicBezTo>
                      <a:pt x="16" y="14"/>
                      <a:pt x="0" y="8"/>
                      <a:pt x="0" y="0"/>
                    </a:cubicBezTo>
                    <a:cubicBezTo>
                      <a:pt x="0" y="14"/>
                      <a:pt x="0" y="14"/>
                      <a:pt x="0" y="14"/>
                    </a:cubicBezTo>
                    <a:cubicBezTo>
                      <a:pt x="0" y="22"/>
                      <a:pt x="16" y="28"/>
                      <a:pt x="35"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1" name="Freeform 99"/>
              <p:cNvSpPr/>
              <p:nvPr/>
            </p:nvSpPr>
            <p:spPr bwMode="auto">
              <a:xfrm>
                <a:off x="3664942" y="-265562"/>
                <a:ext cx="165231" cy="92096"/>
              </a:xfrm>
              <a:custGeom>
                <a:avLst/>
                <a:gdLst>
                  <a:gd name="T0" fmla="*/ 35 w 50"/>
                  <a:gd name="T1" fmla="*/ 14 h 28"/>
                  <a:gd name="T2" fmla="*/ 0 w 50"/>
                  <a:gd name="T3" fmla="*/ 0 h 28"/>
                  <a:gd name="T4" fmla="*/ 0 w 50"/>
                  <a:gd name="T5" fmla="*/ 14 h 28"/>
                  <a:gd name="T6" fmla="*/ 35 w 50"/>
                  <a:gd name="T7" fmla="*/ 28 h 28"/>
                  <a:gd name="T8" fmla="*/ 50 w 50"/>
                  <a:gd name="T9" fmla="*/ 27 h 28"/>
                  <a:gd name="T10" fmla="*/ 46 w 50"/>
                  <a:gd name="T11" fmla="*/ 14 h 28"/>
                  <a:gd name="T12" fmla="*/ 35 w 50"/>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50" h="28">
                    <a:moveTo>
                      <a:pt x="35" y="14"/>
                    </a:moveTo>
                    <a:cubicBezTo>
                      <a:pt x="16" y="14"/>
                      <a:pt x="0" y="8"/>
                      <a:pt x="0" y="0"/>
                    </a:cubicBezTo>
                    <a:cubicBezTo>
                      <a:pt x="0" y="14"/>
                      <a:pt x="0" y="14"/>
                      <a:pt x="0" y="14"/>
                    </a:cubicBezTo>
                    <a:cubicBezTo>
                      <a:pt x="0" y="22"/>
                      <a:pt x="16" y="28"/>
                      <a:pt x="35" y="28"/>
                    </a:cubicBezTo>
                    <a:cubicBezTo>
                      <a:pt x="40" y="28"/>
                      <a:pt x="45" y="28"/>
                      <a:pt x="50" y="27"/>
                    </a:cubicBezTo>
                    <a:cubicBezTo>
                      <a:pt x="47" y="23"/>
                      <a:pt x="46" y="18"/>
                      <a:pt x="46" y="14"/>
                    </a:cubicBezTo>
                    <a:cubicBezTo>
                      <a:pt x="42" y="14"/>
                      <a:pt x="39" y="14"/>
                      <a:pt x="3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2" name="Freeform 100"/>
              <p:cNvSpPr>
                <a:spLocks noEditPoints="1"/>
              </p:cNvSpPr>
              <p:nvPr/>
            </p:nvSpPr>
            <p:spPr bwMode="auto">
              <a:xfrm>
                <a:off x="3830173" y="-288586"/>
                <a:ext cx="131372" cy="132726"/>
              </a:xfrm>
              <a:custGeom>
                <a:avLst/>
                <a:gdLst>
                  <a:gd name="T0" fmla="*/ 20 w 40"/>
                  <a:gd name="T1" fmla="*/ 0 h 40"/>
                  <a:gd name="T2" fmla="*/ 0 w 40"/>
                  <a:gd name="T3" fmla="*/ 20 h 40"/>
                  <a:gd name="T4" fmla="*/ 20 w 40"/>
                  <a:gd name="T5" fmla="*/ 40 h 40"/>
                  <a:gd name="T6" fmla="*/ 40 w 40"/>
                  <a:gd name="T7" fmla="*/ 20 h 40"/>
                  <a:gd name="T8" fmla="*/ 20 w 40"/>
                  <a:gd name="T9" fmla="*/ 0 h 40"/>
                  <a:gd name="T10" fmla="*/ 30 w 40"/>
                  <a:gd name="T11" fmla="*/ 23 h 40"/>
                  <a:gd name="T12" fmla="*/ 23 w 40"/>
                  <a:gd name="T13" fmla="*/ 23 h 40"/>
                  <a:gd name="T14" fmla="*/ 23 w 40"/>
                  <a:gd name="T15" fmla="*/ 30 h 40"/>
                  <a:gd name="T16" fmla="*/ 17 w 40"/>
                  <a:gd name="T17" fmla="*/ 30 h 40"/>
                  <a:gd name="T18" fmla="*/ 17 w 40"/>
                  <a:gd name="T19" fmla="*/ 23 h 40"/>
                  <a:gd name="T20" fmla="*/ 10 w 40"/>
                  <a:gd name="T21" fmla="*/ 23 h 40"/>
                  <a:gd name="T22" fmla="*/ 10 w 40"/>
                  <a:gd name="T23" fmla="*/ 17 h 40"/>
                  <a:gd name="T24" fmla="*/ 17 w 40"/>
                  <a:gd name="T25" fmla="*/ 17 h 40"/>
                  <a:gd name="T26" fmla="*/ 17 w 40"/>
                  <a:gd name="T27" fmla="*/ 10 h 40"/>
                  <a:gd name="T28" fmla="*/ 23 w 40"/>
                  <a:gd name="T29" fmla="*/ 10 h 40"/>
                  <a:gd name="T30" fmla="*/ 23 w 40"/>
                  <a:gd name="T31" fmla="*/ 17 h 40"/>
                  <a:gd name="T32" fmla="*/ 30 w 40"/>
                  <a:gd name="T33" fmla="*/ 17 h 40"/>
                  <a:gd name="T34" fmla="*/ 30 w 40"/>
                  <a:gd name="T35"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0">
                    <a:moveTo>
                      <a:pt x="20" y="0"/>
                    </a:moveTo>
                    <a:cubicBezTo>
                      <a:pt x="9" y="0"/>
                      <a:pt x="0" y="9"/>
                      <a:pt x="0" y="20"/>
                    </a:cubicBezTo>
                    <a:cubicBezTo>
                      <a:pt x="0" y="31"/>
                      <a:pt x="9" y="40"/>
                      <a:pt x="20" y="40"/>
                    </a:cubicBezTo>
                    <a:cubicBezTo>
                      <a:pt x="31" y="40"/>
                      <a:pt x="40" y="31"/>
                      <a:pt x="40" y="20"/>
                    </a:cubicBezTo>
                    <a:cubicBezTo>
                      <a:pt x="40" y="9"/>
                      <a:pt x="31" y="0"/>
                      <a:pt x="20" y="0"/>
                    </a:cubicBezTo>
                    <a:close/>
                    <a:moveTo>
                      <a:pt x="30" y="23"/>
                    </a:moveTo>
                    <a:cubicBezTo>
                      <a:pt x="23" y="23"/>
                      <a:pt x="23" y="23"/>
                      <a:pt x="23" y="23"/>
                    </a:cubicBezTo>
                    <a:cubicBezTo>
                      <a:pt x="23" y="30"/>
                      <a:pt x="23" y="30"/>
                      <a:pt x="23" y="30"/>
                    </a:cubicBezTo>
                    <a:cubicBezTo>
                      <a:pt x="17" y="30"/>
                      <a:pt x="17" y="30"/>
                      <a:pt x="17" y="30"/>
                    </a:cubicBezTo>
                    <a:cubicBezTo>
                      <a:pt x="17" y="23"/>
                      <a:pt x="17" y="23"/>
                      <a:pt x="17" y="23"/>
                    </a:cubicBezTo>
                    <a:cubicBezTo>
                      <a:pt x="10" y="23"/>
                      <a:pt x="10" y="23"/>
                      <a:pt x="10" y="23"/>
                    </a:cubicBezTo>
                    <a:cubicBezTo>
                      <a:pt x="10" y="17"/>
                      <a:pt x="10" y="17"/>
                      <a:pt x="10" y="17"/>
                    </a:cubicBezTo>
                    <a:cubicBezTo>
                      <a:pt x="17" y="17"/>
                      <a:pt x="17" y="17"/>
                      <a:pt x="17" y="17"/>
                    </a:cubicBezTo>
                    <a:cubicBezTo>
                      <a:pt x="17" y="10"/>
                      <a:pt x="17" y="10"/>
                      <a:pt x="17" y="10"/>
                    </a:cubicBezTo>
                    <a:cubicBezTo>
                      <a:pt x="23" y="10"/>
                      <a:pt x="23" y="10"/>
                      <a:pt x="23" y="10"/>
                    </a:cubicBezTo>
                    <a:cubicBezTo>
                      <a:pt x="23" y="17"/>
                      <a:pt x="23" y="17"/>
                      <a:pt x="23" y="17"/>
                    </a:cubicBezTo>
                    <a:cubicBezTo>
                      <a:pt x="30" y="17"/>
                      <a:pt x="30" y="17"/>
                      <a:pt x="30" y="17"/>
                    </a:cubicBezTo>
                    <a:lnTo>
                      <a:pt x="30" y="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73" name="Group 286"/>
            <p:cNvGrpSpPr/>
            <p:nvPr/>
          </p:nvGrpSpPr>
          <p:grpSpPr>
            <a:xfrm>
              <a:off x="7495562" y="2309756"/>
              <a:ext cx="448834" cy="442686"/>
              <a:chOff x="3664942" y="-448400"/>
              <a:chExt cx="296603" cy="292540"/>
            </a:xfrm>
            <a:solidFill>
              <a:schemeClr val="accent1"/>
            </a:solidFill>
          </p:grpSpPr>
          <p:sp>
            <p:nvSpPr>
              <p:cNvPr id="174" name="Freeform 97"/>
              <p:cNvSpPr>
                <a:spLocks noEditPoints="1"/>
              </p:cNvSpPr>
              <p:nvPr/>
            </p:nvSpPr>
            <p:spPr bwMode="auto">
              <a:xfrm>
                <a:off x="3664942" y="-448400"/>
                <a:ext cx="231594" cy="136790"/>
              </a:xfrm>
              <a:custGeom>
                <a:avLst/>
                <a:gdLst>
                  <a:gd name="T0" fmla="*/ 35 w 70"/>
                  <a:gd name="T1" fmla="*/ 41 h 41"/>
                  <a:gd name="T2" fmla="*/ 70 w 70"/>
                  <a:gd name="T3" fmla="*/ 27 h 41"/>
                  <a:gd name="T4" fmla="*/ 70 w 70"/>
                  <a:gd name="T5" fmla="*/ 14 h 41"/>
                  <a:gd name="T6" fmla="*/ 35 w 70"/>
                  <a:gd name="T7" fmla="*/ 0 h 41"/>
                  <a:gd name="T8" fmla="*/ 0 w 70"/>
                  <a:gd name="T9" fmla="*/ 14 h 41"/>
                  <a:gd name="T10" fmla="*/ 0 w 70"/>
                  <a:gd name="T11" fmla="*/ 27 h 41"/>
                  <a:gd name="T12" fmla="*/ 35 w 70"/>
                  <a:gd name="T13" fmla="*/ 41 h 41"/>
                  <a:gd name="T14" fmla="*/ 35 w 70"/>
                  <a:gd name="T15" fmla="*/ 3 h 41"/>
                  <a:gd name="T16" fmla="*/ 66 w 70"/>
                  <a:gd name="T17" fmla="*/ 14 h 41"/>
                  <a:gd name="T18" fmla="*/ 35 w 70"/>
                  <a:gd name="T19" fmla="*/ 24 h 41"/>
                  <a:gd name="T20" fmla="*/ 4 w 70"/>
                  <a:gd name="T21" fmla="*/ 14 h 41"/>
                  <a:gd name="T22" fmla="*/ 35 w 70"/>
                  <a:gd name="T23"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41">
                    <a:moveTo>
                      <a:pt x="35" y="41"/>
                    </a:moveTo>
                    <a:cubicBezTo>
                      <a:pt x="54" y="41"/>
                      <a:pt x="70" y="35"/>
                      <a:pt x="70" y="27"/>
                    </a:cubicBezTo>
                    <a:cubicBezTo>
                      <a:pt x="70" y="14"/>
                      <a:pt x="70" y="14"/>
                      <a:pt x="70" y="14"/>
                    </a:cubicBezTo>
                    <a:cubicBezTo>
                      <a:pt x="70" y="6"/>
                      <a:pt x="54" y="0"/>
                      <a:pt x="35" y="0"/>
                    </a:cubicBezTo>
                    <a:cubicBezTo>
                      <a:pt x="16" y="0"/>
                      <a:pt x="0" y="6"/>
                      <a:pt x="0" y="14"/>
                    </a:cubicBezTo>
                    <a:cubicBezTo>
                      <a:pt x="0" y="27"/>
                      <a:pt x="0" y="27"/>
                      <a:pt x="0" y="27"/>
                    </a:cubicBezTo>
                    <a:cubicBezTo>
                      <a:pt x="0" y="35"/>
                      <a:pt x="16" y="41"/>
                      <a:pt x="35" y="41"/>
                    </a:cubicBezTo>
                    <a:close/>
                    <a:moveTo>
                      <a:pt x="35" y="3"/>
                    </a:moveTo>
                    <a:cubicBezTo>
                      <a:pt x="54" y="3"/>
                      <a:pt x="66" y="9"/>
                      <a:pt x="66" y="14"/>
                    </a:cubicBezTo>
                    <a:cubicBezTo>
                      <a:pt x="66" y="18"/>
                      <a:pt x="54" y="24"/>
                      <a:pt x="35" y="24"/>
                    </a:cubicBezTo>
                    <a:cubicBezTo>
                      <a:pt x="16" y="24"/>
                      <a:pt x="4" y="18"/>
                      <a:pt x="4" y="14"/>
                    </a:cubicBezTo>
                    <a:cubicBezTo>
                      <a:pt x="4" y="9"/>
                      <a:pt x="16" y="3"/>
                      <a:pt x="3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5" name="Freeform 98"/>
              <p:cNvSpPr/>
              <p:nvPr/>
            </p:nvSpPr>
            <p:spPr bwMode="auto">
              <a:xfrm>
                <a:off x="3664942" y="-334634"/>
                <a:ext cx="231594" cy="92096"/>
              </a:xfrm>
              <a:custGeom>
                <a:avLst/>
                <a:gdLst>
                  <a:gd name="T0" fmla="*/ 35 w 70"/>
                  <a:gd name="T1" fmla="*/ 28 h 28"/>
                  <a:gd name="T2" fmla="*/ 47 w 70"/>
                  <a:gd name="T3" fmla="*/ 27 h 28"/>
                  <a:gd name="T4" fmla="*/ 70 w 70"/>
                  <a:gd name="T5" fmla="*/ 10 h 28"/>
                  <a:gd name="T6" fmla="*/ 70 w 70"/>
                  <a:gd name="T7" fmla="*/ 0 h 28"/>
                  <a:gd name="T8" fmla="*/ 35 w 70"/>
                  <a:gd name="T9" fmla="*/ 14 h 28"/>
                  <a:gd name="T10" fmla="*/ 0 w 70"/>
                  <a:gd name="T11" fmla="*/ 0 h 28"/>
                  <a:gd name="T12" fmla="*/ 0 w 70"/>
                  <a:gd name="T13" fmla="*/ 14 h 28"/>
                  <a:gd name="T14" fmla="*/ 35 w 7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8">
                    <a:moveTo>
                      <a:pt x="35" y="28"/>
                    </a:moveTo>
                    <a:cubicBezTo>
                      <a:pt x="39" y="28"/>
                      <a:pt x="43" y="28"/>
                      <a:pt x="47" y="27"/>
                    </a:cubicBezTo>
                    <a:cubicBezTo>
                      <a:pt x="50" y="18"/>
                      <a:pt x="59" y="10"/>
                      <a:pt x="70" y="10"/>
                    </a:cubicBezTo>
                    <a:cubicBezTo>
                      <a:pt x="70" y="0"/>
                      <a:pt x="70" y="0"/>
                      <a:pt x="70" y="0"/>
                    </a:cubicBezTo>
                    <a:cubicBezTo>
                      <a:pt x="70" y="8"/>
                      <a:pt x="54" y="14"/>
                      <a:pt x="35" y="14"/>
                    </a:cubicBezTo>
                    <a:cubicBezTo>
                      <a:pt x="16" y="14"/>
                      <a:pt x="0" y="8"/>
                      <a:pt x="0" y="0"/>
                    </a:cubicBezTo>
                    <a:cubicBezTo>
                      <a:pt x="0" y="14"/>
                      <a:pt x="0" y="14"/>
                      <a:pt x="0" y="14"/>
                    </a:cubicBezTo>
                    <a:cubicBezTo>
                      <a:pt x="0" y="22"/>
                      <a:pt x="16" y="28"/>
                      <a:pt x="35"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6" name="Freeform 99"/>
              <p:cNvSpPr/>
              <p:nvPr/>
            </p:nvSpPr>
            <p:spPr bwMode="auto">
              <a:xfrm>
                <a:off x="3664942" y="-265562"/>
                <a:ext cx="165231" cy="92096"/>
              </a:xfrm>
              <a:custGeom>
                <a:avLst/>
                <a:gdLst>
                  <a:gd name="T0" fmla="*/ 35 w 50"/>
                  <a:gd name="T1" fmla="*/ 14 h 28"/>
                  <a:gd name="T2" fmla="*/ 0 w 50"/>
                  <a:gd name="T3" fmla="*/ 0 h 28"/>
                  <a:gd name="T4" fmla="*/ 0 w 50"/>
                  <a:gd name="T5" fmla="*/ 14 h 28"/>
                  <a:gd name="T6" fmla="*/ 35 w 50"/>
                  <a:gd name="T7" fmla="*/ 28 h 28"/>
                  <a:gd name="T8" fmla="*/ 50 w 50"/>
                  <a:gd name="T9" fmla="*/ 27 h 28"/>
                  <a:gd name="T10" fmla="*/ 46 w 50"/>
                  <a:gd name="T11" fmla="*/ 14 h 28"/>
                  <a:gd name="T12" fmla="*/ 35 w 50"/>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50" h="28">
                    <a:moveTo>
                      <a:pt x="35" y="14"/>
                    </a:moveTo>
                    <a:cubicBezTo>
                      <a:pt x="16" y="14"/>
                      <a:pt x="0" y="8"/>
                      <a:pt x="0" y="0"/>
                    </a:cubicBezTo>
                    <a:cubicBezTo>
                      <a:pt x="0" y="14"/>
                      <a:pt x="0" y="14"/>
                      <a:pt x="0" y="14"/>
                    </a:cubicBezTo>
                    <a:cubicBezTo>
                      <a:pt x="0" y="22"/>
                      <a:pt x="16" y="28"/>
                      <a:pt x="35" y="28"/>
                    </a:cubicBezTo>
                    <a:cubicBezTo>
                      <a:pt x="40" y="28"/>
                      <a:pt x="45" y="28"/>
                      <a:pt x="50" y="27"/>
                    </a:cubicBezTo>
                    <a:cubicBezTo>
                      <a:pt x="47" y="23"/>
                      <a:pt x="46" y="18"/>
                      <a:pt x="46" y="14"/>
                    </a:cubicBezTo>
                    <a:cubicBezTo>
                      <a:pt x="42" y="14"/>
                      <a:pt x="39" y="14"/>
                      <a:pt x="3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7" name="Freeform 100"/>
              <p:cNvSpPr>
                <a:spLocks noEditPoints="1"/>
              </p:cNvSpPr>
              <p:nvPr/>
            </p:nvSpPr>
            <p:spPr bwMode="auto">
              <a:xfrm>
                <a:off x="3830173" y="-288586"/>
                <a:ext cx="131372" cy="132726"/>
              </a:xfrm>
              <a:custGeom>
                <a:avLst/>
                <a:gdLst>
                  <a:gd name="T0" fmla="*/ 20 w 40"/>
                  <a:gd name="T1" fmla="*/ 0 h 40"/>
                  <a:gd name="T2" fmla="*/ 0 w 40"/>
                  <a:gd name="T3" fmla="*/ 20 h 40"/>
                  <a:gd name="T4" fmla="*/ 20 w 40"/>
                  <a:gd name="T5" fmla="*/ 40 h 40"/>
                  <a:gd name="T6" fmla="*/ 40 w 40"/>
                  <a:gd name="T7" fmla="*/ 20 h 40"/>
                  <a:gd name="T8" fmla="*/ 20 w 40"/>
                  <a:gd name="T9" fmla="*/ 0 h 40"/>
                  <a:gd name="T10" fmla="*/ 30 w 40"/>
                  <a:gd name="T11" fmla="*/ 23 h 40"/>
                  <a:gd name="T12" fmla="*/ 23 w 40"/>
                  <a:gd name="T13" fmla="*/ 23 h 40"/>
                  <a:gd name="T14" fmla="*/ 23 w 40"/>
                  <a:gd name="T15" fmla="*/ 30 h 40"/>
                  <a:gd name="T16" fmla="*/ 17 w 40"/>
                  <a:gd name="T17" fmla="*/ 30 h 40"/>
                  <a:gd name="T18" fmla="*/ 17 w 40"/>
                  <a:gd name="T19" fmla="*/ 23 h 40"/>
                  <a:gd name="T20" fmla="*/ 10 w 40"/>
                  <a:gd name="T21" fmla="*/ 23 h 40"/>
                  <a:gd name="T22" fmla="*/ 10 w 40"/>
                  <a:gd name="T23" fmla="*/ 17 h 40"/>
                  <a:gd name="T24" fmla="*/ 17 w 40"/>
                  <a:gd name="T25" fmla="*/ 17 h 40"/>
                  <a:gd name="T26" fmla="*/ 17 w 40"/>
                  <a:gd name="T27" fmla="*/ 10 h 40"/>
                  <a:gd name="T28" fmla="*/ 23 w 40"/>
                  <a:gd name="T29" fmla="*/ 10 h 40"/>
                  <a:gd name="T30" fmla="*/ 23 w 40"/>
                  <a:gd name="T31" fmla="*/ 17 h 40"/>
                  <a:gd name="T32" fmla="*/ 30 w 40"/>
                  <a:gd name="T33" fmla="*/ 17 h 40"/>
                  <a:gd name="T34" fmla="*/ 30 w 40"/>
                  <a:gd name="T35"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0">
                    <a:moveTo>
                      <a:pt x="20" y="0"/>
                    </a:moveTo>
                    <a:cubicBezTo>
                      <a:pt x="9" y="0"/>
                      <a:pt x="0" y="9"/>
                      <a:pt x="0" y="20"/>
                    </a:cubicBezTo>
                    <a:cubicBezTo>
                      <a:pt x="0" y="31"/>
                      <a:pt x="9" y="40"/>
                      <a:pt x="20" y="40"/>
                    </a:cubicBezTo>
                    <a:cubicBezTo>
                      <a:pt x="31" y="40"/>
                      <a:pt x="40" y="31"/>
                      <a:pt x="40" y="20"/>
                    </a:cubicBezTo>
                    <a:cubicBezTo>
                      <a:pt x="40" y="9"/>
                      <a:pt x="31" y="0"/>
                      <a:pt x="20" y="0"/>
                    </a:cubicBezTo>
                    <a:close/>
                    <a:moveTo>
                      <a:pt x="30" y="23"/>
                    </a:moveTo>
                    <a:cubicBezTo>
                      <a:pt x="23" y="23"/>
                      <a:pt x="23" y="23"/>
                      <a:pt x="23" y="23"/>
                    </a:cubicBezTo>
                    <a:cubicBezTo>
                      <a:pt x="23" y="30"/>
                      <a:pt x="23" y="30"/>
                      <a:pt x="23" y="30"/>
                    </a:cubicBezTo>
                    <a:cubicBezTo>
                      <a:pt x="17" y="30"/>
                      <a:pt x="17" y="30"/>
                      <a:pt x="17" y="30"/>
                    </a:cubicBezTo>
                    <a:cubicBezTo>
                      <a:pt x="17" y="23"/>
                      <a:pt x="17" y="23"/>
                      <a:pt x="17" y="23"/>
                    </a:cubicBezTo>
                    <a:cubicBezTo>
                      <a:pt x="10" y="23"/>
                      <a:pt x="10" y="23"/>
                      <a:pt x="10" y="23"/>
                    </a:cubicBezTo>
                    <a:cubicBezTo>
                      <a:pt x="10" y="17"/>
                      <a:pt x="10" y="17"/>
                      <a:pt x="10" y="17"/>
                    </a:cubicBezTo>
                    <a:cubicBezTo>
                      <a:pt x="17" y="17"/>
                      <a:pt x="17" y="17"/>
                      <a:pt x="17" y="17"/>
                    </a:cubicBezTo>
                    <a:cubicBezTo>
                      <a:pt x="17" y="10"/>
                      <a:pt x="17" y="10"/>
                      <a:pt x="17" y="10"/>
                    </a:cubicBezTo>
                    <a:cubicBezTo>
                      <a:pt x="23" y="10"/>
                      <a:pt x="23" y="10"/>
                      <a:pt x="23" y="10"/>
                    </a:cubicBezTo>
                    <a:cubicBezTo>
                      <a:pt x="23" y="17"/>
                      <a:pt x="23" y="17"/>
                      <a:pt x="23" y="17"/>
                    </a:cubicBezTo>
                    <a:cubicBezTo>
                      <a:pt x="30" y="17"/>
                      <a:pt x="30" y="17"/>
                      <a:pt x="30" y="17"/>
                    </a:cubicBezTo>
                    <a:lnTo>
                      <a:pt x="30" y="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78" name="Group 286"/>
            <p:cNvGrpSpPr/>
            <p:nvPr/>
          </p:nvGrpSpPr>
          <p:grpSpPr>
            <a:xfrm>
              <a:off x="9076168" y="2309756"/>
              <a:ext cx="448834" cy="442686"/>
              <a:chOff x="3664942" y="-448400"/>
              <a:chExt cx="296603" cy="292540"/>
            </a:xfrm>
            <a:solidFill>
              <a:schemeClr val="accent1"/>
            </a:solidFill>
          </p:grpSpPr>
          <p:sp>
            <p:nvSpPr>
              <p:cNvPr id="179" name="Freeform 97"/>
              <p:cNvSpPr>
                <a:spLocks noEditPoints="1"/>
              </p:cNvSpPr>
              <p:nvPr/>
            </p:nvSpPr>
            <p:spPr bwMode="auto">
              <a:xfrm>
                <a:off x="3664942" y="-448400"/>
                <a:ext cx="231594" cy="136790"/>
              </a:xfrm>
              <a:custGeom>
                <a:avLst/>
                <a:gdLst>
                  <a:gd name="T0" fmla="*/ 35 w 70"/>
                  <a:gd name="T1" fmla="*/ 41 h 41"/>
                  <a:gd name="T2" fmla="*/ 70 w 70"/>
                  <a:gd name="T3" fmla="*/ 27 h 41"/>
                  <a:gd name="T4" fmla="*/ 70 w 70"/>
                  <a:gd name="T5" fmla="*/ 14 h 41"/>
                  <a:gd name="T6" fmla="*/ 35 w 70"/>
                  <a:gd name="T7" fmla="*/ 0 h 41"/>
                  <a:gd name="T8" fmla="*/ 0 w 70"/>
                  <a:gd name="T9" fmla="*/ 14 h 41"/>
                  <a:gd name="T10" fmla="*/ 0 w 70"/>
                  <a:gd name="T11" fmla="*/ 27 h 41"/>
                  <a:gd name="T12" fmla="*/ 35 w 70"/>
                  <a:gd name="T13" fmla="*/ 41 h 41"/>
                  <a:gd name="T14" fmla="*/ 35 w 70"/>
                  <a:gd name="T15" fmla="*/ 3 h 41"/>
                  <a:gd name="T16" fmla="*/ 66 w 70"/>
                  <a:gd name="T17" fmla="*/ 14 h 41"/>
                  <a:gd name="T18" fmla="*/ 35 w 70"/>
                  <a:gd name="T19" fmla="*/ 24 h 41"/>
                  <a:gd name="T20" fmla="*/ 4 w 70"/>
                  <a:gd name="T21" fmla="*/ 14 h 41"/>
                  <a:gd name="T22" fmla="*/ 35 w 70"/>
                  <a:gd name="T23"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41">
                    <a:moveTo>
                      <a:pt x="35" y="41"/>
                    </a:moveTo>
                    <a:cubicBezTo>
                      <a:pt x="54" y="41"/>
                      <a:pt x="70" y="35"/>
                      <a:pt x="70" y="27"/>
                    </a:cubicBezTo>
                    <a:cubicBezTo>
                      <a:pt x="70" y="14"/>
                      <a:pt x="70" y="14"/>
                      <a:pt x="70" y="14"/>
                    </a:cubicBezTo>
                    <a:cubicBezTo>
                      <a:pt x="70" y="6"/>
                      <a:pt x="54" y="0"/>
                      <a:pt x="35" y="0"/>
                    </a:cubicBezTo>
                    <a:cubicBezTo>
                      <a:pt x="16" y="0"/>
                      <a:pt x="0" y="6"/>
                      <a:pt x="0" y="14"/>
                    </a:cubicBezTo>
                    <a:cubicBezTo>
                      <a:pt x="0" y="27"/>
                      <a:pt x="0" y="27"/>
                      <a:pt x="0" y="27"/>
                    </a:cubicBezTo>
                    <a:cubicBezTo>
                      <a:pt x="0" y="35"/>
                      <a:pt x="16" y="41"/>
                      <a:pt x="35" y="41"/>
                    </a:cubicBezTo>
                    <a:close/>
                    <a:moveTo>
                      <a:pt x="35" y="3"/>
                    </a:moveTo>
                    <a:cubicBezTo>
                      <a:pt x="54" y="3"/>
                      <a:pt x="66" y="9"/>
                      <a:pt x="66" y="14"/>
                    </a:cubicBezTo>
                    <a:cubicBezTo>
                      <a:pt x="66" y="18"/>
                      <a:pt x="54" y="24"/>
                      <a:pt x="35" y="24"/>
                    </a:cubicBezTo>
                    <a:cubicBezTo>
                      <a:pt x="16" y="24"/>
                      <a:pt x="4" y="18"/>
                      <a:pt x="4" y="14"/>
                    </a:cubicBezTo>
                    <a:cubicBezTo>
                      <a:pt x="4" y="9"/>
                      <a:pt x="16" y="3"/>
                      <a:pt x="3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0" name="Freeform 98"/>
              <p:cNvSpPr/>
              <p:nvPr/>
            </p:nvSpPr>
            <p:spPr bwMode="auto">
              <a:xfrm>
                <a:off x="3664942" y="-334634"/>
                <a:ext cx="231594" cy="92096"/>
              </a:xfrm>
              <a:custGeom>
                <a:avLst/>
                <a:gdLst>
                  <a:gd name="T0" fmla="*/ 35 w 70"/>
                  <a:gd name="T1" fmla="*/ 28 h 28"/>
                  <a:gd name="T2" fmla="*/ 47 w 70"/>
                  <a:gd name="T3" fmla="*/ 27 h 28"/>
                  <a:gd name="T4" fmla="*/ 70 w 70"/>
                  <a:gd name="T5" fmla="*/ 10 h 28"/>
                  <a:gd name="T6" fmla="*/ 70 w 70"/>
                  <a:gd name="T7" fmla="*/ 0 h 28"/>
                  <a:gd name="T8" fmla="*/ 35 w 70"/>
                  <a:gd name="T9" fmla="*/ 14 h 28"/>
                  <a:gd name="T10" fmla="*/ 0 w 70"/>
                  <a:gd name="T11" fmla="*/ 0 h 28"/>
                  <a:gd name="T12" fmla="*/ 0 w 70"/>
                  <a:gd name="T13" fmla="*/ 14 h 28"/>
                  <a:gd name="T14" fmla="*/ 35 w 7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8">
                    <a:moveTo>
                      <a:pt x="35" y="28"/>
                    </a:moveTo>
                    <a:cubicBezTo>
                      <a:pt x="39" y="28"/>
                      <a:pt x="43" y="28"/>
                      <a:pt x="47" y="27"/>
                    </a:cubicBezTo>
                    <a:cubicBezTo>
                      <a:pt x="50" y="18"/>
                      <a:pt x="59" y="10"/>
                      <a:pt x="70" y="10"/>
                    </a:cubicBezTo>
                    <a:cubicBezTo>
                      <a:pt x="70" y="0"/>
                      <a:pt x="70" y="0"/>
                      <a:pt x="70" y="0"/>
                    </a:cubicBezTo>
                    <a:cubicBezTo>
                      <a:pt x="70" y="8"/>
                      <a:pt x="54" y="14"/>
                      <a:pt x="35" y="14"/>
                    </a:cubicBezTo>
                    <a:cubicBezTo>
                      <a:pt x="16" y="14"/>
                      <a:pt x="0" y="8"/>
                      <a:pt x="0" y="0"/>
                    </a:cubicBezTo>
                    <a:cubicBezTo>
                      <a:pt x="0" y="14"/>
                      <a:pt x="0" y="14"/>
                      <a:pt x="0" y="14"/>
                    </a:cubicBezTo>
                    <a:cubicBezTo>
                      <a:pt x="0" y="22"/>
                      <a:pt x="16" y="28"/>
                      <a:pt x="35"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1" name="Freeform 99"/>
              <p:cNvSpPr/>
              <p:nvPr/>
            </p:nvSpPr>
            <p:spPr bwMode="auto">
              <a:xfrm>
                <a:off x="3664942" y="-265562"/>
                <a:ext cx="165231" cy="92096"/>
              </a:xfrm>
              <a:custGeom>
                <a:avLst/>
                <a:gdLst>
                  <a:gd name="T0" fmla="*/ 35 w 50"/>
                  <a:gd name="T1" fmla="*/ 14 h 28"/>
                  <a:gd name="T2" fmla="*/ 0 w 50"/>
                  <a:gd name="T3" fmla="*/ 0 h 28"/>
                  <a:gd name="T4" fmla="*/ 0 w 50"/>
                  <a:gd name="T5" fmla="*/ 14 h 28"/>
                  <a:gd name="T6" fmla="*/ 35 w 50"/>
                  <a:gd name="T7" fmla="*/ 28 h 28"/>
                  <a:gd name="T8" fmla="*/ 50 w 50"/>
                  <a:gd name="T9" fmla="*/ 27 h 28"/>
                  <a:gd name="T10" fmla="*/ 46 w 50"/>
                  <a:gd name="T11" fmla="*/ 14 h 28"/>
                  <a:gd name="T12" fmla="*/ 35 w 50"/>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50" h="28">
                    <a:moveTo>
                      <a:pt x="35" y="14"/>
                    </a:moveTo>
                    <a:cubicBezTo>
                      <a:pt x="16" y="14"/>
                      <a:pt x="0" y="8"/>
                      <a:pt x="0" y="0"/>
                    </a:cubicBezTo>
                    <a:cubicBezTo>
                      <a:pt x="0" y="14"/>
                      <a:pt x="0" y="14"/>
                      <a:pt x="0" y="14"/>
                    </a:cubicBezTo>
                    <a:cubicBezTo>
                      <a:pt x="0" y="22"/>
                      <a:pt x="16" y="28"/>
                      <a:pt x="35" y="28"/>
                    </a:cubicBezTo>
                    <a:cubicBezTo>
                      <a:pt x="40" y="28"/>
                      <a:pt x="45" y="28"/>
                      <a:pt x="50" y="27"/>
                    </a:cubicBezTo>
                    <a:cubicBezTo>
                      <a:pt x="47" y="23"/>
                      <a:pt x="46" y="18"/>
                      <a:pt x="46" y="14"/>
                    </a:cubicBezTo>
                    <a:cubicBezTo>
                      <a:pt x="42" y="14"/>
                      <a:pt x="39" y="14"/>
                      <a:pt x="3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2" name="Freeform 100"/>
              <p:cNvSpPr>
                <a:spLocks noEditPoints="1"/>
              </p:cNvSpPr>
              <p:nvPr/>
            </p:nvSpPr>
            <p:spPr bwMode="auto">
              <a:xfrm>
                <a:off x="3830173" y="-288586"/>
                <a:ext cx="131372" cy="132726"/>
              </a:xfrm>
              <a:custGeom>
                <a:avLst/>
                <a:gdLst>
                  <a:gd name="T0" fmla="*/ 20 w 40"/>
                  <a:gd name="T1" fmla="*/ 0 h 40"/>
                  <a:gd name="T2" fmla="*/ 0 w 40"/>
                  <a:gd name="T3" fmla="*/ 20 h 40"/>
                  <a:gd name="T4" fmla="*/ 20 w 40"/>
                  <a:gd name="T5" fmla="*/ 40 h 40"/>
                  <a:gd name="T6" fmla="*/ 40 w 40"/>
                  <a:gd name="T7" fmla="*/ 20 h 40"/>
                  <a:gd name="T8" fmla="*/ 20 w 40"/>
                  <a:gd name="T9" fmla="*/ 0 h 40"/>
                  <a:gd name="T10" fmla="*/ 30 w 40"/>
                  <a:gd name="T11" fmla="*/ 23 h 40"/>
                  <a:gd name="T12" fmla="*/ 23 w 40"/>
                  <a:gd name="T13" fmla="*/ 23 h 40"/>
                  <a:gd name="T14" fmla="*/ 23 w 40"/>
                  <a:gd name="T15" fmla="*/ 30 h 40"/>
                  <a:gd name="T16" fmla="*/ 17 w 40"/>
                  <a:gd name="T17" fmla="*/ 30 h 40"/>
                  <a:gd name="T18" fmla="*/ 17 w 40"/>
                  <a:gd name="T19" fmla="*/ 23 h 40"/>
                  <a:gd name="T20" fmla="*/ 10 w 40"/>
                  <a:gd name="T21" fmla="*/ 23 h 40"/>
                  <a:gd name="T22" fmla="*/ 10 w 40"/>
                  <a:gd name="T23" fmla="*/ 17 h 40"/>
                  <a:gd name="T24" fmla="*/ 17 w 40"/>
                  <a:gd name="T25" fmla="*/ 17 h 40"/>
                  <a:gd name="T26" fmla="*/ 17 w 40"/>
                  <a:gd name="T27" fmla="*/ 10 h 40"/>
                  <a:gd name="T28" fmla="*/ 23 w 40"/>
                  <a:gd name="T29" fmla="*/ 10 h 40"/>
                  <a:gd name="T30" fmla="*/ 23 w 40"/>
                  <a:gd name="T31" fmla="*/ 17 h 40"/>
                  <a:gd name="T32" fmla="*/ 30 w 40"/>
                  <a:gd name="T33" fmla="*/ 17 h 40"/>
                  <a:gd name="T34" fmla="*/ 30 w 40"/>
                  <a:gd name="T35"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0">
                    <a:moveTo>
                      <a:pt x="20" y="0"/>
                    </a:moveTo>
                    <a:cubicBezTo>
                      <a:pt x="9" y="0"/>
                      <a:pt x="0" y="9"/>
                      <a:pt x="0" y="20"/>
                    </a:cubicBezTo>
                    <a:cubicBezTo>
                      <a:pt x="0" y="31"/>
                      <a:pt x="9" y="40"/>
                      <a:pt x="20" y="40"/>
                    </a:cubicBezTo>
                    <a:cubicBezTo>
                      <a:pt x="31" y="40"/>
                      <a:pt x="40" y="31"/>
                      <a:pt x="40" y="20"/>
                    </a:cubicBezTo>
                    <a:cubicBezTo>
                      <a:pt x="40" y="9"/>
                      <a:pt x="31" y="0"/>
                      <a:pt x="20" y="0"/>
                    </a:cubicBezTo>
                    <a:close/>
                    <a:moveTo>
                      <a:pt x="30" y="23"/>
                    </a:moveTo>
                    <a:cubicBezTo>
                      <a:pt x="23" y="23"/>
                      <a:pt x="23" y="23"/>
                      <a:pt x="23" y="23"/>
                    </a:cubicBezTo>
                    <a:cubicBezTo>
                      <a:pt x="23" y="30"/>
                      <a:pt x="23" y="30"/>
                      <a:pt x="23" y="30"/>
                    </a:cubicBezTo>
                    <a:cubicBezTo>
                      <a:pt x="17" y="30"/>
                      <a:pt x="17" y="30"/>
                      <a:pt x="17" y="30"/>
                    </a:cubicBezTo>
                    <a:cubicBezTo>
                      <a:pt x="17" y="23"/>
                      <a:pt x="17" y="23"/>
                      <a:pt x="17" y="23"/>
                    </a:cubicBezTo>
                    <a:cubicBezTo>
                      <a:pt x="10" y="23"/>
                      <a:pt x="10" y="23"/>
                      <a:pt x="10" y="23"/>
                    </a:cubicBezTo>
                    <a:cubicBezTo>
                      <a:pt x="10" y="17"/>
                      <a:pt x="10" y="17"/>
                      <a:pt x="10" y="17"/>
                    </a:cubicBezTo>
                    <a:cubicBezTo>
                      <a:pt x="17" y="17"/>
                      <a:pt x="17" y="17"/>
                      <a:pt x="17" y="17"/>
                    </a:cubicBezTo>
                    <a:cubicBezTo>
                      <a:pt x="17" y="10"/>
                      <a:pt x="17" y="10"/>
                      <a:pt x="17" y="10"/>
                    </a:cubicBezTo>
                    <a:cubicBezTo>
                      <a:pt x="23" y="10"/>
                      <a:pt x="23" y="10"/>
                      <a:pt x="23" y="10"/>
                    </a:cubicBezTo>
                    <a:cubicBezTo>
                      <a:pt x="23" y="17"/>
                      <a:pt x="23" y="17"/>
                      <a:pt x="23" y="17"/>
                    </a:cubicBezTo>
                    <a:cubicBezTo>
                      <a:pt x="30" y="17"/>
                      <a:pt x="30" y="17"/>
                      <a:pt x="30" y="17"/>
                    </a:cubicBezTo>
                    <a:lnTo>
                      <a:pt x="30" y="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5" name="组合 4"/>
            <p:cNvGrpSpPr/>
            <p:nvPr/>
          </p:nvGrpSpPr>
          <p:grpSpPr>
            <a:xfrm>
              <a:off x="1628996" y="2503714"/>
              <a:ext cx="987438" cy="76200"/>
              <a:chOff x="1567543" y="2558143"/>
              <a:chExt cx="1110343" cy="76200"/>
            </a:xfrm>
          </p:grpSpPr>
          <p:cxnSp>
            <p:nvCxnSpPr>
              <p:cNvPr id="4" name="直接连接符 3"/>
              <p:cNvCxnSpPr/>
              <p:nvPr/>
            </p:nvCxnSpPr>
            <p:spPr>
              <a:xfrm>
                <a:off x="1567543" y="2558143"/>
                <a:ext cx="1110343" cy="0"/>
              </a:xfrm>
              <a:prstGeom prst="line">
                <a:avLst/>
              </a:pr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87" name="直接连接符 186"/>
              <p:cNvCxnSpPr/>
              <p:nvPr/>
            </p:nvCxnSpPr>
            <p:spPr>
              <a:xfrm>
                <a:off x="1567543" y="2634343"/>
                <a:ext cx="1110343" cy="0"/>
              </a:xfrm>
              <a:prstGeom prst="line">
                <a:avLst/>
              </a:pr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grpSp>
        <p:grpSp>
          <p:nvGrpSpPr>
            <p:cNvPr id="8" name="组合 7"/>
            <p:cNvGrpSpPr/>
            <p:nvPr/>
          </p:nvGrpSpPr>
          <p:grpSpPr>
            <a:xfrm>
              <a:off x="3240082" y="2503714"/>
              <a:ext cx="987438" cy="76200"/>
              <a:chOff x="3178629" y="2558143"/>
              <a:chExt cx="1110343" cy="76200"/>
            </a:xfrm>
          </p:grpSpPr>
          <p:cxnSp>
            <p:nvCxnSpPr>
              <p:cNvPr id="183" name="直接连接符 182"/>
              <p:cNvCxnSpPr/>
              <p:nvPr/>
            </p:nvCxnSpPr>
            <p:spPr>
              <a:xfrm>
                <a:off x="3178629" y="2558143"/>
                <a:ext cx="1110343" cy="0"/>
              </a:xfrm>
              <a:prstGeom prst="line">
                <a:avLst/>
              </a:pr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88" name="直接连接符 187"/>
              <p:cNvCxnSpPr/>
              <p:nvPr/>
            </p:nvCxnSpPr>
            <p:spPr>
              <a:xfrm>
                <a:off x="3178629" y="2634343"/>
                <a:ext cx="1110343" cy="0"/>
              </a:xfrm>
              <a:prstGeom prst="line">
                <a:avLst/>
              </a:pr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grpSp>
        <p:grpSp>
          <p:nvGrpSpPr>
            <p:cNvPr id="10" name="组合 9"/>
            <p:cNvGrpSpPr/>
            <p:nvPr/>
          </p:nvGrpSpPr>
          <p:grpSpPr>
            <a:xfrm>
              <a:off x="4818511" y="2503714"/>
              <a:ext cx="987438" cy="76200"/>
              <a:chOff x="4757058" y="2558143"/>
              <a:chExt cx="1110343" cy="76200"/>
            </a:xfrm>
          </p:grpSpPr>
          <p:cxnSp>
            <p:nvCxnSpPr>
              <p:cNvPr id="184" name="直接连接符 183"/>
              <p:cNvCxnSpPr/>
              <p:nvPr/>
            </p:nvCxnSpPr>
            <p:spPr>
              <a:xfrm>
                <a:off x="4757058" y="2558143"/>
                <a:ext cx="1110343" cy="0"/>
              </a:xfrm>
              <a:prstGeom prst="line">
                <a:avLst/>
              </a:pr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89" name="直接连接符 188"/>
              <p:cNvCxnSpPr/>
              <p:nvPr/>
            </p:nvCxnSpPr>
            <p:spPr>
              <a:xfrm>
                <a:off x="4757058" y="2634343"/>
                <a:ext cx="1110343" cy="0"/>
              </a:xfrm>
              <a:prstGeom prst="line">
                <a:avLst/>
              </a:pr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grpSp>
        <p:grpSp>
          <p:nvGrpSpPr>
            <p:cNvPr id="13" name="组合 12"/>
            <p:cNvGrpSpPr/>
            <p:nvPr/>
          </p:nvGrpSpPr>
          <p:grpSpPr>
            <a:xfrm>
              <a:off x="6407825" y="2503714"/>
              <a:ext cx="987438" cy="76200"/>
              <a:chOff x="6346372" y="2558143"/>
              <a:chExt cx="1110343" cy="76200"/>
            </a:xfrm>
          </p:grpSpPr>
          <p:cxnSp>
            <p:nvCxnSpPr>
              <p:cNvPr id="185" name="直接连接符 184"/>
              <p:cNvCxnSpPr/>
              <p:nvPr/>
            </p:nvCxnSpPr>
            <p:spPr>
              <a:xfrm>
                <a:off x="6346372" y="2558143"/>
                <a:ext cx="1110343" cy="0"/>
              </a:xfrm>
              <a:prstGeom prst="line">
                <a:avLst/>
              </a:pr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90" name="直接连接符 189"/>
              <p:cNvCxnSpPr/>
              <p:nvPr/>
            </p:nvCxnSpPr>
            <p:spPr>
              <a:xfrm>
                <a:off x="6346372" y="2634343"/>
                <a:ext cx="1110343" cy="0"/>
              </a:xfrm>
              <a:prstGeom prst="line">
                <a:avLst/>
              </a:pr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grpSp>
        <p:grpSp>
          <p:nvGrpSpPr>
            <p:cNvPr id="16" name="组合 15"/>
            <p:cNvGrpSpPr/>
            <p:nvPr/>
          </p:nvGrpSpPr>
          <p:grpSpPr>
            <a:xfrm>
              <a:off x="7997139" y="2503714"/>
              <a:ext cx="987438" cy="76200"/>
              <a:chOff x="7935686" y="2558143"/>
              <a:chExt cx="1110343" cy="76200"/>
            </a:xfrm>
          </p:grpSpPr>
          <p:cxnSp>
            <p:nvCxnSpPr>
              <p:cNvPr id="186" name="直接连接符 185"/>
              <p:cNvCxnSpPr/>
              <p:nvPr/>
            </p:nvCxnSpPr>
            <p:spPr>
              <a:xfrm>
                <a:off x="7935686" y="2558143"/>
                <a:ext cx="1110343" cy="0"/>
              </a:xfrm>
              <a:prstGeom prst="line">
                <a:avLst/>
              </a:pr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91" name="直接连接符 190"/>
              <p:cNvCxnSpPr/>
              <p:nvPr/>
            </p:nvCxnSpPr>
            <p:spPr>
              <a:xfrm>
                <a:off x="7935686" y="2634343"/>
                <a:ext cx="1110343" cy="0"/>
              </a:xfrm>
              <a:prstGeom prst="line">
                <a:avLst/>
              </a:pr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grpSp>
        <p:sp>
          <p:nvSpPr>
            <p:cNvPr id="20" name="任意多边形 19"/>
            <p:cNvSpPr/>
            <p:nvPr/>
          </p:nvSpPr>
          <p:spPr>
            <a:xfrm>
              <a:off x="1338943" y="2743201"/>
              <a:ext cx="1509941" cy="152400"/>
            </a:xfrm>
            <a:custGeom>
              <a:avLst/>
              <a:gdLst>
                <a:gd name="connsiteX0" fmla="*/ 0 w 1578428"/>
                <a:gd name="connsiteY0" fmla="*/ 0 h 195943"/>
                <a:gd name="connsiteX1" fmla="*/ 0 w 1578428"/>
                <a:gd name="connsiteY1" fmla="*/ 195943 h 195943"/>
                <a:gd name="connsiteX2" fmla="*/ 1578428 w 1578428"/>
                <a:gd name="connsiteY2" fmla="*/ 195943 h 195943"/>
                <a:gd name="connsiteX3" fmla="*/ 1578428 w 1578428"/>
                <a:gd name="connsiteY3" fmla="*/ 21771 h 195943"/>
              </a:gdLst>
              <a:ahLst/>
              <a:cxnLst>
                <a:cxn ang="0">
                  <a:pos x="connsiteX0" y="connsiteY0"/>
                </a:cxn>
                <a:cxn ang="0">
                  <a:pos x="connsiteX1" y="connsiteY1"/>
                </a:cxn>
                <a:cxn ang="0">
                  <a:pos x="connsiteX2" y="connsiteY2"/>
                </a:cxn>
                <a:cxn ang="0">
                  <a:pos x="connsiteX3" y="connsiteY3"/>
                </a:cxn>
              </a:cxnLst>
              <a:rect l="l" t="t" r="r" b="b"/>
              <a:pathLst>
                <a:path w="1578428" h="195943">
                  <a:moveTo>
                    <a:pt x="0" y="0"/>
                  </a:moveTo>
                  <a:lnTo>
                    <a:pt x="0" y="195943"/>
                  </a:lnTo>
                  <a:lnTo>
                    <a:pt x="1578428" y="195943"/>
                  </a:lnTo>
                  <a:lnTo>
                    <a:pt x="1578428" y="21771"/>
                  </a:lnTo>
                </a:path>
              </a:pathLst>
            </a:cu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2" name="任意多边形 191"/>
            <p:cNvSpPr/>
            <p:nvPr/>
          </p:nvSpPr>
          <p:spPr>
            <a:xfrm>
              <a:off x="2952844" y="2743201"/>
              <a:ext cx="1485342" cy="152400"/>
            </a:xfrm>
            <a:custGeom>
              <a:avLst/>
              <a:gdLst>
                <a:gd name="connsiteX0" fmla="*/ 0 w 1578428"/>
                <a:gd name="connsiteY0" fmla="*/ 0 h 195943"/>
                <a:gd name="connsiteX1" fmla="*/ 0 w 1578428"/>
                <a:gd name="connsiteY1" fmla="*/ 195943 h 195943"/>
                <a:gd name="connsiteX2" fmla="*/ 1578428 w 1578428"/>
                <a:gd name="connsiteY2" fmla="*/ 195943 h 195943"/>
                <a:gd name="connsiteX3" fmla="*/ 1578428 w 1578428"/>
                <a:gd name="connsiteY3" fmla="*/ 21771 h 195943"/>
              </a:gdLst>
              <a:ahLst/>
              <a:cxnLst>
                <a:cxn ang="0">
                  <a:pos x="connsiteX0" y="connsiteY0"/>
                </a:cxn>
                <a:cxn ang="0">
                  <a:pos x="connsiteX1" y="connsiteY1"/>
                </a:cxn>
                <a:cxn ang="0">
                  <a:pos x="connsiteX2" y="connsiteY2"/>
                </a:cxn>
                <a:cxn ang="0">
                  <a:pos x="connsiteX3" y="connsiteY3"/>
                </a:cxn>
              </a:cxnLst>
              <a:rect l="l" t="t" r="r" b="b"/>
              <a:pathLst>
                <a:path w="1578428" h="195943">
                  <a:moveTo>
                    <a:pt x="0" y="0"/>
                  </a:moveTo>
                  <a:lnTo>
                    <a:pt x="0" y="195943"/>
                  </a:lnTo>
                  <a:lnTo>
                    <a:pt x="1578428" y="195943"/>
                  </a:lnTo>
                  <a:lnTo>
                    <a:pt x="1578428" y="21771"/>
                  </a:lnTo>
                </a:path>
              </a:pathLst>
            </a:cu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3" name="任意多边形 192"/>
            <p:cNvSpPr/>
            <p:nvPr/>
          </p:nvSpPr>
          <p:spPr>
            <a:xfrm>
              <a:off x="4554159" y="2743201"/>
              <a:ext cx="1485342" cy="152400"/>
            </a:xfrm>
            <a:custGeom>
              <a:avLst/>
              <a:gdLst>
                <a:gd name="connsiteX0" fmla="*/ 0 w 1578428"/>
                <a:gd name="connsiteY0" fmla="*/ 0 h 195943"/>
                <a:gd name="connsiteX1" fmla="*/ 0 w 1578428"/>
                <a:gd name="connsiteY1" fmla="*/ 195943 h 195943"/>
                <a:gd name="connsiteX2" fmla="*/ 1578428 w 1578428"/>
                <a:gd name="connsiteY2" fmla="*/ 195943 h 195943"/>
                <a:gd name="connsiteX3" fmla="*/ 1578428 w 1578428"/>
                <a:gd name="connsiteY3" fmla="*/ 21771 h 195943"/>
              </a:gdLst>
              <a:ahLst/>
              <a:cxnLst>
                <a:cxn ang="0">
                  <a:pos x="connsiteX0" y="connsiteY0"/>
                </a:cxn>
                <a:cxn ang="0">
                  <a:pos x="connsiteX1" y="connsiteY1"/>
                </a:cxn>
                <a:cxn ang="0">
                  <a:pos x="connsiteX2" y="connsiteY2"/>
                </a:cxn>
                <a:cxn ang="0">
                  <a:pos x="connsiteX3" y="connsiteY3"/>
                </a:cxn>
              </a:cxnLst>
              <a:rect l="l" t="t" r="r" b="b"/>
              <a:pathLst>
                <a:path w="1578428" h="195943">
                  <a:moveTo>
                    <a:pt x="0" y="0"/>
                  </a:moveTo>
                  <a:lnTo>
                    <a:pt x="0" y="195943"/>
                  </a:lnTo>
                  <a:lnTo>
                    <a:pt x="1578428" y="195943"/>
                  </a:lnTo>
                  <a:lnTo>
                    <a:pt x="1578428" y="21771"/>
                  </a:lnTo>
                </a:path>
              </a:pathLst>
            </a:cu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4" name="任意多边形 193"/>
            <p:cNvSpPr/>
            <p:nvPr/>
          </p:nvSpPr>
          <p:spPr>
            <a:xfrm>
              <a:off x="6156622" y="2743201"/>
              <a:ext cx="1485342" cy="152400"/>
            </a:xfrm>
            <a:custGeom>
              <a:avLst/>
              <a:gdLst>
                <a:gd name="connsiteX0" fmla="*/ 0 w 1578428"/>
                <a:gd name="connsiteY0" fmla="*/ 0 h 195943"/>
                <a:gd name="connsiteX1" fmla="*/ 0 w 1578428"/>
                <a:gd name="connsiteY1" fmla="*/ 195943 h 195943"/>
                <a:gd name="connsiteX2" fmla="*/ 1578428 w 1578428"/>
                <a:gd name="connsiteY2" fmla="*/ 195943 h 195943"/>
                <a:gd name="connsiteX3" fmla="*/ 1578428 w 1578428"/>
                <a:gd name="connsiteY3" fmla="*/ 21771 h 195943"/>
              </a:gdLst>
              <a:ahLst/>
              <a:cxnLst>
                <a:cxn ang="0">
                  <a:pos x="connsiteX0" y="connsiteY0"/>
                </a:cxn>
                <a:cxn ang="0">
                  <a:pos x="connsiteX1" y="connsiteY1"/>
                </a:cxn>
                <a:cxn ang="0">
                  <a:pos x="connsiteX2" y="connsiteY2"/>
                </a:cxn>
                <a:cxn ang="0">
                  <a:pos x="connsiteX3" y="connsiteY3"/>
                </a:cxn>
              </a:cxnLst>
              <a:rect l="l" t="t" r="r" b="b"/>
              <a:pathLst>
                <a:path w="1578428" h="195943">
                  <a:moveTo>
                    <a:pt x="0" y="0"/>
                  </a:moveTo>
                  <a:lnTo>
                    <a:pt x="0" y="195943"/>
                  </a:lnTo>
                  <a:lnTo>
                    <a:pt x="1578428" y="195943"/>
                  </a:lnTo>
                  <a:lnTo>
                    <a:pt x="1578428" y="21771"/>
                  </a:lnTo>
                </a:path>
              </a:pathLst>
            </a:cu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5" name="任意多边形 194"/>
            <p:cNvSpPr/>
            <p:nvPr/>
          </p:nvSpPr>
          <p:spPr>
            <a:xfrm>
              <a:off x="7750032" y="2743201"/>
              <a:ext cx="1485342" cy="152400"/>
            </a:xfrm>
            <a:custGeom>
              <a:avLst/>
              <a:gdLst>
                <a:gd name="connsiteX0" fmla="*/ 0 w 1578428"/>
                <a:gd name="connsiteY0" fmla="*/ 0 h 195943"/>
                <a:gd name="connsiteX1" fmla="*/ 0 w 1578428"/>
                <a:gd name="connsiteY1" fmla="*/ 195943 h 195943"/>
                <a:gd name="connsiteX2" fmla="*/ 1578428 w 1578428"/>
                <a:gd name="connsiteY2" fmla="*/ 195943 h 195943"/>
                <a:gd name="connsiteX3" fmla="*/ 1578428 w 1578428"/>
                <a:gd name="connsiteY3" fmla="*/ 21771 h 195943"/>
              </a:gdLst>
              <a:ahLst/>
              <a:cxnLst>
                <a:cxn ang="0">
                  <a:pos x="connsiteX0" y="connsiteY0"/>
                </a:cxn>
                <a:cxn ang="0">
                  <a:pos x="connsiteX1" y="connsiteY1"/>
                </a:cxn>
                <a:cxn ang="0">
                  <a:pos x="connsiteX2" y="connsiteY2"/>
                </a:cxn>
                <a:cxn ang="0">
                  <a:pos x="connsiteX3" y="connsiteY3"/>
                </a:cxn>
              </a:cxnLst>
              <a:rect l="l" t="t" r="r" b="b"/>
              <a:pathLst>
                <a:path w="1578428" h="195943">
                  <a:moveTo>
                    <a:pt x="0" y="0"/>
                  </a:moveTo>
                  <a:lnTo>
                    <a:pt x="0" y="195943"/>
                  </a:lnTo>
                  <a:lnTo>
                    <a:pt x="1578428" y="195943"/>
                  </a:lnTo>
                  <a:lnTo>
                    <a:pt x="1578428" y="21771"/>
                  </a:lnTo>
                </a:path>
              </a:pathLst>
            </a:custGeom>
            <a:ln w="19050" cap="rnd">
              <a:solidFill>
                <a:schemeClr val="accent1">
                  <a:lumMod val="75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197" name="矩形 196"/>
          <p:cNvSpPr/>
          <p:nvPr/>
        </p:nvSpPr>
        <p:spPr bwMode="auto">
          <a:xfrm>
            <a:off x="866472" y="3634246"/>
            <a:ext cx="1215750" cy="305555"/>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Lst>
        </p:spPr>
        <p:txBody>
          <a:bodyPr lIns="17993" tIns="0" rIns="17993"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ea"/>
                <a:sym typeface="+mn-lt"/>
              </a:rPr>
              <a:t>XX</a:t>
            </a:r>
            <a:endParaRPr kumimoji="0" lang="en-US" altLang="zh-CN" sz="18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ea"/>
              <a:sym typeface="+mn-lt"/>
            </a:endParaRPr>
          </a:p>
        </p:txBody>
      </p:sp>
      <p:sp>
        <p:nvSpPr>
          <p:cNvPr id="198" name="矩形 197"/>
          <p:cNvSpPr/>
          <p:nvPr/>
        </p:nvSpPr>
        <p:spPr bwMode="auto">
          <a:xfrm>
            <a:off x="2575396" y="3634246"/>
            <a:ext cx="1193824" cy="305555"/>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Lst>
        </p:spPr>
        <p:txBody>
          <a:bodyPr lIns="17993" tIns="0" rIns="17993"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ea"/>
                <a:sym typeface="+mn-lt"/>
              </a:rPr>
              <a:t>XX</a:t>
            </a:r>
            <a:endParaRPr kumimoji="0" lang="en-US" altLang="zh-CN" sz="18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ea"/>
              <a:sym typeface="+mn-lt"/>
            </a:endParaRPr>
          </a:p>
        </p:txBody>
      </p:sp>
      <p:sp>
        <p:nvSpPr>
          <p:cNvPr id="199" name="矩形 198"/>
          <p:cNvSpPr/>
          <p:nvPr/>
        </p:nvSpPr>
        <p:spPr bwMode="auto">
          <a:xfrm>
            <a:off x="7051248" y="3634246"/>
            <a:ext cx="1193824" cy="305555"/>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Lst>
        </p:spPr>
        <p:txBody>
          <a:bodyPr lIns="17993" tIns="0" rIns="17993"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ea"/>
                <a:sym typeface="+mn-lt"/>
              </a:rPr>
              <a:t>XX</a:t>
            </a:r>
            <a:endParaRPr kumimoji="0" lang="en-US" altLang="zh-CN" sz="18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ea"/>
              <a:sym typeface="+mn-lt"/>
            </a:endParaRPr>
          </a:p>
        </p:txBody>
      </p:sp>
      <p:sp>
        <p:nvSpPr>
          <p:cNvPr id="200" name="矩形 199"/>
          <p:cNvSpPr/>
          <p:nvPr/>
        </p:nvSpPr>
        <p:spPr bwMode="auto">
          <a:xfrm>
            <a:off x="8581847" y="3634246"/>
            <a:ext cx="1195896" cy="305555"/>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Lst>
        </p:spPr>
        <p:txBody>
          <a:bodyPr lIns="17993" tIns="0" rIns="17993"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ea"/>
                <a:sym typeface="+mn-lt"/>
              </a:rPr>
              <a:t>XX</a:t>
            </a:r>
            <a:endParaRPr kumimoji="0" lang="en-US" altLang="zh-CN" sz="1800" b="1" i="0" u="none" strike="noStrike" kern="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ea"/>
              <a:sym typeface="+mn-lt"/>
            </a:endParaRPr>
          </a:p>
        </p:txBody>
      </p:sp>
      <p:sp>
        <p:nvSpPr>
          <p:cNvPr id="201" name="Freeform 318"/>
          <p:cNvSpPr>
            <a:spLocks noEditPoints="1"/>
          </p:cNvSpPr>
          <p:nvPr/>
        </p:nvSpPr>
        <p:spPr bwMode="auto">
          <a:xfrm>
            <a:off x="9045518" y="3215897"/>
            <a:ext cx="386897" cy="384310"/>
          </a:xfrm>
          <a:custGeom>
            <a:avLst/>
            <a:gdLst>
              <a:gd name="T0" fmla="*/ 193 w 299"/>
              <a:gd name="T1" fmla="*/ 297 h 297"/>
              <a:gd name="T2" fmla="*/ 82 w 299"/>
              <a:gd name="T3" fmla="*/ 0 h 297"/>
              <a:gd name="T4" fmla="*/ 82 w 299"/>
              <a:gd name="T5" fmla="*/ 297 h 297"/>
              <a:gd name="T6" fmla="*/ 147 w 299"/>
              <a:gd name="T7" fmla="*/ 255 h 297"/>
              <a:gd name="T8" fmla="*/ 177 w 299"/>
              <a:gd name="T9" fmla="*/ 223 h 297"/>
              <a:gd name="T10" fmla="*/ 177 w 299"/>
              <a:gd name="T11" fmla="*/ 255 h 297"/>
              <a:gd name="T12" fmla="*/ 122 w 299"/>
              <a:gd name="T13" fmla="*/ 175 h 297"/>
              <a:gd name="T14" fmla="*/ 151 w 299"/>
              <a:gd name="T15" fmla="*/ 207 h 297"/>
              <a:gd name="T16" fmla="*/ 122 w 299"/>
              <a:gd name="T17" fmla="*/ 207 h 297"/>
              <a:gd name="T18" fmla="*/ 147 w 299"/>
              <a:gd name="T19" fmla="*/ 159 h 297"/>
              <a:gd name="T20" fmla="*/ 177 w 299"/>
              <a:gd name="T21" fmla="*/ 126 h 297"/>
              <a:gd name="T22" fmla="*/ 177 w 299"/>
              <a:gd name="T23" fmla="*/ 159 h 297"/>
              <a:gd name="T24" fmla="*/ 122 w 299"/>
              <a:gd name="T25" fmla="*/ 78 h 297"/>
              <a:gd name="T26" fmla="*/ 151 w 299"/>
              <a:gd name="T27" fmla="*/ 110 h 297"/>
              <a:gd name="T28" fmla="*/ 122 w 299"/>
              <a:gd name="T29" fmla="*/ 110 h 297"/>
              <a:gd name="T30" fmla="*/ 177 w 299"/>
              <a:gd name="T31" fmla="*/ 29 h 297"/>
              <a:gd name="T32" fmla="*/ 147 w 299"/>
              <a:gd name="T33" fmla="*/ 62 h 297"/>
              <a:gd name="T34" fmla="*/ 147 w 299"/>
              <a:gd name="T35" fmla="*/ 29 h 297"/>
              <a:gd name="T36" fmla="*/ 126 w 299"/>
              <a:gd name="T37" fmla="*/ 29 h 297"/>
              <a:gd name="T38" fmla="*/ 96 w 299"/>
              <a:gd name="T39" fmla="*/ 62 h 297"/>
              <a:gd name="T40" fmla="*/ 96 w 299"/>
              <a:gd name="T41" fmla="*/ 29 h 297"/>
              <a:gd name="T42" fmla="*/ 126 w 299"/>
              <a:gd name="T43" fmla="*/ 126 h 297"/>
              <a:gd name="T44" fmla="*/ 96 w 299"/>
              <a:gd name="T45" fmla="*/ 158 h 297"/>
              <a:gd name="T46" fmla="*/ 96 w 299"/>
              <a:gd name="T47" fmla="*/ 126 h 297"/>
              <a:gd name="T48" fmla="*/ 126 w 299"/>
              <a:gd name="T49" fmla="*/ 223 h 297"/>
              <a:gd name="T50" fmla="*/ 96 w 299"/>
              <a:gd name="T51" fmla="*/ 255 h 297"/>
              <a:gd name="T52" fmla="*/ 96 w 299"/>
              <a:gd name="T53" fmla="*/ 223 h 297"/>
              <a:gd name="T54" fmla="*/ 67 w 299"/>
              <a:gd name="T55" fmla="*/ 297 h 297"/>
              <a:gd name="T56" fmla="*/ 0 w 299"/>
              <a:gd name="T57" fmla="*/ 94 h 297"/>
              <a:gd name="T58" fmla="*/ 0 w 299"/>
              <a:gd name="T59" fmla="*/ 297 h 297"/>
              <a:gd name="T60" fmla="*/ 48 w 299"/>
              <a:gd name="T61" fmla="*/ 110 h 297"/>
              <a:gd name="T62" fmla="*/ 18 w 299"/>
              <a:gd name="T63" fmla="*/ 142 h 297"/>
              <a:gd name="T64" fmla="*/ 18 w 299"/>
              <a:gd name="T65" fmla="*/ 110 h 297"/>
              <a:gd name="T66" fmla="*/ 48 w 299"/>
              <a:gd name="T67" fmla="*/ 167 h 297"/>
              <a:gd name="T68" fmla="*/ 18 w 299"/>
              <a:gd name="T69" fmla="*/ 200 h 297"/>
              <a:gd name="T70" fmla="*/ 18 w 299"/>
              <a:gd name="T71" fmla="*/ 167 h 297"/>
              <a:gd name="T72" fmla="*/ 48 w 299"/>
              <a:gd name="T73" fmla="*/ 223 h 297"/>
              <a:gd name="T74" fmla="*/ 18 w 299"/>
              <a:gd name="T75" fmla="*/ 255 h 297"/>
              <a:gd name="T76" fmla="*/ 18 w 299"/>
              <a:gd name="T77" fmla="*/ 223 h 297"/>
              <a:gd name="T78" fmla="*/ 286 w 299"/>
              <a:gd name="T79" fmla="*/ 84 h 297"/>
              <a:gd name="T80" fmla="*/ 270 w 299"/>
              <a:gd name="T81" fmla="*/ 46 h 297"/>
              <a:gd name="T82" fmla="*/ 258 w 299"/>
              <a:gd name="T83" fmla="*/ 11 h 297"/>
              <a:gd name="T84" fmla="*/ 248 w 299"/>
              <a:gd name="T85" fmla="*/ 46 h 297"/>
              <a:gd name="T86" fmla="*/ 237 w 299"/>
              <a:gd name="T87" fmla="*/ 84 h 297"/>
              <a:gd name="T88" fmla="*/ 220 w 299"/>
              <a:gd name="T89" fmla="*/ 123 h 297"/>
              <a:gd name="T90" fmla="*/ 207 w 299"/>
              <a:gd name="T91" fmla="*/ 297 h 297"/>
              <a:gd name="T92" fmla="*/ 299 w 299"/>
              <a:gd name="T93" fmla="*/ 123 h 297"/>
              <a:gd name="T94" fmla="*/ 286 w 299"/>
              <a:gd name="T95" fmla="*/ 123 h 297"/>
              <a:gd name="T96" fmla="*/ 222 w 299"/>
              <a:gd name="T97" fmla="*/ 275 h 297"/>
              <a:gd name="T98" fmla="*/ 252 w 299"/>
              <a:gd name="T99" fmla="*/ 242 h 297"/>
              <a:gd name="T100" fmla="*/ 252 w 299"/>
              <a:gd name="T101" fmla="*/ 275 h 297"/>
              <a:gd name="T102" fmla="*/ 222 w 299"/>
              <a:gd name="T103" fmla="*/ 176 h 297"/>
              <a:gd name="T104" fmla="*/ 252 w 299"/>
              <a:gd name="T105" fmla="*/ 143 h 297"/>
              <a:gd name="T106" fmla="*/ 252 w 299"/>
              <a:gd name="T107" fmla="*/ 176 h 297"/>
              <a:gd name="T108" fmla="*/ 257 w 299"/>
              <a:gd name="T109" fmla="*/ 225 h 297"/>
              <a:gd name="T110" fmla="*/ 287 w 299"/>
              <a:gd name="T111" fmla="*/ 193 h 297"/>
              <a:gd name="T112" fmla="*/ 287 w 299"/>
              <a:gd name="T113" fmla="*/ 22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9" h="297">
                <a:moveTo>
                  <a:pt x="82" y="297"/>
                </a:moveTo>
                <a:lnTo>
                  <a:pt x="193" y="297"/>
                </a:lnTo>
                <a:lnTo>
                  <a:pt x="193" y="0"/>
                </a:lnTo>
                <a:lnTo>
                  <a:pt x="82" y="0"/>
                </a:lnTo>
                <a:lnTo>
                  <a:pt x="82" y="297"/>
                </a:lnTo>
                <a:lnTo>
                  <a:pt x="82" y="297"/>
                </a:lnTo>
                <a:close/>
                <a:moveTo>
                  <a:pt x="177" y="255"/>
                </a:moveTo>
                <a:lnTo>
                  <a:pt x="147" y="255"/>
                </a:lnTo>
                <a:lnTo>
                  <a:pt x="147" y="223"/>
                </a:lnTo>
                <a:lnTo>
                  <a:pt x="177" y="223"/>
                </a:lnTo>
                <a:lnTo>
                  <a:pt x="177" y="255"/>
                </a:lnTo>
                <a:lnTo>
                  <a:pt x="177" y="255"/>
                </a:lnTo>
                <a:close/>
                <a:moveTo>
                  <a:pt x="122" y="207"/>
                </a:moveTo>
                <a:lnTo>
                  <a:pt x="122" y="175"/>
                </a:lnTo>
                <a:lnTo>
                  <a:pt x="151" y="175"/>
                </a:lnTo>
                <a:lnTo>
                  <a:pt x="151" y="207"/>
                </a:lnTo>
                <a:lnTo>
                  <a:pt x="122" y="207"/>
                </a:lnTo>
                <a:lnTo>
                  <a:pt x="122" y="207"/>
                </a:lnTo>
                <a:close/>
                <a:moveTo>
                  <a:pt x="177" y="159"/>
                </a:moveTo>
                <a:lnTo>
                  <a:pt x="147" y="159"/>
                </a:lnTo>
                <a:lnTo>
                  <a:pt x="147" y="126"/>
                </a:lnTo>
                <a:lnTo>
                  <a:pt x="177" y="126"/>
                </a:lnTo>
                <a:lnTo>
                  <a:pt x="177" y="159"/>
                </a:lnTo>
                <a:lnTo>
                  <a:pt x="177" y="159"/>
                </a:lnTo>
                <a:close/>
                <a:moveTo>
                  <a:pt x="122" y="110"/>
                </a:moveTo>
                <a:lnTo>
                  <a:pt x="122" y="78"/>
                </a:lnTo>
                <a:lnTo>
                  <a:pt x="151" y="78"/>
                </a:lnTo>
                <a:lnTo>
                  <a:pt x="151" y="110"/>
                </a:lnTo>
                <a:lnTo>
                  <a:pt x="122" y="110"/>
                </a:lnTo>
                <a:lnTo>
                  <a:pt x="122" y="110"/>
                </a:lnTo>
                <a:close/>
                <a:moveTo>
                  <a:pt x="147" y="29"/>
                </a:moveTo>
                <a:lnTo>
                  <a:pt x="177" y="29"/>
                </a:lnTo>
                <a:lnTo>
                  <a:pt x="177" y="62"/>
                </a:lnTo>
                <a:lnTo>
                  <a:pt x="147" y="62"/>
                </a:lnTo>
                <a:lnTo>
                  <a:pt x="147" y="29"/>
                </a:lnTo>
                <a:lnTo>
                  <a:pt x="147" y="29"/>
                </a:lnTo>
                <a:close/>
                <a:moveTo>
                  <a:pt x="96" y="29"/>
                </a:moveTo>
                <a:lnTo>
                  <a:pt x="126" y="29"/>
                </a:lnTo>
                <a:lnTo>
                  <a:pt x="126" y="62"/>
                </a:lnTo>
                <a:lnTo>
                  <a:pt x="96" y="62"/>
                </a:lnTo>
                <a:lnTo>
                  <a:pt x="96" y="29"/>
                </a:lnTo>
                <a:lnTo>
                  <a:pt x="96" y="29"/>
                </a:lnTo>
                <a:close/>
                <a:moveTo>
                  <a:pt x="96" y="126"/>
                </a:moveTo>
                <a:lnTo>
                  <a:pt x="126" y="126"/>
                </a:lnTo>
                <a:lnTo>
                  <a:pt x="126" y="158"/>
                </a:lnTo>
                <a:lnTo>
                  <a:pt x="96" y="158"/>
                </a:lnTo>
                <a:lnTo>
                  <a:pt x="96" y="126"/>
                </a:lnTo>
                <a:lnTo>
                  <a:pt x="96" y="126"/>
                </a:lnTo>
                <a:close/>
                <a:moveTo>
                  <a:pt x="96" y="223"/>
                </a:moveTo>
                <a:lnTo>
                  <a:pt x="126" y="223"/>
                </a:lnTo>
                <a:lnTo>
                  <a:pt x="126" y="255"/>
                </a:lnTo>
                <a:lnTo>
                  <a:pt x="96" y="255"/>
                </a:lnTo>
                <a:lnTo>
                  <a:pt x="96" y="223"/>
                </a:lnTo>
                <a:lnTo>
                  <a:pt x="96" y="223"/>
                </a:lnTo>
                <a:close/>
                <a:moveTo>
                  <a:pt x="0" y="297"/>
                </a:moveTo>
                <a:lnTo>
                  <a:pt x="67" y="297"/>
                </a:lnTo>
                <a:lnTo>
                  <a:pt x="67" y="94"/>
                </a:lnTo>
                <a:lnTo>
                  <a:pt x="0" y="94"/>
                </a:lnTo>
                <a:lnTo>
                  <a:pt x="0" y="297"/>
                </a:lnTo>
                <a:lnTo>
                  <a:pt x="0" y="297"/>
                </a:lnTo>
                <a:close/>
                <a:moveTo>
                  <a:pt x="18" y="110"/>
                </a:moveTo>
                <a:lnTo>
                  <a:pt x="48" y="110"/>
                </a:lnTo>
                <a:lnTo>
                  <a:pt x="48" y="142"/>
                </a:lnTo>
                <a:lnTo>
                  <a:pt x="18" y="142"/>
                </a:lnTo>
                <a:lnTo>
                  <a:pt x="18" y="110"/>
                </a:lnTo>
                <a:lnTo>
                  <a:pt x="18" y="110"/>
                </a:lnTo>
                <a:close/>
                <a:moveTo>
                  <a:pt x="18" y="167"/>
                </a:moveTo>
                <a:lnTo>
                  <a:pt x="48" y="167"/>
                </a:lnTo>
                <a:lnTo>
                  <a:pt x="48" y="200"/>
                </a:lnTo>
                <a:lnTo>
                  <a:pt x="18" y="200"/>
                </a:lnTo>
                <a:lnTo>
                  <a:pt x="18" y="167"/>
                </a:lnTo>
                <a:lnTo>
                  <a:pt x="18" y="167"/>
                </a:lnTo>
                <a:close/>
                <a:moveTo>
                  <a:pt x="18" y="223"/>
                </a:moveTo>
                <a:lnTo>
                  <a:pt x="48" y="223"/>
                </a:lnTo>
                <a:lnTo>
                  <a:pt x="48" y="255"/>
                </a:lnTo>
                <a:lnTo>
                  <a:pt x="18" y="255"/>
                </a:lnTo>
                <a:lnTo>
                  <a:pt x="18" y="223"/>
                </a:lnTo>
                <a:lnTo>
                  <a:pt x="18" y="223"/>
                </a:lnTo>
                <a:close/>
                <a:moveTo>
                  <a:pt x="286" y="123"/>
                </a:moveTo>
                <a:lnTo>
                  <a:pt x="286" y="84"/>
                </a:lnTo>
                <a:lnTo>
                  <a:pt x="270" y="84"/>
                </a:lnTo>
                <a:lnTo>
                  <a:pt x="270" y="46"/>
                </a:lnTo>
                <a:lnTo>
                  <a:pt x="258" y="46"/>
                </a:lnTo>
                <a:lnTo>
                  <a:pt x="258" y="11"/>
                </a:lnTo>
                <a:lnTo>
                  <a:pt x="248" y="11"/>
                </a:lnTo>
                <a:lnTo>
                  <a:pt x="248" y="46"/>
                </a:lnTo>
                <a:lnTo>
                  <a:pt x="237" y="46"/>
                </a:lnTo>
                <a:lnTo>
                  <a:pt x="237" y="84"/>
                </a:lnTo>
                <a:lnTo>
                  <a:pt x="220" y="84"/>
                </a:lnTo>
                <a:lnTo>
                  <a:pt x="220" y="123"/>
                </a:lnTo>
                <a:lnTo>
                  <a:pt x="207" y="123"/>
                </a:lnTo>
                <a:lnTo>
                  <a:pt x="207" y="297"/>
                </a:lnTo>
                <a:lnTo>
                  <a:pt x="299" y="297"/>
                </a:lnTo>
                <a:lnTo>
                  <a:pt x="299" y="123"/>
                </a:lnTo>
                <a:lnTo>
                  <a:pt x="286" y="123"/>
                </a:lnTo>
                <a:lnTo>
                  <a:pt x="286" y="123"/>
                </a:lnTo>
                <a:close/>
                <a:moveTo>
                  <a:pt x="252" y="275"/>
                </a:moveTo>
                <a:lnTo>
                  <a:pt x="222" y="275"/>
                </a:lnTo>
                <a:lnTo>
                  <a:pt x="222" y="242"/>
                </a:lnTo>
                <a:lnTo>
                  <a:pt x="252" y="242"/>
                </a:lnTo>
                <a:lnTo>
                  <a:pt x="252" y="275"/>
                </a:lnTo>
                <a:lnTo>
                  <a:pt x="252" y="275"/>
                </a:lnTo>
                <a:close/>
                <a:moveTo>
                  <a:pt x="252" y="176"/>
                </a:moveTo>
                <a:lnTo>
                  <a:pt x="222" y="176"/>
                </a:lnTo>
                <a:lnTo>
                  <a:pt x="222" y="143"/>
                </a:lnTo>
                <a:lnTo>
                  <a:pt x="252" y="143"/>
                </a:lnTo>
                <a:lnTo>
                  <a:pt x="252" y="176"/>
                </a:lnTo>
                <a:lnTo>
                  <a:pt x="252" y="176"/>
                </a:lnTo>
                <a:close/>
                <a:moveTo>
                  <a:pt x="287" y="225"/>
                </a:moveTo>
                <a:lnTo>
                  <a:pt x="257" y="225"/>
                </a:lnTo>
                <a:lnTo>
                  <a:pt x="257" y="193"/>
                </a:lnTo>
                <a:lnTo>
                  <a:pt x="287" y="193"/>
                </a:lnTo>
                <a:lnTo>
                  <a:pt x="287" y="225"/>
                </a:lnTo>
                <a:lnTo>
                  <a:pt x="287" y="225"/>
                </a:lnTo>
                <a:close/>
              </a:path>
            </a:pathLst>
          </a:custGeom>
          <a:solidFill>
            <a:schemeClr val="accent1"/>
          </a:solidFill>
          <a:ln>
            <a:noFill/>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endParaRPr>
          </a:p>
        </p:txBody>
      </p:sp>
      <p:sp>
        <p:nvSpPr>
          <p:cNvPr id="202" name="Freeform 14"/>
          <p:cNvSpPr>
            <a:spLocks noEditPoints="1"/>
          </p:cNvSpPr>
          <p:nvPr/>
        </p:nvSpPr>
        <p:spPr bwMode="auto">
          <a:xfrm>
            <a:off x="7307490" y="3235812"/>
            <a:ext cx="623115" cy="354450"/>
          </a:xfrm>
          <a:custGeom>
            <a:avLst/>
            <a:gdLst>
              <a:gd name="T0" fmla="*/ 2247 w 6225"/>
              <a:gd name="T1" fmla="*/ 2182 h 3541"/>
              <a:gd name="T2" fmla="*/ 4667 w 6225"/>
              <a:gd name="T3" fmla="*/ 2182 h 3541"/>
              <a:gd name="T4" fmla="*/ 5308 w 6225"/>
              <a:gd name="T5" fmla="*/ 1795 h 3541"/>
              <a:gd name="T6" fmla="*/ 5074 w 6225"/>
              <a:gd name="T7" fmla="*/ 2676 h 3541"/>
              <a:gd name="T8" fmla="*/ 4000 w 6225"/>
              <a:gd name="T9" fmla="*/ 1972 h 3541"/>
              <a:gd name="T10" fmla="*/ 1963 w 6225"/>
              <a:gd name="T11" fmla="*/ 3332 h 3541"/>
              <a:gd name="T12" fmla="*/ 3746 w 6225"/>
              <a:gd name="T13" fmla="*/ 3332 h 3541"/>
              <a:gd name="T14" fmla="*/ 4527 w 6225"/>
              <a:gd name="T15" fmla="*/ 3200 h 3541"/>
              <a:gd name="T16" fmla="*/ 4673 w 6225"/>
              <a:gd name="T17" fmla="*/ 3020 h 3541"/>
              <a:gd name="T18" fmla="*/ 4888 w 6225"/>
              <a:gd name="T19" fmla="*/ 2914 h 3541"/>
              <a:gd name="T20" fmla="*/ 5117 w 6225"/>
              <a:gd name="T21" fmla="*/ 2771 h 3541"/>
              <a:gd name="T22" fmla="*/ 5397 w 6225"/>
              <a:gd name="T23" fmla="*/ 2769 h 3541"/>
              <a:gd name="T24" fmla="*/ 5622 w 6225"/>
              <a:gd name="T25" fmla="*/ 2907 h 3541"/>
              <a:gd name="T26" fmla="*/ 5788 w 6225"/>
              <a:gd name="T27" fmla="*/ 3018 h 3541"/>
              <a:gd name="T28" fmla="*/ 6002 w 6225"/>
              <a:gd name="T29" fmla="*/ 3124 h 3541"/>
              <a:gd name="T30" fmla="*/ 6117 w 6225"/>
              <a:gd name="T31" fmla="*/ 3332 h 3541"/>
              <a:gd name="T32" fmla="*/ 488 w 6225"/>
              <a:gd name="T33" fmla="*/ 3332 h 3541"/>
              <a:gd name="T34" fmla="*/ 1084 w 6225"/>
              <a:gd name="T35" fmla="*/ 2865 h 3541"/>
              <a:gd name="T36" fmla="*/ 899 w 6225"/>
              <a:gd name="T37" fmla="*/ 2799 h 3541"/>
              <a:gd name="T38" fmla="*/ 694 w 6225"/>
              <a:gd name="T39" fmla="*/ 2767 h 3541"/>
              <a:gd name="T40" fmla="*/ 535 w 6225"/>
              <a:gd name="T41" fmla="*/ 2665 h 3541"/>
              <a:gd name="T42" fmla="*/ 460 w 6225"/>
              <a:gd name="T43" fmla="*/ 2525 h 3541"/>
              <a:gd name="T44" fmla="*/ 358 w 6225"/>
              <a:gd name="T45" fmla="*/ 2430 h 3541"/>
              <a:gd name="T46" fmla="*/ 193 w 6225"/>
              <a:gd name="T47" fmla="*/ 2277 h 3541"/>
              <a:gd name="T48" fmla="*/ 110 w 6225"/>
              <a:gd name="T49" fmla="*/ 2105 h 3541"/>
              <a:gd name="T50" fmla="*/ 53 w 6225"/>
              <a:gd name="T51" fmla="*/ 1887 h 3541"/>
              <a:gd name="T52" fmla="*/ 53 w 6225"/>
              <a:gd name="T53" fmla="*/ 1711 h 3541"/>
              <a:gd name="T54" fmla="*/ 55 w 6225"/>
              <a:gd name="T55" fmla="*/ 1600 h 3541"/>
              <a:gd name="T56" fmla="*/ 29 w 6225"/>
              <a:gd name="T57" fmla="*/ 1517 h 3541"/>
              <a:gd name="T58" fmla="*/ 0 w 6225"/>
              <a:gd name="T59" fmla="*/ 1297 h 3541"/>
              <a:gd name="T60" fmla="*/ 59 w 6225"/>
              <a:gd name="T61" fmla="*/ 974 h 3541"/>
              <a:gd name="T62" fmla="*/ 201 w 6225"/>
              <a:gd name="T63" fmla="*/ 684 h 3541"/>
              <a:gd name="T64" fmla="*/ 354 w 6225"/>
              <a:gd name="T65" fmla="*/ 510 h 3541"/>
              <a:gd name="T66" fmla="*/ 452 w 6225"/>
              <a:gd name="T67" fmla="*/ 433 h 3541"/>
              <a:gd name="T68" fmla="*/ 501 w 6225"/>
              <a:gd name="T69" fmla="*/ 380 h 3541"/>
              <a:gd name="T70" fmla="*/ 568 w 6225"/>
              <a:gd name="T71" fmla="*/ 276 h 3541"/>
              <a:gd name="T72" fmla="*/ 883 w 6225"/>
              <a:gd name="T73" fmla="*/ 90 h 3541"/>
              <a:gd name="T74" fmla="*/ 1284 w 6225"/>
              <a:gd name="T75" fmla="*/ 0 h 3541"/>
              <a:gd name="T76" fmla="*/ 1591 w 6225"/>
              <a:gd name="T77" fmla="*/ 60 h 3541"/>
              <a:gd name="T78" fmla="*/ 1835 w 6225"/>
              <a:gd name="T79" fmla="*/ 168 h 3541"/>
              <a:gd name="T80" fmla="*/ 1908 w 6225"/>
              <a:gd name="T81" fmla="*/ 208 h 3541"/>
              <a:gd name="T82" fmla="*/ 1986 w 6225"/>
              <a:gd name="T83" fmla="*/ 225 h 3541"/>
              <a:gd name="T84" fmla="*/ 2222 w 6225"/>
              <a:gd name="T85" fmla="*/ 282 h 3541"/>
              <a:gd name="T86" fmla="*/ 2491 w 6225"/>
              <a:gd name="T87" fmla="*/ 456 h 3541"/>
              <a:gd name="T88" fmla="*/ 2685 w 6225"/>
              <a:gd name="T89" fmla="*/ 700 h 3541"/>
              <a:gd name="T90" fmla="*/ 1634 w 6225"/>
              <a:gd name="T91" fmla="*/ 2095 h 3541"/>
              <a:gd name="T92" fmla="*/ 1475 w 6225"/>
              <a:gd name="T93" fmla="*/ 2767 h 3541"/>
              <a:gd name="T94" fmla="*/ 1468 w 6225"/>
              <a:gd name="T95" fmla="*/ 3191 h 3541"/>
              <a:gd name="T96" fmla="*/ 1594 w 6225"/>
              <a:gd name="T97" fmla="*/ 1972 h 3541"/>
              <a:gd name="T98" fmla="*/ 1927 w 6225"/>
              <a:gd name="T99" fmla="*/ 822 h 3541"/>
              <a:gd name="T100" fmla="*/ 2260 w 6225"/>
              <a:gd name="T101" fmla="*/ 822 h 3541"/>
              <a:gd name="T102" fmla="*/ 2547 w 6225"/>
              <a:gd name="T103" fmla="*/ 822 h 3541"/>
              <a:gd name="T104" fmla="*/ 2903 w 6225"/>
              <a:gd name="T105" fmla="*/ 822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25" h="3541">
                <a:moveTo>
                  <a:pt x="2247" y="2897"/>
                </a:moveTo>
                <a:lnTo>
                  <a:pt x="2861" y="2897"/>
                </a:lnTo>
                <a:lnTo>
                  <a:pt x="2861" y="2182"/>
                </a:lnTo>
                <a:lnTo>
                  <a:pt x="2247" y="2182"/>
                </a:lnTo>
                <a:lnTo>
                  <a:pt x="2247" y="2897"/>
                </a:lnTo>
                <a:close/>
                <a:moveTo>
                  <a:pt x="4053" y="2897"/>
                </a:moveTo>
                <a:lnTo>
                  <a:pt x="4667" y="2897"/>
                </a:lnTo>
                <a:lnTo>
                  <a:pt x="4667" y="2182"/>
                </a:lnTo>
                <a:lnTo>
                  <a:pt x="4053" y="2182"/>
                </a:lnTo>
                <a:lnTo>
                  <a:pt x="4053" y="2897"/>
                </a:lnTo>
                <a:close/>
                <a:moveTo>
                  <a:pt x="5174" y="822"/>
                </a:moveTo>
                <a:lnTo>
                  <a:pt x="5308" y="1795"/>
                </a:lnTo>
                <a:lnTo>
                  <a:pt x="5308" y="1972"/>
                </a:lnTo>
                <a:lnTo>
                  <a:pt x="5146" y="1972"/>
                </a:lnTo>
                <a:lnTo>
                  <a:pt x="5146" y="2667"/>
                </a:lnTo>
                <a:lnTo>
                  <a:pt x="5074" y="2676"/>
                </a:lnTo>
                <a:lnTo>
                  <a:pt x="5004" y="2695"/>
                </a:lnTo>
                <a:lnTo>
                  <a:pt x="4939" y="2723"/>
                </a:lnTo>
                <a:lnTo>
                  <a:pt x="4939" y="1972"/>
                </a:lnTo>
                <a:lnTo>
                  <a:pt x="4000" y="1972"/>
                </a:lnTo>
                <a:lnTo>
                  <a:pt x="3451" y="1284"/>
                </a:lnTo>
                <a:lnTo>
                  <a:pt x="2903" y="1972"/>
                </a:lnTo>
                <a:lnTo>
                  <a:pt x="1963" y="1972"/>
                </a:lnTo>
                <a:lnTo>
                  <a:pt x="1963" y="3332"/>
                </a:lnTo>
                <a:lnTo>
                  <a:pt x="3156" y="3332"/>
                </a:lnTo>
                <a:lnTo>
                  <a:pt x="3156" y="2182"/>
                </a:lnTo>
                <a:lnTo>
                  <a:pt x="3746" y="2182"/>
                </a:lnTo>
                <a:lnTo>
                  <a:pt x="3746" y="3332"/>
                </a:lnTo>
                <a:lnTo>
                  <a:pt x="4504" y="3332"/>
                </a:lnTo>
                <a:lnTo>
                  <a:pt x="4504" y="3321"/>
                </a:lnTo>
                <a:lnTo>
                  <a:pt x="4510" y="3259"/>
                </a:lnTo>
                <a:lnTo>
                  <a:pt x="4527" y="3200"/>
                </a:lnTo>
                <a:lnTo>
                  <a:pt x="4552" y="3145"/>
                </a:lnTo>
                <a:lnTo>
                  <a:pt x="4584" y="3098"/>
                </a:lnTo>
                <a:lnTo>
                  <a:pt x="4626" y="3054"/>
                </a:lnTo>
                <a:lnTo>
                  <a:pt x="4673" y="3020"/>
                </a:lnTo>
                <a:lnTo>
                  <a:pt x="4726" y="2994"/>
                </a:lnTo>
                <a:lnTo>
                  <a:pt x="4784" y="2975"/>
                </a:lnTo>
                <a:lnTo>
                  <a:pt x="4845" y="2967"/>
                </a:lnTo>
                <a:lnTo>
                  <a:pt x="4888" y="2914"/>
                </a:lnTo>
                <a:lnTo>
                  <a:pt x="4938" y="2867"/>
                </a:lnTo>
                <a:lnTo>
                  <a:pt x="4992" y="2827"/>
                </a:lnTo>
                <a:lnTo>
                  <a:pt x="5053" y="2793"/>
                </a:lnTo>
                <a:lnTo>
                  <a:pt x="5117" y="2771"/>
                </a:lnTo>
                <a:lnTo>
                  <a:pt x="5187" y="2756"/>
                </a:lnTo>
                <a:lnTo>
                  <a:pt x="5259" y="2750"/>
                </a:lnTo>
                <a:lnTo>
                  <a:pt x="5329" y="2754"/>
                </a:lnTo>
                <a:lnTo>
                  <a:pt x="5397" y="2769"/>
                </a:lnTo>
                <a:lnTo>
                  <a:pt x="5459" y="2792"/>
                </a:lnTo>
                <a:lnTo>
                  <a:pt x="5520" y="2824"/>
                </a:lnTo>
                <a:lnTo>
                  <a:pt x="5575" y="2861"/>
                </a:lnTo>
                <a:lnTo>
                  <a:pt x="5622" y="2907"/>
                </a:lnTo>
                <a:lnTo>
                  <a:pt x="5666" y="2958"/>
                </a:lnTo>
                <a:lnTo>
                  <a:pt x="5700" y="3015"/>
                </a:lnTo>
                <a:lnTo>
                  <a:pt x="5724" y="3013"/>
                </a:lnTo>
                <a:lnTo>
                  <a:pt x="5788" y="3018"/>
                </a:lnTo>
                <a:lnTo>
                  <a:pt x="5849" y="3032"/>
                </a:lnTo>
                <a:lnTo>
                  <a:pt x="5904" y="3056"/>
                </a:lnTo>
                <a:lnTo>
                  <a:pt x="5957" y="3087"/>
                </a:lnTo>
                <a:lnTo>
                  <a:pt x="6002" y="3124"/>
                </a:lnTo>
                <a:lnTo>
                  <a:pt x="6042" y="3168"/>
                </a:lnTo>
                <a:lnTo>
                  <a:pt x="6076" y="3219"/>
                </a:lnTo>
                <a:lnTo>
                  <a:pt x="6100" y="3274"/>
                </a:lnTo>
                <a:lnTo>
                  <a:pt x="6117" y="3332"/>
                </a:lnTo>
                <a:lnTo>
                  <a:pt x="6225" y="3332"/>
                </a:lnTo>
                <a:lnTo>
                  <a:pt x="6225" y="3541"/>
                </a:lnTo>
                <a:lnTo>
                  <a:pt x="488" y="3541"/>
                </a:lnTo>
                <a:lnTo>
                  <a:pt x="488" y="3332"/>
                </a:lnTo>
                <a:lnTo>
                  <a:pt x="834" y="3332"/>
                </a:lnTo>
                <a:lnTo>
                  <a:pt x="957" y="3255"/>
                </a:lnTo>
                <a:lnTo>
                  <a:pt x="1050" y="3045"/>
                </a:lnTo>
                <a:lnTo>
                  <a:pt x="1084" y="2865"/>
                </a:lnTo>
                <a:lnTo>
                  <a:pt x="1057" y="2801"/>
                </a:lnTo>
                <a:lnTo>
                  <a:pt x="1004" y="2801"/>
                </a:lnTo>
                <a:lnTo>
                  <a:pt x="951" y="2801"/>
                </a:lnTo>
                <a:lnTo>
                  <a:pt x="899" y="2799"/>
                </a:lnTo>
                <a:lnTo>
                  <a:pt x="846" y="2795"/>
                </a:lnTo>
                <a:lnTo>
                  <a:pt x="795" y="2790"/>
                </a:lnTo>
                <a:lnTo>
                  <a:pt x="743" y="2780"/>
                </a:lnTo>
                <a:lnTo>
                  <a:pt x="694" y="2767"/>
                </a:lnTo>
                <a:lnTo>
                  <a:pt x="649" y="2750"/>
                </a:lnTo>
                <a:lnTo>
                  <a:pt x="607" y="2727"/>
                </a:lnTo>
                <a:lnTo>
                  <a:pt x="570" y="2699"/>
                </a:lnTo>
                <a:lnTo>
                  <a:pt x="535" y="2665"/>
                </a:lnTo>
                <a:lnTo>
                  <a:pt x="507" y="2623"/>
                </a:lnTo>
                <a:lnTo>
                  <a:pt x="486" y="2574"/>
                </a:lnTo>
                <a:lnTo>
                  <a:pt x="473" y="2548"/>
                </a:lnTo>
                <a:lnTo>
                  <a:pt x="460" y="2525"/>
                </a:lnTo>
                <a:lnTo>
                  <a:pt x="441" y="2502"/>
                </a:lnTo>
                <a:lnTo>
                  <a:pt x="418" y="2479"/>
                </a:lnTo>
                <a:lnTo>
                  <a:pt x="392" y="2457"/>
                </a:lnTo>
                <a:lnTo>
                  <a:pt x="358" y="2430"/>
                </a:lnTo>
                <a:lnTo>
                  <a:pt x="320" y="2400"/>
                </a:lnTo>
                <a:lnTo>
                  <a:pt x="269" y="2358"/>
                </a:lnTo>
                <a:lnTo>
                  <a:pt x="227" y="2317"/>
                </a:lnTo>
                <a:lnTo>
                  <a:pt x="193" y="2277"/>
                </a:lnTo>
                <a:lnTo>
                  <a:pt x="167" y="2235"/>
                </a:lnTo>
                <a:lnTo>
                  <a:pt x="144" y="2194"/>
                </a:lnTo>
                <a:lnTo>
                  <a:pt x="125" y="2152"/>
                </a:lnTo>
                <a:lnTo>
                  <a:pt x="110" y="2105"/>
                </a:lnTo>
                <a:lnTo>
                  <a:pt x="97" y="2056"/>
                </a:lnTo>
                <a:lnTo>
                  <a:pt x="82" y="2001"/>
                </a:lnTo>
                <a:lnTo>
                  <a:pt x="67" y="1940"/>
                </a:lnTo>
                <a:lnTo>
                  <a:pt x="53" y="1887"/>
                </a:lnTo>
                <a:lnTo>
                  <a:pt x="46" y="1838"/>
                </a:lnTo>
                <a:lnTo>
                  <a:pt x="44" y="1793"/>
                </a:lnTo>
                <a:lnTo>
                  <a:pt x="46" y="1755"/>
                </a:lnTo>
                <a:lnTo>
                  <a:pt x="53" y="1711"/>
                </a:lnTo>
                <a:lnTo>
                  <a:pt x="59" y="1676"/>
                </a:lnTo>
                <a:lnTo>
                  <a:pt x="59" y="1645"/>
                </a:lnTo>
                <a:lnTo>
                  <a:pt x="59" y="1621"/>
                </a:lnTo>
                <a:lnTo>
                  <a:pt x="55" y="1600"/>
                </a:lnTo>
                <a:lnTo>
                  <a:pt x="50" y="1581"/>
                </a:lnTo>
                <a:lnTo>
                  <a:pt x="44" y="1562"/>
                </a:lnTo>
                <a:lnTo>
                  <a:pt x="36" y="1541"/>
                </a:lnTo>
                <a:lnTo>
                  <a:pt x="29" y="1517"/>
                </a:lnTo>
                <a:lnTo>
                  <a:pt x="21" y="1486"/>
                </a:lnTo>
                <a:lnTo>
                  <a:pt x="14" y="1450"/>
                </a:lnTo>
                <a:lnTo>
                  <a:pt x="2" y="1375"/>
                </a:lnTo>
                <a:lnTo>
                  <a:pt x="0" y="1297"/>
                </a:lnTo>
                <a:lnTo>
                  <a:pt x="4" y="1216"/>
                </a:lnTo>
                <a:lnTo>
                  <a:pt x="15" y="1135"/>
                </a:lnTo>
                <a:lnTo>
                  <a:pt x="34" y="1053"/>
                </a:lnTo>
                <a:lnTo>
                  <a:pt x="59" y="974"/>
                </a:lnTo>
                <a:lnTo>
                  <a:pt x="87" y="894"/>
                </a:lnTo>
                <a:lnTo>
                  <a:pt x="121" y="821"/>
                </a:lnTo>
                <a:lnTo>
                  <a:pt x="159" y="749"/>
                </a:lnTo>
                <a:lnTo>
                  <a:pt x="201" y="684"/>
                </a:lnTo>
                <a:lnTo>
                  <a:pt x="244" y="624"/>
                </a:lnTo>
                <a:lnTo>
                  <a:pt x="290" y="573"/>
                </a:lnTo>
                <a:lnTo>
                  <a:pt x="324" y="537"/>
                </a:lnTo>
                <a:lnTo>
                  <a:pt x="354" y="510"/>
                </a:lnTo>
                <a:lnTo>
                  <a:pt x="380" y="488"/>
                </a:lnTo>
                <a:lnTo>
                  <a:pt x="405" y="469"/>
                </a:lnTo>
                <a:lnTo>
                  <a:pt x="428" y="452"/>
                </a:lnTo>
                <a:lnTo>
                  <a:pt x="452" y="433"/>
                </a:lnTo>
                <a:lnTo>
                  <a:pt x="477" y="412"/>
                </a:lnTo>
                <a:lnTo>
                  <a:pt x="484" y="404"/>
                </a:lnTo>
                <a:lnTo>
                  <a:pt x="492" y="393"/>
                </a:lnTo>
                <a:lnTo>
                  <a:pt x="501" y="380"/>
                </a:lnTo>
                <a:lnTo>
                  <a:pt x="513" y="363"/>
                </a:lnTo>
                <a:lnTo>
                  <a:pt x="526" y="340"/>
                </a:lnTo>
                <a:lnTo>
                  <a:pt x="545" y="312"/>
                </a:lnTo>
                <a:lnTo>
                  <a:pt x="568" y="276"/>
                </a:lnTo>
                <a:lnTo>
                  <a:pt x="636" y="227"/>
                </a:lnTo>
                <a:lnTo>
                  <a:pt x="711" y="177"/>
                </a:lnTo>
                <a:lnTo>
                  <a:pt x="795" y="132"/>
                </a:lnTo>
                <a:lnTo>
                  <a:pt x="883" y="90"/>
                </a:lnTo>
                <a:lnTo>
                  <a:pt x="976" y="55"/>
                </a:lnTo>
                <a:lnTo>
                  <a:pt x="1074" y="26"/>
                </a:lnTo>
                <a:lnTo>
                  <a:pt x="1178" y="7"/>
                </a:lnTo>
                <a:lnTo>
                  <a:pt x="1284" y="0"/>
                </a:lnTo>
                <a:lnTo>
                  <a:pt x="1364" y="3"/>
                </a:lnTo>
                <a:lnTo>
                  <a:pt x="1441" y="15"/>
                </a:lnTo>
                <a:lnTo>
                  <a:pt x="1517" y="34"/>
                </a:lnTo>
                <a:lnTo>
                  <a:pt x="1591" y="60"/>
                </a:lnTo>
                <a:lnTo>
                  <a:pt x="1662" y="89"/>
                </a:lnTo>
                <a:lnTo>
                  <a:pt x="1732" y="119"/>
                </a:lnTo>
                <a:lnTo>
                  <a:pt x="1800" y="149"/>
                </a:lnTo>
                <a:lnTo>
                  <a:pt x="1835" y="168"/>
                </a:lnTo>
                <a:lnTo>
                  <a:pt x="1859" y="181"/>
                </a:lnTo>
                <a:lnTo>
                  <a:pt x="1880" y="193"/>
                </a:lnTo>
                <a:lnTo>
                  <a:pt x="1895" y="202"/>
                </a:lnTo>
                <a:lnTo>
                  <a:pt x="1908" y="208"/>
                </a:lnTo>
                <a:lnTo>
                  <a:pt x="1922" y="212"/>
                </a:lnTo>
                <a:lnTo>
                  <a:pt x="1939" y="217"/>
                </a:lnTo>
                <a:lnTo>
                  <a:pt x="1959" y="221"/>
                </a:lnTo>
                <a:lnTo>
                  <a:pt x="1986" y="225"/>
                </a:lnTo>
                <a:lnTo>
                  <a:pt x="2020" y="230"/>
                </a:lnTo>
                <a:lnTo>
                  <a:pt x="2067" y="236"/>
                </a:lnTo>
                <a:lnTo>
                  <a:pt x="2145" y="255"/>
                </a:lnTo>
                <a:lnTo>
                  <a:pt x="2222" y="282"/>
                </a:lnTo>
                <a:lnTo>
                  <a:pt x="2294" y="316"/>
                </a:lnTo>
                <a:lnTo>
                  <a:pt x="2364" y="357"/>
                </a:lnTo>
                <a:lnTo>
                  <a:pt x="2430" y="404"/>
                </a:lnTo>
                <a:lnTo>
                  <a:pt x="2491" y="456"/>
                </a:lnTo>
                <a:lnTo>
                  <a:pt x="2547" y="512"/>
                </a:lnTo>
                <a:lnTo>
                  <a:pt x="2598" y="573"/>
                </a:lnTo>
                <a:lnTo>
                  <a:pt x="2646" y="635"/>
                </a:lnTo>
                <a:lnTo>
                  <a:pt x="2685" y="700"/>
                </a:lnTo>
                <a:lnTo>
                  <a:pt x="1623" y="700"/>
                </a:lnTo>
                <a:lnTo>
                  <a:pt x="1471" y="1785"/>
                </a:lnTo>
                <a:lnTo>
                  <a:pt x="1471" y="2095"/>
                </a:lnTo>
                <a:lnTo>
                  <a:pt x="1634" y="2095"/>
                </a:lnTo>
                <a:lnTo>
                  <a:pt x="1634" y="2801"/>
                </a:lnTo>
                <a:lnTo>
                  <a:pt x="1581" y="2790"/>
                </a:lnTo>
                <a:lnTo>
                  <a:pt x="1526" y="2778"/>
                </a:lnTo>
                <a:lnTo>
                  <a:pt x="1475" y="2767"/>
                </a:lnTo>
                <a:lnTo>
                  <a:pt x="1419" y="2771"/>
                </a:lnTo>
                <a:lnTo>
                  <a:pt x="1415" y="2812"/>
                </a:lnTo>
                <a:lnTo>
                  <a:pt x="1417" y="2939"/>
                </a:lnTo>
                <a:lnTo>
                  <a:pt x="1468" y="3191"/>
                </a:lnTo>
                <a:lnTo>
                  <a:pt x="1579" y="3332"/>
                </a:lnTo>
                <a:lnTo>
                  <a:pt x="1755" y="3332"/>
                </a:lnTo>
                <a:lnTo>
                  <a:pt x="1755" y="1972"/>
                </a:lnTo>
                <a:lnTo>
                  <a:pt x="1594" y="1972"/>
                </a:lnTo>
                <a:lnTo>
                  <a:pt x="1594" y="1795"/>
                </a:lnTo>
                <a:lnTo>
                  <a:pt x="1729" y="822"/>
                </a:lnTo>
                <a:lnTo>
                  <a:pt x="1831" y="822"/>
                </a:lnTo>
                <a:lnTo>
                  <a:pt x="1927" y="822"/>
                </a:lnTo>
                <a:lnTo>
                  <a:pt x="2016" y="822"/>
                </a:lnTo>
                <a:lnTo>
                  <a:pt x="2101" y="822"/>
                </a:lnTo>
                <a:lnTo>
                  <a:pt x="2182" y="822"/>
                </a:lnTo>
                <a:lnTo>
                  <a:pt x="2260" y="822"/>
                </a:lnTo>
                <a:lnTo>
                  <a:pt x="2334" y="822"/>
                </a:lnTo>
                <a:lnTo>
                  <a:pt x="2407" y="822"/>
                </a:lnTo>
                <a:lnTo>
                  <a:pt x="2477" y="822"/>
                </a:lnTo>
                <a:lnTo>
                  <a:pt x="2547" y="822"/>
                </a:lnTo>
                <a:lnTo>
                  <a:pt x="2615" y="822"/>
                </a:lnTo>
                <a:lnTo>
                  <a:pt x="2757" y="822"/>
                </a:lnTo>
                <a:lnTo>
                  <a:pt x="2829" y="822"/>
                </a:lnTo>
                <a:lnTo>
                  <a:pt x="2903" y="822"/>
                </a:lnTo>
                <a:lnTo>
                  <a:pt x="5174" y="822"/>
                </a:lnTo>
                <a:close/>
              </a:path>
            </a:pathLst>
          </a:custGeom>
          <a:solidFill>
            <a:schemeClr val="accent1"/>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nvGrpSpPr>
          <p:cNvPr id="203" name="Group 12860"/>
          <p:cNvGrpSpPr/>
          <p:nvPr/>
        </p:nvGrpSpPr>
        <p:grpSpPr>
          <a:xfrm>
            <a:off x="2891414" y="3289473"/>
            <a:ext cx="544820" cy="300892"/>
            <a:chOff x="1873250" y="1725613"/>
            <a:chExt cx="592138" cy="327025"/>
          </a:xfrm>
          <a:solidFill>
            <a:schemeClr val="accent1"/>
          </a:solidFill>
        </p:grpSpPr>
        <p:sp>
          <p:nvSpPr>
            <p:cNvPr id="204" name="Freeform 385"/>
            <p:cNvSpPr>
              <a:spLocks noEditPoints="1"/>
            </p:cNvSpPr>
            <p:nvPr/>
          </p:nvSpPr>
          <p:spPr bwMode="auto">
            <a:xfrm>
              <a:off x="1873250" y="1763713"/>
              <a:ext cx="557213" cy="244475"/>
            </a:xfrm>
            <a:custGeom>
              <a:avLst/>
              <a:gdLst>
                <a:gd name="T0" fmla="*/ 2532 w 3162"/>
                <a:gd name="T1" fmla="*/ 546 h 1385"/>
                <a:gd name="T2" fmla="*/ 2665 w 3162"/>
                <a:gd name="T3" fmla="*/ 115 h 1385"/>
                <a:gd name="T4" fmla="*/ 1890 w 3162"/>
                <a:gd name="T5" fmla="*/ 111 h 1385"/>
                <a:gd name="T6" fmla="*/ 2458 w 3162"/>
                <a:gd name="T7" fmla="*/ 551 h 1385"/>
                <a:gd name="T8" fmla="*/ 1890 w 3162"/>
                <a:gd name="T9" fmla="*/ 111 h 1385"/>
                <a:gd name="T10" fmla="*/ 1350 w 3162"/>
                <a:gd name="T11" fmla="*/ 541 h 1385"/>
                <a:gd name="T12" fmla="*/ 1783 w 3162"/>
                <a:gd name="T13" fmla="*/ 111 h 1385"/>
                <a:gd name="T14" fmla="*/ 1319 w 3162"/>
                <a:gd name="T15" fmla="*/ 0 h 1385"/>
                <a:gd name="T16" fmla="*/ 3162 w 3162"/>
                <a:gd name="T17" fmla="*/ 1385 h 1385"/>
                <a:gd name="T18" fmla="*/ 2901 w 3162"/>
                <a:gd name="T19" fmla="*/ 1344 h 1385"/>
                <a:gd name="T20" fmla="*/ 2899 w 3162"/>
                <a:gd name="T21" fmla="*/ 1255 h 1385"/>
                <a:gd name="T22" fmla="*/ 2875 w 3162"/>
                <a:gd name="T23" fmla="*/ 1161 h 1385"/>
                <a:gd name="T24" fmla="*/ 2831 w 3162"/>
                <a:gd name="T25" fmla="*/ 1077 h 1385"/>
                <a:gd name="T26" fmla="*/ 2768 w 3162"/>
                <a:gd name="T27" fmla="*/ 1007 h 1385"/>
                <a:gd name="T28" fmla="*/ 2690 w 3162"/>
                <a:gd name="T29" fmla="*/ 953 h 1385"/>
                <a:gd name="T30" fmla="*/ 2600 w 3162"/>
                <a:gd name="T31" fmla="*/ 919 h 1385"/>
                <a:gd name="T32" fmla="*/ 2502 w 3162"/>
                <a:gd name="T33" fmla="*/ 907 h 1385"/>
                <a:gd name="T34" fmla="*/ 2403 w 3162"/>
                <a:gd name="T35" fmla="*/ 919 h 1385"/>
                <a:gd name="T36" fmla="*/ 2313 w 3162"/>
                <a:gd name="T37" fmla="*/ 953 h 1385"/>
                <a:gd name="T38" fmla="*/ 2236 w 3162"/>
                <a:gd name="T39" fmla="*/ 1007 h 1385"/>
                <a:gd name="T40" fmla="*/ 2173 w 3162"/>
                <a:gd name="T41" fmla="*/ 1077 h 1385"/>
                <a:gd name="T42" fmla="*/ 2128 w 3162"/>
                <a:gd name="T43" fmla="*/ 1161 h 1385"/>
                <a:gd name="T44" fmla="*/ 2104 w 3162"/>
                <a:gd name="T45" fmla="*/ 1255 h 1385"/>
                <a:gd name="T46" fmla="*/ 2103 w 3162"/>
                <a:gd name="T47" fmla="*/ 1343 h 1385"/>
                <a:gd name="T48" fmla="*/ 1177 w 3162"/>
                <a:gd name="T49" fmla="*/ 1380 h 1385"/>
                <a:gd name="T50" fmla="*/ 1185 w 3162"/>
                <a:gd name="T51" fmla="*/ 1306 h 1385"/>
                <a:gd name="T52" fmla="*/ 1172 w 3162"/>
                <a:gd name="T53" fmla="*/ 1207 h 1385"/>
                <a:gd name="T54" fmla="*/ 1137 w 3162"/>
                <a:gd name="T55" fmla="*/ 1118 h 1385"/>
                <a:gd name="T56" fmla="*/ 1082 w 3162"/>
                <a:gd name="T57" fmla="*/ 1040 h 1385"/>
                <a:gd name="T58" fmla="*/ 1012 w 3162"/>
                <a:gd name="T59" fmla="*/ 979 h 1385"/>
                <a:gd name="T60" fmla="*/ 928 w 3162"/>
                <a:gd name="T61" fmla="*/ 933 h 1385"/>
                <a:gd name="T62" fmla="*/ 833 w 3162"/>
                <a:gd name="T63" fmla="*/ 910 h 1385"/>
                <a:gd name="T64" fmla="*/ 733 w 3162"/>
                <a:gd name="T65" fmla="*/ 910 h 1385"/>
                <a:gd name="T66" fmla="*/ 638 w 3162"/>
                <a:gd name="T67" fmla="*/ 933 h 1385"/>
                <a:gd name="T68" fmla="*/ 555 w 3162"/>
                <a:gd name="T69" fmla="*/ 979 h 1385"/>
                <a:gd name="T70" fmla="*/ 483 w 3162"/>
                <a:gd name="T71" fmla="*/ 1040 h 1385"/>
                <a:gd name="T72" fmla="*/ 430 w 3162"/>
                <a:gd name="T73" fmla="*/ 1118 h 1385"/>
                <a:gd name="T74" fmla="*/ 395 w 3162"/>
                <a:gd name="T75" fmla="*/ 1207 h 1385"/>
                <a:gd name="T76" fmla="*/ 382 w 3162"/>
                <a:gd name="T77" fmla="*/ 1306 h 1385"/>
                <a:gd name="T78" fmla="*/ 390 w 3162"/>
                <a:gd name="T79" fmla="*/ 1380 h 1385"/>
                <a:gd name="T80" fmla="*/ 0 w 3162"/>
                <a:gd name="T81" fmla="*/ 1039 h 1385"/>
                <a:gd name="T82" fmla="*/ 135 w 3162"/>
                <a:gd name="T83" fmla="*/ 1037 h 1385"/>
                <a:gd name="T84" fmla="*/ 135 w 3162"/>
                <a:gd name="T85" fmla="*/ 630 h 1385"/>
                <a:gd name="T86" fmla="*/ 135 w 3162"/>
                <a:gd name="T87" fmla="*/ 625 h 1385"/>
                <a:gd name="T88" fmla="*/ 138 w 3162"/>
                <a:gd name="T89" fmla="*/ 612 h 1385"/>
                <a:gd name="T90" fmla="*/ 146 w 3162"/>
                <a:gd name="T91" fmla="*/ 594 h 1385"/>
                <a:gd name="T92" fmla="*/ 163 w 3162"/>
                <a:gd name="T93" fmla="*/ 575 h 1385"/>
                <a:gd name="T94" fmla="*/ 191 w 3162"/>
                <a:gd name="T95" fmla="*/ 557 h 1385"/>
                <a:gd name="T96" fmla="*/ 234 w 3162"/>
                <a:gd name="T97" fmla="*/ 545 h 1385"/>
                <a:gd name="T98" fmla="*/ 293 w 3162"/>
                <a:gd name="T99" fmla="*/ 539 h 1385"/>
                <a:gd name="T100" fmla="*/ 346 w 3162"/>
                <a:gd name="T101" fmla="*/ 539 h 1385"/>
                <a:gd name="T102" fmla="*/ 419 w 3162"/>
                <a:gd name="T103" fmla="*/ 539 h 1385"/>
                <a:gd name="T104" fmla="*/ 504 w 3162"/>
                <a:gd name="T105" fmla="*/ 538 h 1385"/>
                <a:gd name="T106" fmla="*/ 599 w 3162"/>
                <a:gd name="T107" fmla="*/ 538 h 1385"/>
                <a:gd name="T108" fmla="*/ 699 w 3162"/>
                <a:gd name="T109" fmla="*/ 538 h 1385"/>
                <a:gd name="T110" fmla="*/ 799 w 3162"/>
                <a:gd name="T111" fmla="*/ 537 h 1385"/>
                <a:gd name="T112" fmla="*/ 894 w 3162"/>
                <a:gd name="T113" fmla="*/ 537 h 1385"/>
                <a:gd name="T114" fmla="*/ 978 w 3162"/>
                <a:gd name="T115" fmla="*/ 537 h 1385"/>
                <a:gd name="T116" fmla="*/ 1049 w 3162"/>
                <a:gd name="T117" fmla="*/ 537 h 1385"/>
                <a:gd name="T118" fmla="*/ 1101 w 3162"/>
                <a:gd name="T119" fmla="*/ 536 h 1385"/>
                <a:gd name="T120" fmla="*/ 1130 w 3162"/>
                <a:gd name="T121" fmla="*/ 536 h 1385"/>
                <a:gd name="T122" fmla="*/ 1319 w 3162"/>
                <a:gd name="T123" fmla="*/ 0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2" h="1385">
                  <a:moveTo>
                    <a:pt x="2532" y="115"/>
                  </a:moveTo>
                  <a:lnTo>
                    <a:pt x="2532" y="546"/>
                  </a:lnTo>
                  <a:lnTo>
                    <a:pt x="2753" y="546"/>
                  </a:lnTo>
                  <a:lnTo>
                    <a:pt x="2665" y="115"/>
                  </a:lnTo>
                  <a:lnTo>
                    <a:pt x="2532" y="115"/>
                  </a:lnTo>
                  <a:close/>
                  <a:moveTo>
                    <a:pt x="1890" y="111"/>
                  </a:moveTo>
                  <a:lnTo>
                    <a:pt x="1890" y="551"/>
                  </a:lnTo>
                  <a:lnTo>
                    <a:pt x="2458" y="551"/>
                  </a:lnTo>
                  <a:lnTo>
                    <a:pt x="2458" y="111"/>
                  </a:lnTo>
                  <a:lnTo>
                    <a:pt x="1890" y="111"/>
                  </a:lnTo>
                  <a:close/>
                  <a:moveTo>
                    <a:pt x="1466" y="111"/>
                  </a:moveTo>
                  <a:lnTo>
                    <a:pt x="1350" y="541"/>
                  </a:lnTo>
                  <a:lnTo>
                    <a:pt x="1783" y="541"/>
                  </a:lnTo>
                  <a:lnTo>
                    <a:pt x="1783" y="111"/>
                  </a:lnTo>
                  <a:lnTo>
                    <a:pt x="1466" y="111"/>
                  </a:lnTo>
                  <a:close/>
                  <a:moveTo>
                    <a:pt x="1319" y="0"/>
                  </a:moveTo>
                  <a:lnTo>
                    <a:pt x="2714" y="0"/>
                  </a:lnTo>
                  <a:lnTo>
                    <a:pt x="3162" y="1385"/>
                  </a:lnTo>
                  <a:lnTo>
                    <a:pt x="2895" y="1382"/>
                  </a:lnTo>
                  <a:lnTo>
                    <a:pt x="2901" y="1344"/>
                  </a:lnTo>
                  <a:lnTo>
                    <a:pt x="2902" y="1306"/>
                  </a:lnTo>
                  <a:lnTo>
                    <a:pt x="2899" y="1255"/>
                  </a:lnTo>
                  <a:lnTo>
                    <a:pt x="2891" y="1207"/>
                  </a:lnTo>
                  <a:lnTo>
                    <a:pt x="2875" y="1161"/>
                  </a:lnTo>
                  <a:lnTo>
                    <a:pt x="2856" y="1118"/>
                  </a:lnTo>
                  <a:lnTo>
                    <a:pt x="2831" y="1077"/>
                  </a:lnTo>
                  <a:lnTo>
                    <a:pt x="2801" y="1040"/>
                  </a:lnTo>
                  <a:lnTo>
                    <a:pt x="2768" y="1007"/>
                  </a:lnTo>
                  <a:lnTo>
                    <a:pt x="2731" y="979"/>
                  </a:lnTo>
                  <a:lnTo>
                    <a:pt x="2690" y="953"/>
                  </a:lnTo>
                  <a:lnTo>
                    <a:pt x="2646" y="933"/>
                  </a:lnTo>
                  <a:lnTo>
                    <a:pt x="2600" y="919"/>
                  </a:lnTo>
                  <a:lnTo>
                    <a:pt x="2552" y="910"/>
                  </a:lnTo>
                  <a:lnTo>
                    <a:pt x="2502" y="907"/>
                  </a:lnTo>
                  <a:lnTo>
                    <a:pt x="2452" y="910"/>
                  </a:lnTo>
                  <a:lnTo>
                    <a:pt x="2403" y="919"/>
                  </a:lnTo>
                  <a:lnTo>
                    <a:pt x="2357" y="933"/>
                  </a:lnTo>
                  <a:lnTo>
                    <a:pt x="2313" y="953"/>
                  </a:lnTo>
                  <a:lnTo>
                    <a:pt x="2273" y="979"/>
                  </a:lnTo>
                  <a:lnTo>
                    <a:pt x="2236" y="1007"/>
                  </a:lnTo>
                  <a:lnTo>
                    <a:pt x="2202" y="1040"/>
                  </a:lnTo>
                  <a:lnTo>
                    <a:pt x="2173" y="1077"/>
                  </a:lnTo>
                  <a:lnTo>
                    <a:pt x="2148" y="1118"/>
                  </a:lnTo>
                  <a:lnTo>
                    <a:pt x="2128" y="1161"/>
                  </a:lnTo>
                  <a:lnTo>
                    <a:pt x="2113" y="1207"/>
                  </a:lnTo>
                  <a:lnTo>
                    <a:pt x="2104" y="1255"/>
                  </a:lnTo>
                  <a:lnTo>
                    <a:pt x="2101" y="1306"/>
                  </a:lnTo>
                  <a:lnTo>
                    <a:pt x="2103" y="1343"/>
                  </a:lnTo>
                  <a:lnTo>
                    <a:pt x="2108" y="1380"/>
                  </a:lnTo>
                  <a:lnTo>
                    <a:pt x="1177" y="1380"/>
                  </a:lnTo>
                  <a:lnTo>
                    <a:pt x="1182" y="1343"/>
                  </a:lnTo>
                  <a:lnTo>
                    <a:pt x="1185" y="1306"/>
                  </a:lnTo>
                  <a:lnTo>
                    <a:pt x="1181" y="1255"/>
                  </a:lnTo>
                  <a:lnTo>
                    <a:pt x="1172" y="1207"/>
                  </a:lnTo>
                  <a:lnTo>
                    <a:pt x="1157" y="1161"/>
                  </a:lnTo>
                  <a:lnTo>
                    <a:pt x="1137" y="1118"/>
                  </a:lnTo>
                  <a:lnTo>
                    <a:pt x="1112" y="1077"/>
                  </a:lnTo>
                  <a:lnTo>
                    <a:pt x="1082" y="1040"/>
                  </a:lnTo>
                  <a:lnTo>
                    <a:pt x="1049" y="1007"/>
                  </a:lnTo>
                  <a:lnTo>
                    <a:pt x="1012" y="979"/>
                  </a:lnTo>
                  <a:lnTo>
                    <a:pt x="972" y="953"/>
                  </a:lnTo>
                  <a:lnTo>
                    <a:pt x="928" y="933"/>
                  </a:lnTo>
                  <a:lnTo>
                    <a:pt x="881" y="919"/>
                  </a:lnTo>
                  <a:lnTo>
                    <a:pt x="833" y="910"/>
                  </a:lnTo>
                  <a:lnTo>
                    <a:pt x="783" y="907"/>
                  </a:lnTo>
                  <a:lnTo>
                    <a:pt x="733" y="910"/>
                  </a:lnTo>
                  <a:lnTo>
                    <a:pt x="685" y="919"/>
                  </a:lnTo>
                  <a:lnTo>
                    <a:pt x="638" y="933"/>
                  </a:lnTo>
                  <a:lnTo>
                    <a:pt x="595" y="953"/>
                  </a:lnTo>
                  <a:lnTo>
                    <a:pt x="555" y="979"/>
                  </a:lnTo>
                  <a:lnTo>
                    <a:pt x="518" y="1007"/>
                  </a:lnTo>
                  <a:lnTo>
                    <a:pt x="483" y="1040"/>
                  </a:lnTo>
                  <a:lnTo>
                    <a:pt x="455" y="1077"/>
                  </a:lnTo>
                  <a:lnTo>
                    <a:pt x="430" y="1118"/>
                  </a:lnTo>
                  <a:lnTo>
                    <a:pt x="409" y="1161"/>
                  </a:lnTo>
                  <a:lnTo>
                    <a:pt x="395" y="1207"/>
                  </a:lnTo>
                  <a:lnTo>
                    <a:pt x="386" y="1255"/>
                  </a:lnTo>
                  <a:lnTo>
                    <a:pt x="382" y="1306"/>
                  </a:lnTo>
                  <a:lnTo>
                    <a:pt x="385" y="1343"/>
                  </a:lnTo>
                  <a:lnTo>
                    <a:pt x="390" y="1380"/>
                  </a:lnTo>
                  <a:lnTo>
                    <a:pt x="0" y="1380"/>
                  </a:lnTo>
                  <a:lnTo>
                    <a:pt x="0" y="1039"/>
                  </a:lnTo>
                  <a:lnTo>
                    <a:pt x="135" y="1039"/>
                  </a:lnTo>
                  <a:lnTo>
                    <a:pt x="135" y="1037"/>
                  </a:lnTo>
                  <a:lnTo>
                    <a:pt x="135" y="1035"/>
                  </a:lnTo>
                  <a:lnTo>
                    <a:pt x="135" y="630"/>
                  </a:lnTo>
                  <a:lnTo>
                    <a:pt x="135" y="629"/>
                  </a:lnTo>
                  <a:lnTo>
                    <a:pt x="135" y="625"/>
                  </a:lnTo>
                  <a:lnTo>
                    <a:pt x="136" y="619"/>
                  </a:lnTo>
                  <a:lnTo>
                    <a:pt x="138" y="612"/>
                  </a:lnTo>
                  <a:lnTo>
                    <a:pt x="141" y="604"/>
                  </a:lnTo>
                  <a:lnTo>
                    <a:pt x="146" y="594"/>
                  </a:lnTo>
                  <a:lnTo>
                    <a:pt x="154" y="585"/>
                  </a:lnTo>
                  <a:lnTo>
                    <a:pt x="163" y="575"/>
                  </a:lnTo>
                  <a:lnTo>
                    <a:pt x="175" y="566"/>
                  </a:lnTo>
                  <a:lnTo>
                    <a:pt x="191" y="557"/>
                  </a:lnTo>
                  <a:lnTo>
                    <a:pt x="210" y="550"/>
                  </a:lnTo>
                  <a:lnTo>
                    <a:pt x="234" y="545"/>
                  </a:lnTo>
                  <a:lnTo>
                    <a:pt x="261" y="540"/>
                  </a:lnTo>
                  <a:lnTo>
                    <a:pt x="293" y="539"/>
                  </a:lnTo>
                  <a:lnTo>
                    <a:pt x="318" y="539"/>
                  </a:lnTo>
                  <a:lnTo>
                    <a:pt x="346" y="539"/>
                  </a:lnTo>
                  <a:lnTo>
                    <a:pt x="380" y="539"/>
                  </a:lnTo>
                  <a:lnTo>
                    <a:pt x="419" y="539"/>
                  </a:lnTo>
                  <a:lnTo>
                    <a:pt x="460" y="538"/>
                  </a:lnTo>
                  <a:lnTo>
                    <a:pt x="504" y="538"/>
                  </a:lnTo>
                  <a:lnTo>
                    <a:pt x="551" y="538"/>
                  </a:lnTo>
                  <a:lnTo>
                    <a:pt x="599" y="538"/>
                  </a:lnTo>
                  <a:lnTo>
                    <a:pt x="648" y="538"/>
                  </a:lnTo>
                  <a:lnTo>
                    <a:pt x="699" y="538"/>
                  </a:lnTo>
                  <a:lnTo>
                    <a:pt x="749" y="538"/>
                  </a:lnTo>
                  <a:lnTo>
                    <a:pt x="799" y="537"/>
                  </a:lnTo>
                  <a:lnTo>
                    <a:pt x="846" y="537"/>
                  </a:lnTo>
                  <a:lnTo>
                    <a:pt x="894" y="537"/>
                  </a:lnTo>
                  <a:lnTo>
                    <a:pt x="937" y="537"/>
                  </a:lnTo>
                  <a:lnTo>
                    <a:pt x="978" y="537"/>
                  </a:lnTo>
                  <a:lnTo>
                    <a:pt x="1016" y="537"/>
                  </a:lnTo>
                  <a:lnTo>
                    <a:pt x="1049" y="537"/>
                  </a:lnTo>
                  <a:lnTo>
                    <a:pt x="1078" y="536"/>
                  </a:lnTo>
                  <a:lnTo>
                    <a:pt x="1101" y="536"/>
                  </a:lnTo>
                  <a:lnTo>
                    <a:pt x="1119" y="536"/>
                  </a:lnTo>
                  <a:lnTo>
                    <a:pt x="1130" y="536"/>
                  </a:lnTo>
                  <a:lnTo>
                    <a:pt x="1134" y="536"/>
                  </a:lnTo>
                  <a:lnTo>
                    <a:pt x="1319" y="0"/>
                  </a:lnTo>
                  <a:close/>
                </a:path>
              </a:pathLst>
            </a:custGeom>
            <a:grpFill/>
            <a:ln w="0">
              <a:noFill/>
              <a:prstDash val="solid"/>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5" name="Freeform 386"/>
            <p:cNvSpPr>
              <a:spLocks noEditPoints="1"/>
            </p:cNvSpPr>
            <p:nvPr/>
          </p:nvSpPr>
          <p:spPr bwMode="auto">
            <a:xfrm>
              <a:off x="1957388" y="1941513"/>
              <a:ext cx="111125" cy="111125"/>
            </a:xfrm>
            <a:custGeom>
              <a:avLst/>
              <a:gdLst>
                <a:gd name="T0" fmla="*/ 288 w 632"/>
                <a:gd name="T1" fmla="*/ 176 h 630"/>
                <a:gd name="T2" fmla="*/ 236 w 632"/>
                <a:gd name="T3" fmla="*/ 197 h 630"/>
                <a:gd name="T4" fmla="*/ 198 w 632"/>
                <a:gd name="T5" fmla="*/ 235 h 630"/>
                <a:gd name="T6" fmla="*/ 177 w 632"/>
                <a:gd name="T7" fmla="*/ 287 h 630"/>
                <a:gd name="T8" fmla="*/ 177 w 632"/>
                <a:gd name="T9" fmla="*/ 344 h 630"/>
                <a:gd name="T10" fmla="*/ 198 w 632"/>
                <a:gd name="T11" fmla="*/ 394 h 630"/>
                <a:gd name="T12" fmla="*/ 236 w 632"/>
                <a:gd name="T13" fmla="*/ 433 h 630"/>
                <a:gd name="T14" fmla="*/ 288 w 632"/>
                <a:gd name="T15" fmla="*/ 455 h 630"/>
                <a:gd name="T16" fmla="*/ 346 w 632"/>
                <a:gd name="T17" fmla="*/ 455 h 630"/>
                <a:gd name="T18" fmla="*/ 396 w 632"/>
                <a:gd name="T19" fmla="*/ 433 h 630"/>
                <a:gd name="T20" fmla="*/ 435 w 632"/>
                <a:gd name="T21" fmla="*/ 394 h 630"/>
                <a:gd name="T22" fmla="*/ 456 w 632"/>
                <a:gd name="T23" fmla="*/ 344 h 630"/>
                <a:gd name="T24" fmla="*/ 456 w 632"/>
                <a:gd name="T25" fmla="*/ 287 h 630"/>
                <a:gd name="T26" fmla="*/ 435 w 632"/>
                <a:gd name="T27" fmla="*/ 235 h 630"/>
                <a:gd name="T28" fmla="*/ 396 w 632"/>
                <a:gd name="T29" fmla="*/ 197 h 630"/>
                <a:gd name="T30" fmla="*/ 346 w 632"/>
                <a:gd name="T31" fmla="*/ 176 h 630"/>
                <a:gd name="T32" fmla="*/ 317 w 632"/>
                <a:gd name="T33" fmla="*/ 0 h 630"/>
                <a:gd name="T34" fmla="*/ 400 w 632"/>
                <a:gd name="T35" fmla="*/ 12 h 630"/>
                <a:gd name="T36" fmla="*/ 477 w 632"/>
                <a:gd name="T37" fmla="*/ 43 h 630"/>
                <a:gd name="T38" fmla="*/ 540 w 632"/>
                <a:gd name="T39" fmla="*/ 93 h 630"/>
                <a:gd name="T40" fmla="*/ 590 w 632"/>
                <a:gd name="T41" fmla="*/ 156 h 630"/>
                <a:gd name="T42" fmla="*/ 621 w 632"/>
                <a:gd name="T43" fmla="*/ 231 h 630"/>
                <a:gd name="T44" fmla="*/ 632 w 632"/>
                <a:gd name="T45" fmla="*/ 315 h 630"/>
                <a:gd name="T46" fmla="*/ 621 w 632"/>
                <a:gd name="T47" fmla="*/ 399 h 630"/>
                <a:gd name="T48" fmla="*/ 590 w 632"/>
                <a:gd name="T49" fmla="*/ 474 h 630"/>
                <a:gd name="T50" fmla="*/ 540 w 632"/>
                <a:gd name="T51" fmla="*/ 538 h 630"/>
                <a:gd name="T52" fmla="*/ 477 w 632"/>
                <a:gd name="T53" fmla="*/ 587 h 630"/>
                <a:gd name="T54" fmla="*/ 400 w 632"/>
                <a:gd name="T55" fmla="*/ 619 h 630"/>
                <a:gd name="T56" fmla="*/ 317 w 632"/>
                <a:gd name="T57" fmla="*/ 630 h 630"/>
                <a:gd name="T58" fmla="*/ 232 w 632"/>
                <a:gd name="T59" fmla="*/ 619 h 630"/>
                <a:gd name="T60" fmla="*/ 157 w 632"/>
                <a:gd name="T61" fmla="*/ 587 h 630"/>
                <a:gd name="T62" fmla="*/ 93 w 632"/>
                <a:gd name="T63" fmla="*/ 538 h 630"/>
                <a:gd name="T64" fmla="*/ 44 w 632"/>
                <a:gd name="T65" fmla="*/ 474 h 630"/>
                <a:gd name="T66" fmla="*/ 12 w 632"/>
                <a:gd name="T67" fmla="*/ 399 h 630"/>
                <a:gd name="T68" fmla="*/ 0 w 632"/>
                <a:gd name="T69" fmla="*/ 315 h 630"/>
                <a:gd name="T70" fmla="*/ 12 w 632"/>
                <a:gd name="T71" fmla="*/ 231 h 630"/>
                <a:gd name="T72" fmla="*/ 44 w 632"/>
                <a:gd name="T73" fmla="*/ 156 h 630"/>
                <a:gd name="T74" fmla="*/ 93 w 632"/>
                <a:gd name="T75" fmla="*/ 93 h 630"/>
                <a:gd name="T76" fmla="*/ 157 w 632"/>
                <a:gd name="T77" fmla="*/ 43 h 630"/>
                <a:gd name="T78" fmla="*/ 232 w 632"/>
                <a:gd name="T79" fmla="*/ 12 h 630"/>
                <a:gd name="T80" fmla="*/ 317 w 632"/>
                <a:gd name="T81"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2" h="630">
                  <a:moveTo>
                    <a:pt x="317" y="173"/>
                  </a:moveTo>
                  <a:lnTo>
                    <a:pt x="288" y="176"/>
                  </a:lnTo>
                  <a:lnTo>
                    <a:pt x="261" y="184"/>
                  </a:lnTo>
                  <a:lnTo>
                    <a:pt x="236" y="197"/>
                  </a:lnTo>
                  <a:lnTo>
                    <a:pt x="216" y="215"/>
                  </a:lnTo>
                  <a:lnTo>
                    <a:pt x="198" y="235"/>
                  </a:lnTo>
                  <a:lnTo>
                    <a:pt x="185" y="260"/>
                  </a:lnTo>
                  <a:lnTo>
                    <a:pt x="177" y="287"/>
                  </a:lnTo>
                  <a:lnTo>
                    <a:pt x="173" y="315"/>
                  </a:lnTo>
                  <a:lnTo>
                    <a:pt x="177" y="344"/>
                  </a:lnTo>
                  <a:lnTo>
                    <a:pt x="185" y="371"/>
                  </a:lnTo>
                  <a:lnTo>
                    <a:pt x="198" y="394"/>
                  </a:lnTo>
                  <a:lnTo>
                    <a:pt x="216" y="416"/>
                  </a:lnTo>
                  <a:lnTo>
                    <a:pt x="236" y="433"/>
                  </a:lnTo>
                  <a:lnTo>
                    <a:pt x="261" y="447"/>
                  </a:lnTo>
                  <a:lnTo>
                    <a:pt x="288" y="455"/>
                  </a:lnTo>
                  <a:lnTo>
                    <a:pt x="317" y="458"/>
                  </a:lnTo>
                  <a:lnTo>
                    <a:pt x="346" y="455"/>
                  </a:lnTo>
                  <a:lnTo>
                    <a:pt x="372" y="447"/>
                  </a:lnTo>
                  <a:lnTo>
                    <a:pt x="396" y="433"/>
                  </a:lnTo>
                  <a:lnTo>
                    <a:pt x="418" y="416"/>
                  </a:lnTo>
                  <a:lnTo>
                    <a:pt x="435" y="394"/>
                  </a:lnTo>
                  <a:lnTo>
                    <a:pt x="448" y="371"/>
                  </a:lnTo>
                  <a:lnTo>
                    <a:pt x="456" y="344"/>
                  </a:lnTo>
                  <a:lnTo>
                    <a:pt x="459" y="315"/>
                  </a:lnTo>
                  <a:lnTo>
                    <a:pt x="456" y="287"/>
                  </a:lnTo>
                  <a:lnTo>
                    <a:pt x="448" y="260"/>
                  </a:lnTo>
                  <a:lnTo>
                    <a:pt x="435" y="235"/>
                  </a:lnTo>
                  <a:lnTo>
                    <a:pt x="418" y="215"/>
                  </a:lnTo>
                  <a:lnTo>
                    <a:pt x="396" y="197"/>
                  </a:lnTo>
                  <a:lnTo>
                    <a:pt x="372" y="184"/>
                  </a:lnTo>
                  <a:lnTo>
                    <a:pt x="346" y="176"/>
                  </a:lnTo>
                  <a:lnTo>
                    <a:pt x="317" y="173"/>
                  </a:lnTo>
                  <a:close/>
                  <a:moveTo>
                    <a:pt x="317" y="0"/>
                  </a:moveTo>
                  <a:lnTo>
                    <a:pt x="359" y="3"/>
                  </a:lnTo>
                  <a:lnTo>
                    <a:pt x="400" y="12"/>
                  </a:lnTo>
                  <a:lnTo>
                    <a:pt x="439" y="25"/>
                  </a:lnTo>
                  <a:lnTo>
                    <a:pt x="477" y="43"/>
                  </a:lnTo>
                  <a:lnTo>
                    <a:pt x="510" y="66"/>
                  </a:lnTo>
                  <a:lnTo>
                    <a:pt x="540" y="93"/>
                  </a:lnTo>
                  <a:lnTo>
                    <a:pt x="567" y="123"/>
                  </a:lnTo>
                  <a:lnTo>
                    <a:pt x="590" y="156"/>
                  </a:lnTo>
                  <a:lnTo>
                    <a:pt x="607" y="193"/>
                  </a:lnTo>
                  <a:lnTo>
                    <a:pt x="621" y="231"/>
                  </a:lnTo>
                  <a:lnTo>
                    <a:pt x="630" y="272"/>
                  </a:lnTo>
                  <a:lnTo>
                    <a:pt x="632" y="315"/>
                  </a:lnTo>
                  <a:lnTo>
                    <a:pt x="630" y="358"/>
                  </a:lnTo>
                  <a:lnTo>
                    <a:pt x="621" y="399"/>
                  </a:lnTo>
                  <a:lnTo>
                    <a:pt x="607" y="437"/>
                  </a:lnTo>
                  <a:lnTo>
                    <a:pt x="590" y="474"/>
                  </a:lnTo>
                  <a:lnTo>
                    <a:pt x="567" y="507"/>
                  </a:lnTo>
                  <a:lnTo>
                    <a:pt x="540" y="538"/>
                  </a:lnTo>
                  <a:lnTo>
                    <a:pt x="510" y="565"/>
                  </a:lnTo>
                  <a:lnTo>
                    <a:pt x="477" y="587"/>
                  </a:lnTo>
                  <a:lnTo>
                    <a:pt x="439" y="606"/>
                  </a:lnTo>
                  <a:lnTo>
                    <a:pt x="400" y="619"/>
                  </a:lnTo>
                  <a:lnTo>
                    <a:pt x="359" y="627"/>
                  </a:lnTo>
                  <a:lnTo>
                    <a:pt x="317" y="630"/>
                  </a:lnTo>
                  <a:lnTo>
                    <a:pt x="273" y="627"/>
                  </a:lnTo>
                  <a:lnTo>
                    <a:pt x="232" y="619"/>
                  </a:lnTo>
                  <a:lnTo>
                    <a:pt x="193" y="606"/>
                  </a:lnTo>
                  <a:lnTo>
                    <a:pt x="157" y="587"/>
                  </a:lnTo>
                  <a:lnTo>
                    <a:pt x="123" y="565"/>
                  </a:lnTo>
                  <a:lnTo>
                    <a:pt x="93" y="538"/>
                  </a:lnTo>
                  <a:lnTo>
                    <a:pt x="66" y="507"/>
                  </a:lnTo>
                  <a:lnTo>
                    <a:pt x="44" y="474"/>
                  </a:lnTo>
                  <a:lnTo>
                    <a:pt x="25" y="437"/>
                  </a:lnTo>
                  <a:lnTo>
                    <a:pt x="12" y="399"/>
                  </a:lnTo>
                  <a:lnTo>
                    <a:pt x="3" y="358"/>
                  </a:lnTo>
                  <a:lnTo>
                    <a:pt x="0" y="315"/>
                  </a:lnTo>
                  <a:lnTo>
                    <a:pt x="3" y="272"/>
                  </a:lnTo>
                  <a:lnTo>
                    <a:pt x="12" y="231"/>
                  </a:lnTo>
                  <a:lnTo>
                    <a:pt x="25" y="193"/>
                  </a:lnTo>
                  <a:lnTo>
                    <a:pt x="44" y="156"/>
                  </a:lnTo>
                  <a:lnTo>
                    <a:pt x="66" y="123"/>
                  </a:lnTo>
                  <a:lnTo>
                    <a:pt x="93" y="93"/>
                  </a:lnTo>
                  <a:lnTo>
                    <a:pt x="123" y="66"/>
                  </a:lnTo>
                  <a:lnTo>
                    <a:pt x="157" y="43"/>
                  </a:lnTo>
                  <a:lnTo>
                    <a:pt x="193" y="25"/>
                  </a:lnTo>
                  <a:lnTo>
                    <a:pt x="232" y="12"/>
                  </a:lnTo>
                  <a:lnTo>
                    <a:pt x="273" y="3"/>
                  </a:lnTo>
                  <a:lnTo>
                    <a:pt x="317" y="0"/>
                  </a:lnTo>
                  <a:close/>
                </a:path>
              </a:pathLst>
            </a:custGeom>
            <a:grpFill/>
            <a:ln w="0">
              <a:noFill/>
              <a:prstDash val="solid"/>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6" name="Freeform 387"/>
            <p:cNvSpPr>
              <a:spLocks noEditPoints="1"/>
            </p:cNvSpPr>
            <p:nvPr/>
          </p:nvSpPr>
          <p:spPr bwMode="auto">
            <a:xfrm>
              <a:off x="2257425" y="1941513"/>
              <a:ext cx="111125" cy="111125"/>
            </a:xfrm>
            <a:custGeom>
              <a:avLst/>
              <a:gdLst>
                <a:gd name="T0" fmla="*/ 288 w 632"/>
                <a:gd name="T1" fmla="*/ 176 h 630"/>
                <a:gd name="T2" fmla="*/ 236 w 632"/>
                <a:gd name="T3" fmla="*/ 197 h 630"/>
                <a:gd name="T4" fmla="*/ 198 w 632"/>
                <a:gd name="T5" fmla="*/ 235 h 630"/>
                <a:gd name="T6" fmla="*/ 177 w 632"/>
                <a:gd name="T7" fmla="*/ 287 h 630"/>
                <a:gd name="T8" fmla="*/ 177 w 632"/>
                <a:gd name="T9" fmla="*/ 344 h 630"/>
                <a:gd name="T10" fmla="*/ 198 w 632"/>
                <a:gd name="T11" fmla="*/ 394 h 630"/>
                <a:gd name="T12" fmla="*/ 236 w 632"/>
                <a:gd name="T13" fmla="*/ 433 h 630"/>
                <a:gd name="T14" fmla="*/ 288 w 632"/>
                <a:gd name="T15" fmla="*/ 455 h 630"/>
                <a:gd name="T16" fmla="*/ 345 w 632"/>
                <a:gd name="T17" fmla="*/ 455 h 630"/>
                <a:gd name="T18" fmla="*/ 396 w 632"/>
                <a:gd name="T19" fmla="*/ 433 h 630"/>
                <a:gd name="T20" fmla="*/ 435 w 632"/>
                <a:gd name="T21" fmla="*/ 394 h 630"/>
                <a:gd name="T22" fmla="*/ 456 w 632"/>
                <a:gd name="T23" fmla="*/ 344 h 630"/>
                <a:gd name="T24" fmla="*/ 456 w 632"/>
                <a:gd name="T25" fmla="*/ 287 h 630"/>
                <a:gd name="T26" fmla="*/ 435 w 632"/>
                <a:gd name="T27" fmla="*/ 235 h 630"/>
                <a:gd name="T28" fmla="*/ 396 w 632"/>
                <a:gd name="T29" fmla="*/ 197 h 630"/>
                <a:gd name="T30" fmla="*/ 345 w 632"/>
                <a:gd name="T31" fmla="*/ 176 h 630"/>
                <a:gd name="T32" fmla="*/ 316 w 632"/>
                <a:gd name="T33" fmla="*/ 0 h 630"/>
                <a:gd name="T34" fmla="*/ 400 w 632"/>
                <a:gd name="T35" fmla="*/ 12 h 630"/>
                <a:gd name="T36" fmla="*/ 476 w 632"/>
                <a:gd name="T37" fmla="*/ 43 h 630"/>
                <a:gd name="T38" fmla="*/ 540 w 632"/>
                <a:gd name="T39" fmla="*/ 93 h 630"/>
                <a:gd name="T40" fmla="*/ 589 w 632"/>
                <a:gd name="T41" fmla="*/ 156 h 630"/>
                <a:gd name="T42" fmla="*/ 621 w 632"/>
                <a:gd name="T43" fmla="*/ 231 h 630"/>
                <a:gd name="T44" fmla="*/ 632 w 632"/>
                <a:gd name="T45" fmla="*/ 315 h 630"/>
                <a:gd name="T46" fmla="*/ 621 w 632"/>
                <a:gd name="T47" fmla="*/ 399 h 630"/>
                <a:gd name="T48" fmla="*/ 589 w 632"/>
                <a:gd name="T49" fmla="*/ 474 h 630"/>
                <a:gd name="T50" fmla="*/ 541 w 632"/>
                <a:gd name="T51" fmla="*/ 538 h 630"/>
                <a:gd name="T52" fmla="*/ 476 w 632"/>
                <a:gd name="T53" fmla="*/ 587 h 630"/>
                <a:gd name="T54" fmla="*/ 400 w 632"/>
                <a:gd name="T55" fmla="*/ 619 h 630"/>
                <a:gd name="T56" fmla="*/ 316 w 632"/>
                <a:gd name="T57" fmla="*/ 630 h 630"/>
                <a:gd name="T58" fmla="*/ 232 w 632"/>
                <a:gd name="T59" fmla="*/ 619 h 630"/>
                <a:gd name="T60" fmla="*/ 157 w 632"/>
                <a:gd name="T61" fmla="*/ 587 h 630"/>
                <a:gd name="T62" fmla="*/ 93 w 632"/>
                <a:gd name="T63" fmla="*/ 538 h 630"/>
                <a:gd name="T64" fmla="*/ 44 w 632"/>
                <a:gd name="T65" fmla="*/ 474 h 630"/>
                <a:gd name="T66" fmla="*/ 12 w 632"/>
                <a:gd name="T67" fmla="*/ 399 h 630"/>
                <a:gd name="T68" fmla="*/ 0 w 632"/>
                <a:gd name="T69" fmla="*/ 315 h 630"/>
                <a:gd name="T70" fmla="*/ 12 w 632"/>
                <a:gd name="T71" fmla="*/ 231 h 630"/>
                <a:gd name="T72" fmla="*/ 44 w 632"/>
                <a:gd name="T73" fmla="*/ 156 h 630"/>
                <a:gd name="T74" fmla="*/ 93 w 632"/>
                <a:gd name="T75" fmla="*/ 93 h 630"/>
                <a:gd name="T76" fmla="*/ 157 w 632"/>
                <a:gd name="T77" fmla="*/ 43 h 630"/>
                <a:gd name="T78" fmla="*/ 232 w 632"/>
                <a:gd name="T79" fmla="*/ 12 h 630"/>
                <a:gd name="T80" fmla="*/ 316 w 632"/>
                <a:gd name="T81"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2" h="630">
                  <a:moveTo>
                    <a:pt x="316" y="173"/>
                  </a:moveTo>
                  <a:lnTo>
                    <a:pt x="288" y="176"/>
                  </a:lnTo>
                  <a:lnTo>
                    <a:pt x="261" y="184"/>
                  </a:lnTo>
                  <a:lnTo>
                    <a:pt x="236" y="197"/>
                  </a:lnTo>
                  <a:lnTo>
                    <a:pt x="216" y="215"/>
                  </a:lnTo>
                  <a:lnTo>
                    <a:pt x="198" y="235"/>
                  </a:lnTo>
                  <a:lnTo>
                    <a:pt x="185" y="260"/>
                  </a:lnTo>
                  <a:lnTo>
                    <a:pt x="177" y="287"/>
                  </a:lnTo>
                  <a:lnTo>
                    <a:pt x="174" y="315"/>
                  </a:lnTo>
                  <a:lnTo>
                    <a:pt x="177" y="344"/>
                  </a:lnTo>
                  <a:lnTo>
                    <a:pt x="185" y="371"/>
                  </a:lnTo>
                  <a:lnTo>
                    <a:pt x="198" y="394"/>
                  </a:lnTo>
                  <a:lnTo>
                    <a:pt x="216" y="416"/>
                  </a:lnTo>
                  <a:lnTo>
                    <a:pt x="236" y="433"/>
                  </a:lnTo>
                  <a:lnTo>
                    <a:pt x="261" y="447"/>
                  </a:lnTo>
                  <a:lnTo>
                    <a:pt x="288" y="455"/>
                  </a:lnTo>
                  <a:lnTo>
                    <a:pt x="316" y="458"/>
                  </a:lnTo>
                  <a:lnTo>
                    <a:pt x="345" y="455"/>
                  </a:lnTo>
                  <a:lnTo>
                    <a:pt x="372" y="447"/>
                  </a:lnTo>
                  <a:lnTo>
                    <a:pt x="396" y="433"/>
                  </a:lnTo>
                  <a:lnTo>
                    <a:pt x="418" y="416"/>
                  </a:lnTo>
                  <a:lnTo>
                    <a:pt x="435" y="394"/>
                  </a:lnTo>
                  <a:lnTo>
                    <a:pt x="448" y="371"/>
                  </a:lnTo>
                  <a:lnTo>
                    <a:pt x="456" y="344"/>
                  </a:lnTo>
                  <a:lnTo>
                    <a:pt x="459" y="315"/>
                  </a:lnTo>
                  <a:lnTo>
                    <a:pt x="456" y="287"/>
                  </a:lnTo>
                  <a:lnTo>
                    <a:pt x="448" y="260"/>
                  </a:lnTo>
                  <a:lnTo>
                    <a:pt x="435" y="235"/>
                  </a:lnTo>
                  <a:lnTo>
                    <a:pt x="418" y="215"/>
                  </a:lnTo>
                  <a:lnTo>
                    <a:pt x="396" y="197"/>
                  </a:lnTo>
                  <a:lnTo>
                    <a:pt x="372" y="184"/>
                  </a:lnTo>
                  <a:lnTo>
                    <a:pt x="345" y="176"/>
                  </a:lnTo>
                  <a:lnTo>
                    <a:pt x="316" y="173"/>
                  </a:lnTo>
                  <a:close/>
                  <a:moveTo>
                    <a:pt x="316" y="0"/>
                  </a:moveTo>
                  <a:lnTo>
                    <a:pt x="359" y="3"/>
                  </a:lnTo>
                  <a:lnTo>
                    <a:pt x="400" y="12"/>
                  </a:lnTo>
                  <a:lnTo>
                    <a:pt x="440" y="25"/>
                  </a:lnTo>
                  <a:lnTo>
                    <a:pt x="476" y="43"/>
                  </a:lnTo>
                  <a:lnTo>
                    <a:pt x="510" y="66"/>
                  </a:lnTo>
                  <a:lnTo>
                    <a:pt x="540" y="93"/>
                  </a:lnTo>
                  <a:lnTo>
                    <a:pt x="566" y="123"/>
                  </a:lnTo>
                  <a:lnTo>
                    <a:pt x="589" y="156"/>
                  </a:lnTo>
                  <a:lnTo>
                    <a:pt x="608" y="193"/>
                  </a:lnTo>
                  <a:lnTo>
                    <a:pt x="621" y="231"/>
                  </a:lnTo>
                  <a:lnTo>
                    <a:pt x="630" y="272"/>
                  </a:lnTo>
                  <a:lnTo>
                    <a:pt x="632" y="315"/>
                  </a:lnTo>
                  <a:lnTo>
                    <a:pt x="630" y="358"/>
                  </a:lnTo>
                  <a:lnTo>
                    <a:pt x="621" y="399"/>
                  </a:lnTo>
                  <a:lnTo>
                    <a:pt x="608" y="437"/>
                  </a:lnTo>
                  <a:lnTo>
                    <a:pt x="589" y="474"/>
                  </a:lnTo>
                  <a:lnTo>
                    <a:pt x="566" y="507"/>
                  </a:lnTo>
                  <a:lnTo>
                    <a:pt x="541" y="538"/>
                  </a:lnTo>
                  <a:lnTo>
                    <a:pt x="510" y="565"/>
                  </a:lnTo>
                  <a:lnTo>
                    <a:pt x="476" y="587"/>
                  </a:lnTo>
                  <a:lnTo>
                    <a:pt x="440" y="606"/>
                  </a:lnTo>
                  <a:lnTo>
                    <a:pt x="400" y="619"/>
                  </a:lnTo>
                  <a:lnTo>
                    <a:pt x="359" y="627"/>
                  </a:lnTo>
                  <a:lnTo>
                    <a:pt x="316" y="630"/>
                  </a:lnTo>
                  <a:lnTo>
                    <a:pt x="274" y="627"/>
                  </a:lnTo>
                  <a:lnTo>
                    <a:pt x="232" y="619"/>
                  </a:lnTo>
                  <a:lnTo>
                    <a:pt x="193" y="606"/>
                  </a:lnTo>
                  <a:lnTo>
                    <a:pt x="157" y="587"/>
                  </a:lnTo>
                  <a:lnTo>
                    <a:pt x="123" y="565"/>
                  </a:lnTo>
                  <a:lnTo>
                    <a:pt x="93" y="538"/>
                  </a:lnTo>
                  <a:lnTo>
                    <a:pt x="66" y="507"/>
                  </a:lnTo>
                  <a:lnTo>
                    <a:pt x="44" y="474"/>
                  </a:lnTo>
                  <a:lnTo>
                    <a:pt x="25" y="437"/>
                  </a:lnTo>
                  <a:lnTo>
                    <a:pt x="12" y="399"/>
                  </a:lnTo>
                  <a:lnTo>
                    <a:pt x="3" y="358"/>
                  </a:lnTo>
                  <a:lnTo>
                    <a:pt x="0" y="315"/>
                  </a:lnTo>
                  <a:lnTo>
                    <a:pt x="3" y="272"/>
                  </a:lnTo>
                  <a:lnTo>
                    <a:pt x="12" y="231"/>
                  </a:lnTo>
                  <a:lnTo>
                    <a:pt x="25" y="193"/>
                  </a:lnTo>
                  <a:lnTo>
                    <a:pt x="44" y="156"/>
                  </a:lnTo>
                  <a:lnTo>
                    <a:pt x="66" y="123"/>
                  </a:lnTo>
                  <a:lnTo>
                    <a:pt x="93" y="93"/>
                  </a:lnTo>
                  <a:lnTo>
                    <a:pt x="123" y="66"/>
                  </a:lnTo>
                  <a:lnTo>
                    <a:pt x="157" y="43"/>
                  </a:lnTo>
                  <a:lnTo>
                    <a:pt x="193" y="25"/>
                  </a:lnTo>
                  <a:lnTo>
                    <a:pt x="232" y="12"/>
                  </a:lnTo>
                  <a:lnTo>
                    <a:pt x="274" y="3"/>
                  </a:lnTo>
                  <a:lnTo>
                    <a:pt x="316" y="0"/>
                  </a:lnTo>
                  <a:close/>
                </a:path>
              </a:pathLst>
            </a:custGeom>
            <a:grpFill/>
            <a:ln w="0">
              <a:noFill/>
              <a:prstDash val="solid"/>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7" name="Freeform 388"/>
            <p:cNvSpPr/>
            <p:nvPr/>
          </p:nvSpPr>
          <p:spPr bwMode="auto">
            <a:xfrm>
              <a:off x="2382838" y="1804988"/>
              <a:ext cx="82550" cy="146050"/>
            </a:xfrm>
            <a:custGeom>
              <a:avLst/>
              <a:gdLst>
                <a:gd name="T0" fmla="*/ 129 w 465"/>
                <a:gd name="T1" fmla="*/ 0 h 827"/>
                <a:gd name="T2" fmla="*/ 154 w 465"/>
                <a:gd name="T3" fmla="*/ 3 h 827"/>
                <a:gd name="T4" fmla="*/ 177 w 465"/>
                <a:gd name="T5" fmla="*/ 11 h 827"/>
                <a:gd name="T6" fmla="*/ 198 w 465"/>
                <a:gd name="T7" fmla="*/ 23 h 827"/>
                <a:gd name="T8" fmla="*/ 215 w 465"/>
                <a:gd name="T9" fmla="*/ 39 h 827"/>
                <a:gd name="T10" fmla="*/ 231 w 465"/>
                <a:gd name="T11" fmla="*/ 58 h 827"/>
                <a:gd name="T12" fmla="*/ 242 w 465"/>
                <a:gd name="T13" fmla="*/ 81 h 827"/>
                <a:gd name="T14" fmla="*/ 457 w 465"/>
                <a:gd name="T15" fmla="*/ 658 h 827"/>
                <a:gd name="T16" fmla="*/ 463 w 465"/>
                <a:gd name="T17" fmla="*/ 683 h 827"/>
                <a:gd name="T18" fmla="*/ 465 w 465"/>
                <a:gd name="T19" fmla="*/ 708 h 827"/>
                <a:gd name="T20" fmla="*/ 461 w 465"/>
                <a:gd name="T21" fmla="*/ 731 h 827"/>
                <a:gd name="T22" fmla="*/ 453 w 465"/>
                <a:gd name="T23" fmla="*/ 754 h 827"/>
                <a:gd name="T24" fmla="*/ 442 w 465"/>
                <a:gd name="T25" fmla="*/ 774 h 827"/>
                <a:gd name="T26" fmla="*/ 425 w 465"/>
                <a:gd name="T27" fmla="*/ 793 h 827"/>
                <a:gd name="T28" fmla="*/ 406 w 465"/>
                <a:gd name="T29" fmla="*/ 807 h 827"/>
                <a:gd name="T30" fmla="*/ 383 w 465"/>
                <a:gd name="T31" fmla="*/ 818 h 827"/>
                <a:gd name="T32" fmla="*/ 358 w 465"/>
                <a:gd name="T33" fmla="*/ 825 h 827"/>
                <a:gd name="T34" fmla="*/ 335 w 465"/>
                <a:gd name="T35" fmla="*/ 827 h 827"/>
                <a:gd name="T36" fmla="*/ 310 w 465"/>
                <a:gd name="T37" fmla="*/ 823 h 827"/>
                <a:gd name="T38" fmla="*/ 287 w 465"/>
                <a:gd name="T39" fmla="*/ 815 h 827"/>
                <a:gd name="T40" fmla="*/ 267 w 465"/>
                <a:gd name="T41" fmla="*/ 803 h 827"/>
                <a:gd name="T42" fmla="*/ 249 w 465"/>
                <a:gd name="T43" fmla="*/ 788 h 827"/>
                <a:gd name="T44" fmla="*/ 234 w 465"/>
                <a:gd name="T45" fmla="*/ 768 h 827"/>
                <a:gd name="T46" fmla="*/ 222 w 465"/>
                <a:gd name="T47" fmla="*/ 746 h 827"/>
                <a:gd name="T48" fmla="*/ 7 w 465"/>
                <a:gd name="T49" fmla="*/ 168 h 827"/>
                <a:gd name="T50" fmla="*/ 1 w 465"/>
                <a:gd name="T51" fmla="*/ 143 h 827"/>
                <a:gd name="T52" fmla="*/ 0 w 465"/>
                <a:gd name="T53" fmla="*/ 119 h 827"/>
                <a:gd name="T54" fmla="*/ 3 w 465"/>
                <a:gd name="T55" fmla="*/ 95 h 827"/>
                <a:gd name="T56" fmla="*/ 11 w 465"/>
                <a:gd name="T57" fmla="*/ 73 h 827"/>
                <a:gd name="T58" fmla="*/ 22 w 465"/>
                <a:gd name="T59" fmla="*/ 52 h 827"/>
                <a:gd name="T60" fmla="*/ 39 w 465"/>
                <a:gd name="T61" fmla="*/ 34 h 827"/>
                <a:gd name="T62" fmla="*/ 58 w 465"/>
                <a:gd name="T63" fmla="*/ 19 h 827"/>
                <a:gd name="T64" fmla="*/ 81 w 465"/>
                <a:gd name="T65" fmla="*/ 8 h 827"/>
                <a:gd name="T66" fmla="*/ 106 w 465"/>
                <a:gd name="T67" fmla="*/ 2 h 827"/>
                <a:gd name="T68" fmla="*/ 129 w 465"/>
                <a:gd name="T69" fmla="*/ 0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5" h="827">
                  <a:moveTo>
                    <a:pt x="129" y="0"/>
                  </a:moveTo>
                  <a:lnTo>
                    <a:pt x="154" y="3"/>
                  </a:lnTo>
                  <a:lnTo>
                    <a:pt x="177" y="11"/>
                  </a:lnTo>
                  <a:lnTo>
                    <a:pt x="198" y="23"/>
                  </a:lnTo>
                  <a:lnTo>
                    <a:pt x="215" y="39"/>
                  </a:lnTo>
                  <a:lnTo>
                    <a:pt x="231" y="58"/>
                  </a:lnTo>
                  <a:lnTo>
                    <a:pt x="242" y="81"/>
                  </a:lnTo>
                  <a:lnTo>
                    <a:pt x="457" y="658"/>
                  </a:lnTo>
                  <a:lnTo>
                    <a:pt x="463" y="683"/>
                  </a:lnTo>
                  <a:lnTo>
                    <a:pt x="465" y="708"/>
                  </a:lnTo>
                  <a:lnTo>
                    <a:pt x="461" y="731"/>
                  </a:lnTo>
                  <a:lnTo>
                    <a:pt x="453" y="754"/>
                  </a:lnTo>
                  <a:lnTo>
                    <a:pt x="442" y="774"/>
                  </a:lnTo>
                  <a:lnTo>
                    <a:pt x="425" y="793"/>
                  </a:lnTo>
                  <a:lnTo>
                    <a:pt x="406" y="807"/>
                  </a:lnTo>
                  <a:lnTo>
                    <a:pt x="383" y="818"/>
                  </a:lnTo>
                  <a:lnTo>
                    <a:pt x="358" y="825"/>
                  </a:lnTo>
                  <a:lnTo>
                    <a:pt x="335" y="827"/>
                  </a:lnTo>
                  <a:lnTo>
                    <a:pt x="310" y="823"/>
                  </a:lnTo>
                  <a:lnTo>
                    <a:pt x="287" y="815"/>
                  </a:lnTo>
                  <a:lnTo>
                    <a:pt x="267" y="803"/>
                  </a:lnTo>
                  <a:lnTo>
                    <a:pt x="249" y="788"/>
                  </a:lnTo>
                  <a:lnTo>
                    <a:pt x="234" y="768"/>
                  </a:lnTo>
                  <a:lnTo>
                    <a:pt x="222" y="746"/>
                  </a:lnTo>
                  <a:lnTo>
                    <a:pt x="7" y="168"/>
                  </a:lnTo>
                  <a:lnTo>
                    <a:pt x="1" y="143"/>
                  </a:lnTo>
                  <a:lnTo>
                    <a:pt x="0" y="119"/>
                  </a:lnTo>
                  <a:lnTo>
                    <a:pt x="3" y="95"/>
                  </a:lnTo>
                  <a:lnTo>
                    <a:pt x="11" y="73"/>
                  </a:lnTo>
                  <a:lnTo>
                    <a:pt x="22" y="52"/>
                  </a:lnTo>
                  <a:lnTo>
                    <a:pt x="39" y="34"/>
                  </a:lnTo>
                  <a:lnTo>
                    <a:pt x="58" y="19"/>
                  </a:lnTo>
                  <a:lnTo>
                    <a:pt x="81" y="8"/>
                  </a:lnTo>
                  <a:lnTo>
                    <a:pt x="106" y="2"/>
                  </a:lnTo>
                  <a:lnTo>
                    <a:pt x="129" y="0"/>
                  </a:lnTo>
                  <a:close/>
                </a:path>
              </a:pathLst>
            </a:custGeom>
            <a:grpFill/>
            <a:ln w="0">
              <a:noFill/>
              <a:prstDash val="solid"/>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8" name="Freeform 389"/>
            <p:cNvSpPr/>
            <p:nvPr/>
          </p:nvSpPr>
          <p:spPr bwMode="auto">
            <a:xfrm>
              <a:off x="2132013" y="1725613"/>
              <a:ext cx="206375" cy="22225"/>
            </a:xfrm>
            <a:custGeom>
              <a:avLst/>
              <a:gdLst>
                <a:gd name="T0" fmla="*/ 64 w 1176"/>
                <a:gd name="T1" fmla="*/ 0 h 128"/>
                <a:gd name="T2" fmla="*/ 1112 w 1176"/>
                <a:gd name="T3" fmla="*/ 0 h 128"/>
                <a:gd name="T4" fmla="*/ 1130 w 1176"/>
                <a:gd name="T5" fmla="*/ 2 h 128"/>
                <a:gd name="T6" fmla="*/ 1145 w 1176"/>
                <a:gd name="T7" fmla="*/ 10 h 128"/>
                <a:gd name="T8" fmla="*/ 1158 w 1176"/>
                <a:gd name="T9" fmla="*/ 19 h 128"/>
                <a:gd name="T10" fmla="*/ 1168 w 1176"/>
                <a:gd name="T11" fmla="*/ 32 h 128"/>
                <a:gd name="T12" fmla="*/ 1174 w 1176"/>
                <a:gd name="T13" fmla="*/ 48 h 128"/>
                <a:gd name="T14" fmla="*/ 1176 w 1176"/>
                <a:gd name="T15" fmla="*/ 64 h 128"/>
                <a:gd name="T16" fmla="*/ 1174 w 1176"/>
                <a:gd name="T17" fmla="*/ 81 h 128"/>
                <a:gd name="T18" fmla="*/ 1168 w 1176"/>
                <a:gd name="T19" fmla="*/ 97 h 128"/>
                <a:gd name="T20" fmla="*/ 1158 w 1176"/>
                <a:gd name="T21" fmla="*/ 109 h 128"/>
                <a:gd name="T22" fmla="*/ 1145 w 1176"/>
                <a:gd name="T23" fmla="*/ 119 h 128"/>
                <a:gd name="T24" fmla="*/ 1130 w 1176"/>
                <a:gd name="T25" fmla="*/ 126 h 128"/>
                <a:gd name="T26" fmla="*/ 1112 w 1176"/>
                <a:gd name="T27" fmla="*/ 128 h 128"/>
                <a:gd name="T28" fmla="*/ 64 w 1176"/>
                <a:gd name="T29" fmla="*/ 128 h 128"/>
                <a:gd name="T30" fmla="*/ 47 w 1176"/>
                <a:gd name="T31" fmla="*/ 126 h 128"/>
                <a:gd name="T32" fmla="*/ 32 w 1176"/>
                <a:gd name="T33" fmla="*/ 119 h 128"/>
                <a:gd name="T34" fmla="*/ 18 w 1176"/>
                <a:gd name="T35" fmla="*/ 109 h 128"/>
                <a:gd name="T36" fmla="*/ 8 w 1176"/>
                <a:gd name="T37" fmla="*/ 97 h 128"/>
                <a:gd name="T38" fmla="*/ 2 w 1176"/>
                <a:gd name="T39" fmla="*/ 81 h 128"/>
                <a:gd name="T40" fmla="*/ 0 w 1176"/>
                <a:gd name="T41" fmla="*/ 64 h 128"/>
                <a:gd name="T42" fmla="*/ 2 w 1176"/>
                <a:gd name="T43" fmla="*/ 48 h 128"/>
                <a:gd name="T44" fmla="*/ 8 w 1176"/>
                <a:gd name="T45" fmla="*/ 32 h 128"/>
                <a:gd name="T46" fmla="*/ 18 w 1176"/>
                <a:gd name="T47" fmla="*/ 19 h 128"/>
                <a:gd name="T48" fmla="*/ 32 w 1176"/>
                <a:gd name="T49" fmla="*/ 10 h 128"/>
                <a:gd name="T50" fmla="*/ 47 w 1176"/>
                <a:gd name="T51" fmla="*/ 2 h 128"/>
                <a:gd name="T52" fmla="*/ 64 w 1176"/>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76" h="128">
                  <a:moveTo>
                    <a:pt x="64" y="0"/>
                  </a:moveTo>
                  <a:lnTo>
                    <a:pt x="1112" y="0"/>
                  </a:lnTo>
                  <a:lnTo>
                    <a:pt x="1130" y="2"/>
                  </a:lnTo>
                  <a:lnTo>
                    <a:pt x="1145" y="10"/>
                  </a:lnTo>
                  <a:lnTo>
                    <a:pt x="1158" y="19"/>
                  </a:lnTo>
                  <a:lnTo>
                    <a:pt x="1168" y="32"/>
                  </a:lnTo>
                  <a:lnTo>
                    <a:pt x="1174" y="48"/>
                  </a:lnTo>
                  <a:lnTo>
                    <a:pt x="1176" y="64"/>
                  </a:lnTo>
                  <a:lnTo>
                    <a:pt x="1174" y="81"/>
                  </a:lnTo>
                  <a:lnTo>
                    <a:pt x="1168" y="97"/>
                  </a:lnTo>
                  <a:lnTo>
                    <a:pt x="1158" y="109"/>
                  </a:lnTo>
                  <a:lnTo>
                    <a:pt x="1145" y="119"/>
                  </a:lnTo>
                  <a:lnTo>
                    <a:pt x="1130" y="126"/>
                  </a:lnTo>
                  <a:lnTo>
                    <a:pt x="1112" y="128"/>
                  </a:lnTo>
                  <a:lnTo>
                    <a:pt x="64" y="128"/>
                  </a:lnTo>
                  <a:lnTo>
                    <a:pt x="47" y="126"/>
                  </a:lnTo>
                  <a:lnTo>
                    <a:pt x="32" y="119"/>
                  </a:lnTo>
                  <a:lnTo>
                    <a:pt x="18" y="109"/>
                  </a:lnTo>
                  <a:lnTo>
                    <a:pt x="8" y="97"/>
                  </a:lnTo>
                  <a:lnTo>
                    <a:pt x="2" y="81"/>
                  </a:lnTo>
                  <a:lnTo>
                    <a:pt x="0" y="64"/>
                  </a:lnTo>
                  <a:lnTo>
                    <a:pt x="2" y="48"/>
                  </a:lnTo>
                  <a:lnTo>
                    <a:pt x="8" y="32"/>
                  </a:lnTo>
                  <a:lnTo>
                    <a:pt x="18" y="19"/>
                  </a:lnTo>
                  <a:lnTo>
                    <a:pt x="32" y="10"/>
                  </a:lnTo>
                  <a:lnTo>
                    <a:pt x="47" y="2"/>
                  </a:lnTo>
                  <a:lnTo>
                    <a:pt x="64" y="0"/>
                  </a:lnTo>
                  <a:close/>
                </a:path>
              </a:pathLst>
            </a:custGeom>
            <a:grpFill/>
            <a:ln w="0">
              <a:noFill/>
              <a:prstDash val="solid"/>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209" name="Freeform 154"/>
          <p:cNvSpPr>
            <a:spLocks noEditPoints="1"/>
          </p:cNvSpPr>
          <p:nvPr/>
        </p:nvSpPr>
        <p:spPr bwMode="auto">
          <a:xfrm>
            <a:off x="1247844" y="3170302"/>
            <a:ext cx="433038" cy="446676"/>
          </a:xfrm>
          <a:custGeom>
            <a:avLst/>
            <a:gdLst>
              <a:gd name="T0" fmla="*/ 17 w 255"/>
              <a:gd name="T1" fmla="*/ 259 h 261"/>
              <a:gd name="T2" fmla="*/ 0 w 255"/>
              <a:gd name="T3" fmla="*/ 235 h 261"/>
              <a:gd name="T4" fmla="*/ 0 w 255"/>
              <a:gd name="T5" fmla="*/ 205 h 261"/>
              <a:gd name="T6" fmla="*/ 27 w 255"/>
              <a:gd name="T7" fmla="*/ 183 h 261"/>
              <a:gd name="T8" fmla="*/ 73 w 255"/>
              <a:gd name="T9" fmla="*/ 179 h 261"/>
              <a:gd name="T10" fmla="*/ 78 w 255"/>
              <a:gd name="T11" fmla="*/ 126 h 261"/>
              <a:gd name="T12" fmla="*/ 37 w 255"/>
              <a:gd name="T13" fmla="*/ 77 h 261"/>
              <a:gd name="T14" fmla="*/ 17 w 255"/>
              <a:gd name="T15" fmla="*/ 23 h 261"/>
              <a:gd name="T16" fmla="*/ 33 w 255"/>
              <a:gd name="T17" fmla="*/ 0 h 261"/>
              <a:gd name="T18" fmla="*/ 55 w 255"/>
              <a:gd name="T19" fmla="*/ 14 h 261"/>
              <a:gd name="T20" fmla="*/ 40 w 255"/>
              <a:gd name="T21" fmla="*/ 38 h 261"/>
              <a:gd name="T22" fmla="*/ 70 w 255"/>
              <a:gd name="T23" fmla="*/ 95 h 261"/>
              <a:gd name="T24" fmla="*/ 122 w 255"/>
              <a:gd name="T25" fmla="*/ 90 h 261"/>
              <a:gd name="T26" fmla="*/ 144 w 255"/>
              <a:gd name="T27" fmla="*/ 38 h 261"/>
              <a:gd name="T28" fmla="*/ 130 w 255"/>
              <a:gd name="T29" fmla="*/ 12 h 261"/>
              <a:gd name="T30" fmla="*/ 155 w 255"/>
              <a:gd name="T31" fmla="*/ 1 h 261"/>
              <a:gd name="T32" fmla="*/ 164 w 255"/>
              <a:gd name="T33" fmla="*/ 29 h 261"/>
              <a:gd name="T34" fmla="*/ 143 w 255"/>
              <a:gd name="T35" fmla="*/ 87 h 261"/>
              <a:gd name="T36" fmla="*/ 99 w 255"/>
              <a:gd name="T37" fmla="*/ 165 h 261"/>
              <a:gd name="T38" fmla="*/ 81 w 255"/>
              <a:gd name="T39" fmla="*/ 191 h 261"/>
              <a:gd name="T40" fmla="*/ 34 w 255"/>
              <a:gd name="T41" fmla="*/ 195 h 261"/>
              <a:gd name="T42" fmla="*/ 11 w 255"/>
              <a:gd name="T43" fmla="*/ 218 h 261"/>
              <a:gd name="T44" fmla="*/ 25 w 255"/>
              <a:gd name="T45" fmla="*/ 247 h 261"/>
              <a:gd name="T46" fmla="*/ 220 w 255"/>
              <a:gd name="T47" fmla="*/ 250 h 261"/>
              <a:gd name="T48" fmla="*/ 243 w 255"/>
              <a:gd name="T49" fmla="*/ 226 h 261"/>
              <a:gd name="T50" fmla="*/ 229 w 255"/>
              <a:gd name="T51" fmla="*/ 160 h 261"/>
              <a:gd name="T52" fmla="*/ 220 w 255"/>
              <a:gd name="T53" fmla="*/ 157 h 261"/>
              <a:gd name="T54" fmla="*/ 193 w 255"/>
              <a:gd name="T55" fmla="*/ 182 h 261"/>
              <a:gd name="T56" fmla="*/ 178 w 255"/>
              <a:gd name="T57" fmla="*/ 221 h 261"/>
              <a:gd name="T58" fmla="*/ 130 w 255"/>
              <a:gd name="T59" fmla="*/ 225 h 261"/>
              <a:gd name="T60" fmla="*/ 108 w 255"/>
              <a:gd name="T61" fmla="*/ 196 h 261"/>
              <a:gd name="T62" fmla="*/ 113 w 255"/>
              <a:gd name="T63" fmla="*/ 144 h 261"/>
              <a:gd name="T64" fmla="*/ 173 w 255"/>
              <a:gd name="T65" fmla="*/ 131 h 261"/>
              <a:gd name="T66" fmla="*/ 199 w 255"/>
              <a:gd name="T67" fmla="*/ 116 h 261"/>
              <a:gd name="T68" fmla="*/ 182 w 255"/>
              <a:gd name="T69" fmla="*/ 97 h 261"/>
              <a:gd name="T70" fmla="*/ 168 w 255"/>
              <a:gd name="T71" fmla="*/ 56 h 261"/>
              <a:gd name="T72" fmla="*/ 209 w 255"/>
              <a:gd name="T73" fmla="*/ 22 h 261"/>
              <a:gd name="T74" fmla="*/ 248 w 255"/>
              <a:gd name="T75" fmla="*/ 48 h 261"/>
              <a:gd name="T76" fmla="*/ 241 w 255"/>
              <a:gd name="T77" fmla="*/ 94 h 261"/>
              <a:gd name="T78" fmla="*/ 212 w 255"/>
              <a:gd name="T79" fmla="*/ 120 h 261"/>
              <a:gd name="T80" fmla="*/ 185 w 255"/>
              <a:gd name="T81" fmla="*/ 142 h 261"/>
              <a:gd name="T82" fmla="*/ 133 w 255"/>
              <a:gd name="T83" fmla="*/ 146 h 261"/>
              <a:gd name="T84" fmla="*/ 120 w 255"/>
              <a:gd name="T85" fmla="*/ 190 h 261"/>
              <a:gd name="T86" fmla="*/ 143 w 255"/>
              <a:gd name="T87" fmla="*/ 213 h 261"/>
              <a:gd name="T88" fmla="*/ 172 w 255"/>
              <a:gd name="T89" fmla="*/ 207 h 261"/>
              <a:gd name="T90" fmla="*/ 181 w 255"/>
              <a:gd name="T91" fmla="*/ 174 h 261"/>
              <a:gd name="T92" fmla="*/ 199 w 255"/>
              <a:gd name="T93" fmla="*/ 149 h 261"/>
              <a:gd name="T94" fmla="*/ 232 w 255"/>
              <a:gd name="T95" fmla="*/ 147 h 261"/>
              <a:gd name="T96" fmla="*/ 255 w 255"/>
              <a:gd name="T97" fmla="*/ 172 h 261"/>
              <a:gd name="T98" fmla="*/ 250 w 255"/>
              <a:gd name="T99" fmla="*/ 248 h 261"/>
              <a:gd name="T100" fmla="*/ 209 w 255"/>
              <a:gd name="T101" fmla="*/ 92 h 261"/>
              <a:gd name="T102" fmla="*/ 235 w 255"/>
              <a:gd name="T103" fmla="*/ 75 h 261"/>
              <a:gd name="T104" fmla="*/ 229 w 255"/>
              <a:gd name="T105" fmla="*/ 45 h 261"/>
              <a:gd name="T106" fmla="*/ 199 w 255"/>
              <a:gd name="T107" fmla="*/ 39 h 261"/>
              <a:gd name="T108" fmla="*/ 182 w 255"/>
              <a:gd name="T109" fmla="*/ 65 h 261"/>
              <a:gd name="T110" fmla="*/ 204 w 255"/>
              <a:gd name="T111" fmla="*/ 92 h 261"/>
              <a:gd name="T112" fmla="*/ 225 w 255"/>
              <a:gd name="T113" fmla="*/ 57 h 261"/>
              <a:gd name="T114" fmla="*/ 209 w 255"/>
              <a:gd name="T115" fmla="*/ 81 h 261"/>
              <a:gd name="T116" fmla="*/ 198 w 255"/>
              <a:gd name="T117" fmla="*/ 5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261">
                <a:moveTo>
                  <a:pt x="226" y="261"/>
                </a:moveTo>
                <a:lnTo>
                  <a:pt x="224" y="261"/>
                </a:lnTo>
                <a:lnTo>
                  <a:pt x="208" y="261"/>
                </a:lnTo>
                <a:lnTo>
                  <a:pt x="27" y="261"/>
                </a:lnTo>
                <a:lnTo>
                  <a:pt x="27" y="261"/>
                </a:lnTo>
                <a:lnTo>
                  <a:pt x="22" y="261"/>
                </a:lnTo>
                <a:lnTo>
                  <a:pt x="17" y="259"/>
                </a:lnTo>
                <a:lnTo>
                  <a:pt x="12" y="257"/>
                </a:lnTo>
                <a:lnTo>
                  <a:pt x="8" y="253"/>
                </a:lnTo>
                <a:lnTo>
                  <a:pt x="5" y="250"/>
                </a:lnTo>
                <a:lnTo>
                  <a:pt x="3" y="246"/>
                </a:lnTo>
                <a:lnTo>
                  <a:pt x="0" y="240"/>
                </a:lnTo>
                <a:lnTo>
                  <a:pt x="0" y="235"/>
                </a:lnTo>
                <a:lnTo>
                  <a:pt x="0" y="235"/>
                </a:lnTo>
                <a:lnTo>
                  <a:pt x="0" y="233"/>
                </a:lnTo>
                <a:lnTo>
                  <a:pt x="0" y="233"/>
                </a:lnTo>
                <a:lnTo>
                  <a:pt x="0" y="217"/>
                </a:lnTo>
                <a:lnTo>
                  <a:pt x="0" y="217"/>
                </a:lnTo>
                <a:lnTo>
                  <a:pt x="0" y="211"/>
                </a:lnTo>
                <a:lnTo>
                  <a:pt x="0" y="211"/>
                </a:lnTo>
                <a:lnTo>
                  <a:pt x="0" y="205"/>
                </a:lnTo>
                <a:lnTo>
                  <a:pt x="1" y="200"/>
                </a:lnTo>
                <a:lnTo>
                  <a:pt x="4" y="195"/>
                </a:lnTo>
                <a:lnTo>
                  <a:pt x="8" y="191"/>
                </a:lnTo>
                <a:lnTo>
                  <a:pt x="12" y="188"/>
                </a:lnTo>
                <a:lnTo>
                  <a:pt x="17" y="186"/>
                </a:lnTo>
                <a:lnTo>
                  <a:pt x="22" y="183"/>
                </a:lnTo>
                <a:lnTo>
                  <a:pt x="27" y="183"/>
                </a:lnTo>
                <a:lnTo>
                  <a:pt x="31" y="183"/>
                </a:lnTo>
                <a:lnTo>
                  <a:pt x="31" y="183"/>
                </a:lnTo>
                <a:lnTo>
                  <a:pt x="59" y="183"/>
                </a:lnTo>
                <a:lnTo>
                  <a:pt x="59" y="183"/>
                </a:lnTo>
                <a:lnTo>
                  <a:pt x="64" y="182"/>
                </a:lnTo>
                <a:lnTo>
                  <a:pt x="69" y="181"/>
                </a:lnTo>
                <a:lnTo>
                  <a:pt x="73" y="179"/>
                </a:lnTo>
                <a:lnTo>
                  <a:pt x="78" y="175"/>
                </a:lnTo>
                <a:lnTo>
                  <a:pt x="82" y="173"/>
                </a:lnTo>
                <a:lnTo>
                  <a:pt x="85" y="168"/>
                </a:lnTo>
                <a:lnTo>
                  <a:pt x="87" y="164"/>
                </a:lnTo>
                <a:lnTo>
                  <a:pt x="87" y="159"/>
                </a:lnTo>
                <a:lnTo>
                  <a:pt x="87" y="126"/>
                </a:lnTo>
                <a:lnTo>
                  <a:pt x="78" y="126"/>
                </a:lnTo>
                <a:lnTo>
                  <a:pt x="78" y="117"/>
                </a:lnTo>
                <a:lnTo>
                  <a:pt x="78" y="117"/>
                </a:lnTo>
                <a:lnTo>
                  <a:pt x="68" y="112"/>
                </a:lnTo>
                <a:lnTo>
                  <a:pt x="59" y="107"/>
                </a:lnTo>
                <a:lnTo>
                  <a:pt x="50" y="97"/>
                </a:lnTo>
                <a:lnTo>
                  <a:pt x="42" y="88"/>
                </a:lnTo>
                <a:lnTo>
                  <a:pt x="37" y="77"/>
                </a:lnTo>
                <a:lnTo>
                  <a:pt x="31" y="64"/>
                </a:lnTo>
                <a:lnTo>
                  <a:pt x="29" y="49"/>
                </a:lnTo>
                <a:lnTo>
                  <a:pt x="27" y="35"/>
                </a:lnTo>
                <a:lnTo>
                  <a:pt x="27" y="35"/>
                </a:lnTo>
                <a:lnTo>
                  <a:pt x="24" y="32"/>
                </a:lnTo>
                <a:lnTo>
                  <a:pt x="20" y="29"/>
                </a:lnTo>
                <a:lnTo>
                  <a:pt x="17" y="23"/>
                </a:lnTo>
                <a:lnTo>
                  <a:pt x="17" y="18"/>
                </a:lnTo>
                <a:lnTo>
                  <a:pt x="17" y="18"/>
                </a:lnTo>
                <a:lnTo>
                  <a:pt x="17" y="14"/>
                </a:lnTo>
                <a:lnTo>
                  <a:pt x="18" y="12"/>
                </a:lnTo>
                <a:lnTo>
                  <a:pt x="22" y="5"/>
                </a:lnTo>
                <a:lnTo>
                  <a:pt x="29" y="1"/>
                </a:lnTo>
                <a:lnTo>
                  <a:pt x="33" y="0"/>
                </a:lnTo>
                <a:lnTo>
                  <a:pt x="37" y="0"/>
                </a:lnTo>
                <a:lnTo>
                  <a:pt x="37" y="0"/>
                </a:lnTo>
                <a:lnTo>
                  <a:pt x="39" y="0"/>
                </a:lnTo>
                <a:lnTo>
                  <a:pt x="43" y="1"/>
                </a:lnTo>
                <a:lnTo>
                  <a:pt x="50" y="5"/>
                </a:lnTo>
                <a:lnTo>
                  <a:pt x="53" y="12"/>
                </a:lnTo>
                <a:lnTo>
                  <a:pt x="55" y="14"/>
                </a:lnTo>
                <a:lnTo>
                  <a:pt x="55" y="18"/>
                </a:lnTo>
                <a:lnTo>
                  <a:pt x="55" y="18"/>
                </a:lnTo>
                <a:lnTo>
                  <a:pt x="53" y="25"/>
                </a:lnTo>
                <a:lnTo>
                  <a:pt x="51" y="30"/>
                </a:lnTo>
                <a:lnTo>
                  <a:pt x="46" y="35"/>
                </a:lnTo>
                <a:lnTo>
                  <a:pt x="40" y="38"/>
                </a:lnTo>
                <a:lnTo>
                  <a:pt x="40" y="38"/>
                </a:lnTo>
                <a:lnTo>
                  <a:pt x="42" y="48"/>
                </a:lnTo>
                <a:lnTo>
                  <a:pt x="44" y="58"/>
                </a:lnTo>
                <a:lnTo>
                  <a:pt x="47" y="68"/>
                </a:lnTo>
                <a:lnTo>
                  <a:pt x="52" y="77"/>
                </a:lnTo>
                <a:lnTo>
                  <a:pt x="57" y="83"/>
                </a:lnTo>
                <a:lnTo>
                  <a:pt x="64" y="90"/>
                </a:lnTo>
                <a:lnTo>
                  <a:pt x="70" y="95"/>
                </a:lnTo>
                <a:lnTo>
                  <a:pt x="78" y="99"/>
                </a:lnTo>
                <a:lnTo>
                  <a:pt x="78" y="95"/>
                </a:lnTo>
                <a:lnTo>
                  <a:pt x="109" y="95"/>
                </a:lnTo>
                <a:lnTo>
                  <a:pt x="109" y="99"/>
                </a:lnTo>
                <a:lnTo>
                  <a:pt x="109" y="99"/>
                </a:lnTo>
                <a:lnTo>
                  <a:pt x="116" y="95"/>
                </a:lnTo>
                <a:lnTo>
                  <a:pt x="122" y="90"/>
                </a:lnTo>
                <a:lnTo>
                  <a:pt x="129" y="83"/>
                </a:lnTo>
                <a:lnTo>
                  <a:pt x="133" y="75"/>
                </a:lnTo>
                <a:lnTo>
                  <a:pt x="138" y="66"/>
                </a:lnTo>
                <a:lnTo>
                  <a:pt x="141" y="57"/>
                </a:lnTo>
                <a:lnTo>
                  <a:pt x="143" y="48"/>
                </a:lnTo>
                <a:lnTo>
                  <a:pt x="144" y="38"/>
                </a:lnTo>
                <a:lnTo>
                  <a:pt x="144" y="38"/>
                </a:lnTo>
                <a:lnTo>
                  <a:pt x="138" y="35"/>
                </a:lnTo>
                <a:lnTo>
                  <a:pt x="133" y="31"/>
                </a:lnTo>
                <a:lnTo>
                  <a:pt x="130" y="25"/>
                </a:lnTo>
                <a:lnTo>
                  <a:pt x="129" y="18"/>
                </a:lnTo>
                <a:lnTo>
                  <a:pt x="129" y="18"/>
                </a:lnTo>
                <a:lnTo>
                  <a:pt x="129" y="14"/>
                </a:lnTo>
                <a:lnTo>
                  <a:pt x="130" y="12"/>
                </a:lnTo>
                <a:lnTo>
                  <a:pt x="134" y="5"/>
                </a:lnTo>
                <a:lnTo>
                  <a:pt x="141" y="1"/>
                </a:lnTo>
                <a:lnTo>
                  <a:pt x="144" y="0"/>
                </a:lnTo>
                <a:lnTo>
                  <a:pt x="148" y="0"/>
                </a:lnTo>
                <a:lnTo>
                  <a:pt x="148" y="0"/>
                </a:lnTo>
                <a:lnTo>
                  <a:pt x="151" y="0"/>
                </a:lnTo>
                <a:lnTo>
                  <a:pt x="155" y="1"/>
                </a:lnTo>
                <a:lnTo>
                  <a:pt x="161" y="5"/>
                </a:lnTo>
                <a:lnTo>
                  <a:pt x="165" y="12"/>
                </a:lnTo>
                <a:lnTo>
                  <a:pt x="167" y="14"/>
                </a:lnTo>
                <a:lnTo>
                  <a:pt x="167" y="18"/>
                </a:lnTo>
                <a:lnTo>
                  <a:pt x="167" y="18"/>
                </a:lnTo>
                <a:lnTo>
                  <a:pt x="167" y="23"/>
                </a:lnTo>
                <a:lnTo>
                  <a:pt x="164" y="29"/>
                </a:lnTo>
                <a:lnTo>
                  <a:pt x="161" y="32"/>
                </a:lnTo>
                <a:lnTo>
                  <a:pt x="157" y="35"/>
                </a:lnTo>
                <a:lnTo>
                  <a:pt x="157" y="35"/>
                </a:lnTo>
                <a:lnTo>
                  <a:pt x="156" y="49"/>
                </a:lnTo>
                <a:lnTo>
                  <a:pt x="154" y="62"/>
                </a:lnTo>
                <a:lnTo>
                  <a:pt x="148" y="75"/>
                </a:lnTo>
                <a:lnTo>
                  <a:pt x="143" y="87"/>
                </a:lnTo>
                <a:lnTo>
                  <a:pt x="135" y="96"/>
                </a:lnTo>
                <a:lnTo>
                  <a:pt x="128" y="105"/>
                </a:lnTo>
                <a:lnTo>
                  <a:pt x="118" y="112"/>
                </a:lnTo>
                <a:lnTo>
                  <a:pt x="109" y="116"/>
                </a:lnTo>
                <a:lnTo>
                  <a:pt x="109" y="126"/>
                </a:lnTo>
                <a:lnTo>
                  <a:pt x="99" y="126"/>
                </a:lnTo>
                <a:lnTo>
                  <a:pt x="99" y="165"/>
                </a:lnTo>
                <a:lnTo>
                  <a:pt x="99" y="165"/>
                </a:lnTo>
                <a:lnTo>
                  <a:pt x="98" y="172"/>
                </a:lnTo>
                <a:lnTo>
                  <a:pt x="96" y="177"/>
                </a:lnTo>
                <a:lnTo>
                  <a:pt x="94" y="181"/>
                </a:lnTo>
                <a:lnTo>
                  <a:pt x="90" y="186"/>
                </a:lnTo>
                <a:lnTo>
                  <a:pt x="86" y="188"/>
                </a:lnTo>
                <a:lnTo>
                  <a:pt x="81" y="191"/>
                </a:lnTo>
                <a:lnTo>
                  <a:pt x="76" y="194"/>
                </a:lnTo>
                <a:lnTo>
                  <a:pt x="70" y="194"/>
                </a:lnTo>
                <a:lnTo>
                  <a:pt x="68" y="194"/>
                </a:lnTo>
                <a:lnTo>
                  <a:pt x="68" y="194"/>
                </a:lnTo>
                <a:lnTo>
                  <a:pt x="39" y="194"/>
                </a:lnTo>
                <a:lnTo>
                  <a:pt x="39" y="194"/>
                </a:lnTo>
                <a:lnTo>
                  <a:pt x="34" y="195"/>
                </a:lnTo>
                <a:lnTo>
                  <a:pt x="29" y="196"/>
                </a:lnTo>
                <a:lnTo>
                  <a:pt x="25" y="198"/>
                </a:lnTo>
                <a:lnTo>
                  <a:pt x="20" y="201"/>
                </a:lnTo>
                <a:lnTo>
                  <a:pt x="16" y="204"/>
                </a:lnTo>
                <a:lnTo>
                  <a:pt x="13" y="208"/>
                </a:lnTo>
                <a:lnTo>
                  <a:pt x="11" y="213"/>
                </a:lnTo>
                <a:lnTo>
                  <a:pt x="11" y="218"/>
                </a:lnTo>
                <a:lnTo>
                  <a:pt x="11" y="226"/>
                </a:lnTo>
                <a:lnTo>
                  <a:pt x="11" y="226"/>
                </a:lnTo>
                <a:lnTo>
                  <a:pt x="11" y="231"/>
                </a:lnTo>
                <a:lnTo>
                  <a:pt x="13" y="235"/>
                </a:lnTo>
                <a:lnTo>
                  <a:pt x="16" y="240"/>
                </a:lnTo>
                <a:lnTo>
                  <a:pt x="20" y="243"/>
                </a:lnTo>
                <a:lnTo>
                  <a:pt x="25" y="247"/>
                </a:lnTo>
                <a:lnTo>
                  <a:pt x="29" y="248"/>
                </a:lnTo>
                <a:lnTo>
                  <a:pt x="34" y="250"/>
                </a:lnTo>
                <a:lnTo>
                  <a:pt x="39" y="251"/>
                </a:lnTo>
                <a:lnTo>
                  <a:pt x="208" y="251"/>
                </a:lnTo>
                <a:lnTo>
                  <a:pt x="215" y="251"/>
                </a:lnTo>
                <a:lnTo>
                  <a:pt x="215" y="251"/>
                </a:lnTo>
                <a:lnTo>
                  <a:pt x="220" y="250"/>
                </a:lnTo>
                <a:lnTo>
                  <a:pt x="225" y="248"/>
                </a:lnTo>
                <a:lnTo>
                  <a:pt x="229" y="247"/>
                </a:lnTo>
                <a:lnTo>
                  <a:pt x="234" y="243"/>
                </a:lnTo>
                <a:lnTo>
                  <a:pt x="238" y="240"/>
                </a:lnTo>
                <a:lnTo>
                  <a:pt x="241" y="235"/>
                </a:lnTo>
                <a:lnTo>
                  <a:pt x="243" y="231"/>
                </a:lnTo>
                <a:lnTo>
                  <a:pt x="243" y="226"/>
                </a:lnTo>
                <a:lnTo>
                  <a:pt x="243" y="179"/>
                </a:lnTo>
                <a:lnTo>
                  <a:pt x="243" y="179"/>
                </a:lnTo>
                <a:lnTo>
                  <a:pt x="243" y="174"/>
                </a:lnTo>
                <a:lnTo>
                  <a:pt x="242" y="172"/>
                </a:lnTo>
                <a:lnTo>
                  <a:pt x="239" y="168"/>
                </a:lnTo>
                <a:lnTo>
                  <a:pt x="237" y="165"/>
                </a:lnTo>
                <a:lnTo>
                  <a:pt x="229" y="160"/>
                </a:lnTo>
                <a:lnTo>
                  <a:pt x="220" y="157"/>
                </a:lnTo>
                <a:lnTo>
                  <a:pt x="220" y="157"/>
                </a:lnTo>
                <a:lnTo>
                  <a:pt x="221" y="157"/>
                </a:lnTo>
                <a:lnTo>
                  <a:pt x="219" y="157"/>
                </a:lnTo>
                <a:lnTo>
                  <a:pt x="219" y="157"/>
                </a:lnTo>
                <a:lnTo>
                  <a:pt x="220" y="157"/>
                </a:lnTo>
                <a:lnTo>
                  <a:pt x="220" y="157"/>
                </a:lnTo>
                <a:lnTo>
                  <a:pt x="215" y="159"/>
                </a:lnTo>
                <a:lnTo>
                  <a:pt x="209" y="160"/>
                </a:lnTo>
                <a:lnTo>
                  <a:pt x="202" y="165"/>
                </a:lnTo>
                <a:lnTo>
                  <a:pt x="198" y="169"/>
                </a:lnTo>
                <a:lnTo>
                  <a:pt x="195" y="173"/>
                </a:lnTo>
                <a:lnTo>
                  <a:pt x="193" y="177"/>
                </a:lnTo>
                <a:lnTo>
                  <a:pt x="193" y="182"/>
                </a:lnTo>
                <a:lnTo>
                  <a:pt x="193" y="199"/>
                </a:lnTo>
                <a:lnTo>
                  <a:pt x="191" y="199"/>
                </a:lnTo>
                <a:lnTo>
                  <a:pt x="191" y="199"/>
                </a:lnTo>
                <a:lnTo>
                  <a:pt x="190" y="207"/>
                </a:lnTo>
                <a:lnTo>
                  <a:pt x="187" y="213"/>
                </a:lnTo>
                <a:lnTo>
                  <a:pt x="183" y="218"/>
                </a:lnTo>
                <a:lnTo>
                  <a:pt x="178" y="221"/>
                </a:lnTo>
                <a:lnTo>
                  <a:pt x="173" y="224"/>
                </a:lnTo>
                <a:lnTo>
                  <a:pt x="168" y="224"/>
                </a:lnTo>
                <a:lnTo>
                  <a:pt x="164" y="225"/>
                </a:lnTo>
                <a:lnTo>
                  <a:pt x="141" y="225"/>
                </a:lnTo>
                <a:lnTo>
                  <a:pt x="137" y="225"/>
                </a:lnTo>
                <a:lnTo>
                  <a:pt x="137" y="225"/>
                </a:lnTo>
                <a:lnTo>
                  <a:pt x="130" y="225"/>
                </a:lnTo>
                <a:lnTo>
                  <a:pt x="125" y="222"/>
                </a:lnTo>
                <a:lnTo>
                  <a:pt x="121" y="220"/>
                </a:lnTo>
                <a:lnTo>
                  <a:pt x="117" y="217"/>
                </a:lnTo>
                <a:lnTo>
                  <a:pt x="113" y="212"/>
                </a:lnTo>
                <a:lnTo>
                  <a:pt x="111" y="208"/>
                </a:lnTo>
                <a:lnTo>
                  <a:pt x="109" y="203"/>
                </a:lnTo>
                <a:lnTo>
                  <a:pt x="108" y="196"/>
                </a:lnTo>
                <a:lnTo>
                  <a:pt x="108" y="194"/>
                </a:lnTo>
                <a:lnTo>
                  <a:pt x="108" y="164"/>
                </a:lnTo>
                <a:lnTo>
                  <a:pt x="108" y="159"/>
                </a:lnTo>
                <a:lnTo>
                  <a:pt x="108" y="159"/>
                </a:lnTo>
                <a:lnTo>
                  <a:pt x="109" y="153"/>
                </a:lnTo>
                <a:lnTo>
                  <a:pt x="111" y="148"/>
                </a:lnTo>
                <a:lnTo>
                  <a:pt x="113" y="144"/>
                </a:lnTo>
                <a:lnTo>
                  <a:pt x="116" y="140"/>
                </a:lnTo>
                <a:lnTo>
                  <a:pt x="120" y="136"/>
                </a:lnTo>
                <a:lnTo>
                  <a:pt x="124" y="134"/>
                </a:lnTo>
                <a:lnTo>
                  <a:pt x="129" y="133"/>
                </a:lnTo>
                <a:lnTo>
                  <a:pt x="134" y="131"/>
                </a:lnTo>
                <a:lnTo>
                  <a:pt x="134" y="131"/>
                </a:lnTo>
                <a:lnTo>
                  <a:pt x="173" y="131"/>
                </a:lnTo>
                <a:lnTo>
                  <a:pt x="173" y="131"/>
                </a:lnTo>
                <a:lnTo>
                  <a:pt x="178" y="130"/>
                </a:lnTo>
                <a:lnTo>
                  <a:pt x="183" y="129"/>
                </a:lnTo>
                <a:lnTo>
                  <a:pt x="187" y="127"/>
                </a:lnTo>
                <a:lnTo>
                  <a:pt x="193" y="123"/>
                </a:lnTo>
                <a:lnTo>
                  <a:pt x="196" y="121"/>
                </a:lnTo>
                <a:lnTo>
                  <a:pt x="199" y="116"/>
                </a:lnTo>
                <a:lnTo>
                  <a:pt x="202" y="112"/>
                </a:lnTo>
                <a:lnTo>
                  <a:pt x="202" y="107"/>
                </a:lnTo>
                <a:lnTo>
                  <a:pt x="202" y="107"/>
                </a:lnTo>
                <a:lnTo>
                  <a:pt x="202" y="107"/>
                </a:lnTo>
                <a:lnTo>
                  <a:pt x="195" y="104"/>
                </a:lnTo>
                <a:lnTo>
                  <a:pt x="189" y="101"/>
                </a:lnTo>
                <a:lnTo>
                  <a:pt x="182" y="97"/>
                </a:lnTo>
                <a:lnTo>
                  <a:pt x="177" y="92"/>
                </a:lnTo>
                <a:lnTo>
                  <a:pt x="173" y="86"/>
                </a:lnTo>
                <a:lnTo>
                  <a:pt x="169" y="79"/>
                </a:lnTo>
                <a:lnTo>
                  <a:pt x="168" y="73"/>
                </a:lnTo>
                <a:lnTo>
                  <a:pt x="167" y="65"/>
                </a:lnTo>
                <a:lnTo>
                  <a:pt x="167" y="65"/>
                </a:lnTo>
                <a:lnTo>
                  <a:pt x="168" y="56"/>
                </a:lnTo>
                <a:lnTo>
                  <a:pt x="170" y="48"/>
                </a:lnTo>
                <a:lnTo>
                  <a:pt x="174" y="40"/>
                </a:lnTo>
                <a:lnTo>
                  <a:pt x="180" y="35"/>
                </a:lnTo>
                <a:lnTo>
                  <a:pt x="186" y="30"/>
                </a:lnTo>
                <a:lnTo>
                  <a:pt x="193" y="26"/>
                </a:lnTo>
                <a:lnTo>
                  <a:pt x="202" y="23"/>
                </a:lnTo>
                <a:lnTo>
                  <a:pt x="209" y="22"/>
                </a:lnTo>
                <a:lnTo>
                  <a:pt x="209" y="22"/>
                </a:lnTo>
                <a:lnTo>
                  <a:pt x="219" y="23"/>
                </a:lnTo>
                <a:lnTo>
                  <a:pt x="226" y="26"/>
                </a:lnTo>
                <a:lnTo>
                  <a:pt x="233" y="30"/>
                </a:lnTo>
                <a:lnTo>
                  <a:pt x="239" y="35"/>
                </a:lnTo>
                <a:lnTo>
                  <a:pt x="245" y="40"/>
                </a:lnTo>
                <a:lnTo>
                  <a:pt x="248" y="48"/>
                </a:lnTo>
                <a:lnTo>
                  <a:pt x="251" y="56"/>
                </a:lnTo>
                <a:lnTo>
                  <a:pt x="252" y="65"/>
                </a:lnTo>
                <a:lnTo>
                  <a:pt x="252" y="65"/>
                </a:lnTo>
                <a:lnTo>
                  <a:pt x="251" y="73"/>
                </a:lnTo>
                <a:lnTo>
                  <a:pt x="250" y="81"/>
                </a:lnTo>
                <a:lnTo>
                  <a:pt x="246" y="87"/>
                </a:lnTo>
                <a:lnTo>
                  <a:pt x="241" y="94"/>
                </a:lnTo>
                <a:lnTo>
                  <a:pt x="235" y="99"/>
                </a:lnTo>
                <a:lnTo>
                  <a:pt x="228" y="103"/>
                </a:lnTo>
                <a:lnTo>
                  <a:pt x="221" y="105"/>
                </a:lnTo>
                <a:lnTo>
                  <a:pt x="213" y="107"/>
                </a:lnTo>
                <a:lnTo>
                  <a:pt x="213" y="113"/>
                </a:lnTo>
                <a:lnTo>
                  <a:pt x="213" y="113"/>
                </a:lnTo>
                <a:lnTo>
                  <a:pt x="212" y="120"/>
                </a:lnTo>
                <a:lnTo>
                  <a:pt x="211" y="125"/>
                </a:lnTo>
                <a:lnTo>
                  <a:pt x="208" y="129"/>
                </a:lnTo>
                <a:lnTo>
                  <a:pt x="204" y="134"/>
                </a:lnTo>
                <a:lnTo>
                  <a:pt x="200" y="136"/>
                </a:lnTo>
                <a:lnTo>
                  <a:pt x="195" y="139"/>
                </a:lnTo>
                <a:lnTo>
                  <a:pt x="190" y="140"/>
                </a:lnTo>
                <a:lnTo>
                  <a:pt x="185" y="142"/>
                </a:lnTo>
                <a:lnTo>
                  <a:pt x="183" y="142"/>
                </a:lnTo>
                <a:lnTo>
                  <a:pt x="183" y="142"/>
                </a:lnTo>
                <a:lnTo>
                  <a:pt x="148" y="142"/>
                </a:lnTo>
                <a:lnTo>
                  <a:pt x="148" y="142"/>
                </a:lnTo>
                <a:lnTo>
                  <a:pt x="143" y="143"/>
                </a:lnTo>
                <a:lnTo>
                  <a:pt x="138" y="144"/>
                </a:lnTo>
                <a:lnTo>
                  <a:pt x="133" y="146"/>
                </a:lnTo>
                <a:lnTo>
                  <a:pt x="129" y="149"/>
                </a:lnTo>
                <a:lnTo>
                  <a:pt x="125" y="152"/>
                </a:lnTo>
                <a:lnTo>
                  <a:pt x="122" y="156"/>
                </a:lnTo>
                <a:lnTo>
                  <a:pt x="120" y="161"/>
                </a:lnTo>
                <a:lnTo>
                  <a:pt x="120" y="166"/>
                </a:lnTo>
                <a:lnTo>
                  <a:pt x="120" y="190"/>
                </a:lnTo>
                <a:lnTo>
                  <a:pt x="120" y="190"/>
                </a:lnTo>
                <a:lnTo>
                  <a:pt x="120" y="195"/>
                </a:lnTo>
                <a:lnTo>
                  <a:pt x="122" y="199"/>
                </a:lnTo>
                <a:lnTo>
                  <a:pt x="125" y="204"/>
                </a:lnTo>
                <a:lnTo>
                  <a:pt x="129" y="207"/>
                </a:lnTo>
                <a:lnTo>
                  <a:pt x="133" y="211"/>
                </a:lnTo>
                <a:lnTo>
                  <a:pt x="138" y="212"/>
                </a:lnTo>
                <a:lnTo>
                  <a:pt x="143" y="213"/>
                </a:lnTo>
                <a:lnTo>
                  <a:pt x="148" y="214"/>
                </a:lnTo>
                <a:lnTo>
                  <a:pt x="152" y="214"/>
                </a:lnTo>
                <a:lnTo>
                  <a:pt x="152" y="214"/>
                </a:lnTo>
                <a:lnTo>
                  <a:pt x="157" y="213"/>
                </a:lnTo>
                <a:lnTo>
                  <a:pt x="163" y="212"/>
                </a:lnTo>
                <a:lnTo>
                  <a:pt x="167" y="211"/>
                </a:lnTo>
                <a:lnTo>
                  <a:pt x="172" y="207"/>
                </a:lnTo>
                <a:lnTo>
                  <a:pt x="176" y="204"/>
                </a:lnTo>
                <a:lnTo>
                  <a:pt x="178" y="199"/>
                </a:lnTo>
                <a:lnTo>
                  <a:pt x="181" y="195"/>
                </a:lnTo>
                <a:lnTo>
                  <a:pt x="181" y="190"/>
                </a:lnTo>
                <a:lnTo>
                  <a:pt x="181" y="185"/>
                </a:lnTo>
                <a:lnTo>
                  <a:pt x="181" y="185"/>
                </a:lnTo>
                <a:lnTo>
                  <a:pt x="181" y="174"/>
                </a:lnTo>
                <a:lnTo>
                  <a:pt x="181" y="174"/>
                </a:lnTo>
                <a:lnTo>
                  <a:pt x="182" y="169"/>
                </a:lnTo>
                <a:lnTo>
                  <a:pt x="183" y="164"/>
                </a:lnTo>
                <a:lnTo>
                  <a:pt x="186" y="159"/>
                </a:lnTo>
                <a:lnTo>
                  <a:pt x="190" y="155"/>
                </a:lnTo>
                <a:lnTo>
                  <a:pt x="194" y="152"/>
                </a:lnTo>
                <a:lnTo>
                  <a:pt x="199" y="149"/>
                </a:lnTo>
                <a:lnTo>
                  <a:pt x="204" y="147"/>
                </a:lnTo>
                <a:lnTo>
                  <a:pt x="209" y="147"/>
                </a:lnTo>
                <a:lnTo>
                  <a:pt x="219" y="147"/>
                </a:lnTo>
                <a:lnTo>
                  <a:pt x="219" y="147"/>
                </a:lnTo>
                <a:lnTo>
                  <a:pt x="226" y="147"/>
                </a:lnTo>
                <a:lnTo>
                  <a:pt x="226" y="147"/>
                </a:lnTo>
                <a:lnTo>
                  <a:pt x="232" y="147"/>
                </a:lnTo>
                <a:lnTo>
                  <a:pt x="237" y="148"/>
                </a:lnTo>
                <a:lnTo>
                  <a:pt x="242" y="151"/>
                </a:lnTo>
                <a:lnTo>
                  <a:pt x="246" y="153"/>
                </a:lnTo>
                <a:lnTo>
                  <a:pt x="250" y="157"/>
                </a:lnTo>
                <a:lnTo>
                  <a:pt x="252" y="161"/>
                </a:lnTo>
                <a:lnTo>
                  <a:pt x="254" y="166"/>
                </a:lnTo>
                <a:lnTo>
                  <a:pt x="255" y="172"/>
                </a:lnTo>
                <a:lnTo>
                  <a:pt x="255" y="175"/>
                </a:lnTo>
                <a:lnTo>
                  <a:pt x="255" y="230"/>
                </a:lnTo>
                <a:lnTo>
                  <a:pt x="255" y="233"/>
                </a:lnTo>
                <a:lnTo>
                  <a:pt x="255" y="233"/>
                </a:lnTo>
                <a:lnTo>
                  <a:pt x="254" y="239"/>
                </a:lnTo>
                <a:lnTo>
                  <a:pt x="252" y="244"/>
                </a:lnTo>
                <a:lnTo>
                  <a:pt x="250" y="248"/>
                </a:lnTo>
                <a:lnTo>
                  <a:pt x="246" y="253"/>
                </a:lnTo>
                <a:lnTo>
                  <a:pt x="242" y="256"/>
                </a:lnTo>
                <a:lnTo>
                  <a:pt x="237" y="259"/>
                </a:lnTo>
                <a:lnTo>
                  <a:pt x="232" y="261"/>
                </a:lnTo>
                <a:lnTo>
                  <a:pt x="226" y="261"/>
                </a:lnTo>
                <a:lnTo>
                  <a:pt x="226" y="261"/>
                </a:lnTo>
                <a:close/>
                <a:moveTo>
                  <a:pt x="209" y="92"/>
                </a:moveTo>
                <a:lnTo>
                  <a:pt x="209" y="92"/>
                </a:lnTo>
                <a:lnTo>
                  <a:pt x="215" y="92"/>
                </a:lnTo>
                <a:lnTo>
                  <a:pt x="220" y="90"/>
                </a:lnTo>
                <a:lnTo>
                  <a:pt x="225" y="87"/>
                </a:lnTo>
                <a:lnTo>
                  <a:pt x="229" y="84"/>
                </a:lnTo>
                <a:lnTo>
                  <a:pt x="233" y="81"/>
                </a:lnTo>
                <a:lnTo>
                  <a:pt x="235" y="75"/>
                </a:lnTo>
                <a:lnTo>
                  <a:pt x="237" y="70"/>
                </a:lnTo>
                <a:lnTo>
                  <a:pt x="237" y="65"/>
                </a:lnTo>
                <a:lnTo>
                  <a:pt x="237" y="65"/>
                </a:lnTo>
                <a:lnTo>
                  <a:pt x="237" y="58"/>
                </a:lnTo>
                <a:lnTo>
                  <a:pt x="235" y="53"/>
                </a:lnTo>
                <a:lnTo>
                  <a:pt x="233" y="49"/>
                </a:lnTo>
                <a:lnTo>
                  <a:pt x="229" y="45"/>
                </a:lnTo>
                <a:lnTo>
                  <a:pt x="225" y="42"/>
                </a:lnTo>
                <a:lnTo>
                  <a:pt x="220" y="39"/>
                </a:lnTo>
                <a:lnTo>
                  <a:pt x="215" y="38"/>
                </a:lnTo>
                <a:lnTo>
                  <a:pt x="209" y="36"/>
                </a:lnTo>
                <a:lnTo>
                  <a:pt x="209" y="36"/>
                </a:lnTo>
                <a:lnTo>
                  <a:pt x="204" y="38"/>
                </a:lnTo>
                <a:lnTo>
                  <a:pt x="199" y="39"/>
                </a:lnTo>
                <a:lnTo>
                  <a:pt x="194" y="42"/>
                </a:lnTo>
                <a:lnTo>
                  <a:pt x="190" y="45"/>
                </a:lnTo>
                <a:lnTo>
                  <a:pt x="186" y="49"/>
                </a:lnTo>
                <a:lnTo>
                  <a:pt x="183" y="53"/>
                </a:lnTo>
                <a:lnTo>
                  <a:pt x="182" y="58"/>
                </a:lnTo>
                <a:lnTo>
                  <a:pt x="182" y="65"/>
                </a:lnTo>
                <a:lnTo>
                  <a:pt x="182" y="65"/>
                </a:lnTo>
                <a:lnTo>
                  <a:pt x="182" y="70"/>
                </a:lnTo>
                <a:lnTo>
                  <a:pt x="183" y="75"/>
                </a:lnTo>
                <a:lnTo>
                  <a:pt x="186" y="81"/>
                </a:lnTo>
                <a:lnTo>
                  <a:pt x="190" y="84"/>
                </a:lnTo>
                <a:lnTo>
                  <a:pt x="194" y="87"/>
                </a:lnTo>
                <a:lnTo>
                  <a:pt x="199" y="90"/>
                </a:lnTo>
                <a:lnTo>
                  <a:pt x="204" y="92"/>
                </a:lnTo>
                <a:lnTo>
                  <a:pt x="209" y="92"/>
                </a:lnTo>
                <a:lnTo>
                  <a:pt x="209" y="92"/>
                </a:lnTo>
                <a:close/>
                <a:moveTo>
                  <a:pt x="209" y="47"/>
                </a:moveTo>
                <a:lnTo>
                  <a:pt x="209" y="47"/>
                </a:lnTo>
                <a:lnTo>
                  <a:pt x="216" y="48"/>
                </a:lnTo>
                <a:lnTo>
                  <a:pt x="221" y="52"/>
                </a:lnTo>
                <a:lnTo>
                  <a:pt x="225" y="57"/>
                </a:lnTo>
                <a:lnTo>
                  <a:pt x="226" y="64"/>
                </a:lnTo>
                <a:lnTo>
                  <a:pt x="226" y="64"/>
                </a:lnTo>
                <a:lnTo>
                  <a:pt x="225" y="70"/>
                </a:lnTo>
                <a:lnTo>
                  <a:pt x="221" y="75"/>
                </a:lnTo>
                <a:lnTo>
                  <a:pt x="216" y="79"/>
                </a:lnTo>
                <a:lnTo>
                  <a:pt x="209" y="81"/>
                </a:lnTo>
                <a:lnTo>
                  <a:pt x="209" y="81"/>
                </a:lnTo>
                <a:lnTo>
                  <a:pt x="203" y="79"/>
                </a:lnTo>
                <a:lnTo>
                  <a:pt x="198" y="75"/>
                </a:lnTo>
                <a:lnTo>
                  <a:pt x="194" y="70"/>
                </a:lnTo>
                <a:lnTo>
                  <a:pt x="193" y="64"/>
                </a:lnTo>
                <a:lnTo>
                  <a:pt x="193" y="64"/>
                </a:lnTo>
                <a:lnTo>
                  <a:pt x="194" y="57"/>
                </a:lnTo>
                <a:lnTo>
                  <a:pt x="198" y="52"/>
                </a:lnTo>
                <a:lnTo>
                  <a:pt x="203" y="48"/>
                </a:lnTo>
                <a:lnTo>
                  <a:pt x="209" y="47"/>
                </a:lnTo>
                <a:lnTo>
                  <a:pt x="209" y="47"/>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0" name="矩形 209"/>
          <p:cNvSpPr/>
          <p:nvPr/>
        </p:nvSpPr>
        <p:spPr bwMode="auto">
          <a:xfrm>
            <a:off x="3571354" y="1311106"/>
            <a:ext cx="1321925" cy="305555"/>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Lst>
        </p:spPr>
        <p:txBody>
          <a:bodyPr lIns="17993" tIns="0" rIns="17993"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ea"/>
                <a:sym typeface="+mn-lt"/>
              </a:rPr>
              <a:t>包装</a:t>
            </a:r>
            <a:endParaRPr kumimoji="0" lang="en-US" altLang="zh-CN" sz="18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ea"/>
              <a:sym typeface="+mn-lt"/>
            </a:endParaRPr>
          </a:p>
        </p:txBody>
      </p:sp>
      <p:sp>
        <p:nvSpPr>
          <p:cNvPr id="211" name="矩形 210"/>
          <p:cNvSpPr/>
          <p:nvPr/>
        </p:nvSpPr>
        <p:spPr bwMode="auto">
          <a:xfrm>
            <a:off x="5457050" y="1311106"/>
            <a:ext cx="1321925" cy="305555"/>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Lst>
        </p:spPr>
        <p:txBody>
          <a:bodyPr lIns="17993" tIns="0" rIns="17993"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ea"/>
                <a:sym typeface="+mn-lt"/>
              </a:rPr>
              <a:t>仓储</a:t>
            </a:r>
            <a:endParaRPr kumimoji="0" lang="en-US" altLang="zh-CN" sz="18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ea"/>
              <a:sym typeface="+mn-lt"/>
            </a:endParaRPr>
          </a:p>
        </p:txBody>
      </p:sp>
      <p:sp>
        <p:nvSpPr>
          <p:cNvPr id="212" name="矩形 211"/>
          <p:cNvSpPr/>
          <p:nvPr/>
        </p:nvSpPr>
        <p:spPr bwMode="auto">
          <a:xfrm>
            <a:off x="7164212" y="1311106"/>
            <a:ext cx="1321925" cy="305555"/>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Lst>
        </p:spPr>
        <p:txBody>
          <a:bodyPr lIns="17993" tIns="0" rIns="17993"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ea"/>
                <a:sym typeface="+mn-lt"/>
              </a:rPr>
              <a:t>运输</a:t>
            </a:r>
            <a:endParaRPr kumimoji="0" lang="en-US" altLang="zh-CN" sz="18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ea"/>
              <a:sym typeface="+mn-lt"/>
            </a:endParaRPr>
          </a:p>
        </p:txBody>
      </p:sp>
      <p:sp>
        <p:nvSpPr>
          <p:cNvPr id="214" name="矩形 213"/>
          <p:cNvSpPr/>
          <p:nvPr/>
        </p:nvSpPr>
        <p:spPr bwMode="auto">
          <a:xfrm>
            <a:off x="1748410" y="1311106"/>
            <a:ext cx="1321925" cy="305555"/>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Lst>
        </p:spPr>
        <p:txBody>
          <a:bodyPr lIns="17993" tIns="0" rIns="17993"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ea"/>
                <a:sym typeface="+mn-lt"/>
              </a:rPr>
              <a:t>加</a:t>
            </a:r>
            <a:r>
              <a:rPr kumimoji="0" lang="zh-CN" altLang="en-US" sz="18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ea"/>
                <a:sym typeface="+mn-lt"/>
              </a:rPr>
              <a:t>工</a:t>
            </a:r>
            <a:endParaRPr kumimoji="0" lang="en-US" altLang="zh-CN" sz="1800" b="1" i="0" u="none" strike="noStrike" kern="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ea"/>
              <a:sym typeface="+mn-lt"/>
            </a:endParaRPr>
          </a:p>
        </p:txBody>
      </p:sp>
      <p:sp>
        <p:nvSpPr>
          <p:cNvPr id="217" name="Freeform 83"/>
          <p:cNvSpPr>
            <a:spLocks noEditPoints="1"/>
          </p:cNvSpPr>
          <p:nvPr/>
        </p:nvSpPr>
        <p:spPr bwMode="auto">
          <a:xfrm>
            <a:off x="7568797" y="866274"/>
            <a:ext cx="478227" cy="435673"/>
          </a:xfrm>
          <a:custGeom>
            <a:avLst/>
            <a:gdLst/>
            <a:ahLst/>
            <a:cxnLst>
              <a:cxn ang="0">
                <a:pos x="64" y="10"/>
              </a:cxn>
              <a:cxn ang="0">
                <a:pos x="74" y="43"/>
              </a:cxn>
              <a:cxn ang="0">
                <a:pos x="65" y="37"/>
              </a:cxn>
              <a:cxn ang="0">
                <a:pos x="38" y="9"/>
              </a:cxn>
              <a:cxn ang="0">
                <a:pos x="10" y="37"/>
              </a:cxn>
              <a:cxn ang="0">
                <a:pos x="20" y="57"/>
              </a:cxn>
              <a:cxn ang="0">
                <a:pos x="11" y="63"/>
              </a:cxn>
              <a:cxn ang="0">
                <a:pos x="11" y="10"/>
              </a:cxn>
              <a:cxn ang="0">
                <a:pos x="98" y="71"/>
              </a:cxn>
              <a:cxn ang="0">
                <a:pos x="80" y="58"/>
              </a:cxn>
              <a:cxn ang="0">
                <a:pos x="78" y="57"/>
              </a:cxn>
              <a:cxn ang="0">
                <a:pos x="64" y="53"/>
              </a:cxn>
              <a:cxn ang="0">
                <a:pos x="27" y="59"/>
              </a:cxn>
              <a:cxn ang="0">
                <a:pos x="29" y="85"/>
              </a:cxn>
              <a:cxn ang="0">
                <a:pos x="34" y="89"/>
              </a:cxn>
              <a:cxn ang="0">
                <a:pos x="48" y="89"/>
              </a:cxn>
              <a:cxn ang="0">
                <a:pos x="76" y="85"/>
              </a:cxn>
              <a:cxn ang="0">
                <a:pos x="85" y="91"/>
              </a:cxn>
              <a:cxn ang="0">
                <a:pos x="94" y="85"/>
              </a:cxn>
              <a:cxn ang="0">
                <a:pos x="98" y="85"/>
              </a:cxn>
              <a:cxn ang="0">
                <a:pos x="100" y="78"/>
              </a:cxn>
              <a:cxn ang="0">
                <a:pos x="98" y="71"/>
              </a:cxn>
              <a:cxn ang="0">
                <a:pos x="41" y="77"/>
              </a:cxn>
              <a:cxn ang="0">
                <a:pos x="46" y="82"/>
              </a:cxn>
              <a:cxn ang="0">
                <a:pos x="41" y="87"/>
              </a:cxn>
              <a:cxn ang="0">
                <a:pos x="36" y="82"/>
              </a:cxn>
              <a:cxn ang="0">
                <a:pos x="81" y="78"/>
              </a:cxn>
              <a:cxn ang="0">
                <a:pos x="88" y="78"/>
              </a:cxn>
              <a:cxn ang="0">
                <a:pos x="88" y="85"/>
              </a:cxn>
              <a:cxn ang="0">
                <a:pos x="81" y="85"/>
              </a:cxn>
              <a:cxn ang="0">
                <a:pos x="81" y="78"/>
              </a:cxn>
              <a:cxn ang="0">
                <a:pos x="77" y="61"/>
              </a:cxn>
              <a:cxn ang="0">
                <a:pos x="65" y="68"/>
              </a:cxn>
              <a:cxn ang="0">
                <a:pos x="22" y="27"/>
              </a:cxn>
              <a:cxn ang="0">
                <a:pos x="33" y="40"/>
              </a:cxn>
              <a:cxn ang="0">
                <a:pos x="33" y="45"/>
              </a:cxn>
              <a:cxn ang="0">
                <a:pos x="40" y="45"/>
              </a:cxn>
              <a:cxn ang="0">
                <a:pos x="44" y="49"/>
              </a:cxn>
              <a:cxn ang="0">
                <a:pos x="43" y="43"/>
              </a:cxn>
              <a:cxn ang="0">
                <a:pos x="43" y="37"/>
              </a:cxn>
              <a:cxn ang="0">
                <a:pos x="42" y="24"/>
              </a:cxn>
              <a:cxn ang="0">
                <a:pos x="36" y="35"/>
              </a:cxn>
              <a:cxn ang="0">
                <a:pos x="22" y="27"/>
              </a:cxn>
            </a:cxnLst>
            <a:rect l="0" t="0" r="r" b="b"/>
            <a:pathLst>
              <a:path w="100" h="91">
                <a:moveTo>
                  <a:pt x="38" y="0"/>
                </a:moveTo>
                <a:cubicBezTo>
                  <a:pt x="48" y="0"/>
                  <a:pt x="57" y="4"/>
                  <a:pt x="64" y="10"/>
                </a:cubicBezTo>
                <a:cubicBezTo>
                  <a:pt x="70" y="17"/>
                  <a:pt x="75" y="26"/>
                  <a:pt x="75" y="37"/>
                </a:cubicBezTo>
                <a:cubicBezTo>
                  <a:pt x="75" y="39"/>
                  <a:pt x="74" y="41"/>
                  <a:pt x="74" y="43"/>
                </a:cubicBezTo>
                <a:cubicBezTo>
                  <a:pt x="64" y="43"/>
                  <a:pt x="64" y="43"/>
                  <a:pt x="64" y="43"/>
                </a:cubicBezTo>
                <a:cubicBezTo>
                  <a:pt x="65" y="41"/>
                  <a:pt x="65" y="39"/>
                  <a:pt x="65" y="37"/>
                </a:cubicBezTo>
                <a:cubicBezTo>
                  <a:pt x="65" y="29"/>
                  <a:pt x="62" y="22"/>
                  <a:pt x="57" y="17"/>
                </a:cubicBezTo>
                <a:cubicBezTo>
                  <a:pt x="52" y="12"/>
                  <a:pt x="45" y="9"/>
                  <a:pt x="38" y="9"/>
                </a:cubicBezTo>
                <a:cubicBezTo>
                  <a:pt x="30" y="9"/>
                  <a:pt x="23" y="12"/>
                  <a:pt x="18" y="17"/>
                </a:cubicBezTo>
                <a:cubicBezTo>
                  <a:pt x="13" y="22"/>
                  <a:pt x="10" y="29"/>
                  <a:pt x="10" y="37"/>
                </a:cubicBezTo>
                <a:cubicBezTo>
                  <a:pt x="10" y="44"/>
                  <a:pt x="13" y="51"/>
                  <a:pt x="18" y="56"/>
                </a:cubicBezTo>
                <a:cubicBezTo>
                  <a:pt x="19" y="56"/>
                  <a:pt x="19" y="57"/>
                  <a:pt x="20" y="57"/>
                </a:cubicBezTo>
                <a:cubicBezTo>
                  <a:pt x="20" y="69"/>
                  <a:pt x="20" y="69"/>
                  <a:pt x="20" y="69"/>
                </a:cubicBezTo>
                <a:cubicBezTo>
                  <a:pt x="17" y="67"/>
                  <a:pt x="14" y="65"/>
                  <a:pt x="11" y="63"/>
                </a:cubicBezTo>
                <a:cubicBezTo>
                  <a:pt x="5" y="56"/>
                  <a:pt x="0" y="47"/>
                  <a:pt x="0" y="37"/>
                </a:cubicBezTo>
                <a:cubicBezTo>
                  <a:pt x="0" y="26"/>
                  <a:pt x="5" y="17"/>
                  <a:pt x="11" y="10"/>
                </a:cubicBezTo>
                <a:cubicBezTo>
                  <a:pt x="18" y="4"/>
                  <a:pt x="27" y="0"/>
                  <a:pt x="38" y="0"/>
                </a:cubicBezTo>
                <a:close/>
                <a:moveTo>
                  <a:pt x="98" y="71"/>
                </a:moveTo>
                <a:cubicBezTo>
                  <a:pt x="85" y="68"/>
                  <a:pt x="85" y="68"/>
                  <a:pt x="85" y="68"/>
                </a:cubicBezTo>
                <a:cubicBezTo>
                  <a:pt x="80" y="58"/>
                  <a:pt x="80" y="58"/>
                  <a:pt x="80" y="58"/>
                </a:cubicBezTo>
                <a:cubicBezTo>
                  <a:pt x="79" y="57"/>
                  <a:pt x="79" y="57"/>
                  <a:pt x="79" y="57"/>
                </a:cubicBezTo>
                <a:cubicBezTo>
                  <a:pt x="78" y="57"/>
                  <a:pt x="78" y="57"/>
                  <a:pt x="78" y="57"/>
                </a:cubicBezTo>
                <a:cubicBezTo>
                  <a:pt x="67" y="57"/>
                  <a:pt x="67" y="57"/>
                  <a:pt x="67" y="57"/>
                </a:cubicBezTo>
                <a:cubicBezTo>
                  <a:pt x="64" y="53"/>
                  <a:pt x="64" y="53"/>
                  <a:pt x="64" y="53"/>
                </a:cubicBezTo>
                <a:cubicBezTo>
                  <a:pt x="32" y="53"/>
                  <a:pt x="32" y="53"/>
                  <a:pt x="32" y="53"/>
                </a:cubicBezTo>
                <a:cubicBezTo>
                  <a:pt x="27" y="59"/>
                  <a:pt x="27" y="59"/>
                  <a:pt x="27" y="59"/>
                </a:cubicBezTo>
                <a:cubicBezTo>
                  <a:pt x="27" y="85"/>
                  <a:pt x="27" y="85"/>
                  <a:pt x="27" y="85"/>
                </a:cubicBezTo>
                <a:cubicBezTo>
                  <a:pt x="29" y="85"/>
                  <a:pt x="29" y="85"/>
                  <a:pt x="29" y="85"/>
                </a:cubicBezTo>
                <a:cubicBezTo>
                  <a:pt x="32" y="85"/>
                  <a:pt x="32" y="85"/>
                  <a:pt x="32" y="85"/>
                </a:cubicBezTo>
                <a:cubicBezTo>
                  <a:pt x="32" y="86"/>
                  <a:pt x="33" y="87"/>
                  <a:pt x="34" y="89"/>
                </a:cubicBezTo>
                <a:cubicBezTo>
                  <a:pt x="36" y="90"/>
                  <a:pt x="38" y="91"/>
                  <a:pt x="41" y="91"/>
                </a:cubicBezTo>
                <a:cubicBezTo>
                  <a:pt x="43" y="91"/>
                  <a:pt x="46" y="90"/>
                  <a:pt x="48" y="89"/>
                </a:cubicBezTo>
                <a:cubicBezTo>
                  <a:pt x="49" y="87"/>
                  <a:pt x="50" y="86"/>
                  <a:pt x="50" y="85"/>
                </a:cubicBezTo>
                <a:cubicBezTo>
                  <a:pt x="58" y="85"/>
                  <a:pt x="67" y="85"/>
                  <a:pt x="76" y="85"/>
                </a:cubicBezTo>
                <a:cubicBezTo>
                  <a:pt x="76" y="86"/>
                  <a:pt x="77" y="87"/>
                  <a:pt x="78" y="89"/>
                </a:cubicBezTo>
                <a:cubicBezTo>
                  <a:pt x="80" y="90"/>
                  <a:pt x="82" y="91"/>
                  <a:pt x="85" y="91"/>
                </a:cubicBezTo>
                <a:cubicBezTo>
                  <a:pt x="88" y="91"/>
                  <a:pt x="90" y="90"/>
                  <a:pt x="92" y="89"/>
                </a:cubicBezTo>
                <a:cubicBezTo>
                  <a:pt x="93" y="87"/>
                  <a:pt x="94" y="86"/>
                  <a:pt x="94" y="85"/>
                </a:cubicBezTo>
                <a:cubicBezTo>
                  <a:pt x="95" y="85"/>
                  <a:pt x="96" y="85"/>
                  <a:pt x="97" y="85"/>
                </a:cubicBezTo>
                <a:cubicBezTo>
                  <a:pt x="98" y="85"/>
                  <a:pt x="98" y="85"/>
                  <a:pt x="98" y="85"/>
                </a:cubicBezTo>
                <a:cubicBezTo>
                  <a:pt x="100" y="85"/>
                  <a:pt x="100" y="85"/>
                  <a:pt x="100" y="85"/>
                </a:cubicBezTo>
                <a:cubicBezTo>
                  <a:pt x="100" y="78"/>
                  <a:pt x="100" y="78"/>
                  <a:pt x="100" y="78"/>
                </a:cubicBezTo>
                <a:cubicBezTo>
                  <a:pt x="98" y="78"/>
                  <a:pt x="98" y="78"/>
                  <a:pt x="98" y="78"/>
                </a:cubicBezTo>
                <a:cubicBezTo>
                  <a:pt x="98" y="71"/>
                  <a:pt x="98" y="71"/>
                  <a:pt x="98" y="71"/>
                </a:cubicBezTo>
                <a:close/>
                <a:moveTo>
                  <a:pt x="37" y="78"/>
                </a:moveTo>
                <a:cubicBezTo>
                  <a:pt x="38" y="77"/>
                  <a:pt x="39" y="77"/>
                  <a:pt x="41" y="77"/>
                </a:cubicBezTo>
                <a:cubicBezTo>
                  <a:pt x="42" y="77"/>
                  <a:pt x="43" y="77"/>
                  <a:pt x="44" y="78"/>
                </a:cubicBezTo>
                <a:cubicBezTo>
                  <a:pt x="45" y="79"/>
                  <a:pt x="46" y="80"/>
                  <a:pt x="46" y="82"/>
                </a:cubicBezTo>
                <a:cubicBezTo>
                  <a:pt x="46" y="83"/>
                  <a:pt x="45" y="84"/>
                  <a:pt x="44" y="85"/>
                </a:cubicBezTo>
                <a:cubicBezTo>
                  <a:pt x="43" y="86"/>
                  <a:pt x="42" y="87"/>
                  <a:pt x="41" y="87"/>
                </a:cubicBezTo>
                <a:cubicBezTo>
                  <a:pt x="39" y="87"/>
                  <a:pt x="38" y="86"/>
                  <a:pt x="37" y="85"/>
                </a:cubicBezTo>
                <a:cubicBezTo>
                  <a:pt x="36" y="84"/>
                  <a:pt x="36" y="83"/>
                  <a:pt x="36" y="82"/>
                </a:cubicBezTo>
                <a:cubicBezTo>
                  <a:pt x="36" y="80"/>
                  <a:pt x="36" y="79"/>
                  <a:pt x="37" y="78"/>
                </a:cubicBezTo>
                <a:close/>
                <a:moveTo>
                  <a:pt x="81" y="78"/>
                </a:moveTo>
                <a:cubicBezTo>
                  <a:pt x="82" y="77"/>
                  <a:pt x="84" y="77"/>
                  <a:pt x="85" y="77"/>
                </a:cubicBezTo>
                <a:cubicBezTo>
                  <a:pt x="86" y="77"/>
                  <a:pt x="87" y="77"/>
                  <a:pt x="88" y="78"/>
                </a:cubicBezTo>
                <a:cubicBezTo>
                  <a:pt x="89" y="79"/>
                  <a:pt x="90" y="80"/>
                  <a:pt x="90" y="82"/>
                </a:cubicBezTo>
                <a:cubicBezTo>
                  <a:pt x="90" y="83"/>
                  <a:pt x="89" y="84"/>
                  <a:pt x="88" y="85"/>
                </a:cubicBezTo>
                <a:cubicBezTo>
                  <a:pt x="87" y="86"/>
                  <a:pt x="86" y="87"/>
                  <a:pt x="85" y="87"/>
                </a:cubicBezTo>
                <a:cubicBezTo>
                  <a:pt x="84" y="87"/>
                  <a:pt x="82" y="86"/>
                  <a:pt x="81" y="85"/>
                </a:cubicBezTo>
                <a:cubicBezTo>
                  <a:pt x="81" y="84"/>
                  <a:pt x="80" y="83"/>
                  <a:pt x="80" y="82"/>
                </a:cubicBezTo>
                <a:cubicBezTo>
                  <a:pt x="80" y="80"/>
                  <a:pt x="81" y="79"/>
                  <a:pt x="81" y="78"/>
                </a:cubicBezTo>
                <a:close/>
                <a:moveTo>
                  <a:pt x="80" y="68"/>
                </a:moveTo>
                <a:cubicBezTo>
                  <a:pt x="77" y="61"/>
                  <a:pt x="77" y="61"/>
                  <a:pt x="77" y="61"/>
                </a:cubicBezTo>
                <a:cubicBezTo>
                  <a:pt x="65" y="61"/>
                  <a:pt x="65" y="61"/>
                  <a:pt x="65" y="61"/>
                </a:cubicBezTo>
                <a:cubicBezTo>
                  <a:pt x="65" y="68"/>
                  <a:pt x="65" y="68"/>
                  <a:pt x="65" y="68"/>
                </a:cubicBezTo>
                <a:cubicBezTo>
                  <a:pt x="80" y="68"/>
                  <a:pt x="80" y="68"/>
                  <a:pt x="80" y="68"/>
                </a:cubicBezTo>
                <a:close/>
                <a:moveTo>
                  <a:pt x="22" y="27"/>
                </a:moveTo>
                <a:cubicBezTo>
                  <a:pt x="34" y="38"/>
                  <a:pt x="34" y="38"/>
                  <a:pt x="34" y="38"/>
                </a:cubicBezTo>
                <a:cubicBezTo>
                  <a:pt x="34" y="39"/>
                  <a:pt x="33" y="39"/>
                  <a:pt x="33" y="40"/>
                </a:cubicBezTo>
                <a:cubicBezTo>
                  <a:pt x="33" y="41"/>
                  <a:pt x="34" y="42"/>
                  <a:pt x="34" y="43"/>
                </a:cubicBezTo>
                <a:cubicBezTo>
                  <a:pt x="33" y="45"/>
                  <a:pt x="33" y="45"/>
                  <a:pt x="33" y="45"/>
                </a:cubicBezTo>
                <a:cubicBezTo>
                  <a:pt x="39" y="47"/>
                  <a:pt x="39" y="47"/>
                  <a:pt x="39" y="47"/>
                </a:cubicBezTo>
                <a:cubicBezTo>
                  <a:pt x="40" y="45"/>
                  <a:pt x="40" y="45"/>
                  <a:pt x="40" y="45"/>
                </a:cubicBezTo>
                <a:cubicBezTo>
                  <a:pt x="40" y="45"/>
                  <a:pt x="40" y="45"/>
                  <a:pt x="41" y="45"/>
                </a:cubicBezTo>
                <a:cubicBezTo>
                  <a:pt x="44" y="49"/>
                  <a:pt x="44" y="49"/>
                  <a:pt x="44" y="49"/>
                </a:cubicBezTo>
                <a:cubicBezTo>
                  <a:pt x="47" y="46"/>
                  <a:pt x="47" y="46"/>
                  <a:pt x="47" y="46"/>
                </a:cubicBezTo>
                <a:cubicBezTo>
                  <a:pt x="43" y="43"/>
                  <a:pt x="43" y="43"/>
                  <a:pt x="43" y="43"/>
                </a:cubicBezTo>
                <a:cubicBezTo>
                  <a:pt x="44" y="42"/>
                  <a:pt x="44" y="41"/>
                  <a:pt x="44" y="40"/>
                </a:cubicBezTo>
                <a:cubicBezTo>
                  <a:pt x="44" y="39"/>
                  <a:pt x="44" y="38"/>
                  <a:pt x="43" y="37"/>
                </a:cubicBezTo>
                <a:cubicBezTo>
                  <a:pt x="48" y="26"/>
                  <a:pt x="48" y="26"/>
                  <a:pt x="48" y="26"/>
                </a:cubicBezTo>
                <a:cubicBezTo>
                  <a:pt x="42" y="24"/>
                  <a:pt x="42" y="24"/>
                  <a:pt x="42" y="24"/>
                </a:cubicBezTo>
                <a:cubicBezTo>
                  <a:pt x="38" y="35"/>
                  <a:pt x="38" y="35"/>
                  <a:pt x="38" y="35"/>
                </a:cubicBezTo>
                <a:cubicBezTo>
                  <a:pt x="37" y="35"/>
                  <a:pt x="37" y="35"/>
                  <a:pt x="36" y="35"/>
                </a:cubicBezTo>
                <a:cubicBezTo>
                  <a:pt x="25" y="24"/>
                  <a:pt x="25" y="24"/>
                  <a:pt x="25" y="24"/>
                </a:cubicBezTo>
                <a:lnTo>
                  <a:pt x="22" y="27"/>
                </a:lnTo>
                <a:close/>
              </a:path>
            </a:pathLst>
          </a:custGeom>
          <a:solidFill>
            <a:schemeClr val="accent1"/>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nvGrpSpPr>
          <p:cNvPr id="219" name="Group 89"/>
          <p:cNvGrpSpPr/>
          <p:nvPr/>
        </p:nvGrpSpPr>
        <p:grpSpPr>
          <a:xfrm>
            <a:off x="2127001" y="958178"/>
            <a:ext cx="518584" cy="300442"/>
            <a:chOff x="2462213" y="1981201"/>
            <a:chExt cx="4981575" cy="2886075"/>
          </a:xfrm>
          <a:solidFill>
            <a:schemeClr val="accent1"/>
          </a:solidFill>
        </p:grpSpPr>
        <p:sp>
          <p:nvSpPr>
            <p:cNvPr id="220" name="Freeform 12"/>
            <p:cNvSpPr>
              <a:spLocks noEditPoints="1"/>
            </p:cNvSpPr>
            <p:nvPr/>
          </p:nvSpPr>
          <p:spPr bwMode="auto">
            <a:xfrm>
              <a:off x="2462213" y="3576638"/>
              <a:ext cx="4981575" cy="1290638"/>
            </a:xfrm>
            <a:custGeom>
              <a:avLst/>
              <a:gdLst>
                <a:gd name="T0" fmla="*/ 746 w 6276"/>
                <a:gd name="T1" fmla="*/ 390 h 1628"/>
                <a:gd name="T2" fmla="*/ 618 w 6276"/>
                <a:gd name="T3" fmla="*/ 431 h 1628"/>
                <a:gd name="T4" fmla="*/ 512 w 6276"/>
                <a:gd name="T5" fmla="*/ 509 h 1628"/>
                <a:gd name="T6" fmla="*/ 434 w 6276"/>
                <a:gd name="T7" fmla="*/ 616 h 1628"/>
                <a:gd name="T8" fmla="*/ 390 w 6276"/>
                <a:gd name="T9" fmla="*/ 745 h 1628"/>
                <a:gd name="T10" fmla="*/ 390 w 6276"/>
                <a:gd name="T11" fmla="*/ 883 h 1628"/>
                <a:gd name="T12" fmla="*/ 434 w 6276"/>
                <a:gd name="T13" fmla="*/ 1013 h 1628"/>
                <a:gd name="T14" fmla="*/ 512 w 6276"/>
                <a:gd name="T15" fmla="*/ 1119 h 1628"/>
                <a:gd name="T16" fmla="*/ 618 w 6276"/>
                <a:gd name="T17" fmla="*/ 1197 h 1628"/>
                <a:gd name="T18" fmla="*/ 746 w 6276"/>
                <a:gd name="T19" fmla="*/ 1239 h 1628"/>
                <a:gd name="T20" fmla="*/ 5460 w 6276"/>
                <a:gd name="T21" fmla="*/ 1244 h 1628"/>
                <a:gd name="T22" fmla="*/ 5597 w 6276"/>
                <a:gd name="T23" fmla="*/ 1221 h 1628"/>
                <a:gd name="T24" fmla="*/ 5715 w 6276"/>
                <a:gd name="T25" fmla="*/ 1161 h 1628"/>
                <a:gd name="T26" fmla="*/ 5808 w 6276"/>
                <a:gd name="T27" fmla="*/ 1068 h 1628"/>
                <a:gd name="T28" fmla="*/ 5869 w 6276"/>
                <a:gd name="T29" fmla="*/ 950 h 1628"/>
                <a:gd name="T30" fmla="*/ 5892 w 6276"/>
                <a:gd name="T31" fmla="*/ 815 h 1628"/>
                <a:gd name="T32" fmla="*/ 5869 w 6276"/>
                <a:gd name="T33" fmla="*/ 678 h 1628"/>
                <a:gd name="T34" fmla="*/ 5808 w 6276"/>
                <a:gd name="T35" fmla="*/ 560 h 1628"/>
                <a:gd name="T36" fmla="*/ 5715 w 6276"/>
                <a:gd name="T37" fmla="*/ 467 h 1628"/>
                <a:gd name="T38" fmla="*/ 5597 w 6276"/>
                <a:gd name="T39" fmla="*/ 407 h 1628"/>
                <a:gd name="T40" fmla="*/ 5460 w 6276"/>
                <a:gd name="T41" fmla="*/ 384 h 1628"/>
                <a:gd name="T42" fmla="*/ 816 w 6276"/>
                <a:gd name="T43" fmla="*/ 0 h 1628"/>
                <a:gd name="T44" fmla="*/ 5555 w 6276"/>
                <a:gd name="T45" fmla="*/ 4 h 1628"/>
                <a:gd name="T46" fmla="*/ 5736 w 6276"/>
                <a:gd name="T47" fmla="*/ 48 h 1628"/>
                <a:gd name="T48" fmla="*/ 5898 w 6276"/>
                <a:gd name="T49" fmla="*/ 126 h 1628"/>
                <a:gd name="T50" fmla="*/ 6036 w 6276"/>
                <a:gd name="T51" fmla="*/ 238 h 1628"/>
                <a:gd name="T52" fmla="*/ 6149 w 6276"/>
                <a:gd name="T53" fmla="*/ 378 h 1628"/>
                <a:gd name="T54" fmla="*/ 6228 w 6276"/>
                <a:gd name="T55" fmla="*/ 540 h 1628"/>
                <a:gd name="T56" fmla="*/ 6270 w 6276"/>
                <a:gd name="T57" fmla="*/ 720 h 1628"/>
                <a:gd name="T58" fmla="*/ 6270 w 6276"/>
                <a:gd name="T59" fmla="*/ 908 h 1628"/>
                <a:gd name="T60" fmla="*/ 6228 w 6276"/>
                <a:gd name="T61" fmla="*/ 1088 h 1628"/>
                <a:gd name="T62" fmla="*/ 6149 w 6276"/>
                <a:gd name="T63" fmla="*/ 1250 h 1628"/>
                <a:gd name="T64" fmla="*/ 6036 w 6276"/>
                <a:gd name="T65" fmla="*/ 1390 h 1628"/>
                <a:gd name="T66" fmla="*/ 5898 w 6276"/>
                <a:gd name="T67" fmla="*/ 1503 h 1628"/>
                <a:gd name="T68" fmla="*/ 5736 w 6276"/>
                <a:gd name="T69" fmla="*/ 1580 h 1628"/>
                <a:gd name="T70" fmla="*/ 5555 w 6276"/>
                <a:gd name="T71" fmla="*/ 1624 h 1628"/>
                <a:gd name="T72" fmla="*/ 816 w 6276"/>
                <a:gd name="T73" fmla="*/ 1628 h 1628"/>
                <a:gd name="T74" fmla="*/ 630 w 6276"/>
                <a:gd name="T75" fmla="*/ 1607 h 1628"/>
                <a:gd name="T76" fmla="*/ 456 w 6276"/>
                <a:gd name="T77" fmla="*/ 1546 h 1628"/>
                <a:gd name="T78" fmla="*/ 306 w 6276"/>
                <a:gd name="T79" fmla="*/ 1449 h 1628"/>
                <a:gd name="T80" fmla="*/ 179 w 6276"/>
                <a:gd name="T81" fmla="*/ 1324 h 1628"/>
                <a:gd name="T82" fmla="*/ 84 w 6276"/>
                <a:gd name="T83" fmla="*/ 1172 h 1628"/>
                <a:gd name="T84" fmla="*/ 21 w 6276"/>
                <a:gd name="T85" fmla="*/ 1001 h 1628"/>
                <a:gd name="T86" fmla="*/ 0 w 6276"/>
                <a:gd name="T87" fmla="*/ 815 h 1628"/>
                <a:gd name="T88" fmla="*/ 21 w 6276"/>
                <a:gd name="T89" fmla="*/ 627 h 1628"/>
                <a:gd name="T90" fmla="*/ 84 w 6276"/>
                <a:gd name="T91" fmla="*/ 456 h 1628"/>
                <a:gd name="T92" fmla="*/ 179 w 6276"/>
                <a:gd name="T93" fmla="*/ 304 h 1628"/>
                <a:gd name="T94" fmla="*/ 306 w 6276"/>
                <a:gd name="T95" fmla="*/ 179 h 1628"/>
                <a:gd name="T96" fmla="*/ 456 w 6276"/>
                <a:gd name="T97" fmla="*/ 82 h 1628"/>
                <a:gd name="T98" fmla="*/ 630 w 6276"/>
                <a:gd name="T99" fmla="*/ 21 h 1628"/>
                <a:gd name="T100" fmla="*/ 816 w 6276"/>
                <a:gd name="T101" fmla="*/ 0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76" h="1628">
                  <a:moveTo>
                    <a:pt x="816" y="384"/>
                  </a:moveTo>
                  <a:lnTo>
                    <a:pt x="746" y="390"/>
                  </a:lnTo>
                  <a:lnTo>
                    <a:pt x="679" y="407"/>
                  </a:lnTo>
                  <a:lnTo>
                    <a:pt x="618" y="431"/>
                  </a:lnTo>
                  <a:lnTo>
                    <a:pt x="561" y="467"/>
                  </a:lnTo>
                  <a:lnTo>
                    <a:pt x="512" y="509"/>
                  </a:lnTo>
                  <a:lnTo>
                    <a:pt x="468" y="560"/>
                  </a:lnTo>
                  <a:lnTo>
                    <a:pt x="434" y="616"/>
                  </a:lnTo>
                  <a:lnTo>
                    <a:pt x="407" y="678"/>
                  </a:lnTo>
                  <a:lnTo>
                    <a:pt x="390" y="745"/>
                  </a:lnTo>
                  <a:lnTo>
                    <a:pt x="384" y="815"/>
                  </a:lnTo>
                  <a:lnTo>
                    <a:pt x="390" y="883"/>
                  </a:lnTo>
                  <a:lnTo>
                    <a:pt x="407" y="950"/>
                  </a:lnTo>
                  <a:lnTo>
                    <a:pt x="434" y="1013"/>
                  </a:lnTo>
                  <a:lnTo>
                    <a:pt x="468" y="1068"/>
                  </a:lnTo>
                  <a:lnTo>
                    <a:pt x="512" y="1119"/>
                  </a:lnTo>
                  <a:lnTo>
                    <a:pt x="561" y="1161"/>
                  </a:lnTo>
                  <a:lnTo>
                    <a:pt x="618" y="1197"/>
                  </a:lnTo>
                  <a:lnTo>
                    <a:pt x="679" y="1221"/>
                  </a:lnTo>
                  <a:lnTo>
                    <a:pt x="746" y="1239"/>
                  </a:lnTo>
                  <a:lnTo>
                    <a:pt x="816" y="1244"/>
                  </a:lnTo>
                  <a:lnTo>
                    <a:pt x="5460" y="1244"/>
                  </a:lnTo>
                  <a:lnTo>
                    <a:pt x="5530" y="1239"/>
                  </a:lnTo>
                  <a:lnTo>
                    <a:pt x="5597" y="1221"/>
                  </a:lnTo>
                  <a:lnTo>
                    <a:pt x="5658" y="1197"/>
                  </a:lnTo>
                  <a:lnTo>
                    <a:pt x="5715" y="1161"/>
                  </a:lnTo>
                  <a:lnTo>
                    <a:pt x="5764" y="1119"/>
                  </a:lnTo>
                  <a:lnTo>
                    <a:pt x="5808" y="1068"/>
                  </a:lnTo>
                  <a:lnTo>
                    <a:pt x="5842" y="1013"/>
                  </a:lnTo>
                  <a:lnTo>
                    <a:pt x="5869" y="950"/>
                  </a:lnTo>
                  <a:lnTo>
                    <a:pt x="5886" y="883"/>
                  </a:lnTo>
                  <a:lnTo>
                    <a:pt x="5892" y="815"/>
                  </a:lnTo>
                  <a:lnTo>
                    <a:pt x="5886" y="745"/>
                  </a:lnTo>
                  <a:lnTo>
                    <a:pt x="5869" y="678"/>
                  </a:lnTo>
                  <a:lnTo>
                    <a:pt x="5842" y="616"/>
                  </a:lnTo>
                  <a:lnTo>
                    <a:pt x="5808" y="560"/>
                  </a:lnTo>
                  <a:lnTo>
                    <a:pt x="5764" y="509"/>
                  </a:lnTo>
                  <a:lnTo>
                    <a:pt x="5715" y="467"/>
                  </a:lnTo>
                  <a:lnTo>
                    <a:pt x="5658" y="431"/>
                  </a:lnTo>
                  <a:lnTo>
                    <a:pt x="5597" y="407"/>
                  </a:lnTo>
                  <a:lnTo>
                    <a:pt x="5530" y="390"/>
                  </a:lnTo>
                  <a:lnTo>
                    <a:pt x="5460" y="384"/>
                  </a:lnTo>
                  <a:lnTo>
                    <a:pt x="816" y="384"/>
                  </a:lnTo>
                  <a:close/>
                  <a:moveTo>
                    <a:pt x="816" y="0"/>
                  </a:moveTo>
                  <a:lnTo>
                    <a:pt x="5460" y="0"/>
                  </a:lnTo>
                  <a:lnTo>
                    <a:pt x="5555" y="4"/>
                  </a:lnTo>
                  <a:lnTo>
                    <a:pt x="5646" y="21"/>
                  </a:lnTo>
                  <a:lnTo>
                    <a:pt x="5736" y="48"/>
                  </a:lnTo>
                  <a:lnTo>
                    <a:pt x="5820" y="82"/>
                  </a:lnTo>
                  <a:lnTo>
                    <a:pt x="5898" y="126"/>
                  </a:lnTo>
                  <a:lnTo>
                    <a:pt x="5970" y="179"/>
                  </a:lnTo>
                  <a:lnTo>
                    <a:pt x="6036" y="238"/>
                  </a:lnTo>
                  <a:lnTo>
                    <a:pt x="6097" y="304"/>
                  </a:lnTo>
                  <a:lnTo>
                    <a:pt x="6149" y="378"/>
                  </a:lnTo>
                  <a:lnTo>
                    <a:pt x="6192" y="456"/>
                  </a:lnTo>
                  <a:lnTo>
                    <a:pt x="6228" y="540"/>
                  </a:lnTo>
                  <a:lnTo>
                    <a:pt x="6255" y="627"/>
                  </a:lnTo>
                  <a:lnTo>
                    <a:pt x="6270" y="720"/>
                  </a:lnTo>
                  <a:lnTo>
                    <a:pt x="6276" y="815"/>
                  </a:lnTo>
                  <a:lnTo>
                    <a:pt x="6270" y="908"/>
                  </a:lnTo>
                  <a:lnTo>
                    <a:pt x="6255" y="1001"/>
                  </a:lnTo>
                  <a:lnTo>
                    <a:pt x="6228" y="1088"/>
                  </a:lnTo>
                  <a:lnTo>
                    <a:pt x="6192" y="1172"/>
                  </a:lnTo>
                  <a:lnTo>
                    <a:pt x="6149" y="1250"/>
                  </a:lnTo>
                  <a:lnTo>
                    <a:pt x="6097" y="1324"/>
                  </a:lnTo>
                  <a:lnTo>
                    <a:pt x="6036" y="1390"/>
                  </a:lnTo>
                  <a:lnTo>
                    <a:pt x="5970" y="1449"/>
                  </a:lnTo>
                  <a:lnTo>
                    <a:pt x="5898" y="1503"/>
                  </a:lnTo>
                  <a:lnTo>
                    <a:pt x="5820" y="1546"/>
                  </a:lnTo>
                  <a:lnTo>
                    <a:pt x="5736" y="1580"/>
                  </a:lnTo>
                  <a:lnTo>
                    <a:pt x="5646" y="1607"/>
                  </a:lnTo>
                  <a:lnTo>
                    <a:pt x="5555" y="1624"/>
                  </a:lnTo>
                  <a:lnTo>
                    <a:pt x="5460" y="1628"/>
                  </a:lnTo>
                  <a:lnTo>
                    <a:pt x="816" y="1628"/>
                  </a:lnTo>
                  <a:lnTo>
                    <a:pt x="721" y="1624"/>
                  </a:lnTo>
                  <a:lnTo>
                    <a:pt x="630" y="1607"/>
                  </a:lnTo>
                  <a:lnTo>
                    <a:pt x="540" y="1580"/>
                  </a:lnTo>
                  <a:lnTo>
                    <a:pt x="456" y="1546"/>
                  </a:lnTo>
                  <a:lnTo>
                    <a:pt x="378" y="1503"/>
                  </a:lnTo>
                  <a:lnTo>
                    <a:pt x="306" y="1449"/>
                  </a:lnTo>
                  <a:lnTo>
                    <a:pt x="240" y="1390"/>
                  </a:lnTo>
                  <a:lnTo>
                    <a:pt x="179" y="1324"/>
                  </a:lnTo>
                  <a:lnTo>
                    <a:pt x="127" y="1250"/>
                  </a:lnTo>
                  <a:lnTo>
                    <a:pt x="84" y="1172"/>
                  </a:lnTo>
                  <a:lnTo>
                    <a:pt x="48" y="1088"/>
                  </a:lnTo>
                  <a:lnTo>
                    <a:pt x="21" y="1001"/>
                  </a:lnTo>
                  <a:lnTo>
                    <a:pt x="6" y="908"/>
                  </a:lnTo>
                  <a:lnTo>
                    <a:pt x="0" y="815"/>
                  </a:lnTo>
                  <a:lnTo>
                    <a:pt x="6" y="720"/>
                  </a:lnTo>
                  <a:lnTo>
                    <a:pt x="21" y="627"/>
                  </a:lnTo>
                  <a:lnTo>
                    <a:pt x="48" y="540"/>
                  </a:lnTo>
                  <a:lnTo>
                    <a:pt x="84" y="456"/>
                  </a:lnTo>
                  <a:lnTo>
                    <a:pt x="127" y="378"/>
                  </a:lnTo>
                  <a:lnTo>
                    <a:pt x="179" y="304"/>
                  </a:lnTo>
                  <a:lnTo>
                    <a:pt x="240" y="238"/>
                  </a:lnTo>
                  <a:lnTo>
                    <a:pt x="306" y="179"/>
                  </a:lnTo>
                  <a:lnTo>
                    <a:pt x="378" y="126"/>
                  </a:lnTo>
                  <a:lnTo>
                    <a:pt x="456" y="82"/>
                  </a:lnTo>
                  <a:lnTo>
                    <a:pt x="540" y="48"/>
                  </a:lnTo>
                  <a:lnTo>
                    <a:pt x="630" y="21"/>
                  </a:lnTo>
                  <a:lnTo>
                    <a:pt x="721" y="4"/>
                  </a:lnTo>
                  <a:lnTo>
                    <a:pt x="816"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1" name="Freeform 13"/>
            <p:cNvSpPr/>
            <p:nvPr/>
          </p:nvSpPr>
          <p:spPr bwMode="auto">
            <a:xfrm>
              <a:off x="3089276" y="4013201"/>
              <a:ext cx="417513" cy="417513"/>
            </a:xfrm>
            <a:custGeom>
              <a:avLst/>
              <a:gdLst>
                <a:gd name="T0" fmla="*/ 263 w 527"/>
                <a:gd name="T1" fmla="*/ 0 h 526"/>
                <a:gd name="T2" fmla="*/ 316 w 527"/>
                <a:gd name="T3" fmla="*/ 6 h 526"/>
                <a:gd name="T4" fmla="*/ 365 w 527"/>
                <a:gd name="T5" fmla="*/ 21 h 526"/>
                <a:gd name="T6" fmla="*/ 411 w 527"/>
                <a:gd name="T7" fmla="*/ 46 h 526"/>
                <a:gd name="T8" fmla="*/ 449 w 527"/>
                <a:gd name="T9" fmla="*/ 78 h 526"/>
                <a:gd name="T10" fmla="*/ 481 w 527"/>
                <a:gd name="T11" fmla="*/ 116 h 526"/>
                <a:gd name="T12" fmla="*/ 506 w 527"/>
                <a:gd name="T13" fmla="*/ 161 h 526"/>
                <a:gd name="T14" fmla="*/ 521 w 527"/>
                <a:gd name="T15" fmla="*/ 211 h 526"/>
                <a:gd name="T16" fmla="*/ 527 w 527"/>
                <a:gd name="T17" fmla="*/ 264 h 526"/>
                <a:gd name="T18" fmla="*/ 521 w 527"/>
                <a:gd name="T19" fmla="*/ 315 h 526"/>
                <a:gd name="T20" fmla="*/ 506 w 527"/>
                <a:gd name="T21" fmla="*/ 365 h 526"/>
                <a:gd name="T22" fmla="*/ 481 w 527"/>
                <a:gd name="T23" fmla="*/ 410 h 526"/>
                <a:gd name="T24" fmla="*/ 449 w 527"/>
                <a:gd name="T25" fmla="*/ 448 h 526"/>
                <a:gd name="T26" fmla="*/ 411 w 527"/>
                <a:gd name="T27" fmla="*/ 481 h 526"/>
                <a:gd name="T28" fmla="*/ 365 w 527"/>
                <a:gd name="T29" fmla="*/ 505 h 526"/>
                <a:gd name="T30" fmla="*/ 316 w 527"/>
                <a:gd name="T31" fmla="*/ 520 h 526"/>
                <a:gd name="T32" fmla="*/ 263 w 527"/>
                <a:gd name="T33" fmla="*/ 526 h 526"/>
                <a:gd name="T34" fmla="*/ 209 w 527"/>
                <a:gd name="T35" fmla="*/ 520 h 526"/>
                <a:gd name="T36" fmla="*/ 162 w 527"/>
                <a:gd name="T37" fmla="*/ 505 h 526"/>
                <a:gd name="T38" fmla="*/ 116 w 527"/>
                <a:gd name="T39" fmla="*/ 481 h 526"/>
                <a:gd name="T40" fmla="*/ 78 w 527"/>
                <a:gd name="T41" fmla="*/ 448 h 526"/>
                <a:gd name="T42" fmla="*/ 46 w 527"/>
                <a:gd name="T43" fmla="*/ 410 h 526"/>
                <a:gd name="T44" fmla="*/ 21 w 527"/>
                <a:gd name="T45" fmla="*/ 365 h 526"/>
                <a:gd name="T46" fmla="*/ 6 w 527"/>
                <a:gd name="T47" fmla="*/ 315 h 526"/>
                <a:gd name="T48" fmla="*/ 0 w 527"/>
                <a:gd name="T49" fmla="*/ 264 h 526"/>
                <a:gd name="T50" fmla="*/ 6 w 527"/>
                <a:gd name="T51" fmla="*/ 211 h 526"/>
                <a:gd name="T52" fmla="*/ 21 w 527"/>
                <a:gd name="T53" fmla="*/ 161 h 526"/>
                <a:gd name="T54" fmla="*/ 46 w 527"/>
                <a:gd name="T55" fmla="*/ 116 h 526"/>
                <a:gd name="T56" fmla="*/ 78 w 527"/>
                <a:gd name="T57" fmla="*/ 78 h 526"/>
                <a:gd name="T58" fmla="*/ 116 w 527"/>
                <a:gd name="T59" fmla="*/ 46 h 526"/>
                <a:gd name="T60" fmla="*/ 162 w 527"/>
                <a:gd name="T61" fmla="*/ 21 h 526"/>
                <a:gd name="T62" fmla="*/ 209 w 527"/>
                <a:gd name="T63" fmla="*/ 6 h 526"/>
                <a:gd name="T64" fmla="*/ 263 w 527"/>
                <a:gd name="T65"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7" h="526">
                  <a:moveTo>
                    <a:pt x="263" y="0"/>
                  </a:moveTo>
                  <a:lnTo>
                    <a:pt x="316" y="6"/>
                  </a:lnTo>
                  <a:lnTo>
                    <a:pt x="365" y="21"/>
                  </a:lnTo>
                  <a:lnTo>
                    <a:pt x="411" y="46"/>
                  </a:lnTo>
                  <a:lnTo>
                    <a:pt x="449" y="78"/>
                  </a:lnTo>
                  <a:lnTo>
                    <a:pt x="481" y="116"/>
                  </a:lnTo>
                  <a:lnTo>
                    <a:pt x="506" y="161"/>
                  </a:lnTo>
                  <a:lnTo>
                    <a:pt x="521" y="211"/>
                  </a:lnTo>
                  <a:lnTo>
                    <a:pt x="527" y="264"/>
                  </a:lnTo>
                  <a:lnTo>
                    <a:pt x="521" y="315"/>
                  </a:lnTo>
                  <a:lnTo>
                    <a:pt x="506" y="365"/>
                  </a:lnTo>
                  <a:lnTo>
                    <a:pt x="481" y="410"/>
                  </a:lnTo>
                  <a:lnTo>
                    <a:pt x="449" y="448"/>
                  </a:lnTo>
                  <a:lnTo>
                    <a:pt x="411" y="481"/>
                  </a:lnTo>
                  <a:lnTo>
                    <a:pt x="365" y="505"/>
                  </a:lnTo>
                  <a:lnTo>
                    <a:pt x="316" y="520"/>
                  </a:lnTo>
                  <a:lnTo>
                    <a:pt x="263" y="526"/>
                  </a:lnTo>
                  <a:lnTo>
                    <a:pt x="209" y="520"/>
                  </a:lnTo>
                  <a:lnTo>
                    <a:pt x="162" y="505"/>
                  </a:lnTo>
                  <a:lnTo>
                    <a:pt x="116" y="481"/>
                  </a:lnTo>
                  <a:lnTo>
                    <a:pt x="78" y="448"/>
                  </a:lnTo>
                  <a:lnTo>
                    <a:pt x="46" y="410"/>
                  </a:lnTo>
                  <a:lnTo>
                    <a:pt x="21" y="365"/>
                  </a:lnTo>
                  <a:lnTo>
                    <a:pt x="6" y="315"/>
                  </a:lnTo>
                  <a:lnTo>
                    <a:pt x="0" y="264"/>
                  </a:lnTo>
                  <a:lnTo>
                    <a:pt x="6" y="211"/>
                  </a:lnTo>
                  <a:lnTo>
                    <a:pt x="21" y="161"/>
                  </a:lnTo>
                  <a:lnTo>
                    <a:pt x="46" y="116"/>
                  </a:lnTo>
                  <a:lnTo>
                    <a:pt x="78" y="78"/>
                  </a:lnTo>
                  <a:lnTo>
                    <a:pt x="116" y="46"/>
                  </a:lnTo>
                  <a:lnTo>
                    <a:pt x="162" y="21"/>
                  </a:lnTo>
                  <a:lnTo>
                    <a:pt x="209" y="6"/>
                  </a:lnTo>
                  <a:lnTo>
                    <a:pt x="263"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2" name="Freeform 14"/>
            <p:cNvSpPr/>
            <p:nvPr/>
          </p:nvSpPr>
          <p:spPr bwMode="auto">
            <a:xfrm>
              <a:off x="3751263" y="4013201"/>
              <a:ext cx="417513" cy="417513"/>
            </a:xfrm>
            <a:custGeom>
              <a:avLst/>
              <a:gdLst>
                <a:gd name="T0" fmla="*/ 263 w 525"/>
                <a:gd name="T1" fmla="*/ 0 h 526"/>
                <a:gd name="T2" fmla="*/ 316 w 525"/>
                <a:gd name="T3" fmla="*/ 6 h 526"/>
                <a:gd name="T4" fmla="*/ 365 w 525"/>
                <a:gd name="T5" fmla="*/ 21 h 526"/>
                <a:gd name="T6" fmla="*/ 409 w 525"/>
                <a:gd name="T7" fmla="*/ 46 h 526"/>
                <a:gd name="T8" fmla="*/ 449 w 525"/>
                <a:gd name="T9" fmla="*/ 78 h 526"/>
                <a:gd name="T10" fmla="*/ 481 w 525"/>
                <a:gd name="T11" fmla="*/ 116 h 526"/>
                <a:gd name="T12" fmla="*/ 504 w 525"/>
                <a:gd name="T13" fmla="*/ 161 h 526"/>
                <a:gd name="T14" fmla="*/ 521 w 525"/>
                <a:gd name="T15" fmla="*/ 211 h 526"/>
                <a:gd name="T16" fmla="*/ 525 w 525"/>
                <a:gd name="T17" fmla="*/ 264 h 526"/>
                <a:gd name="T18" fmla="*/ 521 w 525"/>
                <a:gd name="T19" fmla="*/ 315 h 526"/>
                <a:gd name="T20" fmla="*/ 504 w 525"/>
                <a:gd name="T21" fmla="*/ 365 h 526"/>
                <a:gd name="T22" fmla="*/ 481 w 525"/>
                <a:gd name="T23" fmla="*/ 410 h 526"/>
                <a:gd name="T24" fmla="*/ 449 w 525"/>
                <a:gd name="T25" fmla="*/ 448 h 526"/>
                <a:gd name="T26" fmla="*/ 409 w 525"/>
                <a:gd name="T27" fmla="*/ 481 h 526"/>
                <a:gd name="T28" fmla="*/ 365 w 525"/>
                <a:gd name="T29" fmla="*/ 505 h 526"/>
                <a:gd name="T30" fmla="*/ 316 w 525"/>
                <a:gd name="T31" fmla="*/ 520 h 526"/>
                <a:gd name="T32" fmla="*/ 263 w 525"/>
                <a:gd name="T33" fmla="*/ 526 h 526"/>
                <a:gd name="T34" fmla="*/ 209 w 525"/>
                <a:gd name="T35" fmla="*/ 520 h 526"/>
                <a:gd name="T36" fmla="*/ 160 w 525"/>
                <a:gd name="T37" fmla="*/ 505 h 526"/>
                <a:gd name="T38" fmla="*/ 116 w 525"/>
                <a:gd name="T39" fmla="*/ 481 h 526"/>
                <a:gd name="T40" fmla="*/ 76 w 525"/>
                <a:gd name="T41" fmla="*/ 448 h 526"/>
                <a:gd name="T42" fmla="*/ 44 w 525"/>
                <a:gd name="T43" fmla="*/ 410 h 526"/>
                <a:gd name="T44" fmla="*/ 21 w 525"/>
                <a:gd name="T45" fmla="*/ 365 h 526"/>
                <a:gd name="T46" fmla="*/ 6 w 525"/>
                <a:gd name="T47" fmla="*/ 315 h 526"/>
                <a:gd name="T48" fmla="*/ 0 w 525"/>
                <a:gd name="T49" fmla="*/ 264 h 526"/>
                <a:gd name="T50" fmla="*/ 6 w 525"/>
                <a:gd name="T51" fmla="*/ 211 h 526"/>
                <a:gd name="T52" fmla="*/ 21 w 525"/>
                <a:gd name="T53" fmla="*/ 161 h 526"/>
                <a:gd name="T54" fmla="*/ 44 w 525"/>
                <a:gd name="T55" fmla="*/ 116 h 526"/>
                <a:gd name="T56" fmla="*/ 76 w 525"/>
                <a:gd name="T57" fmla="*/ 78 h 526"/>
                <a:gd name="T58" fmla="*/ 116 w 525"/>
                <a:gd name="T59" fmla="*/ 46 h 526"/>
                <a:gd name="T60" fmla="*/ 160 w 525"/>
                <a:gd name="T61" fmla="*/ 21 h 526"/>
                <a:gd name="T62" fmla="*/ 209 w 525"/>
                <a:gd name="T63" fmla="*/ 6 h 526"/>
                <a:gd name="T64" fmla="*/ 263 w 525"/>
                <a:gd name="T65"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5" h="526">
                  <a:moveTo>
                    <a:pt x="263" y="0"/>
                  </a:moveTo>
                  <a:lnTo>
                    <a:pt x="316" y="6"/>
                  </a:lnTo>
                  <a:lnTo>
                    <a:pt x="365" y="21"/>
                  </a:lnTo>
                  <a:lnTo>
                    <a:pt x="409" y="46"/>
                  </a:lnTo>
                  <a:lnTo>
                    <a:pt x="449" y="78"/>
                  </a:lnTo>
                  <a:lnTo>
                    <a:pt x="481" y="116"/>
                  </a:lnTo>
                  <a:lnTo>
                    <a:pt x="504" y="161"/>
                  </a:lnTo>
                  <a:lnTo>
                    <a:pt x="521" y="211"/>
                  </a:lnTo>
                  <a:lnTo>
                    <a:pt x="525" y="264"/>
                  </a:lnTo>
                  <a:lnTo>
                    <a:pt x="521" y="315"/>
                  </a:lnTo>
                  <a:lnTo>
                    <a:pt x="504" y="365"/>
                  </a:lnTo>
                  <a:lnTo>
                    <a:pt x="481" y="410"/>
                  </a:lnTo>
                  <a:lnTo>
                    <a:pt x="449" y="448"/>
                  </a:lnTo>
                  <a:lnTo>
                    <a:pt x="409" y="481"/>
                  </a:lnTo>
                  <a:lnTo>
                    <a:pt x="365" y="505"/>
                  </a:lnTo>
                  <a:lnTo>
                    <a:pt x="316" y="520"/>
                  </a:lnTo>
                  <a:lnTo>
                    <a:pt x="263" y="526"/>
                  </a:lnTo>
                  <a:lnTo>
                    <a:pt x="209" y="520"/>
                  </a:lnTo>
                  <a:lnTo>
                    <a:pt x="160" y="505"/>
                  </a:lnTo>
                  <a:lnTo>
                    <a:pt x="116" y="481"/>
                  </a:lnTo>
                  <a:lnTo>
                    <a:pt x="76" y="448"/>
                  </a:lnTo>
                  <a:lnTo>
                    <a:pt x="44" y="410"/>
                  </a:lnTo>
                  <a:lnTo>
                    <a:pt x="21" y="365"/>
                  </a:lnTo>
                  <a:lnTo>
                    <a:pt x="6" y="315"/>
                  </a:lnTo>
                  <a:lnTo>
                    <a:pt x="0" y="264"/>
                  </a:lnTo>
                  <a:lnTo>
                    <a:pt x="6" y="211"/>
                  </a:lnTo>
                  <a:lnTo>
                    <a:pt x="21" y="161"/>
                  </a:lnTo>
                  <a:lnTo>
                    <a:pt x="44" y="116"/>
                  </a:lnTo>
                  <a:lnTo>
                    <a:pt x="76" y="78"/>
                  </a:lnTo>
                  <a:lnTo>
                    <a:pt x="116" y="46"/>
                  </a:lnTo>
                  <a:lnTo>
                    <a:pt x="160" y="21"/>
                  </a:lnTo>
                  <a:lnTo>
                    <a:pt x="209" y="6"/>
                  </a:lnTo>
                  <a:lnTo>
                    <a:pt x="263"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3" name="Freeform 15"/>
            <p:cNvSpPr/>
            <p:nvPr/>
          </p:nvSpPr>
          <p:spPr bwMode="auto">
            <a:xfrm>
              <a:off x="4413251" y="4013201"/>
              <a:ext cx="417513" cy="417513"/>
            </a:xfrm>
            <a:custGeom>
              <a:avLst/>
              <a:gdLst>
                <a:gd name="T0" fmla="*/ 265 w 527"/>
                <a:gd name="T1" fmla="*/ 0 h 526"/>
                <a:gd name="T2" fmla="*/ 318 w 527"/>
                <a:gd name="T3" fmla="*/ 6 h 526"/>
                <a:gd name="T4" fmla="*/ 367 w 527"/>
                <a:gd name="T5" fmla="*/ 21 h 526"/>
                <a:gd name="T6" fmla="*/ 411 w 527"/>
                <a:gd name="T7" fmla="*/ 46 h 526"/>
                <a:gd name="T8" fmla="*/ 449 w 527"/>
                <a:gd name="T9" fmla="*/ 78 h 526"/>
                <a:gd name="T10" fmla="*/ 481 w 527"/>
                <a:gd name="T11" fmla="*/ 116 h 526"/>
                <a:gd name="T12" fmla="*/ 506 w 527"/>
                <a:gd name="T13" fmla="*/ 161 h 526"/>
                <a:gd name="T14" fmla="*/ 521 w 527"/>
                <a:gd name="T15" fmla="*/ 211 h 526"/>
                <a:gd name="T16" fmla="*/ 527 w 527"/>
                <a:gd name="T17" fmla="*/ 264 h 526"/>
                <a:gd name="T18" fmla="*/ 521 w 527"/>
                <a:gd name="T19" fmla="*/ 315 h 526"/>
                <a:gd name="T20" fmla="*/ 506 w 527"/>
                <a:gd name="T21" fmla="*/ 365 h 526"/>
                <a:gd name="T22" fmla="*/ 481 w 527"/>
                <a:gd name="T23" fmla="*/ 410 h 526"/>
                <a:gd name="T24" fmla="*/ 449 w 527"/>
                <a:gd name="T25" fmla="*/ 448 h 526"/>
                <a:gd name="T26" fmla="*/ 411 w 527"/>
                <a:gd name="T27" fmla="*/ 481 h 526"/>
                <a:gd name="T28" fmla="*/ 367 w 527"/>
                <a:gd name="T29" fmla="*/ 505 h 526"/>
                <a:gd name="T30" fmla="*/ 318 w 527"/>
                <a:gd name="T31" fmla="*/ 520 h 526"/>
                <a:gd name="T32" fmla="*/ 265 w 527"/>
                <a:gd name="T33" fmla="*/ 526 h 526"/>
                <a:gd name="T34" fmla="*/ 211 w 527"/>
                <a:gd name="T35" fmla="*/ 520 h 526"/>
                <a:gd name="T36" fmla="*/ 162 w 527"/>
                <a:gd name="T37" fmla="*/ 505 h 526"/>
                <a:gd name="T38" fmla="*/ 116 w 527"/>
                <a:gd name="T39" fmla="*/ 481 h 526"/>
                <a:gd name="T40" fmla="*/ 78 w 527"/>
                <a:gd name="T41" fmla="*/ 448 h 526"/>
                <a:gd name="T42" fmla="*/ 46 w 527"/>
                <a:gd name="T43" fmla="*/ 410 h 526"/>
                <a:gd name="T44" fmla="*/ 21 w 527"/>
                <a:gd name="T45" fmla="*/ 365 h 526"/>
                <a:gd name="T46" fmla="*/ 6 w 527"/>
                <a:gd name="T47" fmla="*/ 315 h 526"/>
                <a:gd name="T48" fmla="*/ 0 w 527"/>
                <a:gd name="T49" fmla="*/ 264 h 526"/>
                <a:gd name="T50" fmla="*/ 6 w 527"/>
                <a:gd name="T51" fmla="*/ 211 h 526"/>
                <a:gd name="T52" fmla="*/ 21 w 527"/>
                <a:gd name="T53" fmla="*/ 161 h 526"/>
                <a:gd name="T54" fmla="*/ 46 w 527"/>
                <a:gd name="T55" fmla="*/ 116 h 526"/>
                <a:gd name="T56" fmla="*/ 78 w 527"/>
                <a:gd name="T57" fmla="*/ 78 h 526"/>
                <a:gd name="T58" fmla="*/ 116 w 527"/>
                <a:gd name="T59" fmla="*/ 46 h 526"/>
                <a:gd name="T60" fmla="*/ 162 w 527"/>
                <a:gd name="T61" fmla="*/ 21 h 526"/>
                <a:gd name="T62" fmla="*/ 211 w 527"/>
                <a:gd name="T63" fmla="*/ 6 h 526"/>
                <a:gd name="T64" fmla="*/ 265 w 527"/>
                <a:gd name="T65"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7" h="526">
                  <a:moveTo>
                    <a:pt x="265" y="0"/>
                  </a:moveTo>
                  <a:lnTo>
                    <a:pt x="318" y="6"/>
                  </a:lnTo>
                  <a:lnTo>
                    <a:pt x="367" y="21"/>
                  </a:lnTo>
                  <a:lnTo>
                    <a:pt x="411" y="46"/>
                  </a:lnTo>
                  <a:lnTo>
                    <a:pt x="449" y="78"/>
                  </a:lnTo>
                  <a:lnTo>
                    <a:pt x="481" y="116"/>
                  </a:lnTo>
                  <a:lnTo>
                    <a:pt x="506" y="161"/>
                  </a:lnTo>
                  <a:lnTo>
                    <a:pt x="521" y="211"/>
                  </a:lnTo>
                  <a:lnTo>
                    <a:pt x="527" y="264"/>
                  </a:lnTo>
                  <a:lnTo>
                    <a:pt x="521" y="315"/>
                  </a:lnTo>
                  <a:lnTo>
                    <a:pt x="506" y="365"/>
                  </a:lnTo>
                  <a:lnTo>
                    <a:pt x="481" y="410"/>
                  </a:lnTo>
                  <a:lnTo>
                    <a:pt x="449" y="448"/>
                  </a:lnTo>
                  <a:lnTo>
                    <a:pt x="411" y="481"/>
                  </a:lnTo>
                  <a:lnTo>
                    <a:pt x="367" y="505"/>
                  </a:lnTo>
                  <a:lnTo>
                    <a:pt x="318" y="520"/>
                  </a:lnTo>
                  <a:lnTo>
                    <a:pt x="265" y="526"/>
                  </a:lnTo>
                  <a:lnTo>
                    <a:pt x="211" y="520"/>
                  </a:lnTo>
                  <a:lnTo>
                    <a:pt x="162" y="505"/>
                  </a:lnTo>
                  <a:lnTo>
                    <a:pt x="116" y="481"/>
                  </a:lnTo>
                  <a:lnTo>
                    <a:pt x="78" y="448"/>
                  </a:lnTo>
                  <a:lnTo>
                    <a:pt x="46" y="410"/>
                  </a:lnTo>
                  <a:lnTo>
                    <a:pt x="21" y="365"/>
                  </a:lnTo>
                  <a:lnTo>
                    <a:pt x="6" y="315"/>
                  </a:lnTo>
                  <a:lnTo>
                    <a:pt x="0" y="264"/>
                  </a:lnTo>
                  <a:lnTo>
                    <a:pt x="6" y="211"/>
                  </a:lnTo>
                  <a:lnTo>
                    <a:pt x="21" y="161"/>
                  </a:lnTo>
                  <a:lnTo>
                    <a:pt x="46" y="116"/>
                  </a:lnTo>
                  <a:lnTo>
                    <a:pt x="78" y="78"/>
                  </a:lnTo>
                  <a:lnTo>
                    <a:pt x="116" y="46"/>
                  </a:lnTo>
                  <a:lnTo>
                    <a:pt x="162" y="21"/>
                  </a:lnTo>
                  <a:lnTo>
                    <a:pt x="211" y="6"/>
                  </a:lnTo>
                  <a:lnTo>
                    <a:pt x="265"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4" name="Freeform 16"/>
            <p:cNvSpPr/>
            <p:nvPr/>
          </p:nvSpPr>
          <p:spPr bwMode="auto">
            <a:xfrm>
              <a:off x="5075238" y="4013201"/>
              <a:ext cx="417513" cy="417513"/>
            </a:xfrm>
            <a:custGeom>
              <a:avLst/>
              <a:gdLst>
                <a:gd name="T0" fmla="*/ 262 w 527"/>
                <a:gd name="T1" fmla="*/ 0 h 526"/>
                <a:gd name="T2" fmla="*/ 316 w 527"/>
                <a:gd name="T3" fmla="*/ 6 h 526"/>
                <a:gd name="T4" fmla="*/ 365 w 527"/>
                <a:gd name="T5" fmla="*/ 21 h 526"/>
                <a:gd name="T6" fmla="*/ 411 w 527"/>
                <a:gd name="T7" fmla="*/ 46 h 526"/>
                <a:gd name="T8" fmla="*/ 449 w 527"/>
                <a:gd name="T9" fmla="*/ 78 h 526"/>
                <a:gd name="T10" fmla="*/ 481 w 527"/>
                <a:gd name="T11" fmla="*/ 116 h 526"/>
                <a:gd name="T12" fmla="*/ 506 w 527"/>
                <a:gd name="T13" fmla="*/ 161 h 526"/>
                <a:gd name="T14" fmla="*/ 521 w 527"/>
                <a:gd name="T15" fmla="*/ 211 h 526"/>
                <a:gd name="T16" fmla="*/ 527 w 527"/>
                <a:gd name="T17" fmla="*/ 264 h 526"/>
                <a:gd name="T18" fmla="*/ 521 w 527"/>
                <a:gd name="T19" fmla="*/ 315 h 526"/>
                <a:gd name="T20" fmla="*/ 506 w 527"/>
                <a:gd name="T21" fmla="*/ 365 h 526"/>
                <a:gd name="T22" fmla="*/ 481 w 527"/>
                <a:gd name="T23" fmla="*/ 410 h 526"/>
                <a:gd name="T24" fmla="*/ 449 w 527"/>
                <a:gd name="T25" fmla="*/ 448 h 526"/>
                <a:gd name="T26" fmla="*/ 411 w 527"/>
                <a:gd name="T27" fmla="*/ 481 h 526"/>
                <a:gd name="T28" fmla="*/ 365 w 527"/>
                <a:gd name="T29" fmla="*/ 505 h 526"/>
                <a:gd name="T30" fmla="*/ 316 w 527"/>
                <a:gd name="T31" fmla="*/ 520 h 526"/>
                <a:gd name="T32" fmla="*/ 262 w 527"/>
                <a:gd name="T33" fmla="*/ 526 h 526"/>
                <a:gd name="T34" fmla="*/ 209 w 527"/>
                <a:gd name="T35" fmla="*/ 520 h 526"/>
                <a:gd name="T36" fmla="*/ 160 w 527"/>
                <a:gd name="T37" fmla="*/ 505 h 526"/>
                <a:gd name="T38" fmla="*/ 116 w 527"/>
                <a:gd name="T39" fmla="*/ 481 h 526"/>
                <a:gd name="T40" fmla="*/ 78 w 527"/>
                <a:gd name="T41" fmla="*/ 448 h 526"/>
                <a:gd name="T42" fmla="*/ 46 w 527"/>
                <a:gd name="T43" fmla="*/ 410 h 526"/>
                <a:gd name="T44" fmla="*/ 21 w 527"/>
                <a:gd name="T45" fmla="*/ 365 h 526"/>
                <a:gd name="T46" fmla="*/ 6 w 527"/>
                <a:gd name="T47" fmla="*/ 315 h 526"/>
                <a:gd name="T48" fmla="*/ 0 w 527"/>
                <a:gd name="T49" fmla="*/ 264 h 526"/>
                <a:gd name="T50" fmla="*/ 6 w 527"/>
                <a:gd name="T51" fmla="*/ 211 h 526"/>
                <a:gd name="T52" fmla="*/ 21 w 527"/>
                <a:gd name="T53" fmla="*/ 161 h 526"/>
                <a:gd name="T54" fmla="*/ 46 w 527"/>
                <a:gd name="T55" fmla="*/ 116 h 526"/>
                <a:gd name="T56" fmla="*/ 78 w 527"/>
                <a:gd name="T57" fmla="*/ 78 h 526"/>
                <a:gd name="T58" fmla="*/ 116 w 527"/>
                <a:gd name="T59" fmla="*/ 46 h 526"/>
                <a:gd name="T60" fmla="*/ 160 w 527"/>
                <a:gd name="T61" fmla="*/ 21 h 526"/>
                <a:gd name="T62" fmla="*/ 209 w 527"/>
                <a:gd name="T63" fmla="*/ 6 h 526"/>
                <a:gd name="T64" fmla="*/ 262 w 527"/>
                <a:gd name="T65"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7" h="526">
                  <a:moveTo>
                    <a:pt x="262" y="0"/>
                  </a:moveTo>
                  <a:lnTo>
                    <a:pt x="316" y="6"/>
                  </a:lnTo>
                  <a:lnTo>
                    <a:pt x="365" y="21"/>
                  </a:lnTo>
                  <a:lnTo>
                    <a:pt x="411" y="46"/>
                  </a:lnTo>
                  <a:lnTo>
                    <a:pt x="449" y="78"/>
                  </a:lnTo>
                  <a:lnTo>
                    <a:pt x="481" y="116"/>
                  </a:lnTo>
                  <a:lnTo>
                    <a:pt x="506" y="161"/>
                  </a:lnTo>
                  <a:lnTo>
                    <a:pt x="521" y="211"/>
                  </a:lnTo>
                  <a:lnTo>
                    <a:pt x="527" y="264"/>
                  </a:lnTo>
                  <a:lnTo>
                    <a:pt x="521" y="315"/>
                  </a:lnTo>
                  <a:lnTo>
                    <a:pt x="506" y="365"/>
                  </a:lnTo>
                  <a:lnTo>
                    <a:pt x="481" y="410"/>
                  </a:lnTo>
                  <a:lnTo>
                    <a:pt x="449" y="448"/>
                  </a:lnTo>
                  <a:lnTo>
                    <a:pt x="411" y="481"/>
                  </a:lnTo>
                  <a:lnTo>
                    <a:pt x="365" y="505"/>
                  </a:lnTo>
                  <a:lnTo>
                    <a:pt x="316" y="520"/>
                  </a:lnTo>
                  <a:lnTo>
                    <a:pt x="262" y="526"/>
                  </a:lnTo>
                  <a:lnTo>
                    <a:pt x="209" y="520"/>
                  </a:lnTo>
                  <a:lnTo>
                    <a:pt x="160" y="505"/>
                  </a:lnTo>
                  <a:lnTo>
                    <a:pt x="116" y="481"/>
                  </a:lnTo>
                  <a:lnTo>
                    <a:pt x="78" y="448"/>
                  </a:lnTo>
                  <a:lnTo>
                    <a:pt x="46" y="410"/>
                  </a:lnTo>
                  <a:lnTo>
                    <a:pt x="21" y="365"/>
                  </a:lnTo>
                  <a:lnTo>
                    <a:pt x="6" y="315"/>
                  </a:lnTo>
                  <a:lnTo>
                    <a:pt x="0" y="264"/>
                  </a:lnTo>
                  <a:lnTo>
                    <a:pt x="6" y="211"/>
                  </a:lnTo>
                  <a:lnTo>
                    <a:pt x="21" y="161"/>
                  </a:lnTo>
                  <a:lnTo>
                    <a:pt x="46" y="116"/>
                  </a:lnTo>
                  <a:lnTo>
                    <a:pt x="78" y="78"/>
                  </a:lnTo>
                  <a:lnTo>
                    <a:pt x="116" y="46"/>
                  </a:lnTo>
                  <a:lnTo>
                    <a:pt x="160" y="21"/>
                  </a:lnTo>
                  <a:lnTo>
                    <a:pt x="209" y="6"/>
                  </a:lnTo>
                  <a:lnTo>
                    <a:pt x="262"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5" name="Freeform 17"/>
            <p:cNvSpPr/>
            <p:nvPr/>
          </p:nvSpPr>
          <p:spPr bwMode="auto">
            <a:xfrm>
              <a:off x="5737226" y="4013201"/>
              <a:ext cx="417513" cy="417513"/>
            </a:xfrm>
            <a:custGeom>
              <a:avLst/>
              <a:gdLst>
                <a:gd name="T0" fmla="*/ 262 w 525"/>
                <a:gd name="T1" fmla="*/ 0 h 526"/>
                <a:gd name="T2" fmla="*/ 316 w 525"/>
                <a:gd name="T3" fmla="*/ 6 h 526"/>
                <a:gd name="T4" fmla="*/ 365 w 525"/>
                <a:gd name="T5" fmla="*/ 21 h 526"/>
                <a:gd name="T6" fmla="*/ 409 w 525"/>
                <a:gd name="T7" fmla="*/ 46 h 526"/>
                <a:gd name="T8" fmla="*/ 449 w 525"/>
                <a:gd name="T9" fmla="*/ 78 h 526"/>
                <a:gd name="T10" fmla="*/ 481 w 525"/>
                <a:gd name="T11" fmla="*/ 116 h 526"/>
                <a:gd name="T12" fmla="*/ 504 w 525"/>
                <a:gd name="T13" fmla="*/ 161 h 526"/>
                <a:gd name="T14" fmla="*/ 519 w 525"/>
                <a:gd name="T15" fmla="*/ 211 h 526"/>
                <a:gd name="T16" fmla="*/ 525 w 525"/>
                <a:gd name="T17" fmla="*/ 264 h 526"/>
                <a:gd name="T18" fmla="*/ 519 w 525"/>
                <a:gd name="T19" fmla="*/ 315 h 526"/>
                <a:gd name="T20" fmla="*/ 504 w 525"/>
                <a:gd name="T21" fmla="*/ 365 h 526"/>
                <a:gd name="T22" fmla="*/ 481 w 525"/>
                <a:gd name="T23" fmla="*/ 410 h 526"/>
                <a:gd name="T24" fmla="*/ 449 w 525"/>
                <a:gd name="T25" fmla="*/ 448 h 526"/>
                <a:gd name="T26" fmla="*/ 409 w 525"/>
                <a:gd name="T27" fmla="*/ 481 h 526"/>
                <a:gd name="T28" fmla="*/ 365 w 525"/>
                <a:gd name="T29" fmla="*/ 505 h 526"/>
                <a:gd name="T30" fmla="*/ 316 w 525"/>
                <a:gd name="T31" fmla="*/ 520 h 526"/>
                <a:gd name="T32" fmla="*/ 262 w 525"/>
                <a:gd name="T33" fmla="*/ 526 h 526"/>
                <a:gd name="T34" fmla="*/ 209 w 525"/>
                <a:gd name="T35" fmla="*/ 520 h 526"/>
                <a:gd name="T36" fmla="*/ 160 w 525"/>
                <a:gd name="T37" fmla="*/ 505 h 526"/>
                <a:gd name="T38" fmla="*/ 116 w 525"/>
                <a:gd name="T39" fmla="*/ 481 h 526"/>
                <a:gd name="T40" fmla="*/ 76 w 525"/>
                <a:gd name="T41" fmla="*/ 448 h 526"/>
                <a:gd name="T42" fmla="*/ 44 w 525"/>
                <a:gd name="T43" fmla="*/ 410 h 526"/>
                <a:gd name="T44" fmla="*/ 21 w 525"/>
                <a:gd name="T45" fmla="*/ 365 h 526"/>
                <a:gd name="T46" fmla="*/ 4 w 525"/>
                <a:gd name="T47" fmla="*/ 315 h 526"/>
                <a:gd name="T48" fmla="*/ 0 w 525"/>
                <a:gd name="T49" fmla="*/ 264 h 526"/>
                <a:gd name="T50" fmla="*/ 4 w 525"/>
                <a:gd name="T51" fmla="*/ 211 h 526"/>
                <a:gd name="T52" fmla="*/ 21 w 525"/>
                <a:gd name="T53" fmla="*/ 161 h 526"/>
                <a:gd name="T54" fmla="*/ 44 w 525"/>
                <a:gd name="T55" fmla="*/ 116 h 526"/>
                <a:gd name="T56" fmla="*/ 76 w 525"/>
                <a:gd name="T57" fmla="*/ 78 h 526"/>
                <a:gd name="T58" fmla="*/ 116 w 525"/>
                <a:gd name="T59" fmla="*/ 46 h 526"/>
                <a:gd name="T60" fmla="*/ 160 w 525"/>
                <a:gd name="T61" fmla="*/ 21 h 526"/>
                <a:gd name="T62" fmla="*/ 209 w 525"/>
                <a:gd name="T63" fmla="*/ 6 h 526"/>
                <a:gd name="T64" fmla="*/ 262 w 525"/>
                <a:gd name="T65"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5" h="526">
                  <a:moveTo>
                    <a:pt x="262" y="0"/>
                  </a:moveTo>
                  <a:lnTo>
                    <a:pt x="316" y="6"/>
                  </a:lnTo>
                  <a:lnTo>
                    <a:pt x="365" y="21"/>
                  </a:lnTo>
                  <a:lnTo>
                    <a:pt x="409" y="46"/>
                  </a:lnTo>
                  <a:lnTo>
                    <a:pt x="449" y="78"/>
                  </a:lnTo>
                  <a:lnTo>
                    <a:pt x="481" y="116"/>
                  </a:lnTo>
                  <a:lnTo>
                    <a:pt x="504" y="161"/>
                  </a:lnTo>
                  <a:lnTo>
                    <a:pt x="519" y="211"/>
                  </a:lnTo>
                  <a:lnTo>
                    <a:pt x="525" y="264"/>
                  </a:lnTo>
                  <a:lnTo>
                    <a:pt x="519" y="315"/>
                  </a:lnTo>
                  <a:lnTo>
                    <a:pt x="504" y="365"/>
                  </a:lnTo>
                  <a:lnTo>
                    <a:pt x="481" y="410"/>
                  </a:lnTo>
                  <a:lnTo>
                    <a:pt x="449" y="448"/>
                  </a:lnTo>
                  <a:lnTo>
                    <a:pt x="409" y="481"/>
                  </a:lnTo>
                  <a:lnTo>
                    <a:pt x="365" y="505"/>
                  </a:lnTo>
                  <a:lnTo>
                    <a:pt x="316" y="520"/>
                  </a:lnTo>
                  <a:lnTo>
                    <a:pt x="262" y="526"/>
                  </a:lnTo>
                  <a:lnTo>
                    <a:pt x="209" y="520"/>
                  </a:lnTo>
                  <a:lnTo>
                    <a:pt x="160" y="505"/>
                  </a:lnTo>
                  <a:lnTo>
                    <a:pt x="116" y="481"/>
                  </a:lnTo>
                  <a:lnTo>
                    <a:pt x="76" y="448"/>
                  </a:lnTo>
                  <a:lnTo>
                    <a:pt x="44" y="410"/>
                  </a:lnTo>
                  <a:lnTo>
                    <a:pt x="21" y="365"/>
                  </a:lnTo>
                  <a:lnTo>
                    <a:pt x="4" y="315"/>
                  </a:lnTo>
                  <a:lnTo>
                    <a:pt x="0" y="264"/>
                  </a:lnTo>
                  <a:lnTo>
                    <a:pt x="4" y="211"/>
                  </a:lnTo>
                  <a:lnTo>
                    <a:pt x="21" y="161"/>
                  </a:lnTo>
                  <a:lnTo>
                    <a:pt x="44" y="116"/>
                  </a:lnTo>
                  <a:lnTo>
                    <a:pt x="76" y="78"/>
                  </a:lnTo>
                  <a:lnTo>
                    <a:pt x="116" y="46"/>
                  </a:lnTo>
                  <a:lnTo>
                    <a:pt x="160" y="21"/>
                  </a:lnTo>
                  <a:lnTo>
                    <a:pt x="209" y="6"/>
                  </a:lnTo>
                  <a:lnTo>
                    <a:pt x="262"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6" name="Freeform 18"/>
            <p:cNvSpPr/>
            <p:nvPr/>
          </p:nvSpPr>
          <p:spPr bwMode="auto">
            <a:xfrm>
              <a:off x="6399213" y="4013201"/>
              <a:ext cx="417513" cy="417513"/>
            </a:xfrm>
            <a:custGeom>
              <a:avLst/>
              <a:gdLst>
                <a:gd name="T0" fmla="*/ 264 w 527"/>
                <a:gd name="T1" fmla="*/ 0 h 526"/>
                <a:gd name="T2" fmla="*/ 318 w 527"/>
                <a:gd name="T3" fmla="*/ 6 h 526"/>
                <a:gd name="T4" fmla="*/ 365 w 527"/>
                <a:gd name="T5" fmla="*/ 21 h 526"/>
                <a:gd name="T6" fmla="*/ 411 w 527"/>
                <a:gd name="T7" fmla="*/ 46 h 526"/>
                <a:gd name="T8" fmla="*/ 449 w 527"/>
                <a:gd name="T9" fmla="*/ 78 h 526"/>
                <a:gd name="T10" fmla="*/ 481 w 527"/>
                <a:gd name="T11" fmla="*/ 116 h 526"/>
                <a:gd name="T12" fmla="*/ 506 w 527"/>
                <a:gd name="T13" fmla="*/ 161 h 526"/>
                <a:gd name="T14" fmla="*/ 521 w 527"/>
                <a:gd name="T15" fmla="*/ 211 h 526"/>
                <a:gd name="T16" fmla="*/ 527 w 527"/>
                <a:gd name="T17" fmla="*/ 264 h 526"/>
                <a:gd name="T18" fmla="*/ 521 w 527"/>
                <a:gd name="T19" fmla="*/ 315 h 526"/>
                <a:gd name="T20" fmla="*/ 506 w 527"/>
                <a:gd name="T21" fmla="*/ 365 h 526"/>
                <a:gd name="T22" fmla="*/ 481 w 527"/>
                <a:gd name="T23" fmla="*/ 410 h 526"/>
                <a:gd name="T24" fmla="*/ 449 w 527"/>
                <a:gd name="T25" fmla="*/ 448 h 526"/>
                <a:gd name="T26" fmla="*/ 411 w 527"/>
                <a:gd name="T27" fmla="*/ 481 h 526"/>
                <a:gd name="T28" fmla="*/ 365 w 527"/>
                <a:gd name="T29" fmla="*/ 505 h 526"/>
                <a:gd name="T30" fmla="*/ 318 w 527"/>
                <a:gd name="T31" fmla="*/ 520 h 526"/>
                <a:gd name="T32" fmla="*/ 264 w 527"/>
                <a:gd name="T33" fmla="*/ 526 h 526"/>
                <a:gd name="T34" fmla="*/ 211 w 527"/>
                <a:gd name="T35" fmla="*/ 520 h 526"/>
                <a:gd name="T36" fmla="*/ 162 w 527"/>
                <a:gd name="T37" fmla="*/ 505 h 526"/>
                <a:gd name="T38" fmla="*/ 116 w 527"/>
                <a:gd name="T39" fmla="*/ 481 h 526"/>
                <a:gd name="T40" fmla="*/ 78 w 527"/>
                <a:gd name="T41" fmla="*/ 448 h 526"/>
                <a:gd name="T42" fmla="*/ 46 w 527"/>
                <a:gd name="T43" fmla="*/ 410 h 526"/>
                <a:gd name="T44" fmla="*/ 21 w 527"/>
                <a:gd name="T45" fmla="*/ 365 h 526"/>
                <a:gd name="T46" fmla="*/ 6 w 527"/>
                <a:gd name="T47" fmla="*/ 315 h 526"/>
                <a:gd name="T48" fmla="*/ 0 w 527"/>
                <a:gd name="T49" fmla="*/ 264 h 526"/>
                <a:gd name="T50" fmla="*/ 6 w 527"/>
                <a:gd name="T51" fmla="*/ 211 h 526"/>
                <a:gd name="T52" fmla="*/ 21 w 527"/>
                <a:gd name="T53" fmla="*/ 161 h 526"/>
                <a:gd name="T54" fmla="*/ 46 w 527"/>
                <a:gd name="T55" fmla="*/ 116 h 526"/>
                <a:gd name="T56" fmla="*/ 78 w 527"/>
                <a:gd name="T57" fmla="*/ 78 h 526"/>
                <a:gd name="T58" fmla="*/ 116 w 527"/>
                <a:gd name="T59" fmla="*/ 46 h 526"/>
                <a:gd name="T60" fmla="*/ 162 w 527"/>
                <a:gd name="T61" fmla="*/ 21 h 526"/>
                <a:gd name="T62" fmla="*/ 211 w 527"/>
                <a:gd name="T63" fmla="*/ 6 h 526"/>
                <a:gd name="T64" fmla="*/ 264 w 527"/>
                <a:gd name="T65"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7" h="526">
                  <a:moveTo>
                    <a:pt x="264" y="0"/>
                  </a:moveTo>
                  <a:lnTo>
                    <a:pt x="318" y="6"/>
                  </a:lnTo>
                  <a:lnTo>
                    <a:pt x="365" y="21"/>
                  </a:lnTo>
                  <a:lnTo>
                    <a:pt x="411" y="46"/>
                  </a:lnTo>
                  <a:lnTo>
                    <a:pt x="449" y="78"/>
                  </a:lnTo>
                  <a:lnTo>
                    <a:pt x="481" y="116"/>
                  </a:lnTo>
                  <a:lnTo>
                    <a:pt x="506" y="161"/>
                  </a:lnTo>
                  <a:lnTo>
                    <a:pt x="521" y="211"/>
                  </a:lnTo>
                  <a:lnTo>
                    <a:pt x="527" y="264"/>
                  </a:lnTo>
                  <a:lnTo>
                    <a:pt x="521" y="315"/>
                  </a:lnTo>
                  <a:lnTo>
                    <a:pt x="506" y="365"/>
                  </a:lnTo>
                  <a:lnTo>
                    <a:pt x="481" y="410"/>
                  </a:lnTo>
                  <a:lnTo>
                    <a:pt x="449" y="448"/>
                  </a:lnTo>
                  <a:lnTo>
                    <a:pt x="411" y="481"/>
                  </a:lnTo>
                  <a:lnTo>
                    <a:pt x="365" y="505"/>
                  </a:lnTo>
                  <a:lnTo>
                    <a:pt x="318" y="520"/>
                  </a:lnTo>
                  <a:lnTo>
                    <a:pt x="264" y="526"/>
                  </a:lnTo>
                  <a:lnTo>
                    <a:pt x="211" y="520"/>
                  </a:lnTo>
                  <a:lnTo>
                    <a:pt x="162" y="505"/>
                  </a:lnTo>
                  <a:lnTo>
                    <a:pt x="116" y="481"/>
                  </a:lnTo>
                  <a:lnTo>
                    <a:pt x="78" y="448"/>
                  </a:lnTo>
                  <a:lnTo>
                    <a:pt x="46" y="410"/>
                  </a:lnTo>
                  <a:lnTo>
                    <a:pt x="21" y="365"/>
                  </a:lnTo>
                  <a:lnTo>
                    <a:pt x="6" y="315"/>
                  </a:lnTo>
                  <a:lnTo>
                    <a:pt x="0" y="264"/>
                  </a:lnTo>
                  <a:lnTo>
                    <a:pt x="6" y="211"/>
                  </a:lnTo>
                  <a:lnTo>
                    <a:pt x="21" y="161"/>
                  </a:lnTo>
                  <a:lnTo>
                    <a:pt x="46" y="116"/>
                  </a:lnTo>
                  <a:lnTo>
                    <a:pt x="78" y="78"/>
                  </a:lnTo>
                  <a:lnTo>
                    <a:pt x="116" y="46"/>
                  </a:lnTo>
                  <a:lnTo>
                    <a:pt x="162" y="21"/>
                  </a:lnTo>
                  <a:lnTo>
                    <a:pt x="211" y="6"/>
                  </a:lnTo>
                  <a:lnTo>
                    <a:pt x="264"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7" name="Freeform 19"/>
            <p:cNvSpPr/>
            <p:nvPr/>
          </p:nvSpPr>
          <p:spPr bwMode="auto">
            <a:xfrm>
              <a:off x="5838826" y="1981201"/>
              <a:ext cx="1243013" cy="1241425"/>
            </a:xfrm>
            <a:custGeom>
              <a:avLst/>
              <a:gdLst>
                <a:gd name="T0" fmla="*/ 154 w 1566"/>
                <a:gd name="T1" fmla="*/ 0 h 1565"/>
                <a:gd name="T2" fmla="*/ 664 w 1566"/>
                <a:gd name="T3" fmla="*/ 0 h 1565"/>
                <a:gd name="T4" fmla="*/ 664 w 1566"/>
                <a:gd name="T5" fmla="*/ 256 h 1565"/>
                <a:gd name="T6" fmla="*/ 670 w 1566"/>
                <a:gd name="T7" fmla="*/ 275 h 1565"/>
                <a:gd name="T8" fmla="*/ 683 w 1566"/>
                <a:gd name="T9" fmla="*/ 288 h 1565"/>
                <a:gd name="T10" fmla="*/ 702 w 1566"/>
                <a:gd name="T11" fmla="*/ 294 h 1565"/>
                <a:gd name="T12" fmla="*/ 866 w 1566"/>
                <a:gd name="T13" fmla="*/ 294 h 1565"/>
                <a:gd name="T14" fmla="*/ 885 w 1566"/>
                <a:gd name="T15" fmla="*/ 288 h 1565"/>
                <a:gd name="T16" fmla="*/ 898 w 1566"/>
                <a:gd name="T17" fmla="*/ 275 h 1565"/>
                <a:gd name="T18" fmla="*/ 904 w 1566"/>
                <a:gd name="T19" fmla="*/ 256 h 1565"/>
                <a:gd name="T20" fmla="*/ 904 w 1566"/>
                <a:gd name="T21" fmla="*/ 0 h 1565"/>
                <a:gd name="T22" fmla="*/ 1412 w 1566"/>
                <a:gd name="T23" fmla="*/ 0 h 1565"/>
                <a:gd name="T24" fmla="*/ 1453 w 1566"/>
                <a:gd name="T25" fmla="*/ 5 h 1565"/>
                <a:gd name="T26" fmla="*/ 1489 w 1566"/>
                <a:gd name="T27" fmla="*/ 21 h 1565"/>
                <a:gd name="T28" fmla="*/ 1522 w 1566"/>
                <a:gd name="T29" fmla="*/ 45 h 1565"/>
                <a:gd name="T30" fmla="*/ 1545 w 1566"/>
                <a:gd name="T31" fmla="*/ 78 h 1565"/>
                <a:gd name="T32" fmla="*/ 1562 w 1566"/>
                <a:gd name="T33" fmla="*/ 114 h 1565"/>
                <a:gd name="T34" fmla="*/ 1566 w 1566"/>
                <a:gd name="T35" fmla="*/ 154 h 1565"/>
                <a:gd name="T36" fmla="*/ 1566 w 1566"/>
                <a:gd name="T37" fmla="*/ 1411 h 1565"/>
                <a:gd name="T38" fmla="*/ 1562 w 1566"/>
                <a:gd name="T39" fmla="*/ 1451 h 1565"/>
                <a:gd name="T40" fmla="*/ 1545 w 1566"/>
                <a:gd name="T41" fmla="*/ 1489 h 1565"/>
                <a:gd name="T42" fmla="*/ 1522 w 1566"/>
                <a:gd name="T43" fmla="*/ 1519 h 1565"/>
                <a:gd name="T44" fmla="*/ 1489 w 1566"/>
                <a:gd name="T45" fmla="*/ 1544 h 1565"/>
                <a:gd name="T46" fmla="*/ 1453 w 1566"/>
                <a:gd name="T47" fmla="*/ 1559 h 1565"/>
                <a:gd name="T48" fmla="*/ 1412 w 1566"/>
                <a:gd name="T49" fmla="*/ 1565 h 1565"/>
                <a:gd name="T50" fmla="*/ 154 w 1566"/>
                <a:gd name="T51" fmla="*/ 1565 h 1565"/>
                <a:gd name="T52" fmla="*/ 114 w 1566"/>
                <a:gd name="T53" fmla="*/ 1559 h 1565"/>
                <a:gd name="T54" fmla="*/ 76 w 1566"/>
                <a:gd name="T55" fmla="*/ 1544 h 1565"/>
                <a:gd name="T56" fmla="*/ 46 w 1566"/>
                <a:gd name="T57" fmla="*/ 1519 h 1565"/>
                <a:gd name="T58" fmla="*/ 21 w 1566"/>
                <a:gd name="T59" fmla="*/ 1489 h 1565"/>
                <a:gd name="T60" fmla="*/ 6 w 1566"/>
                <a:gd name="T61" fmla="*/ 1451 h 1565"/>
                <a:gd name="T62" fmla="*/ 0 w 1566"/>
                <a:gd name="T63" fmla="*/ 1411 h 1565"/>
                <a:gd name="T64" fmla="*/ 0 w 1566"/>
                <a:gd name="T65" fmla="*/ 154 h 1565"/>
                <a:gd name="T66" fmla="*/ 6 w 1566"/>
                <a:gd name="T67" fmla="*/ 114 h 1565"/>
                <a:gd name="T68" fmla="*/ 21 w 1566"/>
                <a:gd name="T69" fmla="*/ 78 h 1565"/>
                <a:gd name="T70" fmla="*/ 46 w 1566"/>
                <a:gd name="T71" fmla="*/ 45 h 1565"/>
                <a:gd name="T72" fmla="*/ 76 w 1566"/>
                <a:gd name="T73" fmla="*/ 21 h 1565"/>
                <a:gd name="T74" fmla="*/ 114 w 1566"/>
                <a:gd name="T75" fmla="*/ 5 h 1565"/>
                <a:gd name="T76" fmla="*/ 154 w 1566"/>
                <a:gd name="T77" fmla="*/ 0 h 1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6" h="1565">
                  <a:moveTo>
                    <a:pt x="154" y="0"/>
                  </a:moveTo>
                  <a:lnTo>
                    <a:pt x="664" y="0"/>
                  </a:lnTo>
                  <a:lnTo>
                    <a:pt x="664" y="256"/>
                  </a:lnTo>
                  <a:lnTo>
                    <a:pt x="670" y="275"/>
                  </a:lnTo>
                  <a:lnTo>
                    <a:pt x="683" y="288"/>
                  </a:lnTo>
                  <a:lnTo>
                    <a:pt x="702" y="294"/>
                  </a:lnTo>
                  <a:lnTo>
                    <a:pt x="866" y="294"/>
                  </a:lnTo>
                  <a:lnTo>
                    <a:pt x="885" y="288"/>
                  </a:lnTo>
                  <a:lnTo>
                    <a:pt x="898" y="275"/>
                  </a:lnTo>
                  <a:lnTo>
                    <a:pt x="904" y="256"/>
                  </a:lnTo>
                  <a:lnTo>
                    <a:pt x="904" y="0"/>
                  </a:lnTo>
                  <a:lnTo>
                    <a:pt x="1412" y="0"/>
                  </a:lnTo>
                  <a:lnTo>
                    <a:pt x="1453" y="5"/>
                  </a:lnTo>
                  <a:lnTo>
                    <a:pt x="1489" y="21"/>
                  </a:lnTo>
                  <a:lnTo>
                    <a:pt x="1522" y="45"/>
                  </a:lnTo>
                  <a:lnTo>
                    <a:pt x="1545" y="78"/>
                  </a:lnTo>
                  <a:lnTo>
                    <a:pt x="1562" y="114"/>
                  </a:lnTo>
                  <a:lnTo>
                    <a:pt x="1566" y="154"/>
                  </a:lnTo>
                  <a:lnTo>
                    <a:pt x="1566" y="1411"/>
                  </a:lnTo>
                  <a:lnTo>
                    <a:pt x="1562" y="1451"/>
                  </a:lnTo>
                  <a:lnTo>
                    <a:pt x="1545" y="1489"/>
                  </a:lnTo>
                  <a:lnTo>
                    <a:pt x="1522" y="1519"/>
                  </a:lnTo>
                  <a:lnTo>
                    <a:pt x="1489" y="1544"/>
                  </a:lnTo>
                  <a:lnTo>
                    <a:pt x="1453" y="1559"/>
                  </a:lnTo>
                  <a:lnTo>
                    <a:pt x="1412" y="1565"/>
                  </a:lnTo>
                  <a:lnTo>
                    <a:pt x="154" y="1565"/>
                  </a:lnTo>
                  <a:lnTo>
                    <a:pt x="114" y="1559"/>
                  </a:lnTo>
                  <a:lnTo>
                    <a:pt x="76" y="1544"/>
                  </a:lnTo>
                  <a:lnTo>
                    <a:pt x="46" y="1519"/>
                  </a:lnTo>
                  <a:lnTo>
                    <a:pt x="21" y="1489"/>
                  </a:lnTo>
                  <a:lnTo>
                    <a:pt x="6" y="1451"/>
                  </a:lnTo>
                  <a:lnTo>
                    <a:pt x="0" y="1411"/>
                  </a:lnTo>
                  <a:lnTo>
                    <a:pt x="0" y="154"/>
                  </a:lnTo>
                  <a:lnTo>
                    <a:pt x="6" y="114"/>
                  </a:lnTo>
                  <a:lnTo>
                    <a:pt x="21" y="78"/>
                  </a:lnTo>
                  <a:lnTo>
                    <a:pt x="46" y="45"/>
                  </a:lnTo>
                  <a:lnTo>
                    <a:pt x="76" y="21"/>
                  </a:lnTo>
                  <a:lnTo>
                    <a:pt x="114" y="5"/>
                  </a:lnTo>
                  <a:lnTo>
                    <a:pt x="154"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8" name="Freeform 20"/>
            <p:cNvSpPr/>
            <p:nvPr/>
          </p:nvSpPr>
          <p:spPr bwMode="auto">
            <a:xfrm>
              <a:off x="4330701" y="1981201"/>
              <a:ext cx="1244600" cy="1241425"/>
            </a:xfrm>
            <a:custGeom>
              <a:avLst/>
              <a:gdLst>
                <a:gd name="T0" fmla="*/ 154 w 1568"/>
                <a:gd name="T1" fmla="*/ 0 h 1565"/>
                <a:gd name="T2" fmla="*/ 664 w 1568"/>
                <a:gd name="T3" fmla="*/ 0 h 1565"/>
                <a:gd name="T4" fmla="*/ 664 w 1568"/>
                <a:gd name="T5" fmla="*/ 256 h 1565"/>
                <a:gd name="T6" fmla="*/ 670 w 1568"/>
                <a:gd name="T7" fmla="*/ 275 h 1565"/>
                <a:gd name="T8" fmla="*/ 683 w 1568"/>
                <a:gd name="T9" fmla="*/ 288 h 1565"/>
                <a:gd name="T10" fmla="*/ 702 w 1568"/>
                <a:gd name="T11" fmla="*/ 294 h 1565"/>
                <a:gd name="T12" fmla="*/ 866 w 1568"/>
                <a:gd name="T13" fmla="*/ 294 h 1565"/>
                <a:gd name="T14" fmla="*/ 885 w 1568"/>
                <a:gd name="T15" fmla="*/ 288 h 1565"/>
                <a:gd name="T16" fmla="*/ 898 w 1568"/>
                <a:gd name="T17" fmla="*/ 275 h 1565"/>
                <a:gd name="T18" fmla="*/ 904 w 1568"/>
                <a:gd name="T19" fmla="*/ 256 h 1565"/>
                <a:gd name="T20" fmla="*/ 904 w 1568"/>
                <a:gd name="T21" fmla="*/ 0 h 1565"/>
                <a:gd name="T22" fmla="*/ 1414 w 1568"/>
                <a:gd name="T23" fmla="*/ 0 h 1565"/>
                <a:gd name="T24" fmla="*/ 1453 w 1568"/>
                <a:gd name="T25" fmla="*/ 5 h 1565"/>
                <a:gd name="T26" fmla="*/ 1491 w 1568"/>
                <a:gd name="T27" fmla="*/ 21 h 1565"/>
                <a:gd name="T28" fmla="*/ 1522 w 1568"/>
                <a:gd name="T29" fmla="*/ 45 h 1565"/>
                <a:gd name="T30" fmla="*/ 1547 w 1568"/>
                <a:gd name="T31" fmla="*/ 78 h 1565"/>
                <a:gd name="T32" fmla="*/ 1562 w 1568"/>
                <a:gd name="T33" fmla="*/ 114 h 1565"/>
                <a:gd name="T34" fmla="*/ 1568 w 1568"/>
                <a:gd name="T35" fmla="*/ 154 h 1565"/>
                <a:gd name="T36" fmla="*/ 1568 w 1568"/>
                <a:gd name="T37" fmla="*/ 1411 h 1565"/>
                <a:gd name="T38" fmla="*/ 1562 w 1568"/>
                <a:gd name="T39" fmla="*/ 1451 h 1565"/>
                <a:gd name="T40" fmla="*/ 1547 w 1568"/>
                <a:gd name="T41" fmla="*/ 1489 h 1565"/>
                <a:gd name="T42" fmla="*/ 1522 w 1568"/>
                <a:gd name="T43" fmla="*/ 1519 h 1565"/>
                <a:gd name="T44" fmla="*/ 1491 w 1568"/>
                <a:gd name="T45" fmla="*/ 1544 h 1565"/>
                <a:gd name="T46" fmla="*/ 1453 w 1568"/>
                <a:gd name="T47" fmla="*/ 1559 h 1565"/>
                <a:gd name="T48" fmla="*/ 1414 w 1568"/>
                <a:gd name="T49" fmla="*/ 1565 h 1565"/>
                <a:gd name="T50" fmla="*/ 154 w 1568"/>
                <a:gd name="T51" fmla="*/ 1565 h 1565"/>
                <a:gd name="T52" fmla="*/ 115 w 1568"/>
                <a:gd name="T53" fmla="*/ 1559 h 1565"/>
                <a:gd name="T54" fmla="*/ 77 w 1568"/>
                <a:gd name="T55" fmla="*/ 1544 h 1565"/>
                <a:gd name="T56" fmla="*/ 46 w 1568"/>
                <a:gd name="T57" fmla="*/ 1519 h 1565"/>
                <a:gd name="T58" fmla="*/ 21 w 1568"/>
                <a:gd name="T59" fmla="*/ 1489 h 1565"/>
                <a:gd name="T60" fmla="*/ 6 w 1568"/>
                <a:gd name="T61" fmla="*/ 1451 h 1565"/>
                <a:gd name="T62" fmla="*/ 0 w 1568"/>
                <a:gd name="T63" fmla="*/ 1411 h 1565"/>
                <a:gd name="T64" fmla="*/ 0 w 1568"/>
                <a:gd name="T65" fmla="*/ 154 h 1565"/>
                <a:gd name="T66" fmla="*/ 6 w 1568"/>
                <a:gd name="T67" fmla="*/ 114 h 1565"/>
                <a:gd name="T68" fmla="*/ 21 w 1568"/>
                <a:gd name="T69" fmla="*/ 78 h 1565"/>
                <a:gd name="T70" fmla="*/ 46 w 1568"/>
                <a:gd name="T71" fmla="*/ 45 h 1565"/>
                <a:gd name="T72" fmla="*/ 77 w 1568"/>
                <a:gd name="T73" fmla="*/ 21 h 1565"/>
                <a:gd name="T74" fmla="*/ 115 w 1568"/>
                <a:gd name="T75" fmla="*/ 5 h 1565"/>
                <a:gd name="T76" fmla="*/ 154 w 1568"/>
                <a:gd name="T77" fmla="*/ 0 h 1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8" h="1565">
                  <a:moveTo>
                    <a:pt x="154" y="0"/>
                  </a:moveTo>
                  <a:lnTo>
                    <a:pt x="664" y="0"/>
                  </a:lnTo>
                  <a:lnTo>
                    <a:pt x="664" y="256"/>
                  </a:lnTo>
                  <a:lnTo>
                    <a:pt x="670" y="275"/>
                  </a:lnTo>
                  <a:lnTo>
                    <a:pt x="683" y="288"/>
                  </a:lnTo>
                  <a:lnTo>
                    <a:pt x="702" y="294"/>
                  </a:lnTo>
                  <a:lnTo>
                    <a:pt x="866" y="294"/>
                  </a:lnTo>
                  <a:lnTo>
                    <a:pt x="885" y="288"/>
                  </a:lnTo>
                  <a:lnTo>
                    <a:pt x="898" y="275"/>
                  </a:lnTo>
                  <a:lnTo>
                    <a:pt x="904" y="256"/>
                  </a:lnTo>
                  <a:lnTo>
                    <a:pt x="904" y="0"/>
                  </a:lnTo>
                  <a:lnTo>
                    <a:pt x="1414" y="0"/>
                  </a:lnTo>
                  <a:lnTo>
                    <a:pt x="1453" y="5"/>
                  </a:lnTo>
                  <a:lnTo>
                    <a:pt x="1491" y="21"/>
                  </a:lnTo>
                  <a:lnTo>
                    <a:pt x="1522" y="45"/>
                  </a:lnTo>
                  <a:lnTo>
                    <a:pt x="1547" y="78"/>
                  </a:lnTo>
                  <a:lnTo>
                    <a:pt x="1562" y="114"/>
                  </a:lnTo>
                  <a:lnTo>
                    <a:pt x="1568" y="154"/>
                  </a:lnTo>
                  <a:lnTo>
                    <a:pt x="1568" y="1411"/>
                  </a:lnTo>
                  <a:lnTo>
                    <a:pt x="1562" y="1451"/>
                  </a:lnTo>
                  <a:lnTo>
                    <a:pt x="1547" y="1489"/>
                  </a:lnTo>
                  <a:lnTo>
                    <a:pt x="1522" y="1519"/>
                  </a:lnTo>
                  <a:lnTo>
                    <a:pt x="1491" y="1544"/>
                  </a:lnTo>
                  <a:lnTo>
                    <a:pt x="1453" y="1559"/>
                  </a:lnTo>
                  <a:lnTo>
                    <a:pt x="1414" y="1565"/>
                  </a:lnTo>
                  <a:lnTo>
                    <a:pt x="154" y="1565"/>
                  </a:lnTo>
                  <a:lnTo>
                    <a:pt x="115" y="1559"/>
                  </a:lnTo>
                  <a:lnTo>
                    <a:pt x="77" y="1544"/>
                  </a:lnTo>
                  <a:lnTo>
                    <a:pt x="46" y="1519"/>
                  </a:lnTo>
                  <a:lnTo>
                    <a:pt x="21" y="1489"/>
                  </a:lnTo>
                  <a:lnTo>
                    <a:pt x="6" y="1451"/>
                  </a:lnTo>
                  <a:lnTo>
                    <a:pt x="0" y="1411"/>
                  </a:lnTo>
                  <a:lnTo>
                    <a:pt x="0" y="154"/>
                  </a:lnTo>
                  <a:lnTo>
                    <a:pt x="6" y="114"/>
                  </a:lnTo>
                  <a:lnTo>
                    <a:pt x="21" y="78"/>
                  </a:lnTo>
                  <a:lnTo>
                    <a:pt x="46" y="45"/>
                  </a:lnTo>
                  <a:lnTo>
                    <a:pt x="77" y="21"/>
                  </a:lnTo>
                  <a:lnTo>
                    <a:pt x="115" y="5"/>
                  </a:lnTo>
                  <a:lnTo>
                    <a:pt x="154"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9" name="Freeform 21"/>
            <p:cNvSpPr/>
            <p:nvPr/>
          </p:nvSpPr>
          <p:spPr bwMode="auto">
            <a:xfrm>
              <a:off x="2824163" y="1981201"/>
              <a:ext cx="1243013" cy="1241425"/>
            </a:xfrm>
            <a:custGeom>
              <a:avLst/>
              <a:gdLst>
                <a:gd name="T0" fmla="*/ 154 w 1566"/>
                <a:gd name="T1" fmla="*/ 0 h 1565"/>
                <a:gd name="T2" fmla="*/ 662 w 1566"/>
                <a:gd name="T3" fmla="*/ 0 h 1565"/>
                <a:gd name="T4" fmla="*/ 662 w 1566"/>
                <a:gd name="T5" fmla="*/ 256 h 1565"/>
                <a:gd name="T6" fmla="*/ 668 w 1566"/>
                <a:gd name="T7" fmla="*/ 275 h 1565"/>
                <a:gd name="T8" fmla="*/ 681 w 1566"/>
                <a:gd name="T9" fmla="*/ 288 h 1565"/>
                <a:gd name="T10" fmla="*/ 700 w 1566"/>
                <a:gd name="T11" fmla="*/ 294 h 1565"/>
                <a:gd name="T12" fmla="*/ 864 w 1566"/>
                <a:gd name="T13" fmla="*/ 294 h 1565"/>
                <a:gd name="T14" fmla="*/ 883 w 1566"/>
                <a:gd name="T15" fmla="*/ 288 h 1565"/>
                <a:gd name="T16" fmla="*/ 896 w 1566"/>
                <a:gd name="T17" fmla="*/ 275 h 1565"/>
                <a:gd name="T18" fmla="*/ 902 w 1566"/>
                <a:gd name="T19" fmla="*/ 256 h 1565"/>
                <a:gd name="T20" fmla="*/ 902 w 1566"/>
                <a:gd name="T21" fmla="*/ 0 h 1565"/>
                <a:gd name="T22" fmla="*/ 1412 w 1566"/>
                <a:gd name="T23" fmla="*/ 0 h 1565"/>
                <a:gd name="T24" fmla="*/ 1452 w 1566"/>
                <a:gd name="T25" fmla="*/ 5 h 1565"/>
                <a:gd name="T26" fmla="*/ 1490 w 1566"/>
                <a:gd name="T27" fmla="*/ 21 h 1565"/>
                <a:gd name="T28" fmla="*/ 1520 w 1566"/>
                <a:gd name="T29" fmla="*/ 45 h 1565"/>
                <a:gd name="T30" fmla="*/ 1545 w 1566"/>
                <a:gd name="T31" fmla="*/ 78 h 1565"/>
                <a:gd name="T32" fmla="*/ 1560 w 1566"/>
                <a:gd name="T33" fmla="*/ 114 h 1565"/>
                <a:gd name="T34" fmla="*/ 1566 w 1566"/>
                <a:gd name="T35" fmla="*/ 154 h 1565"/>
                <a:gd name="T36" fmla="*/ 1566 w 1566"/>
                <a:gd name="T37" fmla="*/ 1411 h 1565"/>
                <a:gd name="T38" fmla="*/ 1560 w 1566"/>
                <a:gd name="T39" fmla="*/ 1451 h 1565"/>
                <a:gd name="T40" fmla="*/ 1545 w 1566"/>
                <a:gd name="T41" fmla="*/ 1489 h 1565"/>
                <a:gd name="T42" fmla="*/ 1520 w 1566"/>
                <a:gd name="T43" fmla="*/ 1519 h 1565"/>
                <a:gd name="T44" fmla="*/ 1490 w 1566"/>
                <a:gd name="T45" fmla="*/ 1544 h 1565"/>
                <a:gd name="T46" fmla="*/ 1452 w 1566"/>
                <a:gd name="T47" fmla="*/ 1559 h 1565"/>
                <a:gd name="T48" fmla="*/ 1412 w 1566"/>
                <a:gd name="T49" fmla="*/ 1565 h 1565"/>
                <a:gd name="T50" fmla="*/ 154 w 1566"/>
                <a:gd name="T51" fmla="*/ 1565 h 1565"/>
                <a:gd name="T52" fmla="*/ 113 w 1566"/>
                <a:gd name="T53" fmla="*/ 1559 h 1565"/>
                <a:gd name="T54" fmla="*/ 77 w 1566"/>
                <a:gd name="T55" fmla="*/ 1544 h 1565"/>
                <a:gd name="T56" fmla="*/ 44 w 1566"/>
                <a:gd name="T57" fmla="*/ 1519 h 1565"/>
                <a:gd name="T58" fmla="*/ 21 w 1566"/>
                <a:gd name="T59" fmla="*/ 1489 h 1565"/>
                <a:gd name="T60" fmla="*/ 4 w 1566"/>
                <a:gd name="T61" fmla="*/ 1451 h 1565"/>
                <a:gd name="T62" fmla="*/ 0 w 1566"/>
                <a:gd name="T63" fmla="*/ 1411 h 1565"/>
                <a:gd name="T64" fmla="*/ 0 w 1566"/>
                <a:gd name="T65" fmla="*/ 154 h 1565"/>
                <a:gd name="T66" fmla="*/ 4 w 1566"/>
                <a:gd name="T67" fmla="*/ 114 h 1565"/>
                <a:gd name="T68" fmla="*/ 21 w 1566"/>
                <a:gd name="T69" fmla="*/ 78 h 1565"/>
                <a:gd name="T70" fmla="*/ 44 w 1566"/>
                <a:gd name="T71" fmla="*/ 45 h 1565"/>
                <a:gd name="T72" fmla="*/ 77 w 1566"/>
                <a:gd name="T73" fmla="*/ 21 h 1565"/>
                <a:gd name="T74" fmla="*/ 113 w 1566"/>
                <a:gd name="T75" fmla="*/ 5 h 1565"/>
                <a:gd name="T76" fmla="*/ 154 w 1566"/>
                <a:gd name="T77" fmla="*/ 0 h 1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6" h="1565">
                  <a:moveTo>
                    <a:pt x="154" y="0"/>
                  </a:moveTo>
                  <a:lnTo>
                    <a:pt x="662" y="0"/>
                  </a:lnTo>
                  <a:lnTo>
                    <a:pt x="662" y="256"/>
                  </a:lnTo>
                  <a:lnTo>
                    <a:pt x="668" y="275"/>
                  </a:lnTo>
                  <a:lnTo>
                    <a:pt x="681" y="288"/>
                  </a:lnTo>
                  <a:lnTo>
                    <a:pt x="700" y="294"/>
                  </a:lnTo>
                  <a:lnTo>
                    <a:pt x="864" y="294"/>
                  </a:lnTo>
                  <a:lnTo>
                    <a:pt x="883" y="288"/>
                  </a:lnTo>
                  <a:lnTo>
                    <a:pt x="896" y="275"/>
                  </a:lnTo>
                  <a:lnTo>
                    <a:pt x="902" y="256"/>
                  </a:lnTo>
                  <a:lnTo>
                    <a:pt x="902" y="0"/>
                  </a:lnTo>
                  <a:lnTo>
                    <a:pt x="1412" y="0"/>
                  </a:lnTo>
                  <a:lnTo>
                    <a:pt x="1452" y="5"/>
                  </a:lnTo>
                  <a:lnTo>
                    <a:pt x="1490" y="21"/>
                  </a:lnTo>
                  <a:lnTo>
                    <a:pt x="1520" y="45"/>
                  </a:lnTo>
                  <a:lnTo>
                    <a:pt x="1545" y="78"/>
                  </a:lnTo>
                  <a:lnTo>
                    <a:pt x="1560" y="114"/>
                  </a:lnTo>
                  <a:lnTo>
                    <a:pt x="1566" y="154"/>
                  </a:lnTo>
                  <a:lnTo>
                    <a:pt x="1566" y="1411"/>
                  </a:lnTo>
                  <a:lnTo>
                    <a:pt x="1560" y="1451"/>
                  </a:lnTo>
                  <a:lnTo>
                    <a:pt x="1545" y="1489"/>
                  </a:lnTo>
                  <a:lnTo>
                    <a:pt x="1520" y="1519"/>
                  </a:lnTo>
                  <a:lnTo>
                    <a:pt x="1490" y="1544"/>
                  </a:lnTo>
                  <a:lnTo>
                    <a:pt x="1452" y="1559"/>
                  </a:lnTo>
                  <a:lnTo>
                    <a:pt x="1412" y="1565"/>
                  </a:lnTo>
                  <a:lnTo>
                    <a:pt x="154" y="1565"/>
                  </a:lnTo>
                  <a:lnTo>
                    <a:pt x="113" y="1559"/>
                  </a:lnTo>
                  <a:lnTo>
                    <a:pt x="77" y="1544"/>
                  </a:lnTo>
                  <a:lnTo>
                    <a:pt x="44" y="1519"/>
                  </a:lnTo>
                  <a:lnTo>
                    <a:pt x="21" y="1489"/>
                  </a:lnTo>
                  <a:lnTo>
                    <a:pt x="4" y="1451"/>
                  </a:lnTo>
                  <a:lnTo>
                    <a:pt x="0" y="1411"/>
                  </a:lnTo>
                  <a:lnTo>
                    <a:pt x="0" y="154"/>
                  </a:lnTo>
                  <a:lnTo>
                    <a:pt x="4" y="114"/>
                  </a:lnTo>
                  <a:lnTo>
                    <a:pt x="21" y="78"/>
                  </a:lnTo>
                  <a:lnTo>
                    <a:pt x="44" y="45"/>
                  </a:lnTo>
                  <a:lnTo>
                    <a:pt x="77" y="21"/>
                  </a:lnTo>
                  <a:lnTo>
                    <a:pt x="113" y="5"/>
                  </a:lnTo>
                  <a:lnTo>
                    <a:pt x="154"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sp>
        <p:nvSpPr>
          <p:cNvPr id="230" name="Freeform 112"/>
          <p:cNvSpPr>
            <a:spLocks noEditPoints="1"/>
          </p:cNvSpPr>
          <p:nvPr/>
        </p:nvSpPr>
        <p:spPr bwMode="auto">
          <a:xfrm>
            <a:off x="4011631" y="909730"/>
            <a:ext cx="497392" cy="409088"/>
          </a:xfrm>
          <a:custGeom>
            <a:avLst/>
            <a:gdLst/>
            <a:ahLst/>
            <a:cxnLst>
              <a:cxn ang="0">
                <a:pos x="6" y="31"/>
              </a:cxn>
              <a:cxn ang="0">
                <a:pos x="27" y="77"/>
              </a:cxn>
              <a:cxn ang="0">
                <a:pos x="26" y="77"/>
              </a:cxn>
              <a:cxn ang="0">
                <a:pos x="26" y="77"/>
              </a:cxn>
              <a:cxn ang="0">
                <a:pos x="26" y="78"/>
              </a:cxn>
              <a:cxn ang="0">
                <a:pos x="26" y="78"/>
              </a:cxn>
              <a:cxn ang="0">
                <a:pos x="26" y="78"/>
              </a:cxn>
              <a:cxn ang="0">
                <a:pos x="26" y="78"/>
              </a:cxn>
              <a:cxn ang="0">
                <a:pos x="26" y="78"/>
              </a:cxn>
              <a:cxn ang="0">
                <a:pos x="25" y="78"/>
              </a:cxn>
              <a:cxn ang="0">
                <a:pos x="25" y="78"/>
              </a:cxn>
              <a:cxn ang="0">
                <a:pos x="25" y="78"/>
              </a:cxn>
              <a:cxn ang="0">
                <a:pos x="25" y="78"/>
              </a:cxn>
              <a:cxn ang="0">
                <a:pos x="25" y="78"/>
              </a:cxn>
              <a:cxn ang="0">
                <a:pos x="25" y="77"/>
              </a:cxn>
              <a:cxn ang="0">
                <a:pos x="25" y="77"/>
              </a:cxn>
              <a:cxn ang="0">
                <a:pos x="25" y="77"/>
              </a:cxn>
              <a:cxn ang="0">
                <a:pos x="10" y="37"/>
              </a:cxn>
              <a:cxn ang="0">
                <a:pos x="26" y="42"/>
              </a:cxn>
              <a:cxn ang="0">
                <a:pos x="34" y="15"/>
              </a:cxn>
              <a:cxn ang="0">
                <a:pos x="78" y="50"/>
              </a:cxn>
              <a:cxn ang="0">
                <a:pos x="80" y="67"/>
              </a:cxn>
              <a:cxn ang="0">
                <a:pos x="59" y="96"/>
              </a:cxn>
              <a:cxn ang="0">
                <a:pos x="59" y="96"/>
              </a:cxn>
              <a:cxn ang="0">
                <a:pos x="59" y="96"/>
              </a:cxn>
              <a:cxn ang="0">
                <a:pos x="59" y="96"/>
              </a:cxn>
              <a:cxn ang="0">
                <a:pos x="59" y="96"/>
              </a:cxn>
              <a:cxn ang="0">
                <a:pos x="59" y="96"/>
              </a:cxn>
              <a:cxn ang="0">
                <a:pos x="58" y="96"/>
              </a:cxn>
              <a:cxn ang="0">
                <a:pos x="58" y="96"/>
              </a:cxn>
              <a:cxn ang="0">
                <a:pos x="58" y="96"/>
              </a:cxn>
              <a:cxn ang="0">
                <a:pos x="58" y="96"/>
              </a:cxn>
              <a:cxn ang="0">
                <a:pos x="58" y="96"/>
              </a:cxn>
              <a:cxn ang="0">
                <a:pos x="58" y="96"/>
              </a:cxn>
              <a:cxn ang="0">
                <a:pos x="58" y="96"/>
              </a:cxn>
              <a:cxn ang="0">
                <a:pos x="57" y="96"/>
              </a:cxn>
              <a:cxn ang="0">
                <a:pos x="57" y="96"/>
              </a:cxn>
              <a:cxn ang="0">
                <a:pos x="57" y="96"/>
              </a:cxn>
              <a:cxn ang="0">
                <a:pos x="36" y="53"/>
              </a:cxn>
              <a:cxn ang="0">
                <a:pos x="72" y="79"/>
              </a:cxn>
              <a:cxn ang="0">
                <a:pos x="70" y="75"/>
              </a:cxn>
              <a:cxn ang="0">
                <a:pos x="111" y="47"/>
              </a:cxn>
              <a:cxn ang="0">
                <a:pos x="92" y="77"/>
              </a:cxn>
              <a:cxn ang="0">
                <a:pos x="92" y="77"/>
              </a:cxn>
              <a:cxn ang="0">
                <a:pos x="92" y="77"/>
              </a:cxn>
              <a:cxn ang="0">
                <a:pos x="92" y="77"/>
              </a:cxn>
              <a:cxn ang="0">
                <a:pos x="92" y="77"/>
              </a:cxn>
              <a:cxn ang="0">
                <a:pos x="92" y="77"/>
              </a:cxn>
              <a:cxn ang="0">
                <a:pos x="92" y="77"/>
              </a:cxn>
              <a:cxn ang="0">
                <a:pos x="92" y="77"/>
              </a:cxn>
              <a:cxn ang="0">
                <a:pos x="91" y="77"/>
              </a:cxn>
              <a:cxn ang="0">
                <a:pos x="91" y="77"/>
              </a:cxn>
              <a:cxn ang="0">
                <a:pos x="91" y="77"/>
              </a:cxn>
              <a:cxn ang="0">
                <a:pos x="91" y="77"/>
              </a:cxn>
              <a:cxn ang="0">
                <a:pos x="91" y="77"/>
              </a:cxn>
              <a:cxn ang="0">
                <a:pos x="91" y="77"/>
              </a:cxn>
              <a:cxn ang="0">
                <a:pos x="91" y="77"/>
              </a:cxn>
              <a:cxn ang="0">
                <a:pos x="90" y="77"/>
              </a:cxn>
              <a:cxn ang="0">
                <a:pos x="82" y="37"/>
              </a:cxn>
              <a:cxn ang="0">
                <a:pos x="102" y="67"/>
              </a:cxn>
              <a:cxn ang="0">
                <a:pos x="105" y="55"/>
              </a:cxn>
            </a:cxnLst>
            <a:rect l="0" t="0" r="r" b="b"/>
            <a:pathLst>
              <a:path w="117" h="96">
                <a:moveTo>
                  <a:pt x="71" y="32"/>
                </a:moveTo>
                <a:cubicBezTo>
                  <a:pt x="77" y="34"/>
                  <a:pt x="77" y="34"/>
                  <a:pt x="77" y="34"/>
                </a:cubicBezTo>
                <a:cubicBezTo>
                  <a:pt x="97" y="24"/>
                  <a:pt x="97" y="24"/>
                  <a:pt x="97" y="24"/>
                </a:cubicBezTo>
                <a:cubicBezTo>
                  <a:pt x="92" y="21"/>
                  <a:pt x="92" y="21"/>
                  <a:pt x="92" y="21"/>
                </a:cubicBezTo>
                <a:cubicBezTo>
                  <a:pt x="71" y="32"/>
                  <a:pt x="71" y="32"/>
                  <a:pt x="71" y="32"/>
                </a:cubicBezTo>
                <a:close/>
                <a:moveTo>
                  <a:pt x="38" y="50"/>
                </a:moveTo>
                <a:cubicBezTo>
                  <a:pt x="44" y="53"/>
                  <a:pt x="44" y="53"/>
                  <a:pt x="44" y="53"/>
                </a:cubicBezTo>
                <a:cubicBezTo>
                  <a:pt x="64" y="43"/>
                  <a:pt x="64" y="43"/>
                  <a:pt x="64" y="43"/>
                </a:cubicBezTo>
                <a:cubicBezTo>
                  <a:pt x="58" y="40"/>
                  <a:pt x="58" y="40"/>
                  <a:pt x="58" y="40"/>
                </a:cubicBezTo>
                <a:cubicBezTo>
                  <a:pt x="38" y="50"/>
                  <a:pt x="38" y="50"/>
                  <a:pt x="38" y="50"/>
                </a:cubicBezTo>
                <a:close/>
                <a:moveTo>
                  <a:pt x="6" y="31"/>
                </a:moveTo>
                <a:cubicBezTo>
                  <a:pt x="12" y="34"/>
                  <a:pt x="12" y="34"/>
                  <a:pt x="12" y="34"/>
                </a:cubicBezTo>
                <a:cubicBezTo>
                  <a:pt x="32" y="24"/>
                  <a:pt x="32" y="24"/>
                  <a:pt x="32" y="24"/>
                </a:cubicBezTo>
                <a:cubicBezTo>
                  <a:pt x="26" y="21"/>
                  <a:pt x="26" y="21"/>
                  <a:pt x="26" y="21"/>
                </a:cubicBezTo>
                <a:cubicBezTo>
                  <a:pt x="6" y="31"/>
                  <a:pt x="6" y="31"/>
                  <a:pt x="6" y="31"/>
                </a:cubicBezTo>
                <a:close/>
                <a:moveTo>
                  <a:pt x="50" y="30"/>
                </a:moveTo>
                <a:cubicBezTo>
                  <a:pt x="51" y="30"/>
                  <a:pt x="52" y="31"/>
                  <a:pt x="52" y="32"/>
                </a:cubicBezTo>
                <a:cubicBezTo>
                  <a:pt x="52" y="33"/>
                  <a:pt x="52" y="33"/>
                  <a:pt x="52" y="33"/>
                </a:cubicBezTo>
                <a:cubicBezTo>
                  <a:pt x="28" y="46"/>
                  <a:pt x="28" y="46"/>
                  <a:pt x="28" y="46"/>
                </a:cubicBezTo>
                <a:cubicBezTo>
                  <a:pt x="28" y="77"/>
                  <a:pt x="28" y="77"/>
                  <a:pt x="28" y="77"/>
                </a:cubicBezTo>
                <a:cubicBezTo>
                  <a:pt x="27" y="77"/>
                  <a:pt x="27" y="77"/>
                  <a:pt x="27" y="77"/>
                </a:cubicBezTo>
                <a:cubicBezTo>
                  <a:pt x="27" y="77"/>
                  <a:pt x="27" y="77"/>
                  <a:pt x="27" y="77"/>
                </a:cubicBezTo>
                <a:cubicBezTo>
                  <a:pt x="27" y="77"/>
                  <a:pt x="27" y="77"/>
                  <a:pt x="27" y="77"/>
                </a:cubicBezTo>
                <a:cubicBezTo>
                  <a:pt x="27" y="77"/>
                  <a:pt x="27" y="77"/>
                  <a:pt x="27" y="77"/>
                </a:cubicBezTo>
                <a:cubicBezTo>
                  <a:pt x="27" y="77"/>
                  <a:pt x="27" y="77"/>
                  <a:pt x="27" y="77"/>
                </a:cubicBezTo>
                <a:cubicBezTo>
                  <a:pt x="27" y="77"/>
                  <a:pt x="27" y="77"/>
                  <a:pt x="27" y="77"/>
                </a:cubicBezTo>
                <a:cubicBezTo>
                  <a:pt x="27" y="77"/>
                  <a:pt x="27" y="77"/>
                  <a:pt x="27" y="77"/>
                </a:cubicBezTo>
                <a:cubicBezTo>
                  <a:pt x="27" y="77"/>
                  <a:pt x="27" y="77"/>
                  <a:pt x="27" y="77"/>
                </a:cubicBezTo>
                <a:cubicBezTo>
                  <a:pt x="27" y="77"/>
                  <a:pt x="27" y="77"/>
                  <a:pt x="27"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7"/>
                  <a:pt x="26" y="77"/>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6" y="78"/>
                  <a:pt x="26" y="78"/>
                  <a:pt x="26"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8"/>
                  <a:pt x="25" y="78"/>
                  <a:pt x="25" y="78"/>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25" y="77"/>
                  <a:pt x="25" y="77"/>
                  <a:pt x="25" y="77"/>
                </a:cubicBezTo>
                <a:cubicBezTo>
                  <a:pt x="1" y="64"/>
                  <a:pt x="1" y="64"/>
                  <a:pt x="1" y="64"/>
                </a:cubicBezTo>
                <a:cubicBezTo>
                  <a:pt x="0" y="64"/>
                  <a:pt x="0" y="63"/>
                  <a:pt x="0" y="63"/>
                </a:cubicBezTo>
                <a:cubicBezTo>
                  <a:pt x="0" y="63"/>
                  <a:pt x="0" y="63"/>
                  <a:pt x="0" y="63"/>
                </a:cubicBezTo>
                <a:cubicBezTo>
                  <a:pt x="0" y="31"/>
                  <a:pt x="0" y="31"/>
                  <a:pt x="0" y="31"/>
                </a:cubicBezTo>
                <a:cubicBezTo>
                  <a:pt x="0" y="30"/>
                  <a:pt x="0" y="30"/>
                  <a:pt x="1" y="29"/>
                </a:cubicBezTo>
                <a:cubicBezTo>
                  <a:pt x="26" y="18"/>
                  <a:pt x="26" y="18"/>
                  <a:pt x="26" y="18"/>
                </a:cubicBezTo>
                <a:cubicBezTo>
                  <a:pt x="26" y="18"/>
                  <a:pt x="26" y="18"/>
                  <a:pt x="26" y="18"/>
                </a:cubicBezTo>
                <a:cubicBezTo>
                  <a:pt x="26" y="17"/>
                  <a:pt x="27" y="17"/>
                  <a:pt x="27" y="18"/>
                </a:cubicBezTo>
                <a:cubicBezTo>
                  <a:pt x="50" y="30"/>
                  <a:pt x="50" y="30"/>
                  <a:pt x="50" y="30"/>
                </a:cubicBezTo>
                <a:close/>
                <a:moveTo>
                  <a:pt x="3" y="34"/>
                </a:moveTo>
                <a:cubicBezTo>
                  <a:pt x="10" y="37"/>
                  <a:pt x="10" y="37"/>
                  <a:pt x="10" y="37"/>
                </a:cubicBezTo>
                <a:cubicBezTo>
                  <a:pt x="10" y="44"/>
                  <a:pt x="10" y="44"/>
                  <a:pt x="10" y="44"/>
                </a:cubicBezTo>
                <a:cubicBezTo>
                  <a:pt x="14" y="46"/>
                  <a:pt x="14" y="46"/>
                  <a:pt x="14" y="46"/>
                </a:cubicBezTo>
                <a:cubicBezTo>
                  <a:pt x="14" y="40"/>
                  <a:pt x="14" y="40"/>
                  <a:pt x="14" y="40"/>
                </a:cubicBezTo>
                <a:cubicBezTo>
                  <a:pt x="24" y="45"/>
                  <a:pt x="24" y="45"/>
                  <a:pt x="24" y="45"/>
                </a:cubicBezTo>
                <a:cubicBezTo>
                  <a:pt x="24" y="73"/>
                  <a:pt x="24" y="73"/>
                  <a:pt x="24" y="73"/>
                </a:cubicBezTo>
                <a:cubicBezTo>
                  <a:pt x="3" y="62"/>
                  <a:pt x="3" y="62"/>
                  <a:pt x="3" y="62"/>
                </a:cubicBezTo>
                <a:cubicBezTo>
                  <a:pt x="3" y="34"/>
                  <a:pt x="3" y="34"/>
                  <a:pt x="3" y="34"/>
                </a:cubicBezTo>
                <a:close/>
                <a:moveTo>
                  <a:pt x="16" y="37"/>
                </a:moveTo>
                <a:cubicBezTo>
                  <a:pt x="36" y="27"/>
                  <a:pt x="36" y="27"/>
                  <a:pt x="36" y="27"/>
                </a:cubicBezTo>
                <a:cubicBezTo>
                  <a:pt x="46" y="32"/>
                  <a:pt x="46" y="32"/>
                  <a:pt x="46" y="32"/>
                </a:cubicBezTo>
                <a:cubicBezTo>
                  <a:pt x="26" y="42"/>
                  <a:pt x="26" y="42"/>
                  <a:pt x="26" y="42"/>
                </a:cubicBezTo>
                <a:cubicBezTo>
                  <a:pt x="16" y="37"/>
                  <a:pt x="16" y="37"/>
                  <a:pt x="16" y="37"/>
                </a:cubicBezTo>
                <a:close/>
                <a:moveTo>
                  <a:pt x="40" y="14"/>
                </a:moveTo>
                <a:cubicBezTo>
                  <a:pt x="46" y="17"/>
                  <a:pt x="46" y="17"/>
                  <a:pt x="46" y="17"/>
                </a:cubicBezTo>
                <a:cubicBezTo>
                  <a:pt x="66" y="7"/>
                  <a:pt x="66" y="7"/>
                  <a:pt x="66" y="7"/>
                </a:cubicBezTo>
                <a:cubicBezTo>
                  <a:pt x="61" y="4"/>
                  <a:pt x="61" y="4"/>
                  <a:pt x="61" y="4"/>
                </a:cubicBezTo>
                <a:cubicBezTo>
                  <a:pt x="40" y="14"/>
                  <a:pt x="40" y="14"/>
                  <a:pt x="40" y="14"/>
                </a:cubicBezTo>
                <a:close/>
                <a:moveTo>
                  <a:pt x="85" y="12"/>
                </a:moveTo>
                <a:cubicBezTo>
                  <a:pt x="86" y="13"/>
                  <a:pt x="86" y="13"/>
                  <a:pt x="86" y="14"/>
                </a:cubicBezTo>
                <a:cubicBezTo>
                  <a:pt x="86" y="15"/>
                  <a:pt x="86" y="15"/>
                  <a:pt x="86" y="15"/>
                </a:cubicBezTo>
                <a:cubicBezTo>
                  <a:pt x="60" y="29"/>
                  <a:pt x="60" y="29"/>
                  <a:pt x="60" y="29"/>
                </a:cubicBezTo>
                <a:cubicBezTo>
                  <a:pt x="60" y="29"/>
                  <a:pt x="42" y="19"/>
                  <a:pt x="34" y="15"/>
                </a:cubicBezTo>
                <a:cubicBezTo>
                  <a:pt x="34" y="14"/>
                  <a:pt x="34" y="14"/>
                  <a:pt x="34" y="14"/>
                </a:cubicBezTo>
                <a:cubicBezTo>
                  <a:pt x="34" y="13"/>
                  <a:pt x="35" y="13"/>
                  <a:pt x="35" y="12"/>
                </a:cubicBezTo>
                <a:cubicBezTo>
                  <a:pt x="60" y="1"/>
                  <a:pt x="60" y="1"/>
                  <a:pt x="60" y="1"/>
                </a:cubicBezTo>
                <a:cubicBezTo>
                  <a:pt x="60" y="1"/>
                  <a:pt x="60" y="1"/>
                  <a:pt x="60" y="1"/>
                </a:cubicBezTo>
                <a:cubicBezTo>
                  <a:pt x="61" y="0"/>
                  <a:pt x="61" y="0"/>
                  <a:pt x="62" y="1"/>
                </a:cubicBezTo>
                <a:cubicBezTo>
                  <a:pt x="85" y="12"/>
                  <a:pt x="85" y="12"/>
                  <a:pt x="85" y="12"/>
                </a:cubicBezTo>
                <a:close/>
                <a:moveTo>
                  <a:pt x="59" y="60"/>
                </a:moveTo>
                <a:cubicBezTo>
                  <a:pt x="58" y="61"/>
                  <a:pt x="58" y="61"/>
                  <a:pt x="58" y="61"/>
                </a:cubicBezTo>
                <a:cubicBezTo>
                  <a:pt x="49" y="56"/>
                  <a:pt x="49" y="56"/>
                  <a:pt x="49" y="56"/>
                </a:cubicBezTo>
                <a:cubicBezTo>
                  <a:pt x="69" y="45"/>
                  <a:pt x="69" y="45"/>
                  <a:pt x="69" y="45"/>
                </a:cubicBezTo>
                <a:cubicBezTo>
                  <a:pt x="78" y="50"/>
                  <a:pt x="78" y="50"/>
                  <a:pt x="78" y="50"/>
                </a:cubicBezTo>
                <a:cubicBezTo>
                  <a:pt x="60" y="59"/>
                  <a:pt x="60" y="59"/>
                  <a:pt x="60" y="59"/>
                </a:cubicBezTo>
                <a:cubicBezTo>
                  <a:pt x="59" y="60"/>
                  <a:pt x="59" y="60"/>
                  <a:pt x="59" y="60"/>
                </a:cubicBezTo>
                <a:close/>
                <a:moveTo>
                  <a:pt x="51" y="20"/>
                </a:moveTo>
                <a:cubicBezTo>
                  <a:pt x="71" y="10"/>
                  <a:pt x="71" y="10"/>
                  <a:pt x="71" y="10"/>
                </a:cubicBezTo>
                <a:cubicBezTo>
                  <a:pt x="80" y="14"/>
                  <a:pt x="80" y="14"/>
                  <a:pt x="80" y="14"/>
                </a:cubicBezTo>
                <a:cubicBezTo>
                  <a:pt x="60" y="25"/>
                  <a:pt x="60" y="25"/>
                  <a:pt x="60" y="25"/>
                </a:cubicBezTo>
                <a:cubicBezTo>
                  <a:pt x="51" y="20"/>
                  <a:pt x="51" y="20"/>
                  <a:pt x="51" y="20"/>
                </a:cubicBezTo>
                <a:close/>
                <a:moveTo>
                  <a:pt x="65" y="88"/>
                </a:moveTo>
                <a:cubicBezTo>
                  <a:pt x="79" y="81"/>
                  <a:pt x="79" y="81"/>
                  <a:pt x="79" y="81"/>
                </a:cubicBezTo>
                <a:cubicBezTo>
                  <a:pt x="79" y="80"/>
                  <a:pt x="80" y="80"/>
                  <a:pt x="80" y="79"/>
                </a:cubicBezTo>
                <a:cubicBezTo>
                  <a:pt x="80" y="67"/>
                  <a:pt x="80" y="67"/>
                  <a:pt x="80" y="67"/>
                </a:cubicBezTo>
                <a:cubicBezTo>
                  <a:pt x="80" y="66"/>
                  <a:pt x="79" y="65"/>
                  <a:pt x="77" y="66"/>
                </a:cubicBezTo>
                <a:cubicBezTo>
                  <a:pt x="66" y="71"/>
                  <a:pt x="66" y="71"/>
                  <a:pt x="66" y="71"/>
                </a:cubicBezTo>
                <a:cubicBezTo>
                  <a:pt x="65" y="72"/>
                  <a:pt x="64" y="73"/>
                  <a:pt x="64" y="75"/>
                </a:cubicBezTo>
                <a:cubicBezTo>
                  <a:pt x="64" y="87"/>
                  <a:pt x="64" y="87"/>
                  <a:pt x="64" y="87"/>
                </a:cubicBezTo>
                <a:cubicBezTo>
                  <a:pt x="64" y="88"/>
                  <a:pt x="65" y="88"/>
                  <a:pt x="65" y="88"/>
                </a:cubicBezTo>
                <a:close/>
                <a:moveTo>
                  <a:pt x="83" y="48"/>
                </a:moveTo>
                <a:cubicBezTo>
                  <a:pt x="84" y="48"/>
                  <a:pt x="84" y="49"/>
                  <a:pt x="84" y="50"/>
                </a:cubicBezTo>
                <a:cubicBezTo>
                  <a:pt x="84" y="81"/>
                  <a:pt x="84" y="81"/>
                  <a:pt x="84" y="81"/>
                </a:cubicBezTo>
                <a:cubicBezTo>
                  <a:pt x="84" y="81"/>
                  <a:pt x="84" y="81"/>
                  <a:pt x="84" y="81"/>
                </a:cubicBezTo>
                <a:cubicBezTo>
                  <a:pt x="84" y="82"/>
                  <a:pt x="84" y="83"/>
                  <a:pt x="83" y="83"/>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9" y="96"/>
                  <a:pt x="59" y="96"/>
                  <a:pt x="59"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8" y="96"/>
                  <a:pt x="58" y="96"/>
                  <a:pt x="58"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57" y="96"/>
                  <a:pt x="57" y="96"/>
                  <a:pt x="57" y="96"/>
                </a:cubicBezTo>
                <a:cubicBezTo>
                  <a:pt x="33" y="83"/>
                  <a:pt x="33" y="83"/>
                  <a:pt x="33" y="83"/>
                </a:cubicBezTo>
                <a:cubicBezTo>
                  <a:pt x="33" y="83"/>
                  <a:pt x="32" y="82"/>
                  <a:pt x="32" y="81"/>
                </a:cubicBezTo>
                <a:cubicBezTo>
                  <a:pt x="32" y="81"/>
                  <a:pt x="32" y="81"/>
                  <a:pt x="32" y="81"/>
                </a:cubicBezTo>
                <a:cubicBezTo>
                  <a:pt x="32" y="50"/>
                  <a:pt x="32" y="50"/>
                  <a:pt x="32" y="50"/>
                </a:cubicBezTo>
                <a:cubicBezTo>
                  <a:pt x="32" y="49"/>
                  <a:pt x="33" y="48"/>
                  <a:pt x="34" y="48"/>
                </a:cubicBezTo>
                <a:cubicBezTo>
                  <a:pt x="58" y="36"/>
                  <a:pt x="58" y="36"/>
                  <a:pt x="58" y="36"/>
                </a:cubicBezTo>
                <a:cubicBezTo>
                  <a:pt x="58" y="36"/>
                  <a:pt x="58" y="36"/>
                  <a:pt x="58" y="36"/>
                </a:cubicBezTo>
                <a:cubicBezTo>
                  <a:pt x="58" y="36"/>
                  <a:pt x="59" y="36"/>
                  <a:pt x="59" y="36"/>
                </a:cubicBezTo>
                <a:cubicBezTo>
                  <a:pt x="83" y="48"/>
                  <a:pt x="83" y="48"/>
                  <a:pt x="83" y="48"/>
                </a:cubicBezTo>
                <a:close/>
                <a:moveTo>
                  <a:pt x="36" y="53"/>
                </a:moveTo>
                <a:cubicBezTo>
                  <a:pt x="42" y="56"/>
                  <a:pt x="42" y="56"/>
                  <a:pt x="42" y="56"/>
                </a:cubicBezTo>
                <a:cubicBezTo>
                  <a:pt x="42" y="62"/>
                  <a:pt x="42" y="62"/>
                  <a:pt x="42" y="62"/>
                </a:cubicBezTo>
                <a:cubicBezTo>
                  <a:pt x="47" y="64"/>
                  <a:pt x="47" y="64"/>
                  <a:pt x="47" y="64"/>
                </a:cubicBezTo>
                <a:cubicBezTo>
                  <a:pt x="47" y="58"/>
                  <a:pt x="47" y="58"/>
                  <a:pt x="47" y="58"/>
                </a:cubicBezTo>
                <a:cubicBezTo>
                  <a:pt x="56" y="64"/>
                  <a:pt x="56" y="64"/>
                  <a:pt x="56" y="64"/>
                </a:cubicBezTo>
                <a:cubicBezTo>
                  <a:pt x="56" y="91"/>
                  <a:pt x="56" y="91"/>
                  <a:pt x="56" y="91"/>
                </a:cubicBezTo>
                <a:cubicBezTo>
                  <a:pt x="36" y="80"/>
                  <a:pt x="36" y="80"/>
                  <a:pt x="36" y="80"/>
                </a:cubicBezTo>
                <a:cubicBezTo>
                  <a:pt x="36" y="53"/>
                  <a:pt x="36" y="53"/>
                  <a:pt x="36" y="53"/>
                </a:cubicBezTo>
                <a:close/>
                <a:moveTo>
                  <a:pt x="76" y="69"/>
                </a:moveTo>
                <a:cubicBezTo>
                  <a:pt x="76" y="73"/>
                  <a:pt x="76" y="73"/>
                  <a:pt x="76" y="73"/>
                </a:cubicBezTo>
                <a:cubicBezTo>
                  <a:pt x="76" y="75"/>
                  <a:pt x="74" y="78"/>
                  <a:pt x="72" y="79"/>
                </a:cubicBezTo>
                <a:cubicBezTo>
                  <a:pt x="72" y="82"/>
                  <a:pt x="72" y="82"/>
                  <a:pt x="72" y="82"/>
                </a:cubicBezTo>
                <a:cubicBezTo>
                  <a:pt x="73" y="81"/>
                  <a:pt x="74" y="81"/>
                  <a:pt x="75" y="81"/>
                </a:cubicBezTo>
                <a:cubicBezTo>
                  <a:pt x="75" y="81"/>
                  <a:pt x="75" y="82"/>
                  <a:pt x="75" y="82"/>
                </a:cubicBezTo>
                <a:cubicBezTo>
                  <a:pt x="73" y="83"/>
                  <a:pt x="71" y="84"/>
                  <a:pt x="68" y="85"/>
                </a:cubicBezTo>
                <a:cubicBezTo>
                  <a:pt x="68" y="85"/>
                  <a:pt x="68" y="85"/>
                  <a:pt x="68" y="84"/>
                </a:cubicBezTo>
                <a:cubicBezTo>
                  <a:pt x="69" y="84"/>
                  <a:pt x="70" y="83"/>
                  <a:pt x="71" y="82"/>
                </a:cubicBezTo>
                <a:cubicBezTo>
                  <a:pt x="71" y="80"/>
                  <a:pt x="71" y="80"/>
                  <a:pt x="71" y="80"/>
                </a:cubicBezTo>
                <a:cubicBezTo>
                  <a:pt x="69" y="80"/>
                  <a:pt x="68" y="79"/>
                  <a:pt x="68" y="77"/>
                </a:cubicBezTo>
                <a:cubicBezTo>
                  <a:pt x="68" y="73"/>
                  <a:pt x="68" y="73"/>
                  <a:pt x="68" y="73"/>
                </a:cubicBezTo>
                <a:cubicBezTo>
                  <a:pt x="70" y="72"/>
                  <a:pt x="70" y="72"/>
                  <a:pt x="70" y="72"/>
                </a:cubicBezTo>
                <a:cubicBezTo>
                  <a:pt x="70" y="73"/>
                  <a:pt x="70" y="75"/>
                  <a:pt x="70" y="75"/>
                </a:cubicBezTo>
                <a:cubicBezTo>
                  <a:pt x="72" y="75"/>
                  <a:pt x="72" y="75"/>
                  <a:pt x="72" y="75"/>
                </a:cubicBezTo>
                <a:cubicBezTo>
                  <a:pt x="72" y="78"/>
                  <a:pt x="72" y="78"/>
                  <a:pt x="72" y="78"/>
                </a:cubicBezTo>
                <a:cubicBezTo>
                  <a:pt x="73" y="74"/>
                  <a:pt x="73" y="74"/>
                  <a:pt x="73" y="74"/>
                </a:cubicBezTo>
                <a:cubicBezTo>
                  <a:pt x="72" y="73"/>
                  <a:pt x="72" y="73"/>
                  <a:pt x="72" y="73"/>
                </a:cubicBezTo>
                <a:cubicBezTo>
                  <a:pt x="73" y="71"/>
                  <a:pt x="73" y="71"/>
                  <a:pt x="73" y="71"/>
                </a:cubicBezTo>
                <a:cubicBezTo>
                  <a:pt x="76" y="69"/>
                  <a:pt x="76" y="69"/>
                  <a:pt x="76" y="69"/>
                </a:cubicBezTo>
                <a:close/>
                <a:moveTo>
                  <a:pt x="99" y="69"/>
                </a:moveTo>
                <a:cubicBezTo>
                  <a:pt x="112" y="62"/>
                  <a:pt x="112" y="62"/>
                  <a:pt x="112" y="62"/>
                </a:cubicBezTo>
                <a:cubicBezTo>
                  <a:pt x="113" y="62"/>
                  <a:pt x="113" y="61"/>
                  <a:pt x="113" y="60"/>
                </a:cubicBezTo>
                <a:cubicBezTo>
                  <a:pt x="113" y="48"/>
                  <a:pt x="113" y="48"/>
                  <a:pt x="113" y="48"/>
                </a:cubicBezTo>
                <a:cubicBezTo>
                  <a:pt x="113" y="47"/>
                  <a:pt x="112" y="46"/>
                  <a:pt x="111" y="47"/>
                </a:cubicBezTo>
                <a:cubicBezTo>
                  <a:pt x="100" y="53"/>
                  <a:pt x="100" y="53"/>
                  <a:pt x="100" y="53"/>
                </a:cubicBezTo>
                <a:cubicBezTo>
                  <a:pt x="99" y="53"/>
                  <a:pt x="98" y="55"/>
                  <a:pt x="98" y="56"/>
                </a:cubicBezTo>
                <a:cubicBezTo>
                  <a:pt x="98" y="68"/>
                  <a:pt x="98" y="68"/>
                  <a:pt x="98" y="68"/>
                </a:cubicBezTo>
                <a:cubicBezTo>
                  <a:pt x="98" y="69"/>
                  <a:pt x="98" y="69"/>
                  <a:pt x="99" y="69"/>
                </a:cubicBezTo>
                <a:close/>
                <a:moveTo>
                  <a:pt x="116" y="29"/>
                </a:moveTo>
                <a:cubicBezTo>
                  <a:pt x="117" y="29"/>
                  <a:pt x="117" y="30"/>
                  <a:pt x="117" y="31"/>
                </a:cubicBezTo>
                <a:cubicBezTo>
                  <a:pt x="117" y="62"/>
                  <a:pt x="117" y="62"/>
                  <a:pt x="117" y="62"/>
                </a:cubicBezTo>
                <a:cubicBezTo>
                  <a:pt x="117" y="62"/>
                  <a:pt x="117" y="62"/>
                  <a:pt x="117" y="62"/>
                </a:cubicBezTo>
                <a:cubicBezTo>
                  <a:pt x="117" y="63"/>
                  <a:pt x="117" y="64"/>
                  <a:pt x="116" y="64"/>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1" y="77"/>
                  <a:pt x="91" y="77"/>
                  <a:pt x="91" y="77"/>
                </a:cubicBezTo>
                <a:cubicBezTo>
                  <a:pt x="90" y="77"/>
                  <a:pt x="90" y="77"/>
                  <a:pt x="90" y="77"/>
                </a:cubicBezTo>
                <a:cubicBezTo>
                  <a:pt x="90" y="77"/>
                  <a:pt x="90" y="77"/>
                  <a:pt x="90" y="77"/>
                </a:cubicBezTo>
                <a:cubicBezTo>
                  <a:pt x="90" y="77"/>
                  <a:pt x="90" y="77"/>
                  <a:pt x="90" y="77"/>
                </a:cubicBezTo>
                <a:cubicBezTo>
                  <a:pt x="90" y="77"/>
                  <a:pt x="90" y="77"/>
                  <a:pt x="90" y="77"/>
                </a:cubicBezTo>
                <a:cubicBezTo>
                  <a:pt x="90" y="77"/>
                  <a:pt x="90" y="77"/>
                  <a:pt x="90" y="77"/>
                </a:cubicBezTo>
                <a:cubicBezTo>
                  <a:pt x="90" y="77"/>
                  <a:pt x="90" y="77"/>
                  <a:pt x="90" y="77"/>
                </a:cubicBezTo>
                <a:cubicBezTo>
                  <a:pt x="90" y="77"/>
                  <a:pt x="90" y="77"/>
                  <a:pt x="90" y="77"/>
                </a:cubicBezTo>
                <a:cubicBezTo>
                  <a:pt x="90" y="77"/>
                  <a:pt x="90" y="77"/>
                  <a:pt x="90" y="77"/>
                </a:cubicBezTo>
                <a:cubicBezTo>
                  <a:pt x="90" y="72"/>
                  <a:pt x="90" y="72"/>
                  <a:pt x="90" y="72"/>
                </a:cubicBezTo>
                <a:cubicBezTo>
                  <a:pt x="90" y="45"/>
                  <a:pt x="90" y="45"/>
                  <a:pt x="90" y="45"/>
                </a:cubicBezTo>
                <a:cubicBezTo>
                  <a:pt x="65" y="33"/>
                  <a:pt x="65" y="33"/>
                  <a:pt x="65" y="33"/>
                </a:cubicBezTo>
                <a:cubicBezTo>
                  <a:pt x="65" y="32"/>
                  <a:pt x="65" y="32"/>
                  <a:pt x="65" y="32"/>
                </a:cubicBezTo>
                <a:cubicBezTo>
                  <a:pt x="65" y="31"/>
                  <a:pt x="66" y="30"/>
                  <a:pt x="67" y="30"/>
                </a:cubicBezTo>
                <a:cubicBezTo>
                  <a:pt x="92" y="18"/>
                  <a:pt x="92" y="18"/>
                  <a:pt x="92" y="18"/>
                </a:cubicBezTo>
                <a:cubicBezTo>
                  <a:pt x="92" y="18"/>
                  <a:pt x="92" y="18"/>
                  <a:pt x="92" y="18"/>
                </a:cubicBezTo>
                <a:cubicBezTo>
                  <a:pt x="92" y="17"/>
                  <a:pt x="93" y="17"/>
                  <a:pt x="93" y="18"/>
                </a:cubicBezTo>
                <a:cubicBezTo>
                  <a:pt x="116" y="29"/>
                  <a:pt x="116" y="29"/>
                  <a:pt x="116" y="29"/>
                </a:cubicBezTo>
                <a:close/>
                <a:moveTo>
                  <a:pt x="82" y="37"/>
                </a:moveTo>
                <a:cubicBezTo>
                  <a:pt x="102" y="26"/>
                  <a:pt x="102" y="26"/>
                  <a:pt x="102" y="26"/>
                </a:cubicBezTo>
                <a:cubicBezTo>
                  <a:pt x="112" y="31"/>
                  <a:pt x="112" y="31"/>
                  <a:pt x="112" y="31"/>
                </a:cubicBezTo>
                <a:cubicBezTo>
                  <a:pt x="91" y="42"/>
                  <a:pt x="91" y="42"/>
                  <a:pt x="91" y="42"/>
                </a:cubicBezTo>
                <a:cubicBezTo>
                  <a:pt x="82" y="37"/>
                  <a:pt x="82" y="37"/>
                  <a:pt x="82" y="37"/>
                </a:cubicBezTo>
                <a:close/>
                <a:moveTo>
                  <a:pt x="109" y="51"/>
                </a:moveTo>
                <a:cubicBezTo>
                  <a:pt x="109" y="55"/>
                  <a:pt x="109" y="55"/>
                  <a:pt x="109" y="55"/>
                </a:cubicBezTo>
                <a:cubicBezTo>
                  <a:pt x="109" y="57"/>
                  <a:pt x="107" y="59"/>
                  <a:pt x="106" y="60"/>
                </a:cubicBezTo>
                <a:cubicBezTo>
                  <a:pt x="106" y="63"/>
                  <a:pt x="106" y="63"/>
                  <a:pt x="106" y="63"/>
                </a:cubicBezTo>
                <a:cubicBezTo>
                  <a:pt x="107" y="63"/>
                  <a:pt x="108" y="62"/>
                  <a:pt x="109" y="62"/>
                </a:cubicBezTo>
                <a:cubicBezTo>
                  <a:pt x="109" y="62"/>
                  <a:pt x="109" y="63"/>
                  <a:pt x="109" y="63"/>
                </a:cubicBezTo>
                <a:cubicBezTo>
                  <a:pt x="106" y="64"/>
                  <a:pt x="104" y="65"/>
                  <a:pt x="102" y="67"/>
                </a:cubicBezTo>
                <a:cubicBezTo>
                  <a:pt x="102" y="66"/>
                  <a:pt x="102" y="66"/>
                  <a:pt x="102" y="66"/>
                </a:cubicBezTo>
                <a:cubicBezTo>
                  <a:pt x="103" y="65"/>
                  <a:pt x="104" y="64"/>
                  <a:pt x="105" y="64"/>
                </a:cubicBezTo>
                <a:cubicBezTo>
                  <a:pt x="105" y="61"/>
                  <a:pt x="105" y="61"/>
                  <a:pt x="105" y="61"/>
                </a:cubicBezTo>
                <a:cubicBezTo>
                  <a:pt x="103" y="61"/>
                  <a:pt x="101" y="61"/>
                  <a:pt x="101" y="59"/>
                </a:cubicBezTo>
                <a:cubicBezTo>
                  <a:pt x="101" y="55"/>
                  <a:pt x="101" y="55"/>
                  <a:pt x="101" y="55"/>
                </a:cubicBezTo>
                <a:cubicBezTo>
                  <a:pt x="103" y="53"/>
                  <a:pt x="103" y="53"/>
                  <a:pt x="103" y="53"/>
                </a:cubicBezTo>
                <a:cubicBezTo>
                  <a:pt x="103" y="54"/>
                  <a:pt x="103" y="56"/>
                  <a:pt x="103" y="56"/>
                </a:cubicBezTo>
                <a:cubicBezTo>
                  <a:pt x="105" y="56"/>
                  <a:pt x="105" y="56"/>
                  <a:pt x="105" y="56"/>
                </a:cubicBezTo>
                <a:cubicBezTo>
                  <a:pt x="105" y="60"/>
                  <a:pt x="105" y="60"/>
                  <a:pt x="105" y="60"/>
                </a:cubicBezTo>
                <a:cubicBezTo>
                  <a:pt x="107" y="55"/>
                  <a:pt x="107" y="55"/>
                  <a:pt x="107" y="55"/>
                </a:cubicBezTo>
                <a:cubicBezTo>
                  <a:pt x="105" y="55"/>
                  <a:pt x="105" y="55"/>
                  <a:pt x="105" y="55"/>
                </a:cubicBezTo>
                <a:cubicBezTo>
                  <a:pt x="106" y="52"/>
                  <a:pt x="106" y="52"/>
                  <a:pt x="106" y="52"/>
                </a:cubicBezTo>
                <a:lnTo>
                  <a:pt x="109" y="51"/>
                </a:lnTo>
                <a:close/>
              </a:path>
            </a:pathLst>
          </a:custGeom>
          <a:solidFill>
            <a:schemeClr val="accent1"/>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 name="Freeform 11"/>
          <p:cNvSpPr>
            <a:spLocks noEditPoints="1"/>
          </p:cNvSpPr>
          <p:nvPr/>
        </p:nvSpPr>
        <p:spPr bwMode="auto">
          <a:xfrm>
            <a:off x="5946077" y="926873"/>
            <a:ext cx="347662" cy="328322"/>
          </a:xfrm>
          <a:custGeom>
            <a:avLst/>
            <a:gdLst>
              <a:gd name="T0" fmla="*/ 3131 w 4566"/>
              <a:gd name="T1" fmla="*/ 3665 h 4312"/>
              <a:gd name="T2" fmla="*/ 3166 w 4566"/>
              <a:gd name="T3" fmla="*/ 3727 h 4312"/>
              <a:gd name="T4" fmla="*/ 3144 w 4566"/>
              <a:gd name="T5" fmla="*/ 3925 h 4312"/>
              <a:gd name="T6" fmla="*/ 1505 w 4566"/>
              <a:gd name="T7" fmla="*/ 3944 h 4312"/>
              <a:gd name="T8" fmla="*/ 1442 w 4566"/>
              <a:gd name="T9" fmla="*/ 3908 h 4312"/>
              <a:gd name="T10" fmla="*/ 1435 w 4566"/>
              <a:gd name="T11" fmla="*/ 3706 h 4312"/>
              <a:gd name="T12" fmla="*/ 1486 w 4566"/>
              <a:gd name="T13" fmla="*/ 3656 h 4312"/>
              <a:gd name="T14" fmla="*/ 3115 w 4566"/>
              <a:gd name="T15" fmla="*/ 3134 h 4312"/>
              <a:gd name="T16" fmla="*/ 3163 w 4566"/>
              <a:gd name="T17" fmla="*/ 3185 h 4312"/>
              <a:gd name="T18" fmla="*/ 3156 w 4566"/>
              <a:gd name="T19" fmla="*/ 3387 h 4312"/>
              <a:gd name="T20" fmla="*/ 3092 w 4566"/>
              <a:gd name="T21" fmla="*/ 3421 h 4312"/>
              <a:gd name="T22" fmla="*/ 1451 w 4566"/>
              <a:gd name="T23" fmla="*/ 3399 h 4312"/>
              <a:gd name="T24" fmla="*/ 1432 w 4566"/>
              <a:gd name="T25" fmla="*/ 3204 h 4312"/>
              <a:gd name="T26" fmla="*/ 1468 w 4566"/>
              <a:gd name="T27" fmla="*/ 3140 h 4312"/>
              <a:gd name="T28" fmla="*/ 3092 w 4566"/>
              <a:gd name="T29" fmla="*/ 2584 h 4312"/>
              <a:gd name="T30" fmla="*/ 3156 w 4566"/>
              <a:gd name="T31" fmla="*/ 2622 h 4312"/>
              <a:gd name="T32" fmla="*/ 3163 w 4566"/>
              <a:gd name="T33" fmla="*/ 2824 h 4312"/>
              <a:gd name="T34" fmla="*/ 3112 w 4566"/>
              <a:gd name="T35" fmla="*/ 2872 h 4312"/>
              <a:gd name="T36" fmla="*/ 1467 w 4566"/>
              <a:gd name="T37" fmla="*/ 2865 h 4312"/>
              <a:gd name="T38" fmla="*/ 1432 w 4566"/>
              <a:gd name="T39" fmla="*/ 2803 h 4312"/>
              <a:gd name="T40" fmla="*/ 1454 w 4566"/>
              <a:gd name="T41" fmla="*/ 2605 h 4312"/>
              <a:gd name="T42" fmla="*/ 1505 w 4566"/>
              <a:gd name="T43" fmla="*/ 2023 h 4312"/>
              <a:gd name="T44" fmla="*/ 3146 w 4566"/>
              <a:gd name="T45" fmla="*/ 2043 h 4312"/>
              <a:gd name="T46" fmla="*/ 3166 w 4566"/>
              <a:gd name="T47" fmla="*/ 2240 h 4312"/>
              <a:gd name="T48" fmla="*/ 3130 w 4566"/>
              <a:gd name="T49" fmla="*/ 2304 h 4312"/>
              <a:gd name="T50" fmla="*/ 1483 w 4566"/>
              <a:gd name="T51" fmla="*/ 2309 h 4312"/>
              <a:gd name="T52" fmla="*/ 1435 w 4566"/>
              <a:gd name="T53" fmla="*/ 2257 h 4312"/>
              <a:gd name="T54" fmla="*/ 1442 w 4566"/>
              <a:gd name="T55" fmla="*/ 2056 h 4312"/>
              <a:gd name="T56" fmla="*/ 1505 w 4566"/>
              <a:gd name="T57" fmla="*/ 2023 h 4312"/>
              <a:gd name="T58" fmla="*/ 2337 w 4566"/>
              <a:gd name="T59" fmla="*/ 17 h 4312"/>
              <a:gd name="T60" fmla="*/ 2417 w 4566"/>
              <a:gd name="T61" fmla="*/ 70 h 4312"/>
              <a:gd name="T62" fmla="*/ 2493 w 4566"/>
              <a:gd name="T63" fmla="*/ 122 h 4312"/>
              <a:gd name="T64" fmla="*/ 2647 w 4566"/>
              <a:gd name="T65" fmla="*/ 231 h 4312"/>
              <a:gd name="T66" fmla="*/ 2863 w 4566"/>
              <a:gd name="T67" fmla="*/ 382 h 4312"/>
              <a:gd name="T68" fmla="*/ 3119 w 4566"/>
              <a:gd name="T69" fmla="*/ 562 h 4312"/>
              <a:gd name="T70" fmla="*/ 3398 w 4566"/>
              <a:gd name="T71" fmla="*/ 758 h 4312"/>
              <a:gd name="T72" fmla="*/ 3683 w 4566"/>
              <a:gd name="T73" fmla="*/ 959 h 4312"/>
              <a:gd name="T74" fmla="*/ 3952 w 4566"/>
              <a:gd name="T75" fmla="*/ 1149 h 4312"/>
              <a:gd name="T76" fmla="*/ 4188 w 4566"/>
              <a:gd name="T77" fmla="*/ 1315 h 4312"/>
              <a:gd name="T78" fmla="*/ 4372 w 4566"/>
              <a:gd name="T79" fmla="*/ 1443 h 4312"/>
              <a:gd name="T80" fmla="*/ 4487 w 4566"/>
              <a:gd name="T81" fmla="*/ 1523 h 4312"/>
              <a:gd name="T82" fmla="*/ 4536 w 4566"/>
              <a:gd name="T83" fmla="*/ 1565 h 4312"/>
              <a:gd name="T84" fmla="*/ 4562 w 4566"/>
              <a:gd name="T85" fmla="*/ 1691 h 4312"/>
              <a:gd name="T86" fmla="*/ 4476 w 4566"/>
              <a:gd name="T87" fmla="*/ 1810 h 4312"/>
              <a:gd name="T88" fmla="*/ 4349 w 4566"/>
              <a:gd name="T89" fmla="*/ 1825 h 4312"/>
              <a:gd name="T90" fmla="*/ 4205 w 4566"/>
              <a:gd name="T91" fmla="*/ 4179 h 4312"/>
              <a:gd name="T92" fmla="*/ 4133 w 4566"/>
              <a:gd name="T93" fmla="*/ 4284 h 4312"/>
              <a:gd name="T94" fmla="*/ 4006 w 4566"/>
              <a:gd name="T95" fmla="*/ 4309 h 4312"/>
              <a:gd name="T96" fmla="*/ 3902 w 4566"/>
              <a:gd name="T97" fmla="*/ 4237 h 4312"/>
              <a:gd name="T98" fmla="*/ 3873 w 4566"/>
              <a:gd name="T99" fmla="*/ 1498 h 4312"/>
              <a:gd name="T100" fmla="*/ 721 w 4566"/>
              <a:gd name="T101" fmla="*/ 4174 h 4312"/>
              <a:gd name="T102" fmla="*/ 652 w 4566"/>
              <a:gd name="T103" fmla="*/ 4279 h 4312"/>
              <a:gd name="T104" fmla="*/ 523 w 4566"/>
              <a:gd name="T105" fmla="*/ 4304 h 4312"/>
              <a:gd name="T106" fmla="*/ 418 w 4566"/>
              <a:gd name="T107" fmla="*/ 4232 h 4312"/>
              <a:gd name="T108" fmla="*/ 390 w 4566"/>
              <a:gd name="T109" fmla="*/ 1705 h 4312"/>
              <a:gd name="T110" fmla="*/ 165 w 4566"/>
              <a:gd name="T111" fmla="*/ 1833 h 4312"/>
              <a:gd name="T112" fmla="*/ 54 w 4566"/>
              <a:gd name="T113" fmla="*/ 1785 h 4312"/>
              <a:gd name="T114" fmla="*/ 1 w 4566"/>
              <a:gd name="T115" fmla="*/ 1671 h 4312"/>
              <a:gd name="T116" fmla="*/ 33 w 4566"/>
              <a:gd name="T117" fmla="*/ 1562 h 4312"/>
              <a:gd name="T118" fmla="*/ 2208 w 4566"/>
              <a:gd name="T119" fmla="*/ 32 h 4312"/>
              <a:gd name="T120" fmla="*/ 2284 w 4566"/>
              <a:gd name="T121" fmla="*/ 0 h 4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66" h="4312">
                <a:moveTo>
                  <a:pt x="1505" y="3655"/>
                </a:moveTo>
                <a:lnTo>
                  <a:pt x="3092" y="3655"/>
                </a:lnTo>
                <a:lnTo>
                  <a:pt x="3115" y="3658"/>
                </a:lnTo>
                <a:lnTo>
                  <a:pt x="3131" y="3665"/>
                </a:lnTo>
                <a:lnTo>
                  <a:pt x="3146" y="3676"/>
                </a:lnTo>
                <a:lnTo>
                  <a:pt x="3156" y="3691"/>
                </a:lnTo>
                <a:lnTo>
                  <a:pt x="3163" y="3709"/>
                </a:lnTo>
                <a:lnTo>
                  <a:pt x="3166" y="3727"/>
                </a:lnTo>
                <a:lnTo>
                  <a:pt x="3166" y="3872"/>
                </a:lnTo>
                <a:lnTo>
                  <a:pt x="3163" y="3893"/>
                </a:lnTo>
                <a:lnTo>
                  <a:pt x="3156" y="3911"/>
                </a:lnTo>
                <a:lnTo>
                  <a:pt x="3144" y="3925"/>
                </a:lnTo>
                <a:lnTo>
                  <a:pt x="3130" y="3936"/>
                </a:lnTo>
                <a:lnTo>
                  <a:pt x="3112" y="3943"/>
                </a:lnTo>
                <a:lnTo>
                  <a:pt x="3092" y="3944"/>
                </a:lnTo>
                <a:lnTo>
                  <a:pt x="1505" y="3944"/>
                </a:lnTo>
                <a:lnTo>
                  <a:pt x="1483" y="3941"/>
                </a:lnTo>
                <a:lnTo>
                  <a:pt x="1467" y="3934"/>
                </a:lnTo>
                <a:lnTo>
                  <a:pt x="1451" y="3923"/>
                </a:lnTo>
                <a:lnTo>
                  <a:pt x="1442" y="3908"/>
                </a:lnTo>
                <a:lnTo>
                  <a:pt x="1435" y="3892"/>
                </a:lnTo>
                <a:lnTo>
                  <a:pt x="1432" y="3872"/>
                </a:lnTo>
                <a:lnTo>
                  <a:pt x="1432" y="3727"/>
                </a:lnTo>
                <a:lnTo>
                  <a:pt x="1435" y="3706"/>
                </a:lnTo>
                <a:lnTo>
                  <a:pt x="1442" y="3688"/>
                </a:lnTo>
                <a:lnTo>
                  <a:pt x="1454" y="3674"/>
                </a:lnTo>
                <a:lnTo>
                  <a:pt x="1468" y="3663"/>
                </a:lnTo>
                <a:lnTo>
                  <a:pt x="1486" y="3656"/>
                </a:lnTo>
                <a:lnTo>
                  <a:pt x="1505" y="3655"/>
                </a:lnTo>
                <a:close/>
                <a:moveTo>
                  <a:pt x="1505" y="3131"/>
                </a:moveTo>
                <a:lnTo>
                  <a:pt x="3092" y="3131"/>
                </a:lnTo>
                <a:lnTo>
                  <a:pt x="3115" y="3134"/>
                </a:lnTo>
                <a:lnTo>
                  <a:pt x="3131" y="3140"/>
                </a:lnTo>
                <a:lnTo>
                  <a:pt x="3146" y="3153"/>
                </a:lnTo>
                <a:lnTo>
                  <a:pt x="3156" y="3167"/>
                </a:lnTo>
                <a:lnTo>
                  <a:pt x="3163" y="3185"/>
                </a:lnTo>
                <a:lnTo>
                  <a:pt x="3166" y="3204"/>
                </a:lnTo>
                <a:lnTo>
                  <a:pt x="3166" y="3348"/>
                </a:lnTo>
                <a:lnTo>
                  <a:pt x="3163" y="3369"/>
                </a:lnTo>
                <a:lnTo>
                  <a:pt x="3156" y="3387"/>
                </a:lnTo>
                <a:lnTo>
                  <a:pt x="3144" y="3402"/>
                </a:lnTo>
                <a:lnTo>
                  <a:pt x="3130" y="3412"/>
                </a:lnTo>
                <a:lnTo>
                  <a:pt x="3112" y="3418"/>
                </a:lnTo>
                <a:lnTo>
                  <a:pt x="3092" y="3421"/>
                </a:lnTo>
                <a:lnTo>
                  <a:pt x="1505" y="3421"/>
                </a:lnTo>
                <a:lnTo>
                  <a:pt x="1483" y="3418"/>
                </a:lnTo>
                <a:lnTo>
                  <a:pt x="1467" y="3410"/>
                </a:lnTo>
                <a:lnTo>
                  <a:pt x="1451" y="3399"/>
                </a:lnTo>
                <a:lnTo>
                  <a:pt x="1442" y="3384"/>
                </a:lnTo>
                <a:lnTo>
                  <a:pt x="1435" y="3367"/>
                </a:lnTo>
                <a:lnTo>
                  <a:pt x="1432" y="3348"/>
                </a:lnTo>
                <a:lnTo>
                  <a:pt x="1432" y="3204"/>
                </a:lnTo>
                <a:lnTo>
                  <a:pt x="1435" y="3182"/>
                </a:lnTo>
                <a:lnTo>
                  <a:pt x="1442" y="3165"/>
                </a:lnTo>
                <a:lnTo>
                  <a:pt x="1454" y="3150"/>
                </a:lnTo>
                <a:lnTo>
                  <a:pt x="1468" y="3140"/>
                </a:lnTo>
                <a:lnTo>
                  <a:pt x="1486" y="3134"/>
                </a:lnTo>
                <a:lnTo>
                  <a:pt x="1505" y="3131"/>
                </a:lnTo>
                <a:close/>
                <a:moveTo>
                  <a:pt x="1505" y="2584"/>
                </a:moveTo>
                <a:lnTo>
                  <a:pt x="3092" y="2584"/>
                </a:lnTo>
                <a:lnTo>
                  <a:pt x="3115" y="2587"/>
                </a:lnTo>
                <a:lnTo>
                  <a:pt x="3131" y="2595"/>
                </a:lnTo>
                <a:lnTo>
                  <a:pt x="3146" y="2606"/>
                </a:lnTo>
                <a:lnTo>
                  <a:pt x="3156" y="2622"/>
                </a:lnTo>
                <a:lnTo>
                  <a:pt x="3163" y="2638"/>
                </a:lnTo>
                <a:lnTo>
                  <a:pt x="3166" y="2658"/>
                </a:lnTo>
                <a:lnTo>
                  <a:pt x="3166" y="2803"/>
                </a:lnTo>
                <a:lnTo>
                  <a:pt x="3163" y="2824"/>
                </a:lnTo>
                <a:lnTo>
                  <a:pt x="3156" y="2840"/>
                </a:lnTo>
                <a:lnTo>
                  <a:pt x="3144" y="2855"/>
                </a:lnTo>
                <a:lnTo>
                  <a:pt x="3130" y="2867"/>
                </a:lnTo>
                <a:lnTo>
                  <a:pt x="3112" y="2872"/>
                </a:lnTo>
                <a:lnTo>
                  <a:pt x="3092" y="2875"/>
                </a:lnTo>
                <a:lnTo>
                  <a:pt x="1505" y="2875"/>
                </a:lnTo>
                <a:lnTo>
                  <a:pt x="1483" y="2872"/>
                </a:lnTo>
                <a:lnTo>
                  <a:pt x="1467" y="2865"/>
                </a:lnTo>
                <a:lnTo>
                  <a:pt x="1451" y="2853"/>
                </a:lnTo>
                <a:lnTo>
                  <a:pt x="1442" y="2839"/>
                </a:lnTo>
                <a:lnTo>
                  <a:pt x="1435" y="2821"/>
                </a:lnTo>
                <a:lnTo>
                  <a:pt x="1432" y="2803"/>
                </a:lnTo>
                <a:lnTo>
                  <a:pt x="1432" y="2658"/>
                </a:lnTo>
                <a:lnTo>
                  <a:pt x="1435" y="2637"/>
                </a:lnTo>
                <a:lnTo>
                  <a:pt x="1442" y="2619"/>
                </a:lnTo>
                <a:lnTo>
                  <a:pt x="1454" y="2605"/>
                </a:lnTo>
                <a:lnTo>
                  <a:pt x="1468" y="2594"/>
                </a:lnTo>
                <a:lnTo>
                  <a:pt x="1486" y="2587"/>
                </a:lnTo>
                <a:lnTo>
                  <a:pt x="1505" y="2584"/>
                </a:lnTo>
                <a:close/>
                <a:moveTo>
                  <a:pt x="1505" y="2023"/>
                </a:moveTo>
                <a:lnTo>
                  <a:pt x="3092" y="2023"/>
                </a:lnTo>
                <a:lnTo>
                  <a:pt x="3115" y="2024"/>
                </a:lnTo>
                <a:lnTo>
                  <a:pt x="3131" y="2032"/>
                </a:lnTo>
                <a:lnTo>
                  <a:pt x="3146" y="2043"/>
                </a:lnTo>
                <a:lnTo>
                  <a:pt x="3156" y="2059"/>
                </a:lnTo>
                <a:lnTo>
                  <a:pt x="3163" y="2075"/>
                </a:lnTo>
                <a:lnTo>
                  <a:pt x="3166" y="2095"/>
                </a:lnTo>
                <a:lnTo>
                  <a:pt x="3166" y="2240"/>
                </a:lnTo>
                <a:lnTo>
                  <a:pt x="3163" y="2261"/>
                </a:lnTo>
                <a:lnTo>
                  <a:pt x="3156" y="2279"/>
                </a:lnTo>
                <a:lnTo>
                  <a:pt x="3144" y="2292"/>
                </a:lnTo>
                <a:lnTo>
                  <a:pt x="3130" y="2304"/>
                </a:lnTo>
                <a:lnTo>
                  <a:pt x="3112" y="2309"/>
                </a:lnTo>
                <a:lnTo>
                  <a:pt x="3092" y="2312"/>
                </a:lnTo>
                <a:lnTo>
                  <a:pt x="1505" y="2312"/>
                </a:lnTo>
                <a:lnTo>
                  <a:pt x="1483" y="2309"/>
                </a:lnTo>
                <a:lnTo>
                  <a:pt x="1467" y="2301"/>
                </a:lnTo>
                <a:lnTo>
                  <a:pt x="1451" y="2288"/>
                </a:lnTo>
                <a:lnTo>
                  <a:pt x="1442" y="2273"/>
                </a:lnTo>
                <a:lnTo>
                  <a:pt x="1435" y="2257"/>
                </a:lnTo>
                <a:lnTo>
                  <a:pt x="1432" y="2240"/>
                </a:lnTo>
                <a:lnTo>
                  <a:pt x="1432" y="2095"/>
                </a:lnTo>
                <a:lnTo>
                  <a:pt x="1435" y="2074"/>
                </a:lnTo>
                <a:lnTo>
                  <a:pt x="1442" y="2056"/>
                </a:lnTo>
                <a:lnTo>
                  <a:pt x="1454" y="2042"/>
                </a:lnTo>
                <a:lnTo>
                  <a:pt x="1468" y="2031"/>
                </a:lnTo>
                <a:lnTo>
                  <a:pt x="1486" y="2024"/>
                </a:lnTo>
                <a:lnTo>
                  <a:pt x="1505" y="2023"/>
                </a:lnTo>
                <a:close/>
                <a:moveTo>
                  <a:pt x="2284" y="0"/>
                </a:moveTo>
                <a:lnTo>
                  <a:pt x="2301" y="2"/>
                </a:lnTo>
                <a:lnTo>
                  <a:pt x="2318" y="7"/>
                </a:lnTo>
                <a:lnTo>
                  <a:pt x="2337" y="17"/>
                </a:lnTo>
                <a:lnTo>
                  <a:pt x="2359" y="29"/>
                </a:lnTo>
                <a:lnTo>
                  <a:pt x="2384" y="46"/>
                </a:lnTo>
                <a:lnTo>
                  <a:pt x="2413" y="67"/>
                </a:lnTo>
                <a:lnTo>
                  <a:pt x="2417" y="70"/>
                </a:lnTo>
                <a:lnTo>
                  <a:pt x="2428" y="76"/>
                </a:lnTo>
                <a:lnTo>
                  <a:pt x="2444" y="88"/>
                </a:lnTo>
                <a:lnTo>
                  <a:pt x="2466" y="104"/>
                </a:lnTo>
                <a:lnTo>
                  <a:pt x="2493" y="122"/>
                </a:lnTo>
                <a:lnTo>
                  <a:pt x="2525" y="144"/>
                </a:lnTo>
                <a:lnTo>
                  <a:pt x="2561" y="171"/>
                </a:lnTo>
                <a:lnTo>
                  <a:pt x="2603" y="200"/>
                </a:lnTo>
                <a:lnTo>
                  <a:pt x="2647" y="231"/>
                </a:lnTo>
                <a:lnTo>
                  <a:pt x="2697" y="265"/>
                </a:lnTo>
                <a:lnTo>
                  <a:pt x="2748" y="302"/>
                </a:lnTo>
                <a:lnTo>
                  <a:pt x="2805" y="341"/>
                </a:lnTo>
                <a:lnTo>
                  <a:pt x="2863" y="382"/>
                </a:lnTo>
                <a:lnTo>
                  <a:pt x="2924" y="425"/>
                </a:lnTo>
                <a:lnTo>
                  <a:pt x="2987" y="469"/>
                </a:lnTo>
                <a:lnTo>
                  <a:pt x="3052" y="515"/>
                </a:lnTo>
                <a:lnTo>
                  <a:pt x="3119" y="562"/>
                </a:lnTo>
                <a:lnTo>
                  <a:pt x="3188" y="610"/>
                </a:lnTo>
                <a:lnTo>
                  <a:pt x="3257" y="659"/>
                </a:lnTo>
                <a:lnTo>
                  <a:pt x="3328" y="709"/>
                </a:lnTo>
                <a:lnTo>
                  <a:pt x="3398" y="758"/>
                </a:lnTo>
                <a:lnTo>
                  <a:pt x="3470" y="810"/>
                </a:lnTo>
                <a:lnTo>
                  <a:pt x="3541" y="859"/>
                </a:lnTo>
                <a:lnTo>
                  <a:pt x="3613" y="909"/>
                </a:lnTo>
                <a:lnTo>
                  <a:pt x="3683" y="959"/>
                </a:lnTo>
                <a:lnTo>
                  <a:pt x="3752" y="1007"/>
                </a:lnTo>
                <a:lnTo>
                  <a:pt x="3820" y="1056"/>
                </a:lnTo>
                <a:lnTo>
                  <a:pt x="3887" y="1103"/>
                </a:lnTo>
                <a:lnTo>
                  <a:pt x="3952" y="1149"/>
                </a:lnTo>
                <a:lnTo>
                  <a:pt x="4015" y="1191"/>
                </a:lnTo>
                <a:lnTo>
                  <a:pt x="4075" y="1234"/>
                </a:lnTo>
                <a:lnTo>
                  <a:pt x="4133" y="1276"/>
                </a:lnTo>
                <a:lnTo>
                  <a:pt x="4188" y="1315"/>
                </a:lnTo>
                <a:lnTo>
                  <a:pt x="4239" y="1350"/>
                </a:lnTo>
                <a:lnTo>
                  <a:pt x="4288" y="1384"/>
                </a:lnTo>
                <a:lnTo>
                  <a:pt x="4332" y="1415"/>
                </a:lnTo>
                <a:lnTo>
                  <a:pt x="4372" y="1443"/>
                </a:lnTo>
                <a:lnTo>
                  <a:pt x="4408" y="1469"/>
                </a:lnTo>
                <a:lnTo>
                  <a:pt x="4440" y="1490"/>
                </a:lnTo>
                <a:lnTo>
                  <a:pt x="4466" y="1510"/>
                </a:lnTo>
                <a:lnTo>
                  <a:pt x="4487" y="1523"/>
                </a:lnTo>
                <a:lnTo>
                  <a:pt x="4502" y="1534"/>
                </a:lnTo>
                <a:lnTo>
                  <a:pt x="4511" y="1541"/>
                </a:lnTo>
                <a:lnTo>
                  <a:pt x="4515" y="1543"/>
                </a:lnTo>
                <a:lnTo>
                  <a:pt x="4536" y="1565"/>
                </a:lnTo>
                <a:lnTo>
                  <a:pt x="4552" y="1593"/>
                </a:lnTo>
                <a:lnTo>
                  <a:pt x="4562" y="1623"/>
                </a:lnTo>
                <a:lnTo>
                  <a:pt x="4566" y="1656"/>
                </a:lnTo>
                <a:lnTo>
                  <a:pt x="4562" y="1691"/>
                </a:lnTo>
                <a:lnTo>
                  <a:pt x="4551" y="1727"/>
                </a:lnTo>
                <a:lnTo>
                  <a:pt x="4531" y="1760"/>
                </a:lnTo>
                <a:lnTo>
                  <a:pt x="4505" y="1789"/>
                </a:lnTo>
                <a:lnTo>
                  <a:pt x="4476" y="1810"/>
                </a:lnTo>
                <a:lnTo>
                  <a:pt x="4446" y="1825"/>
                </a:lnTo>
                <a:lnTo>
                  <a:pt x="4414" y="1832"/>
                </a:lnTo>
                <a:lnTo>
                  <a:pt x="4381" y="1833"/>
                </a:lnTo>
                <a:lnTo>
                  <a:pt x="4349" y="1825"/>
                </a:lnTo>
                <a:lnTo>
                  <a:pt x="4320" y="1811"/>
                </a:lnTo>
                <a:lnTo>
                  <a:pt x="4208" y="1738"/>
                </a:lnTo>
                <a:lnTo>
                  <a:pt x="4208" y="4145"/>
                </a:lnTo>
                <a:lnTo>
                  <a:pt x="4205" y="4179"/>
                </a:lnTo>
                <a:lnTo>
                  <a:pt x="4194" y="4211"/>
                </a:lnTo>
                <a:lnTo>
                  <a:pt x="4179" y="4240"/>
                </a:lnTo>
                <a:lnTo>
                  <a:pt x="4158" y="4264"/>
                </a:lnTo>
                <a:lnTo>
                  <a:pt x="4133" y="4284"/>
                </a:lnTo>
                <a:lnTo>
                  <a:pt x="4104" y="4300"/>
                </a:lnTo>
                <a:lnTo>
                  <a:pt x="4073" y="4309"/>
                </a:lnTo>
                <a:lnTo>
                  <a:pt x="4040" y="4312"/>
                </a:lnTo>
                <a:lnTo>
                  <a:pt x="4006" y="4309"/>
                </a:lnTo>
                <a:lnTo>
                  <a:pt x="3975" y="4298"/>
                </a:lnTo>
                <a:lnTo>
                  <a:pt x="3946" y="4283"/>
                </a:lnTo>
                <a:lnTo>
                  <a:pt x="3921" y="4262"/>
                </a:lnTo>
                <a:lnTo>
                  <a:pt x="3902" y="4237"/>
                </a:lnTo>
                <a:lnTo>
                  <a:pt x="3887" y="4208"/>
                </a:lnTo>
                <a:lnTo>
                  <a:pt x="3877" y="4178"/>
                </a:lnTo>
                <a:lnTo>
                  <a:pt x="3873" y="4145"/>
                </a:lnTo>
                <a:lnTo>
                  <a:pt x="3873" y="1498"/>
                </a:lnTo>
                <a:lnTo>
                  <a:pt x="2284" y="378"/>
                </a:lnTo>
                <a:lnTo>
                  <a:pt x="725" y="1482"/>
                </a:lnTo>
                <a:lnTo>
                  <a:pt x="725" y="4139"/>
                </a:lnTo>
                <a:lnTo>
                  <a:pt x="721" y="4174"/>
                </a:lnTo>
                <a:lnTo>
                  <a:pt x="711" y="4206"/>
                </a:lnTo>
                <a:lnTo>
                  <a:pt x="696" y="4235"/>
                </a:lnTo>
                <a:lnTo>
                  <a:pt x="677" y="4258"/>
                </a:lnTo>
                <a:lnTo>
                  <a:pt x="652" y="4279"/>
                </a:lnTo>
                <a:lnTo>
                  <a:pt x="624" y="4294"/>
                </a:lnTo>
                <a:lnTo>
                  <a:pt x="592" y="4304"/>
                </a:lnTo>
                <a:lnTo>
                  <a:pt x="558" y="4307"/>
                </a:lnTo>
                <a:lnTo>
                  <a:pt x="523" y="4304"/>
                </a:lnTo>
                <a:lnTo>
                  <a:pt x="491" y="4293"/>
                </a:lnTo>
                <a:lnTo>
                  <a:pt x="462" y="4278"/>
                </a:lnTo>
                <a:lnTo>
                  <a:pt x="439" y="4257"/>
                </a:lnTo>
                <a:lnTo>
                  <a:pt x="418" y="4232"/>
                </a:lnTo>
                <a:lnTo>
                  <a:pt x="403" y="4203"/>
                </a:lnTo>
                <a:lnTo>
                  <a:pt x="393" y="4172"/>
                </a:lnTo>
                <a:lnTo>
                  <a:pt x="390" y="4139"/>
                </a:lnTo>
                <a:lnTo>
                  <a:pt x="390" y="1705"/>
                </a:lnTo>
                <a:lnTo>
                  <a:pt x="245" y="1811"/>
                </a:lnTo>
                <a:lnTo>
                  <a:pt x="220" y="1824"/>
                </a:lnTo>
                <a:lnTo>
                  <a:pt x="194" y="1832"/>
                </a:lnTo>
                <a:lnTo>
                  <a:pt x="165" y="1833"/>
                </a:lnTo>
                <a:lnTo>
                  <a:pt x="136" y="1829"/>
                </a:lnTo>
                <a:lnTo>
                  <a:pt x="107" y="1819"/>
                </a:lnTo>
                <a:lnTo>
                  <a:pt x="79" y="1806"/>
                </a:lnTo>
                <a:lnTo>
                  <a:pt x="54" y="1785"/>
                </a:lnTo>
                <a:lnTo>
                  <a:pt x="33" y="1760"/>
                </a:lnTo>
                <a:lnTo>
                  <a:pt x="17" y="1732"/>
                </a:lnTo>
                <a:lnTo>
                  <a:pt x="7" y="1702"/>
                </a:lnTo>
                <a:lnTo>
                  <a:pt x="1" y="1671"/>
                </a:lnTo>
                <a:lnTo>
                  <a:pt x="0" y="1641"/>
                </a:lnTo>
                <a:lnTo>
                  <a:pt x="6" y="1612"/>
                </a:lnTo>
                <a:lnTo>
                  <a:pt x="17" y="1586"/>
                </a:lnTo>
                <a:lnTo>
                  <a:pt x="33" y="1562"/>
                </a:lnTo>
                <a:lnTo>
                  <a:pt x="55" y="1543"/>
                </a:lnTo>
                <a:lnTo>
                  <a:pt x="2152" y="72"/>
                </a:lnTo>
                <a:lnTo>
                  <a:pt x="2182" y="50"/>
                </a:lnTo>
                <a:lnTo>
                  <a:pt x="2208" y="32"/>
                </a:lnTo>
                <a:lnTo>
                  <a:pt x="2230" y="18"/>
                </a:lnTo>
                <a:lnTo>
                  <a:pt x="2250" y="9"/>
                </a:lnTo>
                <a:lnTo>
                  <a:pt x="2268" y="3"/>
                </a:lnTo>
                <a:lnTo>
                  <a:pt x="2284" y="0"/>
                </a:lnTo>
                <a:close/>
              </a:path>
            </a:pathLst>
          </a:custGeom>
          <a:solidFill>
            <a:schemeClr val="accent1">
              <a:lumMod val="75000"/>
            </a:schemeClr>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pic>
        <p:nvPicPr>
          <p:cNvPr id="152" name="图片 15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143"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行业</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484" name="think-cell Slide" r:id="rId2" imgW="12700" imgH="12700" progId="TCLayout.ActiveDocument.1">
                  <p:embed/>
                </p:oleObj>
              </mc:Choice>
              <mc:Fallback>
                <p:oleObj name="think-cell Slide" r:id="rId2" imgW="12700" imgH="12700" progId="TCLayout.ActiveDocument.1">
                  <p:embed/>
                  <p:pic>
                    <p:nvPicPr>
                      <p:cNvPr id="0" name="图片 140483"/>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50" name="矩形 49"/>
          <p:cNvSpPr/>
          <p:nvPr/>
        </p:nvSpPr>
        <p:spPr>
          <a:xfrm>
            <a:off x="202952" y="1574800"/>
            <a:ext cx="646134" cy="564643"/>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sym typeface="+mn-lt"/>
              </a:rPr>
              <a:t>XXX</a:t>
            </a:r>
            <a:endParaRPr lang="en-US" altLang="zh-CN" sz="1200" b="1" dirty="0">
              <a:solidFill>
                <a:schemeClr val="bg1"/>
              </a:solidFill>
              <a:cs typeface="+mn-ea"/>
              <a:sym typeface="+mn-lt"/>
            </a:endParaRPr>
          </a:p>
        </p:txBody>
      </p:sp>
      <p:sp>
        <p:nvSpPr>
          <p:cNvPr id="51" name="矩形 50"/>
          <p:cNvSpPr/>
          <p:nvPr/>
        </p:nvSpPr>
        <p:spPr>
          <a:xfrm>
            <a:off x="202952" y="2213043"/>
            <a:ext cx="646134" cy="1843867"/>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altLang="zh-CN" sz="1200" b="1" dirty="0" smtClean="0">
                <a:solidFill>
                  <a:schemeClr val="bg1"/>
                </a:solidFill>
                <a:cs typeface="+mn-ea"/>
                <a:sym typeface="+mn-lt"/>
              </a:rPr>
              <a:t>XXX</a:t>
            </a:r>
            <a:endParaRPr lang="en-US" altLang="zh-CN" sz="1200" b="1" dirty="0" smtClean="0">
              <a:solidFill>
                <a:schemeClr val="bg1"/>
              </a:solidFill>
              <a:cs typeface="+mn-ea"/>
              <a:sym typeface="+mn-lt"/>
            </a:endParaRPr>
          </a:p>
        </p:txBody>
      </p:sp>
      <p:sp>
        <p:nvSpPr>
          <p:cNvPr id="52" name="矩形 51"/>
          <p:cNvSpPr/>
          <p:nvPr/>
        </p:nvSpPr>
        <p:spPr>
          <a:xfrm>
            <a:off x="202952" y="4156533"/>
            <a:ext cx="646134" cy="876916"/>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sym typeface="+mn-lt"/>
              </a:rPr>
              <a:t>XXXX</a:t>
            </a:r>
            <a:endParaRPr lang="en-US" altLang="zh-CN" sz="1200" b="1" dirty="0">
              <a:solidFill>
                <a:schemeClr val="bg1"/>
              </a:solidFill>
              <a:cs typeface="+mn-ea"/>
              <a:sym typeface="+mn-lt"/>
            </a:endParaRPr>
          </a:p>
        </p:txBody>
      </p:sp>
      <p:sp>
        <p:nvSpPr>
          <p:cNvPr id="53" name="矩形 52"/>
          <p:cNvSpPr/>
          <p:nvPr/>
        </p:nvSpPr>
        <p:spPr>
          <a:xfrm>
            <a:off x="202952" y="5123484"/>
            <a:ext cx="646134" cy="1196036"/>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sym typeface="+mn-lt"/>
              </a:rPr>
              <a:t>XXX</a:t>
            </a:r>
            <a:endParaRPr lang="en-US" altLang="zh-CN" sz="1200" b="1" dirty="0">
              <a:solidFill>
                <a:schemeClr val="bg1"/>
              </a:solidFill>
              <a:cs typeface="+mn-ea"/>
              <a:sym typeface="+mn-lt"/>
            </a:endParaRPr>
          </a:p>
        </p:txBody>
      </p:sp>
      <p:cxnSp>
        <p:nvCxnSpPr>
          <p:cNvPr id="78" name="直接连接符 77"/>
          <p:cNvCxnSpPr/>
          <p:nvPr/>
        </p:nvCxnSpPr>
        <p:spPr>
          <a:xfrm>
            <a:off x="904240" y="2177792"/>
            <a:ext cx="109321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9" name="矩形 28"/>
          <p:cNvSpPr/>
          <p:nvPr/>
        </p:nvSpPr>
        <p:spPr>
          <a:xfrm>
            <a:off x="889232" y="1574800"/>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dirty="0">
                <a:solidFill>
                  <a:schemeClr val="tx1"/>
                </a:solidFill>
                <a:cs typeface="+mn-ea"/>
                <a:sym typeface="+mn-lt"/>
              </a:rPr>
              <a:t>XXXX</a:t>
            </a:r>
            <a:endParaRPr lang="en-US" altLang="zh-CN" sz="1200" dirty="0">
              <a:solidFill>
                <a:schemeClr val="tx1"/>
              </a:solidFill>
              <a:cs typeface="+mn-ea"/>
              <a:sym typeface="+mn-lt"/>
            </a:endParaRPr>
          </a:p>
        </p:txBody>
      </p:sp>
      <p:sp>
        <p:nvSpPr>
          <p:cNvPr id="57" name="矩形 56"/>
          <p:cNvSpPr/>
          <p:nvPr/>
        </p:nvSpPr>
        <p:spPr>
          <a:xfrm>
            <a:off x="889232" y="1893921"/>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3" name="矩形 62"/>
          <p:cNvSpPr/>
          <p:nvPr/>
        </p:nvSpPr>
        <p:spPr>
          <a:xfrm>
            <a:off x="889232" y="3808649"/>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4" name="矩形 63"/>
          <p:cNvSpPr/>
          <p:nvPr/>
        </p:nvSpPr>
        <p:spPr>
          <a:xfrm>
            <a:off x="889232" y="4156533"/>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5" name="矩形 64"/>
          <p:cNvSpPr/>
          <p:nvPr/>
        </p:nvSpPr>
        <p:spPr>
          <a:xfrm>
            <a:off x="889232" y="4475654"/>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6" name="矩形 65"/>
          <p:cNvSpPr/>
          <p:nvPr/>
        </p:nvSpPr>
        <p:spPr>
          <a:xfrm>
            <a:off x="889232" y="4794775"/>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7" name="矩形 66"/>
          <p:cNvSpPr/>
          <p:nvPr/>
        </p:nvSpPr>
        <p:spPr>
          <a:xfrm>
            <a:off x="889232" y="5123484"/>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8" name="矩形 67"/>
          <p:cNvSpPr/>
          <p:nvPr/>
        </p:nvSpPr>
        <p:spPr>
          <a:xfrm>
            <a:off x="889232" y="5761727"/>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9" name="矩形 68"/>
          <p:cNvSpPr/>
          <p:nvPr/>
        </p:nvSpPr>
        <p:spPr>
          <a:xfrm>
            <a:off x="889232" y="5442605"/>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70" name="矩形 69"/>
          <p:cNvSpPr/>
          <p:nvPr/>
        </p:nvSpPr>
        <p:spPr>
          <a:xfrm>
            <a:off x="889232" y="6080846"/>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58" name="矩形 57"/>
          <p:cNvSpPr/>
          <p:nvPr/>
        </p:nvSpPr>
        <p:spPr>
          <a:xfrm>
            <a:off x="889232" y="2222630"/>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59" name="矩形 58"/>
          <p:cNvSpPr/>
          <p:nvPr/>
        </p:nvSpPr>
        <p:spPr>
          <a:xfrm>
            <a:off x="889232" y="3179994"/>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0" name="矩形 59"/>
          <p:cNvSpPr/>
          <p:nvPr/>
        </p:nvSpPr>
        <p:spPr>
          <a:xfrm>
            <a:off x="889232" y="2541751"/>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1" name="矩形 60"/>
          <p:cNvSpPr/>
          <p:nvPr/>
        </p:nvSpPr>
        <p:spPr>
          <a:xfrm>
            <a:off x="889232" y="3499115"/>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62" name="矩形 61"/>
          <p:cNvSpPr/>
          <p:nvPr/>
        </p:nvSpPr>
        <p:spPr>
          <a:xfrm>
            <a:off x="889232" y="2860873"/>
            <a:ext cx="2839488" cy="238674"/>
          </a:xfrm>
          <a:prstGeom prst="rect">
            <a:avLst/>
          </a:pr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cxnSp>
        <p:nvCxnSpPr>
          <p:cNvPr id="80" name="直接连接符 79"/>
          <p:cNvCxnSpPr/>
          <p:nvPr/>
        </p:nvCxnSpPr>
        <p:spPr>
          <a:xfrm>
            <a:off x="904240" y="4104846"/>
            <a:ext cx="109321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a:off x="904240" y="5082754"/>
            <a:ext cx="109321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9" name="ColumnHeader"/>
          <p:cNvSpPr>
            <a:spLocks noChangeArrowheads="1"/>
          </p:cNvSpPr>
          <p:nvPr/>
        </p:nvSpPr>
        <p:spPr bwMode="gray">
          <a:xfrm>
            <a:off x="3779520" y="934720"/>
            <a:ext cx="1565023" cy="574628"/>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sym typeface="+mn-lt"/>
              </a:rPr>
              <a:t>XXX</a:t>
            </a:r>
            <a:endParaRPr lang="en-US" altLang="zh-CN" sz="1200" b="1" dirty="0">
              <a:solidFill>
                <a:schemeClr val="bg1"/>
              </a:solidFill>
              <a:cs typeface="+mn-ea"/>
              <a:sym typeface="+mn-lt"/>
            </a:endParaRPr>
          </a:p>
        </p:txBody>
      </p:sp>
      <p:sp>
        <p:nvSpPr>
          <p:cNvPr id="10" name="ColumnHeader"/>
          <p:cNvSpPr>
            <a:spLocks noChangeArrowheads="1"/>
          </p:cNvSpPr>
          <p:nvPr/>
        </p:nvSpPr>
        <p:spPr bwMode="gray">
          <a:xfrm>
            <a:off x="7081328" y="934720"/>
            <a:ext cx="1565023" cy="574628"/>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sym typeface="+mn-lt"/>
              </a:rPr>
              <a:t>XXX</a:t>
            </a:r>
            <a:endParaRPr lang="en-US" altLang="zh-CN" sz="1200" b="1" dirty="0">
              <a:solidFill>
                <a:schemeClr val="bg1"/>
              </a:solidFill>
              <a:cs typeface="+mn-ea"/>
              <a:sym typeface="+mn-lt"/>
            </a:endParaRPr>
          </a:p>
        </p:txBody>
      </p:sp>
      <p:sp>
        <p:nvSpPr>
          <p:cNvPr id="13" name="ColumnHeader"/>
          <p:cNvSpPr>
            <a:spLocks noChangeArrowheads="1"/>
          </p:cNvSpPr>
          <p:nvPr/>
        </p:nvSpPr>
        <p:spPr bwMode="gray">
          <a:xfrm>
            <a:off x="5430424" y="934720"/>
            <a:ext cx="1565023" cy="574628"/>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sym typeface="+mn-lt"/>
              </a:rPr>
              <a:t>XXX</a:t>
            </a:r>
            <a:endParaRPr lang="en-US" altLang="zh-CN" sz="1200" b="1" dirty="0">
              <a:solidFill>
                <a:schemeClr val="bg1"/>
              </a:solidFill>
              <a:cs typeface="+mn-ea"/>
              <a:sym typeface="+mn-lt"/>
            </a:endParaRPr>
          </a:p>
        </p:txBody>
      </p:sp>
      <p:sp>
        <p:nvSpPr>
          <p:cNvPr id="12" name="ColumnHeader"/>
          <p:cNvSpPr>
            <a:spLocks noChangeArrowheads="1"/>
          </p:cNvSpPr>
          <p:nvPr/>
        </p:nvSpPr>
        <p:spPr bwMode="gray">
          <a:xfrm>
            <a:off x="8732232" y="1229360"/>
            <a:ext cx="1565023" cy="279988"/>
          </a:xfrm>
          <a:prstGeom prst="rect">
            <a:avLst/>
          </a:prstGeom>
          <a:solidFill>
            <a:schemeClr val="accent1">
              <a:lumMod val="60000"/>
              <a:lumOff val="40000"/>
            </a:schemeClr>
          </a:solidFill>
          <a:ln w="9525" algn="ctr">
            <a:noFill/>
            <a:miter lim="800000"/>
            <a:headEnd type="none" w="lg" len="lg"/>
            <a:tailEnd type="none" w="lg" len="lg"/>
          </a:ln>
          <a:effectLst/>
        </p:spPr>
        <p:txBody>
          <a:bodyPr wrap="square" lIns="0" tIns="0" rIns="0" bIns="0" anchor="ctr">
            <a:noAutofit/>
          </a:bodyPr>
          <a:lstStyle/>
          <a:p>
            <a:pPr algn="ctr"/>
            <a:r>
              <a:rPr lang="en-US" altLang="zh-CN" sz="1400" b="1" dirty="0">
                <a:solidFill>
                  <a:srgbClr val="000000"/>
                </a:solidFill>
                <a:cs typeface="+mn-ea"/>
                <a:sym typeface="+mn-lt"/>
              </a:rPr>
              <a:t>XXX</a:t>
            </a:r>
            <a:endParaRPr lang="en-US" altLang="zh-CN" sz="1400" b="1" dirty="0">
              <a:solidFill>
                <a:srgbClr val="000000"/>
              </a:solidFill>
              <a:cs typeface="+mn-ea"/>
              <a:sym typeface="+mn-lt"/>
            </a:endParaRPr>
          </a:p>
        </p:txBody>
      </p:sp>
      <p:sp>
        <p:nvSpPr>
          <p:cNvPr id="14" name="ColumnHeader"/>
          <p:cNvSpPr>
            <a:spLocks noChangeArrowheads="1"/>
          </p:cNvSpPr>
          <p:nvPr/>
        </p:nvSpPr>
        <p:spPr bwMode="gray">
          <a:xfrm>
            <a:off x="10383136" y="1229360"/>
            <a:ext cx="1565023" cy="279988"/>
          </a:xfrm>
          <a:prstGeom prst="rect">
            <a:avLst/>
          </a:prstGeom>
          <a:solidFill>
            <a:schemeClr val="accent1">
              <a:lumMod val="60000"/>
              <a:lumOff val="40000"/>
            </a:schemeClr>
          </a:solidFill>
          <a:ln w="9525" algn="ctr">
            <a:noFill/>
            <a:miter lim="800000"/>
            <a:headEnd type="none" w="lg" len="lg"/>
            <a:tailEnd type="none" w="lg" len="lg"/>
          </a:ln>
          <a:effectLst/>
        </p:spPr>
        <p:txBody>
          <a:bodyPr wrap="square" lIns="0" tIns="0" rIns="0" bIns="0" anchor="ctr">
            <a:noAutofit/>
          </a:bodyPr>
          <a:lstStyle/>
          <a:p>
            <a:pPr algn="ctr"/>
            <a:r>
              <a:rPr lang="en-US" altLang="zh-CN" sz="1400" b="1" dirty="0">
                <a:solidFill>
                  <a:srgbClr val="000000"/>
                </a:solidFill>
                <a:cs typeface="+mn-ea"/>
                <a:sym typeface="+mn-lt"/>
              </a:rPr>
              <a:t>XXX</a:t>
            </a:r>
            <a:endParaRPr lang="en-US" altLang="zh-CN" sz="1400" b="1" dirty="0">
              <a:solidFill>
                <a:srgbClr val="000000"/>
              </a:solidFill>
              <a:cs typeface="+mn-ea"/>
              <a:sym typeface="+mn-lt"/>
            </a:endParaRPr>
          </a:p>
        </p:txBody>
      </p:sp>
      <p:sp>
        <p:nvSpPr>
          <p:cNvPr id="89" name="ColumnHeader"/>
          <p:cNvSpPr>
            <a:spLocks noChangeArrowheads="1"/>
          </p:cNvSpPr>
          <p:nvPr/>
        </p:nvSpPr>
        <p:spPr bwMode="gray">
          <a:xfrm>
            <a:off x="8732232" y="934720"/>
            <a:ext cx="3215927" cy="243840"/>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sym typeface="+mn-lt"/>
              </a:rPr>
              <a:t>XXX</a:t>
            </a:r>
            <a:endParaRPr lang="en-US" altLang="zh-CN" sz="1200" b="1" dirty="0">
              <a:solidFill>
                <a:schemeClr val="bg1"/>
              </a:solidFill>
              <a:cs typeface="+mn-ea"/>
              <a:sym typeface="+mn-lt"/>
            </a:endParaRPr>
          </a:p>
        </p:txBody>
      </p:sp>
      <p:sp>
        <p:nvSpPr>
          <p:cNvPr id="94" name="矩形 93"/>
          <p:cNvSpPr/>
          <p:nvPr/>
        </p:nvSpPr>
        <p:spPr>
          <a:xfrm>
            <a:off x="3779520" y="157480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en-US" altLang="zh-CN" sz="1200" dirty="0" smtClean="0">
                <a:solidFill>
                  <a:schemeClr val="tx1"/>
                </a:solidFill>
                <a:cs typeface="+mn-ea"/>
                <a:sym typeface="+mn-lt"/>
              </a:rPr>
              <a:t>XXXX</a:t>
            </a:r>
            <a:endParaRPr lang="en-US" altLang="zh-CN" sz="1200" dirty="0" smtClean="0">
              <a:solidFill>
                <a:schemeClr val="tx1"/>
              </a:solidFill>
              <a:cs typeface="+mn-ea"/>
              <a:sym typeface="+mn-lt"/>
            </a:endParaRPr>
          </a:p>
        </p:txBody>
      </p:sp>
      <p:sp>
        <p:nvSpPr>
          <p:cNvPr id="95" name="矩形 94"/>
          <p:cNvSpPr/>
          <p:nvPr/>
        </p:nvSpPr>
        <p:spPr>
          <a:xfrm>
            <a:off x="3779520" y="189392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96" name="矩形 95"/>
          <p:cNvSpPr/>
          <p:nvPr/>
        </p:nvSpPr>
        <p:spPr>
          <a:xfrm>
            <a:off x="3779520" y="3808649"/>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97" name="矩形 96"/>
          <p:cNvSpPr/>
          <p:nvPr/>
        </p:nvSpPr>
        <p:spPr>
          <a:xfrm>
            <a:off x="3779520" y="415653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98" name="矩形 97"/>
          <p:cNvSpPr/>
          <p:nvPr/>
        </p:nvSpPr>
        <p:spPr>
          <a:xfrm>
            <a:off x="3779520" y="447565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99" name="矩形 98"/>
          <p:cNvSpPr/>
          <p:nvPr/>
        </p:nvSpPr>
        <p:spPr>
          <a:xfrm>
            <a:off x="3779520" y="479477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0" name="矩形 99"/>
          <p:cNvSpPr/>
          <p:nvPr/>
        </p:nvSpPr>
        <p:spPr>
          <a:xfrm>
            <a:off x="3779520" y="512348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1" name="矩形 100"/>
          <p:cNvSpPr/>
          <p:nvPr/>
        </p:nvSpPr>
        <p:spPr>
          <a:xfrm>
            <a:off x="3779520" y="5761727"/>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2" name="矩形 101"/>
          <p:cNvSpPr/>
          <p:nvPr/>
        </p:nvSpPr>
        <p:spPr>
          <a:xfrm>
            <a:off x="3779520" y="544260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3" name="矩形 102"/>
          <p:cNvSpPr/>
          <p:nvPr/>
        </p:nvSpPr>
        <p:spPr>
          <a:xfrm>
            <a:off x="3779520" y="6080846"/>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4" name="矩形 103"/>
          <p:cNvSpPr/>
          <p:nvPr/>
        </p:nvSpPr>
        <p:spPr>
          <a:xfrm>
            <a:off x="3779520" y="222263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5" name="矩形 104"/>
          <p:cNvSpPr/>
          <p:nvPr/>
        </p:nvSpPr>
        <p:spPr>
          <a:xfrm>
            <a:off x="3779520" y="317999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6" name="矩形 105"/>
          <p:cNvSpPr/>
          <p:nvPr/>
        </p:nvSpPr>
        <p:spPr>
          <a:xfrm>
            <a:off x="3779520" y="254175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7" name="矩形 106"/>
          <p:cNvSpPr/>
          <p:nvPr/>
        </p:nvSpPr>
        <p:spPr>
          <a:xfrm>
            <a:off x="3779520" y="349911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8" name="矩形 107"/>
          <p:cNvSpPr/>
          <p:nvPr/>
        </p:nvSpPr>
        <p:spPr>
          <a:xfrm>
            <a:off x="3779520" y="286087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09" name="矩形 108"/>
          <p:cNvSpPr/>
          <p:nvPr/>
        </p:nvSpPr>
        <p:spPr>
          <a:xfrm>
            <a:off x="7081328" y="157480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0" name="矩形 109"/>
          <p:cNvSpPr/>
          <p:nvPr/>
        </p:nvSpPr>
        <p:spPr>
          <a:xfrm>
            <a:off x="7081328" y="189392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1" name="矩形 110"/>
          <p:cNvSpPr/>
          <p:nvPr/>
        </p:nvSpPr>
        <p:spPr>
          <a:xfrm>
            <a:off x="7081328" y="3808649"/>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2" name="矩形 111"/>
          <p:cNvSpPr/>
          <p:nvPr/>
        </p:nvSpPr>
        <p:spPr>
          <a:xfrm>
            <a:off x="7081328" y="415653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3" name="矩形 112"/>
          <p:cNvSpPr/>
          <p:nvPr/>
        </p:nvSpPr>
        <p:spPr>
          <a:xfrm>
            <a:off x="7081328" y="447565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4" name="矩形 113"/>
          <p:cNvSpPr/>
          <p:nvPr/>
        </p:nvSpPr>
        <p:spPr>
          <a:xfrm>
            <a:off x="7081328" y="479477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5" name="矩形 114"/>
          <p:cNvSpPr/>
          <p:nvPr/>
        </p:nvSpPr>
        <p:spPr>
          <a:xfrm>
            <a:off x="7081328" y="512348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6" name="矩形 115"/>
          <p:cNvSpPr/>
          <p:nvPr/>
        </p:nvSpPr>
        <p:spPr>
          <a:xfrm>
            <a:off x="7081328" y="5761727"/>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7" name="矩形 116"/>
          <p:cNvSpPr/>
          <p:nvPr/>
        </p:nvSpPr>
        <p:spPr>
          <a:xfrm>
            <a:off x="7081328" y="544260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8" name="矩形 117"/>
          <p:cNvSpPr/>
          <p:nvPr/>
        </p:nvSpPr>
        <p:spPr>
          <a:xfrm>
            <a:off x="7081328" y="6080846"/>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19" name="矩形 118"/>
          <p:cNvSpPr/>
          <p:nvPr/>
        </p:nvSpPr>
        <p:spPr>
          <a:xfrm>
            <a:off x="7081328" y="222263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0" name="矩形 119"/>
          <p:cNvSpPr/>
          <p:nvPr/>
        </p:nvSpPr>
        <p:spPr>
          <a:xfrm>
            <a:off x="7081328" y="317999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1" name="矩形 120"/>
          <p:cNvSpPr/>
          <p:nvPr/>
        </p:nvSpPr>
        <p:spPr>
          <a:xfrm>
            <a:off x="7081328" y="254175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2" name="矩形 121"/>
          <p:cNvSpPr/>
          <p:nvPr/>
        </p:nvSpPr>
        <p:spPr>
          <a:xfrm>
            <a:off x="7081328" y="349911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3" name="矩形 122"/>
          <p:cNvSpPr/>
          <p:nvPr/>
        </p:nvSpPr>
        <p:spPr>
          <a:xfrm>
            <a:off x="7081328" y="286087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7" name="矩形 126"/>
          <p:cNvSpPr/>
          <p:nvPr/>
        </p:nvSpPr>
        <p:spPr>
          <a:xfrm>
            <a:off x="10383136" y="157480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8" name="矩形 127"/>
          <p:cNvSpPr/>
          <p:nvPr/>
        </p:nvSpPr>
        <p:spPr>
          <a:xfrm>
            <a:off x="10383136" y="189392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prstClr val="black"/>
                </a:solidFill>
                <a:cs typeface="+mn-ea"/>
                <a:sym typeface="+mn-lt"/>
              </a:rPr>
              <a:t>XXXX</a:t>
            </a:r>
            <a:endParaRPr lang="en-US" altLang="zh-CN" sz="1200" dirty="0">
              <a:solidFill>
                <a:prstClr val="black"/>
              </a:solidFill>
              <a:cs typeface="+mn-ea"/>
              <a:sym typeface="+mn-lt"/>
            </a:endParaRPr>
          </a:p>
        </p:txBody>
      </p:sp>
      <p:sp>
        <p:nvSpPr>
          <p:cNvPr id="129" name="矩形 128"/>
          <p:cNvSpPr/>
          <p:nvPr/>
        </p:nvSpPr>
        <p:spPr>
          <a:xfrm>
            <a:off x="10383136" y="3808649"/>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0" name="矩形 129"/>
          <p:cNvSpPr/>
          <p:nvPr/>
        </p:nvSpPr>
        <p:spPr>
          <a:xfrm>
            <a:off x="10383136" y="415653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1" name="矩形 130"/>
          <p:cNvSpPr/>
          <p:nvPr/>
        </p:nvSpPr>
        <p:spPr>
          <a:xfrm>
            <a:off x="10383136" y="447565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2" name="矩形 131"/>
          <p:cNvSpPr/>
          <p:nvPr/>
        </p:nvSpPr>
        <p:spPr>
          <a:xfrm>
            <a:off x="10383136" y="479477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3" name="矩形 132"/>
          <p:cNvSpPr/>
          <p:nvPr/>
        </p:nvSpPr>
        <p:spPr>
          <a:xfrm>
            <a:off x="10383136" y="512348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4" name="矩形 133"/>
          <p:cNvSpPr/>
          <p:nvPr/>
        </p:nvSpPr>
        <p:spPr>
          <a:xfrm>
            <a:off x="10383136" y="5761727"/>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5" name="矩形 134"/>
          <p:cNvSpPr/>
          <p:nvPr/>
        </p:nvSpPr>
        <p:spPr>
          <a:xfrm>
            <a:off x="10383136" y="544260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6" name="矩形 135"/>
          <p:cNvSpPr/>
          <p:nvPr/>
        </p:nvSpPr>
        <p:spPr>
          <a:xfrm>
            <a:off x="10383136" y="6080846"/>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7" name="矩形 136"/>
          <p:cNvSpPr/>
          <p:nvPr/>
        </p:nvSpPr>
        <p:spPr>
          <a:xfrm>
            <a:off x="10383136" y="222263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8" name="矩形 137"/>
          <p:cNvSpPr/>
          <p:nvPr/>
        </p:nvSpPr>
        <p:spPr>
          <a:xfrm>
            <a:off x="10383136" y="317999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39" name="矩形 138"/>
          <p:cNvSpPr/>
          <p:nvPr/>
        </p:nvSpPr>
        <p:spPr>
          <a:xfrm>
            <a:off x="10383136" y="254175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0" name="矩形 139"/>
          <p:cNvSpPr/>
          <p:nvPr/>
        </p:nvSpPr>
        <p:spPr>
          <a:xfrm>
            <a:off x="10383136" y="349911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1" name="矩形 140"/>
          <p:cNvSpPr/>
          <p:nvPr/>
        </p:nvSpPr>
        <p:spPr>
          <a:xfrm>
            <a:off x="10383136" y="286087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2" name="矩形 141"/>
          <p:cNvSpPr/>
          <p:nvPr/>
        </p:nvSpPr>
        <p:spPr>
          <a:xfrm>
            <a:off x="8732232" y="157480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3" name="矩形 142"/>
          <p:cNvSpPr/>
          <p:nvPr/>
        </p:nvSpPr>
        <p:spPr>
          <a:xfrm>
            <a:off x="8732232" y="189392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4" name="矩形 143"/>
          <p:cNvSpPr/>
          <p:nvPr/>
        </p:nvSpPr>
        <p:spPr>
          <a:xfrm>
            <a:off x="8732232" y="3808649"/>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5" name="矩形 144"/>
          <p:cNvSpPr/>
          <p:nvPr/>
        </p:nvSpPr>
        <p:spPr>
          <a:xfrm>
            <a:off x="8732232" y="415653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6" name="矩形 145"/>
          <p:cNvSpPr/>
          <p:nvPr/>
        </p:nvSpPr>
        <p:spPr>
          <a:xfrm>
            <a:off x="8732232" y="447565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7" name="矩形 146"/>
          <p:cNvSpPr/>
          <p:nvPr/>
        </p:nvSpPr>
        <p:spPr>
          <a:xfrm>
            <a:off x="8732232" y="479477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8" name="矩形 147"/>
          <p:cNvSpPr/>
          <p:nvPr/>
        </p:nvSpPr>
        <p:spPr>
          <a:xfrm>
            <a:off x="8732232" y="512348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49" name="矩形 148"/>
          <p:cNvSpPr/>
          <p:nvPr/>
        </p:nvSpPr>
        <p:spPr>
          <a:xfrm>
            <a:off x="8732232" y="5761727"/>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0" name="矩形 149"/>
          <p:cNvSpPr/>
          <p:nvPr/>
        </p:nvSpPr>
        <p:spPr>
          <a:xfrm>
            <a:off x="8732232" y="544260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1" name="矩形 150"/>
          <p:cNvSpPr/>
          <p:nvPr/>
        </p:nvSpPr>
        <p:spPr>
          <a:xfrm>
            <a:off x="8732232" y="6080846"/>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2" name="矩形 151"/>
          <p:cNvSpPr/>
          <p:nvPr/>
        </p:nvSpPr>
        <p:spPr>
          <a:xfrm>
            <a:off x="8732232" y="222263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3" name="矩形 152"/>
          <p:cNvSpPr/>
          <p:nvPr/>
        </p:nvSpPr>
        <p:spPr>
          <a:xfrm>
            <a:off x="8732232" y="317999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4" name="矩形 153"/>
          <p:cNvSpPr/>
          <p:nvPr/>
        </p:nvSpPr>
        <p:spPr>
          <a:xfrm>
            <a:off x="8732232" y="254175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5" name="矩形 154"/>
          <p:cNvSpPr/>
          <p:nvPr/>
        </p:nvSpPr>
        <p:spPr>
          <a:xfrm>
            <a:off x="8732232" y="349911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6" name="矩形 155"/>
          <p:cNvSpPr/>
          <p:nvPr/>
        </p:nvSpPr>
        <p:spPr>
          <a:xfrm>
            <a:off x="8732232" y="286087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7" name="矩形 156"/>
          <p:cNvSpPr/>
          <p:nvPr/>
        </p:nvSpPr>
        <p:spPr>
          <a:xfrm>
            <a:off x="5430424" y="157480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8" name="矩形 157"/>
          <p:cNvSpPr/>
          <p:nvPr/>
        </p:nvSpPr>
        <p:spPr>
          <a:xfrm>
            <a:off x="5430424" y="189392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59" name="矩形 158"/>
          <p:cNvSpPr/>
          <p:nvPr/>
        </p:nvSpPr>
        <p:spPr>
          <a:xfrm>
            <a:off x="5430424" y="3808649"/>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0" name="矩形 159"/>
          <p:cNvSpPr/>
          <p:nvPr/>
        </p:nvSpPr>
        <p:spPr>
          <a:xfrm>
            <a:off x="5430424" y="415653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1" name="矩形 160"/>
          <p:cNvSpPr/>
          <p:nvPr/>
        </p:nvSpPr>
        <p:spPr>
          <a:xfrm>
            <a:off x="5430424" y="447565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2" name="矩形 161"/>
          <p:cNvSpPr/>
          <p:nvPr/>
        </p:nvSpPr>
        <p:spPr>
          <a:xfrm>
            <a:off x="5430424" y="479477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3" name="矩形 162"/>
          <p:cNvSpPr/>
          <p:nvPr/>
        </p:nvSpPr>
        <p:spPr>
          <a:xfrm>
            <a:off x="5430424" y="512348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4" name="矩形 163"/>
          <p:cNvSpPr/>
          <p:nvPr/>
        </p:nvSpPr>
        <p:spPr>
          <a:xfrm>
            <a:off x="5430424" y="5761727"/>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5" name="矩形 164"/>
          <p:cNvSpPr/>
          <p:nvPr/>
        </p:nvSpPr>
        <p:spPr>
          <a:xfrm>
            <a:off x="5430424" y="544260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6" name="矩形 165"/>
          <p:cNvSpPr/>
          <p:nvPr/>
        </p:nvSpPr>
        <p:spPr>
          <a:xfrm>
            <a:off x="5430424" y="6080846"/>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7" name="矩形 166"/>
          <p:cNvSpPr/>
          <p:nvPr/>
        </p:nvSpPr>
        <p:spPr>
          <a:xfrm>
            <a:off x="5430424" y="2222630"/>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8" name="矩形 167"/>
          <p:cNvSpPr/>
          <p:nvPr/>
        </p:nvSpPr>
        <p:spPr>
          <a:xfrm>
            <a:off x="5430424" y="3179994"/>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69" name="矩形 168"/>
          <p:cNvSpPr/>
          <p:nvPr/>
        </p:nvSpPr>
        <p:spPr>
          <a:xfrm>
            <a:off x="5430424" y="2541751"/>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70" name="矩形 169"/>
          <p:cNvSpPr/>
          <p:nvPr/>
        </p:nvSpPr>
        <p:spPr>
          <a:xfrm>
            <a:off x="5430424" y="3499115"/>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71" name="矩形 170"/>
          <p:cNvSpPr/>
          <p:nvPr/>
        </p:nvSpPr>
        <p:spPr>
          <a:xfrm>
            <a:off x="5430424" y="2860873"/>
            <a:ext cx="1565023" cy="238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200">
                <a:solidFill>
                  <a:schemeClr val="tx1"/>
                </a:solidFill>
                <a:cs typeface="+mn-ea"/>
                <a:sym typeface="+mn-lt"/>
              </a:rPr>
              <a:t>XXXX</a:t>
            </a:r>
            <a:endParaRPr lang="en-US" altLang="zh-CN" sz="1200" dirty="0">
              <a:solidFill>
                <a:schemeClr val="tx1"/>
              </a:solidFill>
              <a:cs typeface="+mn-ea"/>
              <a:sym typeface="+mn-lt"/>
            </a:endParaRPr>
          </a:p>
        </p:txBody>
      </p:sp>
      <p:sp>
        <p:nvSpPr>
          <p:cNvPr id="125"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图表</a:t>
            </a:r>
            <a:endParaRPr lang="zh-CN" altLang="en-US" sz="2400" dirty="0">
              <a:solidFill>
                <a:prstClr val="black"/>
              </a:solidFill>
              <a:latin typeface="华文楷体" panose="02010600040101010101" charset="-122"/>
              <a:ea typeface="华文楷体" panose="02010600040101010101" charset="-122"/>
            </a:endParaRPr>
          </a:p>
        </p:txBody>
      </p:sp>
      <p:pic>
        <p:nvPicPr>
          <p:cNvPr id="124" name="图片 1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29279"/>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对象 3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6828" name="think-cell Slide" r:id="rId2" imgW="12700" imgH="12700" progId="TCLayout.ActiveDocument.1">
                  <p:embed/>
                </p:oleObj>
              </mc:Choice>
              <mc:Fallback>
                <p:oleObj name="think-cell Slide" r:id="rId2" imgW="12700" imgH="12700" progId="TCLayout.ActiveDocument.1">
                  <p:embed/>
                  <p:pic>
                    <p:nvPicPr>
                      <p:cNvPr id="0" name="对象 33" hidden="1"/>
                      <p:cNvPicPr/>
                      <p:nvPr/>
                    </p:nvPicPr>
                    <p:blipFill>
                      <a:blip r:embed="rId3"/>
                      <a:stretch>
                        <a:fillRect/>
                      </a:stretch>
                    </p:blipFill>
                    <p:spPr>
                      <a:xfrm>
                        <a:off x="1588" y="1588"/>
                        <a:ext cx="1587" cy="1587"/>
                      </a:xfrm>
                      <a:prstGeom prst="rect">
                        <a:avLst/>
                      </a:prstGeom>
                    </p:spPr>
                  </p:pic>
                </p:oleObj>
              </mc:Fallback>
            </mc:AlternateContent>
          </a:graphicData>
        </a:graphic>
      </p:graphicFrame>
      <p:cxnSp>
        <p:nvCxnSpPr>
          <p:cNvPr id="4" name="直接连接符 3"/>
          <p:cNvCxnSpPr/>
          <p:nvPr/>
        </p:nvCxnSpPr>
        <p:spPr>
          <a:xfrm>
            <a:off x="7581021" y="3086713"/>
            <a:ext cx="3669934"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 name="îṩ1îḑé"/>
          <p:cNvSpPr/>
          <p:nvPr/>
        </p:nvSpPr>
        <p:spPr>
          <a:xfrm flipH="1" flipV="1">
            <a:off x="4093107" y="1109149"/>
            <a:ext cx="3958598" cy="3958596"/>
          </a:xfrm>
          <a:prstGeom prst="blockArc">
            <a:avLst>
              <a:gd name="adj1" fmla="val 21599999"/>
              <a:gd name="adj2" fmla="val 8180671"/>
              <a:gd name="adj3" fmla="val 119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6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6" name="iṩľïḋé"/>
          <p:cNvSpPr/>
          <p:nvPr/>
        </p:nvSpPr>
        <p:spPr>
          <a:xfrm rot="18900000" flipH="1" flipV="1">
            <a:off x="7156473" y="1758104"/>
            <a:ext cx="813324" cy="70114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6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7" name="íṣḻíḋe"/>
          <p:cNvSpPr/>
          <p:nvPr/>
        </p:nvSpPr>
        <p:spPr>
          <a:xfrm>
            <a:off x="4093107" y="1109149"/>
            <a:ext cx="3958598" cy="3958596"/>
          </a:xfrm>
          <a:prstGeom prst="blockArc">
            <a:avLst>
              <a:gd name="adj1" fmla="val 21599999"/>
              <a:gd name="adj2" fmla="val 8180671"/>
              <a:gd name="adj3" fmla="val 11913"/>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6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8" name="ïṥlîde"/>
          <p:cNvSpPr/>
          <p:nvPr/>
        </p:nvSpPr>
        <p:spPr>
          <a:xfrm rot="8100000" flipV="1">
            <a:off x="4184996" y="3738015"/>
            <a:ext cx="813323" cy="701141"/>
          </a:xfrm>
          <a:prstGeom prst="triangle">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6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cxnSp>
        <p:nvCxnSpPr>
          <p:cNvPr id="9" name="直接连接符 7"/>
          <p:cNvCxnSpPr/>
          <p:nvPr/>
        </p:nvCxnSpPr>
        <p:spPr>
          <a:xfrm flipH="1">
            <a:off x="909542" y="3073573"/>
            <a:ext cx="3642098"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10" name="îS1ïḋê"/>
          <p:cNvSpPr/>
          <p:nvPr/>
        </p:nvSpPr>
        <p:spPr>
          <a:xfrm>
            <a:off x="7312048" y="1980832"/>
            <a:ext cx="1194747" cy="1194748"/>
          </a:xfrm>
          <a:prstGeom prst="ellipse">
            <a:avLst/>
          </a:prstGeom>
          <a:solidFill>
            <a:schemeClr val="accent1"/>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11" name="îŝļïďê"/>
          <p:cNvSpPr/>
          <p:nvPr/>
        </p:nvSpPr>
        <p:spPr>
          <a:xfrm>
            <a:off x="3646725" y="2955972"/>
            <a:ext cx="1194747" cy="1194748"/>
          </a:xfrm>
          <a:prstGeom prst="ellipse">
            <a:avLst/>
          </a:prstGeom>
          <a:solidFill>
            <a:srgbClr val="FE5817"/>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12" name="íSľïďé"/>
          <p:cNvSpPr txBox="1"/>
          <p:nvPr/>
        </p:nvSpPr>
        <p:spPr>
          <a:xfrm>
            <a:off x="8701516" y="1927636"/>
            <a:ext cx="2582022" cy="1061858"/>
          </a:xfrm>
          <a:prstGeom prst="rect">
            <a:avLst/>
          </a:prstGeom>
          <a:noFill/>
        </p:spPr>
        <p:txBody>
          <a:bodyPr wrap="square" lIns="0" r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优化</a:t>
            </a:r>
            <a:r>
              <a:rPr kumimoji="0" lang="en-US" altLang="zh-CN" sz="24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xx</a:t>
            </a:r>
            <a:r>
              <a:rPr kumimoji="0" lang="zh-CN" altLang="en-US" sz="40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价格</a:t>
            </a:r>
            <a:r>
              <a:rPr kumimoji="0" lang="zh-CN" altLang="en-US" sz="2400" b="1" i="0" u="none" strike="noStrike" kern="120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rPr>
              <a:t>形成体系</a:t>
            </a:r>
            <a:endParaRPr kumimoji="0" lang="en-US" sz="2400" b="1" i="0" u="none" strike="noStrike" kern="120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endParaRPr>
          </a:p>
        </p:txBody>
      </p:sp>
      <p:sp>
        <p:nvSpPr>
          <p:cNvPr id="13" name="î$líḑè"/>
          <p:cNvSpPr txBox="1"/>
          <p:nvPr/>
        </p:nvSpPr>
        <p:spPr>
          <a:xfrm>
            <a:off x="908462" y="1927636"/>
            <a:ext cx="3203265" cy="1061858"/>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FE5817"/>
                </a:solidFill>
                <a:effectLst/>
                <a:uLnTx/>
                <a:uFillTx/>
                <a:latin typeface="Arial" panose="020B0604020202020204"/>
                <a:ea typeface="华文楷体" panose="02010600040101010101" charset="-122"/>
                <a:cs typeface="+mn-cs"/>
              </a:rPr>
              <a:t>系统化全面</a:t>
            </a:r>
            <a:r>
              <a:rPr kumimoji="0" lang="zh-CN" altLang="en-US" sz="2400" b="1" i="0" u="none" strike="noStrike" kern="1200" cap="none" spc="0" normalizeH="0" baseline="0" noProof="0" dirty="0" smtClean="0">
                <a:ln>
                  <a:noFill/>
                </a:ln>
                <a:solidFill>
                  <a:srgbClr val="FE5817"/>
                </a:solidFill>
                <a:effectLst/>
                <a:uLnTx/>
                <a:uFillTx/>
                <a:latin typeface="Arial" panose="020B0604020202020204"/>
                <a:ea typeface="华文楷体" panose="02010600040101010101" charset="-122"/>
                <a:cs typeface="+mn-cs"/>
              </a:rPr>
              <a:t>提升</a:t>
            </a:r>
            <a:br>
              <a:rPr kumimoji="0" lang="en-US" altLang="zh-CN" sz="2400" b="1" i="0" u="none" strike="noStrike" kern="1200" cap="none" spc="0" normalizeH="0" baseline="0" noProof="0" dirty="0" smtClean="0">
                <a:ln>
                  <a:noFill/>
                </a:ln>
                <a:solidFill>
                  <a:srgbClr val="FE5817"/>
                </a:solidFill>
                <a:effectLst/>
                <a:uLnTx/>
                <a:uFillTx/>
                <a:latin typeface="Arial" panose="020B0604020202020204"/>
                <a:ea typeface="华文楷体" panose="02010600040101010101" charset="-122"/>
                <a:cs typeface="+mn-cs"/>
              </a:rPr>
            </a:br>
            <a:r>
              <a:rPr kumimoji="0" lang="zh-CN" altLang="en-US" sz="4000" b="1" i="0" u="none" strike="noStrike" kern="1200" cap="none" spc="0" normalizeH="0" baseline="0" noProof="0" dirty="0" smtClean="0">
                <a:ln>
                  <a:noFill/>
                </a:ln>
                <a:solidFill>
                  <a:srgbClr val="FE5817"/>
                </a:solidFill>
                <a:effectLst/>
                <a:uLnTx/>
                <a:uFillTx/>
                <a:latin typeface="Arial" panose="020B0604020202020204"/>
                <a:ea typeface="华文楷体" panose="02010600040101010101" charset="-122"/>
                <a:cs typeface="+mn-cs"/>
              </a:rPr>
              <a:t>质量</a:t>
            </a:r>
            <a:endParaRPr kumimoji="0" lang="en-US" sz="4000" b="1" i="0" u="none" strike="noStrike" kern="1200" cap="none" spc="0" normalizeH="0" baseline="0" noProof="0" dirty="0">
              <a:ln>
                <a:noFill/>
              </a:ln>
              <a:solidFill>
                <a:srgbClr val="FE5817"/>
              </a:solidFill>
              <a:effectLst/>
              <a:uLnTx/>
              <a:uFillTx/>
              <a:latin typeface="Arial" panose="020B0604020202020204"/>
              <a:ea typeface="华文楷体" panose="02010600040101010101" charset="-122"/>
              <a:cs typeface="+mn-cs"/>
            </a:endParaRPr>
          </a:p>
        </p:txBody>
      </p:sp>
      <p:sp>
        <p:nvSpPr>
          <p:cNvPr id="14" name="íṣlïḓé"/>
          <p:cNvSpPr txBox="1"/>
          <p:nvPr/>
        </p:nvSpPr>
        <p:spPr>
          <a:xfrm>
            <a:off x="908462" y="3138493"/>
            <a:ext cx="2796670" cy="1552221"/>
          </a:xfrm>
          <a:prstGeom prst="rect">
            <a:avLst/>
          </a:prstGeom>
          <a:noFill/>
        </p:spPr>
        <p:txBody>
          <a:bodyPr wrap="square" lIns="90000" tIns="46800" rIns="90000" bIns="46800" rtlCol="0">
            <a:norm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575757"/>
                </a:solidFill>
                <a:effectLst/>
                <a:uLnTx/>
                <a:uFillTx/>
                <a:latin typeface="Arial" panose="020B0604020202020204"/>
                <a:ea typeface="华文楷体" panose="02010600040101010101" charset="-122"/>
                <a:cs typeface="Arial" panose="020B0604020202020204" pitchFamily="34" charset="0"/>
              </a:rPr>
              <a:t>如何进一步推动质量认证体系以及全面质量再评价的执行</a:t>
            </a:r>
            <a:endParaRPr kumimoji="0" lang="en-US" altLang="zh-CN" sz="1800" b="0" i="0" u="none" strike="noStrike" kern="1200" cap="none" spc="0" normalizeH="0" baseline="0" noProof="0" dirty="0">
              <a:ln>
                <a:noFill/>
              </a:ln>
              <a:solidFill>
                <a:srgbClr val="575757"/>
              </a:solidFill>
              <a:effectLst/>
              <a:uLnTx/>
              <a:uFillTx/>
              <a:latin typeface="Arial" panose="020B0604020202020204"/>
              <a:ea typeface="华文楷体" panose="02010600040101010101" charset="-122"/>
              <a:cs typeface="Arial" panose="020B0604020202020204" pitchFamily="34" charset="0"/>
            </a:endParaRPr>
          </a:p>
        </p:txBody>
      </p:sp>
      <p:sp>
        <p:nvSpPr>
          <p:cNvPr id="15" name="íṣlïḓé"/>
          <p:cNvSpPr txBox="1"/>
          <p:nvPr/>
        </p:nvSpPr>
        <p:spPr>
          <a:xfrm>
            <a:off x="8386270" y="3138493"/>
            <a:ext cx="2796670" cy="1552221"/>
          </a:xfrm>
          <a:prstGeom prst="rect">
            <a:avLst/>
          </a:prstGeom>
          <a:noFill/>
        </p:spPr>
        <p:txBody>
          <a:bodyPr wrap="square" lIns="90000" tIns="46800" rIns="90000" bIns="46800" rtlCol="0">
            <a:norm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575757"/>
                </a:solidFill>
                <a:effectLst/>
                <a:uLnTx/>
                <a:uFillTx/>
                <a:latin typeface="Arial" panose="020B0604020202020204"/>
                <a:ea typeface="华文楷体" panose="02010600040101010101" charset="-122"/>
                <a:cs typeface="Arial" panose="020B0604020202020204" pitchFamily="34" charset="0"/>
              </a:rPr>
              <a:t>如何完善价格形成与采购机制确保产品的优价供应</a:t>
            </a:r>
            <a:endParaRPr kumimoji="0" lang="en-US" altLang="zh-CN" sz="1800" b="0" i="0" u="none" strike="noStrike" kern="1200" cap="none" spc="0" normalizeH="0" baseline="0" noProof="0" dirty="0">
              <a:ln>
                <a:noFill/>
              </a:ln>
              <a:solidFill>
                <a:srgbClr val="575757"/>
              </a:solidFill>
              <a:effectLst/>
              <a:uLnTx/>
              <a:uFillTx/>
              <a:latin typeface="Arial" panose="020B0604020202020204"/>
              <a:ea typeface="华文楷体" panose="02010600040101010101" charset="-122"/>
              <a:cs typeface="Arial" panose="020B0604020202020204" pitchFamily="34" charset="0"/>
            </a:endParaRPr>
          </a:p>
        </p:txBody>
      </p:sp>
      <p:sp>
        <p:nvSpPr>
          <p:cNvPr id="16" name="Rectangle 22"/>
          <p:cNvSpPr/>
          <p:nvPr/>
        </p:nvSpPr>
        <p:spPr>
          <a:xfrm>
            <a:off x="4796212" y="2460276"/>
            <a:ext cx="2584995" cy="1107996"/>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defRPr/>
            </a:pPr>
            <a:r>
              <a:rPr kumimoji="0" lang="zh-CN" altLang="en-US" sz="2400" b="1"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质量是</a:t>
            </a:r>
            <a:r>
              <a:rPr kumimoji="0" lang="en-US" altLang="zh-CN" sz="2400" b="1"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xx</a:t>
            </a:r>
            <a:r>
              <a:rPr kumimoji="0" lang="zh-CN" altLang="en-US" sz="2400" b="1"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的前提，价格是提升质量的保障</a:t>
            </a:r>
            <a:endParaRPr kumimoji="0" lang="en-US" sz="2400" b="1" i="0" u="none" strike="noStrike" kern="1200" cap="none" spc="0" normalizeH="0" baseline="0" noProof="0" dirty="0">
              <a:ln>
                <a:noFill/>
              </a:ln>
              <a:solidFill>
                <a:srgbClr val="575757"/>
              </a:solidFill>
              <a:effectLst/>
              <a:uLnTx/>
              <a:uFillTx/>
              <a:latin typeface="Arial" panose="020B0604020202020204"/>
              <a:ea typeface="华文楷体" panose="02010600040101010101" charset="-122"/>
              <a:cs typeface="+mn-cs"/>
            </a:endParaRPr>
          </a:p>
        </p:txBody>
      </p:sp>
      <p:sp>
        <p:nvSpPr>
          <p:cNvPr id="17" name="ee4pContent2"/>
          <p:cNvSpPr txBox="1"/>
          <p:nvPr>
            <p:custDataLst>
              <p:tags r:id="rId4"/>
            </p:custDataLst>
          </p:nvPr>
        </p:nvSpPr>
        <p:spPr>
          <a:xfrm>
            <a:off x="4392468" y="5284778"/>
            <a:ext cx="3370128" cy="778565"/>
          </a:xfrm>
          <a:prstGeom prst="rect">
            <a:avLst/>
          </a:prstGeom>
          <a:ln cap="rnd">
            <a:noFill/>
          </a:ln>
        </p:spPr>
        <p:txBody>
          <a:bodyPr vert="horz" wrap="square" lIns="0" tIns="0" rIns="0" bIns="0" rtlCol="0">
            <a:noAutofit/>
          </a:bodyPr>
          <a:lstStyle>
            <a:defPPr>
              <a:defRPr lang="en-US"/>
            </a:defPPr>
            <a:lvl1pPr lvl="0" indent="0" algn="ctr">
              <a:lnSpc>
                <a:spcPct val="100000"/>
              </a:lnSpc>
              <a:spcBef>
                <a:spcPts val="0"/>
              </a:spcBef>
              <a:spcAft>
                <a:spcPts val="0"/>
              </a:spcAft>
              <a:buFont typeface="Trebuchet MS" panose="020B0603020202020204" pitchFamily="34" charset="0"/>
              <a:buChar char="​"/>
              <a:defRPr sz="2800" b="1" i="1">
                <a:solidFill>
                  <a:srgbClr val="FFFFFF"/>
                </a:solidFill>
                <a:latin typeface="Trebuchet MS" panose="020B0603020202020204" pitchFamily="34" charset="0"/>
              </a:defRPr>
            </a:lvl1pPr>
            <a:lvl2pPr marL="323850" lvl="1" indent="-2159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defRPr>
            </a:lvl2pPr>
            <a:lvl3pPr marL="647700" lvl="2" indent="-2159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defRPr>
            </a:lvl5pPr>
            <a:lvl6pPr marL="323850" lvl="5" indent="-2159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defRPr/>
            </a:pPr>
            <a:r>
              <a:rPr kumimoji="0" lang="zh-CN" altLang="en-US" sz="2400" b="0"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以</a:t>
            </a:r>
            <a:r>
              <a:rPr kumimoji="0" lang="en-US" altLang="zh-CN" sz="2400" b="0"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xx</a:t>
            </a:r>
            <a:r>
              <a:rPr kumimoji="0" lang="zh-CN" altLang="en-US" sz="2400" b="0"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为中心</a:t>
            </a:r>
            <a:endParaRPr kumimoji="0" lang="en-US" altLang="zh-CN" sz="2400" b="0"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defRPr/>
            </a:pPr>
            <a:r>
              <a:rPr kumimoji="0" lang="zh-CN" altLang="en-US" sz="2400" b="0"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确保企业可持续发展</a:t>
            </a:r>
            <a:endParaRPr kumimoji="0" lang="en-US" altLang="zh-CN" sz="2400" b="0" i="0" u="none" strike="noStrike" kern="1200" cap="none" spc="0" normalizeH="0" baseline="0" noProof="0" dirty="0">
              <a:ln>
                <a:noFill/>
              </a:ln>
              <a:solidFill>
                <a:srgbClr val="575757"/>
              </a:solidFill>
              <a:effectLst/>
              <a:uLnTx/>
              <a:uFillTx/>
              <a:latin typeface="Arial" panose="020B0604020202020204"/>
              <a:ea typeface="华文楷体" panose="02010600040101010101" charset="-122"/>
              <a:cs typeface="+mn-cs"/>
            </a:endParaRPr>
          </a:p>
        </p:txBody>
      </p:sp>
      <p:grpSp>
        <p:nvGrpSpPr>
          <p:cNvPr id="18" name="Group 33"/>
          <p:cNvGrpSpPr/>
          <p:nvPr/>
        </p:nvGrpSpPr>
        <p:grpSpPr>
          <a:xfrm>
            <a:off x="3933517" y="3239811"/>
            <a:ext cx="522781" cy="579916"/>
            <a:chOff x="2052638" y="5673725"/>
            <a:chExt cx="581026" cy="644526"/>
          </a:xfrm>
        </p:grpSpPr>
        <p:sp>
          <p:nvSpPr>
            <p:cNvPr id="19" name="Freeform 6"/>
            <p:cNvSpPr>
              <a:spLocks noEditPoints="1"/>
            </p:cNvSpPr>
            <p:nvPr/>
          </p:nvSpPr>
          <p:spPr bwMode="auto">
            <a:xfrm>
              <a:off x="2095501" y="5970588"/>
              <a:ext cx="538163" cy="206375"/>
            </a:xfrm>
            <a:custGeom>
              <a:avLst/>
              <a:gdLst>
                <a:gd name="T0" fmla="*/ 1539 w 3054"/>
                <a:gd name="T1" fmla="*/ 836 h 1165"/>
                <a:gd name="T2" fmla="*/ 1490 w 3054"/>
                <a:gd name="T3" fmla="*/ 885 h 1165"/>
                <a:gd name="T4" fmla="*/ 1483 w 3054"/>
                <a:gd name="T5" fmla="*/ 957 h 1165"/>
                <a:gd name="T6" fmla="*/ 1519 w 3054"/>
                <a:gd name="T7" fmla="*/ 1016 h 1165"/>
                <a:gd name="T8" fmla="*/ 1587 w 3054"/>
                <a:gd name="T9" fmla="*/ 1039 h 1165"/>
                <a:gd name="T10" fmla="*/ 2612 w 3054"/>
                <a:gd name="T11" fmla="*/ 1028 h 1165"/>
                <a:gd name="T12" fmla="*/ 2661 w 3054"/>
                <a:gd name="T13" fmla="*/ 979 h 1165"/>
                <a:gd name="T14" fmla="*/ 2669 w 3054"/>
                <a:gd name="T15" fmla="*/ 907 h 1165"/>
                <a:gd name="T16" fmla="*/ 2632 w 3054"/>
                <a:gd name="T17" fmla="*/ 849 h 1165"/>
                <a:gd name="T18" fmla="*/ 2565 w 3054"/>
                <a:gd name="T19" fmla="*/ 825 h 1165"/>
                <a:gd name="T20" fmla="*/ 1562 w 3054"/>
                <a:gd name="T21" fmla="*/ 483 h 1165"/>
                <a:gd name="T22" fmla="*/ 1503 w 3054"/>
                <a:gd name="T23" fmla="*/ 520 h 1165"/>
                <a:gd name="T24" fmla="*/ 1479 w 3054"/>
                <a:gd name="T25" fmla="*/ 587 h 1165"/>
                <a:gd name="T26" fmla="*/ 1503 w 3054"/>
                <a:gd name="T27" fmla="*/ 654 h 1165"/>
                <a:gd name="T28" fmla="*/ 1562 w 3054"/>
                <a:gd name="T29" fmla="*/ 691 h 1165"/>
                <a:gd name="T30" fmla="*/ 2589 w 3054"/>
                <a:gd name="T31" fmla="*/ 691 h 1165"/>
                <a:gd name="T32" fmla="*/ 2649 w 3054"/>
                <a:gd name="T33" fmla="*/ 654 h 1165"/>
                <a:gd name="T34" fmla="*/ 2672 w 3054"/>
                <a:gd name="T35" fmla="*/ 587 h 1165"/>
                <a:gd name="T36" fmla="*/ 2649 w 3054"/>
                <a:gd name="T37" fmla="*/ 520 h 1165"/>
                <a:gd name="T38" fmla="*/ 2589 w 3054"/>
                <a:gd name="T39" fmla="*/ 483 h 1165"/>
                <a:gd name="T40" fmla="*/ 1587 w 3054"/>
                <a:gd name="T41" fmla="*/ 126 h 1165"/>
                <a:gd name="T42" fmla="*/ 1519 w 3054"/>
                <a:gd name="T43" fmla="*/ 149 h 1165"/>
                <a:gd name="T44" fmla="*/ 1483 w 3054"/>
                <a:gd name="T45" fmla="*/ 209 h 1165"/>
                <a:gd name="T46" fmla="*/ 1490 w 3054"/>
                <a:gd name="T47" fmla="*/ 280 h 1165"/>
                <a:gd name="T48" fmla="*/ 1539 w 3054"/>
                <a:gd name="T49" fmla="*/ 329 h 1165"/>
                <a:gd name="T50" fmla="*/ 2565 w 3054"/>
                <a:gd name="T51" fmla="*/ 340 h 1165"/>
                <a:gd name="T52" fmla="*/ 2632 w 3054"/>
                <a:gd name="T53" fmla="*/ 316 h 1165"/>
                <a:gd name="T54" fmla="*/ 2669 w 3054"/>
                <a:gd name="T55" fmla="*/ 257 h 1165"/>
                <a:gd name="T56" fmla="*/ 2661 w 3054"/>
                <a:gd name="T57" fmla="*/ 185 h 1165"/>
                <a:gd name="T58" fmla="*/ 2612 w 3054"/>
                <a:gd name="T59" fmla="*/ 137 h 1165"/>
                <a:gd name="T60" fmla="*/ 1587 w 3054"/>
                <a:gd name="T61" fmla="*/ 126 h 1165"/>
                <a:gd name="T62" fmla="*/ 3022 w 3054"/>
                <a:gd name="T63" fmla="*/ 4 h 1165"/>
                <a:gd name="T64" fmla="*/ 3052 w 3054"/>
                <a:gd name="T65" fmla="*/ 34 h 1165"/>
                <a:gd name="T66" fmla="*/ 3052 w 3054"/>
                <a:gd name="T67" fmla="*/ 1131 h 1165"/>
                <a:gd name="T68" fmla="*/ 3022 w 3054"/>
                <a:gd name="T69" fmla="*/ 1161 h 1165"/>
                <a:gd name="T70" fmla="*/ 1137 w 3054"/>
                <a:gd name="T71" fmla="*/ 1161 h 1165"/>
                <a:gd name="T72" fmla="*/ 1108 w 3054"/>
                <a:gd name="T73" fmla="*/ 1131 h 1165"/>
                <a:gd name="T74" fmla="*/ 1098 w 3054"/>
                <a:gd name="T75" fmla="*/ 873 h 1165"/>
                <a:gd name="T76" fmla="*/ 998 w 3054"/>
                <a:gd name="T77" fmla="*/ 1137 h 1165"/>
                <a:gd name="T78" fmla="*/ 965 w 3054"/>
                <a:gd name="T79" fmla="*/ 1164 h 1165"/>
                <a:gd name="T80" fmla="*/ 29 w 3054"/>
                <a:gd name="T81" fmla="*/ 793 h 1165"/>
                <a:gd name="T82" fmla="*/ 1 w 3054"/>
                <a:gd name="T83" fmla="*/ 761 h 1165"/>
                <a:gd name="T84" fmla="*/ 74 w 3054"/>
                <a:gd name="T85" fmla="*/ 557 h 1165"/>
                <a:gd name="T86" fmla="*/ 156 w 3054"/>
                <a:gd name="T87" fmla="*/ 420 h 1165"/>
                <a:gd name="T88" fmla="*/ 272 w 3054"/>
                <a:gd name="T89" fmla="*/ 312 h 1165"/>
                <a:gd name="T90" fmla="*/ 424 w 3054"/>
                <a:gd name="T91" fmla="*/ 240 h 1165"/>
                <a:gd name="T92" fmla="*/ 602 w 3054"/>
                <a:gd name="T93" fmla="*/ 219 h 1165"/>
                <a:gd name="T94" fmla="*/ 778 w 3054"/>
                <a:gd name="T95" fmla="*/ 258 h 1165"/>
                <a:gd name="T96" fmla="*/ 913 w 3054"/>
                <a:gd name="T97" fmla="*/ 339 h 1165"/>
                <a:gd name="T98" fmla="*/ 1016 w 3054"/>
                <a:gd name="T99" fmla="*/ 451 h 1165"/>
                <a:gd name="T100" fmla="*/ 1083 w 3054"/>
                <a:gd name="T101" fmla="*/ 586 h 1165"/>
                <a:gd name="T102" fmla="*/ 1105 w 3054"/>
                <a:gd name="T103" fmla="*/ 48 h 1165"/>
                <a:gd name="T104" fmla="*/ 1125 w 3054"/>
                <a:gd name="T105" fmla="*/ 1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4" h="1165">
                  <a:moveTo>
                    <a:pt x="1587" y="825"/>
                  </a:moveTo>
                  <a:lnTo>
                    <a:pt x="1562" y="828"/>
                  </a:lnTo>
                  <a:lnTo>
                    <a:pt x="1539" y="836"/>
                  </a:lnTo>
                  <a:lnTo>
                    <a:pt x="1519" y="849"/>
                  </a:lnTo>
                  <a:lnTo>
                    <a:pt x="1503" y="865"/>
                  </a:lnTo>
                  <a:lnTo>
                    <a:pt x="1490" y="885"/>
                  </a:lnTo>
                  <a:lnTo>
                    <a:pt x="1483" y="907"/>
                  </a:lnTo>
                  <a:lnTo>
                    <a:pt x="1479" y="933"/>
                  </a:lnTo>
                  <a:lnTo>
                    <a:pt x="1483" y="957"/>
                  </a:lnTo>
                  <a:lnTo>
                    <a:pt x="1490" y="979"/>
                  </a:lnTo>
                  <a:lnTo>
                    <a:pt x="1503" y="999"/>
                  </a:lnTo>
                  <a:lnTo>
                    <a:pt x="1519" y="1016"/>
                  </a:lnTo>
                  <a:lnTo>
                    <a:pt x="1539" y="1028"/>
                  </a:lnTo>
                  <a:lnTo>
                    <a:pt x="1562" y="1037"/>
                  </a:lnTo>
                  <a:lnTo>
                    <a:pt x="1587" y="1039"/>
                  </a:lnTo>
                  <a:lnTo>
                    <a:pt x="2565" y="1039"/>
                  </a:lnTo>
                  <a:lnTo>
                    <a:pt x="2589" y="1037"/>
                  </a:lnTo>
                  <a:lnTo>
                    <a:pt x="2612" y="1028"/>
                  </a:lnTo>
                  <a:lnTo>
                    <a:pt x="2632" y="1016"/>
                  </a:lnTo>
                  <a:lnTo>
                    <a:pt x="2649" y="999"/>
                  </a:lnTo>
                  <a:lnTo>
                    <a:pt x="2661" y="979"/>
                  </a:lnTo>
                  <a:lnTo>
                    <a:pt x="2669" y="957"/>
                  </a:lnTo>
                  <a:lnTo>
                    <a:pt x="2672" y="933"/>
                  </a:lnTo>
                  <a:lnTo>
                    <a:pt x="2669" y="907"/>
                  </a:lnTo>
                  <a:lnTo>
                    <a:pt x="2661" y="885"/>
                  </a:lnTo>
                  <a:lnTo>
                    <a:pt x="2649" y="865"/>
                  </a:lnTo>
                  <a:lnTo>
                    <a:pt x="2632" y="849"/>
                  </a:lnTo>
                  <a:lnTo>
                    <a:pt x="2612" y="836"/>
                  </a:lnTo>
                  <a:lnTo>
                    <a:pt x="2589" y="828"/>
                  </a:lnTo>
                  <a:lnTo>
                    <a:pt x="2565" y="825"/>
                  </a:lnTo>
                  <a:lnTo>
                    <a:pt x="1587" y="825"/>
                  </a:lnTo>
                  <a:close/>
                  <a:moveTo>
                    <a:pt x="1587" y="480"/>
                  </a:moveTo>
                  <a:lnTo>
                    <a:pt x="1562" y="483"/>
                  </a:lnTo>
                  <a:lnTo>
                    <a:pt x="1539" y="491"/>
                  </a:lnTo>
                  <a:lnTo>
                    <a:pt x="1519" y="503"/>
                  </a:lnTo>
                  <a:lnTo>
                    <a:pt x="1503" y="520"/>
                  </a:lnTo>
                  <a:lnTo>
                    <a:pt x="1490" y="540"/>
                  </a:lnTo>
                  <a:lnTo>
                    <a:pt x="1483" y="563"/>
                  </a:lnTo>
                  <a:lnTo>
                    <a:pt x="1479" y="587"/>
                  </a:lnTo>
                  <a:lnTo>
                    <a:pt x="1483" y="612"/>
                  </a:lnTo>
                  <a:lnTo>
                    <a:pt x="1490" y="634"/>
                  </a:lnTo>
                  <a:lnTo>
                    <a:pt x="1503" y="654"/>
                  </a:lnTo>
                  <a:lnTo>
                    <a:pt x="1519" y="670"/>
                  </a:lnTo>
                  <a:lnTo>
                    <a:pt x="1539" y="684"/>
                  </a:lnTo>
                  <a:lnTo>
                    <a:pt x="1562" y="691"/>
                  </a:lnTo>
                  <a:lnTo>
                    <a:pt x="1587" y="694"/>
                  </a:lnTo>
                  <a:lnTo>
                    <a:pt x="2565" y="694"/>
                  </a:lnTo>
                  <a:lnTo>
                    <a:pt x="2589" y="691"/>
                  </a:lnTo>
                  <a:lnTo>
                    <a:pt x="2612" y="684"/>
                  </a:lnTo>
                  <a:lnTo>
                    <a:pt x="2632" y="670"/>
                  </a:lnTo>
                  <a:lnTo>
                    <a:pt x="2649" y="654"/>
                  </a:lnTo>
                  <a:lnTo>
                    <a:pt x="2661" y="634"/>
                  </a:lnTo>
                  <a:lnTo>
                    <a:pt x="2669" y="612"/>
                  </a:lnTo>
                  <a:lnTo>
                    <a:pt x="2672" y="587"/>
                  </a:lnTo>
                  <a:lnTo>
                    <a:pt x="2669" y="563"/>
                  </a:lnTo>
                  <a:lnTo>
                    <a:pt x="2661" y="540"/>
                  </a:lnTo>
                  <a:lnTo>
                    <a:pt x="2649" y="520"/>
                  </a:lnTo>
                  <a:lnTo>
                    <a:pt x="2632" y="503"/>
                  </a:lnTo>
                  <a:lnTo>
                    <a:pt x="2612" y="491"/>
                  </a:lnTo>
                  <a:lnTo>
                    <a:pt x="2589" y="483"/>
                  </a:lnTo>
                  <a:lnTo>
                    <a:pt x="2565" y="480"/>
                  </a:lnTo>
                  <a:lnTo>
                    <a:pt x="1587" y="480"/>
                  </a:lnTo>
                  <a:close/>
                  <a:moveTo>
                    <a:pt x="1587" y="126"/>
                  </a:moveTo>
                  <a:lnTo>
                    <a:pt x="1562" y="129"/>
                  </a:lnTo>
                  <a:lnTo>
                    <a:pt x="1539" y="137"/>
                  </a:lnTo>
                  <a:lnTo>
                    <a:pt x="1519" y="149"/>
                  </a:lnTo>
                  <a:lnTo>
                    <a:pt x="1503" y="165"/>
                  </a:lnTo>
                  <a:lnTo>
                    <a:pt x="1490" y="185"/>
                  </a:lnTo>
                  <a:lnTo>
                    <a:pt x="1483" y="209"/>
                  </a:lnTo>
                  <a:lnTo>
                    <a:pt x="1479" y="233"/>
                  </a:lnTo>
                  <a:lnTo>
                    <a:pt x="1483" y="257"/>
                  </a:lnTo>
                  <a:lnTo>
                    <a:pt x="1490" y="280"/>
                  </a:lnTo>
                  <a:lnTo>
                    <a:pt x="1503" y="299"/>
                  </a:lnTo>
                  <a:lnTo>
                    <a:pt x="1519" y="316"/>
                  </a:lnTo>
                  <a:lnTo>
                    <a:pt x="1539" y="329"/>
                  </a:lnTo>
                  <a:lnTo>
                    <a:pt x="1562" y="337"/>
                  </a:lnTo>
                  <a:lnTo>
                    <a:pt x="1587" y="340"/>
                  </a:lnTo>
                  <a:lnTo>
                    <a:pt x="2565" y="340"/>
                  </a:lnTo>
                  <a:lnTo>
                    <a:pt x="2589" y="337"/>
                  </a:lnTo>
                  <a:lnTo>
                    <a:pt x="2612" y="329"/>
                  </a:lnTo>
                  <a:lnTo>
                    <a:pt x="2632" y="316"/>
                  </a:lnTo>
                  <a:lnTo>
                    <a:pt x="2649" y="299"/>
                  </a:lnTo>
                  <a:lnTo>
                    <a:pt x="2661" y="280"/>
                  </a:lnTo>
                  <a:lnTo>
                    <a:pt x="2669" y="257"/>
                  </a:lnTo>
                  <a:lnTo>
                    <a:pt x="2672" y="233"/>
                  </a:lnTo>
                  <a:lnTo>
                    <a:pt x="2669" y="209"/>
                  </a:lnTo>
                  <a:lnTo>
                    <a:pt x="2661" y="185"/>
                  </a:lnTo>
                  <a:lnTo>
                    <a:pt x="2649" y="165"/>
                  </a:lnTo>
                  <a:lnTo>
                    <a:pt x="2632" y="149"/>
                  </a:lnTo>
                  <a:lnTo>
                    <a:pt x="2612" y="137"/>
                  </a:lnTo>
                  <a:lnTo>
                    <a:pt x="2589" y="129"/>
                  </a:lnTo>
                  <a:lnTo>
                    <a:pt x="2565" y="126"/>
                  </a:lnTo>
                  <a:lnTo>
                    <a:pt x="1587" y="126"/>
                  </a:lnTo>
                  <a:close/>
                  <a:moveTo>
                    <a:pt x="1153" y="0"/>
                  </a:moveTo>
                  <a:lnTo>
                    <a:pt x="3006" y="0"/>
                  </a:lnTo>
                  <a:lnTo>
                    <a:pt x="3022" y="4"/>
                  </a:lnTo>
                  <a:lnTo>
                    <a:pt x="3034" y="10"/>
                  </a:lnTo>
                  <a:lnTo>
                    <a:pt x="3044" y="20"/>
                  </a:lnTo>
                  <a:lnTo>
                    <a:pt x="3052" y="34"/>
                  </a:lnTo>
                  <a:lnTo>
                    <a:pt x="3054" y="48"/>
                  </a:lnTo>
                  <a:lnTo>
                    <a:pt x="3054" y="1116"/>
                  </a:lnTo>
                  <a:lnTo>
                    <a:pt x="3052" y="1131"/>
                  </a:lnTo>
                  <a:lnTo>
                    <a:pt x="3044" y="1143"/>
                  </a:lnTo>
                  <a:lnTo>
                    <a:pt x="3034" y="1154"/>
                  </a:lnTo>
                  <a:lnTo>
                    <a:pt x="3022" y="1161"/>
                  </a:lnTo>
                  <a:lnTo>
                    <a:pt x="3006" y="1163"/>
                  </a:lnTo>
                  <a:lnTo>
                    <a:pt x="1153" y="1163"/>
                  </a:lnTo>
                  <a:lnTo>
                    <a:pt x="1137" y="1161"/>
                  </a:lnTo>
                  <a:lnTo>
                    <a:pt x="1125" y="1154"/>
                  </a:lnTo>
                  <a:lnTo>
                    <a:pt x="1114" y="1143"/>
                  </a:lnTo>
                  <a:lnTo>
                    <a:pt x="1108" y="1131"/>
                  </a:lnTo>
                  <a:lnTo>
                    <a:pt x="1105" y="1116"/>
                  </a:lnTo>
                  <a:lnTo>
                    <a:pt x="1105" y="829"/>
                  </a:lnTo>
                  <a:lnTo>
                    <a:pt x="1098" y="873"/>
                  </a:lnTo>
                  <a:lnTo>
                    <a:pt x="1085" y="916"/>
                  </a:lnTo>
                  <a:lnTo>
                    <a:pt x="1070" y="959"/>
                  </a:lnTo>
                  <a:lnTo>
                    <a:pt x="998" y="1137"/>
                  </a:lnTo>
                  <a:lnTo>
                    <a:pt x="989" y="1150"/>
                  </a:lnTo>
                  <a:lnTo>
                    <a:pt x="978" y="1159"/>
                  </a:lnTo>
                  <a:lnTo>
                    <a:pt x="965" y="1164"/>
                  </a:lnTo>
                  <a:lnTo>
                    <a:pt x="950" y="1165"/>
                  </a:lnTo>
                  <a:lnTo>
                    <a:pt x="936" y="1162"/>
                  </a:lnTo>
                  <a:lnTo>
                    <a:pt x="29" y="793"/>
                  </a:lnTo>
                  <a:lnTo>
                    <a:pt x="17" y="786"/>
                  </a:lnTo>
                  <a:lnTo>
                    <a:pt x="7" y="774"/>
                  </a:lnTo>
                  <a:lnTo>
                    <a:pt x="1" y="761"/>
                  </a:lnTo>
                  <a:lnTo>
                    <a:pt x="0" y="747"/>
                  </a:lnTo>
                  <a:lnTo>
                    <a:pt x="3" y="731"/>
                  </a:lnTo>
                  <a:lnTo>
                    <a:pt x="74" y="557"/>
                  </a:lnTo>
                  <a:lnTo>
                    <a:pt x="97" y="509"/>
                  </a:lnTo>
                  <a:lnTo>
                    <a:pt x="124" y="463"/>
                  </a:lnTo>
                  <a:lnTo>
                    <a:pt x="156" y="420"/>
                  </a:lnTo>
                  <a:lnTo>
                    <a:pt x="191" y="380"/>
                  </a:lnTo>
                  <a:lnTo>
                    <a:pt x="230" y="344"/>
                  </a:lnTo>
                  <a:lnTo>
                    <a:pt x="272" y="312"/>
                  </a:lnTo>
                  <a:lnTo>
                    <a:pt x="318" y="284"/>
                  </a:lnTo>
                  <a:lnTo>
                    <a:pt x="366" y="261"/>
                  </a:lnTo>
                  <a:lnTo>
                    <a:pt x="424" y="240"/>
                  </a:lnTo>
                  <a:lnTo>
                    <a:pt x="482" y="226"/>
                  </a:lnTo>
                  <a:lnTo>
                    <a:pt x="542" y="219"/>
                  </a:lnTo>
                  <a:lnTo>
                    <a:pt x="602" y="219"/>
                  </a:lnTo>
                  <a:lnTo>
                    <a:pt x="662" y="225"/>
                  </a:lnTo>
                  <a:lnTo>
                    <a:pt x="720" y="239"/>
                  </a:lnTo>
                  <a:lnTo>
                    <a:pt x="778" y="258"/>
                  </a:lnTo>
                  <a:lnTo>
                    <a:pt x="827" y="282"/>
                  </a:lnTo>
                  <a:lnTo>
                    <a:pt x="871" y="308"/>
                  </a:lnTo>
                  <a:lnTo>
                    <a:pt x="913" y="339"/>
                  </a:lnTo>
                  <a:lnTo>
                    <a:pt x="950" y="374"/>
                  </a:lnTo>
                  <a:lnTo>
                    <a:pt x="986" y="411"/>
                  </a:lnTo>
                  <a:lnTo>
                    <a:pt x="1016" y="451"/>
                  </a:lnTo>
                  <a:lnTo>
                    <a:pt x="1042" y="494"/>
                  </a:lnTo>
                  <a:lnTo>
                    <a:pt x="1064" y="540"/>
                  </a:lnTo>
                  <a:lnTo>
                    <a:pt x="1083" y="586"/>
                  </a:lnTo>
                  <a:lnTo>
                    <a:pt x="1097" y="635"/>
                  </a:lnTo>
                  <a:lnTo>
                    <a:pt x="1105" y="685"/>
                  </a:lnTo>
                  <a:lnTo>
                    <a:pt x="1105" y="48"/>
                  </a:lnTo>
                  <a:lnTo>
                    <a:pt x="1108" y="34"/>
                  </a:lnTo>
                  <a:lnTo>
                    <a:pt x="1114" y="20"/>
                  </a:lnTo>
                  <a:lnTo>
                    <a:pt x="1125" y="10"/>
                  </a:lnTo>
                  <a:lnTo>
                    <a:pt x="1137" y="4"/>
                  </a:lnTo>
                  <a:lnTo>
                    <a:pt x="1153" y="0"/>
                  </a:lnTo>
                  <a:close/>
                </a:path>
              </a:pathLst>
            </a:custGeom>
            <a:solidFill>
              <a:srgbClr val="FFFFFF"/>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 name="Freeform 7"/>
            <p:cNvSpPr/>
            <p:nvPr/>
          </p:nvSpPr>
          <p:spPr bwMode="auto">
            <a:xfrm>
              <a:off x="2289176" y="5673725"/>
              <a:ext cx="344488" cy="260350"/>
            </a:xfrm>
            <a:custGeom>
              <a:avLst/>
              <a:gdLst>
                <a:gd name="T0" fmla="*/ 1497 w 1949"/>
                <a:gd name="T1" fmla="*/ 0 h 1474"/>
                <a:gd name="T2" fmla="*/ 1559 w 1949"/>
                <a:gd name="T3" fmla="*/ 12 h 1474"/>
                <a:gd name="T4" fmla="*/ 1610 w 1949"/>
                <a:gd name="T5" fmla="*/ 47 h 1474"/>
                <a:gd name="T6" fmla="*/ 1645 w 1949"/>
                <a:gd name="T7" fmla="*/ 97 h 1474"/>
                <a:gd name="T8" fmla="*/ 1657 w 1949"/>
                <a:gd name="T9" fmla="*/ 159 h 1474"/>
                <a:gd name="T10" fmla="*/ 1653 w 1949"/>
                <a:gd name="T11" fmla="*/ 596 h 1474"/>
                <a:gd name="T12" fmla="*/ 1629 w 1949"/>
                <a:gd name="T13" fmla="*/ 653 h 1474"/>
                <a:gd name="T14" fmla="*/ 1587 w 1949"/>
                <a:gd name="T15" fmla="*/ 696 h 1474"/>
                <a:gd name="T16" fmla="*/ 1530 w 1949"/>
                <a:gd name="T17" fmla="*/ 720 h 1474"/>
                <a:gd name="T18" fmla="*/ 1483 w 1949"/>
                <a:gd name="T19" fmla="*/ 723 h 1474"/>
                <a:gd name="T20" fmla="*/ 1506 w 1949"/>
                <a:gd name="T21" fmla="*/ 834 h 1474"/>
                <a:gd name="T22" fmla="*/ 1528 w 1949"/>
                <a:gd name="T23" fmla="*/ 859 h 1474"/>
                <a:gd name="T24" fmla="*/ 1562 w 1949"/>
                <a:gd name="T25" fmla="*/ 869 h 1474"/>
                <a:gd name="T26" fmla="*/ 1625 w 1949"/>
                <a:gd name="T27" fmla="*/ 873 h 1474"/>
                <a:gd name="T28" fmla="*/ 1720 w 1949"/>
                <a:gd name="T29" fmla="*/ 900 h 1474"/>
                <a:gd name="T30" fmla="*/ 1803 w 1949"/>
                <a:gd name="T31" fmla="*/ 950 h 1474"/>
                <a:gd name="T32" fmla="*/ 1870 w 1949"/>
                <a:gd name="T33" fmla="*/ 1019 h 1474"/>
                <a:gd name="T34" fmla="*/ 1919 w 1949"/>
                <a:gd name="T35" fmla="*/ 1103 h 1474"/>
                <a:gd name="T36" fmla="*/ 1946 w 1949"/>
                <a:gd name="T37" fmla="*/ 1198 h 1474"/>
                <a:gd name="T38" fmla="*/ 1949 w 1949"/>
                <a:gd name="T39" fmla="*/ 1426 h 1474"/>
                <a:gd name="T40" fmla="*/ 1939 w 1949"/>
                <a:gd name="T41" fmla="*/ 1454 h 1474"/>
                <a:gd name="T42" fmla="*/ 1916 w 1949"/>
                <a:gd name="T43" fmla="*/ 1472 h 1474"/>
                <a:gd name="T44" fmla="*/ 48 w 1949"/>
                <a:gd name="T45" fmla="*/ 1474 h 1474"/>
                <a:gd name="T46" fmla="*/ 20 w 1949"/>
                <a:gd name="T47" fmla="*/ 1465 h 1474"/>
                <a:gd name="T48" fmla="*/ 3 w 1949"/>
                <a:gd name="T49" fmla="*/ 1442 h 1474"/>
                <a:gd name="T50" fmla="*/ 0 w 1949"/>
                <a:gd name="T51" fmla="*/ 1252 h 1474"/>
                <a:gd name="T52" fmla="*/ 10 w 1949"/>
                <a:gd name="T53" fmla="*/ 1165 h 1474"/>
                <a:gd name="T54" fmla="*/ 38 w 1949"/>
                <a:gd name="T55" fmla="*/ 1082 h 1474"/>
                <a:gd name="T56" fmla="*/ 84 w 1949"/>
                <a:gd name="T57" fmla="*/ 1008 h 1474"/>
                <a:gd name="T58" fmla="*/ 146 w 1949"/>
                <a:gd name="T59" fmla="*/ 947 h 1474"/>
                <a:gd name="T60" fmla="*/ 217 w 1949"/>
                <a:gd name="T61" fmla="*/ 904 h 1474"/>
                <a:gd name="T62" fmla="*/ 296 w 1949"/>
                <a:gd name="T63" fmla="*/ 876 h 1474"/>
                <a:gd name="T64" fmla="*/ 380 w 1949"/>
                <a:gd name="T65" fmla="*/ 867 h 1474"/>
                <a:gd name="T66" fmla="*/ 399 w 1949"/>
                <a:gd name="T67" fmla="*/ 864 h 1474"/>
                <a:gd name="T68" fmla="*/ 427 w 1949"/>
                <a:gd name="T69" fmla="*/ 846 h 1474"/>
                <a:gd name="T70" fmla="*/ 443 w 1949"/>
                <a:gd name="T71" fmla="*/ 815 h 1474"/>
                <a:gd name="T72" fmla="*/ 452 w 1949"/>
                <a:gd name="T73" fmla="*/ 723 h 1474"/>
                <a:gd name="T74" fmla="*/ 390 w 1949"/>
                <a:gd name="T75" fmla="*/ 711 h 1474"/>
                <a:gd name="T76" fmla="*/ 339 w 1949"/>
                <a:gd name="T77" fmla="*/ 677 h 1474"/>
                <a:gd name="T78" fmla="*/ 305 w 1949"/>
                <a:gd name="T79" fmla="*/ 626 h 1474"/>
                <a:gd name="T80" fmla="*/ 292 w 1949"/>
                <a:gd name="T81" fmla="*/ 564 h 1474"/>
                <a:gd name="T82" fmla="*/ 296 w 1949"/>
                <a:gd name="T83" fmla="*/ 127 h 1474"/>
                <a:gd name="T84" fmla="*/ 319 w 1949"/>
                <a:gd name="T85" fmla="*/ 70 h 1474"/>
                <a:gd name="T86" fmla="*/ 362 w 1949"/>
                <a:gd name="T87" fmla="*/ 28 h 1474"/>
                <a:gd name="T88" fmla="*/ 420 w 1949"/>
                <a:gd name="T89" fmla="*/ 3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49" h="1474">
                  <a:moveTo>
                    <a:pt x="452" y="0"/>
                  </a:moveTo>
                  <a:lnTo>
                    <a:pt x="1497" y="0"/>
                  </a:lnTo>
                  <a:lnTo>
                    <a:pt x="1530" y="3"/>
                  </a:lnTo>
                  <a:lnTo>
                    <a:pt x="1559" y="12"/>
                  </a:lnTo>
                  <a:lnTo>
                    <a:pt x="1587" y="28"/>
                  </a:lnTo>
                  <a:lnTo>
                    <a:pt x="1610" y="47"/>
                  </a:lnTo>
                  <a:lnTo>
                    <a:pt x="1629" y="70"/>
                  </a:lnTo>
                  <a:lnTo>
                    <a:pt x="1645" y="97"/>
                  </a:lnTo>
                  <a:lnTo>
                    <a:pt x="1653" y="127"/>
                  </a:lnTo>
                  <a:lnTo>
                    <a:pt x="1657" y="159"/>
                  </a:lnTo>
                  <a:lnTo>
                    <a:pt x="1657" y="564"/>
                  </a:lnTo>
                  <a:lnTo>
                    <a:pt x="1653" y="596"/>
                  </a:lnTo>
                  <a:lnTo>
                    <a:pt x="1645" y="626"/>
                  </a:lnTo>
                  <a:lnTo>
                    <a:pt x="1629" y="653"/>
                  </a:lnTo>
                  <a:lnTo>
                    <a:pt x="1610" y="677"/>
                  </a:lnTo>
                  <a:lnTo>
                    <a:pt x="1587" y="696"/>
                  </a:lnTo>
                  <a:lnTo>
                    <a:pt x="1559" y="711"/>
                  </a:lnTo>
                  <a:lnTo>
                    <a:pt x="1530" y="720"/>
                  </a:lnTo>
                  <a:lnTo>
                    <a:pt x="1497" y="723"/>
                  </a:lnTo>
                  <a:lnTo>
                    <a:pt x="1483" y="723"/>
                  </a:lnTo>
                  <a:lnTo>
                    <a:pt x="1501" y="817"/>
                  </a:lnTo>
                  <a:lnTo>
                    <a:pt x="1506" y="834"/>
                  </a:lnTo>
                  <a:lnTo>
                    <a:pt x="1516" y="848"/>
                  </a:lnTo>
                  <a:lnTo>
                    <a:pt x="1528" y="859"/>
                  </a:lnTo>
                  <a:lnTo>
                    <a:pt x="1545" y="866"/>
                  </a:lnTo>
                  <a:lnTo>
                    <a:pt x="1562" y="869"/>
                  </a:lnTo>
                  <a:lnTo>
                    <a:pt x="1574" y="869"/>
                  </a:lnTo>
                  <a:lnTo>
                    <a:pt x="1625" y="873"/>
                  </a:lnTo>
                  <a:lnTo>
                    <a:pt x="1673" y="884"/>
                  </a:lnTo>
                  <a:lnTo>
                    <a:pt x="1720" y="900"/>
                  </a:lnTo>
                  <a:lnTo>
                    <a:pt x="1763" y="922"/>
                  </a:lnTo>
                  <a:lnTo>
                    <a:pt x="1803" y="950"/>
                  </a:lnTo>
                  <a:lnTo>
                    <a:pt x="1838" y="982"/>
                  </a:lnTo>
                  <a:lnTo>
                    <a:pt x="1870" y="1019"/>
                  </a:lnTo>
                  <a:lnTo>
                    <a:pt x="1897" y="1060"/>
                  </a:lnTo>
                  <a:lnTo>
                    <a:pt x="1919" y="1103"/>
                  </a:lnTo>
                  <a:lnTo>
                    <a:pt x="1936" y="1149"/>
                  </a:lnTo>
                  <a:lnTo>
                    <a:pt x="1946" y="1198"/>
                  </a:lnTo>
                  <a:lnTo>
                    <a:pt x="1949" y="1249"/>
                  </a:lnTo>
                  <a:lnTo>
                    <a:pt x="1949" y="1426"/>
                  </a:lnTo>
                  <a:lnTo>
                    <a:pt x="1947" y="1442"/>
                  </a:lnTo>
                  <a:lnTo>
                    <a:pt x="1939" y="1454"/>
                  </a:lnTo>
                  <a:lnTo>
                    <a:pt x="1929" y="1465"/>
                  </a:lnTo>
                  <a:lnTo>
                    <a:pt x="1916" y="1472"/>
                  </a:lnTo>
                  <a:lnTo>
                    <a:pt x="1901" y="1474"/>
                  </a:lnTo>
                  <a:lnTo>
                    <a:pt x="48" y="1474"/>
                  </a:lnTo>
                  <a:lnTo>
                    <a:pt x="32" y="1472"/>
                  </a:lnTo>
                  <a:lnTo>
                    <a:pt x="20" y="1465"/>
                  </a:lnTo>
                  <a:lnTo>
                    <a:pt x="9" y="1454"/>
                  </a:lnTo>
                  <a:lnTo>
                    <a:pt x="3" y="1442"/>
                  </a:lnTo>
                  <a:lnTo>
                    <a:pt x="0" y="1426"/>
                  </a:lnTo>
                  <a:lnTo>
                    <a:pt x="0" y="1252"/>
                  </a:lnTo>
                  <a:lnTo>
                    <a:pt x="3" y="1208"/>
                  </a:lnTo>
                  <a:lnTo>
                    <a:pt x="10" y="1165"/>
                  </a:lnTo>
                  <a:lnTo>
                    <a:pt x="23" y="1123"/>
                  </a:lnTo>
                  <a:lnTo>
                    <a:pt x="38" y="1082"/>
                  </a:lnTo>
                  <a:lnTo>
                    <a:pt x="59" y="1044"/>
                  </a:lnTo>
                  <a:lnTo>
                    <a:pt x="84" y="1008"/>
                  </a:lnTo>
                  <a:lnTo>
                    <a:pt x="114" y="976"/>
                  </a:lnTo>
                  <a:lnTo>
                    <a:pt x="146" y="947"/>
                  </a:lnTo>
                  <a:lnTo>
                    <a:pt x="181" y="923"/>
                  </a:lnTo>
                  <a:lnTo>
                    <a:pt x="217" y="904"/>
                  </a:lnTo>
                  <a:lnTo>
                    <a:pt x="256" y="887"/>
                  </a:lnTo>
                  <a:lnTo>
                    <a:pt x="296" y="876"/>
                  </a:lnTo>
                  <a:lnTo>
                    <a:pt x="338" y="869"/>
                  </a:lnTo>
                  <a:lnTo>
                    <a:pt x="380" y="867"/>
                  </a:lnTo>
                  <a:lnTo>
                    <a:pt x="381" y="867"/>
                  </a:lnTo>
                  <a:lnTo>
                    <a:pt x="399" y="864"/>
                  </a:lnTo>
                  <a:lnTo>
                    <a:pt x="414" y="857"/>
                  </a:lnTo>
                  <a:lnTo>
                    <a:pt x="427" y="846"/>
                  </a:lnTo>
                  <a:lnTo>
                    <a:pt x="437" y="832"/>
                  </a:lnTo>
                  <a:lnTo>
                    <a:pt x="443" y="815"/>
                  </a:lnTo>
                  <a:lnTo>
                    <a:pt x="460" y="723"/>
                  </a:lnTo>
                  <a:lnTo>
                    <a:pt x="452" y="723"/>
                  </a:lnTo>
                  <a:lnTo>
                    <a:pt x="420" y="720"/>
                  </a:lnTo>
                  <a:lnTo>
                    <a:pt x="390" y="711"/>
                  </a:lnTo>
                  <a:lnTo>
                    <a:pt x="362" y="696"/>
                  </a:lnTo>
                  <a:lnTo>
                    <a:pt x="339" y="677"/>
                  </a:lnTo>
                  <a:lnTo>
                    <a:pt x="319" y="653"/>
                  </a:lnTo>
                  <a:lnTo>
                    <a:pt x="305" y="626"/>
                  </a:lnTo>
                  <a:lnTo>
                    <a:pt x="296" y="596"/>
                  </a:lnTo>
                  <a:lnTo>
                    <a:pt x="292" y="564"/>
                  </a:lnTo>
                  <a:lnTo>
                    <a:pt x="292" y="159"/>
                  </a:lnTo>
                  <a:lnTo>
                    <a:pt x="296" y="127"/>
                  </a:lnTo>
                  <a:lnTo>
                    <a:pt x="305" y="97"/>
                  </a:lnTo>
                  <a:lnTo>
                    <a:pt x="319" y="70"/>
                  </a:lnTo>
                  <a:lnTo>
                    <a:pt x="339" y="47"/>
                  </a:lnTo>
                  <a:lnTo>
                    <a:pt x="362" y="28"/>
                  </a:lnTo>
                  <a:lnTo>
                    <a:pt x="390" y="12"/>
                  </a:lnTo>
                  <a:lnTo>
                    <a:pt x="420" y="3"/>
                  </a:lnTo>
                  <a:lnTo>
                    <a:pt x="452" y="0"/>
                  </a:lnTo>
                  <a:close/>
                </a:path>
              </a:pathLst>
            </a:custGeom>
            <a:solidFill>
              <a:srgbClr val="FFFFFF"/>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 name="Freeform 8"/>
            <p:cNvSpPr/>
            <p:nvPr/>
          </p:nvSpPr>
          <p:spPr bwMode="auto">
            <a:xfrm>
              <a:off x="2289176" y="6213475"/>
              <a:ext cx="344488" cy="104775"/>
            </a:xfrm>
            <a:custGeom>
              <a:avLst/>
              <a:gdLst>
                <a:gd name="T0" fmla="*/ 48 w 1949"/>
                <a:gd name="T1" fmla="*/ 0 h 586"/>
                <a:gd name="T2" fmla="*/ 1901 w 1949"/>
                <a:gd name="T3" fmla="*/ 0 h 586"/>
                <a:gd name="T4" fmla="*/ 1917 w 1949"/>
                <a:gd name="T5" fmla="*/ 3 h 586"/>
                <a:gd name="T6" fmla="*/ 1929 w 1949"/>
                <a:gd name="T7" fmla="*/ 10 h 586"/>
                <a:gd name="T8" fmla="*/ 1939 w 1949"/>
                <a:gd name="T9" fmla="*/ 20 h 586"/>
                <a:gd name="T10" fmla="*/ 1947 w 1949"/>
                <a:gd name="T11" fmla="*/ 33 h 586"/>
                <a:gd name="T12" fmla="*/ 1949 w 1949"/>
                <a:gd name="T13" fmla="*/ 47 h 586"/>
                <a:gd name="T14" fmla="*/ 1949 w 1949"/>
                <a:gd name="T15" fmla="*/ 206 h 586"/>
                <a:gd name="T16" fmla="*/ 1946 w 1949"/>
                <a:gd name="T17" fmla="*/ 258 h 586"/>
                <a:gd name="T18" fmla="*/ 1935 w 1949"/>
                <a:gd name="T19" fmla="*/ 307 h 586"/>
                <a:gd name="T20" fmla="*/ 1919 w 1949"/>
                <a:gd name="T21" fmla="*/ 354 h 586"/>
                <a:gd name="T22" fmla="*/ 1897 w 1949"/>
                <a:gd name="T23" fmla="*/ 397 h 586"/>
                <a:gd name="T24" fmla="*/ 1869 w 1949"/>
                <a:gd name="T25" fmla="*/ 438 h 586"/>
                <a:gd name="T26" fmla="*/ 1837 w 1949"/>
                <a:gd name="T27" fmla="*/ 475 h 586"/>
                <a:gd name="T28" fmla="*/ 1801 w 1949"/>
                <a:gd name="T29" fmla="*/ 507 h 586"/>
                <a:gd name="T30" fmla="*/ 1761 w 1949"/>
                <a:gd name="T31" fmla="*/ 534 h 586"/>
                <a:gd name="T32" fmla="*/ 1717 w 1949"/>
                <a:gd name="T33" fmla="*/ 556 h 586"/>
                <a:gd name="T34" fmla="*/ 1670 w 1949"/>
                <a:gd name="T35" fmla="*/ 572 h 586"/>
                <a:gd name="T36" fmla="*/ 1620 w 1949"/>
                <a:gd name="T37" fmla="*/ 582 h 586"/>
                <a:gd name="T38" fmla="*/ 1569 w 1949"/>
                <a:gd name="T39" fmla="*/ 586 h 586"/>
                <a:gd name="T40" fmla="*/ 380 w 1949"/>
                <a:gd name="T41" fmla="*/ 586 h 586"/>
                <a:gd name="T42" fmla="*/ 329 w 1949"/>
                <a:gd name="T43" fmla="*/ 582 h 586"/>
                <a:gd name="T44" fmla="*/ 279 w 1949"/>
                <a:gd name="T45" fmla="*/ 572 h 586"/>
                <a:gd name="T46" fmla="*/ 233 w 1949"/>
                <a:gd name="T47" fmla="*/ 556 h 586"/>
                <a:gd name="T48" fmla="*/ 188 w 1949"/>
                <a:gd name="T49" fmla="*/ 534 h 586"/>
                <a:gd name="T50" fmla="*/ 149 w 1949"/>
                <a:gd name="T51" fmla="*/ 507 h 586"/>
                <a:gd name="T52" fmla="*/ 112 w 1949"/>
                <a:gd name="T53" fmla="*/ 475 h 586"/>
                <a:gd name="T54" fmla="*/ 80 w 1949"/>
                <a:gd name="T55" fmla="*/ 438 h 586"/>
                <a:gd name="T56" fmla="*/ 52 w 1949"/>
                <a:gd name="T57" fmla="*/ 397 h 586"/>
                <a:gd name="T58" fmla="*/ 30 w 1949"/>
                <a:gd name="T59" fmla="*/ 354 h 586"/>
                <a:gd name="T60" fmla="*/ 14 w 1949"/>
                <a:gd name="T61" fmla="*/ 307 h 586"/>
                <a:gd name="T62" fmla="*/ 4 w 1949"/>
                <a:gd name="T63" fmla="*/ 258 h 586"/>
                <a:gd name="T64" fmla="*/ 0 w 1949"/>
                <a:gd name="T65" fmla="*/ 206 h 586"/>
                <a:gd name="T66" fmla="*/ 0 w 1949"/>
                <a:gd name="T67" fmla="*/ 47 h 586"/>
                <a:gd name="T68" fmla="*/ 3 w 1949"/>
                <a:gd name="T69" fmla="*/ 33 h 586"/>
                <a:gd name="T70" fmla="*/ 9 w 1949"/>
                <a:gd name="T71" fmla="*/ 20 h 586"/>
                <a:gd name="T72" fmla="*/ 20 w 1949"/>
                <a:gd name="T73" fmla="*/ 10 h 586"/>
                <a:gd name="T74" fmla="*/ 32 w 1949"/>
                <a:gd name="T75" fmla="*/ 3 h 586"/>
                <a:gd name="T76" fmla="*/ 48 w 1949"/>
                <a:gd name="T77"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49" h="586">
                  <a:moveTo>
                    <a:pt x="48" y="0"/>
                  </a:moveTo>
                  <a:lnTo>
                    <a:pt x="1901" y="0"/>
                  </a:lnTo>
                  <a:lnTo>
                    <a:pt x="1917" y="3"/>
                  </a:lnTo>
                  <a:lnTo>
                    <a:pt x="1929" y="10"/>
                  </a:lnTo>
                  <a:lnTo>
                    <a:pt x="1939" y="20"/>
                  </a:lnTo>
                  <a:lnTo>
                    <a:pt x="1947" y="33"/>
                  </a:lnTo>
                  <a:lnTo>
                    <a:pt x="1949" y="47"/>
                  </a:lnTo>
                  <a:lnTo>
                    <a:pt x="1949" y="206"/>
                  </a:lnTo>
                  <a:lnTo>
                    <a:pt x="1946" y="258"/>
                  </a:lnTo>
                  <a:lnTo>
                    <a:pt x="1935" y="307"/>
                  </a:lnTo>
                  <a:lnTo>
                    <a:pt x="1919" y="354"/>
                  </a:lnTo>
                  <a:lnTo>
                    <a:pt x="1897" y="397"/>
                  </a:lnTo>
                  <a:lnTo>
                    <a:pt x="1869" y="438"/>
                  </a:lnTo>
                  <a:lnTo>
                    <a:pt x="1837" y="475"/>
                  </a:lnTo>
                  <a:lnTo>
                    <a:pt x="1801" y="507"/>
                  </a:lnTo>
                  <a:lnTo>
                    <a:pt x="1761" y="534"/>
                  </a:lnTo>
                  <a:lnTo>
                    <a:pt x="1717" y="556"/>
                  </a:lnTo>
                  <a:lnTo>
                    <a:pt x="1670" y="572"/>
                  </a:lnTo>
                  <a:lnTo>
                    <a:pt x="1620" y="582"/>
                  </a:lnTo>
                  <a:lnTo>
                    <a:pt x="1569" y="586"/>
                  </a:lnTo>
                  <a:lnTo>
                    <a:pt x="380" y="586"/>
                  </a:lnTo>
                  <a:lnTo>
                    <a:pt x="329" y="582"/>
                  </a:lnTo>
                  <a:lnTo>
                    <a:pt x="279" y="572"/>
                  </a:lnTo>
                  <a:lnTo>
                    <a:pt x="233" y="556"/>
                  </a:lnTo>
                  <a:lnTo>
                    <a:pt x="188" y="534"/>
                  </a:lnTo>
                  <a:lnTo>
                    <a:pt x="149" y="507"/>
                  </a:lnTo>
                  <a:lnTo>
                    <a:pt x="112" y="475"/>
                  </a:lnTo>
                  <a:lnTo>
                    <a:pt x="80" y="438"/>
                  </a:lnTo>
                  <a:lnTo>
                    <a:pt x="52" y="397"/>
                  </a:lnTo>
                  <a:lnTo>
                    <a:pt x="30" y="354"/>
                  </a:lnTo>
                  <a:lnTo>
                    <a:pt x="14" y="307"/>
                  </a:lnTo>
                  <a:lnTo>
                    <a:pt x="4" y="258"/>
                  </a:lnTo>
                  <a:lnTo>
                    <a:pt x="0" y="206"/>
                  </a:lnTo>
                  <a:lnTo>
                    <a:pt x="0" y="47"/>
                  </a:lnTo>
                  <a:lnTo>
                    <a:pt x="3" y="33"/>
                  </a:lnTo>
                  <a:lnTo>
                    <a:pt x="9" y="20"/>
                  </a:lnTo>
                  <a:lnTo>
                    <a:pt x="20" y="10"/>
                  </a:lnTo>
                  <a:lnTo>
                    <a:pt x="32" y="3"/>
                  </a:lnTo>
                  <a:lnTo>
                    <a:pt x="48" y="0"/>
                  </a:lnTo>
                  <a:close/>
                </a:path>
              </a:pathLst>
            </a:custGeom>
            <a:solidFill>
              <a:srgbClr val="FFFFFF"/>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 name="Freeform 9"/>
            <p:cNvSpPr/>
            <p:nvPr/>
          </p:nvSpPr>
          <p:spPr bwMode="auto">
            <a:xfrm>
              <a:off x="2052638" y="6145213"/>
              <a:ext cx="198438" cy="173038"/>
            </a:xfrm>
            <a:custGeom>
              <a:avLst/>
              <a:gdLst>
                <a:gd name="T0" fmla="*/ 173 w 1124"/>
                <a:gd name="T1" fmla="*/ 0 h 979"/>
                <a:gd name="T2" fmla="*/ 187 w 1124"/>
                <a:gd name="T3" fmla="*/ 3 h 979"/>
                <a:gd name="T4" fmla="*/ 1094 w 1124"/>
                <a:gd name="T5" fmla="*/ 372 h 979"/>
                <a:gd name="T6" fmla="*/ 1107 w 1124"/>
                <a:gd name="T7" fmla="*/ 380 h 979"/>
                <a:gd name="T8" fmla="*/ 1116 w 1124"/>
                <a:gd name="T9" fmla="*/ 391 h 979"/>
                <a:gd name="T10" fmla="*/ 1123 w 1124"/>
                <a:gd name="T11" fmla="*/ 404 h 979"/>
                <a:gd name="T12" fmla="*/ 1124 w 1124"/>
                <a:gd name="T13" fmla="*/ 420 h 979"/>
                <a:gd name="T14" fmla="*/ 1121 w 1124"/>
                <a:gd name="T15" fmla="*/ 434 h 979"/>
                <a:gd name="T16" fmla="*/ 1033 w 1124"/>
                <a:gd name="T17" fmla="*/ 646 h 979"/>
                <a:gd name="T18" fmla="*/ 1010 w 1124"/>
                <a:gd name="T19" fmla="*/ 696 h 979"/>
                <a:gd name="T20" fmla="*/ 981 w 1124"/>
                <a:gd name="T21" fmla="*/ 743 h 979"/>
                <a:gd name="T22" fmla="*/ 949 w 1124"/>
                <a:gd name="T23" fmla="*/ 785 h 979"/>
                <a:gd name="T24" fmla="*/ 914 w 1124"/>
                <a:gd name="T25" fmla="*/ 824 h 979"/>
                <a:gd name="T26" fmla="*/ 874 w 1124"/>
                <a:gd name="T27" fmla="*/ 859 h 979"/>
                <a:gd name="T28" fmla="*/ 832 w 1124"/>
                <a:gd name="T29" fmla="*/ 890 h 979"/>
                <a:gd name="T30" fmla="*/ 788 w 1124"/>
                <a:gd name="T31" fmla="*/ 917 h 979"/>
                <a:gd name="T32" fmla="*/ 740 w 1124"/>
                <a:gd name="T33" fmla="*/ 939 h 979"/>
                <a:gd name="T34" fmla="*/ 691 w 1124"/>
                <a:gd name="T35" fmla="*/ 956 h 979"/>
                <a:gd name="T36" fmla="*/ 641 w 1124"/>
                <a:gd name="T37" fmla="*/ 969 h 979"/>
                <a:gd name="T38" fmla="*/ 589 w 1124"/>
                <a:gd name="T39" fmla="*/ 977 h 979"/>
                <a:gd name="T40" fmla="*/ 537 w 1124"/>
                <a:gd name="T41" fmla="*/ 979 h 979"/>
                <a:gd name="T42" fmla="*/ 486 w 1124"/>
                <a:gd name="T43" fmla="*/ 977 h 979"/>
                <a:gd name="T44" fmla="*/ 434 w 1124"/>
                <a:gd name="T45" fmla="*/ 969 h 979"/>
                <a:gd name="T46" fmla="*/ 383 w 1124"/>
                <a:gd name="T47" fmla="*/ 957 h 979"/>
                <a:gd name="T48" fmla="*/ 333 w 1124"/>
                <a:gd name="T49" fmla="*/ 939 h 979"/>
                <a:gd name="T50" fmla="*/ 283 w 1124"/>
                <a:gd name="T51" fmla="*/ 915 h 979"/>
                <a:gd name="T52" fmla="*/ 237 w 1124"/>
                <a:gd name="T53" fmla="*/ 887 h 979"/>
                <a:gd name="T54" fmla="*/ 195 w 1124"/>
                <a:gd name="T55" fmla="*/ 856 h 979"/>
                <a:gd name="T56" fmla="*/ 156 w 1124"/>
                <a:gd name="T57" fmla="*/ 821 h 979"/>
                <a:gd name="T58" fmla="*/ 121 w 1124"/>
                <a:gd name="T59" fmla="*/ 782 h 979"/>
                <a:gd name="T60" fmla="*/ 91 w 1124"/>
                <a:gd name="T61" fmla="*/ 740 h 979"/>
                <a:gd name="T62" fmla="*/ 64 w 1124"/>
                <a:gd name="T63" fmla="*/ 696 h 979"/>
                <a:gd name="T64" fmla="*/ 42 w 1124"/>
                <a:gd name="T65" fmla="*/ 649 h 979"/>
                <a:gd name="T66" fmla="*/ 24 w 1124"/>
                <a:gd name="T67" fmla="*/ 600 h 979"/>
                <a:gd name="T68" fmla="*/ 11 w 1124"/>
                <a:gd name="T69" fmla="*/ 550 h 979"/>
                <a:gd name="T70" fmla="*/ 3 w 1124"/>
                <a:gd name="T71" fmla="*/ 498 h 979"/>
                <a:gd name="T72" fmla="*/ 0 w 1124"/>
                <a:gd name="T73" fmla="*/ 446 h 979"/>
                <a:gd name="T74" fmla="*/ 2 w 1124"/>
                <a:gd name="T75" fmla="*/ 394 h 979"/>
                <a:gd name="T76" fmla="*/ 10 w 1124"/>
                <a:gd name="T77" fmla="*/ 342 h 979"/>
                <a:gd name="T78" fmla="*/ 22 w 1124"/>
                <a:gd name="T79" fmla="*/ 289 h 979"/>
                <a:gd name="T80" fmla="*/ 41 w 1124"/>
                <a:gd name="T81" fmla="*/ 237 h 979"/>
                <a:gd name="T82" fmla="*/ 126 w 1124"/>
                <a:gd name="T83" fmla="*/ 29 h 979"/>
                <a:gd name="T84" fmla="*/ 134 w 1124"/>
                <a:gd name="T85" fmla="*/ 17 h 979"/>
                <a:gd name="T86" fmla="*/ 145 w 1124"/>
                <a:gd name="T87" fmla="*/ 7 h 979"/>
                <a:gd name="T88" fmla="*/ 158 w 1124"/>
                <a:gd name="T89" fmla="*/ 1 h 979"/>
                <a:gd name="T90" fmla="*/ 173 w 1124"/>
                <a:gd name="T91" fmla="*/ 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4" h="979">
                  <a:moveTo>
                    <a:pt x="173" y="0"/>
                  </a:moveTo>
                  <a:lnTo>
                    <a:pt x="187" y="3"/>
                  </a:lnTo>
                  <a:lnTo>
                    <a:pt x="1094" y="372"/>
                  </a:lnTo>
                  <a:lnTo>
                    <a:pt x="1107" y="380"/>
                  </a:lnTo>
                  <a:lnTo>
                    <a:pt x="1116" y="391"/>
                  </a:lnTo>
                  <a:lnTo>
                    <a:pt x="1123" y="404"/>
                  </a:lnTo>
                  <a:lnTo>
                    <a:pt x="1124" y="420"/>
                  </a:lnTo>
                  <a:lnTo>
                    <a:pt x="1121" y="434"/>
                  </a:lnTo>
                  <a:lnTo>
                    <a:pt x="1033" y="646"/>
                  </a:lnTo>
                  <a:lnTo>
                    <a:pt x="1010" y="696"/>
                  </a:lnTo>
                  <a:lnTo>
                    <a:pt x="981" y="743"/>
                  </a:lnTo>
                  <a:lnTo>
                    <a:pt x="949" y="785"/>
                  </a:lnTo>
                  <a:lnTo>
                    <a:pt x="914" y="824"/>
                  </a:lnTo>
                  <a:lnTo>
                    <a:pt x="874" y="859"/>
                  </a:lnTo>
                  <a:lnTo>
                    <a:pt x="832" y="890"/>
                  </a:lnTo>
                  <a:lnTo>
                    <a:pt x="788" y="917"/>
                  </a:lnTo>
                  <a:lnTo>
                    <a:pt x="740" y="939"/>
                  </a:lnTo>
                  <a:lnTo>
                    <a:pt x="691" y="956"/>
                  </a:lnTo>
                  <a:lnTo>
                    <a:pt x="641" y="969"/>
                  </a:lnTo>
                  <a:lnTo>
                    <a:pt x="589" y="977"/>
                  </a:lnTo>
                  <a:lnTo>
                    <a:pt x="537" y="979"/>
                  </a:lnTo>
                  <a:lnTo>
                    <a:pt x="486" y="977"/>
                  </a:lnTo>
                  <a:lnTo>
                    <a:pt x="434" y="969"/>
                  </a:lnTo>
                  <a:lnTo>
                    <a:pt x="383" y="957"/>
                  </a:lnTo>
                  <a:lnTo>
                    <a:pt x="333" y="939"/>
                  </a:lnTo>
                  <a:lnTo>
                    <a:pt x="283" y="915"/>
                  </a:lnTo>
                  <a:lnTo>
                    <a:pt x="237" y="887"/>
                  </a:lnTo>
                  <a:lnTo>
                    <a:pt x="195" y="856"/>
                  </a:lnTo>
                  <a:lnTo>
                    <a:pt x="156" y="821"/>
                  </a:lnTo>
                  <a:lnTo>
                    <a:pt x="121" y="782"/>
                  </a:lnTo>
                  <a:lnTo>
                    <a:pt x="91" y="740"/>
                  </a:lnTo>
                  <a:lnTo>
                    <a:pt x="64" y="696"/>
                  </a:lnTo>
                  <a:lnTo>
                    <a:pt x="42" y="649"/>
                  </a:lnTo>
                  <a:lnTo>
                    <a:pt x="24" y="600"/>
                  </a:lnTo>
                  <a:lnTo>
                    <a:pt x="11" y="550"/>
                  </a:lnTo>
                  <a:lnTo>
                    <a:pt x="3" y="498"/>
                  </a:lnTo>
                  <a:lnTo>
                    <a:pt x="0" y="446"/>
                  </a:lnTo>
                  <a:lnTo>
                    <a:pt x="2" y="394"/>
                  </a:lnTo>
                  <a:lnTo>
                    <a:pt x="10" y="342"/>
                  </a:lnTo>
                  <a:lnTo>
                    <a:pt x="22" y="289"/>
                  </a:lnTo>
                  <a:lnTo>
                    <a:pt x="41" y="237"/>
                  </a:lnTo>
                  <a:lnTo>
                    <a:pt x="126" y="29"/>
                  </a:lnTo>
                  <a:lnTo>
                    <a:pt x="134" y="17"/>
                  </a:lnTo>
                  <a:lnTo>
                    <a:pt x="145" y="7"/>
                  </a:lnTo>
                  <a:lnTo>
                    <a:pt x="158" y="1"/>
                  </a:lnTo>
                  <a:lnTo>
                    <a:pt x="173" y="0"/>
                  </a:lnTo>
                  <a:close/>
                </a:path>
              </a:pathLst>
            </a:custGeom>
            <a:solidFill>
              <a:srgbClr val="FFFFFF"/>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23" name="Group 47"/>
          <p:cNvGrpSpPr/>
          <p:nvPr/>
        </p:nvGrpSpPr>
        <p:grpSpPr>
          <a:xfrm>
            <a:off x="7619385" y="2308050"/>
            <a:ext cx="676313" cy="505810"/>
            <a:chOff x="7509230" y="2466773"/>
            <a:chExt cx="683048" cy="510846"/>
          </a:xfrm>
        </p:grpSpPr>
        <p:sp>
          <p:nvSpPr>
            <p:cNvPr id="24" name="Freeform 13"/>
            <p:cNvSpPr/>
            <p:nvPr/>
          </p:nvSpPr>
          <p:spPr bwMode="auto">
            <a:xfrm>
              <a:off x="7631327" y="2466773"/>
              <a:ext cx="244192" cy="90996"/>
            </a:xfrm>
            <a:custGeom>
              <a:avLst/>
              <a:gdLst>
                <a:gd name="T0" fmla="*/ 102 w 819"/>
                <a:gd name="T1" fmla="*/ 205 h 307"/>
                <a:gd name="T2" fmla="*/ 204 w 819"/>
                <a:gd name="T3" fmla="*/ 102 h 307"/>
                <a:gd name="T4" fmla="*/ 614 w 819"/>
                <a:gd name="T5" fmla="*/ 102 h 307"/>
                <a:gd name="T6" fmla="*/ 716 w 819"/>
                <a:gd name="T7" fmla="*/ 205 h 307"/>
                <a:gd name="T8" fmla="*/ 716 w 819"/>
                <a:gd name="T9" fmla="*/ 307 h 307"/>
                <a:gd name="T10" fmla="*/ 819 w 819"/>
                <a:gd name="T11" fmla="*/ 307 h 307"/>
                <a:gd name="T12" fmla="*/ 819 w 819"/>
                <a:gd name="T13" fmla="*/ 205 h 307"/>
                <a:gd name="T14" fmla="*/ 614 w 819"/>
                <a:gd name="T15" fmla="*/ 0 h 307"/>
                <a:gd name="T16" fmla="*/ 204 w 819"/>
                <a:gd name="T17" fmla="*/ 0 h 307"/>
                <a:gd name="T18" fmla="*/ 0 w 819"/>
                <a:gd name="T19" fmla="*/ 205 h 307"/>
                <a:gd name="T20" fmla="*/ 0 w 819"/>
                <a:gd name="T21" fmla="*/ 307 h 307"/>
                <a:gd name="T22" fmla="*/ 102 w 819"/>
                <a:gd name="T23" fmla="*/ 307 h 307"/>
                <a:gd name="T24" fmla="*/ 102 w 819"/>
                <a:gd name="T25" fmla="*/ 2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9" h="307">
                  <a:moveTo>
                    <a:pt x="102" y="205"/>
                  </a:moveTo>
                  <a:cubicBezTo>
                    <a:pt x="102" y="148"/>
                    <a:pt x="148" y="102"/>
                    <a:pt x="204" y="102"/>
                  </a:cubicBezTo>
                  <a:cubicBezTo>
                    <a:pt x="614" y="102"/>
                    <a:pt x="614" y="102"/>
                    <a:pt x="614" y="102"/>
                  </a:cubicBezTo>
                  <a:cubicBezTo>
                    <a:pt x="671" y="102"/>
                    <a:pt x="716" y="148"/>
                    <a:pt x="716" y="205"/>
                  </a:cubicBezTo>
                  <a:cubicBezTo>
                    <a:pt x="716" y="307"/>
                    <a:pt x="716" y="307"/>
                    <a:pt x="716" y="307"/>
                  </a:cubicBezTo>
                  <a:cubicBezTo>
                    <a:pt x="819" y="307"/>
                    <a:pt x="819" y="307"/>
                    <a:pt x="819" y="307"/>
                  </a:cubicBezTo>
                  <a:cubicBezTo>
                    <a:pt x="819" y="205"/>
                    <a:pt x="819" y="205"/>
                    <a:pt x="819" y="205"/>
                  </a:cubicBezTo>
                  <a:cubicBezTo>
                    <a:pt x="819" y="92"/>
                    <a:pt x="727" y="0"/>
                    <a:pt x="614" y="0"/>
                  </a:cubicBezTo>
                  <a:cubicBezTo>
                    <a:pt x="204" y="0"/>
                    <a:pt x="204" y="0"/>
                    <a:pt x="204" y="0"/>
                  </a:cubicBezTo>
                  <a:cubicBezTo>
                    <a:pt x="91" y="0"/>
                    <a:pt x="0" y="92"/>
                    <a:pt x="0" y="205"/>
                  </a:cubicBezTo>
                  <a:cubicBezTo>
                    <a:pt x="0" y="307"/>
                    <a:pt x="0" y="307"/>
                    <a:pt x="0" y="307"/>
                  </a:cubicBezTo>
                  <a:cubicBezTo>
                    <a:pt x="102" y="307"/>
                    <a:pt x="102" y="307"/>
                    <a:pt x="102" y="307"/>
                  </a:cubicBezTo>
                  <a:lnTo>
                    <a:pt x="102" y="20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 name="Freeform 14"/>
            <p:cNvSpPr/>
            <p:nvPr/>
          </p:nvSpPr>
          <p:spPr bwMode="auto">
            <a:xfrm>
              <a:off x="7509230" y="2588869"/>
              <a:ext cx="487809" cy="365137"/>
            </a:xfrm>
            <a:custGeom>
              <a:avLst/>
              <a:gdLst>
                <a:gd name="T0" fmla="*/ 1302 w 1638"/>
                <a:gd name="T1" fmla="*/ 1126 h 1228"/>
                <a:gd name="T2" fmla="*/ 205 w 1638"/>
                <a:gd name="T3" fmla="*/ 1126 h 1228"/>
                <a:gd name="T4" fmla="*/ 102 w 1638"/>
                <a:gd name="T5" fmla="*/ 1024 h 1228"/>
                <a:gd name="T6" fmla="*/ 102 w 1638"/>
                <a:gd name="T7" fmla="*/ 204 h 1228"/>
                <a:gd name="T8" fmla="*/ 205 w 1638"/>
                <a:gd name="T9" fmla="*/ 102 h 1228"/>
                <a:gd name="T10" fmla="*/ 1434 w 1638"/>
                <a:gd name="T11" fmla="*/ 102 h 1228"/>
                <a:gd name="T12" fmla="*/ 1536 w 1638"/>
                <a:gd name="T13" fmla="*/ 204 h 1228"/>
                <a:gd name="T14" fmla="*/ 1536 w 1638"/>
                <a:gd name="T15" fmla="*/ 329 h 1228"/>
                <a:gd name="T16" fmla="*/ 1638 w 1638"/>
                <a:gd name="T17" fmla="*/ 309 h 1228"/>
                <a:gd name="T18" fmla="*/ 1638 w 1638"/>
                <a:gd name="T19" fmla="*/ 204 h 1228"/>
                <a:gd name="T20" fmla="*/ 1434 w 1638"/>
                <a:gd name="T21" fmla="*/ 0 h 1228"/>
                <a:gd name="T22" fmla="*/ 205 w 1638"/>
                <a:gd name="T23" fmla="*/ 0 h 1228"/>
                <a:gd name="T24" fmla="*/ 0 w 1638"/>
                <a:gd name="T25" fmla="*/ 204 h 1228"/>
                <a:gd name="T26" fmla="*/ 0 w 1638"/>
                <a:gd name="T27" fmla="*/ 1024 h 1228"/>
                <a:gd name="T28" fmla="*/ 205 w 1638"/>
                <a:gd name="T29" fmla="*/ 1228 h 1228"/>
                <a:gd name="T30" fmla="*/ 1419 w 1638"/>
                <a:gd name="T31" fmla="*/ 1228 h 1228"/>
                <a:gd name="T32" fmla="*/ 1302 w 1638"/>
                <a:gd name="T33" fmla="*/ 1126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38" h="1228">
                  <a:moveTo>
                    <a:pt x="1302" y="1126"/>
                  </a:moveTo>
                  <a:cubicBezTo>
                    <a:pt x="205" y="1126"/>
                    <a:pt x="205" y="1126"/>
                    <a:pt x="205" y="1126"/>
                  </a:cubicBezTo>
                  <a:cubicBezTo>
                    <a:pt x="148" y="1126"/>
                    <a:pt x="102" y="1080"/>
                    <a:pt x="102" y="1024"/>
                  </a:cubicBezTo>
                  <a:cubicBezTo>
                    <a:pt x="102" y="204"/>
                    <a:pt x="102" y="204"/>
                    <a:pt x="102" y="204"/>
                  </a:cubicBezTo>
                  <a:cubicBezTo>
                    <a:pt x="102" y="148"/>
                    <a:pt x="148" y="102"/>
                    <a:pt x="205" y="102"/>
                  </a:cubicBezTo>
                  <a:cubicBezTo>
                    <a:pt x="1434" y="102"/>
                    <a:pt x="1434" y="102"/>
                    <a:pt x="1434" y="102"/>
                  </a:cubicBezTo>
                  <a:cubicBezTo>
                    <a:pt x="1490" y="102"/>
                    <a:pt x="1536" y="148"/>
                    <a:pt x="1536" y="204"/>
                  </a:cubicBezTo>
                  <a:cubicBezTo>
                    <a:pt x="1536" y="329"/>
                    <a:pt x="1536" y="329"/>
                    <a:pt x="1536" y="329"/>
                  </a:cubicBezTo>
                  <a:cubicBezTo>
                    <a:pt x="1569" y="319"/>
                    <a:pt x="1603" y="312"/>
                    <a:pt x="1638" y="309"/>
                  </a:cubicBezTo>
                  <a:cubicBezTo>
                    <a:pt x="1638" y="204"/>
                    <a:pt x="1638" y="204"/>
                    <a:pt x="1638" y="204"/>
                  </a:cubicBezTo>
                  <a:cubicBezTo>
                    <a:pt x="1638" y="91"/>
                    <a:pt x="1547" y="0"/>
                    <a:pt x="1434" y="0"/>
                  </a:cubicBezTo>
                  <a:cubicBezTo>
                    <a:pt x="205" y="0"/>
                    <a:pt x="205" y="0"/>
                    <a:pt x="205" y="0"/>
                  </a:cubicBezTo>
                  <a:cubicBezTo>
                    <a:pt x="92" y="0"/>
                    <a:pt x="0" y="91"/>
                    <a:pt x="0" y="204"/>
                  </a:cubicBezTo>
                  <a:cubicBezTo>
                    <a:pt x="0" y="1024"/>
                    <a:pt x="0" y="1024"/>
                    <a:pt x="0" y="1024"/>
                  </a:cubicBezTo>
                  <a:cubicBezTo>
                    <a:pt x="0" y="1137"/>
                    <a:pt x="92" y="1228"/>
                    <a:pt x="205" y="1228"/>
                  </a:cubicBezTo>
                  <a:cubicBezTo>
                    <a:pt x="1419" y="1228"/>
                    <a:pt x="1419" y="1228"/>
                    <a:pt x="1419" y="1228"/>
                  </a:cubicBezTo>
                  <a:cubicBezTo>
                    <a:pt x="1375" y="1200"/>
                    <a:pt x="1336" y="1166"/>
                    <a:pt x="1302" y="112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 name="Freeform 15"/>
            <p:cNvSpPr/>
            <p:nvPr/>
          </p:nvSpPr>
          <p:spPr bwMode="auto">
            <a:xfrm>
              <a:off x="7661850" y="2679866"/>
              <a:ext cx="183144" cy="183144"/>
            </a:xfrm>
            <a:custGeom>
              <a:avLst/>
              <a:gdLst>
                <a:gd name="T0" fmla="*/ 212 w 318"/>
                <a:gd name="T1" fmla="*/ 318 h 318"/>
                <a:gd name="T2" fmla="*/ 212 w 318"/>
                <a:gd name="T3" fmla="*/ 212 h 318"/>
                <a:gd name="T4" fmla="*/ 318 w 318"/>
                <a:gd name="T5" fmla="*/ 212 h 318"/>
                <a:gd name="T6" fmla="*/ 318 w 318"/>
                <a:gd name="T7" fmla="*/ 106 h 318"/>
                <a:gd name="T8" fmla="*/ 212 w 318"/>
                <a:gd name="T9" fmla="*/ 106 h 318"/>
                <a:gd name="T10" fmla="*/ 212 w 318"/>
                <a:gd name="T11" fmla="*/ 0 h 318"/>
                <a:gd name="T12" fmla="*/ 106 w 318"/>
                <a:gd name="T13" fmla="*/ 0 h 318"/>
                <a:gd name="T14" fmla="*/ 106 w 318"/>
                <a:gd name="T15" fmla="*/ 106 h 318"/>
                <a:gd name="T16" fmla="*/ 0 w 318"/>
                <a:gd name="T17" fmla="*/ 106 h 318"/>
                <a:gd name="T18" fmla="*/ 0 w 318"/>
                <a:gd name="T19" fmla="*/ 212 h 318"/>
                <a:gd name="T20" fmla="*/ 106 w 318"/>
                <a:gd name="T21" fmla="*/ 212 h 318"/>
                <a:gd name="T22" fmla="*/ 106 w 318"/>
                <a:gd name="T23" fmla="*/ 318 h 318"/>
                <a:gd name="T24" fmla="*/ 212 w 318"/>
                <a:gd name="T2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8" h="318">
                  <a:moveTo>
                    <a:pt x="212" y="318"/>
                  </a:moveTo>
                  <a:lnTo>
                    <a:pt x="212" y="212"/>
                  </a:lnTo>
                  <a:lnTo>
                    <a:pt x="318" y="212"/>
                  </a:lnTo>
                  <a:lnTo>
                    <a:pt x="318" y="106"/>
                  </a:lnTo>
                  <a:lnTo>
                    <a:pt x="212" y="106"/>
                  </a:lnTo>
                  <a:lnTo>
                    <a:pt x="212" y="0"/>
                  </a:lnTo>
                  <a:lnTo>
                    <a:pt x="106" y="0"/>
                  </a:lnTo>
                  <a:lnTo>
                    <a:pt x="106" y="106"/>
                  </a:lnTo>
                  <a:lnTo>
                    <a:pt x="0" y="106"/>
                  </a:lnTo>
                  <a:lnTo>
                    <a:pt x="0" y="212"/>
                  </a:lnTo>
                  <a:lnTo>
                    <a:pt x="106" y="212"/>
                  </a:lnTo>
                  <a:lnTo>
                    <a:pt x="106" y="318"/>
                  </a:lnTo>
                  <a:lnTo>
                    <a:pt x="212" y="31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 name="Freeform 16"/>
            <p:cNvSpPr/>
            <p:nvPr/>
          </p:nvSpPr>
          <p:spPr bwMode="auto">
            <a:xfrm>
              <a:off x="8060391" y="2891806"/>
              <a:ext cx="33980" cy="6911"/>
            </a:xfrm>
            <a:custGeom>
              <a:avLst/>
              <a:gdLst>
                <a:gd name="T0" fmla="*/ 102 w 113"/>
                <a:gd name="T1" fmla="*/ 0 h 23"/>
                <a:gd name="T2" fmla="*/ 12 w 113"/>
                <a:gd name="T3" fmla="*/ 0 h 23"/>
                <a:gd name="T4" fmla="*/ 0 w 113"/>
                <a:gd name="T5" fmla="*/ 12 h 23"/>
                <a:gd name="T6" fmla="*/ 12 w 113"/>
                <a:gd name="T7" fmla="*/ 23 h 23"/>
                <a:gd name="T8" fmla="*/ 102 w 113"/>
                <a:gd name="T9" fmla="*/ 23 h 23"/>
                <a:gd name="T10" fmla="*/ 113 w 113"/>
                <a:gd name="T11" fmla="*/ 12 h 23"/>
                <a:gd name="T12" fmla="*/ 102 w 11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113" h="23">
                  <a:moveTo>
                    <a:pt x="102" y="0"/>
                  </a:moveTo>
                  <a:cubicBezTo>
                    <a:pt x="12" y="0"/>
                    <a:pt x="12" y="0"/>
                    <a:pt x="12" y="0"/>
                  </a:cubicBezTo>
                  <a:cubicBezTo>
                    <a:pt x="6" y="0"/>
                    <a:pt x="0" y="5"/>
                    <a:pt x="0" y="12"/>
                  </a:cubicBezTo>
                  <a:cubicBezTo>
                    <a:pt x="0" y="18"/>
                    <a:pt x="6" y="23"/>
                    <a:pt x="12" y="23"/>
                  </a:cubicBezTo>
                  <a:cubicBezTo>
                    <a:pt x="102" y="23"/>
                    <a:pt x="102" y="23"/>
                    <a:pt x="102" y="23"/>
                  </a:cubicBezTo>
                  <a:cubicBezTo>
                    <a:pt x="108" y="23"/>
                    <a:pt x="113" y="18"/>
                    <a:pt x="113" y="12"/>
                  </a:cubicBezTo>
                  <a:cubicBezTo>
                    <a:pt x="113" y="5"/>
                    <a:pt x="108" y="0"/>
                    <a:pt x="102"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 name="Freeform 17"/>
            <p:cNvSpPr/>
            <p:nvPr/>
          </p:nvSpPr>
          <p:spPr bwMode="auto">
            <a:xfrm>
              <a:off x="8063271" y="2788716"/>
              <a:ext cx="8639" cy="8063"/>
            </a:xfrm>
            <a:custGeom>
              <a:avLst/>
              <a:gdLst>
                <a:gd name="T0" fmla="*/ 13 w 29"/>
                <a:gd name="T1" fmla="*/ 27 h 27"/>
                <a:gd name="T2" fmla="*/ 21 w 29"/>
                <a:gd name="T3" fmla="*/ 24 h 27"/>
                <a:gd name="T4" fmla="*/ 24 w 29"/>
                <a:gd name="T5" fmla="*/ 21 h 27"/>
                <a:gd name="T6" fmla="*/ 24 w 29"/>
                <a:gd name="T7" fmla="*/ 4 h 27"/>
                <a:gd name="T8" fmla="*/ 8 w 29"/>
                <a:gd name="T9" fmla="*/ 4 h 27"/>
                <a:gd name="T10" fmla="*/ 5 w 29"/>
                <a:gd name="T11" fmla="*/ 8 h 27"/>
                <a:gd name="T12" fmla="*/ 5 w 29"/>
                <a:gd name="T13" fmla="*/ 24 h 27"/>
                <a:gd name="T14" fmla="*/ 13 w 29"/>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7">
                  <a:moveTo>
                    <a:pt x="13" y="27"/>
                  </a:moveTo>
                  <a:cubicBezTo>
                    <a:pt x="16" y="27"/>
                    <a:pt x="19" y="26"/>
                    <a:pt x="21" y="24"/>
                  </a:cubicBezTo>
                  <a:cubicBezTo>
                    <a:pt x="24" y="21"/>
                    <a:pt x="24" y="21"/>
                    <a:pt x="24" y="21"/>
                  </a:cubicBezTo>
                  <a:cubicBezTo>
                    <a:pt x="29" y="16"/>
                    <a:pt x="29" y="9"/>
                    <a:pt x="24" y="4"/>
                  </a:cubicBezTo>
                  <a:cubicBezTo>
                    <a:pt x="20" y="0"/>
                    <a:pt x="12" y="0"/>
                    <a:pt x="8" y="4"/>
                  </a:cubicBezTo>
                  <a:cubicBezTo>
                    <a:pt x="5" y="8"/>
                    <a:pt x="5" y="8"/>
                    <a:pt x="5" y="8"/>
                  </a:cubicBezTo>
                  <a:cubicBezTo>
                    <a:pt x="0" y="12"/>
                    <a:pt x="0" y="19"/>
                    <a:pt x="5" y="24"/>
                  </a:cubicBezTo>
                  <a:cubicBezTo>
                    <a:pt x="7" y="26"/>
                    <a:pt x="10" y="27"/>
                    <a:pt x="13" y="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 name="Freeform 18"/>
            <p:cNvSpPr/>
            <p:nvPr/>
          </p:nvSpPr>
          <p:spPr bwMode="auto">
            <a:xfrm>
              <a:off x="7964787" y="2798506"/>
              <a:ext cx="67959" cy="70263"/>
            </a:xfrm>
            <a:custGeom>
              <a:avLst/>
              <a:gdLst>
                <a:gd name="T0" fmla="*/ 229 w 229"/>
                <a:gd name="T1" fmla="*/ 116 h 237"/>
                <a:gd name="T2" fmla="*/ 113 w 229"/>
                <a:gd name="T3" fmla="*/ 0 h 237"/>
                <a:gd name="T4" fmla="*/ 24 w 229"/>
                <a:gd name="T5" fmla="*/ 89 h 237"/>
                <a:gd name="T6" fmla="*/ 0 w 229"/>
                <a:gd name="T7" fmla="*/ 147 h 237"/>
                <a:gd name="T8" fmla="*/ 24 w 229"/>
                <a:gd name="T9" fmla="*/ 205 h 237"/>
                <a:gd name="T10" fmla="*/ 140 w 229"/>
                <a:gd name="T11" fmla="*/ 205 h 237"/>
                <a:gd name="T12" fmla="*/ 229 w 229"/>
                <a:gd name="T13" fmla="*/ 116 h 237"/>
              </a:gdLst>
              <a:ahLst/>
              <a:cxnLst>
                <a:cxn ang="0">
                  <a:pos x="T0" y="T1"/>
                </a:cxn>
                <a:cxn ang="0">
                  <a:pos x="T2" y="T3"/>
                </a:cxn>
                <a:cxn ang="0">
                  <a:pos x="T4" y="T5"/>
                </a:cxn>
                <a:cxn ang="0">
                  <a:pos x="T6" y="T7"/>
                </a:cxn>
                <a:cxn ang="0">
                  <a:pos x="T8" y="T9"/>
                </a:cxn>
                <a:cxn ang="0">
                  <a:pos x="T10" y="T11"/>
                </a:cxn>
                <a:cxn ang="0">
                  <a:pos x="T12" y="T13"/>
                </a:cxn>
              </a:cxnLst>
              <a:rect l="0" t="0" r="r" b="b"/>
              <a:pathLst>
                <a:path w="229" h="237">
                  <a:moveTo>
                    <a:pt x="229" y="116"/>
                  </a:moveTo>
                  <a:cubicBezTo>
                    <a:pt x="113" y="0"/>
                    <a:pt x="113" y="0"/>
                    <a:pt x="113" y="0"/>
                  </a:cubicBezTo>
                  <a:cubicBezTo>
                    <a:pt x="24" y="89"/>
                    <a:pt x="24" y="89"/>
                    <a:pt x="24" y="89"/>
                  </a:cubicBezTo>
                  <a:cubicBezTo>
                    <a:pt x="9" y="104"/>
                    <a:pt x="0" y="125"/>
                    <a:pt x="0" y="147"/>
                  </a:cubicBezTo>
                  <a:cubicBezTo>
                    <a:pt x="0" y="169"/>
                    <a:pt x="9" y="189"/>
                    <a:pt x="24" y="205"/>
                  </a:cubicBezTo>
                  <a:cubicBezTo>
                    <a:pt x="56" y="237"/>
                    <a:pt x="108" y="237"/>
                    <a:pt x="140" y="205"/>
                  </a:cubicBezTo>
                  <a:lnTo>
                    <a:pt x="229" y="11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 name="Freeform 19"/>
            <p:cNvSpPr/>
            <p:nvPr/>
          </p:nvSpPr>
          <p:spPr bwMode="auto">
            <a:xfrm>
              <a:off x="8100130" y="2891806"/>
              <a:ext cx="8063" cy="6911"/>
            </a:xfrm>
            <a:custGeom>
              <a:avLst/>
              <a:gdLst>
                <a:gd name="T0" fmla="*/ 16 w 27"/>
                <a:gd name="T1" fmla="*/ 0 h 23"/>
                <a:gd name="T2" fmla="*/ 11 w 27"/>
                <a:gd name="T3" fmla="*/ 0 h 23"/>
                <a:gd name="T4" fmla="*/ 0 w 27"/>
                <a:gd name="T5" fmla="*/ 12 h 23"/>
                <a:gd name="T6" fmla="*/ 11 w 27"/>
                <a:gd name="T7" fmla="*/ 23 h 23"/>
                <a:gd name="T8" fmla="*/ 16 w 27"/>
                <a:gd name="T9" fmla="*/ 23 h 23"/>
                <a:gd name="T10" fmla="*/ 27 w 27"/>
                <a:gd name="T11" fmla="*/ 12 h 23"/>
                <a:gd name="T12" fmla="*/ 16 w 27"/>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7" h="23">
                  <a:moveTo>
                    <a:pt x="16" y="0"/>
                  </a:moveTo>
                  <a:cubicBezTo>
                    <a:pt x="11" y="0"/>
                    <a:pt x="11" y="0"/>
                    <a:pt x="11" y="0"/>
                  </a:cubicBezTo>
                  <a:cubicBezTo>
                    <a:pt x="5" y="0"/>
                    <a:pt x="0" y="5"/>
                    <a:pt x="0" y="12"/>
                  </a:cubicBezTo>
                  <a:cubicBezTo>
                    <a:pt x="0" y="18"/>
                    <a:pt x="5" y="23"/>
                    <a:pt x="11" y="23"/>
                  </a:cubicBezTo>
                  <a:cubicBezTo>
                    <a:pt x="16" y="23"/>
                    <a:pt x="16" y="23"/>
                    <a:pt x="16" y="23"/>
                  </a:cubicBezTo>
                  <a:cubicBezTo>
                    <a:pt x="22" y="23"/>
                    <a:pt x="27" y="18"/>
                    <a:pt x="27" y="12"/>
                  </a:cubicBezTo>
                  <a:cubicBezTo>
                    <a:pt x="27" y="5"/>
                    <a:pt x="22"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 name="Freeform 20"/>
            <p:cNvSpPr>
              <a:spLocks noEditPoints="1"/>
            </p:cNvSpPr>
            <p:nvPr/>
          </p:nvSpPr>
          <p:spPr bwMode="auto">
            <a:xfrm>
              <a:off x="7895100" y="2679866"/>
              <a:ext cx="297178" cy="297753"/>
            </a:xfrm>
            <a:custGeom>
              <a:avLst/>
              <a:gdLst>
                <a:gd name="T0" fmla="*/ 499 w 999"/>
                <a:gd name="T1" fmla="*/ 0 h 1000"/>
                <a:gd name="T2" fmla="*/ 0 w 999"/>
                <a:gd name="T3" fmla="*/ 500 h 1000"/>
                <a:gd name="T4" fmla="*/ 499 w 999"/>
                <a:gd name="T5" fmla="*/ 1000 h 1000"/>
                <a:gd name="T6" fmla="*/ 999 w 999"/>
                <a:gd name="T7" fmla="*/ 500 h 1000"/>
                <a:gd name="T8" fmla="*/ 499 w 999"/>
                <a:gd name="T9" fmla="*/ 0 h 1000"/>
                <a:gd name="T10" fmla="*/ 207 w 999"/>
                <a:gd name="T11" fmla="*/ 546 h 1000"/>
                <a:gd name="T12" fmla="*/ 239 w 999"/>
                <a:gd name="T13" fmla="*/ 469 h 1000"/>
                <a:gd name="T14" fmla="*/ 440 w 999"/>
                <a:gd name="T15" fmla="*/ 268 h 1000"/>
                <a:gd name="T16" fmla="*/ 517 w 999"/>
                <a:gd name="T17" fmla="*/ 236 h 1000"/>
                <a:gd name="T18" fmla="*/ 594 w 999"/>
                <a:gd name="T19" fmla="*/ 268 h 1000"/>
                <a:gd name="T20" fmla="*/ 626 w 999"/>
                <a:gd name="T21" fmla="*/ 345 h 1000"/>
                <a:gd name="T22" fmla="*/ 594 w 999"/>
                <a:gd name="T23" fmla="*/ 422 h 1000"/>
                <a:gd name="T24" fmla="*/ 393 w 999"/>
                <a:gd name="T25" fmla="*/ 623 h 1000"/>
                <a:gd name="T26" fmla="*/ 316 w 999"/>
                <a:gd name="T27" fmla="*/ 655 h 1000"/>
                <a:gd name="T28" fmla="*/ 239 w 999"/>
                <a:gd name="T29" fmla="*/ 623 h 1000"/>
                <a:gd name="T30" fmla="*/ 207 w 999"/>
                <a:gd name="T31" fmla="*/ 546 h 1000"/>
                <a:gd name="T32" fmla="*/ 683 w 999"/>
                <a:gd name="T33" fmla="*/ 764 h 1000"/>
                <a:gd name="T34" fmla="*/ 398 w 999"/>
                <a:gd name="T35" fmla="*/ 764 h 1000"/>
                <a:gd name="T36" fmla="*/ 291 w 999"/>
                <a:gd name="T37" fmla="*/ 673 h 1000"/>
                <a:gd name="T38" fmla="*/ 316 w 999"/>
                <a:gd name="T39" fmla="*/ 676 h 1000"/>
                <a:gd name="T40" fmla="*/ 319 w 999"/>
                <a:gd name="T41" fmla="*/ 676 h 1000"/>
                <a:gd name="T42" fmla="*/ 398 w 999"/>
                <a:gd name="T43" fmla="*/ 737 h 1000"/>
                <a:gd name="T44" fmla="*/ 524 w 999"/>
                <a:gd name="T45" fmla="*/ 737 h 1000"/>
                <a:gd name="T46" fmla="*/ 524 w 999"/>
                <a:gd name="T47" fmla="*/ 574 h 1000"/>
                <a:gd name="T48" fmla="*/ 472 w 999"/>
                <a:gd name="T49" fmla="*/ 574 h 1000"/>
                <a:gd name="T50" fmla="*/ 499 w 999"/>
                <a:gd name="T51" fmla="*/ 547 h 1000"/>
                <a:gd name="T52" fmla="*/ 683 w 999"/>
                <a:gd name="T53" fmla="*/ 547 h 1000"/>
                <a:gd name="T54" fmla="*/ 792 w 999"/>
                <a:gd name="T55" fmla="*/ 656 h 1000"/>
                <a:gd name="T56" fmla="*/ 683 w 999"/>
                <a:gd name="T57" fmla="*/ 764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9" h="1000">
                  <a:moveTo>
                    <a:pt x="499" y="0"/>
                  </a:moveTo>
                  <a:cubicBezTo>
                    <a:pt x="224" y="0"/>
                    <a:pt x="0" y="224"/>
                    <a:pt x="0" y="500"/>
                  </a:cubicBezTo>
                  <a:cubicBezTo>
                    <a:pt x="0" y="776"/>
                    <a:pt x="223" y="1000"/>
                    <a:pt x="499" y="1000"/>
                  </a:cubicBezTo>
                  <a:cubicBezTo>
                    <a:pt x="775" y="1000"/>
                    <a:pt x="999" y="777"/>
                    <a:pt x="999" y="500"/>
                  </a:cubicBezTo>
                  <a:cubicBezTo>
                    <a:pt x="999" y="224"/>
                    <a:pt x="776" y="0"/>
                    <a:pt x="499" y="0"/>
                  </a:cubicBezTo>
                  <a:close/>
                  <a:moveTo>
                    <a:pt x="207" y="546"/>
                  </a:moveTo>
                  <a:cubicBezTo>
                    <a:pt x="207" y="517"/>
                    <a:pt x="219" y="489"/>
                    <a:pt x="239" y="469"/>
                  </a:cubicBezTo>
                  <a:cubicBezTo>
                    <a:pt x="440" y="268"/>
                    <a:pt x="440" y="268"/>
                    <a:pt x="440" y="268"/>
                  </a:cubicBezTo>
                  <a:cubicBezTo>
                    <a:pt x="461" y="247"/>
                    <a:pt x="488" y="236"/>
                    <a:pt x="517" y="236"/>
                  </a:cubicBezTo>
                  <a:cubicBezTo>
                    <a:pt x="546" y="236"/>
                    <a:pt x="574" y="247"/>
                    <a:pt x="594" y="268"/>
                  </a:cubicBezTo>
                  <a:cubicBezTo>
                    <a:pt x="615" y="288"/>
                    <a:pt x="626" y="316"/>
                    <a:pt x="626" y="345"/>
                  </a:cubicBezTo>
                  <a:cubicBezTo>
                    <a:pt x="626" y="374"/>
                    <a:pt x="615" y="401"/>
                    <a:pt x="594" y="422"/>
                  </a:cubicBezTo>
                  <a:cubicBezTo>
                    <a:pt x="393" y="623"/>
                    <a:pt x="393" y="623"/>
                    <a:pt x="393" y="623"/>
                  </a:cubicBezTo>
                  <a:cubicBezTo>
                    <a:pt x="372" y="644"/>
                    <a:pt x="344" y="655"/>
                    <a:pt x="316" y="655"/>
                  </a:cubicBezTo>
                  <a:cubicBezTo>
                    <a:pt x="288" y="655"/>
                    <a:pt x="260" y="644"/>
                    <a:pt x="239" y="623"/>
                  </a:cubicBezTo>
                  <a:cubicBezTo>
                    <a:pt x="219" y="602"/>
                    <a:pt x="207" y="575"/>
                    <a:pt x="207" y="546"/>
                  </a:cubicBezTo>
                  <a:close/>
                  <a:moveTo>
                    <a:pt x="683" y="764"/>
                  </a:moveTo>
                  <a:cubicBezTo>
                    <a:pt x="398" y="764"/>
                    <a:pt x="398" y="764"/>
                    <a:pt x="398" y="764"/>
                  </a:cubicBezTo>
                  <a:cubicBezTo>
                    <a:pt x="344" y="764"/>
                    <a:pt x="299" y="725"/>
                    <a:pt x="291" y="673"/>
                  </a:cubicBezTo>
                  <a:cubicBezTo>
                    <a:pt x="299" y="675"/>
                    <a:pt x="308" y="676"/>
                    <a:pt x="316" y="676"/>
                  </a:cubicBezTo>
                  <a:cubicBezTo>
                    <a:pt x="317" y="676"/>
                    <a:pt x="318" y="676"/>
                    <a:pt x="319" y="676"/>
                  </a:cubicBezTo>
                  <a:cubicBezTo>
                    <a:pt x="328" y="711"/>
                    <a:pt x="360" y="737"/>
                    <a:pt x="398" y="737"/>
                  </a:cubicBezTo>
                  <a:cubicBezTo>
                    <a:pt x="524" y="737"/>
                    <a:pt x="524" y="737"/>
                    <a:pt x="524" y="737"/>
                  </a:cubicBezTo>
                  <a:cubicBezTo>
                    <a:pt x="524" y="574"/>
                    <a:pt x="524" y="574"/>
                    <a:pt x="524" y="574"/>
                  </a:cubicBezTo>
                  <a:cubicBezTo>
                    <a:pt x="472" y="574"/>
                    <a:pt x="472" y="574"/>
                    <a:pt x="472" y="574"/>
                  </a:cubicBezTo>
                  <a:cubicBezTo>
                    <a:pt x="499" y="547"/>
                    <a:pt x="499" y="547"/>
                    <a:pt x="499" y="547"/>
                  </a:cubicBezTo>
                  <a:cubicBezTo>
                    <a:pt x="683" y="547"/>
                    <a:pt x="683" y="547"/>
                    <a:pt x="683" y="547"/>
                  </a:cubicBezTo>
                  <a:cubicBezTo>
                    <a:pt x="743" y="547"/>
                    <a:pt x="792" y="596"/>
                    <a:pt x="792" y="656"/>
                  </a:cubicBezTo>
                  <a:cubicBezTo>
                    <a:pt x="792" y="716"/>
                    <a:pt x="743" y="764"/>
                    <a:pt x="683" y="7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 name="Freeform 21"/>
            <p:cNvSpPr/>
            <p:nvPr/>
          </p:nvSpPr>
          <p:spPr bwMode="auto">
            <a:xfrm>
              <a:off x="8035626" y="2797931"/>
              <a:ext cx="26493" cy="26493"/>
            </a:xfrm>
            <a:custGeom>
              <a:avLst/>
              <a:gdLst>
                <a:gd name="T0" fmla="*/ 13 w 89"/>
                <a:gd name="T1" fmla="*/ 88 h 88"/>
                <a:gd name="T2" fmla="*/ 21 w 89"/>
                <a:gd name="T3" fmla="*/ 85 h 88"/>
                <a:gd name="T4" fmla="*/ 85 w 89"/>
                <a:gd name="T5" fmla="*/ 21 h 88"/>
                <a:gd name="T6" fmla="*/ 85 w 89"/>
                <a:gd name="T7" fmla="*/ 5 h 88"/>
                <a:gd name="T8" fmla="*/ 68 w 89"/>
                <a:gd name="T9" fmla="*/ 5 h 88"/>
                <a:gd name="T10" fmla="*/ 5 w 89"/>
                <a:gd name="T11" fmla="*/ 69 h 88"/>
                <a:gd name="T12" fmla="*/ 5 w 89"/>
                <a:gd name="T13" fmla="*/ 85 h 88"/>
                <a:gd name="T14" fmla="*/ 13 w 89"/>
                <a:gd name="T15" fmla="*/ 8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88">
                  <a:moveTo>
                    <a:pt x="13" y="88"/>
                  </a:moveTo>
                  <a:cubicBezTo>
                    <a:pt x="16" y="88"/>
                    <a:pt x="19" y="87"/>
                    <a:pt x="21" y="85"/>
                  </a:cubicBezTo>
                  <a:cubicBezTo>
                    <a:pt x="85" y="21"/>
                    <a:pt x="85" y="21"/>
                    <a:pt x="85" y="21"/>
                  </a:cubicBezTo>
                  <a:cubicBezTo>
                    <a:pt x="89" y="17"/>
                    <a:pt x="89" y="9"/>
                    <a:pt x="85" y="5"/>
                  </a:cubicBezTo>
                  <a:cubicBezTo>
                    <a:pt x="80" y="0"/>
                    <a:pt x="73" y="0"/>
                    <a:pt x="68" y="5"/>
                  </a:cubicBezTo>
                  <a:cubicBezTo>
                    <a:pt x="5" y="69"/>
                    <a:pt x="5" y="69"/>
                    <a:pt x="5" y="69"/>
                  </a:cubicBezTo>
                  <a:cubicBezTo>
                    <a:pt x="0" y="73"/>
                    <a:pt x="0" y="80"/>
                    <a:pt x="5" y="85"/>
                  </a:cubicBezTo>
                  <a:cubicBezTo>
                    <a:pt x="7" y="87"/>
                    <a:pt x="10" y="88"/>
                    <a:pt x="13" y="8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3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a:solidFill>
                  <a:prstClr val="black"/>
                </a:solidFill>
                <a:latin typeface="华文楷体" panose="02010600040101010101" charset="-122"/>
              </a:rPr>
              <a:t>比对</a:t>
            </a:r>
            <a:endParaRPr lang="zh-CN" altLang="en-US" sz="2400" dirty="0">
              <a:solidFill>
                <a:prstClr val="black"/>
              </a:solidFill>
              <a:latin typeface="华文楷体" panose="02010600040101010101" charset="-122"/>
            </a:endParaRPr>
          </a:p>
        </p:txBody>
      </p:sp>
      <p:pic>
        <p:nvPicPr>
          <p:cNvPr id="37" name="图片 3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Connector 116"/>
          <p:cNvCxnSpPr/>
          <p:nvPr/>
        </p:nvCxnSpPr>
        <p:spPr>
          <a:xfrm flipH="1" flipV="1">
            <a:off x="6102351" y="4037291"/>
            <a:ext cx="422274" cy="1290255"/>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graphicFrame>
        <p:nvGraphicFramePr>
          <p:cNvPr id="66" name="Chart 3"/>
          <p:cNvGraphicFramePr/>
          <p:nvPr>
            <p:custDataLst>
              <p:tags r:id="rId3"/>
            </p:custDataLst>
          </p:nvPr>
        </p:nvGraphicFramePr>
        <p:xfrm>
          <a:off x="2452688" y="1430615"/>
          <a:ext cx="4178300" cy="4178300"/>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67" name="Chart 3"/>
          <p:cNvGraphicFramePr/>
          <p:nvPr>
            <p:custDataLst>
              <p:tags r:id="rId4"/>
            </p:custDataLst>
          </p:nvPr>
        </p:nvGraphicFramePr>
        <p:xfrm>
          <a:off x="2814638" y="1792565"/>
          <a:ext cx="3454400" cy="3454400"/>
        </p:xfrm>
        <a:graphic>
          <a:graphicData uri="http://schemas.openxmlformats.org/drawingml/2006/chart">
            <c:chart xmlns:c="http://schemas.openxmlformats.org/drawingml/2006/chart" xmlns:r="http://schemas.openxmlformats.org/officeDocument/2006/relationships" r:id="rId2"/>
          </a:graphicData>
        </a:graphic>
      </p:graphicFrame>
      <p:sp>
        <p:nvSpPr>
          <p:cNvPr id="68" name="Rectangle 6"/>
          <p:cNvSpPr/>
          <p:nvPr/>
        </p:nvSpPr>
        <p:spPr>
          <a:xfrm>
            <a:off x="4745037" y="2211665"/>
            <a:ext cx="844371" cy="311031"/>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lvl="0" latinLnBrk="1">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sp>
        <p:nvSpPr>
          <p:cNvPr id="69" name="Rectangle 10"/>
          <p:cNvSpPr/>
          <p:nvPr/>
        </p:nvSpPr>
        <p:spPr>
          <a:xfrm>
            <a:off x="5140325" y="2675215"/>
            <a:ext cx="844371" cy="311031"/>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latinLnBrk="1">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sp>
        <p:nvSpPr>
          <p:cNvPr id="70" name="Rectangle 11"/>
          <p:cNvSpPr/>
          <p:nvPr/>
        </p:nvSpPr>
        <p:spPr>
          <a:xfrm>
            <a:off x="5443537" y="3362602"/>
            <a:ext cx="844371" cy="311031"/>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lvl="0" latinLnBrk="1">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sp>
        <p:nvSpPr>
          <p:cNvPr id="71" name="Rectangle 12"/>
          <p:cNvSpPr/>
          <p:nvPr/>
        </p:nvSpPr>
        <p:spPr>
          <a:xfrm>
            <a:off x="5330825" y="4110315"/>
            <a:ext cx="844371" cy="311031"/>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latinLnBrk="1">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sp>
        <p:nvSpPr>
          <p:cNvPr id="72" name="Rectangle 13"/>
          <p:cNvSpPr/>
          <p:nvPr/>
        </p:nvSpPr>
        <p:spPr>
          <a:xfrm>
            <a:off x="4718050" y="4516715"/>
            <a:ext cx="844371" cy="311031"/>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latinLnBrk="1">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sp>
        <p:nvSpPr>
          <p:cNvPr id="73" name="Rectangle 15"/>
          <p:cNvSpPr/>
          <p:nvPr/>
        </p:nvSpPr>
        <p:spPr>
          <a:xfrm>
            <a:off x="3919537" y="4551640"/>
            <a:ext cx="677759" cy="256656"/>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1" hangingPunct="1">
              <a:lnSpc>
                <a:spcPct val="100000"/>
              </a:lnSpc>
              <a:spcBef>
                <a:spcPts val="0"/>
              </a:spcBef>
              <a:spcAft>
                <a:spcPts val="0"/>
              </a:spcAft>
              <a:buClrTx/>
              <a:buSzTx/>
              <a:buFontTx/>
              <a:buNone/>
              <a:defRPr/>
            </a:pPr>
            <a:r>
              <a:rPr lang="zh-CN" altLang="en-US" sz="1400" b="1" dirty="0">
                <a:solidFill>
                  <a:prstClr val="white"/>
                </a:solidFill>
                <a:latin typeface="Arial" panose="020B0604020202020204"/>
                <a:ea typeface="华文楷体" panose="02010600040101010101" charset="-122"/>
                <a:cs typeface="+mn-ea"/>
                <a:sym typeface="+mn-lt"/>
              </a:rPr>
              <a:t>文本</a:t>
            </a:r>
            <a:endParaRPr kumimoji="0" 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sp>
        <p:nvSpPr>
          <p:cNvPr id="74" name="Rectangle 16"/>
          <p:cNvSpPr/>
          <p:nvPr/>
        </p:nvSpPr>
        <p:spPr>
          <a:xfrm>
            <a:off x="3278187" y="4037290"/>
            <a:ext cx="844371" cy="311031"/>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latinLnBrk="1">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sp>
        <p:nvSpPr>
          <p:cNvPr id="75" name="Rectangle 17"/>
          <p:cNvSpPr/>
          <p:nvPr/>
        </p:nvSpPr>
        <p:spPr>
          <a:xfrm>
            <a:off x="3097212" y="3372127"/>
            <a:ext cx="844371" cy="311031"/>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latinLnBrk="1">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sp>
        <p:nvSpPr>
          <p:cNvPr id="76" name="Rectangle 18"/>
          <p:cNvSpPr/>
          <p:nvPr/>
        </p:nvSpPr>
        <p:spPr>
          <a:xfrm>
            <a:off x="3305175" y="2645052"/>
            <a:ext cx="844371" cy="311031"/>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latinLnBrk="1">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sp>
        <p:nvSpPr>
          <p:cNvPr id="77" name="Rectangle 19"/>
          <p:cNvSpPr/>
          <p:nvPr/>
        </p:nvSpPr>
        <p:spPr>
          <a:xfrm>
            <a:off x="3971925" y="2192615"/>
            <a:ext cx="844371" cy="311031"/>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latinLnBrk="1">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cxnSp>
        <p:nvCxnSpPr>
          <p:cNvPr id="78" name="Straight Connector 24"/>
          <p:cNvCxnSpPr/>
          <p:nvPr/>
        </p:nvCxnSpPr>
        <p:spPr>
          <a:xfrm>
            <a:off x="317500" y="5678503"/>
            <a:ext cx="3034069" cy="0"/>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79" name="Straight Connector 26"/>
          <p:cNvCxnSpPr/>
          <p:nvPr/>
        </p:nvCxnSpPr>
        <p:spPr>
          <a:xfrm>
            <a:off x="322263" y="2528115"/>
            <a:ext cx="2086218" cy="1"/>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80" name="Straight Connector 29"/>
          <p:cNvCxnSpPr/>
          <p:nvPr/>
        </p:nvCxnSpPr>
        <p:spPr>
          <a:xfrm>
            <a:off x="317500" y="4243665"/>
            <a:ext cx="2067339" cy="0"/>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81" name="Straight Connector 30"/>
          <p:cNvCxnSpPr/>
          <p:nvPr/>
        </p:nvCxnSpPr>
        <p:spPr>
          <a:xfrm>
            <a:off x="6626225" y="3185908"/>
            <a:ext cx="2408612" cy="0"/>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82" name="Straight Connector 31"/>
          <p:cNvCxnSpPr/>
          <p:nvPr/>
        </p:nvCxnSpPr>
        <p:spPr>
          <a:xfrm>
            <a:off x="6531882" y="5316929"/>
            <a:ext cx="2525032" cy="0"/>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83" name="Straight Connector 14"/>
          <p:cNvCxnSpPr/>
          <p:nvPr/>
        </p:nvCxnSpPr>
        <p:spPr>
          <a:xfrm flipH="1" flipV="1">
            <a:off x="3351212" y="1898927"/>
            <a:ext cx="1191704" cy="1658697"/>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4" name="Straight Connector 59"/>
          <p:cNvCxnSpPr/>
          <p:nvPr/>
        </p:nvCxnSpPr>
        <p:spPr>
          <a:xfrm flipH="1" flipV="1">
            <a:off x="4527550" y="1495702"/>
            <a:ext cx="17752" cy="2027888"/>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5" name="Straight Connector 61"/>
          <p:cNvCxnSpPr/>
          <p:nvPr/>
        </p:nvCxnSpPr>
        <p:spPr>
          <a:xfrm flipV="1">
            <a:off x="3351212" y="3511827"/>
            <a:ext cx="1184854" cy="1635562"/>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6" name="Straight Connector 67"/>
          <p:cNvCxnSpPr/>
          <p:nvPr/>
        </p:nvCxnSpPr>
        <p:spPr>
          <a:xfrm flipV="1">
            <a:off x="4597400" y="2902227"/>
            <a:ext cx="1852983" cy="59004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87" name="Rectangle 88"/>
          <p:cNvSpPr txBox="1"/>
          <p:nvPr/>
        </p:nvSpPr>
        <p:spPr>
          <a:xfrm rot="2131217">
            <a:off x="4390886" y="2080973"/>
            <a:ext cx="2334505" cy="188967"/>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ArchUp">
              <a:avLst>
                <a:gd name="adj" fmla="val 11626534"/>
              </a:avLst>
            </a:prstTxWarp>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0" algn="ctr" defTabSz="914400" latinLnBrk="1">
              <a:buClrTx/>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sp>
        <p:nvSpPr>
          <p:cNvPr id="88" name="Rectangle 88"/>
          <p:cNvSpPr txBox="1"/>
          <p:nvPr/>
        </p:nvSpPr>
        <p:spPr>
          <a:xfrm rot="7649452">
            <a:off x="4748558" y="4463420"/>
            <a:ext cx="2334505" cy="13608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ArchUp">
              <a:avLst>
                <a:gd name="adj" fmla="val 11626534"/>
              </a:avLst>
            </a:prstTxWarp>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0" algn="ctr" defTabSz="914400" latinLnBrk="1">
              <a:buClrTx/>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sp>
        <p:nvSpPr>
          <p:cNvPr id="89" name="Rectangle 88"/>
          <p:cNvSpPr txBox="1"/>
          <p:nvPr/>
        </p:nvSpPr>
        <p:spPr>
          <a:xfrm rot="15254993">
            <a:off x="1743939" y="3925002"/>
            <a:ext cx="2334505" cy="16950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ArchUp">
              <a:avLst>
                <a:gd name="adj" fmla="val 11626534"/>
              </a:avLst>
            </a:prstTxWarp>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0" algn="ctr" defTabSz="914400" latinLnBrk="1">
              <a:buClrTx/>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sp>
        <p:nvSpPr>
          <p:cNvPr id="90" name="Rectangle 88"/>
          <p:cNvSpPr txBox="1"/>
          <p:nvPr/>
        </p:nvSpPr>
        <p:spPr>
          <a:xfrm rot="20700000">
            <a:off x="2866599" y="1815354"/>
            <a:ext cx="2334505" cy="273112"/>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ArchUp">
              <a:avLst>
                <a:gd name="adj" fmla="val 11626534"/>
              </a:avLst>
            </a:prstTxWarp>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0" algn="ctr" defTabSz="914400" latinLnBrk="1">
              <a:buClrTx/>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cxnSp>
        <p:nvCxnSpPr>
          <p:cNvPr id="91" name="Straight Connector 86"/>
          <p:cNvCxnSpPr/>
          <p:nvPr/>
        </p:nvCxnSpPr>
        <p:spPr>
          <a:xfrm flipV="1">
            <a:off x="2386012" y="4156347"/>
            <a:ext cx="222250" cy="85407"/>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92" name="Straight Connector 91"/>
          <p:cNvCxnSpPr/>
          <p:nvPr/>
        </p:nvCxnSpPr>
        <p:spPr>
          <a:xfrm flipV="1">
            <a:off x="297351" y="1504939"/>
            <a:ext cx="2811087" cy="1"/>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93" name="Straight Connector 106"/>
          <p:cNvCxnSpPr/>
          <p:nvPr/>
        </p:nvCxnSpPr>
        <p:spPr>
          <a:xfrm flipH="1" flipV="1">
            <a:off x="5775237" y="1558355"/>
            <a:ext cx="3272554" cy="0"/>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94" name="Straight Connector 109"/>
          <p:cNvCxnSpPr/>
          <p:nvPr/>
        </p:nvCxnSpPr>
        <p:spPr>
          <a:xfrm flipH="1" flipV="1">
            <a:off x="6423025" y="2913340"/>
            <a:ext cx="203200" cy="283907"/>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95" name="Straight Connector 88"/>
          <p:cNvCxnSpPr/>
          <p:nvPr/>
        </p:nvCxnSpPr>
        <p:spPr>
          <a:xfrm flipH="1" flipV="1">
            <a:off x="2608262" y="2883177"/>
            <a:ext cx="1510922" cy="487458"/>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96" name="Rectangle 88"/>
          <p:cNvSpPr txBox="1"/>
          <p:nvPr/>
        </p:nvSpPr>
        <p:spPr>
          <a:xfrm rot="18377637">
            <a:off x="2053766" y="2401305"/>
            <a:ext cx="2334505" cy="3559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ArchUp">
              <a:avLst>
                <a:gd name="adj" fmla="val 11626534"/>
              </a:avLst>
            </a:prstTxWarp>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lvl="0" algn="ctr" defTabSz="914400" latinLnBrk="1">
              <a:buClrTx/>
              <a:defRPr/>
            </a:pPr>
            <a:r>
              <a:rPr lang="zh-CN" altLang="en-US" sz="1400" b="1" dirty="0">
                <a:solidFill>
                  <a:prstClr val="white"/>
                </a:solidFill>
                <a:ea typeface="华文楷体" panose="02010600040101010101" charset="-122"/>
                <a:cs typeface="+mn-ea"/>
                <a:sym typeface="+mn-lt"/>
              </a:rPr>
              <a:t>文本</a:t>
            </a:r>
            <a:endParaRPr lang="en-US" altLang="zh-CN" sz="1400" b="1" dirty="0">
              <a:solidFill>
                <a:prstClr val="white"/>
              </a:solidFill>
              <a:ea typeface="华文楷体" panose="02010600040101010101" charset="-122"/>
              <a:cs typeface="+mn-ea"/>
              <a:sym typeface="+mn-lt"/>
            </a:endParaRPr>
          </a:p>
        </p:txBody>
      </p:sp>
      <p:cxnSp>
        <p:nvCxnSpPr>
          <p:cNvPr id="97" name="Straight Connector 97"/>
          <p:cNvCxnSpPr/>
          <p:nvPr/>
        </p:nvCxnSpPr>
        <p:spPr>
          <a:xfrm flipV="1">
            <a:off x="4539343" y="5148540"/>
            <a:ext cx="0" cy="1035830"/>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98" name="Straight Connector 102"/>
          <p:cNvCxnSpPr/>
          <p:nvPr/>
        </p:nvCxnSpPr>
        <p:spPr>
          <a:xfrm flipV="1">
            <a:off x="3351212" y="5157599"/>
            <a:ext cx="0" cy="520904"/>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sp>
        <p:nvSpPr>
          <p:cNvPr id="99" name="Oval 44"/>
          <p:cNvSpPr>
            <a:spLocks noChangeArrowheads="1"/>
          </p:cNvSpPr>
          <p:nvPr>
            <p:custDataLst>
              <p:tags r:id="rId5"/>
            </p:custDataLst>
          </p:nvPr>
        </p:nvSpPr>
        <p:spPr bwMode="auto">
          <a:xfrm>
            <a:off x="3978275" y="2860952"/>
            <a:ext cx="1125784" cy="1125851"/>
          </a:xfrm>
          <a:prstGeom prst="ellipse">
            <a:avLst/>
          </a:prstGeom>
          <a:solidFill>
            <a:schemeClr val="accent6">
              <a:lumMod val="20000"/>
              <a:lumOff val="80000"/>
            </a:schemeClr>
          </a:solidFill>
          <a:ln w="9525">
            <a:solidFill>
              <a:schemeClr val="bg1"/>
            </a:solidFill>
            <a:round/>
          </a:ln>
        </p:spPr>
        <p:txBody>
          <a:bodyPr wrap="none" lIns="85542" tIns="42771" rIns="85542" bIns="42771" anchor="ctr"/>
          <a:lstStyle/>
          <a:p>
            <a:pPr marL="0" marR="0" lvl="0" indent="0" algn="ctr" defTabSz="914400" rtl="0" eaLnBrk="1" fontAlgn="auto" latinLnBrk="1" hangingPunct="1">
              <a:lnSpc>
                <a:spcPct val="100000"/>
              </a:lnSpc>
              <a:spcBef>
                <a:spcPct val="20000"/>
              </a:spcBef>
              <a:spcAft>
                <a:spcPts val="0"/>
              </a:spcAft>
              <a:buClrTx/>
              <a:buSzTx/>
              <a:buFontTx/>
              <a:buNone/>
              <a:defRPr/>
            </a:pPr>
            <a:r>
              <a:rPr kumimoji="0" lang="en-US" altLang="zh-CN"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a:t>
            </a:r>
            <a:r>
              <a:rPr kumimoji="0" lang="zh-CN" altLang="en-US"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的</a:t>
            </a:r>
            <a:endParaRPr kumimoji="0" lang="en-US" altLang="zh-CN"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a:p>
            <a:pPr marL="0" marR="0" lvl="0" indent="0" algn="ctr" defTabSz="914400" rtl="0" eaLnBrk="1" fontAlgn="auto" latinLnBrk="1" hangingPunct="1">
              <a:lnSpc>
                <a:spcPct val="100000"/>
              </a:lnSpc>
              <a:spcBef>
                <a:spcPct val="20000"/>
              </a:spcBef>
              <a:spcAft>
                <a:spcPts val="0"/>
              </a:spcAft>
              <a:buClrTx/>
              <a:buSzTx/>
              <a:buFontTx/>
              <a:buNone/>
              <a:defRPr/>
            </a:pPr>
            <a:r>
              <a:rPr kumimoji="0" lang="zh-CN" altLang="en-US" sz="18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一天</a:t>
            </a:r>
            <a:endParaRPr kumimoji="0" lang="zh-CN" altLang="en-GB" sz="18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grpSp>
        <p:nvGrpSpPr>
          <p:cNvPr id="100" name="Group 4"/>
          <p:cNvGrpSpPr/>
          <p:nvPr/>
        </p:nvGrpSpPr>
        <p:grpSpPr>
          <a:xfrm>
            <a:off x="10260847" y="551295"/>
            <a:ext cx="1210717" cy="212366"/>
            <a:chOff x="8203619" y="285750"/>
            <a:chExt cx="548864" cy="420449"/>
          </a:xfrm>
        </p:grpSpPr>
        <p:sp>
          <p:nvSpPr>
            <p:cNvPr id="101" name="StickerRectangle"/>
            <p:cNvSpPr>
              <a:spLocks noChangeArrowheads="1"/>
            </p:cNvSpPr>
            <p:nvPr/>
          </p:nvSpPr>
          <p:spPr bwMode="auto">
            <a:xfrm>
              <a:off x="8203619" y="285750"/>
              <a:ext cx="548864" cy="42044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l" defTabSz="895350" rtl="0" eaLnBrk="1" fontAlgn="auto" latinLnBrk="1" hangingPunct="1">
                <a:lnSpc>
                  <a:spcPct val="100000"/>
                </a:lnSpc>
                <a:spcBef>
                  <a:spcPts val="0"/>
                </a:spcBef>
                <a:spcAft>
                  <a:spcPts val="0"/>
                </a:spcAft>
                <a:buClr>
                  <a:srgbClr val="575F6D"/>
                </a:buClr>
                <a:buSzTx/>
                <a:buFontTx/>
                <a:buNone/>
                <a:defRPr/>
              </a:pPr>
              <a:r>
                <a:rPr kumimoji="0" lang="zh-CN" altLang="en-US" sz="1200" b="0" i="0" u="none" strike="noStrike" kern="1200" cap="none" spc="0" normalizeH="0" baseline="0" noProof="0" smtClean="0">
                  <a:ln>
                    <a:noFill/>
                  </a:ln>
                  <a:solidFill>
                    <a:srgbClr val="808080"/>
                  </a:solidFill>
                  <a:effectLst/>
                  <a:uLnTx/>
                  <a:uFillTx/>
                  <a:latin typeface="Arial" panose="020B0604020202020204"/>
                  <a:ea typeface="华文楷体" panose="02010600040101010101" charset="-122"/>
                  <a:cs typeface="+mn-ea"/>
                  <a:sym typeface="+mn-lt"/>
                </a:rPr>
                <a:t>基于</a:t>
              </a:r>
              <a:r>
                <a:rPr kumimoji="0" lang="en-US" altLang="zh-CN" sz="1200" b="0" i="0" u="none" strike="noStrike" kern="1200" cap="none" spc="0" normalizeH="0" baseline="0" noProof="0" smtClean="0">
                  <a:ln>
                    <a:noFill/>
                  </a:ln>
                  <a:solidFill>
                    <a:srgbClr val="808080"/>
                  </a:solidFill>
                  <a:effectLst/>
                  <a:uLnTx/>
                  <a:uFillTx/>
                  <a:latin typeface="Arial" panose="020B0604020202020204"/>
                  <a:ea typeface="华文楷体" panose="02010600040101010101" charset="-122"/>
                  <a:cs typeface="+mn-ea"/>
                  <a:sym typeface="+mn-lt"/>
                </a:rPr>
                <a:t>50+</a:t>
              </a:r>
              <a:r>
                <a:rPr kumimoji="0" lang="zh-CN" altLang="en-US" sz="1200" b="0" i="0" u="none" strike="noStrike" kern="1200" cap="none" spc="0" normalizeH="0" baseline="0" noProof="0" smtClean="0">
                  <a:ln>
                    <a:noFill/>
                  </a:ln>
                  <a:solidFill>
                    <a:srgbClr val="808080"/>
                  </a:solidFill>
                  <a:effectLst/>
                  <a:uLnTx/>
                  <a:uFillTx/>
                  <a:latin typeface="Arial" panose="020B0604020202020204"/>
                  <a:ea typeface="华文楷体" panose="02010600040101010101" charset="-122"/>
                  <a:cs typeface="+mn-ea"/>
                  <a:sym typeface="+mn-lt"/>
                </a:rPr>
                <a:t>老师调</a:t>
              </a:r>
              <a:r>
                <a:rPr kumimoji="0" lang="zh-CN" altLang="en-US" sz="1200" b="0" i="0" u="none" strike="noStrike" kern="1200" cap="none" spc="0" normalizeH="0" baseline="0" noProof="0" dirty="0" smtClean="0">
                  <a:ln>
                    <a:noFill/>
                  </a:ln>
                  <a:solidFill>
                    <a:srgbClr val="808080"/>
                  </a:solidFill>
                  <a:effectLst/>
                  <a:uLnTx/>
                  <a:uFillTx/>
                  <a:latin typeface="Arial" panose="020B0604020202020204"/>
                  <a:ea typeface="华文楷体" panose="02010600040101010101" charset="-122"/>
                  <a:cs typeface="+mn-ea"/>
                  <a:sym typeface="+mn-lt"/>
                </a:rPr>
                <a:t>研</a:t>
              </a:r>
              <a:endParaRPr kumimoji="0" lang="en-US" sz="1200" b="0" i="0" u="none" strike="noStrike" kern="1200" cap="none" spc="0" normalizeH="0" baseline="0" noProof="0" dirty="0">
                <a:ln>
                  <a:noFill/>
                </a:ln>
                <a:solidFill>
                  <a:srgbClr val="808080"/>
                </a:solidFill>
                <a:effectLst/>
                <a:uLnTx/>
                <a:uFillTx/>
                <a:latin typeface="Arial" panose="020B0604020202020204"/>
                <a:ea typeface="华文楷体" panose="02010600040101010101" charset="-122"/>
                <a:cs typeface="+mn-ea"/>
                <a:sym typeface="+mn-lt"/>
              </a:endParaRPr>
            </a:p>
          </p:txBody>
        </p:sp>
        <p:cxnSp>
          <p:nvCxnSpPr>
            <p:cNvPr id="102" name="AutoShape 31"/>
            <p:cNvCxnSpPr>
              <a:cxnSpLocks noChangeShapeType="1"/>
              <a:stCxn id="101" idx="2"/>
              <a:endCxn id="101" idx="4"/>
            </p:cNvCxnSpPr>
            <p:nvPr/>
          </p:nvCxnSpPr>
          <p:spPr bwMode="auto">
            <a:xfrm>
              <a:off x="8203619" y="285750"/>
              <a:ext cx="0" cy="420449"/>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8203619" y="706199"/>
              <a:ext cx="548864"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cxnSp>
        <p:nvCxnSpPr>
          <p:cNvPr id="104" name="Straight Connector 116"/>
          <p:cNvCxnSpPr/>
          <p:nvPr/>
        </p:nvCxnSpPr>
        <p:spPr>
          <a:xfrm flipH="1" flipV="1">
            <a:off x="2403718" y="2528116"/>
            <a:ext cx="199178" cy="335203"/>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105" name="Straight Connector 116"/>
          <p:cNvCxnSpPr/>
          <p:nvPr/>
        </p:nvCxnSpPr>
        <p:spPr>
          <a:xfrm flipH="1" flipV="1">
            <a:off x="3097212" y="1517899"/>
            <a:ext cx="266511" cy="381028"/>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cxnSp>
        <p:nvCxnSpPr>
          <p:cNvPr id="106" name="Straight Connector 116"/>
          <p:cNvCxnSpPr/>
          <p:nvPr/>
        </p:nvCxnSpPr>
        <p:spPr>
          <a:xfrm flipV="1">
            <a:off x="5693221" y="1558356"/>
            <a:ext cx="82016" cy="318664"/>
          </a:xfrm>
          <a:prstGeom prst="line">
            <a:avLst/>
          </a:prstGeom>
          <a:ln w="19050">
            <a:solidFill>
              <a:schemeClr val="bg1">
                <a:lumMod val="65000"/>
              </a:schemeClr>
            </a:solidFill>
            <a:prstDash val="sysDot"/>
          </a:ln>
        </p:spPr>
        <p:style>
          <a:lnRef idx="1">
            <a:schemeClr val="accent6"/>
          </a:lnRef>
          <a:fillRef idx="0">
            <a:schemeClr val="accent6"/>
          </a:fillRef>
          <a:effectRef idx="0">
            <a:schemeClr val="accent6"/>
          </a:effectRef>
          <a:fontRef idx="minor">
            <a:schemeClr val="tx1"/>
          </a:fontRef>
        </p:style>
      </p:cxnSp>
      <p:sp>
        <p:nvSpPr>
          <p:cNvPr id="107" name="Rectangle 184"/>
          <p:cNvSpPr/>
          <p:nvPr/>
        </p:nvSpPr>
        <p:spPr>
          <a:xfrm>
            <a:off x="9266832" y="935571"/>
            <a:ext cx="2852349" cy="5372508"/>
          </a:xfrm>
          <a:prstGeom prst="rect">
            <a:avLst/>
          </a:prstGeom>
          <a:noFill/>
          <a:ln>
            <a:solidFill>
              <a:srgbClr val="FF6600"/>
            </a:solidFill>
          </a:ln>
        </p:spPr>
        <p:txBody>
          <a:bodyPr wrap="square" lIns="0" tIns="13799" rIns="0" bIns="13799" anchor="ctr">
            <a:noAutofit/>
          </a:bodyPr>
          <a:lstStyle/>
          <a:p>
            <a:pPr marL="171450" marR="0" lvl="2" indent="-171450" algn="l" defTabSz="914400" rtl="0" eaLnBrk="1" fontAlgn="base" latinLnBrk="1" hangingPunct="1">
              <a:lnSpc>
                <a:spcPct val="100000"/>
              </a:lnSpc>
              <a:spcBef>
                <a:spcPct val="30000"/>
              </a:spcBef>
              <a:spcAft>
                <a:spcPct val="0"/>
              </a:spcAft>
              <a:buClr>
                <a:srgbClr val="177B57"/>
              </a:buClr>
              <a:buSzTx/>
              <a:buFont typeface="Arial" panose="020B0604020202020204" pitchFamily="34" charset="0"/>
              <a:buChar char="•"/>
              <a:defRPr/>
            </a:pPr>
            <a:endParaRPr kumimoji="0" lang="en-US" sz="1400" b="1" i="0" u="none" strike="noStrike" kern="1200" cap="none" spc="0" normalizeH="0" baseline="0" noProof="0">
              <a:ln>
                <a:noFill/>
              </a:ln>
              <a:solidFill>
                <a:srgbClr val="002060"/>
              </a:solidFill>
              <a:effectLst/>
              <a:uLnTx/>
              <a:uFillTx/>
              <a:latin typeface="Arial" panose="020B0604020202020204"/>
              <a:ea typeface="华文楷体" panose="02010600040101010101" charset="-122"/>
              <a:cs typeface="Arial" panose="020B0604020202020204" pitchFamily="34" charset="0"/>
            </a:endParaRPr>
          </a:p>
        </p:txBody>
      </p:sp>
      <p:sp>
        <p:nvSpPr>
          <p:cNvPr id="108" name="Rectangle 184"/>
          <p:cNvSpPr/>
          <p:nvPr/>
        </p:nvSpPr>
        <p:spPr>
          <a:xfrm>
            <a:off x="9349031" y="1161560"/>
            <a:ext cx="2516290" cy="3930691"/>
          </a:xfrm>
          <a:prstGeom prst="rect">
            <a:avLst/>
          </a:prstGeom>
          <a:noFill/>
          <a:ln>
            <a:noFill/>
          </a:ln>
        </p:spPr>
        <p:txBody>
          <a:bodyPr wrap="square" lIns="0" tIns="13799" rIns="0" bIns="13799" anchor="t">
            <a:noAutofit/>
          </a:bodyPr>
          <a:lstStyle/>
          <a:p>
            <a:pPr marL="171450" marR="0" lvl="2" indent="-171450" algn="l" defTabSz="914400" rtl="0" eaLnBrk="1" fontAlgn="base" latinLnBrk="1" hangingPunct="1">
              <a:lnSpc>
                <a:spcPct val="100000"/>
              </a:lnSpc>
              <a:spcBef>
                <a:spcPct val="30000"/>
              </a:spcBef>
              <a:spcAft>
                <a:spcPct val="0"/>
              </a:spcAft>
              <a:buClr>
                <a:prstClr val="black"/>
              </a:buClr>
              <a:buSzTx/>
              <a:buFont typeface="Arial" panose="020B0604020202020204" pitchFamily="34" charset="0"/>
              <a:buChar char="•"/>
              <a:defRPr/>
            </a:pPr>
            <a:r>
              <a:rPr kumimoji="0" lang="en-US" altLang="zh-CN" sz="3600" b="1" i="0" u="none" strike="noStrike" kern="1200" cap="none" spc="0" normalizeH="0" baseline="0" noProof="0" dirty="0" smtClean="0">
                <a:ln>
                  <a:noFill/>
                </a:ln>
                <a:solidFill>
                  <a:srgbClr val="FF6600"/>
                </a:solidFill>
                <a:effectLst/>
                <a:uLnTx/>
                <a:uFillTx/>
                <a:latin typeface="Arial" panose="020B0604020202020204"/>
                <a:ea typeface="华文楷体" panose="02010600040101010101" charset="-122"/>
                <a:cs typeface="Arial" panose="020B0604020202020204" pitchFamily="34" charset="0"/>
              </a:rPr>
              <a:t>5</a:t>
            </a:r>
            <a:r>
              <a:rPr kumimoji="0" lang="zh-CN" altLang="en-US" sz="1800" b="1" i="0" u="none" strike="noStrike" kern="1200" cap="none" spc="0" normalizeH="0" baseline="0" noProof="0" dirty="0" smtClean="0">
                <a:ln>
                  <a:noFill/>
                </a:ln>
                <a:solidFill>
                  <a:srgbClr val="FF6600"/>
                </a:solidFill>
                <a:effectLst/>
                <a:uLnTx/>
                <a:uFillTx/>
                <a:latin typeface="Arial" panose="020B0604020202020204"/>
                <a:ea typeface="华文楷体" panose="02010600040101010101" charset="-122"/>
                <a:cs typeface="Arial" panose="020B0604020202020204" pitchFamily="34" charset="0"/>
              </a:rPr>
              <a:t>大效率痛点：</a:t>
            </a:r>
            <a:endParaRPr kumimoji="0" lang="en-US" altLang="zh-CN" sz="1800" b="1" i="0" u="none" strike="noStrike" kern="1200" cap="none" spc="0" normalizeH="0" baseline="0" noProof="0" dirty="0" smtClean="0">
              <a:ln>
                <a:noFill/>
              </a:ln>
              <a:solidFill>
                <a:srgbClr val="FF6600"/>
              </a:solidFill>
              <a:effectLst/>
              <a:uLnTx/>
              <a:uFillTx/>
              <a:latin typeface="Arial" panose="020B0604020202020204"/>
              <a:ea typeface="华文楷体" panose="02010600040101010101" charset="-122"/>
              <a:cs typeface="Arial" panose="020B0604020202020204" pitchFamily="34" charset="0"/>
            </a:endParaRPr>
          </a:p>
          <a:p>
            <a:pPr marL="171450" marR="0" lvl="2" indent="-171450" algn="l" defTabSz="914400" rtl="0" eaLnBrk="1" fontAlgn="base" latinLnBrk="1" hangingPunct="1">
              <a:lnSpc>
                <a:spcPct val="100000"/>
              </a:lnSpc>
              <a:spcBef>
                <a:spcPct val="30000"/>
              </a:spcBef>
              <a:spcAft>
                <a:spcPct val="0"/>
              </a:spcAft>
              <a:buClr>
                <a:prstClr val="black"/>
              </a:buClr>
              <a:buSzTx/>
              <a:buFont typeface="Arial" panose="020B0604020202020204" pitchFamily="34" charset="0"/>
              <a:buChar char="•"/>
              <a:defRPr/>
            </a:pPr>
            <a:endParaRPr lang="en-US" altLang="zh-CN" b="1" dirty="0">
              <a:solidFill>
                <a:srgbClr val="FF6600"/>
              </a:solidFill>
              <a:latin typeface="Arial" panose="020B0604020202020204"/>
              <a:ea typeface="华文楷体" panose="02010600040101010101" charset="-122"/>
              <a:cs typeface="Arial" panose="020B0604020202020204" pitchFamily="34" charset="0"/>
            </a:endParaRPr>
          </a:p>
          <a:p>
            <a:pPr marL="171450" marR="0" lvl="2" indent="-171450" algn="l" defTabSz="914400" rtl="0" eaLnBrk="1" fontAlgn="base" latinLnBrk="1" hangingPunct="1">
              <a:lnSpc>
                <a:spcPct val="100000"/>
              </a:lnSpc>
              <a:spcBef>
                <a:spcPct val="30000"/>
              </a:spcBef>
              <a:spcAft>
                <a:spcPct val="0"/>
              </a:spcAft>
              <a:buClr>
                <a:prstClr val="black"/>
              </a:buClr>
              <a:buSzTx/>
              <a:buFont typeface="Arial" panose="020B0604020202020204" pitchFamily="34" charset="0"/>
              <a:buChar char="•"/>
              <a:defRPr/>
            </a:pPr>
            <a:endParaRPr kumimoji="0" lang="en-US" altLang="zh-CN" sz="1800" b="1" i="0" u="none" strike="noStrike" kern="1200" cap="none" spc="0" normalizeH="0" baseline="0" noProof="0" dirty="0" smtClean="0">
              <a:ln>
                <a:noFill/>
              </a:ln>
              <a:solidFill>
                <a:srgbClr val="FF6600"/>
              </a:solidFill>
              <a:effectLst/>
              <a:uLnTx/>
              <a:uFillTx/>
              <a:latin typeface="Arial" panose="020B0604020202020204"/>
              <a:ea typeface="华文楷体" panose="02010600040101010101" charset="-122"/>
              <a:cs typeface="Arial" panose="020B0604020202020204" pitchFamily="34" charset="0"/>
            </a:endParaRPr>
          </a:p>
          <a:p>
            <a:pPr marL="171450" marR="0" lvl="2" indent="-171450" algn="l" defTabSz="914400" rtl="0" eaLnBrk="1" fontAlgn="base" latinLnBrk="1" hangingPunct="1">
              <a:lnSpc>
                <a:spcPct val="100000"/>
              </a:lnSpc>
              <a:spcBef>
                <a:spcPct val="30000"/>
              </a:spcBef>
              <a:spcAft>
                <a:spcPct val="0"/>
              </a:spcAft>
              <a:buClr>
                <a:prstClr val="black"/>
              </a:buClr>
              <a:buSzTx/>
              <a:buFont typeface="Arial" panose="020B0604020202020204" pitchFamily="34" charset="0"/>
              <a:buChar char="•"/>
              <a:defRPr/>
            </a:pPr>
            <a:endParaRPr lang="en-US" altLang="zh-CN" b="1" dirty="0">
              <a:solidFill>
                <a:srgbClr val="FF6600"/>
              </a:solidFill>
              <a:latin typeface="Arial" panose="020B0604020202020204"/>
              <a:ea typeface="华文楷体" panose="02010600040101010101" charset="-122"/>
              <a:cs typeface="Arial" panose="020B0604020202020204" pitchFamily="34" charset="0"/>
            </a:endParaRPr>
          </a:p>
          <a:p>
            <a:pPr marL="171450" marR="0" lvl="2" indent="-171450" algn="l" defTabSz="914400" rtl="0" eaLnBrk="1" fontAlgn="base" latinLnBrk="1" hangingPunct="1">
              <a:lnSpc>
                <a:spcPct val="100000"/>
              </a:lnSpc>
              <a:spcBef>
                <a:spcPct val="30000"/>
              </a:spcBef>
              <a:spcAft>
                <a:spcPct val="0"/>
              </a:spcAft>
              <a:buClr>
                <a:prstClr val="black"/>
              </a:buClr>
              <a:buSzTx/>
              <a:buFont typeface="Arial" panose="020B0604020202020204" pitchFamily="34" charset="0"/>
              <a:buChar char="•"/>
              <a:defRPr/>
            </a:pPr>
            <a:endParaRPr kumimoji="0" lang="en-US" altLang="zh-CN" sz="1800" b="1" i="0" u="none" strike="noStrike" kern="1200" cap="none" spc="0" normalizeH="0" baseline="0" noProof="0" dirty="0" smtClean="0">
              <a:ln>
                <a:noFill/>
              </a:ln>
              <a:solidFill>
                <a:srgbClr val="FF6600"/>
              </a:solidFill>
              <a:effectLst/>
              <a:uLnTx/>
              <a:uFillTx/>
              <a:latin typeface="Arial" panose="020B0604020202020204"/>
              <a:ea typeface="华文楷体" panose="02010600040101010101" charset="-122"/>
              <a:cs typeface="Arial" panose="020B0604020202020204" pitchFamily="34" charset="0"/>
            </a:endParaRPr>
          </a:p>
          <a:p>
            <a:pPr marL="0" marR="0" lvl="2" algn="l" defTabSz="914400" rtl="0" eaLnBrk="1" fontAlgn="base" latinLnBrk="1" hangingPunct="1">
              <a:lnSpc>
                <a:spcPct val="100000"/>
              </a:lnSpc>
              <a:spcBef>
                <a:spcPct val="30000"/>
              </a:spcBef>
              <a:spcAft>
                <a:spcPct val="0"/>
              </a:spcAft>
              <a:buClr>
                <a:prstClr val="black"/>
              </a:buClr>
              <a:buSzTx/>
              <a:defRPr/>
            </a:pPr>
            <a:endParaRPr kumimoji="0" lang="en-US" altLang="zh-CN" sz="1800" b="1" i="0" u="none" strike="noStrike" kern="1200" cap="none" spc="0" normalizeH="0" baseline="0" noProof="0" dirty="0" smtClean="0">
              <a:ln>
                <a:noFill/>
              </a:ln>
              <a:solidFill>
                <a:srgbClr val="FF6600"/>
              </a:solidFill>
              <a:effectLst/>
              <a:uLnTx/>
              <a:uFillTx/>
              <a:latin typeface="Arial" panose="020B0604020202020204"/>
              <a:ea typeface="华文楷体" panose="02010600040101010101" charset="-122"/>
              <a:cs typeface="Arial" panose="020B0604020202020204" pitchFamily="34" charset="0"/>
            </a:endParaRPr>
          </a:p>
          <a:p>
            <a:pPr marL="171450" marR="0" lvl="2" indent="-171450" algn="l" defTabSz="914400" rtl="0" eaLnBrk="1" fontAlgn="base" latinLnBrk="1" hangingPunct="1">
              <a:lnSpc>
                <a:spcPct val="100000"/>
              </a:lnSpc>
              <a:spcBef>
                <a:spcPct val="30000"/>
              </a:spcBef>
              <a:spcAft>
                <a:spcPct val="0"/>
              </a:spcAft>
              <a:buClr>
                <a:prstClr val="black"/>
              </a:buClr>
              <a:buSzTx/>
              <a:buFont typeface="Arial" panose="020B0604020202020204" pitchFamily="34" charset="0"/>
              <a:buChar char="•"/>
              <a:defRPr/>
            </a:pPr>
            <a:r>
              <a:rPr kumimoji="0" lang="en-US" altLang="zh-CN" sz="3600" b="1" i="0" u="none" strike="noStrike" kern="1200" cap="none" spc="0" normalizeH="0" baseline="0" noProof="0" dirty="0" smtClean="0">
                <a:ln>
                  <a:noFill/>
                </a:ln>
                <a:solidFill>
                  <a:srgbClr val="FF6600"/>
                </a:solidFill>
                <a:effectLst/>
                <a:uLnTx/>
                <a:uFillTx/>
                <a:latin typeface="Arial" panose="020B0604020202020204"/>
                <a:ea typeface="华文楷体" panose="02010600040101010101" charset="-122"/>
                <a:cs typeface="Arial" panose="020B0604020202020204" pitchFamily="34" charset="0"/>
              </a:rPr>
              <a:t>5</a:t>
            </a:r>
            <a:r>
              <a:rPr kumimoji="0" lang="zh-CN" altLang="en-US" sz="1800" b="1" i="0" u="none" strike="noStrike" kern="1200" cap="none" spc="0" normalizeH="0" baseline="0" noProof="0" dirty="0" smtClean="0">
                <a:ln>
                  <a:noFill/>
                </a:ln>
                <a:solidFill>
                  <a:srgbClr val="FF6600"/>
                </a:solidFill>
                <a:effectLst/>
                <a:uLnTx/>
                <a:uFillTx/>
                <a:latin typeface="Arial" panose="020B0604020202020204"/>
                <a:ea typeface="华文楷体" panose="02010600040101010101" charset="-122"/>
                <a:cs typeface="Arial" panose="020B0604020202020204" pitchFamily="34" charset="0"/>
              </a:rPr>
              <a:t>大质量痛点：</a:t>
            </a:r>
            <a:endParaRPr kumimoji="0" lang="en-US" altLang="zh-CN" sz="1800" b="1" i="0" u="none" strike="noStrike" kern="1200" cap="none" spc="0" normalizeH="0" baseline="0" noProof="0" dirty="0" smtClean="0">
              <a:ln>
                <a:noFill/>
              </a:ln>
              <a:solidFill>
                <a:srgbClr val="FF6600"/>
              </a:solidFill>
              <a:effectLst/>
              <a:uLnTx/>
              <a:uFillTx/>
              <a:latin typeface="Arial" panose="020B0604020202020204"/>
              <a:ea typeface="华文楷体" panose="02010600040101010101" charset="-122"/>
              <a:cs typeface="Arial" panose="020B0604020202020204" pitchFamily="34" charset="0"/>
            </a:endParaRPr>
          </a:p>
          <a:p>
            <a:pPr marL="396240" marR="0" lvl="3" indent="-171450" algn="l" defTabSz="914400" rtl="0" eaLnBrk="1" fontAlgn="base" latinLnBrk="1" hangingPunct="1">
              <a:lnSpc>
                <a:spcPct val="100000"/>
              </a:lnSpc>
              <a:spcBef>
                <a:spcPct val="30000"/>
              </a:spcBef>
              <a:spcAft>
                <a:spcPct val="0"/>
              </a:spcAft>
              <a:buClr>
                <a:prstClr val="white"/>
              </a:buClr>
              <a:buSzTx/>
              <a:buFont typeface="Arial" panose="020B0604020202020204" pitchFamily="34" charset="0"/>
              <a:buChar char="•"/>
              <a:defRPr/>
            </a:pPr>
            <a:endParaRPr kumimoji="0" lang="en-US" altLang="zh-CN" sz="1800" b="1" i="0" u="none" strike="noStrike" kern="1200" cap="none" spc="0" normalizeH="0" baseline="0" noProof="0" dirty="0" smtClean="0">
              <a:ln>
                <a:noFill/>
              </a:ln>
              <a:solidFill>
                <a:schemeClr val="tx1">
                  <a:lumMod val="75000"/>
                  <a:lumOff val="25000"/>
                </a:schemeClr>
              </a:solidFill>
              <a:effectLst/>
              <a:uLnTx/>
              <a:uFillTx/>
              <a:latin typeface="Arial" panose="020B0604020202020204"/>
              <a:ea typeface="华文楷体" panose="02010600040101010101" charset="-122"/>
              <a:cs typeface="Arial" panose="020B0604020202020204" pitchFamily="34" charset="0"/>
            </a:endParaRPr>
          </a:p>
          <a:p>
            <a:pPr marL="396240" marR="0" lvl="3" indent="-171450" algn="l" defTabSz="914400" rtl="0" eaLnBrk="1" fontAlgn="base" latinLnBrk="1" hangingPunct="1">
              <a:lnSpc>
                <a:spcPct val="100000"/>
              </a:lnSpc>
              <a:spcBef>
                <a:spcPct val="30000"/>
              </a:spcBef>
              <a:spcAft>
                <a:spcPct val="0"/>
              </a:spcAft>
              <a:buClr>
                <a:prstClr val="white"/>
              </a:buClr>
              <a:buSzTx/>
              <a:buFont typeface="Arial" panose="020B0604020202020204" pitchFamily="34" charset="0"/>
              <a:buChar char="•"/>
              <a:defRPr/>
            </a:pPr>
            <a:endParaRPr kumimoji="0" lang="zh-CN" altLang="en-US" sz="1800" b="1" i="0" u="none" strike="noStrike" kern="1200" cap="none" spc="0" normalizeH="0" baseline="0" noProof="0" dirty="0" smtClean="0">
              <a:ln>
                <a:noFill/>
              </a:ln>
              <a:solidFill>
                <a:schemeClr val="tx1">
                  <a:lumMod val="75000"/>
                  <a:lumOff val="25000"/>
                </a:schemeClr>
              </a:solidFill>
              <a:effectLst/>
              <a:uLnTx/>
              <a:uFillTx/>
              <a:latin typeface="Arial" panose="020B0604020202020204"/>
              <a:ea typeface="华文楷体" panose="02010600040101010101" charset="-122"/>
              <a:cs typeface="Arial" panose="020B0604020202020204" pitchFamily="34" charset="0"/>
            </a:endParaRPr>
          </a:p>
        </p:txBody>
      </p:sp>
      <p:sp>
        <p:nvSpPr>
          <p:cNvPr id="109" name="Textframe 67"/>
          <p:cNvSpPr txBox="1"/>
          <p:nvPr/>
        </p:nvSpPr>
        <p:spPr>
          <a:xfrm>
            <a:off x="5797465" y="1014675"/>
            <a:ext cx="3237372" cy="492443"/>
          </a:xfrm>
          <a:prstGeom prst="rect">
            <a:avLst/>
          </a:prstGeom>
          <a:noFill/>
          <a:ln w="9525">
            <a:noFill/>
          </a:ln>
        </p:spPr>
        <p:txBody>
          <a:bodyPr vert="horz" wrap="square" lIns="45720" tIns="0" rIns="0" bIns="0" rtlCol="0">
            <a:spAutoFit/>
          </a:bodyPr>
          <a:lstStyle/>
          <a:p>
            <a:pPr marL="1270" lvl="1" defTabSz="895350" latinLnBrk="1">
              <a:buClr>
                <a:srgbClr val="002960"/>
              </a:buClr>
              <a:buSzPct val="125000"/>
              <a:defRPr/>
            </a:pPr>
            <a:r>
              <a:rPr lang="zh-CN" altLang="en-US" sz="1600" b="1" dirty="0" smtClean="0">
                <a:solidFill>
                  <a:schemeClr val="tx1">
                    <a:lumMod val="75000"/>
                    <a:lumOff val="25000"/>
                  </a:schemeClr>
                </a:solidFill>
              </a:rPr>
              <a:t>文本</a:t>
            </a: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endParaRPr lang="en-US" altLang="zh-CN" sz="1600" b="1" dirty="0">
              <a:solidFill>
                <a:prstClr val="white"/>
              </a:solidFill>
            </a:endParaRPr>
          </a:p>
        </p:txBody>
      </p:sp>
      <p:sp>
        <p:nvSpPr>
          <p:cNvPr id="110" name="Textframe 67"/>
          <p:cNvSpPr txBox="1"/>
          <p:nvPr/>
        </p:nvSpPr>
        <p:spPr>
          <a:xfrm>
            <a:off x="6680230" y="1727534"/>
            <a:ext cx="2354607" cy="1231106"/>
          </a:xfrm>
          <a:prstGeom prst="rect">
            <a:avLst/>
          </a:prstGeom>
          <a:noFill/>
          <a:ln w="9525">
            <a:noFill/>
          </a:ln>
        </p:spPr>
        <p:txBody>
          <a:bodyPr vert="horz" wrap="square" lIns="45720" tIns="0" rIns="0" bIns="0" rtlCol="0">
            <a:spAutoFit/>
          </a:bodyPr>
          <a:lstStyle/>
          <a:p>
            <a:pPr marL="1270" lvl="1" defTabSz="895350" latinLnBrk="1">
              <a:buClr>
                <a:srgbClr val="002960"/>
              </a:buClr>
              <a:buSzPct val="125000"/>
              <a:defRPr/>
            </a:pP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marR="0" lvl="1" indent="0" algn="l" defTabSz="895350" rtl="0" eaLnBrk="1" fontAlgn="auto" latinLnBrk="1" hangingPunct="1">
              <a:lnSpc>
                <a:spcPct val="100000"/>
              </a:lnSpc>
              <a:spcBef>
                <a:spcPts val="0"/>
              </a:spcBef>
              <a:spcAft>
                <a:spcPts val="0"/>
              </a:spcAft>
              <a:buClr>
                <a:srgbClr val="002960"/>
              </a:buClr>
              <a:buSzPct val="125000"/>
              <a:buFontTx/>
              <a:buNone/>
              <a:defRPr/>
            </a:pPr>
            <a:endParaRPr lang="en-US" altLang="zh-CN" sz="1600" b="1" dirty="0" smtClean="0">
              <a:solidFill>
                <a:prstClr val="white"/>
              </a:solidFill>
              <a:latin typeface="Arial" panose="020B0604020202020204"/>
              <a:ea typeface="华文楷体" panose="02010600040101010101" charset="-122"/>
            </a:endParaRPr>
          </a:p>
        </p:txBody>
      </p:sp>
      <p:sp>
        <p:nvSpPr>
          <p:cNvPr id="111" name="Textframe 67"/>
          <p:cNvSpPr txBox="1"/>
          <p:nvPr/>
        </p:nvSpPr>
        <p:spPr>
          <a:xfrm>
            <a:off x="5708245" y="5362715"/>
            <a:ext cx="3392851" cy="861774"/>
          </a:xfrm>
          <a:prstGeom prst="rect">
            <a:avLst/>
          </a:prstGeom>
          <a:noFill/>
          <a:ln w="9525">
            <a:noFill/>
          </a:ln>
        </p:spPr>
        <p:txBody>
          <a:bodyPr vert="horz" wrap="square" lIns="45720" tIns="0" rIns="0" bIns="0" rtlCol="0">
            <a:spAutoFit/>
          </a:bodyPr>
          <a:lstStyle/>
          <a:p>
            <a:pPr marL="1270" lvl="1" defTabSz="895350" latinLnBrk="1">
              <a:buClr>
                <a:srgbClr val="002960"/>
              </a:buClr>
              <a:buSzPct val="125000"/>
              <a:defRPr/>
            </a:pPr>
            <a:r>
              <a:rPr lang="zh-CN" altLang="en-US" sz="1400" dirty="0" smtClean="0">
                <a:solidFill>
                  <a:prstClr val="black">
                    <a:lumMod val="50000"/>
                    <a:lumOff val="50000"/>
                  </a:prstClr>
                </a:solidFill>
              </a:rPr>
              <a:t>文本</a:t>
            </a:r>
            <a:r>
              <a:rPr lang="zh-CN" altLang="en-US" sz="1400" dirty="0">
                <a:solidFill>
                  <a:prstClr val="black">
                    <a:lumMod val="50000"/>
                    <a:lumOff val="50000"/>
                  </a:prstClr>
                </a:solidFill>
              </a:rPr>
              <a:t>文本</a:t>
            </a:r>
            <a:endParaRPr lang="zh-CN" altLang="en-US" sz="1400" dirty="0">
              <a:solidFill>
                <a:prstClr val="black">
                  <a:lumMod val="50000"/>
                  <a:lumOff val="50000"/>
                </a:prstClr>
              </a:solidFill>
            </a:endParaRPr>
          </a:p>
          <a:p>
            <a:pPr marL="1270" lvl="1" defTabSz="895350" latinLnBrk="1">
              <a:buClr>
                <a:srgbClr val="002960"/>
              </a:buClr>
              <a:buSzPct val="125000"/>
              <a:defRPr/>
            </a:pPr>
            <a:r>
              <a:rPr lang="zh-CN" altLang="en-US" sz="1400" dirty="0">
                <a:solidFill>
                  <a:prstClr val="black">
                    <a:lumMod val="50000"/>
                    <a:lumOff val="50000"/>
                  </a:prstClr>
                </a:solidFill>
              </a:rPr>
              <a:t>文本</a:t>
            </a:r>
            <a:endParaRPr lang="zh-CN" altLang="en-US" sz="1400" dirty="0">
              <a:solidFill>
                <a:prstClr val="black">
                  <a:lumMod val="50000"/>
                  <a:lumOff val="50000"/>
                </a:prstClr>
              </a:solidFill>
            </a:endParaRPr>
          </a:p>
          <a:p>
            <a:pPr marL="1270" lvl="1" defTabSz="895350" latinLnBrk="1">
              <a:buClr>
                <a:srgbClr val="002960"/>
              </a:buClr>
              <a:buSzPct val="125000"/>
              <a:defRPr/>
            </a:pPr>
            <a:r>
              <a:rPr lang="zh-CN" altLang="en-US" sz="1400" dirty="0">
                <a:solidFill>
                  <a:prstClr val="black">
                    <a:lumMod val="50000"/>
                    <a:lumOff val="50000"/>
                  </a:prstClr>
                </a:solidFill>
              </a:rPr>
              <a:t>文本</a:t>
            </a:r>
            <a:endParaRPr lang="zh-CN" altLang="en-US" sz="1400" dirty="0">
              <a:solidFill>
                <a:prstClr val="black">
                  <a:lumMod val="50000"/>
                  <a:lumOff val="50000"/>
                </a:prstClr>
              </a:solidFill>
            </a:endParaRPr>
          </a:p>
          <a:p>
            <a:pPr marL="1270" lvl="1" defTabSz="895350" latinLnBrk="1">
              <a:buClr>
                <a:srgbClr val="002960"/>
              </a:buClr>
              <a:buSzPct val="125000"/>
              <a:defRPr/>
            </a:pPr>
            <a:endParaRPr lang="zh-CN" altLang="en-US" sz="1400" dirty="0">
              <a:solidFill>
                <a:prstClr val="black">
                  <a:lumMod val="50000"/>
                  <a:lumOff val="50000"/>
                </a:prstClr>
              </a:solidFill>
            </a:endParaRPr>
          </a:p>
        </p:txBody>
      </p:sp>
      <p:sp>
        <p:nvSpPr>
          <p:cNvPr id="112" name="Textframe 67"/>
          <p:cNvSpPr txBox="1"/>
          <p:nvPr/>
        </p:nvSpPr>
        <p:spPr>
          <a:xfrm>
            <a:off x="627059" y="1053785"/>
            <a:ext cx="2786175" cy="430887"/>
          </a:xfrm>
          <a:prstGeom prst="rect">
            <a:avLst/>
          </a:prstGeom>
          <a:noFill/>
          <a:ln w="9525">
            <a:noFill/>
          </a:ln>
        </p:spPr>
        <p:txBody>
          <a:bodyPr vert="horz" wrap="square" lIns="45720" tIns="0" rIns="0" bIns="0" rtlCol="0">
            <a:spAutoFit/>
          </a:bodyPr>
          <a:lstStyle/>
          <a:p>
            <a:pPr marL="1270" lvl="1" defTabSz="895350" latinLnBrk="1">
              <a:buClr>
                <a:srgbClr val="002960"/>
              </a:buClr>
              <a:buSzPct val="125000"/>
              <a:defRPr/>
            </a:pPr>
            <a:r>
              <a:rPr lang="zh-CN" altLang="en-US" sz="1400" dirty="0" smtClean="0">
                <a:solidFill>
                  <a:prstClr val="black">
                    <a:lumMod val="50000"/>
                    <a:lumOff val="50000"/>
                  </a:prstClr>
                </a:solidFill>
              </a:rPr>
              <a:t>文本</a:t>
            </a:r>
            <a:r>
              <a:rPr lang="zh-CN" altLang="en-US" sz="1400" dirty="0">
                <a:solidFill>
                  <a:prstClr val="black">
                    <a:lumMod val="50000"/>
                    <a:lumOff val="50000"/>
                  </a:prstClr>
                </a:solidFill>
              </a:rPr>
              <a:t>文本</a:t>
            </a:r>
            <a:endParaRPr lang="zh-CN" altLang="en-US" sz="1400" dirty="0">
              <a:solidFill>
                <a:prstClr val="black">
                  <a:lumMod val="50000"/>
                  <a:lumOff val="50000"/>
                </a:prstClr>
              </a:solidFill>
            </a:endParaRPr>
          </a:p>
          <a:p>
            <a:pPr marL="1270" lvl="1" defTabSz="895350" latinLnBrk="1">
              <a:buClr>
                <a:srgbClr val="002960"/>
              </a:buClr>
              <a:buSzPct val="125000"/>
              <a:defRPr/>
            </a:pPr>
            <a:r>
              <a:rPr lang="zh-CN" altLang="en-US" sz="1400" dirty="0" smtClean="0">
                <a:solidFill>
                  <a:prstClr val="black">
                    <a:lumMod val="50000"/>
                    <a:lumOff val="50000"/>
                  </a:prstClr>
                </a:solidFill>
              </a:rPr>
              <a:t>文本</a:t>
            </a:r>
            <a:endParaRPr lang="zh-CN" altLang="en-US" sz="1400" dirty="0">
              <a:solidFill>
                <a:prstClr val="black">
                  <a:lumMod val="50000"/>
                  <a:lumOff val="50000"/>
                </a:prstClr>
              </a:solidFill>
            </a:endParaRPr>
          </a:p>
        </p:txBody>
      </p:sp>
      <p:sp>
        <p:nvSpPr>
          <p:cNvPr id="113" name="Textframe 67"/>
          <p:cNvSpPr txBox="1"/>
          <p:nvPr/>
        </p:nvSpPr>
        <p:spPr>
          <a:xfrm>
            <a:off x="626878" y="4316530"/>
            <a:ext cx="2603589" cy="1231106"/>
          </a:xfrm>
          <a:prstGeom prst="rect">
            <a:avLst/>
          </a:prstGeom>
          <a:noFill/>
          <a:ln w="9525">
            <a:noFill/>
          </a:ln>
        </p:spPr>
        <p:txBody>
          <a:bodyPr vert="horz" wrap="square" lIns="45720" tIns="0" rIns="0" bIns="0" rtlCol="0">
            <a:spAutoFit/>
          </a:bodyPr>
          <a:lstStyle/>
          <a:p>
            <a:pPr marL="1270" lvl="1" defTabSz="895350" latinLnBrk="1">
              <a:buClr>
                <a:srgbClr val="002960"/>
              </a:buClr>
              <a:buSzPct val="125000"/>
              <a:defRPr/>
            </a:pPr>
            <a:r>
              <a:rPr lang="zh-CN" altLang="en-US" sz="1600" b="1" dirty="0" smtClean="0">
                <a:solidFill>
                  <a:schemeClr val="tx1">
                    <a:lumMod val="75000"/>
                    <a:lumOff val="25000"/>
                  </a:schemeClr>
                </a:solidFill>
              </a:rPr>
              <a:t>文本</a:t>
            </a: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endParaRPr lang="en-US" altLang="zh-CN" sz="1600" b="1" dirty="0" smtClean="0">
              <a:solidFill>
                <a:schemeClr val="tx1">
                  <a:lumMod val="75000"/>
                  <a:lumOff val="25000"/>
                </a:schemeClr>
              </a:solidFill>
            </a:endParaRPr>
          </a:p>
          <a:p>
            <a:pPr marL="1270" lvl="1" defTabSz="895350" latinLnBrk="1">
              <a:buClr>
                <a:srgbClr val="002960"/>
              </a:buClr>
              <a:buSzPct val="125000"/>
              <a:defRPr/>
            </a:pPr>
            <a:endParaRPr lang="en-US" altLang="zh-CN" sz="1600" b="1" dirty="0">
              <a:solidFill>
                <a:schemeClr val="tx1">
                  <a:lumMod val="75000"/>
                  <a:lumOff val="25000"/>
                </a:schemeClr>
              </a:solidFill>
            </a:endParaRPr>
          </a:p>
          <a:p>
            <a:pPr marL="1270" lvl="1" defTabSz="895350" latinLnBrk="1">
              <a:buClr>
                <a:srgbClr val="002960"/>
              </a:buClr>
              <a:buSzPct val="125000"/>
              <a:defRPr/>
            </a:pP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r>
              <a:rPr lang="zh-CN" altLang="en-US" sz="1600" b="1" dirty="0" smtClean="0">
                <a:solidFill>
                  <a:schemeClr val="tx1">
                    <a:lumMod val="75000"/>
                    <a:lumOff val="25000"/>
                  </a:schemeClr>
                </a:solidFill>
              </a:rPr>
              <a:t>文本</a:t>
            </a:r>
            <a:endParaRPr lang="en-US" altLang="zh-CN" sz="1600" b="1" dirty="0">
              <a:solidFill>
                <a:schemeClr val="tx1">
                  <a:lumMod val="75000"/>
                  <a:lumOff val="25000"/>
                </a:schemeClr>
              </a:solidFill>
            </a:endParaRPr>
          </a:p>
        </p:txBody>
      </p:sp>
      <p:sp>
        <p:nvSpPr>
          <p:cNvPr id="114" name="Textframe 67"/>
          <p:cNvSpPr txBox="1"/>
          <p:nvPr/>
        </p:nvSpPr>
        <p:spPr>
          <a:xfrm>
            <a:off x="627059" y="2655881"/>
            <a:ext cx="1753018" cy="1477328"/>
          </a:xfrm>
          <a:prstGeom prst="rect">
            <a:avLst/>
          </a:prstGeom>
          <a:noFill/>
          <a:ln w="9525">
            <a:noFill/>
          </a:ln>
        </p:spPr>
        <p:txBody>
          <a:bodyPr vert="horz" wrap="square" lIns="45720" tIns="0" rIns="0" bIns="0" rtlCol="0">
            <a:spAutoFit/>
          </a:bodyPr>
          <a:lstStyle/>
          <a:p>
            <a:pPr marL="1270" lvl="1" defTabSz="895350" latinLnBrk="1">
              <a:buClr>
                <a:srgbClr val="002960"/>
              </a:buClr>
              <a:buSzPct val="125000"/>
              <a:defRPr/>
            </a:pPr>
            <a:r>
              <a:rPr lang="zh-CN" altLang="en-US" sz="1600" b="1" dirty="0" smtClean="0">
                <a:solidFill>
                  <a:schemeClr val="tx1">
                    <a:lumMod val="75000"/>
                    <a:lumOff val="25000"/>
                  </a:schemeClr>
                </a:solidFill>
              </a:rPr>
              <a:t>文本</a:t>
            </a: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endParaRPr lang="en-US" altLang="zh-CN" sz="1600" b="1" dirty="0" smtClean="0">
              <a:solidFill>
                <a:schemeClr val="tx1">
                  <a:lumMod val="75000"/>
                  <a:lumOff val="25000"/>
                </a:schemeClr>
              </a:solidFill>
            </a:endParaRPr>
          </a:p>
          <a:p>
            <a:pPr marL="1270" lvl="1" defTabSz="895350" latinLnBrk="1">
              <a:buClr>
                <a:srgbClr val="002960"/>
              </a:buClr>
              <a:buSzPct val="125000"/>
              <a:defRPr/>
            </a:pPr>
            <a:endParaRPr lang="en-US" altLang="zh-CN" sz="1600" b="1" dirty="0">
              <a:solidFill>
                <a:schemeClr val="tx1">
                  <a:lumMod val="75000"/>
                  <a:lumOff val="25000"/>
                </a:schemeClr>
              </a:solidFill>
            </a:endParaRPr>
          </a:p>
          <a:p>
            <a:pPr marL="1270" lvl="1" defTabSz="895350" latinLnBrk="1">
              <a:buClr>
                <a:srgbClr val="002960"/>
              </a:buClr>
              <a:buSzPct val="125000"/>
              <a:defRPr/>
            </a:pP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endParaRPr lang="en-US" altLang="zh-CN" sz="1600" b="1" dirty="0">
              <a:solidFill>
                <a:prstClr val="white"/>
              </a:solidFill>
            </a:endParaRPr>
          </a:p>
        </p:txBody>
      </p:sp>
      <p:sp>
        <p:nvSpPr>
          <p:cNvPr id="115" name="Textframe 67"/>
          <p:cNvSpPr txBox="1"/>
          <p:nvPr/>
        </p:nvSpPr>
        <p:spPr>
          <a:xfrm>
            <a:off x="627058" y="5731557"/>
            <a:ext cx="3406793" cy="246221"/>
          </a:xfrm>
          <a:prstGeom prst="rect">
            <a:avLst/>
          </a:prstGeom>
          <a:noFill/>
          <a:ln w="9525">
            <a:noFill/>
          </a:ln>
        </p:spPr>
        <p:txBody>
          <a:bodyPr vert="horz" wrap="square" lIns="45720" tIns="0" rIns="0" bIns="0" rtlCol="0">
            <a:spAutoFit/>
          </a:bodyPr>
          <a:lstStyle/>
          <a:p>
            <a:pPr marL="1270" lvl="1" defTabSz="895350" latinLnBrk="1">
              <a:buClr>
                <a:srgbClr val="002960"/>
              </a:buClr>
              <a:buSzPct val="125000"/>
              <a:defRPr/>
            </a:pPr>
            <a:r>
              <a:rPr lang="zh-CN" altLang="en-US" sz="1600" b="1" dirty="0" smtClean="0">
                <a:solidFill>
                  <a:schemeClr val="tx1">
                    <a:lumMod val="75000"/>
                    <a:lumOff val="25000"/>
                  </a:schemeClr>
                </a:solidFill>
              </a:rPr>
              <a:t>文本文本</a:t>
            </a:r>
            <a:endParaRPr lang="en-US" altLang="zh-CN" sz="1600" b="1" dirty="0">
              <a:solidFill>
                <a:schemeClr val="tx1">
                  <a:lumMod val="75000"/>
                  <a:lumOff val="25000"/>
                </a:schemeClr>
              </a:solidFill>
            </a:endParaRPr>
          </a:p>
        </p:txBody>
      </p:sp>
      <p:sp>
        <p:nvSpPr>
          <p:cNvPr id="116" name="Textframe 67"/>
          <p:cNvSpPr txBox="1"/>
          <p:nvPr/>
        </p:nvSpPr>
        <p:spPr>
          <a:xfrm>
            <a:off x="627059" y="1633856"/>
            <a:ext cx="2243969" cy="646331"/>
          </a:xfrm>
          <a:prstGeom prst="rect">
            <a:avLst/>
          </a:prstGeom>
          <a:noFill/>
          <a:ln w="9525">
            <a:noFill/>
          </a:ln>
        </p:spPr>
        <p:txBody>
          <a:bodyPr vert="horz" wrap="square" lIns="45720" tIns="0" rIns="0" bIns="0" rtlCol="0">
            <a:spAutoFit/>
          </a:bodyPr>
          <a:lstStyle/>
          <a:p>
            <a:pPr marL="1270" lvl="1" defTabSz="895350" latinLnBrk="1">
              <a:buClr>
                <a:srgbClr val="002960"/>
              </a:buClr>
              <a:buSzPct val="125000"/>
              <a:defRPr/>
            </a:pPr>
            <a:r>
              <a:rPr lang="zh-CN" altLang="en-US" sz="1400" dirty="0" smtClean="0">
                <a:solidFill>
                  <a:prstClr val="black">
                    <a:lumMod val="50000"/>
                    <a:lumOff val="50000"/>
                  </a:prstClr>
                </a:solidFill>
              </a:rPr>
              <a:t>文本</a:t>
            </a:r>
            <a:r>
              <a:rPr lang="zh-CN" altLang="en-US" sz="1400" dirty="0">
                <a:solidFill>
                  <a:prstClr val="black">
                    <a:lumMod val="50000"/>
                    <a:lumOff val="50000"/>
                  </a:prstClr>
                </a:solidFill>
              </a:rPr>
              <a:t>文本</a:t>
            </a:r>
            <a:endParaRPr lang="zh-CN" altLang="en-US" sz="1400" dirty="0">
              <a:solidFill>
                <a:prstClr val="black">
                  <a:lumMod val="50000"/>
                  <a:lumOff val="50000"/>
                </a:prstClr>
              </a:solidFill>
            </a:endParaRPr>
          </a:p>
          <a:p>
            <a:pPr marL="1270" lvl="1" defTabSz="895350" latinLnBrk="1">
              <a:buClr>
                <a:srgbClr val="002960"/>
              </a:buClr>
              <a:buSzPct val="125000"/>
              <a:defRPr/>
            </a:pPr>
            <a:r>
              <a:rPr lang="zh-CN" altLang="en-US" sz="1400" dirty="0">
                <a:solidFill>
                  <a:prstClr val="black">
                    <a:lumMod val="50000"/>
                    <a:lumOff val="50000"/>
                  </a:prstClr>
                </a:solidFill>
              </a:rPr>
              <a:t>文本</a:t>
            </a:r>
            <a:endParaRPr lang="zh-CN" altLang="en-US" sz="1400" dirty="0">
              <a:solidFill>
                <a:prstClr val="black">
                  <a:lumMod val="50000"/>
                  <a:lumOff val="50000"/>
                </a:prstClr>
              </a:solidFill>
            </a:endParaRPr>
          </a:p>
          <a:p>
            <a:pPr marL="1270" lvl="1" defTabSz="895350" latinLnBrk="1">
              <a:buClr>
                <a:srgbClr val="002960"/>
              </a:buClr>
              <a:buSzPct val="125000"/>
              <a:defRPr/>
            </a:pPr>
            <a:endParaRPr lang="zh-CN" altLang="en-US" sz="1400" dirty="0">
              <a:solidFill>
                <a:prstClr val="black">
                  <a:lumMod val="50000"/>
                  <a:lumOff val="50000"/>
                </a:prstClr>
              </a:solidFill>
            </a:endParaRPr>
          </a:p>
        </p:txBody>
      </p:sp>
      <p:sp>
        <p:nvSpPr>
          <p:cNvPr id="117" name="Textframe 67"/>
          <p:cNvSpPr txBox="1"/>
          <p:nvPr/>
        </p:nvSpPr>
        <p:spPr>
          <a:xfrm>
            <a:off x="6944140" y="3312583"/>
            <a:ext cx="2024436" cy="1477328"/>
          </a:xfrm>
          <a:prstGeom prst="rect">
            <a:avLst/>
          </a:prstGeom>
          <a:noFill/>
          <a:ln w="9525">
            <a:noFill/>
          </a:ln>
        </p:spPr>
        <p:txBody>
          <a:bodyPr vert="horz" wrap="square" lIns="45720" tIns="0" rIns="0" bIns="0" rtlCol="0">
            <a:spAutoFit/>
          </a:bodyPr>
          <a:lstStyle/>
          <a:p>
            <a:pPr marL="1270" lvl="1" defTabSz="895350" latinLnBrk="1">
              <a:buClr>
                <a:srgbClr val="002960"/>
              </a:buClr>
              <a:buSzPct val="125000"/>
              <a:defRPr/>
            </a:pPr>
            <a:r>
              <a:rPr lang="zh-CN" altLang="en-US" sz="1600" b="1" dirty="0" smtClean="0">
                <a:solidFill>
                  <a:schemeClr val="tx1">
                    <a:lumMod val="75000"/>
                    <a:lumOff val="25000"/>
                  </a:schemeClr>
                </a:solidFill>
              </a:rPr>
              <a:t>文本</a:t>
            </a: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endParaRPr lang="en-US" altLang="zh-CN" sz="1600" b="1" dirty="0" smtClean="0">
              <a:solidFill>
                <a:schemeClr val="tx1">
                  <a:lumMod val="75000"/>
                  <a:lumOff val="25000"/>
                </a:schemeClr>
              </a:solidFill>
            </a:endParaRPr>
          </a:p>
          <a:p>
            <a:pPr marL="1270" lvl="1" defTabSz="895350" latinLnBrk="1">
              <a:buClr>
                <a:srgbClr val="002960"/>
              </a:buClr>
              <a:buSzPct val="125000"/>
              <a:defRPr/>
            </a:pP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r>
              <a:rPr lang="zh-CN" altLang="en-US" sz="1600" b="1" dirty="0">
                <a:solidFill>
                  <a:schemeClr val="tx1">
                    <a:lumMod val="75000"/>
                    <a:lumOff val="25000"/>
                  </a:schemeClr>
                </a:solidFill>
              </a:rPr>
              <a:t>文本</a:t>
            </a:r>
            <a:endParaRPr lang="en-US" altLang="zh-CN" sz="1600" b="1" dirty="0">
              <a:solidFill>
                <a:schemeClr val="tx1">
                  <a:lumMod val="75000"/>
                  <a:lumOff val="25000"/>
                </a:schemeClr>
              </a:solidFill>
            </a:endParaRPr>
          </a:p>
          <a:p>
            <a:pPr marL="1270" lvl="1" defTabSz="895350" latinLnBrk="1">
              <a:buClr>
                <a:srgbClr val="002960"/>
              </a:buClr>
              <a:buSzPct val="125000"/>
              <a:defRPr/>
            </a:pPr>
            <a:r>
              <a:rPr lang="zh-CN" altLang="en-US" sz="1600" b="1" dirty="0" smtClean="0">
                <a:solidFill>
                  <a:schemeClr val="tx1">
                    <a:lumMod val="75000"/>
                    <a:lumOff val="25000"/>
                  </a:schemeClr>
                </a:solidFill>
              </a:rPr>
              <a:t>文本</a:t>
            </a:r>
            <a:endParaRPr lang="en-US" altLang="zh-CN" sz="1600" b="1" dirty="0">
              <a:solidFill>
                <a:schemeClr val="tx1">
                  <a:lumMod val="75000"/>
                  <a:lumOff val="25000"/>
                </a:schemeClr>
              </a:solidFill>
            </a:endParaRPr>
          </a:p>
        </p:txBody>
      </p:sp>
      <p:pic>
        <p:nvPicPr>
          <p:cNvPr id="118" name="图片 117"/>
          <p:cNvPicPr>
            <a:picLocks noChangeAspect="1"/>
          </p:cNvPicPr>
          <p:nvPr/>
        </p:nvPicPr>
        <p:blipFill>
          <a:blip r:embed="rId6" cstate="print"/>
          <a:stretch>
            <a:fillRect/>
          </a:stretch>
        </p:blipFill>
        <p:spPr>
          <a:xfrm>
            <a:off x="11508006" y="3842803"/>
            <a:ext cx="288000" cy="288000"/>
          </a:xfrm>
          <a:prstGeom prst="rect">
            <a:avLst/>
          </a:prstGeom>
        </p:spPr>
      </p:pic>
      <p:pic>
        <p:nvPicPr>
          <p:cNvPr id="119" name="Picture 4" descr="D:\Users\zhengshijia227\Downloads\表单引擎 (1).png"/>
          <p:cNvPicPr>
            <a:picLocks noChangeAspect="1" noChangeArrowheads="1"/>
          </p:cNvPicPr>
          <p:nvPr/>
        </p:nvPicPr>
        <p:blipFill>
          <a:blip r:embed="rId7" cstate="screen"/>
          <a:srcRect/>
          <a:stretch>
            <a:fillRect/>
          </a:stretch>
        </p:blipFill>
        <p:spPr bwMode="auto">
          <a:xfrm>
            <a:off x="11499534" y="1271300"/>
            <a:ext cx="288000" cy="287055"/>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4" descr="D:\Users\zhengshijia227\Downloads\表单引擎 (1).png"/>
          <p:cNvPicPr>
            <a:picLocks noChangeAspect="1" noChangeArrowheads="1"/>
          </p:cNvPicPr>
          <p:nvPr/>
        </p:nvPicPr>
        <p:blipFill>
          <a:blip r:embed="rId7" cstate="screen"/>
          <a:srcRect/>
          <a:stretch>
            <a:fillRect/>
          </a:stretch>
        </p:blipFill>
        <p:spPr bwMode="auto">
          <a:xfrm>
            <a:off x="5549221" y="1073805"/>
            <a:ext cx="288000" cy="287055"/>
          </a:xfrm>
          <a:prstGeom prst="rect">
            <a:avLst/>
          </a:prstGeom>
          <a:noFill/>
          <a:extLst>
            <a:ext uri="{909E8E84-426E-40DD-AFC4-6F175D3DCCD1}">
              <a14:hiddenFill xmlns:a14="http://schemas.microsoft.com/office/drawing/2010/main">
                <a:solidFill>
                  <a:srgbClr val="FFFFFF"/>
                </a:solidFill>
              </a14:hiddenFill>
            </a:ext>
          </a:extLst>
        </p:spPr>
      </p:pic>
      <p:pic>
        <p:nvPicPr>
          <p:cNvPr id="121" name="图片 120"/>
          <p:cNvPicPr>
            <a:picLocks noChangeAspect="1"/>
          </p:cNvPicPr>
          <p:nvPr/>
        </p:nvPicPr>
        <p:blipFill>
          <a:blip r:embed="rId6" cstate="print"/>
          <a:stretch>
            <a:fillRect/>
          </a:stretch>
        </p:blipFill>
        <p:spPr>
          <a:xfrm>
            <a:off x="6412541" y="2236926"/>
            <a:ext cx="288000" cy="288000"/>
          </a:xfrm>
          <a:prstGeom prst="rect">
            <a:avLst/>
          </a:prstGeom>
        </p:spPr>
      </p:pic>
      <p:pic>
        <p:nvPicPr>
          <p:cNvPr id="122" name="Picture 4" descr="D:\Users\zhengshijia227\Downloads\表单引擎 (1).png"/>
          <p:cNvPicPr>
            <a:picLocks noChangeAspect="1" noChangeArrowheads="1"/>
          </p:cNvPicPr>
          <p:nvPr/>
        </p:nvPicPr>
        <p:blipFill>
          <a:blip r:embed="rId7" cstate="screen"/>
          <a:srcRect/>
          <a:stretch>
            <a:fillRect/>
          </a:stretch>
        </p:blipFill>
        <p:spPr bwMode="auto">
          <a:xfrm>
            <a:off x="6398667" y="1733493"/>
            <a:ext cx="288000" cy="287055"/>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4" descr="D:\Users\zhengshijia227\Downloads\表单引擎 (1).png"/>
          <p:cNvPicPr>
            <a:picLocks noChangeAspect="1" noChangeArrowheads="1"/>
          </p:cNvPicPr>
          <p:nvPr/>
        </p:nvPicPr>
        <p:blipFill>
          <a:blip r:embed="rId7" cstate="screen"/>
          <a:srcRect/>
          <a:stretch>
            <a:fillRect/>
          </a:stretch>
        </p:blipFill>
        <p:spPr bwMode="auto">
          <a:xfrm>
            <a:off x="6692400" y="3312845"/>
            <a:ext cx="288000" cy="287055"/>
          </a:xfrm>
          <a:prstGeom prst="rect">
            <a:avLst/>
          </a:prstGeom>
          <a:noFill/>
          <a:extLst>
            <a:ext uri="{909E8E84-426E-40DD-AFC4-6F175D3DCCD1}">
              <a14:hiddenFill xmlns:a14="http://schemas.microsoft.com/office/drawing/2010/main">
                <a:solidFill>
                  <a:srgbClr val="FFFFFF"/>
                </a:solidFill>
              </a14:hiddenFill>
            </a:ext>
          </a:extLst>
        </p:spPr>
      </p:pic>
      <p:pic>
        <p:nvPicPr>
          <p:cNvPr id="124" name="图片 123"/>
          <p:cNvPicPr>
            <a:picLocks noChangeAspect="1"/>
          </p:cNvPicPr>
          <p:nvPr/>
        </p:nvPicPr>
        <p:blipFill>
          <a:blip r:embed="rId6" cstate="print"/>
          <a:stretch>
            <a:fillRect/>
          </a:stretch>
        </p:blipFill>
        <p:spPr>
          <a:xfrm>
            <a:off x="6714569" y="4272154"/>
            <a:ext cx="288000" cy="288000"/>
          </a:xfrm>
          <a:prstGeom prst="rect">
            <a:avLst/>
          </a:prstGeom>
        </p:spPr>
      </p:pic>
      <p:pic>
        <p:nvPicPr>
          <p:cNvPr id="125" name="Picture 4" descr="D:\Users\zhengshijia227\Downloads\表单引擎 (1).png"/>
          <p:cNvPicPr>
            <a:picLocks noChangeAspect="1" noChangeArrowheads="1"/>
          </p:cNvPicPr>
          <p:nvPr/>
        </p:nvPicPr>
        <p:blipFill>
          <a:blip r:embed="rId7" cstate="screen"/>
          <a:srcRect/>
          <a:stretch>
            <a:fillRect/>
          </a:stretch>
        </p:blipFill>
        <p:spPr bwMode="auto">
          <a:xfrm>
            <a:off x="378635" y="2650050"/>
            <a:ext cx="288000" cy="287055"/>
          </a:xfrm>
          <a:prstGeom prst="rect">
            <a:avLst/>
          </a:prstGeom>
          <a:noFill/>
        </p:spPr>
      </p:pic>
      <p:pic>
        <p:nvPicPr>
          <p:cNvPr id="126" name="图片 125"/>
          <p:cNvPicPr>
            <a:picLocks noChangeAspect="1"/>
          </p:cNvPicPr>
          <p:nvPr/>
        </p:nvPicPr>
        <p:blipFill>
          <a:blip r:embed="rId6" cstate="print"/>
          <a:stretch>
            <a:fillRect/>
          </a:stretch>
        </p:blipFill>
        <p:spPr>
          <a:xfrm>
            <a:off x="378635" y="3341859"/>
            <a:ext cx="288000" cy="288000"/>
          </a:xfrm>
          <a:prstGeom prst="rect">
            <a:avLst/>
          </a:prstGeom>
        </p:spPr>
      </p:pic>
      <p:pic>
        <p:nvPicPr>
          <p:cNvPr id="127" name="Picture 4" descr="D:\Users\zhengshijia227\Downloads\表单引擎 (1).png"/>
          <p:cNvPicPr>
            <a:picLocks noChangeAspect="1" noChangeArrowheads="1"/>
          </p:cNvPicPr>
          <p:nvPr/>
        </p:nvPicPr>
        <p:blipFill>
          <a:blip r:embed="rId7" cstate="screen"/>
          <a:srcRect/>
          <a:stretch>
            <a:fillRect/>
          </a:stretch>
        </p:blipFill>
        <p:spPr bwMode="auto">
          <a:xfrm>
            <a:off x="378635" y="4321062"/>
            <a:ext cx="288000" cy="287055"/>
          </a:xfrm>
          <a:prstGeom prst="rect">
            <a:avLst/>
          </a:prstGeom>
          <a:noFill/>
          <a:extLst>
            <a:ext uri="{909E8E84-426E-40DD-AFC4-6F175D3DCCD1}">
              <a14:hiddenFill xmlns:a14="http://schemas.microsoft.com/office/drawing/2010/main">
                <a:solidFill>
                  <a:srgbClr val="FFFFFF"/>
                </a:solidFill>
              </a14:hiddenFill>
            </a:ext>
          </a:extLst>
        </p:spPr>
      </p:pic>
      <p:pic>
        <p:nvPicPr>
          <p:cNvPr id="128" name="图片 127"/>
          <p:cNvPicPr>
            <a:picLocks noChangeAspect="1"/>
          </p:cNvPicPr>
          <p:nvPr/>
        </p:nvPicPr>
        <p:blipFill>
          <a:blip r:embed="rId6" cstate="print"/>
          <a:stretch>
            <a:fillRect/>
          </a:stretch>
        </p:blipFill>
        <p:spPr>
          <a:xfrm>
            <a:off x="378635" y="5046263"/>
            <a:ext cx="288000" cy="288000"/>
          </a:xfrm>
          <a:prstGeom prst="rect">
            <a:avLst/>
          </a:prstGeom>
        </p:spPr>
      </p:pic>
      <p:pic>
        <p:nvPicPr>
          <p:cNvPr id="129" name="图片 128"/>
          <p:cNvPicPr>
            <a:picLocks noChangeAspect="1"/>
          </p:cNvPicPr>
          <p:nvPr/>
        </p:nvPicPr>
        <p:blipFill>
          <a:blip r:embed="rId6" cstate="print"/>
          <a:stretch>
            <a:fillRect/>
          </a:stretch>
        </p:blipFill>
        <p:spPr>
          <a:xfrm>
            <a:off x="378635" y="5692959"/>
            <a:ext cx="288000" cy="288000"/>
          </a:xfrm>
          <a:prstGeom prst="rect">
            <a:avLst/>
          </a:prstGeom>
        </p:spPr>
      </p:pic>
      <p:sp>
        <p:nvSpPr>
          <p:cNvPr id="130" name="Rectangle 184"/>
          <p:cNvSpPr/>
          <p:nvPr/>
        </p:nvSpPr>
        <p:spPr>
          <a:xfrm>
            <a:off x="220052" y="935570"/>
            <a:ext cx="8921197" cy="5372508"/>
          </a:xfrm>
          <a:prstGeom prst="rect">
            <a:avLst/>
          </a:prstGeom>
          <a:noFill/>
          <a:ln>
            <a:solidFill>
              <a:srgbClr val="FF6600"/>
            </a:solidFill>
          </a:ln>
        </p:spPr>
        <p:txBody>
          <a:bodyPr wrap="square" lIns="0" tIns="13799" rIns="0" bIns="13799" anchor="ctr">
            <a:noAutofit/>
          </a:bodyPr>
          <a:lstStyle/>
          <a:p>
            <a:pPr marL="171450" marR="0" lvl="2" indent="-171450" algn="l" defTabSz="914400" rtl="0" eaLnBrk="1" fontAlgn="base" latinLnBrk="1" hangingPunct="1">
              <a:lnSpc>
                <a:spcPct val="100000"/>
              </a:lnSpc>
              <a:spcBef>
                <a:spcPct val="30000"/>
              </a:spcBef>
              <a:spcAft>
                <a:spcPct val="0"/>
              </a:spcAft>
              <a:buClr>
                <a:srgbClr val="177B57"/>
              </a:buClr>
              <a:buSzTx/>
              <a:buFont typeface="Arial" panose="020B0604020202020204" pitchFamily="34" charset="0"/>
              <a:buChar char="•"/>
              <a:defRPr/>
            </a:pPr>
            <a:endParaRPr kumimoji="0" lang="en-US" sz="1400" b="1"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Arial" panose="020B0604020202020204" pitchFamily="34" charset="0"/>
            </a:endParaRPr>
          </a:p>
        </p:txBody>
      </p:sp>
      <p:sp>
        <p:nvSpPr>
          <p:cNvPr id="13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痛点</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3"/>
          <p:cNvSpPr/>
          <p:nvPr/>
        </p:nvSpPr>
        <p:spPr>
          <a:xfrm>
            <a:off x="1001311" y="1024025"/>
            <a:ext cx="2437435" cy="406393"/>
          </a:xfrm>
          <a:prstGeom prst="rect">
            <a:avLst/>
          </a:prstGeom>
        </p:spPr>
        <p:txBody>
          <a:bodyPr wrap="square">
            <a:spAutoFit/>
          </a:bodyPr>
          <a:lstStyle/>
          <a:p>
            <a:pPr marL="0" marR="0" lvl="0" indent="0" algn="ctr" defTabSz="951865" rtl="0" eaLnBrk="1" fontAlgn="auto" latinLnBrk="0" hangingPunct="1">
              <a:lnSpc>
                <a:spcPct val="100000"/>
              </a:lnSpc>
              <a:spcBef>
                <a:spcPts val="0"/>
              </a:spcBef>
              <a:spcAft>
                <a:spcPts val="0"/>
              </a:spcAft>
              <a:buClrTx/>
              <a:buSzTx/>
              <a:buFontTx/>
              <a:buNone/>
              <a:defRPr/>
            </a:pPr>
            <a:r>
              <a:rPr kumimoji="0" lang="zh-CN" altLang="en-US" sz="2040" b="1" i="0" u="none" strike="noStrike" kern="1200" cap="none" spc="0" normalizeH="0" baseline="0" noProof="0" dirty="0">
                <a:ln>
                  <a:noFill/>
                </a:ln>
                <a:solidFill>
                  <a:srgbClr val="F05A23"/>
                </a:solidFill>
                <a:effectLst/>
                <a:uLnTx/>
                <a:uFillTx/>
                <a:latin typeface="Arial" panose="020B0604020202020204" pitchFamily="34" charset="0"/>
                <a:ea typeface="楷体" panose="02010609060101010101" pitchFamily="49" charset="-122"/>
                <a:cs typeface="+mn-cs"/>
              </a:rPr>
              <a:t>构建因子体系</a:t>
            </a:r>
            <a:endParaRPr kumimoji="0" lang="en-US" altLang="zh-CN" sz="2040" b="1" i="0" u="none" strike="noStrike" kern="1200" cap="none" spc="0" normalizeH="0" baseline="0" noProof="0" dirty="0">
              <a:ln>
                <a:noFill/>
              </a:ln>
              <a:solidFill>
                <a:srgbClr val="F05A23"/>
              </a:solidFill>
              <a:effectLst/>
              <a:uLnTx/>
              <a:uFillTx/>
              <a:latin typeface="Arial" panose="020B0604020202020204" pitchFamily="34" charset="0"/>
              <a:ea typeface="楷体" panose="02010609060101010101" pitchFamily="49" charset="-122"/>
              <a:cs typeface="+mn-cs"/>
            </a:endParaRPr>
          </a:p>
        </p:txBody>
      </p:sp>
      <p:sp>
        <p:nvSpPr>
          <p:cNvPr id="4" name="TextBox 55"/>
          <p:cNvSpPr txBox="1"/>
          <p:nvPr/>
        </p:nvSpPr>
        <p:spPr>
          <a:xfrm>
            <a:off x="1162792" y="2753629"/>
            <a:ext cx="991743" cy="330581"/>
          </a:xfrm>
          <a:prstGeom prst="rect">
            <a:avLst/>
          </a:prstGeom>
          <a:solidFill>
            <a:srgbClr val="F05A23"/>
          </a:solidFill>
          <a:ln>
            <a:solidFill>
              <a:srgbClr val="FFFFFF"/>
            </a:solid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r>
              <a:rPr kumimoji="0" lang="en-US" altLang="zh-CN" sz="143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华文楷体" panose="02010600040101010101" charset="-122"/>
              </a:rPr>
              <a:t>xx</a:t>
            </a:r>
            <a:r>
              <a:rPr kumimoji="0" lang="zh-CN" altLang="en-US" sz="143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华文楷体" panose="02010600040101010101" charset="-122"/>
              </a:rPr>
              <a:t>能力</a:t>
            </a: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sp>
        <p:nvSpPr>
          <p:cNvPr id="5" name="TextBox 56"/>
          <p:cNvSpPr txBox="1"/>
          <p:nvPr/>
        </p:nvSpPr>
        <p:spPr>
          <a:xfrm>
            <a:off x="1162792" y="3580003"/>
            <a:ext cx="991743" cy="330581"/>
          </a:xfrm>
          <a:prstGeom prst="rect">
            <a:avLst/>
          </a:prstGeom>
          <a:solidFill>
            <a:srgbClr val="F05A23"/>
          </a:solidFill>
          <a:ln>
            <a:solidFill>
              <a:srgbClr val="FFFFFF"/>
            </a:solid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r>
              <a:rPr kumimoji="0" lang="en-US" altLang="zh-CN" sz="143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华文楷体" panose="02010600040101010101" charset="-122"/>
              </a:rPr>
              <a:t>xx</a:t>
            </a:r>
            <a:r>
              <a:rPr kumimoji="0" lang="zh-CN" altLang="en-US" sz="143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华文楷体" panose="02010600040101010101" charset="-122"/>
              </a:rPr>
              <a:t>能力</a:t>
            </a: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cxnSp>
        <p:nvCxnSpPr>
          <p:cNvPr id="6" name="直接连接符 21"/>
          <p:cNvCxnSpPr/>
          <p:nvPr/>
        </p:nvCxnSpPr>
        <p:spPr>
          <a:xfrm flipV="1">
            <a:off x="811862" y="2945874"/>
            <a:ext cx="350930" cy="932088"/>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7" name="直接连接符 22"/>
          <p:cNvCxnSpPr/>
          <p:nvPr/>
        </p:nvCxnSpPr>
        <p:spPr>
          <a:xfrm flipV="1">
            <a:off x="811862" y="3862690"/>
            <a:ext cx="350930" cy="15272"/>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sp>
        <p:nvSpPr>
          <p:cNvPr id="8" name="TextBox 69"/>
          <p:cNvSpPr txBox="1"/>
          <p:nvPr/>
        </p:nvSpPr>
        <p:spPr>
          <a:xfrm>
            <a:off x="2463189" y="1907218"/>
            <a:ext cx="955012" cy="330581"/>
          </a:xfrm>
          <a:prstGeom prst="rect">
            <a:avLst/>
          </a:prstGeom>
          <a:solidFill>
            <a:srgbClr val="F05A23"/>
          </a:solidFill>
          <a:ln>
            <a:solidFill>
              <a:srgbClr val="F05A23"/>
            </a:solid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sp>
        <p:nvSpPr>
          <p:cNvPr id="9" name="TextBox 70"/>
          <p:cNvSpPr txBox="1"/>
          <p:nvPr/>
        </p:nvSpPr>
        <p:spPr>
          <a:xfrm>
            <a:off x="2463189" y="2394325"/>
            <a:ext cx="955012" cy="330581"/>
          </a:xfrm>
          <a:prstGeom prst="rect">
            <a:avLst/>
          </a:prstGeom>
          <a:solidFill>
            <a:srgbClr val="F05A23"/>
          </a:solidFill>
          <a:ln>
            <a:solidFill>
              <a:srgbClr val="F05A23"/>
            </a:solidFill>
          </a:ln>
        </p:spPr>
        <p:txBody>
          <a:bodyPr wrap="none" rtlCol="0" anchor="ctr">
            <a:noAutofit/>
          </a:bodyPr>
          <a:lstStyle/>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sp>
        <p:nvSpPr>
          <p:cNvPr id="10" name="TextBox 78"/>
          <p:cNvSpPr txBox="1"/>
          <p:nvPr/>
        </p:nvSpPr>
        <p:spPr>
          <a:xfrm>
            <a:off x="2463189" y="2868144"/>
            <a:ext cx="955012" cy="330581"/>
          </a:xfrm>
          <a:prstGeom prst="rect">
            <a:avLst/>
          </a:prstGeom>
          <a:solidFill>
            <a:srgbClr val="F05A23"/>
          </a:solidFill>
          <a:ln>
            <a:solidFill>
              <a:srgbClr val="F05A23"/>
            </a:solid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sp>
        <p:nvSpPr>
          <p:cNvPr id="11" name="TextBox 82"/>
          <p:cNvSpPr txBox="1"/>
          <p:nvPr/>
        </p:nvSpPr>
        <p:spPr>
          <a:xfrm>
            <a:off x="1162792" y="4325170"/>
            <a:ext cx="991743" cy="330581"/>
          </a:xfrm>
          <a:prstGeom prst="rect">
            <a:avLst/>
          </a:prstGeom>
          <a:solidFill>
            <a:srgbClr val="F05A23"/>
          </a:solidFill>
          <a:ln>
            <a:solidFill>
              <a:srgbClr val="FFFFFF"/>
            </a:solid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r>
              <a:rPr kumimoji="0" lang="zh-CN" alt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rPr>
              <a:t>个人情况</a:t>
            </a: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sp>
        <p:nvSpPr>
          <p:cNvPr id="12" name="TextBox 85"/>
          <p:cNvSpPr txBox="1"/>
          <p:nvPr/>
        </p:nvSpPr>
        <p:spPr>
          <a:xfrm>
            <a:off x="2463189" y="3548832"/>
            <a:ext cx="955012" cy="330581"/>
          </a:xfrm>
          <a:prstGeom prst="rect">
            <a:avLst/>
          </a:prstGeom>
          <a:solidFill>
            <a:srgbClr val="F05A23"/>
          </a:solidFill>
          <a:ln>
            <a:solidFill>
              <a:srgbClr val="F05A23"/>
            </a:solid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sp>
        <p:nvSpPr>
          <p:cNvPr id="13" name="TextBox 86"/>
          <p:cNvSpPr txBox="1"/>
          <p:nvPr/>
        </p:nvSpPr>
        <p:spPr>
          <a:xfrm>
            <a:off x="2463189" y="3976784"/>
            <a:ext cx="955012" cy="330581"/>
          </a:xfrm>
          <a:prstGeom prst="rect">
            <a:avLst/>
          </a:prstGeom>
          <a:solidFill>
            <a:srgbClr val="F05A23"/>
          </a:solidFill>
          <a:ln>
            <a:solidFill>
              <a:srgbClr val="F05A23"/>
            </a:solid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cxnSp>
        <p:nvCxnSpPr>
          <p:cNvPr id="14" name="直接连接符 31"/>
          <p:cNvCxnSpPr>
            <a:endCxn id="11" idx="1"/>
          </p:cNvCxnSpPr>
          <p:nvPr/>
        </p:nvCxnSpPr>
        <p:spPr>
          <a:xfrm>
            <a:off x="811862" y="3877962"/>
            <a:ext cx="350930" cy="612499"/>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15" name="直接连接符 32"/>
          <p:cNvCxnSpPr>
            <a:endCxn id="35" idx="1"/>
          </p:cNvCxnSpPr>
          <p:nvPr/>
        </p:nvCxnSpPr>
        <p:spPr>
          <a:xfrm>
            <a:off x="811862" y="3877961"/>
            <a:ext cx="350930" cy="1307330"/>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sp>
        <p:nvSpPr>
          <p:cNvPr id="16" name="TextBox 88"/>
          <p:cNvSpPr txBox="1"/>
          <p:nvPr/>
        </p:nvSpPr>
        <p:spPr>
          <a:xfrm>
            <a:off x="2505042" y="3242189"/>
            <a:ext cx="913160" cy="384488"/>
          </a:xfrm>
          <a:prstGeom prst="rect">
            <a:avLst/>
          </a:prstGeom>
          <a:noFill/>
          <a:ln>
            <a:no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r>
              <a:rPr kumimoji="0" lang="en-US" altLang="zh-CN" sz="1430" b="1" i="0" u="none" strike="noStrike" kern="1200" cap="none" spc="0" normalizeH="0" baseline="0" noProof="0" dirty="0" smtClean="0">
                <a:ln>
                  <a:noFill/>
                </a:ln>
                <a:solidFill>
                  <a:srgbClr val="F05A23"/>
                </a:solidFill>
                <a:effectLst/>
                <a:uLnTx/>
                <a:uFillTx/>
                <a:latin typeface="华文楷体" panose="02010600040101010101" charset="-122"/>
                <a:ea typeface="华文楷体" panose="02010600040101010101" charset="-122"/>
                <a:cs typeface="华文楷体" panose="02010600040101010101" charset="-122"/>
              </a:rPr>
              <a:t>……</a:t>
            </a:r>
            <a:endParaRPr kumimoji="0" lang="en-US" altLang="zh-CN"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endParaRPr>
          </a:p>
        </p:txBody>
      </p:sp>
      <p:sp>
        <p:nvSpPr>
          <p:cNvPr id="17" name="Rectangle 13"/>
          <p:cNvSpPr/>
          <p:nvPr/>
        </p:nvSpPr>
        <p:spPr>
          <a:xfrm>
            <a:off x="8768715" y="1024025"/>
            <a:ext cx="2437435" cy="406393"/>
          </a:xfrm>
          <a:prstGeom prst="rect">
            <a:avLst/>
          </a:prstGeom>
        </p:spPr>
        <p:txBody>
          <a:bodyPr wrap="square">
            <a:spAutoFit/>
          </a:bodyPr>
          <a:lstStyle/>
          <a:p>
            <a:pPr marL="0" marR="0" lvl="0" indent="0" algn="ctr" defTabSz="951865" rtl="0" eaLnBrk="1" fontAlgn="base" latinLnBrk="0" hangingPunct="1">
              <a:lnSpc>
                <a:spcPct val="100000"/>
              </a:lnSpc>
              <a:spcBef>
                <a:spcPct val="0"/>
              </a:spcBef>
              <a:spcAft>
                <a:spcPct val="0"/>
              </a:spcAft>
              <a:buClrTx/>
              <a:buSzTx/>
              <a:buFontTx/>
              <a:buNone/>
              <a:defRPr/>
            </a:pPr>
            <a:r>
              <a:rPr kumimoji="0" lang="zh-CN" altLang="en-US" sz="2040" b="1" i="0" u="none" strike="noStrike" kern="1200" cap="none" spc="0" normalizeH="0" baseline="0" noProof="0" dirty="0">
                <a:ln>
                  <a:noFill/>
                </a:ln>
                <a:solidFill>
                  <a:srgbClr val="F05A23"/>
                </a:solidFill>
                <a:effectLst/>
                <a:uLnTx/>
                <a:uFillTx/>
                <a:latin typeface="Arial" panose="020B0604020202020204" pitchFamily="34" charset="0"/>
                <a:ea typeface="楷体" panose="02010609060101010101" pitchFamily="49" charset="-122"/>
                <a:cs typeface="+mn-cs"/>
              </a:rPr>
              <a:t>输出画像并分类</a:t>
            </a:r>
            <a:endParaRPr kumimoji="0" lang="en-US" altLang="zh-CN" sz="2040" b="1" i="0" u="none" strike="noStrike" kern="1200" cap="none" spc="0" normalizeH="0" baseline="0" noProof="0" dirty="0">
              <a:ln>
                <a:noFill/>
              </a:ln>
              <a:solidFill>
                <a:srgbClr val="F05A23"/>
              </a:solidFill>
              <a:effectLst/>
              <a:uLnTx/>
              <a:uFillTx/>
              <a:latin typeface="Arial" panose="020B0604020202020204" pitchFamily="34" charset="0"/>
              <a:ea typeface="楷体" panose="02010609060101010101" pitchFamily="49" charset="-122"/>
              <a:cs typeface="+mn-cs"/>
            </a:endParaRPr>
          </a:p>
        </p:txBody>
      </p:sp>
      <p:graphicFrame>
        <p:nvGraphicFramePr>
          <p:cNvPr id="18" name="图表 46"/>
          <p:cNvGraphicFramePr/>
          <p:nvPr/>
        </p:nvGraphicFramePr>
        <p:xfrm>
          <a:off x="8901469" y="2438246"/>
          <a:ext cx="2332214" cy="2172178"/>
        </p:xfrm>
        <a:graphic>
          <a:graphicData uri="http://schemas.openxmlformats.org/drawingml/2006/chart">
            <c:chart xmlns:c="http://schemas.openxmlformats.org/drawingml/2006/chart" xmlns:r="http://schemas.openxmlformats.org/officeDocument/2006/relationships" r:id="rId1"/>
          </a:graphicData>
        </a:graphic>
      </p:graphicFrame>
      <p:sp>
        <p:nvSpPr>
          <p:cNvPr id="19" name="矩形 41"/>
          <p:cNvSpPr/>
          <p:nvPr/>
        </p:nvSpPr>
        <p:spPr>
          <a:xfrm>
            <a:off x="9564314" y="2258628"/>
            <a:ext cx="934233" cy="318412"/>
          </a:xfrm>
          <a:prstGeom prst="rect">
            <a:avLst/>
          </a:prstGeom>
        </p:spPr>
        <p:txBody>
          <a:bodyPr wrap="none">
            <a:spAutoFit/>
          </a:bodyPr>
          <a:lstStyle/>
          <a:p>
            <a:pPr marL="0" marR="0" lvl="0" indent="0" algn="l" defTabSz="914400" rtl="0" eaLnBrk="1" fontAlgn="ctr" latinLnBrk="0" hangingPunct="1">
              <a:lnSpc>
                <a:spcPct val="100000"/>
              </a:lnSpc>
              <a:spcBef>
                <a:spcPts val="0"/>
              </a:spcBef>
              <a:spcAft>
                <a:spcPts val="0"/>
              </a:spcAft>
              <a:buClrTx/>
              <a:buSzTx/>
              <a:buFontTx/>
              <a:buNone/>
              <a:defRPr/>
            </a:pPr>
            <a:r>
              <a:rPr kumimoji="0" lang="zh-CN" altLang="en-US" sz="143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个人情况</a:t>
            </a:r>
            <a:endParaRPr kumimoji="0" lang="zh-CN" altLang="en-US" sz="143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0" name="矩形 44"/>
          <p:cNvSpPr/>
          <p:nvPr/>
        </p:nvSpPr>
        <p:spPr>
          <a:xfrm>
            <a:off x="10485462" y="2537211"/>
            <a:ext cx="934233" cy="318412"/>
          </a:xfrm>
          <a:prstGeom prst="rect">
            <a:avLst/>
          </a:prstGeom>
        </p:spPr>
        <p:txBody>
          <a:bodyPr wrap="none">
            <a:spAutoFit/>
          </a:bodyPr>
          <a:lstStyle/>
          <a:p>
            <a:pPr marL="0" marR="0" lvl="0" indent="0" algn="l" defTabSz="914400" rtl="0" eaLnBrk="1" fontAlgn="ctr" latinLnBrk="0" hangingPunct="1">
              <a:lnSpc>
                <a:spcPct val="100000"/>
              </a:lnSpc>
              <a:spcBef>
                <a:spcPts val="0"/>
              </a:spcBef>
              <a:spcAft>
                <a:spcPts val="0"/>
              </a:spcAft>
              <a:buClrTx/>
              <a:buSzTx/>
              <a:buFontTx/>
              <a:buNone/>
              <a:defRPr/>
            </a:pPr>
            <a:r>
              <a:rPr kumimoji="0" lang="zh-CN" altLang="en-US" sz="143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教育背景</a:t>
            </a:r>
            <a:endParaRPr kumimoji="0" lang="zh-CN" altLang="en-US" sz="143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sp>
        <p:nvSpPr>
          <p:cNvPr id="21" name="矩形 45"/>
          <p:cNvSpPr/>
          <p:nvPr/>
        </p:nvSpPr>
        <p:spPr>
          <a:xfrm>
            <a:off x="10767048" y="3046744"/>
            <a:ext cx="934233" cy="318412"/>
          </a:xfrm>
          <a:prstGeom prst="rect">
            <a:avLst/>
          </a:prstGeom>
        </p:spPr>
        <p:txBody>
          <a:bodyPr wrap="none">
            <a:spAutoFit/>
          </a:bodyPr>
          <a:lstStyle/>
          <a:p>
            <a:pPr marL="0" marR="0" lvl="0" indent="0" algn="l" defTabSz="914400" rtl="0" eaLnBrk="1" fontAlgn="ctr" latinLnBrk="0" hangingPunct="1">
              <a:lnSpc>
                <a:spcPct val="100000"/>
              </a:lnSpc>
              <a:spcBef>
                <a:spcPts val="0"/>
              </a:spcBef>
              <a:spcAft>
                <a:spcPts val="0"/>
              </a:spcAft>
              <a:buClrTx/>
              <a:buSzTx/>
              <a:buFontTx/>
              <a:buNone/>
              <a:defRPr/>
            </a:pPr>
            <a:r>
              <a:rPr kumimoji="0" lang="zh-CN" altLang="en-US" sz="143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教学能力</a:t>
            </a:r>
            <a:endParaRPr kumimoji="0" lang="zh-CN" altLang="en-US" sz="143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sp>
        <p:nvSpPr>
          <p:cNvPr id="22" name="矩形 47"/>
          <p:cNvSpPr/>
          <p:nvPr/>
        </p:nvSpPr>
        <p:spPr>
          <a:xfrm>
            <a:off x="10795918" y="3630256"/>
            <a:ext cx="747779" cy="318412"/>
          </a:xfrm>
          <a:prstGeom prst="rect">
            <a:avLst/>
          </a:prstGeom>
        </p:spPr>
        <p:txBody>
          <a:bodyPr wrap="none">
            <a:spAutoFit/>
          </a:bodyPr>
          <a:lstStyle/>
          <a:p>
            <a:pPr marL="0" marR="0" lvl="0" indent="0" algn="l" defTabSz="914400" rtl="0" eaLnBrk="1" fontAlgn="ctr" latinLnBrk="0" hangingPunct="1">
              <a:lnSpc>
                <a:spcPct val="100000"/>
              </a:lnSpc>
              <a:spcBef>
                <a:spcPts val="0"/>
              </a:spcBef>
              <a:spcAft>
                <a:spcPts val="0"/>
              </a:spcAft>
              <a:buClrTx/>
              <a:buSzTx/>
              <a:buFontTx/>
              <a:buNone/>
              <a:defRPr/>
            </a:pPr>
            <a:r>
              <a:rPr kumimoji="0" lang="zh-CN" altLang="en-US" sz="143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责任心</a:t>
            </a:r>
            <a:endParaRPr kumimoji="0" lang="zh-CN" altLang="en-US" sz="143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sp>
        <p:nvSpPr>
          <p:cNvPr id="23" name="矩形 48"/>
          <p:cNvSpPr/>
          <p:nvPr/>
        </p:nvSpPr>
        <p:spPr>
          <a:xfrm>
            <a:off x="10485462" y="4091872"/>
            <a:ext cx="934233" cy="318412"/>
          </a:xfrm>
          <a:prstGeom prst="rect">
            <a:avLst/>
          </a:prstGeom>
        </p:spPr>
        <p:txBody>
          <a:bodyPr wrap="none">
            <a:spAutoFit/>
          </a:bodyPr>
          <a:lstStyle/>
          <a:p>
            <a:pPr marL="0" marR="0" lvl="0" indent="0" algn="l" defTabSz="914400" rtl="0" eaLnBrk="1" fontAlgn="ctr" latinLnBrk="0" hangingPunct="1">
              <a:lnSpc>
                <a:spcPct val="100000"/>
              </a:lnSpc>
              <a:spcBef>
                <a:spcPts val="0"/>
              </a:spcBef>
              <a:spcAft>
                <a:spcPts val="0"/>
              </a:spcAft>
              <a:buClrTx/>
              <a:buSzTx/>
              <a:buFontTx/>
              <a:buNone/>
              <a:defRPr/>
            </a:pPr>
            <a:r>
              <a:rPr kumimoji="0" lang="zh-CN" altLang="en-US" sz="143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沟通能力</a:t>
            </a:r>
            <a:endParaRPr kumimoji="0" lang="zh-CN" altLang="en-US" sz="143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sp>
        <p:nvSpPr>
          <p:cNvPr id="24" name="矩形 49"/>
          <p:cNvSpPr/>
          <p:nvPr/>
        </p:nvSpPr>
        <p:spPr>
          <a:xfrm>
            <a:off x="9487993" y="4384495"/>
            <a:ext cx="1120688" cy="318412"/>
          </a:xfrm>
          <a:prstGeom prst="rect">
            <a:avLst/>
          </a:prstGeom>
        </p:spPr>
        <p:txBody>
          <a:bodyPr wrap="none">
            <a:spAutoFit/>
          </a:bodyPr>
          <a:lstStyle/>
          <a:p>
            <a:pPr marL="0" marR="0" lvl="0" indent="0" algn="l" defTabSz="914400" rtl="0" eaLnBrk="1" fontAlgn="ctr" latinLnBrk="0" hangingPunct="1">
              <a:lnSpc>
                <a:spcPct val="100000"/>
              </a:lnSpc>
              <a:spcBef>
                <a:spcPts val="0"/>
              </a:spcBef>
              <a:spcAft>
                <a:spcPts val="0"/>
              </a:spcAft>
              <a:buClrTx/>
              <a:buSzTx/>
              <a:buFontTx/>
              <a:buNone/>
              <a:defRPr/>
            </a:pPr>
            <a:r>
              <a:rPr kumimoji="0" lang="zh-CN" altLang="en-US" sz="143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再学习能力</a:t>
            </a:r>
            <a:endParaRPr kumimoji="0" lang="zh-CN" altLang="en-US" sz="1430" b="0" i="0" u="none" strike="noStrike" kern="1200" cap="none" spc="0" normalizeH="0" baseline="0" noProof="0" dirty="0">
              <a:ln>
                <a:noFill/>
              </a:ln>
              <a:solidFill>
                <a:srgbClr val="000000"/>
              </a:solidFill>
              <a:effectLst/>
              <a:uLnTx/>
              <a:uFillTx/>
              <a:latin typeface="等线" panose="02010600030101010101" charset="-122"/>
              <a:ea typeface="等线" panose="02010600030101010101" charset="-122"/>
              <a:cs typeface="+mn-cs"/>
            </a:endParaRPr>
          </a:p>
        </p:txBody>
      </p:sp>
      <p:sp>
        <p:nvSpPr>
          <p:cNvPr id="25" name="矩形 50"/>
          <p:cNvSpPr/>
          <p:nvPr/>
        </p:nvSpPr>
        <p:spPr>
          <a:xfrm>
            <a:off x="8267426" y="3613269"/>
            <a:ext cx="934233" cy="318412"/>
          </a:xfrm>
          <a:prstGeom prst="rect">
            <a:avLst/>
          </a:prstGeom>
        </p:spPr>
        <p:txBody>
          <a:bodyPr wrap="none">
            <a:spAutoFit/>
          </a:bodyPr>
          <a:lstStyle/>
          <a:p>
            <a:pPr marL="0" marR="0" lvl="0" indent="0" algn="l" defTabSz="914400" rtl="0" eaLnBrk="1" fontAlgn="ctr" latinLnBrk="0" hangingPunct="1">
              <a:lnSpc>
                <a:spcPct val="100000"/>
              </a:lnSpc>
              <a:spcBef>
                <a:spcPts val="0"/>
              </a:spcBef>
              <a:spcAft>
                <a:spcPts val="0"/>
              </a:spcAft>
              <a:buClrTx/>
              <a:buSzTx/>
              <a:buFontTx/>
              <a:buNone/>
              <a:defRPr/>
            </a:pPr>
            <a:r>
              <a:rPr kumimoji="0" lang="zh-CN" alt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教研能力</a:t>
            </a:r>
            <a:endParaRPr kumimoji="0" lang="zh-CN" alt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sp>
        <p:nvSpPr>
          <p:cNvPr id="26" name="矩形 51"/>
          <p:cNvSpPr/>
          <p:nvPr/>
        </p:nvSpPr>
        <p:spPr>
          <a:xfrm>
            <a:off x="8602269" y="4113278"/>
            <a:ext cx="934233" cy="318412"/>
          </a:xfrm>
          <a:prstGeom prst="rect">
            <a:avLst/>
          </a:prstGeom>
        </p:spPr>
        <p:txBody>
          <a:bodyPr wrap="none">
            <a:spAutoFit/>
          </a:bodyPr>
          <a:lstStyle/>
          <a:p>
            <a:pPr marL="0" marR="0" lvl="0" indent="0" algn="l" defTabSz="914400" rtl="0" eaLnBrk="1" fontAlgn="ctr" latinLnBrk="0" hangingPunct="1">
              <a:lnSpc>
                <a:spcPct val="100000"/>
              </a:lnSpc>
              <a:spcBef>
                <a:spcPts val="0"/>
              </a:spcBef>
              <a:spcAft>
                <a:spcPts val="0"/>
              </a:spcAft>
              <a:buClrTx/>
              <a:buSzTx/>
              <a:buFontTx/>
              <a:buNone/>
              <a:defRPr/>
            </a:pPr>
            <a:r>
              <a:rPr kumimoji="0" lang="zh-CN" alt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创新思维</a:t>
            </a:r>
            <a:endParaRPr kumimoji="0" lang="zh-CN" alt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sp>
        <p:nvSpPr>
          <p:cNvPr id="27" name="矩形 52"/>
          <p:cNvSpPr/>
          <p:nvPr/>
        </p:nvSpPr>
        <p:spPr>
          <a:xfrm>
            <a:off x="8263568" y="3018364"/>
            <a:ext cx="934233" cy="318412"/>
          </a:xfrm>
          <a:prstGeom prst="rect">
            <a:avLst/>
          </a:prstGeom>
        </p:spPr>
        <p:txBody>
          <a:bodyPr wrap="none">
            <a:spAutoFit/>
          </a:bodyPr>
          <a:lstStyle/>
          <a:p>
            <a:pPr marL="0" marR="0" lvl="0" indent="0" algn="l" defTabSz="914400" rtl="0" eaLnBrk="1" fontAlgn="ctr" latinLnBrk="0" hangingPunct="1">
              <a:lnSpc>
                <a:spcPct val="100000"/>
              </a:lnSpc>
              <a:spcBef>
                <a:spcPts val="0"/>
              </a:spcBef>
              <a:spcAft>
                <a:spcPts val="0"/>
              </a:spcAft>
              <a:buClrTx/>
              <a:buSzTx/>
              <a:buFontTx/>
              <a:buNone/>
              <a:defRPr/>
            </a:pPr>
            <a:r>
              <a:rPr kumimoji="0" lang="zh-CN" alt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性格倾向</a:t>
            </a:r>
            <a:endParaRPr kumimoji="0" lang="zh-CN" alt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sp>
        <p:nvSpPr>
          <p:cNvPr id="28" name="矩形 53"/>
          <p:cNvSpPr/>
          <p:nvPr/>
        </p:nvSpPr>
        <p:spPr>
          <a:xfrm>
            <a:off x="8532487" y="2545188"/>
            <a:ext cx="934233" cy="318412"/>
          </a:xfrm>
          <a:prstGeom prst="rect">
            <a:avLst/>
          </a:prstGeom>
        </p:spPr>
        <p:txBody>
          <a:bodyPr wrap="none">
            <a:spAutoFit/>
          </a:bodyPr>
          <a:lstStyle/>
          <a:p>
            <a:pPr marL="0" marR="0" lvl="0" indent="0" algn="l" defTabSz="914400" rtl="0" eaLnBrk="1" fontAlgn="ctr" latinLnBrk="0" hangingPunct="1">
              <a:lnSpc>
                <a:spcPct val="100000"/>
              </a:lnSpc>
              <a:spcBef>
                <a:spcPts val="0"/>
              </a:spcBef>
              <a:spcAft>
                <a:spcPts val="0"/>
              </a:spcAft>
              <a:buClrTx/>
              <a:buSzTx/>
              <a:buFontTx/>
              <a:buNone/>
              <a:defRPr/>
            </a:pPr>
            <a:r>
              <a:rPr kumimoji="0" lang="zh-CN" alt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教育心理</a:t>
            </a:r>
            <a:endParaRPr kumimoji="0" lang="zh-CN" alt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sp>
        <p:nvSpPr>
          <p:cNvPr id="29" name="等腰三角形 67"/>
          <p:cNvSpPr/>
          <p:nvPr/>
        </p:nvSpPr>
        <p:spPr>
          <a:xfrm rot="5400000">
            <a:off x="2779208" y="4031364"/>
            <a:ext cx="2136092" cy="244243"/>
          </a:xfrm>
          <a:prstGeom prst="triangle">
            <a:avLst/>
          </a:prstGeom>
          <a:solidFill>
            <a:schemeClr val="tx1">
              <a:lumMod val="50000"/>
              <a:lumOff val="50000"/>
              <a:alpha val="4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cxnSp>
        <p:nvCxnSpPr>
          <p:cNvPr id="30" name="直接连接符 21"/>
          <p:cNvCxnSpPr>
            <a:stCxn id="4" idx="3"/>
            <a:endCxn id="8" idx="1"/>
          </p:cNvCxnSpPr>
          <p:nvPr/>
        </p:nvCxnSpPr>
        <p:spPr>
          <a:xfrm flipV="1">
            <a:off x="2154534" y="2072509"/>
            <a:ext cx="308655" cy="846411"/>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31" name="直接连接符 21"/>
          <p:cNvCxnSpPr>
            <a:stCxn id="4" idx="3"/>
            <a:endCxn id="9" idx="1"/>
          </p:cNvCxnSpPr>
          <p:nvPr/>
        </p:nvCxnSpPr>
        <p:spPr>
          <a:xfrm flipV="1">
            <a:off x="2154534" y="2559616"/>
            <a:ext cx="308655" cy="359304"/>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32" name="直接连接符 21"/>
          <p:cNvCxnSpPr>
            <a:stCxn id="4" idx="3"/>
            <a:endCxn id="10" idx="1"/>
          </p:cNvCxnSpPr>
          <p:nvPr/>
        </p:nvCxnSpPr>
        <p:spPr>
          <a:xfrm>
            <a:off x="2154534" y="2918920"/>
            <a:ext cx="308655" cy="114515"/>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33" name="直接连接符 21"/>
          <p:cNvCxnSpPr>
            <a:stCxn id="11" idx="3"/>
            <a:endCxn id="12" idx="1"/>
          </p:cNvCxnSpPr>
          <p:nvPr/>
        </p:nvCxnSpPr>
        <p:spPr>
          <a:xfrm flipV="1">
            <a:off x="2154534" y="3714122"/>
            <a:ext cx="308655" cy="776339"/>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34" name="直接连接符 21"/>
          <p:cNvCxnSpPr>
            <a:stCxn id="11" idx="3"/>
            <a:endCxn id="13" idx="1"/>
          </p:cNvCxnSpPr>
          <p:nvPr/>
        </p:nvCxnSpPr>
        <p:spPr>
          <a:xfrm flipV="1">
            <a:off x="2154534" y="4142075"/>
            <a:ext cx="308655" cy="348386"/>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sp>
        <p:nvSpPr>
          <p:cNvPr id="35" name="TextBox 56"/>
          <p:cNvSpPr txBox="1"/>
          <p:nvPr/>
        </p:nvSpPr>
        <p:spPr>
          <a:xfrm>
            <a:off x="1162792" y="5020001"/>
            <a:ext cx="991743" cy="330581"/>
          </a:xfrm>
          <a:prstGeom prst="rect">
            <a:avLst/>
          </a:prstGeom>
          <a:solidFill>
            <a:srgbClr val="F05A23"/>
          </a:solidFill>
          <a:ln>
            <a:solidFill>
              <a:srgbClr val="FFFFFF"/>
            </a:solid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r>
              <a:rPr kumimoji="0" lang="zh-CN" alt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rPr>
              <a:t>性格倾向</a:t>
            </a: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sp>
        <p:nvSpPr>
          <p:cNvPr id="36" name="TextBox 88"/>
          <p:cNvSpPr txBox="1"/>
          <p:nvPr/>
        </p:nvSpPr>
        <p:spPr>
          <a:xfrm>
            <a:off x="2479056" y="4726340"/>
            <a:ext cx="913160" cy="384488"/>
          </a:xfrm>
          <a:prstGeom prst="rect">
            <a:avLst/>
          </a:prstGeom>
          <a:noFill/>
          <a:ln>
            <a:no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r>
              <a:rPr kumimoji="0" lang="en-US" altLang="zh-CN"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rPr>
              <a:t>……</a:t>
            </a:r>
            <a:endParaRPr kumimoji="0" lang="en-US" altLang="zh-CN"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endParaRPr>
          </a:p>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endParaRPr>
          </a:p>
        </p:txBody>
      </p:sp>
      <p:sp>
        <p:nvSpPr>
          <p:cNvPr id="37" name="TextBox 85"/>
          <p:cNvSpPr txBox="1"/>
          <p:nvPr/>
        </p:nvSpPr>
        <p:spPr>
          <a:xfrm>
            <a:off x="2448156" y="5007362"/>
            <a:ext cx="955012" cy="330581"/>
          </a:xfrm>
          <a:prstGeom prst="rect">
            <a:avLst/>
          </a:prstGeom>
          <a:solidFill>
            <a:srgbClr val="F05A23"/>
          </a:solidFill>
          <a:ln>
            <a:solidFill>
              <a:srgbClr val="F05A23"/>
            </a:solid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sp>
        <p:nvSpPr>
          <p:cNvPr id="38" name="TextBox 86"/>
          <p:cNvSpPr txBox="1"/>
          <p:nvPr/>
        </p:nvSpPr>
        <p:spPr>
          <a:xfrm>
            <a:off x="2437204" y="5447562"/>
            <a:ext cx="955012" cy="330581"/>
          </a:xfrm>
          <a:prstGeom prst="rect">
            <a:avLst/>
          </a:prstGeom>
          <a:solidFill>
            <a:srgbClr val="F05A23"/>
          </a:solidFill>
          <a:ln>
            <a:solidFill>
              <a:srgbClr val="F05A23"/>
            </a:solid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sp>
        <p:nvSpPr>
          <p:cNvPr id="39" name="TextBox 86"/>
          <p:cNvSpPr txBox="1"/>
          <p:nvPr/>
        </p:nvSpPr>
        <p:spPr>
          <a:xfrm>
            <a:off x="2463189" y="4362497"/>
            <a:ext cx="955012" cy="330581"/>
          </a:xfrm>
          <a:prstGeom prst="rect">
            <a:avLst/>
          </a:prstGeom>
          <a:solidFill>
            <a:srgbClr val="F05A23"/>
          </a:solidFill>
          <a:ln>
            <a:solidFill>
              <a:srgbClr val="F05A23"/>
            </a:solid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华文楷体" panose="02010600040101010101" charset="-122"/>
            </a:endParaRPr>
          </a:p>
        </p:txBody>
      </p:sp>
      <p:cxnSp>
        <p:nvCxnSpPr>
          <p:cNvPr id="40" name="直接连接符 21"/>
          <p:cNvCxnSpPr>
            <a:stCxn id="11" idx="3"/>
            <a:endCxn id="39" idx="1"/>
          </p:cNvCxnSpPr>
          <p:nvPr/>
        </p:nvCxnSpPr>
        <p:spPr>
          <a:xfrm>
            <a:off x="2154534" y="4490461"/>
            <a:ext cx="308655" cy="37326"/>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41" name="直接连接符 21"/>
          <p:cNvCxnSpPr>
            <a:stCxn id="35" idx="3"/>
            <a:endCxn id="37" idx="1"/>
          </p:cNvCxnSpPr>
          <p:nvPr/>
        </p:nvCxnSpPr>
        <p:spPr>
          <a:xfrm flipV="1">
            <a:off x="2154535" y="5172653"/>
            <a:ext cx="293621" cy="12639"/>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cxnSp>
        <p:nvCxnSpPr>
          <p:cNvPr id="42" name="直接连接符 21"/>
          <p:cNvCxnSpPr>
            <a:stCxn id="35" idx="3"/>
            <a:endCxn id="38" idx="1"/>
          </p:cNvCxnSpPr>
          <p:nvPr/>
        </p:nvCxnSpPr>
        <p:spPr>
          <a:xfrm>
            <a:off x="2154535" y="5185291"/>
            <a:ext cx="282669" cy="427562"/>
          </a:xfrm>
          <a:prstGeom prst="line">
            <a:avLst/>
          </a:prstGeom>
          <a:ln>
            <a:solidFill>
              <a:srgbClr val="F05A23"/>
            </a:solidFill>
          </a:ln>
        </p:spPr>
        <p:style>
          <a:lnRef idx="1">
            <a:schemeClr val="accent1"/>
          </a:lnRef>
          <a:fillRef idx="0">
            <a:schemeClr val="accent1"/>
          </a:fillRef>
          <a:effectRef idx="0">
            <a:schemeClr val="accent1"/>
          </a:effectRef>
          <a:fontRef idx="minor">
            <a:schemeClr val="tx1"/>
          </a:fontRef>
        </p:style>
      </p:cxnSp>
      <p:sp>
        <p:nvSpPr>
          <p:cNvPr id="43" name="TextBox 84"/>
          <p:cNvSpPr txBox="1"/>
          <p:nvPr/>
        </p:nvSpPr>
        <p:spPr>
          <a:xfrm>
            <a:off x="1081932" y="5400987"/>
            <a:ext cx="1153462" cy="384488"/>
          </a:xfrm>
          <a:prstGeom prst="rect">
            <a:avLst/>
          </a:prstGeom>
          <a:noFill/>
          <a:ln>
            <a:noFill/>
          </a:ln>
        </p:spPr>
        <p:txBody>
          <a:bodyPr wrap="none" rtlCol="0">
            <a:noAutofit/>
          </a:bodyPr>
          <a:lstStyle/>
          <a:p>
            <a:pPr marL="0" marR="0" lvl="0" indent="0" algn="ctr" defTabSz="951865" rtl="0" eaLnBrk="1" fontAlgn="base" latinLnBrk="0" hangingPunct="1">
              <a:lnSpc>
                <a:spcPct val="100000"/>
              </a:lnSpc>
              <a:spcBef>
                <a:spcPct val="0"/>
              </a:spcBef>
              <a:spcAft>
                <a:spcPct val="0"/>
              </a:spcAft>
              <a:buClrTx/>
              <a:buSzTx/>
              <a:buFontTx/>
              <a:buNone/>
              <a:defRPr/>
            </a:pPr>
            <a:r>
              <a:rPr kumimoji="0" lang="en-US" altLang="zh-CN"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rPr>
              <a:t>……</a:t>
            </a:r>
            <a:endParaRPr kumimoji="0" lang="en-US" altLang="zh-CN"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endParaRPr>
          </a:p>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endParaRPr>
          </a:p>
        </p:txBody>
      </p:sp>
      <p:sp>
        <p:nvSpPr>
          <p:cNvPr id="44" name="Rectangle 13"/>
          <p:cNvSpPr/>
          <p:nvPr/>
        </p:nvSpPr>
        <p:spPr>
          <a:xfrm>
            <a:off x="4634037" y="1024025"/>
            <a:ext cx="2437435" cy="406393"/>
          </a:xfrm>
          <a:prstGeom prst="rect">
            <a:avLst/>
          </a:prstGeom>
        </p:spPr>
        <p:txBody>
          <a:bodyPr wrap="square">
            <a:spAutoFit/>
          </a:bodyPr>
          <a:lstStyle/>
          <a:p>
            <a:pPr marL="0" marR="0" lvl="0" indent="0" algn="ctr" defTabSz="951865" rtl="0" eaLnBrk="1" fontAlgn="base" latinLnBrk="0" hangingPunct="1">
              <a:lnSpc>
                <a:spcPct val="100000"/>
              </a:lnSpc>
              <a:spcBef>
                <a:spcPct val="0"/>
              </a:spcBef>
              <a:spcAft>
                <a:spcPct val="0"/>
              </a:spcAft>
              <a:buClrTx/>
              <a:buSzTx/>
              <a:buFontTx/>
              <a:buNone/>
              <a:defRPr/>
            </a:pPr>
            <a:r>
              <a:rPr kumimoji="0" lang="en-US" altLang="zh-CN" sz="2040" b="1" i="0" u="none" strike="noStrike" kern="1200" cap="none" spc="0" normalizeH="0" baseline="0" noProof="0" dirty="0">
                <a:ln>
                  <a:noFill/>
                </a:ln>
                <a:solidFill>
                  <a:srgbClr val="F05A23"/>
                </a:solidFill>
                <a:effectLst/>
                <a:uLnTx/>
                <a:uFillTx/>
                <a:latin typeface="Arial" panose="020B0604020202020204" pitchFamily="34" charset="0"/>
                <a:ea typeface="楷体" panose="02010609060101010101" pitchFamily="49" charset="-122"/>
                <a:cs typeface="+mn-cs"/>
              </a:rPr>
              <a:t>AI</a:t>
            </a:r>
            <a:r>
              <a:rPr kumimoji="0" lang="zh-CN" altLang="en-US" sz="2040" b="1" i="0" u="none" strike="noStrike" kern="1200" cap="none" spc="0" normalizeH="0" baseline="0" noProof="0" dirty="0">
                <a:ln>
                  <a:noFill/>
                </a:ln>
                <a:solidFill>
                  <a:srgbClr val="F05A23"/>
                </a:solidFill>
                <a:effectLst/>
                <a:uLnTx/>
                <a:uFillTx/>
                <a:latin typeface="Arial" panose="020B0604020202020204" pitchFamily="34" charset="0"/>
                <a:ea typeface="楷体" panose="02010609060101010101" pitchFamily="49" charset="-122"/>
                <a:cs typeface="+mn-cs"/>
              </a:rPr>
              <a:t>算法建模</a:t>
            </a:r>
            <a:endParaRPr kumimoji="0" lang="en-US" altLang="zh-CN" sz="2040" b="1" i="0" u="none" strike="noStrike" kern="1200" cap="none" spc="0" normalizeH="0" baseline="0" noProof="0" dirty="0">
              <a:ln>
                <a:noFill/>
              </a:ln>
              <a:solidFill>
                <a:srgbClr val="F05A23"/>
              </a:solidFill>
              <a:effectLst/>
              <a:uLnTx/>
              <a:uFillTx/>
              <a:latin typeface="Arial" panose="020B0604020202020204" pitchFamily="34" charset="0"/>
              <a:ea typeface="楷体" panose="02010609060101010101" pitchFamily="49" charset="-122"/>
              <a:cs typeface="+mn-cs"/>
            </a:endParaRPr>
          </a:p>
        </p:txBody>
      </p:sp>
      <p:sp>
        <p:nvSpPr>
          <p:cNvPr id="45" name="文本框 43"/>
          <p:cNvSpPr txBox="1"/>
          <p:nvPr/>
        </p:nvSpPr>
        <p:spPr>
          <a:xfrm>
            <a:off x="9383879" y="5114300"/>
            <a:ext cx="1250581" cy="38265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srgbClr val="F05A23"/>
                </a:solidFill>
                <a:effectLst/>
                <a:uLnTx/>
                <a:uFillTx/>
                <a:latin typeface="Arial" panose="020B0604020202020204"/>
                <a:ea typeface="华文楷体" panose="02010600040101010101" charset="-122"/>
                <a:cs typeface="+mn-cs"/>
              </a:rPr>
              <a:t>聚类分析</a:t>
            </a:r>
            <a:endParaRPr kumimoji="0" lang="zh-CN" altLang="en-US" sz="1835" b="1" i="0" u="none" strike="noStrike" kern="1200" cap="none" spc="0" normalizeH="0" baseline="0" noProof="0" dirty="0">
              <a:ln>
                <a:noFill/>
              </a:ln>
              <a:solidFill>
                <a:srgbClr val="F05A23"/>
              </a:solidFill>
              <a:effectLst/>
              <a:uLnTx/>
              <a:uFillTx/>
              <a:latin typeface="Arial" panose="020B0604020202020204"/>
              <a:ea typeface="华文楷体" panose="02010600040101010101" charset="-122"/>
              <a:cs typeface="+mn-cs"/>
            </a:endParaRPr>
          </a:p>
        </p:txBody>
      </p:sp>
      <p:sp>
        <p:nvSpPr>
          <p:cNvPr id="46" name="等腰三角形 67"/>
          <p:cNvSpPr/>
          <p:nvPr/>
        </p:nvSpPr>
        <p:spPr>
          <a:xfrm rot="5400000">
            <a:off x="6889956" y="4041792"/>
            <a:ext cx="2136092" cy="244243"/>
          </a:xfrm>
          <a:prstGeom prst="triangle">
            <a:avLst/>
          </a:prstGeom>
          <a:solidFill>
            <a:schemeClr val="tx1">
              <a:lumMod val="50000"/>
              <a:lumOff val="50000"/>
              <a:alpha val="4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47" name="椭圆 46"/>
          <p:cNvSpPr/>
          <p:nvPr/>
        </p:nvSpPr>
        <p:spPr>
          <a:xfrm>
            <a:off x="4430593" y="4260277"/>
            <a:ext cx="167029" cy="167029"/>
          </a:xfrm>
          <a:prstGeom prst="ellipse">
            <a:avLst/>
          </a:prstGeom>
          <a:solidFill>
            <a:srgbClr val="F05A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48" name="椭圆 47"/>
          <p:cNvSpPr/>
          <p:nvPr/>
        </p:nvSpPr>
        <p:spPr>
          <a:xfrm>
            <a:off x="4430593" y="4537437"/>
            <a:ext cx="167029" cy="167029"/>
          </a:xfrm>
          <a:prstGeom prst="ellipse">
            <a:avLst/>
          </a:prstGeom>
          <a:solidFill>
            <a:srgbClr val="F05A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49" name="椭圆 48"/>
          <p:cNvSpPr/>
          <p:nvPr/>
        </p:nvSpPr>
        <p:spPr>
          <a:xfrm>
            <a:off x="4430593" y="4814598"/>
            <a:ext cx="167029" cy="167029"/>
          </a:xfrm>
          <a:prstGeom prst="ellipse">
            <a:avLst/>
          </a:prstGeom>
          <a:solidFill>
            <a:srgbClr val="F05A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50" name="椭圆 49"/>
          <p:cNvSpPr/>
          <p:nvPr/>
        </p:nvSpPr>
        <p:spPr>
          <a:xfrm>
            <a:off x="4430593" y="5091757"/>
            <a:ext cx="167029" cy="167029"/>
          </a:xfrm>
          <a:prstGeom prst="ellipse">
            <a:avLst/>
          </a:prstGeom>
          <a:solidFill>
            <a:srgbClr val="F05A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51" name="椭圆 50"/>
          <p:cNvSpPr/>
          <p:nvPr/>
        </p:nvSpPr>
        <p:spPr>
          <a:xfrm>
            <a:off x="4430593" y="5368917"/>
            <a:ext cx="167029" cy="167029"/>
          </a:xfrm>
          <a:prstGeom prst="ellipse">
            <a:avLst/>
          </a:prstGeom>
          <a:solidFill>
            <a:srgbClr val="F05A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52" name="椭圆 51"/>
          <p:cNvSpPr/>
          <p:nvPr/>
        </p:nvSpPr>
        <p:spPr>
          <a:xfrm>
            <a:off x="5160778" y="4289432"/>
            <a:ext cx="167029" cy="167029"/>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53" name="椭圆 52"/>
          <p:cNvSpPr/>
          <p:nvPr/>
        </p:nvSpPr>
        <p:spPr>
          <a:xfrm>
            <a:off x="5160778" y="4566593"/>
            <a:ext cx="167029" cy="167029"/>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54" name="椭圆 53"/>
          <p:cNvSpPr/>
          <p:nvPr/>
        </p:nvSpPr>
        <p:spPr>
          <a:xfrm>
            <a:off x="5160778" y="4843753"/>
            <a:ext cx="167029" cy="167029"/>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55" name="椭圆 54"/>
          <p:cNvSpPr/>
          <p:nvPr/>
        </p:nvSpPr>
        <p:spPr>
          <a:xfrm>
            <a:off x="5160778" y="5120913"/>
            <a:ext cx="167029" cy="167029"/>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56" name="椭圆 55"/>
          <p:cNvSpPr/>
          <p:nvPr/>
        </p:nvSpPr>
        <p:spPr>
          <a:xfrm>
            <a:off x="5160778" y="5398072"/>
            <a:ext cx="167029" cy="167029"/>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57" name="椭圆 56"/>
          <p:cNvSpPr/>
          <p:nvPr/>
        </p:nvSpPr>
        <p:spPr>
          <a:xfrm>
            <a:off x="5735940" y="4260277"/>
            <a:ext cx="167029" cy="167029"/>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58" name="椭圆 57"/>
          <p:cNvSpPr/>
          <p:nvPr/>
        </p:nvSpPr>
        <p:spPr>
          <a:xfrm>
            <a:off x="5735940" y="4537437"/>
            <a:ext cx="167029" cy="167029"/>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59" name="椭圆 58"/>
          <p:cNvSpPr/>
          <p:nvPr/>
        </p:nvSpPr>
        <p:spPr>
          <a:xfrm>
            <a:off x="5735940" y="4814598"/>
            <a:ext cx="167029" cy="167029"/>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60" name="椭圆 59"/>
          <p:cNvSpPr/>
          <p:nvPr/>
        </p:nvSpPr>
        <p:spPr>
          <a:xfrm>
            <a:off x="5735940" y="5091757"/>
            <a:ext cx="167029" cy="167029"/>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61" name="椭圆 60"/>
          <p:cNvSpPr/>
          <p:nvPr/>
        </p:nvSpPr>
        <p:spPr>
          <a:xfrm>
            <a:off x="5735940" y="5368917"/>
            <a:ext cx="167029" cy="167029"/>
          </a:xfrm>
          <a:prstGeom prst="ellips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62" name="矩形 61"/>
          <p:cNvSpPr/>
          <p:nvPr/>
        </p:nvSpPr>
        <p:spPr>
          <a:xfrm>
            <a:off x="6999218" y="4251963"/>
            <a:ext cx="183656" cy="183656"/>
          </a:xfrm>
          <a:prstGeom prst="rect">
            <a:avLst/>
          </a:prstGeom>
          <a:solidFill>
            <a:srgbClr val="F05A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63" name="矩形 62"/>
          <p:cNvSpPr/>
          <p:nvPr/>
        </p:nvSpPr>
        <p:spPr>
          <a:xfrm>
            <a:off x="6999218" y="4528417"/>
            <a:ext cx="183656" cy="183656"/>
          </a:xfrm>
          <a:prstGeom prst="rect">
            <a:avLst/>
          </a:prstGeom>
          <a:solidFill>
            <a:srgbClr val="F05A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64" name="矩形 63"/>
          <p:cNvSpPr/>
          <p:nvPr/>
        </p:nvSpPr>
        <p:spPr>
          <a:xfrm>
            <a:off x="6999218" y="4804870"/>
            <a:ext cx="183656" cy="183656"/>
          </a:xfrm>
          <a:prstGeom prst="rect">
            <a:avLst/>
          </a:prstGeom>
          <a:solidFill>
            <a:srgbClr val="F05A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65" name="矩形 64"/>
          <p:cNvSpPr/>
          <p:nvPr/>
        </p:nvSpPr>
        <p:spPr>
          <a:xfrm>
            <a:off x="6999218" y="5081325"/>
            <a:ext cx="183656" cy="183656"/>
          </a:xfrm>
          <a:prstGeom prst="rect">
            <a:avLst/>
          </a:prstGeom>
          <a:solidFill>
            <a:srgbClr val="F05A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66" name="矩形 65"/>
          <p:cNvSpPr/>
          <p:nvPr/>
        </p:nvSpPr>
        <p:spPr>
          <a:xfrm>
            <a:off x="6999218" y="5357779"/>
            <a:ext cx="183656" cy="183656"/>
          </a:xfrm>
          <a:prstGeom prst="rect">
            <a:avLst/>
          </a:prstGeom>
          <a:solidFill>
            <a:srgbClr val="F05A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67" name="文本框 66"/>
          <p:cNvSpPr txBox="1"/>
          <p:nvPr/>
        </p:nvSpPr>
        <p:spPr>
          <a:xfrm>
            <a:off x="6215747" y="4107544"/>
            <a:ext cx="403212" cy="382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zh-CN" altLang="en-US"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68" name="文本框 67"/>
          <p:cNvSpPr txBox="1"/>
          <p:nvPr/>
        </p:nvSpPr>
        <p:spPr>
          <a:xfrm>
            <a:off x="6215747" y="4393878"/>
            <a:ext cx="403212" cy="382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zh-CN" altLang="en-US"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69" name="文本框 68"/>
          <p:cNvSpPr txBox="1"/>
          <p:nvPr/>
        </p:nvSpPr>
        <p:spPr>
          <a:xfrm>
            <a:off x="6215747" y="4733622"/>
            <a:ext cx="403212" cy="382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zh-CN" altLang="en-US"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70" name="文本框 69"/>
          <p:cNvSpPr txBox="1"/>
          <p:nvPr/>
        </p:nvSpPr>
        <p:spPr>
          <a:xfrm>
            <a:off x="6215747" y="4995049"/>
            <a:ext cx="403212" cy="382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zh-CN" altLang="en-US"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71" name="文本框 70"/>
          <p:cNvSpPr txBox="1"/>
          <p:nvPr/>
        </p:nvSpPr>
        <p:spPr>
          <a:xfrm>
            <a:off x="6215747" y="5231959"/>
            <a:ext cx="403212" cy="382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zh-CN" altLang="en-US"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cxnSp>
        <p:nvCxnSpPr>
          <p:cNvPr id="72" name="直接连接符 71"/>
          <p:cNvCxnSpPr>
            <a:stCxn id="47" idx="6"/>
            <a:endCxn id="52" idx="2"/>
          </p:cNvCxnSpPr>
          <p:nvPr/>
        </p:nvCxnSpPr>
        <p:spPr>
          <a:xfrm>
            <a:off x="4597623" y="4343792"/>
            <a:ext cx="563156" cy="29155"/>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73" name="直接连接符 72"/>
          <p:cNvCxnSpPr>
            <a:stCxn id="47" idx="6"/>
            <a:endCxn id="53" idx="2"/>
          </p:cNvCxnSpPr>
          <p:nvPr/>
        </p:nvCxnSpPr>
        <p:spPr>
          <a:xfrm>
            <a:off x="4597623" y="4343791"/>
            <a:ext cx="563156" cy="306316"/>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74" name="直接连接符 73"/>
          <p:cNvCxnSpPr>
            <a:stCxn id="47" idx="6"/>
            <a:endCxn id="55" idx="1"/>
          </p:cNvCxnSpPr>
          <p:nvPr/>
        </p:nvCxnSpPr>
        <p:spPr>
          <a:xfrm>
            <a:off x="4597623" y="4343792"/>
            <a:ext cx="587617" cy="801582"/>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75" name="直接连接符 74"/>
          <p:cNvCxnSpPr>
            <a:stCxn id="48" idx="6"/>
            <a:endCxn id="52" idx="2"/>
          </p:cNvCxnSpPr>
          <p:nvPr/>
        </p:nvCxnSpPr>
        <p:spPr>
          <a:xfrm flipV="1">
            <a:off x="4597623" y="4372947"/>
            <a:ext cx="563156" cy="248005"/>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76" name="直接连接符 75"/>
          <p:cNvCxnSpPr>
            <a:stCxn id="48" idx="7"/>
            <a:endCxn id="56" idx="1"/>
          </p:cNvCxnSpPr>
          <p:nvPr/>
        </p:nvCxnSpPr>
        <p:spPr>
          <a:xfrm>
            <a:off x="4573162" y="4561898"/>
            <a:ext cx="612078" cy="860635"/>
          </a:xfrm>
          <a:prstGeom prst="line">
            <a:avLst/>
          </a:prstGeom>
        </p:spPr>
        <p:style>
          <a:lnRef idx="1">
            <a:schemeClr val="accent5"/>
          </a:lnRef>
          <a:fillRef idx="0">
            <a:schemeClr val="accent5"/>
          </a:fillRef>
          <a:effectRef idx="0">
            <a:schemeClr val="accent5"/>
          </a:effectRef>
          <a:fontRef idx="minor">
            <a:schemeClr val="tx1"/>
          </a:fontRef>
        </p:style>
      </p:cxnSp>
      <p:cxnSp>
        <p:nvCxnSpPr>
          <p:cNvPr id="77" name="直接连接符 76"/>
          <p:cNvCxnSpPr>
            <a:stCxn id="50" idx="6"/>
            <a:endCxn id="56" idx="1"/>
          </p:cNvCxnSpPr>
          <p:nvPr/>
        </p:nvCxnSpPr>
        <p:spPr>
          <a:xfrm>
            <a:off x="4597623" y="5175272"/>
            <a:ext cx="587617" cy="247261"/>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78" name="直接连接符 77"/>
          <p:cNvCxnSpPr>
            <a:stCxn id="51" idx="6"/>
            <a:endCxn id="54" idx="1"/>
          </p:cNvCxnSpPr>
          <p:nvPr/>
        </p:nvCxnSpPr>
        <p:spPr>
          <a:xfrm flipV="1">
            <a:off x="4597623" y="4868215"/>
            <a:ext cx="587617" cy="584217"/>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79" name="直接连接符 78"/>
          <p:cNvCxnSpPr>
            <a:stCxn id="49" idx="6"/>
            <a:endCxn id="54" idx="2"/>
          </p:cNvCxnSpPr>
          <p:nvPr/>
        </p:nvCxnSpPr>
        <p:spPr>
          <a:xfrm>
            <a:off x="4597623" y="4898113"/>
            <a:ext cx="563156" cy="29155"/>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80" name="直接连接符 79"/>
          <p:cNvCxnSpPr>
            <a:stCxn id="51" idx="6"/>
            <a:endCxn id="55" idx="1"/>
          </p:cNvCxnSpPr>
          <p:nvPr/>
        </p:nvCxnSpPr>
        <p:spPr>
          <a:xfrm flipV="1">
            <a:off x="4597623" y="5145374"/>
            <a:ext cx="587617" cy="307058"/>
          </a:xfrm>
          <a:prstGeom prst="line">
            <a:avLst/>
          </a:prstGeom>
        </p:spPr>
        <p:style>
          <a:lnRef idx="1">
            <a:schemeClr val="accent5"/>
          </a:lnRef>
          <a:fillRef idx="0">
            <a:schemeClr val="accent5"/>
          </a:fillRef>
          <a:effectRef idx="0">
            <a:schemeClr val="accent5"/>
          </a:effectRef>
          <a:fontRef idx="minor">
            <a:schemeClr val="tx1"/>
          </a:fontRef>
        </p:style>
      </p:cxnSp>
      <p:cxnSp>
        <p:nvCxnSpPr>
          <p:cNvPr id="81" name="直接连接符 80"/>
          <p:cNvCxnSpPr>
            <a:stCxn id="49" idx="6"/>
            <a:endCxn id="53" idx="2"/>
          </p:cNvCxnSpPr>
          <p:nvPr/>
        </p:nvCxnSpPr>
        <p:spPr>
          <a:xfrm flipV="1">
            <a:off x="4597623" y="4650107"/>
            <a:ext cx="563156" cy="248005"/>
          </a:xfrm>
          <a:prstGeom prst="line">
            <a:avLst/>
          </a:prstGeom>
        </p:spPr>
        <p:style>
          <a:lnRef idx="1">
            <a:schemeClr val="accent5"/>
          </a:lnRef>
          <a:fillRef idx="0">
            <a:schemeClr val="accent5"/>
          </a:fillRef>
          <a:effectRef idx="0">
            <a:schemeClr val="accent5"/>
          </a:effectRef>
          <a:fontRef idx="minor">
            <a:schemeClr val="tx1"/>
          </a:fontRef>
        </p:style>
      </p:cxnSp>
      <p:cxnSp>
        <p:nvCxnSpPr>
          <p:cNvPr id="82" name="直接连接符 81"/>
          <p:cNvCxnSpPr>
            <a:stCxn id="50" idx="6"/>
            <a:endCxn id="55" idx="1"/>
          </p:cNvCxnSpPr>
          <p:nvPr/>
        </p:nvCxnSpPr>
        <p:spPr>
          <a:xfrm flipV="1">
            <a:off x="4597623" y="5145374"/>
            <a:ext cx="587617" cy="29898"/>
          </a:xfrm>
          <a:prstGeom prst="line">
            <a:avLst/>
          </a:prstGeom>
        </p:spPr>
        <p:style>
          <a:lnRef idx="1">
            <a:schemeClr val="accent5"/>
          </a:lnRef>
          <a:fillRef idx="0">
            <a:schemeClr val="accent5"/>
          </a:fillRef>
          <a:effectRef idx="0">
            <a:schemeClr val="accent5"/>
          </a:effectRef>
          <a:fontRef idx="minor">
            <a:schemeClr val="tx1"/>
          </a:fontRef>
        </p:style>
      </p:cxnSp>
      <p:cxnSp>
        <p:nvCxnSpPr>
          <p:cNvPr id="83" name="直接连接符 82"/>
          <p:cNvCxnSpPr>
            <a:stCxn id="50" idx="7"/>
            <a:endCxn id="52" idx="2"/>
          </p:cNvCxnSpPr>
          <p:nvPr/>
        </p:nvCxnSpPr>
        <p:spPr>
          <a:xfrm flipV="1">
            <a:off x="4573162" y="4372947"/>
            <a:ext cx="587617" cy="743272"/>
          </a:xfrm>
          <a:prstGeom prst="line">
            <a:avLst/>
          </a:prstGeom>
        </p:spPr>
        <p:style>
          <a:lnRef idx="1">
            <a:schemeClr val="accent5"/>
          </a:lnRef>
          <a:fillRef idx="0">
            <a:schemeClr val="accent5"/>
          </a:fillRef>
          <a:effectRef idx="0">
            <a:schemeClr val="accent5"/>
          </a:effectRef>
          <a:fontRef idx="minor">
            <a:schemeClr val="tx1"/>
          </a:fontRef>
        </p:style>
      </p:cxnSp>
      <p:cxnSp>
        <p:nvCxnSpPr>
          <p:cNvPr id="84" name="直接连接符 83"/>
          <p:cNvCxnSpPr>
            <a:stCxn id="48" idx="6"/>
          </p:cNvCxnSpPr>
          <p:nvPr/>
        </p:nvCxnSpPr>
        <p:spPr>
          <a:xfrm>
            <a:off x="4597622" y="4620952"/>
            <a:ext cx="469933" cy="33817"/>
          </a:xfrm>
          <a:prstGeom prst="line">
            <a:avLst/>
          </a:prstGeom>
        </p:spPr>
        <p:style>
          <a:lnRef idx="1">
            <a:schemeClr val="accent5"/>
          </a:lnRef>
          <a:fillRef idx="0">
            <a:schemeClr val="accent5"/>
          </a:fillRef>
          <a:effectRef idx="0">
            <a:schemeClr val="accent5"/>
          </a:effectRef>
          <a:fontRef idx="minor">
            <a:schemeClr val="tx1"/>
          </a:fontRef>
        </p:style>
      </p:cxnSp>
      <p:cxnSp>
        <p:nvCxnSpPr>
          <p:cNvPr id="85" name="直接连接符 84"/>
          <p:cNvCxnSpPr>
            <a:stCxn id="49" idx="6"/>
            <a:endCxn id="55" idx="1"/>
          </p:cNvCxnSpPr>
          <p:nvPr/>
        </p:nvCxnSpPr>
        <p:spPr>
          <a:xfrm>
            <a:off x="4597623" y="4898113"/>
            <a:ext cx="587617" cy="247261"/>
          </a:xfrm>
          <a:prstGeom prst="line">
            <a:avLst/>
          </a:prstGeom>
        </p:spPr>
        <p:style>
          <a:lnRef idx="1">
            <a:schemeClr val="accent5"/>
          </a:lnRef>
          <a:fillRef idx="0">
            <a:schemeClr val="accent5"/>
          </a:fillRef>
          <a:effectRef idx="0">
            <a:schemeClr val="accent5"/>
          </a:effectRef>
          <a:fontRef idx="minor">
            <a:schemeClr val="tx1"/>
          </a:fontRef>
        </p:style>
      </p:cxnSp>
      <p:cxnSp>
        <p:nvCxnSpPr>
          <p:cNvPr id="86" name="直接连接符 85"/>
          <p:cNvCxnSpPr>
            <a:stCxn id="51" idx="6"/>
            <a:endCxn id="56" idx="1"/>
          </p:cNvCxnSpPr>
          <p:nvPr/>
        </p:nvCxnSpPr>
        <p:spPr>
          <a:xfrm flipV="1">
            <a:off x="4597623" y="5422534"/>
            <a:ext cx="587617" cy="29898"/>
          </a:xfrm>
          <a:prstGeom prst="line">
            <a:avLst/>
          </a:prstGeom>
        </p:spPr>
        <p:style>
          <a:lnRef idx="1">
            <a:schemeClr val="accent5"/>
          </a:lnRef>
          <a:fillRef idx="0">
            <a:schemeClr val="accent5"/>
          </a:fillRef>
          <a:effectRef idx="0">
            <a:schemeClr val="accent5"/>
          </a:effectRef>
          <a:fontRef idx="minor">
            <a:schemeClr val="tx1"/>
          </a:fontRef>
        </p:style>
      </p:cxnSp>
      <p:sp>
        <p:nvSpPr>
          <p:cNvPr id="87" name="文本框 86"/>
          <p:cNvSpPr txBox="1"/>
          <p:nvPr/>
        </p:nvSpPr>
        <p:spPr>
          <a:xfrm>
            <a:off x="4665363" y="5578350"/>
            <a:ext cx="403212" cy="382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zh-CN" altLang="en-US"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cxnSp>
        <p:nvCxnSpPr>
          <p:cNvPr id="88" name="直接连接符 87"/>
          <p:cNvCxnSpPr>
            <a:stCxn id="87" idx="1"/>
            <a:endCxn id="56" idx="2"/>
          </p:cNvCxnSpPr>
          <p:nvPr/>
        </p:nvCxnSpPr>
        <p:spPr>
          <a:xfrm flipV="1">
            <a:off x="4665363" y="5481586"/>
            <a:ext cx="495415" cy="269479"/>
          </a:xfrm>
          <a:prstGeom prst="line">
            <a:avLst/>
          </a:prstGeom>
        </p:spPr>
        <p:style>
          <a:lnRef idx="1">
            <a:schemeClr val="accent5"/>
          </a:lnRef>
          <a:fillRef idx="0">
            <a:schemeClr val="accent5"/>
          </a:fillRef>
          <a:effectRef idx="0">
            <a:schemeClr val="accent5"/>
          </a:effectRef>
          <a:fontRef idx="minor">
            <a:schemeClr val="tx1"/>
          </a:fontRef>
        </p:style>
      </p:cxnSp>
      <p:cxnSp>
        <p:nvCxnSpPr>
          <p:cNvPr id="89" name="直接连接符 88"/>
          <p:cNvCxnSpPr>
            <a:stCxn id="87" idx="1"/>
            <a:endCxn id="55" idx="2"/>
          </p:cNvCxnSpPr>
          <p:nvPr/>
        </p:nvCxnSpPr>
        <p:spPr>
          <a:xfrm flipV="1">
            <a:off x="4665363" y="5204427"/>
            <a:ext cx="495415" cy="546638"/>
          </a:xfrm>
          <a:prstGeom prst="line">
            <a:avLst/>
          </a:prstGeom>
        </p:spPr>
        <p:style>
          <a:lnRef idx="1">
            <a:schemeClr val="accent5"/>
          </a:lnRef>
          <a:fillRef idx="0">
            <a:schemeClr val="accent5"/>
          </a:fillRef>
          <a:effectRef idx="0">
            <a:schemeClr val="accent5"/>
          </a:effectRef>
          <a:fontRef idx="minor">
            <a:schemeClr val="tx1"/>
          </a:fontRef>
        </p:style>
      </p:cxnSp>
      <p:cxnSp>
        <p:nvCxnSpPr>
          <p:cNvPr id="90" name="直接连接符 89"/>
          <p:cNvCxnSpPr>
            <a:stCxn id="87" idx="1"/>
            <a:endCxn id="53" idx="2"/>
          </p:cNvCxnSpPr>
          <p:nvPr/>
        </p:nvCxnSpPr>
        <p:spPr>
          <a:xfrm flipV="1">
            <a:off x="4665363" y="4650108"/>
            <a:ext cx="495415" cy="1100958"/>
          </a:xfrm>
          <a:prstGeom prst="line">
            <a:avLst/>
          </a:prstGeom>
        </p:spPr>
        <p:style>
          <a:lnRef idx="1">
            <a:schemeClr val="accent5"/>
          </a:lnRef>
          <a:fillRef idx="0">
            <a:schemeClr val="accent5"/>
          </a:fillRef>
          <a:effectRef idx="0">
            <a:schemeClr val="accent5"/>
          </a:effectRef>
          <a:fontRef idx="minor">
            <a:schemeClr val="tx1"/>
          </a:fontRef>
        </p:style>
      </p:cxnSp>
      <p:cxnSp>
        <p:nvCxnSpPr>
          <p:cNvPr id="91" name="直接连接符 90"/>
          <p:cNvCxnSpPr>
            <a:stCxn id="50" idx="7"/>
            <a:endCxn id="53" idx="2"/>
          </p:cNvCxnSpPr>
          <p:nvPr/>
        </p:nvCxnSpPr>
        <p:spPr>
          <a:xfrm flipV="1">
            <a:off x="4573162" y="4650107"/>
            <a:ext cx="587617" cy="466111"/>
          </a:xfrm>
          <a:prstGeom prst="line">
            <a:avLst/>
          </a:prstGeom>
        </p:spPr>
        <p:style>
          <a:lnRef idx="1">
            <a:schemeClr val="accent5"/>
          </a:lnRef>
          <a:fillRef idx="0">
            <a:schemeClr val="accent5"/>
          </a:fillRef>
          <a:effectRef idx="0">
            <a:schemeClr val="accent5"/>
          </a:effectRef>
          <a:fontRef idx="minor">
            <a:schemeClr val="tx1"/>
          </a:fontRef>
        </p:style>
      </p:cxnSp>
      <p:cxnSp>
        <p:nvCxnSpPr>
          <p:cNvPr id="92" name="直接连接符 91"/>
          <p:cNvCxnSpPr>
            <a:endCxn id="57" idx="2"/>
          </p:cNvCxnSpPr>
          <p:nvPr/>
        </p:nvCxnSpPr>
        <p:spPr>
          <a:xfrm flipV="1">
            <a:off x="5294808" y="4343791"/>
            <a:ext cx="441133" cy="20931"/>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93" name="直接连接符 92"/>
          <p:cNvCxnSpPr>
            <a:endCxn id="60" idx="2"/>
          </p:cNvCxnSpPr>
          <p:nvPr/>
        </p:nvCxnSpPr>
        <p:spPr>
          <a:xfrm flipV="1">
            <a:off x="5294808" y="5175272"/>
            <a:ext cx="441133" cy="298091"/>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94" name="直接连接符 93"/>
          <p:cNvCxnSpPr>
            <a:stCxn id="54" idx="7"/>
            <a:endCxn id="57" idx="3"/>
          </p:cNvCxnSpPr>
          <p:nvPr/>
        </p:nvCxnSpPr>
        <p:spPr>
          <a:xfrm flipV="1">
            <a:off x="5303346" y="4402845"/>
            <a:ext cx="457055" cy="465369"/>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95" name="直接连接符 94"/>
          <p:cNvCxnSpPr>
            <a:endCxn id="58" idx="2"/>
          </p:cNvCxnSpPr>
          <p:nvPr/>
        </p:nvCxnSpPr>
        <p:spPr>
          <a:xfrm flipV="1">
            <a:off x="5294808" y="4620952"/>
            <a:ext cx="441133" cy="20931"/>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96" name="直接连接符 95"/>
          <p:cNvCxnSpPr>
            <a:endCxn id="60" idx="2"/>
          </p:cNvCxnSpPr>
          <p:nvPr/>
        </p:nvCxnSpPr>
        <p:spPr>
          <a:xfrm>
            <a:off x="5294808" y="4919043"/>
            <a:ext cx="441133" cy="256229"/>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97" name="直接连接符 96"/>
          <p:cNvCxnSpPr>
            <a:endCxn id="59" idx="2"/>
          </p:cNvCxnSpPr>
          <p:nvPr/>
        </p:nvCxnSpPr>
        <p:spPr>
          <a:xfrm flipV="1">
            <a:off x="5270347" y="4898113"/>
            <a:ext cx="465594" cy="239038"/>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98" name="直接连接符 97"/>
          <p:cNvCxnSpPr>
            <a:stCxn id="56" idx="6"/>
            <a:endCxn id="61" idx="2"/>
          </p:cNvCxnSpPr>
          <p:nvPr/>
        </p:nvCxnSpPr>
        <p:spPr>
          <a:xfrm flipV="1">
            <a:off x="5327807" y="5452432"/>
            <a:ext cx="408133" cy="29155"/>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99" name="直接连接符 98"/>
          <p:cNvCxnSpPr>
            <a:stCxn id="56" idx="7"/>
            <a:endCxn id="57" idx="3"/>
          </p:cNvCxnSpPr>
          <p:nvPr/>
        </p:nvCxnSpPr>
        <p:spPr>
          <a:xfrm flipV="1">
            <a:off x="5303346" y="4402845"/>
            <a:ext cx="457055" cy="1019688"/>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00" name="直接连接符 99"/>
          <p:cNvCxnSpPr>
            <a:stCxn id="55" idx="6"/>
            <a:endCxn id="60" idx="1"/>
          </p:cNvCxnSpPr>
          <p:nvPr/>
        </p:nvCxnSpPr>
        <p:spPr>
          <a:xfrm flipV="1">
            <a:off x="5327807" y="5116219"/>
            <a:ext cx="432594" cy="88209"/>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01" name="直接连接符 100"/>
          <p:cNvCxnSpPr>
            <a:stCxn id="52" idx="6"/>
            <a:endCxn id="59" idx="2"/>
          </p:cNvCxnSpPr>
          <p:nvPr/>
        </p:nvCxnSpPr>
        <p:spPr>
          <a:xfrm>
            <a:off x="5327807" y="4372947"/>
            <a:ext cx="408133" cy="525166"/>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02" name="直接连接符 101"/>
          <p:cNvCxnSpPr>
            <a:stCxn id="53" idx="6"/>
            <a:endCxn id="59" idx="2"/>
          </p:cNvCxnSpPr>
          <p:nvPr/>
        </p:nvCxnSpPr>
        <p:spPr>
          <a:xfrm>
            <a:off x="5327807" y="4650107"/>
            <a:ext cx="408133" cy="248005"/>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03" name="直接连接符 102"/>
          <p:cNvCxnSpPr>
            <a:endCxn id="67" idx="1"/>
          </p:cNvCxnSpPr>
          <p:nvPr/>
        </p:nvCxnSpPr>
        <p:spPr>
          <a:xfrm flipV="1">
            <a:off x="5928892" y="4280260"/>
            <a:ext cx="286856" cy="46744"/>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04" name="直接连接符 103"/>
          <p:cNvCxnSpPr>
            <a:stCxn id="61" idx="7"/>
            <a:endCxn id="69" idx="1"/>
          </p:cNvCxnSpPr>
          <p:nvPr/>
        </p:nvCxnSpPr>
        <p:spPr>
          <a:xfrm flipV="1">
            <a:off x="5878509" y="4906337"/>
            <a:ext cx="337239" cy="487041"/>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05" name="直接连接符 104"/>
          <p:cNvCxnSpPr>
            <a:stCxn id="60" idx="6"/>
            <a:endCxn id="71" idx="1"/>
          </p:cNvCxnSpPr>
          <p:nvPr/>
        </p:nvCxnSpPr>
        <p:spPr>
          <a:xfrm>
            <a:off x="5902970" y="5175272"/>
            <a:ext cx="312778" cy="229402"/>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06" name="直接连接符 105"/>
          <p:cNvCxnSpPr>
            <a:stCxn id="61" idx="7"/>
            <a:endCxn id="71" idx="1"/>
          </p:cNvCxnSpPr>
          <p:nvPr/>
        </p:nvCxnSpPr>
        <p:spPr>
          <a:xfrm>
            <a:off x="5878509" y="5393378"/>
            <a:ext cx="337239" cy="11296"/>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07" name="直接连接符 106"/>
          <p:cNvCxnSpPr>
            <a:stCxn id="60" idx="6"/>
            <a:endCxn id="70" idx="1"/>
          </p:cNvCxnSpPr>
          <p:nvPr/>
        </p:nvCxnSpPr>
        <p:spPr>
          <a:xfrm flipV="1">
            <a:off x="5902970" y="5167765"/>
            <a:ext cx="312778" cy="7507"/>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08" name="直接连接符 107"/>
          <p:cNvCxnSpPr>
            <a:stCxn id="57" idx="6"/>
            <a:endCxn id="68" idx="1"/>
          </p:cNvCxnSpPr>
          <p:nvPr/>
        </p:nvCxnSpPr>
        <p:spPr>
          <a:xfrm>
            <a:off x="5902970" y="4343791"/>
            <a:ext cx="312778" cy="222801"/>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09" name="直接连接符 108"/>
          <p:cNvCxnSpPr>
            <a:stCxn id="58" idx="6"/>
            <a:endCxn id="68" idx="1"/>
          </p:cNvCxnSpPr>
          <p:nvPr/>
        </p:nvCxnSpPr>
        <p:spPr>
          <a:xfrm flipV="1">
            <a:off x="5902970" y="4566593"/>
            <a:ext cx="312778" cy="54359"/>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10" name="直接连接符 109"/>
          <p:cNvCxnSpPr>
            <a:stCxn id="57" idx="6"/>
          </p:cNvCxnSpPr>
          <p:nvPr/>
        </p:nvCxnSpPr>
        <p:spPr>
          <a:xfrm>
            <a:off x="5902969" y="4343791"/>
            <a:ext cx="297849" cy="548423"/>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11" name="直接连接符 110"/>
          <p:cNvCxnSpPr>
            <a:stCxn id="59" idx="6"/>
            <a:endCxn id="70" idx="1"/>
          </p:cNvCxnSpPr>
          <p:nvPr/>
        </p:nvCxnSpPr>
        <p:spPr>
          <a:xfrm>
            <a:off x="5902970" y="4898112"/>
            <a:ext cx="312778" cy="269652"/>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12" name="直接连接符 111"/>
          <p:cNvCxnSpPr>
            <a:stCxn id="59" idx="7"/>
            <a:endCxn id="69" idx="1"/>
          </p:cNvCxnSpPr>
          <p:nvPr/>
        </p:nvCxnSpPr>
        <p:spPr>
          <a:xfrm>
            <a:off x="5878509" y="4839059"/>
            <a:ext cx="337239" cy="67278"/>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13" name="直接连接符 112"/>
          <p:cNvCxnSpPr>
            <a:stCxn id="67" idx="1"/>
            <a:endCxn id="60" idx="6"/>
          </p:cNvCxnSpPr>
          <p:nvPr/>
        </p:nvCxnSpPr>
        <p:spPr>
          <a:xfrm flipH="1">
            <a:off x="5902970" y="4280260"/>
            <a:ext cx="312778" cy="895012"/>
          </a:xfrm>
          <a:prstGeom prst="line">
            <a:avLst/>
          </a:prstGeom>
          <a:ln>
            <a:solidFill>
              <a:srgbClr val="7F7F7F"/>
            </a:solidFill>
          </a:ln>
        </p:spPr>
        <p:style>
          <a:lnRef idx="1">
            <a:schemeClr val="accent5"/>
          </a:lnRef>
          <a:fillRef idx="0">
            <a:schemeClr val="accent5"/>
          </a:fillRef>
          <a:effectRef idx="0">
            <a:schemeClr val="accent5"/>
          </a:effectRef>
          <a:fontRef idx="minor">
            <a:schemeClr val="tx1"/>
          </a:fontRef>
        </p:style>
      </p:cxnSp>
      <p:cxnSp>
        <p:nvCxnSpPr>
          <p:cNvPr id="114" name="直接连接符 113"/>
          <p:cNvCxnSpPr>
            <a:endCxn id="62" idx="1"/>
          </p:cNvCxnSpPr>
          <p:nvPr/>
        </p:nvCxnSpPr>
        <p:spPr>
          <a:xfrm flipV="1">
            <a:off x="6566887" y="4343792"/>
            <a:ext cx="432331" cy="73414"/>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115" name="直接连接符 114"/>
          <p:cNvCxnSpPr>
            <a:stCxn id="71" idx="3"/>
            <a:endCxn id="65" idx="0"/>
          </p:cNvCxnSpPr>
          <p:nvPr/>
        </p:nvCxnSpPr>
        <p:spPr>
          <a:xfrm flipV="1">
            <a:off x="6618959" y="5081325"/>
            <a:ext cx="472087" cy="323349"/>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116" name="直接连接符 115"/>
          <p:cNvCxnSpPr>
            <a:endCxn id="65" idx="1"/>
          </p:cNvCxnSpPr>
          <p:nvPr/>
        </p:nvCxnSpPr>
        <p:spPr>
          <a:xfrm>
            <a:off x="6618960" y="5165665"/>
            <a:ext cx="380258" cy="7488"/>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117" name="直接连接符 116"/>
          <p:cNvCxnSpPr>
            <a:stCxn id="62" idx="1"/>
            <a:endCxn id="70" idx="3"/>
          </p:cNvCxnSpPr>
          <p:nvPr/>
        </p:nvCxnSpPr>
        <p:spPr>
          <a:xfrm flipH="1">
            <a:off x="6618959" y="4343791"/>
            <a:ext cx="380259" cy="823973"/>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118" name="直接连接符 117"/>
          <p:cNvCxnSpPr>
            <a:endCxn id="66" idx="1"/>
          </p:cNvCxnSpPr>
          <p:nvPr/>
        </p:nvCxnSpPr>
        <p:spPr>
          <a:xfrm>
            <a:off x="6618957" y="5151603"/>
            <a:ext cx="380261" cy="298004"/>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119" name="直接连接符 118"/>
          <p:cNvCxnSpPr>
            <a:stCxn id="63" idx="1"/>
          </p:cNvCxnSpPr>
          <p:nvPr/>
        </p:nvCxnSpPr>
        <p:spPr>
          <a:xfrm flipH="1" flipV="1">
            <a:off x="6551959" y="4419478"/>
            <a:ext cx="447259" cy="200767"/>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120" name="直接连接符 119"/>
          <p:cNvCxnSpPr>
            <a:stCxn id="64" idx="1"/>
          </p:cNvCxnSpPr>
          <p:nvPr/>
        </p:nvCxnSpPr>
        <p:spPr>
          <a:xfrm flipH="1">
            <a:off x="6618960" y="4896699"/>
            <a:ext cx="380258" cy="44913"/>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121" name="直接连接符 120"/>
          <p:cNvCxnSpPr>
            <a:stCxn id="68" idx="3"/>
            <a:endCxn id="63" idx="1"/>
          </p:cNvCxnSpPr>
          <p:nvPr/>
        </p:nvCxnSpPr>
        <p:spPr>
          <a:xfrm>
            <a:off x="6618959" y="4566593"/>
            <a:ext cx="380259" cy="53652"/>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122" name="直接连接符 121"/>
          <p:cNvCxnSpPr>
            <a:stCxn id="68" idx="3"/>
            <a:endCxn id="66" idx="1"/>
          </p:cNvCxnSpPr>
          <p:nvPr/>
        </p:nvCxnSpPr>
        <p:spPr>
          <a:xfrm>
            <a:off x="6618959" y="4566592"/>
            <a:ext cx="380259" cy="883015"/>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123" name="直接连接符 122"/>
          <p:cNvCxnSpPr>
            <a:stCxn id="63" idx="1"/>
          </p:cNvCxnSpPr>
          <p:nvPr/>
        </p:nvCxnSpPr>
        <p:spPr>
          <a:xfrm flipH="1">
            <a:off x="6633887" y="4620245"/>
            <a:ext cx="365331" cy="298798"/>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cxnSp>
        <p:nvCxnSpPr>
          <p:cNvPr id="124" name="直接连接符 123"/>
          <p:cNvCxnSpPr>
            <a:stCxn id="64" idx="1"/>
            <a:endCxn id="70" idx="3"/>
          </p:cNvCxnSpPr>
          <p:nvPr/>
        </p:nvCxnSpPr>
        <p:spPr>
          <a:xfrm flipH="1">
            <a:off x="6618959" y="4896698"/>
            <a:ext cx="380259" cy="271066"/>
          </a:xfrm>
          <a:prstGeom prst="line">
            <a:avLst/>
          </a:prstGeom>
          <a:ln>
            <a:solidFill>
              <a:srgbClr val="F05A23"/>
            </a:solidFill>
          </a:ln>
        </p:spPr>
        <p:style>
          <a:lnRef idx="1">
            <a:schemeClr val="accent5"/>
          </a:lnRef>
          <a:fillRef idx="0">
            <a:schemeClr val="accent5"/>
          </a:fillRef>
          <a:effectRef idx="0">
            <a:schemeClr val="accent5"/>
          </a:effectRef>
          <a:fontRef idx="minor">
            <a:schemeClr val="tx1"/>
          </a:fontRef>
        </p:style>
      </p:cxnSp>
      <p:sp>
        <p:nvSpPr>
          <p:cNvPr id="125" name="文本框 124"/>
          <p:cNvSpPr txBox="1"/>
          <p:nvPr/>
        </p:nvSpPr>
        <p:spPr>
          <a:xfrm>
            <a:off x="6701825" y="5570014"/>
            <a:ext cx="403212" cy="382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zh-CN" altLang="en-US"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26" name="文本框 43"/>
          <p:cNvSpPr txBox="1"/>
          <p:nvPr/>
        </p:nvSpPr>
        <p:spPr>
          <a:xfrm>
            <a:off x="4556325" y="1716871"/>
            <a:ext cx="2592860" cy="38265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srgbClr val="F05A23"/>
                </a:solidFill>
                <a:effectLst/>
                <a:uLnTx/>
                <a:uFillTx/>
                <a:latin typeface="Arial" panose="020B0604020202020204"/>
                <a:ea typeface="华文楷体" panose="02010600040101010101" charset="-122"/>
                <a:cs typeface="+mn-cs"/>
              </a:rPr>
              <a:t>原始数据输入</a:t>
            </a:r>
            <a:endParaRPr kumimoji="0" lang="zh-CN" altLang="en-US" sz="1835" b="1" i="0" u="none" strike="noStrike" kern="1200" cap="none" spc="0" normalizeH="0" baseline="0" noProof="0" dirty="0">
              <a:ln>
                <a:noFill/>
              </a:ln>
              <a:solidFill>
                <a:srgbClr val="F05A23"/>
              </a:solidFill>
              <a:effectLst/>
              <a:uLnTx/>
              <a:uFillTx/>
              <a:latin typeface="Arial" panose="020B0604020202020204"/>
              <a:ea typeface="华文楷体" panose="02010600040101010101" charset="-122"/>
              <a:cs typeface="+mn-cs"/>
            </a:endParaRPr>
          </a:p>
        </p:txBody>
      </p:sp>
      <p:sp>
        <p:nvSpPr>
          <p:cNvPr id="127" name="文本框 43"/>
          <p:cNvSpPr txBox="1"/>
          <p:nvPr/>
        </p:nvSpPr>
        <p:spPr>
          <a:xfrm>
            <a:off x="4659829" y="3647591"/>
            <a:ext cx="2592860" cy="38265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err="1">
                <a:ln>
                  <a:noFill/>
                </a:ln>
                <a:solidFill>
                  <a:srgbClr val="F05A23"/>
                </a:solidFill>
                <a:effectLst/>
                <a:uLnTx/>
                <a:uFillTx/>
                <a:latin typeface="Arial" panose="020B0604020202020204"/>
                <a:ea typeface="华文楷体" panose="02010600040101010101" charset="-122"/>
                <a:cs typeface="+mn-cs"/>
              </a:rPr>
              <a:t>Wide&amp;Deep</a:t>
            </a:r>
            <a:r>
              <a:rPr kumimoji="0" lang="zh-CN" altLang="en-US" sz="1835" b="1" i="0" u="none" strike="noStrike" kern="1200" cap="none" spc="0" normalizeH="0" baseline="0" noProof="0" dirty="0">
                <a:ln>
                  <a:noFill/>
                </a:ln>
                <a:solidFill>
                  <a:srgbClr val="F05A23"/>
                </a:solidFill>
                <a:effectLst/>
                <a:uLnTx/>
                <a:uFillTx/>
                <a:latin typeface="Arial" panose="020B0604020202020204"/>
                <a:ea typeface="华文楷体" panose="02010600040101010101" charset="-122"/>
                <a:cs typeface="+mn-cs"/>
              </a:rPr>
              <a:t>算法</a:t>
            </a:r>
            <a:endParaRPr kumimoji="0" lang="zh-CN" altLang="en-US" sz="1835" b="1" i="0" u="none" strike="noStrike" kern="1200" cap="none" spc="0" normalizeH="0" baseline="0" noProof="0" dirty="0">
              <a:ln>
                <a:noFill/>
              </a:ln>
              <a:solidFill>
                <a:srgbClr val="F05A23"/>
              </a:solidFill>
              <a:effectLst/>
              <a:uLnTx/>
              <a:uFillTx/>
              <a:latin typeface="Arial" panose="020B0604020202020204"/>
              <a:ea typeface="华文楷体" panose="02010600040101010101" charset="-122"/>
              <a:cs typeface="+mn-cs"/>
            </a:endParaRPr>
          </a:p>
        </p:txBody>
      </p:sp>
      <p:pic>
        <p:nvPicPr>
          <p:cNvPr id="128" name="Picture 2" descr="D:\Users\zhengshijia227\Downloads\教案中心.png"/>
          <p:cNvPicPr>
            <a:picLocks noChangeAspect="1" noChangeArrowheads="1"/>
          </p:cNvPicPr>
          <p:nvPr/>
        </p:nvPicPr>
        <p:blipFill>
          <a:blip r:embed="rId2" cstate="screen">
            <a:grayscl/>
          </a:blip>
          <a:srcRect/>
          <a:stretch>
            <a:fillRect/>
          </a:stretch>
        </p:blipFill>
        <p:spPr bwMode="auto">
          <a:xfrm>
            <a:off x="4159987" y="2335099"/>
            <a:ext cx="514237" cy="514237"/>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3" descr="D:\Users\zhengshijia227\Downloads\上课 [转换].png"/>
          <p:cNvPicPr>
            <a:picLocks noChangeAspect="1" noChangeArrowheads="1"/>
          </p:cNvPicPr>
          <p:nvPr/>
        </p:nvPicPr>
        <p:blipFill>
          <a:blip r:embed="rId3" cstate="screen">
            <a:grayscl/>
          </a:blip>
          <a:srcRect/>
          <a:stretch>
            <a:fillRect/>
          </a:stretch>
        </p:blipFill>
        <p:spPr bwMode="auto">
          <a:xfrm>
            <a:off x="5034545" y="2344257"/>
            <a:ext cx="477506" cy="477506"/>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4" descr="D:\Users\zhengshijia227\Downloads\互动.png"/>
          <p:cNvPicPr>
            <a:picLocks noChangeAspect="1" noChangeArrowheads="1"/>
          </p:cNvPicPr>
          <p:nvPr/>
        </p:nvPicPr>
        <p:blipFill>
          <a:blip r:embed="rId4" cstate="screen">
            <a:grayscl/>
          </a:blip>
          <a:srcRect/>
          <a:stretch>
            <a:fillRect/>
          </a:stretch>
        </p:blipFill>
        <p:spPr bwMode="auto">
          <a:xfrm>
            <a:off x="5874934" y="2335099"/>
            <a:ext cx="550968" cy="527242"/>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5" descr="D:\Users\zhengshijia227\Downloads\培训.png"/>
          <p:cNvPicPr>
            <a:picLocks noChangeAspect="1" noChangeArrowheads="1"/>
          </p:cNvPicPr>
          <p:nvPr/>
        </p:nvPicPr>
        <p:blipFill>
          <a:blip r:embed="rId5" cstate="screen">
            <a:grayscl/>
          </a:blip>
          <a:srcRect/>
          <a:stretch>
            <a:fillRect/>
          </a:stretch>
        </p:blipFill>
        <p:spPr bwMode="auto">
          <a:xfrm>
            <a:off x="6743066" y="2284132"/>
            <a:ext cx="550968" cy="550968"/>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43"/>
          <p:cNvSpPr txBox="1"/>
          <p:nvPr/>
        </p:nvSpPr>
        <p:spPr>
          <a:xfrm>
            <a:off x="3969377" y="2974688"/>
            <a:ext cx="367408" cy="312073"/>
          </a:xfrm>
          <a:prstGeom prst="rect">
            <a:avLst/>
          </a:prstGeom>
          <a:noFill/>
        </p:spPr>
        <p:txBody>
          <a:bodyPr wrap="none" rtlCol="0">
            <a:spAutoFit/>
          </a:bodyPr>
          <a:lstStyle>
            <a:defPPr>
              <a:defRPr lang="ko-KR"/>
            </a:defPPr>
            <a:lvl1pPr>
              <a:defRPr sz="2000" b="1">
                <a:solidFill>
                  <a:srgbClr val="F05A23"/>
                </a:solidFill>
                <a:latin typeface="华文楷体" panose="02010600040101010101" charset="-122"/>
                <a:ea typeface="华文楷体" panose="02010600040101010101" charset="-122"/>
                <a:cs typeface="华文楷体" panose="02010600040101010101"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lang="en-US" sz="1430" b="0" dirty="0" smtClean="0">
                <a:solidFill>
                  <a:prstClr val="black"/>
                </a:solidFill>
              </a:rPr>
              <a:t>…</a:t>
            </a:r>
            <a:endParaRPr kumimoji="0" 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133" name="TextBox 43"/>
          <p:cNvSpPr txBox="1"/>
          <p:nvPr/>
        </p:nvSpPr>
        <p:spPr>
          <a:xfrm>
            <a:off x="4813478" y="2974688"/>
            <a:ext cx="367408" cy="312073"/>
          </a:xfrm>
          <a:prstGeom prst="rect">
            <a:avLst/>
          </a:prstGeom>
          <a:noFill/>
        </p:spPr>
        <p:txBody>
          <a:bodyPr wrap="none" rtlCol="0">
            <a:spAutoFit/>
          </a:bodyPr>
          <a:lstStyle>
            <a:defPPr>
              <a:defRPr lang="ko-KR"/>
            </a:defPPr>
            <a:lvl1pPr>
              <a:defRPr sz="2000" b="1">
                <a:solidFill>
                  <a:srgbClr val="F05A23"/>
                </a:solidFill>
                <a:latin typeface="华文楷体" panose="02010600040101010101" charset="-122"/>
                <a:ea typeface="华文楷体" panose="02010600040101010101" charset="-122"/>
                <a:cs typeface="华文楷体" panose="02010600040101010101"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3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a:t>
            </a:r>
            <a:endParaRPr kumimoji="0" 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134" name="TextBox 43"/>
          <p:cNvSpPr txBox="1"/>
          <p:nvPr/>
        </p:nvSpPr>
        <p:spPr>
          <a:xfrm>
            <a:off x="5693466" y="2974688"/>
            <a:ext cx="367408" cy="312073"/>
          </a:xfrm>
          <a:prstGeom prst="rect">
            <a:avLst/>
          </a:prstGeom>
          <a:noFill/>
        </p:spPr>
        <p:txBody>
          <a:bodyPr wrap="none" rtlCol="0">
            <a:spAutoFit/>
          </a:bodyPr>
          <a:lstStyle>
            <a:defPPr>
              <a:defRPr lang="ko-KR"/>
            </a:defPPr>
            <a:lvl1pPr>
              <a:defRPr sz="2000" b="1">
                <a:solidFill>
                  <a:srgbClr val="F05A23"/>
                </a:solidFill>
                <a:latin typeface="华文楷体" panose="02010600040101010101" charset="-122"/>
                <a:ea typeface="华文楷体" panose="02010600040101010101" charset="-122"/>
                <a:cs typeface="华文楷体" panose="02010600040101010101"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3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a:t>
            </a:r>
            <a:endParaRPr kumimoji="0" 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135" name="TextBox 43"/>
          <p:cNvSpPr txBox="1"/>
          <p:nvPr/>
        </p:nvSpPr>
        <p:spPr>
          <a:xfrm>
            <a:off x="6554113" y="2974688"/>
            <a:ext cx="367408" cy="312073"/>
          </a:xfrm>
          <a:prstGeom prst="rect">
            <a:avLst/>
          </a:prstGeom>
          <a:noFill/>
        </p:spPr>
        <p:txBody>
          <a:bodyPr wrap="none" rtlCol="0">
            <a:spAutoFit/>
          </a:bodyPr>
          <a:lstStyle>
            <a:defPPr>
              <a:defRPr lang="ko-KR"/>
            </a:defPPr>
            <a:lvl1pPr>
              <a:defRPr sz="2000" b="1">
                <a:solidFill>
                  <a:srgbClr val="F05A23"/>
                </a:solidFill>
                <a:latin typeface="华文楷体" panose="02010600040101010101" charset="-122"/>
                <a:ea typeface="华文楷体" panose="02010600040101010101" charset="-122"/>
                <a:cs typeface="华文楷体" panose="02010600040101010101"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3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a:t>
            </a:r>
            <a:endParaRPr kumimoji="0" lang="en-US" sz="143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136" name="TextBox 84"/>
          <p:cNvSpPr txBox="1"/>
          <p:nvPr/>
        </p:nvSpPr>
        <p:spPr>
          <a:xfrm>
            <a:off x="7393905" y="2343253"/>
            <a:ext cx="519401" cy="384488"/>
          </a:xfrm>
          <a:prstGeom prst="rect">
            <a:avLst/>
          </a:prstGeom>
          <a:noFill/>
          <a:ln>
            <a:noFill/>
          </a:ln>
        </p:spPr>
        <p:txBody>
          <a:bodyPr wrap="none" rtlCol="0">
            <a:noAutofit/>
          </a:bodyPr>
          <a:lstStyle/>
          <a:p>
            <a:pPr marL="0" marR="0" lvl="0" indent="0" algn="l" defTabSz="951865"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endParaRPr>
          </a:p>
        </p:txBody>
      </p:sp>
      <p:sp>
        <p:nvSpPr>
          <p:cNvPr id="137" name="TextBox 84"/>
          <p:cNvSpPr txBox="1"/>
          <p:nvPr/>
        </p:nvSpPr>
        <p:spPr>
          <a:xfrm>
            <a:off x="7393906" y="2878333"/>
            <a:ext cx="519401" cy="384488"/>
          </a:xfrm>
          <a:prstGeom prst="rect">
            <a:avLst/>
          </a:prstGeom>
          <a:noFill/>
          <a:ln>
            <a:noFill/>
          </a:ln>
        </p:spPr>
        <p:txBody>
          <a:bodyPr wrap="none" rtlCol="0">
            <a:noAutofit/>
          </a:bodyPr>
          <a:lstStyle/>
          <a:p>
            <a:pPr marL="0" marR="0" lvl="0" indent="0" algn="l" defTabSz="951865"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endParaRPr>
          </a:p>
        </p:txBody>
      </p:sp>
      <p:sp>
        <p:nvSpPr>
          <p:cNvPr id="138" name="TextBox 84"/>
          <p:cNvSpPr txBox="1"/>
          <p:nvPr/>
        </p:nvSpPr>
        <p:spPr>
          <a:xfrm>
            <a:off x="11625535" y="3279275"/>
            <a:ext cx="466390" cy="384488"/>
          </a:xfrm>
          <a:prstGeom prst="rect">
            <a:avLst/>
          </a:prstGeom>
          <a:noFill/>
          <a:ln>
            <a:noFill/>
          </a:ln>
        </p:spPr>
        <p:txBody>
          <a:bodyPr wrap="none" rtlCol="0">
            <a:noAutofit/>
          </a:bodyPr>
          <a:lstStyle/>
          <a:p>
            <a:pPr marL="0" marR="0" lvl="0" indent="0" algn="l" defTabSz="951865"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endParaRPr>
          </a:p>
        </p:txBody>
      </p:sp>
      <p:pic>
        <p:nvPicPr>
          <p:cNvPr id="139" name="图片 138"/>
          <p:cNvPicPr>
            <a:picLocks noChangeAspect="1"/>
          </p:cNvPicPr>
          <p:nvPr/>
        </p:nvPicPr>
        <p:blipFill>
          <a:blip r:embed="rId6" cstate="screen"/>
          <a:stretch>
            <a:fillRect/>
          </a:stretch>
        </p:blipFill>
        <p:spPr>
          <a:xfrm>
            <a:off x="135237" y="3511645"/>
            <a:ext cx="733037" cy="733037"/>
          </a:xfrm>
          <a:prstGeom prst="rect">
            <a:avLst/>
          </a:prstGeom>
        </p:spPr>
      </p:pic>
      <p:pic>
        <p:nvPicPr>
          <p:cNvPr id="140" name="图片 139"/>
          <p:cNvPicPr>
            <a:picLocks noChangeAspect="1"/>
          </p:cNvPicPr>
          <p:nvPr/>
        </p:nvPicPr>
        <p:blipFill>
          <a:blip r:embed="rId7" cstate="screen"/>
          <a:stretch>
            <a:fillRect/>
          </a:stretch>
        </p:blipFill>
        <p:spPr>
          <a:xfrm>
            <a:off x="9755662" y="3169695"/>
            <a:ext cx="568993" cy="568993"/>
          </a:xfrm>
          <a:prstGeom prst="rect">
            <a:avLst/>
          </a:prstGeom>
        </p:spPr>
      </p:pic>
      <p:sp>
        <p:nvSpPr>
          <p:cNvPr id="141" name="TextBox 69"/>
          <p:cNvSpPr txBox="1"/>
          <p:nvPr/>
        </p:nvSpPr>
        <p:spPr>
          <a:xfrm>
            <a:off x="8383347" y="5557323"/>
            <a:ext cx="918281" cy="330581"/>
          </a:xfrm>
          <a:prstGeom prst="rect">
            <a:avLst/>
          </a:prstGeom>
          <a:solidFill>
            <a:srgbClr val="7F7F7F"/>
          </a:solidFill>
          <a:ln w="952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noAutofit/>
          </a:bodyPr>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类型</a:t>
            </a:r>
            <a:r>
              <a:rPr kumimoji="0" lang="en-US" altLang="zh-CN"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1</a:t>
            </a:r>
            <a:endParaRPr kumimoji="0" lang="en-US"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142" name="TextBox 69"/>
          <p:cNvSpPr txBox="1"/>
          <p:nvPr/>
        </p:nvSpPr>
        <p:spPr>
          <a:xfrm>
            <a:off x="9528293" y="5557323"/>
            <a:ext cx="918281" cy="330581"/>
          </a:xfrm>
          <a:prstGeom prst="rect">
            <a:avLst/>
          </a:prstGeom>
          <a:solidFill>
            <a:srgbClr val="7F7F7F"/>
          </a:solidFill>
          <a:ln w="952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noAutofit/>
          </a:bodyPr>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类型</a:t>
            </a:r>
            <a:r>
              <a:rPr kumimoji="0" lang="en-US" altLang="zh-CN"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2</a:t>
            </a:r>
            <a:endParaRPr kumimoji="0" lang="en-US"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143" name="TextBox 69"/>
          <p:cNvSpPr txBox="1"/>
          <p:nvPr/>
        </p:nvSpPr>
        <p:spPr>
          <a:xfrm>
            <a:off x="10633933" y="5557323"/>
            <a:ext cx="918281" cy="330581"/>
          </a:xfrm>
          <a:prstGeom prst="rect">
            <a:avLst/>
          </a:prstGeom>
          <a:solidFill>
            <a:srgbClr val="7F7F7F"/>
          </a:solidFill>
          <a:ln w="952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noAutofit/>
          </a:bodyPr>
          <a:lstStyle>
            <a:defPPr>
              <a:defRPr lang="en-US"/>
            </a:defPPr>
            <a:lvl1pPr algn="ctr">
              <a:defRPr>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类型</a:t>
            </a:r>
            <a:r>
              <a:rPr kumimoji="0" lang="en-US" altLang="zh-CN"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3</a:t>
            </a:r>
            <a:endParaRPr kumimoji="0" lang="en-US"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144" name="TextBox 84"/>
          <p:cNvSpPr txBox="1"/>
          <p:nvPr/>
        </p:nvSpPr>
        <p:spPr>
          <a:xfrm>
            <a:off x="11625536" y="5491134"/>
            <a:ext cx="466390" cy="384488"/>
          </a:xfrm>
          <a:prstGeom prst="rect">
            <a:avLst/>
          </a:prstGeom>
          <a:noFill/>
          <a:ln>
            <a:noFill/>
          </a:ln>
        </p:spPr>
        <p:txBody>
          <a:bodyPr wrap="none" rtlCol="0">
            <a:noAutofit/>
          </a:bodyPr>
          <a:lstStyle/>
          <a:p>
            <a:pPr marL="0" marR="0" lvl="0" indent="0" algn="l" defTabSz="951865"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endParaRPr>
          </a:p>
        </p:txBody>
      </p:sp>
      <p:sp>
        <p:nvSpPr>
          <p:cNvPr id="145" name="文本框 43"/>
          <p:cNvSpPr txBox="1"/>
          <p:nvPr/>
        </p:nvSpPr>
        <p:spPr>
          <a:xfrm>
            <a:off x="9174023" y="1716871"/>
            <a:ext cx="1626821" cy="38265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srgbClr val="F05A23"/>
                </a:solidFill>
                <a:effectLst/>
                <a:uLnTx/>
                <a:uFillTx/>
                <a:latin typeface="Arial" panose="020B0604020202020204"/>
                <a:ea typeface="华文楷体" panose="02010600040101010101" charset="-122"/>
                <a:cs typeface="+mn-cs"/>
              </a:rPr>
              <a:t>教师画像</a:t>
            </a:r>
            <a:endParaRPr kumimoji="0" lang="zh-CN" altLang="en-US" sz="1835" b="1" i="0" u="none" strike="noStrike" kern="1200" cap="none" spc="0" normalizeH="0" baseline="0" noProof="0" dirty="0">
              <a:ln>
                <a:noFill/>
              </a:ln>
              <a:solidFill>
                <a:srgbClr val="F05A23"/>
              </a:solidFill>
              <a:effectLst/>
              <a:uLnTx/>
              <a:uFillTx/>
              <a:latin typeface="Arial" panose="020B0604020202020204"/>
              <a:ea typeface="华文楷体" panose="02010600040101010101" charset="-122"/>
              <a:cs typeface="+mn-cs"/>
            </a:endParaRPr>
          </a:p>
        </p:txBody>
      </p:sp>
      <p:sp>
        <p:nvSpPr>
          <p:cNvPr id="146" name="矩形 145"/>
          <p:cNvSpPr/>
          <p:nvPr/>
        </p:nvSpPr>
        <p:spPr>
          <a:xfrm>
            <a:off x="8302072" y="2209417"/>
            <a:ext cx="3323464" cy="2524204"/>
          </a:xfrm>
          <a:prstGeom prst="rect">
            <a:avLst/>
          </a:prstGeom>
          <a:noFill/>
          <a:ln w="9525">
            <a:solidFill>
              <a:srgbClr val="7F7F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cxnSp>
        <p:nvCxnSpPr>
          <p:cNvPr id="147" name="肘形连接符 133"/>
          <p:cNvCxnSpPr>
            <a:stCxn id="141" idx="0"/>
            <a:endCxn id="146" idx="2"/>
          </p:cNvCxnSpPr>
          <p:nvPr/>
        </p:nvCxnSpPr>
        <p:spPr>
          <a:xfrm rot="5400000" flipH="1" flipV="1">
            <a:off x="8991295" y="4584814"/>
            <a:ext cx="823702" cy="1121317"/>
          </a:xfrm>
          <a:prstGeom prst="bentConnector3">
            <a:avLst>
              <a:gd name="adj1" fmla="val 69988"/>
            </a:avLst>
          </a:prstGeom>
          <a:ln>
            <a:solidFill>
              <a:srgbClr val="F05A23"/>
            </a:solidFill>
            <a:headEnd type="oval"/>
          </a:ln>
        </p:spPr>
        <p:style>
          <a:lnRef idx="2">
            <a:schemeClr val="accent6"/>
          </a:lnRef>
          <a:fillRef idx="0">
            <a:schemeClr val="accent6"/>
          </a:fillRef>
          <a:effectRef idx="1">
            <a:schemeClr val="accent6"/>
          </a:effectRef>
          <a:fontRef idx="minor">
            <a:schemeClr val="tx1"/>
          </a:fontRef>
        </p:style>
      </p:cxnSp>
      <p:sp>
        <p:nvSpPr>
          <p:cNvPr id="148" name="TextBox 84"/>
          <p:cNvSpPr txBox="1"/>
          <p:nvPr/>
        </p:nvSpPr>
        <p:spPr>
          <a:xfrm>
            <a:off x="10554573" y="4330685"/>
            <a:ext cx="519401" cy="384488"/>
          </a:xfrm>
          <a:prstGeom prst="rect">
            <a:avLst/>
          </a:prstGeom>
          <a:noFill/>
          <a:ln>
            <a:noFill/>
          </a:ln>
        </p:spPr>
        <p:txBody>
          <a:bodyPr wrap="none" rtlCol="0">
            <a:noAutofit/>
          </a:bodyPr>
          <a:lstStyle/>
          <a:p>
            <a:pPr marL="0" marR="0" lvl="0" indent="0" algn="l" defTabSz="951865"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a:t>
            </a:r>
            <a:endParaRPr kumimoji="0" lang="en-US" altLang="zh-CN" sz="1835"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a:p>
            <a:pPr marL="0" marR="0" lvl="0" indent="0" algn="ctr" defTabSz="951865" rtl="0" eaLnBrk="1" fontAlgn="base" latinLnBrk="0" hangingPunct="1">
              <a:lnSpc>
                <a:spcPct val="100000"/>
              </a:lnSpc>
              <a:spcBef>
                <a:spcPct val="0"/>
              </a:spcBef>
              <a:spcAft>
                <a:spcPct val="0"/>
              </a:spcAft>
              <a:buClrTx/>
              <a:buSzTx/>
              <a:buFontTx/>
              <a:buNone/>
              <a:defRPr/>
            </a:pPr>
            <a:endParaRPr kumimoji="0" lang="en-US" sz="1430" b="1" i="0" u="none" strike="noStrike" kern="1200" cap="none" spc="0" normalizeH="0" baseline="0" noProof="0" dirty="0">
              <a:ln>
                <a:noFill/>
              </a:ln>
              <a:solidFill>
                <a:srgbClr val="F05A23"/>
              </a:solidFill>
              <a:effectLst/>
              <a:uLnTx/>
              <a:uFillTx/>
              <a:latin typeface="华文楷体" panose="02010600040101010101" charset="-122"/>
              <a:ea typeface="华文楷体" panose="02010600040101010101" charset="-122"/>
              <a:cs typeface="华文楷体" panose="02010600040101010101" charset="-122"/>
            </a:endParaRPr>
          </a:p>
        </p:txBody>
      </p:sp>
      <p:sp>
        <p:nvSpPr>
          <p:cNvPr id="149"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模型</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对象 2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5803" name="think-cell Slide" r:id="rId2" imgW="12700" imgH="12700" progId="TCLayout.ActiveDocument.1">
                  <p:embed/>
                </p:oleObj>
              </mc:Choice>
              <mc:Fallback>
                <p:oleObj name="think-cell Slide" r:id="rId2" imgW="12700" imgH="12700" progId="TCLayout.ActiveDocument.1">
                  <p:embed/>
                  <p:pic>
                    <p:nvPicPr>
                      <p:cNvPr id="0" name="对象 28"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32" name="下箭头 31"/>
          <p:cNvSpPr/>
          <p:nvPr/>
        </p:nvSpPr>
        <p:spPr>
          <a:xfrm>
            <a:off x="718202" y="1222413"/>
            <a:ext cx="1807284" cy="2467845"/>
          </a:xfrm>
          <a:custGeom>
            <a:avLst/>
            <a:gdLst>
              <a:gd name="connsiteX0" fmla="*/ 0 w 1807284"/>
              <a:gd name="connsiteY0" fmla="*/ 1713593 h 2467845"/>
              <a:gd name="connsiteX1" fmla="*/ 451821 w 1807284"/>
              <a:gd name="connsiteY1" fmla="*/ 1713593 h 2467845"/>
              <a:gd name="connsiteX2" fmla="*/ 451821 w 1807284"/>
              <a:gd name="connsiteY2" fmla="*/ 0 h 2467845"/>
              <a:gd name="connsiteX3" fmla="*/ 1355463 w 1807284"/>
              <a:gd name="connsiteY3" fmla="*/ 0 h 2467845"/>
              <a:gd name="connsiteX4" fmla="*/ 1355463 w 1807284"/>
              <a:gd name="connsiteY4" fmla="*/ 1713593 h 2467845"/>
              <a:gd name="connsiteX5" fmla="*/ 1807284 w 1807284"/>
              <a:gd name="connsiteY5" fmla="*/ 1713593 h 2467845"/>
              <a:gd name="connsiteX6" fmla="*/ 903642 w 1807284"/>
              <a:gd name="connsiteY6" fmla="*/ 2467845 h 2467845"/>
              <a:gd name="connsiteX7" fmla="*/ 0 w 1807284"/>
              <a:gd name="connsiteY7" fmla="*/ 1713593 h 2467845"/>
              <a:gd name="connsiteX0-1" fmla="*/ 1355463 w 1807284"/>
              <a:gd name="connsiteY0-2" fmla="*/ 0 h 2467845"/>
              <a:gd name="connsiteX1-3" fmla="*/ 1355463 w 1807284"/>
              <a:gd name="connsiteY1-4" fmla="*/ 1713593 h 2467845"/>
              <a:gd name="connsiteX2-5" fmla="*/ 1807284 w 1807284"/>
              <a:gd name="connsiteY2-6" fmla="*/ 1713593 h 2467845"/>
              <a:gd name="connsiteX3-7" fmla="*/ 903642 w 1807284"/>
              <a:gd name="connsiteY3-8" fmla="*/ 2467845 h 2467845"/>
              <a:gd name="connsiteX4-9" fmla="*/ 0 w 1807284"/>
              <a:gd name="connsiteY4-10" fmla="*/ 1713593 h 2467845"/>
              <a:gd name="connsiteX5-11" fmla="*/ 451821 w 1807284"/>
              <a:gd name="connsiteY5-12" fmla="*/ 1713593 h 2467845"/>
              <a:gd name="connsiteX6-13" fmla="*/ 451821 w 1807284"/>
              <a:gd name="connsiteY6-14" fmla="*/ 0 h 2467845"/>
              <a:gd name="connsiteX7-15" fmla="*/ 1446903 w 1807284"/>
              <a:gd name="connsiteY7-16" fmla="*/ 91440 h 2467845"/>
              <a:gd name="connsiteX0-17" fmla="*/ 1355463 w 1807284"/>
              <a:gd name="connsiteY0-18" fmla="*/ 0 h 2467845"/>
              <a:gd name="connsiteX1-19" fmla="*/ 1355463 w 1807284"/>
              <a:gd name="connsiteY1-20" fmla="*/ 1713593 h 2467845"/>
              <a:gd name="connsiteX2-21" fmla="*/ 1807284 w 1807284"/>
              <a:gd name="connsiteY2-22" fmla="*/ 1713593 h 2467845"/>
              <a:gd name="connsiteX3-23" fmla="*/ 903642 w 1807284"/>
              <a:gd name="connsiteY3-24" fmla="*/ 2467845 h 2467845"/>
              <a:gd name="connsiteX4-25" fmla="*/ 0 w 1807284"/>
              <a:gd name="connsiteY4-26" fmla="*/ 1713593 h 2467845"/>
              <a:gd name="connsiteX5-27" fmla="*/ 451821 w 1807284"/>
              <a:gd name="connsiteY5-28" fmla="*/ 1713593 h 2467845"/>
              <a:gd name="connsiteX6-29" fmla="*/ 451821 w 1807284"/>
              <a:gd name="connsiteY6-30" fmla="*/ 0 h 246784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807284" h="2467845">
                <a:moveTo>
                  <a:pt x="1355463" y="0"/>
                </a:moveTo>
                <a:lnTo>
                  <a:pt x="1355463" y="1713593"/>
                </a:lnTo>
                <a:lnTo>
                  <a:pt x="1807284" y="1713593"/>
                </a:lnTo>
                <a:lnTo>
                  <a:pt x="903642" y="2467845"/>
                </a:lnTo>
                <a:lnTo>
                  <a:pt x="0" y="1713593"/>
                </a:lnTo>
                <a:lnTo>
                  <a:pt x="451821" y="1713593"/>
                </a:lnTo>
                <a:lnTo>
                  <a:pt x="451821" y="0"/>
                </a:lnTo>
              </a:path>
            </a:pathLst>
          </a:custGeom>
          <a:gradFill>
            <a:gsLst>
              <a:gs pos="0">
                <a:srgbClr val="FE5817"/>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accent2">
                <a:lumMod val="75000"/>
              </a:schemeClr>
            </a:solidFill>
          </a:ln>
          <a:effectLst/>
        </p:spPr>
        <p:style>
          <a:lnRef idx="0">
            <a:scrgbClr r="0" g="0" b="0"/>
          </a:lnRef>
          <a:fillRef idx="0">
            <a:scrgbClr r="0" g="0" b="0"/>
          </a:fillRef>
          <a:effectRef idx="0">
            <a:scrgbClr r="0" g="0" b="0"/>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ea"/>
              <a:sym typeface="+mn-lt"/>
            </a:endParaRPr>
          </a:p>
        </p:txBody>
      </p:sp>
      <p:sp>
        <p:nvSpPr>
          <p:cNvPr id="33" name="任意多边形 32"/>
          <p:cNvSpPr/>
          <p:nvPr/>
        </p:nvSpPr>
        <p:spPr>
          <a:xfrm>
            <a:off x="4495348" y="750628"/>
            <a:ext cx="3081412" cy="2336128"/>
          </a:xfrm>
          <a:custGeom>
            <a:avLst/>
            <a:gdLst>
              <a:gd name="connsiteX0" fmla="*/ 0 w 3081412"/>
              <a:gd name="connsiteY0" fmla="*/ 0 h 2336128"/>
              <a:gd name="connsiteX1" fmla="*/ 3081412 w 3081412"/>
              <a:gd name="connsiteY1" fmla="*/ 0 h 2336128"/>
              <a:gd name="connsiteX2" fmla="*/ 3081412 w 3081412"/>
              <a:gd name="connsiteY2" fmla="*/ 2336128 h 2336128"/>
              <a:gd name="connsiteX3" fmla="*/ 0 w 3081412"/>
              <a:gd name="connsiteY3" fmla="*/ 2336128 h 2336128"/>
              <a:gd name="connsiteX4" fmla="*/ 0 w 3081412"/>
              <a:gd name="connsiteY4" fmla="*/ 0 h 2336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1412" h="2336128">
                <a:moveTo>
                  <a:pt x="0" y="0"/>
                </a:moveTo>
                <a:lnTo>
                  <a:pt x="3081412" y="0"/>
                </a:lnTo>
                <a:lnTo>
                  <a:pt x="3081412" y="2336128"/>
                </a:lnTo>
                <a:lnTo>
                  <a:pt x="0" y="2336128"/>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62280" tIns="462280" rIns="462280" bIns="462280"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defRPr/>
            </a:pPr>
            <a:r>
              <a:rPr kumimoji="0" lang="en-US" altLang="zh-CN" sz="6500" b="0" i="0" u="none" strike="noStrike" kern="1200" cap="none" spc="0" normalizeH="0" baseline="0" noProof="0" dirty="0" smtClean="0">
                <a:ln>
                  <a:noFill/>
                </a:ln>
                <a:solidFill>
                  <a:sysClr val="windowText" lastClr="000000">
                    <a:hueOff val="0"/>
                    <a:satOff val="0"/>
                    <a:lumOff val="0"/>
                    <a:alphaOff val="0"/>
                  </a:sysClr>
                </a:solidFill>
                <a:effectLst/>
                <a:uLnTx/>
                <a:uFillTx/>
                <a:latin typeface="Arial" panose="020B0604020202020204"/>
                <a:ea typeface="华文楷体" panose="02010600040101010101" charset="-122"/>
                <a:cs typeface="+mn-ea"/>
                <a:sym typeface="+mn-lt"/>
              </a:rPr>
              <a:t> </a:t>
            </a:r>
            <a:endParaRPr kumimoji="0" lang="zh-CN" altLang="en-US" sz="6500" b="0"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a:ea typeface="华文楷体" panose="02010600040101010101" charset="-122"/>
              <a:cs typeface="+mn-ea"/>
              <a:sym typeface="+mn-lt"/>
            </a:endParaRPr>
          </a:p>
        </p:txBody>
      </p:sp>
      <p:sp>
        <p:nvSpPr>
          <p:cNvPr id="35" name="任意多边形 34"/>
          <p:cNvSpPr/>
          <p:nvPr/>
        </p:nvSpPr>
        <p:spPr>
          <a:xfrm>
            <a:off x="836171" y="3976710"/>
            <a:ext cx="3081412" cy="2336128"/>
          </a:xfrm>
          <a:custGeom>
            <a:avLst/>
            <a:gdLst>
              <a:gd name="connsiteX0" fmla="*/ 0 w 3081412"/>
              <a:gd name="connsiteY0" fmla="*/ 0 h 2336128"/>
              <a:gd name="connsiteX1" fmla="*/ 3081412 w 3081412"/>
              <a:gd name="connsiteY1" fmla="*/ 0 h 2336128"/>
              <a:gd name="connsiteX2" fmla="*/ 3081412 w 3081412"/>
              <a:gd name="connsiteY2" fmla="*/ 2336128 h 2336128"/>
              <a:gd name="connsiteX3" fmla="*/ 0 w 3081412"/>
              <a:gd name="connsiteY3" fmla="*/ 2336128 h 2336128"/>
              <a:gd name="connsiteX4" fmla="*/ 0 w 3081412"/>
              <a:gd name="connsiteY4" fmla="*/ 0 h 2336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1412" h="2336128">
                <a:moveTo>
                  <a:pt x="0" y="0"/>
                </a:moveTo>
                <a:lnTo>
                  <a:pt x="3081412" y="0"/>
                </a:lnTo>
                <a:lnTo>
                  <a:pt x="3081412" y="2336128"/>
                </a:lnTo>
                <a:lnTo>
                  <a:pt x="0" y="2336128"/>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62280" tIns="462280" rIns="462280" bIns="462280"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defRPr/>
            </a:pPr>
            <a:r>
              <a:rPr kumimoji="0" lang="en-US" altLang="zh-CN" sz="6500" b="0" i="0" u="none" strike="noStrike" kern="1200" cap="none" spc="0" normalizeH="0" baseline="0" noProof="0" dirty="0" smtClean="0">
                <a:ln>
                  <a:noFill/>
                </a:ln>
                <a:solidFill>
                  <a:sysClr val="windowText" lastClr="000000">
                    <a:hueOff val="0"/>
                    <a:satOff val="0"/>
                    <a:lumOff val="0"/>
                    <a:alphaOff val="0"/>
                  </a:sysClr>
                </a:solidFill>
                <a:effectLst/>
                <a:uLnTx/>
                <a:uFillTx/>
                <a:latin typeface="Arial" panose="020B0604020202020204"/>
                <a:ea typeface="华文楷体" panose="02010600040101010101" charset="-122"/>
                <a:cs typeface="+mn-ea"/>
                <a:sym typeface="+mn-lt"/>
              </a:rPr>
              <a:t> </a:t>
            </a:r>
            <a:endParaRPr kumimoji="0" lang="zh-CN" altLang="en-US" sz="6500" b="0"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a:ea typeface="华文楷体" panose="02010600040101010101" charset="-122"/>
              <a:cs typeface="+mn-ea"/>
              <a:sym typeface="+mn-lt"/>
            </a:endParaRPr>
          </a:p>
        </p:txBody>
      </p:sp>
      <p:sp>
        <p:nvSpPr>
          <p:cNvPr id="22" name="矩形 21"/>
          <p:cNvSpPr/>
          <p:nvPr>
            <p:custDataLst>
              <p:tags r:id="rId4"/>
            </p:custDataLst>
          </p:nvPr>
        </p:nvSpPr>
        <p:spPr>
          <a:xfrm>
            <a:off x="1238835" y="1522087"/>
            <a:ext cx="818566" cy="246221"/>
          </a:xfrm>
          <a:prstGeom prst="rect">
            <a:avLst/>
          </a:prstGeom>
        </p:spPr>
        <p:txBody>
          <a:bodyPr wrap="square" lIns="0" tIns="0" rIns="0" bIns="0">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600" b="0" i="0" u="none" strike="noStrike" kern="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X</a:t>
            </a:r>
            <a:endParaRPr kumimoji="0" lang="zh-CN" altLang="en-US" sz="16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24" name="矩形 23"/>
          <p:cNvSpPr/>
          <p:nvPr>
            <p:custDataLst>
              <p:tags r:id="rId5"/>
            </p:custDataLst>
          </p:nvPr>
        </p:nvSpPr>
        <p:spPr>
          <a:xfrm>
            <a:off x="2627944" y="1248561"/>
            <a:ext cx="5285970" cy="2008242"/>
          </a:xfrm>
          <a:prstGeom prst="rect">
            <a:avLst/>
          </a:prstGeom>
        </p:spPr>
        <p:txBody>
          <a:bodyPr wrap="square">
            <a:spAutoFit/>
          </a:bodyPr>
          <a:lstStyle/>
          <a:p>
            <a:pPr marL="178435" marR="0" lvl="0" indent="-178435" algn="l" defTabSz="914400" rtl="0" eaLnBrk="1" fontAlgn="auto" latinLnBrk="1" hangingPunct="1">
              <a:lnSpc>
                <a:spcPct val="100000"/>
              </a:lnSpc>
              <a:spcBef>
                <a:spcPts val="300"/>
              </a:spcBef>
              <a:spcAft>
                <a:spcPts val="0"/>
              </a:spcAft>
              <a:buClrTx/>
              <a:buSzTx/>
              <a:buFont typeface="Arial" panose="020B0604020202020204" pitchFamily="34" charset="0"/>
              <a:buChar char="•"/>
              <a:defRPr/>
            </a:pPr>
            <a:r>
              <a:rPr kumimoji="0" lang="en-US" altLang="zh-TW" sz="1600" b="1" i="0" u="none" strike="noStrike" kern="0" cap="none" spc="0" normalizeH="0" baseline="0" noProof="0" smtClean="0">
                <a:ln>
                  <a:noFill/>
                </a:ln>
                <a:solidFill>
                  <a:srgbClr val="ED7D31"/>
                </a:solidFill>
                <a:effectLst/>
                <a:uLnTx/>
                <a:uFillTx/>
                <a:latin typeface="Arial" panose="020B0604020202020204"/>
                <a:ea typeface="华文楷体" panose="02010600040101010101" charset="-122"/>
                <a:cs typeface="+mn-ea"/>
                <a:sym typeface="+mn-lt"/>
              </a:rPr>
              <a:t>XXXXX</a:t>
            </a:r>
            <a:endParaRPr kumimoji="0" lang="en-US" altLang="zh-TW"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endParaRPr>
          </a:p>
          <a:p>
            <a:pPr marL="453390" marR="0" lvl="1" indent="-275590" algn="l" defTabSz="914400" rtl="0" eaLnBrk="1" fontAlgn="auto" latinLnBrk="1" hangingPunct="1">
              <a:lnSpc>
                <a:spcPct val="100000"/>
              </a:lnSpc>
              <a:spcBef>
                <a:spcPts val="300"/>
              </a:spcBef>
              <a:spcAft>
                <a:spcPts val="0"/>
              </a:spcAft>
              <a:buClrTx/>
              <a:buSzTx/>
              <a:buFont typeface="Arial" panose="020B0604020202020204" pitchFamily="34" charset="0"/>
              <a:buChar char="–"/>
              <a:defRPr/>
            </a:pPr>
            <a:r>
              <a:rPr kumimoji="0" lang="zh-TW" altLang="en-US"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就诊总人次</a:t>
            </a:r>
            <a:r>
              <a:rPr kumimoji="0" lang="en-US" altLang="zh-TW"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XX</a:t>
            </a:r>
            <a:r>
              <a:rPr kumimoji="0" lang="zh-TW" altLang="en-US"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亿次</a:t>
            </a:r>
            <a:r>
              <a:rPr kumimoji="0" lang="en-US" altLang="zh-TW"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a:t>
            </a:r>
            <a:r>
              <a:rPr kumimoji="0" lang="zh-TW"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人均</a:t>
            </a:r>
            <a:r>
              <a:rPr kumimoji="0" lang="en-US" altLang="zh-TW"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a:t>
            </a:r>
            <a:r>
              <a:rPr kumimoji="0" lang="zh-TW" altLang="en-US"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次</a:t>
            </a:r>
            <a:r>
              <a:rPr kumimoji="0" lang="en-US" altLang="zh-TW"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 </a:t>
            </a:r>
            <a:r>
              <a:rPr kumimoji="0" lang="zh-TW"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年均</a:t>
            </a:r>
            <a:r>
              <a:rPr kumimoji="0" lang="zh-TW" altLang="en-US"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增长</a:t>
            </a:r>
            <a:r>
              <a:rPr kumimoji="0" lang="en-US" altLang="zh-TW"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XX%</a:t>
            </a:r>
            <a:r>
              <a:rPr kumimoji="0" lang="en-US" altLang="zh-TW" sz="1600" b="0" i="0" u="none" strike="noStrike" kern="0" cap="none" spc="0" normalizeH="0" baseline="30000" noProof="0" dirty="0" smtClean="0">
                <a:ln>
                  <a:noFill/>
                </a:ln>
                <a:solidFill>
                  <a:prstClr val="black"/>
                </a:solidFill>
                <a:effectLst/>
                <a:uLnTx/>
                <a:uFillTx/>
                <a:latin typeface="Arial" panose="020B0604020202020204"/>
                <a:ea typeface="华文楷体" panose="02010600040101010101" charset="-122"/>
                <a:cs typeface="+mn-ea"/>
                <a:sym typeface="+mn-lt"/>
              </a:rPr>
              <a:t>1</a:t>
            </a:r>
            <a:endParaRPr kumimoji="0" lang="en-US" altLang="zh-TW" sz="1600" b="0" i="0" u="none" strike="noStrike" kern="0" cap="none" spc="0" normalizeH="0" baseline="30000" noProof="0" dirty="0">
              <a:ln>
                <a:noFill/>
              </a:ln>
              <a:solidFill>
                <a:prstClr val="black"/>
              </a:solidFill>
              <a:effectLst/>
              <a:uLnTx/>
              <a:uFillTx/>
              <a:latin typeface="Arial" panose="020B0604020202020204"/>
              <a:ea typeface="华文楷体" panose="02010600040101010101" charset="-122"/>
              <a:cs typeface="+mn-ea"/>
              <a:sym typeface="+mn-lt"/>
            </a:endParaRPr>
          </a:p>
          <a:p>
            <a:pPr marL="453390" marR="0" lvl="1" indent="-275590" algn="l" defTabSz="914400" rtl="0" eaLnBrk="1" fontAlgn="auto" latinLnBrk="1" hangingPunct="1">
              <a:lnSpc>
                <a:spcPct val="100000"/>
              </a:lnSpc>
              <a:spcBef>
                <a:spcPts val="300"/>
              </a:spcBef>
              <a:spcAft>
                <a:spcPts val="0"/>
              </a:spcAft>
              <a:buClrTx/>
              <a:buSzTx/>
              <a:buFont typeface="Arial" panose="020B0604020202020204" pitchFamily="34" charset="0"/>
              <a:buChar char="–"/>
              <a:defRPr/>
            </a:pPr>
            <a:r>
              <a:rPr kumimoji="0" lang="zh-TW"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慢性病</a:t>
            </a:r>
            <a:r>
              <a:rPr kumimoji="0" lang="en-US" altLang="zh-TW"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XX</a:t>
            </a:r>
            <a:r>
              <a:rPr kumimoji="0" lang="zh-TW" altLang="en-US"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亿人</a:t>
            </a:r>
            <a:r>
              <a:rPr kumimoji="0" lang="en-US" altLang="zh-TW"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 </a:t>
            </a:r>
            <a:r>
              <a:rPr kumimoji="0" lang="zh-CN"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死亡数占全国总死亡</a:t>
            </a:r>
            <a:r>
              <a:rPr kumimoji="0" lang="zh-TW" altLang="en-US"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的</a:t>
            </a:r>
            <a:r>
              <a:rPr kumimoji="0" lang="en-US" altLang="zh-CN"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a:t>
            </a:r>
            <a:r>
              <a:rPr kumimoji="0" lang="en-US" altLang="zh-CN" sz="1600" b="0" i="0" u="none" strike="noStrike" kern="0" cap="none" spc="0" normalizeH="0" baseline="30000" noProof="0" dirty="0" smtClean="0">
                <a:ln>
                  <a:noFill/>
                </a:ln>
                <a:solidFill>
                  <a:prstClr val="black"/>
                </a:solidFill>
                <a:effectLst/>
                <a:uLnTx/>
                <a:uFillTx/>
                <a:latin typeface="Arial" panose="020B0604020202020204"/>
                <a:ea typeface="华文楷体" panose="02010600040101010101" charset="-122"/>
                <a:cs typeface="+mn-ea"/>
                <a:sym typeface="+mn-lt"/>
              </a:rPr>
              <a:t>2</a:t>
            </a:r>
            <a:endParaRPr kumimoji="0" lang="en-US" altLang="zh-CN" sz="1600" b="0" i="0" u="none" strike="noStrike" kern="0" cap="none" spc="0" normalizeH="0" baseline="30000" noProof="0" dirty="0">
              <a:ln>
                <a:noFill/>
              </a:ln>
              <a:solidFill>
                <a:prstClr val="black"/>
              </a:solidFill>
              <a:effectLst/>
              <a:uLnTx/>
              <a:uFillTx/>
              <a:latin typeface="Arial" panose="020B0604020202020204"/>
              <a:ea typeface="华文楷体" panose="02010600040101010101" charset="-122"/>
              <a:cs typeface="+mn-ea"/>
              <a:sym typeface="+mn-lt"/>
            </a:endParaRPr>
          </a:p>
          <a:p>
            <a:pPr marL="178435" marR="0" lvl="0" indent="-178435" algn="l" defTabSz="914400" rtl="0" eaLnBrk="1" fontAlgn="auto" latinLnBrk="1" hangingPunct="1">
              <a:lnSpc>
                <a:spcPct val="100000"/>
              </a:lnSpc>
              <a:spcBef>
                <a:spcPts val="300"/>
              </a:spcBef>
              <a:spcAft>
                <a:spcPts val="0"/>
              </a:spcAft>
              <a:buClrTx/>
              <a:buSzTx/>
              <a:buFont typeface="Arial" panose="020B0604020202020204" pitchFamily="34" charset="0"/>
              <a:buChar char="•"/>
              <a:defRPr/>
            </a:pPr>
            <a:r>
              <a:rPr kumimoji="0" lang="en-US" altLang="zh-CN" sz="1600" b="1" i="0" u="none" strike="noStrike" kern="0" cap="none" spc="0" normalizeH="0" baseline="0" noProof="0" smtClean="0">
                <a:ln>
                  <a:noFill/>
                </a:ln>
                <a:solidFill>
                  <a:srgbClr val="ED7D31"/>
                </a:solidFill>
                <a:effectLst/>
                <a:uLnTx/>
                <a:uFillTx/>
                <a:latin typeface="Arial" panose="020B0604020202020204"/>
                <a:ea typeface="华文楷体" panose="02010600040101010101" charset="-122"/>
                <a:cs typeface="+mn-ea"/>
                <a:sym typeface="+mn-lt"/>
              </a:rPr>
              <a:t>XXXX</a:t>
            </a:r>
            <a:endParaRPr kumimoji="0" lang="en-US" altLang="zh-CN"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endParaRPr>
          </a:p>
          <a:p>
            <a:pPr marL="453390" marR="0" lvl="1" indent="-275590" algn="l" defTabSz="914400" rtl="0" eaLnBrk="1" fontAlgn="auto" latinLnBrk="1" hangingPunct="1">
              <a:lnSpc>
                <a:spcPct val="100000"/>
              </a:lnSpc>
              <a:spcBef>
                <a:spcPts val="300"/>
              </a:spcBef>
              <a:spcAft>
                <a:spcPts val="0"/>
              </a:spcAft>
              <a:buClrTx/>
              <a:buSzTx/>
              <a:buFont typeface="Arial" panose="020B0604020202020204" pitchFamily="34" charset="0"/>
              <a:buChar char="–"/>
              <a:defRPr/>
            </a:pPr>
            <a:r>
              <a:rPr kumimoji="0" lang="en-US" altLang="zh-TW"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15</a:t>
            </a:r>
            <a:r>
              <a:rPr kumimoji="0" lang="zh-CN"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年</a:t>
            </a:r>
            <a:r>
              <a:rPr kumimoji="0" lang="zh-TW"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总医疗支出</a:t>
            </a:r>
            <a:r>
              <a:rPr kumimoji="0" lang="zh-TW" altLang="en-US"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达</a:t>
            </a:r>
            <a:r>
              <a:rPr kumimoji="0" lang="en-US" altLang="zh-TW"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XXX</a:t>
            </a:r>
            <a:r>
              <a:rPr kumimoji="0" lang="zh-CN" altLang="en-US"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万亿</a:t>
            </a:r>
            <a:r>
              <a:rPr kumimoji="0" lang="en-US" altLang="zh-TW"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 </a:t>
            </a:r>
            <a:r>
              <a:rPr kumimoji="0" lang="zh-CN"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年均</a:t>
            </a:r>
            <a:r>
              <a:rPr kumimoji="0" lang="zh-CN" altLang="en-US"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增长率</a:t>
            </a:r>
            <a:r>
              <a:rPr kumimoji="0" lang="en-US" altLang="zh-CN"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a:t>
            </a:r>
            <a:r>
              <a:rPr kumimoji="0" lang="en-US" altLang="zh-CN" sz="1600" b="0" i="0" u="none" strike="noStrike" kern="0" cap="none" spc="0" normalizeH="0" baseline="30000" noProof="0" dirty="0" smtClean="0">
                <a:ln>
                  <a:noFill/>
                </a:ln>
                <a:solidFill>
                  <a:prstClr val="black"/>
                </a:solidFill>
                <a:effectLst/>
                <a:uLnTx/>
                <a:uFillTx/>
                <a:latin typeface="Arial" panose="020B0604020202020204"/>
                <a:ea typeface="华文楷体" panose="02010600040101010101" charset="-122"/>
                <a:cs typeface="+mn-ea"/>
                <a:sym typeface="+mn-lt"/>
              </a:rPr>
              <a:t>3</a:t>
            </a:r>
            <a:endParaRPr kumimoji="0" lang="en-US" altLang="zh-CN" sz="1600" b="0" i="0" u="none" strike="noStrike" kern="0" cap="none" spc="0" normalizeH="0" baseline="30000" noProof="0" dirty="0">
              <a:ln>
                <a:noFill/>
              </a:ln>
              <a:solidFill>
                <a:prstClr val="black"/>
              </a:solidFill>
              <a:effectLst/>
              <a:uLnTx/>
              <a:uFillTx/>
              <a:latin typeface="Arial" panose="020B0604020202020204"/>
              <a:ea typeface="华文楷体" panose="02010600040101010101" charset="-122"/>
              <a:cs typeface="+mn-ea"/>
              <a:sym typeface="+mn-lt"/>
            </a:endParaRPr>
          </a:p>
          <a:p>
            <a:pPr marL="453390" marR="0" lvl="1" indent="-275590" algn="l" defTabSz="914400" rtl="0" eaLnBrk="1" fontAlgn="auto" latinLnBrk="1" hangingPunct="1">
              <a:lnSpc>
                <a:spcPct val="100000"/>
              </a:lnSpc>
              <a:spcBef>
                <a:spcPts val="300"/>
              </a:spcBef>
              <a:spcAft>
                <a:spcPts val="0"/>
              </a:spcAft>
              <a:buClrTx/>
              <a:buSzTx/>
              <a:buFont typeface="Arial" panose="020B0604020202020204" pitchFamily="34" charset="0"/>
              <a:buChar char="–"/>
              <a:defRPr/>
            </a:pPr>
            <a:r>
              <a:rPr kumimoji="0" lang="en-US" altLang="zh-CN"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a:t>
            </a:r>
            <a:r>
              <a:rPr kumimoji="0" lang="zh-CN"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重庆慢阻肺早期患者</a:t>
            </a:r>
            <a:r>
              <a:rPr kumimoji="0" lang="zh-TW"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未能即时治疗</a:t>
            </a:r>
            <a:r>
              <a:rPr kumimoji="0" lang="en-US" altLang="zh-TW"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 </a:t>
            </a:r>
            <a:r>
              <a:rPr kumimoji="0" lang="zh-TW"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治疗费</a:t>
            </a:r>
            <a:r>
              <a:rPr kumimoji="0" lang="zh-CN" altLang="en-US"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增加</a:t>
            </a:r>
            <a:r>
              <a:rPr kumimoji="0" lang="en-US" altLang="zh-TW"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XX</a:t>
            </a:r>
            <a:r>
              <a:rPr kumimoji="0" lang="zh-TW" altLang="en-US"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倍</a:t>
            </a:r>
            <a:r>
              <a:rPr kumimoji="0" lang="en-US" altLang="zh-TW" sz="1600" b="0" i="0" u="none" strike="noStrike" kern="0" cap="none" spc="0" normalizeH="0" baseline="30000" noProof="0" dirty="0" smtClean="0">
                <a:ln>
                  <a:noFill/>
                </a:ln>
                <a:solidFill>
                  <a:prstClr val="black"/>
                </a:solidFill>
                <a:effectLst/>
                <a:uLnTx/>
                <a:uFillTx/>
                <a:latin typeface="Arial" panose="020B0604020202020204"/>
                <a:ea typeface="华文楷体" panose="02010600040101010101" charset="-122"/>
                <a:cs typeface="+mn-ea"/>
                <a:sym typeface="+mn-lt"/>
              </a:rPr>
              <a:t>4</a:t>
            </a:r>
            <a:endParaRPr kumimoji="0" lang="en-US" altLang="zh-CN" sz="1600" b="0" i="0" u="none" strike="noStrike" kern="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25" name="矩形 24"/>
          <p:cNvSpPr/>
          <p:nvPr>
            <p:custDataLst>
              <p:tags r:id="rId6"/>
            </p:custDataLst>
          </p:nvPr>
        </p:nvSpPr>
        <p:spPr>
          <a:xfrm>
            <a:off x="544286" y="4268650"/>
            <a:ext cx="5877044" cy="1723549"/>
          </a:xfrm>
          <a:prstGeom prst="rect">
            <a:avLst/>
          </a:prstGeom>
        </p:spPr>
        <p:txBody>
          <a:bodyPr wrap="square">
            <a:spAutoFit/>
          </a:bodyPr>
          <a:lstStyle/>
          <a:p>
            <a:pPr marL="178435" marR="0" lvl="0" indent="-178435" algn="l" defTabSz="914400" rtl="0" eaLnBrk="1" fontAlgn="auto" latinLnBrk="1" hangingPunct="1">
              <a:lnSpc>
                <a:spcPct val="100000"/>
              </a:lnSpc>
              <a:spcBef>
                <a:spcPts val="300"/>
              </a:spcBef>
              <a:spcAft>
                <a:spcPts val="0"/>
              </a:spcAft>
              <a:buClrTx/>
              <a:buSzTx/>
              <a:buFont typeface="Arial" panose="020B0604020202020204" pitchFamily="34" charset="0"/>
              <a:buChar char="•"/>
              <a:defRPr/>
            </a:pPr>
            <a:r>
              <a:rPr kumimoji="0" lang="en-US" altLang="zh-TW"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XXX</a:t>
            </a:r>
            <a:endParaRPr kumimoji="0" lang="en-US" altLang="zh-TW"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endParaRPr>
          </a:p>
          <a:p>
            <a:pPr marL="453390" marR="0" lvl="1" indent="-275590" algn="l" defTabSz="914400" rtl="0" eaLnBrk="1" fontAlgn="auto" latinLnBrk="1" hangingPunct="1">
              <a:lnSpc>
                <a:spcPct val="100000"/>
              </a:lnSpc>
              <a:spcBef>
                <a:spcPts val="300"/>
              </a:spcBef>
              <a:spcAft>
                <a:spcPts val="0"/>
              </a:spcAft>
              <a:buClrTx/>
              <a:buSzTx/>
              <a:buFont typeface="Arial" panose="020B0604020202020204" pitchFamily="34" charset="0"/>
              <a:buChar char="–"/>
              <a:defRPr/>
            </a:pPr>
            <a:r>
              <a:rPr kumimoji="0" lang="zh-TW"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全国</a:t>
            </a:r>
            <a:r>
              <a:rPr kumimoji="0" lang="zh-CN"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医生</a:t>
            </a:r>
            <a:r>
              <a:rPr kumimoji="0" lang="zh-TW"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人数</a:t>
            </a:r>
            <a:r>
              <a:rPr kumimoji="0" lang="en-US" altLang="zh-CN"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a:t>
            </a:r>
            <a:r>
              <a:rPr kumimoji="0" lang="en-US" altLang="zh-TW"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XX</a:t>
            </a:r>
            <a:r>
              <a:rPr kumimoji="0" lang="zh-CN" altLang="en-US"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千万</a:t>
            </a:r>
            <a:r>
              <a:rPr kumimoji="0" lang="en-US" altLang="zh-TW" sz="1600" b="0" i="0" u="none" strike="noStrike" kern="0" cap="none" spc="0" normalizeH="0" baseline="30000" noProof="0" dirty="0">
                <a:ln>
                  <a:noFill/>
                </a:ln>
                <a:solidFill>
                  <a:prstClr val="black"/>
                </a:solidFill>
                <a:effectLst/>
                <a:uLnTx/>
                <a:uFillTx/>
                <a:latin typeface="Arial" panose="020B0604020202020204"/>
                <a:ea typeface="华文楷体" panose="02010600040101010101" charset="-122"/>
                <a:cs typeface="+mn-ea"/>
                <a:sym typeface="+mn-lt"/>
              </a:rPr>
              <a:t>6</a:t>
            </a:r>
            <a:r>
              <a:rPr kumimoji="0" lang="en-US" altLang="zh-TW"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 </a:t>
            </a:r>
            <a:r>
              <a:rPr kumimoji="0" lang="zh-TW"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年均增长</a:t>
            </a:r>
            <a:r>
              <a:rPr kumimoji="0" lang="en-US" altLang="zh-CN"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XX%</a:t>
            </a:r>
            <a:r>
              <a:rPr kumimoji="0" lang="en-US" altLang="zh-CN" sz="1600" b="0" i="0" u="none" strike="noStrike" kern="0" cap="none" spc="0" normalizeH="0" baseline="30000" noProof="0" dirty="0" smtClean="0">
                <a:ln>
                  <a:noFill/>
                </a:ln>
                <a:solidFill>
                  <a:prstClr val="black"/>
                </a:solidFill>
                <a:effectLst/>
                <a:uLnTx/>
                <a:uFillTx/>
                <a:latin typeface="Arial" panose="020B0604020202020204"/>
                <a:ea typeface="华文楷体" panose="02010600040101010101" charset="-122"/>
                <a:cs typeface="+mn-ea"/>
                <a:sym typeface="+mn-lt"/>
              </a:rPr>
              <a:t>8</a:t>
            </a:r>
            <a:endParaRPr kumimoji="0" lang="en-US" altLang="zh-TW" sz="1600" b="0" i="0" u="none" strike="noStrike" kern="0" cap="none" spc="0" normalizeH="0" baseline="30000" noProof="0" dirty="0">
              <a:ln>
                <a:noFill/>
              </a:ln>
              <a:solidFill>
                <a:prstClr val="black"/>
              </a:solidFill>
              <a:effectLst/>
              <a:uLnTx/>
              <a:uFillTx/>
              <a:latin typeface="Arial" panose="020B0604020202020204"/>
              <a:ea typeface="华文楷体" panose="02010600040101010101" charset="-122"/>
              <a:cs typeface="+mn-ea"/>
              <a:sym typeface="+mn-lt"/>
            </a:endParaRPr>
          </a:p>
          <a:p>
            <a:pPr marL="453390" marR="0" lvl="1" indent="-275590" algn="l" defTabSz="914400" rtl="0" eaLnBrk="1" fontAlgn="auto" latinLnBrk="1" hangingPunct="1">
              <a:lnSpc>
                <a:spcPct val="100000"/>
              </a:lnSpc>
              <a:spcBef>
                <a:spcPts val="300"/>
              </a:spcBef>
              <a:spcAft>
                <a:spcPts val="0"/>
              </a:spcAft>
              <a:buClrTx/>
              <a:buSzTx/>
              <a:buFont typeface="Arial" panose="020B0604020202020204" pitchFamily="34" charset="0"/>
              <a:buChar char="–"/>
              <a:defRPr/>
            </a:pPr>
            <a:r>
              <a:rPr kumimoji="0" lang="zh-CN"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病理医生人均服务人口为</a:t>
            </a:r>
            <a:r>
              <a:rPr kumimoji="0" lang="zh-TW" altLang="en-US"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美国</a:t>
            </a:r>
            <a:r>
              <a:rPr kumimoji="0" lang="en-US" altLang="zh-TW"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a:t>
            </a:r>
            <a:r>
              <a:rPr kumimoji="0" lang="zh-TW" altLang="en-US"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倍</a:t>
            </a:r>
            <a:r>
              <a:rPr kumimoji="0" lang="en-US" altLang="zh-TW"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a:t>
            </a:r>
            <a:r>
              <a:rPr kumimoji="0" lang="en-US" altLang="zh-CN"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a:t>
            </a:r>
            <a:r>
              <a:rPr kumimoji="0" lang="zh-CN" altLang="en-US" sz="16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万</a:t>
            </a:r>
            <a:r>
              <a:rPr kumimoji="0" lang="zh-TW"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人</a:t>
            </a:r>
            <a:r>
              <a:rPr kumimoji="0" lang="en-US" altLang="zh-TW"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a:t>
            </a:r>
            <a:r>
              <a:rPr kumimoji="0" lang="en-US" altLang="zh-CN"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 </a:t>
            </a:r>
            <a:r>
              <a:rPr kumimoji="0" lang="zh-CN"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人均放射设备量为美国</a:t>
            </a:r>
            <a:r>
              <a:rPr kumimoji="0" lang="en-US" altLang="zh-CN"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1/7</a:t>
            </a:r>
            <a:endParaRPr kumimoji="0" lang="en-US" altLang="zh-CN"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a:p>
            <a:pPr marL="178435" marR="0" lvl="0" indent="-178435" algn="l" defTabSz="914400" rtl="0" eaLnBrk="1" fontAlgn="auto" latinLnBrk="1" hangingPunct="1">
              <a:lnSpc>
                <a:spcPct val="100000"/>
              </a:lnSpc>
              <a:spcBef>
                <a:spcPts val="300"/>
              </a:spcBef>
              <a:spcAft>
                <a:spcPts val="0"/>
              </a:spcAft>
              <a:buClrTx/>
              <a:buSzTx/>
              <a:buFont typeface="Arial" panose="020B0604020202020204" pitchFamily="34" charset="0"/>
              <a:buChar char="•"/>
              <a:defRPr/>
            </a:pPr>
            <a:r>
              <a:rPr kumimoji="0" lang="en-US" altLang="zh-CN"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XXX</a:t>
            </a:r>
            <a:endParaRPr kumimoji="0" lang="en-US" altLang="zh-TW"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a:p>
            <a:pPr marL="178435" marR="0" lvl="0" indent="-178435" algn="l" defTabSz="914400" rtl="0" eaLnBrk="1" fontAlgn="auto" latinLnBrk="1" hangingPunct="1">
              <a:lnSpc>
                <a:spcPct val="100000"/>
              </a:lnSpc>
              <a:spcBef>
                <a:spcPts val="300"/>
              </a:spcBef>
              <a:spcAft>
                <a:spcPts val="0"/>
              </a:spcAft>
              <a:buClrTx/>
              <a:buSzTx/>
              <a:buFont typeface="Arial" panose="020B0604020202020204" pitchFamily="34" charset="0"/>
              <a:buChar char="•"/>
              <a:defRPr/>
            </a:pPr>
            <a:r>
              <a:rPr kumimoji="0" lang="en-US" altLang="zh-TW" sz="1600" b="1" i="0" u="none" strike="noStrike" kern="0" cap="none" spc="0" normalizeH="0" baseline="0" noProof="0" dirty="0" smtClean="0">
                <a:ln>
                  <a:noFill/>
                </a:ln>
                <a:solidFill>
                  <a:srgbClr val="ED7D31"/>
                </a:solidFill>
                <a:effectLst/>
                <a:uLnTx/>
                <a:uFillTx/>
                <a:latin typeface="Arial" panose="020B0604020202020204"/>
                <a:ea typeface="华文楷体" panose="02010600040101010101" charset="-122"/>
                <a:cs typeface="+mn-ea"/>
                <a:sym typeface="+mn-lt"/>
              </a:rPr>
              <a:t>XXX</a:t>
            </a:r>
            <a:endParaRPr kumimoji="0" lang="en-US" altLang="zh-CN"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36" name="圆角矩形 35"/>
          <p:cNvSpPr/>
          <p:nvPr/>
        </p:nvSpPr>
        <p:spPr>
          <a:xfrm rot="21217583">
            <a:off x="494701" y="3439638"/>
            <a:ext cx="7521892" cy="244076"/>
          </a:xfrm>
          <a:prstGeom prst="roundRect">
            <a:avLst/>
          </a:prstGeom>
          <a:gradFill flip="none" rotWithShape="1">
            <a:gsLst>
              <a:gs pos="0">
                <a:schemeClr val="accent5">
                  <a:lumMod val="60000"/>
                  <a:lumOff val="40000"/>
                </a:schemeClr>
              </a:gs>
              <a:gs pos="19000">
                <a:schemeClr val="accent5">
                  <a:lumMod val="75000"/>
                </a:schemeClr>
              </a:gs>
              <a:gs pos="100000">
                <a:schemeClr val="accent5">
                  <a:lumMod val="40000"/>
                  <a:lumOff val="60000"/>
                </a:schemeClr>
              </a:gs>
            </a:gsLst>
            <a:lin ang="162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grpSp>
        <p:nvGrpSpPr>
          <p:cNvPr id="56" name="组合 55"/>
          <p:cNvGrpSpPr/>
          <p:nvPr/>
        </p:nvGrpSpPr>
        <p:grpSpPr>
          <a:xfrm>
            <a:off x="8926286" y="1284516"/>
            <a:ext cx="2931026" cy="4865914"/>
            <a:chOff x="9414883" y="1034143"/>
            <a:chExt cx="2398886" cy="4954329"/>
          </a:xfrm>
          <a:effectLst/>
        </p:grpSpPr>
        <p:sp>
          <p:nvSpPr>
            <p:cNvPr id="37" name="折角形 36"/>
            <p:cNvSpPr/>
            <p:nvPr>
              <p:custDataLst>
                <p:tags r:id="rId7"/>
              </p:custDataLst>
            </p:nvPr>
          </p:nvSpPr>
          <p:spPr>
            <a:xfrm>
              <a:off x="9414883" y="1280195"/>
              <a:ext cx="2398886" cy="4708277"/>
            </a:xfrm>
            <a:prstGeom prst="foldedCorner">
              <a:avLst>
                <a:gd name="adj" fmla="val 13415"/>
              </a:avLst>
            </a:prstGeom>
            <a:solidFill>
              <a:sysClr val="window" lastClr="FFFFFF"/>
            </a:solidFill>
            <a:ln w="9525" cap="flat" cmpd="sng" algn="ctr">
              <a:solidFill>
                <a:srgbClr val="FE733C"/>
              </a:solid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800" b="1" i="0" u="none" strike="noStrike" kern="0" cap="none" spc="0" normalizeH="0" baseline="0" noProof="0" dirty="0" err="1"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38" name="圆角矩形 37"/>
            <p:cNvSpPr/>
            <p:nvPr>
              <p:custDataLst>
                <p:tags r:id="rId8"/>
              </p:custDataLst>
            </p:nvPr>
          </p:nvSpPr>
          <p:spPr>
            <a:xfrm>
              <a:off x="9503977" y="1034143"/>
              <a:ext cx="2176395" cy="674914"/>
            </a:xfrm>
            <a:prstGeom prst="roundRect">
              <a:avLst>
                <a:gd name="adj" fmla="val 7242"/>
              </a:avLst>
            </a:prstGeom>
            <a:solidFill>
              <a:srgbClr val="FE5817"/>
            </a:solidFill>
            <a:ln w="9525" cap="flat" cmpd="sng" algn="ctr">
              <a:no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800" b="1" i="0" u="none" strike="noStrike" kern="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rPr>
                <a:t>XXXX</a:t>
              </a:r>
              <a:endParaRPr kumimoji="0" lang="zh-CN" altLang="en-US" sz="1800" b="1" i="0" u="none" strike="noStrike" kern="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sp>
          <p:nvSpPr>
            <p:cNvPr id="39" name="矩形 38"/>
            <p:cNvSpPr/>
            <p:nvPr>
              <p:custDataLst>
                <p:tags r:id="rId9"/>
              </p:custDataLst>
            </p:nvPr>
          </p:nvSpPr>
          <p:spPr>
            <a:xfrm>
              <a:off x="9546849" y="2055155"/>
              <a:ext cx="2139923" cy="1190802"/>
            </a:xfrm>
            <a:prstGeom prst="rect">
              <a:avLst/>
            </a:prstGeom>
          </p:spPr>
          <p:txBody>
            <a:bodyPr wrap="square">
              <a:spAutoFit/>
            </a:bodyPr>
            <a:lstStyle/>
            <a:p>
              <a:pPr marL="186055" marR="0" lvl="0" indent="-186055" algn="l" defTabSz="914400" rtl="0" eaLnBrk="1" fontAlgn="auto" latinLnBrk="1" hangingPunct="1">
                <a:lnSpc>
                  <a:spcPct val="100000"/>
                </a:lnSpc>
                <a:spcBef>
                  <a:spcPts val="600"/>
                </a:spcBef>
                <a:spcAft>
                  <a:spcPts val="0"/>
                </a:spcAft>
                <a:buClrTx/>
                <a:buSzTx/>
                <a:buFont typeface="Arial" panose="020B0604020202020204" pitchFamily="34" charset="0"/>
                <a:buChar char="•"/>
                <a:defRPr/>
              </a:pPr>
              <a:r>
                <a:rPr kumimoji="0" lang="en-US" altLang="zh-CN" sz="2000" b="1" i="0" u="none" strike="noStrike" kern="0" cap="none" spc="0" normalizeH="0" baseline="0" noProof="0" smtClean="0">
                  <a:ln>
                    <a:noFill/>
                  </a:ln>
                  <a:solidFill>
                    <a:srgbClr val="ED7D31"/>
                  </a:solidFill>
                  <a:effectLst/>
                  <a:uLnTx/>
                  <a:uFillTx/>
                  <a:latin typeface="Arial" panose="020B0604020202020204"/>
                  <a:ea typeface="华文楷体" panose="02010600040101010101" charset="-122"/>
                  <a:cs typeface="+mn-ea"/>
                  <a:sym typeface="+mn-lt"/>
                </a:rPr>
                <a:t>XXX</a:t>
              </a:r>
              <a:endParaRPr kumimoji="0" lang="en-US" altLang="zh-CN" sz="2000" b="1"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a:p>
              <a:pPr marL="186055" marR="0" lvl="0" indent="-186055" algn="l" defTabSz="914400" rtl="0" eaLnBrk="1" fontAlgn="auto" latinLnBrk="1" hangingPunct="1">
                <a:lnSpc>
                  <a:spcPct val="100000"/>
                </a:lnSpc>
                <a:spcBef>
                  <a:spcPts val="600"/>
                </a:spcBef>
                <a:spcAft>
                  <a:spcPts val="0"/>
                </a:spcAft>
                <a:buClrTx/>
                <a:buSzTx/>
                <a:buFont typeface="Arial" panose="020B0604020202020204" pitchFamily="34" charset="0"/>
                <a:buChar char="•"/>
                <a:defRPr/>
              </a:pPr>
              <a:r>
                <a:rPr kumimoji="0" lang="en-US" altLang="zh-CN" sz="2000" b="1" i="0" u="none" strike="noStrike" kern="0" cap="none" spc="0" normalizeH="0" baseline="0" noProof="0" smtClean="0">
                  <a:ln>
                    <a:noFill/>
                  </a:ln>
                  <a:solidFill>
                    <a:srgbClr val="ED7D31"/>
                  </a:solidFill>
                  <a:effectLst/>
                  <a:uLnTx/>
                  <a:uFillTx/>
                  <a:latin typeface="Arial" panose="020B0604020202020204"/>
                  <a:ea typeface="华文楷体" panose="02010600040101010101" charset="-122"/>
                  <a:cs typeface="+mn-ea"/>
                  <a:sym typeface="+mn-lt"/>
                </a:rPr>
                <a:t>XXX</a:t>
              </a:r>
              <a:endParaRPr kumimoji="0" lang="en-US" altLang="zh-CN" sz="20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a:p>
              <a:pPr marL="186055" marR="0" lvl="0" indent="-186055" algn="l" defTabSz="914400" rtl="0" eaLnBrk="1" fontAlgn="auto" latinLnBrk="1" hangingPunct="1">
                <a:lnSpc>
                  <a:spcPct val="100000"/>
                </a:lnSpc>
                <a:spcBef>
                  <a:spcPts val="600"/>
                </a:spcBef>
                <a:spcAft>
                  <a:spcPts val="0"/>
                </a:spcAft>
                <a:buClrTx/>
                <a:buSzTx/>
                <a:buFont typeface="Arial" panose="020B0604020202020204" pitchFamily="34" charset="0"/>
                <a:buChar char="•"/>
                <a:defRPr/>
              </a:pPr>
              <a:r>
                <a:rPr kumimoji="0" lang="en-US" altLang="zh-CN" sz="2000" b="1" i="0" u="none" strike="noStrike" kern="0" cap="none" spc="0" normalizeH="0" baseline="0" noProof="0" smtClean="0">
                  <a:ln>
                    <a:noFill/>
                  </a:ln>
                  <a:solidFill>
                    <a:srgbClr val="ED7D31"/>
                  </a:solidFill>
                  <a:effectLst/>
                  <a:uLnTx/>
                  <a:uFillTx/>
                  <a:latin typeface="Arial" panose="020B0604020202020204"/>
                  <a:ea typeface="华文楷体" panose="02010600040101010101" charset="-122"/>
                  <a:cs typeface="+mn-ea"/>
                  <a:sym typeface="+mn-lt"/>
                </a:rPr>
                <a:t>XXXX</a:t>
              </a:r>
              <a:endParaRPr kumimoji="0" lang="en-US" altLang="zh-CN" sz="20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grpSp>
      <p:cxnSp>
        <p:nvCxnSpPr>
          <p:cNvPr id="40" name="直接连接符 39"/>
          <p:cNvCxnSpPr/>
          <p:nvPr/>
        </p:nvCxnSpPr>
        <p:spPr>
          <a:xfrm>
            <a:off x="8442745" y="1304611"/>
            <a:ext cx="0" cy="4722725"/>
          </a:xfrm>
          <a:prstGeom prst="line">
            <a:avLst/>
          </a:prstGeom>
          <a:noFill/>
          <a:ln w="6350" cap="flat" cmpd="sng" algn="ctr">
            <a:solidFill>
              <a:srgbClr val="ED7D31"/>
            </a:solidFill>
            <a:prstDash val="solid"/>
            <a:miter lim="800000"/>
          </a:ln>
          <a:effectLst/>
        </p:spPr>
      </p:cxnSp>
      <p:grpSp>
        <p:nvGrpSpPr>
          <p:cNvPr id="41" name="组合 40"/>
          <p:cNvGrpSpPr/>
          <p:nvPr/>
        </p:nvGrpSpPr>
        <p:grpSpPr>
          <a:xfrm>
            <a:off x="8290705" y="1905443"/>
            <a:ext cx="323736" cy="323736"/>
            <a:chOff x="9624790" y="506796"/>
            <a:chExt cx="622998" cy="622998"/>
          </a:xfrm>
        </p:grpSpPr>
        <p:sp>
          <p:nvSpPr>
            <p:cNvPr id="42" name="椭圆 41"/>
            <p:cNvSpPr/>
            <p:nvPr/>
          </p:nvSpPr>
          <p:spPr>
            <a:xfrm>
              <a:off x="9624790" y="506796"/>
              <a:ext cx="622998" cy="622998"/>
            </a:xfrm>
            <a:prstGeom prst="ellipse">
              <a:avLst/>
            </a:prstGeom>
            <a:solidFill>
              <a:sysClr val="window" lastClr="FFFFFF"/>
            </a:solidFill>
            <a:ln w="9525" cap="flat" cmpd="sng" algn="ctr">
              <a:solidFill>
                <a:sysClr val="window" lastClr="FFFFFF"/>
              </a:solid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ea"/>
                <a:sym typeface="+mn-lt"/>
              </a:endParaRPr>
            </a:p>
          </p:txBody>
        </p:sp>
        <p:grpSp>
          <p:nvGrpSpPr>
            <p:cNvPr id="43" name="组合 42"/>
            <p:cNvGrpSpPr/>
            <p:nvPr/>
          </p:nvGrpSpPr>
          <p:grpSpPr>
            <a:xfrm>
              <a:off x="9753740" y="650003"/>
              <a:ext cx="365098" cy="336585"/>
              <a:chOff x="10000850" y="-582804"/>
              <a:chExt cx="479581" cy="442127"/>
            </a:xfrm>
          </p:grpSpPr>
          <p:sp>
            <p:nvSpPr>
              <p:cNvPr id="44" name="燕尾形 43"/>
              <p:cNvSpPr/>
              <p:nvPr/>
            </p:nvSpPr>
            <p:spPr>
              <a:xfrm>
                <a:off x="10189029" y="-582804"/>
                <a:ext cx="291402" cy="442127"/>
              </a:xfrm>
              <a:prstGeom prst="chevron">
                <a:avLst>
                  <a:gd name="adj" fmla="val 43337"/>
                </a:avLst>
              </a:prstGeom>
              <a:solidFill>
                <a:srgbClr val="ED7D31"/>
              </a:solidFill>
              <a:ln w="9525" cap="flat" cmpd="sng" algn="ctr">
                <a:no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45" name="燕尾形 44"/>
              <p:cNvSpPr/>
              <p:nvPr/>
            </p:nvSpPr>
            <p:spPr>
              <a:xfrm>
                <a:off x="10000850" y="-502417"/>
                <a:ext cx="185438" cy="281354"/>
              </a:xfrm>
              <a:prstGeom prst="chevron">
                <a:avLst>
                  <a:gd name="adj" fmla="val 38704"/>
                </a:avLst>
              </a:prstGeom>
              <a:solidFill>
                <a:srgbClr val="ED7D31"/>
              </a:solidFill>
              <a:ln w="9525" cap="flat" cmpd="sng" algn="ctr">
                <a:no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ea"/>
                  <a:sym typeface="+mn-lt"/>
                </a:endParaRPr>
              </a:p>
            </p:txBody>
          </p:sp>
        </p:grpSp>
      </p:grpSp>
      <p:grpSp>
        <p:nvGrpSpPr>
          <p:cNvPr id="46" name="组合 45"/>
          <p:cNvGrpSpPr/>
          <p:nvPr/>
        </p:nvGrpSpPr>
        <p:grpSpPr>
          <a:xfrm>
            <a:off x="8290705" y="3257215"/>
            <a:ext cx="323736" cy="323736"/>
            <a:chOff x="9624790" y="506796"/>
            <a:chExt cx="622998" cy="622998"/>
          </a:xfrm>
        </p:grpSpPr>
        <p:sp>
          <p:nvSpPr>
            <p:cNvPr id="47" name="椭圆 46"/>
            <p:cNvSpPr/>
            <p:nvPr/>
          </p:nvSpPr>
          <p:spPr>
            <a:xfrm>
              <a:off x="9624790" y="506796"/>
              <a:ext cx="622998" cy="622998"/>
            </a:xfrm>
            <a:prstGeom prst="ellipse">
              <a:avLst/>
            </a:prstGeom>
            <a:solidFill>
              <a:sysClr val="window" lastClr="FFFFFF"/>
            </a:solidFill>
            <a:ln w="9525" cap="flat" cmpd="sng" algn="ctr">
              <a:solidFill>
                <a:sysClr val="window" lastClr="FFFFFF"/>
              </a:solid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ea"/>
                <a:sym typeface="+mn-lt"/>
              </a:endParaRPr>
            </a:p>
          </p:txBody>
        </p:sp>
        <p:grpSp>
          <p:nvGrpSpPr>
            <p:cNvPr id="48" name="组合 47"/>
            <p:cNvGrpSpPr/>
            <p:nvPr/>
          </p:nvGrpSpPr>
          <p:grpSpPr>
            <a:xfrm>
              <a:off x="9753740" y="650003"/>
              <a:ext cx="365098" cy="336585"/>
              <a:chOff x="10000850" y="-582804"/>
              <a:chExt cx="479581" cy="442127"/>
            </a:xfrm>
          </p:grpSpPr>
          <p:sp>
            <p:nvSpPr>
              <p:cNvPr id="49" name="燕尾形 48"/>
              <p:cNvSpPr/>
              <p:nvPr/>
            </p:nvSpPr>
            <p:spPr>
              <a:xfrm>
                <a:off x="10189029" y="-582804"/>
                <a:ext cx="291402" cy="442127"/>
              </a:xfrm>
              <a:prstGeom prst="chevron">
                <a:avLst>
                  <a:gd name="adj" fmla="val 43337"/>
                </a:avLst>
              </a:prstGeom>
              <a:solidFill>
                <a:srgbClr val="ED7D31"/>
              </a:solidFill>
              <a:ln w="9525" cap="flat" cmpd="sng" algn="ctr">
                <a:no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0" name="燕尾形 49"/>
              <p:cNvSpPr/>
              <p:nvPr/>
            </p:nvSpPr>
            <p:spPr>
              <a:xfrm>
                <a:off x="10000850" y="-502417"/>
                <a:ext cx="185438" cy="281354"/>
              </a:xfrm>
              <a:prstGeom prst="chevron">
                <a:avLst>
                  <a:gd name="adj" fmla="val 38704"/>
                </a:avLst>
              </a:prstGeom>
              <a:solidFill>
                <a:srgbClr val="ED7D31"/>
              </a:solidFill>
              <a:ln w="9525" cap="flat" cmpd="sng" algn="ctr">
                <a:no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ea"/>
                  <a:sym typeface="+mn-lt"/>
                </a:endParaRPr>
              </a:p>
            </p:txBody>
          </p:sp>
        </p:grpSp>
      </p:grpSp>
      <p:grpSp>
        <p:nvGrpSpPr>
          <p:cNvPr id="51" name="组合 50"/>
          <p:cNvGrpSpPr/>
          <p:nvPr/>
        </p:nvGrpSpPr>
        <p:grpSpPr>
          <a:xfrm>
            <a:off x="8290705" y="4760730"/>
            <a:ext cx="323736" cy="323736"/>
            <a:chOff x="9624790" y="506796"/>
            <a:chExt cx="622998" cy="622998"/>
          </a:xfrm>
        </p:grpSpPr>
        <p:sp>
          <p:nvSpPr>
            <p:cNvPr id="52" name="椭圆 51"/>
            <p:cNvSpPr/>
            <p:nvPr/>
          </p:nvSpPr>
          <p:spPr>
            <a:xfrm>
              <a:off x="9624790" y="506796"/>
              <a:ext cx="622998" cy="622998"/>
            </a:xfrm>
            <a:prstGeom prst="ellipse">
              <a:avLst/>
            </a:prstGeom>
            <a:solidFill>
              <a:sysClr val="window" lastClr="FFFFFF"/>
            </a:solidFill>
            <a:ln w="9525" cap="flat" cmpd="sng" algn="ctr">
              <a:solidFill>
                <a:sysClr val="window" lastClr="FFFFFF"/>
              </a:solid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ea"/>
                <a:sym typeface="+mn-lt"/>
              </a:endParaRPr>
            </a:p>
          </p:txBody>
        </p:sp>
        <p:grpSp>
          <p:nvGrpSpPr>
            <p:cNvPr id="53" name="组合 52"/>
            <p:cNvGrpSpPr/>
            <p:nvPr/>
          </p:nvGrpSpPr>
          <p:grpSpPr>
            <a:xfrm>
              <a:off x="9753740" y="650003"/>
              <a:ext cx="365098" cy="336585"/>
              <a:chOff x="10000850" y="-582804"/>
              <a:chExt cx="479581" cy="442127"/>
            </a:xfrm>
          </p:grpSpPr>
          <p:sp>
            <p:nvSpPr>
              <p:cNvPr id="54" name="燕尾形 53"/>
              <p:cNvSpPr/>
              <p:nvPr/>
            </p:nvSpPr>
            <p:spPr>
              <a:xfrm>
                <a:off x="10189029" y="-582804"/>
                <a:ext cx="291402" cy="442127"/>
              </a:xfrm>
              <a:prstGeom prst="chevron">
                <a:avLst>
                  <a:gd name="adj" fmla="val 43337"/>
                </a:avLst>
              </a:prstGeom>
              <a:solidFill>
                <a:srgbClr val="ED7D31"/>
              </a:solidFill>
              <a:ln w="9525" cap="flat" cmpd="sng" algn="ctr">
                <a:no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5" name="燕尾形 54"/>
              <p:cNvSpPr/>
              <p:nvPr/>
            </p:nvSpPr>
            <p:spPr>
              <a:xfrm>
                <a:off x="10000850" y="-502417"/>
                <a:ext cx="185438" cy="281354"/>
              </a:xfrm>
              <a:prstGeom prst="chevron">
                <a:avLst>
                  <a:gd name="adj" fmla="val 38704"/>
                </a:avLst>
              </a:prstGeom>
              <a:solidFill>
                <a:srgbClr val="ED7D31"/>
              </a:solidFill>
              <a:ln w="9525" cap="flat" cmpd="sng" algn="ctr">
                <a:no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ea"/>
                  <a:sym typeface="+mn-lt"/>
                </a:endParaRPr>
              </a:p>
            </p:txBody>
          </p:sp>
        </p:grpSp>
      </p:grpSp>
      <p:sp>
        <p:nvSpPr>
          <p:cNvPr id="58" name="矩形 57"/>
          <p:cNvSpPr/>
          <p:nvPr/>
        </p:nvSpPr>
        <p:spPr>
          <a:xfrm>
            <a:off x="726190" y="1763875"/>
            <a:ext cx="307953"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TW" sz="2400" b="1" i="0" u="none" strike="noStrike" kern="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a:t>
            </a:r>
            <a:endParaRPr kumimoji="0" lang="zh-CN" alt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60" name="下箭头 31"/>
          <p:cNvSpPr/>
          <p:nvPr/>
        </p:nvSpPr>
        <p:spPr>
          <a:xfrm flipV="1">
            <a:off x="6215486" y="3497527"/>
            <a:ext cx="1807284" cy="2467845"/>
          </a:xfrm>
          <a:custGeom>
            <a:avLst/>
            <a:gdLst>
              <a:gd name="connsiteX0" fmla="*/ 0 w 1807284"/>
              <a:gd name="connsiteY0" fmla="*/ 1713593 h 2467845"/>
              <a:gd name="connsiteX1" fmla="*/ 451821 w 1807284"/>
              <a:gd name="connsiteY1" fmla="*/ 1713593 h 2467845"/>
              <a:gd name="connsiteX2" fmla="*/ 451821 w 1807284"/>
              <a:gd name="connsiteY2" fmla="*/ 0 h 2467845"/>
              <a:gd name="connsiteX3" fmla="*/ 1355463 w 1807284"/>
              <a:gd name="connsiteY3" fmla="*/ 0 h 2467845"/>
              <a:gd name="connsiteX4" fmla="*/ 1355463 w 1807284"/>
              <a:gd name="connsiteY4" fmla="*/ 1713593 h 2467845"/>
              <a:gd name="connsiteX5" fmla="*/ 1807284 w 1807284"/>
              <a:gd name="connsiteY5" fmla="*/ 1713593 h 2467845"/>
              <a:gd name="connsiteX6" fmla="*/ 903642 w 1807284"/>
              <a:gd name="connsiteY6" fmla="*/ 2467845 h 2467845"/>
              <a:gd name="connsiteX7" fmla="*/ 0 w 1807284"/>
              <a:gd name="connsiteY7" fmla="*/ 1713593 h 2467845"/>
              <a:gd name="connsiteX0-1" fmla="*/ 1355463 w 1807284"/>
              <a:gd name="connsiteY0-2" fmla="*/ 0 h 2467845"/>
              <a:gd name="connsiteX1-3" fmla="*/ 1355463 w 1807284"/>
              <a:gd name="connsiteY1-4" fmla="*/ 1713593 h 2467845"/>
              <a:gd name="connsiteX2-5" fmla="*/ 1807284 w 1807284"/>
              <a:gd name="connsiteY2-6" fmla="*/ 1713593 h 2467845"/>
              <a:gd name="connsiteX3-7" fmla="*/ 903642 w 1807284"/>
              <a:gd name="connsiteY3-8" fmla="*/ 2467845 h 2467845"/>
              <a:gd name="connsiteX4-9" fmla="*/ 0 w 1807284"/>
              <a:gd name="connsiteY4-10" fmla="*/ 1713593 h 2467845"/>
              <a:gd name="connsiteX5-11" fmla="*/ 451821 w 1807284"/>
              <a:gd name="connsiteY5-12" fmla="*/ 1713593 h 2467845"/>
              <a:gd name="connsiteX6-13" fmla="*/ 451821 w 1807284"/>
              <a:gd name="connsiteY6-14" fmla="*/ 0 h 2467845"/>
              <a:gd name="connsiteX7-15" fmla="*/ 1446903 w 1807284"/>
              <a:gd name="connsiteY7-16" fmla="*/ 91440 h 2467845"/>
              <a:gd name="connsiteX0-17" fmla="*/ 1355463 w 1807284"/>
              <a:gd name="connsiteY0-18" fmla="*/ 0 h 2467845"/>
              <a:gd name="connsiteX1-19" fmla="*/ 1355463 w 1807284"/>
              <a:gd name="connsiteY1-20" fmla="*/ 1713593 h 2467845"/>
              <a:gd name="connsiteX2-21" fmla="*/ 1807284 w 1807284"/>
              <a:gd name="connsiteY2-22" fmla="*/ 1713593 h 2467845"/>
              <a:gd name="connsiteX3-23" fmla="*/ 903642 w 1807284"/>
              <a:gd name="connsiteY3-24" fmla="*/ 2467845 h 2467845"/>
              <a:gd name="connsiteX4-25" fmla="*/ 0 w 1807284"/>
              <a:gd name="connsiteY4-26" fmla="*/ 1713593 h 2467845"/>
              <a:gd name="connsiteX5-27" fmla="*/ 451821 w 1807284"/>
              <a:gd name="connsiteY5-28" fmla="*/ 1713593 h 2467845"/>
              <a:gd name="connsiteX6-29" fmla="*/ 451821 w 1807284"/>
              <a:gd name="connsiteY6-30" fmla="*/ 0 h 246784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807284" h="2467845">
                <a:moveTo>
                  <a:pt x="1355463" y="0"/>
                </a:moveTo>
                <a:lnTo>
                  <a:pt x="1355463" y="1713593"/>
                </a:lnTo>
                <a:lnTo>
                  <a:pt x="1807284" y="1713593"/>
                </a:lnTo>
                <a:lnTo>
                  <a:pt x="903642" y="2467845"/>
                </a:lnTo>
                <a:lnTo>
                  <a:pt x="0" y="1713593"/>
                </a:lnTo>
                <a:lnTo>
                  <a:pt x="451821" y="1713593"/>
                </a:lnTo>
                <a:lnTo>
                  <a:pt x="451821" y="0"/>
                </a:lnTo>
              </a:path>
            </a:pathLst>
          </a:custGeom>
          <a:gradFill>
            <a:gsLst>
              <a:gs pos="0">
                <a:srgbClr val="FE5817"/>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accent2">
                <a:lumMod val="75000"/>
              </a:schemeClr>
            </a:solidFill>
          </a:ln>
          <a:effectLst/>
        </p:spPr>
        <p:style>
          <a:lnRef idx="0">
            <a:scrgbClr r="0" g="0" b="0"/>
          </a:lnRef>
          <a:fillRef idx="0">
            <a:scrgbClr r="0" g="0" b="0"/>
          </a:fillRef>
          <a:effectRef idx="0">
            <a:scrgbClr r="0" g="0" b="0"/>
          </a:effectRef>
          <a:fontRef idx="minor">
            <a:schemeClr val="lt1"/>
          </a:fontRef>
        </p:style>
        <p:txBody>
          <a:bodyPr/>
          <a:lstStyle/>
          <a:p>
            <a:endParaRPr lang="zh-CN" altLang="en-US">
              <a:solidFill>
                <a:prstClr val="white"/>
              </a:solidFill>
              <a:latin typeface="Arial" panose="020B0604020202020204"/>
              <a:ea typeface="华文楷体" panose="02010600040101010101" charset="-122"/>
              <a:cs typeface="+mn-ea"/>
              <a:sym typeface="+mn-lt"/>
            </a:endParaRPr>
          </a:p>
        </p:txBody>
      </p:sp>
      <p:sp>
        <p:nvSpPr>
          <p:cNvPr id="61" name="矩形 60"/>
          <p:cNvSpPr/>
          <p:nvPr>
            <p:custDataLst>
              <p:tags r:id="rId10"/>
            </p:custDataLst>
          </p:nvPr>
        </p:nvSpPr>
        <p:spPr>
          <a:xfrm>
            <a:off x="6736119" y="4434592"/>
            <a:ext cx="818566" cy="246221"/>
          </a:xfrm>
          <a:prstGeom prst="rect">
            <a:avLst/>
          </a:prstGeom>
        </p:spPr>
        <p:txBody>
          <a:bodyPr wrap="square" lIns="0" tIns="0" rIns="0" bIns="0">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600" b="0" i="0" u="none" strike="noStrike" kern="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X</a:t>
            </a:r>
            <a:endParaRPr kumimoji="0" lang="zh-CN" altLang="en-US" sz="1600" b="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2" name="矩形 61"/>
          <p:cNvSpPr/>
          <p:nvPr/>
        </p:nvSpPr>
        <p:spPr>
          <a:xfrm>
            <a:off x="7638616" y="4278010"/>
            <a:ext cx="307953"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TW" sz="2400" b="1" i="0" u="none" strike="noStrike" kern="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a:t>
            </a:r>
            <a:endParaRPr kumimoji="0" lang="zh-CN" altLang="en-US" sz="2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5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上下</a:t>
            </a:r>
            <a:endParaRPr lang="zh-CN" altLang="en-US" sz="2400" dirty="0">
              <a:solidFill>
                <a:prstClr val="black"/>
              </a:solidFill>
              <a:latin typeface="华文楷体" panose="02010600040101010101" charset="-122"/>
            </a:endParaRPr>
          </a:p>
        </p:txBody>
      </p:sp>
      <p:pic>
        <p:nvPicPr>
          <p:cNvPr id="59" name="图片 5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对象 6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755" name="think-cell Slide" r:id="rId2" imgW="12700" imgH="12700" progId="TCLayout.ActiveDocument.1">
                  <p:embed/>
                </p:oleObj>
              </mc:Choice>
              <mc:Fallback>
                <p:oleObj name="think-cell Slide" r:id="rId2" imgW="12700" imgH="12700" progId="TCLayout.ActiveDocument.1">
                  <p:embed/>
                  <p:pic>
                    <p:nvPicPr>
                      <p:cNvPr id="0" name="对象 69"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 name="矩形 3"/>
          <p:cNvSpPr/>
          <p:nvPr/>
        </p:nvSpPr>
        <p:spPr>
          <a:xfrm>
            <a:off x="522515" y="1088572"/>
            <a:ext cx="5119887" cy="4571999"/>
          </a:xfrm>
          <a:prstGeom prst="rect">
            <a:avLst/>
          </a:prstGeom>
          <a:solidFill>
            <a:schemeClr val="bg1"/>
          </a:solidFill>
          <a:ln w="19050"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 name="矩形 4"/>
          <p:cNvSpPr/>
          <p:nvPr/>
        </p:nvSpPr>
        <p:spPr>
          <a:xfrm>
            <a:off x="6477027" y="1088572"/>
            <a:ext cx="5119887" cy="4571999"/>
          </a:xfrm>
          <a:prstGeom prst="rect">
            <a:avLst/>
          </a:prstGeom>
          <a:solidFill>
            <a:schemeClr val="bg1"/>
          </a:solidFill>
          <a:ln w="19050"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8" name="椭圆 7"/>
          <p:cNvSpPr/>
          <p:nvPr/>
        </p:nvSpPr>
        <p:spPr>
          <a:xfrm>
            <a:off x="5434688" y="2832489"/>
            <a:ext cx="1162358" cy="1162358"/>
          </a:xfrm>
          <a:prstGeom prst="ellipse">
            <a:avLst/>
          </a:prstGeom>
          <a:solidFill>
            <a:srgbClr val="B32C16"/>
          </a:solidFill>
          <a:ln w="28575"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3800" b="1" i="1"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VS</a:t>
            </a:r>
            <a:r>
              <a:rPr kumimoji="0" lang="en-US" altLang="zh-CN" sz="3800" b="1" i="1"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rPr>
              <a:t>.</a:t>
            </a:r>
            <a:endParaRPr kumimoji="0" lang="zh-CN" altLang="en-US" sz="3800" b="1" i="1"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9" name="矩形 8"/>
          <p:cNvSpPr/>
          <p:nvPr/>
        </p:nvSpPr>
        <p:spPr>
          <a:xfrm>
            <a:off x="7097487" y="856343"/>
            <a:ext cx="986970" cy="493485"/>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2400" b="1"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X</a:t>
            </a:r>
            <a:endParaRPr kumimoji="0" lang="zh-CN" altLang="en-US" sz="2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10" name="矩形 9"/>
          <p:cNvSpPr/>
          <p:nvPr/>
        </p:nvSpPr>
        <p:spPr>
          <a:xfrm>
            <a:off x="957944" y="856343"/>
            <a:ext cx="986970" cy="493485"/>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2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现状</a:t>
            </a:r>
            <a:endParaRPr kumimoji="0" lang="zh-CN" altLang="en-US" sz="2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11" name="矩形 10"/>
          <p:cNvSpPr/>
          <p:nvPr/>
        </p:nvSpPr>
        <p:spPr>
          <a:xfrm>
            <a:off x="1092333" y="2276166"/>
            <a:ext cx="1227930" cy="507188"/>
          </a:xfrm>
          <a:prstGeom prst="rect">
            <a:avLst/>
          </a:prstGeom>
          <a:solidFill>
            <a:schemeClr val="bg1">
              <a:lumMod val="6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rPr>
              <a:t>XXX</a:t>
            </a:r>
            <a:endParaRPr kumimoji="0" lang="zh-HK"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sp>
        <p:nvSpPr>
          <p:cNvPr id="12" name="矩形 11"/>
          <p:cNvSpPr/>
          <p:nvPr/>
        </p:nvSpPr>
        <p:spPr>
          <a:xfrm>
            <a:off x="1092333" y="3048547"/>
            <a:ext cx="1227930" cy="507188"/>
          </a:xfrm>
          <a:prstGeom prst="rect">
            <a:avLst/>
          </a:prstGeom>
          <a:solidFill>
            <a:schemeClr val="bg1">
              <a:lumMod val="6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rPr>
              <a:t>XXXX</a:t>
            </a:r>
            <a:endParaRPr kumimoji="0" lang="zh-HK"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sp>
        <p:nvSpPr>
          <p:cNvPr id="13" name="矩形 12"/>
          <p:cNvSpPr/>
          <p:nvPr/>
        </p:nvSpPr>
        <p:spPr>
          <a:xfrm>
            <a:off x="1092333" y="3820929"/>
            <a:ext cx="1227930" cy="507188"/>
          </a:xfrm>
          <a:prstGeom prst="rect">
            <a:avLst/>
          </a:prstGeom>
          <a:solidFill>
            <a:schemeClr val="bg1">
              <a:lumMod val="6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rPr>
              <a:t>XXX</a:t>
            </a:r>
            <a:endParaRPr kumimoji="0" lang="zh-HK"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sp>
        <p:nvSpPr>
          <p:cNvPr id="15" name="椭圆 14"/>
          <p:cNvSpPr/>
          <p:nvPr/>
        </p:nvSpPr>
        <p:spPr>
          <a:xfrm>
            <a:off x="1148367" y="1451717"/>
            <a:ext cx="1115862" cy="559255"/>
          </a:xfrm>
          <a:prstGeom prst="ellipse">
            <a:avLst/>
          </a:prstGeom>
          <a:solidFill>
            <a:schemeClr val="bg1">
              <a:lumMod val="6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rPr>
              <a:t>XXX</a:t>
            </a:r>
            <a:endParaRPr kumimoji="0" lang="zh-HK"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sp>
        <p:nvSpPr>
          <p:cNvPr id="17" name="圆角矩形 16"/>
          <p:cNvSpPr/>
          <p:nvPr/>
        </p:nvSpPr>
        <p:spPr>
          <a:xfrm>
            <a:off x="914400" y="5370286"/>
            <a:ext cx="4397829" cy="761574"/>
          </a:xfrm>
          <a:prstGeom prst="roundRect">
            <a:avLst>
              <a:gd name="adj" fmla="val 8091"/>
            </a:avLst>
          </a:prstGeom>
          <a:solidFill>
            <a:schemeClr val="accent1">
              <a:lumMod val="40000"/>
              <a:lumOff val="60000"/>
            </a:schemeClr>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90000"/>
              </a:lnSpc>
              <a:spcBef>
                <a:spcPts val="0"/>
              </a:spcBef>
              <a:spcAft>
                <a:spcPts val="1000"/>
              </a:spcAft>
              <a:buClrTx/>
              <a:buSzTx/>
              <a:buFontTx/>
              <a:buNone/>
              <a:defRPr/>
            </a:pPr>
            <a:r>
              <a:rPr kumimoji="0" lang="zh-CN" altLang="en-US"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两大</a:t>
            </a:r>
            <a:br>
              <a:rPr kumimoji="0" lang="en-US" altLang="zh-CN"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br>
            <a:r>
              <a:rPr kumimoji="0" lang="zh-CN" altLang="en-US"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痛点</a:t>
            </a:r>
            <a:endParaRPr kumimoji="0" lang="zh-CN" altLang="en-US"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18" name="矩形 17"/>
          <p:cNvSpPr/>
          <p:nvPr/>
        </p:nvSpPr>
        <p:spPr>
          <a:xfrm>
            <a:off x="1664683" y="5444457"/>
            <a:ext cx="3525881" cy="284934"/>
          </a:xfrm>
          <a:prstGeom prst="rect">
            <a:avLst/>
          </a:prstGeom>
          <a:solidFill>
            <a:schemeClr val="bg1">
              <a:lumMod val="85000"/>
            </a:schemeClr>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36000" bIns="45720" numCol="1" spcCol="0" rtlCol="0" fromWordArt="0" anchor="ctr" anchorCtr="0" forceAA="0" compatLnSpc="1">
            <a:noAutofit/>
          </a:bodyPr>
          <a:lstStyle/>
          <a:p>
            <a:pPr marL="288925" marR="0" lvl="1" indent="-174625" algn="l" defTabSz="914400" rtl="0" eaLnBrk="1" fontAlgn="auto" latinLnBrk="0" hangingPunct="1">
              <a:lnSpc>
                <a:spcPct val="100000"/>
              </a:lnSpc>
              <a:spcBef>
                <a:spcPct val="0"/>
              </a:spcBef>
              <a:spcAft>
                <a:spcPct val="0"/>
              </a:spcAft>
              <a:buClr>
                <a:srgbClr val="575F6D">
                  <a:lumMod val="100000"/>
                </a:srgbClr>
              </a:buClr>
              <a:buSzPct val="100000"/>
              <a:buFont typeface="Arial" panose="020B0604020202020204" pitchFamily="34" charset="0"/>
              <a:buChar char="•"/>
              <a:defRPr/>
            </a:pPr>
            <a:r>
              <a:rPr kumimoji="0" lang="en-US" altLang="zh-CN" sz="1200" b="0"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a:t>
            </a:r>
            <a:endParaRPr kumimoji="0" lang="zh-CN" altLang="en-US" sz="12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p:txBody>
      </p:sp>
      <p:sp>
        <p:nvSpPr>
          <p:cNvPr id="21" name="矩形 20"/>
          <p:cNvSpPr/>
          <p:nvPr/>
        </p:nvSpPr>
        <p:spPr>
          <a:xfrm>
            <a:off x="1664683" y="5775303"/>
            <a:ext cx="3525881" cy="284934"/>
          </a:xfrm>
          <a:prstGeom prst="rect">
            <a:avLst/>
          </a:prstGeom>
          <a:solidFill>
            <a:schemeClr val="bg1">
              <a:lumMod val="85000"/>
            </a:schemeClr>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36000" bIns="45720" numCol="1" spcCol="0" rtlCol="0" fromWordArt="0" anchor="ctr" anchorCtr="0" forceAA="0" compatLnSpc="1">
            <a:noAutofit/>
          </a:bodyPr>
          <a:lstStyle/>
          <a:p>
            <a:pPr marL="288925" marR="0" lvl="1" indent="-174625" algn="l" defTabSz="914400" rtl="0" eaLnBrk="1" fontAlgn="auto" latinLnBrk="0" hangingPunct="1">
              <a:lnSpc>
                <a:spcPct val="100000"/>
              </a:lnSpc>
              <a:spcBef>
                <a:spcPct val="0"/>
              </a:spcBef>
              <a:spcAft>
                <a:spcPct val="0"/>
              </a:spcAft>
              <a:buClr>
                <a:srgbClr val="575F6D">
                  <a:lumMod val="100000"/>
                </a:srgbClr>
              </a:buClr>
              <a:buSzPct val="100000"/>
              <a:buFont typeface="Arial" panose="020B0604020202020204" pitchFamily="34" charset="0"/>
              <a:buChar char="•"/>
              <a:defRPr/>
            </a:pPr>
            <a:r>
              <a:rPr kumimoji="0" lang="en-US" altLang="zh-CN" sz="1200" b="0"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a:t>
            </a:r>
            <a:endParaRPr kumimoji="0" lang="zh-CN" altLang="en-US" sz="12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p:txBody>
      </p:sp>
      <p:sp>
        <p:nvSpPr>
          <p:cNvPr id="19" name="椭圆 18"/>
          <p:cNvSpPr/>
          <p:nvPr/>
        </p:nvSpPr>
        <p:spPr>
          <a:xfrm>
            <a:off x="1562100" y="5485561"/>
            <a:ext cx="202727" cy="202727"/>
          </a:xfrm>
          <a:prstGeom prst="ellipse">
            <a:avLst/>
          </a:prstGeom>
          <a:solidFill>
            <a:schemeClr val="accent5">
              <a:lumMod val="75000"/>
            </a:schemeClr>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1</a:t>
            </a:r>
            <a:endParaRPr kumimoji="0" lang="zh-CN" altLang="en-US" sz="11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20" name="椭圆 19"/>
          <p:cNvSpPr/>
          <p:nvPr/>
        </p:nvSpPr>
        <p:spPr>
          <a:xfrm>
            <a:off x="1562100" y="5816407"/>
            <a:ext cx="202727" cy="202727"/>
          </a:xfrm>
          <a:prstGeom prst="ellipse">
            <a:avLst/>
          </a:prstGeom>
          <a:solidFill>
            <a:schemeClr val="accent5">
              <a:lumMod val="75000"/>
            </a:schemeClr>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2</a:t>
            </a:r>
            <a:endParaRPr kumimoji="0" lang="zh-CN" altLang="en-US" sz="11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23" name="圆角矩形 22"/>
          <p:cNvSpPr/>
          <p:nvPr/>
        </p:nvSpPr>
        <p:spPr>
          <a:xfrm>
            <a:off x="6901543" y="5370286"/>
            <a:ext cx="4397829" cy="761574"/>
          </a:xfrm>
          <a:prstGeom prst="roundRect">
            <a:avLst>
              <a:gd name="adj" fmla="val 8091"/>
            </a:avLst>
          </a:prstGeom>
          <a:solidFill>
            <a:schemeClr val="accent1">
              <a:lumMod val="40000"/>
              <a:lumOff val="60000"/>
            </a:schemeClr>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90000"/>
              </a:lnSpc>
              <a:spcBef>
                <a:spcPts val="0"/>
              </a:spcBef>
              <a:spcAft>
                <a:spcPts val="1000"/>
              </a:spcAft>
              <a:buClrTx/>
              <a:buSzTx/>
              <a:buFontTx/>
              <a:buNone/>
              <a:defRPr/>
            </a:pPr>
            <a:r>
              <a:rPr kumimoji="0" lang="zh-CN" altLang="en-US" sz="18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影响</a:t>
            </a:r>
            <a:endParaRPr kumimoji="0" lang="zh-CN" altLang="en-US"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24" name="矩形 23"/>
          <p:cNvSpPr/>
          <p:nvPr/>
        </p:nvSpPr>
        <p:spPr>
          <a:xfrm>
            <a:off x="7651826" y="5444457"/>
            <a:ext cx="3525881" cy="284934"/>
          </a:xfrm>
          <a:prstGeom prst="rect">
            <a:avLst/>
          </a:prstGeom>
          <a:solidFill>
            <a:schemeClr val="bg1">
              <a:lumMod val="85000"/>
            </a:schemeClr>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36000" bIns="45720" numCol="1" spcCol="0" rtlCol="0" fromWordArt="0" anchor="ctr" anchorCtr="0" forceAA="0" compatLnSpc="1">
            <a:noAutofit/>
          </a:bodyPr>
          <a:lstStyle/>
          <a:p>
            <a:pPr marL="288925" marR="0" lvl="1" indent="-174625" algn="l" defTabSz="914400" rtl="0" eaLnBrk="1" fontAlgn="auto" latinLnBrk="0" hangingPunct="1">
              <a:lnSpc>
                <a:spcPct val="100000"/>
              </a:lnSpc>
              <a:spcBef>
                <a:spcPct val="0"/>
              </a:spcBef>
              <a:spcAft>
                <a:spcPct val="0"/>
              </a:spcAft>
              <a:buClr>
                <a:srgbClr val="575F6D">
                  <a:lumMod val="100000"/>
                </a:srgbClr>
              </a:buClr>
              <a:buSzPct val="100000"/>
              <a:buFont typeface="Arial" panose="020B0604020202020204" pitchFamily="34" charset="0"/>
              <a:buChar char="•"/>
              <a:defRPr/>
            </a:pPr>
            <a:r>
              <a:rPr kumimoji="0" lang="en-US" altLang="zh-CN" sz="1200" b="0"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a:t>
            </a:r>
            <a:endParaRPr kumimoji="0" lang="zh-CN" altLang="en-US" sz="12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p:txBody>
      </p:sp>
      <p:sp>
        <p:nvSpPr>
          <p:cNvPr id="25" name="矩形 24"/>
          <p:cNvSpPr/>
          <p:nvPr/>
        </p:nvSpPr>
        <p:spPr>
          <a:xfrm>
            <a:off x="7651826" y="5775303"/>
            <a:ext cx="3525881" cy="284934"/>
          </a:xfrm>
          <a:prstGeom prst="rect">
            <a:avLst/>
          </a:prstGeom>
          <a:solidFill>
            <a:schemeClr val="bg1">
              <a:lumMod val="85000"/>
            </a:schemeClr>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36000" bIns="45720" numCol="1" spcCol="0" rtlCol="0" fromWordArt="0" anchor="ctr" anchorCtr="0" forceAA="0" compatLnSpc="1">
            <a:noAutofit/>
          </a:bodyPr>
          <a:lstStyle/>
          <a:p>
            <a:pPr marL="288925" marR="0" lvl="1" indent="-174625" algn="l" defTabSz="914400" rtl="0" eaLnBrk="1" fontAlgn="auto" latinLnBrk="0" hangingPunct="1">
              <a:lnSpc>
                <a:spcPct val="100000"/>
              </a:lnSpc>
              <a:spcBef>
                <a:spcPct val="0"/>
              </a:spcBef>
              <a:spcAft>
                <a:spcPct val="0"/>
              </a:spcAft>
              <a:buClr>
                <a:srgbClr val="575F6D">
                  <a:lumMod val="100000"/>
                </a:srgbClr>
              </a:buClr>
              <a:buSzPct val="100000"/>
              <a:buFont typeface="Arial" panose="020B0604020202020204" pitchFamily="34" charset="0"/>
              <a:buChar char="•"/>
              <a:defRPr/>
            </a:pPr>
            <a:r>
              <a:rPr kumimoji="0" lang="en-US" altLang="zh-CN" sz="1200" b="0"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a:t>
            </a:r>
            <a:endParaRPr kumimoji="0" lang="zh-CN" altLang="en-US" sz="12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p:txBody>
      </p:sp>
      <p:sp>
        <p:nvSpPr>
          <p:cNvPr id="26" name="椭圆 25"/>
          <p:cNvSpPr/>
          <p:nvPr/>
        </p:nvSpPr>
        <p:spPr>
          <a:xfrm>
            <a:off x="7549243" y="5485561"/>
            <a:ext cx="202727" cy="202727"/>
          </a:xfrm>
          <a:prstGeom prst="ellipse">
            <a:avLst/>
          </a:prstGeom>
          <a:solidFill>
            <a:schemeClr val="accent5">
              <a:lumMod val="75000"/>
            </a:schemeClr>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1</a:t>
            </a:r>
            <a:endParaRPr kumimoji="0" lang="zh-CN" altLang="en-US" sz="11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27" name="椭圆 26"/>
          <p:cNvSpPr/>
          <p:nvPr/>
        </p:nvSpPr>
        <p:spPr>
          <a:xfrm>
            <a:off x="7549243" y="5816407"/>
            <a:ext cx="202727" cy="202727"/>
          </a:xfrm>
          <a:prstGeom prst="ellipse">
            <a:avLst/>
          </a:prstGeom>
          <a:solidFill>
            <a:schemeClr val="accent5">
              <a:lumMod val="75000"/>
            </a:schemeClr>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1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2</a:t>
            </a:r>
            <a:endParaRPr kumimoji="0" lang="zh-CN" altLang="en-US" sz="11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28" name="椭圆 27"/>
          <p:cNvSpPr/>
          <p:nvPr/>
        </p:nvSpPr>
        <p:spPr>
          <a:xfrm>
            <a:off x="1148367" y="4565031"/>
            <a:ext cx="1115862" cy="559255"/>
          </a:xfrm>
          <a:prstGeom prst="ellipse">
            <a:avLst/>
          </a:prstGeom>
          <a:solidFill>
            <a:schemeClr val="bg1">
              <a:lumMod val="6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rPr>
              <a:t>XXXX</a:t>
            </a:r>
            <a:endParaRPr kumimoji="0" lang="zh-HK"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cxnSp>
        <p:nvCxnSpPr>
          <p:cNvPr id="30" name="直接箭头连接符 29"/>
          <p:cNvCxnSpPr>
            <a:stCxn id="15" idx="4"/>
            <a:endCxn id="11" idx="0"/>
          </p:cNvCxnSpPr>
          <p:nvPr/>
        </p:nvCxnSpPr>
        <p:spPr>
          <a:xfrm>
            <a:off x="1706298" y="2010972"/>
            <a:ext cx="0" cy="26519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a:stCxn id="11" idx="2"/>
            <a:endCxn id="12" idx="0"/>
          </p:cNvCxnSpPr>
          <p:nvPr/>
        </p:nvCxnSpPr>
        <p:spPr>
          <a:xfrm>
            <a:off x="1706298" y="2783354"/>
            <a:ext cx="0" cy="26519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4" name="直接箭头连接符 33"/>
          <p:cNvCxnSpPr>
            <a:stCxn id="12" idx="2"/>
            <a:endCxn id="13" idx="0"/>
          </p:cNvCxnSpPr>
          <p:nvPr/>
        </p:nvCxnSpPr>
        <p:spPr>
          <a:xfrm>
            <a:off x="1706298" y="3555735"/>
            <a:ext cx="0" cy="26519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8" name="直接箭头连接符 37"/>
          <p:cNvCxnSpPr>
            <a:stCxn id="13" idx="2"/>
            <a:endCxn id="28" idx="0"/>
          </p:cNvCxnSpPr>
          <p:nvPr/>
        </p:nvCxnSpPr>
        <p:spPr>
          <a:xfrm>
            <a:off x="1706298" y="4328117"/>
            <a:ext cx="0" cy="23691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9" name="矩形 48"/>
          <p:cNvSpPr/>
          <p:nvPr/>
        </p:nvSpPr>
        <p:spPr>
          <a:xfrm>
            <a:off x="6854790" y="2276166"/>
            <a:ext cx="1227930" cy="507188"/>
          </a:xfrm>
          <a:prstGeom prst="rect">
            <a:avLst/>
          </a:prstGeom>
          <a:solidFill>
            <a:srgbClr val="FE733C"/>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rPr>
              <a:t>XXXX</a:t>
            </a:r>
            <a:endParaRPr kumimoji="0" lang="zh-HK"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sp>
        <p:nvSpPr>
          <p:cNvPr id="50" name="矩形 49"/>
          <p:cNvSpPr/>
          <p:nvPr/>
        </p:nvSpPr>
        <p:spPr>
          <a:xfrm>
            <a:off x="6854790" y="3048547"/>
            <a:ext cx="1227930" cy="507188"/>
          </a:xfrm>
          <a:prstGeom prst="rect">
            <a:avLst/>
          </a:prstGeom>
          <a:solidFill>
            <a:srgbClr val="FE733C"/>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rPr>
              <a:t>XXXX</a:t>
            </a:r>
            <a:endParaRPr kumimoji="0" lang="zh-HK"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sp>
        <p:nvSpPr>
          <p:cNvPr id="51" name="矩形 50"/>
          <p:cNvSpPr/>
          <p:nvPr/>
        </p:nvSpPr>
        <p:spPr>
          <a:xfrm>
            <a:off x="6854790" y="3820929"/>
            <a:ext cx="1227930" cy="507188"/>
          </a:xfrm>
          <a:prstGeom prst="rect">
            <a:avLst/>
          </a:prstGeom>
          <a:solidFill>
            <a:srgbClr val="FE733C"/>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rPr>
              <a:t>XXXX</a:t>
            </a:r>
            <a:endParaRPr kumimoji="0" lang="zh-HK"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sp>
        <p:nvSpPr>
          <p:cNvPr id="52" name="椭圆 51"/>
          <p:cNvSpPr/>
          <p:nvPr/>
        </p:nvSpPr>
        <p:spPr>
          <a:xfrm>
            <a:off x="6910824" y="1451717"/>
            <a:ext cx="1115862" cy="559255"/>
          </a:xfrm>
          <a:prstGeom prst="ellipse">
            <a:avLst/>
          </a:prstGeom>
          <a:solidFill>
            <a:srgbClr val="FE733C"/>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XXXX</a:t>
            </a:r>
            <a:endParaRPr kumimoji="0" lang="zh-HK"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sp>
        <p:nvSpPr>
          <p:cNvPr id="53" name="椭圆 52"/>
          <p:cNvSpPr/>
          <p:nvPr/>
        </p:nvSpPr>
        <p:spPr>
          <a:xfrm>
            <a:off x="6910824" y="4565031"/>
            <a:ext cx="1115862" cy="559255"/>
          </a:xfrm>
          <a:prstGeom prst="ellipse">
            <a:avLst/>
          </a:prstGeom>
          <a:solidFill>
            <a:srgbClr val="FE733C"/>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ea"/>
                <a:sym typeface="+mn-lt"/>
              </a:rPr>
              <a:t>XXX</a:t>
            </a:r>
            <a:endParaRPr kumimoji="0" lang="zh-HK"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ea"/>
              <a:sym typeface="+mn-lt"/>
            </a:endParaRPr>
          </a:p>
        </p:txBody>
      </p:sp>
      <p:cxnSp>
        <p:nvCxnSpPr>
          <p:cNvPr id="54" name="直接箭头连接符 53"/>
          <p:cNvCxnSpPr/>
          <p:nvPr/>
        </p:nvCxnSpPr>
        <p:spPr>
          <a:xfrm>
            <a:off x="7479642" y="2010972"/>
            <a:ext cx="0" cy="26519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5" name="直接箭头连接符 54"/>
          <p:cNvCxnSpPr/>
          <p:nvPr/>
        </p:nvCxnSpPr>
        <p:spPr>
          <a:xfrm>
            <a:off x="7479642" y="2783354"/>
            <a:ext cx="0" cy="26519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6" name="直接箭头连接符 55"/>
          <p:cNvCxnSpPr/>
          <p:nvPr/>
        </p:nvCxnSpPr>
        <p:spPr>
          <a:xfrm>
            <a:off x="7479642" y="3555735"/>
            <a:ext cx="0" cy="26519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7" name="直接箭头连接符 56"/>
          <p:cNvCxnSpPr/>
          <p:nvPr/>
        </p:nvCxnSpPr>
        <p:spPr>
          <a:xfrm>
            <a:off x="7479642" y="4328117"/>
            <a:ext cx="0" cy="236914"/>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8" name="矩形 57"/>
          <p:cNvSpPr/>
          <p:nvPr/>
        </p:nvSpPr>
        <p:spPr>
          <a:xfrm>
            <a:off x="2797628" y="1447800"/>
            <a:ext cx="2536372" cy="369025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8925" marR="0" lvl="1" indent="-174625" algn="l" defTabSz="914400" rtl="0" eaLnBrk="1" fontAlgn="auto" latinLnBrk="0" hangingPunct="1">
              <a:lnSpc>
                <a:spcPct val="100000"/>
              </a:lnSpc>
              <a:spcBef>
                <a:spcPts val="1200"/>
              </a:spcBef>
              <a:spcAft>
                <a:spcPct val="0"/>
              </a:spcAft>
              <a:buClr>
                <a:srgbClr val="575F6D">
                  <a:lumMod val="100000"/>
                </a:srgbClr>
              </a:buClr>
              <a:buSzPct val="100000"/>
              <a:buFont typeface="Arial" panose="020B0604020202020204" pitchFamily="34" charset="0"/>
              <a:buChar char="•"/>
              <a:defRPr/>
            </a:pPr>
            <a:r>
              <a:rPr kumimoji="0" lang="en-US" altLang="zh-CN" sz="1800" b="0" i="0" u="none" strike="noStrike" kern="1200" cap="none" spc="0" normalizeH="0" baseline="0" noProof="0" dirty="0" smtClean="0">
                <a:ln>
                  <a:noFill/>
                </a:ln>
                <a:solidFill>
                  <a:srgbClr val="000000">
                    <a:lumMod val="100000"/>
                  </a:srgbClr>
                </a:solidFill>
                <a:effectLst/>
                <a:uLnTx/>
                <a:uFillTx/>
                <a:latin typeface="Arial" panose="020B0604020202020204"/>
                <a:ea typeface="华文楷体" panose="02010600040101010101" charset="-122"/>
                <a:cs typeface="+mn-ea"/>
                <a:sym typeface="+mn-lt"/>
              </a:rPr>
              <a:t>XXXX</a:t>
            </a:r>
            <a:endParaRPr kumimoji="0" lang="en-US" altLang="zh-CN" sz="18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a:p>
            <a:pPr marL="288925" marR="0" lvl="1" indent="-174625" algn="l" defTabSz="914400" rtl="0" eaLnBrk="1" fontAlgn="auto" latinLnBrk="0" hangingPunct="1">
              <a:lnSpc>
                <a:spcPct val="100000"/>
              </a:lnSpc>
              <a:spcBef>
                <a:spcPts val="1200"/>
              </a:spcBef>
              <a:spcAft>
                <a:spcPct val="0"/>
              </a:spcAft>
              <a:buClr>
                <a:srgbClr val="575F6D">
                  <a:lumMod val="100000"/>
                </a:srgbClr>
              </a:buClr>
              <a:buSzPct val="100000"/>
              <a:buFont typeface="Arial" panose="020B0604020202020204" pitchFamily="34" charset="0"/>
              <a:buChar char="•"/>
              <a:defRPr/>
            </a:pPr>
            <a:r>
              <a:rPr kumimoji="0" lang="en-US" altLang="zh-CN" sz="1800" b="0" i="0" u="none" strike="noStrike" kern="1200" cap="none" spc="0" normalizeH="0" baseline="0" noProof="0" dirty="0" smtClean="0">
                <a:ln>
                  <a:noFill/>
                </a:ln>
                <a:solidFill>
                  <a:srgbClr val="000000">
                    <a:lumMod val="100000"/>
                  </a:srgbClr>
                </a:solidFill>
                <a:effectLst/>
                <a:uLnTx/>
                <a:uFillTx/>
                <a:latin typeface="Arial" panose="020B0604020202020204"/>
                <a:ea typeface="华文楷体" panose="02010600040101010101" charset="-122"/>
                <a:cs typeface="+mn-ea"/>
                <a:sym typeface="+mn-lt"/>
              </a:rPr>
              <a:t>XXXX</a:t>
            </a:r>
            <a:endParaRPr kumimoji="0" lang="en-US" altLang="zh-CN" sz="18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a:p>
            <a:pPr marL="288925" marR="0" lvl="1" indent="-174625" algn="l" defTabSz="914400" rtl="0" eaLnBrk="1" fontAlgn="auto" latinLnBrk="0" hangingPunct="1">
              <a:lnSpc>
                <a:spcPct val="100000"/>
              </a:lnSpc>
              <a:spcBef>
                <a:spcPts val="1200"/>
              </a:spcBef>
              <a:spcAft>
                <a:spcPct val="0"/>
              </a:spcAft>
              <a:buClr>
                <a:srgbClr val="575F6D">
                  <a:lumMod val="100000"/>
                </a:srgbClr>
              </a:buClr>
              <a:buSzPct val="100000"/>
              <a:buFont typeface="Arial" panose="020B0604020202020204" pitchFamily="34" charset="0"/>
              <a:buChar char="•"/>
              <a:defRPr/>
            </a:pPr>
            <a:r>
              <a:rPr kumimoji="0" lang="en-US" altLang="zh-CN" sz="1800" b="0" i="0" u="none" strike="noStrike" kern="1200" cap="none" spc="0" normalizeH="0" baseline="0" noProof="0" dirty="0" smtClean="0">
                <a:ln>
                  <a:noFill/>
                </a:ln>
                <a:solidFill>
                  <a:srgbClr val="000000">
                    <a:lumMod val="100000"/>
                  </a:srgbClr>
                </a:solidFill>
                <a:effectLst/>
                <a:uLnTx/>
                <a:uFillTx/>
                <a:latin typeface="Arial" panose="020B0604020202020204"/>
                <a:ea typeface="华文楷体" panose="02010600040101010101" charset="-122"/>
                <a:cs typeface="+mn-ea"/>
                <a:sym typeface="+mn-lt"/>
              </a:rPr>
              <a:t>XXX</a:t>
            </a:r>
            <a:endParaRPr kumimoji="0" lang="zh-CN" altLang="en-US" sz="18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p:txBody>
      </p:sp>
      <p:sp>
        <p:nvSpPr>
          <p:cNvPr id="59" name="矩形 58"/>
          <p:cNvSpPr/>
          <p:nvPr/>
        </p:nvSpPr>
        <p:spPr>
          <a:xfrm>
            <a:off x="8658056" y="1447801"/>
            <a:ext cx="2797629" cy="812346"/>
          </a:xfrm>
          <a:prstGeom prst="rect">
            <a:avLst/>
          </a:prstGeom>
          <a:solidFill>
            <a:schemeClr val="accent1">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a:t>
            </a:r>
            <a:endParaRPr kumimoji="0" lang="en-US" altLang="zh-CN" sz="105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a:t>
            </a:r>
            <a:endParaRPr kumimoji="0" lang="en-US" altLang="zh-CN" sz="1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欺诈多、效率低的问题</a:t>
            </a:r>
            <a:endParaRPr kumimoji="0" lang="zh-CN" altLang="en-US" sz="1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0" name="矩形 59"/>
          <p:cNvSpPr/>
          <p:nvPr/>
        </p:nvSpPr>
        <p:spPr>
          <a:xfrm>
            <a:off x="8658056" y="2399847"/>
            <a:ext cx="2797629" cy="812346"/>
          </a:xfrm>
          <a:prstGeom prst="rect">
            <a:avLst/>
          </a:prstGeom>
          <a:solidFill>
            <a:schemeClr val="accent1">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a:t>
            </a:r>
            <a:endParaRPr kumimoji="0" lang="en-US" altLang="zh-CN" sz="105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1" name="矩形 60"/>
          <p:cNvSpPr/>
          <p:nvPr/>
        </p:nvSpPr>
        <p:spPr>
          <a:xfrm>
            <a:off x="8658056" y="3351893"/>
            <a:ext cx="2797629" cy="812346"/>
          </a:xfrm>
          <a:prstGeom prst="rect">
            <a:avLst/>
          </a:prstGeom>
          <a:solidFill>
            <a:schemeClr val="accent1">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X</a:t>
            </a:r>
            <a:endParaRPr kumimoji="0" lang="en-US" altLang="zh-CN" sz="105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a:t>
            </a:r>
            <a:endParaRPr kumimoji="0" lang="zh-CN" altLang="en-US" sz="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2" name="矩形 61"/>
          <p:cNvSpPr/>
          <p:nvPr/>
        </p:nvSpPr>
        <p:spPr>
          <a:xfrm>
            <a:off x="8658056" y="4303939"/>
            <a:ext cx="2797629" cy="812346"/>
          </a:xfrm>
          <a:prstGeom prst="rect">
            <a:avLst/>
          </a:prstGeom>
          <a:solidFill>
            <a:schemeClr val="accent1">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X</a:t>
            </a:r>
            <a:endParaRPr kumimoji="0" lang="en-US" altLang="zh-CN" sz="105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a:t>
            </a:r>
            <a:endParaRPr kumimoji="0" lang="zh-CN" altLang="en-US" sz="1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3" name="椭圆 62"/>
          <p:cNvSpPr/>
          <p:nvPr/>
        </p:nvSpPr>
        <p:spPr>
          <a:xfrm>
            <a:off x="8549844" y="1276723"/>
            <a:ext cx="246176" cy="246176"/>
          </a:xfrm>
          <a:prstGeom prst="ellipse">
            <a:avLst/>
          </a:prstGeom>
          <a:solidFill>
            <a:schemeClr val="accent1">
              <a:lumMod val="50000"/>
            </a:schemeClr>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A</a:t>
            </a:r>
            <a:endParaRPr kumimoji="0" lang="zh-CN" altLang="en-US" sz="12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65" name="椭圆 64"/>
          <p:cNvSpPr/>
          <p:nvPr/>
        </p:nvSpPr>
        <p:spPr>
          <a:xfrm>
            <a:off x="8549844" y="3290580"/>
            <a:ext cx="246176" cy="246176"/>
          </a:xfrm>
          <a:prstGeom prst="ellipse">
            <a:avLst/>
          </a:prstGeom>
          <a:solidFill>
            <a:schemeClr val="accent1">
              <a:lumMod val="50000"/>
            </a:schemeClr>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C</a:t>
            </a:r>
            <a:endParaRPr kumimoji="0" lang="zh-CN" altLang="en-US" sz="12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67" name="任意多边形 66"/>
          <p:cNvSpPr/>
          <p:nvPr/>
        </p:nvSpPr>
        <p:spPr>
          <a:xfrm>
            <a:off x="8037572" y="1730829"/>
            <a:ext cx="620485" cy="0"/>
          </a:xfrm>
          <a:custGeom>
            <a:avLst/>
            <a:gdLst>
              <a:gd name="connsiteX0" fmla="*/ 0 w 620485"/>
              <a:gd name="connsiteY0" fmla="*/ 0 h 0"/>
              <a:gd name="connsiteX1" fmla="*/ 620485 w 620485"/>
              <a:gd name="connsiteY1" fmla="*/ 0 h 0"/>
            </a:gdLst>
            <a:ahLst/>
            <a:cxnLst>
              <a:cxn ang="0">
                <a:pos x="connsiteX0" y="connsiteY0"/>
              </a:cxn>
              <a:cxn ang="0">
                <a:pos x="connsiteX1" y="connsiteY1"/>
              </a:cxn>
            </a:cxnLst>
            <a:rect l="l" t="t" r="r" b="b"/>
            <a:pathLst>
              <a:path w="620485">
                <a:moveTo>
                  <a:pt x="0" y="0"/>
                </a:moveTo>
                <a:lnTo>
                  <a:pt x="620485" y="0"/>
                </a:lnTo>
              </a:path>
            </a:pathLst>
          </a:custGeom>
          <a:noFill/>
          <a:ln w="9525" cap="rnd" cmpd="sng" algn="ctr">
            <a:solidFill>
              <a:schemeClr val="accent1">
                <a:lumMod val="75000"/>
              </a:schemeClr>
            </a:solidFill>
            <a:prstDash val="solid"/>
            <a:round/>
            <a:headEnd type="oval"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ea"/>
              <a:sym typeface="+mn-lt"/>
            </a:endParaRPr>
          </a:p>
        </p:txBody>
      </p:sp>
      <p:sp>
        <p:nvSpPr>
          <p:cNvPr id="68" name="任意多边形 67"/>
          <p:cNvSpPr/>
          <p:nvPr/>
        </p:nvSpPr>
        <p:spPr>
          <a:xfrm flipV="1">
            <a:off x="8081115" y="2424835"/>
            <a:ext cx="576942" cy="45719"/>
          </a:xfrm>
          <a:custGeom>
            <a:avLst/>
            <a:gdLst>
              <a:gd name="connsiteX0" fmla="*/ 0 w 620485"/>
              <a:gd name="connsiteY0" fmla="*/ 0 h 0"/>
              <a:gd name="connsiteX1" fmla="*/ 620485 w 620485"/>
              <a:gd name="connsiteY1" fmla="*/ 0 h 0"/>
            </a:gdLst>
            <a:ahLst/>
            <a:cxnLst>
              <a:cxn ang="0">
                <a:pos x="connsiteX0" y="connsiteY0"/>
              </a:cxn>
              <a:cxn ang="0">
                <a:pos x="connsiteX1" y="connsiteY1"/>
              </a:cxn>
            </a:cxnLst>
            <a:rect l="l" t="t" r="r" b="b"/>
            <a:pathLst>
              <a:path w="620485">
                <a:moveTo>
                  <a:pt x="0" y="0"/>
                </a:moveTo>
                <a:lnTo>
                  <a:pt x="620485" y="0"/>
                </a:lnTo>
              </a:path>
            </a:pathLst>
          </a:custGeom>
          <a:noFill/>
          <a:ln w="9525" cap="rnd" cmpd="sng" algn="ctr">
            <a:solidFill>
              <a:schemeClr val="accent1">
                <a:lumMod val="75000"/>
              </a:schemeClr>
            </a:solidFill>
            <a:prstDash val="solid"/>
            <a:round/>
            <a:headEnd type="oval"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ea"/>
              <a:sym typeface="+mn-lt"/>
            </a:endParaRPr>
          </a:p>
        </p:txBody>
      </p:sp>
      <p:sp>
        <p:nvSpPr>
          <p:cNvPr id="64" name="椭圆 63"/>
          <p:cNvSpPr/>
          <p:nvPr/>
        </p:nvSpPr>
        <p:spPr>
          <a:xfrm>
            <a:off x="8549844" y="2332637"/>
            <a:ext cx="246176" cy="246176"/>
          </a:xfrm>
          <a:prstGeom prst="ellipse">
            <a:avLst/>
          </a:prstGeom>
          <a:solidFill>
            <a:schemeClr val="accent1">
              <a:lumMod val="50000"/>
            </a:schemeClr>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B</a:t>
            </a:r>
            <a:endParaRPr kumimoji="0" lang="zh-CN" altLang="en-US" sz="12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71" name="任意多边形 70"/>
          <p:cNvSpPr/>
          <p:nvPr/>
        </p:nvSpPr>
        <p:spPr>
          <a:xfrm>
            <a:off x="8085762" y="2640458"/>
            <a:ext cx="575353" cy="1171254"/>
          </a:xfrm>
          <a:custGeom>
            <a:avLst/>
            <a:gdLst>
              <a:gd name="connsiteX0" fmla="*/ 0 w 575353"/>
              <a:gd name="connsiteY0" fmla="*/ 0 h 1171254"/>
              <a:gd name="connsiteX1" fmla="*/ 287677 w 575353"/>
              <a:gd name="connsiteY1" fmla="*/ 0 h 1171254"/>
              <a:gd name="connsiteX2" fmla="*/ 287677 w 575353"/>
              <a:gd name="connsiteY2" fmla="*/ 1171254 h 1171254"/>
              <a:gd name="connsiteX3" fmla="*/ 575353 w 575353"/>
              <a:gd name="connsiteY3" fmla="*/ 1171254 h 1171254"/>
            </a:gdLst>
            <a:ahLst/>
            <a:cxnLst>
              <a:cxn ang="0">
                <a:pos x="connsiteX0" y="connsiteY0"/>
              </a:cxn>
              <a:cxn ang="0">
                <a:pos x="connsiteX1" y="connsiteY1"/>
              </a:cxn>
              <a:cxn ang="0">
                <a:pos x="connsiteX2" y="connsiteY2"/>
              </a:cxn>
              <a:cxn ang="0">
                <a:pos x="connsiteX3" y="connsiteY3"/>
              </a:cxn>
            </a:cxnLst>
            <a:rect l="l" t="t" r="r" b="b"/>
            <a:pathLst>
              <a:path w="575353" h="1171254">
                <a:moveTo>
                  <a:pt x="0" y="0"/>
                </a:moveTo>
                <a:lnTo>
                  <a:pt x="287677" y="0"/>
                </a:lnTo>
                <a:lnTo>
                  <a:pt x="287677" y="1171254"/>
                </a:lnTo>
                <a:lnTo>
                  <a:pt x="575353" y="1171254"/>
                </a:lnTo>
              </a:path>
            </a:pathLst>
          </a:custGeom>
          <a:noFill/>
          <a:ln w="9525" cap="rnd" cmpd="sng" algn="ctr">
            <a:solidFill>
              <a:schemeClr val="accent1">
                <a:lumMod val="75000"/>
              </a:schemeClr>
            </a:solidFill>
            <a:prstDash val="solid"/>
            <a:round/>
            <a:headEnd type="oval"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ea"/>
              <a:sym typeface="+mn-lt"/>
            </a:endParaRPr>
          </a:p>
        </p:txBody>
      </p:sp>
      <p:sp>
        <p:nvSpPr>
          <p:cNvPr id="72" name="任意多边形 71"/>
          <p:cNvSpPr/>
          <p:nvPr/>
        </p:nvSpPr>
        <p:spPr>
          <a:xfrm>
            <a:off x="7510410" y="4448710"/>
            <a:ext cx="1147647" cy="107512"/>
          </a:xfrm>
          <a:custGeom>
            <a:avLst/>
            <a:gdLst>
              <a:gd name="connsiteX0" fmla="*/ 0 w 620485"/>
              <a:gd name="connsiteY0" fmla="*/ 0 h 0"/>
              <a:gd name="connsiteX1" fmla="*/ 620485 w 620485"/>
              <a:gd name="connsiteY1" fmla="*/ 0 h 0"/>
            </a:gdLst>
            <a:ahLst/>
            <a:cxnLst>
              <a:cxn ang="0">
                <a:pos x="connsiteX0" y="connsiteY0"/>
              </a:cxn>
              <a:cxn ang="0">
                <a:pos x="connsiteX1" y="connsiteY1"/>
              </a:cxn>
            </a:cxnLst>
            <a:rect l="l" t="t" r="r" b="b"/>
            <a:pathLst>
              <a:path w="620485">
                <a:moveTo>
                  <a:pt x="0" y="0"/>
                </a:moveTo>
                <a:lnTo>
                  <a:pt x="620485" y="0"/>
                </a:lnTo>
              </a:path>
            </a:pathLst>
          </a:custGeom>
          <a:noFill/>
          <a:ln w="9525" cap="rnd" cmpd="sng" algn="ctr">
            <a:solidFill>
              <a:schemeClr val="accent1">
                <a:lumMod val="75000"/>
              </a:schemeClr>
            </a:solidFill>
            <a:prstDash val="solid"/>
            <a:round/>
            <a:headEnd type="oval"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ea"/>
              <a:sym typeface="+mn-lt"/>
            </a:endParaRPr>
          </a:p>
        </p:txBody>
      </p:sp>
      <p:sp>
        <p:nvSpPr>
          <p:cNvPr id="66" name="椭圆 65"/>
          <p:cNvSpPr/>
          <p:nvPr/>
        </p:nvSpPr>
        <p:spPr>
          <a:xfrm>
            <a:off x="8549844" y="4226751"/>
            <a:ext cx="246176" cy="246176"/>
          </a:xfrm>
          <a:prstGeom prst="ellipse">
            <a:avLst/>
          </a:prstGeom>
          <a:solidFill>
            <a:schemeClr val="accent1">
              <a:lumMod val="50000"/>
            </a:schemeClr>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D</a:t>
            </a:r>
            <a:endParaRPr kumimoji="0" lang="zh-CN" altLang="en-US" sz="12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73" name="任意多边形 72"/>
          <p:cNvSpPr/>
          <p:nvPr/>
        </p:nvSpPr>
        <p:spPr>
          <a:xfrm>
            <a:off x="6647380" y="2568539"/>
            <a:ext cx="267128" cy="2321960"/>
          </a:xfrm>
          <a:custGeom>
            <a:avLst/>
            <a:gdLst>
              <a:gd name="connsiteX0" fmla="*/ 349322 w 400692"/>
              <a:gd name="connsiteY0" fmla="*/ 0 h 2332234"/>
              <a:gd name="connsiteX1" fmla="*/ 0 w 400692"/>
              <a:gd name="connsiteY1" fmla="*/ 0 h 2332234"/>
              <a:gd name="connsiteX2" fmla="*/ 0 w 400692"/>
              <a:gd name="connsiteY2" fmla="*/ 2332234 h 2332234"/>
              <a:gd name="connsiteX3" fmla="*/ 400692 w 400692"/>
              <a:gd name="connsiteY3" fmla="*/ 2332234 h 2332234"/>
            </a:gdLst>
            <a:ahLst/>
            <a:cxnLst>
              <a:cxn ang="0">
                <a:pos x="connsiteX0" y="connsiteY0"/>
              </a:cxn>
              <a:cxn ang="0">
                <a:pos x="connsiteX1" y="connsiteY1"/>
              </a:cxn>
              <a:cxn ang="0">
                <a:pos x="connsiteX2" y="connsiteY2"/>
              </a:cxn>
              <a:cxn ang="0">
                <a:pos x="connsiteX3" y="connsiteY3"/>
              </a:cxn>
            </a:cxnLst>
            <a:rect l="l" t="t" r="r" b="b"/>
            <a:pathLst>
              <a:path w="400692" h="2332234">
                <a:moveTo>
                  <a:pt x="349322" y="0"/>
                </a:moveTo>
                <a:lnTo>
                  <a:pt x="0" y="0"/>
                </a:lnTo>
                <a:lnTo>
                  <a:pt x="0" y="2332234"/>
                </a:lnTo>
                <a:lnTo>
                  <a:pt x="400692" y="2332234"/>
                </a:lnTo>
              </a:path>
            </a:pathLst>
          </a:custGeom>
          <a:ln w="9525" cap="rnd">
            <a:solidFill>
              <a:schemeClr val="tx1">
                <a:lumMod val="60000"/>
                <a:lumOff val="40000"/>
              </a:schemeClr>
            </a:solidFill>
            <a:prstDash val="dash"/>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74" name="矩形标注 73"/>
          <p:cNvSpPr/>
          <p:nvPr/>
        </p:nvSpPr>
        <p:spPr>
          <a:xfrm>
            <a:off x="5845995" y="1746606"/>
            <a:ext cx="914400" cy="612648"/>
          </a:xfrm>
          <a:prstGeom prst="wedgeRectCallout">
            <a:avLst>
              <a:gd name="adj1" fmla="val 37594"/>
              <a:gd name="adj2" fmla="val 77593"/>
            </a:avLst>
          </a:prstGeom>
          <a:solidFill>
            <a:srgbClr val="FFE0B3"/>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智能规则模</a:t>
            </a:r>
            <a:r>
              <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型实</a:t>
            </a: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现简化流程</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75"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a:solidFill>
                  <a:prstClr val="black"/>
                </a:solidFill>
                <a:latin typeface="华文楷体" panose="02010600040101010101" charset="-122"/>
              </a:rPr>
              <a:t>现状</a:t>
            </a:r>
            <a:endParaRPr lang="zh-CN" altLang="en-US" sz="2400" dirty="0">
              <a:solidFill>
                <a:prstClr val="black"/>
              </a:solidFill>
              <a:latin typeface="华文楷体" panose="02010600040101010101" charset="-122"/>
            </a:endParaRPr>
          </a:p>
        </p:txBody>
      </p:sp>
      <p:pic>
        <p:nvPicPr>
          <p:cNvPr id="69" name="图片 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8306" name="Rectangle 2" hidden="1"/>
          <p:cNvGraphicFramePr/>
          <p:nvPr>
            <p:custDataLst>
              <p:tags r:id="rId1"/>
            </p:custDataLst>
          </p:nvPr>
        </p:nvGraphicFramePr>
        <p:xfrm>
          <a:off x="1524271" y="2"/>
          <a:ext cx="161915" cy="161924"/>
        </p:xfrm>
        <a:graphic>
          <a:graphicData uri="http://schemas.openxmlformats.org/presentationml/2006/ole">
            <mc:AlternateContent xmlns:mc="http://schemas.openxmlformats.org/markup-compatibility/2006">
              <mc:Choice xmlns:v="urn:schemas-microsoft-com:vml" Requires="v">
                <p:oleObj spid="_x0000_s374919" name="think-cell Slide" r:id="rId2" imgW="0" imgH="0" progId="TCLayout.ActiveDocument.1">
                  <p:embed/>
                </p:oleObj>
              </mc:Choice>
              <mc:Fallback>
                <p:oleObj name="think-cell Slide" r:id="rId2" imgW="0" imgH="0" progId="TCLayout.ActiveDocument.1">
                  <p:embed/>
                  <p:pic>
                    <p:nvPicPr>
                      <p:cNvPr id="0" name="Rectangle 2" hidden="1"/>
                      <p:cNvPicPr preferRelativeResize="0">
                        <a:picLocks noChangeArrowheads="1"/>
                      </p:cNvPicPr>
                      <p:nvPr/>
                    </p:nvPicPr>
                    <p:blipFill>
                      <a:blip/>
                      <a:srcRect/>
                      <a:stretch>
                        <a:fillRect/>
                      </a:stretch>
                    </p:blipFill>
                    <p:spPr bwMode="gray">
                      <a:xfrm>
                        <a:off x="1524271" y="2"/>
                        <a:ext cx="161915" cy="1619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 name="Group 1"/>
          <p:cNvGrpSpPr/>
          <p:nvPr/>
        </p:nvGrpSpPr>
        <p:grpSpPr>
          <a:xfrm>
            <a:off x="8136979" y="268186"/>
            <a:ext cx="2302367" cy="442837"/>
            <a:chOff x="6481067" y="230188"/>
            <a:chExt cx="2256533" cy="434021"/>
          </a:xfrm>
        </p:grpSpPr>
        <p:sp>
          <p:nvSpPr>
            <p:cNvPr id="281" name="Rectangle 72"/>
            <p:cNvSpPr>
              <a:spLocks noChangeArrowheads="1"/>
            </p:cNvSpPr>
            <p:nvPr/>
          </p:nvSpPr>
          <p:spPr bwMode="auto">
            <a:xfrm>
              <a:off x="8412125" y="475824"/>
              <a:ext cx="6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405"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buClr>
                  <a:srgbClr val="000000"/>
                </a:buClr>
              </a:pPr>
              <a:endParaRPr lang="en-US" sz="1225">
                <a:solidFill>
                  <a:srgbClr val="000000"/>
                </a:solidFill>
                <a:latin typeface="+mn-lt"/>
              </a:endParaRPr>
            </a:p>
          </p:txBody>
        </p:sp>
        <p:sp>
          <p:nvSpPr>
            <p:cNvPr id="282" name="Rectangle 73"/>
            <p:cNvSpPr>
              <a:spLocks noChangeArrowheads="1"/>
            </p:cNvSpPr>
            <p:nvPr/>
          </p:nvSpPr>
          <p:spPr bwMode="auto">
            <a:xfrm>
              <a:off x="8086714" y="475824"/>
              <a:ext cx="650886"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405"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buClr>
                  <a:srgbClr val="000000"/>
                </a:buClr>
              </a:pPr>
              <a:r>
                <a:rPr lang="zh-CN" altLang="en-US" sz="1225" dirty="0">
                  <a:solidFill>
                    <a:srgbClr val="000000"/>
                  </a:solidFill>
                  <a:latin typeface="+mn-lt"/>
                </a:rPr>
                <a:t>进度落后</a:t>
              </a:r>
              <a:endParaRPr lang="en-US" sz="1225" dirty="0">
                <a:solidFill>
                  <a:srgbClr val="000000"/>
                </a:solidFill>
                <a:latin typeface="+mn-lt"/>
              </a:endParaRPr>
            </a:p>
          </p:txBody>
        </p:sp>
        <p:grpSp>
          <p:nvGrpSpPr>
            <p:cNvPr id="283" name="Group 282"/>
            <p:cNvGrpSpPr/>
            <p:nvPr/>
          </p:nvGrpSpPr>
          <p:grpSpPr>
            <a:xfrm>
              <a:off x="8086714" y="230188"/>
              <a:ext cx="650886" cy="223433"/>
              <a:chOff x="7715648" y="747713"/>
              <a:chExt cx="780655" cy="267979"/>
            </a:xfrm>
          </p:grpSpPr>
          <p:sp>
            <p:nvSpPr>
              <p:cNvPr id="284" name="Rectangle 14"/>
              <p:cNvSpPr>
                <a:spLocks noChangeArrowheads="1"/>
              </p:cNvSpPr>
              <p:nvPr/>
            </p:nvSpPr>
            <p:spPr bwMode="gray">
              <a:xfrm rot="16200000">
                <a:off x="7971986" y="491375"/>
                <a:ext cx="267979" cy="780655"/>
              </a:xfrm>
              <a:prstGeom prst="rect">
                <a:avLst/>
              </a:prstGeom>
              <a:solidFill>
                <a:schemeClr val="accent1"/>
              </a:solidFill>
              <a:ln w="12700">
                <a:solidFill>
                  <a:srgbClr val="808080"/>
                </a:solidFill>
                <a:miter lim="800000"/>
              </a:ln>
            </p:spPr>
            <p:txBody>
              <a:bodyPr vert="eaVert" wrap="none" lIns="0" tIns="0" rIns="0" bIns="0"/>
              <a:lstStyle>
                <a:lvl1pPr defTabSz="933450">
                  <a:defRPr sz="2400">
                    <a:solidFill>
                      <a:schemeClr val="tx1"/>
                    </a:solidFill>
                    <a:latin typeface="Arial" panose="020B0604020202020204" pitchFamily="34" charset="0"/>
                  </a:defRPr>
                </a:lvl1pPr>
                <a:lvl2pPr marL="758825" indent="-292100" defTabSz="933450">
                  <a:defRPr sz="2400">
                    <a:solidFill>
                      <a:schemeClr val="tx1"/>
                    </a:solidFill>
                    <a:latin typeface="Arial" panose="020B0604020202020204" pitchFamily="34" charset="0"/>
                  </a:defRPr>
                </a:lvl2pPr>
                <a:lvl3pPr marL="1167130" indent="-233680" defTabSz="933450">
                  <a:defRPr sz="2400">
                    <a:solidFill>
                      <a:schemeClr val="tx1"/>
                    </a:solidFill>
                    <a:latin typeface="Arial" panose="020B0604020202020204" pitchFamily="34" charset="0"/>
                  </a:defRPr>
                </a:lvl3pPr>
                <a:lvl4pPr marL="1631950" indent="-231775" defTabSz="933450">
                  <a:defRPr sz="2400">
                    <a:solidFill>
                      <a:schemeClr val="tx1"/>
                    </a:solidFill>
                    <a:latin typeface="Arial" panose="020B0604020202020204" pitchFamily="34" charset="0"/>
                  </a:defRPr>
                </a:lvl4pPr>
                <a:lvl5pPr marL="2098675" indent="-233680" defTabSz="933450">
                  <a:defRPr sz="2400">
                    <a:solidFill>
                      <a:schemeClr val="tx1"/>
                    </a:solidFill>
                    <a:latin typeface="Arial" panose="020B0604020202020204" pitchFamily="34" charset="0"/>
                  </a:defRPr>
                </a:lvl5pPr>
                <a:lvl6pPr marL="2555875" indent="-233680" defTabSz="933450" fontAlgn="base">
                  <a:spcBef>
                    <a:spcPct val="0"/>
                  </a:spcBef>
                  <a:spcAft>
                    <a:spcPct val="0"/>
                  </a:spcAft>
                  <a:defRPr sz="2400">
                    <a:solidFill>
                      <a:schemeClr val="tx1"/>
                    </a:solidFill>
                    <a:latin typeface="Arial" panose="020B0604020202020204" pitchFamily="34" charset="0"/>
                  </a:defRPr>
                </a:lvl6pPr>
                <a:lvl7pPr marL="3013075" indent="-233680" defTabSz="933450" fontAlgn="base">
                  <a:spcBef>
                    <a:spcPct val="0"/>
                  </a:spcBef>
                  <a:spcAft>
                    <a:spcPct val="0"/>
                  </a:spcAft>
                  <a:defRPr sz="2400">
                    <a:solidFill>
                      <a:schemeClr val="tx1"/>
                    </a:solidFill>
                    <a:latin typeface="Arial" panose="020B0604020202020204" pitchFamily="34" charset="0"/>
                  </a:defRPr>
                </a:lvl7pPr>
                <a:lvl8pPr marL="3470275" indent="-233680" defTabSz="933450" fontAlgn="base">
                  <a:spcBef>
                    <a:spcPct val="0"/>
                  </a:spcBef>
                  <a:spcAft>
                    <a:spcPct val="0"/>
                  </a:spcAft>
                  <a:defRPr sz="2400">
                    <a:solidFill>
                      <a:schemeClr val="tx1"/>
                    </a:solidFill>
                    <a:latin typeface="Arial" panose="020B0604020202020204" pitchFamily="34" charset="0"/>
                  </a:defRPr>
                </a:lvl8pPr>
                <a:lvl9pPr marL="3927475" indent="-233680" defTabSz="933450" fontAlgn="base">
                  <a:spcBef>
                    <a:spcPct val="0"/>
                  </a:spcBef>
                  <a:spcAft>
                    <a:spcPct val="0"/>
                  </a:spcAft>
                  <a:defRPr sz="2400">
                    <a:solidFill>
                      <a:schemeClr val="tx1"/>
                    </a:solidFill>
                    <a:latin typeface="Arial" panose="020B0604020202020204" pitchFamily="34" charset="0"/>
                  </a:defRPr>
                </a:lvl9pPr>
              </a:lstStyle>
              <a:p>
                <a:endParaRPr lang="en-US" sz="1225">
                  <a:solidFill>
                    <a:srgbClr val="000000"/>
                  </a:solidFill>
                  <a:latin typeface="+mn-lt"/>
                </a:endParaRPr>
              </a:p>
            </p:txBody>
          </p:sp>
          <p:grpSp>
            <p:nvGrpSpPr>
              <p:cNvPr id="285" name="Group 284"/>
              <p:cNvGrpSpPr/>
              <p:nvPr/>
            </p:nvGrpSpPr>
            <p:grpSpPr>
              <a:xfrm>
                <a:off x="7795194" y="803331"/>
                <a:ext cx="621563" cy="156743"/>
                <a:chOff x="7812182" y="803331"/>
                <a:chExt cx="621563" cy="156743"/>
              </a:xfrm>
            </p:grpSpPr>
            <p:sp>
              <p:nvSpPr>
                <p:cNvPr id="286" name="Oval 285"/>
                <p:cNvSpPr/>
                <p:nvPr/>
              </p:nvSpPr>
              <p:spPr>
                <a:xfrm>
                  <a:off x="7812182" y="803331"/>
                  <a:ext cx="156743"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dirty="0" err="1">
                    <a:solidFill>
                      <a:srgbClr val="000000"/>
                    </a:solidFill>
                  </a:endParaRPr>
                </a:p>
              </p:txBody>
            </p:sp>
            <p:sp>
              <p:nvSpPr>
                <p:cNvPr id="287" name="Oval 286"/>
                <p:cNvSpPr/>
                <p:nvPr/>
              </p:nvSpPr>
              <p:spPr>
                <a:xfrm>
                  <a:off x="8044592" y="803331"/>
                  <a:ext cx="156743"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dirty="0" err="1">
                    <a:solidFill>
                      <a:srgbClr val="000000"/>
                    </a:solidFill>
                  </a:endParaRPr>
                </a:p>
              </p:txBody>
            </p:sp>
            <p:sp>
              <p:nvSpPr>
                <p:cNvPr id="288" name="Oval 287"/>
                <p:cNvSpPr/>
                <p:nvPr/>
              </p:nvSpPr>
              <p:spPr>
                <a:xfrm>
                  <a:off x="8277002" y="803331"/>
                  <a:ext cx="156743" cy="156743"/>
                </a:xfrm>
                <a:prstGeom prst="ellipse">
                  <a:avLst/>
                </a:prstGeom>
                <a:gradFill flip="none" rotWithShape="1">
                  <a:gsLst>
                    <a:gs pos="0">
                      <a:srgbClr val="8A0000"/>
                    </a:gs>
                    <a:gs pos="100000">
                      <a:srgbClr val="FF3F3F"/>
                    </a:gs>
                  </a:gsLst>
                  <a:lin ang="8100000" scaled="1"/>
                  <a:tileRect/>
                </a:gradFill>
                <a:ln w="9525">
                  <a:noFill/>
                </a:ln>
                <a:effectLst>
                  <a:outerShdw blurRad="63500" sx="115000" sy="115000" algn="ctr" rotWithShape="0">
                    <a:srgbClr val="C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dirty="0" err="1">
                    <a:solidFill>
                      <a:srgbClr val="000000"/>
                    </a:solidFill>
                  </a:endParaRPr>
                </a:p>
              </p:txBody>
            </p:sp>
          </p:grpSp>
        </p:grpSp>
        <p:sp>
          <p:nvSpPr>
            <p:cNvPr id="274" name="Rectangle 74"/>
            <p:cNvSpPr>
              <a:spLocks noChangeArrowheads="1"/>
            </p:cNvSpPr>
            <p:nvPr/>
          </p:nvSpPr>
          <p:spPr bwMode="auto">
            <a:xfrm>
              <a:off x="7283891" y="475824"/>
              <a:ext cx="650886"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405"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buClr>
                  <a:srgbClr val="000000"/>
                </a:buClr>
              </a:pPr>
              <a:r>
                <a:rPr lang="zh-CN" altLang="en-US" sz="1225" dirty="0">
                  <a:solidFill>
                    <a:srgbClr val="000000"/>
                  </a:solidFill>
                  <a:latin typeface="+mn-lt"/>
                </a:rPr>
                <a:t>需要关注</a:t>
              </a:r>
              <a:endParaRPr lang="en-US" sz="1225" dirty="0">
                <a:solidFill>
                  <a:srgbClr val="000000"/>
                </a:solidFill>
                <a:latin typeface="+mn-lt"/>
              </a:endParaRPr>
            </a:p>
          </p:txBody>
        </p:sp>
        <p:grpSp>
          <p:nvGrpSpPr>
            <p:cNvPr id="275" name="Group 274"/>
            <p:cNvGrpSpPr/>
            <p:nvPr/>
          </p:nvGrpSpPr>
          <p:grpSpPr>
            <a:xfrm>
              <a:off x="7283891" y="230188"/>
              <a:ext cx="650886" cy="223433"/>
              <a:chOff x="7715648" y="747713"/>
              <a:chExt cx="780655" cy="267979"/>
            </a:xfrm>
          </p:grpSpPr>
          <p:sp>
            <p:nvSpPr>
              <p:cNvPr id="276" name="Rectangle 14"/>
              <p:cNvSpPr>
                <a:spLocks noChangeArrowheads="1"/>
              </p:cNvSpPr>
              <p:nvPr/>
            </p:nvSpPr>
            <p:spPr bwMode="gray">
              <a:xfrm rot="16200000">
                <a:off x="7971986" y="491375"/>
                <a:ext cx="267979" cy="780655"/>
              </a:xfrm>
              <a:prstGeom prst="rect">
                <a:avLst/>
              </a:prstGeom>
              <a:solidFill>
                <a:schemeClr val="accent1"/>
              </a:solidFill>
              <a:ln w="12700">
                <a:solidFill>
                  <a:srgbClr val="808080"/>
                </a:solidFill>
                <a:miter lim="800000"/>
              </a:ln>
            </p:spPr>
            <p:txBody>
              <a:bodyPr vert="eaVert" wrap="none" lIns="0" tIns="0" rIns="0" bIns="0"/>
              <a:lstStyle>
                <a:lvl1pPr defTabSz="933450">
                  <a:defRPr sz="2400">
                    <a:solidFill>
                      <a:schemeClr val="tx1"/>
                    </a:solidFill>
                    <a:latin typeface="Arial" panose="020B0604020202020204" pitchFamily="34" charset="0"/>
                  </a:defRPr>
                </a:lvl1pPr>
                <a:lvl2pPr marL="758825" indent="-292100" defTabSz="933450">
                  <a:defRPr sz="2400">
                    <a:solidFill>
                      <a:schemeClr val="tx1"/>
                    </a:solidFill>
                    <a:latin typeface="Arial" panose="020B0604020202020204" pitchFamily="34" charset="0"/>
                  </a:defRPr>
                </a:lvl2pPr>
                <a:lvl3pPr marL="1167130" indent="-233680" defTabSz="933450">
                  <a:defRPr sz="2400">
                    <a:solidFill>
                      <a:schemeClr val="tx1"/>
                    </a:solidFill>
                    <a:latin typeface="Arial" panose="020B0604020202020204" pitchFamily="34" charset="0"/>
                  </a:defRPr>
                </a:lvl3pPr>
                <a:lvl4pPr marL="1631950" indent="-231775" defTabSz="933450">
                  <a:defRPr sz="2400">
                    <a:solidFill>
                      <a:schemeClr val="tx1"/>
                    </a:solidFill>
                    <a:latin typeface="Arial" panose="020B0604020202020204" pitchFamily="34" charset="0"/>
                  </a:defRPr>
                </a:lvl4pPr>
                <a:lvl5pPr marL="2098675" indent="-233680" defTabSz="933450">
                  <a:defRPr sz="2400">
                    <a:solidFill>
                      <a:schemeClr val="tx1"/>
                    </a:solidFill>
                    <a:latin typeface="Arial" panose="020B0604020202020204" pitchFamily="34" charset="0"/>
                  </a:defRPr>
                </a:lvl5pPr>
                <a:lvl6pPr marL="2555875" indent="-233680" defTabSz="933450" fontAlgn="base">
                  <a:spcBef>
                    <a:spcPct val="0"/>
                  </a:spcBef>
                  <a:spcAft>
                    <a:spcPct val="0"/>
                  </a:spcAft>
                  <a:defRPr sz="2400">
                    <a:solidFill>
                      <a:schemeClr val="tx1"/>
                    </a:solidFill>
                    <a:latin typeface="Arial" panose="020B0604020202020204" pitchFamily="34" charset="0"/>
                  </a:defRPr>
                </a:lvl6pPr>
                <a:lvl7pPr marL="3013075" indent="-233680" defTabSz="933450" fontAlgn="base">
                  <a:spcBef>
                    <a:spcPct val="0"/>
                  </a:spcBef>
                  <a:spcAft>
                    <a:spcPct val="0"/>
                  </a:spcAft>
                  <a:defRPr sz="2400">
                    <a:solidFill>
                      <a:schemeClr val="tx1"/>
                    </a:solidFill>
                    <a:latin typeface="Arial" panose="020B0604020202020204" pitchFamily="34" charset="0"/>
                  </a:defRPr>
                </a:lvl7pPr>
                <a:lvl8pPr marL="3470275" indent="-233680" defTabSz="933450" fontAlgn="base">
                  <a:spcBef>
                    <a:spcPct val="0"/>
                  </a:spcBef>
                  <a:spcAft>
                    <a:spcPct val="0"/>
                  </a:spcAft>
                  <a:defRPr sz="2400">
                    <a:solidFill>
                      <a:schemeClr val="tx1"/>
                    </a:solidFill>
                    <a:latin typeface="Arial" panose="020B0604020202020204" pitchFamily="34" charset="0"/>
                  </a:defRPr>
                </a:lvl8pPr>
                <a:lvl9pPr marL="3927475" indent="-233680" defTabSz="933450" fontAlgn="base">
                  <a:spcBef>
                    <a:spcPct val="0"/>
                  </a:spcBef>
                  <a:spcAft>
                    <a:spcPct val="0"/>
                  </a:spcAft>
                  <a:defRPr sz="2400">
                    <a:solidFill>
                      <a:schemeClr val="tx1"/>
                    </a:solidFill>
                    <a:latin typeface="Arial" panose="020B0604020202020204" pitchFamily="34" charset="0"/>
                  </a:defRPr>
                </a:lvl9pPr>
              </a:lstStyle>
              <a:p>
                <a:endParaRPr lang="en-US" sz="1225">
                  <a:solidFill>
                    <a:srgbClr val="000000"/>
                  </a:solidFill>
                  <a:latin typeface="+mn-lt"/>
                </a:endParaRPr>
              </a:p>
            </p:txBody>
          </p:sp>
          <p:grpSp>
            <p:nvGrpSpPr>
              <p:cNvPr id="277" name="Group 276"/>
              <p:cNvGrpSpPr/>
              <p:nvPr/>
            </p:nvGrpSpPr>
            <p:grpSpPr>
              <a:xfrm>
                <a:off x="7795194" y="803331"/>
                <a:ext cx="621563" cy="156743"/>
                <a:chOff x="7812182" y="803331"/>
                <a:chExt cx="621563" cy="156743"/>
              </a:xfrm>
            </p:grpSpPr>
            <p:sp>
              <p:nvSpPr>
                <p:cNvPr id="278" name="Oval 277"/>
                <p:cNvSpPr/>
                <p:nvPr/>
              </p:nvSpPr>
              <p:spPr>
                <a:xfrm>
                  <a:off x="7812182" y="803331"/>
                  <a:ext cx="156743"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dirty="0" err="1">
                    <a:solidFill>
                      <a:srgbClr val="000000"/>
                    </a:solidFill>
                  </a:endParaRPr>
                </a:p>
              </p:txBody>
            </p:sp>
            <p:sp>
              <p:nvSpPr>
                <p:cNvPr id="279" name="Oval 278"/>
                <p:cNvSpPr/>
                <p:nvPr/>
              </p:nvSpPr>
              <p:spPr>
                <a:xfrm>
                  <a:off x="8044592" y="803331"/>
                  <a:ext cx="156743" cy="156743"/>
                </a:xfrm>
                <a:prstGeom prst="ellipse">
                  <a:avLst/>
                </a:prstGeom>
                <a:gradFill flip="none" rotWithShape="1">
                  <a:gsLst>
                    <a:gs pos="0">
                      <a:srgbClr val="91671B"/>
                    </a:gs>
                    <a:gs pos="100000">
                      <a:srgbClr val="FFFF00"/>
                    </a:gs>
                  </a:gsLst>
                  <a:lin ang="8100000" scaled="1"/>
                  <a:tileRect/>
                </a:gradFill>
                <a:ln w="9525">
                  <a:noFill/>
                </a:ln>
                <a:effectLst>
                  <a:outerShdw blurRad="63500" sx="115000" sy="115000" algn="ctr" rotWithShape="0">
                    <a:srgbClr val="C9C4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dirty="0" err="1">
                    <a:solidFill>
                      <a:srgbClr val="000000"/>
                    </a:solidFill>
                  </a:endParaRPr>
                </a:p>
              </p:txBody>
            </p:sp>
            <p:sp>
              <p:nvSpPr>
                <p:cNvPr id="280" name="Oval 279"/>
                <p:cNvSpPr/>
                <p:nvPr/>
              </p:nvSpPr>
              <p:spPr>
                <a:xfrm>
                  <a:off x="8277002" y="803331"/>
                  <a:ext cx="156743"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dirty="0" err="1">
                    <a:solidFill>
                      <a:srgbClr val="000000"/>
                    </a:solidFill>
                  </a:endParaRPr>
                </a:p>
              </p:txBody>
            </p:sp>
          </p:grpSp>
        </p:grpSp>
        <p:sp>
          <p:nvSpPr>
            <p:cNvPr id="267" name="Rectangle 71"/>
            <p:cNvSpPr>
              <a:spLocks noChangeArrowheads="1"/>
            </p:cNvSpPr>
            <p:nvPr/>
          </p:nvSpPr>
          <p:spPr bwMode="auto">
            <a:xfrm>
              <a:off x="6481067" y="475824"/>
              <a:ext cx="650886"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405"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buClr>
                  <a:srgbClr val="000000"/>
                </a:buClr>
              </a:pPr>
              <a:r>
                <a:rPr lang="zh-CN" altLang="en-US" sz="1225" dirty="0">
                  <a:solidFill>
                    <a:srgbClr val="000000"/>
                  </a:solidFill>
                  <a:latin typeface="+mn-lt"/>
                </a:rPr>
                <a:t>进展顺利</a:t>
              </a:r>
              <a:endParaRPr lang="en-US" sz="1225" dirty="0">
                <a:solidFill>
                  <a:srgbClr val="000000"/>
                </a:solidFill>
                <a:latin typeface="+mn-lt"/>
              </a:endParaRPr>
            </a:p>
          </p:txBody>
        </p:sp>
        <p:grpSp>
          <p:nvGrpSpPr>
            <p:cNvPr id="268" name="Group 267"/>
            <p:cNvGrpSpPr/>
            <p:nvPr/>
          </p:nvGrpSpPr>
          <p:grpSpPr>
            <a:xfrm>
              <a:off x="6481067" y="230188"/>
              <a:ext cx="650886" cy="223433"/>
              <a:chOff x="7715648" y="747713"/>
              <a:chExt cx="780655" cy="267979"/>
            </a:xfrm>
          </p:grpSpPr>
          <p:sp>
            <p:nvSpPr>
              <p:cNvPr id="269" name="Rectangle 14"/>
              <p:cNvSpPr>
                <a:spLocks noChangeArrowheads="1"/>
              </p:cNvSpPr>
              <p:nvPr/>
            </p:nvSpPr>
            <p:spPr bwMode="gray">
              <a:xfrm rot="16200000">
                <a:off x="7971986" y="491375"/>
                <a:ext cx="267979" cy="780655"/>
              </a:xfrm>
              <a:prstGeom prst="rect">
                <a:avLst/>
              </a:prstGeom>
              <a:solidFill>
                <a:schemeClr val="accent1"/>
              </a:solidFill>
              <a:ln w="12700">
                <a:solidFill>
                  <a:srgbClr val="808080"/>
                </a:solidFill>
                <a:miter lim="800000"/>
              </a:ln>
            </p:spPr>
            <p:txBody>
              <a:bodyPr vert="eaVert" wrap="none" lIns="0" tIns="0" rIns="0" bIns="0"/>
              <a:lstStyle>
                <a:lvl1pPr defTabSz="933450">
                  <a:defRPr sz="2400">
                    <a:solidFill>
                      <a:schemeClr val="tx1"/>
                    </a:solidFill>
                    <a:latin typeface="Arial" panose="020B0604020202020204" pitchFamily="34" charset="0"/>
                  </a:defRPr>
                </a:lvl1pPr>
                <a:lvl2pPr marL="758825" indent="-292100" defTabSz="933450">
                  <a:defRPr sz="2400">
                    <a:solidFill>
                      <a:schemeClr val="tx1"/>
                    </a:solidFill>
                    <a:latin typeface="Arial" panose="020B0604020202020204" pitchFamily="34" charset="0"/>
                  </a:defRPr>
                </a:lvl2pPr>
                <a:lvl3pPr marL="1167130" indent="-233680" defTabSz="933450">
                  <a:defRPr sz="2400">
                    <a:solidFill>
                      <a:schemeClr val="tx1"/>
                    </a:solidFill>
                    <a:latin typeface="Arial" panose="020B0604020202020204" pitchFamily="34" charset="0"/>
                  </a:defRPr>
                </a:lvl3pPr>
                <a:lvl4pPr marL="1631950" indent="-231775" defTabSz="933450">
                  <a:defRPr sz="2400">
                    <a:solidFill>
                      <a:schemeClr val="tx1"/>
                    </a:solidFill>
                    <a:latin typeface="Arial" panose="020B0604020202020204" pitchFamily="34" charset="0"/>
                  </a:defRPr>
                </a:lvl4pPr>
                <a:lvl5pPr marL="2098675" indent="-233680" defTabSz="933450">
                  <a:defRPr sz="2400">
                    <a:solidFill>
                      <a:schemeClr val="tx1"/>
                    </a:solidFill>
                    <a:latin typeface="Arial" panose="020B0604020202020204" pitchFamily="34" charset="0"/>
                  </a:defRPr>
                </a:lvl5pPr>
                <a:lvl6pPr marL="2555875" indent="-233680" defTabSz="933450" fontAlgn="base">
                  <a:spcBef>
                    <a:spcPct val="0"/>
                  </a:spcBef>
                  <a:spcAft>
                    <a:spcPct val="0"/>
                  </a:spcAft>
                  <a:defRPr sz="2400">
                    <a:solidFill>
                      <a:schemeClr val="tx1"/>
                    </a:solidFill>
                    <a:latin typeface="Arial" panose="020B0604020202020204" pitchFamily="34" charset="0"/>
                  </a:defRPr>
                </a:lvl6pPr>
                <a:lvl7pPr marL="3013075" indent="-233680" defTabSz="933450" fontAlgn="base">
                  <a:spcBef>
                    <a:spcPct val="0"/>
                  </a:spcBef>
                  <a:spcAft>
                    <a:spcPct val="0"/>
                  </a:spcAft>
                  <a:defRPr sz="2400">
                    <a:solidFill>
                      <a:schemeClr val="tx1"/>
                    </a:solidFill>
                    <a:latin typeface="Arial" panose="020B0604020202020204" pitchFamily="34" charset="0"/>
                  </a:defRPr>
                </a:lvl7pPr>
                <a:lvl8pPr marL="3470275" indent="-233680" defTabSz="933450" fontAlgn="base">
                  <a:spcBef>
                    <a:spcPct val="0"/>
                  </a:spcBef>
                  <a:spcAft>
                    <a:spcPct val="0"/>
                  </a:spcAft>
                  <a:defRPr sz="2400">
                    <a:solidFill>
                      <a:schemeClr val="tx1"/>
                    </a:solidFill>
                    <a:latin typeface="Arial" panose="020B0604020202020204" pitchFamily="34" charset="0"/>
                  </a:defRPr>
                </a:lvl8pPr>
                <a:lvl9pPr marL="3927475" indent="-233680" defTabSz="933450" fontAlgn="base">
                  <a:spcBef>
                    <a:spcPct val="0"/>
                  </a:spcBef>
                  <a:spcAft>
                    <a:spcPct val="0"/>
                  </a:spcAft>
                  <a:defRPr sz="2400">
                    <a:solidFill>
                      <a:schemeClr val="tx1"/>
                    </a:solidFill>
                    <a:latin typeface="Arial" panose="020B0604020202020204" pitchFamily="34" charset="0"/>
                  </a:defRPr>
                </a:lvl9pPr>
              </a:lstStyle>
              <a:p>
                <a:endParaRPr lang="en-US" sz="1225">
                  <a:solidFill>
                    <a:srgbClr val="000000"/>
                  </a:solidFill>
                  <a:latin typeface="+mn-lt"/>
                </a:endParaRPr>
              </a:p>
            </p:txBody>
          </p:sp>
          <p:grpSp>
            <p:nvGrpSpPr>
              <p:cNvPr id="270" name="Group 269"/>
              <p:cNvGrpSpPr/>
              <p:nvPr/>
            </p:nvGrpSpPr>
            <p:grpSpPr>
              <a:xfrm>
                <a:off x="7795194" y="803331"/>
                <a:ext cx="621563" cy="156743"/>
                <a:chOff x="7812182" y="803331"/>
                <a:chExt cx="621563" cy="156743"/>
              </a:xfrm>
            </p:grpSpPr>
            <p:sp>
              <p:nvSpPr>
                <p:cNvPr id="271" name="Oval 270"/>
                <p:cNvSpPr/>
                <p:nvPr/>
              </p:nvSpPr>
              <p:spPr>
                <a:xfrm>
                  <a:off x="7812182" y="803331"/>
                  <a:ext cx="156743" cy="156743"/>
                </a:xfrm>
                <a:prstGeom prst="ellipse">
                  <a:avLst/>
                </a:prstGeom>
                <a:gradFill flip="none" rotWithShape="1">
                  <a:gsLst>
                    <a:gs pos="0">
                      <a:srgbClr val="0F2800"/>
                    </a:gs>
                    <a:gs pos="100000">
                      <a:srgbClr val="78FD00"/>
                    </a:gs>
                  </a:gsLst>
                  <a:lin ang="8100000" scaled="1"/>
                  <a:tileRect/>
                </a:gra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dirty="0" err="1">
                    <a:solidFill>
                      <a:srgbClr val="000000"/>
                    </a:solidFill>
                  </a:endParaRPr>
                </a:p>
              </p:txBody>
            </p:sp>
            <p:sp>
              <p:nvSpPr>
                <p:cNvPr id="272" name="Oval 271"/>
                <p:cNvSpPr/>
                <p:nvPr/>
              </p:nvSpPr>
              <p:spPr>
                <a:xfrm>
                  <a:off x="8044592" y="803331"/>
                  <a:ext cx="156743"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dirty="0" err="1">
                    <a:solidFill>
                      <a:srgbClr val="000000"/>
                    </a:solidFill>
                  </a:endParaRPr>
                </a:p>
              </p:txBody>
            </p:sp>
            <p:sp>
              <p:nvSpPr>
                <p:cNvPr id="273" name="Oval 272"/>
                <p:cNvSpPr/>
                <p:nvPr/>
              </p:nvSpPr>
              <p:spPr>
                <a:xfrm>
                  <a:off x="8277002" y="803331"/>
                  <a:ext cx="156743"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5" dirty="0" err="1">
                    <a:solidFill>
                      <a:srgbClr val="000000"/>
                    </a:solidFill>
                  </a:endParaRPr>
                </a:p>
              </p:txBody>
            </p:sp>
          </p:grpSp>
        </p:grpSp>
      </p:grpSp>
      <p:sp>
        <p:nvSpPr>
          <p:cNvPr id="262" name="Rectangle 6"/>
          <p:cNvSpPr>
            <a:spLocks noChangeArrowheads="1"/>
          </p:cNvSpPr>
          <p:nvPr/>
        </p:nvSpPr>
        <p:spPr bwMode="gray">
          <a:xfrm>
            <a:off x="646546" y="920867"/>
            <a:ext cx="10957140" cy="4922149"/>
          </a:xfrm>
          <a:prstGeom prst="rect">
            <a:avLst/>
          </a:prstGeom>
          <a:noFill/>
          <a:ln w="19050">
            <a:solidFill>
              <a:schemeClr val="accent1"/>
            </a:solidFill>
            <a:miter lim="800000"/>
          </a:ln>
          <a:effectLst/>
        </p:spPr>
        <p:txBody>
          <a:bodyPr lIns="151219" tIns="151219" rIns="151219" bIns="151219" anchor="ctr"/>
          <a:lstStyle>
            <a:lvl1pPr defTabSz="895350">
              <a:buClr>
                <a:schemeClr val="tx2"/>
              </a:buClr>
              <a:defRPr sz="1600">
                <a:solidFill>
                  <a:schemeClr val="tx1"/>
                </a:solidFill>
                <a:latin typeface="Arial" panose="020B0604020202020204" pitchFamily="34" charset="0"/>
              </a:defRPr>
            </a:lvl1pPr>
            <a:lvl2pPr marL="193675" indent="-192405"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lvl="1">
              <a:spcAft>
                <a:spcPct val="30000"/>
              </a:spcAft>
            </a:pPr>
            <a:endParaRPr lang="en-US" sz="1225" b="1" dirty="0">
              <a:solidFill>
                <a:schemeClr val="tx2"/>
              </a:solidFill>
            </a:endParaRPr>
          </a:p>
        </p:txBody>
      </p:sp>
      <p:grpSp>
        <p:nvGrpSpPr>
          <p:cNvPr id="8" name="Group 7"/>
          <p:cNvGrpSpPr/>
          <p:nvPr/>
        </p:nvGrpSpPr>
        <p:grpSpPr>
          <a:xfrm>
            <a:off x="750237" y="1130013"/>
            <a:ext cx="10748647" cy="4456823"/>
            <a:chOff x="169084" y="1107516"/>
            <a:chExt cx="8559649" cy="2962284"/>
          </a:xfrm>
        </p:grpSpPr>
        <p:sp>
          <p:nvSpPr>
            <p:cNvPr id="123" name="Rectangle 3"/>
            <p:cNvSpPr>
              <a:spLocks noChangeArrowheads="1"/>
            </p:cNvSpPr>
            <p:nvPr/>
          </p:nvSpPr>
          <p:spPr bwMode="gray">
            <a:xfrm>
              <a:off x="2526909" y="1112166"/>
              <a:ext cx="822960" cy="228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defTabSz="913130">
                <a:defRPr sz="2400">
                  <a:solidFill>
                    <a:schemeClr val="tx1"/>
                  </a:solidFill>
                  <a:latin typeface="Arial" panose="020B0604020202020204" pitchFamily="34" charset="0"/>
                </a:defRPr>
              </a:lvl1pPr>
              <a:lvl2pPr marL="758825" indent="-292100"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a:lnSpc>
                  <a:spcPct val="93000"/>
                </a:lnSpc>
                <a:buClr>
                  <a:srgbClr val="000000"/>
                </a:buClr>
              </a:pPr>
              <a:r>
                <a:rPr lang="zh-CN" altLang="en-US" sz="1630" b="1" dirty="0">
                  <a:solidFill>
                    <a:srgbClr val="000000"/>
                  </a:solidFill>
                  <a:latin typeface="+mn-lt"/>
                </a:rPr>
                <a:t>本期状况</a:t>
              </a:r>
              <a:endParaRPr lang="en-US" sz="1630" b="1" dirty="0">
                <a:solidFill>
                  <a:srgbClr val="000000"/>
                </a:solidFill>
                <a:latin typeface="+mn-lt"/>
              </a:endParaRPr>
            </a:p>
          </p:txBody>
        </p:sp>
        <p:sp>
          <p:nvSpPr>
            <p:cNvPr id="124" name="Line 4"/>
            <p:cNvSpPr>
              <a:spLocks noChangeShapeType="1"/>
            </p:cNvSpPr>
            <p:nvPr/>
          </p:nvSpPr>
          <p:spPr bwMode="gray">
            <a:xfrm>
              <a:off x="169084" y="1408009"/>
              <a:ext cx="1278658" cy="0"/>
            </a:xfrm>
            <a:prstGeom prst="line">
              <a:avLst/>
            </a:prstGeom>
            <a:noFill/>
            <a:ln w="9525">
              <a:solidFill>
                <a:srgbClr val="FE5817"/>
              </a:solidFill>
              <a:round/>
            </a:ln>
            <a:extLst>
              <a:ext uri="{909E8E84-426E-40DD-AFC4-6F175D3DCCD1}">
                <a14:hiddenFill xmlns:a14="http://schemas.microsoft.com/office/drawing/2010/main">
                  <a:noFill/>
                </a14:hiddenFill>
              </a:ext>
            </a:extLst>
          </p:spPr>
          <p:txBody>
            <a:bodyPr lIns="91431" tIns="45716" rIns="91431" bIns="45716"/>
            <a:lstStyle/>
            <a:p>
              <a:endParaRPr lang="en-US" sz="1835">
                <a:solidFill>
                  <a:srgbClr val="000000"/>
                </a:solidFill>
              </a:endParaRPr>
            </a:p>
          </p:txBody>
        </p:sp>
        <p:sp>
          <p:nvSpPr>
            <p:cNvPr id="125" name="Rectangle 5"/>
            <p:cNvSpPr>
              <a:spLocks noChangeArrowheads="1"/>
            </p:cNvSpPr>
            <p:nvPr/>
          </p:nvSpPr>
          <p:spPr bwMode="gray">
            <a:xfrm>
              <a:off x="6584105" y="1107516"/>
              <a:ext cx="2103120"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3130">
                <a:defRPr sz="2400">
                  <a:solidFill>
                    <a:schemeClr val="tx1"/>
                  </a:solidFill>
                  <a:latin typeface="Arial" panose="020B0604020202020204" pitchFamily="34" charset="0"/>
                </a:defRPr>
              </a:lvl1pPr>
              <a:lvl2pPr marL="758825" indent="-292100"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a:lnSpc>
                  <a:spcPct val="93000"/>
                </a:lnSpc>
                <a:buClr>
                  <a:srgbClr val="000000"/>
                </a:buClr>
              </a:pPr>
              <a:r>
                <a:rPr lang="zh-CN" altLang="en-US" sz="1630" b="1" dirty="0">
                  <a:solidFill>
                    <a:srgbClr val="000000"/>
                  </a:solidFill>
                  <a:latin typeface="+mn-lt"/>
                </a:rPr>
                <a:t>下期主要行动、会议</a:t>
              </a:r>
              <a:endParaRPr lang="en-US" sz="1630" b="1" dirty="0">
                <a:solidFill>
                  <a:srgbClr val="000000"/>
                </a:solidFill>
                <a:latin typeface="+mn-lt"/>
              </a:endParaRPr>
            </a:p>
          </p:txBody>
        </p:sp>
        <p:sp>
          <p:nvSpPr>
            <p:cNvPr id="126" name="Rectangle 6"/>
            <p:cNvSpPr>
              <a:spLocks noChangeArrowheads="1"/>
            </p:cNvSpPr>
            <p:nvPr/>
          </p:nvSpPr>
          <p:spPr bwMode="gray">
            <a:xfrm>
              <a:off x="3445649" y="1107516"/>
              <a:ext cx="3000371"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defTabSz="913130">
                <a:defRPr sz="2400">
                  <a:solidFill>
                    <a:schemeClr val="tx1"/>
                  </a:solidFill>
                  <a:latin typeface="Arial" panose="020B0604020202020204" pitchFamily="34" charset="0"/>
                </a:defRPr>
              </a:lvl1pPr>
              <a:lvl2pPr marL="758825" indent="-292100"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a:lnSpc>
                  <a:spcPct val="93000"/>
                </a:lnSpc>
                <a:buClr>
                  <a:srgbClr val="000000"/>
                </a:buClr>
              </a:pPr>
              <a:r>
                <a:rPr lang="zh-CN" altLang="en-US" sz="1630" b="1" dirty="0">
                  <a:solidFill>
                    <a:srgbClr val="000000"/>
                  </a:solidFill>
                  <a:latin typeface="+mn-lt"/>
                </a:rPr>
                <a:t>本期进展</a:t>
              </a:r>
              <a:endParaRPr lang="en-US" sz="1630" b="1" dirty="0">
                <a:solidFill>
                  <a:srgbClr val="000000"/>
                </a:solidFill>
                <a:latin typeface="+mn-lt"/>
              </a:endParaRPr>
            </a:p>
          </p:txBody>
        </p:sp>
        <p:sp>
          <p:nvSpPr>
            <p:cNvPr id="127" name="Rectangle 5"/>
            <p:cNvSpPr>
              <a:spLocks noChangeArrowheads="1"/>
            </p:cNvSpPr>
            <p:nvPr/>
          </p:nvSpPr>
          <p:spPr bwMode="gray">
            <a:xfrm>
              <a:off x="169084" y="1107516"/>
              <a:ext cx="1278658"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3130">
                <a:defRPr sz="2400">
                  <a:solidFill>
                    <a:schemeClr val="tx1"/>
                  </a:solidFill>
                  <a:latin typeface="Arial" panose="020B0604020202020204" pitchFamily="34" charset="0"/>
                </a:defRPr>
              </a:lvl1pPr>
              <a:lvl2pPr marL="758825" indent="-292100"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a:lnSpc>
                  <a:spcPct val="93000"/>
                </a:lnSpc>
                <a:buClr>
                  <a:srgbClr val="000000"/>
                </a:buClr>
              </a:pPr>
              <a:r>
                <a:rPr lang="zh-CN" altLang="en-US" sz="1630" b="1" dirty="0">
                  <a:solidFill>
                    <a:srgbClr val="000000"/>
                  </a:solidFill>
                  <a:latin typeface="+mn-lt"/>
                </a:rPr>
                <a:t>主要工作流</a:t>
              </a:r>
              <a:endParaRPr lang="en-US" sz="1630" b="1" dirty="0">
                <a:solidFill>
                  <a:srgbClr val="000000"/>
                </a:solidFill>
                <a:latin typeface="+mn-lt"/>
              </a:endParaRPr>
            </a:p>
          </p:txBody>
        </p:sp>
        <p:sp>
          <p:nvSpPr>
            <p:cNvPr id="128" name="Rectangle 11"/>
            <p:cNvSpPr>
              <a:spLocks noChangeArrowheads="1"/>
            </p:cNvSpPr>
            <p:nvPr/>
          </p:nvSpPr>
          <p:spPr bwMode="gray">
            <a:xfrm>
              <a:off x="3445649" y="1521898"/>
              <a:ext cx="3003482" cy="251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sp>
          <p:nvSpPr>
            <p:cNvPr id="129" name="Rectangle 6"/>
            <p:cNvSpPr>
              <a:spLocks noChangeArrowheads="1"/>
            </p:cNvSpPr>
            <p:nvPr/>
          </p:nvSpPr>
          <p:spPr bwMode="gray">
            <a:xfrm>
              <a:off x="1572029" y="1107516"/>
              <a:ext cx="816797"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3130">
                <a:defRPr sz="2400">
                  <a:solidFill>
                    <a:schemeClr val="tx1"/>
                  </a:solidFill>
                  <a:latin typeface="Arial" panose="020B0604020202020204" pitchFamily="34" charset="0"/>
                </a:defRPr>
              </a:lvl1pPr>
              <a:lvl2pPr marL="758825" indent="-292100"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a:lnSpc>
                  <a:spcPct val="93000"/>
                </a:lnSpc>
                <a:buClr>
                  <a:srgbClr val="000000"/>
                </a:buClr>
              </a:pPr>
              <a:r>
                <a:rPr lang="zh-CN" altLang="en-US" sz="1630" b="1" dirty="0">
                  <a:solidFill>
                    <a:srgbClr val="000000"/>
                  </a:solidFill>
                  <a:latin typeface="+mn-lt"/>
                </a:rPr>
                <a:t>负责人</a:t>
              </a:r>
              <a:endParaRPr lang="en-US" sz="1630" b="1" dirty="0">
                <a:solidFill>
                  <a:srgbClr val="000000"/>
                </a:solidFill>
                <a:latin typeface="+mn-lt"/>
              </a:endParaRPr>
            </a:p>
          </p:txBody>
        </p:sp>
        <p:sp>
          <p:nvSpPr>
            <p:cNvPr id="130" name="Rectangle 11"/>
            <p:cNvSpPr>
              <a:spLocks noChangeArrowheads="1"/>
            </p:cNvSpPr>
            <p:nvPr/>
          </p:nvSpPr>
          <p:spPr bwMode="gray">
            <a:xfrm>
              <a:off x="1572029" y="1521898"/>
              <a:ext cx="816797"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lnSpc>
                  <a:spcPct val="93000"/>
                </a:lnSpc>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sp>
          <p:nvSpPr>
            <p:cNvPr id="131" name="Line 170"/>
            <p:cNvSpPr>
              <a:spLocks noChangeShapeType="1"/>
            </p:cNvSpPr>
            <p:nvPr/>
          </p:nvSpPr>
          <p:spPr bwMode="auto">
            <a:xfrm>
              <a:off x="1572029" y="2027733"/>
              <a:ext cx="7156704" cy="0"/>
            </a:xfrm>
            <a:prstGeom prst="line">
              <a:avLst/>
            </a:prstGeom>
            <a:noFill/>
            <a:ln w="19050">
              <a:solidFill>
                <a:srgbClr val="FE5817"/>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3287" tIns="46644" rIns="93287" bIns="46644" anchor="ctr">
              <a:spAutoFit/>
            </a:bodyPr>
            <a:lstStyle/>
            <a:p>
              <a:endParaRPr lang="en-US" sz="1835" b="1"/>
            </a:p>
          </p:txBody>
        </p:sp>
        <p:sp>
          <p:nvSpPr>
            <p:cNvPr id="132" name="Line 171"/>
            <p:cNvSpPr>
              <a:spLocks noChangeShapeType="1"/>
            </p:cNvSpPr>
            <p:nvPr/>
          </p:nvSpPr>
          <p:spPr bwMode="auto">
            <a:xfrm>
              <a:off x="1572029" y="2789025"/>
              <a:ext cx="7156704" cy="0"/>
            </a:xfrm>
            <a:prstGeom prst="line">
              <a:avLst/>
            </a:prstGeom>
            <a:noFill/>
            <a:ln w="19050">
              <a:solidFill>
                <a:srgbClr val="FE5817"/>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3287" tIns="46644" rIns="93287" bIns="46644" anchor="ctr">
              <a:spAutoFit/>
            </a:bodyPr>
            <a:lstStyle/>
            <a:p>
              <a:endParaRPr lang="en-US" sz="1835" b="1"/>
            </a:p>
          </p:txBody>
        </p:sp>
        <p:sp>
          <p:nvSpPr>
            <p:cNvPr id="133" name="Line 170"/>
            <p:cNvSpPr>
              <a:spLocks noChangeShapeType="1"/>
            </p:cNvSpPr>
            <p:nvPr/>
          </p:nvSpPr>
          <p:spPr bwMode="auto">
            <a:xfrm>
              <a:off x="1572029" y="3495725"/>
              <a:ext cx="7156704" cy="0"/>
            </a:xfrm>
            <a:prstGeom prst="line">
              <a:avLst/>
            </a:prstGeom>
            <a:noFill/>
            <a:ln w="19050">
              <a:solidFill>
                <a:srgbClr val="FE5817"/>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3287" tIns="46644" rIns="93287" bIns="46644" anchor="ctr">
              <a:spAutoFit/>
            </a:bodyPr>
            <a:lstStyle/>
            <a:p>
              <a:endParaRPr lang="en-US" sz="1835" b="1"/>
            </a:p>
          </p:txBody>
        </p:sp>
        <p:sp>
          <p:nvSpPr>
            <p:cNvPr id="141" name="Rectangle 14"/>
            <p:cNvSpPr>
              <a:spLocks noChangeArrowheads="1"/>
            </p:cNvSpPr>
            <p:nvPr/>
          </p:nvSpPr>
          <p:spPr bwMode="gray">
            <a:xfrm rot="16200000">
              <a:off x="2783248" y="1265560"/>
              <a:ext cx="267979" cy="780655"/>
            </a:xfrm>
            <a:prstGeom prst="rect">
              <a:avLst/>
            </a:prstGeom>
            <a:solidFill>
              <a:schemeClr val="accent1"/>
            </a:solidFill>
            <a:ln w="12700">
              <a:solidFill>
                <a:srgbClr val="808080"/>
              </a:solidFill>
              <a:miter lim="800000"/>
            </a:ln>
          </p:spPr>
          <p:txBody>
            <a:bodyPr vert="eaVert" wrap="none" lIns="0" tIns="0" rIns="0" bIns="0"/>
            <a:lstStyle>
              <a:lvl1pPr defTabSz="933450">
                <a:defRPr sz="2400">
                  <a:solidFill>
                    <a:schemeClr val="tx1"/>
                  </a:solidFill>
                  <a:latin typeface="Arial" panose="020B0604020202020204" pitchFamily="34" charset="0"/>
                </a:defRPr>
              </a:lvl1pPr>
              <a:lvl2pPr marL="758825" indent="-292100" defTabSz="933450">
                <a:defRPr sz="2400">
                  <a:solidFill>
                    <a:schemeClr val="tx1"/>
                  </a:solidFill>
                  <a:latin typeface="Arial" panose="020B0604020202020204" pitchFamily="34" charset="0"/>
                </a:defRPr>
              </a:lvl2pPr>
              <a:lvl3pPr marL="1167130" indent="-233680" defTabSz="933450">
                <a:defRPr sz="2400">
                  <a:solidFill>
                    <a:schemeClr val="tx1"/>
                  </a:solidFill>
                  <a:latin typeface="Arial" panose="020B0604020202020204" pitchFamily="34" charset="0"/>
                </a:defRPr>
              </a:lvl3pPr>
              <a:lvl4pPr marL="1631950" indent="-231775" defTabSz="933450">
                <a:defRPr sz="2400">
                  <a:solidFill>
                    <a:schemeClr val="tx1"/>
                  </a:solidFill>
                  <a:latin typeface="Arial" panose="020B0604020202020204" pitchFamily="34" charset="0"/>
                </a:defRPr>
              </a:lvl4pPr>
              <a:lvl5pPr marL="2098675" indent="-233680" defTabSz="933450">
                <a:defRPr sz="2400">
                  <a:solidFill>
                    <a:schemeClr val="tx1"/>
                  </a:solidFill>
                  <a:latin typeface="Arial" panose="020B0604020202020204" pitchFamily="34" charset="0"/>
                </a:defRPr>
              </a:lvl5pPr>
              <a:lvl6pPr marL="2555875" indent="-233680" defTabSz="933450" fontAlgn="base">
                <a:spcBef>
                  <a:spcPct val="0"/>
                </a:spcBef>
                <a:spcAft>
                  <a:spcPct val="0"/>
                </a:spcAft>
                <a:defRPr sz="2400">
                  <a:solidFill>
                    <a:schemeClr val="tx1"/>
                  </a:solidFill>
                  <a:latin typeface="Arial" panose="020B0604020202020204" pitchFamily="34" charset="0"/>
                </a:defRPr>
              </a:lvl6pPr>
              <a:lvl7pPr marL="3013075" indent="-233680" defTabSz="933450" fontAlgn="base">
                <a:spcBef>
                  <a:spcPct val="0"/>
                </a:spcBef>
                <a:spcAft>
                  <a:spcPct val="0"/>
                </a:spcAft>
                <a:defRPr sz="2400">
                  <a:solidFill>
                    <a:schemeClr val="tx1"/>
                  </a:solidFill>
                  <a:latin typeface="Arial" panose="020B0604020202020204" pitchFamily="34" charset="0"/>
                </a:defRPr>
              </a:lvl7pPr>
              <a:lvl8pPr marL="3470275" indent="-233680" defTabSz="933450" fontAlgn="base">
                <a:spcBef>
                  <a:spcPct val="0"/>
                </a:spcBef>
                <a:spcAft>
                  <a:spcPct val="0"/>
                </a:spcAft>
                <a:defRPr sz="2400">
                  <a:solidFill>
                    <a:schemeClr val="tx1"/>
                  </a:solidFill>
                  <a:latin typeface="Arial" panose="020B0604020202020204" pitchFamily="34" charset="0"/>
                </a:defRPr>
              </a:lvl8pPr>
              <a:lvl9pPr marL="3927475" indent="-233680" defTabSz="933450" fontAlgn="base">
                <a:spcBef>
                  <a:spcPct val="0"/>
                </a:spcBef>
                <a:spcAft>
                  <a:spcPct val="0"/>
                </a:spcAft>
                <a:defRPr sz="2400">
                  <a:solidFill>
                    <a:schemeClr val="tx1"/>
                  </a:solidFill>
                  <a:latin typeface="Arial" panose="020B0604020202020204" pitchFamily="34" charset="0"/>
                </a:defRPr>
              </a:lvl9pPr>
            </a:lstStyle>
            <a:p>
              <a:endParaRPr lang="en-US" sz="1630">
                <a:solidFill>
                  <a:srgbClr val="000000"/>
                </a:solidFill>
                <a:latin typeface="+mn-lt"/>
              </a:endParaRPr>
            </a:p>
          </p:txBody>
        </p:sp>
        <p:sp>
          <p:nvSpPr>
            <p:cNvPr id="143" name="Oval 142"/>
            <p:cNvSpPr/>
            <p:nvPr/>
          </p:nvSpPr>
          <p:spPr>
            <a:xfrm>
              <a:off x="2606456" y="1577516"/>
              <a:ext cx="189212" cy="156743"/>
            </a:xfrm>
            <a:prstGeom prst="ellipse">
              <a:avLst/>
            </a:prstGeom>
            <a:gradFill flip="none" rotWithShape="1">
              <a:gsLst>
                <a:gs pos="0">
                  <a:srgbClr val="0F2800"/>
                </a:gs>
                <a:gs pos="100000">
                  <a:srgbClr val="78FD00"/>
                </a:gs>
              </a:gsLst>
              <a:lin ang="8100000" scaled="1"/>
              <a:tileRect/>
            </a:gra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sp>
          <p:nvSpPr>
            <p:cNvPr id="144" name="Oval 143"/>
            <p:cNvSpPr/>
            <p:nvPr/>
          </p:nvSpPr>
          <p:spPr>
            <a:xfrm>
              <a:off x="2838866" y="1577516"/>
              <a:ext cx="189212"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sp>
          <p:nvSpPr>
            <p:cNvPr id="145" name="Oval 144"/>
            <p:cNvSpPr/>
            <p:nvPr/>
          </p:nvSpPr>
          <p:spPr>
            <a:xfrm>
              <a:off x="3071276" y="1577516"/>
              <a:ext cx="189212"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sp>
          <p:nvSpPr>
            <p:cNvPr id="172" name="Rectangle 11"/>
            <p:cNvSpPr>
              <a:spLocks noChangeArrowheads="1"/>
            </p:cNvSpPr>
            <p:nvPr/>
          </p:nvSpPr>
          <p:spPr bwMode="gray">
            <a:xfrm>
              <a:off x="6584105" y="1521898"/>
              <a:ext cx="2103120"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lnSpc>
                  <a:spcPct val="93000"/>
                </a:lnSpc>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sp>
          <p:nvSpPr>
            <p:cNvPr id="181" name="Rectangle 14"/>
            <p:cNvSpPr>
              <a:spLocks noChangeArrowheads="1"/>
            </p:cNvSpPr>
            <p:nvPr/>
          </p:nvSpPr>
          <p:spPr bwMode="gray">
            <a:xfrm rot="16200000">
              <a:off x="2783248" y="1958612"/>
              <a:ext cx="267979" cy="780655"/>
            </a:xfrm>
            <a:prstGeom prst="rect">
              <a:avLst/>
            </a:prstGeom>
            <a:solidFill>
              <a:schemeClr val="accent1"/>
            </a:solidFill>
            <a:ln w="12700">
              <a:solidFill>
                <a:srgbClr val="808080"/>
              </a:solidFill>
              <a:miter lim="800000"/>
            </a:ln>
          </p:spPr>
          <p:txBody>
            <a:bodyPr vert="eaVert" wrap="none" lIns="0" tIns="0" rIns="0" bIns="0"/>
            <a:lstStyle>
              <a:lvl1pPr defTabSz="933450">
                <a:defRPr sz="2400">
                  <a:solidFill>
                    <a:schemeClr val="tx1"/>
                  </a:solidFill>
                  <a:latin typeface="Arial" panose="020B0604020202020204" pitchFamily="34" charset="0"/>
                </a:defRPr>
              </a:lvl1pPr>
              <a:lvl2pPr marL="758825" indent="-292100" defTabSz="933450">
                <a:defRPr sz="2400">
                  <a:solidFill>
                    <a:schemeClr val="tx1"/>
                  </a:solidFill>
                  <a:latin typeface="Arial" panose="020B0604020202020204" pitchFamily="34" charset="0"/>
                </a:defRPr>
              </a:lvl2pPr>
              <a:lvl3pPr marL="1167130" indent="-233680" defTabSz="933450">
                <a:defRPr sz="2400">
                  <a:solidFill>
                    <a:schemeClr val="tx1"/>
                  </a:solidFill>
                  <a:latin typeface="Arial" panose="020B0604020202020204" pitchFamily="34" charset="0"/>
                </a:defRPr>
              </a:lvl3pPr>
              <a:lvl4pPr marL="1631950" indent="-231775" defTabSz="933450">
                <a:defRPr sz="2400">
                  <a:solidFill>
                    <a:schemeClr val="tx1"/>
                  </a:solidFill>
                  <a:latin typeface="Arial" panose="020B0604020202020204" pitchFamily="34" charset="0"/>
                </a:defRPr>
              </a:lvl4pPr>
              <a:lvl5pPr marL="2098675" indent="-233680" defTabSz="933450">
                <a:defRPr sz="2400">
                  <a:solidFill>
                    <a:schemeClr val="tx1"/>
                  </a:solidFill>
                  <a:latin typeface="Arial" panose="020B0604020202020204" pitchFamily="34" charset="0"/>
                </a:defRPr>
              </a:lvl5pPr>
              <a:lvl6pPr marL="2555875" indent="-233680" defTabSz="933450" fontAlgn="base">
                <a:spcBef>
                  <a:spcPct val="0"/>
                </a:spcBef>
                <a:spcAft>
                  <a:spcPct val="0"/>
                </a:spcAft>
                <a:defRPr sz="2400">
                  <a:solidFill>
                    <a:schemeClr val="tx1"/>
                  </a:solidFill>
                  <a:latin typeface="Arial" panose="020B0604020202020204" pitchFamily="34" charset="0"/>
                </a:defRPr>
              </a:lvl6pPr>
              <a:lvl7pPr marL="3013075" indent="-233680" defTabSz="933450" fontAlgn="base">
                <a:spcBef>
                  <a:spcPct val="0"/>
                </a:spcBef>
                <a:spcAft>
                  <a:spcPct val="0"/>
                </a:spcAft>
                <a:defRPr sz="2400">
                  <a:solidFill>
                    <a:schemeClr val="tx1"/>
                  </a:solidFill>
                  <a:latin typeface="Arial" panose="020B0604020202020204" pitchFamily="34" charset="0"/>
                </a:defRPr>
              </a:lvl7pPr>
              <a:lvl8pPr marL="3470275" indent="-233680" defTabSz="933450" fontAlgn="base">
                <a:spcBef>
                  <a:spcPct val="0"/>
                </a:spcBef>
                <a:spcAft>
                  <a:spcPct val="0"/>
                </a:spcAft>
                <a:defRPr sz="2400">
                  <a:solidFill>
                    <a:schemeClr val="tx1"/>
                  </a:solidFill>
                  <a:latin typeface="Arial" panose="020B0604020202020204" pitchFamily="34" charset="0"/>
                </a:defRPr>
              </a:lvl8pPr>
              <a:lvl9pPr marL="3927475" indent="-233680" defTabSz="933450" fontAlgn="base">
                <a:spcBef>
                  <a:spcPct val="0"/>
                </a:spcBef>
                <a:spcAft>
                  <a:spcPct val="0"/>
                </a:spcAft>
                <a:defRPr sz="2400">
                  <a:solidFill>
                    <a:schemeClr val="tx1"/>
                  </a:solidFill>
                  <a:latin typeface="Arial" panose="020B0604020202020204" pitchFamily="34" charset="0"/>
                </a:defRPr>
              </a:lvl9pPr>
            </a:lstStyle>
            <a:p>
              <a:endParaRPr lang="en-US" sz="1630">
                <a:solidFill>
                  <a:srgbClr val="000000"/>
                </a:solidFill>
                <a:latin typeface="+mn-lt"/>
              </a:endParaRPr>
            </a:p>
          </p:txBody>
        </p:sp>
        <p:grpSp>
          <p:nvGrpSpPr>
            <p:cNvPr id="182" name="Group 181"/>
            <p:cNvGrpSpPr/>
            <p:nvPr/>
          </p:nvGrpSpPr>
          <p:grpSpPr>
            <a:xfrm>
              <a:off x="2606456" y="2270568"/>
              <a:ext cx="654032" cy="156743"/>
              <a:chOff x="7812182" y="803331"/>
              <a:chExt cx="654032" cy="156743"/>
            </a:xfrm>
          </p:grpSpPr>
          <p:sp>
            <p:nvSpPr>
              <p:cNvPr id="183" name="Oval 182"/>
              <p:cNvSpPr/>
              <p:nvPr/>
            </p:nvSpPr>
            <p:spPr>
              <a:xfrm>
                <a:off x="7812182" y="803331"/>
                <a:ext cx="189212" cy="156743"/>
              </a:xfrm>
              <a:prstGeom prst="ellipse">
                <a:avLst/>
              </a:prstGeom>
              <a:gradFill flip="none" rotWithShape="1">
                <a:gsLst>
                  <a:gs pos="0">
                    <a:srgbClr val="0F2800"/>
                  </a:gs>
                  <a:gs pos="100000">
                    <a:srgbClr val="78FD00"/>
                  </a:gs>
                </a:gsLst>
                <a:lin ang="8100000" scaled="1"/>
                <a:tileRect/>
              </a:gra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sp>
            <p:nvSpPr>
              <p:cNvPr id="184" name="Oval 183"/>
              <p:cNvSpPr/>
              <p:nvPr/>
            </p:nvSpPr>
            <p:spPr>
              <a:xfrm>
                <a:off x="8044592" y="803331"/>
                <a:ext cx="189212"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sp>
            <p:nvSpPr>
              <p:cNvPr id="185" name="Oval 184"/>
              <p:cNvSpPr/>
              <p:nvPr/>
            </p:nvSpPr>
            <p:spPr>
              <a:xfrm>
                <a:off x="8277002" y="803331"/>
                <a:ext cx="189212"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grpSp>
        <p:sp>
          <p:nvSpPr>
            <p:cNvPr id="178" name="Rectangle 11"/>
            <p:cNvSpPr>
              <a:spLocks noChangeArrowheads="1"/>
            </p:cNvSpPr>
            <p:nvPr/>
          </p:nvSpPr>
          <p:spPr bwMode="gray">
            <a:xfrm>
              <a:off x="3445649" y="2214950"/>
              <a:ext cx="3003482" cy="251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sp>
          <p:nvSpPr>
            <p:cNvPr id="179" name="Rectangle 11"/>
            <p:cNvSpPr>
              <a:spLocks noChangeArrowheads="1"/>
            </p:cNvSpPr>
            <p:nvPr/>
          </p:nvSpPr>
          <p:spPr bwMode="gray">
            <a:xfrm>
              <a:off x="1572029" y="2214950"/>
              <a:ext cx="816797"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lnSpc>
                  <a:spcPct val="93000"/>
                </a:lnSpc>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sp>
          <p:nvSpPr>
            <p:cNvPr id="180" name="Rectangle 11"/>
            <p:cNvSpPr>
              <a:spLocks noChangeArrowheads="1"/>
            </p:cNvSpPr>
            <p:nvPr/>
          </p:nvSpPr>
          <p:spPr bwMode="gray">
            <a:xfrm>
              <a:off x="6584105" y="2214950"/>
              <a:ext cx="2103120"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lnSpc>
                  <a:spcPct val="93000"/>
                </a:lnSpc>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sp>
          <p:nvSpPr>
            <p:cNvPr id="194" name="Rectangle 14"/>
            <p:cNvSpPr>
              <a:spLocks noChangeArrowheads="1"/>
            </p:cNvSpPr>
            <p:nvPr/>
          </p:nvSpPr>
          <p:spPr bwMode="gray">
            <a:xfrm rot="16200000">
              <a:off x="2783248" y="2651664"/>
              <a:ext cx="267979" cy="780655"/>
            </a:xfrm>
            <a:prstGeom prst="rect">
              <a:avLst/>
            </a:prstGeom>
            <a:solidFill>
              <a:schemeClr val="accent1"/>
            </a:solidFill>
            <a:ln w="12700">
              <a:solidFill>
                <a:srgbClr val="808080"/>
              </a:solidFill>
              <a:miter lim="800000"/>
            </a:ln>
          </p:spPr>
          <p:txBody>
            <a:bodyPr vert="eaVert" wrap="none" lIns="0" tIns="0" rIns="0" bIns="0"/>
            <a:lstStyle>
              <a:lvl1pPr defTabSz="933450">
                <a:defRPr sz="2400">
                  <a:solidFill>
                    <a:schemeClr val="tx1"/>
                  </a:solidFill>
                  <a:latin typeface="Arial" panose="020B0604020202020204" pitchFamily="34" charset="0"/>
                </a:defRPr>
              </a:lvl1pPr>
              <a:lvl2pPr marL="758825" indent="-292100" defTabSz="933450">
                <a:defRPr sz="2400">
                  <a:solidFill>
                    <a:schemeClr val="tx1"/>
                  </a:solidFill>
                  <a:latin typeface="Arial" panose="020B0604020202020204" pitchFamily="34" charset="0"/>
                </a:defRPr>
              </a:lvl2pPr>
              <a:lvl3pPr marL="1167130" indent="-233680" defTabSz="933450">
                <a:defRPr sz="2400">
                  <a:solidFill>
                    <a:schemeClr val="tx1"/>
                  </a:solidFill>
                  <a:latin typeface="Arial" panose="020B0604020202020204" pitchFamily="34" charset="0"/>
                </a:defRPr>
              </a:lvl3pPr>
              <a:lvl4pPr marL="1631950" indent="-231775" defTabSz="933450">
                <a:defRPr sz="2400">
                  <a:solidFill>
                    <a:schemeClr val="tx1"/>
                  </a:solidFill>
                  <a:latin typeface="Arial" panose="020B0604020202020204" pitchFamily="34" charset="0"/>
                </a:defRPr>
              </a:lvl4pPr>
              <a:lvl5pPr marL="2098675" indent="-233680" defTabSz="933450">
                <a:defRPr sz="2400">
                  <a:solidFill>
                    <a:schemeClr val="tx1"/>
                  </a:solidFill>
                  <a:latin typeface="Arial" panose="020B0604020202020204" pitchFamily="34" charset="0"/>
                </a:defRPr>
              </a:lvl5pPr>
              <a:lvl6pPr marL="2555875" indent="-233680" defTabSz="933450" fontAlgn="base">
                <a:spcBef>
                  <a:spcPct val="0"/>
                </a:spcBef>
                <a:spcAft>
                  <a:spcPct val="0"/>
                </a:spcAft>
                <a:defRPr sz="2400">
                  <a:solidFill>
                    <a:schemeClr val="tx1"/>
                  </a:solidFill>
                  <a:latin typeface="Arial" panose="020B0604020202020204" pitchFamily="34" charset="0"/>
                </a:defRPr>
              </a:lvl6pPr>
              <a:lvl7pPr marL="3013075" indent="-233680" defTabSz="933450" fontAlgn="base">
                <a:spcBef>
                  <a:spcPct val="0"/>
                </a:spcBef>
                <a:spcAft>
                  <a:spcPct val="0"/>
                </a:spcAft>
                <a:defRPr sz="2400">
                  <a:solidFill>
                    <a:schemeClr val="tx1"/>
                  </a:solidFill>
                  <a:latin typeface="Arial" panose="020B0604020202020204" pitchFamily="34" charset="0"/>
                </a:defRPr>
              </a:lvl7pPr>
              <a:lvl8pPr marL="3470275" indent="-233680" defTabSz="933450" fontAlgn="base">
                <a:spcBef>
                  <a:spcPct val="0"/>
                </a:spcBef>
                <a:spcAft>
                  <a:spcPct val="0"/>
                </a:spcAft>
                <a:defRPr sz="2400">
                  <a:solidFill>
                    <a:schemeClr val="tx1"/>
                  </a:solidFill>
                  <a:latin typeface="Arial" panose="020B0604020202020204" pitchFamily="34" charset="0"/>
                </a:defRPr>
              </a:lvl8pPr>
              <a:lvl9pPr marL="3927475" indent="-233680" defTabSz="933450" fontAlgn="base">
                <a:spcBef>
                  <a:spcPct val="0"/>
                </a:spcBef>
                <a:spcAft>
                  <a:spcPct val="0"/>
                </a:spcAft>
                <a:defRPr sz="2400">
                  <a:solidFill>
                    <a:schemeClr val="tx1"/>
                  </a:solidFill>
                  <a:latin typeface="Arial" panose="020B0604020202020204" pitchFamily="34" charset="0"/>
                </a:defRPr>
              </a:lvl9pPr>
            </a:lstStyle>
            <a:p>
              <a:endParaRPr lang="en-US" sz="1630">
                <a:solidFill>
                  <a:srgbClr val="000000"/>
                </a:solidFill>
                <a:latin typeface="+mn-lt"/>
              </a:endParaRPr>
            </a:p>
          </p:txBody>
        </p:sp>
        <p:grpSp>
          <p:nvGrpSpPr>
            <p:cNvPr id="195" name="Group 194"/>
            <p:cNvGrpSpPr/>
            <p:nvPr/>
          </p:nvGrpSpPr>
          <p:grpSpPr>
            <a:xfrm>
              <a:off x="2606456" y="2963620"/>
              <a:ext cx="654032" cy="156743"/>
              <a:chOff x="7812182" y="803331"/>
              <a:chExt cx="654032" cy="156743"/>
            </a:xfrm>
          </p:grpSpPr>
          <p:sp>
            <p:nvSpPr>
              <p:cNvPr id="196" name="Oval 195"/>
              <p:cNvSpPr/>
              <p:nvPr/>
            </p:nvSpPr>
            <p:spPr>
              <a:xfrm>
                <a:off x="7812182" y="803331"/>
                <a:ext cx="189212" cy="156743"/>
              </a:xfrm>
              <a:prstGeom prst="ellipse">
                <a:avLst/>
              </a:prstGeom>
              <a:gradFill flip="none" rotWithShape="1">
                <a:gsLst>
                  <a:gs pos="0">
                    <a:srgbClr val="0F2800"/>
                  </a:gs>
                  <a:gs pos="100000">
                    <a:srgbClr val="78FD00"/>
                  </a:gs>
                </a:gsLst>
                <a:lin ang="8100000" scaled="1"/>
                <a:tileRect/>
              </a:gra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sp>
            <p:nvSpPr>
              <p:cNvPr id="197" name="Oval 196"/>
              <p:cNvSpPr/>
              <p:nvPr/>
            </p:nvSpPr>
            <p:spPr>
              <a:xfrm>
                <a:off x="8044592" y="803331"/>
                <a:ext cx="189212"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sp>
            <p:nvSpPr>
              <p:cNvPr id="198" name="Oval 197"/>
              <p:cNvSpPr/>
              <p:nvPr/>
            </p:nvSpPr>
            <p:spPr>
              <a:xfrm>
                <a:off x="8277002" y="803331"/>
                <a:ext cx="189212"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grpSp>
        <p:sp>
          <p:nvSpPr>
            <p:cNvPr id="191" name="Rectangle 11"/>
            <p:cNvSpPr>
              <a:spLocks noChangeArrowheads="1"/>
            </p:cNvSpPr>
            <p:nvPr/>
          </p:nvSpPr>
          <p:spPr bwMode="gray">
            <a:xfrm>
              <a:off x="3445649" y="2908002"/>
              <a:ext cx="3003482" cy="251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sp>
          <p:nvSpPr>
            <p:cNvPr id="192" name="Rectangle 11"/>
            <p:cNvSpPr>
              <a:spLocks noChangeArrowheads="1"/>
            </p:cNvSpPr>
            <p:nvPr/>
          </p:nvSpPr>
          <p:spPr bwMode="gray">
            <a:xfrm>
              <a:off x="1572029" y="2908002"/>
              <a:ext cx="816797"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lnSpc>
                  <a:spcPct val="93000"/>
                </a:lnSpc>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sp>
          <p:nvSpPr>
            <p:cNvPr id="193" name="Rectangle 11"/>
            <p:cNvSpPr>
              <a:spLocks noChangeArrowheads="1"/>
            </p:cNvSpPr>
            <p:nvPr/>
          </p:nvSpPr>
          <p:spPr bwMode="gray">
            <a:xfrm>
              <a:off x="6584105" y="2908002"/>
              <a:ext cx="2103120"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lnSpc>
                  <a:spcPct val="93000"/>
                </a:lnSpc>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sp>
          <p:nvSpPr>
            <p:cNvPr id="207" name="Rectangle 14"/>
            <p:cNvSpPr>
              <a:spLocks noChangeArrowheads="1"/>
            </p:cNvSpPr>
            <p:nvPr/>
          </p:nvSpPr>
          <p:spPr bwMode="gray">
            <a:xfrm rot="16200000">
              <a:off x="2783248" y="3358364"/>
              <a:ext cx="267979" cy="780655"/>
            </a:xfrm>
            <a:prstGeom prst="rect">
              <a:avLst/>
            </a:prstGeom>
            <a:solidFill>
              <a:schemeClr val="accent1"/>
            </a:solidFill>
            <a:ln w="12700">
              <a:solidFill>
                <a:srgbClr val="808080"/>
              </a:solidFill>
              <a:miter lim="800000"/>
            </a:ln>
          </p:spPr>
          <p:txBody>
            <a:bodyPr vert="eaVert" wrap="none" lIns="0" tIns="0" rIns="0" bIns="0"/>
            <a:lstStyle>
              <a:lvl1pPr defTabSz="933450">
                <a:defRPr sz="2400">
                  <a:solidFill>
                    <a:schemeClr val="tx1"/>
                  </a:solidFill>
                  <a:latin typeface="Arial" panose="020B0604020202020204" pitchFamily="34" charset="0"/>
                </a:defRPr>
              </a:lvl1pPr>
              <a:lvl2pPr marL="758825" indent="-292100" defTabSz="933450">
                <a:defRPr sz="2400">
                  <a:solidFill>
                    <a:schemeClr val="tx1"/>
                  </a:solidFill>
                  <a:latin typeface="Arial" panose="020B0604020202020204" pitchFamily="34" charset="0"/>
                </a:defRPr>
              </a:lvl2pPr>
              <a:lvl3pPr marL="1167130" indent="-233680" defTabSz="933450">
                <a:defRPr sz="2400">
                  <a:solidFill>
                    <a:schemeClr val="tx1"/>
                  </a:solidFill>
                  <a:latin typeface="Arial" panose="020B0604020202020204" pitchFamily="34" charset="0"/>
                </a:defRPr>
              </a:lvl3pPr>
              <a:lvl4pPr marL="1631950" indent="-231775" defTabSz="933450">
                <a:defRPr sz="2400">
                  <a:solidFill>
                    <a:schemeClr val="tx1"/>
                  </a:solidFill>
                  <a:latin typeface="Arial" panose="020B0604020202020204" pitchFamily="34" charset="0"/>
                </a:defRPr>
              </a:lvl4pPr>
              <a:lvl5pPr marL="2098675" indent="-233680" defTabSz="933450">
                <a:defRPr sz="2400">
                  <a:solidFill>
                    <a:schemeClr val="tx1"/>
                  </a:solidFill>
                  <a:latin typeface="Arial" panose="020B0604020202020204" pitchFamily="34" charset="0"/>
                </a:defRPr>
              </a:lvl5pPr>
              <a:lvl6pPr marL="2555875" indent="-233680" defTabSz="933450" fontAlgn="base">
                <a:spcBef>
                  <a:spcPct val="0"/>
                </a:spcBef>
                <a:spcAft>
                  <a:spcPct val="0"/>
                </a:spcAft>
                <a:defRPr sz="2400">
                  <a:solidFill>
                    <a:schemeClr val="tx1"/>
                  </a:solidFill>
                  <a:latin typeface="Arial" panose="020B0604020202020204" pitchFamily="34" charset="0"/>
                </a:defRPr>
              </a:lvl6pPr>
              <a:lvl7pPr marL="3013075" indent="-233680" defTabSz="933450" fontAlgn="base">
                <a:spcBef>
                  <a:spcPct val="0"/>
                </a:spcBef>
                <a:spcAft>
                  <a:spcPct val="0"/>
                </a:spcAft>
                <a:defRPr sz="2400">
                  <a:solidFill>
                    <a:schemeClr val="tx1"/>
                  </a:solidFill>
                  <a:latin typeface="Arial" panose="020B0604020202020204" pitchFamily="34" charset="0"/>
                </a:defRPr>
              </a:lvl7pPr>
              <a:lvl8pPr marL="3470275" indent="-233680" defTabSz="933450" fontAlgn="base">
                <a:spcBef>
                  <a:spcPct val="0"/>
                </a:spcBef>
                <a:spcAft>
                  <a:spcPct val="0"/>
                </a:spcAft>
                <a:defRPr sz="2400">
                  <a:solidFill>
                    <a:schemeClr val="tx1"/>
                  </a:solidFill>
                  <a:latin typeface="Arial" panose="020B0604020202020204" pitchFamily="34" charset="0"/>
                </a:defRPr>
              </a:lvl8pPr>
              <a:lvl9pPr marL="3927475" indent="-233680" defTabSz="933450" fontAlgn="base">
                <a:spcBef>
                  <a:spcPct val="0"/>
                </a:spcBef>
                <a:spcAft>
                  <a:spcPct val="0"/>
                </a:spcAft>
                <a:defRPr sz="2400">
                  <a:solidFill>
                    <a:schemeClr val="tx1"/>
                  </a:solidFill>
                  <a:latin typeface="Arial" panose="020B0604020202020204" pitchFamily="34" charset="0"/>
                </a:defRPr>
              </a:lvl9pPr>
            </a:lstStyle>
            <a:p>
              <a:endParaRPr lang="en-US" sz="1630">
                <a:solidFill>
                  <a:srgbClr val="000000"/>
                </a:solidFill>
                <a:latin typeface="+mn-lt"/>
              </a:endParaRPr>
            </a:p>
          </p:txBody>
        </p:sp>
        <p:grpSp>
          <p:nvGrpSpPr>
            <p:cNvPr id="208" name="Group 207"/>
            <p:cNvGrpSpPr/>
            <p:nvPr/>
          </p:nvGrpSpPr>
          <p:grpSpPr>
            <a:xfrm>
              <a:off x="2606456" y="3670320"/>
              <a:ext cx="654032" cy="156743"/>
              <a:chOff x="7812182" y="803331"/>
              <a:chExt cx="654032" cy="156743"/>
            </a:xfrm>
          </p:grpSpPr>
          <p:sp>
            <p:nvSpPr>
              <p:cNvPr id="209" name="Oval 208"/>
              <p:cNvSpPr/>
              <p:nvPr/>
            </p:nvSpPr>
            <p:spPr>
              <a:xfrm>
                <a:off x="7812182" y="803331"/>
                <a:ext cx="189212" cy="156743"/>
              </a:xfrm>
              <a:prstGeom prst="ellipse">
                <a:avLst/>
              </a:prstGeom>
              <a:gradFill flip="none" rotWithShape="1">
                <a:gsLst>
                  <a:gs pos="0">
                    <a:srgbClr val="0F2800"/>
                  </a:gs>
                  <a:gs pos="100000">
                    <a:srgbClr val="78FD00"/>
                  </a:gs>
                </a:gsLst>
                <a:lin ang="8100000" scaled="1"/>
                <a:tileRect/>
              </a:gra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sp>
            <p:nvSpPr>
              <p:cNvPr id="210" name="Oval 209"/>
              <p:cNvSpPr/>
              <p:nvPr/>
            </p:nvSpPr>
            <p:spPr>
              <a:xfrm>
                <a:off x="8044592" y="803331"/>
                <a:ext cx="189212"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sp>
            <p:nvSpPr>
              <p:cNvPr id="211" name="Oval 210"/>
              <p:cNvSpPr/>
              <p:nvPr/>
            </p:nvSpPr>
            <p:spPr>
              <a:xfrm>
                <a:off x="8277002" y="803331"/>
                <a:ext cx="189212" cy="156743"/>
              </a:xfrm>
              <a:prstGeom prst="ellipse">
                <a:avLst/>
              </a:prstGeom>
              <a:solidFill>
                <a:schemeClr val="bg1"/>
              </a:solidFill>
              <a:ln w="9525">
                <a:noFill/>
              </a:ln>
              <a:effectLst>
                <a:outerShdw blurRad="63500" sx="116000" sy="116000" algn="ctr" rotWithShape="0">
                  <a:srgbClr val="00391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rgbClr val="000000"/>
                  </a:solidFill>
                </a:endParaRPr>
              </a:p>
            </p:txBody>
          </p:sp>
        </p:grpSp>
        <p:sp>
          <p:nvSpPr>
            <p:cNvPr id="204" name="Rectangle 11"/>
            <p:cNvSpPr>
              <a:spLocks noChangeArrowheads="1"/>
            </p:cNvSpPr>
            <p:nvPr/>
          </p:nvSpPr>
          <p:spPr bwMode="gray">
            <a:xfrm>
              <a:off x="3445649" y="3614702"/>
              <a:ext cx="3003482" cy="251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sp>
          <p:nvSpPr>
            <p:cNvPr id="205" name="Rectangle 11"/>
            <p:cNvSpPr>
              <a:spLocks noChangeArrowheads="1"/>
            </p:cNvSpPr>
            <p:nvPr/>
          </p:nvSpPr>
          <p:spPr bwMode="gray">
            <a:xfrm>
              <a:off x="1572029" y="3614702"/>
              <a:ext cx="816797"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lnSpc>
                  <a:spcPct val="93000"/>
                </a:lnSpc>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sp>
          <p:nvSpPr>
            <p:cNvPr id="206" name="Rectangle 11"/>
            <p:cNvSpPr>
              <a:spLocks noChangeArrowheads="1"/>
            </p:cNvSpPr>
            <p:nvPr/>
          </p:nvSpPr>
          <p:spPr bwMode="gray">
            <a:xfrm>
              <a:off x="6584105" y="3614702"/>
              <a:ext cx="2103120" cy="2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9250" indent="-349250" defTabSz="913130">
                <a:defRPr sz="2400">
                  <a:solidFill>
                    <a:schemeClr val="tx1"/>
                  </a:solidFill>
                  <a:latin typeface="Arial" panose="020B0604020202020204" pitchFamily="34" charset="0"/>
                </a:defRPr>
              </a:lvl1pPr>
              <a:lvl2pPr marL="85725" indent="-84455" defTabSz="913130">
                <a:defRPr sz="2400">
                  <a:solidFill>
                    <a:schemeClr val="tx1"/>
                  </a:solidFill>
                  <a:latin typeface="Arial" panose="020B0604020202020204" pitchFamily="34" charset="0"/>
                </a:defRPr>
              </a:lvl2pPr>
              <a:lvl3pPr marL="1167130" indent="-233680" defTabSz="913130">
                <a:defRPr sz="2400">
                  <a:solidFill>
                    <a:schemeClr val="tx1"/>
                  </a:solidFill>
                  <a:latin typeface="Arial" panose="020B0604020202020204" pitchFamily="34" charset="0"/>
                </a:defRPr>
              </a:lvl3pPr>
              <a:lvl4pPr marL="1631950" indent="-231775" defTabSz="913130">
                <a:defRPr sz="2400">
                  <a:solidFill>
                    <a:schemeClr val="tx1"/>
                  </a:solidFill>
                  <a:latin typeface="Arial" panose="020B0604020202020204" pitchFamily="34" charset="0"/>
                </a:defRPr>
              </a:lvl4pPr>
              <a:lvl5pPr marL="2098675" indent="-233680" defTabSz="913130">
                <a:defRPr sz="2400">
                  <a:solidFill>
                    <a:schemeClr val="tx1"/>
                  </a:solidFill>
                  <a:latin typeface="Arial" panose="020B0604020202020204" pitchFamily="34" charset="0"/>
                </a:defRPr>
              </a:lvl5pPr>
              <a:lvl6pPr marL="2555875" indent="-233680" defTabSz="913130" fontAlgn="base">
                <a:spcBef>
                  <a:spcPct val="0"/>
                </a:spcBef>
                <a:spcAft>
                  <a:spcPct val="0"/>
                </a:spcAft>
                <a:defRPr sz="2400">
                  <a:solidFill>
                    <a:schemeClr val="tx1"/>
                  </a:solidFill>
                  <a:latin typeface="Arial" panose="020B0604020202020204" pitchFamily="34" charset="0"/>
                </a:defRPr>
              </a:lvl6pPr>
              <a:lvl7pPr marL="3013075" indent="-233680" defTabSz="913130" fontAlgn="base">
                <a:spcBef>
                  <a:spcPct val="0"/>
                </a:spcBef>
                <a:spcAft>
                  <a:spcPct val="0"/>
                </a:spcAft>
                <a:defRPr sz="2400">
                  <a:solidFill>
                    <a:schemeClr val="tx1"/>
                  </a:solidFill>
                  <a:latin typeface="Arial" panose="020B0604020202020204" pitchFamily="34" charset="0"/>
                </a:defRPr>
              </a:lvl7pPr>
              <a:lvl8pPr marL="3470275" indent="-233680" defTabSz="913130" fontAlgn="base">
                <a:spcBef>
                  <a:spcPct val="0"/>
                </a:spcBef>
                <a:spcAft>
                  <a:spcPct val="0"/>
                </a:spcAft>
                <a:defRPr sz="2400">
                  <a:solidFill>
                    <a:schemeClr val="tx1"/>
                  </a:solidFill>
                  <a:latin typeface="Arial" panose="020B0604020202020204" pitchFamily="34" charset="0"/>
                </a:defRPr>
              </a:lvl8pPr>
              <a:lvl9pPr marL="3927475" indent="-233680" defTabSz="913130" fontAlgn="base">
                <a:spcBef>
                  <a:spcPct val="0"/>
                </a:spcBef>
                <a:spcAft>
                  <a:spcPct val="0"/>
                </a:spcAft>
                <a:defRPr sz="2400">
                  <a:solidFill>
                    <a:schemeClr val="tx1"/>
                  </a:solidFill>
                  <a:latin typeface="Arial" panose="020B0604020202020204" pitchFamily="34" charset="0"/>
                </a:defRPr>
              </a:lvl9pPr>
            </a:lstStyle>
            <a:p>
              <a:pPr marL="197485" lvl="1" indent="-196215" defTabSz="913765">
                <a:lnSpc>
                  <a:spcPct val="93000"/>
                </a:lnSpc>
                <a:buClr>
                  <a:schemeClr val="tx2"/>
                </a:buClr>
                <a:buSzPct val="125000"/>
                <a:buFont typeface="Arial" panose="020B0604020202020204" pitchFamily="34" charset="0"/>
                <a:buChar char="▪"/>
              </a:pPr>
              <a:r>
                <a:rPr lang="en-US" sz="1630" dirty="0">
                  <a:solidFill>
                    <a:srgbClr val="000000"/>
                  </a:solidFill>
                  <a:latin typeface="+mn-lt"/>
                </a:rPr>
                <a:t>XXX</a:t>
              </a:r>
              <a:endParaRPr lang="en-US" sz="1630" dirty="0">
                <a:solidFill>
                  <a:srgbClr val="000000"/>
                </a:solidFill>
                <a:latin typeface="+mn-lt"/>
              </a:endParaRPr>
            </a:p>
          </p:txBody>
        </p:sp>
        <p:grpSp>
          <p:nvGrpSpPr>
            <p:cNvPr id="7" name="Group 6"/>
            <p:cNvGrpSpPr/>
            <p:nvPr/>
          </p:nvGrpSpPr>
          <p:grpSpPr>
            <a:xfrm>
              <a:off x="169084" y="1521898"/>
              <a:ext cx="1278658" cy="2547902"/>
              <a:chOff x="169084" y="1521898"/>
              <a:chExt cx="1278658" cy="2547902"/>
            </a:xfrm>
          </p:grpSpPr>
          <p:sp>
            <p:nvSpPr>
              <p:cNvPr id="136" name="TextBox 7"/>
              <p:cNvSpPr txBox="1">
                <a:spLocks noChangeArrowheads="1"/>
              </p:cNvSpPr>
              <p:nvPr>
                <p:custDataLst>
                  <p:tags r:id="rId3"/>
                </p:custDataLst>
              </p:nvPr>
            </p:nvSpPr>
            <p:spPr bwMode="auto">
              <a:xfrm>
                <a:off x="304742" y="1521898"/>
                <a:ext cx="1143000" cy="455098"/>
              </a:xfrm>
              <a:prstGeom prst="rect">
                <a:avLst/>
              </a:prstGeom>
              <a:solidFill>
                <a:srgbClr val="FFC3AB"/>
              </a:solidFill>
              <a:ln w="9525">
                <a:solidFill>
                  <a:srgbClr val="FFFFFF"/>
                </a:solidFill>
                <a:miter lim="800000"/>
              </a:ln>
            </p:spPr>
            <p:txBody>
              <a:bodyPr lIns="149276" tIns="76193" rIns="76193" bIns="76193" anchor="ctr"/>
              <a:lstStyle/>
              <a:p>
                <a:pPr defTabSz="895350">
                  <a:lnSpc>
                    <a:spcPct val="110000"/>
                  </a:lnSpc>
                  <a:buClr>
                    <a:srgbClr val="000000"/>
                  </a:buClr>
                </a:pPr>
                <a:r>
                  <a:rPr lang="en-US" altLang="zh-CN" sz="1835" b="1" dirty="0">
                    <a:solidFill>
                      <a:srgbClr val="000000"/>
                    </a:solidFill>
                  </a:rPr>
                  <a:t>XXX</a:t>
                </a:r>
                <a:endParaRPr lang="en-US" sz="1835" b="1" dirty="0">
                  <a:solidFill>
                    <a:srgbClr val="000000"/>
                  </a:solidFill>
                </a:endParaRPr>
              </a:p>
            </p:txBody>
          </p:sp>
          <p:sp>
            <p:nvSpPr>
              <p:cNvPr id="174" name="TextBox 7"/>
              <p:cNvSpPr txBox="1">
                <a:spLocks noChangeArrowheads="1"/>
              </p:cNvSpPr>
              <p:nvPr>
                <p:custDataLst>
                  <p:tags r:id="rId4"/>
                </p:custDataLst>
              </p:nvPr>
            </p:nvSpPr>
            <p:spPr bwMode="auto">
              <a:xfrm>
                <a:off x="304742" y="2214950"/>
                <a:ext cx="1143000" cy="455098"/>
              </a:xfrm>
              <a:prstGeom prst="rect">
                <a:avLst/>
              </a:prstGeom>
              <a:solidFill>
                <a:srgbClr val="FFC3AB"/>
              </a:solidFill>
              <a:ln w="9525">
                <a:solidFill>
                  <a:srgbClr val="FFFFFF"/>
                </a:solidFill>
                <a:miter lim="800000"/>
              </a:ln>
            </p:spPr>
            <p:txBody>
              <a:bodyPr lIns="149276" tIns="76193" rIns="76193" bIns="76193" anchor="ctr"/>
              <a:lstStyle>
                <a:defPPr>
                  <a:defRPr lang="en-US"/>
                </a:defPPr>
                <a:lvl1pPr defTabSz="895350">
                  <a:lnSpc>
                    <a:spcPct val="110000"/>
                  </a:lnSpc>
                  <a:buClr>
                    <a:srgbClr val="000000"/>
                  </a:buClr>
                  <a:defRPr sz="1835" b="1">
                    <a:solidFill>
                      <a:srgbClr val="000000"/>
                    </a:solidFill>
                  </a:defRPr>
                </a:lvl1pPr>
              </a:lstStyle>
              <a:p>
                <a:r>
                  <a:rPr lang="en-US" altLang="zh-CN" dirty="0"/>
                  <a:t>XXX</a:t>
                </a:r>
                <a:endParaRPr lang="en-US" altLang="zh-CN" dirty="0"/>
              </a:p>
            </p:txBody>
          </p:sp>
          <p:sp>
            <p:nvSpPr>
              <p:cNvPr id="187" name="TextBox 7"/>
              <p:cNvSpPr txBox="1">
                <a:spLocks noChangeArrowheads="1"/>
              </p:cNvSpPr>
              <p:nvPr>
                <p:custDataLst>
                  <p:tags r:id="rId5"/>
                </p:custDataLst>
              </p:nvPr>
            </p:nvSpPr>
            <p:spPr bwMode="auto">
              <a:xfrm>
                <a:off x="304742" y="2908002"/>
                <a:ext cx="1143000" cy="455098"/>
              </a:xfrm>
              <a:prstGeom prst="rect">
                <a:avLst/>
              </a:prstGeom>
              <a:solidFill>
                <a:srgbClr val="FFC3AB"/>
              </a:solidFill>
              <a:ln w="9525">
                <a:solidFill>
                  <a:srgbClr val="FFFFFF"/>
                </a:solidFill>
                <a:miter lim="800000"/>
              </a:ln>
            </p:spPr>
            <p:txBody>
              <a:bodyPr lIns="149276" tIns="76193" rIns="76193" bIns="76193" anchor="ctr"/>
              <a:lstStyle>
                <a:defPPr>
                  <a:defRPr lang="en-US"/>
                </a:defPPr>
                <a:lvl1pPr defTabSz="895350">
                  <a:lnSpc>
                    <a:spcPct val="110000"/>
                  </a:lnSpc>
                  <a:buClr>
                    <a:srgbClr val="000000"/>
                  </a:buClr>
                  <a:defRPr sz="1835" b="1">
                    <a:solidFill>
                      <a:srgbClr val="000000"/>
                    </a:solidFill>
                  </a:defRPr>
                </a:lvl1pPr>
              </a:lstStyle>
              <a:p>
                <a:r>
                  <a:rPr lang="en-US" altLang="zh-CN" dirty="0"/>
                  <a:t>XXX</a:t>
                </a:r>
                <a:endParaRPr lang="en-US" altLang="zh-CN" dirty="0"/>
              </a:p>
            </p:txBody>
          </p:sp>
          <p:sp>
            <p:nvSpPr>
              <p:cNvPr id="200" name="TextBox 7"/>
              <p:cNvSpPr txBox="1">
                <a:spLocks noChangeArrowheads="1"/>
              </p:cNvSpPr>
              <p:nvPr>
                <p:custDataLst>
                  <p:tags r:id="rId6"/>
                </p:custDataLst>
              </p:nvPr>
            </p:nvSpPr>
            <p:spPr bwMode="auto">
              <a:xfrm>
                <a:off x="304742" y="3614702"/>
                <a:ext cx="1143000" cy="455098"/>
              </a:xfrm>
              <a:prstGeom prst="rect">
                <a:avLst/>
              </a:prstGeom>
              <a:solidFill>
                <a:srgbClr val="FFC3AB"/>
              </a:solidFill>
              <a:ln w="9525">
                <a:solidFill>
                  <a:srgbClr val="FFFFFF"/>
                </a:solidFill>
                <a:miter lim="800000"/>
              </a:ln>
            </p:spPr>
            <p:txBody>
              <a:bodyPr lIns="149276" tIns="76193" rIns="76193" bIns="76193" anchor="ctr"/>
              <a:lstStyle>
                <a:defPPr>
                  <a:defRPr lang="en-US"/>
                </a:defPPr>
                <a:lvl1pPr defTabSz="895350">
                  <a:lnSpc>
                    <a:spcPct val="110000"/>
                  </a:lnSpc>
                  <a:buClr>
                    <a:srgbClr val="000000"/>
                  </a:buClr>
                  <a:defRPr sz="1835" b="1">
                    <a:solidFill>
                      <a:srgbClr val="000000"/>
                    </a:solidFill>
                  </a:defRPr>
                </a:lvl1pPr>
              </a:lstStyle>
              <a:p>
                <a:r>
                  <a:rPr lang="en-US" altLang="zh-CN" dirty="0"/>
                  <a:t>XXX</a:t>
                </a:r>
                <a:endParaRPr lang="en-US" altLang="zh-CN" dirty="0"/>
              </a:p>
            </p:txBody>
          </p:sp>
          <p:sp>
            <p:nvSpPr>
              <p:cNvPr id="115" name="Oval 83"/>
              <p:cNvSpPr>
                <a:spLocks noChangeArrowheads="1"/>
              </p:cNvSpPr>
              <p:nvPr/>
            </p:nvSpPr>
            <p:spPr bwMode="gray">
              <a:xfrm>
                <a:off x="169084" y="1626003"/>
                <a:ext cx="246888" cy="246888"/>
              </a:xfrm>
              <a:prstGeom prst="ellipse">
                <a:avLst/>
              </a:prstGeom>
              <a:solidFill>
                <a:srgbClr val="FE5817"/>
              </a:solidFill>
              <a:ln w="9525">
                <a:noFill/>
                <a:round/>
              </a:ln>
              <a:effectLst/>
            </p:spPr>
            <p:txBody>
              <a:bodyPr vert="horz" wrap="square" lIns="0" tIns="0" rIns="0" bIns="0" numCol="1" anchor="ctr" anchorCtr="1" compatLnSpc="1"/>
              <a:lstStyle/>
              <a:p>
                <a:pPr defTabSz="1063625"/>
                <a:r>
                  <a:rPr lang="en-US" altLang="zh-CN" sz="1835" b="1" dirty="0">
                    <a:solidFill>
                      <a:schemeClr val="bg1"/>
                    </a:solidFill>
                    <a:cs typeface="Arial" panose="020B0604020202020204" pitchFamily="34" charset="0"/>
                  </a:rPr>
                  <a:t>A</a:t>
                </a:r>
                <a:endParaRPr lang="en-US" sz="1835" b="1" dirty="0">
                  <a:solidFill>
                    <a:schemeClr val="bg1"/>
                  </a:solidFill>
                  <a:cs typeface="Arial" panose="020B0604020202020204" pitchFamily="34" charset="0"/>
                </a:endParaRPr>
              </a:p>
            </p:txBody>
          </p:sp>
          <p:sp>
            <p:nvSpPr>
              <p:cNvPr id="116" name="Oval 83"/>
              <p:cNvSpPr>
                <a:spLocks noChangeArrowheads="1"/>
              </p:cNvSpPr>
              <p:nvPr/>
            </p:nvSpPr>
            <p:spPr bwMode="gray">
              <a:xfrm>
                <a:off x="169084" y="2319055"/>
                <a:ext cx="246888" cy="246888"/>
              </a:xfrm>
              <a:prstGeom prst="ellipse">
                <a:avLst/>
              </a:prstGeom>
              <a:solidFill>
                <a:srgbClr val="FE5817"/>
              </a:solidFill>
              <a:ln w="9525">
                <a:noFill/>
                <a:round/>
              </a:ln>
              <a:effectLst/>
            </p:spPr>
            <p:txBody>
              <a:bodyPr vert="horz" wrap="square" lIns="0" tIns="0" rIns="0" bIns="0" numCol="1" anchor="ctr" anchorCtr="1" compatLnSpc="1"/>
              <a:lstStyle/>
              <a:p>
                <a:pPr defTabSz="1063625"/>
                <a:r>
                  <a:rPr lang="en-US" altLang="zh-CN" sz="1835" b="1" dirty="0">
                    <a:solidFill>
                      <a:schemeClr val="bg1"/>
                    </a:solidFill>
                    <a:cs typeface="Arial" panose="020B0604020202020204" pitchFamily="34" charset="0"/>
                  </a:rPr>
                  <a:t>B</a:t>
                </a:r>
                <a:endParaRPr lang="en-US" sz="1835" b="1" dirty="0">
                  <a:solidFill>
                    <a:schemeClr val="bg1"/>
                  </a:solidFill>
                  <a:cs typeface="Arial" panose="020B0604020202020204" pitchFamily="34" charset="0"/>
                </a:endParaRPr>
              </a:p>
            </p:txBody>
          </p:sp>
          <p:sp>
            <p:nvSpPr>
              <p:cNvPr id="117" name="Oval 83"/>
              <p:cNvSpPr>
                <a:spLocks noChangeArrowheads="1"/>
              </p:cNvSpPr>
              <p:nvPr/>
            </p:nvSpPr>
            <p:spPr bwMode="gray">
              <a:xfrm>
                <a:off x="169084" y="3012107"/>
                <a:ext cx="246888" cy="246888"/>
              </a:xfrm>
              <a:prstGeom prst="ellipse">
                <a:avLst/>
              </a:prstGeom>
              <a:solidFill>
                <a:srgbClr val="FE5817"/>
              </a:solidFill>
              <a:ln w="9525">
                <a:noFill/>
                <a:round/>
              </a:ln>
              <a:effectLst/>
            </p:spPr>
            <p:txBody>
              <a:bodyPr vert="horz" wrap="square" lIns="0" tIns="0" rIns="0" bIns="0" numCol="1" anchor="ctr" anchorCtr="1" compatLnSpc="1"/>
              <a:lstStyle/>
              <a:p>
                <a:pPr defTabSz="1063625"/>
                <a:r>
                  <a:rPr lang="en-US" altLang="zh-CN" sz="1835" b="1" dirty="0">
                    <a:solidFill>
                      <a:schemeClr val="bg1"/>
                    </a:solidFill>
                    <a:cs typeface="Arial" panose="020B0604020202020204" pitchFamily="34" charset="0"/>
                  </a:rPr>
                  <a:t>C</a:t>
                </a:r>
                <a:endParaRPr lang="en-US" sz="1835" b="1" dirty="0">
                  <a:solidFill>
                    <a:schemeClr val="bg1"/>
                  </a:solidFill>
                  <a:cs typeface="Arial" panose="020B0604020202020204" pitchFamily="34" charset="0"/>
                </a:endParaRPr>
              </a:p>
            </p:txBody>
          </p:sp>
          <p:sp>
            <p:nvSpPr>
              <p:cNvPr id="118" name="Oval 83"/>
              <p:cNvSpPr>
                <a:spLocks noChangeArrowheads="1"/>
              </p:cNvSpPr>
              <p:nvPr/>
            </p:nvSpPr>
            <p:spPr bwMode="gray">
              <a:xfrm>
                <a:off x="169084" y="3718807"/>
                <a:ext cx="246888" cy="246888"/>
              </a:xfrm>
              <a:prstGeom prst="ellipse">
                <a:avLst/>
              </a:prstGeom>
              <a:solidFill>
                <a:srgbClr val="FE5817"/>
              </a:solidFill>
              <a:ln w="9525">
                <a:noFill/>
                <a:round/>
              </a:ln>
              <a:effectLst/>
            </p:spPr>
            <p:txBody>
              <a:bodyPr vert="horz" wrap="square" lIns="0" tIns="0" rIns="0" bIns="0" numCol="1" anchor="ctr" anchorCtr="1" compatLnSpc="1"/>
              <a:lstStyle/>
              <a:p>
                <a:pPr defTabSz="1063625"/>
                <a:r>
                  <a:rPr lang="en-US" altLang="zh-CN" sz="1835" b="1" dirty="0">
                    <a:solidFill>
                      <a:schemeClr val="bg1"/>
                    </a:solidFill>
                    <a:cs typeface="Arial" panose="020B0604020202020204" pitchFamily="34" charset="0"/>
                  </a:rPr>
                  <a:t>D</a:t>
                </a:r>
                <a:endParaRPr lang="en-US" sz="1835" b="1" dirty="0">
                  <a:solidFill>
                    <a:schemeClr val="bg1"/>
                  </a:solidFill>
                  <a:cs typeface="Arial" panose="020B0604020202020204" pitchFamily="34" charset="0"/>
                </a:endParaRPr>
              </a:p>
            </p:txBody>
          </p:sp>
        </p:grpSp>
        <p:sp>
          <p:nvSpPr>
            <p:cNvPr id="82" name="Line 4"/>
            <p:cNvSpPr>
              <a:spLocks noChangeShapeType="1"/>
            </p:cNvSpPr>
            <p:nvPr/>
          </p:nvSpPr>
          <p:spPr bwMode="gray">
            <a:xfrm>
              <a:off x="1572029" y="1408009"/>
              <a:ext cx="816797" cy="0"/>
            </a:xfrm>
            <a:prstGeom prst="line">
              <a:avLst/>
            </a:prstGeom>
            <a:noFill/>
            <a:ln w="9525">
              <a:solidFill>
                <a:srgbClr val="FE5817"/>
              </a:solidFill>
              <a:round/>
            </a:ln>
            <a:extLst>
              <a:ext uri="{909E8E84-426E-40DD-AFC4-6F175D3DCCD1}">
                <a14:hiddenFill xmlns:a14="http://schemas.microsoft.com/office/drawing/2010/main">
                  <a:noFill/>
                </a14:hiddenFill>
              </a:ext>
            </a:extLst>
          </p:spPr>
          <p:txBody>
            <a:bodyPr lIns="91431" tIns="45716" rIns="91431" bIns="45716"/>
            <a:lstStyle/>
            <a:p>
              <a:endParaRPr lang="en-US" sz="1835">
                <a:solidFill>
                  <a:srgbClr val="000000"/>
                </a:solidFill>
              </a:endParaRPr>
            </a:p>
          </p:txBody>
        </p:sp>
        <p:sp>
          <p:nvSpPr>
            <p:cNvPr id="83" name="Line 4"/>
            <p:cNvSpPr>
              <a:spLocks noChangeShapeType="1"/>
            </p:cNvSpPr>
            <p:nvPr/>
          </p:nvSpPr>
          <p:spPr bwMode="gray">
            <a:xfrm>
              <a:off x="2526909" y="1408009"/>
              <a:ext cx="822960" cy="0"/>
            </a:xfrm>
            <a:prstGeom prst="line">
              <a:avLst/>
            </a:prstGeom>
            <a:noFill/>
            <a:ln w="9525">
              <a:solidFill>
                <a:srgbClr val="FE5817"/>
              </a:solidFill>
              <a:round/>
            </a:ln>
            <a:extLst>
              <a:ext uri="{909E8E84-426E-40DD-AFC4-6F175D3DCCD1}">
                <a14:hiddenFill xmlns:a14="http://schemas.microsoft.com/office/drawing/2010/main">
                  <a:noFill/>
                </a14:hiddenFill>
              </a:ext>
            </a:extLst>
          </p:spPr>
          <p:txBody>
            <a:bodyPr lIns="91431" tIns="45716" rIns="91431" bIns="45716"/>
            <a:lstStyle/>
            <a:p>
              <a:endParaRPr lang="en-US" sz="1835">
                <a:solidFill>
                  <a:srgbClr val="000000"/>
                </a:solidFill>
              </a:endParaRPr>
            </a:p>
          </p:txBody>
        </p:sp>
        <p:sp>
          <p:nvSpPr>
            <p:cNvPr id="84" name="Line 4"/>
            <p:cNvSpPr>
              <a:spLocks noChangeShapeType="1"/>
            </p:cNvSpPr>
            <p:nvPr/>
          </p:nvSpPr>
          <p:spPr bwMode="gray">
            <a:xfrm>
              <a:off x="3445649" y="1408009"/>
              <a:ext cx="3000371" cy="0"/>
            </a:xfrm>
            <a:prstGeom prst="line">
              <a:avLst/>
            </a:prstGeom>
            <a:noFill/>
            <a:ln w="9525">
              <a:solidFill>
                <a:srgbClr val="FE5817"/>
              </a:solidFill>
              <a:round/>
            </a:ln>
            <a:extLst>
              <a:ext uri="{909E8E84-426E-40DD-AFC4-6F175D3DCCD1}">
                <a14:hiddenFill xmlns:a14="http://schemas.microsoft.com/office/drawing/2010/main">
                  <a:noFill/>
                </a14:hiddenFill>
              </a:ext>
            </a:extLst>
          </p:spPr>
          <p:txBody>
            <a:bodyPr lIns="91431" tIns="45716" rIns="91431" bIns="45716"/>
            <a:lstStyle/>
            <a:p>
              <a:endParaRPr lang="en-US" sz="1835">
                <a:solidFill>
                  <a:srgbClr val="000000"/>
                </a:solidFill>
              </a:endParaRPr>
            </a:p>
          </p:txBody>
        </p:sp>
        <p:sp>
          <p:nvSpPr>
            <p:cNvPr id="85" name="Line 4"/>
            <p:cNvSpPr>
              <a:spLocks noChangeShapeType="1"/>
            </p:cNvSpPr>
            <p:nvPr/>
          </p:nvSpPr>
          <p:spPr bwMode="gray">
            <a:xfrm>
              <a:off x="6584105" y="1408009"/>
              <a:ext cx="2103120" cy="0"/>
            </a:xfrm>
            <a:prstGeom prst="line">
              <a:avLst/>
            </a:prstGeom>
            <a:noFill/>
            <a:ln w="9525">
              <a:solidFill>
                <a:srgbClr val="FE5817"/>
              </a:solidFill>
              <a:round/>
            </a:ln>
            <a:extLst>
              <a:ext uri="{909E8E84-426E-40DD-AFC4-6F175D3DCCD1}">
                <a14:hiddenFill xmlns:a14="http://schemas.microsoft.com/office/drawing/2010/main">
                  <a:noFill/>
                </a14:hiddenFill>
              </a:ext>
            </a:extLst>
          </p:spPr>
          <p:txBody>
            <a:bodyPr lIns="91431" tIns="45716" rIns="91431" bIns="45716"/>
            <a:lstStyle/>
            <a:p>
              <a:endParaRPr lang="en-US" sz="1835">
                <a:solidFill>
                  <a:srgbClr val="000000"/>
                </a:solidFill>
              </a:endParaRPr>
            </a:p>
          </p:txBody>
        </p:sp>
      </p:grpSp>
      <p:sp>
        <p:nvSpPr>
          <p:cNvPr id="90"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t>定期</a:t>
            </a:r>
            <a:r>
              <a:rPr lang="zh-CN" altLang="en-US" sz="2400" dirty="0"/>
              <a:t>汇报模板：跟踪关键工作进展</a:t>
            </a:r>
            <a:endParaRPr lang="zh-CN" altLang="en-US" sz="2400" dirty="0">
              <a:solidFill>
                <a:prstClr val="black"/>
              </a:solidFill>
              <a:latin typeface="华文楷体" panose="02010600040101010101" charset="-122"/>
            </a:endParaRPr>
          </a:p>
        </p:txBody>
      </p:sp>
      <p:pic>
        <p:nvPicPr>
          <p:cNvPr id="86" name="图片 8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732" name="think-cell Slide" r:id="rId2" imgW="12700" imgH="12700" progId="TCLayout.ActiveDocument.1">
                  <p:embed/>
                </p:oleObj>
              </mc:Choice>
              <mc:Fallback>
                <p:oleObj name="think-cell Slide" r:id="rId2" imgW="12700" imgH="12700" progId="TCLayout.ActiveDocument.1">
                  <p:embed/>
                  <p:pic>
                    <p:nvPicPr>
                      <p:cNvPr id="0" name="对象 16"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5" name="矩形 4"/>
          <p:cNvSpPr/>
          <p:nvPr/>
        </p:nvSpPr>
        <p:spPr>
          <a:xfrm>
            <a:off x="522514" y="1121229"/>
            <a:ext cx="2340429" cy="4691742"/>
          </a:xfrm>
          <a:prstGeom prst="rect">
            <a:avLst/>
          </a:prstGeom>
          <a:solidFill>
            <a:srgbClr val="FFFFFF"/>
          </a:solidFill>
          <a:ln w="9525" cap="rnd"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 name="矩形 5"/>
          <p:cNvSpPr/>
          <p:nvPr/>
        </p:nvSpPr>
        <p:spPr>
          <a:xfrm>
            <a:off x="582246" y="1219200"/>
            <a:ext cx="2220965" cy="4517571"/>
          </a:xfrm>
          <a:prstGeom prst="rect">
            <a:avLst/>
          </a:prstGeom>
          <a:solidFill>
            <a:srgbClr val="FFFFFF"/>
          </a:solidFill>
          <a:ln w="9525" cap="rnd" cmpd="sng" algn="ctr">
            <a:solidFill>
              <a:srgbClr val="9A9A9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8" name="ColumnHeader"/>
          <p:cNvSpPr>
            <a:spLocks noChangeArrowheads="1"/>
          </p:cNvSpPr>
          <p:nvPr/>
        </p:nvSpPr>
        <p:spPr bwMode="gray">
          <a:xfrm>
            <a:off x="692889" y="1294040"/>
            <a:ext cx="2052581"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smtClean="0">
                <a:ln>
                  <a:noFill/>
                </a:ln>
                <a:solidFill>
                  <a:srgbClr val="000000"/>
                </a:solidFill>
                <a:effectLst/>
                <a:uLnTx/>
                <a:uFillTx/>
                <a:latin typeface="Arial" panose="020B0604020202020204"/>
                <a:ea typeface="华文楷体" panose="02010600040101010101" charset="-122"/>
                <a:cs typeface="+mn-ea"/>
                <a:sym typeface="+mn-lt"/>
              </a:rPr>
              <a:t>痛点</a:t>
            </a:r>
            <a:endParaRPr kumimoji="0" lang="zh-CN" altLang="en-US" sz="160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14" name="矩形 13"/>
          <p:cNvSpPr/>
          <p:nvPr/>
        </p:nvSpPr>
        <p:spPr>
          <a:xfrm>
            <a:off x="8980714" y="1121229"/>
            <a:ext cx="2819400" cy="4691742"/>
          </a:xfrm>
          <a:prstGeom prst="rect">
            <a:avLst/>
          </a:prstGeom>
          <a:solidFill>
            <a:srgbClr val="FFFFFF"/>
          </a:solidFill>
          <a:ln w="9525" cap="rnd"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15" name="矩形 14"/>
          <p:cNvSpPr/>
          <p:nvPr/>
        </p:nvSpPr>
        <p:spPr>
          <a:xfrm>
            <a:off x="9052670" y="1219200"/>
            <a:ext cx="2675487" cy="4517571"/>
          </a:xfrm>
          <a:prstGeom prst="rect">
            <a:avLst/>
          </a:prstGeom>
          <a:solidFill>
            <a:srgbClr val="FFFFFF"/>
          </a:solidFill>
          <a:ln w="9525" cap="rnd" cmpd="sng" algn="ctr">
            <a:solidFill>
              <a:srgbClr val="9A9A9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16" name="ColumnHeader"/>
          <p:cNvSpPr>
            <a:spLocks noChangeArrowheads="1"/>
          </p:cNvSpPr>
          <p:nvPr/>
        </p:nvSpPr>
        <p:spPr bwMode="gray">
          <a:xfrm>
            <a:off x="9185956" y="1294040"/>
            <a:ext cx="2472644"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X</a:t>
            </a:r>
            <a:endParaRPr kumimoji="0" lang="zh-CN" altLang="en-US" sz="160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39" name="矩形 38"/>
          <p:cNvSpPr/>
          <p:nvPr/>
        </p:nvSpPr>
        <p:spPr>
          <a:xfrm>
            <a:off x="3167744" y="1121229"/>
            <a:ext cx="5355770" cy="4691742"/>
          </a:xfrm>
          <a:prstGeom prst="rect">
            <a:avLst/>
          </a:prstGeom>
          <a:solidFill>
            <a:srgbClr val="FFFFFF"/>
          </a:solidFill>
          <a:ln w="9525" cap="rnd" cmpd="sng" algn="ctr">
            <a:solidFill>
              <a:srgbClr val="FE581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41" name="等腰三角形 40"/>
          <p:cNvSpPr/>
          <p:nvPr/>
        </p:nvSpPr>
        <p:spPr>
          <a:xfrm rot="5400000">
            <a:off x="7712528" y="3477988"/>
            <a:ext cx="2122715" cy="195944"/>
          </a:xfrm>
          <a:prstGeom prst="triangl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sp>
        <p:nvSpPr>
          <p:cNvPr id="42" name="ColumnHeader"/>
          <p:cNvSpPr>
            <a:spLocks noChangeArrowheads="1"/>
          </p:cNvSpPr>
          <p:nvPr/>
        </p:nvSpPr>
        <p:spPr bwMode="gray">
          <a:xfrm>
            <a:off x="3316346" y="1304925"/>
            <a:ext cx="5065654"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srgbClr val="000000"/>
                </a:solidFill>
                <a:effectLst/>
                <a:uLnTx/>
                <a:uFillTx/>
                <a:latin typeface="Arial" panose="020B0604020202020204"/>
                <a:ea typeface="华文楷体" panose="02010600040101010101" charset="-122"/>
                <a:cs typeface="+mn-ea"/>
                <a:sym typeface="+mn-lt"/>
              </a:rPr>
              <a:t>XXXX</a:t>
            </a:r>
            <a:endParaRPr kumimoji="0" lang="zh-CN" altLang="en-US" sz="160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54" name="矩形 53"/>
          <p:cNvSpPr/>
          <p:nvPr/>
        </p:nvSpPr>
        <p:spPr>
          <a:xfrm>
            <a:off x="9405256" y="2964321"/>
            <a:ext cx="1970314" cy="276999"/>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X</a:t>
            </a:r>
            <a:endParaRPr kumimoji="0"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5" name="矩形 54"/>
          <p:cNvSpPr/>
          <p:nvPr/>
        </p:nvSpPr>
        <p:spPr>
          <a:xfrm>
            <a:off x="9405256" y="4727806"/>
            <a:ext cx="1970314" cy="276999"/>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ea"/>
                <a:sym typeface="+mn-lt"/>
              </a:rPr>
              <a:t>XXX</a:t>
            </a:r>
            <a:endParaRPr kumimoji="0"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6" name="Freeform 17"/>
          <p:cNvSpPr>
            <a:spLocks noEditPoints="1"/>
          </p:cNvSpPr>
          <p:nvPr/>
        </p:nvSpPr>
        <p:spPr bwMode="auto">
          <a:xfrm>
            <a:off x="9934668" y="3864428"/>
            <a:ext cx="853074" cy="823635"/>
          </a:xfrm>
          <a:custGeom>
            <a:avLst/>
            <a:gdLst>
              <a:gd name="T0" fmla="*/ 3036 w 3248"/>
              <a:gd name="T1" fmla="*/ 977 h 3135"/>
              <a:gd name="T2" fmla="*/ 3111 w 3248"/>
              <a:gd name="T3" fmla="*/ 742 h 3135"/>
              <a:gd name="T4" fmla="*/ 3055 w 3248"/>
              <a:gd name="T5" fmla="*/ 604 h 3135"/>
              <a:gd name="T6" fmla="*/ 2841 w 3248"/>
              <a:gd name="T7" fmla="*/ 483 h 3135"/>
              <a:gd name="T8" fmla="*/ 2815 w 3248"/>
              <a:gd name="T9" fmla="*/ 175 h 3135"/>
              <a:gd name="T10" fmla="*/ 2506 w 3248"/>
              <a:gd name="T11" fmla="*/ 248 h 3135"/>
              <a:gd name="T12" fmla="*/ 2313 w 3248"/>
              <a:gd name="T13" fmla="*/ 100 h 3135"/>
              <a:gd name="T14" fmla="*/ 2181 w 3248"/>
              <a:gd name="T15" fmla="*/ 98 h 3135"/>
              <a:gd name="T16" fmla="*/ 1984 w 3248"/>
              <a:gd name="T17" fmla="*/ 232 h 3135"/>
              <a:gd name="T18" fmla="*/ 1678 w 3248"/>
              <a:gd name="T19" fmla="*/ 161 h 3135"/>
              <a:gd name="T20" fmla="*/ 1736 w 3248"/>
              <a:gd name="T21" fmla="*/ 505 h 3135"/>
              <a:gd name="T22" fmla="*/ 2188 w 3248"/>
              <a:gd name="T23" fmla="*/ 444 h 3135"/>
              <a:gd name="T24" fmla="*/ 2452 w 3248"/>
              <a:gd name="T25" fmla="*/ 820 h 3135"/>
              <a:gd name="T26" fmla="*/ 2649 w 3248"/>
              <a:gd name="T27" fmla="*/ 1433 h 3135"/>
              <a:gd name="T28" fmla="*/ 2921 w 3248"/>
              <a:gd name="T29" fmla="*/ 1618 h 3135"/>
              <a:gd name="T30" fmla="*/ 3046 w 3248"/>
              <a:gd name="T31" fmla="*/ 1439 h 3135"/>
              <a:gd name="T32" fmla="*/ 3104 w 3248"/>
              <a:gd name="T33" fmla="*/ 1302 h 3135"/>
              <a:gd name="T34" fmla="*/ 3148 w 3248"/>
              <a:gd name="T35" fmla="*/ 1089 h 3135"/>
              <a:gd name="T36" fmla="*/ 2438 w 3248"/>
              <a:gd name="T37" fmla="*/ 1336 h 3135"/>
              <a:gd name="T38" fmla="*/ 2568 w 3248"/>
              <a:gd name="T39" fmla="*/ 1045 h 3135"/>
              <a:gd name="T40" fmla="*/ 2090 w 3248"/>
              <a:gd name="T41" fmla="*/ 864 h 3135"/>
              <a:gd name="T42" fmla="*/ 2054 w 3248"/>
              <a:gd name="T43" fmla="*/ 553 h 3135"/>
              <a:gd name="T44" fmla="*/ 1539 w 3248"/>
              <a:gd name="T45" fmla="*/ 630 h 3135"/>
              <a:gd name="T46" fmla="*/ 1361 w 3248"/>
              <a:gd name="T47" fmla="*/ 366 h 3135"/>
              <a:gd name="T48" fmla="*/ 967 w 3248"/>
              <a:gd name="T49" fmla="*/ 696 h 3135"/>
              <a:gd name="T50" fmla="*/ 676 w 3248"/>
              <a:gd name="T51" fmla="*/ 565 h 3135"/>
              <a:gd name="T52" fmla="*/ 492 w 3248"/>
              <a:gd name="T53" fmla="*/ 1051 h 3135"/>
              <a:gd name="T54" fmla="*/ 175 w 3248"/>
              <a:gd name="T55" fmla="*/ 1084 h 3135"/>
              <a:gd name="T56" fmla="*/ 261 w 3248"/>
              <a:gd name="T57" fmla="*/ 1608 h 3135"/>
              <a:gd name="T58" fmla="*/ 0 w 3248"/>
              <a:gd name="T59" fmla="*/ 1783 h 3135"/>
              <a:gd name="T60" fmla="*/ 335 w 3248"/>
              <a:gd name="T61" fmla="*/ 2182 h 3135"/>
              <a:gd name="T62" fmla="*/ 199 w 3248"/>
              <a:gd name="T63" fmla="*/ 2477 h 3135"/>
              <a:gd name="T64" fmla="*/ 691 w 3248"/>
              <a:gd name="T65" fmla="*/ 2648 h 3135"/>
              <a:gd name="T66" fmla="*/ 717 w 3248"/>
              <a:gd name="T67" fmla="*/ 2978 h 3135"/>
              <a:gd name="T68" fmla="*/ 1229 w 3248"/>
              <a:gd name="T69" fmla="*/ 2875 h 3135"/>
              <a:gd name="T70" fmla="*/ 1404 w 3248"/>
              <a:gd name="T71" fmla="*/ 3135 h 3135"/>
              <a:gd name="T72" fmla="*/ 1812 w 3248"/>
              <a:gd name="T73" fmla="*/ 2801 h 3135"/>
              <a:gd name="T74" fmla="*/ 2106 w 3248"/>
              <a:gd name="T75" fmla="*/ 2936 h 3135"/>
              <a:gd name="T76" fmla="*/ 2275 w 3248"/>
              <a:gd name="T77" fmla="*/ 2450 h 3135"/>
              <a:gd name="T78" fmla="*/ 2598 w 3248"/>
              <a:gd name="T79" fmla="*/ 2421 h 3135"/>
              <a:gd name="T80" fmla="*/ 2504 w 3248"/>
              <a:gd name="T81" fmla="*/ 1919 h 3135"/>
              <a:gd name="T82" fmla="*/ 2767 w 3248"/>
              <a:gd name="T83" fmla="*/ 1741 h 3135"/>
              <a:gd name="T84" fmla="*/ 578 w 3248"/>
              <a:gd name="T85" fmla="*/ 1750 h 3135"/>
              <a:gd name="T86" fmla="*/ 1384 w 3248"/>
              <a:gd name="T87" fmla="*/ 2557 h 3135"/>
              <a:gd name="T88" fmla="*/ 1384 w 3248"/>
              <a:gd name="T89" fmla="*/ 2356 h 3135"/>
              <a:gd name="T90" fmla="*/ 1384 w 3248"/>
              <a:gd name="T91" fmla="*/ 2193 h 3135"/>
              <a:gd name="T92" fmla="*/ 1826 w 3248"/>
              <a:gd name="T93" fmla="*/ 1750 h 3135"/>
              <a:gd name="T94" fmla="*/ 1384 w 3248"/>
              <a:gd name="T95" fmla="*/ 2193 h 3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8" h="3135">
                <a:moveTo>
                  <a:pt x="3148" y="1089"/>
                </a:moveTo>
                <a:cubicBezTo>
                  <a:pt x="3037" y="1066"/>
                  <a:pt x="3037" y="1066"/>
                  <a:pt x="3037" y="1066"/>
                </a:cubicBezTo>
                <a:cubicBezTo>
                  <a:pt x="3039" y="1036"/>
                  <a:pt x="3037" y="1007"/>
                  <a:pt x="3036" y="977"/>
                </a:cubicBezTo>
                <a:cubicBezTo>
                  <a:pt x="3150" y="956"/>
                  <a:pt x="3150" y="956"/>
                  <a:pt x="3150" y="956"/>
                </a:cubicBezTo>
                <a:cubicBezTo>
                  <a:pt x="3209" y="945"/>
                  <a:pt x="3248" y="888"/>
                  <a:pt x="3237" y="829"/>
                </a:cubicBezTo>
                <a:cubicBezTo>
                  <a:pt x="3227" y="770"/>
                  <a:pt x="3170" y="731"/>
                  <a:pt x="3111" y="742"/>
                </a:cubicBezTo>
                <a:cubicBezTo>
                  <a:pt x="2997" y="763"/>
                  <a:pt x="2997" y="763"/>
                  <a:pt x="2997" y="763"/>
                </a:cubicBezTo>
                <a:cubicBezTo>
                  <a:pt x="2986" y="729"/>
                  <a:pt x="2974" y="697"/>
                  <a:pt x="2960" y="666"/>
                </a:cubicBezTo>
                <a:cubicBezTo>
                  <a:pt x="3055" y="604"/>
                  <a:pt x="3055" y="604"/>
                  <a:pt x="3055" y="604"/>
                </a:cubicBezTo>
                <a:cubicBezTo>
                  <a:pt x="3106" y="571"/>
                  <a:pt x="3120" y="503"/>
                  <a:pt x="3086" y="453"/>
                </a:cubicBezTo>
                <a:cubicBezTo>
                  <a:pt x="3053" y="402"/>
                  <a:pt x="2986" y="388"/>
                  <a:pt x="2935" y="422"/>
                </a:cubicBezTo>
                <a:cubicBezTo>
                  <a:pt x="2841" y="483"/>
                  <a:pt x="2841" y="483"/>
                  <a:pt x="2841" y="483"/>
                </a:cubicBezTo>
                <a:cubicBezTo>
                  <a:pt x="2822" y="460"/>
                  <a:pt x="2802" y="438"/>
                  <a:pt x="2780" y="418"/>
                </a:cubicBezTo>
                <a:cubicBezTo>
                  <a:pt x="2843" y="326"/>
                  <a:pt x="2843" y="326"/>
                  <a:pt x="2843" y="326"/>
                </a:cubicBezTo>
                <a:cubicBezTo>
                  <a:pt x="2877" y="277"/>
                  <a:pt x="2864" y="209"/>
                  <a:pt x="2815" y="175"/>
                </a:cubicBezTo>
                <a:cubicBezTo>
                  <a:pt x="2766" y="141"/>
                  <a:pt x="2698" y="153"/>
                  <a:pt x="2663" y="202"/>
                </a:cubicBezTo>
                <a:cubicBezTo>
                  <a:pt x="2602" y="291"/>
                  <a:pt x="2602" y="291"/>
                  <a:pt x="2602" y="291"/>
                </a:cubicBezTo>
                <a:cubicBezTo>
                  <a:pt x="2570" y="275"/>
                  <a:pt x="2539" y="260"/>
                  <a:pt x="2506" y="248"/>
                </a:cubicBezTo>
                <a:cubicBezTo>
                  <a:pt x="2527" y="144"/>
                  <a:pt x="2527" y="144"/>
                  <a:pt x="2527" y="144"/>
                </a:cubicBezTo>
                <a:cubicBezTo>
                  <a:pt x="2539" y="85"/>
                  <a:pt x="2501" y="27"/>
                  <a:pt x="2442" y="15"/>
                </a:cubicBezTo>
                <a:cubicBezTo>
                  <a:pt x="2384" y="3"/>
                  <a:pt x="2325" y="41"/>
                  <a:pt x="2313" y="100"/>
                </a:cubicBezTo>
                <a:cubicBezTo>
                  <a:pt x="2293" y="200"/>
                  <a:pt x="2293" y="200"/>
                  <a:pt x="2293" y="200"/>
                </a:cubicBezTo>
                <a:cubicBezTo>
                  <a:pt x="2262" y="197"/>
                  <a:pt x="2231" y="195"/>
                  <a:pt x="2199" y="196"/>
                </a:cubicBezTo>
                <a:cubicBezTo>
                  <a:pt x="2181" y="98"/>
                  <a:pt x="2181" y="98"/>
                  <a:pt x="2181" y="98"/>
                </a:cubicBezTo>
                <a:cubicBezTo>
                  <a:pt x="2170" y="39"/>
                  <a:pt x="2113" y="0"/>
                  <a:pt x="2054" y="11"/>
                </a:cubicBezTo>
                <a:cubicBezTo>
                  <a:pt x="1995" y="22"/>
                  <a:pt x="1956" y="78"/>
                  <a:pt x="1967" y="138"/>
                </a:cubicBezTo>
                <a:cubicBezTo>
                  <a:pt x="1984" y="232"/>
                  <a:pt x="1984" y="232"/>
                  <a:pt x="1984" y="232"/>
                </a:cubicBezTo>
                <a:cubicBezTo>
                  <a:pt x="1948" y="242"/>
                  <a:pt x="1913" y="254"/>
                  <a:pt x="1879" y="269"/>
                </a:cubicBezTo>
                <a:cubicBezTo>
                  <a:pt x="1829" y="192"/>
                  <a:pt x="1829" y="192"/>
                  <a:pt x="1829" y="192"/>
                </a:cubicBezTo>
                <a:cubicBezTo>
                  <a:pt x="1795" y="142"/>
                  <a:pt x="1728" y="128"/>
                  <a:pt x="1678" y="161"/>
                </a:cubicBezTo>
                <a:cubicBezTo>
                  <a:pt x="1632" y="192"/>
                  <a:pt x="1618" y="251"/>
                  <a:pt x="1641" y="299"/>
                </a:cubicBezTo>
                <a:cubicBezTo>
                  <a:pt x="1694" y="352"/>
                  <a:pt x="1728" y="424"/>
                  <a:pt x="1731" y="504"/>
                </a:cubicBezTo>
                <a:cubicBezTo>
                  <a:pt x="1733" y="505"/>
                  <a:pt x="1735" y="505"/>
                  <a:pt x="1736" y="505"/>
                </a:cubicBezTo>
                <a:cubicBezTo>
                  <a:pt x="1794" y="425"/>
                  <a:pt x="1887" y="376"/>
                  <a:pt x="1988" y="376"/>
                </a:cubicBezTo>
                <a:cubicBezTo>
                  <a:pt x="2041" y="376"/>
                  <a:pt x="2094" y="390"/>
                  <a:pt x="2141" y="417"/>
                </a:cubicBezTo>
                <a:cubicBezTo>
                  <a:pt x="2188" y="444"/>
                  <a:pt x="2188" y="444"/>
                  <a:pt x="2188" y="444"/>
                </a:cubicBezTo>
                <a:cubicBezTo>
                  <a:pt x="2328" y="525"/>
                  <a:pt x="2381" y="700"/>
                  <a:pt x="2312" y="844"/>
                </a:cubicBezTo>
                <a:cubicBezTo>
                  <a:pt x="2314" y="846"/>
                  <a:pt x="2316" y="848"/>
                  <a:pt x="2318" y="851"/>
                </a:cubicBezTo>
                <a:cubicBezTo>
                  <a:pt x="2360" y="830"/>
                  <a:pt x="2406" y="820"/>
                  <a:pt x="2452" y="820"/>
                </a:cubicBezTo>
                <a:cubicBezTo>
                  <a:pt x="2563" y="820"/>
                  <a:pt x="2665" y="879"/>
                  <a:pt x="2720" y="974"/>
                </a:cubicBezTo>
                <a:cubicBezTo>
                  <a:pt x="2747" y="1021"/>
                  <a:pt x="2747" y="1021"/>
                  <a:pt x="2747" y="1021"/>
                </a:cubicBezTo>
                <a:cubicBezTo>
                  <a:pt x="2829" y="1163"/>
                  <a:pt x="2784" y="1344"/>
                  <a:pt x="2649" y="1433"/>
                </a:cubicBezTo>
                <a:cubicBezTo>
                  <a:pt x="2649" y="1435"/>
                  <a:pt x="2650" y="1436"/>
                  <a:pt x="2650" y="1437"/>
                </a:cubicBezTo>
                <a:cubicBezTo>
                  <a:pt x="2765" y="1443"/>
                  <a:pt x="2862" y="1512"/>
                  <a:pt x="2910" y="1610"/>
                </a:cubicBezTo>
                <a:cubicBezTo>
                  <a:pt x="2921" y="1618"/>
                  <a:pt x="2921" y="1618"/>
                  <a:pt x="2921" y="1618"/>
                </a:cubicBezTo>
                <a:cubicBezTo>
                  <a:pt x="2946" y="1635"/>
                  <a:pt x="2975" y="1641"/>
                  <a:pt x="3003" y="1636"/>
                </a:cubicBezTo>
                <a:cubicBezTo>
                  <a:pt x="3030" y="1631"/>
                  <a:pt x="3056" y="1615"/>
                  <a:pt x="3073" y="1591"/>
                </a:cubicBezTo>
                <a:cubicBezTo>
                  <a:pt x="3107" y="1541"/>
                  <a:pt x="3095" y="1473"/>
                  <a:pt x="3046" y="1439"/>
                </a:cubicBezTo>
                <a:cubicBezTo>
                  <a:pt x="2954" y="1376"/>
                  <a:pt x="2954" y="1376"/>
                  <a:pt x="2954" y="1376"/>
                </a:cubicBezTo>
                <a:cubicBezTo>
                  <a:pt x="2970" y="1345"/>
                  <a:pt x="2982" y="1312"/>
                  <a:pt x="2993" y="1279"/>
                </a:cubicBezTo>
                <a:cubicBezTo>
                  <a:pt x="3104" y="1302"/>
                  <a:pt x="3104" y="1302"/>
                  <a:pt x="3104" y="1302"/>
                </a:cubicBezTo>
                <a:cubicBezTo>
                  <a:pt x="3118" y="1305"/>
                  <a:pt x="3133" y="1305"/>
                  <a:pt x="3146" y="1302"/>
                </a:cubicBezTo>
                <a:cubicBezTo>
                  <a:pt x="3188" y="1295"/>
                  <a:pt x="3224" y="1262"/>
                  <a:pt x="3233" y="1217"/>
                </a:cubicBezTo>
                <a:cubicBezTo>
                  <a:pt x="3244" y="1158"/>
                  <a:pt x="3207" y="1101"/>
                  <a:pt x="3148" y="1089"/>
                </a:cubicBezTo>
                <a:close/>
                <a:moveTo>
                  <a:pt x="2634" y="1608"/>
                </a:moveTo>
                <a:cubicBezTo>
                  <a:pt x="2506" y="1608"/>
                  <a:pt x="2506" y="1608"/>
                  <a:pt x="2506" y="1608"/>
                </a:cubicBezTo>
                <a:cubicBezTo>
                  <a:pt x="2494" y="1518"/>
                  <a:pt x="2471" y="1419"/>
                  <a:pt x="2438" y="1336"/>
                </a:cubicBezTo>
                <a:cubicBezTo>
                  <a:pt x="2546" y="1274"/>
                  <a:pt x="2546" y="1274"/>
                  <a:pt x="2546" y="1274"/>
                </a:cubicBezTo>
                <a:cubicBezTo>
                  <a:pt x="2609" y="1237"/>
                  <a:pt x="2631" y="1156"/>
                  <a:pt x="2595" y="1093"/>
                </a:cubicBezTo>
                <a:cubicBezTo>
                  <a:pt x="2568" y="1045"/>
                  <a:pt x="2568" y="1045"/>
                  <a:pt x="2568" y="1045"/>
                </a:cubicBezTo>
                <a:cubicBezTo>
                  <a:pt x="2531" y="982"/>
                  <a:pt x="2450" y="960"/>
                  <a:pt x="2386" y="997"/>
                </a:cubicBezTo>
                <a:cubicBezTo>
                  <a:pt x="2280" y="1058"/>
                  <a:pt x="2280" y="1058"/>
                  <a:pt x="2280" y="1058"/>
                </a:cubicBezTo>
                <a:cubicBezTo>
                  <a:pt x="2225" y="986"/>
                  <a:pt x="2161" y="921"/>
                  <a:pt x="2090" y="864"/>
                </a:cubicBezTo>
                <a:cubicBezTo>
                  <a:pt x="2149" y="762"/>
                  <a:pt x="2149" y="762"/>
                  <a:pt x="2149" y="762"/>
                </a:cubicBezTo>
                <a:cubicBezTo>
                  <a:pt x="2185" y="698"/>
                  <a:pt x="2164" y="617"/>
                  <a:pt x="2100" y="580"/>
                </a:cubicBezTo>
                <a:cubicBezTo>
                  <a:pt x="2054" y="553"/>
                  <a:pt x="2054" y="553"/>
                  <a:pt x="2054" y="553"/>
                </a:cubicBezTo>
                <a:cubicBezTo>
                  <a:pt x="1990" y="517"/>
                  <a:pt x="1909" y="538"/>
                  <a:pt x="1872" y="602"/>
                </a:cubicBezTo>
                <a:cubicBezTo>
                  <a:pt x="1815" y="701"/>
                  <a:pt x="1815" y="701"/>
                  <a:pt x="1815" y="701"/>
                </a:cubicBezTo>
                <a:cubicBezTo>
                  <a:pt x="1733" y="667"/>
                  <a:pt x="1629" y="644"/>
                  <a:pt x="1539" y="630"/>
                </a:cubicBezTo>
                <a:cubicBezTo>
                  <a:pt x="1539" y="499"/>
                  <a:pt x="1539" y="499"/>
                  <a:pt x="1539" y="499"/>
                </a:cubicBezTo>
                <a:cubicBezTo>
                  <a:pt x="1539" y="426"/>
                  <a:pt x="1479" y="366"/>
                  <a:pt x="1406" y="366"/>
                </a:cubicBezTo>
                <a:cubicBezTo>
                  <a:pt x="1361" y="366"/>
                  <a:pt x="1361" y="366"/>
                  <a:pt x="1361" y="366"/>
                </a:cubicBezTo>
                <a:cubicBezTo>
                  <a:pt x="1288" y="366"/>
                  <a:pt x="1229" y="426"/>
                  <a:pt x="1229" y="499"/>
                </a:cubicBezTo>
                <a:cubicBezTo>
                  <a:pt x="1229" y="626"/>
                  <a:pt x="1229" y="626"/>
                  <a:pt x="1229" y="626"/>
                </a:cubicBezTo>
                <a:cubicBezTo>
                  <a:pt x="1135" y="638"/>
                  <a:pt x="1052" y="662"/>
                  <a:pt x="967" y="696"/>
                </a:cubicBezTo>
                <a:cubicBezTo>
                  <a:pt x="904" y="586"/>
                  <a:pt x="904" y="586"/>
                  <a:pt x="904" y="586"/>
                </a:cubicBezTo>
                <a:cubicBezTo>
                  <a:pt x="867" y="523"/>
                  <a:pt x="786" y="501"/>
                  <a:pt x="723" y="538"/>
                </a:cubicBezTo>
                <a:cubicBezTo>
                  <a:pt x="676" y="565"/>
                  <a:pt x="676" y="565"/>
                  <a:pt x="676" y="565"/>
                </a:cubicBezTo>
                <a:cubicBezTo>
                  <a:pt x="612" y="601"/>
                  <a:pt x="591" y="683"/>
                  <a:pt x="627" y="746"/>
                </a:cubicBezTo>
                <a:cubicBezTo>
                  <a:pt x="690" y="854"/>
                  <a:pt x="690" y="854"/>
                  <a:pt x="690" y="854"/>
                </a:cubicBezTo>
                <a:cubicBezTo>
                  <a:pt x="616" y="912"/>
                  <a:pt x="549" y="977"/>
                  <a:pt x="492" y="1051"/>
                </a:cubicBezTo>
                <a:cubicBezTo>
                  <a:pt x="383" y="988"/>
                  <a:pt x="383" y="988"/>
                  <a:pt x="383" y="988"/>
                </a:cubicBezTo>
                <a:cubicBezTo>
                  <a:pt x="320" y="951"/>
                  <a:pt x="238" y="973"/>
                  <a:pt x="202" y="1036"/>
                </a:cubicBezTo>
                <a:cubicBezTo>
                  <a:pt x="175" y="1084"/>
                  <a:pt x="175" y="1084"/>
                  <a:pt x="175" y="1084"/>
                </a:cubicBezTo>
                <a:cubicBezTo>
                  <a:pt x="138" y="1147"/>
                  <a:pt x="160" y="1228"/>
                  <a:pt x="223" y="1265"/>
                </a:cubicBezTo>
                <a:cubicBezTo>
                  <a:pt x="332" y="1328"/>
                  <a:pt x="332" y="1328"/>
                  <a:pt x="332" y="1328"/>
                </a:cubicBezTo>
                <a:cubicBezTo>
                  <a:pt x="297" y="1412"/>
                  <a:pt x="274" y="1514"/>
                  <a:pt x="261" y="1608"/>
                </a:cubicBezTo>
                <a:cubicBezTo>
                  <a:pt x="132" y="1608"/>
                  <a:pt x="132" y="1608"/>
                  <a:pt x="132" y="1608"/>
                </a:cubicBezTo>
                <a:cubicBezTo>
                  <a:pt x="60" y="1608"/>
                  <a:pt x="0" y="1656"/>
                  <a:pt x="0" y="1729"/>
                </a:cubicBezTo>
                <a:cubicBezTo>
                  <a:pt x="0" y="1783"/>
                  <a:pt x="0" y="1783"/>
                  <a:pt x="0" y="1783"/>
                </a:cubicBezTo>
                <a:cubicBezTo>
                  <a:pt x="0" y="1856"/>
                  <a:pt x="60" y="1918"/>
                  <a:pt x="132" y="1918"/>
                </a:cubicBezTo>
                <a:cubicBezTo>
                  <a:pt x="263" y="1918"/>
                  <a:pt x="263" y="1918"/>
                  <a:pt x="263" y="1918"/>
                </a:cubicBezTo>
                <a:cubicBezTo>
                  <a:pt x="277" y="2011"/>
                  <a:pt x="300" y="2098"/>
                  <a:pt x="335" y="2182"/>
                </a:cubicBezTo>
                <a:cubicBezTo>
                  <a:pt x="220" y="2249"/>
                  <a:pt x="220" y="2249"/>
                  <a:pt x="220" y="2249"/>
                </a:cubicBezTo>
                <a:cubicBezTo>
                  <a:pt x="157" y="2285"/>
                  <a:pt x="135" y="2366"/>
                  <a:pt x="171" y="2429"/>
                </a:cubicBezTo>
                <a:cubicBezTo>
                  <a:pt x="199" y="2477"/>
                  <a:pt x="199" y="2477"/>
                  <a:pt x="199" y="2477"/>
                </a:cubicBezTo>
                <a:cubicBezTo>
                  <a:pt x="235" y="2540"/>
                  <a:pt x="316" y="2562"/>
                  <a:pt x="379" y="2525"/>
                </a:cubicBezTo>
                <a:cubicBezTo>
                  <a:pt x="497" y="2457"/>
                  <a:pt x="497" y="2457"/>
                  <a:pt x="497" y="2457"/>
                </a:cubicBezTo>
                <a:cubicBezTo>
                  <a:pt x="554" y="2529"/>
                  <a:pt x="619" y="2592"/>
                  <a:pt x="691" y="2648"/>
                </a:cubicBezTo>
                <a:cubicBezTo>
                  <a:pt x="621" y="2770"/>
                  <a:pt x="621" y="2770"/>
                  <a:pt x="621" y="2770"/>
                </a:cubicBezTo>
                <a:cubicBezTo>
                  <a:pt x="585" y="2833"/>
                  <a:pt x="606" y="2914"/>
                  <a:pt x="670" y="2951"/>
                </a:cubicBezTo>
                <a:cubicBezTo>
                  <a:pt x="717" y="2978"/>
                  <a:pt x="717" y="2978"/>
                  <a:pt x="717" y="2978"/>
                </a:cubicBezTo>
                <a:cubicBezTo>
                  <a:pt x="780" y="3014"/>
                  <a:pt x="862" y="2993"/>
                  <a:pt x="898" y="2930"/>
                </a:cubicBezTo>
                <a:cubicBezTo>
                  <a:pt x="969" y="2806"/>
                  <a:pt x="969" y="2806"/>
                  <a:pt x="969" y="2806"/>
                </a:cubicBezTo>
                <a:cubicBezTo>
                  <a:pt x="1054" y="2839"/>
                  <a:pt x="1136" y="2863"/>
                  <a:pt x="1229" y="2875"/>
                </a:cubicBezTo>
                <a:cubicBezTo>
                  <a:pt x="1229" y="3002"/>
                  <a:pt x="1229" y="3002"/>
                  <a:pt x="1229" y="3002"/>
                </a:cubicBezTo>
                <a:cubicBezTo>
                  <a:pt x="1229" y="3075"/>
                  <a:pt x="1288" y="3135"/>
                  <a:pt x="1361" y="3135"/>
                </a:cubicBezTo>
                <a:cubicBezTo>
                  <a:pt x="1404" y="3135"/>
                  <a:pt x="1404" y="3135"/>
                  <a:pt x="1404" y="3135"/>
                </a:cubicBezTo>
                <a:cubicBezTo>
                  <a:pt x="1477" y="3135"/>
                  <a:pt x="1537" y="3075"/>
                  <a:pt x="1537" y="3002"/>
                </a:cubicBezTo>
                <a:cubicBezTo>
                  <a:pt x="1537" y="2871"/>
                  <a:pt x="1537" y="2871"/>
                  <a:pt x="1537" y="2871"/>
                </a:cubicBezTo>
                <a:cubicBezTo>
                  <a:pt x="1626" y="2857"/>
                  <a:pt x="1731" y="2834"/>
                  <a:pt x="1812" y="2801"/>
                </a:cubicBezTo>
                <a:cubicBezTo>
                  <a:pt x="1878" y="2914"/>
                  <a:pt x="1878" y="2914"/>
                  <a:pt x="1878" y="2914"/>
                </a:cubicBezTo>
                <a:cubicBezTo>
                  <a:pt x="1914" y="2977"/>
                  <a:pt x="1996" y="2999"/>
                  <a:pt x="2059" y="2963"/>
                </a:cubicBezTo>
                <a:cubicBezTo>
                  <a:pt x="2106" y="2936"/>
                  <a:pt x="2106" y="2936"/>
                  <a:pt x="2106" y="2936"/>
                </a:cubicBezTo>
                <a:cubicBezTo>
                  <a:pt x="2169" y="2899"/>
                  <a:pt x="2191" y="2817"/>
                  <a:pt x="2155" y="2754"/>
                </a:cubicBezTo>
                <a:cubicBezTo>
                  <a:pt x="2088" y="2639"/>
                  <a:pt x="2088" y="2639"/>
                  <a:pt x="2088" y="2639"/>
                </a:cubicBezTo>
                <a:cubicBezTo>
                  <a:pt x="2158" y="2583"/>
                  <a:pt x="2220" y="2520"/>
                  <a:pt x="2275" y="2450"/>
                </a:cubicBezTo>
                <a:cubicBezTo>
                  <a:pt x="2390" y="2517"/>
                  <a:pt x="2390" y="2517"/>
                  <a:pt x="2390" y="2517"/>
                </a:cubicBezTo>
                <a:cubicBezTo>
                  <a:pt x="2453" y="2553"/>
                  <a:pt x="2534" y="2531"/>
                  <a:pt x="2571" y="2468"/>
                </a:cubicBezTo>
                <a:cubicBezTo>
                  <a:pt x="2598" y="2421"/>
                  <a:pt x="2598" y="2421"/>
                  <a:pt x="2598" y="2421"/>
                </a:cubicBezTo>
                <a:cubicBezTo>
                  <a:pt x="2634" y="2357"/>
                  <a:pt x="2613" y="2276"/>
                  <a:pt x="2550" y="2239"/>
                </a:cubicBezTo>
                <a:cubicBezTo>
                  <a:pt x="2435" y="2173"/>
                  <a:pt x="2435" y="2173"/>
                  <a:pt x="2435" y="2173"/>
                </a:cubicBezTo>
                <a:cubicBezTo>
                  <a:pt x="2468" y="2092"/>
                  <a:pt x="2491" y="2008"/>
                  <a:pt x="2504" y="1919"/>
                </a:cubicBezTo>
                <a:cubicBezTo>
                  <a:pt x="2634" y="1919"/>
                  <a:pt x="2634" y="1919"/>
                  <a:pt x="2634" y="1919"/>
                </a:cubicBezTo>
                <a:cubicBezTo>
                  <a:pt x="2707" y="1918"/>
                  <a:pt x="2767" y="1856"/>
                  <a:pt x="2767" y="1783"/>
                </a:cubicBezTo>
                <a:cubicBezTo>
                  <a:pt x="2767" y="1741"/>
                  <a:pt x="2767" y="1741"/>
                  <a:pt x="2767" y="1741"/>
                </a:cubicBezTo>
                <a:cubicBezTo>
                  <a:pt x="2767" y="1668"/>
                  <a:pt x="2707" y="1608"/>
                  <a:pt x="2634" y="1608"/>
                </a:cubicBezTo>
                <a:close/>
                <a:moveTo>
                  <a:pt x="1384" y="2557"/>
                </a:moveTo>
                <a:cubicBezTo>
                  <a:pt x="939" y="2557"/>
                  <a:pt x="578" y="2196"/>
                  <a:pt x="578" y="1750"/>
                </a:cubicBezTo>
                <a:cubicBezTo>
                  <a:pt x="578" y="1305"/>
                  <a:pt x="939" y="944"/>
                  <a:pt x="1384" y="944"/>
                </a:cubicBezTo>
                <a:cubicBezTo>
                  <a:pt x="1829" y="944"/>
                  <a:pt x="2189" y="1305"/>
                  <a:pt x="2189" y="1750"/>
                </a:cubicBezTo>
                <a:cubicBezTo>
                  <a:pt x="2189" y="2196"/>
                  <a:pt x="1829" y="2557"/>
                  <a:pt x="1384" y="2557"/>
                </a:cubicBezTo>
                <a:close/>
                <a:moveTo>
                  <a:pt x="1384" y="1145"/>
                </a:moveTo>
                <a:cubicBezTo>
                  <a:pt x="1049" y="1145"/>
                  <a:pt x="778" y="1416"/>
                  <a:pt x="778" y="1750"/>
                </a:cubicBezTo>
                <a:cubicBezTo>
                  <a:pt x="778" y="2085"/>
                  <a:pt x="1049" y="2356"/>
                  <a:pt x="1384" y="2356"/>
                </a:cubicBezTo>
                <a:cubicBezTo>
                  <a:pt x="1718" y="2356"/>
                  <a:pt x="1989" y="2085"/>
                  <a:pt x="1989" y="1750"/>
                </a:cubicBezTo>
                <a:cubicBezTo>
                  <a:pt x="1989" y="1416"/>
                  <a:pt x="1718" y="1145"/>
                  <a:pt x="1384" y="1145"/>
                </a:cubicBezTo>
                <a:close/>
                <a:moveTo>
                  <a:pt x="1384" y="2193"/>
                </a:moveTo>
                <a:cubicBezTo>
                  <a:pt x="1139" y="2193"/>
                  <a:pt x="941" y="1995"/>
                  <a:pt x="941" y="1750"/>
                </a:cubicBezTo>
                <a:cubicBezTo>
                  <a:pt x="941" y="1506"/>
                  <a:pt x="1139" y="1308"/>
                  <a:pt x="1384" y="1308"/>
                </a:cubicBezTo>
                <a:cubicBezTo>
                  <a:pt x="1628" y="1308"/>
                  <a:pt x="1826" y="1506"/>
                  <a:pt x="1826" y="1750"/>
                </a:cubicBezTo>
                <a:cubicBezTo>
                  <a:pt x="1826" y="1995"/>
                  <a:pt x="1628" y="2193"/>
                  <a:pt x="1384" y="2193"/>
                </a:cubicBezTo>
                <a:close/>
                <a:moveTo>
                  <a:pt x="1384" y="2193"/>
                </a:moveTo>
                <a:cubicBezTo>
                  <a:pt x="1384" y="2193"/>
                  <a:pt x="1384" y="2193"/>
                  <a:pt x="1384" y="2193"/>
                </a:cubicBezTo>
              </a:path>
            </a:pathLst>
          </a:custGeom>
          <a:solidFill>
            <a:srgbClr val="FE5817"/>
          </a:solidFill>
          <a:ln w="9525">
            <a:noFill/>
            <a:round/>
          </a:ln>
        </p:spPr>
        <p:txBody>
          <a:bodyPr vert="horz" wrap="square" lIns="63305" tIns="31652" rIns="63305" bIns="31652" numCol="1" anchor="t" anchorCtr="0" compatLnSpc="1"/>
          <a:lstStyle/>
          <a:p>
            <a:endParaRPr lang="en-US" sz="1245" dirty="0">
              <a:solidFill>
                <a:prstClr val="black"/>
              </a:solidFill>
              <a:latin typeface="Arial" panose="020B0604020202020204"/>
              <a:ea typeface="华文楷体" panose="02010600040101010101" charset="-122"/>
              <a:sym typeface="+mn-lt"/>
            </a:endParaRPr>
          </a:p>
        </p:txBody>
      </p:sp>
      <p:sp>
        <p:nvSpPr>
          <p:cNvPr id="58" name="Freeform 565"/>
          <p:cNvSpPr/>
          <p:nvPr/>
        </p:nvSpPr>
        <p:spPr bwMode="auto">
          <a:xfrm>
            <a:off x="10671737" y="2331507"/>
            <a:ext cx="34768" cy="114604"/>
          </a:xfrm>
          <a:custGeom>
            <a:avLst/>
            <a:gdLst>
              <a:gd name="T0" fmla="*/ 270 w 270"/>
              <a:gd name="T1" fmla="*/ 0 h 890"/>
              <a:gd name="T2" fmla="*/ 249 w 270"/>
              <a:gd name="T3" fmla="*/ 82 h 890"/>
              <a:gd name="T4" fmla="*/ 233 w 270"/>
              <a:gd name="T5" fmla="*/ 163 h 890"/>
              <a:gd name="T6" fmla="*/ 222 w 270"/>
              <a:gd name="T7" fmla="*/ 228 h 890"/>
              <a:gd name="T8" fmla="*/ 213 w 270"/>
              <a:gd name="T9" fmla="*/ 302 h 890"/>
              <a:gd name="T10" fmla="*/ 201 w 270"/>
              <a:gd name="T11" fmla="*/ 380 h 890"/>
              <a:gd name="T12" fmla="*/ 190 w 270"/>
              <a:gd name="T13" fmla="*/ 462 h 890"/>
              <a:gd name="T14" fmla="*/ 180 w 270"/>
              <a:gd name="T15" fmla="*/ 544 h 890"/>
              <a:gd name="T16" fmla="*/ 171 w 270"/>
              <a:gd name="T17" fmla="*/ 625 h 890"/>
              <a:gd name="T18" fmla="*/ 165 w 270"/>
              <a:gd name="T19" fmla="*/ 703 h 890"/>
              <a:gd name="T20" fmla="*/ 159 w 270"/>
              <a:gd name="T21" fmla="*/ 774 h 890"/>
              <a:gd name="T22" fmla="*/ 156 w 270"/>
              <a:gd name="T23" fmla="*/ 836 h 890"/>
              <a:gd name="T24" fmla="*/ 156 w 270"/>
              <a:gd name="T25" fmla="*/ 890 h 890"/>
              <a:gd name="T26" fmla="*/ 125 w 270"/>
              <a:gd name="T27" fmla="*/ 863 h 890"/>
              <a:gd name="T28" fmla="*/ 93 w 270"/>
              <a:gd name="T29" fmla="*/ 842 h 890"/>
              <a:gd name="T30" fmla="*/ 49 w 270"/>
              <a:gd name="T31" fmla="*/ 819 h 890"/>
              <a:gd name="T32" fmla="*/ 3 w 270"/>
              <a:gd name="T33" fmla="*/ 800 h 890"/>
              <a:gd name="T34" fmla="*/ 1 w 270"/>
              <a:gd name="T35" fmla="*/ 798 h 890"/>
              <a:gd name="T36" fmla="*/ 0 w 270"/>
              <a:gd name="T37" fmla="*/ 795 h 890"/>
              <a:gd name="T38" fmla="*/ 9 w 270"/>
              <a:gd name="T39" fmla="*/ 736 h 890"/>
              <a:gd name="T40" fmla="*/ 19 w 270"/>
              <a:gd name="T41" fmla="*/ 667 h 890"/>
              <a:gd name="T42" fmla="*/ 32 w 270"/>
              <a:gd name="T43" fmla="*/ 595 h 890"/>
              <a:gd name="T44" fmla="*/ 45 w 270"/>
              <a:gd name="T45" fmla="*/ 517 h 890"/>
              <a:gd name="T46" fmla="*/ 60 w 270"/>
              <a:gd name="T47" fmla="*/ 439 h 890"/>
              <a:gd name="T48" fmla="*/ 76 w 270"/>
              <a:gd name="T49" fmla="*/ 361 h 890"/>
              <a:gd name="T50" fmla="*/ 93 w 270"/>
              <a:gd name="T51" fmla="*/ 289 h 890"/>
              <a:gd name="T52" fmla="*/ 108 w 270"/>
              <a:gd name="T53" fmla="*/ 222 h 890"/>
              <a:gd name="T54" fmla="*/ 121 w 270"/>
              <a:gd name="T55" fmla="*/ 163 h 890"/>
              <a:gd name="T56" fmla="*/ 135 w 270"/>
              <a:gd name="T57" fmla="*/ 125 h 890"/>
              <a:gd name="T58" fmla="*/ 152 w 270"/>
              <a:gd name="T59" fmla="*/ 91 h 890"/>
              <a:gd name="T60" fmla="*/ 175 w 270"/>
              <a:gd name="T61" fmla="*/ 63 h 890"/>
              <a:gd name="T62" fmla="*/ 201 w 270"/>
              <a:gd name="T63" fmla="*/ 36 h 890"/>
              <a:gd name="T64" fmla="*/ 233 w 270"/>
              <a:gd name="T65" fmla="*/ 15 h 890"/>
              <a:gd name="T66" fmla="*/ 270 w 270"/>
              <a:gd name="T67" fmla="*/ 0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0" h="890">
                <a:moveTo>
                  <a:pt x="270" y="0"/>
                </a:moveTo>
                <a:lnTo>
                  <a:pt x="249" y="82"/>
                </a:lnTo>
                <a:lnTo>
                  <a:pt x="233" y="163"/>
                </a:lnTo>
                <a:lnTo>
                  <a:pt x="222" y="228"/>
                </a:lnTo>
                <a:lnTo>
                  <a:pt x="213" y="302"/>
                </a:lnTo>
                <a:lnTo>
                  <a:pt x="201" y="380"/>
                </a:lnTo>
                <a:lnTo>
                  <a:pt x="190" y="462"/>
                </a:lnTo>
                <a:lnTo>
                  <a:pt x="180" y="544"/>
                </a:lnTo>
                <a:lnTo>
                  <a:pt x="171" y="625"/>
                </a:lnTo>
                <a:lnTo>
                  <a:pt x="165" y="703"/>
                </a:lnTo>
                <a:lnTo>
                  <a:pt x="159" y="774"/>
                </a:lnTo>
                <a:lnTo>
                  <a:pt x="156" y="836"/>
                </a:lnTo>
                <a:lnTo>
                  <a:pt x="156" y="890"/>
                </a:lnTo>
                <a:lnTo>
                  <a:pt x="125" y="863"/>
                </a:lnTo>
                <a:lnTo>
                  <a:pt x="93" y="842"/>
                </a:lnTo>
                <a:lnTo>
                  <a:pt x="49" y="819"/>
                </a:lnTo>
                <a:lnTo>
                  <a:pt x="3" y="800"/>
                </a:lnTo>
                <a:lnTo>
                  <a:pt x="1" y="798"/>
                </a:lnTo>
                <a:lnTo>
                  <a:pt x="0" y="795"/>
                </a:lnTo>
                <a:lnTo>
                  <a:pt x="9" y="736"/>
                </a:lnTo>
                <a:lnTo>
                  <a:pt x="19" y="667"/>
                </a:lnTo>
                <a:lnTo>
                  <a:pt x="32" y="595"/>
                </a:lnTo>
                <a:lnTo>
                  <a:pt x="45" y="517"/>
                </a:lnTo>
                <a:lnTo>
                  <a:pt x="60" y="439"/>
                </a:lnTo>
                <a:lnTo>
                  <a:pt x="76" y="361"/>
                </a:lnTo>
                <a:lnTo>
                  <a:pt x="93" y="289"/>
                </a:lnTo>
                <a:lnTo>
                  <a:pt x="108" y="222"/>
                </a:lnTo>
                <a:lnTo>
                  <a:pt x="121" y="163"/>
                </a:lnTo>
                <a:lnTo>
                  <a:pt x="135" y="125"/>
                </a:lnTo>
                <a:lnTo>
                  <a:pt x="152" y="91"/>
                </a:lnTo>
                <a:lnTo>
                  <a:pt x="175" y="63"/>
                </a:lnTo>
                <a:lnTo>
                  <a:pt x="201" y="36"/>
                </a:lnTo>
                <a:lnTo>
                  <a:pt x="233" y="15"/>
                </a:lnTo>
                <a:lnTo>
                  <a:pt x="270" y="0"/>
                </a:lnTo>
                <a:close/>
              </a:path>
            </a:pathLst>
          </a:custGeom>
          <a:solidFill>
            <a:schemeClr val="accent1"/>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9" name="Freeform 566"/>
          <p:cNvSpPr>
            <a:spLocks noEditPoints="1"/>
          </p:cNvSpPr>
          <p:nvPr/>
        </p:nvSpPr>
        <p:spPr bwMode="auto">
          <a:xfrm>
            <a:off x="10170571" y="2103330"/>
            <a:ext cx="416437" cy="476443"/>
          </a:xfrm>
          <a:custGeom>
            <a:avLst/>
            <a:gdLst>
              <a:gd name="T0" fmla="*/ 1654 w 3235"/>
              <a:gd name="T1" fmla="*/ 3285 h 3702"/>
              <a:gd name="T2" fmla="*/ 1949 w 3235"/>
              <a:gd name="T3" fmla="*/ 3154 h 3702"/>
              <a:gd name="T4" fmla="*/ 2289 w 3235"/>
              <a:gd name="T5" fmla="*/ 2939 h 3702"/>
              <a:gd name="T6" fmla="*/ 2556 w 3235"/>
              <a:gd name="T7" fmla="*/ 2686 h 3702"/>
              <a:gd name="T8" fmla="*/ 2740 w 3235"/>
              <a:gd name="T9" fmla="*/ 2420 h 3702"/>
              <a:gd name="T10" fmla="*/ 2829 w 3235"/>
              <a:gd name="T11" fmla="*/ 2158 h 3702"/>
              <a:gd name="T12" fmla="*/ 2843 w 3235"/>
              <a:gd name="T13" fmla="*/ 1886 h 3702"/>
              <a:gd name="T14" fmla="*/ 1460 w 3235"/>
              <a:gd name="T15" fmla="*/ 523 h 3702"/>
              <a:gd name="T16" fmla="*/ 998 w 3235"/>
              <a:gd name="T17" fmla="*/ 755 h 3702"/>
              <a:gd name="T18" fmla="*/ 543 w 3235"/>
              <a:gd name="T19" fmla="*/ 884 h 3702"/>
              <a:gd name="T20" fmla="*/ 389 w 3235"/>
              <a:gd name="T21" fmla="*/ 1886 h 3702"/>
              <a:gd name="T22" fmla="*/ 1620 w 3235"/>
              <a:gd name="T23" fmla="*/ 0 h 3702"/>
              <a:gd name="T24" fmla="*/ 1723 w 3235"/>
              <a:gd name="T25" fmla="*/ 25 h 3702"/>
              <a:gd name="T26" fmla="*/ 1801 w 3235"/>
              <a:gd name="T27" fmla="*/ 73 h 3702"/>
              <a:gd name="T28" fmla="*/ 2185 w 3235"/>
              <a:gd name="T29" fmla="*/ 304 h 3702"/>
              <a:gd name="T30" fmla="*/ 2554 w 3235"/>
              <a:gd name="T31" fmla="*/ 451 h 3702"/>
              <a:gd name="T32" fmla="*/ 2841 w 3235"/>
              <a:gd name="T33" fmla="*/ 510 h 3702"/>
              <a:gd name="T34" fmla="*/ 3046 w 3235"/>
              <a:gd name="T35" fmla="*/ 540 h 3702"/>
              <a:gd name="T36" fmla="*/ 3170 w 3235"/>
              <a:gd name="T37" fmla="*/ 616 h 3702"/>
              <a:gd name="T38" fmla="*/ 3231 w 3235"/>
              <a:gd name="T39" fmla="*/ 745 h 3702"/>
              <a:gd name="T40" fmla="*/ 3235 w 3235"/>
              <a:gd name="T41" fmla="*/ 1738 h 3702"/>
              <a:gd name="T42" fmla="*/ 3217 w 3235"/>
              <a:gd name="T43" fmla="*/ 2196 h 3702"/>
              <a:gd name="T44" fmla="*/ 3124 w 3235"/>
              <a:gd name="T45" fmla="*/ 2519 h 3702"/>
              <a:gd name="T46" fmla="*/ 2944 w 3235"/>
              <a:gd name="T47" fmla="*/ 2827 h 3702"/>
              <a:gd name="T48" fmla="*/ 2647 w 3235"/>
              <a:gd name="T49" fmla="*/ 3146 h 3702"/>
              <a:gd name="T50" fmla="*/ 2272 w 3235"/>
              <a:gd name="T51" fmla="*/ 3418 h 3702"/>
              <a:gd name="T52" fmla="*/ 1848 w 3235"/>
              <a:gd name="T53" fmla="*/ 3627 h 3702"/>
              <a:gd name="T54" fmla="*/ 1660 w 3235"/>
              <a:gd name="T55" fmla="*/ 3698 h 3702"/>
              <a:gd name="T56" fmla="*/ 1525 w 3235"/>
              <a:gd name="T57" fmla="*/ 3686 h 3702"/>
              <a:gd name="T58" fmla="*/ 1065 w 3235"/>
              <a:gd name="T59" fmla="*/ 3479 h 3702"/>
              <a:gd name="T60" fmla="*/ 680 w 3235"/>
              <a:gd name="T61" fmla="*/ 3224 h 3702"/>
              <a:gd name="T62" fmla="*/ 370 w 3235"/>
              <a:gd name="T63" fmla="*/ 2930 h 3702"/>
              <a:gd name="T64" fmla="*/ 159 w 3235"/>
              <a:gd name="T65" fmla="*/ 2626 h 3702"/>
              <a:gd name="T66" fmla="*/ 41 w 3235"/>
              <a:gd name="T67" fmla="*/ 2304 h 3702"/>
              <a:gd name="T68" fmla="*/ 5 w 3235"/>
              <a:gd name="T69" fmla="*/ 2050 h 3702"/>
              <a:gd name="T70" fmla="*/ 1 w 3235"/>
              <a:gd name="T71" fmla="*/ 1194 h 3702"/>
              <a:gd name="T72" fmla="*/ 15 w 3235"/>
              <a:gd name="T73" fmla="*/ 707 h 3702"/>
              <a:gd name="T74" fmla="*/ 72 w 3235"/>
              <a:gd name="T75" fmla="*/ 603 h 3702"/>
              <a:gd name="T76" fmla="*/ 156 w 3235"/>
              <a:gd name="T77" fmla="*/ 548 h 3702"/>
              <a:gd name="T78" fmla="*/ 245 w 3235"/>
              <a:gd name="T79" fmla="*/ 527 h 3702"/>
              <a:gd name="T80" fmla="*/ 524 w 3235"/>
              <a:gd name="T81" fmla="*/ 491 h 3702"/>
              <a:gd name="T82" fmla="*/ 909 w 3235"/>
              <a:gd name="T83" fmla="*/ 371 h 3702"/>
              <a:gd name="T84" fmla="*/ 1302 w 3235"/>
              <a:gd name="T85" fmla="*/ 162 h 3702"/>
              <a:gd name="T86" fmla="*/ 1489 w 3235"/>
              <a:gd name="T87" fmla="*/ 40 h 3702"/>
              <a:gd name="T88" fmla="*/ 1582 w 3235"/>
              <a:gd name="T89" fmla="*/ 4 h 3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35" h="3702">
                <a:moveTo>
                  <a:pt x="1616" y="1886"/>
                </a:moveTo>
                <a:lnTo>
                  <a:pt x="1616" y="3302"/>
                </a:lnTo>
                <a:lnTo>
                  <a:pt x="1654" y="3285"/>
                </a:lnTo>
                <a:lnTo>
                  <a:pt x="1692" y="3270"/>
                </a:lnTo>
                <a:lnTo>
                  <a:pt x="1821" y="3213"/>
                </a:lnTo>
                <a:lnTo>
                  <a:pt x="1949" y="3154"/>
                </a:lnTo>
                <a:lnTo>
                  <a:pt x="2071" y="3086"/>
                </a:lnTo>
                <a:lnTo>
                  <a:pt x="2183" y="3015"/>
                </a:lnTo>
                <a:lnTo>
                  <a:pt x="2289" y="2939"/>
                </a:lnTo>
                <a:lnTo>
                  <a:pt x="2386" y="2859"/>
                </a:lnTo>
                <a:lnTo>
                  <a:pt x="2474" y="2776"/>
                </a:lnTo>
                <a:lnTo>
                  <a:pt x="2556" y="2686"/>
                </a:lnTo>
                <a:lnTo>
                  <a:pt x="2630" y="2593"/>
                </a:lnTo>
                <a:lnTo>
                  <a:pt x="2691" y="2508"/>
                </a:lnTo>
                <a:lnTo>
                  <a:pt x="2740" y="2420"/>
                </a:lnTo>
                <a:lnTo>
                  <a:pt x="2780" y="2333"/>
                </a:lnTo>
                <a:lnTo>
                  <a:pt x="2810" y="2245"/>
                </a:lnTo>
                <a:lnTo>
                  <a:pt x="2829" y="2158"/>
                </a:lnTo>
                <a:lnTo>
                  <a:pt x="2837" y="2067"/>
                </a:lnTo>
                <a:lnTo>
                  <a:pt x="2841" y="1977"/>
                </a:lnTo>
                <a:lnTo>
                  <a:pt x="2843" y="1886"/>
                </a:lnTo>
                <a:lnTo>
                  <a:pt x="1616" y="1886"/>
                </a:lnTo>
                <a:close/>
                <a:moveTo>
                  <a:pt x="1616" y="422"/>
                </a:moveTo>
                <a:lnTo>
                  <a:pt x="1460" y="523"/>
                </a:lnTo>
                <a:lnTo>
                  <a:pt x="1304" y="612"/>
                </a:lnTo>
                <a:lnTo>
                  <a:pt x="1150" y="688"/>
                </a:lnTo>
                <a:lnTo>
                  <a:pt x="998" y="755"/>
                </a:lnTo>
                <a:lnTo>
                  <a:pt x="846" y="808"/>
                </a:lnTo>
                <a:lnTo>
                  <a:pt x="694" y="852"/>
                </a:lnTo>
                <a:lnTo>
                  <a:pt x="543" y="884"/>
                </a:lnTo>
                <a:lnTo>
                  <a:pt x="389" y="905"/>
                </a:lnTo>
                <a:lnTo>
                  <a:pt x="389" y="1196"/>
                </a:lnTo>
                <a:lnTo>
                  <a:pt x="389" y="1886"/>
                </a:lnTo>
                <a:lnTo>
                  <a:pt x="1616" y="1886"/>
                </a:lnTo>
                <a:lnTo>
                  <a:pt x="1616" y="422"/>
                </a:lnTo>
                <a:close/>
                <a:moveTo>
                  <a:pt x="1620" y="0"/>
                </a:moveTo>
                <a:lnTo>
                  <a:pt x="1658" y="4"/>
                </a:lnTo>
                <a:lnTo>
                  <a:pt x="1692" y="12"/>
                </a:lnTo>
                <a:lnTo>
                  <a:pt x="1723" y="25"/>
                </a:lnTo>
                <a:lnTo>
                  <a:pt x="1751" y="40"/>
                </a:lnTo>
                <a:lnTo>
                  <a:pt x="1776" y="55"/>
                </a:lnTo>
                <a:lnTo>
                  <a:pt x="1801" y="73"/>
                </a:lnTo>
                <a:lnTo>
                  <a:pt x="1932" y="160"/>
                </a:lnTo>
                <a:lnTo>
                  <a:pt x="2059" y="236"/>
                </a:lnTo>
                <a:lnTo>
                  <a:pt x="2185" y="304"/>
                </a:lnTo>
                <a:lnTo>
                  <a:pt x="2308" y="361"/>
                </a:lnTo>
                <a:lnTo>
                  <a:pt x="2430" y="411"/>
                </a:lnTo>
                <a:lnTo>
                  <a:pt x="2554" y="451"/>
                </a:lnTo>
                <a:lnTo>
                  <a:pt x="2675" y="483"/>
                </a:lnTo>
                <a:lnTo>
                  <a:pt x="2757" y="498"/>
                </a:lnTo>
                <a:lnTo>
                  <a:pt x="2841" y="510"/>
                </a:lnTo>
                <a:lnTo>
                  <a:pt x="2926" y="521"/>
                </a:lnTo>
                <a:lnTo>
                  <a:pt x="2991" y="529"/>
                </a:lnTo>
                <a:lnTo>
                  <a:pt x="3046" y="540"/>
                </a:lnTo>
                <a:lnTo>
                  <a:pt x="3094" y="559"/>
                </a:lnTo>
                <a:lnTo>
                  <a:pt x="3136" y="584"/>
                </a:lnTo>
                <a:lnTo>
                  <a:pt x="3170" y="616"/>
                </a:lnTo>
                <a:lnTo>
                  <a:pt x="3198" y="654"/>
                </a:lnTo>
                <a:lnTo>
                  <a:pt x="3217" y="696"/>
                </a:lnTo>
                <a:lnTo>
                  <a:pt x="3231" y="745"/>
                </a:lnTo>
                <a:lnTo>
                  <a:pt x="3235" y="799"/>
                </a:lnTo>
                <a:lnTo>
                  <a:pt x="3235" y="1567"/>
                </a:lnTo>
                <a:lnTo>
                  <a:pt x="3235" y="1738"/>
                </a:lnTo>
                <a:lnTo>
                  <a:pt x="3233" y="1913"/>
                </a:lnTo>
                <a:lnTo>
                  <a:pt x="3227" y="2086"/>
                </a:lnTo>
                <a:lnTo>
                  <a:pt x="3217" y="2196"/>
                </a:lnTo>
                <a:lnTo>
                  <a:pt x="3197" y="2304"/>
                </a:lnTo>
                <a:lnTo>
                  <a:pt x="3166" y="2413"/>
                </a:lnTo>
                <a:lnTo>
                  <a:pt x="3124" y="2519"/>
                </a:lnTo>
                <a:lnTo>
                  <a:pt x="3075" y="2624"/>
                </a:lnTo>
                <a:lnTo>
                  <a:pt x="3014" y="2726"/>
                </a:lnTo>
                <a:lnTo>
                  <a:pt x="2944" y="2827"/>
                </a:lnTo>
                <a:lnTo>
                  <a:pt x="2852" y="2939"/>
                </a:lnTo>
                <a:lnTo>
                  <a:pt x="2755" y="3046"/>
                </a:lnTo>
                <a:lnTo>
                  <a:pt x="2647" y="3146"/>
                </a:lnTo>
                <a:lnTo>
                  <a:pt x="2531" y="3243"/>
                </a:lnTo>
                <a:lnTo>
                  <a:pt x="2407" y="3333"/>
                </a:lnTo>
                <a:lnTo>
                  <a:pt x="2272" y="3418"/>
                </a:lnTo>
                <a:lnTo>
                  <a:pt x="2128" y="3498"/>
                </a:lnTo>
                <a:lnTo>
                  <a:pt x="1987" y="3567"/>
                </a:lnTo>
                <a:lnTo>
                  <a:pt x="1848" y="3627"/>
                </a:lnTo>
                <a:lnTo>
                  <a:pt x="1734" y="3675"/>
                </a:lnTo>
                <a:lnTo>
                  <a:pt x="1700" y="3688"/>
                </a:lnTo>
                <a:lnTo>
                  <a:pt x="1660" y="3698"/>
                </a:lnTo>
                <a:lnTo>
                  <a:pt x="1616" y="3702"/>
                </a:lnTo>
                <a:lnTo>
                  <a:pt x="1570" y="3698"/>
                </a:lnTo>
                <a:lnTo>
                  <a:pt x="1525" y="3686"/>
                </a:lnTo>
                <a:lnTo>
                  <a:pt x="1363" y="3622"/>
                </a:lnTo>
                <a:lnTo>
                  <a:pt x="1209" y="3553"/>
                </a:lnTo>
                <a:lnTo>
                  <a:pt x="1065" y="3479"/>
                </a:lnTo>
                <a:lnTo>
                  <a:pt x="930" y="3399"/>
                </a:lnTo>
                <a:lnTo>
                  <a:pt x="800" y="3314"/>
                </a:lnTo>
                <a:lnTo>
                  <a:pt x="680" y="3224"/>
                </a:lnTo>
                <a:lnTo>
                  <a:pt x="566" y="3129"/>
                </a:lnTo>
                <a:lnTo>
                  <a:pt x="460" y="3029"/>
                </a:lnTo>
                <a:lnTo>
                  <a:pt x="370" y="2930"/>
                </a:lnTo>
                <a:lnTo>
                  <a:pt x="289" y="2829"/>
                </a:lnTo>
                <a:lnTo>
                  <a:pt x="220" y="2728"/>
                </a:lnTo>
                <a:lnTo>
                  <a:pt x="159" y="2626"/>
                </a:lnTo>
                <a:lnTo>
                  <a:pt x="110" y="2521"/>
                </a:lnTo>
                <a:lnTo>
                  <a:pt x="72" y="2415"/>
                </a:lnTo>
                <a:lnTo>
                  <a:pt x="41" y="2304"/>
                </a:lnTo>
                <a:lnTo>
                  <a:pt x="24" y="2217"/>
                </a:lnTo>
                <a:lnTo>
                  <a:pt x="11" y="2131"/>
                </a:lnTo>
                <a:lnTo>
                  <a:pt x="5" y="2050"/>
                </a:lnTo>
                <a:lnTo>
                  <a:pt x="1" y="1972"/>
                </a:lnTo>
                <a:lnTo>
                  <a:pt x="0" y="1584"/>
                </a:lnTo>
                <a:lnTo>
                  <a:pt x="1" y="1194"/>
                </a:lnTo>
                <a:lnTo>
                  <a:pt x="1" y="810"/>
                </a:lnTo>
                <a:lnTo>
                  <a:pt x="5" y="755"/>
                </a:lnTo>
                <a:lnTo>
                  <a:pt x="15" y="707"/>
                </a:lnTo>
                <a:lnTo>
                  <a:pt x="30" y="666"/>
                </a:lnTo>
                <a:lnTo>
                  <a:pt x="49" y="631"/>
                </a:lnTo>
                <a:lnTo>
                  <a:pt x="72" y="603"/>
                </a:lnTo>
                <a:lnTo>
                  <a:pt x="98" y="580"/>
                </a:lnTo>
                <a:lnTo>
                  <a:pt x="127" y="561"/>
                </a:lnTo>
                <a:lnTo>
                  <a:pt x="156" y="548"/>
                </a:lnTo>
                <a:lnTo>
                  <a:pt x="186" y="538"/>
                </a:lnTo>
                <a:lnTo>
                  <a:pt x="216" y="531"/>
                </a:lnTo>
                <a:lnTo>
                  <a:pt x="245" y="527"/>
                </a:lnTo>
                <a:lnTo>
                  <a:pt x="272" y="525"/>
                </a:lnTo>
                <a:lnTo>
                  <a:pt x="399" y="512"/>
                </a:lnTo>
                <a:lnTo>
                  <a:pt x="524" y="491"/>
                </a:lnTo>
                <a:lnTo>
                  <a:pt x="652" y="460"/>
                </a:lnTo>
                <a:lnTo>
                  <a:pt x="779" y="420"/>
                </a:lnTo>
                <a:lnTo>
                  <a:pt x="909" y="371"/>
                </a:lnTo>
                <a:lnTo>
                  <a:pt x="1038" y="312"/>
                </a:lnTo>
                <a:lnTo>
                  <a:pt x="1169" y="242"/>
                </a:lnTo>
                <a:lnTo>
                  <a:pt x="1302" y="162"/>
                </a:lnTo>
                <a:lnTo>
                  <a:pt x="1439" y="73"/>
                </a:lnTo>
                <a:lnTo>
                  <a:pt x="1464" y="55"/>
                </a:lnTo>
                <a:lnTo>
                  <a:pt x="1489" y="40"/>
                </a:lnTo>
                <a:lnTo>
                  <a:pt x="1517" y="25"/>
                </a:lnTo>
                <a:lnTo>
                  <a:pt x="1548" y="12"/>
                </a:lnTo>
                <a:lnTo>
                  <a:pt x="1582" y="4"/>
                </a:lnTo>
                <a:lnTo>
                  <a:pt x="1620" y="0"/>
                </a:lnTo>
                <a:close/>
              </a:path>
            </a:pathLst>
          </a:custGeom>
          <a:solidFill>
            <a:srgbClr val="FE5817"/>
          </a:solidFill>
          <a:ln w="9525">
            <a:noFill/>
            <a:round/>
          </a:ln>
        </p:spPr>
        <p:txBody>
          <a:bodyPr vert="horz" wrap="square" lIns="63305" tIns="31652" rIns="63305" bIns="31652" numCol="1" anchor="t" anchorCtr="0" compatLnSpc="1"/>
          <a:lstStyle/>
          <a:p>
            <a:endParaRPr lang="en-US" sz="1245" dirty="0">
              <a:solidFill>
                <a:prstClr val="black"/>
              </a:solidFill>
              <a:latin typeface="Arial" panose="020B0604020202020204"/>
              <a:ea typeface="华文楷体" panose="02010600040101010101" charset="-122"/>
              <a:sym typeface="+mn-lt"/>
            </a:endParaRPr>
          </a:p>
        </p:txBody>
      </p:sp>
      <p:sp>
        <p:nvSpPr>
          <p:cNvPr id="60" name="Freeform 567"/>
          <p:cNvSpPr/>
          <p:nvPr/>
        </p:nvSpPr>
        <p:spPr bwMode="auto">
          <a:xfrm>
            <a:off x="10633106" y="2360867"/>
            <a:ext cx="33222" cy="74428"/>
          </a:xfrm>
          <a:custGeom>
            <a:avLst/>
            <a:gdLst>
              <a:gd name="T0" fmla="*/ 259 w 259"/>
              <a:gd name="T1" fmla="*/ 0 h 578"/>
              <a:gd name="T2" fmla="*/ 247 w 259"/>
              <a:gd name="T3" fmla="*/ 48 h 578"/>
              <a:gd name="T4" fmla="*/ 234 w 259"/>
              <a:gd name="T5" fmla="*/ 105 h 578"/>
              <a:gd name="T6" fmla="*/ 217 w 259"/>
              <a:gd name="T7" fmla="*/ 164 h 578"/>
              <a:gd name="T8" fmla="*/ 202 w 259"/>
              <a:gd name="T9" fmla="*/ 226 h 578"/>
              <a:gd name="T10" fmla="*/ 185 w 259"/>
              <a:gd name="T11" fmla="*/ 289 h 578"/>
              <a:gd name="T12" fmla="*/ 171 w 259"/>
              <a:gd name="T13" fmla="*/ 348 h 578"/>
              <a:gd name="T14" fmla="*/ 160 w 259"/>
              <a:gd name="T15" fmla="*/ 403 h 578"/>
              <a:gd name="T16" fmla="*/ 150 w 259"/>
              <a:gd name="T17" fmla="*/ 451 h 578"/>
              <a:gd name="T18" fmla="*/ 141 w 259"/>
              <a:gd name="T19" fmla="*/ 529 h 578"/>
              <a:gd name="T20" fmla="*/ 141 w 259"/>
              <a:gd name="T21" fmla="*/ 540 h 578"/>
              <a:gd name="T22" fmla="*/ 139 w 259"/>
              <a:gd name="T23" fmla="*/ 550 h 578"/>
              <a:gd name="T24" fmla="*/ 93 w 259"/>
              <a:gd name="T25" fmla="*/ 555 h 578"/>
              <a:gd name="T26" fmla="*/ 46 w 259"/>
              <a:gd name="T27" fmla="*/ 565 h 578"/>
              <a:gd name="T28" fmla="*/ 0 w 259"/>
              <a:gd name="T29" fmla="*/ 578 h 578"/>
              <a:gd name="T30" fmla="*/ 10 w 259"/>
              <a:gd name="T31" fmla="*/ 534 h 578"/>
              <a:gd name="T32" fmla="*/ 21 w 259"/>
              <a:gd name="T33" fmla="*/ 483 h 578"/>
              <a:gd name="T34" fmla="*/ 36 w 259"/>
              <a:gd name="T35" fmla="*/ 426 h 578"/>
              <a:gd name="T36" fmla="*/ 53 w 259"/>
              <a:gd name="T37" fmla="*/ 369 h 578"/>
              <a:gd name="T38" fmla="*/ 70 w 259"/>
              <a:gd name="T39" fmla="*/ 310 h 578"/>
              <a:gd name="T40" fmla="*/ 88 w 259"/>
              <a:gd name="T41" fmla="*/ 255 h 578"/>
              <a:gd name="T42" fmla="*/ 101 w 259"/>
              <a:gd name="T43" fmla="*/ 205 h 578"/>
              <a:gd name="T44" fmla="*/ 112 w 259"/>
              <a:gd name="T45" fmla="*/ 164 h 578"/>
              <a:gd name="T46" fmla="*/ 126 w 259"/>
              <a:gd name="T47" fmla="*/ 126 h 578"/>
              <a:gd name="T48" fmla="*/ 143 w 259"/>
              <a:gd name="T49" fmla="*/ 91 h 578"/>
              <a:gd name="T50" fmla="*/ 164 w 259"/>
              <a:gd name="T51" fmla="*/ 61 h 578"/>
              <a:gd name="T52" fmla="*/ 190 w 259"/>
              <a:gd name="T53" fmla="*/ 36 h 578"/>
              <a:gd name="T54" fmla="*/ 223 w 259"/>
              <a:gd name="T55" fmla="*/ 15 h 578"/>
              <a:gd name="T56" fmla="*/ 259 w 259"/>
              <a:gd name="T5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9" h="578">
                <a:moveTo>
                  <a:pt x="259" y="0"/>
                </a:moveTo>
                <a:lnTo>
                  <a:pt x="247" y="48"/>
                </a:lnTo>
                <a:lnTo>
                  <a:pt x="234" y="105"/>
                </a:lnTo>
                <a:lnTo>
                  <a:pt x="217" y="164"/>
                </a:lnTo>
                <a:lnTo>
                  <a:pt x="202" y="226"/>
                </a:lnTo>
                <a:lnTo>
                  <a:pt x="185" y="289"/>
                </a:lnTo>
                <a:lnTo>
                  <a:pt x="171" y="348"/>
                </a:lnTo>
                <a:lnTo>
                  <a:pt x="160" y="403"/>
                </a:lnTo>
                <a:lnTo>
                  <a:pt x="150" y="451"/>
                </a:lnTo>
                <a:lnTo>
                  <a:pt x="141" y="529"/>
                </a:lnTo>
                <a:lnTo>
                  <a:pt x="141" y="540"/>
                </a:lnTo>
                <a:lnTo>
                  <a:pt x="139" y="550"/>
                </a:lnTo>
                <a:lnTo>
                  <a:pt x="93" y="555"/>
                </a:lnTo>
                <a:lnTo>
                  <a:pt x="46" y="565"/>
                </a:lnTo>
                <a:lnTo>
                  <a:pt x="0" y="578"/>
                </a:lnTo>
                <a:lnTo>
                  <a:pt x="10" y="534"/>
                </a:lnTo>
                <a:lnTo>
                  <a:pt x="21" y="483"/>
                </a:lnTo>
                <a:lnTo>
                  <a:pt x="36" y="426"/>
                </a:lnTo>
                <a:lnTo>
                  <a:pt x="53" y="369"/>
                </a:lnTo>
                <a:lnTo>
                  <a:pt x="70" y="310"/>
                </a:lnTo>
                <a:lnTo>
                  <a:pt x="88" y="255"/>
                </a:lnTo>
                <a:lnTo>
                  <a:pt x="101" y="205"/>
                </a:lnTo>
                <a:lnTo>
                  <a:pt x="112" y="164"/>
                </a:lnTo>
                <a:lnTo>
                  <a:pt x="126" y="126"/>
                </a:lnTo>
                <a:lnTo>
                  <a:pt x="143" y="91"/>
                </a:lnTo>
                <a:lnTo>
                  <a:pt x="164" y="61"/>
                </a:lnTo>
                <a:lnTo>
                  <a:pt x="190" y="36"/>
                </a:lnTo>
                <a:lnTo>
                  <a:pt x="223" y="15"/>
                </a:lnTo>
                <a:lnTo>
                  <a:pt x="259" y="0"/>
                </a:lnTo>
                <a:close/>
              </a:path>
            </a:pathLst>
          </a:custGeom>
          <a:solidFill>
            <a:schemeClr val="accent1"/>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1" name="Freeform 568"/>
          <p:cNvSpPr/>
          <p:nvPr/>
        </p:nvSpPr>
        <p:spPr bwMode="auto">
          <a:xfrm>
            <a:off x="9974843" y="2308587"/>
            <a:ext cx="332480" cy="532328"/>
          </a:xfrm>
          <a:custGeom>
            <a:avLst/>
            <a:gdLst>
              <a:gd name="T0" fmla="*/ 287 w 2583"/>
              <a:gd name="T1" fmla="*/ 15 h 4135"/>
              <a:gd name="T2" fmla="*/ 375 w 2583"/>
              <a:gd name="T3" fmla="*/ 95 h 4135"/>
              <a:gd name="T4" fmla="*/ 418 w 2583"/>
              <a:gd name="T5" fmla="*/ 219 h 4135"/>
              <a:gd name="T6" fmla="*/ 445 w 2583"/>
              <a:gd name="T7" fmla="*/ 352 h 4135"/>
              <a:gd name="T8" fmla="*/ 470 w 2583"/>
              <a:gd name="T9" fmla="*/ 502 h 4135"/>
              <a:gd name="T10" fmla="*/ 508 w 2583"/>
              <a:gd name="T11" fmla="*/ 818 h 4135"/>
              <a:gd name="T12" fmla="*/ 529 w 2583"/>
              <a:gd name="T13" fmla="*/ 1120 h 4135"/>
              <a:gd name="T14" fmla="*/ 538 w 2583"/>
              <a:gd name="T15" fmla="*/ 1234 h 4135"/>
              <a:gd name="T16" fmla="*/ 597 w 2583"/>
              <a:gd name="T17" fmla="*/ 1426 h 4135"/>
              <a:gd name="T18" fmla="*/ 704 w 2583"/>
              <a:gd name="T19" fmla="*/ 1639 h 4135"/>
              <a:gd name="T20" fmla="*/ 827 w 2583"/>
              <a:gd name="T21" fmla="*/ 1852 h 4135"/>
              <a:gd name="T22" fmla="*/ 953 w 2583"/>
              <a:gd name="T23" fmla="*/ 2053 h 4135"/>
              <a:gd name="T24" fmla="*/ 1069 w 2583"/>
              <a:gd name="T25" fmla="*/ 2230 h 4135"/>
              <a:gd name="T26" fmla="*/ 1162 w 2583"/>
              <a:gd name="T27" fmla="*/ 2365 h 4135"/>
              <a:gd name="T28" fmla="*/ 1219 w 2583"/>
              <a:gd name="T29" fmla="*/ 2445 h 4135"/>
              <a:gd name="T30" fmla="*/ 1255 w 2583"/>
              <a:gd name="T31" fmla="*/ 2496 h 4135"/>
              <a:gd name="T32" fmla="*/ 1312 w 2583"/>
              <a:gd name="T33" fmla="*/ 2523 h 4135"/>
              <a:gd name="T34" fmla="*/ 1362 w 2583"/>
              <a:gd name="T35" fmla="*/ 2487 h 4135"/>
              <a:gd name="T36" fmla="*/ 1358 w 2583"/>
              <a:gd name="T37" fmla="*/ 2430 h 4135"/>
              <a:gd name="T38" fmla="*/ 770 w 2583"/>
              <a:gd name="T39" fmla="*/ 1435 h 4135"/>
              <a:gd name="T40" fmla="*/ 791 w 2583"/>
              <a:gd name="T41" fmla="*/ 1306 h 4135"/>
              <a:gd name="T42" fmla="*/ 882 w 2583"/>
              <a:gd name="T43" fmla="*/ 1205 h 4135"/>
              <a:gd name="T44" fmla="*/ 1016 w 2583"/>
              <a:gd name="T45" fmla="*/ 1171 h 4135"/>
              <a:gd name="T46" fmla="*/ 1137 w 2583"/>
              <a:gd name="T47" fmla="*/ 1211 h 4135"/>
              <a:gd name="T48" fmla="*/ 1778 w 2583"/>
              <a:gd name="T49" fmla="*/ 2021 h 4135"/>
              <a:gd name="T50" fmla="*/ 1871 w 2583"/>
              <a:gd name="T51" fmla="*/ 2120 h 4135"/>
              <a:gd name="T52" fmla="*/ 2043 w 2583"/>
              <a:gd name="T53" fmla="*/ 2257 h 4135"/>
              <a:gd name="T54" fmla="*/ 2286 w 2583"/>
              <a:gd name="T55" fmla="*/ 2496 h 4135"/>
              <a:gd name="T56" fmla="*/ 2436 w 2583"/>
              <a:gd name="T57" fmla="*/ 2722 h 4135"/>
              <a:gd name="T58" fmla="*/ 2522 w 2583"/>
              <a:gd name="T59" fmla="*/ 2922 h 4135"/>
              <a:gd name="T60" fmla="*/ 2567 w 2583"/>
              <a:gd name="T61" fmla="*/ 3087 h 4135"/>
              <a:gd name="T62" fmla="*/ 2579 w 2583"/>
              <a:gd name="T63" fmla="*/ 3150 h 4135"/>
              <a:gd name="T64" fmla="*/ 2583 w 2583"/>
              <a:gd name="T65" fmla="*/ 3240 h 4135"/>
              <a:gd name="T66" fmla="*/ 2571 w 2583"/>
              <a:gd name="T67" fmla="*/ 3424 h 4135"/>
              <a:gd name="T68" fmla="*/ 2520 w 2583"/>
              <a:gd name="T69" fmla="*/ 4101 h 4135"/>
              <a:gd name="T70" fmla="*/ 2453 w 2583"/>
              <a:gd name="T71" fmla="*/ 4135 h 4135"/>
              <a:gd name="T72" fmla="*/ 1421 w 2583"/>
              <a:gd name="T73" fmla="*/ 4114 h 4135"/>
              <a:gd name="T74" fmla="*/ 1386 w 2583"/>
              <a:gd name="T75" fmla="*/ 4046 h 4135"/>
              <a:gd name="T76" fmla="*/ 377 w 2583"/>
              <a:gd name="T77" fmla="*/ 2338 h 4135"/>
              <a:gd name="T78" fmla="*/ 243 w 2583"/>
              <a:gd name="T79" fmla="*/ 2131 h 4135"/>
              <a:gd name="T80" fmla="*/ 171 w 2583"/>
              <a:gd name="T81" fmla="*/ 1894 h 4135"/>
              <a:gd name="T82" fmla="*/ 0 w 2583"/>
              <a:gd name="T83" fmla="*/ 217 h 4135"/>
              <a:gd name="T84" fmla="*/ 32 w 2583"/>
              <a:gd name="T85" fmla="*/ 109 h 4135"/>
              <a:gd name="T86" fmla="*/ 110 w 2583"/>
              <a:gd name="T87" fmla="*/ 31 h 4135"/>
              <a:gd name="T88" fmla="*/ 213 w 2583"/>
              <a:gd name="T89" fmla="*/ 0 h 4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83" h="4135">
                <a:moveTo>
                  <a:pt x="213" y="0"/>
                </a:moveTo>
                <a:lnTo>
                  <a:pt x="249" y="2"/>
                </a:lnTo>
                <a:lnTo>
                  <a:pt x="287" y="15"/>
                </a:lnTo>
                <a:lnTo>
                  <a:pt x="321" y="36"/>
                </a:lnTo>
                <a:lnTo>
                  <a:pt x="356" y="67"/>
                </a:lnTo>
                <a:lnTo>
                  <a:pt x="375" y="95"/>
                </a:lnTo>
                <a:lnTo>
                  <a:pt x="392" y="131"/>
                </a:lnTo>
                <a:lnTo>
                  <a:pt x="405" y="173"/>
                </a:lnTo>
                <a:lnTo>
                  <a:pt x="418" y="219"/>
                </a:lnTo>
                <a:lnTo>
                  <a:pt x="430" y="266"/>
                </a:lnTo>
                <a:lnTo>
                  <a:pt x="437" y="310"/>
                </a:lnTo>
                <a:lnTo>
                  <a:pt x="445" y="352"/>
                </a:lnTo>
                <a:lnTo>
                  <a:pt x="451" y="384"/>
                </a:lnTo>
                <a:lnTo>
                  <a:pt x="455" y="409"/>
                </a:lnTo>
                <a:lnTo>
                  <a:pt x="470" y="502"/>
                </a:lnTo>
                <a:lnTo>
                  <a:pt x="483" y="605"/>
                </a:lnTo>
                <a:lnTo>
                  <a:pt x="496" y="709"/>
                </a:lnTo>
                <a:lnTo>
                  <a:pt x="508" y="818"/>
                </a:lnTo>
                <a:lnTo>
                  <a:pt x="517" y="924"/>
                </a:lnTo>
                <a:lnTo>
                  <a:pt x="525" y="1027"/>
                </a:lnTo>
                <a:lnTo>
                  <a:pt x="529" y="1120"/>
                </a:lnTo>
                <a:lnTo>
                  <a:pt x="531" y="1145"/>
                </a:lnTo>
                <a:lnTo>
                  <a:pt x="533" y="1167"/>
                </a:lnTo>
                <a:lnTo>
                  <a:pt x="538" y="1234"/>
                </a:lnTo>
                <a:lnTo>
                  <a:pt x="552" y="1301"/>
                </a:lnTo>
                <a:lnTo>
                  <a:pt x="572" y="1363"/>
                </a:lnTo>
                <a:lnTo>
                  <a:pt x="597" y="1426"/>
                </a:lnTo>
                <a:lnTo>
                  <a:pt x="630" y="1496"/>
                </a:lnTo>
                <a:lnTo>
                  <a:pt x="666" y="1567"/>
                </a:lnTo>
                <a:lnTo>
                  <a:pt x="704" y="1639"/>
                </a:lnTo>
                <a:lnTo>
                  <a:pt x="744" y="1709"/>
                </a:lnTo>
                <a:lnTo>
                  <a:pt x="785" y="1781"/>
                </a:lnTo>
                <a:lnTo>
                  <a:pt x="827" y="1852"/>
                </a:lnTo>
                <a:lnTo>
                  <a:pt x="869" y="1922"/>
                </a:lnTo>
                <a:lnTo>
                  <a:pt x="911" y="1989"/>
                </a:lnTo>
                <a:lnTo>
                  <a:pt x="953" y="2053"/>
                </a:lnTo>
                <a:lnTo>
                  <a:pt x="993" y="2116"/>
                </a:lnTo>
                <a:lnTo>
                  <a:pt x="1033" y="2175"/>
                </a:lnTo>
                <a:lnTo>
                  <a:pt x="1069" y="2230"/>
                </a:lnTo>
                <a:lnTo>
                  <a:pt x="1103" y="2280"/>
                </a:lnTo>
                <a:lnTo>
                  <a:pt x="1133" y="2325"/>
                </a:lnTo>
                <a:lnTo>
                  <a:pt x="1162" y="2365"/>
                </a:lnTo>
                <a:lnTo>
                  <a:pt x="1185" y="2397"/>
                </a:lnTo>
                <a:lnTo>
                  <a:pt x="1206" y="2426"/>
                </a:lnTo>
                <a:lnTo>
                  <a:pt x="1219" y="2445"/>
                </a:lnTo>
                <a:lnTo>
                  <a:pt x="1229" y="2458"/>
                </a:lnTo>
                <a:lnTo>
                  <a:pt x="1230" y="2462"/>
                </a:lnTo>
                <a:lnTo>
                  <a:pt x="1255" y="2496"/>
                </a:lnTo>
                <a:lnTo>
                  <a:pt x="1270" y="2513"/>
                </a:lnTo>
                <a:lnTo>
                  <a:pt x="1291" y="2521"/>
                </a:lnTo>
                <a:lnTo>
                  <a:pt x="1312" y="2523"/>
                </a:lnTo>
                <a:lnTo>
                  <a:pt x="1335" y="2515"/>
                </a:lnTo>
                <a:lnTo>
                  <a:pt x="1350" y="2504"/>
                </a:lnTo>
                <a:lnTo>
                  <a:pt x="1362" y="2487"/>
                </a:lnTo>
                <a:lnTo>
                  <a:pt x="1367" y="2468"/>
                </a:lnTo>
                <a:lnTo>
                  <a:pt x="1366" y="2449"/>
                </a:lnTo>
                <a:lnTo>
                  <a:pt x="1358" y="2430"/>
                </a:lnTo>
                <a:lnTo>
                  <a:pt x="799" y="1517"/>
                </a:lnTo>
                <a:lnTo>
                  <a:pt x="780" y="1477"/>
                </a:lnTo>
                <a:lnTo>
                  <a:pt x="770" y="1435"/>
                </a:lnTo>
                <a:lnTo>
                  <a:pt x="770" y="1392"/>
                </a:lnTo>
                <a:lnTo>
                  <a:pt x="776" y="1348"/>
                </a:lnTo>
                <a:lnTo>
                  <a:pt x="791" y="1306"/>
                </a:lnTo>
                <a:lnTo>
                  <a:pt x="814" y="1268"/>
                </a:lnTo>
                <a:lnTo>
                  <a:pt x="844" y="1234"/>
                </a:lnTo>
                <a:lnTo>
                  <a:pt x="882" y="1205"/>
                </a:lnTo>
                <a:lnTo>
                  <a:pt x="926" y="1185"/>
                </a:lnTo>
                <a:lnTo>
                  <a:pt x="970" y="1173"/>
                </a:lnTo>
                <a:lnTo>
                  <a:pt x="1016" y="1171"/>
                </a:lnTo>
                <a:lnTo>
                  <a:pt x="1059" y="1177"/>
                </a:lnTo>
                <a:lnTo>
                  <a:pt x="1099" y="1190"/>
                </a:lnTo>
                <a:lnTo>
                  <a:pt x="1137" y="1211"/>
                </a:lnTo>
                <a:lnTo>
                  <a:pt x="1170" y="1240"/>
                </a:lnTo>
                <a:lnTo>
                  <a:pt x="1196" y="1274"/>
                </a:lnTo>
                <a:lnTo>
                  <a:pt x="1778" y="2021"/>
                </a:lnTo>
                <a:lnTo>
                  <a:pt x="1805" y="2053"/>
                </a:lnTo>
                <a:lnTo>
                  <a:pt x="1837" y="2088"/>
                </a:lnTo>
                <a:lnTo>
                  <a:pt x="1871" y="2120"/>
                </a:lnTo>
                <a:lnTo>
                  <a:pt x="1906" y="2152"/>
                </a:lnTo>
                <a:lnTo>
                  <a:pt x="1938" y="2177"/>
                </a:lnTo>
                <a:lnTo>
                  <a:pt x="2043" y="2257"/>
                </a:lnTo>
                <a:lnTo>
                  <a:pt x="2136" y="2338"/>
                </a:lnTo>
                <a:lnTo>
                  <a:pt x="2216" y="2418"/>
                </a:lnTo>
                <a:lnTo>
                  <a:pt x="2286" y="2496"/>
                </a:lnTo>
                <a:lnTo>
                  <a:pt x="2345" y="2574"/>
                </a:lnTo>
                <a:lnTo>
                  <a:pt x="2394" y="2650"/>
                </a:lnTo>
                <a:lnTo>
                  <a:pt x="2436" y="2722"/>
                </a:lnTo>
                <a:lnTo>
                  <a:pt x="2470" y="2793"/>
                </a:lnTo>
                <a:lnTo>
                  <a:pt x="2499" y="2859"/>
                </a:lnTo>
                <a:lnTo>
                  <a:pt x="2522" y="2922"/>
                </a:lnTo>
                <a:lnTo>
                  <a:pt x="2541" y="2983"/>
                </a:lnTo>
                <a:lnTo>
                  <a:pt x="2554" y="3036"/>
                </a:lnTo>
                <a:lnTo>
                  <a:pt x="2567" y="3087"/>
                </a:lnTo>
                <a:lnTo>
                  <a:pt x="2577" y="3131"/>
                </a:lnTo>
                <a:lnTo>
                  <a:pt x="2577" y="3137"/>
                </a:lnTo>
                <a:lnTo>
                  <a:pt x="2579" y="3150"/>
                </a:lnTo>
                <a:lnTo>
                  <a:pt x="2581" y="3173"/>
                </a:lnTo>
                <a:lnTo>
                  <a:pt x="2583" y="3203"/>
                </a:lnTo>
                <a:lnTo>
                  <a:pt x="2583" y="3240"/>
                </a:lnTo>
                <a:lnTo>
                  <a:pt x="2583" y="3297"/>
                </a:lnTo>
                <a:lnTo>
                  <a:pt x="2579" y="3357"/>
                </a:lnTo>
                <a:lnTo>
                  <a:pt x="2571" y="3424"/>
                </a:lnTo>
                <a:lnTo>
                  <a:pt x="2537" y="4051"/>
                </a:lnTo>
                <a:lnTo>
                  <a:pt x="2533" y="4078"/>
                </a:lnTo>
                <a:lnTo>
                  <a:pt x="2520" y="4101"/>
                </a:lnTo>
                <a:lnTo>
                  <a:pt x="2503" y="4120"/>
                </a:lnTo>
                <a:lnTo>
                  <a:pt x="2480" y="4131"/>
                </a:lnTo>
                <a:lnTo>
                  <a:pt x="2453" y="4135"/>
                </a:lnTo>
                <a:lnTo>
                  <a:pt x="1470" y="4131"/>
                </a:lnTo>
                <a:lnTo>
                  <a:pt x="1443" y="4125"/>
                </a:lnTo>
                <a:lnTo>
                  <a:pt x="1421" y="4114"/>
                </a:lnTo>
                <a:lnTo>
                  <a:pt x="1402" y="4095"/>
                </a:lnTo>
                <a:lnTo>
                  <a:pt x="1390" y="4072"/>
                </a:lnTo>
                <a:lnTo>
                  <a:pt x="1386" y="4046"/>
                </a:lnTo>
                <a:lnTo>
                  <a:pt x="1367" y="3527"/>
                </a:lnTo>
                <a:lnTo>
                  <a:pt x="434" y="2401"/>
                </a:lnTo>
                <a:lnTo>
                  <a:pt x="377" y="2338"/>
                </a:lnTo>
                <a:lnTo>
                  <a:pt x="325" y="2272"/>
                </a:lnTo>
                <a:lnTo>
                  <a:pt x="281" y="2203"/>
                </a:lnTo>
                <a:lnTo>
                  <a:pt x="243" y="2131"/>
                </a:lnTo>
                <a:lnTo>
                  <a:pt x="213" y="2055"/>
                </a:lnTo>
                <a:lnTo>
                  <a:pt x="188" y="1977"/>
                </a:lnTo>
                <a:lnTo>
                  <a:pt x="171" y="1894"/>
                </a:lnTo>
                <a:lnTo>
                  <a:pt x="164" y="1835"/>
                </a:lnTo>
                <a:lnTo>
                  <a:pt x="2" y="257"/>
                </a:lnTo>
                <a:lnTo>
                  <a:pt x="0" y="217"/>
                </a:lnTo>
                <a:lnTo>
                  <a:pt x="6" y="179"/>
                </a:lnTo>
                <a:lnTo>
                  <a:pt x="15" y="143"/>
                </a:lnTo>
                <a:lnTo>
                  <a:pt x="32" y="109"/>
                </a:lnTo>
                <a:lnTo>
                  <a:pt x="53" y="76"/>
                </a:lnTo>
                <a:lnTo>
                  <a:pt x="82" y="50"/>
                </a:lnTo>
                <a:lnTo>
                  <a:pt x="110" y="31"/>
                </a:lnTo>
                <a:lnTo>
                  <a:pt x="143" y="14"/>
                </a:lnTo>
                <a:lnTo>
                  <a:pt x="177" y="4"/>
                </a:lnTo>
                <a:lnTo>
                  <a:pt x="213" y="0"/>
                </a:lnTo>
                <a:close/>
              </a:path>
            </a:pathLst>
          </a:custGeom>
          <a:solidFill>
            <a:srgbClr val="FE5817"/>
          </a:solidFill>
          <a:ln w="9525">
            <a:noFill/>
            <a:round/>
          </a:ln>
        </p:spPr>
        <p:txBody>
          <a:bodyPr vert="horz" wrap="square" lIns="63305" tIns="31652" rIns="63305" bIns="31652" numCol="1" anchor="t" anchorCtr="0" compatLnSpc="1"/>
          <a:lstStyle/>
          <a:p>
            <a:endParaRPr lang="en-US" sz="1245" dirty="0">
              <a:solidFill>
                <a:prstClr val="black"/>
              </a:solidFill>
              <a:latin typeface="Arial" panose="020B0604020202020204"/>
              <a:ea typeface="华文楷体" panose="02010600040101010101" charset="-122"/>
              <a:sym typeface="+mn-lt"/>
            </a:endParaRPr>
          </a:p>
        </p:txBody>
      </p:sp>
      <p:sp>
        <p:nvSpPr>
          <p:cNvPr id="62" name="Freeform 569"/>
          <p:cNvSpPr/>
          <p:nvPr/>
        </p:nvSpPr>
        <p:spPr bwMode="auto">
          <a:xfrm>
            <a:off x="10450255" y="2308587"/>
            <a:ext cx="332480" cy="532585"/>
          </a:xfrm>
          <a:custGeom>
            <a:avLst/>
            <a:gdLst>
              <a:gd name="T0" fmla="*/ 2440 w 2583"/>
              <a:gd name="T1" fmla="*/ 15 h 4137"/>
              <a:gd name="T2" fmla="*/ 2530 w 2583"/>
              <a:gd name="T3" fmla="*/ 78 h 4137"/>
              <a:gd name="T4" fmla="*/ 2579 w 2583"/>
              <a:gd name="T5" fmla="*/ 181 h 4137"/>
              <a:gd name="T6" fmla="*/ 2420 w 2583"/>
              <a:gd name="T7" fmla="*/ 1837 h 4137"/>
              <a:gd name="T8" fmla="*/ 2370 w 2583"/>
              <a:gd name="T9" fmla="*/ 2057 h 4137"/>
              <a:gd name="T10" fmla="*/ 2258 w 2583"/>
              <a:gd name="T11" fmla="*/ 2274 h 4137"/>
              <a:gd name="T12" fmla="*/ 1216 w 2583"/>
              <a:gd name="T13" fmla="*/ 3528 h 4137"/>
              <a:gd name="T14" fmla="*/ 1181 w 2583"/>
              <a:gd name="T15" fmla="*/ 4097 h 4137"/>
              <a:gd name="T16" fmla="*/ 1113 w 2583"/>
              <a:gd name="T17" fmla="*/ 4131 h 4137"/>
              <a:gd name="T18" fmla="*/ 80 w 2583"/>
              <a:gd name="T19" fmla="*/ 4120 h 4137"/>
              <a:gd name="T20" fmla="*/ 46 w 2583"/>
              <a:gd name="T21" fmla="*/ 4053 h 4137"/>
              <a:gd name="T22" fmla="*/ 0 w 2583"/>
              <a:gd name="T23" fmla="*/ 3297 h 4137"/>
              <a:gd name="T24" fmla="*/ 2 w 2583"/>
              <a:gd name="T25" fmla="*/ 3175 h 4137"/>
              <a:gd name="T26" fmla="*/ 6 w 2583"/>
              <a:gd name="T27" fmla="*/ 3133 h 4137"/>
              <a:gd name="T28" fmla="*/ 42 w 2583"/>
              <a:gd name="T29" fmla="*/ 2983 h 4137"/>
              <a:gd name="T30" fmla="*/ 113 w 2583"/>
              <a:gd name="T31" fmla="*/ 2793 h 4137"/>
              <a:gd name="T32" fmla="*/ 238 w 2583"/>
              <a:gd name="T33" fmla="*/ 2574 h 4137"/>
              <a:gd name="T34" fmla="*/ 447 w 2583"/>
              <a:gd name="T35" fmla="*/ 2338 h 4137"/>
              <a:gd name="T36" fmla="*/ 677 w 2583"/>
              <a:gd name="T37" fmla="*/ 2152 h 4137"/>
              <a:gd name="T38" fmla="*/ 778 w 2583"/>
              <a:gd name="T39" fmla="*/ 2053 h 4137"/>
              <a:gd name="T40" fmla="*/ 1413 w 2583"/>
              <a:gd name="T41" fmla="*/ 1240 h 4137"/>
              <a:gd name="T42" fmla="*/ 1524 w 2583"/>
              <a:gd name="T43" fmla="*/ 1177 h 4137"/>
              <a:gd name="T44" fmla="*/ 1657 w 2583"/>
              <a:gd name="T45" fmla="*/ 1185 h 4137"/>
              <a:gd name="T46" fmla="*/ 1769 w 2583"/>
              <a:gd name="T47" fmla="*/ 1270 h 4137"/>
              <a:gd name="T48" fmla="*/ 1813 w 2583"/>
              <a:gd name="T49" fmla="*/ 1394 h 4137"/>
              <a:gd name="T50" fmla="*/ 1784 w 2583"/>
              <a:gd name="T51" fmla="*/ 1519 h 4137"/>
              <a:gd name="T52" fmla="*/ 1216 w 2583"/>
              <a:gd name="T53" fmla="*/ 2470 h 4137"/>
              <a:gd name="T54" fmla="*/ 1248 w 2583"/>
              <a:gd name="T55" fmla="*/ 2517 h 4137"/>
              <a:gd name="T56" fmla="*/ 1313 w 2583"/>
              <a:gd name="T57" fmla="*/ 2513 h 4137"/>
              <a:gd name="T58" fmla="*/ 1355 w 2583"/>
              <a:gd name="T59" fmla="*/ 2458 h 4137"/>
              <a:gd name="T60" fmla="*/ 1398 w 2583"/>
              <a:gd name="T61" fmla="*/ 2399 h 4137"/>
              <a:gd name="T62" fmla="*/ 1480 w 2583"/>
              <a:gd name="T63" fmla="*/ 2281 h 4137"/>
              <a:gd name="T64" fmla="*/ 1590 w 2583"/>
              <a:gd name="T65" fmla="*/ 2116 h 4137"/>
              <a:gd name="T66" fmla="*/ 1714 w 2583"/>
              <a:gd name="T67" fmla="*/ 1922 h 4137"/>
              <a:gd name="T68" fmla="*/ 1839 w 2583"/>
              <a:gd name="T69" fmla="*/ 1711 h 4137"/>
              <a:gd name="T70" fmla="*/ 1954 w 2583"/>
              <a:gd name="T71" fmla="*/ 1496 h 4137"/>
              <a:gd name="T72" fmla="*/ 2032 w 2583"/>
              <a:gd name="T73" fmla="*/ 1301 h 4137"/>
              <a:gd name="T74" fmla="*/ 2052 w 2583"/>
              <a:gd name="T75" fmla="*/ 1145 h 4137"/>
              <a:gd name="T76" fmla="*/ 2064 w 2583"/>
              <a:gd name="T77" fmla="*/ 926 h 4137"/>
              <a:gd name="T78" fmla="*/ 2100 w 2583"/>
              <a:gd name="T79" fmla="*/ 607 h 4137"/>
              <a:gd name="T80" fmla="*/ 2132 w 2583"/>
              <a:gd name="T81" fmla="*/ 386 h 4137"/>
              <a:gd name="T82" fmla="*/ 2153 w 2583"/>
              <a:gd name="T83" fmla="*/ 266 h 4137"/>
              <a:gd name="T84" fmla="*/ 2191 w 2583"/>
              <a:gd name="T85" fmla="*/ 133 h 4137"/>
              <a:gd name="T86" fmla="*/ 2262 w 2583"/>
              <a:gd name="T87" fmla="*/ 36 h 4137"/>
              <a:gd name="T88" fmla="*/ 2370 w 2583"/>
              <a:gd name="T89" fmla="*/ 0 h 4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83" h="4137">
                <a:moveTo>
                  <a:pt x="2370" y="0"/>
                </a:moveTo>
                <a:lnTo>
                  <a:pt x="2406" y="6"/>
                </a:lnTo>
                <a:lnTo>
                  <a:pt x="2440" y="15"/>
                </a:lnTo>
                <a:lnTo>
                  <a:pt x="2473" y="31"/>
                </a:lnTo>
                <a:lnTo>
                  <a:pt x="2501" y="52"/>
                </a:lnTo>
                <a:lnTo>
                  <a:pt x="2530" y="78"/>
                </a:lnTo>
                <a:lnTo>
                  <a:pt x="2553" y="110"/>
                </a:lnTo>
                <a:lnTo>
                  <a:pt x="2568" y="145"/>
                </a:lnTo>
                <a:lnTo>
                  <a:pt x="2579" y="181"/>
                </a:lnTo>
                <a:lnTo>
                  <a:pt x="2583" y="219"/>
                </a:lnTo>
                <a:lnTo>
                  <a:pt x="2583" y="259"/>
                </a:lnTo>
                <a:lnTo>
                  <a:pt x="2420" y="1837"/>
                </a:lnTo>
                <a:lnTo>
                  <a:pt x="2412" y="1896"/>
                </a:lnTo>
                <a:lnTo>
                  <a:pt x="2395" y="1977"/>
                </a:lnTo>
                <a:lnTo>
                  <a:pt x="2370" y="2057"/>
                </a:lnTo>
                <a:lnTo>
                  <a:pt x="2340" y="2131"/>
                </a:lnTo>
                <a:lnTo>
                  <a:pt x="2302" y="2203"/>
                </a:lnTo>
                <a:lnTo>
                  <a:pt x="2258" y="2274"/>
                </a:lnTo>
                <a:lnTo>
                  <a:pt x="2207" y="2338"/>
                </a:lnTo>
                <a:lnTo>
                  <a:pt x="2149" y="2403"/>
                </a:lnTo>
                <a:lnTo>
                  <a:pt x="1216" y="3528"/>
                </a:lnTo>
                <a:lnTo>
                  <a:pt x="1197" y="4047"/>
                </a:lnTo>
                <a:lnTo>
                  <a:pt x="1193" y="4074"/>
                </a:lnTo>
                <a:lnTo>
                  <a:pt x="1181" y="4097"/>
                </a:lnTo>
                <a:lnTo>
                  <a:pt x="1162" y="4116"/>
                </a:lnTo>
                <a:lnTo>
                  <a:pt x="1140" y="4127"/>
                </a:lnTo>
                <a:lnTo>
                  <a:pt x="1113" y="4131"/>
                </a:lnTo>
                <a:lnTo>
                  <a:pt x="130" y="4137"/>
                </a:lnTo>
                <a:lnTo>
                  <a:pt x="103" y="4133"/>
                </a:lnTo>
                <a:lnTo>
                  <a:pt x="80" y="4120"/>
                </a:lnTo>
                <a:lnTo>
                  <a:pt x="61" y="4103"/>
                </a:lnTo>
                <a:lnTo>
                  <a:pt x="50" y="4080"/>
                </a:lnTo>
                <a:lnTo>
                  <a:pt x="46" y="4053"/>
                </a:lnTo>
                <a:lnTo>
                  <a:pt x="12" y="3424"/>
                </a:lnTo>
                <a:lnTo>
                  <a:pt x="4" y="3359"/>
                </a:lnTo>
                <a:lnTo>
                  <a:pt x="0" y="3297"/>
                </a:lnTo>
                <a:lnTo>
                  <a:pt x="0" y="3240"/>
                </a:lnTo>
                <a:lnTo>
                  <a:pt x="2" y="3205"/>
                </a:lnTo>
                <a:lnTo>
                  <a:pt x="2" y="3175"/>
                </a:lnTo>
                <a:lnTo>
                  <a:pt x="4" y="3152"/>
                </a:lnTo>
                <a:lnTo>
                  <a:pt x="6" y="3139"/>
                </a:lnTo>
                <a:lnTo>
                  <a:pt x="6" y="3133"/>
                </a:lnTo>
                <a:lnTo>
                  <a:pt x="16" y="3087"/>
                </a:lnTo>
                <a:lnTo>
                  <a:pt x="29" y="3038"/>
                </a:lnTo>
                <a:lnTo>
                  <a:pt x="42" y="2983"/>
                </a:lnTo>
                <a:lnTo>
                  <a:pt x="61" y="2924"/>
                </a:lnTo>
                <a:lnTo>
                  <a:pt x="84" y="2859"/>
                </a:lnTo>
                <a:lnTo>
                  <a:pt x="113" y="2793"/>
                </a:lnTo>
                <a:lnTo>
                  <a:pt x="147" y="2722"/>
                </a:lnTo>
                <a:lnTo>
                  <a:pt x="189" y="2650"/>
                </a:lnTo>
                <a:lnTo>
                  <a:pt x="238" y="2574"/>
                </a:lnTo>
                <a:lnTo>
                  <a:pt x="297" y="2498"/>
                </a:lnTo>
                <a:lnTo>
                  <a:pt x="366" y="2418"/>
                </a:lnTo>
                <a:lnTo>
                  <a:pt x="447" y="2338"/>
                </a:lnTo>
                <a:lnTo>
                  <a:pt x="539" y="2259"/>
                </a:lnTo>
                <a:lnTo>
                  <a:pt x="645" y="2177"/>
                </a:lnTo>
                <a:lnTo>
                  <a:pt x="677" y="2152"/>
                </a:lnTo>
                <a:lnTo>
                  <a:pt x="712" y="2122"/>
                </a:lnTo>
                <a:lnTo>
                  <a:pt x="746" y="2088"/>
                </a:lnTo>
                <a:lnTo>
                  <a:pt x="778" y="2053"/>
                </a:lnTo>
                <a:lnTo>
                  <a:pt x="805" y="2023"/>
                </a:lnTo>
                <a:lnTo>
                  <a:pt x="1387" y="1276"/>
                </a:lnTo>
                <a:lnTo>
                  <a:pt x="1413" y="1240"/>
                </a:lnTo>
                <a:lnTo>
                  <a:pt x="1446" y="1211"/>
                </a:lnTo>
                <a:lnTo>
                  <a:pt x="1484" y="1190"/>
                </a:lnTo>
                <a:lnTo>
                  <a:pt x="1524" y="1177"/>
                </a:lnTo>
                <a:lnTo>
                  <a:pt x="1569" y="1171"/>
                </a:lnTo>
                <a:lnTo>
                  <a:pt x="1613" y="1173"/>
                </a:lnTo>
                <a:lnTo>
                  <a:pt x="1657" y="1185"/>
                </a:lnTo>
                <a:lnTo>
                  <a:pt x="1701" y="1205"/>
                </a:lnTo>
                <a:lnTo>
                  <a:pt x="1739" y="1234"/>
                </a:lnTo>
                <a:lnTo>
                  <a:pt x="1769" y="1270"/>
                </a:lnTo>
                <a:lnTo>
                  <a:pt x="1792" y="1308"/>
                </a:lnTo>
                <a:lnTo>
                  <a:pt x="1807" y="1350"/>
                </a:lnTo>
                <a:lnTo>
                  <a:pt x="1813" y="1394"/>
                </a:lnTo>
                <a:lnTo>
                  <a:pt x="1813" y="1437"/>
                </a:lnTo>
                <a:lnTo>
                  <a:pt x="1803" y="1479"/>
                </a:lnTo>
                <a:lnTo>
                  <a:pt x="1784" y="1519"/>
                </a:lnTo>
                <a:lnTo>
                  <a:pt x="1225" y="2432"/>
                </a:lnTo>
                <a:lnTo>
                  <a:pt x="1218" y="2451"/>
                </a:lnTo>
                <a:lnTo>
                  <a:pt x="1216" y="2470"/>
                </a:lnTo>
                <a:lnTo>
                  <a:pt x="1221" y="2489"/>
                </a:lnTo>
                <a:lnTo>
                  <a:pt x="1233" y="2504"/>
                </a:lnTo>
                <a:lnTo>
                  <a:pt x="1248" y="2517"/>
                </a:lnTo>
                <a:lnTo>
                  <a:pt x="1271" y="2525"/>
                </a:lnTo>
                <a:lnTo>
                  <a:pt x="1292" y="2523"/>
                </a:lnTo>
                <a:lnTo>
                  <a:pt x="1313" y="2513"/>
                </a:lnTo>
                <a:lnTo>
                  <a:pt x="1330" y="2498"/>
                </a:lnTo>
                <a:lnTo>
                  <a:pt x="1353" y="2464"/>
                </a:lnTo>
                <a:lnTo>
                  <a:pt x="1355" y="2458"/>
                </a:lnTo>
                <a:lnTo>
                  <a:pt x="1364" y="2447"/>
                </a:lnTo>
                <a:lnTo>
                  <a:pt x="1379" y="2426"/>
                </a:lnTo>
                <a:lnTo>
                  <a:pt x="1398" y="2399"/>
                </a:lnTo>
                <a:lnTo>
                  <a:pt x="1421" y="2365"/>
                </a:lnTo>
                <a:lnTo>
                  <a:pt x="1450" y="2325"/>
                </a:lnTo>
                <a:lnTo>
                  <a:pt x="1480" y="2281"/>
                </a:lnTo>
                <a:lnTo>
                  <a:pt x="1514" y="2230"/>
                </a:lnTo>
                <a:lnTo>
                  <a:pt x="1550" y="2175"/>
                </a:lnTo>
                <a:lnTo>
                  <a:pt x="1590" y="2116"/>
                </a:lnTo>
                <a:lnTo>
                  <a:pt x="1630" y="2055"/>
                </a:lnTo>
                <a:lnTo>
                  <a:pt x="1672" y="1989"/>
                </a:lnTo>
                <a:lnTo>
                  <a:pt x="1714" y="1922"/>
                </a:lnTo>
                <a:lnTo>
                  <a:pt x="1756" y="1854"/>
                </a:lnTo>
                <a:lnTo>
                  <a:pt x="1798" y="1781"/>
                </a:lnTo>
                <a:lnTo>
                  <a:pt x="1839" y="1711"/>
                </a:lnTo>
                <a:lnTo>
                  <a:pt x="1879" y="1639"/>
                </a:lnTo>
                <a:lnTo>
                  <a:pt x="1917" y="1569"/>
                </a:lnTo>
                <a:lnTo>
                  <a:pt x="1954" y="1496"/>
                </a:lnTo>
                <a:lnTo>
                  <a:pt x="1986" y="1428"/>
                </a:lnTo>
                <a:lnTo>
                  <a:pt x="2013" y="1365"/>
                </a:lnTo>
                <a:lnTo>
                  <a:pt x="2032" y="1301"/>
                </a:lnTo>
                <a:lnTo>
                  <a:pt x="2045" y="1236"/>
                </a:lnTo>
                <a:lnTo>
                  <a:pt x="2051" y="1169"/>
                </a:lnTo>
                <a:lnTo>
                  <a:pt x="2052" y="1145"/>
                </a:lnTo>
                <a:lnTo>
                  <a:pt x="2054" y="1122"/>
                </a:lnTo>
                <a:lnTo>
                  <a:pt x="2058" y="1027"/>
                </a:lnTo>
                <a:lnTo>
                  <a:pt x="2064" y="926"/>
                </a:lnTo>
                <a:lnTo>
                  <a:pt x="2073" y="820"/>
                </a:lnTo>
                <a:lnTo>
                  <a:pt x="2087" y="711"/>
                </a:lnTo>
                <a:lnTo>
                  <a:pt x="2100" y="607"/>
                </a:lnTo>
                <a:lnTo>
                  <a:pt x="2113" y="504"/>
                </a:lnTo>
                <a:lnTo>
                  <a:pt x="2129" y="411"/>
                </a:lnTo>
                <a:lnTo>
                  <a:pt x="2132" y="386"/>
                </a:lnTo>
                <a:lnTo>
                  <a:pt x="2138" y="352"/>
                </a:lnTo>
                <a:lnTo>
                  <a:pt x="2144" y="312"/>
                </a:lnTo>
                <a:lnTo>
                  <a:pt x="2153" y="266"/>
                </a:lnTo>
                <a:lnTo>
                  <a:pt x="2165" y="221"/>
                </a:lnTo>
                <a:lnTo>
                  <a:pt x="2176" y="175"/>
                </a:lnTo>
                <a:lnTo>
                  <a:pt x="2191" y="133"/>
                </a:lnTo>
                <a:lnTo>
                  <a:pt x="2208" y="95"/>
                </a:lnTo>
                <a:lnTo>
                  <a:pt x="2227" y="69"/>
                </a:lnTo>
                <a:lnTo>
                  <a:pt x="2262" y="36"/>
                </a:lnTo>
                <a:lnTo>
                  <a:pt x="2296" y="15"/>
                </a:lnTo>
                <a:lnTo>
                  <a:pt x="2334" y="4"/>
                </a:lnTo>
                <a:lnTo>
                  <a:pt x="2370" y="0"/>
                </a:lnTo>
                <a:close/>
              </a:path>
            </a:pathLst>
          </a:custGeom>
          <a:solidFill>
            <a:srgbClr val="FE5817"/>
          </a:solidFill>
          <a:ln w="9525">
            <a:noFill/>
            <a:round/>
          </a:ln>
        </p:spPr>
        <p:txBody>
          <a:bodyPr vert="horz" wrap="square" lIns="63305" tIns="31652" rIns="63305" bIns="31652" numCol="1" anchor="t" anchorCtr="0" compatLnSpc="1"/>
          <a:lstStyle/>
          <a:p>
            <a:endParaRPr lang="en-US" sz="1245" dirty="0">
              <a:solidFill>
                <a:prstClr val="black"/>
              </a:solidFill>
              <a:latin typeface="Arial" panose="020B0604020202020204"/>
              <a:ea typeface="华文楷体" panose="02010600040101010101" charset="-122"/>
              <a:sym typeface="+mn-lt"/>
            </a:endParaRPr>
          </a:p>
        </p:txBody>
      </p:sp>
      <p:sp>
        <p:nvSpPr>
          <p:cNvPr id="63" name="Freeform 570"/>
          <p:cNvSpPr/>
          <p:nvPr/>
        </p:nvSpPr>
        <p:spPr bwMode="auto">
          <a:xfrm>
            <a:off x="10051074" y="2331507"/>
            <a:ext cx="34768" cy="114604"/>
          </a:xfrm>
          <a:custGeom>
            <a:avLst/>
            <a:gdLst>
              <a:gd name="T0" fmla="*/ 0 w 271"/>
              <a:gd name="T1" fmla="*/ 0 h 890"/>
              <a:gd name="T2" fmla="*/ 37 w 271"/>
              <a:gd name="T3" fmla="*/ 15 h 890"/>
              <a:gd name="T4" fmla="*/ 69 w 271"/>
              <a:gd name="T5" fmla="*/ 36 h 890"/>
              <a:gd name="T6" fmla="*/ 96 w 271"/>
              <a:gd name="T7" fmla="*/ 63 h 890"/>
              <a:gd name="T8" fmla="*/ 118 w 271"/>
              <a:gd name="T9" fmla="*/ 93 h 890"/>
              <a:gd name="T10" fmla="*/ 135 w 271"/>
              <a:gd name="T11" fmla="*/ 127 h 890"/>
              <a:gd name="T12" fmla="*/ 149 w 271"/>
              <a:gd name="T13" fmla="*/ 165 h 890"/>
              <a:gd name="T14" fmla="*/ 162 w 271"/>
              <a:gd name="T15" fmla="*/ 224 h 890"/>
              <a:gd name="T16" fmla="*/ 177 w 271"/>
              <a:gd name="T17" fmla="*/ 291 h 890"/>
              <a:gd name="T18" fmla="*/ 194 w 271"/>
              <a:gd name="T19" fmla="*/ 365 h 890"/>
              <a:gd name="T20" fmla="*/ 210 w 271"/>
              <a:gd name="T21" fmla="*/ 441 h 890"/>
              <a:gd name="T22" fmla="*/ 225 w 271"/>
              <a:gd name="T23" fmla="*/ 519 h 890"/>
              <a:gd name="T24" fmla="*/ 238 w 271"/>
              <a:gd name="T25" fmla="*/ 597 h 890"/>
              <a:gd name="T26" fmla="*/ 252 w 271"/>
              <a:gd name="T27" fmla="*/ 669 h 890"/>
              <a:gd name="T28" fmla="*/ 261 w 271"/>
              <a:gd name="T29" fmla="*/ 738 h 890"/>
              <a:gd name="T30" fmla="*/ 271 w 271"/>
              <a:gd name="T31" fmla="*/ 796 h 890"/>
              <a:gd name="T32" fmla="*/ 269 w 271"/>
              <a:gd name="T33" fmla="*/ 798 h 890"/>
              <a:gd name="T34" fmla="*/ 267 w 271"/>
              <a:gd name="T35" fmla="*/ 802 h 890"/>
              <a:gd name="T36" fmla="*/ 221 w 271"/>
              <a:gd name="T37" fmla="*/ 819 h 890"/>
              <a:gd name="T38" fmla="*/ 177 w 271"/>
              <a:gd name="T39" fmla="*/ 842 h 890"/>
              <a:gd name="T40" fmla="*/ 145 w 271"/>
              <a:gd name="T41" fmla="*/ 865 h 890"/>
              <a:gd name="T42" fmla="*/ 115 w 271"/>
              <a:gd name="T43" fmla="*/ 890 h 890"/>
              <a:gd name="T44" fmla="*/ 115 w 271"/>
              <a:gd name="T45" fmla="*/ 838 h 890"/>
              <a:gd name="T46" fmla="*/ 111 w 271"/>
              <a:gd name="T47" fmla="*/ 776 h 890"/>
              <a:gd name="T48" fmla="*/ 107 w 271"/>
              <a:gd name="T49" fmla="*/ 703 h 890"/>
              <a:gd name="T50" fmla="*/ 99 w 271"/>
              <a:gd name="T51" fmla="*/ 627 h 890"/>
              <a:gd name="T52" fmla="*/ 92 w 271"/>
              <a:gd name="T53" fmla="*/ 546 h 890"/>
              <a:gd name="T54" fmla="*/ 80 w 271"/>
              <a:gd name="T55" fmla="*/ 462 h 890"/>
              <a:gd name="T56" fmla="*/ 71 w 271"/>
              <a:gd name="T57" fmla="*/ 380 h 890"/>
              <a:gd name="T58" fmla="*/ 59 w 271"/>
              <a:gd name="T59" fmla="*/ 302 h 890"/>
              <a:gd name="T60" fmla="*/ 48 w 271"/>
              <a:gd name="T61" fmla="*/ 230 h 890"/>
              <a:gd name="T62" fmla="*/ 37 w 271"/>
              <a:gd name="T63" fmla="*/ 165 h 890"/>
              <a:gd name="T64" fmla="*/ 21 w 271"/>
              <a:gd name="T65" fmla="*/ 84 h 890"/>
              <a:gd name="T66" fmla="*/ 0 w 271"/>
              <a:gd name="T67" fmla="*/ 0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890">
                <a:moveTo>
                  <a:pt x="0" y="0"/>
                </a:moveTo>
                <a:lnTo>
                  <a:pt x="37" y="15"/>
                </a:lnTo>
                <a:lnTo>
                  <a:pt x="69" y="36"/>
                </a:lnTo>
                <a:lnTo>
                  <a:pt x="96" y="63"/>
                </a:lnTo>
                <a:lnTo>
                  <a:pt x="118" y="93"/>
                </a:lnTo>
                <a:lnTo>
                  <a:pt x="135" y="127"/>
                </a:lnTo>
                <a:lnTo>
                  <a:pt x="149" y="165"/>
                </a:lnTo>
                <a:lnTo>
                  <a:pt x="162" y="224"/>
                </a:lnTo>
                <a:lnTo>
                  <a:pt x="177" y="291"/>
                </a:lnTo>
                <a:lnTo>
                  <a:pt x="194" y="365"/>
                </a:lnTo>
                <a:lnTo>
                  <a:pt x="210" y="441"/>
                </a:lnTo>
                <a:lnTo>
                  <a:pt x="225" y="519"/>
                </a:lnTo>
                <a:lnTo>
                  <a:pt x="238" y="597"/>
                </a:lnTo>
                <a:lnTo>
                  <a:pt x="252" y="669"/>
                </a:lnTo>
                <a:lnTo>
                  <a:pt x="261" y="738"/>
                </a:lnTo>
                <a:lnTo>
                  <a:pt x="271" y="796"/>
                </a:lnTo>
                <a:lnTo>
                  <a:pt x="269" y="798"/>
                </a:lnTo>
                <a:lnTo>
                  <a:pt x="267" y="802"/>
                </a:lnTo>
                <a:lnTo>
                  <a:pt x="221" y="819"/>
                </a:lnTo>
                <a:lnTo>
                  <a:pt x="177" y="842"/>
                </a:lnTo>
                <a:lnTo>
                  <a:pt x="145" y="865"/>
                </a:lnTo>
                <a:lnTo>
                  <a:pt x="115" y="890"/>
                </a:lnTo>
                <a:lnTo>
                  <a:pt x="115" y="838"/>
                </a:lnTo>
                <a:lnTo>
                  <a:pt x="111" y="776"/>
                </a:lnTo>
                <a:lnTo>
                  <a:pt x="107" y="703"/>
                </a:lnTo>
                <a:lnTo>
                  <a:pt x="99" y="627"/>
                </a:lnTo>
                <a:lnTo>
                  <a:pt x="92" y="546"/>
                </a:lnTo>
                <a:lnTo>
                  <a:pt x="80" y="462"/>
                </a:lnTo>
                <a:lnTo>
                  <a:pt x="71" y="380"/>
                </a:lnTo>
                <a:lnTo>
                  <a:pt x="59" y="302"/>
                </a:lnTo>
                <a:lnTo>
                  <a:pt x="48" y="230"/>
                </a:lnTo>
                <a:lnTo>
                  <a:pt x="37" y="165"/>
                </a:lnTo>
                <a:lnTo>
                  <a:pt x="21" y="84"/>
                </a:lnTo>
                <a:lnTo>
                  <a:pt x="0" y="0"/>
                </a:lnTo>
                <a:close/>
              </a:path>
            </a:pathLst>
          </a:custGeom>
          <a:solidFill>
            <a:schemeClr val="accent1"/>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4" name="Freeform 571"/>
          <p:cNvSpPr/>
          <p:nvPr/>
        </p:nvSpPr>
        <p:spPr bwMode="auto">
          <a:xfrm>
            <a:off x="10091249" y="2360867"/>
            <a:ext cx="33222" cy="74428"/>
          </a:xfrm>
          <a:custGeom>
            <a:avLst/>
            <a:gdLst>
              <a:gd name="T0" fmla="*/ 0 w 259"/>
              <a:gd name="T1" fmla="*/ 0 h 580"/>
              <a:gd name="T2" fmla="*/ 36 w 259"/>
              <a:gd name="T3" fmla="*/ 15 h 580"/>
              <a:gd name="T4" fmla="*/ 69 w 259"/>
              <a:gd name="T5" fmla="*/ 36 h 580"/>
              <a:gd name="T6" fmla="*/ 95 w 259"/>
              <a:gd name="T7" fmla="*/ 63 h 580"/>
              <a:gd name="T8" fmla="*/ 116 w 259"/>
              <a:gd name="T9" fmla="*/ 91 h 580"/>
              <a:gd name="T10" fmla="*/ 133 w 259"/>
              <a:gd name="T11" fmla="*/ 126 h 580"/>
              <a:gd name="T12" fmla="*/ 147 w 259"/>
              <a:gd name="T13" fmla="*/ 166 h 580"/>
              <a:gd name="T14" fmla="*/ 158 w 259"/>
              <a:gd name="T15" fmla="*/ 207 h 580"/>
              <a:gd name="T16" fmla="*/ 173 w 259"/>
              <a:gd name="T17" fmla="*/ 257 h 580"/>
              <a:gd name="T18" fmla="*/ 191 w 259"/>
              <a:gd name="T19" fmla="*/ 312 h 580"/>
              <a:gd name="T20" fmla="*/ 208 w 259"/>
              <a:gd name="T21" fmla="*/ 369 h 580"/>
              <a:gd name="T22" fmla="*/ 223 w 259"/>
              <a:gd name="T23" fmla="*/ 428 h 580"/>
              <a:gd name="T24" fmla="*/ 238 w 259"/>
              <a:gd name="T25" fmla="*/ 483 h 580"/>
              <a:gd name="T26" fmla="*/ 251 w 259"/>
              <a:gd name="T27" fmla="*/ 536 h 580"/>
              <a:gd name="T28" fmla="*/ 259 w 259"/>
              <a:gd name="T29" fmla="*/ 580 h 580"/>
              <a:gd name="T30" fmla="*/ 191 w 259"/>
              <a:gd name="T31" fmla="*/ 559 h 580"/>
              <a:gd name="T32" fmla="*/ 120 w 259"/>
              <a:gd name="T33" fmla="*/ 551 h 580"/>
              <a:gd name="T34" fmla="*/ 120 w 259"/>
              <a:gd name="T35" fmla="*/ 540 h 580"/>
              <a:gd name="T36" fmla="*/ 118 w 259"/>
              <a:gd name="T37" fmla="*/ 529 h 580"/>
              <a:gd name="T38" fmla="*/ 109 w 259"/>
              <a:gd name="T39" fmla="*/ 451 h 580"/>
              <a:gd name="T40" fmla="*/ 99 w 259"/>
              <a:gd name="T41" fmla="*/ 403 h 580"/>
              <a:gd name="T42" fmla="*/ 88 w 259"/>
              <a:gd name="T43" fmla="*/ 348 h 580"/>
              <a:gd name="T44" fmla="*/ 75 w 259"/>
              <a:gd name="T45" fmla="*/ 289 h 580"/>
              <a:gd name="T46" fmla="*/ 57 w 259"/>
              <a:gd name="T47" fmla="*/ 226 h 580"/>
              <a:gd name="T48" fmla="*/ 42 w 259"/>
              <a:gd name="T49" fmla="*/ 164 h 580"/>
              <a:gd name="T50" fmla="*/ 25 w 259"/>
              <a:gd name="T51" fmla="*/ 105 h 580"/>
              <a:gd name="T52" fmla="*/ 12 w 259"/>
              <a:gd name="T53" fmla="*/ 48 h 580"/>
              <a:gd name="T54" fmla="*/ 0 w 259"/>
              <a:gd name="T55"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9" h="580">
                <a:moveTo>
                  <a:pt x="0" y="0"/>
                </a:moveTo>
                <a:lnTo>
                  <a:pt x="36" y="15"/>
                </a:lnTo>
                <a:lnTo>
                  <a:pt x="69" y="36"/>
                </a:lnTo>
                <a:lnTo>
                  <a:pt x="95" y="63"/>
                </a:lnTo>
                <a:lnTo>
                  <a:pt x="116" y="91"/>
                </a:lnTo>
                <a:lnTo>
                  <a:pt x="133" y="126"/>
                </a:lnTo>
                <a:lnTo>
                  <a:pt x="147" y="166"/>
                </a:lnTo>
                <a:lnTo>
                  <a:pt x="158" y="207"/>
                </a:lnTo>
                <a:lnTo>
                  <a:pt x="173" y="257"/>
                </a:lnTo>
                <a:lnTo>
                  <a:pt x="191" y="312"/>
                </a:lnTo>
                <a:lnTo>
                  <a:pt x="208" y="369"/>
                </a:lnTo>
                <a:lnTo>
                  <a:pt x="223" y="428"/>
                </a:lnTo>
                <a:lnTo>
                  <a:pt x="238" y="483"/>
                </a:lnTo>
                <a:lnTo>
                  <a:pt x="251" y="536"/>
                </a:lnTo>
                <a:lnTo>
                  <a:pt x="259" y="580"/>
                </a:lnTo>
                <a:lnTo>
                  <a:pt x="191" y="559"/>
                </a:lnTo>
                <a:lnTo>
                  <a:pt x="120" y="551"/>
                </a:lnTo>
                <a:lnTo>
                  <a:pt x="120" y="540"/>
                </a:lnTo>
                <a:lnTo>
                  <a:pt x="118" y="529"/>
                </a:lnTo>
                <a:lnTo>
                  <a:pt x="109" y="451"/>
                </a:lnTo>
                <a:lnTo>
                  <a:pt x="99" y="403"/>
                </a:lnTo>
                <a:lnTo>
                  <a:pt x="88" y="348"/>
                </a:lnTo>
                <a:lnTo>
                  <a:pt x="75" y="289"/>
                </a:lnTo>
                <a:lnTo>
                  <a:pt x="57" y="226"/>
                </a:lnTo>
                <a:lnTo>
                  <a:pt x="42" y="164"/>
                </a:lnTo>
                <a:lnTo>
                  <a:pt x="25" y="105"/>
                </a:lnTo>
                <a:lnTo>
                  <a:pt x="12" y="48"/>
                </a:lnTo>
                <a:lnTo>
                  <a:pt x="0" y="0"/>
                </a:lnTo>
                <a:close/>
              </a:path>
            </a:pathLst>
          </a:custGeom>
          <a:solidFill>
            <a:schemeClr val="accent1"/>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35" name="Freeform 192"/>
          <p:cNvSpPr>
            <a:spLocks noEditPoints="1"/>
          </p:cNvSpPr>
          <p:nvPr/>
        </p:nvSpPr>
        <p:spPr bwMode="auto">
          <a:xfrm>
            <a:off x="692694" y="3194270"/>
            <a:ext cx="465952" cy="469460"/>
          </a:xfrm>
          <a:custGeom>
            <a:avLst/>
            <a:gdLst>
              <a:gd name="T0" fmla="*/ 0 w 140"/>
              <a:gd name="T1" fmla="*/ 7 h 134"/>
              <a:gd name="T2" fmla="*/ 5 w 140"/>
              <a:gd name="T3" fmla="*/ 7 h 134"/>
              <a:gd name="T4" fmla="*/ 5 w 140"/>
              <a:gd name="T5" fmla="*/ 9 h 134"/>
              <a:gd name="T6" fmla="*/ 0 w 140"/>
              <a:gd name="T7" fmla="*/ 9 h 134"/>
              <a:gd name="T8" fmla="*/ 0 w 140"/>
              <a:gd name="T9" fmla="*/ 7 h 134"/>
              <a:gd name="T10" fmla="*/ 0 w 140"/>
              <a:gd name="T11" fmla="*/ 21 h 134"/>
              <a:gd name="T12" fmla="*/ 5 w 140"/>
              <a:gd name="T13" fmla="*/ 21 h 134"/>
              <a:gd name="T14" fmla="*/ 5 w 140"/>
              <a:gd name="T15" fmla="*/ 19 h 134"/>
              <a:gd name="T16" fmla="*/ 0 w 140"/>
              <a:gd name="T17" fmla="*/ 19 h 134"/>
              <a:gd name="T18" fmla="*/ 0 w 140"/>
              <a:gd name="T19" fmla="*/ 21 h 134"/>
              <a:gd name="T20" fmla="*/ 0 w 140"/>
              <a:gd name="T21" fmla="*/ 34 h 134"/>
              <a:gd name="T22" fmla="*/ 5 w 140"/>
              <a:gd name="T23" fmla="*/ 34 h 134"/>
              <a:gd name="T24" fmla="*/ 5 w 140"/>
              <a:gd name="T25" fmla="*/ 32 h 134"/>
              <a:gd name="T26" fmla="*/ 0 w 140"/>
              <a:gd name="T27" fmla="*/ 32 h 134"/>
              <a:gd name="T28" fmla="*/ 0 w 140"/>
              <a:gd name="T29" fmla="*/ 34 h 134"/>
              <a:gd name="T30" fmla="*/ 0 w 140"/>
              <a:gd name="T31" fmla="*/ 46 h 134"/>
              <a:gd name="T32" fmla="*/ 5 w 140"/>
              <a:gd name="T33" fmla="*/ 46 h 134"/>
              <a:gd name="T34" fmla="*/ 5 w 140"/>
              <a:gd name="T35" fmla="*/ 44 h 134"/>
              <a:gd name="T36" fmla="*/ 0 w 140"/>
              <a:gd name="T37" fmla="*/ 44 h 134"/>
              <a:gd name="T38" fmla="*/ 0 w 140"/>
              <a:gd name="T39" fmla="*/ 46 h 134"/>
              <a:gd name="T40" fmla="*/ 0 w 140"/>
              <a:gd name="T41" fmla="*/ 59 h 134"/>
              <a:gd name="T42" fmla="*/ 5 w 140"/>
              <a:gd name="T43" fmla="*/ 59 h 134"/>
              <a:gd name="T44" fmla="*/ 5 w 140"/>
              <a:gd name="T45" fmla="*/ 57 h 134"/>
              <a:gd name="T46" fmla="*/ 0 w 140"/>
              <a:gd name="T47" fmla="*/ 57 h 134"/>
              <a:gd name="T48" fmla="*/ 0 w 140"/>
              <a:gd name="T49" fmla="*/ 59 h 134"/>
              <a:gd name="T50" fmla="*/ 140 w 140"/>
              <a:gd name="T51" fmla="*/ 99 h 134"/>
              <a:gd name="T52" fmla="*/ 104 w 140"/>
              <a:gd name="T53" fmla="*/ 134 h 134"/>
              <a:gd name="T54" fmla="*/ 69 w 140"/>
              <a:gd name="T55" fmla="*/ 99 h 134"/>
              <a:gd name="T56" fmla="*/ 72 w 140"/>
              <a:gd name="T57" fmla="*/ 85 h 134"/>
              <a:gd name="T58" fmla="*/ 9 w 140"/>
              <a:gd name="T59" fmla="*/ 85 h 134"/>
              <a:gd name="T60" fmla="*/ 9 w 140"/>
              <a:gd name="T61" fmla="*/ 0 h 134"/>
              <a:gd name="T62" fmla="*/ 11 w 140"/>
              <a:gd name="T63" fmla="*/ 0 h 134"/>
              <a:gd name="T64" fmla="*/ 11 w 140"/>
              <a:gd name="T65" fmla="*/ 82 h 134"/>
              <a:gd name="T66" fmla="*/ 23 w 140"/>
              <a:gd name="T67" fmla="*/ 82 h 134"/>
              <a:gd name="T68" fmla="*/ 23 w 140"/>
              <a:gd name="T69" fmla="*/ 8 h 134"/>
              <a:gd name="T70" fmla="*/ 33 w 140"/>
              <a:gd name="T71" fmla="*/ 8 h 134"/>
              <a:gd name="T72" fmla="*/ 33 w 140"/>
              <a:gd name="T73" fmla="*/ 82 h 134"/>
              <a:gd name="T74" fmla="*/ 41 w 140"/>
              <a:gd name="T75" fmla="*/ 82 h 134"/>
              <a:gd name="T76" fmla="*/ 41 w 140"/>
              <a:gd name="T77" fmla="*/ 24 h 134"/>
              <a:gd name="T78" fmla="*/ 51 w 140"/>
              <a:gd name="T79" fmla="*/ 24 h 134"/>
              <a:gd name="T80" fmla="*/ 51 w 140"/>
              <a:gd name="T81" fmla="*/ 82 h 134"/>
              <a:gd name="T82" fmla="*/ 59 w 140"/>
              <a:gd name="T83" fmla="*/ 82 h 134"/>
              <a:gd name="T84" fmla="*/ 59 w 140"/>
              <a:gd name="T85" fmla="*/ 37 h 134"/>
              <a:gd name="T86" fmla="*/ 69 w 140"/>
              <a:gd name="T87" fmla="*/ 37 h 134"/>
              <a:gd name="T88" fmla="*/ 69 w 140"/>
              <a:gd name="T89" fmla="*/ 82 h 134"/>
              <a:gd name="T90" fmla="*/ 74 w 140"/>
              <a:gd name="T91" fmla="*/ 82 h 134"/>
              <a:gd name="T92" fmla="*/ 78 w 140"/>
              <a:gd name="T93" fmla="*/ 76 h 134"/>
              <a:gd name="T94" fmla="*/ 78 w 140"/>
              <a:gd name="T95" fmla="*/ 13 h 134"/>
              <a:gd name="T96" fmla="*/ 87 w 140"/>
              <a:gd name="T97" fmla="*/ 13 h 134"/>
              <a:gd name="T98" fmla="*/ 87 w 140"/>
              <a:gd name="T99" fmla="*/ 68 h 134"/>
              <a:gd name="T100" fmla="*/ 104 w 140"/>
              <a:gd name="T101" fmla="*/ 64 h 134"/>
              <a:gd name="T102" fmla="*/ 140 w 140"/>
              <a:gd name="T103" fmla="*/ 99 h 134"/>
              <a:gd name="T104" fmla="*/ 122 w 140"/>
              <a:gd name="T105" fmla="*/ 77 h 134"/>
              <a:gd name="T106" fmla="*/ 104 w 140"/>
              <a:gd name="T107" fmla="*/ 71 h 134"/>
              <a:gd name="T108" fmla="*/ 76 w 140"/>
              <a:gd name="T109" fmla="*/ 99 h 134"/>
              <a:gd name="T110" fmla="*/ 102 w 140"/>
              <a:gd name="T111" fmla="*/ 127 h 134"/>
              <a:gd name="T112" fmla="*/ 104 w 140"/>
              <a:gd name="T113" fmla="*/ 99 h 134"/>
              <a:gd name="T114" fmla="*/ 122 w 140"/>
              <a:gd name="T115" fmla="*/ 7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0" h="134">
                <a:moveTo>
                  <a:pt x="0" y="7"/>
                </a:moveTo>
                <a:cubicBezTo>
                  <a:pt x="5" y="7"/>
                  <a:pt x="5" y="7"/>
                  <a:pt x="5" y="7"/>
                </a:cubicBezTo>
                <a:cubicBezTo>
                  <a:pt x="5" y="9"/>
                  <a:pt x="5" y="9"/>
                  <a:pt x="5" y="9"/>
                </a:cubicBezTo>
                <a:cubicBezTo>
                  <a:pt x="0" y="9"/>
                  <a:pt x="0" y="9"/>
                  <a:pt x="0" y="9"/>
                </a:cubicBezTo>
                <a:lnTo>
                  <a:pt x="0" y="7"/>
                </a:lnTo>
                <a:close/>
                <a:moveTo>
                  <a:pt x="0" y="21"/>
                </a:moveTo>
                <a:cubicBezTo>
                  <a:pt x="5" y="21"/>
                  <a:pt x="5" y="21"/>
                  <a:pt x="5" y="21"/>
                </a:cubicBezTo>
                <a:cubicBezTo>
                  <a:pt x="5" y="19"/>
                  <a:pt x="5" y="19"/>
                  <a:pt x="5" y="19"/>
                </a:cubicBezTo>
                <a:cubicBezTo>
                  <a:pt x="0" y="19"/>
                  <a:pt x="0" y="19"/>
                  <a:pt x="0" y="19"/>
                </a:cubicBezTo>
                <a:lnTo>
                  <a:pt x="0" y="21"/>
                </a:lnTo>
                <a:close/>
                <a:moveTo>
                  <a:pt x="0" y="34"/>
                </a:moveTo>
                <a:cubicBezTo>
                  <a:pt x="5" y="34"/>
                  <a:pt x="5" y="34"/>
                  <a:pt x="5" y="34"/>
                </a:cubicBezTo>
                <a:cubicBezTo>
                  <a:pt x="5" y="32"/>
                  <a:pt x="5" y="32"/>
                  <a:pt x="5" y="32"/>
                </a:cubicBezTo>
                <a:cubicBezTo>
                  <a:pt x="0" y="32"/>
                  <a:pt x="0" y="32"/>
                  <a:pt x="0" y="32"/>
                </a:cubicBezTo>
                <a:lnTo>
                  <a:pt x="0" y="34"/>
                </a:lnTo>
                <a:close/>
                <a:moveTo>
                  <a:pt x="0" y="46"/>
                </a:moveTo>
                <a:cubicBezTo>
                  <a:pt x="5" y="46"/>
                  <a:pt x="5" y="46"/>
                  <a:pt x="5" y="46"/>
                </a:cubicBezTo>
                <a:cubicBezTo>
                  <a:pt x="5" y="44"/>
                  <a:pt x="5" y="44"/>
                  <a:pt x="5" y="44"/>
                </a:cubicBezTo>
                <a:cubicBezTo>
                  <a:pt x="0" y="44"/>
                  <a:pt x="0" y="44"/>
                  <a:pt x="0" y="44"/>
                </a:cubicBezTo>
                <a:lnTo>
                  <a:pt x="0" y="46"/>
                </a:lnTo>
                <a:close/>
                <a:moveTo>
                  <a:pt x="0" y="59"/>
                </a:moveTo>
                <a:cubicBezTo>
                  <a:pt x="5" y="59"/>
                  <a:pt x="5" y="59"/>
                  <a:pt x="5" y="59"/>
                </a:cubicBezTo>
                <a:cubicBezTo>
                  <a:pt x="5" y="57"/>
                  <a:pt x="5" y="57"/>
                  <a:pt x="5" y="57"/>
                </a:cubicBezTo>
                <a:cubicBezTo>
                  <a:pt x="0" y="57"/>
                  <a:pt x="0" y="57"/>
                  <a:pt x="0" y="57"/>
                </a:cubicBezTo>
                <a:lnTo>
                  <a:pt x="0" y="59"/>
                </a:lnTo>
                <a:close/>
                <a:moveTo>
                  <a:pt x="140" y="99"/>
                </a:moveTo>
                <a:cubicBezTo>
                  <a:pt x="140" y="118"/>
                  <a:pt x="124" y="134"/>
                  <a:pt x="104" y="134"/>
                </a:cubicBezTo>
                <a:cubicBezTo>
                  <a:pt x="85" y="134"/>
                  <a:pt x="69" y="118"/>
                  <a:pt x="69" y="99"/>
                </a:cubicBezTo>
                <a:cubicBezTo>
                  <a:pt x="69" y="94"/>
                  <a:pt x="70" y="89"/>
                  <a:pt x="72" y="85"/>
                </a:cubicBezTo>
                <a:cubicBezTo>
                  <a:pt x="9" y="85"/>
                  <a:pt x="9" y="85"/>
                  <a:pt x="9" y="85"/>
                </a:cubicBezTo>
                <a:cubicBezTo>
                  <a:pt x="9" y="0"/>
                  <a:pt x="9" y="0"/>
                  <a:pt x="9" y="0"/>
                </a:cubicBezTo>
                <a:cubicBezTo>
                  <a:pt x="11" y="0"/>
                  <a:pt x="11" y="0"/>
                  <a:pt x="11" y="0"/>
                </a:cubicBezTo>
                <a:cubicBezTo>
                  <a:pt x="11" y="82"/>
                  <a:pt x="11" y="82"/>
                  <a:pt x="11" y="82"/>
                </a:cubicBezTo>
                <a:cubicBezTo>
                  <a:pt x="23" y="82"/>
                  <a:pt x="23" y="82"/>
                  <a:pt x="23" y="82"/>
                </a:cubicBezTo>
                <a:cubicBezTo>
                  <a:pt x="23" y="8"/>
                  <a:pt x="23" y="8"/>
                  <a:pt x="23" y="8"/>
                </a:cubicBezTo>
                <a:cubicBezTo>
                  <a:pt x="33" y="8"/>
                  <a:pt x="33" y="8"/>
                  <a:pt x="33" y="8"/>
                </a:cubicBezTo>
                <a:cubicBezTo>
                  <a:pt x="33" y="82"/>
                  <a:pt x="33" y="82"/>
                  <a:pt x="33" y="82"/>
                </a:cubicBezTo>
                <a:cubicBezTo>
                  <a:pt x="41" y="82"/>
                  <a:pt x="41" y="82"/>
                  <a:pt x="41" y="82"/>
                </a:cubicBezTo>
                <a:cubicBezTo>
                  <a:pt x="41" y="24"/>
                  <a:pt x="41" y="24"/>
                  <a:pt x="41" y="24"/>
                </a:cubicBezTo>
                <a:cubicBezTo>
                  <a:pt x="51" y="24"/>
                  <a:pt x="51" y="24"/>
                  <a:pt x="51" y="24"/>
                </a:cubicBezTo>
                <a:cubicBezTo>
                  <a:pt x="51" y="82"/>
                  <a:pt x="51" y="82"/>
                  <a:pt x="51" y="82"/>
                </a:cubicBezTo>
                <a:cubicBezTo>
                  <a:pt x="59" y="82"/>
                  <a:pt x="59" y="82"/>
                  <a:pt x="59" y="82"/>
                </a:cubicBezTo>
                <a:cubicBezTo>
                  <a:pt x="59" y="37"/>
                  <a:pt x="59" y="37"/>
                  <a:pt x="59" y="37"/>
                </a:cubicBezTo>
                <a:cubicBezTo>
                  <a:pt x="69" y="37"/>
                  <a:pt x="69" y="37"/>
                  <a:pt x="69" y="37"/>
                </a:cubicBezTo>
                <a:cubicBezTo>
                  <a:pt x="69" y="82"/>
                  <a:pt x="69" y="82"/>
                  <a:pt x="69" y="82"/>
                </a:cubicBezTo>
                <a:cubicBezTo>
                  <a:pt x="74" y="82"/>
                  <a:pt x="74" y="82"/>
                  <a:pt x="74" y="82"/>
                </a:cubicBezTo>
                <a:cubicBezTo>
                  <a:pt x="75" y="80"/>
                  <a:pt x="76" y="78"/>
                  <a:pt x="78" y="76"/>
                </a:cubicBezTo>
                <a:cubicBezTo>
                  <a:pt x="78" y="13"/>
                  <a:pt x="78" y="13"/>
                  <a:pt x="78" y="13"/>
                </a:cubicBezTo>
                <a:cubicBezTo>
                  <a:pt x="87" y="13"/>
                  <a:pt x="87" y="13"/>
                  <a:pt x="87" y="13"/>
                </a:cubicBezTo>
                <a:cubicBezTo>
                  <a:pt x="87" y="68"/>
                  <a:pt x="87" y="68"/>
                  <a:pt x="87" y="68"/>
                </a:cubicBezTo>
                <a:cubicBezTo>
                  <a:pt x="92" y="65"/>
                  <a:pt x="98" y="64"/>
                  <a:pt x="104" y="64"/>
                </a:cubicBezTo>
                <a:cubicBezTo>
                  <a:pt x="124" y="64"/>
                  <a:pt x="140" y="80"/>
                  <a:pt x="140" y="99"/>
                </a:cubicBezTo>
                <a:close/>
                <a:moveTo>
                  <a:pt x="122" y="77"/>
                </a:moveTo>
                <a:cubicBezTo>
                  <a:pt x="117" y="73"/>
                  <a:pt x="111" y="71"/>
                  <a:pt x="104" y="71"/>
                </a:cubicBezTo>
                <a:cubicBezTo>
                  <a:pt x="89" y="71"/>
                  <a:pt x="76" y="83"/>
                  <a:pt x="76" y="99"/>
                </a:cubicBezTo>
                <a:cubicBezTo>
                  <a:pt x="76" y="114"/>
                  <a:pt x="87" y="126"/>
                  <a:pt x="102" y="127"/>
                </a:cubicBezTo>
                <a:cubicBezTo>
                  <a:pt x="104" y="99"/>
                  <a:pt x="104" y="99"/>
                  <a:pt x="104" y="99"/>
                </a:cubicBezTo>
                <a:lnTo>
                  <a:pt x="122" y="77"/>
                </a:lnTo>
                <a:close/>
              </a:path>
            </a:pathLst>
          </a:custGeom>
          <a:solidFill>
            <a:srgbClr val="FE5817"/>
          </a:solidFill>
          <a:ln>
            <a:noFill/>
          </a:ln>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srgbClr val="FE8637"/>
              </a:solidFill>
              <a:effectLst/>
              <a:uLnTx/>
              <a:uFillTx/>
              <a:latin typeface="Arial" panose="020B0604020202020204"/>
              <a:ea typeface="华文楷体" panose="02010600040101010101" charset="-122"/>
              <a:cs typeface="+mn-ea"/>
              <a:sym typeface="+mn-lt"/>
            </a:endParaRPr>
          </a:p>
        </p:txBody>
      </p:sp>
      <p:sp>
        <p:nvSpPr>
          <p:cNvPr id="36" name="Freeform 21"/>
          <p:cNvSpPr>
            <a:spLocks noEditPoints="1"/>
          </p:cNvSpPr>
          <p:nvPr/>
        </p:nvSpPr>
        <p:spPr bwMode="auto">
          <a:xfrm>
            <a:off x="692889" y="1928412"/>
            <a:ext cx="459032" cy="469460"/>
          </a:xfrm>
          <a:custGeom>
            <a:avLst/>
            <a:gdLst>
              <a:gd name="T0" fmla="*/ 297 w 593"/>
              <a:gd name="T1" fmla="*/ 0 h 582"/>
              <a:gd name="T2" fmla="*/ 593 w 593"/>
              <a:gd name="T3" fmla="*/ 291 h 582"/>
              <a:gd name="T4" fmla="*/ 297 w 593"/>
              <a:gd name="T5" fmla="*/ 582 h 582"/>
              <a:gd name="T6" fmla="*/ 0 w 593"/>
              <a:gd name="T7" fmla="*/ 291 h 582"/>
              <a:gd name="T8" fmla="*/ 297 w 593"/>
              <a:gd name="T9" fmla="*/ 0 h 582"/>
              <a:gd name="T10" fmla="*/ 328 w 593"/>
              <a:gd name="T11" fmla="*/ 309 h 582"/>
              <a:gd name="T12" fmla="*/ 291 w 593"/>
              <a:gd name="T13" fmla="*/ 327 h 582"/>
              <a:gd name="T14" fmla="*/ 262 w 593"/>
              <a:gd name="T15" fmla="*/ 285 h 582"/>
              <a:gd name="T16" fmla="*/ 304 w 593"/>
              <a:gd name="T17" fmla="*/ 255 h 582"/>
              <a:gd name="T18" fmla="*/ 313 w 593"/>
              <a:gd name="T19" fmla="*/ 259 h 582"/>
              <a:gd name="T20" fmla="*/ 316 w 593"/>
              <a:gd name="T21" fmla="*/ 258 h 582"/>
              <a:gd name="T22" fmla="*/ 423 w 593"/>
              <a:gd name="T23" fmla="*/ 158 h 582"/>
              <a:gd name="T24" fmla="*/ 439 w 593"/>
              <a:gd name="T25" fmla="*/ 174 h 582"/>
              <a:gd name="T26" fmla="*/ 331 w 593"/>
              <a:gd name="T27" fmla="*/ 275 h 582"/>
              <a:gd name="T28" fmla="*/ 331 w 593"/>
              <a:gd name="T29" fmla="*/ 278 h 582"/>
              <a:gd name="T30" fmla="*/ 333 w 593"/>
              <a:gd name="T31" fmla="*/ 286 h 582"/>
              <a:gd name="T32" fmla="*/ 334 w 593"/>
              <a:gd name="T33" fmla="*/ 287 h 582"/>
              <a:gd name="T34" fmla="*/ 428 w 593"/>
              <a:gd name="T35" fmla="*/ 304 h 582"/>
              <a:gd name="T36" fmla="*/ 424 w 593"/>
              <a:gd name="T37" fmla="*/ 325 h 582"/>
              <a:gd name="T38" fmla="*/ 331 w 593"/>
              <a:gd name="T39" fmla="*/ 308 h 582"/>
              <a:gd name="T40" fmla="*/ 328 w 593"/>
              <a:gd name="T41" fmla="*/ 309 h 582"/>
              <a:gd name="T42" fmla="*/ 294 w 593"/>
              <a:gd name="T43" fmla="*/ 309 h 582"/>
              <a:gd name="T44" fmla="*/ 300 w 593"/>
              <a:gd name="T45" fmla="*/ 273 h 582"/>
              <a:gd name="T46" fmla="*/ 294 w 593"/>
              <a:gd name="T47" fmla="*/ 309 h 582"/>
              <a:gd name="T48" fmla="*/ 297 w 593"/>
              <a:gd name="T49" fmla="*/ 39 h 582"/>
              <a:gd name="T50" fmla="*/ 554 w 593"/>
              <a:gd name="T51" fmla="*/ 291 h 582"/>
              <a:gd name="T52" fmla="*/ 297 w 593"/>
              <a:gd name="T53" fmla="*/ 544 h 582"/>
              <a:gd name="T54" fmla="*/ 40 w 593"/>
              <a:gd name="T55" fmla="*/ 291 h 582"/>
              <a:gd name="T56" fmla="*/ 297 w 593"/>
              <a:gd name="T57" fmla="*/ 39 h 582"/>
              <a:gd name="T58" fmla="*/ 297 w 593"/>
              <a:gd name="T59" fmla="*/ 451 h 582"/>
              <a:gd name="T60" fmla="*/ 326 w 593"/>
              <a:gd name="T61" fmla="*/ 479 h 582"/>
              <a:gd name="T62" fmla="*/ 297 w 593"/>
              <a:gd name="T63" fmla="*/ 508 h 582"/>
              <a:gd name="T64" fmla="*/ 268 w 593"/>
              <a:gd name="T65" fmla="*/ 479 h 582"/>
              <a:gd name="T66" fmla="*/ 297 w 593"/>
              <a:gd name="T67" fmla="*/ 451 h 582"/>
              <a:gd name="T68" fmla="*/ 297 w 593"/>
              <a:gd name="T69" fmla="*/ 74 h 582"/>
              <a:gd name="T70" fmla="*/ 337 w 593"/>
              <a:gd name="T71" fmla="*/ 114 h 582"/>
              <a:gd name="T72" fmla="*/ 297 w 593"/>
              <a:gd name="T73" fmla="*/ 154 h 582"/>
              <a:gd name="T74" fmla="*/ 256 w 593"/>
              <a:gd name="T75" fmla="*/ 114 h 582"/>
              <a:gd name="T76" fmla="*/ 297 w 593"/>
              <a:gd name="T77" fmla="*/ 74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3" h="582">
                <a:moveTo>
                  <a:pt x="297" y="0"/>
                </a:moveTo>
                <a:cubicBezTo>
                  <a:pt x="461" y="0"/>
                  <a:pt x="593" y="130"/>
                  <a:pt x="593" y="291"/>
                </a:cubicBezTo>
                <a:cubicBezTo>
                  <a:pt x="593" y="452"/>
                  <a:pt x="461" y="582"/>
                  <a:pt x="297" y="582"/>
                </a:cubicBezTo>
                <a:cubicBezTo>
                  <a:pt x="133" y="582"/>
                  <a:pt x="0" y="452"/>
                  <a:pt x="0" y="291"/>
                </a:cubicBezTo>
                <a:cubicBezTo>
                  <a:pt x="0" y="130"/>
                  <a:pt x="133" y="0"/>
                  <a:pt x="297" y="0"/>
                </a:cubicBezTo>
                <a:close/>
                <a:moveTo>
                  <a:pt x="328" y="309"/>
                </a:moveTo>
                <a:cubicBezTo>
                  <a:pt x="321" y="322"/>
                  <a:pt x="306" y="330"/>
                  <a:pt x="291" y="327"/>
                </a:cubicBezTo>
                <a:cubicBezTo>
                  <a:pt x="271" y="323"/>
                  <a:pt x="258" y="304"/>
                  <a:pt x="262" y="285"/>
                </a:cubicBezTo>
                <a:cubicBezTo>
                  <a:pt x="266" y="265"/>
                  <a:pt x="284" y="252"/>
                  <a:pt x="304" y="255"/>
                </a:cubicBezTo>
                <a:cubicBezTo>
                  <a:pt x="307" y="256"/>
                  <a:pt x="311" y="257"/>
                  <a:pt x="313" y="259"/>
                </a:cubicBezTo>
                <a:cubicBezTo>
                  <a:pt x="314" y="259"/>
                  <a:pt x="315" y="259"/>
                  <a:pt x="316" y="258"/>
                </a:cubicBezTo>
                <a:cubicBezTo>
                  <a:pt x="351" y="225"/>
                  <a:pt x="387" y="191"/>
                  <a:pt x="423" y="158"/>
                </a:cubicBezTo>
                <a:cubicBezTo>
                  <a:pt x="434" y="147"/>
                  <a:pt x="450" y="164"/>
                  <a:pt x="439" y="174"/>
                </a:cubicBezTo>
                <a:cubicBezTo>
                  <a:pt x="403" y="208"/>
                  <a:pt x="367" y="242"/>
                  <a:pt x="331" y="275"/>
                </a:cubicBezTo>
                <a:cubicBezTo>
                  <a:pt x="330" y="276"/>
                  <a:pt x="330" y="277"/>
                  <a:pt x="331" y="278"/>
                </a:cubicBezTo>
                <a:cubicBezTo>
                  <a:pt x="332" y="280"/>
                  <a:pt x="332" y="283"/>
                  <a:pt x="333" y="286"/>
                </a:cubicBezTo>
                <a:cubicBezTo>
                  <a:pt x="333" y="287"/>
                  <a:pt x="333" y="287"/>
                  <a:pt x="334" y="287"/>
                </a:cubicBezTo>
                <a:cubicBezTo>
                  <a:pt x="365" y="292"/>
                  <a:pt x="397" y="299"/>
                  <a:pt x="428" y="304"/>
                </a:cubicBezTo>
                <a:cubicBezTo>
                  <a:pt x="445" y="307"/>
                  <a:pt x="441" y="328"/>
                  <a:pt x="424" y="325"/>
                </a:cubicBezTo>
                <a:cubicBezTo>
                  <a:pt x="393" y="319"/>
                  <a:pt x="361" y="314"/>
                  <a:pt x="331" y="308"/>
                </a:cubicBezTo>
                <a:cubicBezTo>
                  <a:pt x="330" y="308"/>
                  <a:pt x="329" y="308"/>
                  <a:pt x="328" y="309"/>
                </a:cubicBezTo>
                <a:close/>
                <a:moveTo>
                  <a:pt x="294" y="309"/>
                </a:moveTo>
                <a:cubicBezTo>
                  <a:pt x="271" y="305"/>
                  <a:pt x="277" y="269"/>
                  <a:pt x="300" y="273"/>
                </a:cubicBezTo>
                <a:cubicBezTo>
                  <a:pt x="324" y="277"/>
                  <a:pt x="317" y="313"/>
                  <a:pt x="294" y="309"/>
                </a:cubicBezTo>
                <a:close/>
                <a:moveTo>
                  <a:pt x="297" y="39"/>
                </a:moveTo>
                <a:cubicBezTo>
                  <a:pt x="439" y="39"/>
                  <a:pt x="554" y="152"/>
                  <a:pt x="554" y="291"/>
                </a:cubicBezTo>
                <a:cubicBezTo>
                  <a:pt x="554" y="430"/>
                  <a:pt x="439" y="544"/>
                  <a:pt x="297" y="544"/>
                </a:cubicBezTo>
                <a:cubicBezTo>
                  <a:pt x="155" y="544"/>
                  <a:pt x="40" y="430"/>
                  <a:pt x="40" y="291"/>
                </a:cubicBezTo>
                <a:cubicBezTo>
                  <a:pt x="40" y="152"/>
                  <a:pt x="155" y="39"/>
                  <a:pt x="297" y="39"/>
                </a:cubicBezTo>
                <a:close/>
                <a:moveTo>
                  <a:pt x="297" y="451"/>
                </a:moveTo>
                <a:cubicBezTo>
                  <a:pt x="313" y="451"/>
                  <a:pt x="326" y="463"/>
                  <a:pt x="326" y="479"/>
                </a:cubicBezTo>
                <a:cubicBezTo>
                  <a:pt x="326" y="495"/>
                  <a:pt x="313" y="508"/>
                  <a:pt x="297" y="508"/>
                </a:cubicBezTo>
                <a:cubicBezTo>
                  <a:pt x="281" y="508"/>
                  <a:pt x="268" y="495"/>
                  <a:pt x="268" y="479"/>
                </a:cubicBezTo>
                <a:cubicBezTo>
                  <a:pt x="268" y="463"/>
                  <a:pt x="281" y="451"/>
                  <a:pt x="297" y="451"/>
                </a:cubicBezTo>
                <a:close/>
                <a:moveTo>
                  <a:pt x="297" y="74"/>
                </a:moveTo>
                <a:cubicBezTo>
                  <a:pt x="319" y="74"/>
                  <a:pt x="337" y="92"/>
                  <a:pt x="337" y="114"/>
                </a:cubicBezTo>
                <a:cubicBezTo>
                  <a:pt x="337" y="136"/>
                  <a:pt x="319" y="154"/>
                  <a:pt x="297" y="154"/>
                </a:cubicBezTo>
                <a:cubicBezTo>
                  <a:pt x="274" y="154"/>
                  <a:pt x="256" y="136"/>
                  <a:pt x="256" y="114"/>
                </a:cubicBezTo>
                <a:cubicBezTo>
                  <a:pt x="256" y="92"/>
                  <a:pt x="274" y="74"/>
                  <a:pt x="297" y="74"/>
                </a:cubicBezTo>
                <a:close/>
              </a:path>
            </a:pathLst>
          </a:custGeom>
          <a:solidFill>
            <a:srgbClr val="FE5817"/>
          </a:solidFill>
          <a:ln>
            <a:noFill/>
          </a:ln>
        </p:spPr>
        <p:txBody>
          <a:bodyPr vert="horz" wrap="square" lIns="68580" tIns="34290" rIns="68580" bIns="34290" numCol="1" anchor="t" anchorCtr="0" compatLnSpc="1"/>
          <a:lstStyle/>
          <a:p>
            <a:pPr marL="0" marR="0" lvl="0" indent="0" algn="l" defTabSz="685800" rtl="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srgbClr val="FE8637"/>
              </a:solidFill>
              <a:effectLst/>
              <a:uLnTx/>
              <a:uFillTx/>
              <a:latin typeface="Arial" panose="020B0604020202020204"/>
              <a:ea typeface="华文楷体" panose="02010600040101010101" charset="-122"/>
              <a:cs typeface="+mn-ea"/>
              <a:sym typeface="+mn-lt"/>
            </a:endParaRPr>
          </a:p>
        </p:txBody>
      </p:sp>
      <p:sp>
        <p:nvSpPr>
          <p:cNvPr id="38" name="Freeform 85"/>
          <p:cNvSpPr>
            <a:spLocks noEditPoints="1"/>
          </p:cNvSpPr>
          <p:nvPr/>
        </p:nvSpPr>
        <p:spPr bwMode="auto">
          <a:xfrm>
            <a:off x="858295" y="4522681"/>
            <a:ext cx="234400" cy="257484"/>
          </a:xfrm>
          <a:custGeom>
            <a:avLst/>
            <a:gdLst>
              <a:gd name="T0" fmla="*/ 68 w 71"/>
              <a:gd name="T1" fmla="*/ 22 h 61"/>
              <a:gd name="T2" fmla="*/ 67 w 71"/>
              <a:gd name="T3" fmla="*/ 22 h 61"/>
              <a:gd name="T4" fmla="*/ 63 w 71"/>
              <a:gd name="T5" fmla="*/ 6 h 61"/>
              <a:gd name="T6" fmla="*/ 55 w 71"/>
              <a:gd name="T7" fmla="*/ 1 h 61"/>
              <a:gd name="T8" fmla="*/ 10 w 71"/>
              <a:gd name="T9" fmla="*/ 1 h 61"/>
              <a:gd name="T10" fmla="*/ 3 w 71"/>
              <a:gd name="T11" fmla="*/ 5 h 61"/>
              <a:gd name="T12" fmla="*/ 0 w 71"/>
              <a:gd name="T13" fmla="*/ 18 h 61"/>
              <a:gd name="T14" fmla="*/ 3 w 71"/>
              <a:gd name="T15" fmla="*/ 18 h 61"/>
              <a:gd name="T16" fmla="*/ 5 w 71"/>
              <a:gd name="T17" fmla="*/ 7 h 61"/>
              <a:gd name="T18" fmla="*/ 11 w 71"/>
              <a:gd name="T19" fmla="*/ 3 h 61"/>
              <a:gd name="T20" fmla="*/ 53 w 71"/>
              <a:gd name="T21" fmla="*/ 3 h 61"/>
              <a:gd name="T22" fmla="*/ 59 w 71"/>
              <a:gd name="T23" fmla="*/ 7 h 61"/>
              <a:gd name="T24" fmla="*/ 63 w 71"/>
              <a:gd name="T25" fmla="*/ 21 h 61"/>
              <a:gd name="T26" fmla="*/ 16 w 71"/>
              <a:gd name="T27" fmla="*/ 21 h 61"/>
              <a:gd name="T28" fmla="*/ 20 w 71"/>
              <a:gd name="T29" fmla="*/ 38 h 61"/>
              <a:gd name="T30" fmla="*/ 21 w 71"/>
              <a:gd name="T31" fmla="*/ 38 h 61"/>
              <a:gd name="T32" fmla="*/ 25 w 71"/>
              <a:gd name="T33" fmla="*/ 42 h 61"/>
              <a:gd name="T34" fmla="*/ 25 w 71"/>
              <a:gd name="T35" fmla="*/ 48 h 61"/>
              <a:gd name="T36" fmla="*/ 54 w 71"/>
              <a:gd name="T37" fmla="*/ 48 h 61"/>
              <a:gd name="T38" fmla="*/ 54 w 71"/>
              <a:gd name="T39" fmla="*/ 57 h 61"/>
              <a:gd name="T40" fmla="*/ 58 w 71"/>
              <a:gd name="T41" fmla="*/ 61 h 61"/>
              <a:gd name="T42" fmla="*/ 63 w 71"/>
              <a:gd name="T43" fmla="*/ 61 h 61"/>
              <a:gd name="T44" fmla="*/ 67 w 71"/>
              <a:gd name="T45" fmla="*/ 57 h 61"/>
              <a:gd name="T46" fmla="*/ 67 w 71"/>
              <a:gd name="T47" fmla="*/ 48 h 61"/>
              <a:gd name="T48" fmla="*/ 68 w 71"/>
              <a:gd name="T49" fmla="*/ 48 h 61"/>
              <a:gd name="T50" fmla="*/ 71 w 71"/>
              <a:gd name="T51" fmla="*/ 45 h 61"/>
              <a:gd name="T52" fmla="*/ 71 w 71"/>
              <a:gd name="T53" fmla="*/ 26 h 61"/>
              <a:gd name="T54" fmla="*/ 68 w 71"/>
              <a:gd name="T55" fmla="*/ 22 h 61"/>
              <a:gd name="T56" fmla="*/ 41 w 71"/>
              <a:gd name="T57" fmla="*/ 39 h 61"/>
              <a:gd name="T58" fmla="*/ 26 w 71"/>
              <a:gd name="T59" fmla="*/ 39 h 61"/>
              <a:gd name="T60" fmla="*/ 21 w 71"/>
              <a:gd name="T61" fmla="*/ 35 h 61"/>
              <a:gd name="T62" fmla="*/ 26 w 71"/>
              <a:gd name="T63" fmla="*/ 30 h 61"/>
              <a:gd name="T64" fmla="*/ 41 w 71"/>
              <a:gd name="T65" fmla="*/ 30 h 61"/>
              <a:gd name="T66" fmla="*/ 46 w 71"/>
              <a:gd name="T67" fmla="*/ 35 h 61"/>
              <a:gd name="T68" fmla="*/ 41 w 71"/>
              <a:gd name="T69" fmla="*/ 39 h 61"/>
              <a:gd name="T70" fmla="*/ 59 w 71"/>
              <a:gd name="T71" fmla="*/ 39 h 61"/>
              <a:gd name="T72" fmla="*/ 54 w 71"/>
              <a:gd name="T73" fmla="*/ 34 h 61"/>
              <a:gd name="T74" fmla="*/ 59 w 71"/>
              <a:gd name="T75" fmla="*/ 29 h 61"/>
              <a:gd name="T76" fmla="*/ 64 w 71"/>
              <a:gd name="T77" fmla="*/ 34 h 61"/>
              <a:gd name="T78" fmla="*/ 59 w 71"/>
              <a:gd name="T79"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 h="61">
                <a:moveTo>
                  <a:pt x="68" y="22"/>
                </a:moveTo>
                <a:cubicBezTo>
                  <a:pt x="67" y="22"/>
                  <a:pt x="67" y="22"/>
                  <a:pt x="67" y="22"/>
                </a:cubicBezTo>
                <a:cubicBezTo>
                  <a:pt x="67" y="22"/>
                  <a:pt x="63" y="6"/>
                  <a:pt x="63" y="6"/>
                </a:cubicBezTo>
                <a:cubicBezTo>
                  <a:pt x="60" y="0"/>
                  <a:pt x="55" y="1"/>
                  <a:pt x="55" y="1"/>
                </a:cubicBezTo>
                <a:cubicBezTo>
                  <a:pt x="10" y="1"/>
                  <a:pt x="10" y="1"/>
                  <a:pt x="10" y="1"/>
                </a:cubicBezTo>
                <a:cubicBezTo>
                  <a:pt x="4" y="0"/>
                  <a:pt x="3" y="5"/>
                  <a:pt x="3" y="5"/>
                </a:cubicBezTo>
                <a:cubicBezTo>
                  <a:pt x="0" y="18"/>
                  <a:pt x="0" y="18"/>
                  <a:pt x="0" y="18"/>
                </a:cubicBezTo>
                <a:cubicBezTo>
                  <a:pt x="3" y="18"/>
                  <a:pt x="3" y="18"/>
                  <a:pt x="3" y="18"/>
                </a:cubicBezTo>
                <a:cubicBezTo>
                  <a:pt x="5" y="7"/>
                  <a:pt x="5" y="7"/>
                  <a:pt x="5" y="7"/>
                </a:cubicBezTo>
                <a:cubicBezTo>
                  <a:pt x="5" y="7"/>
                  <a:pt x="6" y="3"/>
                  <a:pt x="11" y="3"/>
                </a:cubicBezTo>
                <a:cubicBezTo>
                  <a:pt x="53" y="3"/>
                  <a:pt x="53" y="3"/>
                  <a:pt x="53" y="3"/>
                </a:cubicBezTo>
                <a:cubicBezTo>
                  <a:pt x="53" y="3"/>
                  <a:pt x="57" y="3"/>
                  <a:pt x="59" y="7"/>
                </a:cubicBezTo>
                <a:cubicBezTo>
                  <a:pt x="60" y="7"/>
                  <a:pt x="63" y="21"/>
                  <a:pt x="63" y="21"/>
                </a:cubicBezTo>
                <a:cubicBezTo>
                  <a:pt x="16" y="21"/>
                  <a:pt x="16" y="21"/>
                  <a:pt x="16" y="21"/>
                </a:cubicBezTo>
                <a:cubicBezTo>
                  <a:pt x="16" y="22"/>
                  <a:pt x="20" y="38"/>
                  <a:pt x="20" y="38"/>
                </a:cubicBezTo>
                <a:cubicBezTo>
                  <a:pt x="21" y="38"/>
                  <a:pt x="21" y="38"/>
                  <a:pt x="21" y="38"/>
                </a:cubicBezTo>
                <a:cubicBezTo>
                  <a:pt x="23" y="38"/>
                  <a:pt x="25" y="40"/>
                  <a:pt x="25" y="42"/>
                </a:cubicBezTo>
                <a:cubicBezTo>
                  <a:pt x="25" y="48"/>
                  <a:pt x="25" y="48"/>
                  <a:pt x="25" y="48"/>
                </a:cubicBezTo>
                <a:cubicBezTo>
                  <a:pt x="54" y="48"/>
                  <a:pt x="54" y="48"/>
                  <a:pt x="54" y="48"/>
                </a:cubicBezTo>
                <a:cubicBezTo>
                  <a:pt x="54" y="57"/>
                  <a:pt x="54" y="57"/>
                  <a:pt x="54" y="57"/>
                </a:cubicBezTo>
                <a:cubicBezTo>
                  <a:pt x="54" y="59"/>
                  <a:pt x="56" y="61"/>
                  <a:pt x="58" y="61"/>
                </a:cubicBezTo>
                <a:cubicBezTo>
                  <a:pt x="63" y="61"/>
                  <a:pt x="63" y="61"/>
                  <a:pt x="63" y="61"/>
                </a:cubicBezTo>
                <a:cubicBezTo>
                  <a:pt x="65" y="61"/>
                  <a:pt x="67" y="59"/>
                  <a:pt x="67" y="57"/>
                </a:cubicBezTo>
                <a:cubicBezTo>
                  <a:pt x="67" y="48"/>
                  <a:pt x="67" y="48"/>
                  <a:pt x="67" y="48"/>
                </a:cubicBezTo>
                <a:cubicBezTo>
                  <a:pt x="68" y="48"/>
                  <a:pt x="68" y="48"/>
                  <a:pt x="68" y="48"/>
                </a:cubicBezTo>
                <a:cubicBezTo>
                  <a:pt x="70" y="48"/>
                  <a:pt x="71" y="47"/>
                  <a:pt x="71" y="45"/>
                </a:cubicBezTo>
                <a:cubicBezTo>
                  <a:pt x="71" y="26"/>
                  <a:pt x="71" y="26"/>
                  <a:pt x="71" y="26"/>
                </a:cubicBezTo>
                <a:cubicBezTo>
                  <a:pt x="71" y="24"/>
                  <a:pt x="70" y="22"/>
                  <a:pt x="68" y="22"/>
                </a:cubicBezTo>
                <a:close/>
                <a:moveTo>
                  <a:pt x="41" y="39"/>
                </a:moveTo>
                <a:cubicBezTo>
                  <a:pt x="26" y="39"/>
                  <a:pt x="26" y="39"/>
                  <a:pt x="26" y="39"/>
                </a:cubicBezTo>
                <a:cubicBezTo>
                  <a:pt x="23" y="39"/>
                  <a:pt x="21" y="37"/>
                  <a:pt x="21" y="35"/>
                </a:cubicBezTo>
                <a:cubicBezTo>
                  <a:pt x="21" y="32"/>
                  <a:pt x="23" y="30"/>
                  <a:pt x="26" y="30"/>
                </a:cubicBezTo>
                <a:cubicBezTo>
                  <a:pt x="41" y="30"/>
                  <a:pt x="41" y="30"/>
                  <a:pt x="41" y="30"/>
                </a:cubicBezTo>
                <a:cubicBezTo>
                  <a:pt x="44" y="30"/>
                  <a:pt x="46" y="32"/>
                  <a:pt x="46" y="35"/>
                </a:cubicBezTo>
                <a:cubicBezTo>
                  <a:pt x="46" y="37"/>
                  <a:pt x="44" y="39"/>
                  <a:pt x="41" y="39"/>
                </a:cubicBezTo>
                <a:close/>
                <a:moveTo>
                  <a:pt x="59" y="39"/>
                </a:moveTo>
                <a:cubicBezTo>
                  <a:pt x="56" y="39"/>
                  <a:pt x="54" y="37"/>
                  <a:pt x="54" y="34"/>
                </a:cubicBezTo>
                <a:cubicBezTo>
                  <a:pt x="54" y="32"/>
                  <a:pt x="56" y="29"/>
                  <a:pt x="59" y="29"/>
                </a:cubicBezTo>
                <a:cubicBezTo>
                  <a:pt x="61" y="29"/>
                  <a:pt x="64" y="32"/>
                  <a:pt x="64" y="34"/>
                </a:cubicBezTo>
                <a:cubicBezTo>
                  <a:pt x="64" y="37"/>
                  <a:pt x="61" y="39"/>
                  <a:pt x="59" y="39"/>
                </a:cubicBezTo>
                <a:close/>
              </a:path>
            </a:pathLst>
          </a:custGeom>
          <a:solidFill>
            <a:srgbClr val="FE5817"/>
          </a:solidFill>
          <a:ln>
            <a:noFill/>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45" b="0" i="0" u="none" strike="noStrike" kern="1200" cap="none" spc="0" normalizeH="0" baseline="0" noProof="0">
              <a:ln>
                <a:noFill/>
              </a:ln>
              <a:solidFill>
                <a:srgbClr val="FE8637"/>
              </a:solidFill>
              <a:effectLst/>
              <a:uLnTx/>
              <a:uFillTx/>
              <a:latin typeface="Arial" panose="020B0604020202020204"/>
              <a:ea typeface="华文楷体" panose="02010600040101010101" charset="-122"/>
              <a:cs typeface="+mn-ea"/>
              <a:sym typeface="+mn-lt"/>
            </a:endParaRPr>
          </a:p>
        </p:txBody>
      </p:sp>
      <p:sp>
        <p:nvSpPr>
          <p:cNvPr id="40" name="Freeform 86"/>
          <p:cNvSpPr/>
          <p:nvPr/>
        </p:nvSpPr>
        <p:spPr bwMode="auto">
          <a:xfrm>
            <a:off x="1040606" y="4652992"/>
            <a:ext cx="22324" cy="29831"/>
          </a:xfrm>
          <a:custGeom>
            <a:avLst/>
            <a:gdLst>
              <a:gd name="T0" fmla="*/ 3 w 7"/>
              <a:gd name="T1" fmla="*/ 0 h 7"/>
              <a:gd name="T2" fmla="*/ 0 w 7"/>
              <a:gd name="T3" fmla="*/ 2 h 7"/>
              <a:gd name="T4" fmla="*/ 3 w 7"/>
              <a:gd name="T5" fmla="*/ 0 h 7"/>
              <a:gd name="T6" fmla="*/ 6 w 7"/>
              <a:gd name="T7" fmla="*/ 4 h 7"/>
              <a:gd name="T8" fmla="*/ 5 w 7"/>
              <a:gd name="T9" fmla="*/ 7 h 7"/>
              <a:gd name="T10" fmla="*/ 7 w 7"/>
              <a:gd name="T11" fmla="*/ 3 h 7"/>
              <a:gd name="T12" fmla="*/ 3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3" y="0"/>
                </a:moveTo>
                <a:cubicBezTo>
                  <a:pt x="2" y="0"/>
                  <a:pt x="1" y="1"/>
                  <a:pt x="0" y="2"/>
                </a:cubicBezTo>
                <a:cubicBezTo>
                  <a:pt x="1" y="1"/>
                  <a:pt x="2" y="0"/>
                  <a:pt x="3" y="0"/>
                </a:cubicBezTo>
                <a:cubicBezTo>
                  <a:pt x="5" y="0"/>
                  <a:pt x="6" y="2"/>
                  <a:pt x="6" y="4"/>
                </a:cubicBezTo>
                <a:cubicBezTo>
                  <a:pt x="6" y="5"/>
                  <a:pt x="6" y="6"/>
                  <a:pt x="5" y="7"/>
                </a:cubicBezTo>
                <a:cubicBezTo>
                  <a:pt x="6" y="6"/>
                  <a:pt x="7" y="5"/>
                  <a:pt x="7" y="3"/>
                </a:cubicBezTo>
                <a:cubicBezTo>
                  <a:pt x="7" y="1"/>
                  <a:pt x="5" y="0"/>
                  <a:pt x="3" y="0"/>
                </a:cubicBezTo>
                <a:close/>
              </a:path>
            </a:pathLst>
          </a:custGeom>
          <a:solidFill>
            <a:schemeClr val="accent1"/>
          </a:solidFill>
          <a:ln>
            <a:noFill/>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45" b="0" i="0" u="none" strike="noStrike" kern="1200" cap="none" spc="0" normalizeH="0" baseline="0" noProof="0">
              <a:ln>
                <a:noFill/>
              </a:ln>
              <a:solidFill>
                <a:srgbClr val="FE8637"/>
              </a:solidFill>
              <a:effectLst/>
              <a:uLnTx/>
              <a:uFillTx/>
              <a:latin typeface="Arial" panose="020B0604020202020204"/>
              <a:ea typeface="华文楷体" panose="02010600040101010101" charset="-122"/>
              <a:cs typeface="+mn-ea"/>
              <a:sym typeface="+mn-lt"/>
            </a:endParaRPr>
          </a:p>
        </p:txBody>
      </p:sp>
      <p:sp>
        <p:nvSpPr>
          <p:cNvPr id="48" name="Freeform 88"/>
          <p:cNvSpPr/>
          <p:nvPr/>
        </p:nvSpPr>
        <p:spPr bwMode="auto">
          <a:xfrm>
            <a:off x="1203073" y="4568211"/>
            <a:ext cx="22324" cy="29831"/>
          </a:xfrm>
          <a:custGeom>
            <a:avLst/>
            <a:gdLst>
              <a:gd name="T0" fmla="*/ 4 w 7"/>
              <a:gd name="T1" fmla="*/ 0 h 7"/>
              <a:gd name="T2" fmla="*/ 0 w 7"/>
              <a:gd name="T3" fmla="*/ 3 h 7"/>
              <a:gd name="T4" fmla="*/ 3 w 7"/>
              <a:gd name="T5" fmla="*/ 1 h 7"/>
              <a:gd name="T6" fmla="*/ 7 w 7"/>
              <a:gd name="T7" fmla="*/ 5 h 7"/>
              <a:gd name="T8" fmla="*/ 5 w 7"/>
              <a:gd name="T9" fmla="*/ 7 h 7"/>
              <a:gd name="T10" fmla="*/ 7 w 7"/>
              <a:gd name="T11" fmla="*/ 4 h 7"/>
              <a:gd name="T12" fmla="*/ 4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4" y="0"/>
                </a:moveTo>
                <a:cubicBezTo>
                  <a:pt x="2" y="0"/>
                  <a:pt x="1" y="1"/>
                  <a:pt x="0" y="3"/>
                </a:cubicBezTo>
                <a:cubicBezTo>
                  <a:pt x="1" y="2"/>
                  <a:pt x="2" y="1"/>
                  <a:pt x="3" y="1"/>
                </a:cubicBezTo>
                <a:cubicBezTo>
                  <a:pt x="5" y="1"/>
                  <a:pt x="7" y="3"/>
                  <a:pt x="7" y="5"/>
                </a:cubicBezTo>
                <a:cubicBezTo>
                  <a:pt x="7" y="6"/>
                  <a:pt x="6" y="7"/>
                  <a:pt x="5" y="7"/>
                </a:cubicBezTo>
                <a:cubicBezTo>
                  <a:pt x="6" y="7"/>
                  <a:pt x="7" y="6"/>
                  <a:pt x="7" y="4"/>
                </a:cubicBezTo>
                <a:cubicBezTo>
                  <a:pt x="7" y="2"/>
                  <a:pt x="6" y="0"/>
                  <a:pt x="4" y="0"/>
                </a:cubicBezTo>
                <a:close/>
              </a:path>
            </a:pathLst>
          </a:custGeom>
          <a:solidFill>
            <a:schemeClr val="accent1"/>
          </a:solidFill>
          <a:ln>
            <a:noFill/>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45" b="0" i="0" u="none" strike="noStrike" kern="1200" cap="none" spc="0" normalizeH="0" baseline="0" noProof="0">
              <a:ln>
                <a:noFill/>
              </a:ln>
              <a:solidFill>
                <a:srgbClr val="FE8637"/>
              </a:solidFill>
              <a:effectLst/>
              <a:uLnTx/>
              <a:uFillTx/>
              <a:latin typeface="Arial" panose="020B0604020202020204"/>
              <a:ea typeface="华文楷体" panose="02010600040101010101" charset="-122"/>
              <a:cs typeface="+mn-ea"/>
              <a:sym typeface="+mn-lt"/>
            </a:endParaRPr>
          </a:p>
        </p:txBody>
      </p:sp>
      <p:sp>
        <p:nvSpPr>
          <p:cNvPr id="52" name="Freeform 89"/>
          <p:cNvSpPr>
            <a:spLocks noEditPoints="1"/>
          </p:cNvSpPr>
          <p:nvPr/>
        </p:nvSpPr>
        <p:spPr bwMode="auto">
          <a:xfrm>
            <a:off x="692107" y="4602752"/>
            <a:ext cx="235640" cy="240214"/>
          </a:xfrm>
          <a:custGeom>
            <a:avLst/>
            <a:gdLst>
              <a:gd name="T0" fmla="*/ 68 w 71"/>
              <a:gd name="T1" fmla="*/ 21 h 57"/>
              <a:gd name="T2" fmla="*/ 67 w 71"/>
              <a:gd name="T3" fmla="*/ 21 h 57"/>
              <a:gd name="T4" fmla="*/ 63 w 71"/>
              <a:gd name="T5" fmla="*/ 5 h 57"/>
              <a:gd name="T6" fmla="*/ 56 w 71"/>
              <a:gd name="T7" fmla="*/ 1 h 57"/>
              <a:gd name="T8" fmla="*/ 14 w 71"/>
              <a:gd name="T9" fmla="*/ 1 h 57"/>
              <a:gd name="T10" fmla="*/ 7 w 71"/>
              <a:gd name="T11" fmla="*/ 5 h 57"/>
              <a:gd name="T12" fmla="*/ 4 w 71"/>
              <a:gd name="T13" fmla="*/ 21 h 57"/>
              <a:gd name="T14" fmla="*/ 3 w 71"/>
              <a:gd name="T15" fmla="*/ 21 h 57"/>
              <a:gd name="T16" fmla="*/ 0 w 71"/>
              <a:gd name="T17" fmla="*/ 24 h 57"/>
              <a:gd name="T18" fmla="*/ 0 w 71"/>
              <a:gd name="T19" fmla="*/ 42 h 57"/>
              <a:gd name="T20" fmla="*/ 3 w 71"/>
              <a:gd name="T21" fmla="*/ 45 h 57"/>
              <a:gd name="T22" fmla="*/ 6 w 71"/>
              <a:gd name="T23" fmla="*/ 45 h 57"/>
              <a:gd name="T24" fmla="*/ 6 w 71"/>
              <a:gd name="T25" fmla="*/ 54 h 57"/>
              <a:gd name="T26" fmla="*/ 9 w 71"/>
              <a:gd name="T27" fmla="*/ 57 h 57"/>
              <a:gd name="T28" fmla="*/ 14 w 71"/>
              <a:gd name="T29" fmla="*/ 57 h 57"/>
              <a:gd name="T30" fmla="*/ 17 w 71"/>
              <a:gd name="T31" fmla="*/ 54 h 57"/>
              <a:gd name="T32" fmla="*/ 17 w 71"/>
              <a:gd name="T33" fmla="*/ 45 h 57"/>
              <a:gd name="T34" fmla="*/ 55 w 71"/>
              <a:gd name="T35" fmla="*/ 45 h 57"/>
              <a:gd name="T36" fmla="*/ 55 w 71"/>
              <a:gd name="T37" fmla="*/ 54 h 57"/>
              <a:gd name="T38" fmla="*/ 59 w 71"/>
              <a:gd name="T39" fmla="*/ 57 h 57"/>
              <a:gd name="T40" fmla="*/ 63 w 71"/>
              <a:gd name="T41" fmla="*/ 57 h 57"/>
              <a:gd name="T42" fmla="*/ 67 w 71"/>
              <a:gd name="T43" fmla="*/ 54 h 57"/>
              <a:gd name="T44" fmla="*/ 67 w 71"/>
              <a:gd name="T45" fmla="*/ 45 h 57"/>
              <a:gd name="T46" fmla="*/ 68 w 71"/>
              <a:gd name="T47" fmla="*/ 45 h 57"/>
              <a:gd name="T48" fmla="*/ 71 w 71"/>
              <a:gd name="T49" fmla="*/ 42 h 57"/>
              <a:gd name="T50" fmla="*/ 71 w 71"/>
              <a:gd name="T51" fmla="*/ 24 h 57"/>
              <a:gd name="T52" fmla="*/ 68 w 71"/>
              <a:gd name="T53" fmla="*/ 21 h 57"/>
              <a:gd name="T54" fmla="*/ 9 w 71"/>
              <a:gd name="T55" fmla="*/ 7 h 57"/>
              <a:gd name="T56" fmla="*/ 15 w 71"/>
              <a:gd name="T57" fmla="*/ 3 h 57"/>
              <a:gd name="T58" fmla="*/ 54 w 71"/>
              <a:gd name="T59" fmla="*/ 3 h 57"/>
              <a:gd name="T60" fmla="*/ 60 w 71"/>
              <a:gd name="T61" fmla="*/ 6 h 57"/>
              <a:gd name="T62" fmla="*/ 64 w 71"/>
              <a:gd name="T63" fmla="*/ 20 h 57"/>
              <a:gd name="T64" fmla="*/ 8 w 71"/>
              <a:gd name="T65" fmla="*/ 20 h 57"/>
              <a:gd name="T66" fmla="*/ 9 w 71"/>
              <a:gd name="T67" fmla="*/ 7 h 57"/>
              <a:gd name="T68" fmla="*/ 13 w 71"/>
              <a:gd name="T69" fmla="*/ 37 h 57"/>
              <a:gd name="T70" fmla="*/ 8 w 71"/>
              <a:gd name="T71" fmla="*/ 32 h 57"/>
              <a:gd name="T72" fmla="*/ 13 w 71"/>
              <a:gd name="T73" fmla="*/ 28 h 57"/>
              <a:gd name="T74" fmla="*/ 17 w 71"/>
              <a:gd name="T75" fmla="*/ 32 h 57"/>
              <a:gd name="T76" fmla="*/ 13 w 71"/>
              <a:gd name="T77" fmla="*/ 37 h 57"/>
              <a:gd name="T78" fmla="*/ 43 w 71"/>
              <a:gd name="T79" fmla="*/ 37 h 57"/>
              <a:gd name="T80" fmla="*/ 29 w 71"/>
              <a:gd name="T81" fmla="*/ 37 h 57"/>
              <a:gd name="T82" fmla="*/ 24 w 71"/>
              <a:gd name="T83" fmla="*/ 33 h 57"/>
              <a:gd name="T84" fmla="*/ 29 w 71"/>
              <a:gd name="T85" fmla="*/ 28 h 57"/>
              <a:gd name="T86" fmla="*/ 43 w 71"/>
              <a:gd name="T87" fmla="*/ 28 h 57"/>
              <a:gd name="T88" fmla="*/ 47 w 71"/>
              <a:gd name="T89" fmla="*/ 33 h 57"/>
              <a:gd name="T90" fmla="*/ 43 w 71"/>
              <a:gd name="T91" fmla="*/ 37 h 57"/>
              <a:gd name="T92" fmla="*/ 59 w 71"/>
              <a:gd name="T93" fmla="*/ 37 h 57"/>
              <a:gd name="T94" fmla="*/ 55 w 71"/>
              <a:gd name="T95" fmla="*/ 32 h 57"/>
              <a:gd name="T96" fmla="*/ 59 w 71"/>
              <a:gd name="T97" fmla="*/ 28 h 57"/>
              <a:gd name="T98" fmla="*/ 64 w 71"/>
              <a:gd name="T99" fmla="*/ 32 h 57"/>
              <a:gd name="T100" fmla="*/ 59 w 71"/>
              <a:gd name="T101" fmla="*/ 3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 h="57">
                <a:moveTo>
                  <a:pt x="68" y="21"/>
                </a:moveTo>
                <a:cubicBezTo>
                  <a:pt x="67" y="21"/>
                  <a:pt x="67" y="21"/>
                  <a:pt x="67" y="21"/>
                </a:cubicBezTo>
                <a:cubicBezTo>
                  <a:pt x="67" y="21"/>
                  <a:pt x="63" y="6"/>
                  <a:pt x="63" y="5"/>
                </a:cubicBezTo>
                <a:cubicBezTo>
                  <a:pt x="60" y="0"/>
                  <a:pt x="56" y="1"/>
                  <a:pt x="56" y="1"/>
                </a:cubicBezTo>
                <a:cubicBezTo>
                  <a:pt x="14" y="1"/>
                  <a:pt x="14" y="1"/>
                  <a:pt x="14" y="1"/>
                </a:cubicBezTo>
                <a:cubicBezTo>
                  <a:pt x="9" y="1"/>
                  <a:pt x="7" y="5"/>
                  <a:pt x="7" y="5"/>
                </a:cubicBezTo>
                <a:cubicBezTo>
                  <a:pt x="4" y="21"/>
                  <a:pt x="4" y="21"/>
                  <a:pt x="4" y="21"/>
                </a:cubicBezTo>
                <a:cubicBezTo>
                  <a:pt x="3" y="21"/>
                  <a:pt x="3" y="21"/>
                  <a:pt x="3" y="21"/>
                </a:cubicBezTo>
                <a:cubicBezTo>
                  <a:pt x="2" y="21"/>
                  <a:pt x="0" y="22"/>
                  <a:pt x="0" y="24"/>
                </a:cubicBezTo>
                <a:cubicBezTo>
                  <a:pt x="0" y="42"/>
                  <a:pt x="0" y="42"/>
                  <a:pt x="0" y="42"/>
                </a:cubicBezTo>
                <a:cubicBezTo>
                  <a:pt x="0" y="44"/>
                  <a:pt x="2" y="45"/>
                  <a:pt x="3" y="45"/>
                </a:cubicBezTo>
                <a:cubicBezTo>
                  <a:pt x="6" y="45"/>
                  <a:pt x="6" y="45"/>
                  <a:pt x="6" y="45"/>
                </a:cubicBezTo>
                <a:cubicBezTo>
                  <a:pt x="6" y="54"/>
                  <a:pt x="6" y="54"/>
                  <a:pt x="6" y="54"/>
                </a:cubicBezTo>
                <a:cubicBezTo>
                  <a:pt x="6" y="55"/>
                  <a:pt x="7" y="57"/>
                  <a:pt x="9" y="57"/>
                </a:cubicBezTo>
                <a:cubicBezTo>
                  <a:pt x="14" y="57"/>
                  <a:pt x="14" y="57"/>
                  <a:pt x="14" y="57"/>
                </a:cubicBezTo>
                <a:cubicBezTo>
                  <a:pt x="16" y="57"/>
                  <a:pt x="17" y="55"/>
                  <a:pt x="17" y="54"/>
                </a:cubicBezTo>
                <a:cubicBezTo>
                  <a:pt x="17" y="45"/>
                  <a:pt x="17" y="45"/>
                  <a:pt x="17" y="45"/>
                </a:cubicBezTo>
                <a:cubicBezTo>
                  <a:pt x="55" y="45"/>
                  <a:pt x="55" y="45"/>
                  <a:pt x="55" y="45"/>
                </a:cubicBezTo>
                <a:cubicBezTo>
                  <a:pt x="55" y="54"/>
                  <a:pt x="55" y="54"/>
                  <a:pt x="55" y="54"/>
                </a:cubicBezTo>
                <a:cubicBezTo>
                  <a:pt x="55" y="55"/>
                  <a:pt x="57" y="57"/>
                  <a:pt x="59" y="57"/>
                </a:cubicBezTo>
                <a:cubicBezTo>
                  <a:pt x="63" y="57"/>
                  <a:pt x="63" y="57"/>
                  <a:pt x="63" y="57"/>
                </a:cubicBezTo>
                <a:cubicBezTo>
                  <a:pt x="65" y="57"/>
                  <a:pt x="67" y="55"/>
                  <a:pt x="67" y="54"/>
                </a:cubicBezTo>
                <a:cubicBezTo>
                  <a:pt x="67" y="45"/>
                  <a:pt x="67" y="45"/>
                  <a:pt x="67" y="45"/>
                </a:cubicBezTo>
                <a:cubicBezTo>
                  <a:pt x="68" y="45"/>
                  <a:pt x="68" y="45"/>
                  <a:pt x="68" y="45"/>
                </a:cubicBezTo>
                <a:cubicBezTo>
                  <a:pt x="70" y="45"/>
                  <a:pt x="71" y="44"/>
                  <a:pt x="71" y="42"/>
                </a:cubicBezTo>
                <a:cubicBezTo>
                  <a:pt x="71" y="24"/>
                  <a:pt x="71" y="24"/>
                  <a:pt x="71" y="24"/>
                </a:cubicBezTo>
                <a:cubicBezTo>
                  <a:pt x="71" y="22"/>
                  <a:pt x="70" y="21"/>
                  <a:pt x="68" y="21"/>
                </a:cubicBezTo>
                <a:close/>
                <a:moveTo>
                  <a:pt x="9" y="7"/>
                </a:moveTo>
                <a:cubicBezTo>
                  <a:pt x="9" y="7"/>
                  <a:pt x="11" y="3"/>
                  <a:pt x="15" y="3"/>
                </a:cubicBezTo>
                <a:cubicBezTo>
                  <a:pt x="54" y="3"/>
                  <a:pt x="54" y="3"/>
                  <a:pt x="54" y="3"/>
                </a:cubicBezTo>
                <a:cubicBezTo>
                  <a:pt x="54" y="3"/>
                  <a:pt x="58" y="3"/>
                  <a:pt x="60" y="6"/>
                </a:cubicBezTo>
                <a:cubicBezTo>
                  <a:pt x="60" y="7"/>
                  <a:pt x="64" y="20"/>
                  <a:pt x="64" y="20"/>
                </a:cubicBezTo>
                <a:cubicBezTo>
                  <a:pt x="8" y="20"/>
                  <a:pt x="8" y="20"/>
                  <a:pt x="8" y="20"/>
                </a:cubicBezTo>
                <a:lnTo>
                  <a:pt x="9" y="7"/>
                </a:lnTo>
                <a:close/>
                <a:moveTo>
                  <a:pt x="13" y="37"/>
                </a:moveTo>
                <a:cubicBezTo>
                  <a:pt x="10" y="37"/>
                  <a:pt x="8" y="35"/>
                  <a:pt x="8" y="32"/>
                </a:cubicBezTo>
                <a:cubicBezTo>
                  <a:pt x="8" y="30"/>
                  <a:pt x="10" y="28"/>
                  <a:pt x="13" y="28"/>
                </a:cubicBezTo>
                <a:cubicBezTo>
                  <a:pt x="15" y="28"/>
                  <a:pt x="17" y="30"/>
                  <a:pt x="17" y="32"/>
                </a:cubicBezTo>
                <a:cubicBezTo>
                  <a:pt x="17" y="35"/>
                  <a:pt x="15" y="37"/>
                  <a:pt x="13" y="37"/>
                </a:cubicBezTo>
                <a:close/>
                <a:moveTo>
                  <a:pt x="43" y="37"/>
                </a:moveTo>
                <a:cubicBezTo>
                  <a:pt x="29" y="37"/>
                  <a:pt x="29" y="37"/>
                  <a:pt x="29" y="37"/>
                </a:cubicBezTo>
                <a:cubicBezTo>
                  <a:pt x="26" y="37"/>
                  <a:pt x="24" y="35"/>
                  <a:pt x="24" y="33"/>
                </a:cubicBezTo>
                <a:cubicBezTo>
                  <a:pt x="24" y="30"/>
                  <a:pt x="26" y="28"/>
                  <a:pt x="29" y="28"/>
                </a:cubicBezTo>
                <a:cubicBezTo>
                  <a:pt x="43" y="28"/>
                  <a:pt x="43" y="28"/>
                  <a:pt x="43" y="28"/>
                </a:cubicBezTo>
                <a:cubicBezTo>
                  <a:pt x="46" y="28"/>
                  <a:pt x="47" y="30"/>
                  <a:pt x="47" y="33"/>
                </a:cubicBezTo>
                <a:cubicBezTo>
                  <a:pt x="47" y="35"/>
                  <a:pt x="46" y="37"/>
                  <a:pt x="43" y="37"/>
                </a:cubicBezTo>
                <a:close/>
                <a:moveTo>
                  <a:pt x="59" y="37"/>
                </a:moveTo>
                <a:cubicBezTo>
                  <a:pt x="57" y="37"/>
                  <a:pt x="55" y="35"/>
                  <a:pt x="55" y="32"/>
                </a:cubicBezTo>
                <a:cubicBezTo>
                  <a:pt x="55" y="30"/>
                  <a:pt x="57" y="28"/>
                  <a:pt x="59" y="28"/>
                </a:cubicBezTo>
                <a:cubicBezTo>
                  <a:pt x="62" y="28"/>
                  <a:pt x="64" y="30"/>
                  <a:pt x="64" y="32"/>
                </a:cubicBezTo>
                <a:cubicBezTo>
                  <a:pt x="64" y="35"/>
                  <a:pt x="62" y="37"/>
                  <a:pt x="59" y="37"/>
                </a:cubicBezTo>
                <a:close/>
              </a:path>
            </a:pathLst>
          </a:custGeom>
          <a:solidFill>
            <a:srgbClr val="FE5817"/>
          </a:solidFill>
          <a:ln>
            <a:noFill/>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45" b="0" i="0" u="none" strike="noStrike" kern="1200" cap="none" spc="0" normalizeH="0" baseline="0" noProof="0">
              <a:ln>
                <a:noFill/>
              </a:ln>
              <a:solidFill>
                <a:srgbClr val="FE8637"/>
              </a:solidFill>
              <a:effectLst/>
              <a:uLnTx/>
              <a:uFillTx/>
              <a:latin typeface="Arial" panose="020B0604020202020204"/>
              <a:ea typeface="华文楷体" panose="02010600040101010101" charset="-122"/>
              <a:cs typeface="+mn-ea"/>
              <a:sym typeface="+mn-lt"/>
            </a:endParaRPr>
          </a:p>
        </p:txBody>
      </p:sp>
      <p:sp>
        <p:nvSpPr>
          <p:cNvPr id="53" name="Freeform 90"/>
          <p:cNvSpPr/>
          <p:nvPr/>
        </p:nvSpPr>
        <p:spPr bwMode="auto">
          <a:xfrm>
            <a:off x="721872" y="4725214"/>
            <a:ext cx="23564" cy="25121"/>
          </a:xfrm>
          <a:custGeom>
            <a:avLst/>
            <a:gdLst>
              <a:gd name="T0" fmla="*/ 4 w 7"/>
              <a:gd name="T1" fmla="*/ 0 h 6"/>
              <a:gd name="T2" fmla="*/ 0 w 7"/>
              <a:gd name="T3" fmla="*/ 3 h 6"/>
              <a:gd name="T4" fmla="*/ 2 w 7"/>
              <a:gd name="T5" fmla="*/ 6 h 6"/>
              <a:gd name="T6" fmla="*/ 1 w 7"/>
              <a:gd name="T7" fmla="*/ 4 h 6"/>
              <a:gd name="T8" fmla="*/ 4 w 7"/>
              <a:gd name="T9" fmla="*/ 0 h 6"/>
              <a:gd name="T10" fmla="*/ 7 w 7"/>
              <a:gd name="T11" fmla="*/ 2 h 6"/>
              <a:gd name="T12" fmla="*/ 4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4" y="0"/>
                </a:moveTo>
                <a:cubicBezTo>
                  <a:pt x="2" y="0"/>
                  <a:pt x="0" y="1"/>
                  <a:pt x="0" y="3"/>
                </a:cubicBezTo>
                <a:cubicBezTo>
                  <a:pt x="0" y="5"/>
                  <a:pt x="1" y="6"/>
                  <a:pt x="2" y="6"/>
                </a:cubicBezTo>
                <a:cubicBezTo>
                  <a:pt x="2" y="6"/>
                  <a:pt x="1" y="5"/>
                  <a:pt x="1" y="4"/>
                </a:cubicBezTo>
                <a:cubicBezTo>
                  <a:pt x="1" y="2"/>
                  <a:pt x="2" y="0"/>
                  <a:pt x="4" y="0"/>
                </a:cubicBezTo>
                <a:cubicBezTo>
                  <a:pt x="5" y="0"/>
                  <a:pt x="6" y="1"/>
                  <a:pt x="7" y="2"/>
                </a:cubicBezTo>
                <a:cubicBezTo>
                  <a:pt x="6" y="1"/>
                  <a:pt x="5" y="0"/>
                  <a:pt x="4" y="0"/>
                </a:cubicBezTo>
                <a:close/>
              </a:path>
            </a:pathLst>
          </a:custGeom>
          <a:solidFill>
            <a:schemeClr val="accent1"/>
          </a:solidFill>
          <a:ln>
            <a:noFill/>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45" b="0" i="0" u="none" strike="noStrike" kern="1200" cap="none" spc="0" normalizeH="0" baseline="0" noProof="0">
              <a:ln>
                <a:noFill/>
              </a:ln>
              <a:solidFill>
                <a:srgbClr val="FE8637"/>
              </a:solidFill>
              <a:effectLst/>
              <a:uLnTx/>
              <a:uFillTx/>
              <a:latin typeface="Arial" panose="020B0604020202020204"/>
              <a:ea typeface="华文楷体" panose="02010600040101010101" charset="-122"/>
              <a:cs typeface="+mn-ea"/>
              <a:sym typeface="+mn-lt"/>
            </a:endParaRPr>
          </a:p>
        </p:txBody>
      </p:sp>
      <p:sp>
        <p:nvSpPr>
          <p:cNvPr id="65" name="Freeform 91"/>
          <p:cNvSpPr/>
          <p:nvPr/>
        </p:nvSpPr>
        <p:spPr bwMode="auto">
          <a:xfrm>
            <a:off x="878138" y="4725214"/>
            <a:ext cx="19843" cy="25121"/>
          </a:xfrm>
          <a:custGeom>
            <a:avLst/>
            <a:gdLst>
              <a:gd name="T0" fmla="*/ 3 w 6"/>
              <a:gd name="T1" fmla="*/ 0 h 6"/>
              <a:gd name="T2" fmla="*/ 0 w 6"/>
              <a:gd name="T3" fmla="*/ 2 h 6"/>
              <a:gd name="T4" fmla="*/ 3 w 6"/>
              <a:gd name="T5" fmla="*/ 0 h 6"/>
              <a:gd name="T6" fmla="*/ 6 w 6"/>
              <a:gd name="T7" fmla="*/ 4 h 6"/>
              <a:gd name="T8" fmla="*/ 4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1"/>
                  <a:pt x="0" y="2"/>
                </a:cubicBezTo>
                <a:cubicBezTo>
                  <a:pt x="1" y="1"/>
                  <a:pt x="2" y="0"/>
                  <a:pt x="3" y="0"/>
                </a:cubicBezTo>
                <a:cubicBezTo>
                  <a:pt x="4" y="0"/>
                  <a:pt x="6" y="2"/>
                  <a:pt x="6" y="4"/>
                </a:cubicBezTo>
                <a:cubicBezTo>
                  <a:pt x="6" y="5"/>
                  <a:pt x="5" y="6"/>
                  <a:pt x="4" y="6"/>
                </a:cubicBezTo>
                <a:cubicBezTo>
                  <a:pt x="6" y="6"/>
                  <a:pt x="6" y="5"/>
                  <a:pt x="6" y="3"/>
                </a:cubicBezTo>
                <a:cubicBezTo>
                  <a:pt x="6" y="1"/>
                  <a:pt x="5" y="0"/>
                  <a:pt x="3" y="0"/>
                </a:cubicBezTo>
                <a:close/>
              </a:path>
            </a:pathLst>
          </a:custGeom>
          <a:solidFill>
            <a:schemeClr val="accent1"/>
          </a:solidFill>
          <a:ln>
            <a:noFill/>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45" b="0" i="0" u="none" strike="noStrike" kern="1200" cap="none" spc="0" normalizeH="0" baseline="0" noProof="0">
              <a:ln>
                <a:noFill/>
              </a:ln>
              <a:solidFill>
                <a:srgbClr val="FE8637"/>
              </a:solidFill>
              <a:effectLst/>
              <a:uLnTx/>
              <a:uFillTx/>
              <a:latin typeface="Arial" panose="020B0604020202020204"/>
              <a:ea typeface="华文楷体" panose="02010600040101010101" charset="-122"/>
              <a:cs typeface="+mn-ea"/>
              <a:sym typeface="+mn-lt"/>
            </a:endParaRPr>
          </a:p>
        </p:txBody>
      </p:sp>
      <p:sp>
        <p:nvSpPr>
          <p:cNvPr id="66" name="矩形 4"/>
          <p:cNvSpPr>
            <a:spLocks noChangeArrowheads="1"/>
          </p:cNvSpPr>
          <p:nvPr/>
        </p:nvSpPr>
        <p:spPr bwMode="auto">
          <a:xfrm>
            <a:off x="1234619" y="2005321"/>
            <a:ext cx="1417384" cy="299690"/>
          </a:xfrm>
          <a:prstGeom prst="rect">
            <a:avLst/>
          </a:prstGeom>
          <a:noFill/>
        </p:spPr>
        <p:txBody>
          <a:bodyPr wrap="square" lIns="0" tIns="0" rIns="0" bIns="0" rtlCol="0" anchor="ctr">
            <a:noAutofit/>
          </a:bodyPr>
          <a:lstStyle/>
          <a:p>
            <a:pPr marL="0" marR="0" lvl="0" indent="0" algn="l" defTabSz="3429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srgbClr val="575F6D"/>
                </a:solidFill>
                <a:effectLst/>
                <a:uLnTx/>
                <a:uFillTx/>
                <a:latin typeface="Arial" panose="020B0604020202020204"/>
                <a:ea typeface="华文楷体" panose="02010600040101010101" charset="-122"/>
                <a:cs typeface="+mn-ea"/>
                <a:sym typeface="+mn-lt"/>
              </a:rPr>
              <a:t>XXXX</a:t>
            </a:r>
            <a:endParaRPr kumimoji="0" lang="en-US" altLang="zh-CN" sz="1600" b="1" i="0" u="none" strike="noStrike" kern="1200" cap="none" spc="0" normalizeH="0" baseline="0" noProof="0" dirty="0" smtClean="0">
              <a:ln>
                <a:noFill/>
              </a:ln>
              <a:solidFill>
                <a:srgbClr val="575F6D"/>
              </a:solidFill>
              <a:effectLst/>
              <a:uLnTx/>
              <a:uFillTx/>
              <a:latin typeface="Arial" panose="020B0604020202020204"/>
              <a:ea typeface="华文楷体" panose="02010600040101010101" charset="-122"/>
              <a:cs typeface="+mn-ea"/>
              <a:sym typeface="+mn-lt"/>
            </a:endParaRPr>
          </a:p>
        </p:txBody>
      </p:sp>
      <p:sp>
        <p:nvSpPr>
          <p:cNvPr id="4" name="矩形 3"/>
          <p:cNvSpPr/>
          <p:nvPr/>
        </p:nvSpPr>
        <p:spPr>
          <a:xfrm>
            <a:off x="1182483" y="2328338"/>
            <a:ext cx="1620727"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时效慢、价格低</a:t>
            </a:r>
            <a:r>
              <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a:t>
            </a: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a:t>
            </a:r>
            <a:r>
              <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环节投诉占比高达</a:t>
            </a: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X%</a:t>
            </a:r>
            <a:r>
              <a:rPr kumimoji="0" lang="en-US" altLang="zh-CN" sz="1400" b="0" i="0" u="none" strike="noStrike" kern="1200" cap="none" spc="0" normalizeH="0" baseline="30000" noProof="0" dirty="0" smtClean="0">
                <a:ln>
                  <a:noFill/>
                </a:ln>
                <a:solidFill>
                  <a:prstClr val="black"/>
                </a:solidFill>
                <a:effectLst/>
                <a:uLnTx/>
                <a:uFillTx/>
                <a:latin typeface="Arial" panose="020B0604020202020204"/>
                <a:ea typeface="华文楷体" panose="02010600040101010101" charset="-122"/>
                <a:cs typeface="+mn-ea"/>
                <a:sym typeface="+mn-lt"/>
              </a:rPr>
              <a:t>1</a:t>
            </a:r>
            <a:endParaRPr kumimoji="0" lang="zh-CN" altLang="en-US" sz="1400" b="0" i="0" u="none" strike="noStrike" kern="1200" cap="none" spc="0" normalizeH="0" baseline="3000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70" name="矩形 4"/>
          <p:cNvSpPr>
            <a:spLocks noChangeArrowheads="1"/>
          </p:cNvSpPr>
          <p:nvPr/>
        </p:nvSpPr>
        <p:spPr bwMode="auto">
          <a:xfrm>
            <a:off x="1234619" y="3268275"/>
            <a:ext cx="1417384" cy="299690"/>
          </a:xfrm>
          <a:prstGeom prst="rect">
            <a:avLst/>
          </a:prstGeom>
          <a:noFill/>
        </p:spPr>
        <p:txBody>
          <a:bodyPr wrap="square" lIns="0" tIns="0" rIns="0" bIns="0" rtlCol="0" anchor="ctr">
            <a:noAutofit/>
          </a:bodyPr>
          <a:lstStyle/>
          <a:p>
            <a:pPr marL="0" marR="0" lvl="0" indent="0" algn="l" defTabSz="3429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srgbClr val="575F6D"/>
                </a:solidFill>
                <a:effectLst/>
                <a:uLnTx/>
                <a:uFillTx/>
                <a:latin typeface="Arial" panose="020B0604020202020204"/>
                <a:ea typeface="华文楷体" panose="02010600040101010101" charset="-122"/>
                <a:cs typeface="+mn-ea"/>
                <a:sym typeface="+mn-lt"/>
              </a:rPr>
              <a:t>XXXX</a:t>
            </a:r>
            <a:endParaRPr kumimoji="0" lang="en-US" altLang="zh-CN" sz="1600" b="1" i="0" u="none" strike="noStrike" kern="1200" cap="none" spc="0" normalizeH="0" baseline="0" noProof="0" dirty="0" smtClean="0">
              <a:ln>
                <a:noFill/>
              </a:ln>
              <a:solidFill>
                <a:srgbClr val="575F6D"/>
              </a:solidFill>
              <a:effectLst/>
              <a:uLnTx/>
              <a:uFillTx/>
              <a:latin typeface="Arial" panose="020B0604020202020204"/>
              <a:ea typeface="华文楷体" panose="02010600040101010101" charset="-122"/>
              <a:cs typeface="+mn-ea"/>
              <a:sym typeface="+mn-lt"/>
            </a:endParaRPr>
          </a:p>
        </p:txBody>
      </p:sp>
      <p:sp>
        <p:nvSpPr>
          <p:cNvPr id="71" name="矩形 70"/>
          <p:cNvSpPr/>
          <p:nvPr/>
        </p:nvSpPr>
        <p:spPr>
          <a:xfrm>
            <a:off x="1182484" y="3591292"/>
            <a:ext cx="1562986"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XXX%</a:t>
            </a:r>
            <a:r>
              <a:rPr kumimoji="0" lang="zh-CN" altLang="en-US"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的</a:t>
            </a:r>
            <a:r>
              <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公司经营</a:t>
            </a:r>
            <a:r>
              <a:rPr kumimoji="0" lang="zh-CN" altLang="en-US"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亏损</a:t>
            </a:r>
            <a:r>
              <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a:t>
            </a: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a:t>
            </a:r>
            <a:r>
              <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渗漏高达</a:t>
            </a:r>
            <a:r>
              <a:rPr kumimoji="0" lang="en-US" altLang="zh-CN"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XXX</a:t>
            </a:r>
            <a:r>
              <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亿</a:t>
            </a:r>
            <a:r>
              <a:rPr kumimoji="0" lang="en-US" altLang="zh-CN" sz="1400" b="0" i="0" u="none" strike="noStrike" kern="1200" cap="none" spc="0" normalizeH="0" baseline="30000" noProof="0" dirty="0" smtClean="0">
                <a:ln>
                  <a:noFill/>
                </a:ln>
                <a:solidFill>
                  <a:prstClr val="black"/>
                </a:solidFill>
                <a:effectLst/>
                <a:uLnTx/>
                <a:uFillTx/>
                <a:latin typeface="Arial" panose="020B0604020202020204"/>
                <a:ea typeface="华文楷体" panose="02010600040101010101" charset="-122"/>
                <a:cs typeface="+mn-ea"/>
                <a:sym typeface="+mn-lt"/>
              </a:rPr>
              <a:t>2</a:t>
            </a:r>
            <a:endParaRPr kumimoji="0" lang="zh-CN" altLang="en-US" sz="1400" b="0" i="0" u="none" strike="noStrike" kern="1200" cap="none" spc="0" normalizeH="0" baseline="3000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73" name="矩形 4"/>
          <p:cNvSpPr>
            <a:spLocks noChangeArrowheads="1"/>
          </p:cNvSpPr>
          <p:nvPr/>
        </p:nvSpPr>
        <p:spPr bwMode="auto">
          <a:xfrm>
            <a:off x="1234619" y="4522682"/>
            <a:ext cx="1417384" cy="299690"/>
          </a:xfrm>
          <a:prstGeom prst="rect">
            <a:avLst/>
          </a:prstGeom>
          <a:noFill/>
        </p:spPr>
        <p:txBody>
          <a:bodyPr wrap="square" lIns="0" tIns="0" rIns="0" bIns="0" rtlCol="0" anchor="ctr">
            <a:noAutofit/>
          </a:bodyPr>
          <a:lstStyle/>
          <a:p>
            <a:pPr marL="0" marR="0" lvl="0" indent="0" algn="l" defTabSz="3429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srgbClr val="575F6D"/>
                </a:solidFill>
                <a:effectLst/>
                <a:uLnTx/>
                <a:uFillTx/>
                <a:latin typeface="Arial" panose="020B0604020202020204"/>
                <a:ea typeface="华文楷体" panose="02010600040101010101" charset="-122"/>
                <a:cs typeface="+mn-ea"/>
                <a:sym typeface="+mn-lt"/>
              </a:rPr>
              <a:t>XXXX</a:t>
            </a:r>
            <a:endParaRPr kumimoji="0" lang="en-US" altLang="zh-CN" sz="1600" b="1" i="0" u="none" strike="noStrike" kern="1200" cap="none" spc="0" normalizeH="0" baseline="0" noProof="0" dirty="0" smtClean="0">
              <a:ln>
                <a:noFill/>
              </a:ln>
              <a:solidFill>
                <a:srgbClr val="575F6D"/>
              </a:solidFill>
              <a:effectLst/>
              <a:uLnTx/>
              <a:uFillTx/>
              <a:latin typeface="Arial" panose="020B0604020202020204"/>
              <a:ea typeface="华文楷体" panose="02010600040101010101" charset="-122"/>
              <a:cs typeface="+mn-ea"/>
              <a:sym typeface="+mn-lt"/>
            </a:endParaRPr>
          </a:p>
        </p:txBody>
      </p:sp>
      <p:sp>
        <p:nvSpPr>
          <p:cNvPr id="74" name="矩形 73"/>
          <p:cNvSpPr/>
          <p:nvPr/>
        </p:nvSpPr>
        <p:spPr>
          <a:xfrm>
            <a:off x="1182484" y="4845699"/>
            <a:ext cx="156298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a:t>
            </a:r>
            <a:r>
              <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案件</a:t>
            </a: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a:t>
            </a:r>
            <a:r>
              <a:rPr kumimoji="0" lang="en-US" altLang="zh-CN"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rPr>
              <a:t>%</a:t>
            </a:r>
            <a:endParaRPr kumimoji="0" lang="en-US" altLang="zh-CN"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7" name="矩形 66"/>
          <p:cNvSpPr/>
          <p:nvPr/>
        </p:nvSpPr>
        <p:spPr>
          <a:xfrm>
            <a:off x="3316346" y="1861458"/>
            <a:ext cx="1616698" cy="185057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0" rIns="0" bIns="0" numCol="1" spcCol="0" rtlCol="0" fromWordArt="0" anchor="t" anchorCtr="0" forceAA="0" compatLnSpc="1">
            <a:noAutofit/>
          </a:bodyPr>
          <a:lstStyle/>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en-US" altLang="zh-CN" sz="1400" b="1"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X</a:t>
            </a:r>
            <a:endParaRPr kumimoji="0" lang="en-US" altLang="zh-CN" sz="1400" b="1" i="0" u="none" strike="noStrike" kern="1200" cap="none" spc="0" normalizeH="0" baseline="0" noProof="0" dirty="0" smtClean="0">
              <a:ln>
                <a:noFill/>
              </a:ln>
              <a:solidFill>
                <a:srgbClr val="000000">
                  <a:lumMod val="100000"/>
                </a:srgbClr>
              </a:solidFill>
              <a:effectLst/>
              <a:uLnTx/>
              <a:uFillTx/>
              <a:latin typeface="Arial" panose="020B0604020202020204"/>
              <a:ea typeface="华文楷体" panose="02010600040101010101" charset="-122"/>
              <a:cs typeface="+mn-ea"/>
              <a:sym typeface="+mn-lt"/>
            </a:endParaRPr>
          </a:p>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en-US" altLang="zh-CN" sz="1400" b="0"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X</a:t>
            </a:r>
            <a:endParaRPr kumimoji="0" lang="zh-CN" altLang="en-US" sz="1400" b="0" i="0" u="none" strike="noStrike" kern="1200" cap="none" spc="0" normalizeH="0" baseline="0" noProof="0" dirty="0" smtClean="0">
              <a:ln>
                <a:noFill/>
              </a:ln>
              <a:solidFill>
                <a:srgbClr val="000000">
                  <a:lumMod val="100000"/>
                </a:srgbClr>
              </a:solidFill>
              <a:effectLst/>
              <a:uLnTx/>
              <a:uFillTx/>
              <a:latin typeface="Arial" panose="020B0604020202020204"/>
              <a:ea typeface="华文楷体" panose="02010600040101010101" charset="-122"/>
              <a:cs typeface="+mn-ea"/>
              <a:sym typeface="+mn-lt"/>
            </a:endParaRPr>
          </a:p>
        </p:txBody>
      </p:sp>
      <p:sp>
        <p:nvSpPr>
          <p:cNvPr id="68" name="矩形 67"/>
          <p:cNvSpPr/>
          <p:nvPr/>
        </p:nvSpPr>
        <p:spPr>
          <a:xfrm>
            <a:off x="5033193" y="1861458"/>
            <a:ext cx="1616698" cy="185057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0" rIns="0" bIns="0" numCol="1" spcCol="0" rtlCol="0" fromWordArt="0" anchor="t" anchorCtr="0" forceAA="0" compatLnSpc="1">
            <a:noAutofit/>
          </a:bodyPr>
          <a:lstStyle/>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en-US" altLang="zh-CN" sz="1400" b="1"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X</a:t>
            </a:r>
            <a:endParaRPr kumimoji="0" lang="en-US" altLang="zh-CN" sz="1400" b="1"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en-US" altLang="zh-CN" sz="1400" b="0"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X</a:t>
            </a:r>
            <a:endParaRPr kumimoji="0" lang="en-US" altLang="zh-CN" sz="14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p:txBody>
      </p:sp>
      <p:sp>
        <p:nvSpPr>
          <p:cNvPr id="75" name="矩形 74"/>
          <p:cNvSpPr/>
          <p:nvPr/>
        </p:nvSpPr>
        <p:spPr>
          <a:xfrm>
            <a:off x="6765302" y="1861458"/>
            <a:ext cx="1616698" cy="185057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0" rIns="0" bIns="0" numCol="1" spcCol="0" rtlCol="0" fromWordArt="0" anchor="t" anchorCtr="0" forceAA="0" compatLnSpc="1">
            <a:noAutofit/>
          </a:bodyPr>
          <a:lstStyle/>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en-US" altLang="zh-CN" sz="1400" b="1"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X</a:t>
            </a:r>
            <a:endParaRPr kumimoji="0" lang="en-US" altLang="zh-CN" sz="1400" b="1"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en-US" altLang="zh-CN" sz="1400" b="0"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a:t>
            </a:r>
            <a:endParaRPr kumimoji="0" lang="en-US" altLang="zh-CN" sz="14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p:txBody>
      </p:sp>
      <p:sp>
        <p:nvSpPr>
          <p:cNvPr id="76" name="矩形 75"/>
          <p:cNvSpPr/>
          <p:nvPr/>
        </p:nvSpPr>
        <p:spPr>
          <a:xfrm>
            <a:off x="3316346" y="3799115"/>
            <a:ext cx="1616698" cy="185057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0" rIns="0" bIns="0" numCol="1" spcCol="0" rtlCol="0" fromWordArt="0" anchor="t" anchorCtr="0" forceAA="0" compatLnSpc="1">
            <a:noAutofit/>
          </a:bodyPr>
          <a:lstStyle/>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zh-CN" altLang="en-US" sz="1400" b="1"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rPr>
              <a:t>人伤</a:t>
            </a:r>
            <a:r>
              <a:rPr kumimoji="0" lang="zh-CN" altLang="en-US" sz="1400" b="1" i="0" u="none" strike="noStrike" kern="1200" cap="none" spc="0" normalizeH="0" baseline="0" noProof="0" dirty="0" smtClean="0">
                <a:ln>
                  <a:noFill/>
                </a:ln>
                <a:solidFill>
                  <a:srgbClr val="000000">
                    <a:lumMod val="100000"/>
                  </a:srgbClr>
                </a:solidFill>
                <a:effectLst/>
                <a:uLnTx/>
                <a:uFillTx/>
                <a:latin typeface="Arial" panose="020B0604020202020204"/>
                <a:ea typeface="华文楷体" panose="02010600040101010101" charset="-122"/>
                <a:cs typeface="+mn-ea"/>
                <a:sym typeface="+mn-lt"/>
              </a:rPr>
              <a:t>智能</a:t>
            </a:r>
            <a:r>
              <a:rPr kumimoji="0" lang="en-US" altLang="zh-CN" sz="1400" b="1" i="0" u="none" strike="noStrike" kern="1200" cap="none" spc="0" normalizeH="0" baseline="0" noProof="0" dirty="0" smtClean="0">
                <a:ln>
                  <a:noFill/>
                </a:ln>
                <a:solidFill>
                  <a:srgbClr val="000000">
                    <a:lumMod val="100000"/>
                  </a:srgbClr>
                </a:solidFill>
                <a:effectLst/>
                <a:uLnTx/>
                <a:uFillTx/>
                <a:latin typeface="Arial" panose="020B0604020202020204"/>
                <a:ea typeface="华文楷体" panose="02010600040101010101" charset="-122"/>
                <a:cs typeface="+mn-ea"/>
                <a:sym typeface="+mn-lt"/>
              </a:rPr>
              <a:t>xx</a:t>
            </a:r>
            <a:r>
              <a:rPr kumimoji="0" lang="zh-CN" altLang="en-US" sz="1400" b="1" i="0" u="none" strike="noStrike" kern="1200" cap="none" spc="0" normalizeH="0" baseline="0" noProof="0" dirty="0" smtClean="0">
                <a:ln>
                  <a:noFill/>
                </a:ln>
                <a:solidFill>
                  <a:srgbClr val="000000">
                    <a:lumMod val="100000"/>
                  </a:srgbClr>
                </a:solidFill>
                <a:effectLst/>
                <a:uLnTx/>
                <a:uFillTx/>
                <a:latin typeface="Arial" panose="020B0604020202020204"/>
                <a:ea typeface="华文楷体" panose="02010600040101010101" charset="-122"/>
                <a:cs typeface="+mn-ea"/>
                <a:sym typeface="+mn-lt"/>
              </a:rPr>
              <a:t>流程</a:t>
            </a:r>
            <a:endParaRPr kumimoji="0" lang="en-US" altLang="zh-CN" sz="1400" b="1"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en-US" altLang="zh-CN" sz="1400" b="0" i="0" u="none" strike="noStrike" kern="1200" cap="none" spc="0" normalizeH="0" baseline="0" noProof="0" dirty="0" smtClean="0">
                <a:ln>
                  <a:noFill/>
                </a:ln>
                <a:solidFill>
                  <a:srgbClr val="000000">
                    <a:lumMod val="100000"/>
                  </a:srgbClr>
                </a:solidFill>
                <a:effectLst/>
                <a:uLnTx/>
                <a:uFillTx/>
                <a:latin typeface="Arial" panose="020B0604020202020204"/>
                <a:ea typeface="华文楷体" panose="02010600040101010101" charset="-122"/>
                <a:cs typeface="+mn-ea"/>
                <a:sym typeface="+mn-lt"/>
              </a:rPr>
              <a:t>XXX</a:t>
            </a:r>
            <a:endParaRPr kumimoji="0" lang="zh-CN" altLang="en-US" sz="14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p:txBody>
      </p:sp>
      <p:sp>
        <p:nvSpPr>
          <p:cNvPr id="77" name="矩形 76"/>
          <p:cNvSpPr/>
          <p:nvPr/>
        </p:nvSpPr>
        <p:spPr>
          <a:xfrm>
            <a:off x="5040825" y="3799115"/>
            <a:ext cx="1616698" cy="185057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0" rIns="0" bIns="0" numCol="1" spcCol="0" rtlCol="0" fromWordArt="0" anchor="t" anchorCtr="0" forceAA="0" compatLnSpc="1">
            <a:noAutofit/>
          </a:bodyPr>
          <a:lstStyle/>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en-US" altLang="zh-CN" sz="1400" b="1"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X</a:t>
            </a:r>
            <a:endParaRPr kumimoji="0" lang="en-US" altLang="zh-CN" sz="1400" b="1" i="0" u="none" strike="noStrike" kern="1200" cap="none" spc="0" normalizeH="0" baseline="0" noProof="0" dirty="0" smtClean="0">
              <a:ln>
                <a:noFill/>
              </a:ln>
              <a:solidFill>
                <a:srgbClr val="000000">
                  <a:lumMod val="100000"/>
                </a:srgbClr>
              </a:solidFill>
              <a:effectLst/>
              <a:uLnTx/>
              <a:uFillTx/>
              <a:latin typeface="Arial" panose="020B0604020202020204"/>
              <a:ea typeface="华文楷体" panose="02010600040101010101" charset="-122"/>
              <a:cs typeface="+mn-ea"/>
              <a:sym typeface="+mn-lt"/>
            </a:endParaRPr>
          </a:p>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zh-CN" altLang="en-US" sz="14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rPr>
              <a:t>针对不同的</a:t>
            </a:r>
            <a:r>
              <a:rPr kumimoji="0" lang="zh-CN" altLang="en-US" sz="1400" b="0" i="0" u="none" strike="noStrike" kern="1200" cap="none" spc="0" normalizeH="0" baseline="0" noProof="0" dirty="0" smtClean="0">
                <a:ln>
                  <a:noFill/>
                </a:ln>
                <a:solidFill>
                  <a:srgbClr val="000000">
                    <a:lumMod val="100000"/>
                  </a:srgbClr>
                </a:solidFill>
                <a:effectLst/>
                <a:uLnTx/>
                <a:uFillTx/>
                <a:latin typeface="Arial" panose="020B0604020202020204"/>
                <a:ea typeface="华文楷体" panose="02010600040101010101" charset="-122"/>
                <a:cs typeface="+mn-ea"/>
                <a:sym typeface="+mn-lt"/>
              </a:rPr>
              <a:t>伤情</a:t>
            </a:r>
            <a:endParaRPr kumimoji="0" lang="en-US" altLang="zh-CN" sz="14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a:p>
            <a:pPr marL="11430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endParaRPr kumimoji="0" lang="zh-CN" altLang="en-US" sz="14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p:txBody>
      </p:sp>
      <p:sp>
        <p:nvSpPr>
          <p:cNvPr id="78" name="矩形 77"/>
          <p:cNvSpPr/>
          <p:nvPr/>
        </p:nvSpPr>
        <p:spPr>
          <a:xfrm>
            <a:off x="6765302" y="3799115"/>
            <a:ext cx="1616698" cy="185057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0" rIns="0" bIns="0" numCol="1" spcCol="0" rtlCol="0" fromWordArt="0" anchor="t" anchorCtr="0" forceAA="0" compatLnSpc="1">
            <a:noAutofit/>
          </a:bodyPr>
          <a:lstStyle/>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en-US" altLang="zh-CN" sz="1400" b="1"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X</a:t>
            </a:r>
            <a:endParaRPr kumimoji="0" lang="en-US" altLang="zh-CN" sz="1400" b="1"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a:p>
            <a:pPr marL="0" marR="0" lvl="1" indent="0" algn="l" defTabSz="914400" rtl="0" eaLnBrk="1" fontAlgn="auto" latinLnBrk="0" hangingPunct="1">
              <a:lnSpc>
                <a:spcPct val="100000"/>
              </a:lnSpc>
              <a:spcBef>
                <a:spcPct val="0"/>
              </a:spcBef>
              <a:spcAft>
                <a:spcPct val="0"/>
              </a:spcAft>
              <a:buClr>
                <a:srgbClr val="575F6D">
                  <a:lumMod val="100000"/>
                </a:srgbClr>
              </a:buClr>
              <a:buSzPct val="100000"/>
              <a:buFontTx/>
              <a:buNone/>
              <a:defRPr/>
            </a:pPr>
            <a:r>
              <a:rPr kumimoji="0" lang="en-US" altLang="zh-CN" sz="1400" b="0" i="0" u="none" strike="noStrike" kern="1200" cap="none" spc="0" normalizeH="0" baseline="0" noProof="0" smtClean="0">
                <a:ln>
                  <a:noFill/>
                </a:ln>
                <a:solidFill>
                  <a:srgbClr val="000000">
                    <a:lumMod val="100000"/>
                  </a:srgbClr>
                </a:solidFill>
                <a:effectLst/>
                <a:uLnTx/>
                <a:uFillTx/>
                <a:latin typeface="Arial" panose="020B0604020202020204"/>
                <a:ea typeface="华文楷体" panose="02010600040101010101" charset="-122"/>
                <a:cs typeface="+mn-ea"/>
                <a:sym typeface="+mn-lt"/>
              </a:rPr>
              <a:t>XXXX</a:t>
            </a:r>
            <a:endParaRPr kumimoji="0" lang="zh-CN" altLang="en-US" sz="1400" b="0" i="0" u="none" strike="noStrike" kern="1200" cap="none" spc="0" normalizeH="0" baseline="0" noProof="0" dirty="0">
              <a:ln>
                <a:noFill/>
              </a:ln>
              <a:solidFill>
                <a:srgbClr val="000000">
                  <a:lumMod val="100000"/>
                </a:srgbClr>
              </a:solidFill>
              <a:effectLst/>
              <a:uLnTx/>
              <a:uFillTx/>
              <a:latin typeface="Arial" panose="020B0604020202020204"/>
              <a:ea typeface="华文楷体" panose="02010600040101010101" charset="-122"/>
              <a:cs typeface="+mn-ea"/>
              <a:sym typeface="+mn-lt"/>
            </a:endParaRPr>
          </a:p>
        </p:txBody>
      </p:sp>
      <p:sp>
        <p:nvSpPr>
          <p:cNvPr id="80" name="Freeform 213"/>
          <p:cNvSpPr>
            <a:spLocks noEditPoints="1"/>
          </p:cNvSpPr>
          <p:nvPr/>
        </p:nvSpPr>
        <p:spPr bwMode="auto">
          <a:xfrm>
            <a:off x="7580163" y="3978213"/>
            <a:ext cx="513475" cy="241019"/>
          </a:xfrm>
          <a:custGeom>
            <a:avLst/>
            <a:gdLst/>
            <a:ahLst/>
            <a:cxnLst>
              <a:cxn ang="0">
                <a:pos x="28" y="248"/>
              </a:cxn>
              <a:cxn ang="0">
                <a:pos x="37" y="300"/>
              </a:cxn>
              <a:cxn ang="0">
                <a:pos x="97" y="248"/>
              </a:cxn>
              <a:cxn ang="0">
                <a:pos x="186" y="248"/>
              </a:cxn>
              <a:cxn ang="0">
                <a:pos x="219" y="300"/>
              </a:cxn>
              <a:cxn ang="0">
                <a:pos x="453" y="309"/>
              </a:cxn>
              <a:cxn ang="0">
                <a:pos x="459" y="300"/>
              </a:cxn>
              <a:cxn ang="0">
                <a:pos x="528" y="231"/>
              </a:cxn>
              <a:cxn ang="0">
                <a:pos x="597" y="300"/>
              </a:cxn>
              <a:cxn ang="0">
                <a:pos x="603" y="305"/>
              </a:cxn>
              <a:cxn ang="0">
                <a:pos x="663" y="300"/>
              </a:cxn>
              <a:cxn ang="0">
                <a:pos x="668" y="248"/>
              </a:cxn>
              <a:cxn ang="0">
                <a:pos x="655" y="156"/>
              </a:cxn>
              <a:cxn ang="0">
                <a:pos x="469" y="18"/>
              </a:cxn>
              <a:cxn ang="0">
                <a:pos x="373" y="18"/>
              </a:cxn>
              <a:cxn ang="0">
                <a:pos x="327" y="88"/>
              </a:cxn>
              <a:cxn ang="0">
                <a:pos x="215" y="76"/>
              </a:cxn>
              <a:cxn ang="0">
                <a:pos x="111" y="36"/>
              </a:cxn>
              <a:cxn ang="0">
                <a:pos x="31" y="0"/>
              </a:cxn>
              <a:cxn ang="0">
                <a:pos x="19" y="88"/>
              </a:cxn>
              <a:cxn ang="0">
                <a:pos x="21" y="110"/>
              </a:cxn>
              <a:cxn ang="0">
                <a:pos x="23" y="130"/>
              </a:cxn>
              <a:cxn ang="0">
                <a:pos x="28" y="110"/>
              </a:cxn>
              <a:cxn ang="0">
                <a:pos x="37" y="88"/>
              </a:cxn>
              <a:cxn ang="0">
                <a:pos x="31" y="31"/>
              </a:cxn>
              <a:cxn ang="0">
                <a:pos x="95" y="68"/>
              </a:cxn>
              <a:cxn ang="0">
                <a:pos x="189" y="128"/>
              </a:cxn>
              <a:cxn ang="0">
                <a:pos x="327" y="236"/>
              </a:cxn>
              <a:cxn ang="0">
                <a:pos x="169" y="210"/>
              </a:cxn>
              <a:cxn ang="0">
                <a:pos x="0" y="226"/>
              </a:cxn>
              <a:cxn ang="0">
                <a:pos x="37" y="248"/>
              </a:cxn>
              <a:cxn ang="0">
                <a:pos x="529" y="48"/>
              </a:cxn>
              <a:cxn ang="0">
                <a:pos x="536" y="115"/>
              </a:cxn>
              <a:cxn ang="0">
                <a:pos x="469" y="135"/>
              </a:cxn>
              <a:cxn ang="0">
                <a:pos x="412" y="43"/>
              </a:cxn>
              <a:cxn ang="0">
                <a:pos x="448" y="134"/>
              </a:cxn>
              <a:cxn ang="0">
                <a:pos x="412" y="43"/>
              </a:cxn>
            </a:cxnLst>
            <a:rect l="0" t="0" r="r" b="b"/>
            <a:pathLst>
              <a:path w="668" h="309">
                <a:moveTo>
                  <a:pt x="37" y="248"/>
                </a:moveTo>
                <a:cubicBezTo>
                  <a:pt x="28" y="248"/>
                  <a:pt x="28" y="248"/>
                  <a:pt x="28" y="248"/>
                </a:cubicBezTo>
                <a:cubicBezTo>
                  <a:pt x="28" y="300"/>
                  <a:pt x="28" y="300"/>
                  <a:pt x="28" y="300"/>
                </a:cubicBezTo>
                <a:cubicBezTo>
                  <a:pt x="37" y="300"/>
                  <a:pt x="37" y="300"/>
                  <a:pt x="37" y="300"/>
                </a:cubicBezTo>
                <a:cubicBezTo>
                  <a:pt x="72" y="300"/>
                  <a:pt x="72" y="300"/>
                  <a:pt x="72" y="300"/>
                </a:cubicBezTo>
                <a:cubicBezTo>
                  <a:pt x="72" y="279"/>
                  <a:pt x="82" y="260"/>
                  <a:pt x="97" y="248"/>
                </a:cubicBezTo>
                <a:cubicBezTo>
                  <a:pt x="109" y="237"/>
                  <a:pt x="125" y="231"/>
                  <a:pt x="142" y="231"/>
                </a:cubicBezTo>
                <a:cubicBezTo>
                  <a:pt x="159" y="231"/>
                  <a:pt x="174" y="237"/>
                  <a:pt x="186" y="248"/>
                </a:cubicBezTo>
                <a:cubicBezTo>
                  <a:pt x="201" y="260"/>
                  <a:pt x="211" y="279"/>
                  <a:pt x="211" y="300"/>
                </a:cubicBezTo>
                <a:cubicBezTo>
                  <a:pt x="219" y="300"/>
                  <a:pt x="219" y="300"/>
                  <a:pt x="219" y="300"/>
                </a:cubicBezTo>
                <a:cubicBezTo>
                  <a:pt x="219" y="309"/>
                  <a:pt x="219" y="309"/>
                  <a:pt x="219" y="309"/>
                </a:cubicBezTo>
                <a:cubicBezTo>
                  <a:pt x="453" y="309"/>
                  <a:pt x="453" y="309"/>
                  <a:pt x="453" y="309"/>
                </a:cubicBezTo>
                <a:cubicBezTo>
                  <a:pt x="453" y="300"/>
                  <a:pt x="453" y="300"/>
                  <a:pt x="453" y="300"/>
                </a:cubicBezTo>
                <a:cubicBezTo>
                  <a:pt x="459" y="300"/>
                  <a:pt x="459" y="300"/>
                  <a:pt x="459" y="300"/>
                </a:cubicBezTo>
                <a:cubicBezTo>
                  <a:pt x="459" y="279"/>
                  <a:pt x="469" y="260"/>
                  <a:pt x="484" y="248"/>
                </a:cubicBezTo>
                <a:cubicBezTo>
                  <a:pt x="496" y="237"/>
                  <a:pt x="511" y="231"/>
                  <a:pt x="528" y="231"/>
                </a:cubicBezTo>
                <a:cubicBezTo>
                  <a:pt x="545" y="231"/>
                  <a:pt x="561" y="237"/>
                  <a:pt x="573" y="248"/>
                </a:cubicBezTo>
                <a:cubicBezTo>
                  <a:pt x="588" y="260"/>
                  <a:pt x="597" y="279"/>
                  <a:pt x="597" y="300"/>
                </a:cubicBezTo>
                <a:cubicBezTo>
                  <a:pt x="603" y="300"/>
                  <a:pt x="603" y="300"/>
                  <a:pt x="603" y="300"/>
                </a:cubicBezTo>
                <a:cubicBezTo>
                  <a:pt x="603" y="305"/>
                  <a:pt x="603" y="305"/>
                  <a:pt x="603" y="305"/>
                </a:cubicBezTo>
                <a:cubicBezTo>
                  <a:pt x="663" y="305"/>
                  <a:pt x="663" y="305"/>
                  <a:pt x="663" y="305"/>
                </a:cubicBezTo>
                <a:cubicBezTo>
                  <a:pt x="663" y="300"/>
                  <a:pt x="663" y="300"/>
                  <a:pt x="663" y="300"/>
                </a:cubicBezTo>
                <a:cubicBezTo>
                  <a:pt x="668" y="300"/>
                  <a:pt x="668" y="300"/>
                  <a:pt x="668" y="300"/>
                </a:cubicBezTo>
                <a:cubicBezTo>
                  <a:pt x="668" y="248"/>
                  <a:pt x="668" y="248"/>
                  <a:pt x="668" y="248"/>
                </a:cubicBezTo>
                <a:cubicBezTo>
                  <a:pt x="655" y="248"/>
                  <a:pt x="655" y="248"/>
                  <a:pt x="655" y="248"/>
                </a:cubicBezTo>
                <a:cubicBezTo>
                  <a:pt x="655" y="156"/>
                  <a:pt x="655" y="156"/>
                  <a:pt x="655" y="156"/>
                </a:cubicBezTo>
                <a:cubicBezTo>
                  <a:pt x="655" y="156"/>
                  <a:pt x="575" y="73"/>
                  <a:pt x="541" y="18"/>
                </a:cubicBezTo>
                <a:cubicBezTo>
                  <a:pt x="469" y="18"/>
                  <a:pt x="469" y="18"/>
                  <a:pt x="469" y="18"/>
                </a:cubicBezTo>
                <a:cubicBezTo>
                  <a:pt x="443" y="18"/>
                  <a:pt x="443" y="18"/>
                  <a:pt x="443" y="18"/>
                </a:cubicBezTo>
                <a:cubicBezTo>
                  <a:pt x="373" y="18"/>
                  <a:pt x="373" y="18"/>
                  <a:pt x="373" y="18"/>
                </a:cubicBezTo>
                <a:cubicBezTo>
                  <a:pt x="373" y="88"/>
                  <a:pt x="373" y="88"/>
                  <a:pt x="373" y="88"/>
                </a:cubicBezTo>
                <a:cubicBezTo>
                  <a:pt x="327" y="88"/>
                  <a:pt x="327" y="88"/>
                  <a:pt x="327" y="88"/>
                </a:cubicBezTo>
                <a:cubicBezTo>
                  <a:pt x="327" y="132"/>
                  <a:pt x="327" y="132"/>
                  <a:pt x="327" y="132"/>
                </a:cubicBezTo>
                <a:cubicBezTo>
                  <a:pt x="215" y="76"/>
                  <a:pt x="215" y="76"/>
                  <a:pt x="215" y="76"/>
                </a:cubicBezTo>
                <a:cubicBezTo>
                  <a:pt x="211" y="85"/>
                  <a:pt x="211" y="85"/>
                  <a:pt x="211" y="85"/>
                </a:cubicBezTo>
                <a:cubicBezTo>
                  <a:pt x="111" y="36"/>
                  <a:pt x="111" y="36"/>
                  <a:pt x="111" y="36"/>
                </a:cubicBezTo>
                <a:cubicBezTo>
                  <a:pt x="110" y="39"/>
                  <a:pt x="110" y="39"/>
                  <a:pt x="110" y="39"/>
                </a:cubicBezTo>
                <a:cubicBezTo>
                  <a:pt x="31" y="0"/>
                  <a:pt x="31" y="0"/>
                  <a:pt x="31" y="0"/>
                </a:cubicBezTo>
                <a:cubicBezTo>
                  <a:pt x="19" y="0"/>
                  <a:pt x="19" y="0"/>
                  <a:pt x="19" y="0"/>
                </a:cubicBezTo>
                <a:cubicBezTo>
                  <a:pt x="19" y="88"/>
                  <a:pt x="19" y="88"/>
                  <a:pt x="19" y="88"/>
                </a:cubicBezTo>
                <a:cubicBezTo>
                  <a:pt x="14" y="88"/>
                  <a:pt x="14" y="88"/>
                  <a:pt x="14" y="88"/>
                </a:cubicBezTo>
                <a:cubicBezTo>
                  <a:pt x="21" y="110"/>
                  <a:pt x="21" y="110"/>
                  <a:pt x="21" y="110"/>
                </a:cubicBezTo>
                <a:cubicBezTo>
                  <a:pt x="23" y="110"/>
                  <a:pt x="23" y="110"/>
                  <a:pt x="23" y="110"/>
                </a:cubicBezTo>
                <a:cubicBezTo>
                  <a:pt x="23" y="130"/>
                  <a:pt x="23" y="130"/>
                  <a:pt x="23" y="130"/>
                </a:cubicBezTo>
                <a:cubicBezTo>
                  <a:pt x="28" y="130"/>
                  <a:pt x="28" y="130"/>
                  <a:pt x="28" y="130"/>
                </a:cubicBezTo>
                <a:cubicBezTo>
                  <a:pt x="28" y="110"/>
                  <a:pt x="28" y="110"/>
                  <a:pt x="28" y="110"/>
                </a:cubicBezTo>
                <a:cubicBezTo>
                  <a:pt x="29" y="110"/>
                  <a:pt x="29" y="110"/>
                  <a:pt x="29" y="110"/>
                </a:cubicBezTo>
                <a:cubicBezTo>
                  <a:pt x="37" y="88"/>
                  <a:pt x="37" y="88"/>
                  <a:pt x="37" y="88"/>
                </a:cubicBezTo>
                <a:cubicBezTo>
                  <a:pt x="31" y="88"/>
                  <a:pt x="31" y="88"/>
                  <a:pt x="31" y="88"/>
                </a:cubicBezTo>
                <a:cubicBezTo>
                  <a:pt x="31" y="31"/>
                  <a:pt x="31" y="31"/>
                  <a:pt x="31" y="31"/>
                </a:cubicBezTo>
                <a:cubicBezTo>
                  <a:pt x="97" y="64"/>
                  <a:pt x="97" y="64"/>
                  <a:pt x="97" y="64"/>
                </a:cubicBezTo>
                <a:cubicBezTo>
                  <a:pt x="95" y="68"/>
                  <a:pt x="95" y="68"/>
                  <a:pt x="95" y="68"/>
                </a:cubicBezTo>
                <a:cubicBezTo>
                  <a:pt x="194" y="118"/>
                  <a:pt x="194" y="118"/>
                  <a:pt x="194" y="118"/>
                </a:cubicBezTo>
                <a:cubicBezTo>
                  <a:pt x="189" y="128"/>
                  <a:pt x="189" y="128"/>
                  <a:pt x="189" y="128"/>
                </a:cubicBezTo>
                <a:cubicBezTo>
                  <a:pt x="327" y="196"/>
                  <a:pt x="327" y="196"/>
                  <a:pt x="327" y="196"/>
                </a:cubicBezTo>
                <a:cubicBezTo>
                  <a:pt x="327" y="236"/>
                  <a:pt x="327" y="236"/>
                  <a:pt x="327" y="236"/>
                </a:cubicBezTo>
                <a:cubicBezTo>
                  <a:pt x="229" y="236"/>
                  <a:pt x="229" y="236"/>
                  <a:pt x="229" y="236"/>
                </a:cubicBezTo>
                <a:cubicBezTo>
                  <a:pt x="169" y="210"/>
                  <a:pt x="169" y="210"/>
                  <a:pt x="169" y="210"/>
                </a:cubicBezTo>
                <a:cubicBezTo>
                  <a:pt x="13" y="210"/>
                  <a:pt x="13" y="210"/>
                  <a:pt x="13" y="210"/>
                </a:cubicBezTo>
                <a:cubicBezTo>
                  <a:pt x="0" y="226"/>
                  <a:pt x="0" y="226"/>
                  <a:pt x="0" y="226"/>
                </a:cubicBezTo>
                <a:cubicBezTo>
                  <a:pt x="37" y="229"/>
                  <a:pt x="37" y="229"/>
                  <a:pt x="37" y="229"/>
                </a:cubicBezTo>
                <a:lnTo>
                  <a:pt x="37" y="248"/>
                </a:lnTo>
                <a:close/>
                <a:moveTo>
                  <a:pt x="469" y="44"/>
                </a:moveTo>
                <a:cubicBezTo>
                  <a:pt x="469" y="44"/>
                  <a:pt x="516" y="41"/>
                  <a:pt x="529" y="48"/>
                </a:cubicBezTo>
                <a:cubicBezTo>
                  <a:pt x="546" y="58"/>
                  <a:pt x="584" y="115"/>
                  <a:pt x="584" y="115"/>
                </a:cubicBezTo>
                <a:cubicBezTo>
                  <a:pt x="536" y="115"/>
                  <a:pt x="536" y="115"/>
                  <a:pt x="536" y="115"/>
                </a:cubicBezTo>
                <a:cubicBezTo>
                  <a:pt x="527" y="135"/>
                  <a:pt x="527" y="135"/>
                  <a:pt x="527" y="135"/>
                </a:cubicBezTo>
                <a:cubicBezTo>
                  <a:pt x="469" y="135"/>
                  <a:pt x="469" y="135"/>
                  <a:pt x="469" y="135"/>
                </a:cubicBezTo>
                <a:lnTo>
                  <a:pt x="469" y="44"/>
                </a:lnTo>
                <a:close/>
                <a:moveTo>
                  <a:pt x="412" y="43"/>
                </a:moveTo>
                <a:cubicBezTo>
                  <a:pt x="448" y="43"/>
                  <a:pt x="448" y="43"/>
                  <a:pt x="448" y="43"/>
                </a:cubicBezTo>
                <a:cubicBezTo>
                  <a:pt x="448" y="134"/>
                  <a:pt x="448" y="134"/>
                  <a:pt x="448" y="134"/>
                </a:cubicBezTo>
                <a:cubicBezTo>
                  <a:pt x="412" y="134"/>
                  <a:pt x="412" y="134"/>
                  <a:pt x="412" y="134"/>
                </a:cubicBezTo>
                <a:lnTo>
                  <a:pt x="412" y="43"/>
                </a:lnTo>
                <a:close/>
              </a:path>
            </a:pathLst>
          </a:custGeom>
          <a:solidFill>
            <a:srgbClr val="FE5817"/>
          </a:solidFill>
          <a:ln w="9525">
            <a:noFill/>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 name="Freeform 214"/>
          <p:cNvSpPr>
            <a:spLocks noEditPoints="1"/>
          </p:cNvSpPr>
          <p:nvPr/>
        </p:nvSpPr>
        <p:spPr bwMode="auto">
          <a:xfrm>
            <a:off x="7145278" y="3978213"/>
            <a:ext cx="461080" cy="261977"/>
          </a:xfrm>
          <a:custGeom>
            <a:avLst/>
            <a:gdLst/>
            <a:ahLst/>
            <a:cxnLst>
              <a:cxn ang="0">
                <a:pos x="49" y="290"/>
              </a:cxn>
              <a:cxn ang="0">
                <a:pos x="40" y="293"/>
              </a:cxn>
              <a:cxn ang="0">
                <a:pos x="55" y="338"/>
              </a:cxn>
              <a:cxn ang="0">
                <a:pos x="63" y="336"/>
              </a:cxn>
              <a:cxn ang="0">
                <a:pos x="93" y="326"/>
              </a:cxn>
              <a:cxn ang="0">
                <a:pos x="100" y="274"/>
              </a:cxn>
              <a:cxn ang="0">
                <a:pos x="133" y="248"/>
              </a:cxn>
              <a:cxn ang="0">
                <a:pos x="176" y="250"/>
              </a:cxn>
              <a:cxn ang="0">
                <a:pos x="211" y="289"/>
              </a:cxn>
              <a:cxn ang="0">
                <a:pos x="424" y="221"/>
              </a:cxn>
              <a:cxn ang="0">
                <a:pos x="431" y="169"/>
              </a:cxn>
              <a:cxn ang="0">
                <a:pos x="464" y="143"/>
              </a:cxn>
              <a:cxn ang="0">
                <a:pos x="507" y="145"/>
              </a:cxn>
              <a:cxn ang="0">
                <a:pos x="542" y="184"/>
              </a:cxn>
              <a:cxn ang="0">
                <a:pos x="592" y="168"/>
              </a:cxn>
              <a:cxn ang="0">
                <a:pos x="602" y="164"/>
              </a:cxn>
              <a:cxn ang="0">
                <a:pos x="588" y="119"/>
              </a:cxn>
              <a:cxn ang="0">
                <a:pos x="577" y="123"/>
              </a:cxn>
              <a:cxn ang="0">
                <a:pos x="572" y="106"/>
              </a:cxn>
              <a:cxn ang="0">
                <a:pos x="546" y="97"/>
              </a:cxn>
              <a:cxn ang="0">
                <a:pos x="546" y="54"/>
              </a:cxn>
              <a:cxn ang="0">
                <a:pos x="515" y="45"/>
              </a:cxn>
              <a:cxn ang="0">
                <a:pos x="515" y="59"/>
              </a:cxn>
              <a:cxn ang="0">
                <a:pos x="431" y="0"/>
              </a:cxn>
              <a:cxn ang="0">
                <a:pos x="0" y="137"/>
              </a:cxn>
              <a:cxn ang="0">
                <a:pos x="49" y="290"/>
              </a:cxn>
              <a:cxn ang="0">
                <a:pos x="376" y="41"/>
              </a:cxn>
              <a:cxn ang="0">
                <a:pos x="429" y="29"/>
              </a:cxn>
              <a:cxn ang="0">
                <a:pos x="494" y="71"/>
              </a:cxn>
              <a:cxn ang="0">
                <a:pos x="453" y="84"/>
              </a:cxn>
              <a:cxn ang="0">
                <a:pos x="450" y="103"/>
              </a:cxn>
              <a:cxn ang="0">
                <a:pos x="401" y="119"/>
              </a:cxn>
              <a:cxn ang="0">
                <a:pos x="376" y="41"/>
              </a:cxn>
              <a:cxn ang="0">
                <a:pos x="276" y="152"/>
              </a:cxn>
              <a:cxn ang="0">
                <a:pos x="255" y="85"/>
              </a:cxn>
              <a:cxn ang="0">
                <a:pos x="338" y="59"/>
              </a:cxn>
              <a:cxn ang="0">
                <a:pos x="359" y="126"/>
              </a:cxn>
              <a:cxn ang="0">
                <a:pos x="276" y="152"/>
              </a:cxn>
              <a:cxn ang="0">
                <a:pos x="156" y="117"/>
              </a:cxn>
              <a:cxn ang="0">
                <a:pos x="239" y="91"/>
              </a:cxn>
              <a:cxn ang="0">
                <a:pos x="260" y="157"/>
              </a:cxn>
              <a:cxn ang="0">
                <a:pos x="177" y="183"/>
              </a:cxn>
              <a:cxn ang="0">
                <a:pos x="156" y="117"/>
              </a:cxn>
            </a:cxnLst>
            <a:rect l="0" t="0" r="r" b="b"/>
            <a:pathLst>
              <a:path w="602" h="338">
                <a:moveTo>
                  <a:pt x="49" y="290"/>
                </a:moveTo>
                <a:cubicBezTo>
                  <a:pt x="40" y="293"/>
                  <a:pt x="40" y="293"/>
                  <a:pt x="40" y="293"/>
                </a:cubicBezTo>
                <a:cubicBezTo>
                  <a:pt x="55" y="338"/>
                  <a:pt x="55" y="338"/>
                  <a:pt x="55" y="338"/>
                </a:cubicBezTo>
                <a:cubicBezTo>
                  <a:pt x="63" y="336"/>
                  <a:pt x="63" y="336"/>
                  <a:pt x="63" y="336"/>
                </a:cubicBezTo>
                <a:cubicBezTo>
                  <a:pt x="93" y="326"/>
                  <a:pt x="93" y="326"/>
                  <a:pt x="93" y="326"/>
                </a:cubicBezTo>
                <a:cubicBezTo>
                  <a:pt x="87" y="308"/>
                  <a:pt x="90" y="289"/>
                  <a:pt x="100" y="274"/>
                </a:cubicBezTo>
                <a:cubicBezTo>
                  <a:pt x="107" y="262"/>
                  <a:pt x="119" y="253"/>
                  <a:pt x="133" y="248"/>
                </a:cubicBezTo>
                <a:cubicBezTo>
                  <a:pt x="148" y="244"/>
                  <a:pt x="163" y="245"/>
                  <a:pt x="176" y="250"/>
                </a:cubicBezTo>
                <a:cubicBezTo>
                  <a:pt x="192" y="257"/>
                  <a:pt x="206" y="270"/>
                  <a:pt x="211" y="289"/>
                </a:cubicBezTo>
                <a:cubicBezTo>
                  <a:pt x="424" y="221"/>
                  <a:pt x="424" y="221"/>
                  <a:pt x="424" y="221"/>
                </a:cubicBezTo>
                <a:cubicBezTo>
                  <a:pt x="418" y="203"/>
                  <a:pt x="421" y="184"/>
                  <a:pt x="431" y="169"/>
                </a:cubicBezTo>
                <a:cubicBezTo>
                  <a:pt x="438" y="157"/>
                  <a:pt x="450" y="148"/>
                  <a:pt x="464" y="143"/>
                </a:cubicBezTo>
                <a:cubicBezTo>
                  <a:pt x="479" y="138"/>
                  <a:pt x="494" y="140"/>
                  <a:pt x="507" y="145"/>
                </a:cubicBezTo>
                <a:cubicBezTo>
                  <a:pt x="523" y="152"/>
                  <a:pt x="537" y="165"/>
                  <a:pt x="542" y="184"/>
                </a:cubicBezTo>
                <a:cubicBezTo>
                  <a:pt x="592" y="168"/>
                  <a:pt x="592" y="168"/>
                  <a:pt x="592" y="168"/>
                </a:cubicBezTo>
                <a:cubicBezTo>
                  <a:pt x="602" y="164"/>
                  <a:pt x="602" y="164"/>
                  <a:pt x="602" y="164"/>
                </a:cubicBezTo>
                <a:cubicBezTo>
                  <a:pt x="588" y="119"/>
                  <a:pt x="588" y="119"/>
                  <a:pt x="588" y="119"/>
                </a:cubicBezTo>
                <a:cubicBezTo>
                  <a:pt x="577" y="123"/>
                  <a:pt x="577" y="123"/>
                  <a:pt x="577" y="123"/>
                </a:cubicBezTo>
                <a:cubicBezTo>
                  <a:pt x="572" y="106"/>
                  <a:pt x="572" y="106"/>
                  <a:pt x="572" y="106"/>
                </a:cubicBezTo>
                <a:cubicBezTo>
                  <a:pt x="546" y="97"/>
                  <a:pt x="546" y="97"/>
                  <a:pt x="546" y="97"/>
                </a:cubicBezTo>
                <a:cubicBezTo>
                  <a:pt x="546" y="54"/>
                  <a:pt x="546" y="54"/>
                  <a:pt x="546" y="54"/>
                </a:cubicBezTo>
                <a:cubicBezTo>
                  <a:pt x="515" y="45"/>
                  <a:pt x="515" y="45"/>
                  <a:pt x="515" y="45"/>
                </a:cubicBezTo>
                <a:cubicBezTo>
                  <a:pt x="515" y="59"/>
                  <a:pt x="515" y="59"/>
                  <a:pt x="515" y="59"/>
                </a:cubicBezTo>
                <a:cubicBezTo>
                  <a:pt x="486" y="51"/>
                  <a:pt x="454" y="20"/>
                  <a:pt x="431" y="0"/>
                </a:cubicBezTo>
                <a:cubicBezTo>
                  <a:pt x="0" y="137"/>
                  <a:pt x="0" y="137"/>
                  <a:pt x="0" y="137"/>
                </a:cubicBezTo>
                <a:lnTo>
                  <a:pt x="49" y="290"/>
                </a:lnTo>
                <a:close/>
                <a:moveTo>
                  <a:pt x="376" y="41"/>
                </a:moveTo>
                <a:cubicBezTo>
                  <a:pt x="376" y="41"/>
                  <a:pt x="415" y="26"/>
                  <a:pt x="429" y="29"/>
                </a:cubicBezTo>
                <a:cubicBezTo>
                  <a:pt x="447" y="33"/>
                  <a:pt x="494" y="71"/>
                  <a:pt x="494" y="71"/>
                </a:cubicBezTo>
                <a:cubicBezTo>
                  <a:pt x="453" y="84"/>
                  <a:pt x="453" y="84"/>
                  <a:pt x="453" y="84"/>
                </a:cubicBezTo>
                <a:cubicBezTo>
                  <a:pt x="450" y="103"/>
                  <a:pt x="450" y="103"/>
                  <a:pt x="450" y="103"/>
                </a:cubicBezTo>
                <a:cubicBezTo>
                  <a:pt x="401" y="119"/>
                  <a:pt x="401" y="119"/>
                  <a:pt x="401" y="119"/>
                </a:cubicBezTo>
                <a:lnTo>
                  <a:pt x="376" y="41"/>
                </a:lnTo>
                <a:close/>
                <a:moveTo>
                  <a:pt x="276" y="152"/>
                </a:moveTo>
                <a:cubicBezTo>
                  <a:pt x="255" y="85"/>
                  <a:pt x="255" y="85"/>
                  <a:pt x="255" y="85"/>
                </a:cubicBezTo>
                <a:cubicBezTo>
                  <a:pt x="338" y="59"/>
                  <a:pt x="338" y="59"/>
                  <a:pt x="338" y="59"/>
                </a:cubicBezTo>
                <a:cubicBezTo>
                  <a:pt x="359" y="126"/>
                  <a:pt x="359" y="126"/>
                  <a:pt x="359" y="126"/>
                </a:cubicBezTo>
                <a:lnTo>
                  <a:pt x="276" y="152"/>
                </a:lnTo>
                <a:close/>
                <a:moveTo>
                  <a:pt x="156" y="117"/>
                </a:moveTo>
                <a:cubicBezTo>
                  <a:pt x="239" y="91"/>
                  <a:pt x="239" y="91"/>
                  <a:pt x="239" y="91"/>
                </a:cubicBezTo>
                <a:cubicBezTo>
                  <a:pt x="260" y="157"/>
                  <a:pt x="260" y="157"/>
                  <a:pt x="260" y="157"/>
                </a:cubicBezTo>
                <a:cubicBezTo>
                  <a:pt x="177" y="183"/>
                  <a:pt x="177" y="183"/>
                  <a:pt x="177" y="183"/>
                </a:cubicBezTo>
                <a:lnTo>
                  <a:pt x="156" y="117"/>
                </a:lnTo>
                <a:close/>
              </a:path>
            </a:pathLst>
          </a:custGeom>
          <a:solidFill>
            <a:srgbClr val="FE5817"/>
          </a:solidFill>
          <a:ln w="9525">
            <a:noFill/>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 name="Freeform 222"/>
          <p:cNvSpPr/>
          <p:nvPr/>
        </p:nvSpPr>
        <p:spPr bwMode="auto">
          <a:xfrm>
            <a:off x="7952169" y="4182554"/>
            <a:ext cx="62874" cy="62874"/>
          </a:xfrm>
          <a:custGeom>
            <a:avLst/>
            <a:gdLst/>
            <a:ahLst/>
            <a:cxnLst>
              <a:cxn ang="0">
                <a:pos x="39" y="0"/>
              </a:cxn>
              <a:cxn ang="0">
                <a:pos x="77" y="33"/>
              </a:cxn>
              <a:cxn ang="0">
                <a:pos x="77" y="38"/>
              </a:cxn>
              <a:cxn ang="0">
                <a:pos x="39" y="77"/>
              </a:cxn>
              <a:cxn ang="0">
                <a:pos x="0" y="38"/>
              </a:cxn>
              <a:cxn ang="0">
                <a:pos x="1" y="33"/>
              </a:cxn>
              <a:cxn ang="0">
                <a:pos x="39" y="0"/>
              </a:cxn>
            </a:cxnLst>
            <a:rect l="0" t="0" r="r" b="b"/>
            <a:pathLst>
              <a:path w="77" h="77">
                <a:moveTo>
                  <a:pt x="39" y="0"/>
                </a:moveTo>
                <a:cubicBezTo>
                  <a:pt x="58" y="0"/>
                  <a:pt x="74" y="14"/>
                  <a:pt x="77" y="33"/>
                </a:cubicBezTo>
                <a:cubicBezTo>
                  <a:pt x="77" y="35"/>
                  <a:pt x="77" y="37"/>
                  <a:pt x="77" y="38"/>
                </a:cubicBezTo>
                <a:cubicBezTo>
                  <a:pt x="77" y="60"/>
                  <a:pt x="60" y="77"/>
                  <a:pt x="39" y="77"/>
                </a:cubicBezTo>
                <a:cubicBezTo>
                  <a:pt x="17" y="77"/>
                  <a:pt x="0" y="60"/>
                  <a:pt x="0" y="38"/>
                </a:cubicBezTo>
                <a:cubicBezTo>
                  <a:pt x="0" y="37"/>
                  <a:pt x="0" y="35"/>
                  <a:pt x="1" y="33"/>
                </a:cubicBezTo>
                <a:cubicBezTo>
                  <a:pt x="3" y="14"/>
                  <a:pt x="19" y="0"/>
                  <a:pt x="39" y="0"/>
                </a:cubicBezTo>
                <a:close/>
              </a:path>
            </a:pathLst>
          </a:custGeom>
          <a:solidFill>
            <a:schemeClr val="accent1"/>
          </a:solidFill>
          <a:ln w="9525">
            <a:noFill/>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 name="Freeform 223"/>
          <p:cNvSpPr/>
          <p:nvPr/>
        </p:nvSpPr>
        <p:spPr bwMode="auto">
          <a:xfrm>
            <a:off x="7952169" y="4182554"/>
            <a:ext cx="62874" cy="62874"/>
          </a:xfrm>
          <a:custGeom>
            <a:avLst/>
            <a:gdLst/>
            <a:ahLst/>
            <a:cxnLst>
              <a:cxn ang="0">
                <a:pos x="39" y="0"/>
              </a:cxn>
              <a:cxn ang="0">
                <a:pos x="77" y="33"/>
              </a:cxn>
              <a:cxn ang="0">
                <a:pos x="77" y="38"/>
              </a:cxn>
              <a:cxn ang="0">
                <a:pos x="39" y="77"/>
              </a:cxn>
              <a:cxn ang="0">
                <a:pos x="0" y="38"/>
              </a:cxn>
              <a:cxn ang="0">
                <a:pos x="1" y="33"/>
              </a:cxn>
              <a:cxn ang="0">
                <a:pos x="39" y="0"/>
              </a:cxn>
            </a:cxnLst>
            <a:rect l="0" t="0" r="r" b="b"/>
            <a:pathLst>
              <a:path w="77" h="77">
                <a:moveTo>
                  <a:pt x="39" y="0"/>
                </a:moveTo>
                <a:cubicBezTo>
                  <a:pt x="58" y="0"/>
                  <a:pt x="74" y="14"/>
                  <a:pt x="77" y="33"/>
                </a:cubicBezTo>
                <a:cubicBezTo>
                  <a:pt x="77" y="35"/>
                  <a:pt x="77" y="37"/>
                  <a:pt x="77" y="38"/>
                </a:cubicBezTo>
                <a:cubicBezTo>
                  <a:pt x="77" y="60"/>
                  <a:pt x="60" y="77"/>
                  <a:pt x="39" y="77"/>
                </a:cubicBezTo>
                <a:cubicBezTo>
                  <a:pt x="17" y="77"/>
                  <a:pt x="0" y="60"/>
                  <a:pt x="0" y="38"/>
                </a:cubicBezTo>
                <a:cubicBezTo>
                  <a:pt x="0" y="37"/>
                  <a:pt x="0" y="35"/>
                  <a:pt x="1" y="33"/>
                </a:cubicBezTo>
                <a:cubicBezTo>
                  <a:pt x="3" y="14"/>
                  <a:pt x="19" y="0"/>
                  <a:pt x="39" y="0"/>
                </a:cubicBezTo>
                <a:close/>
              </a:path>
            </a:pathLst>
          </a:custGeom>
          <a:solidFill>
            <a:schemeClr val="accent1"/>
          </a:solidFill>
          <a:ln w="9525">
            <a:noFill/>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 name="Freeform 224"/>
          <p:cNvSpPr/>
          <p:nvPr/>
        </p:nvSpPr>
        <p:spPr bwMode="auto">
          <a:xfrm>
            <a:off x="7658754" y="4182554"/>
            <a:ext cx="57632" cy="62874"/>
          </a:xfrm>
          <a:custGeom>
            <a:avLst/>
            <a:gdLst/>
            <a:ahLst/>
            <a:cxnLst>
              <a:cxn ang="0">
                <a:pos x="38" y="0"/>
              </a:cxn>
              <a:cxn ang="0">
                <a:pos x="76" y="33"/>
              </a:cxn>
              <a:cxn ang="0">
                <a:pos x="77" y="38"/>
              </a:cxn>
              <a:cxn ang="0">
                <a:pos x="38" y="77"/>
              </a:cxn>
              <a:cxn ang="0">
                <a:pos x="0" y="38"/>
              </a:cxn>
              <a:cxn ang="0">
                <a:pos x="0" y="33"/>
              </a:cxn>
              <a:cxn ang="0">
                <a:pos x="38" y="0"/>
              </a:cxn>
            </a:cxnLst>
            <a:rect l="0" t="0" r="r" b="b"/>
            <a:pathLst>
              <a:path w="77" h="77">
                <a:moveTo>
                  <a:pt x="38" y="0"/>
                </a:moveTo>
                <a:cubicBezTo>
                  <a:pt x="58" y="0"/>
                  <a:pt x="74" y="14"/>
                  <a:pt x="76" y="33"/>
                </a:cubicBezTo>
                <a:cubicBezTo>
                  <a:pt x="76" y="35"/>
                  <a:pt x="77" y="37"/>
                  <a:pt x="77" y="38"/>
                </a:cubicBezTo>
                <a:cubicBezTo>
                  <a:pt x="77" y="60"/>
                  <a:pt x="59" y="77"/>
                  <a:pt x="38" y="77"/>
                </a:cubicBezTo>
                <a:cubicBezTo>
                  <a:pt x="17" y="77"/>
                  <a:pt x="0" y="60"/>
                  <a:pt x="0" y="38"/>
                </a:cubicBezTo>
                <a:cubicBezTo>
                  <a:pt x="0" y="37"/>
                  <a:pt x="0" y="35"/>
                  <a:pt x="0" y="33"/>
                </a:cubicBezTo>
                <a:cubicBezTo>
                  <a:pt x="3" y="14"/>
                  <a:pt x="19" y="0"/>
                  <a:pt x="38" y="0"/>
                </a:cubicBezTo>
                <a:close/>
              </a:path>
            </a:pathLst>
          </a:custGeom>
          <a:solidFill>
            <a:schemeClr val="accent1"/>
          </a:solidFill>
          <a:ln w="9525">
            <a:noFill/>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 name="Freeform 225"/>
          <p:cNvSpPr/>
          <p:nvPr/>
        </p:nvSpPr>
        <p:spPr bwMode="auto">
          <a:xfrm>
            <a:off x="7485850" y="4103963"/>
            <a:ext cx="57632" cy="52395"/>
          </a:xfrm>
          <a:custGeom>
            <a:avLst/>
            <a:gdLst/>
            <a:ahLst/>
            <a:cxnLst>
              <a:cxn ang="0">
                <a:pos x="36" y="0"/>
              </a:cxn>
              <a:cxn ang="0">
                <a:pos x="71" y="31"/>
              </a:cxn>
              <a:cxn ang="0">
                <a:pos x="71" y="36"/>
              </a:cxn>
              <a:cxn ang="0">
                <a:pos x="36" y="71"/>
              </a:cxn>
              <a:cxn ang="0">
                <a:pos x="0" y="36"/>
              </a:cxn>
              <a:cxn ang="0">
                <a:pos x="1" y="31"/>
              </a:cxn>
              <a:cxn ang="0">
                <a:pos x="36" y="0"/>
              </a:cxn>
            </a:cxnLst>
            <a:rect l="0" t="0" r="r" b="b"/>
            <a:pathLst>
              <a:path w="71" h="71">
                <a:moveTo>
                  <a:pt x="36" y="0"/>
                </a:moveTo>
                <a:cubicBezTo>
                  <a:pt x="54" y="0"/>
                  <a:pt x="68" y="14"/>
                  <a:pt x="71" y="31"/>
                </a:cubicBezTo>
                <a:cubicBezTo>
                  <a:pt x="71" y="32"/>
                  <a:pt x="71" y="34"/>
                  <a:pt x="71" y="36"/>
                </a:cubicBezTo>
                <a:cubicBezTo>
                  <a:pt x="71" y="55"/>
                  <a:pt x="55" y="71"/>
                  <a:pt x="36" y="71"/>
                </a:cubicBezTo>
                <a:cubicBezTo>
                  <a:pt x="16" y="71"/>
                  <a:pt x="0" y="55"/>
                  <a:pt x="0" y="36"/>
                </a:cubicBezTo>
                <a:cubicBezTo>
                  <a:pt x="0" y="34"/>
                  <a:pt x="1" y="32"/>
                  <a:pt x="1" y="31"/>
                </a:cubicBezTo>
                <a:cubicBezTo>
                  <a:pt x="3" y="14"/>
                  <a:pt x="18" y="0"/>
                  <a:pt x="36" y="0"/>
                </a:cubicBezTo>
                <a:close/>
              </a:path>
            </a:pathLst>
          </a:custGeom>
          <a:solidFill>
            <a:schemeClr val="accent1"/>
          </a:solidFill>
          <a:ln w="9525">
            <a:noFill/>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 name="Freeform 226"/>
          <p:cNvSpPr/>
          <p:nvPr/>
        </p:nvSpPr>
        <p:spPr bwMode="auto">
          <a:xfrm>
            <a:off x="7234352" y="4187794"/>
            <a:ext cx="57632" cy="52395"/>
          </a:xfrm>
          <a:custGeom>
            <a:avLst/>
            <a:gdLst/>
            <a:ahLst/>
            <a:cxnLst>
              <a:cxn ang="0">
                <a:pos x="35" y="0"/>
              </a:cxn>
              <a:cxn ang="0">
                <a:pos x="70" y="31"/>
              </a:cxn>
              <a:cxn ang="0">
                <a:pos x="70" y="35"/>
              </a:cxn>
              <a:cxn ang="0">
                <a:pos x="35" y="71"/>
              </a:cxn>
              <a:cxn ang="0">
                <a:pos x="0" y="35"/>
              </a:cxn>
              <a:cxn ang="0">
                <a:pos x="0" y="31"/>
              </a:cxn>
              <a:cxn ang="0">
                <a:pos x="35" y="0"/>
              </a:cxn>
            </a:cxnLst>
            <a:rect l="0" t="0" r="r" b="b"/>
            <a:pathLst>
              <a:path w="70" h="71">
                <a:moveTo>
                  <a:pt x="35" y="0"/>
                </a:moveTo>
                <a:cubicBezTo>
                  <a:pt x="53" y="0"/>
                  <a:pt x="68" y="13"/>
                  <a:pt x="70" y="31"/>
                </a:cubicBezTo>
                <a:cubicBezTo>
                  <a:pt x="70" y="32"/>
                  <a:pt x="70" y="34"/>
                  <a:pt x="70" y="35"/>
                </a:cubicBezTo>
                <a:cubicBezTo>
                  <a:pt x="70" y="55"/>
                  <a:pt x="55" y="71"/>
                  <a:pt x="35" y="71"/>
                </a:cubicBezTo>
                <a:cubicBezTo>
                  <a:pt x="16" y="71"/>
                  <a:pt x="0" y="55"/>
                  <a:pt x="0" y="35"/>
                </a:cubicBezTo>
                <a:cubicBezTo>
                  <a:pt x="0" y="34"/>
                  <a:pt x="0" y="32"/>
                  <a:pt x="0" y="31"/>
                </a:cubicBezTo>
                <a:cubicBezTo>
                  <a:pt x="2" y="13"/>
                  <a:pt x="17" y="0"/>
                  <a:pt x="35" y="0"/>
                </a:cubicBezTo>
                <a:close/>
              </a:path>
            </a:pathLst>
          </a:custGeom>
          <a:solidFill>
            <a:schemeClr val="accent1"/>
          </a:solidFill>
          <a:ln w="9525">
            <a:noFill/>
            <a:round/>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 name="Freeform 182"/>
          <p:cNvSpPr>
            <a:spLocks noEditPoints="1"/>
          </p:cNvSpPr>
          <p:nvPr/>
        </p:nvSpPr>
        <p:spPr bwMode="auto">
          <a:xfrm>
            <a:off x="5725688" y="3922877"/>
            <a:ext cx="294112" cy="367639"/>
          </a:xfrm>
          <a:custGeom>
            <a:avLst/>
            <a:gdLst>
              <a:gd name="T0" fmla="*/ 177 w 208"/>
              <a:gd name="T1" fmla="*/ 156 h 260"/>
              <a:gd name="T2" fmla="*/ 176 w 208"/>
              <a:gd name="T3" fmla="*/ 152 h 260"/>
              <a:gd name="T4" fmla="*/ 170 w 208"/>
              <a:gd name="T5" fmla="*/ 146 h 260"/>
              <a:gd name="T6" fmla="*/ 167 w 208"/>
              <a:gd name="T7" fmla="*/ 146 h 260"/>
              <a:gd name="T8" fmla="*/ 159 w 208"/>
              <a:gd name="T9" fmla="*/ 148 h 260"/>
              <a:gd name="T10" fmla="*/ 156 w 208"/>
              <a:gd name="T11" fmla="*/ 156 h 260"/>
              <a:gd name="T12" fmla="*/ 31 w 208"/>
              <a:gd name="T13" fmla="*/ 260 h 260"/>
              <a:gd name="T14" fmla="*/ 26 w 208"/>
              <a:gd name="T15" fmla="*/ 224 h 260"/>
              <a:gd name="T16" fmla="*/ 20 w 208"/>
              <a:gd name="T17" fmla="*/ 223 h 260"/>
              <a:gd name="T18" fmla="*/ 11 w 208"/>
              <a:gd name="T19" fmla="*/ 219 h 260"/>
              <a:gd name="T20" fmla="*/ 4 w 208"/>
              <a:gd name="T21" fmla="*/ 212 h 260"/>
              <a:gd name="T22" fmla="*/ 0 w 208"/>
              <a:gd name="T23" fmla="*/ 203 h 260"/>
              <a:gd name="T24" fmla="*/ 0 w 208"/>
              <a:gd name="T25" fmla="*/ 151 h 260"/>
              <a:gd name="T26" fmla="*/ 0 w 208"/>
              <a:gd name="T27" fmla="*/ 115 h 260"/>
              <a:gd name="T28" fmla="*/ 0 w 208"/>
              <a:gd name="T29" fmla="*/ 115 h 260"/>
              <a:gd name="T30" fmla="*/ 9 w 208"/>
              <a:gd name="T31" fmla="*/ 99 h 260"/>
              <a:gd name="T32" fmla="*/ 21 w 208"/>
              <a:gd name="T33" fmla="*/ 94 h 260"/>
              <a:gd name="T34" fmla="*/ 117 w 208"/>
              <a:gd name="T35" fmla="*/ 94 h 260"/>
              <a:gd name="T36" fmla="*/ 39 w 208"/>
              <a:gd name="T37" fmla="*/ 221 h 260"/>
              <a:gd name="T38" fmla="*/ 56 w 208"/>
              <a:gd name="T39" fmla="*/ 221 h 260"/>
              <a:gd name="T40" fmla="*/ 73 w 208"/>
              <a:gd name="T41" fmla="*/ 219 h 260"/>
              <a:gd name="T42" fmla="*/ 92 w 208"/>
              <a:gd name="T43" fmla="*/ 211 h 260"/>
              <a:gd name="T44" fmla="*/ 113 w 208"/>
              <a:gd name="T45" fmla="*/ 197 h 260"/>
              <a:gd name="T46" fmla="*/ 131 w 208"/>
              <a:gd name="T47" fmla="*/ 173 h 260"/>
              <a:gd name="T48" fmla="*/ 146 w 208"/>
              <a:gd name="T49" fmla="*/ 139 h 260"/>
              <a:gd name="T50" fmla="*/ 154 w 208"/>
              <a:gd name="T51" fmla="*/ 94 h 260"/>
              <a:gd name="T52" fmla="*/ 182 w 208"/>
              <a:gd name="T53" fmla="*/ 94 h 260"/>
              <a:gd name="T54" fmla="*/ 191 w 208"/>
              <a:gd name="T55" fmla="*/ 95 h 260"/>
              <a:gd name="T56" fmla="*/ 200 w 208"/>
              <a:gd name="T57" fmla="*/ 102 h 260"/>
              <a:gd name="T58" fmla="*/ 206 w 208"/>
              <a:gd name="T59" fmla="*/ 109 h 260"/>
              <a:gd name="T60" fmla="*/ 208 w 208"/>
              <a:gd name="T61" fmla="*/ 120 h 260"/>
              <a:gd name="T62" fmla="*/ 177 w 208"/>
              <a:gd name="T63" fmla="*/ 260 h 260"/>
              <a:gd name="T64" fmla="*/ 47 w 208"/>
              <a:gd name="T65" fmla="*/ 146 h 260"/>
              <a:gd name="T66" fmla="*/ 31 w 208"/>
              <a:gd name="T67" fmla="*/ 177 h 260"/>
              <a:gd name="T68" fmla="*/ 103 w 208"/>
              <a:gd name="T69" fmla="*/ 82 h 260"/>
              <a:gd name="T70" fmla="*/ 94 w 208"/>
              <a:gd name="T71" fmla="*/ 81 h 260"/>
              <a:gd name="T72" fmla="*/ 79 w 208"/>
              <a:gd name="T73" fmla="*/ 76 h 260"/>
              <a:gd name="T74" fmla="*/ 69 w 208"/>
              <a:gd name="T75" fmla="*/ 64 h 260"/>
              <a:gd name="T76" fmla="*/ 63 w 208"/>
              <a:gd name="T77" fmla="*/ 50 h 260"/>
              <a:gd name="T78" fmla="*/ 61 w 208"/>
              <a:gd name="T79" fmla="*/ 41 h 260"/>
              <a:gd name="T80" fmla="*/ 65 w 208"/>
              <a:gd name="T81" fmla="*/ 25 h 260"/>
              <a:gd name="T82" fmla="*/ 73 w 208"/>
              <a:gd name="T83" fmla="*/ 12 h 260"/>
              <a:gd name="T84" fmla="*/ 87 w 208"/>
              <a:gd name="T85" fmla="*/ 3 h 260"/>
              <a:gd name="T86" fmla="*/ 103 w 208"/>
              <a:gd name="T87" fmla="*/ 0 h 260"/>
              <a:gd name="T88" fmla="*/ 111 w 208"/>
              <a:gd name="T89" fmla="*/ 0 h 260"/>
              <a:gd name="T90" fmla="*/ 126 w 208"/>
              <a:gd name="T91" fmla="*/ 7 h 260"/>
              <a:gd name="T92" fmla="*/ 137 w 208"/>
              <a:gd name="T93" fmla="*/ 19 h 260"/>
              <a:gd name="T94" fmla="*/ 143 w 208"/>
              <a:gd name="T95" fmla="*/ 33 h 260"/>
              <a:gd name="T96" fmla="*/ 144 w 208"/>
              <a:gd name="T97" fmla="*/ 41 h 260"/>
              <a:gd name="T98" fmla="*/ 141 w 208"/>
              <a:gd name="T99" fmla="*/ 57 h 260"/>
              <a:gd name="T100" fmla="*/ 131 w 208"/>
              <a:gd name="T101" fmla="*/ 70 h 260"/>
              <a:gd name="T102" fmla="*/ 118 w 208"/>
              <a:gd name="T103" fmla="*/ 80 h 260"/>
              <a:gd name="T104" fmla="*/ 103 w 208"/>
              <a:gd name="T105" fmla="*/ 8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260">
                <a:moveTo>
                  <a:pt x="177" y="260"/>
                </a:moveTo>
                <a:lnTo>
                  <a:pt x="177" y="156"/>
                </a:lnTo>
                <a:lnTo>
                  <a:pt x="177" y="156"/>
                </a:lnTo>
                <a:lnTo>
                  <a:pt x="176" y="152"/>
                </a:lnTo>
                <a:lnTo>
                  <a:pt x="173" y="148"/>
                </a:lnTo>
                <a:lnTo>
                  <a:pt x="170" y="146"/>
                </a:lnTo>
                <a:lnTo>
                  <a:pt x="167" y="146"/>
                </a:lnTo>
                <a:lnTo>
                  <a:pt x="167" y="146"/>
                </a:lnTo>
                <a:lnTo>
                  <a:pt x="161" y="146"/>
                </a:lnTo>
                <a:lnTo>
                  <a:pt x="159" y="148"/>
                </a:lnTo>
                <a:lnTo>
                  <a:pt x="156" y="152"/>
                </a:lnTo>
                <a:lnTo>
                  <a:pt x="156" y="156"/>
                </a:lnTo>
                <a:lnTo>
                  <a:pt x="156" y="260"/>
                </a:lnTo>
                <a:lnTo>
                  <a:pt x="31" y="260"/>
                </a:lnTo>
                <a:lnTo>
                  <a:pt x="31" y="224"/>
                </a:lnTo>
                <a:lnTo>
                  <a:pt x="26" y="224"/>
                </a:lnTo>
                <a:lnTo>
                  <a:pt x="26" y="224"/>
                </a:lnTo>
                <a:lnTo>
                  <a:pt x="20" y="223"/>
                </a:lnTo>
                <a:lnTo>
                  <a:pt x="16" y="221"/>
                </a:lnTo>
                <a:lnTo>
                  <a:pt x="11" y="219"/>
                </a:lnTo>
                <a:lnTo>
                  <a:pt x="7" y="216"/>
                </a:lnTo>
                <a:lnTo>
                  <a:pt x="4" y="212"/>
                </a:lnTo>
                <a:lnTo>
                  <a:pt x="1" y="207"/>
                </a:lnTo>
                <a:lnTo>
                  <a:pt x="0" y="203"/>
                </a:lnTo>
                <a:lnTo>
                  <a:pt x="0" y="198"/>
                </a:lnTo>
                <a:lnTo>
                  <a:pt x="0" y="151"/>
                </a:lnTo>
                <a:lnTo>
                  <a:pt x="0" y="120"/>
                </a:lnTo>
                <a:lnTo>
                  <a:pt x="0" y="115"/>
                </a:lnTo>
                <a:lnTo>
                  <a:pt x="0" y="115"/>
                </a:lnTo>
                <a:lnTo>
                  <a:pt x="0" y="115"/>
                </a:lnTo>
                <a:lnTo>
                  <a:pt x="3" y="106"/>
                </a:lnTo>
                <a:lnTo>
                  <a:pt x="9" y="99"/>
                </a:lnTo>
                <a:lnTo>
                  <a:pt x="17" y="95"/>
                </a:lnTo>
                <a:lnTo>
                  <a:pt x="21" y="94"/>
                </a:lnTo>
                <a:lnTo>
                  <a:pt x="26" y="94"/>
                </a:lnTo>
                <a:lnTo>
                  <a:pt x="117" y="94"/>
                </a:lnTo>
                <a:lnTo>
                  <a:pt x="39" y="221"/>
                </a:lnTo>
                <a:lnTo>
                  <a:pt x="39" y="221"/>
                </a:lnTo>
                <a:lnTo>
                  <a:pt x="44" y="223"/>
                </a:lnTo>
                <a:lnTo>
                  <a:pt x="56" y="221"/>
                </a:lnTo>
                <a:lnTo>
                  <a:pt x="64" y="221"/>
                </a:lnTo>
                <a:lnTo>
                  <a:pt x="73" y="219"/>
                </a:lnTo>
                <a:lnTo>
                  <a:pt x="82" y="216"/>
                </a:lnTo>
                <a:lnTo>
                  <a:pt x="92" y="211"/>
                </a:lnTo>
                <a:lnTo>
                  <a:pt x="103" y="204"/>
                </a:lnTo>
                <a:lnTo>
                  <a:pt x="113" y="197"/>
                </a:lnTo>
                <a:lnTo>
                  <a:pt x="122" y="186"/>
                </a:lnTo>
                <a:lnTo>
                  <a:pt x="131" y="173"/>
                </a:lnTo>
                <a:lnTo>
                  <a:pt x="139" y="158"/>
                </a:lnTo>
                <a:lnTo>
                  <a:pt x="146" y="139"/>
                </a:lnTo>
                <a:lnTo>
                  <a:pt x="150" y="119"/>
                </a:lnTo>
                <a:lnTo>
                  <a:pt x="154" y="94"/>
                </a:lnTo>
                <a:lnTo>
                  <a:pt x="182" y="94"/>
                </a:lnTo>
                <a:lnTo>
                  <a:pt x="182" y="94"/>
                </a:lnTo>
                <a:lnTo>
                  <a:pt x="187" y="94"/>
                </a:lnTo>
                <a:lnTo>
                  <a:pt x="191" y="95"/>
                </a:lnTo>
                <a:lnTo>
                  <a:pt x="196" y="98"/>
                </a:lnTo>
                <a:lnTo>
                  <a:pt x="200" y="102"/>
                </a:lnTo>
                <a:lnTo>
                  <a:pt x="203" y="104"/>
                </a:lnTo>
                <a:lnTo>
                  <a:pt x="206" y="109"/>
                </a:lnTo>
                <a:lnTo>
                  <a:pt x="207" y="115"/>
                </a:lnTo>
                <a:lnTo>
                  <a:pt x="208" y="120"/>
                </a:lnTo>
                <a:lnTo>
                  <a:pt x="208" y="260"/>
                </a:lnTo>
                <a:lnTo>
                  <a:pt x="177" y="260"/>
                </a:lnTo>
                <a:close/>
                <a:moveTo>
                  <a:pt x="47" y="177"/>
                </a:moveTo>
                <a:lnTo>
                  <a:pt x="47" y="146"/>
                </a:lnTo>
                <a:lnTo>
                  <a:pt x="31" y="146"/>
                </a:lnTo>
                <a:lnTo>
                  <a:pt x="31" y="177"/>
                </a:lnTo>
                <a:lnTo>
                  <a:pt x="47" y="177"/>
                </a:lnTo>
                <a:close/>
                <a:moveTo>
                  <a:pt x="103" y="82"/>
                </a:moveTo>
                <a:lnTo>
                  <a:pt x="103" y="82"/>
                </a:lnTo>
                <a:lnTo>
                  <a:pt x="94" y="81"/>
                </a:lnTo>
                <a:lnTo>
                  <a:pt x="87" y="80"/>
                </a:lnTo>
                <a:lnTo>
                  <a:pt x="79" y="76"/>
                </a:lnTo>
                <a:lnTo>
                  <a:pt x="73" y="70"/>
                </a:lnTo>
                <a:lnTo>
                  <a:pt x="69" y="64"/>
                </a:lnTo>
                <a:lnTo>
                  <a:pt x="65" y="57"/>
                </a:lnTo>
                <a:lnTo>
                  <a:pt x="63" y="50"/>
                </a:lnTo>
                <a:lnTo>
                  <a:pt x="61" y="41"/>
                </a:lnTo>
                <a:lnTo>
                  <a:pt x="61" y="41"/>
                </a:lnTo>
                <a:lnTo>
                  <a:pt x="63" y="33"/>
                </a:lnTo>
                <a:lnTo>
                  <a:pt x="65" y="25"/>
                </a:lnTo>
                <a:lnTo>
                  <a:pt x="69" y="19"/>
                </a:lnTo>
                <a:lnTo>
                  <a:pt x="73" y="12"/>
                </a:lnTo>
                <a:lnTo>
                  <a:pt x="79" y="7"/>
                </a:lnTo>
                <a:lnTo>
                  <a:pt x="87" y="3"/>
                </a:lnTo>
                <a:lnTo>
                  <a:pt x="94" y="0"/>
                </a:lnTo>
                <a:lnTo>
                  <a:pt x="103" y="0"/>
                </a:lnTo>
                <a:lnTo>
                  <a:pt x="103" y="0"/>
                </a:lnTo>
                <a:lnTo>
                  <a:pt x="111" y="0"/>
                </a:lnTo>
                <a:lnTo>
                  <a:pt x="118" y="3"/>
                </a:lnTo>
                <a:lnTo>
                  <a:pt x="126" y="7"/>
                </a:lnTo>
                <a:lnTo>
                  <a:pt x="131" y="12"/>
                </a:lnTo>
                <a:lnTo>
                  <a:pt x="137" y="19"/>
                </a:lnTo>
                <a:lnTo>
                  <a:pt x="141" y="25"/>
                </a:lnTo>
                <a:lnTo>
                  <a:pt x="143" y="33"/>
                </a:lnTo>
                <a:lnTo>
                  <a:pt x="144" y="41"/>
                </a:lnTo>
                <a:lnTo>
                  <a:pt x="144" y="41"/>
                </a:lnTo>
                <a:lnTo>
                  <a:pt x="143" y="50"/>
                </a:lnTo>
                <a:lnTo>
                  <a:pt x="141" y="57"/>
                </a:lnTo>
                <a:lnTo>
                  <a:pt x="137" y="64"/>
                </a:lnTo>
                <a:lnTo>
                  <a:pt x="131" y="70"/>
                </a:lnTo>
                <a:lnTo>
                  <a:pt x="126" y="76"/>
                </a:lnTo>
                <a:lnTo>
                  <a:pt x="118" y="80"/>
                </a:lnTo>
                <a:lnTo>
                  <a:pt x="111" y="81"/>
                </a:lnTo>
                <a:lnTo>
                  <a:pt x="103" y="82"/>
                </a:lnTo>
                <a:lnTo>
                  <a:pt x="103" y="82"/>
                </a:lnTo>
                <a:close/>
              </a:path>
            </a:pathLst>
          </a:custGeom>
          <a:solidFill>
            <a:srgbClr val="FE581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 name="Freeform 436"/>
          <p:cNvSpPr>
            <a:spLocks noEditPoints="1"/>
          </p:cNvSpPr>
          <p:nvPr/>
        </p:nvSpPr>
        <p:spPr bwMode="auto">
          <a:xfrm>
            <a:off x="5535964" y="1887614"/>
            <a:ext cx="553364" cy="487053"/>
          </a:xfrm>
          <a:custGeom>
            <a:avLst/>
            <a:gdLst>
              <a:gd name="T0" fmla="*/ 43 w 642"/>
              <a:gd name="T1" fmla="*/ 538 h 589"/>
              <a:gd name="T2" fmla="*/ 95 w 642"/>
              <a:gd name="T3" fmla="*/ 528 h 589"/>
              <a:gd name="T4" fmla="*/ 81 w 642"/>
              <a:gd name="T5" fmla="*/ 479 h 589"/>
              <a:gd name="T6" fmla="*/ 28 w 642"/>
              <a:gd name="T7" fmla="*/ 318 h 589"/>
              <a:gd name="T8" fmla="*/ 16 w 642"/>
              <a:gd name="T9" fmla="*/ 237 h 589"/>
              <a:gd name="T10" fmla="*/ 65 w 642"/>
              <a:gd name="T11" fmla="*/ 287 h 589"/>
              <a:gd name="T12" fmla="*/ 52 w 642"/>
              <a:gd name="T13" fmla="*/ 451 h 589"/>
              <a:gd name="T14" fmla="*/ 95 w 642"/>
              <a:gd name="T15" fmla="*/ 251 h 589"/>
              <a:gd name="T16" fmla="*/ 223 w 642"/>
              <a:gd name="T17" fmla="*/ 251 h 589"/>
              <a:gd name="T18" fmla="*/ 238 w 642"/>
              <a:gd name="T19" fmla="*/ 148 h 589"/>
              <a:gd name="T20" fmla="*/ 87 w 642"/>
              <a:gd name="T21" fmla="*/ 159 h 589"/>
              <a:gd name="T22" fmla="*/ 38 w 642"/>
              <a:gd name="T23" fmla="*/ 111 h 589"/>
              <a:gd name="T24" fmla="*/ 117 w 642"/>
              <a:gd name="T25" fmla="*/ 123 h 589"/>
              <a:gd name="T26" fmla="*/ 263 w 642"/>
              <a:gd name="T27" fmla="*/ 250 h 589"/>
              <a:gd name="T28" fmla="*/ 313 w 642"/>
              <a:gd name="T29" fmla="*/ 228 h 589"/>
              <a:gd name="T30" fmla="*/ 298 w 642"/>
              <a:gd name="T31" fmla="*/ 58 h 589"/>
              <a:gd name="T32" fmla="*/ 350 w 642"/>
              <a:gd name="T33" fmla="*/ 13 h 589"/>
              <a:gd name="T34" fmla="*/ 338 w 642"/>
              <a:gd name="T35" fmla="*/ 96 h 589"/>
              <a:gd name="T36" fmla="*/ 357 w 642"/>
              <a:gd name="T37" fmla="*/ 252 h 589"/>
              <a:gd name="T38" fmla="*/ 396 w 642"/>
              <a:gd name="T39" fmla="*/ 170 h 589"/>
              <a:gd name="T40" fmla="*/ 456 w 642"/>
              <a:gd name="T41" fmla="*/ 153 h 589"/>
              <a:gd name="T42" fmla="*/ 538 w 642"/>
              <a:gd name="T43" fmla="*/ 141 h 589"/>
              <a:gd name="T44" fmla="*/ 491 w 642"/>
              <a:gd name="T45" fmla="*/ 191 h 589"/>
              <a:gd name="T46" fmla="*/ 421 w 642"/>
              <a:gd name="T47" fmla="*/ 187 h 589"/>
              <a:gd name="T48" fmla="*/ 476 w 642"/>
              <a:gd name="T49" fmla="*/ 251 h 589"/>
              <a:gd name="T50" fmla="*/ 548 w 642"/>
              <a:gd name="T51" fmla="*/ 451 h 589"/>
              <a:gd name="T52" fmla="*/ 591 w 642"/>
              <a:gd name="T53" fmla="*/ 431 h 589"/>
              <a:gd name="T54" fmla="*/ 579 w 642"/>
              <a:gd name="T55" fmla="*/ 120 h 589"/>
              <a:gd name="T56" fmla="*/ 627 w 642"/>
              <a:gd name="T57" fmla="*/ 69 h 589"/>
              <a:gd name="T58" fmla="*/ 616 w 642"/>
              <a:gd name="T59" fmla="*/ 146 h 589"/>
              <a:gd name="T60" fmla="*/ 616 w 642"/>
              <a:gd name="T61" fmla="*/ 477 h 589"/>
              <a:gd name="T62" fmla="*/ 549 w 642"/>
              <a:gd name="T63" fmla="*/ 527 h 589"/>
              <a:gd name="T64" fmla="*/ 599 w 642"/>
              <a:gd name="T65" fmla="*/ 589 h 589"/>
              <a:gd name="T66" fmla="*/ 144 w 642"/>
              <a:gd name="T67" fmla="*/ 528 h 589"/>
              <a:gd name="T68" fmla="*/ 258 w 642"/>
              <a:gd name="T69" fmla="*/ 556 h 589"/>
              <a:gd name="T70" fmla="*/ 390 w 642"/>
              <a:gd name="T71" fmla="*/ 528 h 589"/>
              <a:gd name="T72" fmla="*/ 499 w 642"/>
              <a:gd name="T73" fmla="*/ 300 h 589"/>
              <a:gd name="T74" fmla="*/ 144 w 642"/>
              <a:gd name="T75" fmla="*/ 528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2" h="589">
                <a:moveTo>
                  <a:pt x="42" y="589"/>
                </a:moveTo>
                <a:cubicBezTo>
                  <a:pt x="42" y="571"/>
                  <a:pt x="42" y="554"/>
                  <a:pt x="43" y="538"/>
                </a:cubicBezTo>
                <a:cubicBezTo>
                  <a:pt x="43" y="534"/>
                  <a:pt x="50" y="529"/>
                  <a:pt x="54" y="528"/>
                </a:cubicBezTo>
                <a:cubicBezTo>
                  <a:pt x="67" y="527"/>
                  <a:pt x="79" y="528"/>
                  <a:pt x="95" y="528"/>
                </a:cubicBezTo>
                <a:cubicBezTo>
                  <a:pt x="95" y="514"/>
                  <a:pt x="96" y="501"/>
                  <a:pt x="95" y="488"/>
                </a:cubicBezTo>
                <a:cubicBezTo>
                  <a:pt x="94" y="484"/>
                  <a:pt x="86" y="479"/>
                  <a:pt x="81" y="479"/>
                </a:cubicBezTo>
                <a:cubicBezTo>
                  <a:pt x="64" y="477"/>
                  <a:pt x="47" y="478"/>
                  <a:pt x="28" y="478"/>
                </a:cubicBezTo>
                <a:cubicBezTo>
                  <a:pt x="28" y="423"/>
                  <a:pt x="28" y="371"/>
                  <a:pt x="28" y="318"/>
                </a:cubicBezTo>
                <a:cubicBezTo>
                  <a:pt x="28" y="306"/>
                  <a:pt x="26" y="296"/>
                  <a:pt x="16" y="287"/>
                </a:cubicBezTo>
                <a:cubicBezTo>
                  <a:pt x="0" y="274"/>
                  <a:pt x="2" y="251"/>
                  <a:pt x="16" y="237"/>
                </a:cubicBezTo>
                <a:cubicBezTo>
                  <a:pt x="30" y="224"/>
                  <a:pt x="52" y="225"/>
                  <a:pt x="65" y="239"/>
                </a:cubicBezTo>
                <a:cubicBezTo>
                  <a:pt x="78" y="252"/>
                  <a:pt x="79" y="275"/>
                  <a:pt x="65" y="287"/>
                </a:cubicBezTo>
                <a:cubicBezTo>
                  <a:pt x="54" y="296"/>
                  <a:pt x="52" y="306"/>
                  <a:pt x="52" y="318"/>
                </a:cubicBezTo>
                <a:cubicBezTo>
                  <a:pt x="52" y="362"/>
                  <a:pt x="52" y="406"/>
                  <a:pt x="52" y="451"/>
                </a:cubicBezTo>
                <a:cubicBezTo>
                  <a:pt x="67" y="451"/>
                  <a:pt x="80" y="451"/>
                  <a:pt x="95" y="451"/>
                </a:cubicBezTo>
                <a:cubicBezTo>
                  <a:pt x="95" y="385"/>
                  <a:pt x="95" y="320"/>
                  <a:pt x="95" y="251"/>
                </a:cubicBezTo>
                <a:cubicBezTo>
                  <a:pt x="111" y="251"/>
                  <a:pt x="126" y="251"/>
                  <a:pt x="141" y="251"/>
                </a:cubicBezTo>
                <a:cubicBezTo>
                  <a:pt x="168" y="251"/>
                  <a:pt x="196" y="252"/>
                  <a:pt x="223" y="251"/>
                </a:cubicBezTo>
                <a:cubicBezTo>
                  <a:pt x="228" y="251"/>
                  <a:pt x="237" y="244"/>
                  <a:pt x="237" y="240"/>
                </a:cubicBezTo>
                <a:cubicBezTo>
                  <a:pt x="238" y="210"/>
                  <a:pt x="238" y="181"/>
                  <a:pt x="238" y="148"/>
                </a:cubicBezTo>
                <a:cubicBezTo>
                  <a:pt x="191" y="148"/>
                  <a:pt x="146" y="148"/>
                  <a:pt x="101" y="149"/>
                </a:cubicBezTo>
                <a:cubicBezTo>
                  <a:pt x="96" y="149"/>
                  <a:pt x="92" y="155"/>
                  <a:pt x="87" y="159"/>
                </a:cubicBezTo>
                <a:cubicBezTo>
                  <a:pt x="73" y="173"/>
                  <a:pt x="51" y="174"/>
                  <a:pt x="37" y="160"/>
                </a:cubicBezTo>
                <a:cubicBezTo>
                  <a:pt x="24" y="146"/>
                  <a:pt x="25" y="124"/>
                  <a:pt x="38" y="111"/>
                </a:cubicBezTo>
                <a:cubicBezTo>
                  <a:pt x="52" y="97"/>
                  <a:pt x="75" y="96"/>
                  <a:pt x="88" y="112"/>
                </a:cubicBezTo>
                <a:cubicBezTo>
                  <a:pt x="96" y="122"/>
                  <a:pt x="105" y="123"/>
                  <a:pt x="117" y="123"/>
                </a:cubicBezTo>
                <a:cubicBezTo>
                  <a:pt x="165" y="123"/>
                  <a:pt x="213" y="123"/>
                  <a:pt x="263" y="123"/>
                </a:cubicBezTo>
                <a:cubicBezTo>
                  <a:pt x="263" y="166"/>
                  <a:pt x="263" y="207"/>
                  <a:pt x="263" y="250"/>
                </a:cubicBezTo>
                <a:cubicBezTo>
                  <a:pt x="280" y="250"/>
                  <a:pt x="295" y="250"/>
                  <a:pt x="312" y="250"/>
                </a:cubicBezTo>
                <a:cubicBezTo>
                  <a:pt x="312" y="242"/>
                  <a:pt x="313" y="235"/>
                  <a:pt x="313" y="228"/>
                </a:cubicBezTo>
                <a:cubicBezTo>
                  <a:pt x="313" y="186"/>
                  <a:pt x="313" y="144"/>
                  <a:pt x="313" y="102"/>
                </a:cubicBezTo>
                <a:cubicBezTo>
                  <a:pt x="313" y="86"/>
                  <a:pt x="315" y="71"/>
                  <a:pt x="298" y="58"/>
                </a:cubicBezTo>
                <a:cubicBezTo>
                  <a:pt x="285" y="48"/>
                  <a:pt x="289" y="23"/>
                  <a:pt x="302" y="12"/>
                </a:cubicBezTo>
                <a:cubicBezTo>
                  <a:pt x="316" y="0"/>
                  <a:pt x="338" y="1"/>
                  <a:pt x="350" y="13"/>
                </a:cubicBezTo>
                <a:cubicBezTo>
                  <a:pt x="363" y="25"/>
                  <a:pt x="365" y="48"/>
                  <a:pt x="352" y="60"/>
                </a:cubicBezTo>
                <a:cubicBezTo>
                  <a:pt x="339" y="70"/>
                  <a:pt x="338" y="82"/>
                  <a:pt x="338" y="96"/>
                </a:cubicBezTo>
                <a:cubicBezTo>
                  <a:pt x="338" y="142"/>
                  <a:pt x="339" y="187"/>
                  <a:pt x="338" y="232"/>
                </a:cubicBezTo>
                <a:cubicBezTo>
                  <a:pt x="337" y="247"/>
                  <a:pt x="342" y="253"/>
                  <a:pt x="357" y="252"/>
                </a:cubicBezTo>
                <a:cubicBezTo>
                  <a:pt x="369" y="250"/>
                  <a:pt x="381" y="251"/>
                  <a:pt x="396" y="251"/>
                </a:cubicBezTo>
                <a:cubicBezTo>
                  <a:pt x="396" y="223"/>
                  <a:pt x="397" y="197"/>
                  <a:pt x="396" y="170"/>
                </a:cubicBezTo>
                <a:cubicBezTo>
                  <a:pt x="395" y="156"/>
                  <a:pt x="400" y="152"/>
                  <a:pt x="414" y="152"/>
                </a:cubicBezTo>
                <a:cubicBezTo>
                  <a:pt x="428" y="153"/>
                  <a:pt x="442" y="152"/>
                  <a:pt x="456" y="153"/>
                </a:cubicBezTo>
                <a:cubicBezTo>
                  <a:pt x="470" y="153"/>
                  <a:pt x="481" y="152"/>
                  <a:pt x="491" y="140"/>
                </a:cubicBezTo>
                <a:cubicBezTo>
                  <a:pt x="502" y="126"/>
                  <a:pt x="526" y="129"/>
                  <a:pt x="538" y="141"/>
                </a:cubicBezTo>
                <a:cubicBezTo>
                  <a:pt x="551" y="154"/>
                  <a:pt x="551" y="176"/>
                  <a:pt x="539" y="190"/>
                </a:cubicBezTo>
                <a:cubicBezTo>
                  <a:pt x="526" y="203"/>
                  <a:pt x="502" y="206"/>
                  <a:pt x="491" y="191"/>
                </a:cubicBezTo>
                <a:cubicBezTo>
                  <a:pt x="472" y="168"/>
                  <a:pt x="449" y="181"/>
                  <a:pt x="428" y="179"/>
                </a:cubicBezTo>
                <a:cubicBezTo>
                  <a:pt x="426" y="179"/>
                  <a:pt x="423" y="184"/>
                  <a:pt x="421" y="187"/>
                </a:cubicBezTo>
                <a:cubicBezTo>
                  <a:pt x="420" y="189"/>
                  <a:pt x="421" y="191"/>
                  <a:pt x="421" y="193"/>
                </a:cubicBezTo>
                <a:cubicBezTo>
                  <a:pt x="418" y="251"/>
                  <a:pt x="418" y="251"/>
                  <a:pt x="476" y="251"/>
                </a:cubicBezTo>
                <a:cubicBezTo>
                  <a:pt x="499" y="251"/>
                  <a:pt x="523" y="251"/>
                  <a:pt x="548" y="251"/>
                </a:cubicBezTo>
                <a:cubicBezTo>
                  <a:pt x="548" y="319"/>
                  <a:pt x="548" y="385"/>
                  <a:pt x="548" y="451"/>
                </a:cubicBezTo>
                <a:cubicBezTo>
                  <a:pt x="563" y="451"/>
                  <a:pt x="576" y="451"/>
                  <a:pt x="590" y="451"/>
                </a:cubicBezTo>
                <a:cubicBezTo>
                  <a:pt x="591" y="444"/>
                  <a:pt x="591" y="437"/>
                  <a:pt x="591" y="431"/>
                </a:cubicBezTo>
                <a:cubicBezTo>
                  <a:pt x="591" y="336"/>
                  <a:pt x="592" y="242"/>
                  <a:pt x="591" y="147"/>
                </a:cubicBezTo>
                <a:cubicBezTo>
                  <a:pt x="591" y="138"/>
                  <a:pt x="586" y="127"/>
                  <a:pt x="579" y="120"/>
                </a:cubicBezTo>
                <a:cubicBezTo>
                  <a:pt x="566" y="104"/>
                  <a:pt x="565" y="84"/>
                  <a:pt x="579" y="70"/>
                </a:cubicBezTo>
                <a:cubicBezTo>
                  <a:pt x="593" y="56"/>
                  <a:pt x="614" y="56"/>
                  <a:pt x="627" y="69"/>
                </a:cubicBezTo>
                <a:cubicBezTo>
                  <a:pt x="642" y="83"/>
                  <a:pt x="641" y="103"/>
                  <a:pt x="628" y="119"/>
                </a:cubicBezTo>
                <a:cubicBezTo>
                  <a:pt x="622" y="127"/>
                  <a:pt x="617" y="137"/>
                  <a:pt x="616" y="146"/>
                </a:cubicBezTo>
                <a:cubicBezTo>
                  <a:pt x="616" y="248"/>
                  <a:pt x="616" y="350"/>
                  <a:pt x="616" y="452"/>
                </a:cubicBezTo>
                <a:cubicBezTo>
                  <a:pt x="616" y="460"/>
                  <a:pt x="616" y="467"/>
                  <a:pt x="616" y="477"/>
                </a:cubicBezTo>
                <a:cubicBezTo>
                  <a:pt x="594" y="477"/>
                  <a:pt x="572" y="477"/>
                  <a:pt x="549" y="477"/>
                </a:cubicBezTo>
                <a:cubicBezTo>
                  <a:pt x="549" y="495"/>
                  <a:pt x="549" y="510"/>
                  <a:pt x="549" y="527"/>
                </a:cubicBezTo>
                <a:cubicBezTo>
                  <a:pt x="565" y="527"/>
                  <a:pt x="581" y="527"/>
                  <a:pt x="599" y="527"/>
                </a:cubicBezTo>
                <a:cubicBezTo>
                  <a:pt x="599" y="548"/>
                  <a:pt x="599" y="568"/>
                  <a:pt x="599" y="589"/>
                </a:cubicBezTo>
                <a:cubicBezTo>
                  <a:pt x="415" y="589"/>
                  <a:pt x="230" y="589"/>
                  <a:pt x="42" y="589"/>
                </a:cubicBezTo>
                <a:close/>
                <a:moveTo>
                  <a:pt x="144" y="528"/>
                </a:moveTo>
                <a:cubicBezTo>
                  <a:pt x="172" y="528"/>
                  <a:pt x="198" y="528"/>
                  <a:pt x="224" y="528"/>
                </a:cubicBezTo>
                <a:cubicBezTo>
                  <a:pt x="253" y="528"/>
                  <a:pt x="253" y="528"/>
                  <a:pt x="258" y="556"/>
                </a:cubicBezTo>
                <a:cubicBezTo>
                  <a:pt x="301" y="556"/>
                  <a:pt x="344" y="556"/>
                  <a:pt x="387" y="556"/>
                </a:cubicBezTo>
                <a:cubicBezTo>
                  <a:pt x="388" y="546"/>
                  <a:pt x="389" y="538"/>
                  <a:pt x="390" y="528"/>
                </a:cubicBezTo>
                <a:cubicBezTo>
                  <a:pt x="427" y="528"/>
                  <a:pt x="463" y="528"/>
                  <a:pt x="499" y="528"/>
                </a:cubicBezTo>
                <a:cubicBezTo>
                  <a:pt x="499" y="451"/>
                  <a:pt x="499" y="375"/>
                  <a:pt x="499" y="300"/>
                </a:cubicBezTo>
                <a:cubicBezTo>
                  <a:pt x="380" y="300"/>
                  <a:pt x="262" y="300"/>
                  <a:pt x="144" y="300"/>
                </a:cubicBezTo>
                <a:cubicBezTo>
                  <a:pt x="144" y="376"/>
                  <a:pt x="144" y="450"/>
                  <a:pt x="144" y="528"/>
                </a:cubicBezTo>
                <a:close/>
              </a:path>
            </a:pathLst>
          </a:custGeom>
          <a:solidFill>
            <a:srgbClr val="FE581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sym typeface="华文楷体" panose="02010600040101010101" charset="-122"/>
            </a:endParaRPr>
          </a:p>
        </p:txBody>
      </p:sp>
      <p:sp>
        <p:nvSpPr>
          <p:cNvPr id="91" name="Freeform 438"/>
          <p:cNvSpPr>
            <a:spLocks noEditPoints="1"/>
          </p:cNvSpPr>
          <p:nvPr/>
        </p:nvSpPr>
        <p:spPr bwMode="auto">
          <a:xfrm>
            <a:off x="5730949" y="2150491"/>
            <a:ext cx="165574" cy="158981"/>
          </a:xfrm>
          <a:custGeom>
            <a:avLst/>
            <a:gdLst>
              <a:gd name="T0" fmla="*/ 105 w 192"/>
              <a:gd name="T1" fmla="*/ 171 h 192"/>
              <a:gd name="T2" fmla="*/ 92 w 192"/>
              <a:gd name="T3" fmla="*/ 179 h 192"/>
              <a:gd name="T4" fmla="*/ 71 w 192"/>
              <a:gd name="T5" fmla="*/ 189 h 192"/>
              <a:gd name="T6" fmla="*/ 53 w 192"/>
              <a:gd name="T7" fmla="*/ 169 h 192"/>
              <a:gd name="T8" fmla="*/ 31 w 192"/>
              <a:gd name="T9" fmla="*/ 155 h 192"/>
              <a:gd name="T10" fmla="*/ 10 w 192"/>
              <a:gd name="T11" fmla="*/ 143 h 192"/>
              <a:gd name="T12" fmla="*/ 14 w 192"/>
              <a:gd name="T13" fmla="*/ 122 h 192"/>
              <a:gd name="T14" fmla="*/ 7 w 192"/>
              <a:gd name="T15" fmla="*/ 92 h 192"/>
              <a:gd name="T16" fmla="*/ 2 w 192"/>
              <a:gd name="T17" fmla="*/ 75 h 192"/>
              <a:gd name="T18" fmla="*/ 15 w 192"/>
              <a:gd name="T19" fmla="*/ 60 h 192"/>
              <a:gd name="T20" fmla="*/ 35 w 192"/>
              <a:gd name="T21" fmla="*/ 34 h 192"/>
              <a:gd name="T22" fmla="*/ 65 w 192"/>
              <a:gd name="T23" fmla="*/ 16 h 192"/>
              <a:gd name="T24" fmla="*/ 100 w 192"/>
              <a:gd name="T25" fmla="*/ 10 h 192"/>
              <a:gd name="T26" fmla="*/ 133 w 192"/>
              <a:gd name="T27" fmla="*/ 21 h 192"/>
              <a:gd name="T28" fmla="*/ 158 w 192"/>
              <a:gd name="T29" fmla="*/ 41 h 192"/>
              <a:gd name="T30" fmla="*/ 175 w 192"/>
              <a:gd name="T31" fmla="*/ 71 h 192"/>
              <a:gd name="T32" fmla="*/ 178 w 192"/>
              <a:gd name="T33" fmla="*/ 100 h 192"/>
              <a:gd name="T34" fmla="*/ 167 w 192"/>
              <a:gd name="T35" fmla="*/ 136 h 192"/>
              <a:gd name="T36" fmla="*/ 150 w 192"/>
              <a:gd name="T37" fmla="*/ 159 h 192"/>
              <a:gd name="T38" fmla="*/ 143 w 192"/>
              <a:gd name="T39" fmla="*/ 176 h 192"/>
              <a:gd name="T40" fmla="*/ 120 w 192"/>
              <a:gd name="T41" fmla="*/ 178 h 192"/>
              <a:gd name="T42" fmla="*/ 105 w 192"/>
              <a:gd name="T43" fmla="*/ 171 h 192"/>
              <a:gd name="T44" fmla="*/ 45 w 192"/>
              <a:gd name="T45" fmla="*/ 96 h 192"/>
              <a:gd name="T46" fmla="*/ 95 w 192"/>
              <a:gd name="T47" fmla="*/ 146 h 192"/>
              <a:gd name="T48" fmla="*/ 145 w 192"/>
              <a:gd name="T49" fmla="*/ 97 h 192"/>
              <a:gd name="T50" fmla="*/ 96 w 192"/>
              <a:gd name="T51" fmla="*/ 48 h 192"/>
              <a:gd name="T52" fmla="*/ 45 w 192"/>
              <a:gd name="T53" fmla="*/ 9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05" y="171"/>
                </a:moveTo>
                <a:cubicBezTo>
                  <a:pt x="100" y="174"/>
                  <a:pt x="94" y="176"/>
                  <a:pt x="92" y="179"/>
                </a:cubicBezTo>
                <a:cubicBezTo>
                  <a:pt x="87" y="188"/>
                  <a:pt x="81" y="192"/>
                  <a:pt x="71" y="189"/>
                </a:cubicBezTo>
                <a:cubicBezTo>
                  <a:pt x="60" y="185"/>
                  <a:pt x="54" y="182"/>
                  <a:pt x="53" y="169"/>
                </a:cubicBezTo>
                <a:cubicBezTo>
                  <a:pt x="52" y="163"/>
                  <a:pt x="39" y="155"/>
                  <a:pt x="31" y="155"/>
                </a:cubicBezTo>
                <a:cubicBezTo>
                  <a:pt x="20" y="156"/>
                  <a:pt x="13" y="153"/>
                  <a:pt x="10" y="143"/>
                </a:cubicBezTo>
                <a:cubicBezTo>
                  <a:pt x="9" y="136"/>
                  <a:pt x="10" y="128"/>
                  <a:pt x="14" y="122"/>
                </a:cubicBezTo>
                <a:cubicBezTo>
                  <a:pt x="21" y="110"/>
                  <a:pt x="21" y="101"/>
                  <a:pt x="7" y="92"/>
                </a:cubicBezTo>
                <a:cubicBezTo>
                  <a:pt x="3" y="90"/>
                  <a:pt x="0" y="80"/>
                  <a:pt x="2" y="75"/>
                </a:cubicBezTo>
                <a:cubicBezTo>
                  <a:pt x="3" y="69"/>
                  <a:pt x="9" y="60"/>
                  <a:pt x="15" y="60"/>
                </a:cubicBezTo>
                <a:cubicBezTo>
                  <a:pt x="31" y="57"/>
                  <a:pt x="36" y="49"/>
                  <a:pt x="35" y="34"/>
                </a:cubicBezTo>
                <a:cubicBezTo>
                  <a:pt x="34" y="19"/>
                  <a:pt x="52" y="7"/>
                  <a:pt x="65" y="16"/>
                </a:cubicBezTo>
                <a:cubicBezTo>
                  <a:pt x="79" y="25"/>
                  <a:pt x="89" y="25"/>
                  <a:pt x="100" y="10"/>
                </a:cubicBezTo>
                <a:cubicBezTo>
                  <a:pt x="107" y="0"/>
                  <a:pt x="131" y="8"/>
                  <a:pt x="133" y="21"/>
                </a:cubicBezTo>
                <a:cubicBezTo>
                  <a:pt x="135" y="37"/>
                  <a:pt x="143" y="41"/>
                  <a:pt x="158" y="41"/>
                </a:cubicBezTo>
                <a:cubicBezTo>
                  <a:pt x="175" y="41"/>
                  <a:pt x="184" y="57"/>
                  <a:pt x="175" y="71"/>
                </a:cubicBezTo>
                <a:cubicBezTo>
                  <a:pt x="169" y="82"/>
                  <a:pt x="169" y="91"/>
                  <a:pt x="178" y="100"/>
                </a:cubicBezTo>
                <a:cubicBezTo>
                  <a:pt x="192" y="116"/>
                  <a:pt x="188" y="131"/>
                  <a:pt x="167" y="136"/>
                </a:cubicBezTo>
                <a:cubicBezTo>
                  <a:pt x="155" y="139"/>
                  <a:pt x="150" y="146"/>
                  <a:pt x="150" y="159"/>
                </a:cubicBezTo>
                <a:cubicBezTo>
                  <a:pt x="151" y="165"/>
                  <a:pt x="147" y="174"/>
                  <a:pt x="143" y="176"/>
                </a:cubicBezTo>
                <a:cubicBezTo>
                  <a:pt x="137" y="179"/>
                  <a:pt x="128" y="179"/>
                  <a:pt x="120" y="178"/>
                </a:cubicBezTo>
                <a:cubicBezTo>
                  <a:pt x="115" y="178"/>
                  <a:pt x="111" y="174"/>
                  <a:pt x="105" y="171"/>
                </a:cubicBezTo>
                <a:close/>
                <a:moveTo>
                  <a:pt x="45" y="96"/>
                </a:moveTo>
                <a:cubicBezTo>
                  <a:pt x="45" y="123"/>
                  <a:pt x="68" y="146"/>
                  <a:pt x="95" y="146"/>
                </a:cubicBezTo>
                <a:cubicBezTo>
                  <a:pt x="121" y="146"/>
                  <a:pt x="145" y="123"/>
                  <a:pt x="145" y="97"/>
                </a:cubicBezTo>
                <a:cubicBezTo>
                  <a:pt x="145" y="72"/>
                  <a:pt x="122" y="49"/>
                  <a:pt x="96" y="48"/>
                </a:cubicBezTo>
                <a:cubicBezTo>
                  <a:pt x="69" y="48"/>
                  <a:pt x="46" y="69"/>
                  <a:pt x="45" y="96"/>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sym typeface="华文楷体" panose="02010600040101010101" charset="-122"/>
            </a:endParaRPr>
          </a:p>
        </p:txBody>
      </p:sp>
      <p:sp>
        <p:nvSpPr>
          <p:cNvPr id="92" name="Freeform 440"/>
          <p:cNvSpPr/>
          <p:nvPr/>
        </p:nvSpPr>
        <p:spPr bwMode="auto">
          <a:xfrm>
            <a:off x="5797395" y="2204530"/>
            <a:ext cx="35220" cy="55434"/>
          </a:xfrm>
          <a:custGeom>
            <a:avLst/>
            <a:gdLst>
              <a:gd name="T0" fmla="*/ 41 w 41"/>
              <a:gd name="T1" fmla="*/ 32 h 67"/>
              <a:gd name="T2" fmla="*/ 25 w 41"/>
              <a:gd name="T3" fmla="*/ 39 h 67"/>
              <a:gd name="T4" fmla="*/ 35 w 41"/>
              <a:gd name="T5" fmla="*/ 63 h 67"/>
              <a:gd name="T6" fmla="*/ 31 w 41"/>
              <a:gd name="T7" fmla="*/ 67 h 67"/>
              <a:gd name="T8" fmla="*/ 14 w 41"/>
              <a:gd name="T9" fmla="*/ 45 h 67"/>
              <a:gd name="T10" fmla="*/ 0 w 41"/>
              <a:gd name="T11" fmla="*/ 51 h 67"/>
              <a:gd name="T12" fmla="*/ 0 w 41"/>
              <a:gd name="T13" fmla="*/ 0 h 67"/>
              <a:gd name="T14" fmla="*/ 41 w 41"/>
              <a:gd name="T15" fmla="*/ 32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67">
                <a:moveTo>
                  <a:pt x="41" y="32"/>
                </a:moveTo>
                <a:cubicBezTo>
                  <a:pt x="35" y="34"/>
                  <a:pt x="31" y="36"/>
                  <a:pt x="25" y="39"/>
                </a:cubicBezTo>
                <a:cubicBezTo>
                  <a:pt x="29" y="47"/>
                  <a:pt x="32" y="55"/>
                  <a:pt x="35" y="63"/>
                </a:cubicBezTo>
                <a:cubicBezTo>
                  <a:pt x="34" y="64"/>
                  <a:pt x="32" y="65"/>
                  <a:pt x="31" y="67"/>
                </a:cubicBezTo>
                <a:cubicBezTo>
                  <a:pt x="26" y="60"/>
                  <a:pt x="20" y="53"/>
                  <a:pt x="14" y="45"/>
                </a:cubicBezTo>
                <a:cubicBezTo>
                  <a:pt x="11" y="46"/>
                  <a:pt x="6" y="49"/>
                  <a:pt x="0" y="51"/>
                </a:cubicBezTo>
                <a:cubicBezTo>
                  <a:pt x="0" y="35"/>
                  <a:pt x="0" y="19"/>
                  <a:pt x="0" y="0"/>
                </a:cubicBezTo>
                <a:cubicBezTo>
                  <a:pt x="15" y="11"/>
                  <a:pt x="28" y="21"/>
                  <a:pt x="41"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sym typeface="华文楷体" panose="02010600040101010101" charset="-122"/>
            </a:endParaRPr>
          </a:p>
        </p:txBody>
      </p:sp>
      <p:sp>
        <p:nvSpPr>
          <p:cNvPr id="93" name="Freeform 167"/>
          <p:cNvSpPr>
            <a:spLocks noEditPoints="1"/>
          </p:cNvSpPr>
          <p:nvPr/>
        </p:nvSpPr>
        <p:spPr bwMode="auto">
          <a:xfrm>
            <a:off x="7329581" y="1932698"/>
            <a:ext cx="500189" cy="465637"/>
          </a:xfrm>
          <a:custGeom>
            <a:avLst/>
            <a:gdLst>
              <a:gd name="T0" fmla="*/ 118 w 126"/>
              <a:gd name="T1" fmla="*/ 0 h 117"/>
              <a:gd name="T2" fmla="*/ 126 w 126"/>
              <a:gd name="T3" fmla="*/ 78 h 117"/>
              <a:gd name="T4" fmla="*/ 113 w 126"/>
              <a:gd name="T5" fmla="*/ 86 h 117"/>
              <a:gd name="T6" fmla="*/ 116 w 126"/>
              <a:gd name="T7" fmla="*/ 77 h 117"/>
              <a:gd name="T8" fmla="*/ 10 w 126"/>
              <a:gd name="T9" fmla="*/ 8 h 117"/>
              <a:gd name="T10" fmla="*/ 48 w 126"/>
              <a:gd name="T11" fmla="*/ 77 h 117"/>
              <a:gd name="T12" fmla="*/ 55 w 126"/>
              <a:gd name="T13" fmla="*/ 86 h 117"/>
              <a:gd name="T14" fmla="*/ 0 w 126"/>
              <a:gd name="T15" fmla="*/ 78 h 117"/>
              <a:gd name="T16" fmla="*/ 8 w 126"/>
              <a:gd name="T17" fmla="*/ 0 h 117"/>
              <a:gd name="T18" fmla="*/ 86 w 126"/>
              <a:gd name="T19" fmla="*/ 48 h 117"/>
              <a:gd name="T20" fmla="*/ 111 w 126"/>
              <a:gd name="T21" fmla="*/ 46 h 117"/>
              <a:gd name="T22" fmla="*/ 86 w 126"/>
              <a:gd name="T23" fmla="*/ 39 h 117"/>
              <a:gd name="T24" fmla="*/ 111 w 126"/>
              <a:gd name="T25" fmla="*/ 41 h 117"/>
              <a:gd name="T26" fmla="*/ 86 w 126"/>
              <a:gd name="T27" fmla="*/ 39 h 117"/>
              <a:gd name="T28" fmla="*/ 99 w 126"/>
              <a:gd name="T29" fmla="*/ 32 h 117"/>
              <a:gd name="T30" fmla="*/ 111 w 126"/>
              <a:gd name="T31" fmla="*/ 30 h 117"/>
              <a:gd name="T32" fmla="*/ 99 w 126"/>
              <a:gd name="T33" fmla="*/ 23 h 117"/>
              <a:gd name="T34" fmla="*/ 111 w 126"/>
              <a:gd name="T35" fmla="*/ 25 h 117"/>
              <a:gd name="T36" fmla="*/ 99 w 126"/>
              <a:gd name="T37" fmla="*/ 23 h 117"/>
              <a:gd name="T38" fmla="*/ 99 w 126"/>
              <a:gd name="T39" fmla="*/ 18 h 117"/>
              <a:gd name="T40" fmla="*/ 111 w 126"/>
              <a:gd name="T41" fmla="*/ 16 h 117"/>
              <a:gd name="T42" fmla="*/ 73 w 126"/>
              <a:gd name="T43" fmla="*/ 16 h 117"/>
              <a:gd name="T44" fmla="*/ 95 w 126"/>
              <a:gd name="T45" fmla="*/ 34 h 117"/>
              <a:gd name="T46" fmla="*/ 73 w 126"/>
              <a:gd name="T47" fmla="*/ 16 h 117"/>
              <a:gd name="T48" fmla="*/ 37 w 126"/>
              <a:gd name="T49" fmla="*/ 57 h 117"/>
              <a:gd name="T50" fmla="*/ 31 w 126"/>
              <a:gd name="T51" fmla="*/ 40 h 117"/>
              <a:gd name="T52" fmla="*/ 17 w 126"/>
              <a:gd name="T53" fmla="*/ 39 h 117"/>
              <a:gd name="T54" fmla="*/ 31 w 126"/>
              <a:gd name="T55" fmla="*/ 34 h 117"/>
              <a:gd name="T56" fmla="*/ 42 w 126"/>
              <a:gd name="T57" fmla="*/ 38 h 117"/>
              <a:gd name="T58" fmla="*/ 43 w 126"/>
              <a:gd name="T59" fmla="*/ 39 h 117"/>
              <a:gd name="T60" fmla="*/ 51 w 126"/>
              <a:gd name="T61" fmla="*/ 42 h 117"/>
              <a:gd name="T62" fmla="*/ 53 w 126"/>
              <a:gd name="T63" fmla="*/ 28 h 117"/>
              <a:gd name="T64" fmla="*/ 58 w 126"/>
              <a:gd name="T65" fmla="*/ 31 h 117"/>
              <a:gd name="T66" fmla="*/ 67 w 126"/>
              <a:gd name="T67" fmla="*/ 22 h 117"/>
              <a:gd name="T68" fmla="*/ 55 w 126"/>
              <a:gd name="T69" fmla="*/ 19 h 117"/>
              <a:gd name="T70" fmla="*/ 50 w 126"/>
              <a:gd name="T71" fmla="*/ 24 h 117"/>
              <a:gd name="T72" fmla="*/ 49 w 126"/>
              <a:gd name="T73" fmla="*/ 26 h 117"/>
              <a:gd name="T74" fmla="*/ 45 w 126"/>
              <a:gd name="T75" fmla="*/ 35 h 117"/>
              <a:gd name="T76" fmla="*/ 41 w 126"/>
              <a:gd name="T77" fmla="*/ 31 h 117"/>
              <a:gd name="T78" fmla="*/ 31 w 126"/>
              <a:gd name="T79" fmla="*/ 29 h 117"/>
              <a:gd name="T80" fmla="*/ 22 w 126"/>
              <a:gd name="T81" fmla="*/ 57 h 117"/>
              <a:gd name="T82" fmla="*/ 28 w 126"/>
              <a:gd name="T83" fmla="*/ 44 h 117"/>
              <a:gd name="T84" fmla="*/ 22 w 126"/>
              <a:gd name="T85" fmla="*/ 57 h 117"/>
              <a:gd name="T86" fmla="*/ 63 w 126"/>
              <a:gd name="T87" fmla="*/ 57 h 117"/>
              <a:gd name="T88" fmla="*/ 57 w 126"/>
              <a:gd name="T89" fmla="*/ 32 h 117"/>
              <a:gd name="T90" fmla="*/ 48 w 126"/>
              <a:gd name="T91" fmla="*/ 57 h 117"/>
              <a:gd name="T92" fmla="*/ 54 w 126"/>
              <a:gd name="T93" fmla="*/ 46 h 117"/>
              <a:gd name="T94" fmla="*/ 48 w 126"/>
              <a:gd name="T95" fmla="*/ 57 h 117"/>
              <a:gd name="T96" fmla="*/ 45 w 126"/>
              <a:gd name="T97" fmla="*/ 57 h 117"/>
              <a:gd name="T98" fmla="*/ 39 w 126"/>
              <a:gd name="T99" fmla="*/ 43 h 117"/>
              <a:gd name="T100" fmla="*/ 82 w 126"/>
              <a:gd name="T101" fmla="*/ 67 h 117"/>
              <a:gd name="T102" fmla="*/ 73 w 126"/>
              <a:gd name="T103" fmla="*/ 41 h 117"/>
              <a:gd name="T104" fmla="*/ 61 w 126"/>
              <a:gd name="T105" fmla="*/ 71 h 117"/>
              <a:gd name="T106" fmla="*/ 66 w 126"/>
              <a:gd name="T107" fmla="*/ 93 h 117"/>
              <a:gd name="T108" fmla="*/ 73 w 126"/>
              <a:gd name="T109" fmla="*/ 117 h 117"/>
              <a:gd name="T110" fmla="*/ 101 w 126"/>
              <a:gd name="T111" fmla="*/ 110 h 117"/>
              <a:gd name="T112" fmla="*/ 98 w 126"/>
              <a:gd name="T113" fmla="*/ 66 h 117"/>
              <a:gd name="T114" fmla="*/ 97 w 126"/>
              <a:gd name="T115" fmla="*/ 61 h 117"/>
              <a:gd name="T116" fmla="*/ 89 w 126"/>
              <a:gd name="T117" fmla="*/ 63 h 117"/>
              <a:gd name="T118" fmla="*/ 83 w 126"/>
              <a:gd name="T119" fmla="*/ 58 h 117"/>
              <a:gd name="T120" fmla="*/ 3 w 126"/>
              <a:gd name="T121" fmla="*/ 31 h 117"/>
              <a:gd name="T122" fmla="*/ 6 w 126"/>
              <a:gd name="T123" fmla="*/ 53 h 117"/>
              <a:gd name="T124" fmla="*/ 3 w 126"/>
              <a:gd name="T125" fmla="*/ 3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 h="117">
                <a:moveTo>
                  <a:pt x="8" y="0"/>
                </a:moveTo>
                <a:cubicBezTo>
                  <a:pt x="118" y="0"/>
                  <a:pt x="118" y="0"/>
                  <a:pt x="118" y="0"/>
                </a:cubicBezTo>
                <a:cubicBezTo>
                  <a:pt x="123" y="0"/>
                  <a:pt x="126" y="4"/>
                  <a:pt x="126" y="8"/>
                </a:cubicBezTo>
                <a:cubicBezTo>
                  <a:pt x="126" y="78"/>
                  <a:pt x="126" y="78"/>
                  <a:pt x="126" y="78"/>
                </a:cubicBezTo>
                <a:cubicBezTo>
                  <a:pt x="126" y="82"/>
                  <a:pt x="123" y="86"/>
                  <a:pt x="118" y="86"/>
                </a:cubicBezTo>
                <a:cubicBezTo>
                  <a:pt x="113" y="86"/>
                  <a:pt x="113" y="86"/>
                  <a:pt x="113" y="86"/>
                </a:cubicBezTo>
                <a:cubicBezTo>
                  <a:pt x="113" y="83"/>
                  <a:pt x="114" y="80"/>
                  <a:pt x="114" y="77"/>
                </a:cubicBezTo>
                <a:cubicBezTo>
                  <a:pt x="116" y="77"/>
                  <a:pt x="116" y="77"/>
                  <a:pt x="116" y="77"/>
                </a:cubicBezTo>
                <a:cubicBezTo>
                  <a:pt x="116" y="8"/>
                  <a:pt x="116" y="8"/>
                  <a:pt x="116" y="8"/>
                </a:cubicBezTo>
                <a:cubicBezTo>
                  <a:pt x="10" y="8"/>
                  <a:pt x="10" y="8"/>
                  <a:pt x="10" y="8"/>
                </a:cubicBezTo>
                <a:cubicBezTo>
                  <a:pt x="10" y="77"/>
                  <a:pt x="10" y="77"/>
                  <a:pt x="10" y="77"/>
                </a:cubicBezTo>
                <a:cubicBezTo>
                  <a:pt x="48" y="77"/>
                  <a:pt x="48" y="77"/>
                  <a:pt x="48" y="77"/>
                </a:cubicBezTo>
                <a:cubicBezTo>
                  <a:pt x="51" y="81"/>
                  <a:pt x="51" y="81"/>
                  <a:pt x="51" y="81"/>
                </a:cubicBezTo>
                <a:cubicBezTo>
                  <a:pt x="52" y="82"/>
                  <a:pt x="54" y="84"/>
                  <a:pt x="55" y="86"/>
                </a:cubicBezTo>
                <a:cubicBezTo>
                  <a:pt x="8" y="86"/>
                  <a:pt x="8" y="86"/>
                  <a:pt x="8" y="86"/>
                </a:cubicBezTo>
                <a:cubicBezTo>
                  <a:pt x="3" y="86"/>
                  <a:pt x="0" y="82"/>
                  <a:pt x="0" y="78"/>
                </a:cubicBezTo>
                <a:cubicBezTo>
                  <a:pt x="0" y="8"/>
                  <a:pt x="0" y="8"/>
                  <a:pt x="0" y="8"/>
                </a:cubicBezTo>
                <a:cubicBezTo>
                  <a:pt x="0" y="4"/>
                  <a:pt x="3" y="0"/>
                  <a:pt x="8" y="0"/>
                </a:cubicBezTo>
                <a:close/>
                <a:moveTo>
                  <a:pt x="86" y="46"/>
                </a:moveTo>
                <a:cubicBezTo>
                  <a:pt x="86" y="48"/>
                  <a:pt x="86" y="48"/>
                  <a:pt x="86" y="48"/>
                </a:cubicBezTo>
                <a:cubicBezTo>
                  <a:pt x="111" y="48"/>
                  <a:pt x="111" y="48"/>
                  <a:pt x="111" y="48"/>
                </a:cubicBezTo>
                <a:cubicBezTo>
                  <a:pt x="111" y="46"/>
                  <a:pt x="111" y="46"/>
                  <a:pt x="111" y="46"/>
                </a:cubicBezTo>
                <a:cubicBezTo>
                  <a:pt x="86" y="46"/>
                  <a:pt x="86" y="46"/>
                  <a:pt x="86" y="46"/>
                </a:cubicBezTo>
                <a:close/>
                <a:moveTo>
                  <a:pt x="86" y="39"/>
                </a:moveTo>
                <a:cubicBezTo>
                  <a:pt x="86" y="41"/>
                  <a:pt x="86" y="41"/>
                  <a:pt x="86" y="41"/>
                </a:cubicBezTo>
                <a:cubicBezTo>
                  <a:pt x="111" y="41"/>
                  <a:pt x="111" y="41"/>
                  <a:pt x="111" y="41"/>
                </a:cubicBezTo>
                <a:cubicBezTo>
                  <a:pt x="111" y="39"/>
                  <a:pt x="111" y="39"/>
                  <a:pt x="111" y="39"/>
                </a:cubicBezTo>
                <a:cubicBezTo>
                  <a:pt x="86" y="39"/>
                  <a:pt x="86" y="39"/>
                  <a:pt x="86" y="39"/>
                </a:cubicBezTo>
                <a:close/>
                <a:moveTo>
                  <a:pt x="99" y="30"/>
                </a:moveTo>
                <a:cubicBezTo>
                  <a:pt x="99" y="32"/>
                  <a:pt x="99" y="32"/>
                  <a:pt x="99" y="32"/>
                </a:cubicBezTo>
                <a:cubicBezTo>
                  <a:pt x="111" y="32"/>
                  <a:pt x="111" y="32"/>
                  <a:pt x="111" y="32"/>
                </a:cubicBezTo>
                <a:cubicBezTo>
                  <a:pt x="111" y="30"/>
                  <a:pt x="111" y="30"/>
                  <a:pt x="111" y="30"/>
                </a:cubicBezTo>
                <a:cubicBezTo>
                  <a:pt x="99" y="30"/>
                  <a:pt x="99" y="30"/>
                  <a:pt x="99" y="30"/>
                </a:cubicBezTo>
                <a:close/>
                <a:moveTo>
                  <a:pt x="99" y="23"/>
                </a:moveTo>
                <a:cubicBezTo>
                  <a:pt x="99" y="25"/>
                  <a:pt x="99" y="25"/>
                  <a:pt x="99" y="25"/>
                </a:cubicBezTo>
                <a:cubicBezTo>
                  <a:pt x="111" y="25"/>
                  <a:pt x="111" y="25"/>
                  <a:pt x="111" y="25"/>
                </a:cubicBezTo>
                <a:cubicBezTo>
                  <a:pt x="111" y="23"/>
                  <a:pt x="111" y="23"/>
                  <a:pt x="111" y="23"/>
                </a:cubicBezTo>
                <a:cubicBezTo>
                  <a:pt x="99" y="23"/>
                  <a:pt x="99" y="23"/>
                  <a:pt x="99" y="23"/>
                </a:cubicBezTo>
                <a:close/>
                <a:moveTo>
                  <a:pt x="99" y="16"/>
                </a:moveTo>
                <a:cubicBezTo>
                  <a:pt x="99" y="18"/>
                  <a:pt x="99" y="18"/>
                  <a:pt x="99" y="18"/>
                </a:cubicBezTo>
                <a:cubicBezTo>
                  <a:pt x="111" y="18"/>
                  <a:pt x="111" y="18"/>
                  <a:pt x="111" y="18"/>
                </a:cubicBezTo>
                <a:cubicBezTo>
                  <a:pt x="111" y="16"/>
                  <a:pt x="111" y="16"/>
                  <a:pt x="111" y="16"/>
                </a:cubicBezTo>
                <a:cubicBezTo>
                  <a:pt x="99" y="16"/>
                  <a:pt x="99" y="16"/>
                  <a:pt x="99" y="16"/>
                </a:cubicBezTo>
                <a:close/>
                <a:moveTo>
                  <a:pt x="73" y="16"/>
                </a:moveTo>
                <a:cubicBezTo>
                  <a:pt x="73" y="34"/>
                  <a:pt x="73" y="34"/>
                  <a:pt x="73" y="34"/>
                </a:cubicBezTo>
                <a:cubicBezTo>
                  <a:pt x="95" y="34"/>
                  <a:pt x="95" y="34"/>
                  <a:pt x="95" y="34"/>
                </a:cubicBezTo>
                <a:cubicBezTo>
                  <a:pt x="95" y="16"/>
                  <a:pt x="95" y="16"/>
                  <a:pt x="95" y="16"/>
                </a:cubicBezTo>
                <a:cubicBezTo>
                  <a:pt x="73" y="16"/>
                  <a:pt x="73" y="16"/>
                  <a:pt x="73" y="16"/>
                </a:cubicBezTo>
                <a:close/>
                <a:moveTo>
                  <a:pt x="31" y="57"/>
                </a:moveTo>
                <a:cubicBezTo>
                  <a:pt x="37" y="57"/>
                  <a:pt x="37" y="57"/>
                  <a:pt x="37" y="57"/>
                </a:cubicBezTo>
                <a:cubicBezTo>
                  <a:pt x="37" y="40"/>
                  <a:pt x="37" y="40"/>
                  <a:pt x="37" y="40"/>
                </a:cubicBezTo>
                <a:cubicBezTo>
                  <a:pt x="31" y="40"/>
                  <a:pt x="31" y="40"/>
                  <a:pt x="31" y="40"/>
                </a:cubicBezTo>
                <a:cubicBezTo>
                  <a:pt x="31" y="57"/>
                  <a:pt x="31" y="57"/>
                  <a:pt x="31" y="57"/>
                </a:cubicBezTo>
                <a:close/>
                <a:moveTo>
                  <a:pt x="17" y="39"/>
                </a:moveTo>
                <a:cubicBezTo>
                  <a:pt x="19" y="43"/>
                  <a:pt x="19" y="43"/>
                  <a:pt x="19" y="43"/>
                </a:cubicBezTo>
                <a:cubicBezTo>
                  <a:pt x="31" y="34"/>
                  <a:pt x="31" y="34"/>
                  <a:pt x="31" y="34"/>
                </a:cubicBezTo>
                <a:cubicBezTo>
                  <a:pt x="38" y="34"/>
                  <a:pt x="38" y="34"/>
                  <a:pt x="38" y="34"/>
                </a:cubicBezTo>
                <a:cubicBezTo>
                  <a:pt x="42" y="38"/>
                  <a:pt x="42" y="38"/>
                  <a:pt x="42" y="38"/>
                </a:cubicBezTo>
                <a:cubicBezTo>
                  <a:pt x="42" y="39"/>
                  <a:pt x="42" y="39"/>
                  <a:pt x="42" y="39"/>
                </a:cubicBezTo>
                <a:cubicBezTo>
                  <a:pt x="43" y="39"/>
                  <a:pt x="43" y="39"/>
                  <a:pt x="43" y="39"/>
                </a:cubicBezTo>
                <a:cubicBezTo>
                  <a:pt x="48" y="41"/>
                  <a:pt x="48" y="41"/>
                  <a:pt x="48" y="41"/>
                </a:cubicBezTo>
                <a:cubicBezTo>
                  <a:pt x="51" y="42"/>
                  <a:pt x="51" y="42"/>
                  <a:pt x="51" y="42"/>
                </a:cubicBezTo>
                <a:cubicBezTo>
                  <a:pt x="51" y="39"/>
                  <a:pt x="51" y="39"/>
                  <a:pt x="51" y="39"/>
                </a:cubicBezTo>
                <a:cubicBezTo>
                  <a:pt x="53" y="28"/>
                  <a:pt x="53" y="28"/>
                  <a:pt x="53" y="28"/>
                </a:cubicBezTo>
                <a:cubicBezTo>
                  <a:pt x="57" y="27"/>
                  <a:pt x="57" y="27"/>
                  <a:pt x="57" y="27"/>
                </a:cubicBezTo>
                <a:cubicBezTo>
                  <a:pt x="58" y="31"/>
                  <a:pt x="58" y="31"/>
                  <a:pt x="58" y="31"/>
                </a:cubicBezTo>
                <a:cubicBezTo>
                  <a:pt x="62" y="26"/>
                  <a:pt x="62" y="26"/>
                  <a:pt x="62" y="26"/>
                </a:cubicBezTo>
                <a:cubicBezTo>
                  <a:pt x="67" y="22"/>
                  <a:pt x="67" y="22"/>
                  <a:pt x="67" y="22"/>
                </a:cubicBezTo>
                <a:cubicBezTo>
                  <a:pt x="61" y="21"/>
                  <a:pt x="61" y="21"/>
                  <a:pt x="61" y="21"/>
                </a:cubicBezTo>
                <a:cubicBezTo>
                  <a:pt x="55" y="19"/>
                  <a:pt x="55" y="19"/>
                  <a:pt x="55" y="19"/>
                </a:cubicBezTo>
                <a:cubicBezTo>
                  <a:pt x="56" y="23"/>
                  <a:pt x="56" y="23"/>
                  <a:pt x="56" y="23"/>
                </a:cubicBezTo>
                <a:cubicBezTo>
                  <a:pt x="50" y="24"/>
                  <a:pt x="50" y="24"/>
                  <a:pt x="50" y="24"/>
                </a:cubicBezTo>
                <a:cubicBezTo>
                  <a:pt x="49" y="25"/>
                  <a:pt x="49" y="25"/>
                  <a:pt x="49" y="25"/>
                </a:cubicBezTo>
                <a:cubicBezTo>
                  <a:pt x="49" y="26"/>
                  <a:pt x="49" y="26"/>
                  <a:pt x="49" y="26"/>
                </a:cubicBezTo>
                <a:cubicBezTo>
                  <a:pt x="47" y="36"/>
                  <a:pt x="47" y="36"/>
                  <a:pt x="47" y="36"/>
                </a:cubicBezTo>
                <a:cubicBezTo>
                  <a:pt x="45" y="35"/>
                  <a:pt x="45" y="35"/>
                  <a:pt x="45" y="35"/>
                </a:cubicBezTo>
                <a:cubicBezTo>
                  <a:pt x="41" y="31"/>
                  <a:pt x="41" y="31"/>
                  <a:pt x="41" y="31"/>
                </a:cubicBezTo>
                <a:cubicBezTo>
                  <a:pt x="41" y="31"/>
                  <a:pt x="41" y="31"/>
                  <a:pt x="41" y="31"/>
                </a:cubicBezTo>
                <a:cubicBezTo>
                  <a:pt x="40" y="30"/>
                  <a:pt x="40" y="30"/>
                  <a:pt x="40" y="30"/>
                </a:cubicBezTo>
                <a:cubicBezTo>
                  <a:pt x="31" y="29"/>
                  <a:pt x="31" y="29"/>
                  <a:pt x="31" y="29"/>
                </a:cubicBezTo>
                <a:cubicBezTo>
                  <a:pt x="17" y="39"/>
                  <a:pt x="17" y="39"/>
                  <a:pt x="17" y="39"/>
                </a:cubicBezTo>
                <a:close/>
                <a:moveTo>
                  <a:pt x="22" y="57"/>
                </a:moveTo>
                <a:cubicBezTo>
                  <a:pt x="28" y="57"/>
                  <a:pt x="28" y="57"/>
                  <a:pt x="28" y="57"/>
                </a:cubicBezTo>
                <a:cubicBezTo>
                  <a:pt x="28" y="44"/>
                  <a:pt x="28" y="44"/>
                  <a:pt x="28" y="44"/>
                </a:cubicBezTo>
                <a:cubicBezTo>
                  <a:pt x="22" y="44"/>
                  <a:pt x="22" y="44"/>
                  <a:pt x="22" y="44"/>
                </a:cubicBezTo>
                <a:cubicBezTo>
                  <a:pt x="22" y="57"/>
                  <a:pt x="22" y="57"/>
                  <a:pt x="22" y="57"/>
                </a:cubicBezTo>
                <a:close/>
                <a:moveTo>
                  <a:pt x="57" y="57"/>
                </a:moveTo>
                <a:cubicBezTo>
                  <a:pt x="63" y="57"/>
                  <a:pt x="63" y="57"/>
                  <a:pt x="63" y="57"/>
                </a:cubicBezTo>
                <a:cubicBezTo>
                  <a:pt x="63" y="32"/>
                  <a:pt x="63" y="32"/>
                  <a:pt x="63" y="32"/>
                </a:cubicBezTo>
                <a:cubicBezTo>
                  <a:pt x="57" y="32"/>
                  <a:pt x="57" y="32"/>
                  <a:pt x="57" y="32"/>
                </a:cubicBezTo>
                <a:cubicBezTo>
                  <a:pt x="57" y="57"/>
                  <a:pt x="57" y="57"/>
                  <a:pt x="57" y="57"/>
                </a:cubicBezTo>
                <a:close/>
                <a:moveTo>
                  <a:pt x="48" y="57"/>
                </a:moveTo>
                <a:cubicBezTo>
                  <a:pt x="54" y="57"/>
                  <a:pt x="54" y="57"/>
                  <a:pt x="54" y="57"/>
                </a:cubicBezTo>
                <a:cubicBezTo>
                  <a:pt x="54" y="46"/>
                  <a:pt x="54" y="46"/>
                  <a:pt x="54" y="46"/>
                </a:cubicBezTo>
                <a:cubicBezTo>
                  <a:pt x="48" y="46"/>
                  <a:pt x="48" y="46"/>
                  <a:pt x="48" y="46"/>
                </a:cubicBezTo>
                <a:cubicBezTo>
                  <a:pt x="48" y="57"/>
                  <a:pt x="48" y="57"/>
                  <a:pt x="48" y="57"/>
                </a:cubicBezTo>
                <a:close/>
                <a:moveTo>
                  <a:pt x="39" y="57"/>
                </a:moveTo>
                <a:cubicBezTo>
                  <a:pt x="45" y="57"/>
                  <a:pt x="45" y="57"/>
                  <a:pt x="45" y="57"/>
                </a:cubicBezTo>
                <a:cubicBezTo>
                  <a:pt x="45" y="43"/>
                  <a:pt x="45" y="43"/>
                  <a:pt x="45" y="43"/>
                </a:cubicBezTo>
                <a:cubicBezTo>
                  <a:pt x="39" y="43"/>
                  <a:pt x="39" y="43"/>
                  <a:pt x="39" y="43"/>
                </a:cubicBezTo>
                <a:cubicBezTo>
                  <a:pt x="39" y="57"/>
                  <a:pt x="39" y="57"/>
                  <a:pt x="39" y="57"/>
                </a:cubicBezTo>
                <a:close/>
                <a:moveTo>
                  <a:pt x="82" y="67"/>
                </a:moveTo>
                <a:cubicBezTo>
                  <a:pt x="82" y="59"/>
                  <a:pt x="81" y="50"/>
                  <a:pt x="80" y="42"/>
                </a:cubicBezTo>
                <a:cubicBezTo>
                  <a:pt x="78" y="41"/>
                  <a:pt x="75" y="41"/>
                  <a:pt x="73" y="41"/>
                </a:cubicBezTo>
                <a:cubicBezTo>
                  <a:pt x="72" y="55"/>
                  <a:pt x="73" y="68"/>
                  <a:pt x="72" y="82"/>
                </a:cubicBezTo>
                <a:cubicBezTo>
                  <a:pt x="70" y="77"/>
                  <a:pt x="68" y="73"/>
                  <a:pt x="61" y="71"/>
                </a:cubicBezTo>
                <a:cubicBezTo>
                  <a:pt x="60" y="73"/>
                  <a:pt x="59" y="73"/>
                  <a:pt x="58" y="75"/>
                </a:cubicBezTo>
                <a:cubicBezTo>
                  <a:pt x="62" y="80"/>
                  <a:pt x="65" y="87"/>
                  <a:pt x="66" y="93"/>
                </a:cubicBezTo>
                <a:cubicBezTo>
                  <a:pt x="68" y="107"/>
                  <a:pt x="68" y="107"/>
                  <a:pt x="68" y="107"/>
                </a:cubicBezTo>
                <a:cubicBezTo>
                  <a:pt x="69" y="110"/>
                  <a:pt x="71" y="114"/>
                  <a:pt x="73" y="117"/>
                </a:cubicBezTo>
                <a:cubicBezTo>
                  <a:pt x="82" y="116"/>
                  <a:pt x="89" y="116"/>
                  <a:pt x="99" y="116"/>
                </a:cubicBezTo>
                <a:cubicBezTo>
                  <a:pt x="99" y="114"/>
                  <a:pt x="100" y="112"/>
                  <a:pt x="101" y="110"/>
                </a:cubicBezTo>
                <a:cubicBezTo>
                  <a:pt x="103" y="99"/>
                  <a:pt x="105" y="78"/>
                  <a:pt x="105" y="67"/>
                </a:cubicBezTo>
                <a:cubicBezTo>
                  <a:pt x="102" y="67"/>
                  <a:pt x="101" y="66"/>
                  <a:pt x="98" y="66"/>
                </a:cubicBezTo>
                <a:cubicBezTo>
                  <a:pt x="98" y="67"/>
                  <a:pt x="97" y="72"/>
                  <a:pt x="97" y="73"/>
                </a:cubicBezTo>
                <a:cubicBezTo>
                  <a:pt x="97" y="69"/>
                  <a:pt x="97" y="65"/>
                  <a:pt x="97" y="61"/>
                </a:cubicBezTo>
                <a:cubicBezTo>
                  <a:pt x="94" y="61"/>
                  <a:pt x="92" y="61"/>
                  <a:pt x="90" y="60"/>
                </a:cubicBezTo>
                <a:cubicBezTo>
                  <a:pt x="90" y="61"/>
                  <a:pt x="90" y="62"/>
                  <a:pt x="89" y="63"/>
                </a:cubicBezTo>
                <a:cubicBezTo>
                  <a:pt x="89" y="62"/>
                  <a:pt x="89" y="60"/>
                  <a:pt x="89" y="58"/>
                </a:cubicBezTo>
                <a:cubicBezTo>
                  <a:pt x="87" y="58"/>
                  <a:pt x="85" y="58"/>
                  <a:pt x="83" y="58"/>
                </a:cubicBezTo>
                <a:cubicBezTo>
                  <a:pt x="83" y="61"/>
                  <a:pt x="83" y="64"/>
                  <a:pt x="82" y="67"/>
                </a:cubicBezTo>
                <a:close/>
                <a:moveTo>
                  <a:pt x="3" y="31"/>
                </a:moveTo>
                <a:cubicBezTo>
                  <a:pt x="3" y="53"/>
                  <a:pt x="3" y="53"/>
                  <a:pt x="3" y="53"/>
                </a:cubicBezTo>
                <a:cubicBezTo>
                  <a:pt x="6" y="53"/>
                  <a:pt x="6" y="53"/>
                  <a:pt x="6" y="53"/>
                </a:cubicBezTo>
                <a:cubicBezTo>
                  <a:pt x="6" y="31"/>
                  <a:pt x="6" y="31"/>
                  <a:pt x="6" y="31"/>
                </a:cubicBezTo>
                <a:lnTo>
                  <a:pt x="3" y="31"/>
                </a:lnTo>
                <a:close/>
              </a:path>
            </a:pathLst>
          </a:custGeom>
          <a:solidFill>
            <a:srgbClr val="FE581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95" name="Freeform 15"/>
          <p:cNvSpPr>
            <a:spLocks noEditPoints="1"/>
          </p:cNvSpPr>
          <p:nvPr/>
        </p:nvSpPr>
        <p:spPr bwMode="auto">
          <a:xfrm>
            <a:off x="3959023" y="1985813"/>
            <a:ext cx="379462" cy="361948"/>
          </a:xfrm>
          <a:custGeom>
            <a:avLst/>
            <a:gdLst/>
            <a:ahLst/>
            <a:cxnLst>
              <a:cxn ang="0">
                <a:pos x="488" y="30"/>
              </a:cxn>
              <a:cxn ang="0">
                <a:pos x="34" y="298"/>
              </a:cxn>
              <a:cxn ang="0">
                <a:pos x="488" y="334"/>
              </a:cxn>
              <a:cxn ang="0">
                <a:pos x="486" y="328"/>
              </a:cxn>
              <a:cxn ang="0">
                <a:pos x="478" y="318"/>
              </a:cxn>
              <a:cxn ang="0">
                <a:pos x="472" y="318"/>
              </a:cxn>
              <a:cxn ang="0">
                <a:pos x="460" y="322"/>
              </a:cxn>
              <a:cxn ang="0">
                <a:pos x="456" y="334"/>
              </a:cxn>
              <a:cxn ang="0">
                <a:pos x="458" y="340"/>
              </a:cxn>
              <a:cxn ang="0">
                <a:pos x="466" y="348"/>
              </a:cxn>
              <a:cxn ang="0">
                <a:pos x="472" y="350"/>
              </a:cxn>
              <a:cxn ang="0">
                <a:pos x="484" y="344"/>
              </a:cxn>
              <a:cxn ang="0">
                <a:pos x="488" y="334"/>
              </a:cxn>
              <a:cxn ang="0">
                <a:pos x="0" y="350"/>
              </a:cxn>
              <a:cxn ang="0">
                <a:pos x="0" y="24"/>
              </a:cxn>
              <a:cxn ang="0">
                <a:pos x="8" y="8"/>
              </a:cxn>
              <a:cxn ang="0">
                <a:pos x="24" y="0"/>
              </a:cxn>
              <a:cxn ang="0">
                <a:pos x="496" y="0"/>
              </a:cxn>
              <a:cxn ang="0">
                <a:pos x="512" y="8"/>
              </a:cxn>
              <a:cxn ang="0">
                <a:pos x="520" y="24"/>
              </a:cxn>
              <a:cxn ang="0">
                <a:pos x="520" y="350"/>
              </a:cxn>
              <a:cxn ang="0">
                <a:pos x="512" y="366"/>
              </a:cxn>
              <a:cxn ang="0">
                <a:pos x="496" y="374"/>
              </a:cxn>
              <a:cxn ang="0">
                <a:pos x="24" y="374"/>
              </a:cxn>
              <a:cxn ang="0">
                <a:pos x="8" y="366"/>
              </a:cxn>
              <a:cxn ang="0">
                <a:pos x="0" y="350"/>
              </a:cxn>
              <a:cxn ang="0">
                <a:pos x="116" y="486"/>
              </a:cxn>
              <a:cxn ang="0">
                <a:pos x="118" y="480"/>
              </a:cxn>
              <a:cxn ang="0">
                <a:pos x="128" y="468"/>
              </a:cxn>
              <a:cxn ang="0">
                <a:pos x="160" y="454"/>
              </a:cxn>
              <a:cxn ang="0">
                <a:pos x="190" y="402"/>
              </a:cxn>
              <a:cxn ang="0">
                <a:pos x="330" y="446"/>
              </a:cxn>
              <a:cxn ang="0">
                <a:pos x="360" y="454"/>
              </a:cxn>
              <a:cxn ang="0">
                <a:pos x="392" y="468"/>
              </a:cxn>
              <a:cxn ang="0">
                <a:pos x="402" y="480"/>
              </a:cxn>
              <a:cxn ang="0">
                <a:pos x="404" y="486"/>
              </a:cxn>
              <a:cxn ang="0">
                <a:pos x="332" y="494"/>
              </a:cxn>
              <a:cxn ang="0">
                <a:pos x="260" y="496"/>
              </a:cxn>
              <a:cxn ang="0">
                <a:pos x="188" y="494"/>
              </a:cxn>
              <a:cxn ang="0">
                <a:pos x="116" y="486"/>
              </a:cxn>
            </a:cxnLst>
            <a:rect l="0" t="0" r="r" b="b"/>
            <a:pathLst>
              <a:path w="520" h="496">
                <a:moveTo>
                  <a:pt x="488" y="298"/>
                </a:moveTo>
                <a:lnTo>
                  <a:pt x="488" y="30"/>
                </a:lnTo>
                <a:lnTo>
                  <a:pt x="34" y="30"/>
                </a:lnTo>
                <a:lnTo>
                  <a:pt x="34" y="298"/>
                </a:lnTo>
                <a:lnTo>
                  <a:pt x="488" y="298"/>
                </a:lnTo>
                <a:close/>
                <a:moveTo>
                  <a:pt x="488" y="334"/>
                </a:moveTo>
                <a:lnTo>
                  <a:pt x="488" y="334"/>
                </a:lnTo>
                <a:lnTo>
                  <a:pt x="486" y="328"/>
                </a:lnTo>
                <a:lnTo>
                  <a:pt x="484" y="322"/>
                </a:lnTo>
                <a:lnTo>
                  <a:pt x="478" y="318"/>
                </a:lnTo>
                <a:lnTo>
                  <a:pt x="472" y="318"/>
                </a:lnTo>
                <a:lnTo>
                  <a:pt x="472" y="318"/>
                </a:lnTo>
                <a:lnTo>
                  <a:pt x="466" y="318"/>
                </a:lnTo>
                <a:lnTo>
                  <a:pt x="460" y="322"/>
                </a:lnTo>
                <a:lnTo>
                  <a:pt x="458" y="328"/>
                </a:lnTo>
                <a:lnTo>
                  <a:pt x="456" y="334"/>
                </a:lnTo>
                <a:lnTo>
                  <a:pt x="456" y="334"/>
                </a:lnTo>
                <a:lnTo>
                  <a:pt x="458" y="340"/>
                </a:lnTo>
                <a:lnTo>
                  <a:pt x="460" y="344"/>
                </a:lnTo>
                <a:lnTo>
                  <a:pt x="466" y="348"/>
                </a:lnTo>
                <a:lnTo>
                  <a:pt x="472" y="350"/>
                </a:lnTo>
                <a:lnTo>
                  <a:pt x="472" y="350"/>
                </a:lnTo>
                <a:lnTo>
                  <a:pt x="478" y="348"/>
                </a:lnTo>
                <a:lnTo>
                  <a:pt x="484" y="344"/>
                </a:lnTo>
                <a:lnTo>
                  <a:pt x="486" y="340"/>
                </a:lnTo>
                <a:lnTo>
                  <a:pt x="488" y="334"/>
                </a:lnTo>
                <a:lnTo>
                  <a:pt x="488" y="334"/>
                </a:lnTo>
                <a:close/>
                <a:moveTo>
                  <a:pt x="0" y="350"/>
                </a:moveTo>
                <a:lnTo>
                  <a:pt x="0" y="24"/>
                </a:lnTo>
                <a:lnTo>
                  <a:pt x="0" y="24"/>
                </a:lnTo>
                <a:lnTo>
                  <a:pt x="2" y="16"/>
                </a:lnTo>
                <a:lnTo>
                  <a:pt x="8" y="8"/>
                </a:lnTo>
                <a:lnTo>
                  <a:pt x="16" y="2"/>
                </a:lnTo>
                <a:lnTo>
                  <a:pt x="24" y="0"/>
                </a:lnTo>
                <a:lnTo>
                  <a:pt x="496" y="0"/>
                </a:lnTo>
                <a:lnTo>
                  <a:pt x="496" y="0"/>
                </a:lnTo>
                <a:lnTo>
                  <a:pt x="504" y="2"/>
                </a:lnTo>
                <a:lnTo>
                  <a:pt x="512" y="8"/>
                </a:lnTo>
                <a:lnTo>
                  <a:pt x="518" y="16"/>
                </a:lnTo>
                <a:lnTo>
                  <a:pt x="520" y="24"/>
                </a:lnTo>
                <a:lnTo>
                  <a:pt x="520" y="350"/>
                </a:lnTo>
                <a:lnTo>
                  <a:pt x="520" y="350"/>
                </a:lnTo>
                <a:lnTo>
                  <a:pt x="518" y="358"/>
                </a:lnTo>
                <a:lnTo>
                  <a:pt x="512" y="366"/>
                </a:lnTo>
                <a:lnTo>
                  <a:pt x="504" y="372"/>
                </a:lnTo>
                <a:lnTo>
                  <a:pt x="496" y="374"/>
                </a:lnTo>
                <a:lnTo>
                  <a:pt x="24" y="374"/>
                </a:lnTo>
                <a:lnTo>
                  <a:pt x="24" y="374"/>
                </a:lnTo>
                <a:lnTo>
                  <a:pt x="16" y="372"/>
                </a:lnTo>
                <a:lnTo>
                  <a:pt x="8" y="366"/>
                </a:lnTo>
                <a:lnTo>
                  <a:pt x="2" y="358"/>
                </a:lnTo>
                <a:lnTo>
                  <a:pt x="0" y="350"/>
                </a:lnTo>
                <a:lnTo>
                  <a:pt x="0" y="350"/>
                </a:lnTo>
                <a:close/>
                <a:moveTo>
                  <a:pt x="116" y="486"/>
                </a:moveTo>
                <a:lnTo>
                  <a:pt x="116" y="486"/>
                </a:lnTo>
                <a:lnTo>
                  <a:pt x="118" y="480"/>
                </a:lnTo>
                <a:lnTo>
                  <a:pt x="122" y="474"/>
                </a:lnTo>
                <a:lnTo>
                  <a:pt x="128" y="468"/>
                </a:lnTo>
                <a:lnTo>
                  <a:pt x="136" y="462"/>
                </a:lnTo>
                <a:lnTo>
                  <a:pt x="160" y="454"/>
                </a:lnTo>
                <a:lnTo>
                  <a:pt x="190" y="446"/>
                </a:lnTo>
                <a:lnTo>
                  <a:pt x="190" y="402"/>
                </a:lnTo>
                <a:lnTo>
                  <a:pt x="330" y="402"/>
                </a:lnTo>
                <a:lnTo>
                  <a:pt x="330" y="446"/>
                </a:lnTo>
                <a:lnTo>
                  <a:pt x="330" y="446"/>
                </a:lnTo>
                <a:lnTo>
                  <a:pt x="360" y="454"/>
                </a:lnTo>
                <a:lnTo>
                  <a:pt x="382" y="462"/>
                </a:lnTo>
                <a:lnTo>
                  <a:pt x="392" y="468"/>
                </a:lnTo>
                <a:lnTo>
                  <a:pt x="398" y="474"/>
                </a:lnTo>
                <a:lnTo>
                  <a:pt x="402" y="480"/>
                </a:lnTo>
                <a:lnTo>
                  <a:pt x="404" y="486"/>
                </a:lnTo>
                <a:lnTo>
                  <a:pt x="404" y="486"/>
                </a:lnTo>
                <a:lnTo>
                  <a:pt x="368" y="490"/>
                </a:lnTo>
                <a:lnTo>
                  <a:pt x="332" y="494"/>
                </a:lnTo>
                <a:lnTo>
                  <a:pt x="296" y="496"/>
                </a:lnTo>
                <a:lnTo>
                  <a:pt x="260" y="496"/>
                </a:lnTo>
                <a:lnTo>
                  <a:pt x="224" y="496"/>
                </a:lnTo>
                <a:lnTo>
                  <a:pt x="188" y="494"/>
                </a:lnTo>
                <a:lnTo>
                  <a:pt x="152" y="490"/>
                </a:lnTo>
                <a:lnTo>
                  <a:pt x="116" y="486"/>
                </a:lnTo>
                <a:lnTo>
                  <a:pt x="116" y="486"/>
                </a:lnTo>
                <a:close/>
              </a:path>
            </a:pathLst>
          </a:custGeom>
          <a:solidFill>
            <a:srgbClr val="FE5817"/>
          </a:solidFill>
          <a:ln>
            <a:noFill/>
          </a:ln>
        </p:spPr>
        <p:txBody>
          <a:bodyPr vert="horz" wrap="square" lIns="63305" tIns="31652" rIns="63305" bIns="31652" numCol="1" anchor="t" anchorCtr="0" compatLnSpc="1"/>
          <a:lstStyle/>
          <a:p>
            <a:endParaRPr lang="en-US" sz="1245" dirty="0">
              <a:solidFill>
                <a:srgbClr val="FE8637"/>
              </a:solidFill>
              <a:latin typeface="Arial" panose="020B0604020202020204"/>
              <a:ea typeface="华文楷体" panose="02010600040101010101" charset="-122"/>
              <a:cs typeface="+mn-ea"/>
            </a:endParaRPr>
          </a:p>
        </p:txBody>
      </p:sp>
      <p:sp>
        <p:nvSpPr>
          <p:cNvPr id="97" name="Freeform 20"/>
          <p:cNvSpPr/>
          <p:nvPr/>
        </p:nvSpPr>
        <p:spPr bwMode="auto">
          <a:xfrm>
            <a:off x="4033457" y="2014281"/>
            <a:ext cx="81730" cy="81730"/>
          </a:xfrm>
          <a:custGeom>
            <a:avLst/>
            <a:gdLst/>
            <a:ahLst/>
            <a:cxnLst>
              <a:cxn ang="0">
                <a:pos x="56" y="112"/>
              </a:cxn>
              <a:cxn ang="0">
                <a:pos x="56" y="112"/>
              </a:cxn>
              <a:cxn ang="0">
                <a:pos x="68" y="110"/>
              </a:cxn>
              <a:cxn ang="0">
                <a:pos x="78" y="108"/>
              </a:cxn>
              <a:cxn ang="0">
                <a:pos x="88" y="102"/>
              </a:cxn>
              <a:cxn ang="0">
                <a:pos x="96" y="96"/>
              </a:cxn>
              <a:cxn ang="0">
                <a:pos x="102" y="88"/>
              </a:cxn>
              <a:cxn ang="0">
                <a:pos x="108" y="78"/>
              </a:cxn>
              <a:cxn ang="0">
                <a:pos x="112" y="68"/>
              </a:cxn>
              <a:cxn ang="0">
                <a:pos x="112" y="56"/>
              </a:cxn>
              <a:cxn ang="0">
                <a:pos x="112" y="56"/>
              </a:cxn>
              <a:cxn ang="0">
                <a:pos x="112" y="46"/>
              </a:cxn>
              <a:cxn ang="0">
                <a:pos x="108" y="34"/>
              </a:cxn>
              <a:cxn ang="0">
                <a:pos x="102" y="26"/>
              </a:cxn>
              <a:cxn ang="0">
                <a:pos x="96" y="16"/>
              </a:cxn>
              <a:cxn ang="0">
                <a:pos x="88" y="10"/>
              </a:cxn>
              <a:cxn ang="0">
                <a:pos x="78" y="4"/>
              </a:cxn>
              <a:cxn ang="0">
                <a:pos x="68" y="2"/>
              </a:cxn>
              <a:cxn ang="0">
                <a:pos x="56" y="0"/>
              </a:cxn>
              <a:cxn ang="0">
                <a:pos x="56" y="0"/>
              </a:cxn>
              <a:cxn ang="0">
                <a:pos x="46" y="2"/>
              </a:cxn>
              <a:cxn ang="0">
                <a:pos x="34" y="4"/>
              </a:cxn>
              <a:cxn ang="0">
                <a:pos x="26" y="10"/>
              </a:cxn>
              <a:cxn ang="0">
                <a:pos x="18" y="16"/>
              </a:cxn>
              <a:cxn ang="0">
                <a:pos x="10" y="26"/>
              </a:cxn>
              <a:cxn ang="0">
                <a:pos x="6" y="34"/>
              </a:cxn>
              <a:cxn ang="0">
                <a:pos x="2" y="46"/>
              </a:cxn>
              <a:cxn ang="0">
                <a:pos x="0" y="56"/>
              </a:cxn>
              <a:cxn ang="0">
                <a:pos x="0" y="56"/>
              </a:cxn>
              <a:cxn ang="0">
                <a:pos x="2" y="68"/>
              </a:cxn>
              <a:cxn ang="0">
                <a:pos x="6" y="78"/>
              </a:cxn>
              <a:cxn ang="0">
                <a:pos x="10" y="88"/>
              </a:cxn>
              <a:cxn ang="0">
                <a:pos x="18" y="96"/>
              </a:cxn>
              <a:cxn ang="0">
                <a:pos x="26" y="102"/>
              </a:cxn>
              <a:cxn ang="0">
                <a:pos x="34" y="108"/>
              </a:cxn>
              <a:cxn ang="0">
                <a:pos x="46" y="110"/>
              </a:cxn>
              <a:cxn ang="0">
                <a:pos x="56" y="112"/>
              </a:cxn>
              <a:cxn ang="0">
                <a:pos x="56" y="112"/>
              </a:cxn>
            </a:cxnLst>
            <a:rect l="0" t="0" r="r" b="b"/>
            <a:pathLst>
              <a:path w="112" h="112">
                <a:moveTo>
                  <a:pt x="56" y="112"/>
                </a:moveTo>
                <a:lnTo>
                  <a:pt x="56" y="112"/>
                </a:lnTo>
                <a:lnTo>
                  <a:pt x="68" y="110"/>
                </a:lnTo>
                <a:lnTo>
                  <a:pt x="78" y="108"/>
                </a:lnTo>
                <a:lnTo>
                  <a:pt x="88" y="102"/>
                </a:lnTo>
                <a:lnTo>
                  <a:pt x="96" y="96"/>
                </a:lnTo>
                <a:lnTo>
                  <a:pt x="102" y="88"/>
                </a:lnTo>
                <a:lnTo>
                  <a:pt x="108" y="78"/>
                </a:lnTo>
                <a:lnTo>
                  <a:pt x="112" y="68"/>
                </a:lnTo>
                <a:lnTo>
                  <a:pt x="112" y="56"/>
                </a:lnTo>
                <a:lnTo>
                  <a:pt x="112" y="56"/>
                </a:lnTo>
                <a:lnTo>
                  <a:pt x="112" y="46"/>
                </a:lnTo>
                <a:lnTo>
                  <a:pt x="108" y="34"/>
                </a:lnTo>
                <a:lnTo>
                  <a:pt x="102" y="26"/>
                </a:lnTo>
                <a:lnTo>
                  <a:pt x="96" y="16"/>
                </a:lnTo>
                <a:lnTo>
                  <a:pt x="88" y="10"/>
                </a:lnTo>
                <a:lnTo>
                  <a:pt x="78" y="4"/>
                </a:lnTo>
                <a:lnTo>
                  <a:pt x="68" y="2"/>
                </a:lnTo>
                <a:lnTo>
                  <a:pt x="56" y="0"/>
                </a:lnTo>
                <a:lnTo>
                  <a:pt x="56" y="0"/>
                </a:lnTo>
                <a:lnTo>
                  <a:pt x="46" y="2"/>
                </a:lnTo>
                <a:lnTo>
                  <a:pt x="34" y="4"/>
                </a:lnTo>
                <a:lnTo>
                  <a:pt x="26" y="10"/>
                </a:lnTo>
                <a:lnTo>
                  <a:pt x="18" y="16"/>
                </a:lnTo>
                <a:lnTo>
                  <a:pt x="10" y="26"/>
                </a:lnTo>
                <a:lnTo>
                  <a:pt x="6" y="34"/>
                </a:lnTo>
                <a:lnTo>
                  <a:pt x="2" y="46"/>
                </a:lnTo>
                <a:lnTo>
                  <a:pt x="0" y="56"/>
                </a:lnTo>
                <a:lnTo>
                  <a:pt x="0" y="56"/>
                </a:lnTo>
                <a:lnTo>
                  <a:pt x="2" y="68"/>
                </a:lnTo>
                <a:lnTo>
                  <a:pt x="6" y="78"/>
                </a:lnTo>
                <a:lnTo>
                  <a:pt x="10" y="88"/>
                </a:lnTo>
                <a:lnTo>
                  <a:pt x="18" y="96"/>
                </a:lnTo>
                <a:lnTo>
                  <a:pt x="26" y="102"/>
                </a:lnTo>
                <a:lnTo>
                  <a:pt x="34" y="108"/>
                </a:lnTo>
                <a:lnTo>
                  <a:pt x="46" y="110"/>
                </a:lnTo>
                <a:lnTo>
                  <a:pt x="56" y="112"/>
                </a:lnTo>
                <a:lnTo>
                  <a:pt x="56" y="112"/>
                </a:lnTo>
                <a:close/>
              </a:path>
            </a:pathLst>
          </a:custGeom>
          <a:solidFill>
            <a:schemeClr val="accent1"/>
          </a:solid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98" name="Freeform 22"/>
          <p:cNvSpPr/>
          <p:nvPr/>
        </p:nvSpPr>
        <p:spPr bwMode="auto">
          <a:xfrm>
            <a:off x="4001349" y="2096011"/>
            <a:ext cx="293353" cy="97785"/>
          </a:xfrm>
          <a:custGeom>
            <a:avLst/>
            <a:gdLst/>
            <a:ahLst/>
            <a:cxnLst>
              <a:cxn ang="0">
                <a:pos x="312" y="0"/>
              </a:cxn>
              <a:cxn ang="0">
                <a:pos x="312" y="0"/>
              </a:cxn>
              <a:cxn ang="0">
                <a:pos x="300" y="0"/>
              </a:cxn>
              <a:cxn ang="0">
                <a:pos x="290" y="4"/>
              </a:cxn>
              <a:cxn ang="0">
                <a:pos x="278" y="8"/>
              </a:cxn>
              <a:cxn ang="0">
                <a:pos x="270" y="14"/>
              </a:cxn>
              <a:cxn ang="0">
                <a:pos x="252" y="28"/>
              </a:cxn>
              <a:cxn ang="0">
                <a:pos x="236" y="44"/>
              </a:cxn>
              <a:cxn ang="0">
                <a:pos x="222" y="60"/>
              </a:cxn>
              <a:cxn ang="0">
                <a:pos x="208" y="76"/>
              </a:cxn>
              <a:cxn ang="0">
                <a:pos x="202" y="80"/>
              </a:cxn>
              <a:cxn ang="0">
                <a:pos x="194" y="86"/>
              </a:cxn>
              <a:cxn ang="0">
                <a:pos x="186" y="88"/>
              </a:cxn>
              <a:cxn ang="0">
                <a:pos x="178" y="90"/>
              </a:cxn>
              <a:cxn ang="0">
                <a:pos x="178" y="90"/>
              </a:cxn>
              <a:cxn ang="0">
                <a:pos x="164" y="88"/>
              </a:cxn>
              <a:cxn ang="0">
                <a:pos x="152" y="86"/>
              </a:cxn>
              <a:cxn ang="0">
                <a:pos x="134" y="78"/>
              </a:cxn>
              <a:cxn ang="0">
                <a:pos x="116" y="70"/>
              </a:cxn>
              <a:cxn ang="0">
                <a:pos x="104" y="68"/>
              </a:cxn>
              <a:cxn ang="0">
                <a:pos x="90" y="66"/>
              </a:cxn>
              <a:cxn ang="0">
                <a:pos x="90" y="66"/>
              </a:cxn>
              <a:cxn ang="0">
                <a:pos x="82" y="68"/>
              </a:cxn>
              <a:cxn ang="0">
                <a:pos x="72" y="70"/>
              </a:cxn>
              <a:cxn ang="0">
                <a:pos x="56" y="78"/>
              </a:cxn>
              <a:cxn ang="0">
                <a:pos x="42" y="88"/>
              </a:cxn>
              <a:cxn ang="0">
                <a:pos x="28" y="100"/>
              </a:cxn>
              <a:cxn ang="0">
                <a:pos x="8" y="124"/>
              </a:cxn>
              <a:cxn ang="0">
                <a:pos x="0" y="134"/>
              </a:cxn>
              <a:cxn ang="0">
                <a:pos x="402" y="134"/>
              </a:cxn>
              <a:cxn ang="0">
                <a:pos x="402" y="134"/>
              </a:cxn>
              <a:cxn ang="0">
                <a:pos x="396" y="112"/>
              </a:cxn>
              <a:cxn ang="0">
                <a:pos x="390" y="92"/>
              </a:cxn>
              <a:cxn ang="0">
                <a:pos x="382" y="66"/>
              </a:cxn>
              <a:cxn ang="0">
                <a:pos x="370" y="42"/>
              </a:cxn>
              <a:cxn ang="0">
                <a:pos x="362" y="30"/>
              </a:cxn>
              <a:cxn ang="0">
                <a:pos x="354" y="20"/>
              </a:cxn>
              <a:cxn ang="0">
                <a:pos x="346" y="12"/>
              </a:cxn>
              <a:cxn ang="0">
                <a:pos x="336" y="6"/>
              </a:cxn>
              <a:cxn ang="0">
                <a:pos x="324" y="2"/>
              </a:cxn>
              <a:cxn ang="0">
                <a:pos x="312" y="0"/>
              </a:cxn>
              <a:cxn ang="0">
                <a:pos x="312" y="0"/>
              </a:cxn>
            </a:cxnLst>
            <a:rect l="0" t="0" r="r" b="b"/>
            <a:pathLst>
              <a:path w="402" h="134">
                <a:moveTo>
                  <a:pt x="312" y="0"/>
                </a:moveTo>
                <a:lnTo>
                  <a:pt x="312" y="0"/>
                </a:lnTo>
                <a:lnTo>
                  <a:pt x="300" y="0"/>
                </a:lnTo>
                <a:lnTo>
                  <a:pt x="290" y="4"/>
                </a:lnTo>
                <a:lnTo>
                  <a:pt x="278" y="8"/>
                </a:lnTo>
                <a:lnTo>
                  <a:pt x="270" y="14"/>
                </a:lnTo>
                <a:lnTo>
                  <a:pt x="252" y="28"/>
                </a:lnTo>
                <a:lnTo>
                  <a:pt x="236" y="44"/>
                </a:lnTo>
                <a:lnTo>
                  <a:pt x="222" y="60"/>
                </a:lnTo>
                <a:lnTo>
                  <a:pt x="208" y="76"/>
                </a:lnTo>
                <a:lnTo>
                  <a:pt x="202" y="80"/>
                </a:lnTo>
                <a:lnTo>
                  <a:pt x="194" y="86"/>
                </a:lnTo>
                <a:lnTo>
                  <a:pt x="186" y="88"/>
                </a:lnTo>
                <a:lnTo>
                  <a:pt x="178" y="90"/>
                </a:lnTo>
                <a:lnTo>
                  <a:pt x="178" y="90"/>
                </a:lnTo>
                <a:lnTo>
                  <a:pt x="164" y="88"/>
                </a:lnTo>
                <a:lnTo>
                  <a:pt x="152" y="86"/>
                </a:lnTo>
                <a:lnTo>
                  <a:pt x="134" y="78"/>
                </a:lnTo>
                <a:lnTo>
                  <a:pt x="116" y="70"/>
                </a:lnTo>
                <a:lnTo>
                  <a:pt x="104" y="68"/>
                </a:lnTo>
                <a:lnTo>
                  <a:pt x="90" y="66"/>
                </a:lnTo>
                <a:lnTo>
                  <a:pt x="90" y="66"/>
                </a:lnTo>
                <a:lnTo>
                  <a:pt x="82" y="68"/>
                </a:lnTo>
                <a:lnTo>
                  <a:pt x="72" y="70"/>
                </a:lnTo>
                <a:lnTo>
                  <a:pt x="56" y="78"/>
                </a:lnTo>
                <a:lnTo>
                  <a:pt x="42" y="88"/>
                </a:lnTo>
                <a:lnTo>
                  <a:pt x="28" y="100"/>
                </a:lnTo>
                <a:lnTo>
                  <a:pt x="8" y="124"/>
                </a:lnTo>
                <a:lnTo>
                  <a:pt x="0" y="134"/>
                </a:lnTo>
                <a:lnTo>
                  <a:pt x="402" y="134"/>
                </a:lnTo>
                <a:lnTo>
                  <a:pt x="402" y="134"/>
                </a:lnTo>
                <a:lnTo>
                  <a:pt x="396" y="112"/>
                </a:lnTo>
                <a:lnTo>
                  <a:pt x="390" y="92"/>
                </a:lnTo>
                <a:lnTo>
                  <a:pt x="382" y="66"/>
                </a:lnTo>
                <a:lnTo>
                  <a:pt x="370" y="42"/>
                </a:lnTo>
                <a:lnTo>
                  <a:pt x="362" y="30"/>
                </a:lnTo>
                <a:lnTo>
                  <a:pt x="354" y="20"/>
                </a:lnTo>
                <a:lnTo>
                  <a:pt x="346" y="12"/>
                </a:lnTo>
                <a:lnTo>
                  <a:pt x="336" y="6"/>
                </a:lnTo>
                <a:lnTo>
                  <a:pt x="324" y="2"/>
                </a:lnTo>
                <a:lnTo>
                  <a:pt x="312" y="0"/>
                </a:lnTo>
                <a:lnTo>
                  <a:pt x="312" y="0"/>
                </a:lnTo>
                <a:close/>
              </a:path>
            </a:pathLst>
          </a:custGeom>
          <a:solidFill>
            <a:srgbClr val="FE5817"/>
          </a:solidFill>
          <a:ln>
            <a:noFill/>
          </a:ln>
        </p:spPr>
        <p:txBody>
          <a:bodyPr vert="horz" wrap="square" lIns="63305" tIns="31652" rIns="63305" bIns="31652" numCol="1" anchor="t" anchorCtr="0" compatLnSpc="1"/>
          <a:lstStyle/>
          <a:p>
            <a:endParaRPr lang="en-US" sz="1245" dirty="0">
              <a:solidFill>
                <a:srgbClr val="FE8637"/>
              </a:solidFill>
              <a:latin typeface="Arial" panose="020B0604020202020204"/>
              <a:ea typeface="华文楷体" panose="02010600040101010101" charset="-122"/>
              <a:cs typeface="+mn-ea"/>
            </a:endParaRPr>
          </a:p>
        </p:txBody>
      </p:sp>
      <p:sp>
        <p:nvSpPr>
          <p:cNvPr id="100" name="Freeform 5"/>
          <p:cNvSpPr/>
          <p:nvPr/>
        </p:nvSpPr>
        <p:spPr bwMode="auto">
          <a:xfrm flipH="1">
            <a:off x="4045098" y="3894552"/>
            <a:ext cx="206515" cy="205992"/>
          </a:xfrm>
          <a:custGeom>
            <a:avLst/>
            <a:gdLst>
              <a:gd name="T0" fmla="*/ 163 w 166"/>
              <a:gd name="T1" fmla="*/ 30 h 165"/>
              <a:gd name="T2" fmla="*/ 134 w 166"/>
              <a:gd name="T3" fmla="*/ 1 h 165"/>
              <a:gd name="T4" fmla="*/ 127 w 166"/>
              <a:gd name="T5" fmla="*/ 0 h 165"/>
              <a:gd name="T6" fmla="*/ 99 w 166"/>
              <a:gd name="T7" fmla="*/ 0 h 165"/>
              <a:gd name="T8" fmla="*/ 94 w 166"/>
              <a:gd name="T9" fmla="*/ 2 h 165"/>
              <a:gd name="T10" fmla="*/ 3 w 166"/>
              <a:gd name="T11" fmla="*/ 93 h 165"/>
              <a:gd name="T12" fmla="*/ 3 w 166"/>
              <a:gd name="T13" fmla="*/ 105 h 165"/>
              <a:gd name="T14" fmla="*/ 9 w 166"/>
              <a:gd name="T15" fmla="*/ 107 h 165"/>
              <a:gd name="T16" fmla="*/ 15 w 166"/>
              <a:gd name="T17" fmla="*/ 104 h 165"/>
              <a:gd name="T18" fmla="*/ 104 w 166"/>
              <a:gd name="T19" fmla="*/ 15 h 165"/>
              <a:gd name="T20" fmla="*/ 125 w 166"/>
              <a:gd name="T21" fmla="*/ 15 h 165"/>
              <a:gd name="T22" fmla="*/ 126 w 166"/>
              <a:gd name="T23" fmla="*/ 16 h 165"/>
              <a:gd name="T24" fmla="*/ 125 w 166"/>
              <a:gd name="T25" fmla="*/ 17 h 165"/>
              <a:gd name="T26" fmla="*/ 25 w 166"/>
              <a:gd name="T27" fmla="*/ 117 h 165"/>
              <a:gd name="T28" fmla="*/ 25 w 166"/>
              <a:gd name="T29" fmla="*/ 123 h 165"/>
              <a:gd name="T30" fmla="*/ 29 w 166"/>
              <a:gd name="T31" fmla="*/ 124 h 165"/>
              <a:gd name="T32" fmla="*/ 32 w 166"/>
              <a:gd name="T33" fmla="*/ 123 h 165"/>
              <a:gd name="T34" fmla="*/ 131 w 166"/>
              <a:gd name="T35" fmla="*/ 23 h 165"/>
              <a:gd name="T36" fmla="*/ 132 w 166"/>
              <a:gd name="T37" fmla="*/ 23 h 165"/>
              <a:gd name="T38" fmla="*/ 143 w 166"/>
              <a:gd name="T39" fmla="*/ 34 h 165"/>
              <a:gd name="T40" fmla="*/ 142 w 166"/>
              <a:gd name="T41" fmla="*/ 34 h 165"/>
              <a:gd name="T42" fmla="*/ 42 w 166"/>
              <a:gd name="T43" fmla="*/ 134 h 165"/>
              <a:gd name="T44" fmla="*/ 42 w 166"/>
              <a:gd name="T45" fmla="*/ 140 h 165"/>
              <a:gd name="T46" fmla="*/ 45 w 166"/>
              <a:gd name="T47" fmla="*/ 141 h 165"/>
              <a:gd name="T48" fmla="*/ 49 w 166"/>
              <a:gd name="T49" fmla="*/ 140 h 165"/>
              <a:gd name="T50" fmla="*/ 148 w 166"/>
              <a:gd name="T51" fmla="*/ 40 h 165"/>
              <a:gd name="T52" fmla="*/ 149 w 166"/>
              <a:gd name="T53" fmla="*/ 40 h 165"/>
              <a:gd name="T54" fmla="*/ 151 w 166"/>
              <a:gd name="T55" fmla="*/ 41 h 165"/>
              <a:gd name="T56" fmla="*/ 151 w 166"/>
              <a:gd name="T57" fmla="*/ 61 h 165"/>
              <a:gd name="T58" fmla="*/ 61 w 166"/>
              <a:gd name="T59" fmla="*/ 150 h 165"/>
              <a:gd name="T60" fmla="*/ 61 w 166"/>
              <a:gd name="T61" fmla="*/ 162 h 165"/>
              <a:gd name="T62" fmla="*/ 67 w 166"/>
              <a:gd name="T63" fmla="*/ 165 h 165"/>
              <a:gd name="T64" fmla="*/ 73 w 166"/>
              <a:gd name="T65" fmla="*/ 162 h 165"/>
              <a:gd name="T66" fmla="*/ 164 w 166"/>
              <a:gd name="T67" fmla="*/ 71 h 165"/>
              <a:gd name="T68" fmla="*/ 164 w 166"/>
              <a:gd name="T69" fmla="*/ 71 h 165"/>
              <a:gd name="T70" fmla="*/ 166 w 166"/>
              <a:gd name="T71" fmla="*/ 65 h 165"/>
              <a:gd name="T72" fmla="*/ 166 w 166"/>
              <a:gd name="T73" fmla="*/ 37 h 165"/>
              <a:gd name="T74" fmla="*/ 163 w 166"/>
              <a:gd name="T75" fmla="*/ 3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165">
                <a:moveTo>
                  <a:pt x="163" y="30"/>
                </a:moveTo>
                <a:cubicBezTo>
                  <a:pt x="134" y="1"/>
                  <a:pt x="134" y="1"/>
                  <a:pt x="134" y="1"/>
                </a:cubicBezTo>
                <a:cubicBezTo>
                  <a:pt x="133" y="0"/>
                  <a:pt x="130" y="0"/>
                  <a:pt x="127" y="0"/>
                </a:cubicBezTo>
                <a:cubicBezTo>
                  <a:pt x="99" y="0"/>
                  <a:pt x="99" y="0"/>
                  <a:pt x="99" y="0"/>
                </a:cubicBezTo>
                <a:cubicBezTo>
                  <a:pt x="97" y="0"/>
                  <a:pt x="96" y="0"/>
                  <a:pt x="94" y="2"/>
                </a:cubicBezTo>
                <a:cubicBezTo>
                  <a:pt x="3" y="93"/>
                  <a:pt x="3" y="93"/>
                  <a:pt x="3" y="93"/>
                </a:cubicBezTo>
                <a:cubicBezTo>
                  <a:pt x="0" y="96"/>
                  <a:pt x="0" y="101"/>
                  <a:pt x="3" y="105"/>
                </a:cubicBezTo>
                <a:cubicBezTo>
                  <a:pt x="5" y="106"/>
                  <a:pt x="7" y="107"/>
                  <a:pt x="9" y="107"/>
                </a:cubicBezTo>
                <a:cubicBezTo>
                  <a:pt x="11" y="107"/>
                  <a:pt x="14" y="106"/>
                  <a:pt x="15" y="104"/>
                </a:cubicBezTo>
                <a:cubicBezTo>
                  <a:pt x="104" y="15"/>
                  <a:pt x="104" y="15"/>
                  <a:pt x="104" y="15"/>
                </a:cubicBezTo>
                <a:cubicBezTo>
                  <a:pt x="125" y="15"/>
                  <a:pt x="125" y="15"/>
                  <a:pt x="125" y="15"/>
                </a:cubicBezTo>
                <a:cubicBezTo>
                  <a:pt x="126" y="16"/>
                  <a:pt x="126" y="16"/>
                  <a:pt x="126" y="16"/>
                </a:cubicBezTo>
                <a:cubicBezTo>
                  <a:pt x="125" y="17"/>
                  <a:pt x="125" y="17"/>
                  <a:pt x="125" y="17"/>
                </a:cubicBezTo>
                <a:cubicBezTo>
                  <a:pt x="25" y="117"/>
                  <a:pt x="25" y="117"/>
                  <a:pt x="25" y="117"/>
                </a:cubicBezTo>
                <a:cubicBezTo>
                  <a:pt x="24" y="118"/>
                  <a:pt x="24" y="121"/>
                  <a:pt x="25" y="123"/>
                </a:cubicBezTo>
                <a:cubicBezTo>
                  <a:pt x="26" y="124"/>
                  <a:pt x="27" y="124"/>
                  <a:pt x="29" y="124"/>
                </a:cubicBezTo>
                <a:cubicBezTo>
                  <a:pt x="30" y="124"/>
                  <a:pt x="31" y="124"/>
                  <a:pt x="32" y="123"/>
                </a:cubicBezTo>
                <a:cubicBezTo>
                  <a:pt x="131" y="23"/>
                  <a:pt x="131" y="23"/>
                  <a:pt x="131" y="23"/>
                </a:cubicBezTo>
                <a:cubicBezTo>
                  <a:pt x="131" y="23"/>
                  <a:pt x="131" y="23"/>
                  <a:pt x="132" y="23"/>
                </a:cubicBezTo>
                <a:cubicBezTo>
                  <a:pt x="143" y="34"/>
                  <a:pt x="143" y="34"/>
                  <a:pt x="143" y="34"/>
                </a:cubicBezTo>
                <a:cubicBezTo>
                  <a:pt x="142" y="34"/>
                  <a:pt x="142" y="34"/>
                  <a:pt x="142" y="34"/>
                </a:cubicBezTo>
                <a:cubicBezTo>
                  <a:pt x="42" y="134"/>
                  <a:pt x="42" y="134"/>
                  <a:pt x="42" y="134"/>
                </a:cubicBezTo>
                <a:cubicBezTo>
                  <a:pt x="41" y="135"/>
                  <a:pt x="41" y="138"/>
                  <a:pt x="42" y="140"/>
                </a:cubicBezTo>
                <a:cubicBezTo>
                  <a:pt x="43" y="141"/>
                  <a:pt x="44" y="141"/>
                  <a:pt x="45" y="141"/>
                </a:cubicBezTo>
                <a:cubicBezTo>
                  <a:pt x="47" y="141"/>
                  <a:pt x="48" y="141"/>
                  <a:pt x="49" y="140"/>
                </a:cubicBezTo>
                <a:cubicBezTo>
                  <a:pt x="148" y="40"/>
                  <a:pt x="148" y="40"/>
                  <a:pt x="148" y="40"/>
                </a:cubicBezTo>
                <a:cubicBezTo>
                  <a:pt x="148" y="40"/>
                  <a:pt x="149" y="40"/>
                  <a:pt x="149" y="40"/>
                </a:cubicBezTo>
                <a:cubicBezTo>
                  <a:pt x="151" y="41"/>
                  <a:pt x="151" y="41"/>
                  <a:pt x="151" y="41"/>
                </a:cubicBezTo>
                <a:cubicBezTo>
                  <a:pt x="151" y="61"/>
                  <a:pt x="151" y="61"/>
                  <a:pt x="151" y="61"/>
                </a:cubicBezTo>
                <a:cubicBezTo>
                  <a:pt x="61" y="150"/>
                  <a:pt x="61" y="150"/>
                  <a:pt x="61" y="150"/>
                </a:cubicBezTo>
                <a:cubicBezTo>
                  <a:pt x="58" y="153"/>
                  <a:pt x="58" y="159"/>
                  <a:pt x="61" y="162"/>
                </a:cubicBezTo>
                <a:cubicBezTo>
                  <a:pt x="63" y="164"/>
                  <a:pt x="65" y="165"/>
                  <a:pt x="67" y="165"/>
                </a:cubicBezTo>
                <a:cubicBezTo>
                  <a:pt x="69" y="165"/>
                  <a:pt x="71" y="164"/>
                  <a:pt x="73" y="162"/>
                </a:cubicBezTo>
                <a:cubicBezTo>
                  <a:pt x="164" y="71"/>
                  <a:pt x="164" y="71"/>
                  <a:pt x="164" y="71"/>
                </a:cubicBezTo>
                <a:cubicBezTo>
                  <a:pt x="164" y="71"/>
                  <a:pt x="164" y="71"/>
                  <a:pt x="164" y="71"/>
                </a:cubicBezTo>
                <a:cubicBezTo>
                  <a:pt x="166" y="69"/>
                  <a:pt x="166" y="67"/>
                  <a:pt x="166" y="65"/>
                </a:cubicBezTo>
                <a:cubicBezTo>
                  <a:pt x="166" y="37"/>
                  <a:pt x="166" y="37"/>
                  <a:pt x="166" y="37"/>
                </a:cubicBezTo>
                <a:cubicBezTo>
                  <a:pt x="166" y="34"/>
                  <a:pt x="165" y="32"/>
                  <a:pt x="163" y="30"/>
                </a:cubicBezTo>
                <a:close/>
              </a:path>
            </a:pathLst>
          </a:custGeom>
          <a:solidFill>
            <a:srgbClr val="FE5817"/>
          </a:solidFill>
          <a:ln w="9525">
            <a:noFill/>
            <a:round/>
          </a:ln>
        </p:spPr>
        <p:txBody>
          <a:bodyPr vert="horz" wrap="square" lIns="63305" tIns="31652" rIns="63305" bIns="31652" numCol="1" anchor="t" anchorCtr="0" compatLnSpc="1"/>
          <a:lstStyle/>
          <a:p>
            <a:endParaRPr lang="zh-CN" altLang="en-US" sz="1245">
              <a:solidFill>
                <a:prstClr val="black"/>
              </a:solidFill>
              <a:latin typeface="Arial" panose="020B0604020202020204"/>
              <a:ea typeface="华文楷体" panose="02010600040101010101" charset="-122"/>
            </a:endParaRPr>
          </a:p>
        </p:txBody>
      </p:sp>
      <p:sp>
        <p:nvSpPr>
          <p:cNvPr id="101" name="Freeform 6"/>
          <p:cNvSpPr/>
          <p:nvPr/>
        </p:nvSpPr>
        <p:spPr bwMode="auto">
          <a:xfrm flipH="1">
            <a:off x="3951513" y="3964610"/>
            <a:ext cx="462175" cy="319445"/>
          </a:xfrm>
          <a:custGeom>
            <a:avLst/>
            <a:gdLst>
              <a:gd name="T0" fmla="*/ 346 w 371"/>
              <a:gd name="T1" fmla="*/ 209 h 256"/>
              <a:gd name="T2" fmla="*/ 346 w 371"/>
              <a:gd name="T3" fmla="*/ 25 h 256"/>
              <a:gd name="T4" fmla="*/ 321 w 371"/>
              <a:gd name="T5" fmla="*/ 0 h 256"/>
              <a:gd name="T6" fmla="*/ 309 w 371"/>
              <a:gd name="T7" fmla="*/ 0 h 256"/>
              <a:gd name="T8" fmla="*/ 309 w 371"/>
              <a:gd name="T9" fmla="*/ 9 h 256"/>
              <a:gd name="T10" fmla="*/ 309 w 371"/>
              <a:gd name="T11" fmla="*/ 12 h 256"/>
              <a:gd name="T12" fmla="*/ 321 w 371"/>
              <a:gd name="T13" fmla="*/ 12 h 256"/>
              <a:gd name="T14" fmla="*/ 334 w 371"/>
              <a:gd name="T15" fmla="*/ 25 h 256"/>
              <a:gd name="T16" fmla="*/ 334 w 371"/>
              <a:gd name="T17" fmla="*/ 209 h 256"/>
              <a:gd name="T18" fmla="*/ 231 w 371"/>
              <a:gd name="T19" fmla="*/ 209 h 256"/>
              <a:gd name="T20" fmla="*/ 231 w 371"/>
              <a:gd name="T21" fmla="*/ 212 h 256"/>
              <a:gd name="T22" fmla="*/ 218 w 371"/>
              <a:gd name="T23" fmla="*/ 225 h 256"/>
              <a:gd name="T24" fmla="*/ 150 w 371"/>
              <a:gd name="T25" fmla="*/ 225 h 256"/>
              <a:gd name="T26" fmla="*/ 137 w 371"/>
              <a:gd name="T27" fmla="*/ 212 h 256"/>
              <a:gd name="T28" fmla="*/ 137 w 371"/>
              <a:gd name="T29" fmla="*/ 209 h 256"/>
              <a:gd name="T30" fmla="*/ 40 w 371"/>
              <a:gd name="T31" fmla="*/ 209 h 256"/>
              <a:gd name="T32" fmla="*/ 40 w 371"/>
              <a:gd name="T33" fmla="*/ 25 h 256"/>
              <a:gd name="T34" fmla="*/ 53 w 371"/>
              <a:gd name="T35" fmla="*/ 12 h 256"/>
              <a:gd name="T36" fmla="*/ 140 w 371"/>
              <a:gd name="T37" fmla="*/ 12 h 256"/>
              <a:gd name="T38" fmla="*/ 152 w 371"/>
              <a:gd name="T39" fmla="*/ 0 h 256"/>
              <a:gd name="T40" fmla="*/ 53 w 371"/>
              <a:gd name="T41" fmla="*/ 0 h 256"/>
              <a:gd name="T42" fmla="*/ 28 w 371"/>
              <a:gd name="T43" fmla="*/ 25 h 256"/>
              <a:gd name="T44" fmla="*/ 28 w 371"/>
              <a:gd name="T45" fmla="*/ 209 h 256"/>
              <a:gd name="T46" fmla="*/ 0 w 371"/>
              <a:gd name="T47" fmla="*/ 209 h 256"/>
              <a:gd name="T48" fmla="*/ 0 w 371"/>
              <a:gd name="T49" fmla="*/ 231 h 256"/>
              <a:gd name="T50" fmla="*/ 25 w 371"/>
              <a:gd name="T51" fmla="*/ 256 h 256"/>
              <a:gd name="T52" fmla="*/ 346 w 371"/>
              <a:gd name="T53" fmla="*/ 256 h 256"/>
              <a:gd name="T54" fmla="*/ 371 w 371"/>
              <a:gd name="T55" fmla="*/ 231 h 256"/>
              <a:gd name="T56" fmla="*/ 371 w 371"/>
              <a:gd name="T57" fmla="*/ 209 h 256"/>
              <a:gd name="T58" fmla="*/ 346 w 371"/>
              <a:gd name="T59" fmla="*/ 2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1" h="256">
                <a:moveTo>
                  <a:pt x="346" y="209"/>
                </a:moveTo>
                <a:cubicBezTo>
                  <a:pt x="346" y="25"/>
                  <a:pt x="346" y="25"/>
                  <a:pt x="346" y="25"/>
                </a:cubicBezTo>
                <a:cubicBezTo>
                  <a:pt x="346" y="11"/>
                  <a:pt x="335" y="0"/>
                  <a:pt x="321" y="0"/>
                </a:cubicBezTo>
                <a:cubicBezTo>
                  <a:pt x="309" y="0"/>
                  <a:pt x="309" y="0"/>
                  <a:pt x="309" y="0"/>
                </a:cubicBezTo>
                <a:cubicBezTo>
                  <a:pt x="309" y="9"/>
                  <a:pt x="309" y="9"/>
                  <a:pt x="309" y="9"/>
                </a:cubicBezTo>
                <a:cubicBezTo>
                  <a:pt x="309" y="10"/>
                  <a:pt x="309" y="11"/>
                  <a:pt x="309" y="12"/>
                </a:cubicBezTo>
                <a:cubicBezTo>
                  <a:pt x="321" y="12"/>
                  <a:pt x="321" y="12"/>
                  <a:pt x="321" y="12"/>
                </a:cubicBezTo>
                <a:cubicBezTo>
                  <a:pt x="328" y="12"/>
                  <a:pt x="334" y="18"/>
                  <a:pt x="334" y="25"/>
                </a:cubicBezTo>
                <a:cubicBezTo>
                  <a:pt x="334" y="209"/>
                  <a:pt x="334" y="209"/>
                  <a:pt x="334" y="209"/>
                </a:cubicBezTo>
                <a:cubicBezTo>
                  <a:pt x="231" y="209"/>
                  <a:pt x="231" y="209"/>
                  <a:pt x="231" y="209"/>
                </a:cubicBezTo>
                <a:cubicBezTo>
                  <a:pt x="231" y="212"/>
                  <a:pt x="231" y="212"/>
                  <a:pt x="231" y="212"/>
                </a:cubicBezTo>
                <a:cubicBezTo>
                  <a:pt x="231" y="219"/>
                  <a:pt x="225" y="225"/>
                  <a:pt x="218" y="225"/>
                </a:cubicBezTo>
                <a:cubicBezTo>
                  <a:pt x="150" y="225"/>
                  <a:pt x="150" y="225"/>
                  <a:pt x="150" y="225"/>
                </a:cubicBezTo>
                <a:cubicBezTo>
                  <a:pt x="143" y="225"/>
                  <a:pt x="137" y="219"/>
                  <a:pt x="137" y="212"/>
                </a:cubicBezTo>
                <a:cubicBezTo>
                  <a:pt x="137" y="209"/>
                  <a:pt x="137" y="209"/>
                  <a:pt x="137" y="209"/>
                </a:cubicBezTo>
                <a:cubicBezTo>
                  <a:pt x="40" y="209"/>
                  <a:pt x="40" y="209"/>
                  <a:pt x="40" y="209"/>
                </a:cubicBezTo>
                <a:cubicBezTo>
                  <a:pt x="40" y="25"/>
                  <a:pt x="40" y="25"/>
                  <a:pt x="40" y="25"/>
                </a:cubicBezTo>
                <a:cubicBezTo>
                  <a:pt x="40" y="18"/>
                  <a:pt x="46" y="12"/>
                  <a:pt x="53" y="12"/>
                </a:cubicBezTo>
                <a:cubicBezTo>
                  <a:pt x="140" y="12"/>
                  <a:pt x="140" y="12"/>
                  <a:pt x="140" y="12"/>
                </a:cubicBezTo>
                <a:cubicBezTo>
                  <a:pt x="152" y="0"/>
                  <a:pt x="152" y="0"/>
                  <a:pt x="152" y="0"/>
                </a:cubicBezTo>
                <a:cubicBezTo>
                  <a:pt x="53" y="0"/>
                  <a:pt x="53" y="0"/>
                  <a:pt x="53" y="0"/>
                </a:cubicBezTo>
                <a:cubicBezTo>
                  <a:pt x="39" y="0"/>
                  <a:pt x="28" y="11"/>
                  <a:pt x="28" y="25"/>
                </a:cubicBezTo>
                <a:cubicBezTo>
                  <a:pt x="28" y="209"/>
                  <a:pt x="28" y="209"/>
                  <a:pt x="28" y="209"/>
                </a:cubicBezTo>
                <a:cubicBezTo>
                  <a:pt x="0" y="209"/>
                  <a:pt x="0" y="209"/>
                  <a:pt x="0" y="209"/>
                </a:cubicBezTo>
                <a:cubicBezTo>
                  <a:pt x="0" y="231"/>
                  <a:pt x="0" y="231"/>
                  <a:pt x="0" y="231"/>
                </a:cubicBezTo>
                <a:cubicBezTo>
                  <a:pt x="0" y="245"/>
                  <a:pt x="11" y="256"/>
                  <a:pt x="25" y="256"/>
                </a:cubicBezTo>
                <a:cubicBezTo>
                  <a:pt x="346" y="256"/>
                  <a:pt x="346" y="256"/>
                  <a:pt x="346" y="256"/>
                </a:cubicBezTo>
                <a:cubicBezTo>
                  <a:pt x="360" y="256"/>
                  <a:pt x="371" y="245"/>
                  <a:pt x="371" y="231"/>
                </a:cubicBezTo>
                <a:cubicBezTo>
                  <a:pt x="371" y="209"/>
                  <a:pt x="371" y="209"/>
                  <a:pt x="371" y="209"/>
                </a:cubicBezTo>
                <a:lnTo>
                  <a:pt x="346" y="209"/>
                </a:lnTo>
                <a:close/>
              </a:path>
            </a:pathLst>
          </a:custGeom>
          <a:solidFill>
            <a:srgbClr val="FE581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2" name="Freeform 7"/>
          <p:cNvSpPr/>
          <p:nvPr/>
        </p:nvSpPr>
        <p:spPr bwMode="auto">
          <a:xfrm flipH="1">
            <a:off x="4182078" y="4029440"/>
            <a:ext cx="111884" cy="109793"/>
          </a:xfrm>
          <a:custGeom>
            <a:avLst/>
            <a:gdLst>
              <a:gd name="T0" fmla="*/ 88 w 90"/>
              <a:gd name="T1" fmla="*/ 59 h 88"/>
              <a:gd name="T2" fmla="*/ 78 w 90"/>
              <a:gd name="T3" fmla="*/ 53 h 88"/>
              <a:gd name="T4" fmla="*/ 40 w 90"/>
              <a:gd name="T5" fmla="*/ 63 h 88"/>
              <a:gd name="T6" fmla="*/ 39 w 90"/>
              <a:gd name="T7" fmla="*/ 61 h 88"/>
              <a:gd name="T8" fmla="*/ 27 w 90"/>
              <a:gd name="T9" fmla="*/ 48 h 88"/>
              <a:gd name="T10" fmla="*/ 37 w 90"/>
              <a:gd name="T11" fmla="*/ 12 h 88"/>
              <a:gd name="T12" fmla="*/ 31 w 90"/>
              <a:gd name="T13" fmla="*/ 2 h 88"/>
              <a:gd name="T14" fmla="*/ 21 w 90"/>
              <a:gd name="T15" fmla="*/ 7 h 88"/>
              <a:gd name="T16" fmla="*/ 0 w 90"/>
              <a:gd name="T17" fmla="*/ 77 h 88"/>
              <a:gd name="T18" fmla="*/ 0 w 90"/>
              <a:gd name="T19" fmla="*/ 78 h 88"/>
              <a:gd name="T20" fmla="*/ 0 w 90"/>
              <a:gd name="T21" fmla="*/ 82 h 88"/>
              <a:gd name="T22" fmla="*/ 9 w 90"/>
              <a:gd name="T23" fmla="*/ 88 h 88"/>
              <a:gd name="T24" fmla="*/ 11 w 90"/>
              <a:gd name="T25" fmla="*/ 88 h 88"/>
              <a:gd name="T26" fmla="*/ 82 w 90"/>
              <a:gd name="T27" fmla="*/ 70 h 88"/>
              <a:gd name="T28" fmla="*/ 88 w 90"/>
              <a:gd name="T29" fmla="*/ 5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88">
                <a:moveTo>
                  <a:pt x="88" y="59"/>
                </a:moveTo>
                <a:cubicBezTo>
                  <a:pt x="87" y="55"/>
                  <a:pt x="83" y="52"/>
                  <a:pt x="78" y="53"/>
                </a:cubicBezTo>
                <a:cubicBezTo>
                  <a:pt x="40" y="63"/>
                  <a:pt x="40" y="63"/>
                  <a:pt x="40" y="63"/>
                </a:cubicBezTo>
                <a:cubicBezTo>
                  <a:pt x="40" y="62"/>
                  <a:pt x="39" y="61"/>
                  <a:pt x="39" y="61"/>
                </a:cubicBezTo>
                <a:cubicBezTo>
                  <a:pt x="27" y="48"/>
                  <a:pt x="27" y="48"/>
                  <a:pt x="27" y="48"/>
                </a:cubicBezTo>
                <a:cubicBezTo>
                  <a:pt x="37" y="12"/>
                  <a:pt x="37" y="12"/>
                  <a:pt x="37" y="12"/>
                </a:cubicBezTo>
                <a:cubicBezTo>
                  <a:pt x="38" y="8"/>
                  <a:pt x="36" y="3"/>
                  <a:pt x="31" y="2"/>
                </a:cubicBezTo>
                <a:cubicBezTo>
                  <a:pt x="27" y="0"/>
                  <a:pt x="22" y="3"/>
                  <a:pt x="21" y="7"/>
                </a:cubicBezTo>
                <a:cubicBezTo>
                  <a:pt x="0" y="77"/>
                  <a:pt x="0" y="77"/>
                  <a:pt x="0" y="77"/>
                </a:cubicBezTo>
                <a:cubicBezTo>
                  <a:pt x="0" y="77"/>
                  <a:pt x="0" y="78"/>
                  <a:pt x="0" y="78"/>
                </a:cubicBezTo>
                <a:cubicBezTo>
                  <a:pt x="0" y="79"/>
                  <a:pt x="0" y="80"/>
                  <a:pt x="0" y="82"/>
                </a:cubicBezTo>
                <a:cubicBezTo>
                  <a:pt x="1" y="85"/>
                  <a:pt x="5" y="88"/>
                  <a:pt x="9" y="88"/>
                </a:cubicBezTo>
                <a:cubicBezTo>
                  <a:pt x="9" y="88"/>
                  <a:pt x="10" y="88"/>
                  <a:pt x="11" y="88"/>
                </a:cubicBezTo>
                <a:cubicBezTo>
                  <a:pt x="82" y="70"/>
                  <a:pt x="82" y="70"/>
                  <a:pt x="82" y="70"/>
                </a:cubicBezTo>
                <a:cubicBezTo>
                  <a:pt x="87" y="68"/>
                  <a:pt x="90" y="64"/>
                  <a:pt x="88" y="59"/>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规划</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痛点、解决方案</a:t>
            </a:r>
            <a:endParaRPr lang="zh-CN" altLang="en-US" sz="2400" dirty="0">
              <a:solidFill>
                <a:prstClr val="black"/>
              </a:solidFill>
              <a:latin typeface="华文楷体" panose="02010600040101010101" charset="-122"/>
            </a:endParaRPr>
          </a:p>
        </p:txBody>
      </p:sp>
      <p:pic>
        <p:nvPicPr>
          <p:cNvPr id="72" name="图片 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对象 38" hidden="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9835" name="think-cell Slide" r:id="rId2" imgW="12700" imgH="12700" progId="TCLayout.ActiveDocument.1">
                  <p:embed/>
                </p:oleObj>
              </mc:Choice>
              <mc:Fallback>
                <p:oleObj name="think-cell Slide" r:id="rId2" imgW="12700" imgH="12700" progId="TCLayout.ActiveDocument.1">
                  <p:embed/>
                  <p:pic>
                    <p:nvPicPr>
                      <p:cNvPr id="0" name="对象 38" hidden="1"/>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25" name="组合 24"/>
          <p:cNvGrpSpPr/>
          <p:nvPr/>
        </p:nvGrpSpPr>
        <p:grpSpPr>
          <a:xfrm>
            <a:off x="4093029" y="1796139"/>
            <a:ext cx="7652656" cy="4495803"/>
            <a:chOff x="4093029" y="1796140"/>
            <a:chExt cx="7652656" cy="4441374"/>
          </a:xfrm>
        </p:grpSpPr>
        <p:sp>
          <p:nvSpPr>
            <p:cNvPr id="27" name="矩形 26"/>
            <p:cNvSpPr/>
            <p:nvPr/>
          </p:nvSpPr>
          <p:spPr>
            <a:xfrm>
              <a:off x="4093029"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sp>
          <p:nvSpPr>
            <p:cNvPr id="28" name="矩形 27"/>
            <p:cNvSpPr/>
            <p:nvPr/>
          </p:nvSpPr>
          <p:spPr>
            <a:xfrm>
              <a:off x="4730751"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29" name="矩形 28"/>
            <p:cNvSpPr/>
            <p:nvPr/>
          </p:nvSpPr>
          <p:spPr>
            <a:xfrm>
              <a:off x="5368472"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0" name="矩形 29"/>
            <p:cNvSpPr/>
            <p:nvPr/>
          </p:nvSpPr>
          <p:spPr>
            <a:xfrm>
              <a:off x="6006193"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1" name="矩形 30"/>
            <p:cNvSpPr/>
            <p:nvPr/>
          </p:nvSpPr>
          <p:spPr>
            <a:xfrm>
              <a:off x="6643914"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2" name="矩形 31"/>
            <p:cNvSpPr/>
            <p:nvPr/>
          </p:nvSpPr>
          <p:spPr>
            <a:xfrm>
              <a:off x="7281636"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3" name="矩形 32"/>
            <p:cNvSpPr/>
            <p:nvPr/>
          </p:nvSpPr>
          <p:spPr>
            <a:xfrm>
              <a:off x="7919357"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4" name="矩形 33"/>
            <p:cNvSpPr/>
            <p:nvPr/>
          </p:nvSpPr>
          <p:spPr>
            <a:xfrm>
              <a:off x="8557078"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5" name="矩形 34"/>
            <p:cNvSpPr/>
            <p:nvPr/>
          </p:nvSpPr>
          <p:spPr>
            <a:xfrm>
              <a:off x="9194799"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6" name="矩形 35"/>
            <p:cNvSpPr/>
            <p:nvPr/>
          </p:nvSpPr>
          <p:spPr>
            <a:xfrm>
              <a:off x="9832521"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7" name="矩形 36"/>
            <p:cNvSpPr/>
            <p:nvPr/>
          </p:nvSpPr>
          <p:spPr>
            <a:xfrm>
              <a:off x="10470242"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8" name="矩形 37"/>
            <p:cNvSpPr/>
            <p:nvPr/>
          </p:nvSpPr>
          <p:spPr>
            <a:xfrm>
              <a:off x="11107963" y="1796140"/>
              <a:ext cx="637722" cy="4441374"/>
            </a:xfrm>
            <a:prstGeom prst="rect">
              <a:avLst/>
            </a:prstGeom>
            <a:solidFill>
              <a:schemeClr val="bg1"/>
            </a:solidFill>
            <a:ln w="12700" cap="rnd" cmpd="sng" algn="ctr">
              <a:solidFill>
                <a:schemeClr val="bg1">
                  <a:lumMod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grpSp>
      <p:sp>
        <p:nvSpPr>
          <p:cNvPr id="19" name="矩形 18"/>
          <p:cNvSpPr/>
          <p:nvPr/>
        </p:nvSpPr>
        <p:spPr>
          <a:xfrm>
            <a:off x="381000" y="949167"/>
            <a:ext cx="11484427" cy="369332"/>
          </a:xfrm>
          <a:prstGeom prst="rect">
            <a:avLst/>
          </a:prstGeom>
        </p:spPr>
        <p:txBody>
          <a:bodyPr wrap="square" lIns="0" rIns="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smtClean="0">
                <a:ln>
                  <a:noFill/>
                </a:ln>
                <a:solidFill>
                  <a:srgbClr val="44546A"/>
                </a:solidFill>
                <a:effectLst/>
                <a:uLnTx/>
                <a:uFillTx/>
                <a:latin typeface="Arial" panose="020B0604020202020204"/>
                <a:ea typeface="华文楷体" panose="02010600040101010101" charset="-122"/>
                <a:cs typeface="+mn-cs"/>
              </a:rPr>
              <a:t>XXXXXX</a:t>
            </a:r>
            <a:endParaRPr kumimoji="0" lang="zh-CN" altLang="zh-CN" sz="18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 name="矩形 3"/>
          <p:cNvSpPr/>
          <p:nvPr/>
        </p:nvSpPr>
        <p:spPr>
          <a:xfrm>
            <a:off x="4093029"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1</a:t>
            </a:r>
            <a:r>
              <a:rPr kumimoji="0" lang="zh-CN" altLang="en-US" sz="14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月</a:t>
            </a:r>
            <a:endParaRPr kumimoji="0" lang="zh-CN" altLang="en-US" sz="14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sp>
        <p:nvSpPr>
          <p:cNvPr id="5" name="矩形 4"/>
          <p:cNvSpPr/>
          <p:nvPr/>
        </p:nvSpPr>
        <p:spPr>
          <a:xfrm>
            <a:off x="4730751"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prstClr val="white"/>
                </a:solidFill>
                <a:latin typeface="Arial" panose="020B0604020202020204"/>
                <a:ea typeface="华文楷体" panose="02010600040101010101" charset="-122"/>
              </a:rPr>
              <a:t>2</a:t>
            </a:r>
            <a:r>
              <a:rPr lang="zh-CN" altLang="en-US" sz="1400" b="1" dirty="0">
                <a:solidFill>
                  <a:prstClr val="white"/>
                </a:solidFill>
                <a:latin typeface="Arial" panose="020B0604020202020204"/>
                <a:ea typeface="华文楷体" panose="02010600040101010101" charset="-122"/>
              </a:rPr>
              <a:t>月</a:t>
            </a:r>
            <a:endParaRPr lang="zh-CN" altLang="en-US" sz="1400" b="1" dirty="0">
              <a:solidFill>
                <a:prstClr val="white"/>
              </a:solidFill>
              <a:latin typeface="Arial" panose="020B0604020202020204"/>
              <a:ea typeface="华文楷体" panose="02010600040101010101" charset="-122"/>
            </a:endParaRPr>
          </a:p>
        </p:txBody>
      </p:sp>
      <p:sp>
        <p:nvSpPr>
          <p:cNvPr id="6" name="矩形 5"/>
          <p:cNvSpPr/>
          <p:nvPr/>
        </p:nvSpPr>
        <p:spPr>
          <a:xfrm>
            <a:off x="5368472"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prstClr val="white"/>
                </a:solidFill>
                <a:latin typeface="Arial" panose="020B0604020202020204"/>
                <a:ea typeface="华文楷体" panose="02010600040101010101" charset="-122"/>
              </a:rPr>
              <a:t>3</a:t>
            </a:r>
            <a:r>
              <a:rPr lang="zh-CN" altLang="en-US" sz="1400" b="1" dirty="0">
                <a:solidFill>
                  <a:prstClr val="white"/>
                </a:solidFill>
                <a:latin typeface="Arial" panose="020B0604020202020204"/>
                <a:ea typeface="华文楷体" panose="02010600040101010101" charset="-122"/>
              </a:rPr>
              <a:t>月</a:t>
            </a:r>
            <a:endParaRPr lang="zh-CN" altLang="en-US" sz="1400" b="1" dirty="0">
              <a:solidFill>
                <a:prstClr val="white"/>
              </a:solidFill>
              <a:latin typeface="Arial" panose="020B0604020202020204"/>
              <a:ea typeface="华文楷体" panose="02010600040101010101" charset="-122"/>
            </a:endParaRPr>
          </a:p>
        </p:txBody>
      </p:sp>
      <p:sp>
        <p:nvSpPr>
          <p:cNvPr id="7" name="矩形 6"/>
          <p:cNvSpPr/>
          <p:nvPr/>
        </p:nvSpPr>
        <p:spPr>
          <a:xfrm>
            <a:off x="6006193"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prstClr val="white"/>
                </a:solidFill>
                <a:latin typeface="Arial" panose="020B0604020202020204"/>
                <a:ea typeface="华文楷体" panose="02010600040101010101" charset="-122"/>
              </a:rPr>
              <a:t>4</a:t>
            </a:r>
            <a:r>
              <a:rPr lang="zh-CN" altLang="en-US" sz="1400" b="1" dirty="0">
                <a:solidFill>
                  <a:prstClr val="white"/>
                </a:solidFill>
                <a:latin typeface="Arial" panose="020B0604020202020204"/>
                <a:ea typeface="华文楷体" panose="02010600040101010101" charset="-122"/>
              </a:rPr>
              <a:t>月</a:t>
            </a:r>
            <a:endParaRPr lang="zh-CN" altLang="en-US" sz="1400" b="1" dirty="0">
              <a:solidFill>
                <a:prstClr val="white"/>
              </a:solidFill>
              <a:latin typeface="Arial" panose="020B0604020202020204"/>
              <a:ea typeface="华文楷体" panose="02010600040101010101" charset="-122"/>
            </a:endParaRPr>
          </a:p>
        </p:txBody>
      </p:sp>
      <p:sp>
        <p:nvSpPr>
          <p:cNvPr id="8" name="矩形 7"/>
          <p:cNvSpPr/>
          <p:nvPr/>
        </p:nvSpPr>
        <p:spPr>
          <a:xfrm>
            <a:off x="6643914"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prstClr val="white"/>
                </a:solidFill>
                <a:latin typeface="Arial" panose="020B0604020202020204"/>
                <a:ea typeface="华文楷体" panose="02010600040101010101" charset="-122"/>
              </a:rPr>
              <a:t>5</a:t>
            </a:r>
            <a:r>
              <a:rPr lang="zh-CN" altLang="en-US" sz="1400" b="1" dirty="0">
                <a:solidFill>
                  <a:prstClr val="white"/>
                </a:solidFill>
                <a:latin typeface="Arial" panose="020B0604020202020204"/>
                <a:ea typeface="华文楷体" panose="02010600040101010101" charset="-122"/>
              </a:rPr>
              <a:t>月</a:t>
            </a:r>
            <a:endParaRPr lang="zh-CN" altLang="en-US" sz="1400" b="1" dirty="0">
              <a:solidFill>
                <a:prstClr val="white"/>
              </a:solidFill>
              <a:latin typeface="Arial" panose="020B0604020202020204"/>
              <a:ea typeface="华文楷体" panose="02010600040101010101" charset="-122"/>
            </a:endParaRPr>
          </a:p>
        </p:txBody>
      </p:sp>
      <p:sp>
        <p:nvSpPr>
          <p:cNvPr id="9" name="矩形 8"/>
          <p:cNvSpPr/>
          <p:nvPr/>
        </p:nvSpPr>
        <p:spPr>
          <a:xfrm>
            <a:off x="7281636"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prstClr val="white"/>
                </a:solidFill>
                <a:latin typeface="Arial" panose="020B0604020202020204"/>
                <a:ea typeface="华文楷体" panose="02010600040101010101" charset="-122"/>
              </a:rPr>
              <a:t>6</a:t>
            </a:r>
            <a:r>
              <a:rPr lang="zh-CN" altLang="en-US" sz="1400" b="1" dirty="0">
                <a:solidFill>
                  <a:prstClr val="white"/>
                </a:solidFill>
                <a:latin typeface="Arial" panose="020B0604020202020204"/>
                <a:ea typeface="华文楷体" panose="02010600040101010101" charset="-122"/>
              </a:rPr>
              <a:t>月</a:t>
            </a:r>
            <a:endParaRPr lang="zh-CN" altLang="en-US" sz="1400" b="1" dirty="0">
              <a:solidFill>
                <a:prstClr val="white"/>
              </a:solidFill>
              <a:latin typeface="Arial" panose="020B0604020202020204"/>
              <a:ea typeface="华文楷体" panose="02010600040101010101" charset="-122"/>
            </a:endParaRPr>
          </a:p>
        </p:txBody>
      </p:sp>
      <p:sp>
        <p:nvSpPr>
          <p:cNvPr id="12" name="矩形 11"/>
          <p:cNvSpPr/>
          <p:nvPr/>
        </p:nvSpPr>
        <p:spPr>
          <a:xfrm>
            <a:off x="7919357"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prstClr val="white"/>
                </a:solidFill>
                <a:latin typeface="Arial" panose="020B0604020202020204"/>
                <a:ea typeface="华文楷体" panose="02010600040101010101" charset="-122"/>
              </a:rPr>
              <a:t>7</a:t>
            </a:r>
            <a:r>
              <a:rPr lang="zh-CN" altLang="en-US" sz="1400" b="1" dirty="0">
                <a:solidFill>
                  <a:prstClr val="white"/>
                </a:solidFill>
                <a:latin typeface="Arial" panose="020B0604020202020204"/>
                <a:ea typeface="华文楷体" panose="02010600040101010101" charset="-122"/>
              </a:rPr>
              <a:t>月</a:t>
            </a:r>
            <a:endParaRPr lang="zh-CN" altLang="en-US" sz="1400" b="1" dirty="0">
              <a:solidFill>
                <a:prstClr val="white"/>
              </a:solidFill>
              <a:latin typeface="Arial" panose="020B0604020202020204"/>
              <a:ea typeface="华文楷体" panose="02010600040101010101" charset="-122"/>
            </a:endParaRPr>
          </a:p>
        </p:txBody>
      </p:sp>
      <p:sp>
        <p:nvSpPr>
          <p:cNvPr id="13" name="矩形 12"/>
          <p:cNvSpPr/>
          <p:nvPr/>
        </p:nvSpPr>
        <p:spPr>
          <a:xfrm>
            <a:off x="8557078"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prstClr val="white"/>
                </a:solidFill>
                <a:latin typeface="Arial" panose="020B0604020202020204"/>
                <a:ea typeface="华文楷体" panose="02010600040101010101" charset="-122"/>
              </a:rPr>
              <a:t>8</a:t>
            </a:r>
            <a:r>
              <a:rPr lang="zh-CN" altLang="en-US" sz="1400" b="1" dirty="0">
                <a:solidFill>
                  <a:prstClr val="white"/>
                </a:solidFill>
                <a:latin typeface="Arial" panose="020B0604020202020204"/>
                <a:ea typeface="华文楷体" panose="02010600040101010101" charset="-122"/>
              </a:rPr>
              <a:t>月</a:t>
            </a:r>
            <a:endParaRPr lang="zh-CN" altLang="en-US" sz="1400" b="1" dirty="0">
              <a:solidFill>
                <a:prstClr val="white"/>
              </a:solidFill>
              <a:latin typeface="Arial" panose="020B0604020202020204"/>
              <a:ea typeface="华文楷体" panose="02010600040101010101" charset="-122"/>
            </a:endParaRPr>
          </a:p>
        </p:txBody>
      </p:sp>
      <p:sp>
        <p:nvSpPr>
          <p:cNvPr id="14" name="矩形 13"/>
          <p:cNvSpPr/>
          <p:nvPr/>
        </p:nvSpPr>
        <p:spPr>
          <a:xfrm>
            <a:off x="9194799"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prstClr val="white"/>
                </a:solidFill>
                <a:latin typeface="Arial" panose="020B0604020202020204"/>
                <a:ea typeface="华文楷体" panose="02010600040101010101" charset="-122"/>
              </a:rPr>
              <a:t>9</a:t>
            </a:r>
            <a:r>
              <a:rPr lang="zh-CN" altLang="en-US" sz="1400" b="1" dirty="0">
                <a:solidFill>
                  <a:prstClr val="white"/>
                </a:solidFill>
                <a:latin typeface="Arial" panose="020B0604020202020204"/>
                <a:ea typeface="华文楷体" panose="02010600040101010101" charset="-122"/>
              </a:rPr>
              <a:t>月</a:t>
            </a:r>
            <a:endParaRPr lang="zh-CN" altLang="en-US" sz="1400" b="1" dirty="0">
              <a:solidFill>
                <a:prstClr val="white"/>
              </a:solidFill>
              <a:latin typeface="Arial" panose="020B0604020202020204"/>
              <a:ea typeface="华文楷体" panose="02010600040101010101" charset="-122"/>
            </a:endParaRPr>
          </a:p>
        </p:txBody>
      </p:sp>
      <p:sp>
        <p:nvSpPr>
          <p:cNvPr id="15" name="矩形 14"/>
          <p:cNvSpPr/>
          <p:nvPr/>
        </p:nvSpPr>
        <p:spPr>
          <a:xfrm>
            <a:off x="9832521"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prstClr val="white"/>
                </a:solidFill>
                <a:latin typeface="Arial" panose="020B0604020202020204"/>
                <a:ea typeface="华文楷体" panose="02010600040101010101" charset="-122"/>
              </a:rPr>
              <a:t>10</a:t>
            </a:r>
            <a:r>
              <a:rPr lang="zh-CN" altLang="en-US" sz="1400" b="1" dirty="0">
                <a:solidFill>
                  <a:prstClr val="white"/>
                </a:solidFill>
                <a:latin typeface="Arial" panose="020B0604020202020204"/>
                <a:ea typeface="华文楷体" panose="02010600040101010101" charset="-122"/>
              </a:rPr>
              <a:t>月</a:t>
            </a:r>
            <a:endParaRPr lang="zh-CN" altLang="en-US" sz="1400" b="1" dirty="0">
              <a:solidFill>
                <a:prstClr val="white"/>
              </a:solidFill>
              <a:latin typeface="Arial" panose="020B0604020202020204"/>
              <a:ea typeface="华文楷体" panose="02010600040101010101" charset="-122"/>
            </a:endParaRPr>
          </a:p>
        </p:txBody>
      </p:sp>
      <p:sp>
        <p:nvSpPr>
          <p:cNvPr id="16" name="矩形 15"/>
          <p:cNvSpPr/>
          <p:nvPr/>
        </p:nvSpPr>
        <p:spPr>
          <a:xfrm>
            <a:off x="10470242"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prstClr val="white"/>
                </a:solidFill>
                <a:latin typeface="Arial" panose="020B0604020202020204"/>
                <a:ea typeface="华文楷体" panose="02010600040101010101" charset="-122"/>
              </a:rPr>
              <a:t>11</a:t>
            </a:r>
            <a:r>
              <a:rPr lang="zh-CN" altLang="en-US" sz="1400" b="1" dirty="0">
                <a:solidFill>
                  <a:prstClr val="white"/>
                </a:solidFill>
                <a:latin typeface="Arial" panose="020B0604020202020204"/>
                <a:ea typeface="华文楷体" panose="02010600040101010101" charset="-122"/>
              </a:rPr>
              <a:t>月</a:t>
            </a:r>
            <a:endParaRPr lang="zh-CN" altLang="en-US" sz="1400" b="1" dirty="0">
              <a:solidFill>
                <a:prstClr val="white"/>
              </a:solidFill>
              <a:latin typeface="Arial" panose="020B0604020202020204"/>
              <a:ea typeface="华文楷体" panose="02010600040101010101" charset="-122"/>
            </a:endParaRPr>
          </a:p>
        </p:txBody>
      </p:sp>
      <p:sp>
        <p:nvSpPr>
          <p:cNvPr id="17" name="矩形 16"/>
          <p:cNvSpPr/>
          <p:nvPr/>
        </p:nvSpPr>
        <p:spPr>
          <a:xfrm>
            <a:off x="11107963" y="1426027"/>
            <a:ext cx="637722" cy="381001"/>
          </a:xfrm>
          <a:prstGeom prst="rect">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prstClr val="white"/>
                </a:solidFill>
                <a:latin typeface="Arial" panose="020B0604020202020204"/>
                <a:ea typeface="华文楷体" panose="02010600040101010101" charset="-122"/>
              </a:rPr>
              <a:t>12</a:t>
            </a:r>
            <a:r>
              <a:rPr lang="zh-CN" altLang="en-US" sz="1400" b="1" dirty="0">
                <a:solidFill>
                  <a:prstClr val="white"/>
                </a:solidFill>
                <a:latin typeface="Arial" panose="020B0604020202020204"/>
                <a:ea typeface="华文楷体" panose="02010600040101010101" charset="-122"/>
              </a:rPr>
              <a:t>月</a:t>
            </a:r>
            <a:endParaRPr lang="zh-CN" altLang="en-US" sz="1400" b="1" dirty="0">
              <a:solidFill>
                <a:prstClr val="white"/>
              </a:solidFill>
              <a:latin typeface="Arial" panose="020B0604020202020204"/>
              <a:ea typeface="华文楷体" panose="02010600040101010101" charset="-122"/>
            </a:endParaRPr>
          </a:p>
        </p:txBody>
      </p:sp>
      <p:cxnSp>
        <p:nvCxnSpPr>
          <p:cNvPr id="44" name="直接连接符 43"/>
          <p:cNvCxnSpPr/>
          <p:nvPr/>
        </p:nvCxnSpPr>
        <p:spPr>
          <a:xfrm>
            <a:off x="4038600" y="2253340"/>
            <a:ext cx="7783285" cy="0"/>
          </a:xfrm>
          <a:prstGeom prst="line">
            <a:avLst/>
          </a:prstGeom>
          <a:ln w="9525" cap="rnd">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4038600" y="3815867"/>
            <a:ext cx="7783285" cy="0"/>
          </a:xfrm>
          <a:prstGeom prst="line">
            <a:avLst/>
          </a:prstGeom>
          <a:ln w="9525" cap="rnd">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a:off x="4038600" y="5793659"/>
            <a:ext cx="7783285" cy="0"/>
          </a:xfrm>
          <a:prstGeom prst="line">
            <a:avLst/>
          </a:prstGeom>
          <a:ln w="9525" cap="rnd">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315686" y="2910259"/>
            <a:ext cx="11506199" cy="0"/>
          </a:xfrm>
          <a:prstGeom prst="line">
            <a:avLst/>
          </a:prstGeom>
          <a:ln w="9525" cap="rnd">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a:off x="315686" y="4419090"/>
            <a:ext cx="11506199" cy="0"/>
          </a:xfrm>
          <a:prstGeom prst="line">
            <a:avLst/>
          </a:prstGeom>
          <a:ln w="9525" cap="rnd">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9" name="五边形 58"/>
          <p:cNvSpPr/>
          <p:nvPr/>
        </p:nvSpPr>
        <p:spPr>
          <a:xfrm>
            <a:off x="4091971" y="1956007"/>
            <a:ext cx="7654552" cy="167958"/>
          </a:xfrm>
          <a:prstGeom prst="homePlate">
            <a:avLst>
              <a:gd name="adj" fmla="val 30769"/>
            </a:avLst>
          </a:prstGeom>
          <a:solidFill>
            <a:schemeClr val="accent1"/>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uLnTx/>
              <a:uFillTx/>
              <a:latin typeface="Arial" panose="020B0604020202020204"/>
              <a:ea typeface="华文楷体" panose="02010600040101010101" charset="-122"/>
              <a:cs typeface="+mn-cs"/>
            </a:endParaRPr>
          </a:p>
        </p:txBody>
      </p:sp>
      <p:sp>
        <p:nvSpPr>
          <p:cNvPr id="60" name="五边形 59"/>
          <p:cNvSpPr/>
          <p:nvPr/>
        </p:nvSpPr>
        <p:spPr>
          <a:xfrm>
            <a:off x="7262445" y="2557768"/>
            <a:ext cx="4519247" cy="180704"/>
          </a:xfrm>
          <a:prstGeom prst="homePlate">
            <a:avLst>
              <a:gd name="adj" fmla="val 30769"/>
            </a:avLst>
          </a:prstGeom>
          <a:solidFill>
            <a:schemeClr val="accent1"/>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uLnTx/>
              <a:uFillTx/>
              <a:latin typeface="Arial" panose="020B0604020202020204"/>
              <a:ea typeface="华文楷体" panose="02010600040101010101" charset="-122"/>
              <a:cs typeface="+mn-cs"/>
            </a:endParaRPr>
          </a:p>
        </p:txBody>
      </p:sp>
      <p:sp>
        <p:nvSpPr>
          <p:cNvPr id="61" name="五边形 60"/>
          <p:cNvSpPr/>
          <p:nvPr/>
        </p:nvSpPr>
        <p:spPr>
          <a:xfrm>
            <a:off x="4091353" y="3306496"/>
            <a:ext cx="7681547" cy="178156"/>
          </a:xfrm>
          <a:prstGeom prst="homePlate">
            <a:avLst>
              <a:gd name="adj" fmla="val 30769"/>
            </a:avLst>
          </a:prstGeom>
          <a:solidFill>
            <a:schemeClr val="accent1"/>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uLnTx/>
              <a:uFillTx/>
              <a:latin typeface="Arial" panose="020B0604020202020204"/>
              <a:ea typeface="华文楷体" panose="02010600040101010101" charset="-122"/>
              <a:cs typeface="+mn-cs"/>
            </a:endParaRPr>
          </a:p>
        </p:txBody>
      </p:sp>
      <p:sp>
        <p:nvSpPr>
          <p:cNvPr id="62" name="五边形 61"/>
          <p:cNvSpPr/>
          <p:nvPr/>
        </p:nvSpPr>
        <p:spPr>
          <a:xfrm>
            <a:off x="5987561" y="3930375"/>
            <a:ext cx="5779477" cy="183256"/>
          </a:xfrm>
          <a:prstGeom prst="homePlate">
            <a:avLst>
              <a:gd name="adj" fmla="val 30769"/>
            </a:avLst>
          </a:prstGeom>
          <a:solidFill>
            <a:schemeClr val="accent1"/>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uLnTx/>
              <a:uFillTx/>
              <a:latin typeface="Arial" panose="020B0604020202020204"/>
              <a:ea typeface="华文楷体" panose="02010600040101010101" charset="-122"/>
              <a:cs typeface="+mn-cs"/>
            </a:endParaRPr>
          </a:p>
        </p:txBody>
      </p:sp>
      <p:sp>
        <p:nvSpPr>
          <p:cNvPr id="63" name="矩形 19"/>
          <p:cNvSpPr/>
          <p:nvPr/>
        </p:nvSpPr>
        <p:spPr>
          <a:xfrm>
            <a:off x="283026" y="1480937"/>
            <a:ext cx="2797631" cy="287882"/>
          </a:xfrm>
          <a:custGeom>
            <a:avLst/>
            <a:gdLst>
              <a:gd name="connsiteX0" fmla="*/ 0 w 2797631"/>
              <a:gd name="connsiteY0" fmla="*/ 0 h 369332"/>
              <a:gd name="connsiteX1" fmla="*/ 2797631 w 2797631"/>
              <a:gd name="connsiteY1" fmla="*/ 0 h 369332"/>
              <a:gd name="connsiteX2" fmla="*/ 2797631 w 2797631"/>
              <a:gd name="connsiteY2" fmla="*/ 369332 h 369332"/>
              <a:gd name="connsiteX3" fmla="*/ 0 w 2797631"/>
              <a:gd name="connsiteY3" fmla="*/ 369332 h 369332"/>
              <a:gd name="connsiteX4" fmla="*/ 0 w 2797631"/>
              <a:gd name="connsiteY4" fmla="*/ 0 h 369332"/>
              <a:gd name="connsiteX0-1" fmla="*/ 0 w 2797631"/>
              <a:gd name="connsiteY0-2" fmla="*/ 0 h 369332"/>
              <a:gd name="connsiteX1-3" fmla="*/ 2656117 w 2797631"/>
              <a:gd name="connsiteY1-4" fmla="*/ 0 h 369332"/>
              <a:gd name="connsiteX2-5" fmla="*/ 2797631 w 2797631"/>
              <a:gd name="connsiteY2-6" fmla="*/ 369332 h 369332"/>
              <a:gd name="connsiteX3-7" fmla="*/ 0 w 2797631"/>
              <a:gd name="connsiteY3-8" fmla="*/ 369332 h 369332"/>
              <a:gd name="connsiteX4-9" fmla="*/ 0 w 2797631"/>
              <a:gd name="connsiteY4-10" fmla="*/ 0 h 3693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797631" h="369332">
                <a:moveTo>
                  <a:pt x="0" y="0"/>
                </a:moveTo>
                <a:lnTo>
                  <a:pt x="2656117" y="0"/>
                </a:lnTo>
                <a:lnTo>
                  <a:pt x="2797631" y="369332"/>
                </a:lnTo>
                <a:lnTo>
                  <a:pt x="0" y="369332"/>
                </a:lnTo>
                <a:lnTo>
                  <a:pt x="0" y="0"/>
                </a:lnTo>
                <a:close/>
              </a:path>
            </a:pathLst>
          </a:custGeom>
          <a:solidFill>
            <a:srgbClr val="FE5817"/>
          </a:solidFill>
        </p:spPr>
        <p:txBody>
          <a:bodyPr wrap="square" lIns="7200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rPr>
              <a:t>XXXX</a:t>
            </a:r>
            <a:endParaRPr kumimoji="0" lang="zh-CN" altLang="zh-CN"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64" name="矩形 63"/>
          <p:cNvSpPr/>
          <p:nvPr/>
        </p:nvSpPr>
        <p:spPr>
          <a:xfrm>
            <a:off x="424540" y="1804002"/>
            <a:ext cx="3603174" cy="498807"/>
          </a:xfrm>
          <a:prstGeom prst="rect">
            <a:avLst/>
          </a:prstGeom>
          <a:solidFill>
            <a:schemeClr val="bg1">
              <a:lumMod val="95000"/>
            </a:schemeClr>
          </a:solidFill>
          <a:ln>
            <a:noFill/>
          </a:ln>
          <a:extLst>
            <a:ext uri="{91240B29-F687-4F45-9708-019B960494DF}">
              <a14:hiddenLine xmlns:a14="http://schemas.microsoft.com/office/drawing/2010/main">
                <a:solidFill>
                  <a:schemeClr val="bg1">
                    <a:lumMod val="65000"/>
                  </a:schemeClr>
                </a:solidFill>
              </a14:hiddenLine>
            </a:ext>
          </a:extLst>
        </p:spPr>
        <p:txBody>
          <a:bodyPr wrap="square" anchor="ctr">
            <a:no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smtClean="0">
                <a:ln>
                  <a:noFill/>
                </a:ln>
                <a:solidFill>
                  <a:srgbClr val="44546A"/>
                </a:solidFill>
                <a:effectLst/>
                <a:uLnTx/>
                <a:uFillTx/>
                <a:latin typeface="Arial" panose="020B0604020202020204"/>
                <a:ea typeface="华文楷体" panose="02010600040101010101" charset="-122"/>
                <a:cs typeface="宋体" panose="02010600030101010101" pitchFamily="2" charset="-122"/>
              </a:rPr>
              <a:t>XXXXX</a:t>
            </a:r>
            <a:endParaRPr kumimoji="0" lang="zh-CN" altLang="en-US" sz="1400" b="0" i="0" u="none" strike="noStrike" kern="1200" cap="none" spc="0" normalizeH="0" baseline="0" noProof="0" dirty="0">
              <a:ln>
                <a:noFill/>
              </a:ln>
              <a:solidFill>
                <a:srgbClr val="44546A"/>
              </a:solidFill>
              <a:effectLst/>
              <a:uLnTx/>
              <a:uFillTx/>
              <a:latin typeface="Arial" panose="020B0604020202020204"/>
              <a:ea typeface="华文楷体" panose="02010600040101010101" charset="-122"/>
              <a:cs typeface="宋体" panose="02010600030101010101" pitchFamily="2" charset="-122"/>
            </a:endParaRPr>
          </a:p>
        </p:txBody>
      </p:sp>
      <p:sp>
        <p:nvSpPr>
          <p:cNvPr id="65" name="矩形 64"/>
          <p:cNvSpPr/>
          <p:nvPr/>
        </p:nvSpPr>
        <p:spPr>
          <a:xfrm>
            <a:off x="424540" y="2364616"/>
            <a:ext cx="3603174" cy="498807"/>
          </a:xfrm>
          <a:prstGeom prst="rect">
            <a:avLst/>
          </a:prstGeom>
          <a:solidFill>
            <a:schemeClr val="bg1">
              <a:lumMod val="95000"/>
            </a:schemeClr>
          </a:solidFill>
          <a:ln>
            <a:noFill/>
          </a:ln>
          <a:extLst>
            <a:ext uri="{91240B29-F687-4F45-9708-019B960494DF}">
              <a14:hiddenLine xmlns:a14="http://schemas.microsoft.com/office/drawing/2010/main">
                <a:solidFill>
                  <a:schemeClr val="bg1">
                    <a:lumMod val="65000"/>
                  </a:schemeClr>
                </a:solidFill>
              </a14:hiddenLine>
            </a:ext>
          </a:extLst>
        </p:spPr>
        <p:txBody>
          <a:bodyPr wrap="square" anchor="ctr">
            <a:no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smtClean="0">
                <a:ln>
                  <a:noFill/>
                </a:ln>
                <a:solidFill>
                  <a:srgbClr val="44546A"/>
                </a:solidFill>
                <a:effectLst/>
                <a:uLnTx/>
                <a:uFillTx/>
                <a:latin typeface="Arial" panose="020B0604020202020204"/>
                <a:ea typeface="华文楷体" panose="02010600040101010101" charset="-122"/>
                <a:cs typeface="宋体" panose="02010600030101010101" pitchFamily="2" charset="-122"/>
              </a:rPr>
              <a:t>XXXXX</a:t>
            </a:r>
            <a:endParaRPr kumimoji="0" lang="zh-CN" altLang="en-US" sz="1400" b="0" i="0" u="none" strike="noStrike" kern="1200" cap="none" spc="0" normalizeH="0" baseline="0" noProof="0" dirty="0">
              <a:ln>
                <a:noFill/>
              </a:ln>
              <a:solidFill>
                <a:srgbClr val="44546A"/>
              </a:solidFill>
              <a:effectLst/>
              <a:uLnTx/>
              <a:uFillTx/>
              <a:latin typeface="Arial" panose="020B0604020202020204"/>
              <a:ea typeface="华文楷体" panose="02010600040101010101" charset="-122"/>
              <a:cs typeface="宋体" panose="02010600030101010101" pitchFamily="2" charset="-122"/>
            </a:endParaRPr>
          </a:p>
        </p:txBody>
      </p:sp>
      <p:sp>
        <p:nvSpPr>
          <p:cNvPr id="66" name="矩形 19"/>
          <p:cNvSpPr/>
          <p:nvPr/>
        </p:nvSpPr>
        <p:spPr>
          <a:xfrm>
            <a:off x="283026" y="2961395"/>
            <a:ext cx="2797631" cy="287882"/>
          </a:xfrm>
          <a:custGeom>
            <a:avLst/>
            <a:gdLst>
              <a:gd name="connsiteX0" fmla="*/ 0 w 2797631"/>
              <a:gd name="connsiteY0" fmla="*/ 0 h 369332"/>
              <a:gd name="connsiteX1" fmla="*/ 2797631 w 2797631"/>
              <a:gd name="connsiteY1" fmla="*/ 0 h 369332"/>
              <a:gd name="connsiteX2" fmla="*/ 2797631 w 2797631"/>
              <a:gd name="connsiteY2" fmla="*/ 369332 h 369332"/>
              <a:gd name="connsiteX3" fmla="*/ 0 w 2797631"/>
              <a:gd name="connsiteY3" fmla="*/ 369332 h 369332"/>
              <a:gd name="connsiteX4" fmla="*/ 0 w 2797631"/>
              <a:gd name="connsiteY4" fmla="*/ 0 h 369332"/>
              <a:gd name="connsiteX0-1" fmla="*/ 0 w 2797631"/>
              <a:gd name="connsiteY0-2" fmla="*/ 0 h 369332"/>
              <a:gd name="connsiteX1-3" fmla="*/ 2656117 w 2797631"/>
              <a:gd name="connsiteY1-4" fmla="*/ 0 h 369332"/>
              <a:gd name="connsiteX2-5" fmla="*/ 2797631 w 2797631"/>
              <a:gd name="connsiteY2-6" fmla="*/ 369332 h 369332"/>
              <a:gd name="connsiteX3-7" fmla="*/ 0 w 2797631"/>
              <a:gd name="connsiteY3-8" fmla="*/ 369332 h 369332"/>
              <a:gd name="connsiteX4-9" fmla="*/ 0 w 2797631"/>
              <a:gd name="connsiteY4-10" fmla="*/ 0 h 3693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797631" h="369332">
                <a:moveTo>
                  <a:pt x="0" y="0"/>
                </a:moveTo>
                <a:lnTo>
                  <a:pt x="2656117" y="0"/>
                </a:lnTo>
                <a:lnTo>
                  <a:pt x="2797631" y="369332"/>
                </a:lnTo>
                <a:lnTo>
                  <a:pt x="0" y="369332"/>
                </a:lnTo>
                <a:lnTo>
                  <a:pt x="0" y="0"/>
                </a:lnTo>
                <a:close/>
              </a:path>
            </a:pathLst>
          </a:custGeom>
          <a:solidFill>
            <a:srgbClr val="FE5817"/>
          </a:solidFill>
        </p:spPr>
        <p:txBody>
          <a:bodyPr wrap="square" lIns="72000" tIns="0" rIns="0" bIns="0" anchor="ctr">
            <a:noAutofit/>
          </a:bodyPr>
          <a:lstStyle/>
          <a:p>
            <a:r>
              <a:rPr lang="en-US" altLang="zh-CN" sz="1600" b="1">
                <a:solidFill>
                  <a:prstClr val="white"/>
                </a:solidFill>
                <a:latin typeface="Arial" panose="020B0604020202020204"/>
                <a:ea typeface="华文楷体" panose="02010600040101010101" charset="-122"/>
              </a:rPr>
              <a:t>XXX</a:t>
            </a:r>
            <a:endParaRPr lang="zh-CN" altLang="zh-CN" sz="1600" b="1" dirty="0">
              <a:solidFill>
                <a:prstClr val="white"/>
              </a:solidFill>
              <a:latin typeface="Arial" panose="020B0604020202020204"/>
              <a:ea typeface="华文楷体" panose="02010600040101010101" charset="-122"/>
            </a:endParaRPr>
          </a:p>
        </p:txBody>
      </p:sp>
      <p:sp>
        <p:nvSpPr>
          <p:cNvPr id="67" name="矩形 66"/>
          <p:cNvSpPr/>
          <p:nvPr/>
        </p:nvSpPr>
        <p:spPr>
          <a:xfrm>
            <a:off x="424540" y="3284460"/>
            <a:ext cx="3603174" cy="498807"/>
          </a:xfrm>
          <a:prstGeom prst="rect">
            <a:avLst/>
          </a:prstGeom>
          <a:solidFill>
            <a:schemeClr val="bg1">
              <a:lumMod val="95000"/>
            </a:schemeClr>
          </a:solidFill>
          <a:ln>
            <a:noFill/>
          </a:ln>
          <a:extLst>
            <a:ext uri="{91240B29-F687-4F45-9708-019B960494DF}">
              <a14:hiddenLine xmlns:a14="http://schemas.microsoft.com/office/drawing/2010/main">
                <a:solidFill>
                  <a:schemeClr val="bg1">
                    <a:lumMod val="65000"/>
                  </a:schemeClr>
                </a:solidFill>
              </a14:hiddenLine>
            </a:ext>
          </a:extLst>
        </p:spPr>
        <p:txBody>
          <a:bodyPr wrap="square" anchor="ctr">
            <a:no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smtClean="0">
                <a:ln>
                  <a:noFill/>
                </a:ln>
                <a:solidFill>
                  <a:srgbClr val="44546A"/>
                </a:solidFill>
                <a:effectLst/>
                <a:uLnTx/>
                <a:uFillTx/>
                <a:latin typeface="Arial" panose="020B0604020202020204"/>
                <a:ea typeface="华文楷体" panose="02010600040101010101" charset="-122"/>
                <a:cs typeface="宋体" panose="02010600030101010101" pitchFamily="2" charset="-122"/>
              </a:rPr>
              <a:t>XXXXX</a:t>
            </a:r>
            <a:endParaRPr kumimoji="0" lang="zh-CN" altLang="en-US" sz="1400" b="0" i="0" u="none" strike="noStrike" kern="1200" cap="none" spc="0" normalizeH="0" baseline="0" noProof="0" dirty="0">
              <a:ln>
                <a:noFill/>
              </a:ln>
              <a:solidFill>
                <a:srgbClr val="44546A"/>
              </a:solidFill>
              <a:effectLst/>
              <a:uLnTx/>
              <a:uFillTx/>
              <a:latin typeface="Arial" panose="020B0604020202020204"/>
              <a:ea typeface="华文楷体" panose="02010600040101010101" charset="-122"/>
              <a:cs typeface="宋体" panose="02010600030101010101" pitchFamily="2" charset="-122"/>
            </a:endParaRPr>
          </a:p>
        </p:txBody>
      </p:sp>
      <p:sp>
        <p:nvSpPr>
          <p:cNvPr id="68" name="矩形 67"/>
          <p:cNvSpPr/>
          <p:nvPr/>
        </p:nvSpPr>
        <p:spPr>
          <a:xfrm>
            <a:off x="424540" y="3845075"/>
            <a:ext cx="3603174" cy="491256"/>
          </a:xfrm>
          <a:prstGeom prst="rect">
            <a:avLst/>
          </a:prstGeom>
          <a:solidFill>
            <a:schemeClr val="bg1">
              <a:lumMod val="95000"/>
            </a:schemeClr>
          </a:solidFill>
          <a:ln>
            <a:noFill/>
          </a:ln>
          <a:extLst>
            <a:ext uri="{91240B29-F687-4F45-9708-019B960494DF}">
              <a14:hiddenLine xmlns:a14="http://schemas.microsoft.com/office/drawing/2010/main">
                <a:solidFill>
                  <a:schemeClr val="bg1">
                    <a:lumMod val="65000"/>
                  </a:schemeClr>
                </a:solidFill>
              </a14:hiddenLine>
            </a:ext>
          </a:extLst>
        </p:spPr>
        <p:txBody>
          <a:bodyPr wrap="square" anchor="ctr">
            <a:no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smtClean="0">
                <a:ln>
                  <a:noFill/>
                </a:ln>
                <a:solidFill>
                  <a:srgbClr val="44546A"/>
                </a:solidFill>
                <a:effectLst/>
                <a:uLnTx/>
                <a:uFillTx/>
                <a:latin typeface="Arial" panose="020B0604020202020204"/>
                <a:ea typeface="华文楷体" panose="02010600040101010101" charset="-122"/>
                <a:cs typeface="宋体" panose="02010600030101010101" pitchFamily="2" charset="-122"/>
              </a:rPr>
              <a:t>XXX</a:t>
            </a:r>
            <a:endParaRPr kumimoji="0" lang="zh-CN" altLang="en-US" sz="1400" b="0" i="0" u="none" strike="noStrike" kern="1200" cap="none" spc="0" normalizeH="0" baseline="0" noProof="0" dirty="0">
              <a:ln>
                <a:noFill/>
              </a:ln>
              <a:solidFill>
                <a:srgbClr val="44546A"/>
              </a:solidFill>
              <a:effectLst/>
              <a:uLnTx/>
              <a:uFillTx/>
              <a:latin typeface="Arial" panose="020B0604020202020204"/>
              <a:ea typeface="华文楷体" panose="02010600040101010101" charset="-122"/>
              <a:cs typeface="宋体" panose="02010600030101010101" pitchFamily="2" charset="-122"/>
            </a:endParaRPr>
          </a:p>
        </p:txBody>
      </p:sp>
      <p:sp>
        <p:nvSpPr>
          <p:cNvPr id="69" name="矩形 19"/>
          <p:cNvSpPr/>
          <p:nvPr/>
        </p:nvSpPr>
        <p:spPr>
          <a:xfrm>
            <a:off x="283026" y="4496653"/>
            <a:ext cx="2797631" cy="287882"/>
          </a:xfrm>
          <a:custGeom>
            <a:avLst/>
            <a:gdLst>
              <a:gd name="connsiteX0" fmla="*/ 0 w 2797631"/>
              <a:gd name="connsiteY0" fmla="*/ 0 h 369332"/>
              <a:gd name="connsiteX1" fmla="*/ 2797631 w 2797631"/>
              <a:gd name="connsiteY1" fmla="*/ 0 h 369332"/>
              <a:gd name="connsiteX2" fmla="*/ 2797631 w 2797631"/>
              <a:gd name="connsiteY2" fmla="*/ 369332 h 369332"/>
              <a:gd name="connsiteX3" fmla="*/ 0 w 2797631"/>
              <a:gd name="connsiteY3" fmla="*/ 369332 h 369332"/>
              <a:gd name="connsiteX4" fmla="*/ 0 w 2797631"/>
              <a:gd name="connsiteY4" fmla="*/ 0 h 369332"/>
              <a:gd name="connsiteX0-1" fmla="*/ 0 w 2797631"/>
              <a:gd name="connsiteY0-2" fmla="*/ 0 h 369332"/>
              <a:gd name="connsiteX1-3" fmla="*/ 2656117 w 2797631"/>
              <a:gd name="connsiteY1-4" fmla="*/ 0 h 369332"/>
              <a:gd name="connsiteX2-5" fmla="*/ 2797631 w 2797631"/>
              <a:gd name="connsiteY2-6" fmla="*/ 369332 h 369332"/>
              <a:gd name="connsiteX3-7" fmla="*/ 0 w 2797631"/>
              <a:gd name="connsiteY3-8" fmla="*/ 369332 h 369332"/>
              <a:gd name="connsiteX4-9" fmla="*/ 0 w 2797631"/>
              <a:gd name="connsiteY4-10" fmla="*/ 0 h 3693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797631" h="369332">
                <a:moveTo>
                  <a:pt x="0" y="0"/>
                </a:moveTo>
                <a:lnTo>
                  <a:pt x="2656117" y="0"/>
                </a:lnTo>
                <a:lnTo>
                  <a:pt x="2797631" y="369332"/>
                </a:lnTo>
                <a:lnTo>
                  <a:pt x="0" y="369332"/>
                </a:lnTo>
                <a:lnTo>
                  <a:pt x="0" y="0"/>
                </a:lnTo>
                <a:close/>
              </a:path>
            </a:pathLst>
          </a:custGeom>
          <a:solidFill>
            <a:srgbClr val="FE5817"/>
          </a:solidFill>
        </p:spPr>
        <p:txBody>
          <a:bodyPr wrap="square" lIns="72000" tIns="0" rIns="0" bIns="0" anchor="ctr">
            <a:noAutofit/>
          </a:bodyPr>
          <a:lstStyle/>
          <a:p>
            <a:r>
              <a:rPr lang="en-US" altLang="zh-CN" sz="1600" b="1">
                <a:solidFill>
                  <a:prstClr val="white"/>
                </a:solidFill>
                <a:latin typeface="Arial" panose="020B0604020202020204"/>
                <a:ea typeface="华文楷体" panose="02010600040101010101" charset="-122"/>
              </a:rPr>
              <a:t>XXX</a:t>
            </a:r>
            <a:endParaRPr lang="zh-CN" altLang="zh-CN" sz="1600" b="1" dirty="0">
              <a:solidFill>
                <a:prstClr val="white"/>
              </a:solidFill>
              <a:latin typeface="Arial" panose="020B0604020202020204"/>
              <a:ea typeface="华文楷体" panose="02010600040101010101" charset="-122"/>
            </a:endParaRPr>
          </a:p>
        </p:txBody>
      </p:sp>
      <p:sp>
        <p:nvSpPr>
          <p:cNvPr id="70" name="矩形 69"/>
          <p:cNvSpPr/>
          <p:nvPr/>
        </p:nvSpPr>
        <p:spPr>
          <a:xfrm>
            <a:off x="424540" y="4826525"/>
            <a:ext cx="3603174" cy="448646"/>
          </a:xfrm>
          <a:prstGeom prst="rect">
            <a:avLst/>
          </a:prstGeom>
          <a:solidFill>
            <a:schemeClr val="bg1">
              <a:lumMod val="95000"/>
            </a:schemeClr>
          </a:solidFill>
          <a:ln>
            <a:noFill/>
          </a:ln>
          <a:extLst>
            <a:ext uri="{91240B29-F687-4F45-9708-019B960494DF}">
              <a14:hiddenLine xmlns:a14="http://schemas.microsoft.com/office/drawing/2010/main">
                <a:solidFill>
                  <a:schemeClr val="bg1">
                    <a:lumMod val="65000"/>
                  </a:schemeClr>
                </a:solidFill>
              </a14:hiddenLine>
            </a:ext>
          </a:extLst>
        </p:spPr>
        <p:txBody>
          <a:bodyPr wrap="square" anchor="ctr">
            <a:no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smtClean="0">
                <a:ln>
                  <a:noFill/>
                </a:ln>
                <a:solidFill>
                  <a:srgbClr val="44546A"/>
                </a:solidFill>
                <a:effectLst/>
                <a:uLnTx/>
                <a:uFillTx/>
                <a:latin typeface="Arial" panose="020B0604020202020204"/>
                <a:ea typeface="华文楷体" panose="02010600040101010101" charset="-122"/>
                <a:cs typeface="宋体" panose="02010600030101010101" pitchFamily="2" charset="-122"/>
              </a:rPr>
              <a:t>XXXX</a:t>
            </a:r>
            <a:endParaRPr kumimoji="0" lang="zh-CN" altLang="zh-CN"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宋体" panose="02010600030101010101" pitchFamily="2" charset="-122"/>
            </a:endParaRPr>
          </a:p>
        </p:txBody>
      </p:sp>
      <p:sp>
        <p:nvSpPr>
          <p:cNvPr id="71" name="矩形 70"/>
          <p:cNvSpPr/>
          <p:nvPr/>
        </p:nvSpPr>
        <p:spPr>
          <a:xfrm>
            <a:off x="424540" y="5325854"/>
            <a:ext cx="3603174" cy="448646"/>
          </a:xfrm>
          <a:prstGeom prst="rect">
            <a:avLst/>
          </a:prstGeom>
          <a:solidFill>
            <a:schemeClr val="bg1">
              <a:lumMod val="95000"/>
            </a:schemeClr>
          </a:solidFill>
          <a:ln>
            <a:noFill/>
          </a:ln>
          <a:extLst>
            <a:ext uri="{91240B29-F687-4F45-9708-019B960494DF}">
              <a14:hiddenLine xmlns:a14="http://schemas.microsoft.com/office/drawing/2010/main">
                <a:solidFill>
                  <a:schemeClr val="bg1">
                    <a:lumMod val="65000"/>
                  </a:schemeClr>
                </a:solidFill>
              </a14:hiddenLine>
            </a:ext>
          </a:extLst>
        </p:spPr>
        <p:txBody>
          <a:bodyPr wrap="square" anchor="ctr">
            <a:no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smtClean="0">
                <a:ln>
                  <a:noFill/>
                </a:ln>
                <a:solidFill>
                  <a:srgbClr val="44546A"/>
                </a:solidFill>
                <a:effectLst/>
                <a:uLnTx/>
                <a:uFillTx/>
                <a:latin typeface="Arial" panose="020B0604020202020204"/>
                <a:ea typeface="华文楷体" panose="02010600040101010101" charset="-122"/>
                <a:cs typeface="宋体" panose="02010600030101010101" pitchFamily="2" charset="-122"/>
              </a:rPr>
              <a:t>XXXX</a:t>
            </a:r>
            <a:endParaRPr kumimoji="0" lang="zh-CN" altLang="en-US" sz="1400" b="0" i="0" u="none" strike="noStrike" kern="1200" cap="none" spc="0" normalizeH="0" baseline="0" noProof="0" dirty="0">
              <a:ln>
                <a:noFill/>
              </a:ln>
              <a:solidFill>
                <a:srgbClr val="44546A"/>
              </a:solidFill>
              <a:effectLst/>
              <a:uLnTx/>
              <a:uFillTx/>
              <a:latin typeface="Arial" panose="020B0604020202020204"/>
              <a:ea typeface="华文楷体" panose="02010600040101010101" charset="-122"/>
              <a:cs typeface="宋体" panose="02010600030101010101" pitchFamily="2" charset="-122"/>
            </a:endParaRPr>
          </a:p>
        </p:txBody>
      </p:sp>
      <p:sp>
        <p:nvSpPr>
          <p:cNvPr id="72" name="矩形 71"/>
          <p:cNvSpPr/>
          <p:nvPr/>
        </p:nvSpPr>
        <p:spPr>
          <a:xfrm>
            <a:off x="424540" y="5825185"/>
            <a:ext cx="3603174" cy="448646"/>
          </a:xfrm>
          <a:prstGeom prst="rect">
            <a:avLst/>
          </a:prstGeom>
          <a:solidFill>
            <a:schemeClr val="bg1">
              <a:lumMod val="95000"/>
            </a:schemeClr>
          </a:solidFill>
          <a:ln>
            <a:noFill/>
          </a:ln>
          <a:extLst>
            <a:ext uri="{91240B29-F687-4F45-9708-019B960494DF}">
              <a14:hiddenLine xmlns:a14="http://schemas.microsoft.com/office/drawing/2010/main">
                <a:solidFill>
                  <a:schemeClr val="bg1">
                    <a:lumMod val="65000"/>
                  </a:schemeClr>
                </a:solidFill>
              </a14:hiddenLine>
            </a:ext>
          </a:extLst>
        </p:spPr>
        <p:txBody>
          <a:bodyPr wrap="square" anchor="ctr">
            <a:no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smtClean="0">
                <a:ln>
                  <a:noFill/>
                </a:ln>
                <a:solidFill>
                  <a:srgbClr val="44546A"/>
                </a:solidFill>
                <a:effectLst/>
                <a:uLnTx/>
                <a:uFillTx/>
                <a:latin typeface="Arial" panose="020B0604020202020204"/>
                <a:ea typeface="华文楷体" panose="02010600040101010101" charset="-122"/>
                <a:cs typeface="宋体" panose="02010600030101010101" pitchFamily="2" charset="-122"/>
              </a:rPr>
              <a:t>XXX</a:t>
            </a:r>
            <a:endParaRPr kumimoji="0" lang="zh-CN" altLang="en-US" sz="1400" b="0" i="0" u="none" strike="noStrike" kern="1200" cap="none" spc="0" normalizeH="0" baseline="0" noProof="0" dirty="0">
              <a:ln>
                <a:noFill/>
              </a:ln>
              <a:solidFill>
                <a:srgbClr val="44546A"/>
              </a:solidFill>
              <a:effectLst/>
              <a:uLnTx/>
              <a:uFillTx/>
              <a:latin typeface="Arial" panose="020B0604020202020204"/>
              <a:ea typeface="华文楷体" panose="02010600040101010101" charset="-122"/>
              <a:cs typeface="宋体" panose="02010600030101010101" pitchFamily="2" charset="-122"/>
            </a:endParaRPr>
          </a:p>
        </p:txBody>
      </p:sp>
      <p:cxnSp>
        <p:nvCxnSpPr>
          <p:cNvPr id="73" name="直接连接符 72"/>
          <p:cNvCxnSpPr/>
          <p:nvPr/>
        </p:nvCxnSpPr>
        <p:spPr>
          <a:xfrm>
            <a:off x="3985846" y="5297100"/>
            <a:ext cx="7783285" cy="0"/>
          </a:xfrm>
          <a:prstGeom prst="line">
            <a:avLst/>
          </a:prstGeom>
          <a:ln w="9525" cap="rnd">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74" name="五边形 73"/>
          <p:cNvSpPr/>
          <p:nvPr/>
        </p:nvSpPr>
        <p:spPr>
          <a:xfrm>
            <a:off x="6657332" y="5029533"/>
            <a:ext cx="2331999" cy="171532"/>
          </a:xfrm>
          <a:prstGeom prst="homePlate">
            <a:avLst>
              <a:gd name="adj" fmla="val 30769"/>
            </a:avLst>
          </a:prstGeom>
          <a:solidFill>
            <a:schemeClr val="accent1"/>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uLnTx/>
              <a:uFillTx/>
              <a:latin typeface="Arial" panose="020B0604020202020204"/>
              <a:ea typeface="华文楷体" panose="02010600040101010101" charset="-122"/>
              <a:cs typeface="+mn-cs"/>
            </a:endParaRPr>
          </a:p>
        </p:txBody>
      </p:sp>
      <p:sp>
        <p:nvSpPr>
          <p:cNvPr id="75" name="五边形 74"/>
          <p:cNvSpPr/>
          <p:nvPr/>
        </p:nvSpPr>
        <p:spPr>
          <a:xfrm>
            <a:off x="8551883" y="5351526"/>
            <a:ext cx="1896157" cy="170438"/>
          </a:xfrm>
          <a:prstGeom prst="homePlate">
            <a:avLst>
              <a:gd name="adj" fmla="val 30769"/>
            </a:avLst>
          </a:prstGeom>
          <a:solidFill>
            <a:schemeClr val="accent1"/>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uLnTx/>
              <a:uFillTx/>
              <a:latin typeface="Arial" panose="020B0604020202020204"/>
              <a:ea typeface="华文楷体" panose="02010600040101010101" charset="-122"/>
              <a:cs typeface="+mn-cs"/>
            </a:endParaRPr>
          </a:p>
        </p:txBody>
      </p:sp>
      <p:sp>
        <p:nvSpPr>
          <p:cNvPr id="76" name="五边形 75"/>
          <p:cNvSpPr/>
          <p:nvPr/>
        </p:nvSpPr>
        <p:spPr>
          <a:xfrm>
            <a:off x="10303688" y="5971922"/>
            <a:ext cx="1435567" cy="178156"/>
          </a:xfrm>
          <a:prstGeom prst="homePlate">
            <a:avLst>
              <a:gd name="adj" fmla="val 30769"/>
            </a:avLst>
          </a:prstGeom>
          <a:solidFill>
            <a:schemeClr val="accent1"/>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uLnTx/>
              <a:uFillTx/>
              <a:latin typeface="Arial" panose="020B0604020202020204"/>
              <a:ea typeface="华文楷体" panose="02010600040101010101" charset="-122"/>
              <a:cs typeface="+mn-cs"/>
            </a:endParaRPr>
          </a:p>
        </p:txBody>
      </p:sp>
      <p:sp>
        <p:nvSpPr>
          <p:cNvPr id="11" name="矩形 10"/>
          <p:cNvSpPr/>
          <p:nvPr/>
        </p:nvSpPr>
        <p:spPr>
          <a:xfrm>
            <a:off x="7958127" y="3580135"/>
            <a:ext cx="1317848" cy="16467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rgbClr val="C00000"/>
                </a:solidFill>
              </a14:hiddenLine>
            </a:ext>
          </a:extLst>
        </p:spPr>
        <p:txBody>
          <a:bodyPr wrap="square" lIns="7200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srgbClr val="B32C16"/>
                </a:solidFill>
                <a:uLnTx/>
                <a:uFillTx/>
                <a:latin typeface="Arial" panose="020B0604020202020204"/>
                <a:ea typeface="华文楷体" panose="02010600040101010101" charset="-122"/>
                <a:cs typeface="+mn-cs"/>
              </a:rPr>
              <a:t>产品</a:t>
            </a:r>
            <a:r>
              <a:rPr kumimoji="0" lang="en-US" altLang="zh-CN" sz="1200" b="1" i="0" u="none" strike="noStrike" kern="1200" cap="none" spc="0" normalizeH="0" baseline="0" noProof="0" dirty="0" smtClean="0">
                <a:ln>
                  <a:noFill/>
                </a:ln>
                <a:solidFill>
                  <a:srgbClr val="B32C16"/>
                </a:solidFill>
                <a:uLnTx/>
                <a:uFillTx/>
                <a:latin typeface="Arial" panose="020B0604020202020204"/>
                <a:ea typeface="华文楷体" panose="02010600040101010101" charset="-122"/>
                <a:cs typeface="+mn-cs"/>
              </a:rPr>
              <a:t>v1</a:t>
            </a:r>
            <a:r>
              <a:rPr kumimoji="0" lang="zh-CN" altLang="en-US" sz="1200" b="1" i="0" u="none" strike="noStrike" kern="1200" cap="none" spc="0" normalizeH="0" baseline="0" noProof="0" dirty="0" smtClean="0">
                <a:ln>
                  <a:noFill/>
                </a:ln>
                <a:solidFill>
                  <a:srgbClr val="B32C16"/>
                </a:solidFill>
                <a:uLnTx/>
                <a:uFillTx/>
                <a:latin typeface="Arial" panose="020B0604020202020204"/>
                <a:ea typeface="华文楷体" panose="02010600040101010101" charset="-122"/>
                <a:cs typeface="+mn-cs"/>
              </a:rPr>
              <a:t>，完成落地</a:t>
            </a:r>
            <a:endParaRPr kumimoji="0" lang="zh-CN" altLang="en-US" sz="1200" b="1" i="0" u="none" strike="noStrike" kern="1200" cap="none" spc="0" normalizeH="0" baseline="0" noProof="0" dirty="0">
              <a:ln>
                <a:noFill/>
              </a:ln>
              <a:solidFill>
                <a:srgbClr val="B32C16"/>
              </a:solidFill>
              <a:uLnTx/>
              <a:uFillTx/>
              <a:latin typeface="Arial" panose="020B0604020202020204"/>
              <a:ea typeface="华文楷体" panose="02010600040101010101" charset="-122"/>
              <a:cs typeface="+mn-cs"/>
            </a:endParaRPr>
          </a:p>
        </p:txBody>
      </p:sp>
      <p:sp>
        <p:nvSpPr>
          <p:cNvPr id="10" name="等腰三角形 9"/>
          <p:cNvSpPr/>
          <p:nvPr/>
        </p:nvSpPr>
        <p:spPr>
          <a:xfrm>
            <a:off x="7244542" y="4044535"/>
            <a:ext cx="160172" cy="160172"/>
          </a:xfrm>
          <a:prstGeom prst="triangle">
            <a:avLst/>
          </a:prstGeom>
          <a:solidFill>
            <a:schemeClr val="accent2"/>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79" name="等腰三角形 78"/>
          <p:cNvSpPr/>
          <p:nvPr/>
        </p:nvSpPr>
        <p:spPr>
          <a:xfrm>
            <a:off x="8498307" y="4044535"/>
            <a:ext cx="160172" cy="160172"/>
          </a:xfrm>
          <a:prstGeom prst="triangle">
            <a:avLst/>
          </a:prstGeom>
          <a:solidFill>
            <a:schemeClr val="accent2"/>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81" name="矩形 80"/>
          <p:cNvSpPr/>
          <p:nvPr/>
        </p:nvSpPr>
        <p:spPr>
          <a:xfrm>
            <a:off x="6878477" y="4227130"/>
            <a:ext cx="724522" cy="16467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rgbClr val="C00000"/>
                </a:solidFill>
              </a14:hiddenLine>
            </a:ext>
          </a:extLst>
        </p:spPr>
        <p:txBody>
          <a:bodyPr wrap="square" lIns="7200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B32C16"/>
                </a:solidFill>
                <a:uLnTx/>
                <a:uFillTx/>
                <a:latin typeface="Arial" panose="020B0604020202020204"/>
                <a:ea typeface="华文楷体" panose="02010600040101010101" charset="-122"/>
                <a:cs typeface="+mn-cs"/>
              </a:rPr>
              <a:t>数据打通</a:t>
            </a:r>
            <a:endParaRPr kumimoji="0" lang="zh-CN" altLang="en-US" sz="1200" b="1" i="0" u="none" strike="noStrike" kern="1200" cap="none" spc="0" normalizeH="0" baseline="0" noProof="0" dirty="0">
              <a:ln>
                <a:noFill/>
              </a:ln>
              <a:solidFill>
                <a:srgbClr val="B32C16"/>
              </a:solidFill>
              <a:uLnTx/>
              <a:uFillTx/>
              <a:latin typeface="Arial" panose="020B0604020202020204"/>
              <a:ea typeface="华文楷体" panose="02010600040101010101" charset="-122"/>
              <a:cs typeface="+mn-cs"/>
            </a:endParaRPr>
          </a:p>
        </p:txBody>
      </p:sp>
      <p:sp>
        <p:nvSpPr>
          <p:cNvPr id="95" name="矩形 94"/>
          <p:cNvSpPr/>
          <p:nvPr/>
        </p:nvSpPr>
        <p:spPr>
          <a:xfrm>
            <a:off x="7685350" y="4227130"/>
            <a:ext cx="1637158" cy="16467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rgbClr val="C00000"/>
                </a:solidFill>
              </a14:hiddenLine>
            </a:ext>
          </a:extLst>
        </p:spPr>
        <p:txBody>
          <a:bodyPr wrap="square" lIns="7200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B32C16"/>
                </a:solidFill>
                <a:uLnTx/>
                <a:uFillTx/>
                <a:latin typeface="Arial" panose="020B0604020202020204"/>
                <a:ea typeface="华文楷体" panose="02010600040101010101" charset="-122"/>
                <a:cs typeface="+mn-cs"/>
              </a:rPr>
              <a:t>数据跑通实际业务流程</a:t>
            </a:r>
            <a:endParaRPr kumimoji="0" lang="zh-CN" altLang="en-US" sz="1200" b="1" i="0" u="none" strike="noStrike" kern="1200" cap="none" spc="0" normalizeH="0" baseline="0" noProof="0" dirty="0">
              <a:ln>
                <a:noFill/>
              </a:ln>
              <a:solidFill>
                <a:srgbClr val="B32C16"/>
              </a:solidFill>
              <a:uLnTx/>
              <a:uFillTx/>
              <a:latin typeface="Arial" panose="020B0604020202020204"/>
              <a:ea typeface="华文楷体" panose="02010600040101010101" charset="-122"/>
              <a:cs typeface="+mn-cs"/>
            </a:endParaRPr>
          </a:p>
        </p:txBody>
      </p:sp>
      <p:sp>
        <p:nvSpPr>
          <p:cNvPr id="96" name="等腰三角形 95"/>
          <p:cNvSpPr/>
          <p:nvPr/>
        </p:nvSpPr>
        <p:spPr>
          <a:xfrm>
            <a:off x="8488880" y="3360697"/>
            <a:ext cx="160172" cy="160172"/>
          </a:xfrm>
          <a:prstGeom prst="triangle">
            <a:avLst/>
          </a:prstGeom>
          <a:solidFill>
            <a:schemeClr val="accent2"/>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97" name="等腰三角形 96"/>
          <p:cNvSpPr/>
          <p:nvPr/>
        </p:nvSpPr>
        <p:spPr>
          <a:xfrm>
            <a:off x="9296130" y="5412398"/>
            <a:ext cx="160172" cy="160172"/>
          </a:xfrm>
          <a:prstGeom prst="triangle">
            <a:avLst/>
          </a:prstGeom>
          <a:solidFill>
            <a:schemeClr val="accent2"/>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98" name="矩形 97"/>
          <p:cNvSpPr/>
          <p:nvPr/>
        </p:nvSpPr>
        <p:spPr>
          <a:xfrm>
            <a:off x="8679897" y="5590095"/>
            <a:ext cx="1637158" cy="28352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rgbClr val="C00000"/>
                </a:solidFill>
              </a14:hiddenLine>
            </a:ext>
          </a:extLst>
        </p:spPr>
        <p:txBody>
          <a:bodyPr wrap="square" lIns="7200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B32C16"/>
                </a:solidFill>
                <a:uLnTx/>
                <a:uFillTx/>
                <a:latin typeface="Arial" panose="020B0604020202020204"/>
                <a:ea typeface="华文楷体" panose="02010600040101010101" charset="-122"/>
                <a:cs typeface="+mn-cs"/>
              </a:rPr>
              <a:t>第一家试点过程中同步寻找潜在经销商客户</a:t>
            </a:r>
            <a:endParaRPr kumimoji="0" lang="zh-CN" altLang="en-US" sz="1200" b="1" i="0" u="none" strike="noStrike" kern="1200" cap="none" spc="0" normalizeH="0" baseline="0" noProof="0" dirty="0">
              <a:ln>
                <a:noFill/>
              </a:ln>
              <a:solidFill>
                <a:srgbClr val="B32C16"/>
              </a:solidFill>
              <a:uLnTx/>
              <a:uFillTx/>
              <a:latin typeface="Arial" panose="020B0604020202020204"/>
              <a:ea typeface="华文楷体" panose="02010600040101010101" charset="-122"/>
              <a:cs typeface="+mn-cs"/>
            </a:endParaRPr>
          </a:p>
        </p:txBody>
      </p:sp>
      <p:sp>
        <p:nvSpPr>
          <p:cNvPr id="8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甘特图</a:t>
            </a:r>
            <a:endParaRPr lang="zh-CN" altLang="en-US" sz="2400" dirty="0">
              <a:solidFill>
                <a:prstClr val="black"/>
              </a:solidFill>
              <a:latin typeface="华文楷体" panose="02010600040101010101" charset="-122"/>
            </a:endParaRPr>
          </a:p>
        </p:txBody>
      </p:sp>
      <p:pic>
        <p:nvPicPr>
          <p:cNvPr id="80" name="图片 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0859" name="think-cell Slide" r:id="rId2" imgW="12700" imgH="12700" progId="TCLayout.ActiveDocument.1">
                  <p:embed/>
                </p:oleObj>
              </mc:Choice>
              <mc:Fallback>
                <p:oleObj name="think-cell Slide" r:id="rId2" imgW="12700" imgH="12700" progId="TCLayout.ActiveDocument.1">
                  <p:embed/>
                  <p:pic>
                    <p:nvPicPr>
                      <p:cNvPr id="0" name="对象 3"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35" name="TextBox 2"/>
          <p:cNvSpPr txBox="1"/>
          <p:nvPr/>
        </p:nvSpPr>
        <p:spPr>
          <a:xfrm>
            <a:off x="504288" y="1664758"/>
            <a:ext cx="8822720" cy="407265"/>
          </a:xfrm>
          <a:prstGeom prst="homePlate">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marR="0" lvl="0" indent="0" algn="ctr" fontAlgn="auto">
              <a:lnSpc>
                <a:spcPct val="90000"/>
              </a:lnSpc>
              <a:spcBef>
                <a:spcPts val="0"/>
              </a:spcBef>
              <a:spcAft>
                <a:spcPts val="1000"/>
              </a:spcAft>
              <a:buClrTx/>
              <a:buSzTx/>
              <a:buFontTx/>
              <a:buNone/>
              <a:defRPr kumimoji="0" sz="1400" b="1" i="0" u="none" strike="noStrike" cap="none" spc="0" normalizeH="0" baseline="0">
                <a:ln>
                  <a:noFill/>
                </a:ln>
                <a:solidFill>
                  <a:prstClr val="white"/>
                </a:solidFill>
                <a:effectLst/>
                <a:uLnTx/>
                <a:uFillTx/>
                <a:latin typeface="Arial" panose="020B0604020202020204"/>
                <a:ea typeface="华文楷体" panose="02010600040101010101"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dirty="0"/>
              <a:t>请替换文字内容，添加相关标题，修改文字内容，也可以直接复制你的内容到此</a:t>
            </a:r>
            <a:endParaRPr lang="zh-CN" altLang="en-US" dirty="0"/>
          </a:p>
        </p:txBody>
      </p:sp>
      <p:sp>
        <p:nvSpPr>
          <p:cNvPr id="36" name="TextBox 2"/>
          <p:cNvSpPr txBox="1"/>
          <p:nvPr/>
        </p:nvSpPr>
        <p:spPr>
          <a:xfrm>
            <a:off x="504288" y="2288051"/>
            <a:ext cx="8822720" cy="407265"/>
          </a:xfrm>
          <a:prstGeom prst="homePlate">
            <a:avLst/>
          </a:prstGeom>
          <a:solidFill>
            <a:srgbClr val="FE5817"/>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marR="0" lvl="0" indent="0" algn="ctr" fontAlgn="auto">
              <a:lnSpc>
                <a:spcPct val="90000"/>
              </a:lnSpc>
              <a:spcBef>
                <a:spcPts val="0"/>
              </a:spcBef>
              <a:spcAft>
                <a:spcPts val="1000"/>
              </a:spcAft>
              <a:buClrTx/>
              <a:buSzTx/>
              <a:buFontTx/>
              <a:buNone/>
              <a:defRPr kumimoji="0" sz="1400" b="1" i="0" u="none" strike="noStrike" cap="none" spc="0" normalizeH="0" baseline="0">
                <a:ln>
                  <a:noFill/>
                </a:ln>
                <a:solidFill>
                  <a:prstClr val="white"/>
                </a:solidFill>
                <a:effectLst/>
                <a:uLnTx/>
                <a:uFillTx/>
                <a:latin typeface="Arial" panose="020B0604020202020204"/>
                <a:ea typeface="华文楷体" panose="02010600040101010101"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dirty="0"/>
              <a:t>请替换文字内容，添加相关标题，修改文字内容，也可以直接复制你的内容到此</a:t>
            </a:r>
            <a:endParaRPr lang="zh-CN" altLang="en-US" dirty="0"/>
          </a:p>
        </p:txBody>
      </p:sp>
      <p:sp>
        <p:nvSpPr>
          <p:cNvPr id="37" name="TextBox 2"/>
          <p:cNvSpPr txBox="1"/>
          <p:nvPr/>
        </p:nvSpPr>
        <p:spPr>
          <a:xfrm>
            <a:off x="527362" y="2833462"/>
            <a:ext cx="8822720" cy="398676"/>
          </a:xfrm>
          <a:prstGeom prst="rect">
            <a:avLst/>
          </a:prstGeom>
          <a:noFill/>
        </p:spPr>
        <p:txBody>
          <a:bodyPr wrap="square" lIns="0" rIns="0" rtlCol="0" anchor="ctr">
            <a:noAutofit/>
          </a:bodyPr>
          <a:lstStyle/>
          <a:p>
            <a:pPr marL="330200" marR="0" lvl="1" indent="-199390" algn="l" defTabSz="914400" rtl="0" eaLnBrk="1" fontAlgn="auto" latinLnBrk="0" hangingPunct="1">
              <a:lnSpc>
                <a:spcPct val="100000"/>
              </a:lnSpc>
              <a:spcBef>
                <a:spcPts val="600"/>
              </a:spcBef>
              <a:spcAft>
                <a:spcPct val="0"/>
              </a:spcAft>
              <a:buClr>
                <a:srgbClr val="575F6D">
                  <a:lumMod val="100000"/>
                </a:srgbClr>
              </a:buClr>
              <a:buSzPct val="100000"/>
              <a:buFont typeface="Arial" panose="020B0604020202020204" pitchFamily="34" charset="0"/>
              <a:buChar char="•"/>
              <a:defRPr/>
            </a:pPr>
            <a:r>
              <a:rPr kumimoji="0" lang="en-US" altLang="zh-CN" sz="1600" b="0" i="0" u="none" strike="noStrike" kern="1200" cap="none" spc="0" normalizeH="0" baseline="0" noProof="0" smtClean="0">
                <a:ln>
                  <a:noFill/>
                </a:ln>
                <a:solidFill>
                  <a:srgbClr val="000000">
                    <a:lumMod val="100000"/>
                  </a:srgbClr>
                </a:solidFill>
                <a:effectLst/>
                <a:uLnTx/>
                <a:uFillTx/>
                <a:latin typeface="Arial" panose="020B0604020202020204" pitchFamily="34" charset="0"/>
                <a:ea typeface="华文楷体" panose="02010600040101010101" charset="-122"/>
                <a:cs typeface="+mn-cs"/>
              </a:rPr>
              <a:t>XXXX</a:t>
            </a:r>
            <a:endParaRPr kumimoji="0" lang="zh-CN" altLang="en-US" sz="16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华文楷体" panose="02010600040101010101" charset="-122"/>
              <a:cs typeface="+mn-cs"/>
            </a:endParaRPr>
          </a:p>
        </p:txBody>
      </p:sp>
      <p:sp>
        <p:nvSpPr>
          <p:cNvPr id="38" name="TextBox 2"/>
          <p:cNvSpPr txBox="1"/>
          <p:nvPr/>
        </p:nvSpPr>
        <p:spPr>
          <a:xfrm>
            <a:off x="527362" y="3245146"/>
            <a:ext cx="8822720" cy="398676"/>
          </a:xfrm>
          <a:prstGeom prst="rect">
            <a:avLst/>
          </a:prstGeom>
          <a:noFill/>
        </p:spPr>
        <p:txBody>
          <a:bodyPr wrap="square" lIns="0" rIns="0" rtlCol="0" anchor="ctr">
            <a:noAutofit/>
          </a:bodyPr>
          <a:lstStyle/>
          <a:p>
            <a:pPr marL="330200" marR="0" lvl="1" indent="-199390" algn="l" defTabSz="914400" rtl="0" eaLnBrk="1" fontAlgn="auto" latinLnBrk="0" hangingPunct="1">
              <a:lnSpc>
                <a:spcPct val="100000"/>
              </a:lnSpc>
              <a:spcBef>
                <a:spcPts val="600"/>
              </a:spcBef>
              <a:spcAft>
                <a:spcPct val="0"/>
              </a:spcAft>
              <a:buClr>
                <a:srgbClr val="575F6D">
                  <a:lumMod val="100000"/>
                </a:srgbClr>
              </a:buClr>
              <a:buSzPct val="100000"/>
              <a:buFont typeface="Arial" panose="020B0604020202020204" pitchFamily="34" charset="0"/>
              <a:buChar char="•"/>
              <a:defRPr/>
            </a:pPr>
            <a:r>
              <a:rPr kumimoji="0" lang="en-US" altLang="zh-CN" sz="1600" b="0" i="0" u="none" strike="noStrike" kern="1200" cap="none" spc="0" normalizeH="0" baseline="0" noProof="0" smtClean="0">
                <a:ln>
                  <a:noFill/>
                </a:ln>
                <a:solidFill>
                  <a:srgbClr val="000000">
                    <a:lumMod val="100000"/>
                  </a:srgbClr>
                </a:solidFill>
                <a:effectLst/>
                <a:uLnTx/>
                <a:uFillTx/>
                <a:latin typeface="Arial" panose="020B0604020202020204" pitchFamily="34" charset="0"/>
                <a:ea typeface="华文楷体" panose="02010600040101010101" charset="-122"/>
                <a:cs typeface="+mn-cs"/>
              </a:rPr>
              <a:t>XXXX</a:t>
            </a:r>
            <a:endParaRPr kumimoji="0" lang="zh-CN" altLang="en-US" sz="16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华文楷体" panose="02010600040101010101" charset="-122"/>
              <a:cs typeface="+mn-cs"/>
            </a:endParaRPr>
          </a:p>
        </p:txBody>
      </p:sp>
      <p:sp>
        <p:nvSpPr>
          <p:cNvPr id="39" name="TextBox 2"/>
          <p:cNvSpPr txBox="1"/>
          <p:nvPr/>
        </p:nvSpPr>
        <p:spPr>
          <a:xfrm>
            <a:off x="527362" y="3656830"/>
            <a:ext cx="8822720" cy="398676"/>
          </a:xfrm>
          <a:prstGeom prst="rect">
            <a:avLst/>
          </a:prstGeom>
          <a:noFill/>
        </p:spPr>
        <p:txBody>
          <a:bodyPr wrap="square" lIns="0" rIns="0" rtlCol="0" anchor="ctr">
            <a:noAutofit/>
          </a:bodyPr>
          <a:lstStyle/>
          <a:p>
            <a:pPr marL="651510" marR="0" lvl="2" indent="-190500" algn="l" defTabSz="914400" rtl="0" eaLnBrk="1" fontAlgn="auto" latinLnBrk="0" hangingPunct="1">
              <a:lnSpc>
                <a:spcPct val="100000"/>
              </a:lnSpc>
              <a:spcBef>
                <a:spcPts val="600"/>
              </a:spcBef>
              <a:spcAft>
                <a:spcPct val="0"/>
              </a:spcAft>
              <a:buClr>
                <a:srgbClr val="575F6D">
                  <a:lumMod val="100000"/>
                </a:srgbClr>
              </a:buClr>
              <a:buSzPct val="100000"/>
              <a:buFont typeface="Arial" panose="020B0604020202020204" pitchFamily="34" charset="0"/>
              <a:buChar char="–"/>
              <a:tabLst>
                <a:tab pos="990600" algn="l"/>
              </a:tabLst>
              <a:defRPr/>
            </a:pPr>
            <a:r>
              <a:rPr kumimoji="0" lang="en-US" altLang="zh-CN" sz="1600" b="0"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华文楷体" panose="02010600040101010101" charset="-122"/>
                <a:cs typeface="+mn-cs"/>
              </a:rPr>
              <a:t>xxx</a:t>
            </a:r>
            <a:endParaRPr kumimoji="0" lang="zh-CN" altLang="en-US" sz="16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华文楷体" panose="02010600040101010101" charset="-122"/>
              <a:cs typeface="+mn-cs"/>
            </a:endParaRPr>
          </a:p>
        </p:txBody>
      </p:sp>
      <p:sp>
        <p:nvSpPr>
          <p:cNvPr id="40" name="TextBox 2"/>
          <p:cNvSpPr txBox="1"/>
          <p:nvPr/>
        </p:nvSpPr>
        <p:spPr>
          <a:xfrm>
            <a:off x="527362" y="4068514"/>
            <a:ext cx="8822720" cy="398676"/>
          </a:xfrm>
          <a:prstGeom prst="rect">
            <a:avLst/>
          </a:prstGeom>
          <a:noFill/>
        </p:spPr>
        <p:txBody>
          <a:bodyPr wrap="square" lIns="0" rIns="0" rtlCol="0" anchor="ctr">
            <a:noAutofit/>
          </a:bodyPr>
          <a:lstStyle/>
          <a:p>
            <a:pPr marL="651510" marR="0" lvl="2" indent="-190500" algn="l" defTabSz="914400" rtl="0" eaLnBrk="1" fontAlgn="auto" latinLnBrk="0" hangingPunct="1">
              <a:lnSpc>
                <a:spcPct val="100000"/>
              </a:lnSpc>
              <a:spcBef>
                <a:spcPts val="600"/>
              </a:spcBef>
              <a:spcAft>
                <a:spcPct val="0"/>
              </a:spcAft>
              <a:buClr>
                <a:srgbClr val="575F6D">
                  <a:lumMod val="100000"/>
                </a:srgbClr>
              </a:buClr>
              <a:buSzPct val="100000"/>
              <a:buFont typeface="Arial" panose="020B0604020202020204" pitchFamily="34" charset="0"/>
              <a:buChar char="–"/>
              <a:tabLst>
                <a:tab pos="990600" algn="l"/>
              </a:tabLst>
              <a:defRPr/>
            </a:pPr>
            <a:r>
              <a:rPr kumimoji="0" lang="en-US" altLang="zh-CN" sz="1600" b="0"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华文楷体" panose="02010600040101010101" charset="-122"/>
                <a:cs typeface="+mn-cs"/>
              </a:rPr>
              <a:t>xxx</a:t>
            </a:r>
            <a:r>
              <a:rPr kumimoji="0" lang="zh-CN" altLang="en-US" sz="1600" b="0"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华文楷体" panose="02010600040101010101" charset="-122"/>
                <a:cs typeface="+mn-cs"/>
              </a:rPr>
              <a:t>）</a:t>
            </a:r>
            <a:endParaRPr kumimoji="0" lang="zh-CN" altLang="en-US" sz="16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华文楷体" panose="02010600040101010101" charset="-122"/>
              <a:cs typeface="+mn-cs"/>
            </a:endParaRPr>
          </a:p>
        </p:txBody>
      </p:sp>
      <p:sp>
        <p:nvSpPr>
          <p:cNvPr id="41" name="TextBox 2"/>
          <p:cNvSpPr txBox="1"/>
          <p:nvPr/>
        </p:nvSpPr>
        <p:spPr>
          <a:xfrm>
            <a:off x="527362" y="4480198"/>
            <a:ext cx="8822720" cy="398676"/>
          </a:xfrm>
          <a:prstGeom prst="rect">
            <a:avLst/>
          </a:prstGeom>
          <a:noFill/>
        </p:spPr>
        <p:txBody>
          <a:bodyPr wrap="square" lIns="0" rIns="0" rtlCol="0" anchor="ctr">
            <a:noAutofit/>
          </a:bodyPr>
          <a:lstStyle/>
          <a:p>
            <a:pPr marL="651510" marR="0" lvl="2" indent="-190500" algn="l" defTabSz="914400" rtl="0" eaLnBrk="1" fontAlgn="auto" latinLnBrk="0" hangingPunct="1">
              <a:lnSpc>
                <a:spcPct val="100000"/>
              </a:lnSpc>
              <a:spcBef>
                <a:spcPts val="600"/>
              </a:spcBef>
              <a:spcAft>
                <a:spcPct val="0"/>
              </a:spcAft>
              <a:buClr>
                <a:srgbClr val="575F6D">
                  <a:lumMod val="100000"/>
                </a:srgbClr>
              </a:buClr>
              <a:buSzPct val="100000"/>
              <a:buFont typeface="Arial" panose="020B0604020202020204" pitchFamily="34" charset="0"/>
              <a:buChar char="–"/>
              <a:tabLst>
                <a:tab pos="990600" algn="l"/>
              </a:tabLst>
              <a:defRPr/>
            </a:pPr>
            <a:r>
              <a:rPr kumimoji="0" lang="en-US" altLang="zh-CN" sz="1600" b="0"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华文楷体" panose="02010600040101010101" charset="-122"/>
                <a:cs typeface="+mn-cs"/>
              </a:rPr>
              <a:t>xxx</a:t>
            </a:r>
            <a:endParaRPr kumimoji="0" lang="zh-CN" altLang="en-US" sz="16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华文楷体" panose="02010600040101010101" charset="-122"/>
              <a:cs typeface="+mn-cs"/>
            </a:endParaRPr>
          </a:p>
        </p:txBody>
      </p:sp>
      <p:sp>
        <p:nvSpPr>
          <p:cNvPr id="42" name="TextBox 2"/>
          <p:cNvSpPr txBox="1"/>
          <p:nvPr/>
        </p:nvSpPr>
        <p:spPr>
          <a:xfrm>
            <a:off x="527362" y="4891882"/>
            <a:ext cx="8822720" cy="398676"/>
          </a:xfrm>
          <a:prstGeom prst="rect">
            <a:avLst/>
          </a:prstGeom>
          <a:noFill/>
        </p:spPr>
        <p:txBody>
          <a:bodyPr wrap="square" lIns="0" rIns="0" rtlCol="0" anchor="ctr">
            <a:noAutofit/>
          </a:bodyPr>
          <a:lstStyle/>
          <a:p>
            <a:pPr marL="330200" marR="0" lvl="1" indent="-199390" algn="l" defTabSz="914400" rtl="0" eaLnBrk="1" fontAlgn="auto" latinLnBrk="0" hangingPunct="1">
              <a:lnSpc>
                <a:spcPct val="100000"/>
              </a:lnSpc>
              <a:spcBef>
                <a:spcPts val="600"/>
              </a:spcBef>
              <a:spcAft>
                <a:spcPct val="0"/>
              </a:spcAft>
              <a:buClr>
                <a:srgbClr val="575F6D">
                  <a:lumMod val="100000"/>
                </a:srgbClr>
              </a:buClr>
              <a:buSzPct val="100000"/>
              <a:buFont typeface="Arial" panose="020B0604020202020204" pitchFamily="34" charset="0"/>
              <a:buChar char="•"/>
              <a:defRPr/>
            </a:pPr>
            <a:r>
              <a:rPr kumimoji="0" lang="en-US" altLang="zh-CN" sz="1600" b="0" i="0" u="none" strike="noStrike" kern="1200" cap="none" spc="0" normalizeH="0" baseline="0" noProof="0" smtClean="0">
                <a:ln>
                  <a:noFill/>
                </a:ln>
                <a:solidFill>
                  <a:srgbClr val="000000">
                    <a:lumMod val="100000"/>
                  </a:srgbClr>
                </a:solidFill>
                <a:effectLst/>
                <a:uLnTx/>
                <a:uFillTx/>
                <a:latin typeface="Arial" panose="020B0604020202020204" pitchFamily="34" charset="0"/>
                <a:ea typeface="华文楷体" panose="02010600040101010101" charset="-122"/>
                <a:cs typeface="+mn-cs"/>
              </a:rPr>
              <a:t>XXXXX</a:t>
            </a:r>
            <a:endParaRPr kumimoji="0" lang="zh-CN" altLang="en-US" sz="16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华文楷体" panose="02010600040101010101" charset="-122"/>
              <a:cs typeface="+mn-cs"/>
            </a:endParaRPr>
          </a:p>
        </p:txBody>
      </p:sp>
      <p:sp>
        <p:nvSpPr>
          <p:cNvPr id="43" name="TextBox 2"/>
          <p:cNvSpPr txBox="1"/>
          <p:nvPr/>
        </p:nvSpPr>
        <p:spPr>
          <a:xfrm>
            <a:off x="527362" y="5303566"/>
            <a:ext cx="8822720" cy="398676"/>
          </a:xfrm>
          <a:prstGeom prst="rect">
            <a:avLst/>
          </a:prstGeom>
          <a:noFill/>
        </p:spPr>
        <p:txBody>
          <a:bodyPr wrap="square" lIns="0" rIns="0" rtlCol="0" anchor="ctr">
            <a:noAutofit/>
          </a:bodyPr>
          <a:lstStyle/>
          <a:p>
            <a:pPr marL="330200" marR="0" lvl="1" indent="-199390" algn="l" defTabSz="914400" rtl="0" eaLnBrk="1" fontAlgn="auto" latinLnBrk="0" hangingPunct="1">
              <a:lnSpc>
                <a:spcPct val="100000"/>
              </a:lnSpc>
              <a:spcBef>
                <a:spcPts val="600"/>
              </a:spcBef>
              <a:spcAft>
                <a:spcPct val="0"/>
              </a:spcAft>
              <a:buClr>
                <a:srgbClr val="575F6D">
                  <a:lumMod val="100000"/>
                </a:srgbClr>
              </a:buClr>
              <a:buSzPct val="100000"/>
              <a:buFont typeface="Arial" panose="020B0604020202020204" pitchFamily="34" charset="0"/>
              <a:buChar char="•"/>
              <a:defRPr/>
            </a:pPr>
            <a:r>
              <a:rPr kumimoji="0" lang="en-US" altLang="zh-CN" sz="1600" b="0" i="0" u="none" strike="noStrike" kern="1200" cap="none" spc="0" normalizeH="0" baseline="0" noProof="0" smtClean="0">
                <a:ln>
                  <a:noFill/>
                </a:ln>
                <a:solidFill>
                  <a:srgbClr val="000000">
                    <a:lumMod val="100000"/>
                  </a:srgbClr>
                </a:solidFill>
                <a:effectLst/>
                <a:uLnTx/>
                <a:uFillTx/>
                <a:latin typeface="Arial" panose="020B0604020202020204" pitchFamily="34" charset="0"/>
                <a:ea typeface="华文楷体" panose="02010600040101010101" charset="-122"/>
                <a:cs typeface="+mn-cs"/>
              </a:rPr>
              <a:t>XXX</a:t>
            </a:r>
            <a:endParaRPr kumimoji="0" lang="zh-CN" altLang="en-US" sz="16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华文楷体" panose="02010600040101010101" charset="-122"/>
              <a:cs typeface="+mn-cs"/>
            </a:endParaRPr>
          </a:p>
        </p:txBody>
      </p:sp>
      <p:sp>
        <p:nvSpPr>
          <p:cNvPr id="44" name="TextBox 2"/>
          <p:cNvSpPr txBox="1"/>
          <p:nvPr/>
        </p:nvSpPr>
        <p:spPr>
          <a:xfrm>
            <a:off x="527362" y="5715253"/>
            <a:ext cx="8822720" cy="398676"/>
          </a:xfrm>
          <a:prstGeom prst="rect">
            <a:avLst/>
          </a:prstGeom>
          <a:noFill/>
        </p:spPr>
        <p:txBody>
          <a:bodyPr wrap="square" lIns="0" rIns="0" rtlCol="0" anchor="ctr">
            <a:noAutofit/>
          </a:bodyPr>
          <a:lstStyle/>
          <a:p>
            <a:pPr marL="330200" marR="0" lvl="1" indent="-199390" algn="l" defTabSz="914400" rtl="0" eaLnBrk="1" fontAlgn="auto" latinLnBrk="0" hangingPunct="1">
              <a:lnSpc>
                <a:spcPct val="100000"/>
              </a:lnSpc>
              <a:spcBef>
                <a:spcPts val="600"/>
              </a:spcBef>
              <a:spcAft>
                <a:spcPct val="0"/>
              </a:spcAft>
              <a:buClr>
                <a:srgbClr val="575F6D">
                  <a:lumMod val="100000"/>
                </a:srgbClr>
              </a:buClr>
              <a:buSzPct val="100000"/>
              <a:buFont typeface="Arial" panose="020B0604020202020204" pitchFamily="34" charset="0"/>
              <a:buChar char="•"/>
              <a:defRPr/>
            </a:pPr>
            <a:r>
              <a:rPr kumimoji="0" lang="en-US" altLang="zh-CN" sz="1600" b="0" i="0" u="none" strike="noStrike" kern="1200" cap="none" spc="0" normalizeH="0" baseline="0" noProof="0" smtClean="0">
                <a:ln>
                  <a:noFill/>
                </a:ln>
                <a:solidFill>
                  <a:srgbClr val="000000">
                    <a:lumMod val="100000"/>
                  </a:srgbClr>
                </a:solidFill>
                <a:effectLst/>
                <a:uLnTx/>
                <a:uFillTx/>
                <a:latin typeface="Arial" panose="020B0604020202020204" pitchFamily="34" charset="0"/>
                <a:ea typeface="华文楷体" panose="02010600040101010101" charset="-122"/>
                <a:cs typeface="+mn-cs"/>
              </a:rPr>
              <a:t>XXX</a:t>
            </a:r>
            <a:endParaRPr kumimoji="0" lang="zh-CN" altLang="en-US" sz="16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华文楷体" panose="02010600040101010101" charset="-122"/>
              <a:cs typeface="+mn-cs"/>
            </a:endParaRPr>
          </a:p>
        </p:txBody>
      </p:sp>
      <p:cxnSp>
        <p:nvCxnSpPr>
          <p:cNvPr id="45" name="直接连接符 44"/>
          <p:cNvCxnSpPr/>
          <p:nvPr/>
        </p:nvCxnSpPr>
        <p:spPr>
          <a:xfrm>
            <a:off x="527362" y="1417300"/>
            <a:ext cx="8591009" cy="0"/>
          </a:xfrm>
          <a:prstGeom prst="line">
            <a:avLst/>
          </a:prstGeom>
          <a:noFill/>
          <a:ln w="19050">
            <a:solidFill>
              <a:srgbClr val="FE5817"/>
            </a:solidFill>
            <a:tailEnd type="stealth"/>
          </a:ln>
        </p:spPr>
        <p:style>
          <a:lnRef idx="2">
            <a:schemeClr val="accent1">
              <a:shade val="50000"/>
            </a:schemeClr>
          </a:lnRef>
          <a:fillRef idx="1">
            <a:schemeClr val="accent1"/>
          </a:fillRef>
          <a:effectRef idx="0">
            <a:schemeClr val="accent1"/>
          </a:effectRef>
          <a:fontRef idx="minor">
            <a:schemeClr val="lt1"/>
          </a:fontRef>
        </p:style>
      </p:cxnSp>
      <p:sp>
        <p:nvSpPr>
          <p:cNvPr id="46" name="矩形 45"/>
          <p:cNvSpPr/>
          <p:nvPr/>
        </p:nvSpPr>
        <p:spPr>
          <a:xfrm>
            <a:off x="527362" y="1132768"/>
            <a:ext cx="2624106" cy="276999"/>
          </a:xfrm>
          <a:prstGeom prst="rect">
            <a:avLst/>
          </a:prstGeom>
        </p:spPr>
        <p:txBody>
          <a:bodyPr wrap="square" t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主要工作</a:t>
            </a:r>
            <a:endParaRPr kumimoji="1" lang="en-US" altLang="zh-CN" sz="18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7" name="矩形 46"/>
          <p:cNvSpPr/>
          <p:nvPr/>
        </p:nvSpPr>
        <p:spPr>
          <a:xfrm>
            <a:off x="9349119" y="1132768"/>
            <a:ext cx="2376715" cy="276999"/>
          </a:xfrm>
          <a:prstGeom prst="rect">
            <a:avLst/>
          </a:prstGeom>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18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时</a:t>
            </a:r>
            <a:r>
              <a:rPr kumimoji="1" lang="zh-CN" altLang="en-US"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间截点</a:t>
            </a:r>
            <a:endParaRPr kumimoji="1" lang="en-US" altLang="zh-CN" sz="18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8" name="矩形 47"/>
          <p:cNvSpPr/>
          <p:nvPr/>
        </p:nvSpPr>
        <p:spPr>
          <a:xfrm>
            <a:off x="9349119" y="1699113"/>
            <a:ext cx="2376715" cy="338554"/>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a:t>
            </a:r>
            <a:r>
              <a:rPr kumimoji="1"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月</a:t>
            </a:r>
            <a:r>
              <a:rPr kumimoji="1"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r>
              <a:rPr kumimoji="1"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号</a:t>
            </a:r>
            <a:endPar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9" name="矩形 48"/>
          <p:cNvSpPr/>
          <p:nvPr/>
        </p:nvSpPr>
        <p:spPr>
          <a:xfrm>
            <a:off x="9349119" y="2833461"/>
            <a:ext cx="2376715" cy="338554"/>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月</a:t>
            </a: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号</a:t>
            </a:r>
            <a:endPar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50" name="矩形 49"/>
          <p:cNvSpPr/>
          <p:nvPr/>
        </p:nvSpPr>
        <p:spPr>
          <a:xfrm>
            <a:off x="9349119" y="3760229"/>
            <a:ext cx="2376715" cy="338554"/>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月</a:t>
            </a: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号</a:t>
            </a:r>
            <a:endPar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51" name="矩形 50"/>
          <p:cNvSpPr/>
          <p:nvPr/>
        </p:nvSpPr>
        <p:spPr>
          <a:xfrm>
            <a:off x="9349119" y="4148983"/>
            <a:ext cx="2376715" cy="338554"/>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月</a:t>
            </a: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号</a:t>
            </a:r>
            <a:endPar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52" name="矩形 51"/>
          <p:cNvSpPr/>
          <p:nvPr/>
        </p:nvSpPr>
        <p:spPr>
          <a:xfrm>
            <a:off x="9349119" y="4556248"/>
            <a:ext cx="2376715" cy="338554"/>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月</a:t>
            </a: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号</a:t>
            </a:r>
            <a:endPar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53" name="矩形 52"/>
          <p:cNvSpPr/>
          <p:nvPr/>
        </p:nvSpPr>
        <p:spPr>
          <a:xfrm>
            <a:off x="9349119" y="4926489"/>
            <a:ext cx="2376715" cy="338554"/>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月</a:t>
            </a: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号</a:t>
            </a:r>
            <a:endPar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54" name="矩形 53"/>
          <p:cNvSpPr/>
          <p:nvPr/>
        </p:nvSpPr>
        <p:spPr>
          <a:xfrm>
            <a:off x="9349119" y="5333754"/>
            <a:ext cx="2376715" cy="338554"/>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月</a:t>
            </a:r>
            <a:r>
              <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X</a:t>
            </a:r>
            <a:r>
              <a:rPr kumimoji="1"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号</a:t>
            </a:r>
            <a:endPar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55" name="矩形 54"/>
          <p:cNvSpPr/>
          <p:nvPr/>
        </p:nvSpPr>
        <p:spPr>
          <a:xfrm>
            <a:off x="9349119" y="5741019"/>
            <a:ext cx="2376715" cy="338554"/>
          </a:xfrm>
          <a:prstGeom prst="rect">
            <a:avLst/>
          </a:prstGeom>
        </p:spPr>
        <p:txBody>
          <a:bodyPr wrap="square" anchor="ctr">
            <a:spAutoFit/>
          </a:bodyPr>
          <a:lstStyle/>
          <a:p>
            <a:pPr marL="0" marR="0" lvl="0" indent="0" algn="ctr" defTabSz="914400" rtl="0" eaLnBrk="1" fontAlgn="auto" latinLnBrk="0" hangingPunct="1">
              <a:lnSpc>
                <a:spcPct val="100000"/>
              </a:lnSpc>
              <a:spcBef>
                <a:spcPts val="600"/>
              </a:spcBef>
              <a:spcAft>
                <a:spcPts val="0"/>
              </a:spcAft>
              <a:buClrTx/>
              <a:buSzTx/>
              <a:buFontTx/>
              <a:buNone/>
              <a:defRPr/>
            </a:pPr>
            <a:r>
              <a:rPr kumimoji="1"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持续进行</a:t>
            </a:r>
            <a:endParaRPr kumimoji="1"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56" name="直接连接符 55"/>
          <p:cNvCxnSpPr/>
          <p:nvPr/>
        </p:nvCxnSpPr>
        <p:spPr>
          <a:xfrm>
            <a:off x="9349120" y="1417300"/>
            <a:ext cx="2376715" cy="0"/>
          </a:xfrm>
          <a:prstGeom prst="line">
            <a:avLst/>
          </a:prstGeom>
          <a:noFill/>
          <a:ln w="19050">
            <a:solidFill>
              <a:srgbClr val="FE5817"/>
            </a:solidFill>
            <a:tailEnd type="none"/>
          </a:ln>
        </p:spPr>
        <p:style>
          <a:lnRef idx="2">
            <a:schemeClr val="accent1">
              <a:shade val="50000"/>
            </a:schemeClr>
          </a:lnRef>
          <a:fillRef idx="1">
            <a:schemeClr val="accent1"/>
          </a:fillRef>
          <a:effectRef idx="0">
            <a:schemeClr val="accent1"/>
          </a:effectRef>
          <a:fontRef idx="minor">
            <a:schemeClr val="lt1"/>
          </a:fontRef>
        </p:style>
      </p:cxnSp>
      <p:cxnSp>
        <p:nvCxnSpPr>
          <p:cNvPr id="57" name="直接连接符 56"/>
          <p:cNvCxnSpPr/>
          <p:nvPr/>
        </p:nvCxnSpPr>
        <p:spPr>
          <a:xfrm>
            <a:off x="534511" y="3239131"/>
            <a:ext cx="1119132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a:off x="534511" y="4106890"/>
            <a:ext cx="1119132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直接连接符 58"/>
          <p:cNvCxnSpPr/>
          <p:nvPr/>
        </p:nvCxnSpPr>
        <p:spPr>
          <a:xfrm>
            <a:off x="534511" y="4530654"/>
            <a:ext cx="1119132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a:off x="534511" y="4891304"/>
            <a:ext cx="1119132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直接连接符 60"/>
          <p:cNvCxnSpPr/>
          <p:nvPr/>
        </p:nvCxnSpPr>
        <p:spPr>
          <a:xfrm>
            <a:off x="534511" y="5288019"/>
            <a:ext cx="1119132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2" name="直接连接符 61"/>
          <p:cNvCxnSpPr/>
          <p:nvPr/>
        </p:nvCxnSpPr>
        <p:spPr>
          <a:xfrm>
            <a:off x="534511" y="5711782"/>
            <a:ext cx="1119132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3"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工作计划</a:t>
            </a:r>
            <a:endParaRPr lang="zh-CN" altLang="en-US" sz="2400" dirty="0">
              <a:solidFill>
                <a:prstClr val="black"/>
              </a:solidFill>
              <a:latin typeface="华文楷体" panose="02010600040101010101" charset="-122"/>
            </a:endParaRPr>
          </a:p>
        </p:txBody>
      </p:sp>
      <p:pic>
        <p:nvPicPr>
          <p:cNvPr id="64" name="图片 6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对象 1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0105" name="think-cell Slide" r:id="rId2" imgW="12700" imgH="12700" progId="TCLayout.ActiveDocument.1">
                  <p:embed/>
                </p:oleObj>
              </mc:Choice>
              <mc:Fallback>
                <p:oleObj name="think-cell Slide" r:id="rId2" imgW="12700" imgH="12700" progId="TCLayout.ActiveDocument.1">
                  <p:embed/>
                  <p:pic>
                    <p:nvPicPr>
                      <p:cNvPr id="0" name="对象 18"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8" name="矩形 17" hidden="1"/>
          <p:cNvSpPr/>
          <p:nvPr>
            <p:custDataLst>
              <p:tags r:id="rId4"/>
            </p:custDataLst>
          </p:nvPr>
        </p:nvSpPr>
        <p:spPr>
          <a:xfrm>
            <a:off x="0" y="0"/>
            <a:ext cx="158750"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altLang="zh-CN" sz="26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sym typeface="Arial" panose="020B0604020202020204"/>
            </a:endParaRPr>
          </a:p>
        </p:txBody>
      </p:sp>
      <p:sp>
        <p:nvSpPr>
          <p:cNvPr id="58" name="矩形 57"/>
          <p:cNvSpPr/>
          <p:nvPr/>
        </p:nvSpPr>
        <p:spPr>
          <a:xfrm>
            <a:off x="226336" y="914400"/>
            <a:ext cx="11819951" cy="5364115"/>
          </a:xfrm>
          <a:prstGeom prst="rect">
            <a:avLst/>
          </a:prstGeom>
          <a:noFill/>
          <a:ln w="9525" cap="rnd" cmpd="sng" algn="ctr">
            <a:solidFill>
              <a:srgbClr val="D81E0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mn-ea"/>
              <a:cs typeface="+mn-cs"/>
            </a:endParaRPr>
          </a:p>
        </p:txBody>
      </p:sp>
      <p:graphicFrame>
        <p:nvGraphicFramePr>
          <p:cNvPr id="46" name="表格 45"/>
          <p:cNvGraphicFramePr>
            <a:graphicFrameLocks noGrp="1"/>
          </p:cNvGraphicFramePr>
          <p:nvPr/>
        </p:nvGraphicFramePr>
        <p:xfrm>
          <a:off x="360000" y="1031060"/>
          <a:ext cx="11370445" cy="5127689"/>
        </p:xfrm>
        <a:graphic>
          <a:graphicData uri="http://schemas.openxmlformats.org/drawingml/2006/table">
            <a:tbl>
              <a:tblPr firstRow="1" bandRow="1">
                <a:tableStyleId>{5C22544A-7EE6-4342-B048-85BDC9FD1C3A}</a:tableStyleId>
              </a:tblPr>
              <a:tblGrid>
                <a:gridCol w="873216"/>
                <a:gridCol w="2789559"/>
                <a:gridCol w="993362"/>
                <a:gridCol w="1005840"/>
                <a:gridCol w="3488637"/>
                <a:gridCol w="2219831"/>
              </a:tblGrid>
              <a:tr h="312175">
                <a:tc>
                  <a:txBody>
                    <a:bodyPr/>
                    <a:lstStyle/>
                    <a:p>
                      <a:pPr algn="ctr"/>
                      <a:r>
                        <a:rPr lang="zh-CN" altLang="en-US" sz="1400" dirty="0" smtClean="0">
                          <a:latin typeface="+mn-ea"/>
                          <a:ea typeface="+mn-ea"/>
                        </a:rPr>
                        <a:t>项目</a:t>
                      </a:r>
                      <a:endParaRPr lang="zh-CN" altLang="en-US" sz="140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7F7F7F"/>
                    </a:solidFill>
                  </a:tcPr>
                </a:tc>
                <a:tc>
                  <a:txBody>
                    <a:bodyPr/>
                    <a:lstStyle/>
                    <a:p>
                      <a:pPr algn="ctr"/>
                      <a:r>
                        <a:rPr lang="zh-CN" altLang="en-US" sz="1400" dirty="0" smtClean="0">
                          <a:latin typeface="+mn-ea"/>
                          <a:ea typeface="+mn-ea"/>
                        </a:rPr>
                        <a:t>子项目</a:t>
                      </a:r>
                      <a:endParaRPr lang="zh-CN" altLang="en-US" sz="140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7F7F7F"/>
                    </a:solidFill>
                  </a:tcPr>
                </a:tc>
                <a:tc>
                  <a:txBody>
                    <a:bodyPr/>
                    <a:lstStyle/>
                    <a:p>
                      <a:pPr algn="ctr"/>
                      <a:r>
                        <a:rPr lang="zh-CN" altLang="en-US" sz="1400" dirty="0" smtClean="0">
                          <a:latin typeface="+mn-ea"/>
                          <a:ea typeface="+mn-ea"/>
                        </a:rPr>
                        <a:t>完成日期</a:t>
                      </a:r>
                      <a:endParaRPr lang="zh-CN" altLang="en-US" sz="140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7F7F7F"/>
                    </a:solidFill>
                  </a:tcPr>
                </a:tc>
                <a:tc>
                  <a:txBody>
                    <a:bodyPr/>
                    <a:lstStyle/>
                    <a:p>
                      <a:pPr algn="ctr"/>
                      <a:r>
                        <a:rPr lang="zh-CN" altLang="en-US" sz="1400" dirty="0" smtClean="0">
                          <a:latin typeface="+mn-ea"/>
                          <a:ea typeface="+mn-ea"/>
                        </a:rPr>
                        <a:t>进度状态</a:t>
                      </a:r>
                      <a:endParaRPr lang="zh-CN" altLang="en-US" sz="140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7F7F7F"/>
                    </a:solidFill>
                  </a:tcPr>
                </a:tc>
                <a:tc>
                  <a:txBody>
                    <a:bodyPr/>
                    <a:lstStyle/>
                    <a:p>
                      <a:pPr algn="ctr"/>
                      <a:r>
                        <a:rPr lang="zh-CN" altLang="en-US" sz="1400" dirty="0" smtClean="0">
                          <a:latin typeface="+mn-ea"/>
                          <a:ea typeface="+mn-ea"/>
                        </a:rPr>
                        <a:t>本周工作进展</a:t>
                      </a:r>
                      <a:endParaRPr lang="zh-CN" altLang="en-US" sz="140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7F7F7F"/>
                    </a:solidFill>
                  </a:tcPr>
                </a:tc>
                <a:tc>
                  <a:txBody>
                    <a:bodyPr/>
                    <a:lstStyle/>
                    <a:p>
                      <a:pPr algn="ctr"/>
                      <a:r>
                        <a:rPr lang="zh-CN" altLang="en-US" sz="1400" dirty="0" smtClean="0">
                          <a:latin typeface="+mn-ea"/>
                          <a:ea typeface="+mn-ea"/>
                        </a:rPr>
                        <a:t>下周工作安排</a:t>
                      </a:r>
                      <a:endParaRPr lang="zh-CN" altLang="en-US" sz="140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7F7F7F"/>
                    </a:solidFill>
                  </a:tcPr>
                </a:tc>
              </a:tr>
              <a:tr h="280958">
                <a:tc rowSpan="4">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b="1" dirty="0" smtClean="0">
                          <a:solidFill>
                            <a:schemeClr val="bg1"/>
                          </a:solidFill>
                          <a:latin typeface="+mn-ea"/>
                          <a:ea typeface="+mn-ea"/>
                          <a:cs typeface="+mn-ea"/>
                          <a:sym typeface="+mn-lt"/>
                        </a:rPr>
                        <a:t>平安领导演讲稿</a:t>
                      </a:r>
                      <a:endParaRPr lang="en-US" altLang="zh-CN" sz="1600" b="1" dirty="0" smtClean="0">
                        <a:solidFill>
                          <a:schemeClr val="bg1"/>
                        </a:solidFill>
                        <a:latin typeface="+mn-ea"/>
                        <a:ea typeface="+mn-ea"/>
                        <a:cs typeface="+mn-ea"/>
                        <a:sym typeface="+mn-lt"/>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A540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xx</a:t>
                      </a:r>
                      <a:r>
                        <a:rPr lang="zh-CN" altLang="en-US" sz="1200" b="0" dirty="0" smtClean="0">
                          <a:latin typeface="+mn-ea"/>
                          <a:ea typeface="+mn-ea"/>
                        </a:rPr>
                        <a:t>发言稿</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en-US" altLang="zh-CN" sz="1200" b="0" dirty="0" smtClean="0">
                          <a:latin typeface="+mn-ea"/>
                          <a:ea typeface="+mn-ea"/>
                        </a:rPr>
                        <a:t>2018-8-18</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发言稿工作已启动</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继续完善发言稿</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297618">
                <a:tc vMerge="1">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xx</a:t>
                      </a:r>
                      <a:r>
                        <a:rPr lang="zh-CN" altLang="en-US" sz="1200" b="0" dirty="0" smtClean="0">
                          <a:latin typeface="+mn-ea"/>
                          <a:ea typeface="+mn-ea"/>
                        </a:rPr>
                        <a:t>总发言稿、演讲</a:t>
                      </a:r>
                      <a:r>
                        <a:rPr lang="en-US" altLang="zh-CN" sz="1200" b="0" dirty="0" smtClean="0">
                          <a:latin typeface="+mn-ea"/>
                          <a:ea typeface="+mn-ea"/>
                        </a:rPr>
                        <a:t>PPT</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2018-8-18</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zh-CN" altLang="en-US" sz="1200" b="0" dirty="0" smtClean="0">
                          <a:latin typeface="+mn-ea"/>
                          <a:ea typeface="+mn-ea"/>
                        </a:rPr>
                        <a:t>发言稿工作已启动</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继续完善发言稿</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31163">
                <a:tc vMerge="1">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xx</a:t>
                      </a:r>
                      <a:r>
                        <a:rPr lang="zh-CN" altLang="en-US" sz="1200" b="0" dirty="0" smtClean="0">
                          <a:latin typeface="+mn-ea"/>
                          <a:ea typeface="+mn-ea"/>
                        </a:rPr>
                        <a:t>总晚宴开幕致辞</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2018-8-18</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zh-CN" altLang="en-US" sz="1200" b="0" dirty="0" smtClean="0">
                          <a:latin typeface="+mn-ea"/>
                          <a:ea typeface="+mn-ea"/>
                        </a:rPr>
                        <a:t>发言稿框架和初稿拟定</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zh-CN" altLang="en-US" sz="1200" b="0" dirty="0" smtClean="0">
                          <a:latin typeface="+mn-ea"/>
                          <a:ea typeface="+mn-ea"/>
                        </a:rPr>
                        <a:t>继续完善发言稿</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31163">
                <a:tc vMerge="1">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xx</a:t>
                      </a:r>
                      <a:r>
                        <a:rPr lang="zh-CN" altLang="en-US" sz="1200" b="0" dirty="0" smtClean="0">
                          <a:latin typeface="+mn-ea"/>
                          <a:ea typeface="+mn-ea"/>
                        </a:rPr>
                        <a:t>总闭幕式发言稿</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2018-8-18</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发言稿框架和初稿拟定</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zh-CN" altLang="en-US" sz="1200" b="0" dirty="0" smtClean="0">
                          <a:latin typeface="+mn-ea"/>
                          <a:ea typeface="+mn-ea"/>
                        </a:rPr>
                        <a:t>继续完善发言稿</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292202">
                <a:tc rowSpan="3">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b="1" dirty="0" smtClean="0">
                          <a:solidFill>
                            <a:schemeClr val="bg1"/>
                          </a:solidFill>
                          <a:latin typeface="+mn-ea"/>
                          <a:ea typeface="+mn-ea"/>
                        </a:rPr>
                        <a:t>集团执委领导邀请</a:t>
                      </a:r>
                      <a:endParaRPr lang="zh-CN" altLang="en-US" b="1" dirty="0">
                        <a:latin typeface="+mn-ea"/>
                        <a:ea typeface="+mn-ea"/>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A5404"/>
                    </a:solidFill>
                  </a:tcPr>
                </a:tc>
                <a:tc>
                  <a:txBody>
                    <a:bodyPr/>
                    <a:lstStyle/>
                    <a:p>
                      <a:r>
                        <a:rPr lang="zh-CN" altLang="en-US" sz="1200" b="0" dirty="0" smtClean="0">
                          <a:latin typeface="+mn-ea"/>
                          <a:ea typeface="+mn-ea"/>
                        </a:rPr>
                        <a:t>确定是否需</a:t>
                      </a:r>
                      <a:r>
                        <a:rPr lang="en-US" altLang="zh-CN" sz="1200" b="0" dirty="0" smtClean="0">
                          <a:latin typeface="+mn-ea"/>
                          <a:ea typeface="+mn-ea"/>
                        </a:rPr>
                        <a:t>xx</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2018-7-11</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zh-CN" altLang="en-US" sz="1200" b="0" dirty="0" smtClean="0">
                          <a:latin typeface="+mn-ea"/>
                          <a:ea typeface="+mn-ea"/>
                        </a:rPr>
                        <a:t>确定集团执委领导邀请</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31163">
                <a:tc vMerge="1">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xx</a:t>
                      </a:r>
                      <a:r>
                        <a:rPr lang="zh-CN" altLang="en-US" sz="1200" b="0" dirty="0" smtClean="0">
                          <a:latin typeface="+mn-ea"/>
                          <a:ea typeface="+mn-ea"/>
                        </a:rPr>
                        <a:t>邀请邮件</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2018-7-31</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zh-CN" altLang="en-US" sz="1200" b="0" dirty="0" smtClean="0">
                          <a:latin typeface="+mn-ea"/>
                          <a:ea typeface="+mn-ea"/>
                        </a:rPr>
                        <a:t>邀约邮件初稿拟定</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邀约邮件润色</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01943">
                <a:tc vMerge="1">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A5404"/>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确认</a:t>
                      </a:r>
                      <a:r>
                        <a:rPr lang="en-US" altLang="zh-CN" sz="1200" b="0" dirty="0" smtClean="0">
                          <a:latin typeface="+mn-ea"/>
                          <a:ea typeface="+mn-ea"/>
                        </a:rPr>
                        <a:t>xx</a:t>
                      </a:r>
                      <a:r>
                        <a:rPr lang="zh-CN" altLang="en-US" sz="1200" b="0" dirty="0" smtClean="0">
                          <a:latin typeface="+mn-ea"/>
                          <a:ea typeface="+mn-ea"/>
                        </a:rPr>
                        <a:t>参会名单</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2018-8-10</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31163">
                <a:tc rowSpan="8">
                  <a:txBody>
                    <a:bodyPr/>
                    <a:lstStyle/>
                    <a:p>
                      <a:r>
                        <a:rPr lang="zh-CN" altLang="en-US" sz="1600" b="1" dirty="0" smtClean="0">
                          <a:solidFill>
                            <a:schemeClr val="bg1"/>
                          </a:solidFill>
                          <a:latin typeface="+mn-ea"/>
                          <a:ea typeface="+mn-ea"/>
                        </a:rPr>
                        <a:t>集团执委领导接待</a:t>
                      </a:r>
                      <a:endParaRPr lang="zh-CN" altLang="en-US" sz="1600" b="1" dirty="0">
                        <a:solidFill>
                          <a:schemeClr val="bg1"/>
                        </a:solidFill>
                        <a:latin typeface="+mn-ea"/>
                        <a:ea typeface="+mn-ea"/>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A540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确认引导、接待地点及范围</a:t>
                      </a:r>
                      <a:endParaRPr lang="en-US" altLang="zh-CN"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2018-7-31</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31163">
                <a:tc vMerge="1">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A540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确认集团执委领导座位安排</a:t>
                      </a:r>
                      <a:endParaRPr lang="en-US" altLang="zh-CN"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en-US" altLang="zh-CN" sz="1200" b="0" dirty="0" smtClean="0">
                          <a:latin typeface="+mn-ea"/>
                          <a:ea typeface="+mn-ea"/>
                        </a:rPr>
                        <a:t>2018-8-15</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31163">
                <a:tc vMerge="1">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确定参会领导车辆信息</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en-US" altLang="zh-CN" sz="1200" b="0" dirty="0" smtClean="0">
                          <a:latin typeface="+mn-ea"/>
                          <a:ea typeface="+mn-ea"/>
                        </a:rPr>
                        <a:t>2018-8-15</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31163">
                <a:tc vMerge="1">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确定参会领导到</a:t>
                      </a:r>
                      <a:r>
                        <a:rPr lang="en-US" altLang="zh-CN" sz="1200" b="0" dirty="0" smtClean="0">
                          <a:latin typeface="+mn-ea"/>
                          <a:ea typeface="+mn-ea"/>
                        </a:rPr>
                        <a:t>/</a:t>
                      </a:r>
                      <a:r>
                        <a:rPr lang="zh-CN" altLang="en-US" sz="1200" b="0" dirty="0" smtClean="0">
                          <a:latin typeface="+mn-ea"/>
                          <a:ea typeface="+mn-ea"/>
                        </a:rPr>
                        <a:t>离场时间</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en-US" altLang="zh-CN" sz="1200" b="0" dirty="0" smtClean="0">
                          <a:latin typeface="+mn-ea"/>
                          <a:ea typeface="+mn-ea"/>
                        </a:rPr>
                        <a:t>2018-8-15</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31163">
                <a:tc vMerge="1">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A540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确定领导参会场次</a:t>
                      </a:r>
                      <a:endParaRPr lang="en-US" altLang="zh-CN"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en-US" altLang="zh-CN" sz="1200" b="0" dirty="0" smtClean="0">
                          <a:latin typeface="+mn-ea"/>
                          <a:ea typeface="+mn-ea"/>
                        </a:rPr>
                        <a:t>2018-8-15</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31163">
                <a:tc vMerge="1">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A540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落实领导入场流程</a:t>
                      </a:r>
                      <a:r>
                        <a:rPr lang="en-US" altLang="zh-CN" sz="1200" b="0" dirty="0" smtClean="0">
                          <a:latin typeface="+mn-ea"/>
                          <a:ea typeface="+mn-ea"/>
                        </a:rPr>
                        <a:t>/</a:t>
                      </a:r>
                      <a:r>
                        <a:rPr lang="zh-CN" altLang="en-US" sz="1200" b="0" dirty="0" smtClean="0">
                          <a:latin typeface="+mn-ea"/>
                          <a:ea typeface="+mn-ea"/>
                        </a:rPr>
                        <a:t>工具</a:t>
                      </a:r>
                      <a:endParaRPr lang="en-US" altLang="zh-CN"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en-US" altLang="zh-CN" sz="1200" b="0" dirty="0" smtClean="0">
                          <a:latin typeface="+mn-ea"/>
                          <a:ea typeface="+mn-ea"/>
                        </a:rPr>
                        <a:t>2018-8-15</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31163">
                <a:tc vMerge="1">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A540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现场引导、接待人员分工安排方案</a:t>
                      </a:r>
                      <a:endParaRPr lang="en-US" altLang="zh-CN"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r>
                        <a:rPr lang="en-US" altLang="zh-CN" sz="1200" b="0" dirty="0" smtClean="0">
                          <a:latin typeface="+mn-ea"/>
                          <a:ea typeface="+mn-ea"/>
                        </a:rPr>
                        <a:t>2018-8-15</a:t>
                      </a:r>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r h="331163">
                <a:tc vMerge="1">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A540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0" dirty="0" smtClean="0">
                          <a:latin typeface="+mn-ea"/>
                          <a:ea typeface="+mn-ea"/>
                        </a:rPr>
                        <a:t>会前实地演练</a:t>
                      </a:r>
                      <a:endParaRPr lang="en-US" altLang="zh-CN"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200" b="0" dirty="0" smtClean="0">
                          <a:latin typeface="+mn-ea"/>
                          <a:ea typeface="+mn-ea"/>
                        </a:rPr>
                        <a:t>2018-8-19</a:t>
                      </a:r>
                      <a:endParaRPr lang="zh-CN" altLang="en-US" sz="1200" b="0" dirty="0" smtClean="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b="0" dirty="0" smtClean="0">
                          <a:solidFill>
                            <a:srgbClr val="00B050"/>
                          </a:solidFill>
                          <a:latin typeface="+mn-ea"/>
                          <a:ea typeface="+mn-ea"/>
                        </a:rPr>
                        <a:t>●</a:t>
                      </a:r>
                      <a:endParaRPr lang="zh-CN" altLang="en-US" sz="1200" b="0" dirty="0" smtClean="0">
                        <a:solidFill>
                          <a:srgbClr val="00B050"/>
                        </a:solidFill>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endParaRPr lang="zh-CN" altLang="en-US" sz="1200" b="0" dirty="0">
                        <a:latin typeface="+mn-ea"/>
                        <a:ea typeface="+mn-ea"/>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r>
            </a:tbl>
          </a:graphicData>
        </a:graphic>
      </p:graphicFrame>
      <p:sp>
        <p:nvSpPr>
          <p:cNvPr id="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n-ea"/>
              </a:rPr>
              <a:t>管理</a:t>
            </a:r>
            <a:r>
              <a:rPr lang="en-US" altLang="zh-CN" sz="2400" dirty="0">
                <a:latin typeface="+mn-ea"/>
              </a:rPr>
              <a:t>-</a:t>
            </a:r>
            <a:r>
              <a:rPr lang="zh-CN" altLang="en-US" sz="2400" dirty="0">
                <a:latin typeface="+mn-ea"/>
              </a:rPr>
              <a:t>项目卡</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459" name="think-cell Slide" r:id="rId2" imgW="12700" imgH="12700" progId="TCLayout.ActiveDocument.1">
                  <p:embed/>
                </p:oleObj>
              </mc:Choice>
              <mc:Fallback>
                <p:oleObj name="think-cell Slide" r:id="rId2" imgW="12700" imgH="12700" progId="TCLayout.ActiveDocument.1">
                  <p:embed/>
                  <p:pic>
                    <p:nvPicPr>
                      <p:cNvPr id="0" name="图片 139458"/>
                      <p:cNvPicPr/>
                      <p:nvPr/>
                    </p:nvPicPr>
                    <p:blipFill>
                      <a:blip r:embed="rId3"/>
                      <a:stretch>
                        <a:fillRect/>
                      </a:stretch>
                    </p:blipFill>
                    <p:spPr>
                      <a:xfrm>
                        <a:off x="1588" y="1588"/>
                        <a:ext cx="1587" cy="1587"/>
                      </a:xfrm>
                      <a:prstGeom prst="rect">
                        <a:avLst/>
                      </a:prstGeom>
                    </p:spPr>
                  </p:pic>
                </p:oleObj>
              </mc:Fallback>
            </mc:AlternateContent>
          </a:graphicData>
        </a:graphic>
      </p:graphicFrame>
      <p:graphicFrame>
        <p:nvGraphicFramePr>
          <p:cNvPr id="15" name="表格 14"/>
          <p:cNvGraphicFramePr>
            <a:graphicFrameLocks noGrp="1"/>
          </p:cNvGraphicFramePr>
          <p:nvPr/>
        </p:nvGraphicFramePr>
        <p:xfrm>
          <a:off x="360358" y="1158844"/>
          <a:ext cx="11126787" cy="5002255"/>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743650"/>
                <a:gridCol w="923277"/>
                <a:gridCol w="655162"/>
                <a:gridCol w="709518"/>
                <a:gridCol w="709518"/>
                <a:gridCol w="709518"/>
                <a:gridCol w="709518"/>
                <a:gridCol w="709518"/>
                <a:gridCol w="709518"/>
                <a:gridCol w="709518"/>
                <a:gridCol w="709518"/>
                <a:gridCol w="709518"/>
                <a:gridCol w="709518"/>
                <a:gridCol w="709518"/>
              </a:tblGrid>
              <a:tr h="245045">
                <a:tc rowSpan="2" gridSpan="2">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rowSpan="2"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c gridSpan="12">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1" i="0" u="none" strike="noStrike" kern="1200" spc="0" baseline="0" dirty="0" smtClean="0">
                          <a:solidFill>
                            <a:schemeClr val="bg1"/>
                          </a:solidFill>
                          <a:effectLst/>
                          <a:latin typeface="+mn-lt"/>
                          <a:ea typeface="+mn-ea"/>
                          <a:cs typeface="+mn-cs"/>
                        </a:rPr>
                        <a:t>2018</a:t>
                      </a:r>
                      <a:endParaRPr lang="zh-CN" altLang="en-US" sz="1100" b="1" i="0" u="none" strike="noStrike" kern="1200" spc="0" baseline="0" dirty="0">
                        <a:solidFill>
                          <a:schemeClr val="bg1"/>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1">
                        <a:lumMod val="75000"/>
                      </a:schemeClr>
                    </a:solidFill>
                  </a:tcPr>
                </a:tc>
                <a:tc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c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c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c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c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c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c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c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c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c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c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solidFill>
                  </a:tcPr>
                </a:tc>
              </a:tr>
              <a:tr h="245045">
                <a:tc vMerge="1" gridSpan="2">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7D7"/>
                    </a:solidFill>
                  </a:tcPr>
                </a:tc>
                <a:tc vMerge="1" hMerge="1">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1</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2</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3</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4</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5</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6</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7</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8</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9</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10</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11</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altLang="zh-CN" sz="1100" b="0" i="0" u="none" strike="noStrike" kern="1200" spc="0" baseline="0" dirty="0" smtClean="0">
                          <a:solidFill>
                            <a:schemeClr val="tx1"/>
                          </a:solidFill>
                          <a:effectLst/>
                          <a:latin typeface="+mn-lt"/>
                          <a:ea typeface="+mn-ea"/>
                          <a:cs typeface="+mn-cs"/>
                        </a:rPr>
                        <a:t>12</a:t>
                      </a:r>
                      <a:r>
                        <a:rPr lang="zh-CN" altLang="en-US" sz="1100" b="0" i="0" u="none" strike="noStrike" kern="1200" spc="0" baseline="0" dirty="0" smtClean="0">
                          <a:solidFill>
                            <a:schemeClr val="tx1"/>
                          </a:solidFill>
                          <a:effectLst/>
                          <a:latin typeface="+mn-lt"/>
                          <a:ea typeface="+mn-ea"/>
                          <a:cs typeface="+mn-cs"/>
                        </a:rPr>
                        <a:t>月</a:t>
                      </a:r>
                      <a:endParaRPr lang="zh-CN" altLang="en-US" sz="1100" b="0" i="0" u="none" strike="noStrike" kern="1200" spc="0" baseline="0" dirty="0">
                        <a:solidFill>
                          <a:schemeClr val="tx1"/>
                        </a:solidFill>
                        <a:effectLst/>
                        <a:latin typeface="+mn-lt"/>
                        <a:ea typeface="+mn-ea"/>
                        <a:cs typeface="+mn-cs"/>
                      </a:endParaRPr>
                    </a:p>
                  </a:txBody>
                  <a:tcPr marL="18000" marR="18000" marT="0" marB="0"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60000"/>
                        <a:lumOff val="40000"/>
                      </a:schemeClr>
                    </a:solidFill>
                  </a:tcPr>
                </a:tc>
              </a:tr>
              <a:tr h="214865">
                <a:tc rowSpan="3">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ea"/>
                          <a:sym typeface="+mn-lt"/>
                        </a:rPr>
                        <a:t>XXX</a:t>
                      </a:r>
                      <a:endParaRPr kumimoji="0" lang="en-US" altLang="zh-CN" sz="1100" b="1" i="0" u="none" strike="noStrike" kern="1200" cap="none" spc="0" normalizeH="0" baseline="0" noProof="0" dirty="0">
                        <a:ln>
                          <a:noFill/>
                        </a:ln>
                        <a:solidFill>
                          <a:schemeClr val="bg1"/>
                        </a:solidFill>
                        <a:effectLst/>
                        <a:uLnTx/>
                        <a:uFillTx/>
                        <a:latin typeface="Arial" panose="020B0604020202020204"/>
                        <a:ea typeface="华文楷体" panose="02010600040101010101" charset="-122"/>
                        <a:cs typeface="+mn-ea"/>
                        <a:sym typeface="+mn-lt"/>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E5817"/>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r>
                        <a:rPr lang="en-US" altLang="zh-CN" sz="1100" dirty="0" smtClean="0">
                          <a:solidFill>
                            <a:schemeClr val="tx1"/>
                          </a:solidFill>
                        </a:rPr>
                        <a:t>XXX</a:t>
                      </a:r>
                      <a:endParaRPr lang="zh-CN" altLang="en-US" sz="1100" dirty="0" smtClean="0">
                        <a:solidFill>
                          <a:schemeClr val="tx1"/>
                        </a:solidFill>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F3EB"/>
                    </a:solidFill>
                  </a:tcPr>
                </a:tc>
              </a:tr>
              <a:tr h="214865">
                <a:tc rowSpan="3">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ea"/>
                          <a:sym typeface="+mn-lt"/>
                        </a:rPr>
                        <a:t>XXX</a:t>
                      </a:r>
                      <a:endParaRPr kumimoji="0" lang="en-US" altLang="zh-CN" sz="1100" b="1" i="0" u="none" strike="noStrike" kern="1200" cap="none" spc="0" normalizeH="0" baseline="0" noProof="0" dirty="0">
                        <a:ln>
                          <a:noFill/>
                        </a:ln>
                        <a:solidFill>
                          <a:schemeClr val="bg1"/>
                        </a:solidFill>
                        <a:effectLst/>
                        <a:uLnTx/>
                        <a:uFillTx/>
                        <a:latin typeface="Arial" panose="020B0604020202020204"/>
                        <a:ea typeface="华文楷体" panose="02010600040101010101" charset="-122"/>
                        <a:cs typeface="+mn-ea"/>
                        <a:sym typeface="+mn-lt"/>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E5817"/>
                    </a:solidFill>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r>
              <a:tr h="214865">
                <a:tc rowSpan="3">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smtClean="0">
                          <a:ln>
                            <a:noFill/>
                          </a:ln>
                          <a:solidFill>
                            <a:schemeClr val="bg1"/>
                          </a:solidFill>
                          <a:effectLst/>
                          <a:uLnTx/>
                          <a:uFillTx/>
                          <a:latin typeface="Arial" panose="020B0604020202020204"/>
                          <a:ea typeface="华文楷体" panose="02010600040101010101" charset="-122"/>
                          <a:cs typeface="+mn-ea"/>
                          <a:sym typeface="+mn-lt"/>
                        </a:rPr>
                        <a:t>XXX</a:t>
                      </a:r>
                      <a:endParaRPr kumimoji="0" lang="en-US" altLang="zh-CN" sz="1100" b="1" i="0" u="none" strike="noStrike" kern="1200" cap="none" spc="0" normalizeH="0" baseline="0" noProof="0" dirty="0">
                        <a:ln>
                          <a:noFill/>
                        </a:ln>
                        <a:solidFill>
                          <a:schemeClr val="bg1"/>
                        </a:solidFill>
                        <a:effectLst/>
                        <a:uLnTx/>
                        <a:uFillTx/>
                        <a:latin typeface="Arial" panose="020B0604020202020204"/>
                        <a:ea typeface="华文楷体" panose="02010600040101010101" charset="-122"/>
                        <a:cs typeface="+mn-ea"/>
                        <a:sym typeface="+mn-lt"/>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E5817"/>
                    </a:solidFill>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r>
              <a:tr h="214865">
                <a:tc rowSpan="3">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smtClean="0">
                          <a:ln>
                            <a:noFill/>
                          </a:ln>
                          <a:solidFill>
                            <a:schemeClr val="bg1"/>
                          </a:solidFill>
                          <a:effectLst/>
                          <a:uLnTx/>
                          <a:uFillTx/>
                          <a:latin typeface="Arial" panose="020B0604020202020204"/>
                          <a:ea typeface="华文楷体" panose="02010600040101010101" charset="-122"/>
                          <a:cs typeface="+mn-ea"/>
                          <a:sym typeface="+mn-lt"/>
                        </a:rPr>
                        <a:t>XXX</a:t>
                      </a:r>
                      <a:endParaRPr kumimoji="0" lang="en-US" altLang="zh-CN" sz="1100" b="1" i="0" u="none" strike="noStrike" kern="1200" cap="none" spc="0" normalizeH="0" baseline="0" noProof="0" dirty="0">
                        <a:ln>
                          <a:noFill/>
                        </a:ln>
                        <a:solidFill>
                          <a:schemeClr val="bg1"/>
                        </a:solidFill>
                        <a:effectLst/>
                        <a:uLnTx/>
                        <a:uFillTx/>
                        <a:latin typeface="Arial" panose="020B0604020202020204"/>
                        <a:ea typeface="华文楷体" panose="02010600040101010101" charset="-122"/>
                        <a:cs typeface="+mn-ea"/>
                        <a:sym typeface="+mn-lt"/>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E5817"/>
                    </a:solidFill>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r>
              <a:tr h="214865">
                <a:tc rowSpan="3">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smtClean="0">
                          <a:ln>
                            <a:noFill/>
                          </a:ln>
                          <a:solidFill>
                            <a:schemeClr val="bg1"/>
                          </a:solidFill>
                          <a:effectLst/>
                          <a:uLnTx/>
                          <a:uFillTx/>
                          <a:latin typeface="Arial" panose="020B0604020202020204"/>
                          <a:ea typeface="华文楷体" panose="02010600040101010101" charset="-122"/>
                          <a:cs typeface="+mn-ea"/>
                          <a:sym typeface="+mn-lt"/>
                        </a:rPr>
                        <a:t>XXX</a:t>
                      </a:r>
                      <a:endParaRPr kumimoji="0" lang="en-US" altLang="zh-CN" sz="1100" b="1" i="0" u="none" strike="noStrike" kern="1200" cap="none" spc="0" normalizeH="0" baseline="0" noProof="0" dirty="0">
                        <a:ln>
                          <a:noFill/>
                        </a:ln>
                        <a:solidFill>
                          <a:schemeClr val="bg1"/>
                        </a:solidFill>
                        <a:effectLst/>
                        <a:uLnTx/>
                        <a:uFillTx/>
                        <a:latin typeface="Arial" panose="020B0604020202020204"/>
                        <a:ea typeface="华文楷体" panose="02010600040101010101" charset="-122"/>
                        <a:cs typeface="+mn-ea"/>
                        <a:sym typeface="+mn-lt"/>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E5817"/>
                    </a:solidFill>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endParaRPr lang="zh-CN" altLang="en-US" sz="1100" b="0" i="0" u="none" strike="noStrike" kern="1200" spc="0" baseline="0" dirty="0">
                        <a:solidFill>
                          <a:schemeClr val="tx1">
                            <a:lumMod val="100000"/>
                          </a:schemeClr>
                        </a:solidFill>
                        <a:effectLst/>
                        <a:latin typeface="+mn-lt"/>
                        <a:ea typeface="+mn-ea"/>
                        <a:cs typeface="+mn-cs"/>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r>
              <a:tr h="214865">
                <a:tc rowSpan="3">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ea"/>
                          <a:sym typeface="+mn-lt"/>
                        </a:rPr>
                        <a:t>XXX</a:t>
                      </a:r>
                      <a:endParaRPr kumimoji="0" lang="en-US" altLang="zh-CN" sz="1100" b="1" i="0" u="none" strike="noStrike" kern="1200" cap="none" spc="0" normalizeH="0" baseline="0" noProof="0" dirty="0">
                        <a:ln>
                          <a:noFill/>
                        </a:ln>
                        <a:solidFill>
                          <a:schemeClr val="bg1"/>
                        </a:solidFill>
                        <a:effectLst/>
                        <a:uLnTx/>
                        <a:uFillTx/>
                        <a:latin typeface="Arial" panose="020B0604020202020204"/>
                        <a:ea typeface="华文楷体" panose="02010600040101010101" charset="-122"/>
                        <a:cs typeface="+mn-ea"/>
                        <a:sym typeface="+mn-lt"/>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E5817"/>
                    </a:solidFill>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r>
              <a:tr h="214865">
                <a:tc vMerge="1">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1">
                        <a:lumMod val="20000"/>
                        <a:lumOff val="80000"/>
                      </a:schemeClr>
                    </a:solidFill>
                  </a:tcPr>
                </a:tc>
              </a:tr>
              <a:tr h="214865">
                <a:tc rowSpan="3">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100" b="1" i="0" u="none" strike="noStrike" kern="1200" cap="none" spc="0" normalizeH="0" baseline="0" noProof="0" dirty="0" smtClean="0">
                          <a:ln>
                            <a:noFill/>
                          </a:ln>
                          <a:solidFill>
                            <a:schemeClr val="bg1"/>
                          </a:solidFill>
                          <a:effectLst/>
                          <a:uLnTx/>
                          <a:uFillTx/>
                          <a:latin typeface="Arial" panose="020B0604020202020204"/>
                          <a:ea typeface="华文楷体" panose="02010600040101010101" charset="-122"/>
                          <a:cs typeface="+mn-ea"/>
                          <a:sym typeface="+mn-lt"/>
                        </a:rPr>
                        <a:t>XXX</a:t>
                      </a:r>
                      <a:endParaRPr kumimoji="0" lang="en-US" altLang="zh-CN" sz="1100" b="1" i="0" u="none" strike="noStrike" kern="1200" cap="none" spc="0" normalizeH="0" baseline="0" noProof="0" dirty="0">
                        <a:ln>
                          <a:noFill/>
                        </a:ln>
                        <a:solidFill>
                          <a:schemeClr val="bg1"/>
                        </a:solidFill>
                        <a:effectLst/>
                        <a:uLnTx/>
                        <a:uFillTx/>
                        <a:latin typeface="Arial" panose="020B0604020202020204"/>
                        <a:ea typeface="华文楷体" panose="02010600040101010101" charset="-122"/>
                        <a:cs typeface="+mn-ea"/>
                        <a:sym typeface="+mn-lt"/>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chemeClr val="accent5"/>
                    </a:solidFill>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r>
              <a:tr h="214865">
                <a:tc vMerge="1">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E7D7"/>
                    </a:solidFill>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3EB"/>
                    </a:solidFill>
                  </a:tcPr>
                </a:tc>
              </a:tr>
              <a:tr h="214865">
                <a:tc vMerge="1">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E7D7"/>
                    </a:solidFill>
                  </a:tcPr>
                </a:tc>
                <a:tc>
                  <a:txBody>
                    <a:bodyPr/>
                    <a:lstStyle/>
                    <a:p>
                      <a:pPr marL="0" marR="0" lvl="1" indent="0" algn="ctr" defTabSz="914400" rtl="0" eaLnBrk="1" fontAlgn="ctr" latinLnBrk="0" hangingPunct="1">
                        <a:lnSpc>
                          <a:spcPct val="100000"/>
                        </a:lnSpc>
                        <a:spcBef>
                          <a:spcPts val="0"/>
                        </a:spcBef>
                        <a:spcAft>
                          <a:spcPts val="0"/>
                        </a:spcAft>
                        <a:buClr>
                          <a:srgbClr val="575F6D">
                            <a:lumMod val="100000"/>
                          </a:srgbClr>
                        </a:buClr>
                        <a:buSzPct val="100000"/>
                        <a:buFont typeface="Trebuchet MS" panose="020B0603020202020204" pitchFamily="34" charset="0"/>
                        <a:buNone/>
                        <a:defRPr/>
                      </a:pPr>
                      <a:r>
                        <a:rPr kumimoji="0" lang="en-US" altLang="zh-CN"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1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c>
                  <a:txBody>
                    <a:bodyPr/>
                    <a:lstStyle/>
                    <a:p>
                      <a:pPr marL="0" marR="0" lvl="1" indent="0" algn="ctr" defTabSz="914400" rtl="0" eaLnBrk="1" fontAlgn="ctr"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defRPr/>
                      </a:pPr>
                      <a:endParaRPr lang="zh-CN" altLang="en-US" sz="1100" b="0" i="0" u="none" strike="noStrike" kern="1200" spc="0" baseline="0" dirty="0" smtClean="0">
                        <a:solidFill>
                          <a:schemeClr val="tx1">
                            <a:lumMod val="100000"/>
                          </a:schemeClr>
                        </a:solidFill>
                        <a:effectLst/>
                        <a:latin typeface="+mn-lt"/>
                        <a:ea typeface="+mn-ea"/>
                        <a:cs typeface="+mn-cs"/>
                      </a:endParaRPr>
                    </a:p>
                  </a:txBody>
                  <a:tcPr marL="18000" marR="1800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F3EB"/>
                    </a:solidFill>
                  </a:tcPr>
                </a:tc>
              </a:tr>
            </a:tbl>
          </a:graphicData>
        </a:graphic>
      </p:graphicFrame>
      <p:sp>
        <p:nvSpPr>
          <p:cNvPr id="1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图表</a:t>
            </a:r>
            <a:endParaRPr lang="zh-CN" altLang="en-US" sz="2400" dirty="0">
              <a:solidFill>
                <a:prstClr val="black"/>
              </a:solidFill>
              <a:latin typeface="华文楷体" panose="02010600040101010101" charset="-122"/>
              <a:ea typeface="华文楷体" panose="02010600040101010101" charset="-122"/>
            </a:endParaRPr>
          </a:p>
        </p:txBody>
      </p:sp>
      <p:pic>
        <p:nvPicPr>
          <p:cNvPr id="10" name="图片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4" name="think-cell Slide" r:id="rId2" imgW="12700" imgH="12700" progId="TCLayout.ActiveDocument.1">
                  <p:embed/>
                </p:oleObj>
              </mc:Choice>
              <mc:Fallback>
                <p:oleObj name="think-cell Slide" r:id="rId2" imgW="12700" imgH="12700" progId="TCLayout.ActiveDocument.1">
                  <p:embed/>
                  <p:pic>
                    <p:nvPicPr>
                      <p:cNvPr id="0" name="对象 4" hidden="1"/>
                      <p:cNvPicPr/>
                      <p:nvPr/>
                    </p:nvPicPr>
                    <p:blipFill>
                      <a:blip r:embed="rId3"/>
                      <a:stretch>
                        <a:fillRect/>
                      </a:stretch>
                    </p:blipFill>
                    <p:spPr>
                      <a:xfrm>
                        <a:off x="1588" y="1588"/>
                        <a:ext cx="1588" cy="1588"/>
                      </a:xfrm>
                      <a:prstGeom prst="rect">
                        <a:avLst/>
                      </a:prstGeom>
                    </p:spPr>
                  </p:pic>
                </p:oleObj>
              </mc:Fallback>
            </mc:AlternateContent>
          </a:graphicData>
        </a:graphic>
      </p:graphicFrame>
      <p:cxnSp>
        <p:nvCxnSpPr>
          <p:cNvPr id="49" name="直接箭头连接符 48"/>
          <p:cNvCxnSpPr/>
          <p:nvPr/>
        </p:nvCxnSpPr>
        <p:spPr>
          <a:xfrm>
            <a:off x="391886" y="3423065"/>
            <a:ext cx="11288486"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3" name="矩形 62"/>
          <p:cNvSpPr/>
          <p:nvPr/>
        </p:nvSpPr>
        <p:spPr>
          <a:xfrm>
            <a:off x="10842868" y="2901656"/>
            <a:ext cx="822661"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10</a:t>
            </a:r>
            <a:r>
              <a:rPr kumimoji="0" lang="zh-CN" altLang="en-US"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月</a:t>
            </a:r>
            <a:r>
              <a:rPr kumimoji="0" lang="zh-CN" altLang="en-US"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底</a:t>
            </a:r>
            <a:endParaRPr kumimoji="0" lang="en-US" altLang="zh-CN"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endParaRPr>
          </a:p>
        </p:txBody>
      </p:sp>
      <p:grpSp>
        <p:nvGrpSpPr>
          <p:cNvPr id="107" name="组合 106"/>
          <p:cNvGrpSpPr/>
          <p:nvPr/>
        </p:nvGrpSpPr>
        <p:grpSpPr>
          <a:xfrm>
            <a:off x="10172194" y="3345393"/>
            <a:ext cx="166555" cy="198335"/>
            <a:chOff x="10596737" y="651671"/>
            <a:chExt cx="166555" cy="198335"/>
          </a:xfrm>
        </p:grpSpPr>
        <p:sp>
          <p:nvSpPr>
            <p:cNvPr id="106" name="任意多边形 105"/>
            <p:cNvSpPr/>
            <p:nvPr/>
          </p:nvSpPr>
          <p:spPr>
            <a:xfrm>
              <a:off x="10596737" y="651671"/>
              <a:ext cx="162274" cy="198335"/>
            </a:xfrm>
            <a:custGeom>
              <a:avLst/>
              <a:gdLst>
                <a:gd name="connsiteX0" fmla="*/ 79849 w 162274"/>
                <a:gd name="connsiteY0" fmla="*/ 2576 h 198335"/>
                <a:gd name="connsiteX1" fmla="*/ 0 w 162274"/>
                <a:gd name="connsiteY1" fmla="*/ 198335 h 198335"/>
                <a:gd name="connsiteX2" fmla="*/ 87576 w 162274"/>
                <a:gd name="connsiteY2" fmla="*/ 182880 h 198335"/>
                <a:gd name="connsiteX3" fmla="*/ 162274 w 162274"/>
                <a:gd name="connsiteY3" fmla="*/ 0 h 198335"/>
                <a:gd name="connsiteX4" fmla="*/ 79849 w 162274"/>
                <a:gd name="connsiteY4" fmla="*/ 2576 h 198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274" h="198335">
                  <a:moveTo>
                    <a:pt x="79849" y="2576"/>
                  </a:moveTo>
                  <a:lnTo>
                    <a:pt x="0" y="198335"/>
                  </a:lnTo>
                  <a:lnTo>
                    <a:pt x="87576" y="182880"/>
                  </a:lnTo>
                  <a:lnTo>
                    <a:pt x="162274" y="0"/>
                  </a:lnTo>
                  <a:lnTo>
                    <a:pt x="79849" y="2576"/>
                  </a:lnTo>
                  <a:close/>
                </a:path>
              </a:pathLst>
            </a:custGeom>
            <a:solidFill>
              <a:schemeClr val="bg1"/>
            </a:solidFill>
            <a:ln w="285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105" name="组合 104"/>
            <p:cNvGrpSpPr/>
            <p:nvPr/>
          </p:nvGrpSpPr>
          <p:grpSpPr>
            <a:xfrm>
              <a:off x="10600006" y="653143"/>
              <a:ext cx="163286" cy="183885"/>
              <a:chOff x="10600006" y="653143"/>
              <a:chExt cx="163286" cy="183885"/>
            </a:xfrm>
          </p:grpSpPr>
          <p:cxnSp>
            <p:nvCxnSpPr>
              <p:cNvPr id="102" name="直接连接符 101"/>
              <p:cNvCxnSpPr/>
              <p:nvPr/>
            </p:nvCxnSpPr>
            <p:spPr>
              <a:xfrm flipH="1">
                <a:off x="10600006" y="653143"/>
                <a:ext cx="78879" cy="183885"/>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4" name="直接连接符 103"/>
              <p:cNvCxnSpPr/>
              <p:nvPr/>
            </p:nvCxnSpPr>
            <p:spPr>
              <a:xfrm flipH="1">
                <a:off x="10684413" y="653143"/>
                <a:ext cx="78879" cy="183885"/>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grpSp>
        <p:nvGrpSpPr>
          <p:cNvPr id="108" name="组合 107"/>
          <p:cNvGrpSpPr/>
          <p:nvPr/>
        </p:nvGrpSpPr>
        <p:grpSpPr>
          <a:xfrm>
            <a:off x="8245422" y="3345393"/>
            <a:ext cx="166555" cy="198335"/>
            <a:chOff x="10596737" y="651671"/>
            <a:chExt cx="166555" cy="198335"/>
          </a:xfrm>
        </p:grpSpPr>
        <p:sp>
          <p:nvSpPr>
            <p:cNvPr id="109" name="任意多边形 108"/>
            <p:cNvSpPr/>
            <p:nvPr/>
          </p:nvSpPr>
          <p:spPr>
            <a:xfrm>
              <a:off x="10596737" y="651671"/>
              <a:ext cx="162274" cy="198335"/>
            </a:xfrm>
            <a:custGeom>
              <a:avLst/>
              <a:gdLst>
                <a:gd name="connsiteX0" fmla="*/ 79849 w 162274"/>
                <a:gd name="connsiteY0" fmla="*/ 2576 h 198335"/>
                <a:gd name="connsiteX1" fmla="*/ 0 w 162274"/>
                <a:gd name="connsiteY1" fmla="*/ 198335 h 198335"/>
                <a:gd name="connsiteX2" fmla="*/ 87576 w 162274"/>
                <a:gd name="connsiteY2" fmla="*/ 182880 h 198335"/>
                <a:gd name="connsiteX3" fmla="*/ 162274 w 162274"/>
                <a:gd name="connsiteY3" fmla="*/ 0 h 198335"/>
                <a:gd name="connsiteX4" fmla="*/ 79849 w 162274"/>
                <a:gd name="connsiteY4" fmla="*/ 2576 h 198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274" h="198335">
                  <a:moveTo>
                    <a:pt x="79849" y="2576"/>
                  </a:moveTo>
                  <a:lnTo>
                    <a:pt x="0" y="198335"/>
                  </a:lnTo>
                  <a:lnTo>
                    <a:pt x="87576" y="182880"/>
                  </a:lnTo>
                  <a:lnTo>
                    <a:pt x="162274" y="0"/>
                  </a:lnTo>
                  <a:lnTo>
                    <a:pt x="79849" y="2576"/>
                  </a:lnTo>
                  <a:close/>
                </a:path>
              </a:pathLst>
            </a:custGeom>
            <a:solidFill>
              <a:schemeClr val="bg1"/>
            </a:solidFill>
            <a:ln w="285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110" name="组合 109"/>
            <p:cNvGrpSpPr/>
            <p:nvPr/>
          </p:nvGrpSpPr>
          <p:grpSpPr>
            <a:xfrm>
              <a:off x="10600006" y="653143"/>
              <a:ext cx="163286" cy="183885"/>
              <a:chOff x="10600006" y="653143"/>
              <a:chExt cx="163286" cy="183885"/>
            </a:xfrm>
          </p:grpSpPr>
          <p:cxnSp>
            <p:nvCxnSpPr>
              <p:cNvPr id="111" name="直接连接符 110"/>
              <p:cNvCxnSpPr/>
              <p:nvPr/>
            </p:nvCxnSpPr>
            <p:spPr>
              <a:xfrm flipH="1">
                <a:off x="10600006" y="653143"/>
                <a:ext cx="78879" cy="183885"/>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12" name="直接连接符 111"/>
              <p:cNvCxnSpPr/>
              <p:nvPr/>
            </p:nvCxnSpPr>
            <p:spPr>
              <a:xfrm flipH="1">
                <a:off x="10684413" y="653143"/>
                <a:ext cx="78879" cy="183885"/>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sp>
        <p:nvSpPr>
          <p:cNvPr id="81" name="任意多边形 80"/>
          <p:cNvSpPr/>
          <p:nvPr/>
        </p:nvSpPr>
        <p:spPr>
          <a:xfrm>
            <a:off x="3341914" y="3521035"/>
            <a:ext cx="1415143" cy="884045"/>
          </a:xfrm>
          <a:custGeom>
            <a:avLst/>
            <a:gdLst>
              <a:gd name="connsiteX0" fmla="*/ 0 w 1415143"/>
              <a:gd name="connsiteY0" fmla="*/ 0 h 794658"/>
              <a:gd name="connsiteX1" fmla="*/ 0 w 1415143"/>
              <a:gd name="connsiteY1" fmla="*/ 587829 h 794658"/>
              <a:gd name="connsiteX2" fmla="*/ 1415143 w 1415143"/>
              <a:gd name="connsiteY2" fmla="*/ 587829 h 794658"/>
              <a:gd name="connsiteX3" fmla="*/ 1415143 w 1415143"/>
              <a:gd name="connsiteY3" fmla="*/ 718458 h 794658"/>
              <a:gd name="connsiteX4" fmla="*/ 1415143 w 1415143"/>
              <a:gd name="connsiteY4" fmla="*/ 794658 h 794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143" h="794658">
                <a:moveTo>
                  <a:pt x="0" y="0"/>
                </a:moveTo>
                <a:lnTo>
                  <a:pt x="0" y="587829"/>
                </a:lnTo>
                <a:lnTo>
                  <a:pt x="1415143" y="587829"/>
                </a:lnTo>
                <a:lnTo>
                  <a:pt x="1415143" y="718458"/>
                </a:lnTo>
                <a:lnTo>
                  <a:pt x="1415143" y="794658"/>
                </a:lnTo>
              </a:path>
            </a:pathLst>
          </a:cu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 name="任意多边形 81"/>
          <p:cNvSpPr/>
          <p:nvPr/>
        </p:nvSpPr>
        <p:spPr>
          <a:xfrm flipH="1">
            <a:off x="1436914" y="3521035"/>
            <a:ext cx="1905000" cy="884045"/>
          </a:xfrm>
          <a:custGeom>
            <a:avLst/>
            <a:gdLst>
              <a:gd name="connsiteX0" fmla="*/ 0 w 1415143"/>
              <a:gd name="connsiteY0" fmla="*/ 0 h 794658"/>
              <a:gd name="connsiteX1" fmla="*/ 0 w 1415143"/>
              <a:gd name="connsiteY1" fmla="*/ 587829 h 794658"/>
              <a:gd name="connsiteX2" fmla="*/ 1415143 w 1415143"/>
              <a:gd name="connsiteY2" fmla="*/ 587829 h 794658"/>
              <a:gd name="connsiteX3" fmla="*/ 1415143 w 1415143"/>
              <a:gd name="connsiteY3" fmla="*/ 718458 h 794658"/>
              <a:gd name="connsiteX4" fmla="*/ 1415143 w 1415143"/>
              <a:gd name="connsiteY4" fmla="*/ 794658 h 794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143" h="794658">
                <a:moveTo>
                  <a:pt x="0" y="0"/>
                </a:moveTo>
                <a:lnTo>
                  <a:pt x="0" y="587829"/>
                </a:lnTo>
                <a:lnTo>
                  <a:pt x="1415143" y="587829"/>
                </a:lnTo>
                <a:lnTo>
                  <a:pt x="1415143" y="718458"/>
                </a:lnTo>
                <a:lnTo>
                  <a:pt x="1415143" y="794658"/>
                </a:lnTo>
              </a:path>
            </a:pathLst>
          </a:cu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 name="任意多边形 82"/>
          <p:cNvSpPr/>
          <p:nvPr/>
        </p:nvSpPr>
        <p:spPr>
          <a:xfrm>
            <a:off x="3341914" y="3521036"/>
            <a:ext cx="0" cy="896154"/>
          </a:xfrm>
          <a:custGeom>
            <a:avLst/>
            <a:gdLst>
              <a:gd name="connsiteX0" fmla="*/ 0 w 0"/>
              <a:gd name="connsiteY0" fmla="*/ 0 h 805543"/>
              <a:gd name="connsiteX1" fmla="*/ 0 w 0"/>
              <a:gd name="connsiteY1" fmla="*/ 805543 h 805543"/>
            </a:gdLst>
            <a:ahLst/>
            <a:cxnLst>
              <a:cxn ang="0">
                <a:pos x="connsiteX0" y="connsiteY0"/>
              </a:cxn>
              <a:cxn ang="0">
                <a:pos x="connsiteX1" y="connsiteY1"/>
              </a:cxn>
            </a:cxnLst>
            <a:rect l="l" t="t" r="r" b="b"/>
            <a:pathLst>
              <a:path h="805543">
                <a:moveTo>
                  <a:pt x="0" y="0"/>
                </a:moveTo>
                <a:lnTo>
                  <a:pt x="0" y="805543"/>
                </a:lnTo>
              </a:path>
            </a:pathLst>
          </a:cu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1" name="椭圆 50"/>
          <p:cNvSpPr/>
          <p:nvPr/>
        </p:nvSpPr>
        <p:spPr>
          <a:xfrm>
            <a:off x="3246119" y="3325093"/>
            <a:ext cx="195944" cy="195944"/>
          </a:xfrm>
          <a:prstGeom prst="ellipse">
            <a:avLst/>
          </a:prstGeom>
          <a:solidFill>
            <a:schemeClr val="accent1"/>
          </a:solidFill>
          <a:ln w="285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9" name="矩形 58"/>
          <p:cNvSpPr/>
          <p:nvPr/>
        </p:nvSpPr>
        <p:spPr>
          <a:xfrm>
            <a:off x="2873676" y="2901656"/>
            <a:ext cx="936475"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9</a:t>
            </a:r>
            <a:r>
              <a:rPr kumimoji="0" lang="zh-CN" altLang="en-US"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月</a:t>
            </a:r>
            <a:r>
              <a:rPr kumimoji="0" lang="en-US" altLang="zh-CN"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14</a:t>
            </a:r>
            <a:r>
              <a:rPr kumimoji="0" lang="zh-CN" altLang="en-US"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日</a:t>
            </a:r>
            <a:endParaRPr kumimoji="0" lang="en-US" altLang="zh-CN"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endParaRPr>
          </a:p>
        </p:txBody>
      </p:sp>
      <p:sp>
        <p:nvSpPr>
          <p:cNvPr id="65" name="矩形 64"/>
          <p:cNvSpPr/>
          <p:nvPr/>
        </p:nvSpPr>
        <p:spPr>
          <a:xfrm>
            <a:off x="2346672" y="4382390"/>
            <a:ext cx="1343585" cy="1349437"/>
          </a:xfrm>
          <a:prstGeom prst="rect">
            <a:avLst/>
          </a:prstGeom>
          <a:solidFill>
            <a:schemeClr val="bg1"/>
          </a:solidFill>
          <a:ln>
            <a:solidFill>
              <a:schemeClr val="bg1">
                <a:lumMod val="65000"/>
              </a:schemeClr>
            </a:solidFill>
          </a:ln>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XX</a:t>
            </a:r>
            <a:endParaRPr kumimoji="0"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68" name="矩形 67"/>
          <p:cNvSpPr/>
          <p:nvPr/>
        </p:nvSpPr>
        <p:spPr>
          <a:xfrm>
            <a:off x="724701" y="4382390"/>
            <a:ext cx="1343585" cy="1349437"/>
          </a:xfrm>
          <a:prstGeom prst="rect">
            <a:avLst/>
          </a:prstGeom>
          <a:solidFill>
            <a:schemeClr val="bg1"/>
          </a:solidFill>
          <a:ln>
            <a:solidFill>
              <a:schemeClr val="bg1">
                <a:lumMod val="65000"/>
              </a:schemeClr>
            </a:solidFill>
          </a:ln>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XXX</a:t>
            </a:r>
            <a:endParaRPr kumimoji="0"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69" name="矩形 68"/>
          <p:cNvSpPr/>
          <p:nvPr/>
        </p:nvSpPr>
        <p:spPr>
          <a:xfrm>
            <a:off x="4033958" y="4382390"/>
            <a:ext cx="1343585" cy="1349437"/>
          </a:xfrm>
          <a:prstGeom prst="rect">
            <a:avLst/>
          </a:prstGeom>
          <a:solidFill>
            <a:schemeClr val="bg1"/>
          </a:solidFill>
          <a:ln>
            <a:solidFill>
              <a:schemeClr val="bg1">
                <a:lumMod val="65000"/>
              </a:schemeClr>
            </a:solidFill>
          </a:ln>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XX</a:t>
            </a:r>
            <a:endParaRPr kumimoji="0"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nvGrpSpPr>
          <p:cNvPr id="11" name="组合 10"/>
          <p:cNvGrpSpPr/>
          <p:nvPr/>
        </p:nvGrpSpPr>
        <p:grpSpPr>
          <a:xfrm>
            <a:off x="1023259" y="5437909"/>
            <a:ext cx="740228" cy="740228"/>
            <a:chOff x="1023259" y="5410200"/>
            <a:chExt cx="740228" cy="740228"/>
          </a:xfrm>
        </p:grpSpPr>
        <p:sp>
          <p:nvSpPr>
            <p:cNvPr id="98" name="椭圆 97"/>
            <p:cNvSpPr/>
            <p:nvPr/>
          </p:nvSpPr>
          <p:spPr>
            <a:xfrm>
              <a:off x="1023259" y="5410200"/>
              <a:ext cx="740228" cy="740228"/>
            </a:xfrm>
            <a:prstGeom prst="ellipse">
              <a:avLst/>
            </a:prstGeom>
            <a:solidFill>
              <a:srgbClr val="FFFFFF"/>
            </a:solidFill>
            <a:ln w="2857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86" name="documentation_165611"/>
            <p:cNvSpPr>
              <a:spLocks noChangeAspect="1"/>
            </p:cNvSpPr>
            <p:nvPr/>
          </p:nvSpPr>
          <p:spPr bwMode="auto">
            <a:xfrm>
              <a:off x="1208144" y="5587865"/>
              <a:ext cx="370458" cy="384898"/>
            </a:xfrm>
            <a:custGeom>
              <a:avLst/>
              <a:gdLst>
                <a:gd name="connsiteX0" fmla="*/ 62378 w 584775"/>
                <a:gd name="connsiteY0" fmla="*/ 527787 h 607568"/>
                <a:gd name="connsiteX1" fmla="*/ 45785 w 584775"/>
                <a:gd name="connsiteY1" fmla="*/ 544511 h 607568"/>
                <a:gd name="connsiteX2" fmla="*/ 62378 w 584775"/>
                <a:gd name="connsiteY2" fmla="*/ 561082 h 607568"/>
                <a:gd name="connsiteX3" fmla="*/ 299140 w 584775"/>
                <a:gd name="connsiteY3" fmla="*/ 561082 h 607568"/>
                <a:gd name="connsiteX4" fmla="*/ 315733 w 584775"/>
                <a:gd name="connsiteY4" fmla="*/ 544511 h 607568"/>
                <a:gd name="connsiteX5" fmla="*/ 299140 w 584775"/>
                <a:gd name="connsiteY5" fmla="*/ 527787 h 607568"/>
                <a:gd name="connsiteX6" fmla="*/ 62378 w 584775"/>
                <a:gd name="connsiteY6" fmla="*/ 449077 h 607568"/>
                <a:gd name="connsiteX7" fmla="*/ 45785 w 584775"/>
                <a:gd name="connsiteY7" fmla="*/ 465648 h 607568"/>
                <a:gd name="connsiteX8" fmla="*/ 62378 w 584775"/>
                <a:gd name="connsiteY8" fmla="*/ 482218 h 607568"/>
                <a:gd name="connsiteX9" fmla="*/ 299140 w 584775"/>
                <a:gd name="connsiteY9" fmla="*/ 482218 h 607568"/>
                <a:gd name="connsiteX10" fmla="*/ 315733 w 584775"/>
                <a:gd name="connsiteY10" fmla="*/ 465648 h 607568"/>
                <a:gd name="connsiteX11" fmla="*/ 299140 w 584775"/>
                <a:gd name="connsiteY11" fmla="*/ 449077 h 607568"/>
                <a:gd name="connsiteX12" fmla="*/ 62378 w 584775"/>
                <a:gd name="connsiteY12" fmla="*/ 370214 h 607568"/>
                <a:gd name="connsiteX13" fmla="*/ 45785 w 584775"/>
                <a:gd name="connsiteY13" fmla="*/ 386784 h 607568"/>
                <a:gd name="connsiteX14" fmla="*/ 62378 w 584775"/>
                <a:gd name="connsiteY14" fmla="*/ 403355 h 607568"/>
                <a:gd name="connsiteX15" fmla="*/ 299140 w 584775"/>
                <a:gd name="connsiteY15" fmla="*/ 403355 h 607568"/>
                <a:gd name="connsiteX16" fmla="*/ 315733 w 584775"/>
                <a:gd name="connsiteY16" fmla="*/ 386784 h 607568"/>
                <a:gd name="connsiteX17" fmla="*/ 299140 w 584775"/>
                <a:gd name="connsiteY17" fmla="*/ 370214 h 607568"/>
                <a:gd name="connsiteX18" fmla="*/ 62378 w 584775"/>
                <a:gd name="connsiteY18" fmla="*/ 291350 h 607568"/>
                <a:gd name="connsiteX19" fmla="*/ 45785 w 584775"/>
                <a:gd name="connsiteY19" fmla="*/ 308074 h 607568"/>
                <a:gd name="connsiteX20" fmla="*/ 62378 w 584775"/>
                <a:gd name="connsiteY20" fmla="*/ 324644 h 607568"/>
                <a:gd name="connsiteX21" fmla="*/ 299140 w 584775"/>
                <a:gd name="connsiteY21" fmla="*/ 324644 h 607568"/>
                <a:gd name="connsiteX22" fmla="*/ 315733 w 584775"/>
                <a:gd name="connsiteY22" fmla="*/ 308074 h 607568"/>
                <a:gd name="connsiteX23" fmla="*/ 299140 w 584775"/>
                <a:gd name="connsiteY23" fmla="*/ 291350 h 607568"/>
                <a:gd name="connsiteX24" fmla="*/ 62378 w 584775"/>
                <a:gd name="connsiteY24" fmla="*/ 212640 h 607568"/>
                <a:gd name="connsiteX25" fmla="*/ 45785 w 584775"/>
                <a:gd name="connsiteY25" fmla="*/ 229210 h 607568"/>
                <a:gd name="connsiteX26" fmla="*/ 62378 w 584775"/>
                <a:gd name="connsiteY26" fmla="*/ 245781 h 607568"/>
                <a:gd name="connsiteX27" fmla="*/ 299140 w 584775"/>
                <a:gd name="connsiteY27" fmla="*/ 245781 h 607568"/>
                <a:gd name="connsiteX28" fmla="*/ 315733 w 584775"/>
                <a:gd name="connsiteY28" fmla="*/ 229210 h 607568"/>
                <a:gd name="connsiteX29" fmla="*/ 299140 w 584775"/>
                <a:gd name="connsiteY29" fmla="*/ 212640 h 607568"/>
                <a:gd name="connsiteX30" fmla="*/ 62378 w 584775"/>
                <a:gd name="connsiteY30" fmla="*/ 133776 h 607568"/>
                <a:gd name="connsiteX31" fmla="*/ 45785 w 584775"/>
                <a:gd name="connsiteY31" fmla="*/ 150347 h 607568"/>
                <a:gd name="connsiteX32" fmla="*/ 62378 w 584775"/>
                <a:gd name="connsiteY32" fmla="*/ 166917 h 607568"/>
                <a:gd name="connsiteX33" fmla="*/ 299140 w 584775"/>
                <a:gd name="connsiteY33" fmla="*/ 166917 h 607568"/>
                <a:gd name="connsiteX34" fmla="*/ 315733 w 584775"/>
                <a:gd name="connsiteY34" fmla="*/ 150347 h 607568"/>
                <a:gd name="connsiteX35" fmla="*/ 299140 w 584775"/>
                <a:gd name="connsiteY35" fmla="*/ 133776 h 607568"/>
                <a:gd name="connsiteX36" fmla="*/ 499461 w 584775"/>
                <a:gd name="connsiteY36" fmla="*/ 108600 h 607568"/>
                <a:gd name="connsiteX37" fmla="*/ 584775 w 584775"/>
                <a:gd name="connsiteY37" fmla="*/ 108600 h 607568"/>
                <a:gd name="connsiteX38" fmla="*/ 584775 w 584775"/>
                <a:gd name="connsiteY38" fmla="*/ 547575 h 607568"/>
                <a:gd name="connsiteX39" fmla="*/ 582777 w 584775"/>
                <a:gd name="connsiteY39" fmla="*/ 554480 h 607568"/>
                <a:gd name="connsiteX40" fmla="*/ 552187 w 584775"/>
                <a:gd name="connsiteY40" fmla="*/ 602044 h 607568"/>
                <a:gd name="connsiteX41" fmla="*/ 542195 w 584775"/>
                <a:gd name="connsiteY41" fmla="*/ 607568 h 607568"/>
                <a:gd name="connsiteX42" fmla="*/ 532203 w 584775"/>
                <a:gd name="connsiteY42" fmla="*/ 602044 h 607568"/>
                <a:gd name="connsiteX43" fmla="*/ 501613 w 584775"/>
                <a:gd name="connsiteY43" fmla="*/ 554480 h 607568"/>
                <a:gd name="connsiteX44" fmla="*/ 499461 w 584775"/>
                <a:gd name="connsiteY44" fmla="*/ 547575 h 607568"/>
                <a:gd name="connsiteX45" fmla="*/ 26733 w 584775"/>
                <a:gd name="connsiteY45" fmla="*/ 88207 h 607568"/>
                <a:gd name="connsiteX46" fmla="*/ 334785 w 584775"/>
                <a:gd name="connsiteY46" fmla="*/ 88207 h 607568"/>
                <a:gd name="connsiteX47" fmla="*/ 361365 w 584775"/>
                <a:gd name="connsiteY47" fmla="*/ 114751 h 607568"/>
                <a:gd name="connsiteX48" fmla="*/ 361365 w 584775"/>
                <a:gd name="connsiteY48" fmla="*/ 580107 h 607568"/>
                <a:gd name="connsiteX49" fmla="*/ 334785 w 584775"/>
                <a:gd name="connsiteY49" fmla="*/ 606651 h 607568"/>
                <a:gd name="connsiteX50" fmla="*/ 26733 w 584775"/>
                <a:gd name="connsiteY50" fmla="*/ 606651 h 607568"/>
                <a:gd name="connsiteX51" fmla="*/ 0 w 584775"/>
                <a:gd name="connsiteY51" fmla="*/ 580107 h 607568"/>
                <a:gd name="connsiteX52" fmla="*/ 0 w 584775"/>
                <a:gd name="connsiteY52" fmla="*/ 114751 h 607568"/>
                <a:gd name="connsiteX53" fmla="*/ 26733 w 584775"/>
                <a:gd name="connsiteY53" fmla="*/ 88207 h 607568"/>
                <a:gd name="connsiteX54" fmla="*/ 542195 w 584775"/>
                <a:gd name="connsiteY54" fmla="*/ 0 h 607568"/>
                <a:gd name="connsiteX55" fmla="*/ 584775 w 584775"/>
                <a:gd name="connsiteY55" fmla="*/ 47728 h 607568"/>
                <a:gd name="connsiteX56" fmla="*/ 584775 w 584775"/>
                <a:gd name="connsiteY56" fmla="*/ 75505 h 607568"/>
                <a:gd name="connsiteX57" fmla="*/ 499461 w 584775"/>
                <a:gd name="connsiteY57" fmla="*/ 75505 h 607568"/>
                <a:gd name="connsiteX58" fmla="*/ 499461 w 584775"/>
                <a:gd name="connsiteY58" fmla="*/ 47728 h 607568"/>
                <a:gd name="connsiteX59" fmla="*/ 542195 w 584775"/>
                <a:gd name="connsiteY59" fmla="*/ 0 h 607568"/>
                <a:gd name="connsiteX60" fmla="*/ 105543 w 584775"/>
                <a:gd name="connsiteY60" fmla="*/ 0 h 607568"/>
                <a:gd name="connsiteX61" fmla="*/ 425885 w 584775"/>
                <a:gd name="connsiteY61" fmla="*/ 0 h 607568"/>
                <a:gd name="connsiteX62" fmla="*/ 452465 w 584775"/>
                <a:gd name="connsiteY62" fmla="*/ 26695 h 607568"/>
                <a:gd name="connsiteX63" fmla="*/ 452465 w 584775"/>
                <a:gd name="connsiteY63" fmla="*/ 501218 h 607568"/>
                <a:gd name="connsiteX64" fmla="*/ 425885 w 584775"/>
                <a:gd name="connsiteY64" fmla="*/ 527759 h 607568"/>
                <a:gd name="connsiteX65" fmla="*/ 394696 w 584775"/>
                <a:gd name="connsiteY65" fmla="*/ 527759 h 607568"/>
                <a:gd name="connsiteX66" fmla="*/ 394696 w 584775"/>
                <a:gd name="connsiteY66" fmla="*/ 114757 h 607568"/>
                <a:gd name="connsiteX67" fmla="*/ 334776 w 584775"/>
                <a:gd name="connsiteY67" fmla="*/ 54924 h 607568"/>
                <a:gd name="connsiteX68" fmla="*/ 78963 w 584775"/>
                <a:gd name="connsiteY68" fmla="*/ 54924 h 607568"/>
                <a:gd name="connsiteX69" fmla="*/ 78963 w 584775"/>
                <a:gd name="connsiteY69" fmla="*/ 26695 h 607568"/>
                <a:gd name="connsiteX70" fmla="*/ 105543 w 584775"/>
                <a:gd name="connsiteY70" fmla="*/ 0 h 6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84775" h="607568">
                  <a:moveTo>
                    <a:pt x="62378" y="527787"/>
                  </a:moveTo>
                  <a:cubicBezTo>
                    <a:pt x="53160" y="527787"/>
                    <a:pt x="45785" y="535306"/>
                    <a:pt x="45785" y="544511"/>
                  </a:cubicBezTo>
                  <a:cubicBezTo>
                    <a:pt x="45785" y="553564"/>
                    <a:pt x="53160" y="561082"/>
                    <a:pt x="62378" y="561082"/>
                  </a:cubicBezTo>
                  <a:lnTo>
                    <a:pt x="299140" y="561082"/>
                  </a:lnTo>
                  <a:cubicBezTo>
                    <a:pt x="308358" y="561082"/>
                    <a:pt x="315733" y="553564"/>
                    <a:pt x="315733" y="544511"/>
                  </a:cubicBezTo>
                  <a:cubicBezTo>
                    <a:pt x="315733" y="535306"/>
                    <a:pt x="308358" y="527787"/>
                    <a:pt x="299140" y="527787"/>
                  </a:cubicBezTo>
                  <a:close/>
                  <a:moveTo>
                    <a:pt x="62378" y="449077"/>
                  </a:moveTo>
                  <a:cubicBezTo>
                    <a:pt x="53160" y="449077"/>
                    <a:pt x="45785" y="456442"/>
                    <a:pt x="45785" y="465648"/>
                  </a:cubicBezTo>
                  <a:cubicBezTo>
                    <a:pt x="45785" y="474854"/>
                    <a:pt x="53160" y="482218"/>
                    <a:pt x="62378" y="482218"/>
                  </a:cubicBezTo>
                  <a:lnTo>
                    <a:pt x="299140" y="482218"/>
                  </a:lnTo>
                  <a:cubicBezTo>
                    <a:pt x="308358" y="482218"/>
                    <a:pt x="315733" y="474854"/>
                    <a:pt x="315733" y="465648"/>
                  </a:cubicBezTo>
                  <a:cubicBezTo>
                    <a:pt x="315733" y="456442"/>
                    <a:pt x="308358" y="449077"/>
                    <a:pt x="299140" y="449077"/>
                  </a:cubicBezTo>
                  <a:close/>
                  <a:moveTo>
                    <a:pt x="62378" y="370214"/>
                  </a:moveTo>
                  <a:cubicBezTo>
                    <a:pt x="53160" y="370214"/>
                    <a:pt x="45785" y="377578"/>
                    <a:pt x="45785" y="386784"/>
                  </a:cubicBezTo>
                  <a:cubicBezTo>
                    <a:pt x="45785" y="395990"/>
                    <a:pt x="53160" y="403355"/>
                    <a:pt x="62378" y="403355"/>
                  </a:cubicBezTo>
                  <a:lnTo>
                    <a:pt x="299140" y="403355"/>
                  </a:lnTo>
                  <a:cubicBezTo>
                    <a:pt x="308358" y="403355"/>
                    <a:pt x="315733" y="395990"/>
                    <a:pt x="315733" y="386784"/>
                  </a:cubicBezTo>
                  <a:cubicBezTo>
                    <a:pt x="315733" y="377578"/>
                    <a:pt x="308358" y="370214"/>
                    <a:pt x="299140" y="370214"/>
                  </a:cubicBezTo>
                  <a:close/>
                  <a:moveTo>
                    <a:pt x="62378" y="291350"/>
                  </a:moveTo>
                  <a:cubicBezTo>
                    <a:pt x="53160" y="291350"/>
                    <a:pt x="45785" y="298868"/>
                    <a:pt x="45785" y="308074"/>
                  </a:cubicBezTo>
                  <a:cubicBezTo>
                    <a:pt x="45785" y="317126"/>
                    <a:pt x="53160" y="324644"/>
                    <a:pt x="62378" y="324644"/>
                  </a:cubicBezTo>
                  <a:lnTo>
                    <a:pt x="299140" y="324644"/>
                  </a:lnTo>
                  <a:cubicBezTo>
                    <a:pt x="308358" y="324644"/>
                    <a:pt x="315733" y="317126"/>
                    <a:pt x="315733" y="308074"/>
                  </a:cubicBezTo>
                  <a:cubicBezTo>
                    <a:pt x="315733" y="298868"/>
                    <a:pt x="308358" y="291350"/>
                    <a:pt x="299140" y="291350"/>
                  </a:cubicBezTo>
                  <a:close/>
                  <a:moveTo>
                    <a:pt x="62378" y="212640"/>
                  </a:moveTo>
                  <a:cubicBezTo>
                    <a:pt x="53160" y="212640"/>
                    <a:pt x="45785" y="220004"/>
                    <a:pt x="45785" y="229210"/>
                  </a:cubicBezTo>
                  <a:cubicBezTo>
                    <a:pt x="45785" y="238416"/>
                    <a:pt x="53160" y="245781"/>
                    <a:pt x="62378" y="245781"/>
                  </a:cubicBezTo>
                  <a:lnTo>
                    <a:pt x="299140" y="245781"/>
                  </a:lnTo>
                  <a:cubicBezTo>
                    <a:pt x="308358" y="245781"/>
                    <a:pt x="315733" y="238416"/>
                    <a:pt x="315733" y="229210"/>
                  </a:cubicBezTo>
                  <a:cubicBezTo>
                    <a:pt x="315733" y="220004"/>
                    <a:pt x="308358" y="212640"/>
                    <a:pt x="299140" y="212640"/>
                  </a:cubicBezTo>
                  <a:close/>
                  <a:moveTo>
                    <a:pt x="62378" y="133776"/>
                  </a:moveTo>
                  <a:cubicBezTo>
                    <a:pt x="53160" y="133776"/>
                    <a:pt x="45785" y="141141"/>
                    <a:pt x="45785" y="150347"/>
                  </a:cubicBezTo>
                  <a:cubicBezTo>
                    <a:pt x="45785" y="159553"/>
                    <a:pt x="53160" y="166917"/>
                    <a:pt x="62378" y="166917"/>
                  </a:cubicBezTo>
                  <a:lnTo>
                    <a:pt x="299140" y="166917"/>
                  </a:lnTo>
                  <a:cubicBezTo>
                    <a:pt x="308358" y="166917"/>
                    <a:pt x="315733" y="159553"/>
                    <a:pt x="315733" y="150347"/>
                  </a:cubicBezTo>
                  <a:cubicBezTo>
                    <a:pt x="315733" y="141141"/>
                    <a:pt x="308358" y="133776"/>
                    <a:pt x="299140" y="133776"/>
                  </a:cubicBezTo>
                  <a:close/>
                  <a:moveTo>
                    <a:pt x="499461" y="108600"/>
                  </a:moveTo>
                  <a:lnTo>
                    <a:pt x="584775" y="108600"/>
                  </a:lnTo>
                  <a:lnTo>
                    <a:pt x="584775" y="547575"/>
                  </a:lnTo>
                  <a:cubicBezTo>
                    <a:pt x="584775" y="550030"/>
                    <a:pt x="584007" y="552485"/>
                    <a:pt x="582777" y="554480"/>
                  </a:cubicBezTo>
                  <a:lnTo>
                    <a:pt x="552187" y="602044"/>
                  </a:lnTo>
                  <a:cubicBezTo>
                    <a:pt x="549881" y="605420"/>
                    <a:pt x="546192" y="607568"/>
                    <a:pt x="542195" y="607568"/>
                  </a:cubicBezTo>
                  <a:cubicBezTo>
                    <a:pt x="538045" y="607568"/>
                    <a:pt x="534355" y="605420"/>
                    <a:pt x="532203" y="602044"/>
                  </a:cubicBezTo>
                  <a:lnTo>
                    <a:pt x="501613" y="554480"/>
                  </a:lnTo>
                  <a:cubicBezTo>
                    <a:pt x="500230" y="552485"/>
                    <a:pt x="499461" y="550030"/>
                    <a:pt x="499461" y="547575"/>
                  </a:cubicBezTo>
                  <a:close/>
                  <a:moveTo>
                    <a:pt x="26733" y="88207"/>
                  </a:moveTo>
                  <a:lnTo>
                    <a:pt x="334785" y="88207"/>
                  </a:lnTo>
                  <a:cubicBezTo>
                    <a:pt x="349534" y="88207"/>
                    <a:pt x="361365" y="100021"/>
                    <a:pt x="361365" y="114751"/>
                  </a:cubicBezTo>
                  <a:lnTo>
                    <a:pt x="361365" y="580107"/>
                  </a:lnTo>
                  <a:cubicBezTo>
                    <a:pt x="361365" y="594683"/>
                    <a:pt x="349534" y="606651"/>
                    <a:pt x="334785" y="606651"/>
                  </a:cubicBezTo>
                  <a:lnTo>
                    <a:pt x="26733" y="606651"/>
                  </a:lnTo>
                  <a:cubicBezTo>
                    <a:pt x="11984" y="606651"/>
                    <a:pt x="0" y="594683"/>
                    <a:pt x="0" y="580107"/>
                  </a:cubicBezTo>
                  <a:lnTo>
                    <a:pt x="0" y="114751"/>
                  </a:lnTo>
                  <a:cubicBezTo>
                    <a:pt x="0" y="100021"/>
                    <a:pt x="11984" y="88207"/>
                    <a:pt x="26733" y="88207"/>
                  </a:cubicBezTo>
                  <a:close/>
                  <a:moveTo>
                    <a:pt x="542195" y="0"/>
                  </a:moveTo>
                  <a:cubicBezTo>
                    <a:pt x="565560" y="0"/>
                    <a:pt x="584775" y="21485"/>
                    <a:pt x="584775" y="47728"/>
                  </a:cubicBezTo>
                  <a:lnTo>
                    <a:pt x="584775" y="75505"/>
                  </a:lnTo>
                  <a:lnTo>
                    <a:pt x="499461" y="75505"/>
                  </a:lnTo>
                  <a:lnTo>
                    <a:pt x="499461" y="47728"/>
                  </a:lnTo>
                  <a:cubicBezTo>
                    <a:pt x="499461" y="21485"/>
                    <a:pt x="518676" y="0"/>
                    <a:pt x="542195" y="0"/>
                  </a:cubicBezTo>
                  <a:close/>
                  <a:moveTo>
                    <a:pt x="105543" y="0"/>
                  </a:moveTo>
                  <a:lnTo>
                    <a:pt x="425885" y="0"/>
                  </a:lnTo>
                  <a:cubicBezTo>
                    <a:pt x="440481" y="0"/>
                    <a:pt x="452465" y="11967"/>
                    <a:pt x="452465" y="26695"/>
                  </a:cubicBezTo>
                  <a:lnTo>
                    <a:pt x="452465" y="501218"/>
                  </a:lnTo>
                  <a:cubicBezTo>
                    <a:pt x="452465" y="515946"/>
                    <a:pt x="440481" y="527759"/>
                    <a:pt x="425885" y="527759"/>
                  </a:cubicBezTo>
                  <a:lnTo>
                    <a:pt x="394696" y="527759"/>
                  </a:lnTo>
                  <a:lnTo>
                    <a:pt x="394696" y="114757"/>
                  </a:lnTo>
                  <a:cubicBezTo>
                    <a:pt x="394696" y="81772"/>
                    <a:pt x="367808" y="54924"/>
                    <a:pt x="334776" y="54924"/>
                  </a:cubicBezTo>
                  <a:lnTo>
                    <a:pt x="78963" y="54924"/>
                  </a:lnTo>
                  <a:lnTo>
                    <a:pt x="78963" y="26695"/>
                  </a:lnTo>
                  <a:cubicBezTo>
                    <a:pt x="78963" y="11967"/>
                    <a:pt x="90947" y="0"/>
                    <a:pt x="105543" y="0"/>
                  </a:cubicBezTo>
                  <a:close/>
                </a:path>
              </a:pathLst>
            </a:custGeom>
            <a:solidFill>
              <a:srgbClr val="FE5817"/>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2" name="组合 11"/>
          <p:cNvGrpSpPr/>
          <p:nvPr/>
        </p:nvGrpSpPr>
        <p:grpSpPr>
          <a:xfrm>
            <a:off x="2656116" y="5437909"/>
            <a:ext cx="740228" cy="740228"/>
            <a:chOff x="2656116" y="5410200"/>
            <a:chExt cx="740228" cy="740228"/>
          </a:xfrm>
        </p:grpSpPr>
        <p:sp>
          <p:nvSpPr>
            <p:cNvPr id="97" name="椭圆 96"/>
            <p:cNvSpPr/>
            <p:nvPr/>
          </p:nvSpPr>
          <p:spPr>
            <a:xfrm>
              <a:off x="2656116" y="5410200"/>
              <a:ext cx="740228" cy="740228"/>
            </a:xfrm>
            <a:prstGeom prst="ellipse">
              <a:avLst/>
            </a:prstGeom>
            <a:solidFill>
              <a:srgbClr val="FFFFFF"/>
            </a:solidFill>
            <a:ln w="2857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88" name="group_126413"/>
            <p:cNvSpPr>
              <a:spLocks noChangeAspect="1"/>
            </p:cNvSpPr>
            <p:nvPr/>
          </p:nvSpPr>
          <p:spPr bwMode="auto">
            <a:xfrm>
              <a:off x="2784907" y="5636314"/>
              <a:ext cx="482646" cy="288000"/>
            </a:xfrm>
            <a:custGeom>
              <a:avLst/>
              <a:gdLst>
                <a:gd name="connsiteX0" fmla="*/ 304490 w 608979"/>
                <a:gd name="connsiteY0" fmla="*/ 195651 h 363385"/>
                <a:gd name="connsiteX1" fmla="*/ 304583 w 608979"/>
                <a:gd name="connsiteY1" fmla="*/ 195651 h 363385"/>
                <a:gd name="connsiteX2" fmla="*/ 304770 w 608979"/>
                <a:gd name="connsiteY2" fmla="*/ 195651 h 363385"/>
                <a:gd name="connsiteX3" fmla="*/ 312252 w 608979"/>
                <a:gd name="connsiteY3" fmla="*/ 237304 h 363385"/>
                <a:gd name="connsiteX4" fmla="*/ 328430 w 608979"/>
                <a:gd name="connsiteY4" fmla="*/ 283254 h 363385"/>
                <a:gd name="connsiteX5" fmla="*/ 356111 w 608979"/>
                <a:gd name="connsiteY5" fmla="*/ 195744 h 363385"/>
                <a:gd name="connsiteX6" fmla="*/ 422040 w 608979"/>
                <a:gd name="connsiteY6" fmla="*/ 232261 h 363385"/>
                <a:gd name="connsiteX7" fmla="*/ 430830 w 608979"/>
                <a:gd name="connsiteY7" fmla="*/ 238425 h 363385"/>
                <a:gd name="connsiteX8" fmla="*/ 450001 w 608979"/>
                <a:gd name="connsiteY8" fmla="*/ 228619 h 363385"/>
                <a:gd name="connsiteX9" fmla="*/ 472352 w 608979"/>
                <a:gd name="connsiteY9" fmla="*/ 299131 h 363385"/>
                <a:gd name="connsiteX10" fmla="*/ 485257 w 608979"/>
                <a:gd name="connsiteY10" fmla="*/ 262240 h 363385"/>
                <a:gd name="connsiteX11" fmla="*/ 491242 w 608979"/>
                <a:gd name="connsiteY11" fmla="*/ 228712 h 363385"/>
                <a:gd name="connsiteX12" fmla="*/ 491429 w 608979"/>
                <a:gd name="connsiteY12" fmla="*/ 228712 h 363385"/>
                <a:gd name="connsiteX13" fmla="*/ 491523 w 608979"/>
                <a:gd name="connsiteY13" fmla="*/ 228712 h 363385"/>
                <a:gd name="connsiteX14" fmla="*/ 497508 w 608979"/>
                <a:gd name="connsiteY14" fmla="*/ 262240 h 363385"/>
                <a:gd name="connsiteX15" fmla="*/ 510506 w 608979"/>
                <a:gd name="connsiteY15" fmla="*/ 299224 h 363385"/>
                <a:gd name="connsiteX16" fmla="*/ 532763 w 608979"/>
                <a:gd name="connsiteY16" fmla="*/ 228712 h 363385"/>
                <a:gd name="connsiteX17" fmla="*/ 585881 w 608979"/>
                <a:gd name="connsiteY17" fmla="*/ 258038 h 363385"/>
                <a:gd name="connsiteX18" fmla="*/ 608886 w 608979"/>
                <a:gd name="connsiteY18" fmla="*/ 301092 h 363385"/>
                <a:gd name="connsiteX19" fmla="*/ 608979 w 608979"/>
                <a:gd name="connsiteY19" fmla="*/ 363385 h 363385"/>
                <a:gd name="connsiteX20" fmla="*/ 491242 w 608979"/>
                <a:gd name="connsiteY20" fmla="*/ 363385 h 363385"/>
                <a:gd name="connsiteX21" fmla="*/ 450469 w 608979"/>
                <a:gd name="connsiteY21" fmla="*/ 363385 h 363385"/>
                <a:gd name="connsiteX22" fmla="*/ 373785 w 608979"/>
                <a:gd name="connsiteY22" fmla="*/ 363385 h 363385"/>
                <a:gd name="connsiteX23" fmla="*/ 304209 w 608979"/>
                <a:gd name="connsiteY23" fmla="*/ 363385 h 363385"/>
                <a:gd name="connsiteX24" fmla="*/ 234633 w 608979"/>
                <a:gd name="connsiteY24" fmla="*/ 363385 h 363385"/>
                <a:gd name="connsiteX25" fmla="*/ 158230 w 608979"/>
                <a:gd name="connsiteY25" fmla="*/ 363385 h 363385"/>
                <a:gd name="connsiteX26" fmla="*/ 117176 w 608979"/>
                <a:gd name="connsiteY26" fmla="*/ 363385 h 363385"/>
                <a:gd name="connsiteX27" fmla="*/ 0 w 608979"/>
                <a:gd name="connsiteY27" fmla="*/ 363385 h 363385"/>
                <a:gd name="connsiteX28" fmla="*/ 0 w 608979"/>
                <a:gd name="connsiteY28" fmla="*/ 300998 h 363385"/>
                <a:gd name="connsiteX29" fmla="*/ 22911 w 608979"/>
                <a:gd name="connsiteY29" fmla="*/ 257851 h 363385"/>
                <a:gd name="connsiteX30" fmla="*/ 76029 w 608979"/>
                <a:gd name="connsiteY30" fmla="*/ 228619 h 363385"/>
                <a:gd name="connsiteX31" fmla="*/ 98380 w 608979"/>
                <a:gd name="connsiteY31" fmla="*/ 299131 h 363385"/>
                <a:gd name="connsiteX32" fmla="*/ 111378 w 608979"/>
                <a:gd name="connsiteY32" fmla="*/ 262240 h 363385"/>
                <a:gd name="connsiteX33" fmla="*/ 117363 w 608979"/>
                <a:gd name="connsiteY33" fmla="*/ 228712 h 363385"/>
                <a:gd name="connsiteX34" fmla="*/ 117457 w 608979"/>
                <a:gd name="connsiteY34" fmla="*/ 228712 h 363385"/>
                <a:gd name="connsiteX35" fmla="*/ 117550 w 608979"/>
                <a:gd name="connsiteY35" fmla="*/ 228712 h 363385"/>
                <a:gd name="connsiteX36" fmla="*/ 123535 w 608979"/>
                <a:gd name="connsiteY36" fmla="*/ 262240 h 363385"/>
                <a:gd name="connsiteX37" fmla="*/ 136534 w 608979"/>
                <a:gd name="connsiteY37" fmla="*/ 299131 h 363385"/>
                <a:gd name="connsiteX38" fmla="*/ 158885 w 608979"/>
                <a:gd name="connsiteY38" fmla="*/ 228619 h 363385"/>
                <a:gd name="connsiteX39" fmla="*/ 178336 w 608979"/>
                <a:gd name="connsiteY39" fmla="*/ 238612 h 363385"/>
                <a:gd name="connsiteX40" fmla="*/ 187127 w 608979"/>
                <a:gd name="connsiteY40" fmla="*/ 232261 h 363385"/>
                <a:gd name="connsiteX41" fmla="*/ 253149 w 608979"/>
                <a:gd name="connsiteY41" fmla="*/ 195744 h 363385"/>
                <a:gd name="connsiteX42" fmla="*/ 280830 w 608979"/>
                <a:gd name="connsiteY42" fmla="*/ 283254 h 363385"/>
                <a:gd name="connsiteX43" fmla="*/ 297008 w 608979"/>
                <a:gd name="connsiteY43" fmla="*/ 237304 h 363385"/>
                <a:gd name="connsiteX44" fmla="*/ 304490 w 608979"/>
                <a:gd name="connsiteY44" fmla="*/ 195651 h 363385"/>
                <a:gd name="connsiteX45" fmla="*/ 491441 w 608979"/>
                <a:gd name="connsiteY45" fmla="*/ 71099 h 363385"/>
                <a:gd name="connsiteX46" fmla="*/ 546818 w 608979"/>
                <a:gd name="connsiteY46" fmla="*/ 127774 h 363385"/>
                <a:gd name="connsiteX47" fmla="*/ 491815 w 608979"/>
                <a:gd name="connsiteY47" fmla="*/ 214140 h 363385"/>
                <a:gd name="connsiteX48" fmla="*/ 491441 w 608979"/>
                <a:gd name="connsiteY48" fmla="*/ 214140 h 363385"/>
                <a:gd name="connsiteX49" fmla="*/ 491067 w 608979"/>
                <a:gd name="connsiteY49" fmla="*/ 214140 h 363385"/>
                <a:gd name="connsiteX50" fmla="*/ 436064 w 608979"/>
                <a:gd name="connsiteY50" fmla="*/ 127774 h 363385"/>
                <a:gd name="connsiteX51" fmla="*/ 491441 w 608979"/>
                <a:gd name="connsiteY51" fmla="*/ 71099 h 363385"/>
                <a:gd name="connsiteX52" fmla="*/ 117056 w 608979"/>
                <a:gd name="connsiteY52" fmla="*/ 71099 h 363385"/>
                <a:gd name="connsiteX53" fmla="*/ 172424 w 608979"/>
                <a:gd name="connsiteY53" fmla="*/ 127774 h 363385"/>
                <a:gd name="connsiteX54" fmla="*/ 117431 w 608979"/>
                <a:gd name="connsiteY54" fmla="*/ 214140 h 363385"/>
                <a:gd name="connsiteX55" fmla="*/ 117056 w 608979"/>
                <a:gd name="connsiteY55" fmla="*/ 214140 h 363385"/>
                <a:gd name="connsiteX56" fmla="*/ 116682 w 608979"/>
                <a:gd name="connsiteY56" fmla="*/ 214140 h 363385"/>
                <a:gd name="connsiteX57" fmla="*/ 61689 w 608979"/>
                <a:gd name="connsiteY57" fmla="*/ 127774 h 363385"/>
                <a:gd name="connsiteX58" fmla="*/ 117056 w 608979"/>
                <a:gd name="connsiteY58" fmla="*/ 71099 h 363385"/>
                <a:gd name="connsiteX59" fmla="*/ 304490 w 608979"/>
                <a:gd name="connsiteY59" fmla="*/ 38 h 363385"/>
                <a:gd name="connsiteX60" fmla="*/ 373335 w 608979"/>
                <a:gd name="connsiteY60" fmla="*/ 70367 h 363385"/>
                <a:gd name="connsiteX61" fmla="*/ 304957 w 608979"/>
                <a:gd name="connsiteY61" fmla="*/ 177869 h 363385"/>
                <a:gd name="connsiteX62" fmla="*/ 304490 w 608979"/>
                <a:gd name="connsiteY62" fmla="*/ 177869 h 363385"/>
                <a:gd name="connsiteX63" fmla="*/ 304022 w 608979"/>
                <a:gd name="connsiteY63" fmla="*/ 177869 h 363385"/>
                <a:gd name="connsiteX64" fmla="*/ 235644 w 608979"/>
                <a:gd name="connsiteY64" fmla="*/ 70367 h 363385"/>
                <a:gd name="connsiteX65" fmla="*/ 304490 w 608979"/>
                <a:gd name="connsiteY65" fmla="*/ 38 h 36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08979" h="363385">
                  <a:moveTo>
                    <a:pt x="304490" y="195651"/>
                  </a:moveTo>
                  <a:lnTo>
                    <a:pt x="304583" y="195651"/>
                  </a:lnTo>
                  <a:lnTo>
                    <a:pt x="304770" y="195651"/>
                  </a:lnTo>
                  <a:cubicBezTo>
                    <a:pt x="310194" y="195744"/>
                    <a:pt x="340681" y="197706"/>
                    <a:pt x="312252" y="237304"/>
                  </a:cubicBezTo>
                  <a:lnTo>
                    <a:pt x="328430" y="283254"/>
                  </a:lnTo>
                  <a:lnTo>
                    <a:pt x="356111" y="195744"/>
                  </a:lnTo>
                  <a:cubicBezTo>
                    <a:pt x="356111" y="195744"/>
                    <a:pt x="390899" y="212649"/>
                    <a:pt x="422040" y="232261"/>
                  </a:cubicBezTo>
                  <a:cubicBezTo>
                    <a:pt x="425313" y="234222"/>
                    <a:pt x="428212" y="236370"/>
                    <a:pt x="430830" y="238425"/>
                  </a:cubicBezTo>
                  <a:cubicBezTo>
                    <a:pt x="442052" y="232448"/>
                    <a:pt x="450001" y="228619"/>
                    <a:pt x="450001" y="228619"/>
                  </a:cubicBezTo>
                  <a:lnTo>
                    <a:pt x="472352" y="299131"/>
                  </a:lnTo>
                  <a:lnTo>
                    <a:pt x="485257" y="262240"/>
                  </a:lnTo>
                  <a:cubicBezTo>
                    <a:pt x="462439" y="230393"/>
                    <a:pt x="486940" y="228712"/>
                    <a:pt x="491242" y="228712"/>
                  </a:cubicBezTo>
                  <a:lnTo>
                    <a:pt x="491429" y="228712"/>
                  </a:lnTo>
                  <a:lnTo>
                    <a:pt x="491523" y="228712"/>
                  </a:lnTo>
                  <a:cubicBezTo>
                    <a:pt x="495918" y="228712"/>
                    <a:pt x="520326" y="230393"/>
                    <a:pt x="497508" y="262240"/>
                  </a:cubicBezTo>
                  <a:lnTo>
                    <a:pt x="510506" y="299224"/>
                  </a:lnTo>
                  <a:lnTo>
                    <a:pt x="532763" y="228712"/>
                  </a:lnTo>
                  <a:cubicBezTo>
                    <a:pt x="532763" y="228712"/>
                    <a:pt x="560818" y="242348"/>
                    <a:pt x="585881" y="258038"/>
                  </a:cubicBezTo>
                  <a:cubicBezTo>
                    <a:pt x="604771" y="269805"/>
                    <a:pt x="608325" y="282693"/>
                    <a:pt x="608886" y="301092"/>
                  </a:cubicBezTo>
                  <a:lnTo>
                    <a:pt x="608979" y="363385"/>
                  </a:lnTo>
                  <a:lnTo>
                    <a:pt x="491242" y="363385"/>
                  </a:lnTo>
                  <a:lnTo>
                    <a:pt x="450469" y="363385"/>
                  </a:lnTo>
                  <a:lnTo>
                    <a:pt x="373785" y="363385"/>
                  </a:lnTo>
                  <a:lnTo>
                    <a:pt x="304209" y="363385"/>
                  </a:lnTo>
                  <a:lnTo>
                    <a:pt x="234633" y="363385"/>
                  </a:lnTo>
                  <a:lnTo>
                    <a:pt x="158230" y="363385"/>
                  </a:lnTo>
                  <a:lnTo>
                    <a:pt x="117176" y="363385"/>
                  </a:lnTo>
                  <a:lnTo>
                    <a:pt x="0" y="363385"/>
                  </a:lnTo>
                  <a:lnTo>
                    <a:pt x="0" y="300998"/>
                  </a:lnTo>
                  <a:cubicBezTo>
                    <a:pt x="467" y="282507"/>
                    <a:pt x="4021" y="269712"/>
                    <a:pt x="22911" y="257851"/>
                  </a:cubicBezTo>
                  <a:cubicBezTo>
                    <a:pt x="47974" y="242161"/>
                    <a:pt x="76029" y="228619"/>
                    <a:pt x="76029" y="228619"/>
                  </a:cubicBezTo>
                  <a:lnTo>
                    <a:pt x="98380" y="299131"/>
                  </a:lnTo>
                  <a:lnTo>
                    <a:pt x="111378" y="262240"/>
                  </a:lnTo>
                  <a:cubicBezTo>
                    <a:pt x="88560" y="230393"/>
                    <a:pt x="112968" y="228712"/>
                    <a:pt x="117363" y="228712"/>
                  </a:cubicBezTo>
                  <a:lnTo>
                    <a:pt x="117457" y="228712"/>
                  </a:lnTo>
                  <a:lnTo>
                    <a:pt x="117550" y="228712"/>
                  </a:lnTo>
                  <a:cubicBezTo>
                    <a:pt x="121946" y="228712"/>
                    <a:pt x="146353" y="230393"/>
                    <a:pt x="123535" y="262240"/>
                  </a:cubicBezTo>
                  <a:lnTo>
                    <a:pt x="136534" y="299131"/>
                  </a:lnTo>
                  <a:lnTo>
                    <a:pt x="158885" y="228619"/>
                  </a:lnTo>
                  <a:cubicBezTo>
                    <a:pt x="158885" y="228619"/>
                    <a:pt x="166927" y="232448"/>
                    <a:pt x="178336" y="238612"/>
                  </a:cubicBezTo>
                  <a:cubicBezTo>
                    <a:pt x="180955" y="236464"/>
                    <a:pt x="183760" y="234316"/>
                    <a:pt x="187127" y="232261"/>
                  </a:cubicBezTo>
                  <a:cubicBezTo>
                    <a:pt x="218361" y="212649"/>
                    <a:pt x="253149" y="195744"/>
                    <a:pt x="253149" y="195744"/>
                  </a:cubicBezTo>
                  <a:lnTo>
                    <a:pt x="280830" y="283254"/>
                  </a:lnTo>
                  <a:lnTo>
                    <a:pt x="297008" y="237304"/>
                  </a:lnTo>
                  <a:cubicBezTo>
                    <a:pt x="268579" y="197612"/>
                    <a:pt x="298972" y="195651"/>
                    <a:pt x="304490" y="195651"/>
                  </a:cubicBezTo>
                  <a:close/>
                  <a:moveTo>
                    <a:pt x="491441" y="71099"/>
                  </a:moveTo>
                  <a:cubicBezTo>
                    <a:pt x="496118" y="71006"/>
                    <a:pt x="544199" y="70539"/>
                    <a:pt x="546818" y="127774"/>
                  </a:cubicBezTo>
                  <a:cubicBezTo>
                    <a:pt x="546818" y="127774"/>
                    <a:pt x="555985" y="213580"/>
                    <a:pt x="491815" y="214140"/>
                  </a:cubicBezTo>
                  <a:lnTo>
                    <a:pt x="491441" y="214140"/>
                  </a:lnTo>
                  <a:lnTo>
                    <a:pt x="491067" y="214140"/>
                  </a:lnTo>
                  <a:cubicBezTo>
                    <a:pt x="426709" y="213580"/>
                    <a:pt x="436064" y="127867"/>
                    <a:pt x="436064" y="127774"/>
                  </a:cubicBezTo>
                  <a:cubicBezTo>
                    <a:pt x="438683" y="70539"/>
                    <a:pt x="486670" y="70913"/>
                    <a:pt x="491441" y="71099"/>
                  </a:cubicBezTo>
                  <a:close/>
                  <a:moveTo>
                    <a:pt x="117056" y="71099"/>
                  </a:moveTo>
                  <a:cubicBezTo>
                    <a:pt x="121826" y="71006"/>
                    <a:pt x="169805" y="70539"/>
                    <a:pt x="172424" y="127774"/>
                  </a:cubicBezTo>
                  <a:cubicBezTo>
                    <a:pt x="172424" y="127774"/>
                    <a:pt x="181776" y="213580"/>
                    <a:pt x="117431" y="214140"/>
                  </a:cubicBezTo>
                  <a:lnTo>
                    <a:pt x="117056" y="214140"/>
                  </a:lnTo>
                  <a:lnTo>
                    <a:pt x="116682" y="214140"/>
                  </a:lnTo>
                  <a:cubicBezTo>
                    <a:pt x="52430" y="213580"/>
                    <a:pt x="61689" y="127867"/>
                    <a:pt x="61689" y="127774"/>
                  </a:cubicBezTo>
                  <a:cubicBezTo>
                    <a:pt x="64308" y="70539"/>
                    <a:pt x="112287" y="70913"/>
                    <a:pt x="117056" y="71099"/>
                  </a:cubicBezTo>
                  <a:close/>
                  <a:moveTo>
                    <a:pt x="304490" y="38"/>
                  </a:moveTo>
                  <a:cubicBezTo>
                    <a:pt x="310383" y="-243"/>
                    <a:pt x="370061" y="-803"/>
                    <a:pt x="373335" y="70367"/>
                  </a:cubicBezTo>
                  <a:cubicBezTo>
                    <a:pt x="373335" y="70367"/>
                    <a:pt x="384934" y="177028"/>
                    <a:pt x="304957" y="177869"/>
                  </a:cubicBezTo>
                  <a:lnTo>
                    <a:pt x="304490" y="177869"/>
                  </a:lnTo>
                  <a:lnTo>
                    <a:pt x="304022" y="177869"/>
                  </a:lnTo>
                  <a:cubicBezTo>
                    <a:pt x="224045" y="177122"/>
                    <a:pt x="235644" y="70554"/>
                    <a:pt x="235644" y="70367"/>
                  </a:cubicBezTo>
                  <a:cubicBezTo>
                    <a:pt x="239012" y="-803"/>
                    <a:pt x="298597" y="-243"/>
                    <a:pt x="304490" y="38"/>
                  </a:cubicBezTo>
                  <a:close/>
                </a:path>
              </a:pathLst>
            </a:custGeom>
            <a:solidFill>
              <a:srgbClr val="FE5817"/>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3" name="组合 12"/>
          <p:cNvGrpSpPr/>
          <p:nvPr/>
        </p:nvGrpSpPr>
        <p:grpSpPr>
          <a:xfrm>
            <a:off x="4288972" y="5437909"/>
            <a:ext cx="740228" cy="740228"/>
            <a:chOff x="4288972" y="5410200"/>
            <a:chExt cx="740228" cy="740228"/>
          </a:xfrm>
        </p:grpSpPr>
        <p:sp>
          <p:nvSpPr>
            <p:cNvPr id="96" name="椭圆 95"/>
            <p:cNvSpPr/>
            <p:nvPr/>
          </p:nvSpPr>
          <p:spPr>
            <a:xfrm>
              <a:off x="4288972" y="5410200"/>
              <a:ext cx="740228" cy="740228"/>
            </a:xfrm>
            <a:prstGeom prst="ellipse">
              <a:avLst/>
            </a:prstGeom>
            <a:solidFill>
              <a:srgbClr val="FFFFFF"/>
            </a:solidFill>
            <a:ln w="2857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03" name="archives_232592"/>
            <p:cNvSpPr>
              <a:spLocks noChangeAspect="1"/>
            </p:cNvSpPr>
            <p:nvPr/>
          </p:nvSpPr>
          <p:spPr bwMode="auto">
            <a:xfrm>
              <a:off x="4476659" y="5582314"/>
              <a:ext cx="364855" cy="396000"/>
            </a:xfrm>
            <a:custGeom>
              <a:avLst/>
              <a:gdLst>
                <a:gd name="connsiteX0" fmla="*/ 411132 w 556338"/>
                <a:gd name="connsiteY0" fmla="*/ 393402 h 603828"/>
                <a:gd name="connsiteX1" fmla="*/ 435343 w 556338"/>
                <a:gd name="connsiteY1" fmla="*/ 393402 h 603828"/>
                <a:gd name="connsiteX2" fmla="*/ 444704 w 556338"/>
                <a:gd name="connsiteY2" fmla="*/ 403071 h 603828"/>
                <a:gd name="connsiteX3" fmla="*/ 444704 w 556338"/>
                <a:gd name="connsiteY3" fmla="*/ 427242 h 603828"/>
                <a:gd name="connsiteX4" fmla="*/ 435343 w 556338"/>
                <a:gd name="connsiteY4" fmla="*/ 436588 h 603828"/>
                <a:gd name="connsiteX5" fmla="*/ 411132 w 556338"/>
                <a:gd name="connsiteY5" fmla="*/ 436588 h 603828"/>
                <a:gd name="connsiteX6" fmla="*/ 401447 w 556338"/>
                <a:gd name="connsiteY6" fmla="*/ 427242 h 603828"/>
                <a:gd name="connsiteX7" fmla="*/ 401447 w 556338"/>
                <a:gd name="connsiteY7" fmla="*/ 403071 h 603828"/>
                <a:gd name="connsiteX8" fmla="*/ 411132 w 556338"/>
                <a:gd name="connsiteY8" fmla="*/ 393402 h 603828"/>
                <a:gd name="connsiteX9" fmla="*/ 270732 w 556338"/>
                <a:gd name="connsiteY9" fmla="*/ 393402 h 603828"/>
                <a:gd name="connsiteX10" fmla="*/ 321734 w 556338"/>
                <a:gd name="connsiteY10" fmla="*/ 393402 h 603828"/>
                <a:gd name="connsiteX11" fmla="*/ 341748 w 556338"/>
                <a:gd name="connsiteY11" fmla="*/ 413393 h 603828"/>
                <a:gd name="connsiteX12" fmla="*/ 341748 w 556338"/>
                <a:gd name="connsiteY12" fmla="*/ 464339 h 603828"/>
                <a:gd name="connsiteX13" fmla="*/ 321734 w 556338"/>
                <a:gd name="connsiteY13" fmla="*/ 484008 h 603828"/>
                <a:gd name="connsiteX14" fmla="*/ 270732 w 556338"/>
                <a:gd name="connsiteY14" fmla="*/ 484008 h 603828"/>
                <a:gd name="connsiteX15" fmla="*/ 250719 w 556338"/>
                <a:gd name="connsiteY15" fmla="*/ 464339 h 603828"/>
                <a:gd name="connsiteX16" fmla="*/ 250719 w 556338"/>
                <a:gd name="connsiteY16" fmla="*/ 413393 h 603828"/>
                <a:gd name="connsiteX17" fmla="*/ 270732 w 556338"/>
                <a:gd name="connsiteY17" fmla="*/ 393402 h 603828"/>
                <a:gd name="connsiteX18" fmla="*/ 468204 w 556338"/>
                <a:gd name="connsiteY18" fmla="*/ 301949 h 603828"/>
                <a:gd name="connsiteX19" fmla="*/ 496920 w 556338"/>
                <a:gd name="connsiteY19" fmla="*/ 301949 h 603828"/>
                <a:gd name="connsiteX20" fmla="*/ 508212 w 556338"/>
                <a:gd name="connsiteY20" fmla="*/ 313226 h 603828"/>
                <a:gd name="connsiteX21" fmla="*/ 508212 w 556338"/>
                <a:gd name="connsiteY21" fmla="*/ 341902 h 603828"/>
                <a:gd name="connsiteX22" fmla="*/ 496920 w 556338"/>
                <a:gd name="connsiteY22" fmla="*/ 353179 h 603828"/>
                <a:gd name="connsiteX23" fmla="*/ 468204 w 556338"/>
                <a:gd name="connsiteY23" fmla="*/ 353179 h 603828"/>
                <a:gd name="connsiteX24" fmla="*/ 456911 w 556338"/>
                <a:gd name="connsiteY24" fmla="*/ 341902 h 603828"/>
                <a:gd name="connsiteX25" fmla="*/ 456911 w 556338"/>
                <a:gd name="connsiteY25" fmla="*/ 313226 h 603828"/>
                <a:gd name="connsiteX26" fmla="*/ 468204 w 556338"/>
                <a:gd name="connsiteY26" fmla="*/ 301949 h 603828"/>
                <a:gd name="connsiteX27" fmla="*/ 323967 w 556338"/>
                <a:gd name="connsiteY27" fmla="*/ 263915 h 603828"/>
                <a:gd name="connsiteX28" fmla="*/ 385286 w 556338"/>
                <a:gd name="connsiteY28" fmla="*/ 263915 h 603828"/>
                <a:gd name="connsiteX29" fmla="*/ 409491 w 556338"/>
                <a:gd name="connsiteY29" fmla="*/ 287751 h 603828"/>
                <a:gd name="connsiteX30" fmla="*/ 409491 w 556338"/>
                <a:gd name="connsiteY30" fmla="*/ 349274 h 603828"/>
                <a:gd name="connsiteX31" fmla="*/ 385286 w 556338"/>
                <a:gd name="connsiteY31" fmla="*/ 373432 h 603828"/>
                <a:gd name="connsiteX32" fmla="*/ 323967 w 556338"/>
                <a:gd name="connsiteY32" fmla="*/ 373432 h 603828"/>
                <a:gd name="connsiteX33" fmla="*/ 299762 w 556338"/>
                <a:gd name="connsiteY33" fmla="*/ 349274 h 603828"/>
                <a:gd name="connsiteX34" fmla="*/ 299762 w 556338"/>
                <a:gd name="connsiteY34" fmla="*/ 287751 h 603828"/>
                <a:gd name="connsiteX35" fmla="*/ 323967 w 556338"/>
                <a:gd name="connsiteY35" fmla="*/ 263915 h 603828"/>
                <a:gd name="connsiteX36" fmla="*/ 153958 w 556338"/>
                <a:gd name="connsiteY36" fmla="*/ 197230 h 603828"/>
                <a:gd name="connsiteX37" fmla="*/ 195905 w 556338"/>
                <a:gd name="connsiteY37" fmla="*/ 197230 h 603828"/>
                <a:gd name="connsiteX38" fmla="*/ 212684 w 556338"/>
                <a:gd name="connsiteY38" fmla="*/ 213664 h 603828"/>
                <a:gd name="connsiteX39" fmla="*/ 212684 w 556338"/>
                <a:gd name="connsiteY39" fmla="*/ 255878 h 603828"/>
                <a:gd name="connsiteX40" fmla="*/ 195905 w 556338"/>
                <a:gd name="connsiteY40" fmla="*/ 272312 h 603828"/>
                <a:gd name="connsiteX41" fmla="*/ 153958 w 556338"/>
                <a:gd name="connsiteY41" fmla="*/ 272312 h 603828"/>
                <a:gd name="connsiteX42" fmla="*/ 137179 w 556338"/>
                <a:gd name="connsiteY42" fmla="*/ 255878 h 603828"/>
                <a:gd name="connsiteX43" fmla="*/ 137179 w 556338"/>
                <a:gd name="connsiteY43" fmla="*/ 213664 h 603828"/>
                <a:gd name="connsiteX44" fmla="*/ 153958 w 556338"/>
                <a:gd name="connsiteY44" fmla="*/ 197230 h 603828"/>
                <a:gd name="connsiteX45" fmla="*/ 283992 w 556338"/>
                <a:gd name="connsiteY45" fmla="*/ 132733 h 603828"/>
                <a:gd name="connsiteX46" fmla="*/ 334655 w 556338"/>
                <a:gd name="connsiteY46" fmla="*/ 132733 h 603828"/>
                <a:gd name="connsiteX47" fmla="*/ 354662 w 556338"/>
                <a:gd name="connsiteY47" fmla="*/ 152709 h 603828"/>
                <a:gd name="connsiteX48" fmla="*/ 354662 w 556338"/>
                <a:gd name="connsiteY48" fmla="*/ 203292 h 603828"/>
                <a:gd name="connsiteX49" fmla="*/ 334655 w 556338"/>
                <a:gd name="connsiteY49" fmla="*/ 223268 h 603828"/>
                <a:gd name="connsiteX50" fmla="*/ 283992 w 556338"/>
                <a:gd name="connsiteY50" fmla="*/ 223268 h 603828"/>
                <a:gd name="connsiteX51" fmla="*/ 263985 w 556338"/>
                <a:gd name="connsiteY51" fmla="*/ 203292 h 603828"/>
                <a:gd name="connsiteX52" fmla="*/ 263985 w 556338"/>
                <a:gd name="connsiteY52" fmla="*/ 152709 h 603828"/>
                <a:gd name="connsiteX53" fmla="*/ 283992 w 556338"/>
                <a:gd name="connsiteY53" fmla="*/ 132733 h 603828"/>
                <a:gd name="connsiteX54" fmla="*/ 441451 w 556338"/>
                <a:gd name="connsiteY54" fmla="*/ 116645 h 603828"/>
                <a:gd name="connsiteX55" fmla="*/ 523744 w 556338"/>
                <a:gd name="connsiteY55" fmla="*/ 116645 h 603828"/>
                <a:gd name="connsiteX56" fmla="*/ 556338 w 556338"/>
                <a:gd name="connsiteY56" fmla="*/ 148870 h 603828"/>
                <a:gd name="connsiteX57" fmla="*/ 556338 w 556338"/>
                <a:gd name="connsiteY57" fmla="*/ 231367 h 603828"/>
                <a:gd name="connsiteX58" fmla="*/ 523744 w 556338"/>
                <a:gd name="connsiteY58" fmla="*/ 263915 h 603828"/>
                <a:gd name="connsiteX59" fmla="*/ 441451 w 556338"/>
                <a:gd name="connsiteY59" fmla="*/ 263915 h 603828"/>
                <a:gd name="connsiteX60" fmla="*/ 408856 w 556338"/>
                <a:gd name="connsiteY60" fmla="*/ 231367 h 603828"/>
                <a:gd name="connsiteX61" fmla="*/ 408856 w 556338"/>
                <a:gd name="connsiteY61" fmla="*/ 148870 h 603828"/>
                <a:gd name="connsiteX62" fmla="*/ 441451 w 556338"/>
                <a:gd name="connsiteY62" fmla="*/ 116645 h 603828"/>
                <a:gd name="connsiteX63" fmla="*/ 74873 w 556338"/>
                <a:gd name="connsiteY63" fmla="*/ 36732 h 603828"/>
                <a:gd name="connsiteX64" fmla="*/ 74873 w 556338"/>
                <a:gd name="connsiteY64" fmla="*/ 539063 h 603828"/>
                <a:gd name="connsiteX65" fmla="*/ 214614 w 556338"/>
                <a:gd name="connsiteY65" fmla="*/ 366357 h 603828"/>
                <a:gd name="connsiteX66" fmla="*/ 214614 w 556338"/>
                <a:gd name="connsiteY66" fmla="*/ 106008 h 603828"/>
                <a:gd name="connsiteX67" fmla="*/ 394668 w 556338"/>
                <a:gd name="connsiteY67" fmla="*/ 35142 h 603828"/>
                <a:gd name="connsiteX68" fmla="*/ 423367 w 556338"/>
                <a:gd name="connsiteY68" fmla="*/ 35142 h 603828"/>
                <a:gd name="connsiteX69" fmla="*/ 434330 w 556338"/>
                <a:gd name="connsiteY69" fmla="*/ 46090 h 603828"/>
                <a:gd name="connsiteX70" fmla="*/ 434330 w 556338"/>
                <a:gd name="connsiteY70" fmla="*/ 74750 h 603828"/>
                <a:gd name="connsiteX71" fmla="*/ 423367 w 556338"/>
                <a:gd name="connsiteY71" fmla="*/ 86020 h 603828"/>
                <a:gd name="connsiteX72" fmla="*/ 394668 w 556338"/>
                <a:gd name="connsiteY72" fmla="*/ 86020 h 603828"/>
                <a:gd name="connsiteX73" fmla="*/ 383382 w 556338"/>
                <a:gd name="connsiteY73" fmla="*/ 74750 h 603828"/>
                <a:gd name="connsiteX74" fmla="*/ 383382 w 556338"/>
                <a:gd name="connsiteY74" fmla="*/ 46090 h 603828"/>
                <a:gd name="connsiteX75" fmla="*/ 394668 w 556338"/>
                <a:gd name="connsiteY75" fmla="*/ 35142 h 603828"/>
                <a:gd name="connsiteX76" fmla="*/ 0 w 556338"/>
                <a:gd name="connsiteY76" fmla="*/ 0 h 603828"/>
                <a:gd name="connsiteX77" fmla="*/ 51959 w 556338"/>
                <a:gd name="connsiteY77" fmla="*/ 0 h 603828"/>
                <a:gd name="connsiteX78" fmla="*/ 237528 w 556338"/>
                <a:gd name="connsiteY78" fmla="*/ 91831 h 603828"/>
                <a:gd name="connsiteX79" fmla="*/ 237528 w 556338"/>
                <a:gd name="connsiteY79" fmla="*/ 290637 h 603828"/>
                <a:gd name="connsiteX80" fmla="*/ 238819 w 556338"/>
                <a:gd name="connsiteY80" fmla="*/ 289992 h 603828"/>
                <a:gd name="connsiteX81" fmla="*/ 263024 w 556338"/>
                <a:gd name="connsiteY81" fmla="*/ 289992 h 603828"/>
                <a:gd name="connsiteX82" fmla="*/ 272383 w 556338"/>
                <a:gd name="connsiteY82" fmla="*/ 299336 h 603828"/>
                <a:gd name="connsiteX83" fmla="*/ 272383 w 556338"/>
                <a:gd name="connsiteY83" fmla="*/ 323502 h 603828"/>
                <a:gd name="connsiteX84" fmla="*/ 263024 w 556338"/>
                <a:gd name="connsiteY84" fmla="*/ 333169 h 603828"/>
                <a:gd name="connsiteX85" fmla="*/ 238819 w 556338"/>
                <a:gd name="connsiteY85" fmla="*/ 333169 h 603828"/>
                <a:gd name="connsiteX86" fmla="*/ 237528 w 556338"/>
                <a:gd name="connsiteY86" fmla="*/ 332524 h 603828"/>
                <a:gd name="connsiteX87" fmla="*/ 237528 w 556338"/>
                <a:gd name="connsiteY87" fmla="*/ 374734 h 603828"/>
                <a:gd name="connsiteX88" fmla="*/ 51959 w 556338"/>
                <a:gd name="connsiteY88" fmla="*/ 603828 h 603828"/>
                <a:gd name="connsiteX89" fmla="*/ 0 w 556338"/>
                <a:gd name="connsiteY89" fmla="*/ 603828 h 60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56338" h="603828">
                  <a:moveTo>
                    <a:pt x="411132" y="393402"/>
                  </a:moveTo>
                  <a:lnTo>
                    <a:pt x="435343" y="393402"/>
                  </a:lnTo>
                  <a:cubicBezTo>
                    <a:pt x="440508" y="393402"/>
                    <a:pt x="444704" y="397914"/>
                    <a:pt x="444704" y="403071"/>
                  </a:cubicBezTo>
                  <a:lnTo>
                    <a:pt x="444704" y="427242"/>
                  </a:lnTo>
                  <a:cubicBezTo>
                    <a:pt x="444704" y="432398"/>
                    <a:pt x="440508" y="436588"/>
                    <a:pt x="435343" y="436588"/>
                  </a:cubicBezTo>
                  <a:lnTo>
                    <a:pt x="411132" y="436588"/>
                  </a:lnTo>
                  <a:cubicBezTo>
                    <a:pt x="405966" y="436588"/>
                    <a:pt x="401447" y="432398"/>
                    <a:pt x="401447" y="427242"/>
                  </a:cubicBezTo>
                  <a:lnTo>
                    <a:pt x="401447" y="403071"/>
                  </a:lnTo>
                  <a:cubicBezTo>
                    <a:pt x="401447" y="397914"/>
                    <a:pt x="405966" y="393402"/>
                    <a:pt x="411132" y="393402"/>
                  </a:cubicBezTo>
                  <a:close/>
                  <a:moveTo>
                    <a:pt x="270732" y="393402"/>
                  </a:moveTo>
                  <a:lnTo>
                    <a:pt x="321734" y="393402"/>
                  </a:lnTo>
                  <a:cubicBezTo>
                    <a:pt x="332709" y="393402"/>
                    <a:pt x="341748" y="402430"/>
                    <a:pt x="341748" y="413393"/>
                  </a:cubicBezTo>
                  <a:lnTo>
                    <a:pt x="341748" y="464339"/>
                  </a:lnTo>
                  <a:cubicBezTo>
                    <a:pt x="341748" y="475302"/>
                    <a:pt x="332709" y="484008"/>
                    <a:pt x="321734" y="484008"/>
                  </a:cubicBezTo>
                  <a:lnTo>
                    <a:pt x="270732" y="484008"/>
                  </a:lnTo>
                  <a:cubicBezTo>
                    <a:pt x="259757" y="484008"/>
                    <a:pt x="250719" y="475302"/>
                    <a:pt x="250719" y="464339"/>
                  </a:cubicBezTo>
                  <a:lnTo>
                    <a:pt x="250719" y="413393"/>
                  </a:lnTo>
                  <a:cubicBezTo>
                    <a:pt x="250719" y="402430"/>
                    <a:pt x="259757" y="393402"/>
                    <a:pt x="270732" y="393402"/>
                  </a:cubicBezTo>
                  <a:close/>
                  <a:moveTo>
                    <a:pt x="468204" y="301949"/>
                  </a:moveTo>
                  <a:lnTo>
                    <a:pt x="496920" y="301949"/>
                  </a:lnTo>
                  <a:cubicBezTo>
                    <a:pt x="503050" y="301949"/>
                    <a:pt x="508212" y="307104"/>
                    <a:pt x="508212" y="313226"/>
                  </a:cubicBezTo>
                  <a:lnTo>
                    <a:pt x="508212" y="341902"/>
                  </a:lnTo>
                  <a:cubicBezTo>
                    <a:pt x="508212" y="348024"/>
                    <a:pt x="503050" y="353179"/>
                    <a:pt x="496920" y="353179"/>
                  </a:cubicBezTo>
                  <a:lnTo>
                    <a:pt x="468204" y="353179"/>
                  </a:lnTo>
                  <a:cubicBezTo>
                    <a:pt x="462074" y="353179"/>
                    <a:pt x="456911" y="348024"/>
                    <a:pt x="456911" y="341902"/>
                  </a:cubicBezTo>
                  <a:lnTo>
                    <a:pt x="456911" y="313226"/>
                  </a:lnTo>
                  <a:cubicBezTo>
                    <a:pt x="456911" y="307104"/>
                    <a:pt x="462074" y="301949"/>
                    <a:pt x="468204" y="301949"/>
                  </a:cubicBezTo>
                  <a:close/>
                  <a:moveTo>
                    <a:pt x="323967" y="263915"/>
                  </a:moveTo>
                  <a:lnTo>
                    <a:pt x="385286" y="263915"/>
                  </a:lnTo>
                  <a:cubicBezTo>
                    <a:pt x="398841" y="263915"/>
                    <a:pt x="409491" y="274545"/>
                    <a:pt x="409491" y="287751"/>
                  </a:cubicBezTo>
                  <a:lnTo>
                    <a:pt x="409491" y="349274"/>
                  </a:lnTo>
                  <a:cubicBezTo>
                    <a:pt x="409491" y="362480"/>
                    <a:pt x="398841" y="373432"/>
                    <a:pt x="385286" y="373432"/>
                  </a:cubicBezTo>
                  <a:lnTo>
                    <a:pt x="323967" y="373432"/>
                  </a:lnTo>
                  <a:cubicBezTo>
                    <a:pt x="310735" y="373432"/>
                    <a:pt x="299762" y="362480"/>
                    <a:pt x="299762" y="349274"/>
                  </a:cubicBezTo>
                  <a:lnTo>
                    <a:pt x="299762" y="287751"/>
                  </a:lnTo>
                  <a:cubicBezTo>
                    <a:pt x="299762" y="274545"/>
                    <a:pt x="310735" y="263915"/>
                    <a:pt x="323967" y="263915"/>
                  </a:cubicBezTo>
                  <a:close/>
                  <a:moveTo>
                    <a:pt x="153958" y="197230"/>
                  </a:moveTo>
                  <a:lnTo>
                    <a:pt x="195905" y="197230"/>
                  </a:lnTo>
                  <a:cubicBezTo>
                    <a:pt x="205262" y="197230"/>
                    <a:pt x="212684" y="204642"/>
                    <a:pt x="212684" y="213664"/>
                  </a:cubicBezTo>
                  <a:lnTo>
                    <a:pt x="212684" y="255878"/>
                  </a:lnTo>
                  <a:cubicBezTo>
                    <a:pt x="212684" y="264900"/>
                    <a:pt x="205262" y="272312"/>
                    <a:pt x="195905" y="272312"/>
                  </a:cubicBezTo>
                  <a:lnTo>
                    <a:pt x="153958" y="272312"/>
                  </a:lnTo>
                  <a:cubicBezTo>
                    <a:pt x="144923" y="272312"/>
                    <a:pt x="137179" y="264900"/>
                    <a:pt x="137179" y="255878"/>
                  </a:cubicBezTo>
                  <a:lnTo>
                    <a:pt x="137179" y="213664"/>
                  </a:lnTo>
                  <a:cubicBezTo>
                    <a:pt x="137179" y="204642"/>
                    <a:pt x="144923" y="197230"/>
                    <a:pt x="153958" y="197230"/>
                  </a:cubicBezTo>
                  <a:close/>
                  <a:moveTo>
                    <a:pt x="283992" y="132733"/>
                  </a:moveTo>
                  <a:lnTo>
                    <a:pt x="334655" y="132733"/>
                  </a:lnTo>
                  <a:cubicBezTo>
                    <a:pt x="345626" y="132733"/>
                    <a:pt x="354662" y="141754"/>
                    <a:pt x="354662" y="152709"/>
                  </a:cubicBezTo>
                  <a:lnTo>
                    <a:pt x="354662" y="203292"/>
                  </a:lnTo>
                  <a:cubicBezTo>
                    <a:pt x="354662" y="214247"/>
                    <a:pt x="345626" y="223268"/>
                    <a:pt x="334655" y="223268"/>
                  </a:cubicBezTo>
                  <a:lnTo>
                    <a:pt x="283992" y="223268"/>
                  </a:lnTo>
                  <a:cubicBezTo>
                    <a:pt x="273020" y="223268"/>
                    <a:pt x="263985" y="214247"/>
                    <a:pt x="263985" y="203292"/>
                  </a:cubicBezTo>
                  <a:lnTo>
                    <a:pt x="263985" y="152709"/>
                  </a:lnTo>
                  <a:cubicBezTo>
                    <a:pt x="263985" y="141754"/>
                    <a:pt x="273020" y="132733"/>
                    <a:pt x="283992" y="132733"/>
                  </a:cubicBezTo>
                  <a:close/>
                  <a:moveTo>
                    <a:pt x="441451" y="116645"/>
                  </a:moveTo>
                  <a:lnTo>
                    <a:pt x="523744" y="116645"/>
                  </a:lnTo>
                  <a:cubicBezTo>
                    <a:pt x="541816" y="116645"/>
                    <a:pt x="556338" y="131146"/>
                    <a:pt x="556338" y="148870"/>
                  </a:cubicBezTo>
                  <a:lnTo>
                    <a:pt x="556338" y="231367"/>
                  </a:lnTo>
                  <a:cubicBezTo>
                    <a:pt x="556338" y="249091"/>
                    <a:pt x="541816" y="263915"/>
                    <a:pt x="523744" y="263915"/>
                  </a:cubicBezTo>
                  <a:lnTo>
                    <a:pt x="441451" y="263915"/>
                  </a:lnTo>
                  <a:cubicBezTo>
                    <a:pt x="423379" y="263915"/>
                    <a:pt x="408856" y="249091"/>
                    <a:pt x="408856" y="231367"/>
                  </a:cubicBezTo>
                  <a:lnTo>
                    <a:pt x="408856" y="148870"/>
                  </a:lnTo>
                  <a:cubicBezTo>
                    <a:pt x="408856" y="131146"/>
                    <a:pt x="423379" y="116645"/>
                    <a:pt x="441451" y="116645"/>
                  </a:cubicBezTo>
                  <a:close/>
                  <a:moveTo>
                    <a:pt x="74873" y="36732"/>
                  </a:moveTo>
                  <a:lnTo>
                    <a:pt x="74873" y="539063"/>
                  </a:lnTo>
                  <a:lnTo>
                    <a:pt x="214614" y="366357"/>
                  </a:lnTo>
                  <a:lnTo>
                    <a:pt x="214614" y="106008"/>
                  </a:lnTo>
                  <a:close/>
                  <a:moveTo>
                    <a:pt x="394668" y="35142"/>
                  </a:moveTo>
                  <a:lnTo>
                    <a:pt x="423367" y="35142"/>
                  </a:lnTo>
                  <a:cubicBezTo>
                    <a:pt x="429493" y="35142"/>
                    <a:pt x="434330" y="39972"/>
                    <a:pt x="434330" y="46090"/>
                  </a:cubicBezTo>
                  <a:lnTo>
                    <a:pt x="434330" y="74750"/>
                  </a:lnTo>
                  <a:cubicBezTo>
                    <a:pt x="434330" y="80868"/>
                    <a:pt x="429493" y="86020"/>
                    <a:pt x="423367" y="86020"/>
                  </a:cubicBezTo>
                  <a:lnTo>
                    <a:pt x="394668" y="86020"/>
                  </a:lnTo>
                  <a:cubicBezTo>
                    <a:pt x="388541" y="86020"/>
                    <a:pt x="383382" y="80868"/>
                    <a:pt x="383382" y="74750"/>
                  </a:cubicBezTo>
                  <a:lnTo>
                    <a:pt x="383382" y="46090"/>
                  </a:lnTo>
                  <a:cubicBezTo>
                    <a:pt x="383382" y="39972"/>
                    <a:pt x="388541" y="35142"/>
                    <a:pt x="394668" y="35142"/>
                  </a:cubicBezTo>
                  <a:close/>
                  <a:moveTo>
                    <a:pt x="0" y="0"/>
                  </a:moveTo>
                  <a:lnTo>
                    <a:pt x="51959" y="0"/>
                  </a:lnTo>
                  <a:lnTo>
                    <a:pt x="237528" y="91831"/>
                  </a:lnTo>
                  <a:lnTo>
                    <a:pt x="237528" y="290637"/>
                  </a:lnTo>
                  <a:cubicBezTo>
                    <a:pt x="238174" y="290314"/>
                    <a:pt x="238496" y="289992"/>
                    <a:pt x="238819" y="289992"/>
                  </a:cubicBezTo>
                  <a:lnTo>
                    <a:pt x="263024" y="289992"/>
                  </a:lnTo>
                  <a:cubicBezTo>
                    <a:pt x="268187" y="289992"/>
                    <a:pt x="272383" y="294181"/>
                    <a:pt x="272383" y="299336"/>
                  </a:cubicBezTo>
                  <a:lnTo>
                    <a:pt x="272383" y="323502"/>
                  </a:lnTo>
                  <a:cubicBezTo>
                    <a:pt x="272383" y="328658"/>
                    <a:pt x="268187" y="333169"/>
                    <a:pt x="263024" y="333169"/>
                  </a:cubicBezTo>
                  <a:lnTo>
                    <a:pt x="238819" y="333169"/>
                  </a:lnTo>
                  <a:cubicBezTo>
                    <a:pt x="238496" y="333169"/>
                    <a:pt x="238174" y="332524"/>
                    <a:pt x="237528" y="332524"/>
                  </a:cubicBezTo>
                  <a:lnTo>
                    <a:pt x="237528" y="374734"/>
                  </a:lnTo>
                  <a:lnTo>
                    <a:pt x="51959" y="603828"/>
                  </a:lnTo>
                  <a:lnTo>
                    <a:pt x="0" y="603828"/>
                  </a:lnTo>
                  <a:close/>
                </a:path>
              </a:pathLst>
            </a:custGeom>
            <a:solidFill>
              <a:srgbClr val="FE5817"/>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21" name="组合 20"/>
          <p:cNvGrpSpPr/>
          <p:nvPr/>
        </p:nvGrpSpPr>
        <p:grpSpPr>
          <a:xfrm>
            <a:off x="8518872" y="3325093"/>
            <a:ext cx="3030871" cy="2853044"/>
            <a:chOff x="8518872" y="3200399"/>
            <a:chExt cx="3030871" cy="2853044"/>
          </a:xfrm>
          <a:effectLst/>
        </p:grpSpPr>
        <p:sp>
          <p:nvSpPr>
            <p:cNvPr id="87" name="任意多边形 86"/>
            <p:cNvSpPr/>
            <p:nvPr/>
          </p:nvSpPr>
          <p:spPr>
            <a:xfrm flipH="1">
              <a:off x="9100456" y="3396341"/>
              <a:ext cx="2188030" cy="884045"/>
            </a:xfrm>
            <a:custGeom>
              <a:avLst/>
              <a:gdLst>
                <a:gd name="connsiteX0" fmla="*/ 0 w 1415143"/>
                <a:gd name="connsiteY0" fmla="*/ 0 h 794658"/>
                <a:gd name="connsiteX1" fmla="*/ 0 w 1415143"/>
                <a:gd name="connsiteY1" fmla="*/ 587829 h 794658"/>
                <a:gd name="connsiteX2" fmla="*/ 1415143 w 1415143"/>
                <a:gd name="connsiteY2" fmla="*/ 587829 h 794658"/>
                <a:gd name="connsiteX3" fmla="*/ 1415143 w 1415143"/>
                <a:gd name="connsiteY3" fmla="*/ 718458 h 794658"/>
                <a:gd name="connsiteX4" fmla="*/ 1415143 w 1415143"/>
                <a:gd name="connsiteY4" fmla="*/ 794658 h 794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143" h="794658">
                  <a:moveTo>
                    <a:pt x="0" y="0"/>
                  </a:moveTo>
                  <a:lnTo>
                    <a:pt x="0" y="587829"/>
                  </a:lnTo>
                  <a:lnTo>
                    <a:pt x="1415143" y="587829"/>
                  </a:lnTo>
                  <a:lnTo>
                    <a:pt x="1415143" y="718458"/>
                  </a:lnTo>
                  <a:lnTo>
                    <a:pt x="1415143" y="794658"/>
                  </a:lnTo>
                </a:path>
              </a:pathLst>
            </a:cu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 name="任意多边形 89"/>
            <p:cNvSpPr/>
            <p:nvPr/>
          </p:nvSpPr>
          <p:spPr>
            <a:xfrm>
              <a:off x="11288486" y="3396342"/>
              <a:ext cx="0" cy="896154"/>
            </a:xfrm>
            <a:custGeom>
              <a:avLst/>
              <a:gdLst>
                <a:gd name="connsiteX0" fmla="*/ 0 w 0"/>
                <a:gd name="connsiteY0" fmla="*/ 0 h 805543"/>
                <a:gd name="connsiteX1" fmla="*/ 0 w 0"/>
                <a:gd name="connsiteY1" fmla="*/ 805543 h 805543"/>
              </a:gdLst>
              <a:ahLst/>
              <a:cxnLst>
                <a:cxn ang="0">
                  <a:pos x="connsiteX0" y="connsiteY0"/>
                </a:cxn>
                <a:cxn ang="0">
                  <a:pos x="connsiteX1" y="connsiteY1"/>
                </a:cxn>
              </a:cxnLst>
              <a:rect l="l" t="t" r="r" b="b"/>
              <a:pathLst>
                <a:path h="805543">
                  <a:moveTo>
                    <a:pt x="0" y="0"/>
                  </a:moveTo>
                  <a:lnTo>
                    <a:pt x="0" y="805543"/>
                  </a:lnTo>
                </a:path>
              </a:pathLst>
            </a:cu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5" name="椭圆 54"/>
            <p:cNvSpPr/>
            <p:nvPr/>
          </p:nvSpPr>
          <p:spPr>
            <a:xfrm>
              <a:off x="11179629" y="3200399"/>
              <a:ext cx="195944" cy="195944"/>
            </a:xfrm>
            <a:prstGeom prst="ellipse">
              <a:avLst/>
            </a:prstGeom>
            <a:solidFill>
              <a:schemeClr val="accent1"/>
            </a:solidFill>
            <a:ln w="285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4" name="矩形 73"/>
            <p:cNvSpPr/>
            <p:nvPr/>
          </p:nvSpPr>
          <p:spPr>
            <a:xfrm>
              <a:off x="8518872" y="4257696"/>
              <a:ext cx="1343585" cy="1349437"/>
            </a:xfrm>
            <a:prstGeom prst="rect">
              <a:avLst/>
            </a:prstGeom>
            <a:solidFill>
              <a:schemeClr val="bg1"/>
            </a:solidFill>
            <a:ln>
              <a:solidFill>
                <a:schemeClr val="bg1">
                  <a:lumMod val="65000"/>
                </a:schemeClr>
              </a:solidFill>
            </a:ln>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XXX</a:t>
              </a:r>
              <a:endParaRPr kumimoji="0"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75" name="矩形 74"/>
            <p:cNvSpPr/>
            <p:nvPr/>
          </p:nvSpPr>
          <p:spPr>
            <a:xfrm>
              <a:off x="10206158" y="4257696"/>
              <a:ext cx="1343585" cy="1349437"/>
            </a:xfrm>
            <a:prstGeom prst="rect">
              <a:avLst/>
            </a:prstGeom>
            <a:solidFill>
              <a:schemeClr val="bg1"/>
            </a:solidFill>
            <a:ln>
              <a:solidFill>
                <a:schemeClr val="bg1">
                  <a:lumMod val="65000"/>
                </a:schemeClr>
              </a:solidFill>
            </a:ln>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XX</a:t>
              </a:r>
              <a:endParaRPr kumimoji="0"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nvGrpSpPr>
            <p:cNvPr id="14" name="组合 13"/>
            <p:cNvGrpSpPr/>
            <p:nvPr/>
          </p:nvGrpSpPr>
          <p:grpSpPr>
            <a:xfrm>
              <a:off x="8817429" y="5313215"/>
              <a:ext cx="740228" cy="740228"/>
              <a:chOff x="8817429" y="5410200"/>
              <a:chExt cx="740228" cy="740228"/>
            </a:xfrm>
          </p:grpSpPr>
          <p:sp>
            <p:nvSpPr>
              <p:cNvPr id="99" name="椭圆 98"/>
              <p:cNvSpPr/>
              <p:nvPr/>
            </p:nvSpPr>
            <p:spPr>
              <a:xfrm>
                <a:off x="8817429" y="5410200"/>
                <a:ext cx="740228" cy="740228"/>
              </a:xfrm>
              <a:prstGeom prst="ellipse">
                <a:avLst/>
              </a:prstGeom>
              <a:solidFill>
                <a:srgbClr val="FFFFFF"/>
              </a:solidFill>
              <a:ln w="2857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13" name="desktop-application_73465"/>
              <p:cNvSpPr>
                <a:spLocks noChangeAspect="1"/>
              </p:cNvSpPr>
              <p:nvPr/>
            </p:nvSpPr>
            <p:spPr bwMode="auto">
              <a:xfrm>
                <a:off x="9000449" y="5582314"/>
                <a:ext cx="374189" cy="396000"/>
              </a:xfrm>
              <a:custGeom>
                <a:avLst/>
                <a:gdLst>
                  <a:gd name="connsiteX0" fmla="*/ 466554 w 572568"/>
                  <a:gd name="connsiteY0" fmla="*/ 390739 h 605945"/>
                  <a:gd name="connsiteX1" fmla="*/ 444429 w 572568"/>
                  <a:gd name="connsiteY1" fmla="*/ 412831 h 605945"/>
                  <a:gd name="connsiteX2" fmla="*/ 466554 w 572568"/>
                  <a:gd name="connsiteY2" fmla="*/ 435014 h 605945"/>
                  <a:gd name="connsiteX3" fmla="*/ 488679 w 572568"/>
                  <a:gd name="connsiteY3" fmla="*/ 412831 h 605945"/>
                  <a:gd name="connsiteX4" fmla="*/ 466554 w 572568"/>
                  <a:gd name="connsiteY4" fmla="*/ 390739 h 605945"/>
                  <a:gd name="connsiteX5" fmla="*/ 117511 w 572568"/>
                  <a:gd name="connsiteY5" fmla="*/ 286354 h 605945"/>
                  <a:gd name="connsiteX6" fmla="*/ 266505 w 572568"/>
                  <a:gd name="connsiteY6" fmla="*/ 286354 h 605945"/>
                  <a:gd name="connsiteX7" fmla="*/ 281626 w 572568"/>
                  <a:gd name="connsiteY7" fmla="*/ 301455 h 605945"/>
                  <a:gd name="connsiteX8" fmla="*/ 266505 w 572568"/>
                  <a:gd name="connsiteY8" fmla="*/ 316556 h 605945"/>
                  <a:gd name="connsiteX9" fmla="*/ 117511 w 572568"/>
                  <a:gd name="connsiteY9" fmla="*/ 316556 h 605945"/>
                  <a:gd name="connsiteX10" fmla="*/ 102390 w 572568"/>
                  <a:gd name="connsiteY10" fmla="*/ 301455 h 605945"/>
                  <a:gd name="connsiteX11" fmla="*/ 117511 w 572568"/>
                  <a:gd name="connsiteY11" fmla="*/ 286354 h 605945"/>
                  <a:gd name="connsiteX12" fmla="*/ 348387 w 572568"/>
                  <a:gd name="connsiteY12" fmla="*/ 237874 h 605945"/>
                  <a:gd name="connsiteX13" fmla="*/ 348387 w 572568"/>
                  <a:gd name="connsiteY13" fmla="*/ 324766 h 605945"/>
                  <a:gd name="connsiteX14" fmla="*/ 464809 w 572568"/>
                  <a:gd name="connsiteY14" fmla="*/ 324766 h 605945"/>
                  <a:gd name="connsiteX15" fmla="*/ 464809 w 572568"/>
                  <a:gd name="connsiteY15" fmla="*/ 237874 h 605945"/>
                  <a:gd name="connsiteX16" fmla="*/ 117511 w 572568"/>
                  <a:gd name="connsiteY16" fmla="*/ 225809 h 605945"/>
                  <a:gd name="connsiteX17" fmla="*/ 266505 w 572568"/>
                  <a:gd name="connsiteY17" fmla="*/ 225809 h 605945"/>
                  <a:gd name="connsiteX18" fmla="*/ 281626 w 572568"/>
                  <a:gd name="connsiteY18" fmla="*/ 240992 h 605945"/>
                  <a:gd name="connsiteX19" fmla="*/ 266505 w 572568"/>
                  <a:gd name="connsiteY19" fmla="*/ 256082 h 605945"/>
                  <a:gd name="connsiteX20" fmla="*/ 117511 w 572568"/>
                  <a:gd name="connsiteY20" fmla="*/ 256082 h 605945"/>
                  <a:gd name="connsiteX21" fmla="*/ 102390 w 572568"/>
                  <a:gd name="connsiteY21" fmla="*/ 240992 h 605945"/>
                  <a:gd name="connsiteX22" fmla="*/ 117511 w 572568"/>
                  <a:gd name="connsiteY22" fmla="*/ 225809 h 605945"/>
                  <a:gd name="connsiteX23" fmla="*/ 338340 w 572568"/>
                  <a:gd name="connsiteY23" fmla="*/ 217624 h 605945"/>
                  <a:gd name="connsiteX24" fmla="*/ 474856 w 572568"/>
                  <a:gd name="connsiteY24" fmla="*/ 217624 h 605945"/>
                  <a:gd name="connsiteX25" fmla="*/ 484996 w 572568"/>
                  <a:gd name="connsiteY25" fmla="*/ 227749 h 605945"/>
                  <a:gd name="connsiteX26" fmla="*/ 484996 w 572568"/>
                  <a:gd name="connsiteY26" fmla="*/ 334891 h 605945"/>
                  <a:gd name="connsiteX27" fmla="*/ 474856 w 572568"/>
                  <a:gd name="connsiteY27" fmla="*/ 344924 h 605945"/>
                  <a:gd name="connsiteX28" fmla="*/ 338340 w 572568"/>
                  <a:gd name="connsiteY28" fmla="*/ 344924 h 605945"/>
                  <a:gd name="connsiteX29" fmla="*/ 328200 w 572568"/>
                  <a:gd name="connsiteY29" fmla="*/ 334891 h 605945"/>
                  <a:gd name="connsiteX30" fmla="*/ 328200 w 572568"/>
                  <a:gd name="connsiteY30" fmla="*/ 227749 h 605945"/>
                  <a:gd name="connsiteX31" fmla="*/ 338340 w 572568"/>
                  <a:gd name="connsiteY31" fmla="*/ 217624 h 605945"/>
                  <a:gd name="connsiteX32" fmla="*/ 117515 w 572568"/>
                  <a:gd name="connsiteY32" fmla="*/ 165335 h 605945"/>
                  <a:gd name="connsiteX33" fmla="*/ 205956 w 572568"/>
                  <a:gd name="connsiteY33" fmla="*/ 165335 h 605945"/>
                  <a:gd name="connsiteX34" fmla="*/ 221081 w 572568"/>
                  <a:gd name="connsiteY34" fmla="*/ 180425 h 605945"/>
                  <a:gd name="connsiteX35" fmla="*/ 205956 w 572568"/>
                  <a:gd name="connsiteY35" fmla="*/ 195608 h 605945"/>
                  <a:gd name="connsiteX36" fmla="*/ 117515 w 572568"/>
                  <a:gd name="connsiteY36" fmla="*/ 195608 h 605945"/>
                  <a:gd name="connsiteX37" fmla="*/ 102390 w 572568"/>
                  <a:gd name="connsiteY37" fmla="*/ 180425 h 605945"/>
                  <a:gd name="connsiteX38" fmla="*/ 117515 w 572568"/>
                  <a:gd name="connsiteY38" fmla="*/ 165335 h 605945"/>
                  <a:gd name="connsiteX39" fmla="*/ 117517 w 572568"/>
                  <a:gd name="connsiteY39" fmla="*/ 104860 h 605945"/>
                  <a:gd name="connsiteX40" fmla="*/ 185680 w 572568"/>
                  <a:gd name="connsiteY40" fmla="*/ 104860 h 605945"/>
                  <a:gd name="connsiteX41" fmla="*/ 200899 w 572568"/>
                  <a:gd name="connsiteY41" fmla="*/ 119950 h 605945"/>
                  <a:gd name="connsiteX42" fmla="*/ 185680 w 572568"/>
                  <a:gd name="connsiteY42" fmla="*/ 135133 h 605945"/>
                  <a:gd name="connsiteX43" fmla="*/ 117517 w 572568"/>
                  <a:gd name="connsiteY43" fmla="*/ 135133 h 605945"/>
                  <a:gd name="connsiteX44" fmla="*/ 102390 w 572568"/>
                  <a:gd name="connsiteY44" fmla="*/ 119950 h 605945"/>
                  <a:gd name="connsiteX45" fmla="*/ 117517 w 572568"/>
                  <a:gd name="connsiteY45" fmla="*/ 104860 h 605945"/>
                  <a:gd name="connsiteX46" fmla="*/ 348387 w 572568"/>
                  <a:gd name="connsiteY46" fmla="*/ 96651 h 605945"/>
                  <a:gd name="connsiteX47" fmla="*/ 348387 w 572568"/>
                  <a:gd name="connsiteY47" fmla="*/ 183635 h 605945"/>
                  <a:gd name="connsiteX48" fmla="*/ 464809 w 572568"/>
                  <a:gd name="connsiteY48" fmla="*/ 183635 h 605945"/>
                  <a:gd name="connsiteX49" fmla="*/ 464809 w 572568"/>
                  <a:gd name="connsiteY49" fmla="*/ 96651 h 605945"/>
                  <a:gd name="connsiteX50" fmla="*/ 338340 w 572568"/>
                  <a:gd name="connsiteY50" fmla="*/ 76493 h 605945"/>
                  <a:gd name="connsiteX51" fmla="*/ 474856 w 572568"/>
                  <a:gd name="connsiteY51" fmla="*/ 76493 h 605945"/>
                  <a:gd name="connsiteX52" fmla="*/ 484996 w 572568"/>
                  <a:gd name="connsiteY52" fmla="*/ 86526 h 605945"/>
                  <a:gd name="connsiteX53" fmla="*/ 484996 w 572568"/>
                  <a:gd name="connsiteY53" fmla="*/ 193668 h 605945"/>
                  <a:gd name="connsiteX54" fmla="*/ 474856 w 572568"/>
                  <a:gd name="connsiteY54" fmla="*/ 203793 h 605945"/>
                  <a:gd name="connsiteX55" fmla="*/ 338340 w 572568"/>
                  <a:gd name="connsiteY55" fmla="*/ 203793 h 605945"/>
                  <a:gd name="connsiteX56" fmla="*/ 328200 w 572568"/>
                  <a:gd name="connsiteY56" fmla="*/ 193668 h 605945"/>
                  <a:gd name="connsiteX57" fmla="*/ 328200 w 572568"/>
                  <a:gd name="connsiteY57" fmla="*/ 86526 h 605945"/>
                  <a:gd name="connsiteX58" fmla="*/ 338340 w 572568"/>
                  <a:gd name="connsiteY58" fmla="*/ 76493 h 605945"/>
                  <a:gd name="connsiteX59" fmla="*/ 88683 w 572568"/>
                  <a:gd name="connsiteY59" fmla="*/ 56793 h 605945"/>
                  <a:gd name="connsiteX60" fmla="*/ 61673 w 572568"/>
                  <a:gd name="connsiteY60" fmla="*/ 83855 h 605945"/>
                  <a:gd name="connsiteX61" fmla="*/ 61673 w 572568"/>
                  <a:gd name="connsiteY61" fmla="*/ 337628 h 605945"/>
                  <a:gd name="connsiteX62" fmla="*/ 88683 w 572568"/>
                  <a:gd name="connsiteY62" fmla="*/ 364598 h 605945"/>
                  <a:gd name="connsiteX63" fmla="*/ 483885 w 572568"/>
                  <a:gd name="connsiteY63" fmla="*/ 364598 h 605945"/>
                  <a:gd name="connsiteX64" fmla="*/ 510896 w 572568"/>
                  <a:gd name="connsiteY64" fmla="*/ 337628 h 605945"/>
                  <a:gd name="connsiteX65" fmla="*/ 510896 w 572568"/>
                  <a:gd name="connsiteY65" fmla="*/ 83855 h 605945"/>
                  <a:gd name="connsiteX66" fmla="*/ 483885 w 572568"/>
                  <a:gd name="connsiteY66" fmla="*/ 56793 h 605945"/>
                  <a:gd name="connsiteX67" fmla="*/ 71076 w 572568"/>
                  <a:gd name="connsiteY67" fmla="*/ 0 h 605945"/>
                  <a:gd name="connsiteX68" fmla="*/ 501492 w 572568"/>
                  <a:gd name="connsiteY68" fmla="*/ 0 h 605945"/>
                  <a:gd name="connsiteX69" fmla="*/ 572568 w 572568"/>
                  <a:gd name="connsiteY69" fmla="*/ 70968 h 605945"/>
                  <a:gd name="connsiteX70" fmla="*/ 572568 w 572568"/>
                  <a:gd name="connsiteY70" fmla="*/ 398655 h 605945"/>
                  <a:gd name="connsiteX71" fmla="*/ 501492 w 572568"/>
                  <a:gd name="connsiteY71" fmla="*/ 469623 h 605945"/>
                  <a:gd name="connsiteX72" fmla="*/ 351414 w 572568"/>
                  <a:gd name="connsiteY72" fmla="*/ 469623 h 605945"/>
                  <a:gd name="connsiteX73" fmla="*/ 351414 w 572568"/>
                  <a:gd name="connsiteY73" fmla="*/ 517488 h 605945"/>
                  <a:gd name="connsiteX74" fmla="*/ 417419 w 572568"/>
                  <a:gd name="connsiteY74" fmla="*/ 517488 h 605945"/>
                  <a:gd name="connsiteX75" fmla="*/ 444429 w 572568"/>
                  <a:gd name="connsiteY75" fmla="*/ 544458 h 605945"/>
                  <a:gd name="connsiteX76" fmla="*/ 444429 w 572568"/>
                  <a:gd name="connsiteY76" fmla="*/ 578975 h 605945"/>
                  <a:gd name="connsiteX77" fmla="*/ 417419 w 572568"/>
                  <a:gd name="connsiteY77" fmla="*/ 605945 h 605945"/>
                  <a:gd name="connsiteX78" fmla="*/ 155149 w 572568"/>
                  <a:gd name="connsiteY78" fmla="*/ 605945 h 605945"/>
                  <a:gd name="connsiteX79" fmla="*/ 128139 w 572568"/>
                  <a:gd name="connsiteY79" fmla="*/ 578975 h 605945"/>
                  <a:gd name="connsiteX80" fmla="*/ 128139 w 572568"/>
                  <a:gd name="connsiteY80" fmla="*/ 544458 h 605945"/>
                  <a:gd name="connsiteX81" fmla="*/ 155149 w 572568"/>
                  <a:gd name="connsiteY81" fmla="*/ 517488 h 605945"/>
                  <a:gd name="connsiteX82" fmla="*/ 221154 w 572568"/>
                  <a:gd name="connsiteY82" fmla="*/ 517488 h 605945"/>
                  <a:gd name="connsiteX83" fmla="*/ 221154 w 572568"/>
                  <a:gd name="connsiteY83" fmla="*/ 469623 h 605945"/>
                  <a:gd name="connsiteX84" fmla="*/ 71076 w 572568"/>
                  <a:gd name="connsiteY84" fmla="*/ 469623 h 605945"/>
                  <a:gd name="connsiteX85" fmla="*/ 0 w 572568"/>
                  <a:gd name="connsiteY85" fmla="*/ 398655 h 605945"/>
                  <a:gd name="connsiteX86" fmla="*/ 0 w 572568"/>
                  <a:gd name="connsiteY86" fmla="*/ 70968 h 605945"/>
                  <a:gd name="connsiteX87" fmla="*/ 71076 w 572568"/>
                  <a:gd name="connsiteY87" fmla="*/ 0 h 60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572568" h="605945">
                    <a:moveTo>
                      <a:pt x="466554" y="390739"/>
                    </a:moveTo>
                    <a:cubicBezTo>
                      <a:pt x="454385" y="390739"/>
                      <a:pt x="444429" y="400588"/>
                      <a:pt x="444429" y="412831"/>
                    </a:cubicBezTo>
                    <a:cubicBezTo>
                      <a:pt x="444429" y="425073"/>
                      <a:pt x="454385" y="435014"/>
                      <a:pt x="466554" y="435014"/>
                    </a:cubicBezTo>
                    <a:cubicBezTo>
                      <a:pt x="478815" y="435014"/>
                      <a:pt x="488679" y="425073"/>
                      <a:pt x="488679" y="412831"/>
                    </a:cubicBezTo>
                    <a:cubicBezTo>
                      <a:pt x="488679" y="400588"/>
                      <a:pt x="478815" y="390739"/>
                      <a:pt x="466554" y="390739"/>
                    </a:cubicBezTo>
                    <a:close/>
                    <a:moveTo>
                      <a:pt x="117511" y="286354"/>
                    </a:moveTo>
                    <a:lnTo>
                      <a:pt x="266505" y="286354"/>
                    </a:lnTo>
                    <a:cubicBezTo>
                      <a:pt x="274895" y="286354"/>
                      <a:pt x="281626" y="293076"/>
                      <a:pt x="281626" y="301455"/>
                    </a:cubicBezTo>
                    <a:cubicBezTo>
                      <a:pt x="281626" y="309834"/>
                      <a:pt x="274895" y="316556"/>
                      <a:pt x="266505" y="316556"/>
                    </a:cubicBezTo>
                    <a:lnTo>
                      <a:pt x="117511" y="316556"/>
                    </a:lnTo>
                    <a:cubicBezTo>
                      <a:pt x="109121" y="316556"/>
                      <a:pt x="102390" y="309834"/>
                      <a:pt x="102390" y="301455"/>
                    </a:cubicBezTo>
                    <a:cubicBezTo>
                      <a:pt x="102390" y="293076"/>
                      <a:pt x="109121" y="286354"/>
                      <a:pt x="117511" y="286354"/>
                    </a:cubicBezTo>
                    <a:close/>
                    <a:moveTo>
                      <a:pt x="348387" y="237874"/>
                    </a:moveTo>
                    <a:lnTo>
                      <a:pt x="348387" y="324766"/>
                    </a:lnTo>
                    <a:lnTo>
                      <a:pt x="464809" y="324766"/>
                    </a:lnTo>
                    <a:lnTo>
                      <a:pt x="464809" y="237874"/>
                    </a:lnTo>
                    <a:close/>
                    <a:moveTo>
                      <a:pt x="117511" y="225809"/>
                    </a:moveTo>
                    <a:lnTo>
                      <a:pt x="266505" y="225809"/>
                    </a:lnTo>
                    <a:cubicBezTo>
                      <a:pt x="274895" y="225809"/>
                      <a:pt x="281626" y="232618"/>
                      <a:pt x="281626" y="240992"/>
                    </a:cubicBezTo>
                    <a:cubicBezTo>
                      <a:pt x="281626" y="249273"/>
                      <a:pt x="274895" y="256082"/>
                      <a:pt x="266505" y="256082"/>
                    </a:cubicBezTo>
                    <a:lnTo>
                      <a:pt x="117511" y="256082"/>
                    </a:lnTo>
                    <a:cubicBezTo>
                      <a:pt x="109121" y="256082"/>
                      <a:pt x="102390" y="249273"/>
                      <a:pt x="102390" y="240992"/>
                    </a:cubicBezTo>
                    <a:cubicBezTo>
                      <a:pt x="102390" y="232618"/>
                      <a:pt x="109121" y="225809"/>
                      <a:pt x="117511" y="225809"/>
                    </a:cubicBezTo>
                    <a:close/>
                    <a:moveTo>
                      <a:pt x="338340" y="217624"/>
                    </a:moveTo>
                    <a:lnTo>
                      <a:pt x="474856" y="217624"/>
                    </a:lnTo>
                    <a:cubicBezTo>
                      <a:pt x="480479" y="217624"/>
                      <a:pt x="484996" y="222134"/>
                      <a:pt x="484996" y="227749"/>
                    </a:cubicBezTo>
                    <a:lnTo>
                      <a:pt x="484996" y="334891"/>
                    </a:lnTo>
                    <a:cubicBezTo>
                      <a:pt x="484996" y="340414"/>
                      <a:pt x="480479" y="344924"/>
                      <a:pt x="474856" y="344924"/>
                    </a:cubicBezTo>
                    <a:lnTo>
                      <a:pt x="338340" y="344924"/>
                    </a:lnTo>
                    <a:cubicBezTo>
                      <a:pt x="332717" y="344924"/>
                      <a:pt x="328200" y="340414"/>
                      <a:pt x="328200" y="334891"/>
                    </a:cubicBezTo>
                    <a:lnTo>
                      <a:pt x="328200" y="227749"/>
                    </a:lnTo>
                    <a:cubicBezTo>
                      <a:pt x="328200" y="222134"/>
                      <a:pt x="332717" y="217624"/>
                      <a:pt x="338340" y="217624"/>
                    </a:cubicBezTo>
                    <a:close/>
                    <a:moveTo>
                      <a:pt x="117515" y="165335"/>
                    </a:moveTo>
                    <a:lnTo>
                      <a:pt x="205956" y="165335"/>
                    </a:lnTo>
                    <a:cubicBezTo>
                      <a:pt x="214256" y="165335"/>
                      <a:pt x="221081" y="172144"/>
                      <a:pt x="221081" y="180425"/>
                    </a:cubicBezTo>
                    <a:cubicBezTo>
                      <a:pt x="221081" y="188799"/>
                      <a:pt x="214256" y="195608"/>
                      <a:pt x="205956" y="195608"/>
                    </a:cubicBezTo>
                    <a:lnTo>
                      <a:pt x="117515" y="195608"/>
                    </a:lnTo>
                    <a:cubicBezTo>
                      <a:pt x="109122" y="195608"/>
                      <a:pt x="102390" y="188799"/>
                      <a:pt x="102390" y="180425"/>
                    </a:cubicBezTo>
                    <a:cubicBezTo>
                      <a:pt x="102390" y="172144"/>
                      <a:pt x="109122" y="165335"/>
                      <a:pt x="117515" y="165335"/>
                    </a:cubicBezTo>
                    <a:close/>
                    <a:moveTo>
                      <a:pt x="117517" y="104860"/>
                    </a:moveTo>
                    <a:lnTo>
                      <a:pt x="185680" y="104860"/>
                    </a:lnTo>
                    <a:cubicBezTo>
                      <a:pt x="194073" y="104860"/>
                      <a:pt x="200899" y="111577"/>
                      <a:pt x="200899" y="119950"/>
                    </a:cubicBezTo>
                    <a:cubicBezTo>
                      <a:pt x="200899" y="128324"/>
                      <a:pt x="194073" y="135133"/>
                      <a:pt x="185680" y="135133"/>
                    </a:cubicBezTo>
                    <a:lnTo>
                      <a:pt x="117517" y="135133"/>
                    </a:lnTo>
                    <a:cubicBezTo>
                      <a:pt x="109123" y="135133"/>
                      <a:pt x="102390" y="128324"/>
                      <a:pt x="102390" y="119950"/>
                    </a:cubicBezTo>
                    <a:cubicBezTo>
                      <a:pt x="102390" y="111669"/>
                      <a:pt x="109123" y="104860"/>
                      <a:pt x="117517" y="104860"/>
                    </a:cubicBezTo>
                    <a:close/>
                    <a:moveTo>
                      <a:pt x="348387" y="96651"/>
                    </a:moveTo>
                    <a:lnTo>
                      <a:pt x="348387" y="183635"/>
                    </a:lnTo>
                    <a:lnTo>
                      <a:pt x="464809" y="183635"/>
                    </a:lnTo>
                    <a:lnTo>
                      <a:pt x="464809" y="96651"/>
                    </a:lnTo>
                    <a:close/>
                    <a:moveTo>
                      <a:pt x="338340" y="76493"/>
                    </a:moveTo>
                    <a:lnTo>
                      <a:pt x="474856" y="76493"/>
                    </a:lnTo>
                    <a:cubicBezTo>
                      <a:pt x="480479" y="76493"/>
                      <a:pt x="484996" y="81003"/>
                      <a:pt x="484996" y="86526"/>
                    </a:cubicBezTo>
                    <a:lnTo>
                      <a:pt x="484996" y="193668"/>
                    </a:lnTo>
                    <a:cubicBezTo>
                      <a:pt x="484996" y="199283"/>
                      <a:pt x="480479" y="203793"/>
                      <a:pt x="474856" y="203793"/>
                    </a:cubicBezTo>
                    <a:lnTo>
                      <a:pt x="338340" y="203793"/>
                    </a:lnTo>
                    <a:cubicBezTo>
                      <a:pt x="332717" y="203793"/>
                      <a:pt x="328200" y="199283"/>
                      <a:pt x="328200" y="193668"/>
                    </a:cubicBezTo>
                    <a:lnTo>
                      <a:pt x="328200" y="86526"/>
                    </a:lnTo>
                    <a:cubicBezTo>
                      <a:pt x="328200" y="81003"/>
                      <a:pt x="332717" y="76493"/>
                      <a:pt x="338340" y="76493"/>
                    </a:cubicBezTo>
                    <a:close/>
                    <a:moveTo>
                      <a:pt x="88683" y="56793"/>
                    </a:moveTo>
                    <a:cubicBezTo>
                      <a:pt x="73749" y="56793"/>
                      <a:pt x="61673" y="68943"/>
                      <a:pt x="61673" y="83855"/>
                    </a:cubicBezTo>
                    <a:lnTo>
                      <a:pt x="61673" y="337628"/>
                    </a:lnTo>
                    <a:cubicBezTo>
                      <a:pt x="61673" y="352540"/>
                      <a:pt x="73749" y="364598"/>
                      <a:pt x="88683" y="364598"/>
                    </a:cubicBezTo>
                    <a:lnTo>
                      <a:pt x="483885" y="364598"/>
                    </a:lnTo>
                    <a:cubicBezTo>
                      <a:pt x="498819" y="364598"/>
                      <a:pt x="510896" y="352540"/>
                      <a:pt x="510896" y="337628"/>
                    </a:cubicBezTo>
                    <a:lnTo>
                      <a:pt x="510896" y="83855"/>
                    </a:lnTo>
                    <a:cubicBezTo>
                      <a:pt x="510896" y="68943"/>
                      <a:pt x="498819" y="56793"/>
                      <a:pt x="483885" y="56793"/>
                    </a:cubicBezTo>
                    <a:close/>
                    <a:moveTo>
                      <a:pt x="71076" y="0"/>
                    </a:moveTo>
                    <a:lnTo>
                      <a:pt x="501492" y="0"/>
                    </a:lnTo>
                    <a:cubicBezTo>
                      <a:pt x="540764" y="0"/>
                      <a:pt x="572568" y="31756"/>
                      <a:pt x="572568" y="70968"/>
                    </a:cubicBezTo>
                    <a:lnTo>
                      <a:pt x="572568" y="398655"/>
                    </a:lnTo>
                    <a:cubicBezTo>
                      <a:pt x="572568" y="437775"/>
                      <a:pt x="540764" y="469623"/>
                      <a:pt x="501492" y="469623"/>
                    </a:cubicBezTo>
                    <a:lnTo>
                      <a:pt x="351414" y="469623"/>
                    </a:lnTo>
                    <a:lnTo>
                      <a:pt x="351414" y="517488"/>
                    </a:lnTo>
                    <a:lnTo>
                      <a:pt x="417419" y="517488"/>
                    </a:lnTo>
                    <a:cubicBezTo>
                      <a:pt x="432353" y="517488"/>
                      <a:pt x="444429" y="529546"/>
                      <a:pt x="444429" y="544458"/>
                    </a:cubicBezTo>
                    <a:lnTo>
                      <a:pt x="444429" y="578975"/>
                    </a:lnTo>
                    <a:cubicBezTo>
                      <a:pt x="444429" y="593887"/>
                      <a:pt x="432353" y="605945"/>
                      <a:pt x="417419" y="605945"/>
                    </a:cubicBezTo>
                    <a:lnTo>
                      <a:pt x="155149" y="605945"/>
                    </a:lnTo>
                    <a:cubicBezTo>
                      <a:pt x="140215" y="605945"/>
                      <a:pt x="128139" y="593887"/>
                      <a:pt x="128139" y="578975"/>
                    </a:cubicBezTo>
                    <a:lnTo>
                      <a:pt x="128139" y="544458"/>
                    </a:lnTo>
                    <a:cubicBezTo>
                      <a:pt x="128139" y="529546"/>
                      <a:pt x="140215" y="517488"/>
                      <a:pt x="155149" y="517488"/>
                    </a:cubicBezTo>
                    <a:lnTo>
                      <a:pt x="221154" y="517488"/>
                    </a:lnTo>
                    <a:lnTo>
                      <a:pt x="221154" y="469623"/>
                    </a:lnTo>
                    <a:lnTo>
                      <a:pt x="71076" y="469623"/>
                    </a:lnTo>
                    <a:cubicBezTo>
                      <a:pt x="31804" y="469623"/>
                      <a:pt x="0" y="437775"/>
                      <a:pt x="0" y="398655"/>
                    </a:cubicBezTo>
                    <a:lnTo>
                      <a:pt x="0" y="70968"/>
                    </a:lnTo>
                    <a:cubicBezTo>
                      <a:pt x="0" y="31756"/>
                      <a:pt x="31804" y="0"/>
                      <a:pt x="71076" y="0"/>
                    </a:cubicBezTo>
                    <a:close/>
                  </a:path>
                </a:pathLst>
              </a:custGeom>
              <a:solidFill>
                <a:srgbClr val="FE5817"/>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5" name="组合 14"/>
            <p:cNvGrpSpPr/>
            <p:nvPr/>
          </p:nvGrpSpPr>
          <p:grpSpPr>
            <a:xfrm>
              <a:off x="10559144" y="5313215"/>
              <a:ext cx="740228" cy="740228"/>
              <a:chOff x="10559144" y="5410200"/>
              <a:chExt cx="740228" cy="740228"/>
            </a:xfrm>
          </p:grpSpPr>
          <p:sp>
            <p:nvSpPr>
              <p:cNvPr id="100" name="椭圆 99"/>
              <p:cNvSpPr/>
              <p:nvPr/>
            </p:nvSpPr>
            <p:spPr>
              <a:xfrm>
                <a:off x="10559144" y="5410200"/>
                <a:ext cx="740228" cy="740228"/>
              </a:xfrm>
              <a:prstGeom prst="ellipse">
                <a:avLst/>
              </a:prstGeom>
              <a:solidFill>
                <a:srgbClr val="FFFFFF"/>
              </a:solidFill>
              <a:ln w="2857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17" name="custom-css_15568"/>
              <p:cNvSpPr>
                <a:spLocks noChangeAspect="1"/>
              </p:cNvSpPr>
              <p:nvPr/>
            </p:nvSpPr>
            <p:spPr bwMode="auto">
              <a:xfrm>
                <a:off x="10743872" y="5618314"/>
                <a:ext cx="370773" cy="324000"/>
              </a:xfrm>
              <a:custGeom>
                <a:avLst/>
                <a:gdLst>
                  <a:gd name="connsiteX0" fmla="*/ 302037 w 606022"/>
                  <a:gd name="connsiteY0" fmla="*/ 195330 h 529572"/>
                  <a:gd name="connsiteX1" fmla="*/ 264297 w 606022"/>
                  <a:gd name="connsiteY1" fmla="*/ 233030 h 529572"/>
                  <a:gd name="connsiteX2" fmla="*/ 302037 w 606022"/>
                  <a:gd name="connsiteY2" fmla="*/ 270730 h 529572"/>
                  <a:gd name="connsiteX3" fmla="*/ 340769 w 606022"/>
                  <a:gd name="connsiteY3" fmla="*/ 233030 h 529572"/>
                  <a:gd name="connsiteX4" fmla="*/ 302037 w 606022"/>
                  <a:gd name="connsiteY4" fmla="*/ 195330 h 529572"/>
                  <a:gd name="connsiteX5" fmla="*/ 296078 w 606022"/>
                  <a:gd name="connsiteY5" fmla="*/ 119930 h 529572"/>
                  <a:gd name="connsiteX6" fmla="*/ 308989 w 606022"/>
                  <a:gd name="connsiteY6" fmla="*/ 119930 h 529572"/>
                  <a:gd name="connsiteX7" fmla="*/ 319913 w 606022"/>
                  <a:gd name="connsiteY7" fmla="*/ 131835 h 529572"/>
                  <a:gd name="connsiteX8" fmla="*/ 319913 w 606022"/>
                  <a:gd name="connsiteY8" fmla="*/ 146717 h 529572"/>
                  <a:gd name="connsiteX9" fmla="*/ 349707 w 606022"/>
                  <a:gd name="connsiteY9" fmla="*/ 159614 h 529572"/>
                  <a:gd name="connsiteX10" fmla="*/ 361625 w 606022"/>
                  <a:gd name="connsiteY10" fmla="*/ 148701 h 529572"/>
                  <a:gd name="connsiteX11" fmla="*/ 378508 w 606022"/>
                  <a:gd name="connsiteY11" fmla="*/ 148701 h 529572"/>
                  <a:gd name="connsiteX12" fmla="*/ 387447 w 606022"/>
                  <a:gd name="connsiteY12" fmla="*/ 157630 h 529572"/>
                  <a:gd name="connsiteX13" fmla="*/ 390426 w 606022"/>
                  <a:gd name="connsiteY13" fmla="*/ 166559 h 529572"/>
                  <a:gd name="connsiteX14" fmla="*/ 387447 w 606022"/>
                  <a:gd name="connsiteY14" fmla="*/ 174496 h 529572"/>
                  <a:gd name="connsiteX15" fmla="*/ 376522 w 606022"/>
                  <a:gd name="connsiteY15" fmla="*/ 185409 h 529572"/>
                  <a:gd name="connsiteX16" fmla="*/ 389433 w 606022"/>
                  <a:gd name="connsiteY16" fmla="*/ 216164 h 529572"/>
                  <a:gd name="connsiteX17" fmla="*/ 404330 w 606022"/>
                  <a:gd name="connsiteY17" fmla="*/ 216164 h 529572"/>
                  <a:gd name="connsiteX18" fmla="*/ 414261 w 606022"/>
                  <a:gd name="connsiteY18" fmla="*/ 227077 h 529572"/>
                  <a:gd name="connsiteX19" fmla="*/ 414261 w 606022"/>
                  <a:gd name="connsiteY19" fmla="*/ 239975 h 529572"/>
                  <a:gd name="connsiteX20" fmla="*/ 404330 w 606022"/>
                  <a:gd name="connsiteY20" fmla="*/ 250888 h 529572"/>
                  <a:gd name="connsiteX21" fmla="*/ 389433 w 606022"/>
                  <a:gd name="connsiteY21" fmla="*/ 250888 h 529572"/>
                  <a:gd name="connsiteX22" fmla="*/ 376522 w 606022"/>
                  <a:gd name="connsiteY22" fmla="*/ 280651 h 529572"/>
                  <a:gd name="connsiteX23" fmla="*/ 387447 w 606022"/>
                  <a:gd name="connsiteY23" fmla="*/ 291564 h 529572"/>
                  <a:gd name="connsiteX24" fmla="*/ 390426 w 606022"/>
                  <a:gd name="connsiteY24" fmla="*/ 300493 h 529572"/>
                  <a:gd name="connsiteX25" fmla="*/ 387447 w 606022"/>
                  <a:gd name="connsiteY25" fmla="*/ 308429 h 529572"/>
                  <a:gd name="connsiteX26" fmla="*/ 378508 w 606022"/>
                  <a:gd name="connsiteY26" fmla="*/ 317358 h 529572"/>
                  <a:gd name="connsiteX27" fmla="*/ 361625 w 606022"/>
                  <a:gd name="connsiteY27" fmla="*/ 317358 h 529572"/>
                  <a:gd name="connsiteX28" fmla="*/ 349707 w 606022"/>
                  <a:gd name="connsiteY28" fmla="*/ 307437 h 529572"/>
                  <a:gd name="connsiteX29" fmla="*/ 319913 w 606022"/>
                  <a:gd name="connsiteY29" fmla="*/ 319343 h 529572"/>
                  <a:gd name="connsiteX30" fmla="*/ 319913 w 606022"/>
                  <a:gd name="connsiteY30" fmla="*/ 334224 h 529572"/>
                  <a:gd name="connsiteX31" fmla="*/ 308989 w 606022"/>
                  <a:gd name="connsiteY31" fmla="*/ 345137 h 529572"/>
                  <a:gd name="connsiteX32" fmla="*/ 296078 w 606022"/>
                  <a:gd name="connsiteY32" fmla="*/ 345137 h 529572"/>
                  <a:gd name="connsiteX33" fmla="*/ 284160 w 606022"/>
                  <a:gd name="connsiteY33" fmla="*/ 334224 h 529572"/>
                  <a:gd name="connsiteX34" fmla="*/ 284160 w 606022"/>
                  <a:gd name="connsiteY34" fmla="*/ 319343 h 529572"/>
                  <a:gd name="connsiteX35" fmla="*/ 254366 w 606022"/>
                  <a:gd name="connsiteY35" fmla="*/ 307437 h 529572"/>
                  <a:gd name="connsiteX36" fmla="*/ 243442 w 606022"/>
                  <a:gd name="connsiteY36" fmla="*/ 317358 h 529572"/>
                  <a:gd name="connsiteX37" fmla="*/ 226558 w 606022"/>
                  <a:gd name="connsiteY37" fmla="*/ 317358 h 529572"/>
                  <a:gd name="connsiteX38" fmla="*/ 217620 w 606022"/>
                  <a:gd name="connsiteY38" fmla="*/ 308429 h 529572"/>
                  <a:gd name="connsiteX39" fmla="*/ 214641 w 606022"/>
                  <a:gd name="connsiteY39" fmla="*/ 300493 h 529572"/>
                  <a:gd name="connsiteX40" fmla="*/ 217620 w 606022"/>
                  <a:gd name="connsiteY40" fmla="*/ 291564 h 529572"/>
                  <a:gd name="connsiteX41" fmla="*/ 228544 w 606022"/>
                  <a:gd name="connsiteY41" fmla="*/ 280651 h 529572"/>
                  <a:gd name="connsiteX42" fmla="*/ 215634 w 606022"/>
                  <a:gd name="connsiteY42" fmla="*/ 250888 h 529572"/>
                  <a:gd name="connsiteX43" fmla="*/ 200737 w 606022"/>
                  <a:gd name="connsiteY43" fmla="*/ 250888 h 529572"/>
                  <a:gd name="connsiteX44" fmla="*/ 190805 w 606022"/>
                  <a:gd name="connsiteY44" fmla="*/ 239975 h 529572"/>
                  <a:gd name="connsiteX45" fmla="*/ 190805 w 606022"/>
                  <a:gd name="connsiteY45" fmla="*/ 227077 h 529572"/>
                  <a:gd name="connsiteX46" fmla="*/ 200737 w 606022"/>
                  <a:gd name="connsiteY46" fmla="*/ 216164 h 529572"/>
                  <a:gd name="connsiteX47" fmla="*/ 215634 w 606022"/>
                  <a:gd name="connsiteY47" fmla="*/ 216164 h 529572"/>
                  <a:gd name="connsiteX48" fmla="*/ 228544 w 606022"/>
                  <a:gd name="connsiteY48" fmla="*/ 185409 h 529572"/>
                  <a:gd name="connsiteX49" fmla="*/ 217620 w 606022"/>
                  <a:gd name="connsiteY49" fmla="*/ 174496 h 529572"/>
                  <a:gd name="connsiteX50" fmla="*/ 214641 w 606022"/>
                  <a:gd name="connsiteY50" fmla="*/ 165567 h 529572"/>
                  <a:gd name="connsiteX51" fmla="*/ 217620 w 606022"/>
                  <a:gd name="connsiteY51" fmla="*/ 157630 h 529572"/>
                  <a:gd name="connsiteX52" fmla="*/ 226558 w 606022"/>
                  <a:gd name="connsiteY52" fmla="*/ 148701 h 529572"/>
                  <a:gd name="connsiteX53" fmla="*/ 243442 w 606022"/>
                  <a:gd name="connsiteY53" fmla="*/ 148701 h 529572"/>
                  <a:gd name="connsiteX54" fmla="*/ 254366 w 606022"/>
                  <a:gd name="connsiteY54" fmla="*/ 159614 h 529572"/>
                  <a:gd name="connsiteX55" fmla="*/ 284160 w 606022"/>
                  <a:gd name="connsiteY55" fmla="*/ 146717 h 529572"/>
                  <a:gd name="connsiteX56" fmla="*/ 284160 w 606022"/>
                  <a:gd name="connsiteY56" fmla="*/ 131835 h 529572"/>
                  <a:gd name="connsiteX57" fmla="*/ 296078 w 606022"/>
                  <a:gd name="connsiteY57" fmla="*/ 119930 h 529572"/>
                  <a:gd name="connsiteX58" fmla="*/ 103322 w 606022"/>
                  <a:gd name="connsiteY58" fmla="*/ 51569 h 529572"/>
                  <a:gd name="connsiteX59" fmla="*/ 52654 w 606022"/>
                  <a:gd name="connsiteY59" fmla="*/ 102146 h 529572"/>
                  <a:gd name="connsiteX60" fmla="*/ 52654 w 606022"/>
                  <a:gd name="connsiteY60" fmla="*/ 363957 h 529572"/>
                  <a:gd name="connsiteX61" fmla="*/ 103322 w 606022"/>
                  <a:gd name="connsiteY61" fmla="*/ 413542 h 529572"/>
                  <a:gd name="connsiteX62" fmla="*/ 501707 w 606022"/>
                  <a:gd name="connsiteY62" fmla="*/ 413542 h 529572"/>
                  <a:gd name="connsiteX63" fmla="*/ 551381 w 606022"/>
                  <a:gd name="connsiteY63" fmla="*/ 363957 h 529572"/>
                  <a:gd name="connsiteX64" fmla="*/ 551381 w 606022"/>
                  <a:gd name="connsiteY64" fmla="*/ 102146 h 529572"/>
                  <a:gd name="connsiteX65" fmla="*/ 501707 w 606022"/>
                  <a:gd name="connsiteY65" fmla="*/ 51569 h 529572"/>
                  <a:gd name="connsiteX66" fmla="*/ 103322 w 606022"/>
                  <a:gd name="connsiteY66" fmla="*/ 0 h 529572"/>
                  <a:gd name="connsiteX67" fmla="*/ 501707 w 606022"/>
                  <a:gd name="connsiteY67" fmla="*/ 0 h 529572"/>
                  <a:gd name="connsiteX68" fmla="*/ 606022 w 606022"/>
                  <a:gd name="connsiteY68" fmla="*/ 102146 h 529572"/>
                  <a:gd name="connsiteX69" fmla="*/ 606022 w 606022"/>
                  <a:gd name="connsiteY69" fmla="*/ 363957 h 529572"/>
                  <a:gd name="connsiteX70" fmla="*/ 559329 w 606022"/>
                  <a:gd name="connsiteY70" fmla="*/ 449244 h 529572"/>
                  <a:gd name="connsiteX71" fmla="*/ 563303 w 606022"/>
                  <a:gd name="connsiteY71" fmla="*/ 449244 h 529572"/>
                  <a:gd name="connsiteX72" fmla="*/ 604035 w 606022"/>
                  <a:gd name="connsiteY72" fmla="*/ 489904 h 529572"/>
                  <a:gd name="connsiteX73" fmla="*/ 563303 w 606022"/>
                  <a:gd name="connsiteY73" fmla="*/ 529572 h 529572"/>
                  <a:gd name="connsiteX74" fmla="*/ 40732 w 606022"/>
                  <a:gd name="connsiteY74" fmla="*/ 527589 h 529572"/>
                  <a:gd name="connsiteX75" fmla="*/ 0 w 606022"/>
                  <a:gd name="connsiteY75" fmla="*/ 487921 h 529572"/>
                  <a:gd name="connsiteX76" fmla="*/ 40732 w 606022"/>
                  <a:gd name="connsiteY76" fmla="*/ 448252 h 529572"/>
                  <a:gd name="connsiteX77" fmla="*/ 43713 w 606022"/>
                  <a:gd name="connsiteY77" fmla="*/ 448252 h 529572"/>
                  <a:gd name="connsiteX78" fmla="*/ 0 w 606022"/>
                  <a:gd name="connsiteY78" fmla="*/ 363957 h 529572"/>
                  <a:gd name="connsiteX79" fmla="*/ 0 w 606022"/>
                  <a:gd name="connsiteY79" fmla="*/ 102146 h 529572"/>
                  <a:gd name="connsiteX80" fmla="*/ 103322 w 606022"/>
                  <a:gd name="connsiteY80" fmla="*/ 0 h 529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06022" h="529572">
                    <a:moveTo>
                      <a:pt x="302037" y="195330"/>
                    </a:moveTo>
                    <a:cubicBezTo>
                      <a:pt x="281181" y="195330"/>
                      <a:pt x="264297" y="212196"/>
                      <a:pt x="264297" y="233030"/>
                    </a:cubicBezTo>
                    <a:cubicBezTo>
                      <a:pt x="264297" y="253864"/>
                      <a:pt x="281181" y="270730"/>
                      <a:pt x="302037" y="270730"/>
                    </a:cubicBezTo>
                    <a:cubicBezTo>
                      <a:pt x="323886" y="270730"/>
                      <a:pt x="340769" y="253864"/>
                      <a:pt x="340769" y="233030"/>
                    </a:cubicBezTo>
                    <a:cubicBezTo>
                      <a:pt x="340769" y="212196"/>
                      <a:pt x="323886" y="195330"/>
                      <a:pt x="302037" y="195330"/>
                    </a:cubicBezTo>
                    <a:close/>
                    <a:moveTo>
                      <a:pt x="296078" y="119930"/>
                    </a:moveTo>
                    <a:lnTo>
                      <a:pt x="308989" y="119930"/>
                    </a:lnTo>
                    <a:cubicBezTo>
                      <a:pt x="315941" y="119930"/>
                      <a:pt x="319913" y="124891"/>
                      <a:pt x="319913" y="131835"/>
                    </a:cubicBezTo>
                    <a:lnTo>
                      <a:pt x="319913" y="146717"/>
                    </a:lnTo>
                    <a:cubicBezTo>
                      <a:pt x="331831" y="149693"/>
                      <a:pt x="340769" y="153662"/>
                      <a:pt x="349707" y="159614"/>
                    </a:cubicBezTo>
                    <a:lnTo>
                      <a:pt x="361625" y="148701"/>
                    </a:lnTo>
                    <a:cubicBezTo>
                      <a:pt x="365597" y="143741"/>
                      <a:pt x="373543" y="143741"/>
                      <a:pt x="378508" y="148701"/>
                    </a:cubicBezTo>
                    <a:lnTo>
                      <a:pt x="387447" y="157630"/>
                    </a:lnTo>
                    <a:cubicBezTo>
                      <a:pt x="389433" y="159614"/>
                      <a:pt x="390426" y="162591"/>
                      <a:pt x="390426" y="166559"/>
                    </a:cubicBezTo>
                    <a:cubicBezTo>
                      <a:pt x="390426" y="169535"/>
                      <a:pt x="389433" y="172512"/>
                      <a:pt x="387447" y="174496"/>
                    </a:cubicBezTo>
                    <a:lnTo>
                      <a:pt x="376522" y="185409"/>
                    </a:lnTo>
                    <a:cubicBezTo>
                      <a:pt x="382481" y="194338"/>
                      <a:pt x="387447" y="203267"/>
                      <a:pt x="389433" y="216164"/>
                    </a:cubicBezTo>
                    <a:lnTo>
                      <a:pt x="404330" y="216164"/>
                    </a:lnTo>
                    <a:cubicBezTo>
                      <a:pt x="410289" y="216164"/>
                      <a:pt x="414261" y="220132"/>
                      <a:pt x="414261" y="227077"/>
                    </a:cubicBezTo>
                    <a:lnTo>
                      <a:pt x="414261" y="239975"/>
                    </a:lnTo>
                    <a:cubicBezTo>
                      <a:pt x="414261" y="245927"/>
                      <a:pt x="410289" y="250888"/>
                      <a:pt x="404330" y="250888"/>
                    </a:cubicBezTo>
                    <a:lnTo>
                      <a:pt x="389433" y="250888"/>
                    </a:lnTo>
                    <a:cubicBezTo>
                      <a:pt x="387447" y="261801"/>
                      <a:pt x="382481" y="271722"/>
                      <a:pt x="376522" y="280651"/>
                    </a:cubicBezTo>
                    <a:lnTo>
                      <a:pt x="387447" y="291564"/>
                    </a:lnTo>
                    <a:cubicBezTo>
                      <a:pt x="389433" y="294540"/>
                      <a:pt x="390426" y="297516"/>
                      <a:pt x="390426" y="300493"/>
                    </a:cubicBezTo>
                    <a:cubicBezTo>
                      <a:pt x="390426" y="303469"/>
                      <a:pt x="389433" y="306445"/>
                      <a:pt x="387447" y="308429"/>
                    </a:cubicBezTo>
                    <a:lnTo>
                      <a:pt x="378508" y="317358"/>
                    </a:lnTo>
                    <a:cubicBezTo>
                      <a:pt x="373543" y="322319"/>
                      <a:pt x="365597" y="322319"/>
                      <a:pt x="361625" y="317358"/>
                    </a:cubicBezTo>
                    <a:lnTo>
                      <a:pt x="349707" y="307437"/>
                    </a:lnTo>
                    <a:cubicBezTo>
                      <a:pt x="340769" y="312398"/>
                      <a:pt x="331831" y="317358"/>
                      <a:pt x="319913" y="319343"/>
                    </a:cubicBezTo>
                    <a:lnTo>
                      <a:pt x="319913" y="334224"/>
                    </a:lnTo>
                    <a:cubicBezTo>
                      <a:pt x="319913" y="341169"/>
                      <a:pt x="315941" y="345137"/>
                      <a:pt x="308989" y="345137"/>
                    </a:cubicBezTo>
                    <a:lnTo>
                      <a:pt x="296078" y="345137"/>
                    </a:lnTo>
                    <a:cubicBezTo>
                      <a:pt x="289126" y="345137"/>
                      <a:pt x="284160" y="341169"/>
                      <a:pt x="284160" y="334224"/>
                    </a:cubicBezTo>
                    <a:lnTo>
                      <a:pt x="284160" y="319343"/>
                    </a:lnTo>
                    <a:cubicBezTo>
                      <a:pt x="274229" y="317358"/>
                      <a:pt x="263304" y="312398"/>
                      <a:pt x="254366" y="307437"/>
                    </a:cubicBezTo>
                    <a:lnTo>
                      <a:pt x="243442" y="317358"/>
                    </a:lnTo>
                    <a:cubicBezTo>
                      <a:pt x="239469" y="322319"/>
                      <a:pt x="231524" y="322319"/>
                      <a:pt x="226558" y="317358"/>
                    </a:cubicBezTo>
                    <a:lnTo>
                      <a:pt x="217620" y="308429"/>
                    </a:lnTo>
                    <a:cubicBezTo>
                      <a:pt x="215634" y="306445"/>
                      <a:pt x="214641" y="303469"/>
                      <a:pt x="214641" y="300493"/>
                    </a:cubicBezTo>
                    <a:cubicBezTo>
                      <a:pt x="214641" y="297516"/>
                      <a:pt x="215634" y="293548"/>
                      <a:pt x="217620" y="291564"/>
                    </a:cubicBezTo>
                    <a:lnTo>
                      <a:pt x="228544" y="280651"/>
                    </a:lnTo>
                    <a:cubicBezTo>
                      <a:pt x="222586" y="271722"/>
                      <a:pt x="217620" y="261801"/>
                      <a:pt x="215634" y="250888"/>
                    </a:cubicBezTo>
                    <a:lnTo>
                      <a:pt x="200737" y="250888"/>
                    </a:lnTo>
                    <a:cubicBezTo>
                      <a:pt x="194778" y="250888"/>
                      <a:pt x="190805" y="245927"/>
                      <a:pt x="190805" y="239975"/>
                    </a:cubicBezTo>
                    <a:lnTo>
                      <a:pt x="190805" y="227077"/>
                    </a:lnTo>
                    <a:cubicBezTo>
                      <a:pt x="190805" y="220132"/>
                      <a:pt x="194778" y="216164"/>
                      <a:pt x="200737" y="216164"/>
                    </a:cubicBezTo>
                    <a:lnTo>
                      <a:pt x="215634" y="216164"/>
                    </a:lnTo>
                    <a:cubicBezTo>
                      <a:pt x="217620" y="203267"/>
                      <a:pt x="222586" y="194338"/>
                      <a:pt x="228544" y="185409"/>
                    </a:cubicBezTo>
                    <a:lnTo>
                      <a:pt x="217620" y="174496"/>
                    </a:lnTo>
                    <a:cubicBezTo>
                      <a:pt x="215634" y="172512"/>
                      <a:pt x="214641" y="169535"/>
                      <a:pt x="214641" y="165567"/>
                    </a:cubicBezTo>
                    <a:cubicBezTo>
                      <a:pt x="214641" y="162591"/>
                      <a:pt x="215634" y="159614"/>
                      <a:pt x="217620" y="157630"/>
                    </a:cubicBezTo>
                    <a:lnTo>
                      <a:pt x="226558" y="148701"/>
                    </a:lnTo>
                    <a:cubicBezTo>
                      <a:pt x="231524" y="143741"/>
                      <a:pt x="239469" y="143741"/>
                      <a:pt x="243442" y="148701"/>
                    </a:cubicBezTo>
                    <a:lnTo>
                      <a:pt x="254366" y="159614"/>
                    </a:lnTo>
                    <a:cubicBezTo>
                      <a:pt x="263304" y="153662"/>
                      <a:pt x="274229" y="149693"/>
                      <a:pt x="284160" y="146717"/>
                    </a:cubicBezTo>
                    <a:lnTo>
                      <a:pt x="284160" y="131835"/>
                    </a:lnTo>
                    <a:cubicBezTo>
                      <a:pt x="284160" y="124891"/>
                      <a:pt x="289126" y="119930"/>
                      <a:pt x="296078" y="119930"/>
                    </a:cubicBezTo>
                    <a:close/>
                    <a:moveTo>
                      <a:pt x="103322" y="51569"/>
                    </a:moveTo>
                    <a:cubicBezTo>
                      <a:pt x="75504" y="51569"/>
                      <a:pt x="52654" y="74378"/>
                      <a:pt x="52654" y="102146"/>
                    </a:cubicBezTo>
                    <a:lnTo>
                      <a:pt x="52654" y="363957"/>
                    </a:lnTo>
                    <a:cubicBezTo>
                      <a:pt x="52654" y="391725"/>
                      <a:pt x="75504" y="413542"/>
                      <a:pt x="103322" y="413542"/>
                    </a:cubicBezTo>
                    <a:lnTo>
                      <a:pt x="501707" y="413542"/>
                    </a:lnTo>
                    <a:cubicBezTo>
                      <a:pt x="529524" y="413542"/>
                      <a:pt x="551381" y="391725"/>
                      <a:pt x="551381" y="363957"/>
                    </a:cubicBezTo>
                    <a:lnTo>
                      <a:pt x="551381" y="102146"/>
                    </a:lnTo>
                    <a:cubicBezTo>
                      <a:pt x="551381" y="74378"/>
                      <a:pt x="529524" y="51569"/>
                      <a:pt x="501707" y="51569"/>
                    </a:cubicBezTo>
                    <a:close/>
                    <a:moveTo>
                      <a:pt x="103322" y="0"/>
                    </a:moveTo>
                    <a:lnTo>
                      <a:pt x="501707" y="0"/>
                    </a:lnTo>
                    <a:cubicBezTo>
                      <a:pt x="559329" y="0"/>
                      <a:pt x="606022" y="45618"/>
                      <a:pt x="606022" y="102146"/>
                    </a:cubicBezTo>
                    <a:lnTo>
                      <a:pt x="606022" y="363957"/>
                    </a:lnTo>
                    <a:cubicBezTo>
                      <a:pt x="606022" y="399659"/>
                      <a:pt x="587146" y="431393"/>
                      <a:pt x="559329" y="449244"/>
                    </a:cubicBezTo>
                    <a:lnTo>
                      <a:pt x="563303" y="449244"/>
                    </a:lnTo>
                    <a:cubicBezTo>
                      <a:pt x="586153" y="449244"/>
                      <a:pt x="604035" y="467095"/>
                      <a:pt x="604035" y="489904"/>
                    </a:cubicBezTo>
                    <a:cubicBezTo>
                      <a:pt x="604035" y="511721"/>
                      <a:pt x="586153" y="529572"/>
                      <a:pt x="563303" y="529572"/>
                    </a:cubicBezTo>
                    <a:lnTo>
                      <a:pt x="40732" y="527589"/>
                    </a:lnTo>
                    <a:cubicBezTo>
                      <a:pt x="17882" y="527589"/>
                      <a:pt x="0" y="509738"/>
                      <a:pt x="0" y="487921"/>
                    </a:cubicBezTo>
                    <a:cubicBezTo>
                      <a:pt x="0" y="466103"/>
                      <a:pt x="18876" y="448252"/>
                      <a:pt x="40732" y="448252"/>
                    </a:cubicBezTo>
                    <a:lnTo>
                      <a:pt x="43713" y="448252"/>
                    </a:lnTo>
                    <a:cubicBezTo>
                      <a:pt x="17882" y="429410"/>
                      <a:pt x="0" y="398667"/>
                      <a:pt x="0" y="363957"/>
                    </a:cubicBezTo>
                    <a:lnTo>
                      <a:pt x="0" y="102146"/>
                    </a:lnTo>
                    <a:cubicBezTo>
                      <a:pt x="0" y="45618"/>
                      <a:pt x="46693" y="0"/>
                      <a:pt x="103322" y="0"/>
                    </a:cubicBezTo>
                    <a:close/>
                  </a:path>
                </a:pathLst>
              </a:custGeom>
              <a:solidFill>
                <a:srgbClr val="FE5817"/>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sp>
        <p:nvSpPr>
          <p:cNvPr id="50" name="椭圆 49"/>
          <p:cNvSpPr/>
          <p:nvPr/>
        </p:nvSpPr>
        <p:spPr>
          <a:xfrm>
            <a:off x="1320292" y="3325093"/>
            <a:ext cx="195944" cy="195944"/>
          </a:xfrm>
          <a:prstGeom prst="ellipse">
            <a:avLst/>
          </a:prstGeom>
          <a:solidFill>
            <a:schemeClr val="accent1"/>
          </a:solidFill>
          <a:ln w="285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8" name="矩形 57"/>
          <p:cNvSpPr/>
          <p:nvPr/>
        </p:nvSpPr>
        <p:spPr>
          <a:xfrm>
            <a:off x="1006934" y="3608513"/>
            <a:ext cx="822661"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9</a:t>
            </a:r>
            <a:r>
              <a:rPr kumimoji="0" lang="zh-CN" altLang="en-US"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月</a:t>
            </a:r>
            <a:r>
              <a:rPr kumimoji="0" lang="en-US" altLang="zh-CN"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7</a:t>
            </a:r>
            <a:r>
              <a:rPr kumimoji="0" lang="zh-CN" altLang="en-US"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日</a:t>
            </a:r>
            <a:endParaRPr kumimoji="0" lang="en-US" altLang="zh-CN"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endParaRPr>
          </a:p>
        </p:txBody>
      </p:sp>
      <p:cxnSp>
        <p:nvCxnSpPr>
          <p:cNvPr id="77" name="直接连接符 76"/>
          <p:cNvCxnSpPr/>
          <p:nvPr/>
        </p:nvCxnSpPr>
        <p:spPr>
          <a:xfrm flipV="1">
            <a:off x="1418264" y="2748150"/>
            <a:ext cx="0" cy="57694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4" name="矩形 63"/>
          <p:cNvSpPr/>
          <p:nvPr/>
        </p:nvSpPr>
        <p:spPr>
          <a:xfrm>
            <a:off x="746472" y="1592681"/>
            <a:ext cx="1343585" cy="1349437"/>
          </a:xfrm>
          <a:prstGeom prst="rect">
            <a:avLst/>
          </a:prstGeom>
          <a:solidFill>
            <a:schemeClr val="bg1"/>
          </a:solidFill>
          <a:ln>
            <a:solidFill>
              <a:schemeClr val="bg1">
                <a:lumMod val="65000"/>
              </a:schemeClr>
            </a:solidFill>
          </a:ln>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XX</a:t>
            </a:r>
            <a:endParaRPr kumimoji="0"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nvGrpSpPr>
          <p:cNvPr id="7" name="组合 6"/>
          <p:cNvGrpSpPr/>
          <p:nvPr/>
        </p:nvGrpSpPr>
        <p:grpSpPr>
          <a:xfrm>
            <a:off x="1048150" y="1167748"/>
            <a:ext cx="740228" cy="740228"/>
            <a:chOff x="1055916" y="849086"/>
            <a:chExt cx="740228" cy="740228"/>
          </a:xfrm>
        </p:grpSpPr>
        <p:sp>
          <p:nvSpPr>
            <p:cNvPr id="95" name="椭圆 94"/>
            <p:cNvSpPr/>
            <p:nvPr/>
          </p:nvSpPr>
          <p:spPr>
            <a:xfrm>
              <a:off x="1055916" y="849086"/>
              <a:ext cx="740228" cy="740228"/>
            </a:xfrm>
            <a:prstGeom prst="ellipse">
              <a:avLst/>
            </a:prstGeom>
            <a:solidFill>
              <a:srgbClr val="FFFFFF"/>
            </a:solidFill>
            <a:ln w="2857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6" name="task-complete_66276"/>
            <p:cNvSpPr>
              <a:spLocks noChangeAspect="1"/>
            </p:cNvSpPr>
            <p:nvPr/>
          </p:nvSpPr>
          <p:spPr bwMode="auto">
            <a:xfrm>
              <a:off x="1263919" y="1021200"/>
              <a:ext cx="379642" cy="396000"/>
            </a:xfrm>
            <a:custGeom>
              <a:avLst/>
              <a:gdLst>
                <a:gd name="connsiteX0" fmla="*/ 538645 w 553582"/>
                <a:gd name="connsiteY0" fmla="*/ 334589 h 577432"/>
                <a:gd name="connsiteX1" fmla="*/ 548787 w 553582"/>
                <a:gd name="connsiteY1" fmla="*/ 338849 h 577432"/>
                <a:gd name="connsiteX2" fmla="*/ 550631 w 553582"/>
                <a:gd name="connsiteY2" fmla="*/ 360036 h 577432"/>
                <a:gd name="connsiteX3" fmla="*/ 395736 w 553582"/>
                <a:gd name="connsiteY3" fmla="*/ 570984 h 577432"/>
                <a:gd name="connsiteX4" fmla="*/ 382828 w 553582"/>
                <a:gd name="connsiteY4" fmla="*/ 577432 h 577432"/>
                <a:gd name="connsiteX5" fmla="*/ 369920 w 553582"/>
                <a:gd name="connsiteY5" fmla="*/ 570063 h 577432"/>
                <a:gd name="connsiteX6" fmla="*/ 265735 w 553582"/>
                <a:gd name="connsiteY6" fmla="*/ 422675 h 577432"/>
                <a:gd name="connsiteX7" fmla="*/ 266657 w 553582"/>
                <a:gd name="connsiteY7" fmla="*/ 402410 h 577432"/>
                <a:gd name="connsiteX8" fmla="*/ 286941 w 553582"/>
                <a:gd name="connsiteY8" fmla="*/ 399646 h 577432"/>
                <a:gd name="connsiteX9" fmla="*/ 382828 w 553582"/>
                <a:gd name="connsiteY9" fmla="*/ 457680 h 577432"/>
                <a:gd name="connsiteX10" fmla="*/ 528503 w 553582"/>
                <a:gd name="connsiteY10" fmla="*/ 337928 h 577432"/>
                <a:gd name="connsiteX11" fmla="*/ 538645 w 553582"/>
                <a:gd name="connsiteY11" fmla="*/ 334589 h 577432"/>
                <a:gd name="connsiteX12" fmla="*/ 134657 w 553582"/>
                <a:gd name="connsiteY12" fmla="*/ 299294 h 577432"/>
                <a:gd name="connsiteX13" fmla="*/ 323715 w 553582"/>
                <a:gd name="connsiteY13" fmla="*/ 299294 h 577432"/>
                <a:gd name="connsiteX14" fmla="*/ 355071 w 553582"/>
                <a:gd name="connsiteY14" fmla="*/ 331488 h 577432"/>
                <a:gd name="connsiteX15" fmla="*/ 323715 w 553582"/>
                <a:gd name="connsiteY15" fmla="*/ 362763 h 577432"/>
                <a:gd name="connsiteX16" fmla="*/ 134657 w 553582"/>
                <a:gd name="connsiteY16" fmla="*/ 362763 h 577432"/>
                <a:gd name="connsiteX17" fmla="*/ 102379 w 553582"/>
                <a:gd name="connsiteY17" fmla="*/ 331488 h 577432"/>
                <a:gd name="connsiteX18" fmla="*/ 134657 w 553582"/>
                <a:gd name="connsiteY18" fmla="*/ 299294 h 577432"/>
                <a:gd name="connsiteX19" fmla="*/ 134657 w 553582"/>
                <a:gd name="connsiteY19" fmla="*/ 205349 h 577432"/>
                <a:gd name="connsiteX20" fmla="*/ 323715 w 553582"/>
                <a:gd name="connsiteY20" fmla="*/ 205349 h 577432"/>
                <a:gd name="connsiteX21" fmla="*/ 355071 w 553582"/>
                <a:gd name="connsiteY21" fmla="*/ 236640 h 577432"/>
                <a:gd name="connsiteX22" fmla="*/ 323715 w 553582"/>
                <a:gd name="connsiteY22" fmla="*/ 267930 h 577432"/>
                <a:gd name="connsiteX23" fmla="*/ 134657 w 553582"/>
                <a:gd name="connsiteY23" fmla="*/ 267930 h 577432"/>
                <a:gd name="connsiteX24" fmla="*/ 102379 w 553582"/>
                <a:gd name="connsiteY24" fmla="*/ 236640 h 577432"/>
                <a:gd name="connsiteX25" fmla="*/ 134657 w 553582"/>
                <a:gd name="connsiteY25" fmla="*/ 205349 h 577432"/>
                <a:gd name="connsiteX26" fmla="*/ 134657 w 553582"/>
                <a:gd name="connsiteY26" fmla="*/ 110515 h 577432"/>
                <a:gd name="connsiteX27" fmla="*/ 323715 w 553582"/>
                <a:gd name="connsiteY27" fmla="*/ 110515 h 577432"/>
                <a:gd name="connsiteX28" fmla="*/ 355071 w 553582"/>
                <a:gd name="connsiteY28" fmla="*/ 141806 h 577432"/>
                <a:gd name="connsiteX29" fmla="*/ 323715 w 553582"/>
                <a:gd name="connsiteY29" fmla="*/ 173096 h 577432"/>
                <a:gd name="connsiteX30" fmla="*/ 134657 w 553582"/>
                <a:gd name="connsiteY30" fmla="*/ 173096 h 577432"/>
                <a:gd name="connsiteX31" fmla="*/ 102379 w 553582"/>
                <a:gd name="connsiteY31" fmla="*/ 141806 h 577432"/>
                <a:gd name="connsiteX32" fmla="*/ 134657 w 553582"/>
                <a:gd name="connsiteY32" fmla="*/ 110515 h 577432"/>
                <a:gd name="connsiteX33" fmla="*/ 31365 w 553582"/>
                <a:gd name="connsiteY33" fmla="*/ 0 h 577432"/>
                <a:gd name="connsiteX34" fmla="*/ 426197 w 553582"/>
                <a:gd name="connsiteY34" fmla="*/ 0 h 577432"/>
                <a:gd name="connsiteX35" fmla="*/ 458484 w 553582"/>
                <a:gd name="connsiteY35" fmla="*/ 31313 h 577432"/>
                <a:gd name="connsiteX36" fmla="*/ 458484 w 553582"/>
                <a:gd name="connsiteY36" fmla="*/ 355496 h 577432"/>
                <a:gd name="connsiteX37" fmla="*/ 394831 w 553582"/>
                <a:gd name="connsiteY37" fmla="*/ 407071 h 577432"/>
                <a:gd name="connsiteX38" fmla="*/ 394831 w 553582"/>
                <a:gd name="connsiteY38" fmla="*/ 62626 h 577432"/>
                <a:gd name="connsiteX39" fmla="*/ 63653 w 553582"/>
                <a:gd name="connsiteY39" fmla="*/ 62626 h 577432"/>
                <a:gd name="connsiteX40" fmla="*/ 63653 w 553582"/>
                <a:gd name="connsiteY40" fmla="*/ 473381 h 577432"/>
                <a:gd name="connsiteX41" fmla="*/ 262914 w 553582"/>
                <a:gd name="connsiteY41" fmla="*/ 473381 h 577432"/>
                <a:gd name="connsiteX42" fmla="*/ 307194 w 553582"/>
                <a:gd name="connsiteY42" fmla="*/ 536007 h 577432"/>
                <a:gd name="connsiteX43" fmla="*/ 31365 w 553582"/>
                <a:gd name="connsiteY43" fmla="*/ 536007 h 577432"/>
                <a:gd name="connsiteX44" fmla="*/ 0 w 553582"/>
                <a:gd name="connsiteY44" fmla="*/ 504694 h 577432"/>
                <a:gd name="connsiteX45" fmla="*/ 0 w 553582"/>
                <a:gd name="connsiteY45" fmla="*/ 31313 h 577432"/>
                <a:gd name="connsiteX46" fmla="*/ 31365 w 553582"/>
                <a:gd name="connsiteY46" fmla="*/ 0 h 5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53582" h="577432">
                  <a:moveTo>
                    <a:pt x="538645" y="334589"/>
                  </a:moveTo>
                  <a:cubicBezTo>
                    <a:pt x="542333" y="334704"/>
                    <a:pt x="546021" y="336086"/>
                    <a:pt x="548787" y="338849"/>
                  </a:cubicBezTo>
                  <a:cubicBezTo>
                    <a:pt x="554319" y="344376"/>
                    <a:pt x="555241" y="353588"/>
                    <a:pt x="550631" y="360036"/>
                  </a:cubicBezTo>
                  <a:lnTo>
                    <a:pt x="395736" y="570984"/>
                  </a:lnTo>
                  <a:cubicBezTo>
                    <a:pt x="392970" y="574668"/>
                    <a:pt x="388360" y="577432"/>
                    <a:pt x="382828" y="577432"/>
                  </a:cubicBezTo>
                  <a:cubicBezTo>
                    <a:pt x="378218" y="577432"/>
                    <a:pt x="373608" y="574668"/>
                    <a:pt x="369920" y="570063"/>
                  </a:cubicBezTo>
                  <a:lnTo>
                    <a:pt x="265735" y="422675"/>
                  </a:lnTo>
                  <a:cubicBezTo>
                    <a:pt x="261125" y="416227"/>
                    <a:pt x="262047" y="407937"/>
                    <a:pt x="266657" y="402410"/>
                  </a:cubicBezTo>
                  <a:cubicBezTo>
                    <a:pt x="272189" y="396883"/>
                    <a:pt x="280487" y="395962"/>
                    <a:pt x="286941" y="399646"/>
                  </a:cubicBezTo>
                  <a:lnTo>
                    <a:pt x="382828" y="457680"/>
                  </a:lnTo>
                  <a:lnTo>
                    <a:pt x="528503" y="337928"/>
                  </a:lnTo>
                  <a:cubicBezTo>
                    <a:pt x="531269" y="335625"/>
                    <a:pt x="534957" y="334474"/>
                    <a:pt x="538645" y="334589"/>
                  </a:cubicBezTo>
                  <a:close/>
                  <a:moveTo>
                    <a:pt x="134657" y="299294"/>
                  </a:moveTo>
                  <a:lnTo>
                    <a:pt x="323715" y="299294"/>
                  </a:lnTo>
                  <a:cubicBezTo>
                    <a:pt x="341238" y="299294"/>
                    <a:pt x="355071" y="314011"/>
                    <a:pt x="355071" y="331488"/>
                  </a:cubicBezTo>
                  <a:cubicBezTo>
                    <a:pt x="355071" y="348046"/>
                    <a:pt x="341238" y="362763"/>
                    <a:pt x="323715" y="362763"/>
                  </a:cubicBezTo>
                  <a:lnTo>
                    <a:pt x="134657" y="362763"/>
                  </a:lnTo>
                  <a:cubicBezTo>
                    <a:pt x="117135" y="362763"/>
                    <a:pt x="102379" y="348046"/>
                    <a:pt x="102379" y="331488"/>
                  </a:cubicBezTo>
                  <a:cubicBezTo>
                    <a:pt x="102379" y="314011"/>
                    <a:pt x="117135" y="299294"/>
                    <a:pt x="134657" y="299294"/>
                  </a:cubicBezTo>
                  <a:close/>
                  <a:moveTo>
                    <a:pt x="134657" y="205349"/>
                  </a:moveTo>
                  <a:lnTo>
                    <a:pt x="323715" y="205349"/>
                  </a:lnTo>
                  <a:cubicBezTo>
                    <a:pt x="341238" y="205349"/>
                    <a:pt x="355071" y="219154"/>
                    <a:pt x="355071" y="236640"/>
                  </a:cubicBezTo>
                  <a:cubicBezTo>
                    <a:pt x="355071" y="254125"/>
                    <a:pt x="341238" y="267930"/>
                    <a:pt x="323715" y="267930"/>
                  </a:cubicBezTo>
                  <a:lnTo>
                    <a:pt x="134657" y="267930"/>
                  </a:lnTo>
                  <a:cubicBezTo>
                    <a:pt x="117135" y="267930"/>
                    <a:pt x="102379" y="254125"/>
                    <a:pt x="102379" y="236640"/>
                  </a:cubicBezTo>
                  <a:cubicBezTo>
                    <a:pt x="102379" y="219154"/>
                    <a:pt x="117135" y="205349"/>
                    <a:pt x="134657" y="205349"/>
                  </a:cubicBezTo>
                  <a:close/>
                  <a:moveTo>
                    <a:pt x="134657" y="110515"/>
                  </a:moveTo>
                  <a:lnTo>
                    <a:pt x="323715" y="110515"/>
                  </a:lnTo>
                  <a:cubicBezTo>
                    <a:pt x="341238" y="110515"/>
                    <a:pt x="355071" y="124320"/>
                    <a:pt x="355071" y="141806"/>
                  </a:cubicBezTo>
                  <a:cubicBezTo>
                    <a:pt x="355071" y="159291"/>
                    <a:pt x="341238" y="173096"/>
                    <a:pt x="323715" y="173096"/>
                  </a:cubicBezTo>
                  <a:lnTo>
                    <a:pt x="134657" y="173096"/>
                  </a:lnTo>
                  <a:cubicBezTo>
                    <a:pt x="117135" y="173096"/>
                    <a:pt x="102379" y="159291"/>
                    <a:pt x="102379" y="141806"/>
                  </a:cubicBezTo>
                  <a:cubicBezTo>
                    <a:pt x="102379" y="124320"/>
                    <a:pt x="117135" y="110515"/>
                    <a:pt x="134657" y="110515"/>
                  </a:cubicBezTo>
                  <a:close/>
                  <a:moveTo>
                    <a:pt x="31365" y="0"/>
                  </a:moveTo>
                  <a:lnTo>
                    <a:pt x="426197" y="0"/>
                  </a:lnTo>
                  <a:cubicBezTo>
                    <a:pt x="443724" y="0"/>
                    <a:pt x="458484" y="13815"/>
                    <a:pt x="458484" y="31313"/>
                  </a:cubicBezTo>
                  <a:lnTo>
                    <a:pt x="458484" y="355496"/>
                  </a:lnTo>
                  <a:lnTo>
                    <a:pt x="394831" y="407071"/>
                  </a:lnTo>
                  <a:lnTo>
                    <a:pt x="394831" y="62626"/>
                  </a:lnTo>
                  <a:lnTo>
                    <a:pt x="63653" y="62626"/>
                  </a:lnTo>
                  <a:lnTo>
                    <a:pt x="63653" y="473381"/>
                  </a:lnTo>
                  <a:lnTo>
                    <a:pt x="262914" y="473381"/>
                  </a:lnTo>
                  <a:lnTo>
                    <a:pt x="307194" y="536007"/>
                  </a:lnTo>
                  <a:lnTo>
                    <a:pt x="31365" y="536007"/>
                  </a:lnTo>
                  <a:cubicBezTo>
                    <a:pt x="13837" y="536007"/>
                    <a:pt x="0" y="522192"/>
                    <a:pt x="0" y="504694"/>
                  </a:cubicBezTo>
                  <a:lnTo>
                    <a:pt x="0" y="31313"/>
                  </a:lnTo>
                  <a:cubicBezTo>
                    <a:pt x="0" y="13815"/>
                    <a:pt x="13837" y="0"/>
                    <a:pt x="31365" y="0"/>
                  </a:cubicBezTo>
                  <a:close/>
                </a:path>
              </a:pathLst>
            </a:custGeom>
            <a:solidFill>
              <a:srgbClr val="FE5817"/>
            </a:solidFill>
            <a:ln>
              <a:solidFill>
                <a:srgbClr val="FE5817"/>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52" name="椭圆 51"/>
          <p:cNvSpPr/>
          <p:nvPr/>
        </p:nvSpPr>
        <p:spPr>
          <a:xfrm>
            <a:off x="5130292" y="3325093"/>
            <a:ext cx="195944" cy="195944"/>
          </a:xfrm>
          <a:prstGeom prst="ellipse">
            <a:avLst/>
          </a:prstGeom>
          <a:solidFill>
            <a:schemeClr val="accent1"/>
          </a:solidFill>
          <a:ln w="285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60" name="矩形 59"/>
          <p:cNvSpPr/>
          <p:nvPr/>
        </p:nvSpPr>
        <p:spPr>
          <a:xfrm>
            <a:off x="4760027" y="3608513"/>
            <a:ext cx="936475"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9</a:t>
            </a:r>
            <a:r>
              <a:rPr kumimoji="0" lang="zh-CN" altLang="en-US"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月</a:t>
            </a:r>
            <a:r>
              <a:rPr kumimoji="0" lang="en-US" altLang="zh-CN"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21</a:t>
            </a:r>
            <a:r>
              <a:rPr kumimoji="0" lang="zh-CN" altLang="en-US"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日</a:t>
            </a:r>
            <a:endParaRPr kumimoji="0" lang="en-US" altLang="zh-CN"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endParaRPr>
          </a:p>
        </p:txBody>
      </p:sp>
      <p:cxnSp>
        <p:nvCxnSpPr>
          <p:cNvPr id="80" name="直接连接符 79"/>
          <p:cNvCxnSpPr/>
          <p:nvPr/>
        </p:nvCxnSpPr>
        <p:spPr>
          <a:xfrm flipV="1">
            <a:off x="5228264" y="2748150"/>
            <a:ext cx="0" cy="57694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7" name="矩形 66"/>
          <p:cNvSpPr/>
          <p:nvPr/>
        </p:nvSpPr>
        <p:spPr>
          <a:xfrm>
            <a:off x="4556472" y="1592681"/>
            <a:ext cx="1343585" cy="1349437"/>
          </a:xfrm>
          <a:prstGeom prst="rect">
            <a:avLst/>
          </a:prstGeom>
          <a:solidFill>
            <a:schemeClr val="bg1"/>
          </a:solidFill>
          <a:ln>
            <a:solidFill>
              <a:schemeClr val="bg1">
                <a:lumMod val="65000"/>
              </a:schemeClr>
            </a:solidFill>
          </a:ln>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XX</a:t>
            </a:r>
            <a:endParaRPr kumimoji="0"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nvGrpSpPr>
          <p:cNvPr id="8" name="组合 7"/>
          <p:cNvGrpSpPr/>
          <p:nvPr/>
        </p:nvGrpSpPr>
        <p:grpSpPr>
          <a:xfrm>
            <a:off x="4858150" y="1167748"/>
            <a:ext cx="740228" cy="740228"/>
            <a:chOff x="4887687" y="849086"/>
            <a:chExt cx="740228" cy="740228"/>
          </a:xfrm>
        </p:grpSpPr>
        <p:sp>
          <p:nvSpPr>
            <p:cNvPr id="94" name="椭圆 93"/>
            <p:cNvSpPr/>
            <p:nvPr/>
          </p:nvSpPr>
          <p:spPr>
            <a:xfrm>
              <a:off x="4887687" y="849086"/>
              <a:ext cx="740228" cy="740228"/>
            </a:xfrm>
            <a:prstGeom prst="ellipse">
              <a:avLst/>
            </a:prstGeom>
            <a:solidFill>
              <a:srgbClr val="FFFFFF"/>
            </a:solidFill>
            <a:ln w="2857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7" name="web-search_74903"/>
            <p:cNvSpPr>
              <a:spLocks noChangeAspect="1"/>
            </p:cNvSpPr>
            <p:nvPr/>
          </p:nvSpPr>
          <p:spPr bwMode="auto">
            <a:xfrm>
              <a:off x="5055656" y="1052918"/>
              <a:ext cx="432000" cy="375419"/>
            </a:xfrm>
            <a:custGeom>
              <a:avLst/>
              <a:gdLst>
                <a:gd name="connsiteX0" fmla="*/ 468425 w 609570"/>
                <a:gd name="connsiteY0" fmla="*/ 313388 h 529735"/>
                <a:gd name="connsiteX1" fmla="*/ 397381 w 609570"/>
                <a:gd name="connsiteY1" fmla="*/ 384321 h 529735"/>
                <a:gd name="connsiteX2" fmla="*/ 468425 w 609570"/>
                <a:gd name="connsiteY2" fmla="*/ 455255 h 529735"/>
                <a:gd name="connsiteX3" fmla="*/ 539470 w 609570"/>
                <a:gd name="connsiteY3" fmla="*/ 384321 h 529735"/>
                <a:gd name="connsiteX4" fmla="*/ 468425 w 609570"/>
                <a:gd name="connsiteY4" fmla="*/ 313388 h 529735"/>
                <a:gd name="connsiteX5" fmla="*/ 468425 w 609570"/>
                <a:gd name="connsiteY5" fmla="*/ 285014 h 529735"/>
                <a:gd name="connsiteX6" fmla="*/ 567887 w 609570"/>
                <a:gd name="connsiteY6" fmla="*/ 384321 h 529735"/>
                <a:gd name="connsiteX7" fmla="*/ 556639 w 609570"/>
                <a:gd name="connsiteY7" fmla="*/ 430310 h 529735"/>
                <a:gd name="connsiteX8" fmla="*/ 553915 w 609570"/>
                <a:gd name="connsiteY8" fmla="*/ 435394 h 529735"/>
                <a:gd name="connsiteX9" fmla="*/ 601515 w 609570"/>
                <a:gd name="connsiteY9" fmla="*/ 482683 h 529735"/>
                <a:gd name="connsiteX10" fmla="*/ 609567 w 609570"/>
                <a:gd name="connsiteY10" fmla="*/ 502071 h 529735"/>
                <a:gd name="connsiteX11" fmla="*/ 601633 w 609570"/>
                <a:gd name="connsiteY11" fmla="*/ 521578 h 529735"/>
                <a:gd name="connsiteX12" fmla="*/ 582096 w 609570"/>
                <a:gd name="connsiteY12" fmla="*/ 529735 h 529735"/>
                <a:gd name="connsiteX13" fmla="*/ 562677 w 609570"/>
                <a:gd name="connsiteY13" fmla="*/ 521696 h 529735"/>
                <a:gd name="connsiteX14" fmla="*/ 513657 w 609570"/>
                <a:gd name="connsiteY14" fmla="*/ 472988 h 529735"/>
                <a:gd name="connsiteX15" fmla="*/ 508684 w 609570"/>
                <a:gd name="connsiteY15" fmla="*/ 475116 h 529735"/>
                <a:gd name="connsiteX16" fmla="*/ 468425 w 609570"/>
                <a:gd name="connsiteY16" fmla="*/ 483747 h 529735"/>
                <a:gd name="connsiteX17" fmla="*/ 368845 w 609570"/>
                <a:gd name="connsiteY17" fmla="*/ 384321 h 529735"/>
                <a:gd name="connsiteX18" fmla="*/ 468425 w 609570"/>
                <a:gd name="connsiteY18" fmla="*/ 285014 h 529735"/>
                <a:gd name="connsiteX19" fmla="*/ 214632 w 609570"/>
                <a:gd name="connsiteY19" fmla="*/ 275770 h 529735"/>
                <a:gd name="connsiteX20" fmla="*/ 408821 w 609570"/>
                <a:gd name="connsiteY20" fmla="*/ 275770 h 529735"/>
                <a:gd name="connsiteX21" fmla="*/ 410479 w 609570"/>
                <a:gd name="connsiteY21" fmla="*/ 275888 h 529735"/>
                <a:gd name="connsiteX22" fmla="*/ 361576 w 609570"/>
                <a:gd name="connsiteY22" fmla="*/ 323119 h 529735"/>
                <a:gd name="connsiteX23" fmla="*/ 214632 w 609570"/>
                <a:gd name="connsiteY23" fmla="*/ 323119 h 529735"/>
                <a:gd name="connsiteX24" fmla="*/ 190950 w 609570"/>
                <a:gd name="connsiteY24" fmla="*/ 299445 h 529735"/>
                <a:gd name="connsiteX25" fmla="*/ 214632 w 609570"/>
                <a:gd name="connsiteY25" fmla="*/ 275770 h 529735"/>
                <a:gd name="connsiteX26" fmla="*/ 136157 w 609570"/>
                <a:gd name="connsiteY26" fmla="*/ 270689 h 529735"/>
                <a:gd name="connsiteX27" fmla="*/ 164913 w 609570"/>
                <a:gd name="connsiteY27" fmla="*/ 299445 h 529735"/>
                <a:gd name="connsiteX28" fmla="*/ 136157 w 609570"/>
                <a:gd name="connsiteY28" fmla="*/ 328201 h 529735"/>
                <a:gd name="connsiteX29" fmla="*/ 107401 w 609570"/>
                <a:gd name="connsiteY29" fmla="*/ 299445 h 529735"/>
                <a:gd name="connsiteX30" fmla="*/ 136157 w 609570"/>
                <a:gd name="connsiteY30" fmla="*/ 270689 h 529735"/>
                <a:gd name="connsiteX31" fmla="*/ 214631 w 609570"/>
                <a:gd name="connsiteY31" fmla="*/ 181212 h 529735"/>
                <a:gd name="connsiteX32" fmla="*/ 408814 w 609570"/>
                <a:gd name="connsiteY32" fmla="*/ 181212 h 529735"/>
                <a:gd name="connsiteX33" fmla="*/ 432495 w 609570"/>
                <a:gd name="connsiteY33" fmla="*/ 204851 h 529735"/>
                <a:gd name="connsiteX34" fmla="*/ 408814 w 609570"/>
                <a:gd name="connsiteY34" fmla="*/ 228491 h 529735"/>
                <a:gd name="connsiteX35" fmla="*/ 214631 w 609570"/>
                <a:gd name="connsiteY35" fmla="*/ 228491 h 529735"/>
                <a:gd name="connsiteX36" fmla="*/ 190950 w 609570"/>
                <a:gd name="connsiteY36" fmla="*/ 204851 h 529735"/>
                <a:gd name="connsiteX37" fmla="*/ 214631 w 609570"/>
                <a:gd name="connsiteY37" fmla="*/ 181212 h 529735"/>
                <a:gd name="connsiteX38" fmla="*/ 136157 w 609570"/>
                <a:gd name="connsiteY38" fmla="*/ 176131 h 529735"/>
                <a:gd name="connsiteX39" fmla="*/ 164913 w 609570"/>
                <a:gd name="connsiteY39" fmla="*/ 204851 h 529735"/>
                <a:gd name="connsiteX40" fmla="*/ 136157 w 609570"/>
                <a:gd name="connsiteY40" fmla="*/ 233571 h 529735"/>
                <a:gd name="connsiteX41" fmla="*/ 107401 w 609570"/>
                <a:gd name="connsiteY41" fmla="*/ 204851 h 529735"/>
                <a:gd name="connsiteX42" fmla="*/ 136157 w 609570"/>
                <a:gd name="connsiteY42" fmla="*/ 176131 h 529735"/>
                <a:gd name="connsiteX43" fmla="*/ 15748 w 609570"/>
                <a:gd name="connsiteY43" fmla="*/ 0 h 529735"/>
                <a:gd name="connsiteX44" fmla="*/ 500389 w 609570"/>
                <a:gd name="connsiteY44" fmla="*/ 0 h 529735"/>
                <a:gd name="connsiteX45" fmla="*/ 516256 w 609570"/>
                <a:gd name="connsiteY45" fmla="*/ 15724 h 529735"/>
                <a:gd name="connsiteX46" fmla="*/ 516256 w 609570"/>
                <a:gd name="connsiteY46" fmla="*/ 271089 h 529735"/>
                <a:gd name="connsiteX47" fmla="*/ 484641 w 609570"/>
                <a:gd name="connsiteY47" fmla="*/ 262459 h 529735"/>
                <a:gd name="connsiteX48" fmla="*/ 484641 w 609570"/>
                <a:gd name="connsiteY48" fmla="*/ 121416 h 529735"/>
                <a:gd name="connsiteX49" fmla="*/ 31615 w 609570"/>
                <a:gd name="connsiteY49" fmla="*/ 121416 h 529735"/>
                <a:gd name="connsiteX50" fmla="*/ 31615 w 609570"/>
                <a:gd name="connsiteY50" fmla="*/ 393215 h 529735"/>
                <a:gd name="connsiteX51" fmla="*/ 345513 w 609570"/>
                <a:gd name="connsiteY51" fmla="*/ 393215 h 529735"/>
                <a:gd name="connsiteX52" fmla="*/ 352025 w 609570"/>
                <a:gd name="connsiteY52" fmla="*/ 424663 h 529735"/>
                <a:gd name="connsiteX53" fmla="*/ 15748 w 609570"/>
                <a:gd name="connsiteY53" fmla="*/ 424663 h 529735"/>
                <a:gd name="connsiteX54" fmla="*/ 0 w 609570"/>
                <a:gd name="connsiteY54" fmla="*/ 408939 h 529735"/>
                <a:gd name="connsiteX55" fmla="*/ 0 w 609570"/>
                <a:gd name="connsiteY55" fmla="*/ 15724 h 529735"/>
                <a:gd name="connsiteX56" fmla="*/ 15748 w 609570"/>
                <a:gd name="connsiteY56" fmla="*/ 0 h 52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09570" h="529735">
                  <a:moveTo>
                    <a:pt x="468425" y="313388"/>
                  </a:moveTo>
                  <a:cubicBezTo>
                    <a:pt x="429233" y="313388"/>
                    <a:pt x="397381" y="345190"/>
                    <a:pt x="397381" y="384321"/>
                  </a:cubicBezTo>
                  <a:cubicBezTo>
                    <a:pt x="397381" y="423453"/>
                    <a:pt x="429233" y="455255"/>
                    <a:pt x="468425" y="455255"/>
                  </a:cubicBezTo>
                  <a:cubicBezTo>
                    <a:pt x="507618" y="455255"/>
                    <a:pt x="539470" y="423453"/>
                    <a:pt x="539470" y="384321"/>
                  </a:cubicBezTo>
                  <a:cubicBezTo>
                    <a:pt x="539470" y="345308"/>
                    <a:pt x="507618" y="313388"/>
                    <a:pt x="468425" y="313388"/>
                  </a:cubicBezTo>
                  <a:close/>
                  <a:moveTo>
                    <a:pt x="468425" y="285014"/>
                  </a:moveTo>
                  <a:cubicBezTo>
                    <a:pt x="523248" y="285014"/>
                    <a:pt x="567887" y="329584"/>
                    <a:pt x="567887" y="384321"/>
                  </a:cubicBezTo>
                  <a:cubicBezTo>
                    <a:pt x="567887" y="400518"/>
                    <a:pt x="564098" y="416005"/>
                    <a:pt x="556639" y="430310"/>
                  </a:cubicBezTo>
                  <a:lnTo>
                    <a:pt x="553915" y="435394"/>
                  </a:lnTo>
                  <a:lnTo>
                    <a:pt x="601515" y="482683"/>
                  </a:lnTo>
                  <a:cubicBezTo>
                    <a:pt x="606725" y="487884"/>
                    <a:pt x="609567" y="494741"/>
                    <a:pt x="609567" y="502071"/>
                  </a:cubicBezTo>
                  <a:cubicBezTo>
                    <a:pt x="609685" y="509519"/>
                    <a:pt x="606843" y="516376"/>
                    <a:pt x="601633" y="521578"/>
                  </a:cubicBezTo>
                  <a:cubicBezTo>
                    <a:pt x="596423" y="526780"/>
                    <a:pt x="589437" y="529735"/>
                    <a:pt x="582096" y="529735"/>
                  </a:cubicBezTo>
                  <a:cubicBezTo>
                    <a:pt x="574755" y="529735"/>
                    <a:pt x="567887" y="526898"/>
                    <a:pt x="562677" y="521696"/>
                  </a:cubicBezTo>
                  <a:lnTo>
                    <a:pt x="513657" y="472988"/>
                  </a:lnTo>
                  <a:lnTo>
                    <a:pt x="508684" y="475116"/>
                  </a:lnTo>
                  <a:cubicBezTo>
                    <a:pt x="495896" y="480791"/>
                    <a:pt x="482397" y="483747"/>
                    <a:pt x="468425" y="483747"/>
                  </a:cubicBezTo>
                  <a:cubicBezTo>
                    <a:pt x="413484" y="483747"/>
                    <a:pt x="368845" y="439177"/>
                    <a:pt x="368845" y="384321"/>
                  </a:cubicBezTo>
                  <a:cubicBezTo>
                    <a:pt x="368845" y="329584"/>
                    <a:pt x="413484" y="285014"/>
                    <a:pt x="468425" y="285014"/>
                  </a:cubicBezTo>
                  <a:close/>
                  <a:moveTo>
                    <a:pt x="214632" y="275770"/>
                  </a:moveTo>
                  <a:lnTo>
                    <a:pt x="408821" y="275770"/>
                  </a:lnTo>
                  <a:cubicBezTo>
                    <a:pt x="409413" y="275770"/>
                    <a:pt x="409887" y="275770"/>
                    <a:pt x="410479" y="275888"/>
                  </a:cubicBezTo>
                  <a:cubicBezTo>
                    <a:pt x="390113" y="286661"/>
                    <a:pt x="373180" y="303114"/>
                    <a:pt x="361576" y="323119"/>
                  </a:cubicBezTo>
                  <a:lnTo>
                    <a:pt x="214632" y="323119"/>
                  </a:lnTo>
                  <a:cubicBezTo>
                    <a:pt x="201607" y="323119"/>
                    <a:pt x="190950" y="312466"/>
                    <a:pt x="190950" y="299445"/>
                  </a:cubicBezTo>
                  <a:cubicBezTo>
                    <a:pt x="190950" y="286305"/>
                    <a:pt x="201607" y="275770"/>
                    <a:pt x="214632" y="275770"/>
                  </a:cubicBezTo>
                  <a:close/>
                  <a:moveTo>
                    <a:pt x="136157" y="270689"/>
                  </a:moveTo>
                  <a:cubicBezTo>
                    <a:pt x="152039" y="270689"/>
                    <a:pt x="164913" y="283563"/>
                    <a:pt x="164913" y="299445"/>
                  </a:cubicBezTo>
                  <a:cubicBezTo>
                    <a:pt x="164913" y="315327"/>
                    <a:pt x="152039" y="328201"/>
                    <a:pt x="136157" y="328201"/>
                  </a:cubicBezTo>
                  <a:cubicBezTo>
                    <a:pt x="120275" y="328201"/>
                    <a:pt x="107401" y="315327"/>
                    <a:pt x="107401" y="299445"/>
                  </a:cubicBezTo>
                  <a:cubicBezTo>
                    <a:pt x="107401" y="283563"/>
                    <a:pt x="120275" y="270689"/>
                    <a:pt x="136157" y="270689"/>
                  </a:cubicBezTo>
                  <a:close/>
                  <a:moveTo>
                    <a:pt x="214631" y="181212"/>
                  </a:moveTo>
                  <a:lnTo>
                    <a:pt x="408814" y="181212"/>
                  </a:lnTo>
                  <a:cubicBezTo>
                    <a:pt x="421957" y="181212"/>
                    <a:pt x="432495" y="191731"/>
                    <a:pt x="432495" y="204851"/>
                  </a:cubicBezTo>
                  <a:cubicBezTo>
                    <a:pt x="432495" y="217853"/>
                    <a:pt x="421957" y="228491"/>
                    <a:pt x="408814" y="228491"/>
                  </a:cubicBezTo>
                  <a:lnTo>
                    <a:pt x="214631" y="228491"/>
                  </a:lnTo>
                  <a:cubicBezTo>
                    <a:pt x="201606" y="228491"/>
                    <a:pt x="190950" y="217853"/>
                    <a:pt x="190950" y="204851"/>
                  </a:cubicBezTo>
                  <a:cubicBezTo>
                    <a:pt x="190950" y="191731"/>
                    <a:pt x="201606" y="181212"/>
                    <a:pt x="214631" y="181212"/>
                  </a:cubicBezTo>
                  <a:close/>
                  <a:moveTo>
                    <a:pt x="136157" y="176131"/>
                  </a:moveTo>
                  <a:cubicBezTo>
                    <a:pt x="152039" y="176131"/>
                    <a:pt x="164913" y="188989"/>
                    <a:pt x="164913" y="204851"/>
                  </a:cubicBezTo>
                  <a:cubicBezTo>
                    <a:pt x="164913" y="220713"/>
                    <a:pt x="152039" y="233571"/>
                    <a:pt x="136157" y="233571"/>
                  </a:cubicBezTo>
                  <a:cubicBezTo>
                    <a:pt x="120275" y="233571"/>
                    <a:pt x="107401" y="220713"/>
                    <a:pt x="107401" y="204851"/>
                  </a:cubicBezTo>
                  <a:cubicBezTo>
                    <a:pt x="107401" y="188989"/>
                    <a:pt x="120275" y="176131"/>
                    <a:pt x="136157" y="176131"/>
                  </a:cubicBezTo>
                  <a:close/>
                  <a:moveTo>
                    <a:pt x="15748" y="0"/>
                  </a:moveTo>
                  <a:lnTo>
                    <a:pt x="500389" y="0"/>
                  </a:lnTo>
                  <a:cubicBezTo>
                    <a:pt x="509152" y="0"/>
                    <a:pt x="516256" y="7093"/>
                    <a:pt x="516256" y="15724"/>
                  </a:cubicBezTo>
                  <a:lnTo>
                    <a:pt x="516256" y="271089"/>
                  </a:lnTo>
                  <a:cubicBezTo>
                    <a:pt x="506310" y="266833"/>
                    <a:pt x="495653" y="263995"/>
                    <a:pt x="484641" y="262459"/>
                  </a:cubicBezTo>
                  <a:lnTo>
                    <a:pt x="484641" y="121416"/>
                  </a:lnTo>
                  <a:lnTo>
                    <a:pt x="31615" y="121416"/>
                  </a:lnTo>
                  <a:lnTo>
                    <a:pt x="31615" y="393215"/>
                  </a:lnTo>
                  <a:lnTo>
                    <a:pt x="345513" y="393215"/>
                  </a:lnTo>
                  <a:cubicBezTo>
                    <a:pt x="346341" y="404210"/>
                    <a:pt x="348591" y="414732"/>
                    <a:pt x="352025" y="424663"/>
                  </a:cubicBezTo>
                  <a:lnTo>
                    <a:pt x="15748" y="424663"/>
                  </a:lnTo>
                  <a:cubicBezTo>
                    <a:pt x="7104" y="424663"/>
                    <a:pt x="0" y="417688"/>
                    <a:pt x="0" y="408939"/>
                  </a:cubicBezTo>
                  <a:lnTo>
                    <a:pt x="0" y="15724"/>
                  </a:lnTo>
                  <a:cubicBezTo>
                    <a:pt x="0" y="7093"/>
                    <a:pt x="7104" y="0"/>
                    <a:pt x="15748" y="0"/>
                  </a:cubicBezTo>
                  <a:close/>
                </a:path>
              </a:pathLst>
            </a:custGeom>
            <a:solidFill>
              <a:srgbClr val="FE5817"/>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70" name="椭圆 69"/>
          <p:cNvSpPr/>
          <p:nvPr/>
        </p:nvSpPr>
        <p:spPr>
          <a:xfrm>
            <a:off x="7155035" y="3325093"/>
            <a:ext cx="195944" cy="195944"/>
          </a:xfrm>
          <a:prstGeom prst="ellipse">
            <a:avLst/>
          </a:prstGeom>
          <a:solidFill>
            <a:schemeClr val="accent1"/>
          </a:solidFill>
          <a:ln w="285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1" name="矩形 70"/>
          <p:cNvSpPr/>
          <p:nvPr/>
        </p:nvSpPr>
        <p:spPr>
          <a:xfrm>
            <a:off x="6898583" y="3608513"/>
            <a:ext cx="708848"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9</a:t>
            </a:r>
            <a:r>
              <a:rPr kumimoji="0" lang="zh-CN" altLang="en-US"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月底</a:t>
            </a:r>
            <a:endParaRPr kumimoji="0" lang="en-US" altLang="zh-CN"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endParaRPr>
          </a:p>
        </p:txBody>
      </p:sp>
      <p:cxnSp>
        <p:nvCxnSpPr>
          <p:cNvPr id="79" name="直接连接符 78"/>
          <p:cNvCxnSpPr/>
          <p:nvPr/>
        </p:nvCxnSpPr>
        <p:spPr>
          <a:xfrm flipV="1">
            <a:off x="7253007" y="2748150"/>
            <a:ext cx="0" cy="57694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2" name="矩形 71"/>
          <p:cNvSpPr/>
          <p:nvPr/>
        </p:nvSpPr>
        <p:spPr>
          <a:xfrm>
            <a:off x="6581215" y="1592681"/>
            <a:ext cx="1343585" cy="1349437"/>
          </a:xfrm>
          <a:prstGeom prst="rect">
            <a:avLst/>
          </a:prstGeom>
          <a:solidFill>
            <a:schemeClr val="bg1"/>
          </a:solidFill>
          <a:ln>
            <a:solidFill>
              <a:schemeClr val="bg1">
                <a:lumMod val="65000"/>
              </a:schemeClr>
            </a:solidFill>
          </a:ln>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XX</a:t>
            </a:r>
            <a:endParaRPr kumimoji="0"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nvGrpSpPr>
          <p:cNvPr id="9" name="组合 8"/>
          <p:cNvGrpSpPr/>
          <p:nvPr/>
        </p:nvGrpSpPr>
        <p:grpSpPr>
          <a:xfrm>
            <a:off x="6882893" y="1167748"/>
            <a:ext cx="740228" cy="740228"/>
            <a:chOff x="6858001" y="849086"/>
            <a:chExt cx="740228" cy="740228"/>
          </a:xfrm>
        </p:grpSpPr>
        <p:sp>
          <p:nvSpPr>
            <p:cNvPr id="93" name="椭圆 92"/>
            <p:cNvSpPr/>
            <p:nvPr/>
          </p:nvSpPr>
          <p:spPr>
            <a:xfrm>
              <a:off x="6858001" y="849086"/>
              <a:ext cx="740228" cy="740228"/>
            </a:xfrm>
            <a:prstGeom prst="ellipse">
              <a:avLst/>
            </a:prstGeom>
            <a:solidFill>
              <a:srgbClr val="FFFFFF"/>
            </a:solidFill>
            <a:ln w="2857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6" name="flats_304523"/>
            <p:cNvSpPr>
              <a:spLocks noChangeAspect="1"/>
            </p:cNvSpPr>
            <p:nvPr/>
          </p:nvSpPr>
          <p:spPr bwMode="auto">
            <a:xfrm>
              <a:off x="7048115" y="1011602"/>
              <a:ext cx="360000" cy="415196"/>
            </a:xfrm>
            <a:custGeom>
              <a:avLst/>
              <a:gdLst>
                <a:gd name="connsiteX0" fmla="*/ 314401 w 526065"/>
                <a:gd name="connsiteY0" fmla="*/ 474333 h 606722"/>
                <a:gd name="connsiteX1" fmla="*/ 336032 w 526065"/>
                <a:gd name="connsiteY1" fmla="*/ 493529 h 606722"/>
                <a:gd name="connsiteX2" fmla="*/ 336032 w 526065"/>
                <a:gd name="connsiteY2" fmla="*/ 509348 h 606722"/>
                <a:gd name="connsiteX3" fmla="*/ 314401 w 526065"/>
                <a:gd name="connsiteY3" fmla="*/ 528632 h 606722"/>
                <a:gd name="connsiteX4" fmla="*/ 297221 w 526065"/>
                <a:gd name="connsiteY4" fmla="*/ 508814 h 606722"/>
                <a:gd name="connsiteX5" fmla="*/ 297221 w 526065"/>
                <a:gd name="connsiteY5" fmla="*/ 494062 h 606722"/>
                <a:gd name="connsiteX6" fmla="*/ 314401 w 526065"/>
                <a:gd name="connsiteY6" fmla="*/ 474333 h 606722"/>
                <a:gd name="connsiteX7" fmla="*/ 208412 w 526065"/>
                <a:gd name="connsiteY7" fmla="*/ 474333 h 606722"/>
                <a:gd name="connsiteX8" fmla="*/ 230043 w 526065"/>
                <a:gd name="connsiteY8" fmla="*/ 493529 h 606722"/>
                <a:gd name="connsiteX9" fmla="*/ 230043 w 526065"/>
                <a:gd name="connsiteY9" fmla="*/ 509348 h 606722"/>
                <a:gd name="connsiteX10" fmla="*/ 208412 w 526065"/>
                <a:gd name="connsiteY10" fmla="*/ 528632 h 606722"/>
                <a:gd name="connsiteX11" fmla="*/ 191232 w 526065"/>
                <a:gd name="connsiteY11" fmla="*/ 508814 h 606722"/>
                <a:gd name="connsiteX12" fmla="*/ 191232 w 526065"/>
                <a:gd name="connsiteY12" fmla="*/ 494062 h 606722"/>
                <a:gd name="connsiteX13" fmla="*/ 208412 w 526065"/>
                <a:gd name="connsiteY13" fmla="*/ 474333 h 606722"/>
                <a:gd name="connsiteX14" fmla="*/ 314401 w 526065"/>
                <a:gd name="connsiteY14" fmla="*/ 369243 h 606722"/>
                <a:gd name="connsiteX15" fmla="*/ 336032 w 526065"/>
                <a:gd name="connsiteY15" fmla="*/ 388527 h 606722"/>
                <a:gd name="connsiteX16" fmla="*/ 336032 w 526065"/>
                <a:gd name="connsiteY16" fmla="*/ 404346 h 606722"/>
                <a:gd name="connsiteX17" fmla="*/ 314401 w 526065"/>
                <a:gd name="connsiteY17" fmla="*/ 423542 h 606722"/>
                <a:gd name="connsiteX18" fmla="*/ 297221 w 526065"/>
                <a:gd name="connsiteY18" fmla="*/ 403813 h 606722"/>
                <a:gd name="connsiteX19" fmla="*/ 297221 w 526065"/>
                <a:gd name="connsiteY19" fmla="*/ 388972 h 606722"/>
                <a:gd name="connsiteX20" fmla="*/ 314401 w 526065"/>
                <a:gd name="connsiteY20" fmla="*/ 369243 h 606722"/>
                <a:gd name="connsiteX21" fmla="*/ 208412 w 526065"/>
                <a:gd name="connsiteY21" fmla="*/ 369243 h 606722"/>
                <a:gd name="connsiteX22" fmla="*/ 230043 w 526065"/>
                <a:gd name="connsiteY22" fmla="*/ 388527 h 606722"/>
                <a:gd name="connsiteX23" fmla="*/ 230043 w 526065"/>
                <a:gd name="connsiteY23" fmla="*/ 404346 h 606722"/>
                <a:gd name="connsiteX24" fmla="*/ 208412 w 526065"/>
                <a:gd name="connsiteY24" fmla="*/ 423542 h 606722"/>
                <a:gd name="connsiteX25" fmla="*/ 191232 w 526065"/>
                <a:gd name="connsiteY25" fmla="*/ 403813 h 606722"/>
                <a:gd name="connsiteX26" fmla="*/ 191232 w 526065"/>
                <a:gd name="connsiteY26" fmla="*/ 388972 h 606722"/>
                <a:gd name="connsiteX27" fmla="*/ 208412 w 526065"/>
                <a:gd name="connsiteY27" fmla="*/ 369243 h 606722"/>
                <a:gd name="connsiteX28" fmla="*/ 418823 w 526065"/>
                <a:gd name="connsiteY28" fmla="*/ 338243 h 606722"/>
                <a:gd name="connsiteX29" fmla="*/ 418823 w 526065"/>
                <a:gd name="connsiteY29" fmla="*/ 567974 h 606722"/>
                <a:gd name="connsiteX30" fmla="*/ 488597 w 526065"/>
                <a:gd name="connsiteY30" fmla="*/ 567974 h 606722"/>
                <a:gd name="connsiteX31" fmla="*/ 488597 w 526065"/>
                <a:gd name="connsiteY31" fmla="*/ 338243 h 606722"/>
                <a:gd name="connsiteX32" fmla="*/ 38714 w 526065"/>
                <a:gd name="connsiteY32" fmla="*/ 338243 h 606722"/>
                <a:gd name="connsiteX33" fmla="*/ 38714 w 526065"/>
                <a:gd name="connsiteY33" fmla="*/ 567974 h 606722"/>
                <a:gd name="connsiteX34" fmla="*/ 108577 w 526065"/>
                <a:gd name="connsiteY34" fmla="*/ 567974 h 606722"/>
                <a:gd name="connsiteX35" fmla="*/ 108577 w 526065"/>
                <a:gd name="connsiteY35" fmla="*/ 338243 h 606722"/>
                <a:gd name="connsiteX36" fmla="*/ 418823 w 526065"/>
                <a:gd name="connsiteY36" fmla="*/ 283942 h 606722"/>
                <a:gd name="connsiteX37" fmla="*/ 418823 w 526065"/>
                <a:gd name="connsiteY37" fmla="*/ 299495 h 606722"/>
                <a:gd name="connsiteX38" fmla="*/ 488597 w 526065"/>
                <a:gd name="connsiteY38" fmla="*/ 299495 h 606722"/>
                <a:gd name="connsiteX39" fmla="*/ 488597 w 526065"/>
                <a:gd name="connsiteY39" fmla="*/ 283942 h 606722"/>
                <a:gd name="connsiteX40" fmla="*/ 38714 w 526065"/>
                <a:gd name="connsiteY40" fmla="*/ 283942 h 606722"/>
                <a:gd name="connsiteX41" fmla="*/ 38714 w 526065"/>
                <a:gd name="connsiteY41" fmla="*/ 299495 h 606722"/>
                <a:gd name="connsiteX42" fmla="*/ 108577 w 526065"/>
                <a:gd name="connsiteY42" fmla="*/ 299495 h 606722"/>
                <a:gd name="connsiteX43" fmla="*/ 108577 w 526065"/>
                <a:gd name="connsiteY43" fmla="*/ 283942 h 606722"/>
                <a:gd name="connsiteX44" fmla="*/ 314401 w 526065"/>
                <a:gd name="connsiteY44" fmla="*/ 264331 h 606722"/>
                <a:gd name="connsiteX45" fmla="*/ 336032 w 526065"/>
                <a:gd name="connsiteY45" fmla="*/ 283526 h 606722"/>
                <a:gd name="connsiteX46" fmla="*/ 336032 w 526065"/>
                <a:gd name="connsiteY46" fmla="*/ 299345 h 606722"/>
                <a:gd name="connsiteX47" fmla="*/ 314401 w 526065"/>
                <a:gd name="connsiteY47" fmla="*/ 318630 h 606722"/>
                <a:gd name="connsiteX48" fmla="*/ 297221 w 526065"/>
                <a:gd name="connsiteY48" fmla="*/ 298812 h 606722"/>
                <a:gd name="connsiteX49" fmla="*/ 297221 w 526065"/>
                <a:gd name="connsiteY49" fmla="*/ 284060 h 606722"/>
                <a:gd name="connsiteX50" fmla="*/ 314401 w 526065"/>
                <a:gd name="connsiteY50" fmla="*/ 264331 h 606722"/>
                <a:gd name="connsiteX51" fmla="*/ 208412 w 526065"/>
                <a:gd name="connsiteY51" fmla="*/ 264331 h 606722"/>
                <a:gd name="connsiteX52" fmla="*/ 230043 w 526065"/>
                <a:gd name="connsiteY52" fmla="*/ 283526 h 606722"/>
                <a:gd name="connsiteX53" fmla="*/ 230043 w 526065"/>
                <a:gd name="connsiteY53" fmla="*/ 299345 h 606722"/>
                <a:gd name="connsiteX54" fmla="*/ 208412 w 526065"/>
                <a:gd name="connsiteY54" fmla="*/ 318630 h 606722"/>
                <a:gd name="connsiteX55" fmla="*/ 191232 w 526065"/>
                <a:gd name="connsiteY55" fmla="*/ 298812 h 606722"/>
                <a:gd name="connsiteX56" fmla="*/ 191232 w 526065"/>
                <a:gd name="connsiteY56" fmla="*/ 284060 h 606722"/>
                <a:gd name="connsiteX57" fmla="*/ 208412 w 526065"/>
                <a:gd name="connsiteY57" fmla="*/ 264331 h 606722"/>
                <a:gd name="connsiteX58" fmla="*/ 314401 w 526065"/>
                <a:gd name="connsiteY58" fmla="*/ 159240 h 606722"/>
                <a:gd name="connsiteX59" fmla="*/ 336032 w 526065"/>
                <a:gd name="connsiteY59" fmla="*/ 178524 h 606722"/>
                <a:gd name="connsiteX60" fmla="*/ 336032 w 526065"/>
                <a:gd name="connsiteY60" fmla="*/ 194343 h 606722"/>
                <a:gd name="connsiteX61" fmla="*/ 314401 w 526065"/>
                <a:gd name="connsiteY61" fmla="*/ 213539 h 606722"/>
                <a:gd name="connsiteX62" fmla="*/ 297221 w 526065"/>
                <a:gd name="connsiteY62" fmla="*/ 193810 h 606722"/>
                <a:gd name="connsiteX63" fmla="*/ 297221 w 526065"/>
                <a:gd name="connsiteY63" fmla="*/ 178969 h 606722"/>
                <a:gd name="connsiteX64" fmla="*/ 314401 w 526065"/>
                <a:gd name="connsiteY64" fmla="*/ 159240 h 606722"/>
                <a:gd name="connsiteX65" fmla="*/ 208412 w 526065"/>
                <a:gd name="connsiteY65" fmla="*/ 159240 h 606722"/>
                <a:gd name="connsiteX66" fmla="*/ 230043 w 526065"/>
                <a:gd name="connsiteY66" fmla="*/ 178524 h 606722"/>
                <a:gd name="connsiteX67" fmla="*/ 230043 w 526065"/>
                <a:gd name="connsiteY67" fmla="*/ 194343 h 606722"/>
                <a:gd name="connsiteX68" fmla="*/ 208412 w 526065"/>
                <a:gd name="connsiteY68" fmla="*/ 213539 h 606722"/>
                <a:gd name="connsiteX69" fmla="*/ 191232 w 526065"/>
                <a:gd name="connsiteY69" fmla="*/ 193810 h 606722"/>
                <a:gd name="connsiteX70" fmla="*/ 191232 w 526065"/>
                <a:gd name="connsiteY70" fmla="*/ 178969 h 606722"/>
                <a:gd name="connsiteX71" fmla="*/ 208412 w 526065"/>
                <a:gd name="connsiteY71" fmla="*/ 159240 h 606722"/>
                <a:gd name="connsiteX72" fmla="*/ 147291 w 526065"/>
                <a:gd name="connsiteY72" fmla="*/ 120064 h 606722"/>
                <a:gd name="connsiteX73" fmla="*/ 147291 w 526065"/>
                <a:gd name="connsiteY73" fmla="*/ 567974 h 606722"/>
                <a:gd name="connsiteX74" fmla="*/ 380020 w 526065"/>
                <a:gd name="connsiteY74" fmla="*/ 567974 h 606722"/>
                <a:gd name="connsiteX75" fmla="*/ 380020 w 526065"/>
                <a:gd name="connsiteY75" fmla="*/ 120064 h 606722"/>
                <a:gd name="connsiteX76" fmla="*/ 214573 w 526065"/>
                <a:gd name="connsiteY76" fmla="*/ 38747 h 606722"/>
                <a:gd name="connsiteX77" fmla="*/ 214573 w 526065"/>
                <a:gd name="connsiteY77" fmla="*/ 81317 h 606722"/>
                <a:gd name="connsiteX78" fmla="*/ 311492 w 526065"/>
                <a:gd name="connsiteY78" fmla="*/ 81317 h 606722"/>
                <a:gd name="connsiteX79" fmla="*/ 311492 w 526065"/>
                <a:gd name="connsiteY79" fmla="*/ 38747 h 606722"/>
                <a:gd name="connsiteX80" fmla="*/ 195172 w 526065"/>
                <a:gd name="connsiteY80" fmla="*/ 0 h 606722"/>
                <a:gd name="connsiteX81" fmla="*/ 330893 w 526065"/>
                <a:gd name="connsiteY81" fmla="*/ 0 h 606722"/>
                <a:gd name="connsiteX82" fmla="*/ 350295 w 526065"/>
                <a:gd name="connsiteY82" fmla="*/ 19374 h 606722"/>
                <a:gd name="connsiteX83" fmla="*/ 350295 w 526065"/>
                <a:gd name="connsiteY83" fmla="*/ 81317 h 606722"/>
                <a:gd name="connsiteX84" fmla="*/ 399421 w 526065"/>
                <a:gd name="connsiteY84" fmla="*/ 81317 h 606722"/>
                <a:gd name="connsiteX85" fmla="*/ 418823 w 526065"/>
                <a:gd name="connsiteY85" fmla="*/ 100691 h 606722"/>
                <a:gd name="connsiteX86" fmla="*/ 418823 w 526065"/>
                <a:gd name="connsiteY86" fmla="*/ 245284 h 606722"/>
                <a:gd name="connsiteX87" fmla="*/ 506664 w 526065"/>
                <a:gd name="connsiteY87" fmla="*/ 245284 h 606722"/>
                <a:gd name="connsiteX88" fmla="*/ 526065 w 526065"/>
                <a:gd name="connsiteY88" fmla="*/ 264657 h 606722"/>
                <a:gd name="connsiteX89" fmla="*/ 526065 w 526065"/>
                <a:gd name="connsiteY89" fmla="*/ 587348 h 606722"/>
                <a:gd name="connsiteX90" fmla="*/ 506664 w 526065"/>
                <a:gd name="connsiteY90" fmla="*/ 606722 h 606722"/>
                <a:gd name="connsiteX91" fmla="*/ 19312 w 526065"/>
                <a:gd name="connsiteY91" fmla="*/ 606722 h 606722"/>
                <a:gd name="connsiteX92" fmla="*/ 0 w 526065"/>
                <a:gd name="connsiteY92" fmla="*/ 587348 h 606722"/>
                <a:gd name="connsiteX93" fmla="*/ 0 w 526065"/>
                <a:gd name="connsiteY93" fmla="*/ 264657 h 606722"/>
                <a:gd name="connsiteX94" fmla="*/ 19312 w 526065"/>
                <a:gd name="connsiteY94" fmla="*/ 245284 h 606722"/>
                <a:gd name="connsiteX95" fmla="*/ 108577 w 526065"/>
                <a:gd name="connsiteY95" fmla="*/ 245284 h 606722"/>
                <a:gd name="connsiteX96" fmla="*/ 108577 w 526065"/>
                <a:gd name="connsiteY96" fmla="*/ 100691 h 606722"/>
                <a:gd name="connsiteX97" fmla="*/ 127979 w 526065"/>
                <a:gd name="connsiteY97" fmla="*/ 81317 h 606722"/>
                <a:gd name="connsiteX98" fmla="*/ 175770 w 526065"/>
                <a:gd name="connsiteY98" fmla="*/ 81317 h 606722"/>
                <a:gd name="connsiteX99" fmla="*/ 175770 w 526065"/>
                <a:gd name="connsiteY99" fmla="*/ 19374 h 606722"/>
                <a:gd name="connsiteX100" fmla="*/ 195172 w 526065"/>
                <a:gd name="connsiteY100"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526065" h="606722">
                  <a:moveTo>
                    <a:pt x="314401" y="474333"/>
                  </a:moveTo>
                  <a:cubicBezTo>
                    <a:pt x="326151" y="473000"/>
                    <a:pt x="336032" y="482154"/>
                    <a:pt x="336032" y="493529"/>
                  </a:cubicBezTo>
                  <a:lnTo>
                    <a:pt x="336032" y="509348"/>
                  </a:lnTo>
                  <a:cubicBezTo>
                    <a:pt x="336032" y="520812"/>
                    <a:pt x="326151" y="529876"/>
                    <a:pt x="314401" y="528632"/>
                  </a:cubicBezTo>
                  <a:cubicBezTo>
                    <a:pt x="304520" y="527477"/>
                    <a:pt x="297221" y="518768"/>
                    <a:pt x="297221" y="508814"/>
                  </a:cubicBezTo>
                  <a:lnTo>
                    <a:pt x="297221" y="494062"/>
                  </a:lnTo>
                  <a:cubicBezTo>
                    <a:pt x="297221" y="484109"/>
                    <a:pt x="304520" y="475400"/>
                    <a:pt x="314401" y="474333"/>
                  </a:cubicBezTo>
                  <a:close/>
                  <a:moveTo>
                    <a:pt x="208412" y="474333"/>
                  </a:moveTo>
                  <a:cubicBezTo>
                    <a:pt x="220162" y="473000"/>
                    <a:pt x="230043" y="482154"/>
                    <a:pt x="230043" y="493529"/>
                  </a:cubicBezTo>
                  <a:lnTo>
                    <a:pt x="230043" y="509348"/>
                  </a:lnTo>
                  <a:cubicBezTo>
                    <a:pt x="230043" y="520812"/>
                    <a:pt x="220162" y="529876"/>
                    <a:pt x="208412" y="528632"/>
                  </a:cubicBezTo>
                  <a:cubicBezTo>
                    <a:pt x="198531" y="527477"/>
                    <a:pt x="191232" y="518768"/>
                    <a:pt x="191232" y="508814"/>
                  </a:cubicBezTo>
                  <a:lnTo>
                    <a:pt x="191232" y="494062"/>
                  </a:lnTo>
                  <a:cubicBezTo>
                    <a:pt x="191232" y="484109"/>
                    <a:pt x="198531" y="475400"/>
                    <a:pt x="208412" y="474333"/>
                  </a:cubicBezTo>
                  <a:close/>
                  <a:moveTo>
                    <a:pt x="314401" y="369243"/>
                  </a:moveTo>
                  <a:cubicBezTo>
                    <a:pt x="326151" y="367999"/>
                    <a:pt x="336032" y="377063"/>
                    <a:pt x="336032" y="388527"/>
                  </a:cubicBezTo>
                  <a:lnTo>
                    <a:pt x="336032" y="404346"/>
                  </a:lnTo>
                  <a:cubicBezTo>
                    <a:pt x="336032" y="415721"/>
                    <a:pt x="326151" y="424875"/>
                    <a:pt x="314401" y="423542"/>
                  </a:cubicBezTo>
                  <a:cubicBezTo>
                    <a:pt x="304520" y="422475"/>
                    <a:pt x="297221" y="413766"/>
                    <a:pt x="297221" y="403813"/>
                  </a:cubicBezTo>
                  <a:lnTo>
                    <a:pt x="297221" y="388972"/>
                  </a:lnTo>
                  <a:cubicBezTo>
                    <a:pt x="297221" y="379018"/>
                    <a:pt x="304520" y="370309"/>
                    <a:pt x="314401" y="369243"/>
                  </a:cubicBezTo>
                  <a:close/>
                  <a:moveTo>
                    <a:pt x="208412" y="369243"/>
                  </a:moveTo>
                  <a:cubicBezTo>
                    <a:pt x="220162" y="367999"/>
                    <a:pt x="230043" y="377063"/>
                    <a:pt x="230043" y="388527"/>
                  </a:cubicBezTo>
                  <a:lnTo>
                    <a:pt x="230043" y="404346"/>
                  </a:lnTo>
                  <a:cubicBezTo>
                    <a:pt x="230043" y="415721"/>
                    <a:pt x="220162" y="424875"/>
                    <a:pt x="208412" y="423542"/>
                  </a:cubicBezTo>
                  <a:cubicBezTo>
                    <a:pt x="198531" y="422475"/>
                    <a:pt x="191232" y="413766"/>
                    <a:pt x="191232" y="403813"/>
                  </a:cubicBezTo>
                  <a:lnTo>
                    <a:pt x="191232" y="388972"/>
                  </a:lnTo>
                  <a:cubicBezTo>
                    <a:pt x="191232" y="379018"/>
                    <a:pt x="198531" y="370309"/>
                    <a:pt x="208412" y="369243"/>
                  </a:cubicBezTo>
                  <a:close/>
                  <a:moveTo>
                    <a:pt x="418823" y="338243"/>
                  </a:moveTo>
                  <a:lnTo>
                    <a:pt x="418823" y="567974"/>
                  </a:lnTo>
                  <a:lnTo>
                    <a:pt x="488597" y="567974"/>
                  </a:lnTo>
                  <a:lnTo>
                    <a:pt x="488597" y="338243"/>
                  </a:lnTo>
                  <a:close/>
                  <a:moveTo>
                    <a:pt x="38714" y="338243"/>
                  </a:moveTo>
                  <a:lnTo>
                    <a:pt x="38714" y="567974"/>
                  </a:lnTo>
                  <a:lnTo>
                    <a:pt x="108577" y="567974"/>
                  </a:lnTo>
                  <a:lnTo>
                    <a:pt x="108577" y="338243"/>
                  </a:lnTo>
                  <a:close/>
                  <a:moveTo>
                    <a:pt x="418823" y="283942"/>
                  </a:moveTo>
                  <a:lnTo>
                    <a:pt x="418823" y="299495"/>
                  </a:lnTo>
                  <a:lnTo>
                    <a:pt x="488597" y="299495"/>
                  </a:lnTo>
                  <a:lnTo>
                    <a:pt x="488597" y="283942"/>
                  </a:lnTo>
                  <a:close/>
                  <a:moveTo>
                    <a:pt x="38714" y="283942"/>
                  </a:moveTo>
                  <a:lnTo>
                    <a:pt x="38714" y="299495"/>
                  </a:lnTo>
                  <a:lnTo>
                    <a:pt x="108577" y="299495"/>
                  </a:lnTo>
                  <a:lnTo>
                    <a:pt x="108577" y="283942"/>
                  </a:lnTo>
                  <a:close/>
                  <a:moveTo>
                    <a:pt x="314401" y="264331"/>
                  </a:moveTo>
                  <a:cubicBezTo>
                    <a:pt x="326151" y="262998"/>
                    <a:pt x="336032" y="272151"/>
                    <a:pt x="336032" y="283526"/>
                  </a:cubicBezTo>
                  <a:lnTo>
                    <a:pt x="336032" y="299345"/>
                  </a:lnTo>
                  <a:cubicBezTo>
                    <a:pt x="336032" y="310809"/>
                    <a:pt x="326151" y="319874"/>
                    <a:pt x="314401" y="318630"/>
                  </a:cubicBezTo>
                  <a:cubicBezTo>
                    <a:pt x="304520" y="317474"/>
                    <a:pt x="297221" y="308765"/>
                    <a:pt x="297221" y="298812"/>
                  </a:cubicBezTo>
                  <a:lnTo>
                    <a:pt x="297221" y="284060"/>
                  </a:lnTo>
                  <a:cubicBezTo>
                    <a:pt x="297221" y="274106"/>
                    <a:pt x="304520" y="265397"/>
                    <a:pt x="314401" y="264331"/>
                  </a:cubicBezTo>
                  <a:close/>
                  <a:moveTo>
                    <a:pt x="208412" y="264331"/>
                  </a:moveTo>
                  <a:cubicBezTo>
                    <a:pt x="220162" y="262998"/>
                    <a:pt x="230043" y="272151"/>
                    <a:pt x="230043" y="283526"/>
                  </a:cubicBezTo>
                  <a:lnTo>
                    <a:pt x="230043" y="299345"/>
                  </a:lnTo>
                  <a:cubicBezTo>
                    <a:pt x="230043" y="310809"/>
                    <a:pt x="220162" y="319874"/>
                    <a:pt x="208412" y="318630"/>
                  </a:cubicBezTo>
                  <a:cubicBezTo>
                    <a:pt x="198531" y="317474"/>
                    <a:pt x="191232" y="308765"/>
                    <a:pt x="191232" y="298812"/>
                  </a:cubicBezTo>
                  <a:lnTo>
                    <a:pt x="191232" y="284060"/>
                  </a:lnTo>
                  <a:cubicBezTo>
                    <a:pt x="191232" y="274106"/>
                    <a:pt x="198531" y="265397"/>
                    <a:pt x="208412" y="264331"/>
                  </a:cubicBezTo>
                  <a:close/>
                  <a:moveTo>
                    <a:pt x="314401" y="159240"/>
                  </a:moveTo>
                  <a:cubicBezTo>
                    <a:pt x="326151" y="157996"/>
                    <a:pt x="336032" y="167060"/>
                    <a:pt x="336032" y="178524"/>
                  </a:cubicBezTo>
                  <a:lnTo>
                    <a:pt x="336032" y="194343"/>
                  </a:lnTo>
                  <a:cubicBezTo>
                    <a:pt x="336032" y="205718"/>
                    <a:pt x="326151" y="214872"/>
                    <a:pt x="314401" y="213539"/>
                  </a:cubicBezTo>
                  <a:cubicBezTo>
                    <a:pt x="304520" y="212472"/>
                    <a:pt x="297221" y="203763"/>
                    <a:pt x="297221" y="193810"/>
                  </a:cubicBezTo>
                  <a:lnTo>
                    <a:pt x="297221" y="178969"/>
                  </a:lnTo>
                  <a:cubicBezTo>
                    <a:pt x="297221" y="169015"/>
                    <a:pt x="304520" y="160306"/>
                    <a:pt x="314401" y="159240"/>
                  </a:cubicBezTo>
                  <a:close/>
                  <a:moveTo>
                    <a:pt x="208412" y="159240"/>
                  </a:moveTo>
                  <a:cubicBezTo>
                    <a:pt x="220162" y="157996"/>
                    <a:pt x="230043" y="167060"/>
                    <a:pt x="230043" y="178524"/>
                  </a:cubicBezTo>
                  <a:lnTo>
                    <a:pt x="230043" y="194343"/>
                  </a:lnTo>
                  <a:cubicBezTo>
                    <a:pt x="230043" y="205718"/>
                    <a:pt x="220162" y="214872"/>
                    <a:pt x="208412" y="213539"/>
                  </a:cubicBezTo>
                  <a:cubicBezTo>
                    <a:pt x="198531" y="212472"/>
                    <a:pt x="191232" y="203763"/>
                    <a:pt x="191232" y="193810"/>
                  </a:cubicBezTo>
                  <a:lnTo>
                    <a:pt x="191232" y="178969"/>
                  </a:lnTo>
                  <a:cubicBezTo>
                    <a:pt x="191232" y="169015"/>
                    <a:pt x="198531" y="160306"/>
                    <a:pt x="208412" y="159240"/>
                  </a:cubicBezTo>
                  <a:close/>
                  <a:moveTo>
                    <a:pt x="147291" y="120064"/>
                  </a:moveTo>
                  <a:lnTo>
                    <a:pt x="147291" y="567974"/>
                  </a:lnTo>
                  <a:lnTo>
                    <a:pt x="380020" y="567974"/>
                  </a:lnTo>
                  <a:lnTo>
                    <a:pt x="380020" y="120064"/>
                  </a:lnTo>
                  <a:close/>
                  <a:moveTo>
                    <a:pt x="214573" y="38747"/>
                  </a:moveTo>
                  <a:lnTo>
                    <a:pt x="214573" y="81317"/>
                  </a:lnTo>
                  <a:lnTo>
                    <a:pt x="311492" y="81317"/>
                  </a:lnTo>
                  <a:lnTo>
                    <a:pt x="311492" y="38747"/>
                  </a:lnTo>
                  <a:close/>
                  <a:moveTo>
                    <a:pt x="195172" y="0"/>
                  </a:moveTo>
                  <a:lnTo>
                    <a:pt x="330893" y="0"/>
                  </a:lnTo>
                  <a:cubicBezTo>
                    <a:pt x="341573" y="0"/>
                    <a:pt x="350295" y="8709"/>
                    <a:pt x="350295" y="19374"/>
                  </a:cubicBezTo>
                  <a:lnTo>
                    <a:pt x="350295" y="81317"/>
                  </a:lnTo>
                  <a:lnTo>
                    <a:pt x="399421" y="81317"/>
                  </a:lnTo>
                  <a:cubicBezTo>
                    <a:pt x="410101" y="81317"/>
                    <a:pt x="418823" y="90026"/>
                    <a:pt x="418823" y="100691"/>
                  </a:cubicBezTo>
                  <a:lnTo>
                    <a:pt x="418823" y="245284"/>
                  </a:lnTo>
                  <a:lnTo>
                    <a:pt x="506664" y="245284"/>
                  </a:lnTo>
                  <a:cubicBezTo>
                    <a:pt x="517432" y="245284"/>
                    <a:pt x="526065" y="253904"/>
                    <a:pt x="526065" y="264657"/>
                  </a:cubicBezTo>
                  <a:lnTo>
                    <a:pt x="526065" y="587348"/>
                  </a:lnTo>
                  <a:cubicBezTo>
                    <a:pt x="526065" y="598013"/>
                    <a:pt x="517432" y="606722"/>
                    <a:pt x="506664" y="606722"/>
                  </a:cubicBezTo>
                  <a:lnTo>
                    <a:pt x="19312" y="606722"/>
                  </a:lnTo>
                  <a:cubicBezTo>
                    <a:pt x="8633" y="606722"/>
                    <a:pt x="0" y="598013"/>
                    <a:pt x="0" y="587348"/>
                  </a:cubicBezTo>
                  <a:lnTo>
                    <a:pt x="0" y="264657"/>
                  </a:lnTo>
                  <a:cubicBezTo>
                    <a:pt x="0" y="253904"/>
                    <a:pt x="8633" y="245284"/>
                    <a:pt x="19312" y="245284"/>
                  </a:cubicBezTo>
                  <a:lnTo>
                    <a:pt x="108577" y="245284"/>
                  </a:lnTo>
                  <a:lnTo>
                    <a:pt x="108577" y="100691"/>
                  </a:lnTo>
                  <a:cubicBezTo>
                    <a:pt x="108577" y="90026"/>
                    <a:pt x="117210" y="81317"/>
                    <a:pt x="127979" y="81317"/>
                  </a:cubicBezTo>
                  <a:lnTo>
                    <a:pt x="175770" y="81317"/>
                  </a:lnTo>
                  <a:lnTo>
                    <a:pt x="175770" y="19374"/>
                  </a:lnTo>
                  <a:cubicBezTo>
                    <a:pt x="175770" y="8709"/>
                    <a:pt x="184403" y="0"/>
                    <a:pt x="195172" y="0"/>
                  </a:cubicBezTo>
                  <a:close/>
                </a:path>
              </a:pathLst>
            </a:custGeom>
            <a:solidFill>
              <a:srgbClr val="FE5817"/>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54" name="椭圆 53"/>
          <p:cNvSpPr/>
          <p:nvPr/>
        </p:nvSpPr>
        <p:spPr>
          <a:xfrm>
            <a:off x="9103578" y="3325093"/>
            <a:ext cx="195944" cy="195944"/>
          </a:xfrm>
          <a:prstGeom prst="ellipse">
            <a:avLst/>
          </a:prstGeom>
          <a:solidFill>
            <a:schemeClr val="accent1"/>
          </a:solidFill>
          <a:ln w="285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62" name="矩形 61"/>
          <p:cNvSpPr/>
          <p:nvPr/>
        </p:nvSpPr>
        <p:spPr>
          <a:xfrm>
            <a:off x="8676406" y="3608513"/>
            <a:ext cx="1050289"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10</a:t>
            </a:r>
            <a:r>
              <a:rPr kumimoji="0" lang="zh-CN" altLang="en-US"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月</a:t>
            </a:r>
            <a:r>
              <a:rPr kumimoji="0" lang="en-US" altLang="zh-CN"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14</a:t>
            </a:r>
            <a:r>
              <a:rPr kumimoji="0" lang="zh-CN" altLang="en-US" sz="16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日</a:t>
            </a:r>
            <a:endParaRPr kumimoji="0" lang="en-US" altLang="zh-CN" sz="16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endParaRPr>
          </a:p>
        </p:txBody>
      </p:sp>
      <p:cxnSp>
        <p:nvCxnSpPr>
          <p:cNvPr id="78" name="直接连接符 77"/>
          <p:cNvCxnSpPr/>
          <p:nvPr/>
        </p:nvCxnSpPr>
        <p:spPr>
          <a:xfrm flipV="1">
            <a:off x="9201550" y="2748150"/>
            <a:ext cx="0" cy="57694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3" name="矩形 72"/>
          <p:cNvSpPr/>
          <p:nvPr/>
        </p:nvSpPr>
        <p:spPr>
          <a:xfrm>
            <a:off x="8529758" y="1592681"/>
            <a:ext cx="1343585" cy="1349437"/>
          </a:xfrm>
          <a:prstGeom prst="rect">
            <a:avLst/>
          </a:prstGeom>
          <a:solidFill>
            <a:schemeClr val="bg1"/>
          </a:solidFill>
          <a:ln>
            <a:solidFill>
              <a:schemeClr val="bg1">
                <a:lumMod val="65000"/>
              </a:schemeClr>
            </a:solidFill>
          </a:ln>
          <a:effectLst/>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sym typeface="Wingdings" panose="05000000000000000000" pitchFamily="2" charset="2"/>
              </a:rPr>
              <a:t>XX</a:t>
            </a:r>
            <a:endParaRPr kumimoji="0" lang="zh-CN" alt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nvGrpSpPr>
          <p:cNvPr id="10" name="组合 9"/>
          <p:cNvGrpSpPr/>
          <p:nvPr/>
        </p:nvGrpSpPr>
        <p:grpSpPr>
          <a:xfrm>
            <a:off x="8831436" y="1167748"/>
            <a:ext cx="740228" cy="740228"/>
            <a:chOff x="8828315" y="849086"/>
            <a:chExt cx="740228" cy="740228"/>
          </a:xfrm>
        </p:grpSpPr>
        <p:sp>
          <p:nvSpPr>
            <p:cNvPr id="92" name="椭圆 91"/>
            <p:cNvSpPr/>
            <p:nvPr/>
          </p:nvSpPr>
          <p:spPr>
            <a:xfrm>
              <a:off x="8828315" y="849086"/>
              <a:ext cx="740228" cy="740228"/>
            </a:xfrm>
            <a:prstGeom prst="ellipse">
              <a:avLst/>
            </a:prstGeom>
            <a:solidFill>
              <a:srgbClr val="FFFFFF"/>
            </a:solidFill>
            <a:ln w="2857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85" name="checked_208910"/>
            <p:cNvSpPr>
              <a:spLocks noChangeAspect="1"/>
            </p:cNvSpPr>
            <p:nvPr/>
          </p:nvSpPr>
          <p:spPr bwMode="auto">
            <a:xfrm>
              <a:off x="8982429" y="1003528"/>
              <a:ext cx="432000" cy="431345"/>
            </a:xfrm>
            <a:custGeom>
              <a:avLst/>
              <a:gdLst>
                <a:gd name="connsiteX0" fmla="*/ 59406 w 606740"/>
                <a:gd name="connsiteY0" fmla="*/ 325182 h 605821"/>
                <a:gd name="connsiteX1" fmla="*/ 281908 w 606740"/>
                <a:gd name="connsiteY1" fmla="*/ 547227 h 605821"/>
                <a:gd name="connsiteX2" fmla="*/ 276800 w 606740"/>
                <a:gd name="connsiteY2" fmla="*/ 605821 h 605821"/>
                <a:gd name="connsiteX3" fmla="*/ 1552 w 606740"/>
                <a:gd name="connsiteY3" fmla="*/ 330188 h 605821"/>
                <a:gd name="connsiteX4" fmla="*/ 59406 w 606740"/>
                <a:gd name="connsiteY4" fmla="*/ 325182 h 605821"/>
                <a:gd name="connsiteX5" fmla="*/ 602385 w 606740"/>
                <a:gd name="connsiteY5" fmla="*/ 251442 h 605821"/>
                <a:gd name="connsiteX6" fmla="*/ 329425 w 606740"/>
                <a:gd name="connsiteY6" fmla="*/ 605045 h 605821"/>
                <a:gd name="connsiteX7" fmla="*/ 324318 w 606740"/>
                <a:gd name="connsiteY7" fmla="*/ 546096 h 605821"/>
                <a:gd name="connsiteX8" fmla="*/ 495522 w 606740"/>
                <a:gd name="connsiteY8" fmla="*/ 452203 h 605821"/>
                <a:gd name="connsiteX9" fmla="*/ 542965 w 606740"/>
                <a:gd name="connsiteY9" fmla="*/ 261730 h 605821"/>
                <a:gd name="connsiteX10" fmla="*/ 602385 w 606740"/>
                <a:gd name="connsiteY10" fmla="*/ 251442 h 605821"/>
                <a:gd name="connsiteX11" fmla="*/ 361465 w 606740"/>
                <a:gd name="connsiteY11" fmla="*/ 228343 h 605821"/>
                <a:gd name="connsiteX12" fmla="*/ 279754 w 606740"/>
                <a:gd name="connsiteY12" fmla="*/ 309534 h 605821"/>
                <a:gd name="connsiteX13" fmla="*/ 245584 w 606740"/>
                <a:gd name="connsiteY13" fmla="*/ 275148 h 605821"/>
                <a:gd name="connsiteX14" fmla="*/ 209929 w 606740"/>
                <a:gd name="connsiteY14" fmla="*/ 310646 h 605821"/>
                <a:gd name="connsiteX15" fmla="*/ 244098 w 606740"/>
                <a:gd name="connsiteY15" fmla="*/ 345032 h 605821"/>
                <a:gd name="connsiteX16" fmla="*/ 279661 w 606740"/>
                <a:gd name="connsiteY16" fmla="*/ 380623 h 605821"/>
                <a:gd name="connsiteX17" fmla="*/ 315317 w 606740"/>
                <a:gd name="connsiteY17" fmla="*/ 345125 h 605821"/>
                <a:gd name="connsiteX18" fmla="*/ 397027 w 606740"/>
                <a:gd name="connsiteY18" fmla="*/ 263933 h 605821"/>
                <a:gd name="connsiteX19" fmla="*/ 303431 w 606740"/>
                <a:gd name="connsiteY19" fmla="*/ 110170 h 605821"/>
                <a:gd name="connsiteX20" fmla="*/ 498051 w 606740"/>
                <a:gd name="connsiteY20" fmla="*/ 304437 h 605821"/>
                <a:gd name="connsiteX21" fmla="*/ 303431 w 606740"/>
                <a:gd name="connsiteY21" fmla="*/ 498703 h 605821"/>
                <a:gd name="connsiteX22" fmla="*/ 108812 w 606740"/>
                <a:gd name="connsiteY22" fmla="*/ 304437 h 605821"/>
                <a:gd name="connsiteX23" fmla="*/ 303431 w 606740"/>
                <a:gd name="connsiteY23" fmla="*/ 110170 h 605821"/>
                <a:gd name="connsiteX24" fmla="*/ 477610 w 606740"/>
                <a:gd name="connsiteY24" fmla="*/ 55270 h 605821"/>
                <a:gd name="connsiteX25" fmla="*/ 589009 w 606740"/>
                <a:gd name="connsiteY25" fmla="*/ 200127 h 605821"/>
                <a:gd name="connsiteX26" fmla="*/ 531917 w 606740"/>
                <a:gd name="connsiteY26" fmla="*/ 220887 h 605821"/>
                <a:gd name="connsiteX27" fmla="*/ 495898 w 606740"/>
                <a:gd name="connsiteY27" fmla="*/ 155734 h 605821"/>
                <a:gd name="connsiteX28" fmla="*/ 442798 w 606740"/>
                <a:gd name="connsiteY28" fmla="*/ 104853 h 605821"/>
                <a:gd name="connsiteX29" fmla="*/ 477610 w 606740"/>
                <a:gd name="connsiteY29" fmla="*/ 55270 h 605821"/>
                <a:gd name="connsiteX30" fmla="*/ 287505 w 606740"/>
                <a:gd name="connsiteY30" fmla="*/ 284 h 605821"/>
                <a:gd name="connsiteX31" fmla="*/ 431931 w 606740"/>
                <a:gd name="connsiteY31" fmla="*/ 28455 h 605821"/>
                <a:gd name="connsiteX32" fmla="*/ 406305 w 606740"/>
                <a:gd name="connsiteY32" fmla="*/ 83338 h 605821"/>
                <a:gd name="connsiteX33" fmla="*/ 60444 w 606740"/>
                <a:gd name="connsiteY33" fmla="*/ 282843 h 605821"/>
                <a:gd name="connsiteX34" fmla="*/ 0 w 606740"/>
                <a:gd name="connsiteY34" fmla="*/ 277559 h 605821"/>
                <a:gd name="connsiteX35" fmla="*/ 148093 w 606740"/>
                <a:gd name="connsiteY35" fmla="*/ 43381 h 605821"/>
                <a:gd name="connsiteX36" fmla="*/ 287505 w 606740"/>
                <a:gd name="connsiteY36" fmla="*/ 284 h 60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6740" h="605821">
                  <a:moveTo>
                    <a:pt x="59406" y="325182"/>
                  </a:moveTo>
                  <a:cubicBezTo>
                    <a:pt x="80950" y="452568"/>
                    <a:pt x="154777" y="526181"/>
                    <a:pt x="281908" y="547227"/>
                  </a:cubicBezTo>
                  <a:cubicBezTo>
                    <a:pt x="280329" y="566233"/>
                    <a:pt x="278565" y="585795"/>
                    <a:pt x="276800" y="605821"/>
                  </a:cubicBezTo>
                  <a:cubicBezTo>
                    <a:pt x="114103" y="592749"/>
                    <a:pt x="6195" y="453773"/>
                    <a:pt x="1552" y="330188"/>
                  </a:cubicBezTo>
                  <a:cubicBezTo>
                    <a:pt x="21053" y="328520"/>
                    <a:pt x="40555" y="326851"/>
                    <a:pt x="59406" y="325182"/>
                  </a:cubicBezTo>
                  <a:close/>
                  <a:moveTo>
                    <a:pt x="602385" y="251442"/>
                  </a:moveTo>
                  <a:cubicBezTo>
                    <a:pt x="635159" y="451925"/>
                    <a:pt x="476953" y="599855"/>
                    <a:pt x="329425" y="605045"/>
                  </a:cubicBezTo>
                  <a:cubicBezTo>
                    <a:pt x="327846" y="585488"/>
                    <a:pt x="326082" y="566116"/>
                    <a:pt x="324318" y="546096"/>
                  </a:cubicBezTo>
                  <a:cubicBezTo>
                    <a:pt x="394879" y="538310"/>
                    <a:pt x="452443" y="507816"/>
                    <a:pt x="495522" y="452203"/>
                  </a:cubicBezTo>
                  <a:cubicBezTo>
                    <a:pt x="538880" y="396220"/>
                    <a:pt x="553457" y="332544"/>
                    <a:pt x="542965" y="261730"/>
                  </a:cubicBezTo>
                  <a:cubicBezTo>
                    <a:pt x="563298" y="258301"/>
                    <a:pt x="582981" y="254779"/>
                    <a:pt x="602385" y="251442"/>
                  </a:cubicBezTo>
                  <a:close/>
                  <a:moveTo>
                    <a:pt x="361465" y="228343"/>
                  </a:moveTo>
                  <a:lnTo>
                    <a:pt x="279754" y="309534"/>
                  </a:lnTo>
                  <a:lnTo>
                    <a:pt x="245584" y="275148"/>
                  </a:lnTo>
                  <a:lnTo>
                    <a:pt x="209929" y="310646"/>
                  </a:lnTo>
                  <a:lnTo>
                    <a:pt x="244098" y="345032"/>
                  </a:lnTo>
                  <a:lnTo>
                    <a:pt x="279661" y="380623"/>
                  </a:lnTo>
                  <a:lnTo>
                    <a:pt x="315317" y="345125"/>
                  </a:lnTo>
                  <a:lnTo>
                    <a:pt x="397027" y="263933"/>
                  </a:lnTo>
                  <a:close/>
                  <a:moveTo>
                    <a:pt x="303431" y="110170"/>
                  </a:moveTo>
                  <a:cubicBezTo>
                    <a:pt x="410769" y="110170"/>
                    <a:pt x="498051" y="197293"/>
                    <a:pt x="498051" y="304437"/>
                  </a:cubicBezTo>
                  <a:cubicBezTo>
                    <a:pt x="498051" y="411580"/>
                    <a:pt x="410769" y="498703"/>
                    <a:pt x="303431" y="498703"/>
                  </a:cubicBezTo>
                  <a:cubicBezTo>
                    <a:pt x="196094" y="498703"/>
                    <a:pt x="108812" y="411580"/>
                    <a:pt x="108812" y="304437"/>
                  </a:cubicBezTo>
                  <a:cubicBezTo>
                    <a:pt x="108812" y="197293"/>
                    <a:pt x="196094" y="110170"/>
                    <a:pt x="303431" y="110170"/>
                  </a:cubicBezTo>
                  <a:close/>
                  <a:moveTo>
                    <a:pt x="477610" y="55270"/>
                  </a:moveTo>
                  <a:cubicBezTo>
                    <a:pt x="529689" y="92620"/>
                    <a:pt x="566451" y="140349"/>
                    <a:pt x="589009" y="200127"/>
                  </a:cubicBezTo>
                  <a:cubicBezTo>
                    <a:pt x="569421" y="207263"/>
                    <a:pt x="550855" y="213936"/>
                    <a:pt x="531917" y="220887"/>
                  </a:cubicBezTo>
                  <a:cubicBezTo>
                    <a:pt x="522820" y="197069"/>
                    <a:pt x="511030" y="175567"/>
                    <a:pt x="495898" y="155734"/>
                  </a:cubicBezTo>
                  <a:cubicBezTo>
                    <a:pt x="480859" y="136271"/>
                    <a:pt x="463036" y="119589"/>
                    <a:pt x="442798" y="104853"/>
                  </a:cubicBezTo>
                  <a:cubicBezTo>
                    <a:pt x="454588" y="88078"/>
                    <a:pt x="466006" y="71860"/>
                    <a:pt x="477610" y="55270"/>
                  </a:cubicBezTo>
                  <a:close/>
                  <a:moveTo>
                    <a:pt x="287505" y="284"/>
                  </a:moveTo>
                  <a:cubicBezTo>
                    <a:pt x="334881" y="-1837"/>
                    <a:pt x="383093" y="7921"/>
                    <a:pt x="431931" y="28455"/>
                  </a:cubicBezTo>
                  <a:cubicBezTo>
                    <a:pt x="423018" y="47460"/>
                    <a:pt x="414754" y="65445"/>
                    <a:pt x="406305" y="83338"/>
                  </a:cubicBezTo>
                  <a:cubicBezTo>
                    <a:pt x="242241" y="9636"/>
                    <a:pt x="71215" y="128208"/>
                    <a:pt x="60444" y="282843"/>
                  </a:cubicBezTo>
                  <a:cubicBezTo>
                    <a:pt x="40760" y="281082"/>
                    <a:pt x="20891" y="279413"/>
                    <a:pt x="0" y="277559"/>
                  </a:cubicBezTo>
                  <a:cubicBezTo>
                    <a:pt x="12256" y="175210"/>
                    <a:pt x="60073" y="95668"/>
                    <a:pt x="148093" y="43381"/>
                  </a:cubicBezTo>
                  <a:cubicBezTo>
                    <a:pt x="193589" y="16403"/>
                    <a:pt x="240129" y="2405"/>
                    <a:pt x="287505" y="284"/>
                  </a:cubicBezTo>
                  <a:close/>
                </a:path>
              </a:pathLst>
            </a:custGeom>
            <a:solidFill>
              <a:srgbClr val="FE5817"/>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10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n-ea"/>
              </a:rPr>
              <a:t>管理</a:t>
            </a:r>
            <a:r>
              <a:rPr lang="en-US" altLang="zh-CN" sz="2400" dirty="0" smtClean="0">
                <a:latin typeface="+mn-ea"/>
              </a:rPr>
              <a:t>-</a:t>
            </a:r>
            <a:r>
              <a:rPr lang="zh-CN" altLang="en-US" sz="2400" dirty="0" smtClean="0">
                <a:latin typeface="+mn-ea"/>
              </a:rPr>
              <a:t>时间流</a:t>
            </a:r>
            <a:endParaRPr lang="zh-CN" altLang="en-US" sz="2400" dirty="0">
              <a:solidFill>
                <a:prstClr val="black"/>
              </a:solidFill>
              <a:latin typeface="华文楷体" panose="02010600040101010101" charset="-122"/>
            </a:endParaRPr>
          </a:p>
        </p:txBody>
      </p:sp>
      <p:pic>
        <p:nvPicPr>
          <p:cNvPr id="91" name="图片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对象 15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907" name="think-cell Slide" r:id="rId2" imgW="12700" imgH="12700" progId="TCLayout.ActiveDocument.1">
                  <p:embed/>
                </p:oleObj>
              </mc:Choice>
              <mc:Fallback>
                <p:oleObj name="think-cell Slide" r:id="rId2" imgW="12700" imgH="12700" progId="TCLayout.ActiveDocument.1">
                  <p:embed/>
                  <p:pic>
                    <p:nvPicPr>
                      <p:cNvPr id="0" name="对象 153"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19" name="矩形 18"/>
          <p:cNvSpPr/>
          <p:nvPr/>
        </p:nvSpPr>
        <p:spPr>
          <a:xfrm>
            <a:off x="3325091" y="1158211"/>
            <a:ext cx="8562109" cy="4949368"/>
          </a:xfrm>
          <a:prstGeom prst="rect">
            <a:avLst/>
          </a:prstGeom>
          <a:solidFill>
            <a:schemeClr val="bg1"/>
          </a:solidFill>
          <a:ln w="19050" cap="rnd" cmpd="sng" algn="ctr">
            <a:solidFill>
              <a:schemeClr val="bg1">
                <a:lumMod val="7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464" name="任意多边形 1463"/>
          <p:cNvSpPr/>
          <p:nvPr/>
        </p:nvSpPr>
        <p:spPr>
          <a:xfrm>
            <a:off x="4374573" y="1662545"/>
            <a:ext cx="1350817" cy="4197928"/>
          </a:xfrm>
          <a:custGeom>
            <a:avLst/>
            <a:gdLst>
              <a:gd name="connsiteX0" fmla="*/ 1350817 w 1350817"/>
              <a:gd name="connsiteY0" fmla="*/ 0 h 4197928"/>
              <a:gd name="connsiteX1" fmla="*/ 1350817 w 1350817"/>
              <a:gd name="connsiteY1" fmla="*/ 4197928 h 4197928"/>
              <a:gd name="connsiteX2" fmla="*/ 0 w 1350817"/>
              <a:gd name="connsiteY2" fmla="*/ 2249039 h 4197928"/>
              <a:gd name="connsiteX3" fmla="*/ 0 w 1350817"/>
              <a:gd name="connsiteY3" fmla="*/ 1693239 h 4197928"/>
            </a:gdLst>
            <a:ahLst/>
            <a:cxnLst>
              <a:cxn ang="0">
                <a:pos x="connsiteX0" y="connsiteY0"/>
              </a:cxn>
              <a:cxn ang="0">
                <a:pos x="connsiteX1" y="connsiteY1"/>
              </a:cxn>
              <a:cxn ang="0">
                <a:pos x="connsiteX2" y="connsiteY2"/>
              </a:cxn>
              <a:cxn ang="0">
                <a:pos x="connsiteX3" y="connsiteY3"/>
              </a:cxn>
            </a:cxnLst>
            <a:rect l="l" t="t" r="r" b="b"/>
            <a:pathLst>
              <a:path w="1350817" h="4197928">
                <a:moveTo>
                  <a:pt x="1350817" y="0"/>
                </a:moveTo>
                <a:lnTo>
                  <a:pt x="1350817" y="4197928"/>
                </a:lnTo>
                <a:lnTo>
                  <a:pt x="0" y="2249039"/>
                </a:lnTo>
                <a:lnTo>
                  <a:pt x="0" y="1693239"/>
                </a:lnTo>
                <a:close/>
              </a:path>
            </a:pathLst>
          </a:custGeom>
          <a:gradFill>
            <a:gsLst>
              <a:gs pos="0">
                <a:schemeClr val="accent1">
                  <a:lumMod val="97000"/>
                  <a:lumOff val="3000"/>
                </a:schemeClr>
              </a:gs>
              <a:gs pos="100000">
                <a:schemeClr val="accent1">
                  <a:lumMod val="60000"/>
                  <a:lumOff val="40000"/>
                  <a:alpha val="0"/>
                </a:schemeClr>
              </a:gs>
            </a:gsLst>
            <a:lin ang="0" scaled="0"/>
          </a:gradFill>
          <a:ln w="285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16" name="文本框 115"/>
          <p:cNvSpPr txBox="1"/>
          <p:nvPr/>
        </p:nvSpPr>
        <p:spPr>
          <a:xfrm>
            <a:off x="8823184" y="5457301"/>
            <a:ext cx="733922" cy="274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rPr>
              <a:t>XXX</a:t>
            </a:r>
            <a:endPar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endParaRPr>
          </a:p>
        </p:txBody>
      </p:sp>
      <p:sp>
        <p:nvSpPr>
          <p:cNvPr id="117" name="hospital-buildings_33777"/>
          <p:cNvSpPr>
            <a:spLocks noChangeAspect="1"/>
          </p:cNvSpPr>
          <p:nvPr/>
        </p:nvSpPr>
        <p:spPr bwMode="auto">
          <a:xfrm>
            <a:off x="8809715" y="4956465"/>
            <a:ext cx="760860" cy="506962"/>
          </a:xfrm>
          <a:custGeom>
            <a:avLst/>
            <a:gdLst>
              <a:gd name="T0" fmla="*/ 1192 w 1260"/>
              <a:gd name="T1" fmla="*/ 756 h 862"/>
              <a:gd name="T2" fmla="*/ 1147 w 1260"/>
              <a:gd name="T3" fmla="*/ 193 h 862"/>
              <a:gd name="T4" fmla="*/ 900 w 1260"/>
              <a:gd name="T5" fmla="*/ 745 h 862"/>
              <a:gd name="T6" fmla="*/ 866 w 1260"/>
              <a:gd name="T7" fmla="*/ 770 h 862"/>
              <a:gd name="T8" fmla="*/ 869 w 1260"/>
              <a:gd name="T9" fmla="*/ 44 h 862"/>
              <a:gd name="T10" fmla="*/ 436 w 1260"/>
              <a:gd name="T11" fmla="*/ 0 h 862"/>
              <a:gd name="T12" fmla="*/ 391 w 1260"/>
              <a:gd name="T13" fmla="*/ 756 h 862"/>
              <a:gd name="T14" fmla="*/ 365 w 1260"/>
              <a:gd name="T15" fmla="*/ 770 h 862"/>
              <a:gd name="T16" fmla="*/ 360 w 1260"/>
              <a:gd name="T17" fmla="*/ 193 h 862"/>
              <a:gd name="T18" fmla="*/ 74 w 1260"/>
              <a:gd name="T19" fmla="*/ 238 h 862"/>
              <a:gd name="T20" fmla="*/ 76 w 1260"/>
              <a:gd name="T21" fmla="*/ 770 h 862"/>
              <a:gd name="T22" fmla="*/ 0 w 1260"/>
              <a:gd name="T23" fmla="*/ 862 h 862"/>
              <a:gd name="T24" fmla="*/ 1260 w 1260"/>
              <a:gd name="T25" fmla="*/ 770 h 862"/>
              <a:gd name="T26" fmla="*/ 1190 w 1260"/>
              <a:gd name="T27" fmla="*/ 770 h 862"/>
              <a:gd name="T28" fmla="*/ 144 w 1260"/>
              <a:gd name="T29" fmla="*/ 589 h 862"/>
              <a:gd name="T30" fmla="*/ 208 w 1260"/>
              <a:gd name="T31" fmla="*/ 525 h 862"/>
              <a:gd name="T32" fmla="*/ 208 w 1260"/>
              <a:gd name="T33" fmla="*/ 477 h 862"/>
              <a:gd name="T34" fmla="*/ 144 w 1260"/>
              <a:gd name="T35" fmla="*/ 413 h 862"/>
              <a:gd name="T36" fmla="*/ 208 w 1260"/>
              <a:gd name="T37" fmla="*/ 477 h 862"/>
              <a:gd name="T38" fmla="*/ 144 w 1260"/>
              <a:gd name="T39" fmla="*/ 368 h 862"/>
              <a:gd name="T40" fmla="*/ 208 w 1260"/>
              <a:gd name="T41" fmla="*/ 305 h 862"/>
              <a:gd name="T42" fmla="*/ 307 w 1260"/>
              <a:gd name="T43" fmla="*/ 589 h 862"/>
              <a:gd name="T44" fmla="*/ 243 w 1260"/>
              <a:gd name="T45" fmla="*/ 525 h 862"/>
              <a:gd name="T46" fmla="*/ 307 w 1260"/>
              <a:gd name="T47" fmla="*/ 589 h 862"/>
              <a:gd name="T48" fmla="*/ 243 w 1260"/>
              <a:gd name="T49" fmla="*/ 477 h 862"/>
              <a:gd name="T50" fmla="*/ 307 w 1260"/>
              <a:gd name="T51" fmla="*/ 413 h 862"/>
              <a:gd name="T52" fmla="*/ 307 w 1260"/>
              <a:gd name="T53" fmla="*/ 368 h 862"/>
              <a:gd name="T54" fmla="*/ 243 w 1260"/>
              <a:gd name="T55" fmla="*/ 305 h 862"/>
              <a:gd name="T56" fmla="*/ 307 w 1260"/>
              <a:gd name="T57" fmla="*/ 368 h 862"/>
              <a:gd name="T58" fmla="*/ 542 w 1260"/>
              <a:gd name="T59" fmla="*/ 767 h 862"/>
              <a:gd name="T60" fmla="*/ 729 w 1260"/>
              <a:gd name="T61" fmla="*/ 534 h 862"/>
              <a:gd name="T62" fmla="*/ 630 w 1260"/>
              <a:gd name="T63" fmla="*/ 334 h 862"/>
              <a:gd name="T64" fmla="*/ 630 w 1260"/>
              <a:gd name="T65" fmla="*/ 20 h 862"/>
              <a:gd name="T66" fmla="*/ 630 w 1260"/>
              <a:gd name="T67" fmla="*/ 334 h 862"/>
              <a:gd name="T68" fmla="*/ 971 w 1260"/>
              <a:gd name="T69" fmla="*/ 589 h 862"/>
              <a:gd name="T70" fmla="*/ 1035 w 1260"/>
              <a:gd name="T71" fmla="*/ 525 h 862"/>
              <a:gd name="T72" fmla="*/ 1035 w 1260"/>
              <a:gd name="T73" fmla="*/ 477 h 862"/>
              <a:gd name="T74" fmla="*/ 971 w 1260"/>
              <a:gd name="T75" fmla="*/ 413 h 862"/>
              <a:gd name="T76" fmla="*/ 1035 w 1260"/>
              <a:gd name="T77" fmla="*/ 477 h 862"/>
              <a:gd name="T78" fmla="*/ 971 w 1260"/>
              <a:gd name="T79" fmla="*/ 368 h 862"/>
              <a:gd name="T80" fmla="*/ 1035 w 1260"/>
              <a:gd name="T81" fmla="*/ 305 h 862"/>
              <a:gd name="T82" fmla="*/ 1134 w 1260"/>
              <a:gd name="T83" fmla="*/ 589 h 862"/>
              <a:gd name="T84" fmla="*/ 1070 w 1260"/>
              <a:gd name="T85" fmla="*/ 525 h 862"/>
              <a:gd name="T86" fmla="*/ 1134 w 1260"/>
              <a:gd name="T87" fmla="*/ 589 h 862"/>
              <a:gd name="T88" fmla="*/ 1070 w 1260"/>
              <a:gd name="T89" fmla="*/ 477 h 862"/>
              <a:gd name="T90" fmla="*/ 1134 w 1260"/>
              <a:gd name="T91" fmla="*/ 413 h 862"/>
              <a:gd name="T92" fmla="*/ 1134 w 1260"/>
              <a:gd name="T93" fmla="*/ 368 h 862"/>
              <a:gd name="T94" fmla="*/ 1070 w 1260"/>
              <a:gd name="T95" fmla="*/ 305 h 862"/>
              <a:gd name="T96" fmla="*/ 1134 w 1260"/>
              <a:gd name="T97" fmla="*/ 368 h 862"/>
              <a:gd name="T98" fmla="*/ 729 w 1260"/>
              <a:gd name="T99" fmla="*/ 138 h 862"/>
              <a:gd name="T100" fmla="*/ 669 w 1260"/>
              <a:gd name="T101" fmla="*/ 216 h 862"/>
              <a:gd name="T102" fmla="*/ 591 w 1260"/>
              <a:gd name="T103" fmla="*/ 276 h 862"/>
              <a:gd name="T104" fmla="*/ 531 w 1260"/>
              <a:gd name="T105" fmla="*/ 216 h 862"/>
              <a:gd name="T106" fmla="*/ 591 w 1260"/>
              <a:gd name="T107" fmla="*/ 138 h 862"/>
              <a:gd name="T108" fmla="*/ 669 w 1260"/>
              <a:gd name="T109" fmla="*/ 7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60" h="862">
                <a:moveTo>
                  <a:pt x="1190" y="770"/>
                </a:moveTo>
                <a:cubicBezTo>
                  <a:pt x="1191" y="766"/>
                  <a:pt x="1192" y="761"/>
                  <a:pt x="1192" y="756"/>
                </a:cubicBezTo>
                <a:lnTo>
                  <a:pt x="1192" y="238"/>
                </a:lnTo>
                <a:cubicBezTo>
                  <a:pt x="1192" y="213"/>
                  <a:pt x="1172" y="193"/>
                  <a:pt x="1147" y="193"/>
                </a:cubicBezTo>
                <a:lnTo>
                  <a:pt x="900" y="193"/>
                </a:lnTo>
                <a:lnTo>
                  <a:pt x="900" y="745"/>
                </a:lnTo>
                <a:cubicBezTo>
                  <a:pt x="900" y="754"/>
                  <a:pt x="898" y="762"/>
                  <a:pt x="895" y="770"/>
                </a:cubicBezTo>
                <a:lnTo>
                  <a:pt x="866" y="770"/>
                </a:lnTo>
                <a:cubicBezTo>
                  <a:pt x="868" y="766"/>
                  <a:pt x="869" y="761"/>
                  <a:pt x="869" y="756"/>
                </a:cubicBezTo>
                <a:lnTo>
                  <a:pt x="869" y="44"/>
                </a:lnTo>
                <a:cubicBezTo>
                  <a:pt x="869" y="20"/>
                  <a:pt x="849" y="0"/>
                  <a:pt x="824" y="0"/>
                </a:cubicBezTo>
                <a:lnTo>
                  <a:pt x="436" y="0"/>
                </a:lnTo>
                <a:cubicBezTo>
                  <a:pt x="411" y="0"/>
                  <a:pt x="391" y="20"/>
                  <a:pt x="391" y="44"/>
                </a:cubicBezTo>
                <a:lnTo>
                  <a:pt x="391" y="756"/>
                </a:lnTo>
                <a:cubicBezTo>
                  <a:pt x="391" y="761"/>
                  <a:pt x="392" y="766"/>
                  <a:pt x="394" y="770"/>
                </a:cubicBezTo>
                <a:lnTo>
                  <a:pt x="365" y="770"/>
                </a:lnTo>
                <a:cubicBezTo>
                  <a:pt x="362" y="762"/>
                  <a:pt x="360" y="754"/>
                  <a:pt x="360" y="745"/>
                </a:cubicBezTo>
                <a:lnTo>
                  <a:pt x="360" y="193"/>
                </a:lnTo>
                <a:lnTo>
                  <a:pt x="119" y="193"/>
                </a:lnTo>
                <a:cubicBezTo>
                  <a:pt x="94" y="193"/>
                  <a:pt x="74" y="213"/>
                  <a:pt x="74" y="238"/>
                </a:cubicBezTo>
                <a:lnTo>
                  <a:pt x="74" y="756"/>
                </a:lnTo>
                <a:cubicBezTo>
                  <a:pt x="74" y="761"/>
                  <a:pt x="75" y="766"/>
                  <a:pt x="76" y="770"/>
                </a:cubicBezTo>
                <a:lnTo>
                  <a:pt x="0" y="770"/>
                </a:lnTo>
                <a:lnTo>
                  <a:pt x="0" y="862"/>
                </a:lnTo>
                <a:lnTo>
                  <a:pt x="1260" y="862"/>
                </a:lnTo>
                <a:lnTo>
                  <a:pt x="1260" y="770"/>
                </a:lnTo>
                <a:lnTo>
                  <a:pt x="1190" y="770"/>
                </a:lnTo>
                <a:lnTo>
                  <a:pt x="1190" y="770"/>
                </a:lnTo>
                <a:close/>
                <a:moveTo>
                  <a:pt x="208" y="589"/>
                </a:moveTo>
                <a:lnTo>
                  <a:pt x="144" y="589"/>
                </a:lnTo>
                <a:lnTo>
                  <a:pt x="144" y="525"/>
                </a:lnTo>
                <a:lnTo>
                  <a:pt x="208" y="525"/>
                </a:lnTo>
                <a:lnTo>
                  <a:pt x="208" y="589"/>
                </a:lnTo>
                <a:close/>
                <a:moveTo>
                  <a:pt x="208" y="477"/>
                </a:moveTo>
                <a:lnTo>
                  <a:pt x="144" y="477"/>
                </a:lnTo>
                <a:lnTo>
                  <a:pt x="144" y="413"/>
                </a:lnTo>
                <a:lnTo>
                  <a:pt x="208" y="413"/>
                </a:lnTo>
                <a:lnTo>
                  <a:pt x="208" y="477"/>
                </a:lnTo>
                <a:close/>
                <a:moveTo>
                  <a:pt x="208" y="368"/>
                </a:moveTo>
                <a:lnTo>
                  <a:pt x="144" y="368"/>
                </a:lnTo>
                <a:lnTo>
                  <a:pt x="144" y="305"/>
                </a:lnTo>
                <a:lnTo>
                  <a:pt x="208" y="305"/>
                </a:lnTo>
                <a:lnTo>
                  <a:pt x="208" y="368"/>
                </a:lnTo>
                <a:close/>
                <a:moveTo>
                  <a:pt x="307" y="589"/>
                </a:moveTo>
                <a:lnTo>
                  <a:pt x="243" y="589"/>
                </a:lnTo>
                <a:lnTo>
                  <a:pt x="243" y="525"/>
                </a:lnTo>
                <a:lnTo>
                  <a:pt x="307" y="525"/>
                </a:lnTo>
                <a:lnTo>
                  <a:pt x="307" y="589"/>
                </a:lnTo>
                <a:close/>
                <a:moveTo>
                  <a:pt x="307" y="477"/>
                </a:moveTo>
                <a:lnTo>
                  <a:pt x="243" y="477"/>
                </a:lnTo>
                <a:lnTo>
                  <a:pt x="243" y="413"/>
                </a:lnTo>
                <a:lnTo>
                  <a:pt x="307" y="413"/>
                </a:lnTo>
                <a:lnTo>
                  <a:pt x="307" y="477"/>
                </a:lnTo>
                <a:close/>
                <a:moveTo>
                  <a:pt x="307" y="368"/>
                </a:moveTo>
                <a:lnTo>
                  <a:pt x="243" y="368"/>
                </a:lnTo>
                <a:lnTo>
                  <a:pt x="243" y="305"/>
                </a:lnTo>
                <a:lnTo>
                  <a:pt x="307" y="305"/>
                </a:lnTo>
                <a:lnTo>
                  <a:pt x="307" y="368"/>
                </a:lnTo>
                <a:close/>
                <a:moveTo>
                  <a:pt x="729" y="767"/>
                </a:moveTo>
                <a:lnTo>
                  <a:pt x="542" y="767"/>
                </a:lnTo>
                <a:lnTo>
                  <a:pt x="542" y="534"/>
                </a:lnTo>
                <a:lnTo>
                  <a:pt x="729" y="534"/>
                </a:lnTo>
                <a:lnTo>
                  <a:pt x="729" y="767"/>
                </a:lnTo>
                <a:close/>
                <a:moveTo>
                  <a:pt x="630" y="334"/>
                </a:moveTo>
                <a:cubicBezTo>
                  <a:pt x="543" y="334"/>
                  <a:pt x="473" y="263"/>
                  <a:pt x="473" y="177"/>
                </a:cubicBezTo>
                <a:cubicBezTo>
                  <a:pt x="473" y="90"/>
                  <a:pt x="543" y="20"/>
                  <a:pt x="630" y="20"/>
                </a:cubicBezTo>
                <a:cubicBezTo>
                  <a:pt x="717" y="20"/>
                  <a:pt x="787" y="90"/>
                  <a:pt x="787" y="177"/>
                </a:cubicBezTo>
                <a:cubicBezTo>
                  <a:pt x="787" y="263"/>
                  <a:pt x="717" y="334"/>
                  <a:pt x="630" y="334"/>
                </a:cubicBezTo>
                <a:close/>
                <a:moveTo>
                  <a:pt x="1035" y="589"/>
                </a:moveTo>
                <a:lnTo>
                  <a:pt x="971" y="589"/>
                </a:lnTo>
                <a:lnTo>
                  <a:pt x="971" y="525"/>
                </a:lnTo>
                <a:lnTo>
                  <a:pt x="1035" y="525"/>
                </a:lnTo>
                <a:lnTo>
                  <a:pt x="1035" y="589"/>
                </a:lnTo>
                <a:close/>
                <a:moveTo>
                  <a:pt x="1035" y="477"/>
                </a:moveTo>
                <a:lnTo>
                  <a:pt x="971" y="477"/>
                </a:lnTo>
                <a:lnTo>
                  <a:pt x="971" y="413"/>
                </a:lnTo>
                <a:lnTo>
                  <a:pt x="1035" y="413"/>
                </a:lnTo>
                <a:lnTo>
                  <a:pt x="1035" y="477"/>
                </a:lnTo>
                <a:close/>
                <a:moveTo>
                  <a:pt x="1035" y="368"/>
                </a:moveTo>
                <a:lnTo>
                  <a:pt x="971" y="368"/>
                </a:lnTo>
                <a:lnTo>
                  <a:pt x="971" y="305"/>
                </a:lnTo>
                <a:lnTo>
                  <a:pt x="1035" y="305"/>
                </a:lnTo>
                <a:lnTo>
                  <a:pt x="1035" y="368"/>
                </a:lnTo>
                <a:close/>
                <a:moveTo>
                  <a:pt x="1134" y="589"/>
                </a:moveTo>
                <a:lnTo>
                  <a:pt x="1070" y="589"/>
                </a:lnTo>
                <a:lnTo>
                  <a:pt x="1070" y="525"/>
                </a:lnTo>
                <a:lnTo>
                  <a:pt x="1134" y="525"/>
                </a:lnTo>
                <a:lnTo>
                  <a:pt x="1134" y="589"/>
                </a:lnTo>
                <a:close/>
                <a:moveTo>
                  <a:pt x="1134" y="477"/>
                </a:moveTo>
                <a:lnTo>
                  <a:pt x="1070" y="477"/>
                </a:lnTo>
                <a:lnTo>
                  <a:pt x="1070" y="413"/>
                </a:lnTo>
                <a:lnTo>
                  <a:pt x="1134" y="413"/>
                </a:lnTo>
                <a:lnTo>
                  <a:pt x="1134" y="477"/>
                </a:lnTo>
                <a:close/>
                <a:moveTo>
                  <a:pt x="1134" y="368"/>
                </a:moveTo>
                <a:lnTo>
                  <a:pt x="1070" y="368"/>
                </a:lnTo>
                <a:lnTo>
                  <a:pt x="1070" y="305"/>
                </a:lnTo>
                <a:lnTo>
                  <a:pt x="1134" y="305"/>
                </a:lnTo>
                <a:lnTo>
                  <a:pt x="1134" y="368"/>
                </a:lnTo>
                <a:close/>
                <a:moveTo>
                  <a:pt x="669" y="138"/>
                </a:moveTo>
                <a:lnTo>
                  <a:pt x="729" y="138"/>
                </a:lnTo>
                <a:lnTo>
                  <a:pt x="729" y="216"/>
                </a:lnTo>
                <a:lnTo>
                  <a:pt x="669" y="216"/>
                </a:lnTo>
                <a:lnTo>
                  <a:pt x="669" y="276"/>
                </a:lnTo>
                <a:lnTo>
                  <a:pt x="591" y="276"/>
                </a:lnTo>
                <a:lnTo>
                  <a:pt x="591" y="216"/>
                </a:lnTo>
                <a:lnTo>
                  <a:pt x="531" y="216"/>
                </a:lnTo>
                <a:lnTo>
                  <a:pt x="531" y="138"/>
                </a:lnTo>
                <a:lnTo>
                  <a:pt x="591" y="138"/>
                </a:lnTo>
                <a:lnTo>
                  <a:pt x="591" y="78"/>
                </a:lnTo>
                <a:lnTo>
                  <a:pt x="669" y="78"/>
                </a:lnTo>
                <a:lnTo>
                  <a:pt x="669" y="138"/>
                </a:lnTo>
                <a:close/>
              </a:path>
            </a:pathLst>
          </a:custGeom>
          <a:solidFill>
            <a:schemeClr val="accent1">
              <a:lumMod val="7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77" name="文本框 76"/>
          <p:cNvSpPr txBox="1"/>
          <p:nvPr/>
        </p:nvSpPr>
        <p:spPr>
          <a:xfrm>
            <a:off x="6103583" y="4781742"/>
            <a:ext cx="442166" cy="3439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82" name="任意多边形 81"/>
          <p:cNvSpPr/>
          <p:nvPr/>
        </p:nvSpPr>
        <p:spPr>
          <a:xfrm rot="16200000">
            <a:off x="6752920" y="3357433"/>
            <a:ext cx="962707" cy="3059328"/>
          </a:xfrm>
          <a:custGeom>
            <a:avLst/>
            <a:gdLst>
              <a:gd name="connsiteX0" fmla="*/ 745724 w 745724"/>
              <a:gd name="connsiteY0" fmla="*/ 0 h 1491449"/>
              <a:gd name="connsiteX1" fmla="*/ 0 w 745724"/>
              <a:gd name="connsiteY1" fmla="*/ 0 h 1491449"/>
              <a:gd name="connsiteX2" fmla="*/ 0 w 745724"/>
              <a:gd name="connsiteY2" fmla="*/ 1491449 h 1491449"/>
            </a:gdLst>
            <a:ahLst/>
            <a:cxnLst>
              <a:cxn ang="0">
                <a:pos x="connsiteX0" y="connsiteY0"/>
              </a:cxn>
              <a:cxn ang="0">
                <a:pos x="connsiteX1" y="connsiteY1"/>
              </a:cxn>
              <a:cxn ang="0">
                <a:pos x="connsiteX2" y="connsiteY2"/>
              </a:cxn>
            </a:cxnLst>
            <a:rect l="l" t="t" r="r" b="b"/>
            <a:pathLst>
              <a:path w="745724" h="1491449">
                <a:moveTo>
                  <a:pt x="745724" y="0"/>
                </a:moveTo>
                <a:lnTo>
                  <a:pt x="0" y="0"/>
                </a:lnTo>
                <a:lnTo>
                  <a:pt x="0" y="1491449"/>
                </a:lnTo>
              </a:path>
            </a:pathLst>
          </a:cu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charset="-122"/>
              <a:cs typeface="+mn-cs"/>
            </a:endParaRPr>
          </a:p>
        </p:txBody>
      </p:sp>
      <p:sp>
        <p:nvSpPr>
          <p:cNvPr id="84" name="矩形 83"/>
          <p:cNvSpPr/>
          <p:nvPr/>
        </p:nvSpPr>
        <p:spPr>
          <a:xfrm>
            <a:off x="7580303" y="3458690"/>
            <a:ext cx="932119" cy="626512"/>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600" b="1"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1" lang="zh-CN" altLang="en-US" sz="16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endParaRPr>
          </a:p>
        </p:txBody>
      </p:sp>
      <p:grpSp>
        <p:nvGrpSpPr>
          <p:cNvPr id="94" name="组合 93"/>
          <p:cNvGrpSpPr/>
          <p:nvPr/>
        </p:nvGrpSpPr>
        <p:grpSpPr>
          <a:xfrm rot="16200000">
            <a:off x="6706583" y="3016191"/>
            <a:ext cx="157545" cy="1538802"/>
            <a:chOff x="3387436" y="2421082"/>
            <a:chExt cx="124691" cy="426027"/>
          </a:xfrm>
        </p:grpSpPr>
        <p:cxnSp>
          <p:nvCxnSpPr>
            <p:cNvPr id="114" name="直接箭头连接符 113"/>
            <p:cNvCxnSpPr/>
            <p:nvPr/>
          </p:nvCxnSpPr>
          <p:spPr>
            <a:xfrm flipV="1">
              <a:off x="3387436" y="2421082"/>
              <a:ext cx="0" cy="426027"/>
            </a:xfrm>
            <a:prstGeom prst="straightConnector1">
              <a:avLst/>
            </a:prstGeom>
            <a:noFill/>
            <a:ln>
              <a:solidFill>
                <a:schemeClr val="bg1">
                  <a:lumMod val="50000"/>
                </a:schemeClr>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15" name="直接箭头连接符 114"/>
            <p:cNvCxnSpPr/>
            <p:nvPr/>
          </p:nvCxnSpPr>
          <p:spPr>
            <a:xfrm flipV="1">
              <a:off x="3512127" y="2421082"/>
              <a:ext cx="0" cy="426027"/>
            </a:xfrm>
            <a:prstGeom prst="straightConnector1">
              <a:avLst/>
            </a:prstGeom>
            <a:noFill/>
            <a:ln>
              <a:solidFill>
                <a:schemeClr val="bg1">
                  <a:lumMod val="50000"/>
                </a:schemeClr>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grpSp>
      <p:sp>
        <p:nvSpPr>
          <p:cNvPr id="96" name="文本框 95"/>
          <p:cNvSpPr txBox="1"/>
          <p:nvPr/>
        </p:nvSpPr>
        <p:spPr>
          <a:xfrm>
            <a:off x="6648161" y="3879486"/>
            <a:ext cx="728632" cy="2337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X</a:t>
            </a:r>
            <a:endPar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97" name="文本框 96"/>
          <p:cNvSpPr txBox="1"/>
          <p:nvPr/>
        </p:nvSpPr>
        <p:spPr>
          <a:xfrm>
            <a:off x="6648161" y="3473579"/>
            <a:ext cx="728632" cy="183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X</a:t>
            </a:r>
            <a:endPar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135" name="TextBox 9"/>
          <p:cNvSpPr txBox="1"/>
          <p:nvPr/>
        </p:nvSpPr>
        <p:spPr>
          <a:xfrm>
            <a:off x="5056476" y="3993411"/>
            <a:ext cx="1157290" cy="24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rPr>
              <a:t>XXX</a:t>
            </a:r>
            <a:endParaRPr kumimoji="0" lang="zh-CN" altLang="en-US" sz="1600" b="1" i="0" u="none" strike="noStrike" kern="1200" cap="none" spc="0" normalizeH="0" baseline="0" noProof="0" dirty="0">
              <a:ln>
                <a:noFill/>
              </a:ln>
              <a:solidFill>
                <a:srgbClr val="FE8637">
                  <a:lumMod val="75000"/>
                </a:srgbClr>
              </a:solidFill>
              <a:effectLst/>
              <a:uLnTx/>
              <a:uFillTx/>
              <a:latin typeface="Arial" panose="020B0604020202020204" pitchFamily="34" charset="0"/>
              <a:ea typeface="华文楷体" panose="02010600040101010101" charset="-122"/>
              <a:cs typeface="+mn-cs"/>
            </a:endParaRPr>
          </a:p>
        </p:txBody>
      </p:sp>
      <p:sp>
        <p:nvSpPr>
          <p:cNvPr id="136" name="house-big-construction_58151"/>
          <p:cNvSpPr>
            <a:spLocks noChangeAspect="1"/>
          </p:cNvSpPr>
          <p:nvPr/>
        </p:nvSpPr>
        <p:spPr bwMode="auto">
          <a:xfrm>
            <a:off x="5319077" y="3393789"/>
            <a:ext cx="618890" cy="536801"/>
          </a:xfrm>
          <a:custGeom>
            <a:avLst/>
            <a:gdLst>
              <a:gd name="connsiteX0" fmla="*/ 449706 w 608542"/>
              <a:gd name="connsiteY0" fmla="*/ 367054 h 527829"/>
              <a:gd name="connsiteX1" fmla="*/ 443254 w 608542"/>
              <a:gd name="connsiteY1" fmla="*/ 373545 h 527829"/>
              <a:gd name="connsiteX2" fmla="*/ 443254 w 608542"/>
              <a:gd name="connsiteY2" fmla="*/ 416561 h 527829"/>
              <a:gd name="connsiteX3" fmla="*/ 449706 w 608542"/>
              <a:gd name="connsiteY3" fmla="*/ 423003 h 527829"/>
              <a:gd name="connsiteX4" fmla="*/ 492788 w 608542"/>
              <a:gd name="connsiteY4" fmla="*/ 423003 h 527829"/>
              <a:gd name="connsiteX5" fmla="*/ 499289 w 608542"/>
              <a:gd name="connsiteY5" fmla="*/ 416561 h 527829"/>
              <a:gd name="connsiteX6" fmla="*/ 499289 w 608542"/>
              <a:gd name="connsiteY6" fmla="*/ 373545 h 527829"/>
              <a:gd name="connsiteX7" fmla="*/ 492788 w 608542"/>
              <a:gd name="connsiteY7" fmla="*/ 367054 h 527829"/>
              <a:gd name="connsiteX8" fmla="*/ 366212 w 608542"/>
              <a:gd name="connsiteY8" fmla="*/ 367054 h 527829"/>
              <a:gd name="connsiteX9" fmla="*/ 359759 w 608542"/>
              <a:gd name="connsiteY9" fmla="*/ 373545 h 527829"/>
              <a:gd name="connsiteX10" fmla="*/ 359759 w 608542"/>
              <a:gd name="connsiteY10" fmla="*/ 416561 h 527829"/>
              <a:gd name="connsiteX11" fmla="*/ 366212 w 608542"/>
              <a:gd name="connsiteY11" fmla="*/ 423003 h 527829"/>
              <a:gd name="connsiteX12" fmla="*/ 409342 w 608542"/>
              <a:gd name="connsiteY12" fmla="*/ 423003 h 527829"/>
              <a:gd name="connsiteX13" fmla="*/ 415794 w 608542"/>
              <a:gd name="connsiteY13" fmla="*/ 416561 h 527829"/>
              <a:gd name="connsiteX14" fmla="*/ 415794 w 608542"/>
              <a:gd name="connsiteY14" fmla="*/ 373545 h 527829"/>
              <a:gd name="connsiteX15" fmla="*/ 409342 w 608542"/>
              <a:gd name="connsiteY15" fmla="*/ 367054 h 527829"/>
              <a:gd name="connsiteX16" fmla="*/ 282765 w 608542"/>
              <a:gd name="connsiteY16" fmla="*/ 367054 h 527829"/>
              <a:gd name="connsiteX17" fmla="*/ 276264 w 608542"/>
              <a:gd name="connsiteY17" fmla="*/ 373545 h 527829"/>
              <a:gd name="connsiteX18" fmla="*/ 276264 w 608542"/>
              <a:gd name="connsiteY18" fmla="*/ 476530 h 527829"/>
              <a:gd name="connsiteX19" fmla="*/ 282765 w 608542"/>
              <a:gd name="connsiteY19" fmla="*/ 482973 h 527829"/>
              <a:gd name="connsiteX20" fmla="*/ 325847 w 608542"/>
              <a:gd name="connsiteY20" fmla="*/ 482973 h 527829"/>
              <a:gd name="connsiteX21" fmla="*/ 332348 w 608542"/>
              <a:gd name="connsiteY21" fmla="*/ 476530 h 527829"/>
              <a:gd name="connsiteX22" fmla="*/ 332348 w 608542"/>
              <a:gd name="connsiteY22" fmla="*/ 373545 h 527829"/>
              <a:gd name="connsiteX23" fmla="*/ 325847 w 608542"/>
              <a:gd name="connsiteY23" fmla="*/ 367054 h 527829"/>
              <a:gd name="connsiteX24" fmla="*/ 199271 w 608542"/>
              <a:gd name="connsiteY24" fmla="*/ 367054 h 527829"/>
              <a:gd name="connsiteX25" fmla="*/ 192818 w 608542"/>
              <a:gd name="connsiteY25" fmla="*/ 373545 h 527829"/>
              <a:gd name="connsiteX26" fmla="*/ 192818 w 608542"/>
              <a:gd name="connsiteY26" fmla="*/ 416561 h 527829"/>
              <a:gd name="connsiteX27" fmla="*/ 199271 w 608542"/>
              <a:gd name="connsiteY27" fmla="*/ 423003 h 527829"/>
              <a:gd name="connsiteX28" fmla="*/ 242401 w 608542"/>
              <a:gd name="connsiteY28" fmla="*/ 423003 h 527829"/>
              <a:gd name="connsiteX29" fmla="*/ 248853 w 608542"/>
              <a:gd name="connsiteY29" fmla="*/ 416561 h 527829"/>
              <a:gd name="connsiteX30" fmla="*/ 248853 w 608542"/>
              <a:gd name="connsiteY30" fmla="*/ 373545 h 527829"/>
              <a:gd name="connsiteX31" fmla="*/ 242401 w 608542"/>
              <a:gd name="connsiteY31" fmla="*/ 367054 h 527829"/>
              <a:gd name="connsiteX32" fmla="*/ 115824 w 608542"/>
              <a:gd name="connsiteY32" fmla="*/ 367054 h 527829"/>
              <a:gd name="connsiteX33" fmla="*/ 109323 w 608542"/>
              <a:gd name="connsiteY33" fmla="*/ 373545 h 527829"/>
              <a:gd name="connsiteX34" fmla="*/ 109323 w 608542"/>
              <a:gd name="connsiteY34" fmla="*/ 416561 h 527829"/>
              <a:gd name="connsiteX35" fmla="*/ 115824 w 608542"/>
              <a:gd name="connsiteY35" fmla="*/ 423003 h 527829"/>
              <a:gd name="connsiteX36" fmla="*/ 158906 w 608542"/>
              <a:gd name="connsiteY36" fmla="*/ 423003 h 527829"/>
              <a:gd name="connsiteX37" fmla="*/ 165359 w 608542"/>
              <a:gd name="connsiteY37" fmla="*/ 416561 h 527829"/>
              <a:gd name="connsiteX38" fmla="*/ 165359 w 608542"/>
              <a:gd name="connsiteY38" fmla="*/ 373545 h 527829"/>
              <a:gd name="connsiteX39" fmla="*/ 158906 w 608542"/>
              <a:gd name="connsiteY39" fmla="*/ 367054 h 527829"/>
              <a:gd name="connsiteX40" fmla="*/ 449706 w 608542"/>
              <a:gd name="connsiteY40" fmla="*/ 271336 h 527829"/>
              <a:gd name="connsiteX41" fmla="*/ 443254 w 608542"/>
              <a:gd name="connsiteY41" fmla="*/ 277778 h 527829"/>
              <a:gd name="connsiteX42" fmla="*/ 443254 w 608542"/>
              <a:gd name="connsiteY42" fmla="*/ 320842 h 527829"/>
              <a:gd name="connsiteX43" fmla="*/ 449706 w 608542"/>
              <a:gd name="connsiteY43" fmla="*/ 327285 h 527829"/>
              <a:gd name="connsiteX44" fmla="*/ 492788 w 608542"/>
              <a:gd name="connsiteY44" fmla="*/ 327285 h 527829"/>
              <a:gd name="connsiteX45" fmla="*/ 499289 w 608542"/>
              <a:gd name="connsiteY45" fmla="*/ 320842 h 527829"/>
              <a:gd name="connsiteX46" fmla="*/ 499289 w 608542"/>
              <a:gd name="connsiteY46" fmla="*/ 277778 h 527829"/>
              <a:gd name="connsiteX47" fmla="*/ 492788 w 608542"/>
              <a:gd name="connsiteY47" fmla="*/ 271336 h 527829"/>
              <a:gd name="connsiteX48" fmla="*/ 366212 w 608542"/>
              <a:gd name="connsiteY48" fmla="*/ 271336 h 527829"/>
              <a:gd name="connsiteX49" fmla="*/ 359759 w 608542"/>
              <a:gd name="connsiteY49" fmla="*/ 277778 h 527829"/>
              <a:gd name="connsiteX50" fmla="*/ 359759 w 608542"/>
              <a:gd name="connsiteY50" fmla="*/ 320842 h 527829"/>
              <a:gd name="connsiteX51" fmla="*/ 366212 w 608542"/>
              <a:gd name="connsiteY51" fmla="*/ 327285 h 527829"/>
              <a:gd name="connsiteX52" fmla="*/ 409342 w 608542"/>
              <a:gd name="connsiteY52" fmla="*/ 327285 h 527829"/>
              <a:gd name="connsiteX53" fmla="*/ 415794 w 608542"/>
              <a:gd name="connsiteY53" fmla="*/ 320842 h 527829"/>
              <a:gd name="connsiteX54" fmla="*/ 415794 w 608542"/>
              <a:gd name="connsiteY54" fmla="*/ 277778 h 527829"/>
              <a:gd name="connsiteX55" fmla="*/ 409342 w 608542"/>
              <a:gd name="connsiteY55" fmla="*/ 271336 h 527829"/>
              <a:gd name="connsiteX56" fmla="*/ 282765 w 608542"/>
              <a:gd name="connsiteY56" fmla="*/ 271336 h 527829"/>
              <a:gd name="connsiteX57" fmla="*/ 276264 w 608542"/>
              <a:gd name="connsiteY57" fmla="*/ 277778 h 527829"/>
              <a:gd name="connsiteX58" fmla="*/ 276264 w 608542"/>
              <a:gd name="connsiteY58" fmla="*/ 320842 h 527829"/>
              <a:gd name="connsiteX59" fmla="*/ 282765 w 608542"/>
              <a:gd name="connsiteY59" fmla="*/ 327285 h 527829"/>
              <a:gd name="connsiteX60" fmla="*/ 325847 w 608542"/>
              <a:gd name="connsiteY60" fmla="*/ 327285 h 527829"/>
              <a:gd name="connsiteX61" fmla="*/ 332348 w 608542"/>
              <a:gd name="connsiteY61" fmla="*/ 320842 h 527829"/>
              <a:gd name="connsiteX62" fmla="*/ 332348 w 608542"/>
              <a:gd name="connsiteY62" fmla="*/ 277778 h 527829"/>
              <a:gd name="connsiteX63" fmla="*/ 325847 w 608542"/>
              <a:gd name="connsiteY63" fmla="*/ 271336 h 527829"/>
              <a:gd name="connsiteX64" fmla="*/ 199271 w 608542"/>
              <a:gd name="connsiteY64" fmla="*/ 271336 h 527829"/>
              <a:gd name="connsiteX65" fmla="*/ 192818 w 608542"/>
              <a:gd name="connsiteY65" fmla="*/ 277778 h 527829"/>
              <a:gd name="connsiteX66" fmla="*/ 192818 w 608542"/>
              <a:gd name="connsiteY66" fmla="*/ 320842 h 527829"/>
              <a:gd name="connsiteX67" fmla="*/ 199271 w 608542"/>
              <a:gd name="connsiteY67" fmla="*/ 327285 h 527829"/>
              <a:gd name="connsiteX68" fmla="*/ 242401 w 608542"/>
              <a:gd name="connsiteY68" fmla="*/ 327285 h 527829"/>
              <a:gd name="connsiteX69" fmla="*/ 248853 w 608542"/>
              <a:gd name="connsiteY69" fmla="*/ 320842 h 527829"/>
              <a:gd name="connsiteX70" fmla="*/ 248853 w 608542"/>
              <a:gd name="connsiteY70" fmla="*/ 277778 h 527829"/>
              <a:gd name="connsiteX71" fmla="*/ 242401 w 608542"/>
              <a:gd name="connsiteY71" fmla="*/ 271336 h 527829"/>
              <a:gd name="connsiteX72" fmla="*/ 115824 w 608542"/>
              <a:gd name="connsiteY72" fmla="*/ 271336 h 527829"/>
              <a:gd name="connsiteX73" fmla="*/ 109323 w 608542"/>
              <a:gd name="connsiteY73" fmla="*/ 277778 h 527829"/>
              <a:gd name="connsiteX74" fmla="*/ 109323 w 608542"/>
              <a:gd name="connsiteY74" fmla="*/ 320842 h 527829"/>
              <a:gd name="connsiteX75" fmla="*/ 115824 w 608542"/>
              <a:gd name="connsiteY75" fmla="*/ 327285 h 527829"/>
              <a:gd name="connsiteX76" fmla="*/ 158906 w 608542"/>
              <a:gd name="connsiteY76" fmla="*/ 327285 h 527829"/>
              <a:gd name="connsiteX77" fmla="*/ 165359 w 608542"/>
              <a:gd name="connsiteY77" fmla="*/ 320842 h 527829"/>
              <a:gd name="connsiteX78" fmla="*/ 165359 w 608542"/>
              <a:gd name="connsiteY78" fmla="*/ 277778 h 527829"/>
              <a:gd name="connsiteX79" fmla="*/ 158906 w 608542"/>
              <a:gd name="connsiteY79" fmla="*/ 271336 h 527829"/>
              <a:gd name="connsiteX80" fmla="*/ 81864 w 608542"/>
              <a:gd name="connsiteY80" fmla="*/ 238299 h 527829"/>
              <a:gd name="connsiteX81" fmla="*/ 526749 w 608542"/>
              <a:gd name="connsiteY81" fmla="*/ 238299 h 527829"/>
              <a:gd name="connsiteX82" fmla="*/ 533250 w 608542"/>
              <a:gd name="connsiteY82" fmla="*/ 244742 h 527829"/>
              <a:gd name="connsiteX83" fmla="*/ 533250 w 608542"/>
              <a:gd name="connsiteY83" fmla="*/ 497457 h 527829"/>
              <a:gd name="connsiteX84" fmla="*/ 571140 w 608542"/>
              <a:gd name="connsiteY84" fmla="*/ 497457 h 527829"/>
              <a:gd name="connsiteX85" fmla="*/ 577641 w 608542"/>
              <a:gd name="connsiteY85" fmla="*/ 503948 h 527829"/>
              <a:gd name="connsiteX86" fmla="*/ 577641 w 608542"/>
              <a:gd name="connsiteY86" fmla="*/ 521386 h 527829"/>
              <a:gd name="connsiteX87" fmla="*/ 571140 w 608542"/>
              <a:gd name="connsiteY87" fmla="*/ 527829 h 527829"/>
              <a:gd name="connsiteX88" fmla="*/ 37472 w 608542"/>
              <a:gd name="connsiteY88" fmla="*/ 527829 h 527829"/>
              <a:gd name="connsiteX89" fmla="*/ 30971 w 608542"/>
              <a:gd name="connsiteY89" fmla="*/ 521386 h 527829"/>
              <a:gd name="connsiteX90" fmla="*/ 30971 w 608542"/>
              <a:gd name="connsiteY90" fmla="*/ 503948 h 527829"/>
              <a:gd name="connsiteX91" fmla="*/ 37472 w 608542"/>
              <a:gd name="connsiteY91" fmla="*/ 497457 h 527829"/>
              <a:gd name="connsiteX92" fmla="*/ 75411 w 608542"/>
              <a:gd name="connsiteY92" fmla="*/ 497457 h 527829"/>
              <a:gd name="connsiteX93" fmla="*/ 75411 w 608542"/>
              <a:gd name="connsiteY93" fmla="*/ 244742 h 527829"/>
              <a:gd name="connsiteX94" fmla="*/ 81864 w 608542"/>
              <a:gd name="connsiteY94" fmla="*/ 238299 h 527829"/>
              <a:gd name="connsiteX95" fmla="*/ 193268 w 608542"/>
              <a:gd name="connsiteY95" fmla="*/ 0 h 527829"/>
              <a:gd name="connsiteX96" fmla="*/ 224754 w 608542"/>
              <a:gd name="connsiteY96" fmla="*/ 0 h 527829"/>
              <a:gd name="connsiteX97" fmla="*/ 231255 w 608542"/>
              <a:gd name="connsiteY97" fmla="*/ 6443 h 527829"/>
              <a:gd name="connsiteX98" fmla="*/ 231255 w 608542"/>
              <a:gd name="connsiteY98" fmla="*/ 49848 h 527829"/>
              <a:gd name="connsiteX99" fmla="*/ 237708 w 608542"/>
              <a:gd name="connsiteY99" fmla="*/ 56340 h 527829"/>
              <a:gd name="connsiteX100" fmla="*/ 466893 w 608542"/>
              <a:gd name="connsiteY100" fmla="*/ 56340 h 527829"/>
              <a:gd name="connsiteX101" fmla="*/ 471745 w 608542"/>
              <a:gd name="connsiteY101" fmla="*/ 58520 h 527829"/>
              <a:gd name="connsiteX102" fmla="*/ 606908 w 608542"/>
              <a:gd name="connsiteY102" fmla="*/ 211504 h 527829"/>
              <a:gd name="connsiteX103" fmla="*/ 602105 w 608542"/>
              <a:gd name="connsiteY103" fmla="*/ 222210 h 527829"/>
              <a:gd name="connsiteX104" fmla="*/ 6485 w 608542"/>
              <a:gd name="connsiteY104" fmla="*/ 222210 h 527829"/>
              <a:gd name="connsiteX105" fmla="*/ 1633 w 608542"/>
              <a:gd name="connsiteY105" fmla="*/ 211504 h 527829"/>
              <a:gd name="connsiteX106" fmla="*/ 136797 w 608542"/>
              <a:gd name="connsiteY106" fmla="*/ 58520 h 527829"/>
              <a:gd name="connsiteX107" fmla="*/ 141648 w 608542"/>
              <a:gd name="connsiteY107" fmla="*/ 56340 h 527829"/>
              <a:gd name="connsiteX108" fmla="*/ 180363 w 608542"/>
              <a:gd name="connsiteY108" fmla="*/ 56340 h 527829"/>
              <a:gd name="connsiteX109" fmla="*/ 186816 w 608542"/>
              <a:gd name="connsiteY109" fmla="*/ 49848 h 527829"/>
              <a:gd name="connsiteX110" fmla="*/ 186816 w 608542"/>
              <a:gd name="connsiteY110" fmla="*/ 6443 h 527829"/>
              <a:gd name="connsiteX111" fmla="*/ 193268 w 608542"/>
              <a:gd name="connsiteY111" fmla="*/ 0 h 52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08542" h="527829">
                <a:moveTo>
                  <a:pt x="449706" y="367054"/>
                </a:moveTo>
                <a:cubicBezTo>
                  <a:pt x="446116" y="367054"/>
                  <a:pt x="443254" y="369961"/>
                  <a:pt x="443254" y="373545"/>
                </a:cubicBezTo>
                <a:lnTo>
                  <a:pt x="443254" y="416561"/>
                </a:lnTo>
                <a:cubicBezTo>
                  <a:pt x="443254" y="420145"/>
                  <a:pt x="446116" y="423003"/>
                  <a:pt x="449706" y="423003"/>
                </a:cubicBezTo>
                <a:lnTo>
                  <a:pt x="492788" y="423003"/>
                </a:lnTo>
                <a:cubicBezTo>
                  <a:pt x="496378" y="423003"/>
                  <a:pt x="499289" y="420145"/>
                  <a:pt x="499289" y="416561"/>
                </a:cubicBezTo>
                <a:lnTo>
                  <a:pt x="499289" y="373545"/>
                </a:lnTo>
                <a:cubicBezTo>
                  <a:pt x="499289" y="369961"/>
                  <a:pt x="496378" y="367054"/>
                  <a:pt x="492788" y="367054"/>
                </a:cubicBezTo>
                <a:close/>
                <a:moveTo>
                  <a:pt x="366212" y="367054"/>
                </a:moveTo>
                <a:cubicBezTo>
                  <a:pt x="362670" y="367054"/>
                  <a:pt x="359759" y="369961"/>
                  <a:pt x="359759" y="373545"/>
                </a:cubicBezTo>
                <a:lnTo>
                  <a:pt x="359759" y="416561"/>
                </a:lnTo>
                <a:cubicBezTo>
                  <a:pt x="359759" y="420145"/>
                  <a:pt x="362670" y="423003"/>
                  <a:pt x="366212" y="423003"/>
                </a:cubicBezTo>
                <a:lnTo>
                  <a:pt x="409342" y="423003"/>
                </a:lnTo>
                <a:cubicBezTo>
                  <a:pt x="412932" y="423003"/>
                  <a:pt x="415794" y="420145"/>
                  <a:pt x="415794" y="416561"/>
                </a:cubicBezTo>
                <a:lnTo>
                  <a:pt x="415794" y="373545"/>
                </a:lnTo>
                <a:cubicBezTo>
                  <a:pt x="415794" y="369961"/>
                  <a:pt x="412932" y="367054"/>
                  <a:pt x="409342" y="367054"/>
                </a:cubicBezTo>
                <a:close/>
                <a:moveTo>
                  <a:pt x="282765" y="367054"/>
                </a:moveTo>
                <a:cubicBezTo>
                  <a:pt x="279175" y="367054"/>
                  <a:pt x="276264" y="369961"/>
                  <a:pt x="276264" y="373545"/>
                </a:cubicBezTo>
                <a:lnTo>
                  <a:pt x="276264" y="476530"/>
                </a:lnTo>
                <a:cubicBezTo>
                  <a:pt x="276264" y="480066"/>
                  <a:pt x="279175" y="482973"/>
                  <a:pt x="282765" y="482973"/>
                </a:cubicBezTo>
                <a:lnTo>
                  <a:pt x="325847" y="482973"/>
                </a:lnTo>
                <a:cubicBezTo>
                  <a:pt x="329437" y="482973"/>
                  <a:pt x="332348" y="480066"/>
                  <a:pt x="332348" y="476530"/>
                </a:cubicBezTo>
                <a:lnTo>
                  <a:pt x="332348" y="373545"/>
                </a:lnTo>
                <a:cubicBezTo>
                  <a:pt x="332348" y="369961"/>
                  <a:pt x="329437" y="367054"/>
                  <a:pt x="325847" y="367054"/>
                </a:cubicBezTo>
                <a:close/>
                <a:moveTo>
                  <a:pt x="199271" y="367054"/>
                </a:moveTo>
                <a:cubicBezTo>
                  <a:pt x="195729" y="367054"/>
                  <a:pt x="192818" y="369961"/>
                  <a:pt x="192818" y="373545"/>
                </a:cubicBezTo>
                <a:lnTo>
                  <a:pt x="192818" y="416561"/>
                </a:lnTo>
                <a:cubicBezTo>
                  <a:pt x="192818" y="420145"/>
                  <a:pt x="195729" y="423003"/>
                  <a:pt x="199271" y="423003"/>
                </a:cubicBezTo>
                <a:lnTo>
                  <a:pt x="242401" y="423003"/>
                </a:lnTo>
                <a:cubicBezTo>
                  <a:pt x="245942" y="423003"/>
                  <a:pt x="248853" y="420145"/>
                  <a:pt x="248853" y="416561"/>
                </a:cubicBezTo>
                <a:lnTo>
                  <a:pt x="248853" y="373545"/>
                </a:lnTo>
                <a:cubicBezTo>
                  <a:pt x="248853" y="369961"/>
                  <a:pt x="245942" y="367054"/>
                  <a:pt x="242401" y="367054"/>
                </a:cubicBezTo>
                <a:close/>
                <a:moveTo>
                  <a:pt x="115824" y="367054"/>
                </a:moveTo>
                <a:cubicBezTo>
                  <a:pt x="112234" y="367054"/>
                  <a:pt x="109323" y="369961"/>
                  <a:pt x="109323" y="373545"/>
                </a:cubicBezTo>
                <a:lnTo>
                  <a:pt x="109323" y="416561"/>
                </a:lnTo>
                <a:cubicBezTo>
                  <a:pt x="109323" y="420145"/>
                  <a:pt x="112234" y="423003"/>
                  <a:pt x="115824" y="423003"/>
                </a:cubicBezTo>
                <a:lnTo>
                  <a:pt x="158906" y="423003"/>
                </a:lnTo>
                <a:cubicBezTo>
                  <a:pt x="162496" y="423003"/>
                  <a:pt x="165359" y="420145"/>
                  <a:pt x="165359" y="416561"/>
                </a:cubicBezTo>
                <a:lnTo>
                  <a:pt x="165359" y="373545"/>
                </a:lnTo>
                <a:cubicBezTo>
                  <a:pt x="165359" y="369961"/>
                  <a:pt x="162496" y="367054"/>
                  <a:pt x="158906" y="367054"/>
                </a:cubicBezTo>
                <a:close/>
                <a:moveTo>
                  <a:pt x="449706" y="271336"/>
                </a:moveTo>
                <a:cubicBezTo>
                  <a:pt x="446116" y="271336"/>
                  <a:pt x="443254" y="274242"/>
                  <a:pt x="443254" y="277778"/>
                </a:cubicBezTo>
                <a:lnTo>
                  <a:pt x="443254" y="320842"/>
                </a:lnTo>
                <a:cubicBezTo>
                  <a:pt x="443254" y="324378"/>
                  <a:pt x="446116" y="327285"/>
                  <a:pt x="449706" y="327285"/>
                </a:cubicBezTo>
                <a:lnTo>
                  <a:pt x="492788" y="327285"/>
                </a:lnTo>
                <a:cubicBezTo>
                  <a:pt x="496378" y="327285"/>
                  <a:pt x="499289" y="324378"/>
                  <a:pt x="499289" y="320842"/>
                </a:cubicBezTo>
                <a:lnTo>
                  <a:pt x="499289" y="277778"/>
                </a:lnTo>
                <a:cubicBezTo>
                  <a:pt x="499289" y="274242"/>
                  <a:pt x="496378" y="271336"/>
                  <a:pt x="492788" y="271336"/>
                </a:cubicBezTo>
                <a:close/>
                <a:moveTo>
                  <a:pt x="366212" y="271336"/>
                </a:moveTo>
                <a:cubicBezTo>
                  <a:pt x="362670" y="271336"/>
                  <a:pt x="359759" y="274242"/>
                  <a:pt x="359759" y="277778"/>
                </a:cubicBezTo>
                <a:lnTo>
                  <a:pt x="359759" y="320842"/>
                </a:lnTo>
                <a:cubicBezTo>
                  <a:pt x="359759" y="324378"/>
                  <a:pt x="362670" y="327285"/>
                  <a:pt x="366212" y="327285"/>
                </a:cubicBezTo>
                <a:lnTo>
                  <a:pt x="409342" y="327285"/>
                </a:lnTo>
                <a:cubicBezTo>
                  <a:pt x="412932" y="327285"/>
                  <a:pt x="415794" y="324378"/>
                  <a:pt x="415794" y="320842"/>
                </a:cubicBezTo>
                <a:lnTo>
                  <a:pt x="415794" y="277778"/>
                </a:lnTo>
                <a:cubicBezTo>
                  <a:pt x="415794" y="274242"/>
                  <a:pt x="412932" y="271336"/>
                  <a:pt x="409342" y="271336"/>
                </a:cubicBezTo>
                <a:close/>
                <a:moveTo>
                  <a:pt x="282765" y="271336"/>
                </a:moveTo>
                <a:cubicBezTo>
                  <a:pt x="279175" y="271336"/>
                  <a:pt x="276264" y="274242"/>
                  <a:pt x="276264" y="277778"/>
                </a:cubicBezTo>
                <a:lnTo>
                  <a:pt x="276264" y="320842"/>
                </a:lnTo>
                <a:cubicBezTo>
                  <a:pt x="276264" y="324378"/>
                  <a:pt x="279175" y="327285"/>
                  <a:pt x="282765" y="327285"/>
                </a:cubicBezTo>
                <a:lnTo>
                  <a:pt x="325847" y="327285"/>
                </a:lnTo>
                <a:cubicBezTo>
                  <a:pt x="329437" y="327285"/>
                  <a:pt x="332348" y="324378"/>
                  <a:pt x="332348" y="320842"/>
                </a:cubicBezTo>
                <a:lnTo>
                  <a:pt x="332348" y="277778"/>
                </a:lnTo>
                <a:cubicBezTo>
                  <a:pt x="332348" y="274242"/>
                  <a:pt x="329437" y="271336"/>
                  <a:pt x="325847" y="271336"/>
                </a:cubicBezTo>
                <a:close/>
                <a:moveTo>
                  <a:pt x="199271" y="271336"/>
                </a:moveTo>
                <a:cubicBezTo>
                  <a:pt x="195729" y="271336"/>
                  <a:pt x="192818" y="274242"/>
                  <a:pt x="192818" y="277778"/>
                </a:cubicBezTo>
                <a:lnTo>
                  <a:pt x="192818" y="320842"/>
                </a:lnTo>
                <a:cubicBezTo>
                  <a:pt x="192818" y="324378"/>
                  <a:pt x="195729" y="327285"/>
                  <a:pt x="199271" y="327285"/>
                </a:cubicBezTo>
                <a:lnTo>
                  <a:pt x="242401" y="327285"/>
                </a:lnTo>
                <a:cubicBezTo>
                  <a:pt x="245942" y="327285"/>
                  <a:pt x="248853" y="324378"/>
                  <a:pt x="248853" y="320842"/>
                </a:cubicBezTo>
                <a:lnTo>
                  <a:pt x="248853" y="277778"/>
                </a:lnTo>
                <a:cubicBezTo>
                  <a:pt x="248853" y="274242"/>
                  <a:pt x="245942" y="271336"/>
                  <a:pt x="242401" y="271336"/>
                </a:cubicBezTo>
                <a:close/>
                <a:moveTo>
                  <a:pt x="115824" y="271336"/>
                </a:moveTo>
                <a:cubicBezTo>
                  <a:pt x="112234" y="271336"/>
                  <a:pt x="109323" y="274242"/>
                  <a:pt x="109323" y="277778"/>
                </a:cubicBezTo>
                <a:lnTo>
                  <a:pt x="109323" y="320842"/>
                </a:lnTo>
                <a:cubicBezTo>
                  <a:pt x="109323" y="324378"/>
                  <a:pt x="112234" y="327285"/>
                  <a:pt x="115824" y="327285"/>
                </a:cubicBezTo>
                <a:lnTo>
                  <a:pt x="158906" y="327285"/>
                </a:lnTo>
                <a:cubicBezTo>
                  <a:pt x="162496" y="327285"/>
                  <a:pt x="165359" y="324378"/>
                  <a:pt x="165359" y="320842"/>
                </a:cubicBezTo>
                <a:lnTo>
                  <a:pt x="165359" y="277778"/>
                </a:lnTo>
                <a:cubicBezTo>
                  <a:pt x="165359" y="274242"/>
                  <a:pt x="162496" y="271336"/>
                  <a:pt x="158906" y="271336"/>
                </a:cubicBezTo>
                <a:close/>
                <a:moveTo>
                  <a:pt x="81864" y="238299"/>
                </a:moveTo>
                <a:lnTo>
                  <a:pt x="526749" y="238299"/>
                </a:lnTo>
                <a:cubicBezTo>
                  <a:pt x="530339" y="238299"/>
                  <a:pt x="533250" y="241157"/>
                  <a:pt x="533250" y="244742"/>
                </a:cubicBezTo>
                <a:lnTo>
                  <a:pt x="533250" y="497457"/>
                </a:lnTo>
                <a:lnTo>
                  <a:pt x="571140" y="497457"/>
                </a:lnTo>
                <a:cubicBezTo>
                  <a:pt x="574730" y="497457"/>
                  <a:pt x="577641" y="500363"/>
                  <a:pt x="577641" y="503948"/>
                </a:cubicBezTo>
                <a:lnTo>
                  <a:pt x="577641" y="521386"/>
                </a:lnTo>
                <a:cubicBezTo>
                  <a:pt x="577641" y="524923"/>
                  <a:pt x="574730" y="527829"/>
                  <a:pt x="571140" y="527829"/>
                </a:cubicBezTo>
                <a:lnTo>
                  <a:pt x="37472" y="527829"/>
                </a:lnTo>
                <a:cubicBezTo>
                  <a:pt x="33882" y="527829"/>
                  <a:pt x="30971" y="524923"/>
                  <a:pt x="30971" y="521386"/>
                </a:cubicBezTo>
                <a:lnTo>
                  <a:pt x="30971" y="503948"/>
                </a:lnTo>
                <a:cubicBezTo>
                  <a:pt x="30971" y="500363"/>
                  <a:pt x="33882" y="497457"/>
                  <a:pt x="37472" y="497457"/>
                </a:cubicBezTo>
                <a:lnTo>
                  <a:pt x="75411" y="497457"/>
                </a:lnTo>
                <a:lnTo>
                  <a:pt x="75411" y="244742"/>
                </a:lnTo>
                <a:cubicBezTo>
                  <a:pt x="75411" y="241157"/>
                  <a:pt x="78274" y="238299"/>
                  <a:pt x="81864" y="238299"/>
                </a:cubicBezTo>
                <a:close/>
                <a:moveTo>
                  <a:pt x="193268" y="0"/>
                </a:moveTo>
                <a:lnTo>
                  <a:pt x="224754" y="0"/>
                </a:lnTo>
                <a:cubicBezTo>
                  <a:pt x="228345" y="0"/>
                  <a:pt x="231255" y="2907"/>
                  <a:pt x="231255" y="6443"/>
                </a:cubicBezTo>
                <a:lnTo>
                  <a:pt x="231255" y="49848"/>
                </a:lnTo>
                <a:cubicBezTo>
                  <a:pt x="231255" y="53433"/>
                  <a:pt x="234166" y="56340"/>
                  <a:pt x="237708" y="56340"/>
                </a:cubicBezTo>
                <a:lnTo>
                  <a:pt x="466893" y="56340"/>
                </a:lnTo>
                <a:cubicBezTo>
                  <a:pt x="468737" y="56340"/>
                  <a:pt x="470532" y="57115"/>
                  <a:pt x="471745" y="58520"/>
                </a:cubicBezTo>
                <a:lnTo>
                  <a:pt x="606908" y="211504"/>
                </a:lnTo>
                <a:cubicBezTo>
                  <a:pt x="610595" y="215670"/>
                  <a:pt x="607636" y="222210"/>
                  <a:pt x="602105" y="222210"/>
                </a:cubicBezTo>
                <a:lnTo>
                  <a:pt x="6485" y="222210"/>
                </a:lnTo>
                <a:cubicBezTo>
                  <a:pt x="906" y="222210"/>
                  <a:pt x="-2054" y="215670"/>
                  <a:pt x="1633" y="211504"/>
                </a:cubicBezTo>
                <a:lnTo>
                  <a:pt x="136797" y="58520"/>
                </a:lnTo>
                <a:cubicBezTo>
                  <a:pt x="138009" y="57115"/>
                  <a:pt x="139804" y="56340"/>
                  <a:pt x="141648" y="56340"/>
                </a:cubicBezTo>
                <a:lnTo>
                  <a:pt x="180363" y="56340"/>
                </a:lnTo>
                <a:cubicBezTo>
                  <a:pt x="183905" y="56340"/>
                  <a:pt x="186816" y="53433"/>
                  <a:pt x="186816" y="49848"/>
                </a:cubicBezTo>
                <a:lnTo>
                  <a:pt x="186816" y="6443"/>
                </a:lnTo>
                <a:cubicBezTo>
                  <a:pt x="186816" y="2907"/>
                  <a:pt x="189727" y="0"/>
                  <a:pt x="193268" y="0"/>
                </a:cubicBezTo>
                <a:close/>
              </a:path>
            </a:pathLst>
          </a:custGeom>
          <a:solidFill>
            <a:schemeClr val="accent1">
              <a:lumMod val="7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charset="-122"/>
              <a:cs typeface="+mn-cs"/>
            </a:endParaRPr>
          </a:p>
        </p:txBody>
      </p:sp>
      <p:grpSp>
        <p:nvGrpSpPr>
          <p:cNvPr id="14" name="组合 13"/>
          <p:cNvGrpSpPr/>
          <p:nvPr/>
        </p:nvGrpSpPr>
        <p:grpSpPr>
          <a:xfrm>
            <a:off x="7402667" y="4151843"/>
            <a:ext cx="1361273" cy="984224"/>
            <a:chOff x="7672830" y="4214188"/>
            <a:chExt cx="1361273" cy="984224"/>
          </a:xfrm>
        </p:grpSpPr>
        <p:sp>
          <p:nvSpPr>
            <p:cNvPr id="85" name="任意多边形 84"/>
            <p:cNvSpPr/>
            <p:nvPr/>
          </p:nvSpPr>
          <p:spPr>
            <a:xfrm rot="16200000">
              <a:off x="8069850" y="4234252"/>
              <a:ext cx="984224" cy="944095"/>
            </a:xfrm>
            <a:custGeom>
              <a:avLst/>
              <a:gdLst>
                <a:gd name="connsiteX0" fmla="*/ 745724 w 745724"/>
                <a:gd name="connsiteY0" fmla="*/ 0 h 1491449"/>
                <a:gd name="connsiteX1" fmla="*/ 0 w 745724"/>
                <a:gd name="connsiteY1" fmla="*/ 0 h 1491449"/>
                <a:gd name="connsiteX2" fmla="*/ 0 w 745724"/>
                <a:gd name="connsiteY2" fmla="*/ 1491449 h 1491449"/>
              </a:gdLst>
              <a:ahLst/>
              <a:cxnLst>
                <a:cxn ang="0">
                  <a:pos x="connsiteX0" y="connsiteY0"/>
                </a:cxn>
                <a:cxn ang="0">
                  <a:pos x="connsiteX1" y="connsiteY1"/>
                </a:cxn>
                <a:cxn ang="0">
                  <a:pos x="connsiteX2" y="connsiteY2"/>
                </a:cxn>
              </a:cxnLst>
              <a:rect l="l" t="t" r="r" b="b"/>
              <a:pathLst>
                <a:path w="745724" h="1491449">
                  <a:moveTo>
                    <a:pt x="745724" y="0"/>
                  </a:moveTo>
                  <a:lnTo>
                    <a:pt x="0" y="0"/>
                  </a:lnTo>
                  <a:lnTo>
                    <a:pt x="0" y="1491449"/>
                  </a:lnTo>
                </a:path>
              </a:pathLst>
            </a:cu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charset="-122"/>
                <a:cs typeface="+mn-cs"/>
              </a:endParaRPr>
            </a:p>
          </p:txBody>
        </p:sp>
        <p:sp>
          <p:nvSpPr>
            <p:cNvPr id="87" name="任意多边形 86"/>
            <p:cNvSpPr/>
            <p:nvPr/>
          </p:nvSpPr>
          <p:spPr>
            <a:xfrm rot="16200000">
              <a:off x="8210499" y="4224439"/>
              <a:ext cx="792848" cy="854361"/>
            </a:xfrm>
            <a:custGeom>
              <a:avLst/>
              <a:gdLst>
                <a:gd name="connsiteX0" fmla="*/ 745724 w 745724"/>
                <a:gd name="connsiteY0" fmla="*/ 0 h 1491449"/>
                <a:gd name="connsiteX1" fmla="*/ 0 w 745724"/>
                <a:gd name="connsiteY1" fmla="*/ 0 h 1491449"/>
                <a:gd name="connsiteX2" fmla="*/ 0 w 745724"/>
                <a:gd name="connsiteY2" fmla="*/ 1491449 h 1491449"/>
              </a:gdLst>
              <a:ahLst/>
              <a:cxnLst>
                <a:cxn ang="0">
                  <a:pos x="connsiteX0" y="connsiteY0"/>
                </a:cxn>
                <a:cxn ang="0">
                  <a:pos x="connsiteX1" y="connsiteY1"/>
                </a:cxn>
                <a:cxn ang="0">
                  <a:pos x="connsiteX2" y="connsiteY2"/>
                </a:cxn>
              </a:cxnLst>
              <a:rect l="l" t="t" r="r" b="b"/>
              <a:pathLst>
                <a:path w="745724" h="1491449">
                  <a:moveTo>
                    <a:pt x="745724" y="0"/>
                  </a:moveTo>
                  <a:lnTo>
                    <a:pt x="0" y="0"/>
                  </a:lnTo>
                  <a:lnTo>
                    <a:pt x="0" y="1491449"/>
                  </a:lnTo>
                </a:path>
              </a:pathLst>
            </a:custGeom>
            <a:noFill/>
            <a:ln>
              <a:solidFill>
                <a:schemeClr val="bg1">
                  <a:lumMod val="50000"/>
                </a:schemeClr>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charset="-122"/>
                <a:cs typeface="+mn-cs"/>
              </a:endParaRPr>
            </a:p>
          </p:txBody>
        </p:sp>
        <p:sp>
          <p:nvSpPr>
            <p:cNvPr id="143" name="文本框 142"/>
            <p:cNvSpPr txBox="1"/>
            <p:nvPr/>
          </p:nvSpPr>
          <p:spPr>
            <a:xfrm>
              <a:off x="7672830" y="4502421"/>
              <a:ext cx="387332" cy="3437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144" name="文本框 143"/>
            <p:cNvSpPr txBox="1"/>
            <p:nvPr/>
          </p:nvSpPr>
          <p:spPr>
            <a:xfrm>
              <a:off x="8190611" y="4502421"/>
              <a:ext cx="387332" cy="3437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grpSp>
      <p:sp>
        <p:nvSpPr>
          <p:cNvPr id="75" name="矩形 74"/>
          <p:cNvSpPr/>
          <p:nvPr/>
        </p:nvSpPr>
        <p:spPr>
          <a:xfrm>
            <a:off x="3512020" y="1257693"/>
            <a:ext cx="3879044"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a:t>
            </a:r>
            <a:endParaRPr kumimoji="0" lang="en-US" altLang="zh-CN" sz="18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9" name="TextBox 9"/>
          <p:cNvSpPr txBox="1"/>
          <p:nvPr/>
        </p:nvSpPr>
        <p:spPr>
          <a:xfrm>
            <a:off x="3713588" y="3931065"/>
            <a:ext cx="656699" cy="24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rPr>
              <a:t>XXX</a:t>
            </a:r>
            <a:endParaRPr kumimoji="0" lang="zh-CN" altLang="en-US" sz="1600" b="1" i="0" u="none" strike="noStrike" kern="1200" cap="none" spc="0" normalizeH="0" baseline="0" noProof="0" dirty="0">
              <a:ln>
                <a:noFill/>
              </a:ln>
              <a:solidFill>
                <a:srgbClr val="FE8637">
                  <a:lumMod val="75000"/>
                </a:srgbClr>
              </a:solidFill>
              <a:effectLst/>
              <a:uLnTx/>
              <a:uFillTx/>
              <a:latin typeface="Arial" panose="020B0604020202020204" pitchFamily="34" charset="0"/>
              <a:ea typeface="华文楷体" panose="02010600040101010101" charset="-122"/>
              <a:cs typeface="+mn-cs"/>
            </a:endParaRPr>
          </a:p>
        </p:txBody>
      </p:sp>
      <p:sp>
        <p:nvSpPr>
          <p:cNvPr id="88" name="house-big-construction_58151"/>
          <p:cNvSpPr>
            <a:spLocks noChangeAspect="1"/>
          </p:cNvSpPr>
          <p:nvPr/>
        </p:nvSpPr>
        <p:spPr bwMode="auto">
          <a:xfrm>
            <a:off x="3725894" y="3331443"/>
            <a:ext cx="618890" cy="536801"/>
          </a:xfrm>
          <a:custGeom>
            <a:avLst/>
            <a:gdLst>
              <a:gd name="connsiteX0" fmla="*/ 449706 w 608542"/>
              <a:gd name="connsiteY0" fmla="*/ 367054 h 527829"/>
              <a:gd name="connsiteX1" fmla="*/ 443254 w 608542"/>
              <a:gd name="connsiteY1" fmla="*/ 373545 h 527829"/>
              <a:gd name="connsiteX2" fmla="*/ 443254 w 608542"/>
              <a:gd name="connsiteY2" fmla="*/ 416561 h 527829"/>
              <a:gd name="connsiteX3" fmla="*/ 449706 w 608542"/>
              <a:gd name="connsiteY3" fmla="*/ 423003 h 527829"/>
              <a:gd name="connsiteX4" fmla="*/ 492788 w 608542"/>
              <a:gd name="connsiteY4" fmla="*/ 423003 h 527829"/>
              <a:gd name="connsiteX5" fmla="*/ 499289 w 608542"/>
              <a:gd name="connsiteY5" fmla="*/ 416561 h 527829"/>
              <a:gd name="connsiteX6" fmla="*/ 499289 w 608542"/>
              <a:gd name="connsiteY6" fmla="*/ 373545 h 527829"/>
              <a:gd name="connsiteX7" fmla="*/ 492788 w 608542"/>
              <a:gd name="connsiteY7" fmla="*/ 367054 h 527829"/>
              <a:gd name="connsiteX8" fmla="*/ 366212 w 608542"/>
              <a:gd name="connsiteY8" fmla="*/ 367054 h 527829"/>
              <a:gd name="connsiteX9" fmla="*/ 359759 w 608542"/>
              <a:gd name="connsiteY9" fmla="*/ 373545 h 527829"/>
              <a:gd name="connsiteX10" fmla="*/ 359759 w 608542"/>
              <a:gd name="connsiteY10" fmla="*/ 416561 h 527829"/>
              <a:gd name="connsiteX11" fmla="*/ 366212 w 608542"/>
              <a:gd name="connsiteY11" fmla="*/ 423003 h 527829"/>
              <a:gd name="connsiteX12" fmla="*/ 409342 w 608542"/>
              <a:gd name="connsiteY12" fmla="*/ 423003 h 527829"/>
              <a:gd name="connsiteX13" fmla="*/ 415794 w 608542"/>
              <a:gd name="connsiteY13" fmla="*/ 416561 h 527829"/>
              <a:gd name="connsiteX14" fmla="*/ 415794 w 608542"/>
              <a:gd name="connsiteY14" fmla="*/ 373545 h 527829"/>
              <a:gd name="connsiteX15" fmla="*/ 409342 w 608542"/>
              <a:gd name="connsiteY15" fmla="*/ 367054 h 527829"/>
              <a:gd name="connsiteX16" fmla="*/ 282765 w 608542"/>
              <a:gd name="connsiteY16" fmla="*/ 367054 h 527829"/>
              <a:gd name="connsiteX17" fmla="*/ 276264 w 608542"/>
              <a:gd name="connsiteY17" fmla="*/ 373545 h 527829"/>
              <a:gd name="connsiteX18" fmla="*/ 276264 w 608542"/>
              <a:gd name="connsiteY18" fmla="*/ 476530 h 527829"/>
              <a:gd name="connsiteX19" fmla="*/ 282765 w 608542"/>
              <a:gd name="connsiteY19" fmla="*/ 482973 h 527829"/>
              <a:gd name="connsiteX20" fmla="*/ 325847 w 608542"/>
              <a:gd name="connsiteY20" fmla="*/ 482973 h 527829"/>
              <a:gd name="connsiteX21" fmla="*/ 332348 w 608542"/>
              <a:gd name="connsiteY21" fmla="*/ 476530 h 527829"/>
              <a:gd name="connsiteX22" fmla="*/ 332348 w 608542"/>
              <a:gd name="connsiteY22" fmla="*/ 373545 h 527829"/>
              <a:gd name="connsiteX23" fmla="*/ 325847 w 608542"/>
              <a:gd name="connsiteY23" fmla="*/ 367054 h 527829"/>
              <a:gd name="connsiteX24" fmla="*/ 199271 w 608542"/>
              <a:gd name="connsiteY24" fmla="*/ 367054 h 527829"/>
              <a:gd name="connsiteX25" fmla="*/ 192818 w 608542"/>
              <a:gd name="connsiteY25" fmla="*/ 373545 h 527829"/>
              <a:gd name="connsiteX26" fmla="*/ 192818 w 608542"/>
              <a:gd name="connsiteY26" fmla="*/ 416561 h 527829"/>
              <a:gd name="connsiteX27" fmla="*/ 199271 w 608542"/>
              <a:gd name="connsiteY27" fmla="*/ 423003 h 527829"/>
              <a:gd name="connsiteX28" fmla="*/ 242401 w 608542"/>
              <a:gd name="connsiteY28" fmla="*/ 423003 h 527829"/>
              <a:gd name="connsiteX29" fmla="*/ 248853 w 608542"/>
              <a:gd name="connsiteY29" fmla="*/ 416561 h 527829"/>
              <a:gd name="connsiteX30" fmla="*/ 248853 w 608542"/>
              <a:gd name="connsiteY30" fmla="*/ 373545 h 527829"/>
              <a:gd name="connsiteX31" fmla="*/ 242401 w 608542"/>
              <a:gd name="connsiteY31" fmla="*/ 367054 h 527829"/>
              <a:gd name="connsiteX32" fmla="*/ 115824 w 608542"/>
              <a:gd name="connsiteY32" fmla="*/ 367054 h 527829"/>
              <a:gd name="connsiteX33" fmla="*/ 109323 w 608542"/>
              <a:gd name="connsiteY33" fmla="*/ 373545 h 527829"/>
              <a:gd name="connsiteX34" fmla="*/ 109323 w 608542"/>
              <a:gd name="connsiteY34" fmla="*/ 416561 h 527829"/>
              <a:gd name="connsiteX35" fmla="*/ 115824 w 608542"/>
              <a:gd name="connsiteY35" fmla="*/ 423003 h 527829"/>
              <a:gd name="connsiteX36" fmla="*/ 158906 w 608542"/>
              <a:gd name="connsiteY36" fmla="*/ 423003 h 527829"/>
              <a:gd name="connsiteX37" fmla="*/ 165359 w 608542"/>
              <a:gd name="connsiteY37" fmla="*/ 416561 h 527829"/>
              <a:gd name="connsiteX38" fmla="*/ 165359 w 608542"/>
              <a:gd name="connsiteY38" fmla="*/ 373545 h 527829"/>
              <a:gd name="connsiteX39" fmla="*/ 158906 w 608542"/>
              <a:gd name="connsiteY39" fmla="*/ 367054 h 527829"/>
              <a:gd name="connsiteX40" fmla="*/ 449706 w 608542"/>
              <a:gd name="connsiteY40" fmla="*/ 271336 h 527829"/>
              <a:gd name="connsiteX41" fmla="*/ 443254 w 608542"/>
              <a:gd name="connsiteY41" fmla="*/ 277778 h 527829"/>
              <a:gd name="connsiteX42" fmla="*/ 443254 w 608542"/>
              <a:gd name="connsiteY42" fmla="*/ 320842 h 527829"/>
              <a:gd name="connsiteX43" fmla="*/ 449706 w 608542"/>
              <a:gd name="connsiteY43" fmla="*/ 327285 h 527829"/>
              <a:gd name="connsiteX44" fmla="*/ 492788 w 608542"/>
              <a:gd name="connsiteY44" fmla="*/ 327285 h 527829"/>
              <a:gd name="connsiteX45" fmla="*/ 499289 w 608542"/>
              <a:gd name="connsiteY45" fmla="*/ 320842 h 527829"/>
              <a:gd name="connsiteX46" fmla="*/ 499289 w 608542"/>
              <a:gd name="connsiteY46" fmla="*/ 277778 h 527829"/>
              <a:gd name="connsiteX47" fmla="*/ 492788 w 608542"/>
              <a:gd name="connsiteY47" fmla="*/ 271336 h 527829"/>
              <a:gd name="connsiteX48" fmla="*/ 366212 w 608542"/>
              <a:gd name="connsiteY48" fmla="*/ 271336 h 527829"/>
              <a:gd name="connsiteX49" fmla="*/ 359759 w 608542"/>
              <a:gd name="connsiteY49" fmla="*/ 277778 h 527829"/>
              <a:gd name="connsiteX50" fmla="*/ 359759 w 608542"/>
              <a:gd name="connsiteY50" fmla="*/ 320842 h 527829"/>
              <a:gd name="connsiteX51" fmla="*/ 366212 w 608542"/>
              <a:gd name="connsiteY51" fmla="*/ 327285 h 527829"/>
              <a:gd name="connsiteX52" fmla="*/ 409342 w 608542"/>
              <a:gd name="connsiteY52" fmla="*/ 327285 h 527829"/>
              <a:gd name="connsiteX53" fmla="*/ 415794 w 608542"/>
              <a:gd name="connsiteY53" fmla="*/ 320842 h 527829"/>
              <a:gd name="connsiteX54" fmla="*/ 415794 w 608542"/>
              <a:gd name="connsiteY54" fmla="*/ 277778 h 527829"/>
              <a:gd name="connsiteX55" fmla="*/ 409342 w 608542"/>
              <a:gd name="connsiteY55" fmla="*/ 271336 h 527829"/>
              <a:gd name="connsiteX56" fmla="*/ 282765 w 608542"/>
              <a:gd name="connsiteY56" fmla="*/ 271336 h 527829"/>
              <a:gd name="connsiteX57" fmla="*/ 276264 w 608542"/>
              <a:gd name="connsiteY57" fmla="*/ 277778 h 527829"/>
              <a:gd name="connsiteX58" fmla="*/ 276264 w 608542"/>
              <a:gd name="connsiteY58" fmla="*/ 320842 h 527829"/>
              <a:gd name="connsiteX59" fmla="*/ 282765 w 608542"/>
              <a:gd name="connsiteY59" fmla="*/ 327285 h 527829"/>
              <a:gd name="connsiteX60" fmla="*/ 325847 w 608542"/>
              <a:gd name="connsiteY60" fmla="*/ 327285 h 527829"/>
              <a:gd name="connsiteX61" fmla="*/ 332348 w 608542"/>
              <a:gd name="connsiteY61" fmla="*/ 320842 h 527829"/>
              <a:gd name="connsiteX62" fmla="*/ 332348 w 608542"/>
              <a:gd name="connsiteY62" fmla="*/ 277778 h 527829"/>
              <a:gd name="connsiteX63" fmla="*/ 325847 w 608542"/>
              <a:gd name="connsiteY63" fmla="*/ 271336 h 527829"/>
              <a:gd name="connsiteX64" fmla="*/ 199271 w 608542"/>
              <a:gd name="connsiteY64" fmla="*/ 271336 h 527829"/>
              <a:gd name="connsiteX65" fmla="*/ 192818 w 608542"/>
              <a:gd name="connsiteY65" fmla="*/ 277778 h 527829"/>
              <a:gd name="connsiteX66" fmla="*/ 192818 w 608542"/>
              <a:gd name="connsiteY66" fmla="*/ 320842 h 527829"/>
              <a:gd name="connsiteX67" fmla="*/ 199271 w 608542"/>
              <a:gd name="connsiteY67" fmla="*/ 327285 h 527829"/>
              <a:gd name="connsiteX68" fmla="*/ 242401 w 608542"/>
              <a:gd name="connsiteY68" fmla="*/ 327285 h 527829"/>
              <a:gd name="connsiteX69" fmla="*/ 248853 w 608542"/>
              <a:gd name="connsiteY69" fmla="*/ 320842 h 527829"/>
              <a:gd name="connsiteX70" fmla="*/ 248853 w 608542"/>
              <a:gd name="connsiteY70" fmla="*/ 277778 h 527829"/>
              <a:gd name="connsiteX71" fmla="*/ 242401 w 608542"/>
              <a:gd name="connsiteY71" fmla="*/ 271336 h 527829"/>
              <a:gd name="connsiteX72" fmla="*/ 115824 w 608542"/>
              <a:gd name="connsiteY72" fmla="*/ 271336 h 527829"/>
              <a:gd name="connsiteX73" fmla="*/ 109323 w 608542"/>
              <a:gd name="connsiteY73" fmla="*/ 277778 h 527829"/>
              <a:gd name="connsiteX74" fmla="*/ 109323 w 608542"/>
              <a:gd name="connsiteY74" fmla="*/ 320842 h 527829"/>
              <a:gd name="connsiteX75" fmla="*/ 115824 w 608542"/>
              <a:gd name="connsiteY75" fmla="*/ 327285 h 527829"/>
              <a:gd name="connsiteX76" fmla="*/ 158906 w 608542"/>
              <a:gd name="connsiteY76" fmla="*/ 327285 h 527829"/>
              <a:gd name="connsiteX77" fmla="*/ 165359 w 608542"/>
              <a:gd name="connsiteY77" fmla="*/ 320842 h 527829"/>
              <a:gd name="connsiteX78" fmla="*/ 165359 w 608542"/>
              <a:gd name="connsiteY78" fmla="*/ 277778 h 527829"/>
              <a:gd name="connsiteX79" fmla="*/ 158906 w 608542"/>
              <a:gd name="connsiteY79" fmla="*/ 271336 h 527829"/>
              <a:gd name="connsiteX80" fmla="*/ 81864 w 608542"/>
              <a:gd name="connsiteY80" fmla="*/ 238299 h 527829"/>
              <a:gd name="connsiteX81" fmla="*/ 526749 w 608542"/>
              <a:gd name="connsiteY81" fmla="*/ 238299 h 527829"/>
              <a:gd name="connsiteX82" fmla="*/ 533250 w 608542"/>
              <a:gd name="connsiteY82" fmla="*/ 244742 h 527829"/>
              <a:gd name="connsiteX83" fmla="*/ 533250 w 608542"/>
              <a:gd name="connsiteY83" fmla="*/ 497457 h 527829"/>
              <a:gd name="connsiteX84" fmla="*/ 571140 w 608542"/>
              <a:gd name="connsiteY84" fmla="*/ 497457 h 527829"/>
              <a:gd name="connsiteX85" fmla="*/ 577641 w 608542"/>
              <a:gd name="connsiteY85" fmla="*/ 503948 h 527829"/>
              <a:gd name="connsiteX86" fmla="*/ 577641 w 608542"/>
              <a:gd name="connsiteY86" fmla="*/ 521386 h 527829"/>
              <a:gd name="connsiteX87" fmla="*/ 571140 w 608542"/>
              <a:gd name="connsiteY87" fmla="*/ 527829 h 527829"/>
              <a:gd name="connsiteX88" fmla="*/ 37472 w 608542"/>
              <a:gd name="connsiteY88" fmla="*/ 527829 h 527829"/>
              <a:gd name="connsiteX89" fmla="*/ 30971 w 608542"/>
              <a:gd name="connsiteY89" fmla="*/ 521386 h 527829"/>
              <a:gd name="connsiteX90" fmla="*/ 30971 w 608542"/>
              <a:gd name="connsiteY90" fmla="*/ 503948 h 527829"/>
              <a:gd name="connsiteX91" fmla="*/ 37472 w 608542"/>
              <a:gd name="connsiteY91" fmla="*/ 497457 h 527829"/>
              <a:gd name="connsiteX92" fmla="*/ 75411 w 608542"/>
              <a:gd name="connsiteY92" fmla="*/ 497457 h 527829"/>
              <a:gd name="connsiteX93" fmla="*/ 75411 w 608542"/>
              <a:gd name="connsiteY93" fmla="*/ 244742 h 527829"/>
              <a:gd name="connsiteX94" fmla="*/ 81864 w 608542"/>
              <a:gd name="connsiteY94" fmla="*/ 238299 h 527829"/>
              <a:gd name="connsiteX95" fmla="*/ 193268 w 608542"/>
              <a:gd name="connsiteY95" fmla="*/ 0 h 527829"/>
              <a:gd name="connsiteX96" fmla="*/ 224754 w 608542"/>
              <a:gd name="connsiteY96" fmla="*/ 0 h 527829"/>
              <a:gd name="connsiteX97" fmla="*/ 231255 w 608542"/>
              <a:gd name="connsiteY97" fmla="*/ 6443 h 527829"/>
              <a:gd name="connsiteX98" fmla="*/ 231255 w 608542"/>
              <a:gd name="connsiteY98" fmla="*/ 49848 h 527829"/>
              <a:gd name="connsiteX99" fmla="*/ 237708 w 608542"/>
              <a:gd name="connsiteY99" fmla="*/ 56340 h 527829"/>
              <a:gd name="connsiteX100" fmla="*/ 466893 w 608542"/>
              <a:gd name="connsiteY100" fmla="*/ 56340 h 527829"/>
              <a:gd name="connsiteX101" fmla="*/ 471745 w 608542"/>
              <a:gd name="connsiteY101" fmla="*/ 58520 h 527829"/>
              <a:gd name="connsiteX102" fmla="*/ 606908 w 608542"/>
              <a:gd name="connsiteY102" fmla="*/ 211504 h 527829"/>
              <a:gd name="connsiteX103" fmla="*/ 602105 w 608542"/>
              <a:gd name="connsiteY103" fmla="*/ 222210 h 527829"/>
              <a:gd name="connsiteX104" fmla="*/ 6485 w 608542"/>
              <a:gd name="connsiteY104" fmla="*/ 222210 h 527829"/>
              <a:gd name="connsiteX105" fmla="*/ 1633 w 608542"/>
              <a:gd name="connsiteY105" fmla="*/ 211504 h 527829"/>
              <a:gd name="connsiteX106" fmla="*/ 136797 w 608542"/>
              <a:gd name="connsiteY106" fmla="*/ 58520 h 527829"/>
              <a:gd name="connsiteX107" fmla="*/ 141648 w 608542"/>
              <a:gd name="connsiteY107" fmla="*/ 56340 h 527829"/>
              <a:gd name="connsiteX108" fmla="*/ 180363 w 608542"/>
              <a:gd name="connsiteY108" fmla="*/ 56340 h 527829"/>
              <a:gd name="connsiteX109" fmla="*/ 186816 w 608542"/>
              <a:gd name="connsiteY109" fmla="*/ 49848 h 527829"/>
              <a:gd name="connsiteX110" fmla="*/ 186816 w 608542"/>
              <a:gd name="connsiteY110" fmla="*/ 6443 h 527829"/>
              <a:gd name="connsiteX111" fmla="*/ 193268 w 608542"/>
              <a:gd name="connsiteY111" fmla="*/ 0 h 52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08542" h="527829">
                <a:moveTo>
                  <a:pt x="449706" y="367054"/>
                </a:moveTo>
                <a:cubicBezTo>
                  <a:pt x="446116" y="367054"/>
                  <a:pt x="443254" y="369961"/>
                  <a:pt x="443254" y="373545"/>
                </a:cubicBezTo>
                <a:lnTo>
                  <a:pt x="443254" y="416561"/>
                </a:lnTo>
                <a:cubicBezTo>
                  <a:pt x="443254" y="420145"/>
                  <a:pt x="446116" y="423003"/>
                  <a:pt x="449706" y="423003"/>
                </a:cubicBezTo>
                <a:lnTo>
                  <a:pt x="492788" y="423003"/>
                </a:lnTo>
                <a:cubicBezTo>
                  <a:pt x="496378" y="423003"/>
                  <a:pt x="499289" y="420145"/>
                  <a:pt x="499289" y="416561"/>
                </a:cubicBezTo>
                <a:lnTo>
                  <a:pt x="499289" y="373545"/>
                </a:lnTo>
                <a:cubicBezTo>
                  <a:pt x="499289" y="369961"/>
                  <a:pt x="496378" y="367054"/>
                  <a:pt x="492788" y="367054"/>
                </a:cubicBezTo>
                <a:close/>
                <a:moveTo>
                  <a:pt x="366212" y="367054"/>
                </a:moveTo>
                <a:cubicBezTo>
                  <a:pt x="362670" y="367054"/>
                  <a:pt x="359759" y="369961"/>
                  <a:pt x="359759" y="373545"/>
                </a:cubicBezTo>
                <a:lnTo>
                  <a:pt x="359759" y="416561"/>
                </a:lnTo>
                <a:cubicBezTo>
                  <a:pt x="359759" y="420145"/>
                  <a:pt x="362670" y="423003"/>
                  <a:pt x="366212" y="423003"/>
                </a:cubicBezTo>
                <a:lnTo>
                  <a:pt x="409342" y="423003"/>
                </a:lnTo>
                <a:cubicBezTo>
                  <a:pt x="412932" y="423003"/>
                  <a:pt x="415794" y="420145"/>
                  <a:pt x="415794" y="416561"/>
                </a:cubicBezTo>
                <a:lnTo>
                  <a:pt x="415794" y="373545"/>
                </a:lnTo>
                <a:cubicBezTo>
                  <a:pt x="415794" y="369961"/>
                  <a:pt x="412932" y="367054"/>
                  <a:pt x="409342" y="367054"/>
                </a:cubicBezTo>
                <a:close/>
                <a:moveTo>
                  <a:pt x="282765" y="367054"/>
                </a:moveTo>
                <a:cubicBezTo>
                  <a:pt x="279175" y="367054"/>
                  <a:pt x="276264" y="369961"/>
                  <a:pt x="276264" y="373545"/>
                </a:cubicBezTo>
                <a:lnTo>
                  <a:pt x="276264" y="476530"/>
                </a:lnTo>
                <a:cubicBezTo>
                  <a:pt x="276264" y="480066"/>
                  <a:pt x="279175" y="482973"/>
                  <a:pt x="282765" y="482973"/>
                </a:cubicBezTo>
                <a:lnTo>
                  <a:pt x="325847" y="482973"/>
                </a:lnTo>
                <a:cubicBezTo>
                  <a:pt x="329437" y="482973"/>
                  <a:pt x="332348" y="480066"/>
                  <a:pt x="332348" y="476530"/>
                </a:cubicBezTo>
                <a:lnTo>
                  <a:pt x="332348" y="373545"/>
                </a:lnTo>
                <a:cubicBezTo>
                  <a:pt x="332348" y="369961"/>
                  <a:pt x="329437" y="367054"/>
                  <a:pt x="325847" y="367054"/>
                </a:cubicBezTo>
                <a:close/>
                <a:moveTo>
                  <a:pt x="199271" y="367054"/>
                </a:moveTo>
                <a:cubicBezTo>
                  <a:pt x="195729" y="367054"/>
                  <a:pt x="192818" y="369961"/>
                  <a:pt x="192818" y="373545"/>
                </a:cubicBezTo>
                <a:lnTo>
                  <a:pt x="192818" y="416561"/>
                </a:lnTo>
                <a:cubicBezTo>
                  <a:pt x="192818" y="420145"/>
                  <a:pt x="195729" y="423003"/>
                  <a:pt x="199271" y="423003"/>
                </a:cubicBezTo>
                <a:lnTo>
                  <a:pt x="242401" y="423003"/>
                </a:lnTo>
                <a:cubicBezTo>
                  <a:pt x="245942" y="423003"/>
                  <a:pt x="248853" y="420145"/>
                  <a:pt x="248853" y="416561"/>
                </a:cubicBezTo>
                <a:lnTo>
                  <a:pt x="248853" y="373545"/>
                </a:lnTo>
                <a:cubicBezTo>
                  <a:pt x="248853" y="369961"/>
                  <a:pt x="245942" y="367054"/>
                  <a:pt x="242401" y="367054"/>
                </a:cubicBezTo>
                <a:close/>
                <a:moveTo>
                  <a:pt x="115824" y="367054"/>
                </a:moveTo>
                <a:cubicBezTo>
                  <a:pt x="112234" y="367054"/>
                  <a:pt x="109323" y="369961"/>
                  <a:pt x="109323" y="373545"/>
                </a:cubicBezTo>
                <a:lnTo>
                  <a:pt x="109323" y="416561"/>
                </a:lnTo>
                <a:cubicBezTo>
                  <a:pt x="109323" y="420145"/>
                  <a:pt x="112234" y="423003"/>
                  <a:pt x="115824" y="423003"/>
                </a:cubicBezTo>
                <a:lnTo>
                  <a:pt x="158906" y="423003"/>
                </a:lnTo>
                <a:cubicBezTo>
                  <a:pt x="162496" y="423003"/>
                  <a:pt x="165359" y="420145"/>
                  <a:pt x="165359" y="416561"/>
                </a:cubicBezTo>
                <a:lnTo>
                  <a:pt x="165359" y="373545"/>
                </a:lnTo>
                <a:cubicBezTo>
                  <a:pt x="165359" y="369961"/>
                  <a:pt x="162496" y="367054"/>
                  <a:pt x="158906" y="367054"/>
                </a:cubicBezTo>
                <a:close/>
                <a:moveTo>
                  <a:pt x="449706" y="271336"/>
                </a:moveTo>
                <a:cubicBezTo>
                  <a:pt x="446116" y="271336"/>
                  <a:pt x="443254" y="274242"/>
                  <a:pt x="443254" y="277778"/>
                </a:cubicBezTo>
                <a:lnTo>
                  <a:pt x="443254" y="320842"/>
                </a:lnTo>
                <a:cubicBezTo>
                  <a:pt x="443254" y="324378"/>
                  <a:pt x="446116" y="327285"/>
                  <a:pt x="449706" y="327285"/>
                </a:cubicBezTo>
                <a:lnTo>
                  <a:pt x="492788" y="327285"/>
                </a:lnTo>
                <a:cubicBezTo>
                  <a:pt x="496378" y="327285"/>
                  <a:pt x="499289" y="324378"/>
                  <a:pt x="499289" y="320842"/>
                </a:cubicBezTo>
                <a:lnTo>
                  <a:pt x="499289" y="277778"/>
                </a:lnTo>
                <a:cubicBezTo>
                  <a:pt x="499289" y="274242"/>
                  <a:pt x="496378" y="271336"/>
                  <a:pt x="492788" y="271336"/>
                </a:cubicBezTo>
                <a:close/>
                <a:moveTo>
                  <a:pt x="366212" y="271336"/>
                </a:moveTo>
                <a:cubicBezTo>
                  <a:pt x="362670" y="271336"/>
                  <a:pt x="359759" y="274242"/>
                  <a:pt x="359759" y="277778"/>
                </a:cubicBezTo>
                <a:lnTo>
                  <a:pt x="359759" y="320842"/>
                </a:lnTo>
                <a:cubicBezTo>
                  <a:pt x="359759" y="324378"/>
                  <a:pt x="362670" y="327285"/>
                  <a:pt x="366212" y="327285"/>
                </a:cubicBezTo>
                <a:lnTo>
                  <a:pt x="409342" y="327285"/>
                </a:lnTo>
                <a:cubicBezTo>
                  <a:pt x="412932" y="327285"/>
                  <a:pt x="415794" y="324378"/>
                  <a:pt x="415794" y="320842"/>
                </a:cubicBezTo>
                <a:lnTo>
                  <a:pt x="415794" y="277778"/>
                </a:lnTo>
                <a:cubicBezTo>
                  <a:pt x="415794" y="274242"/>
                  <a:pt x="412932" y="271336"/>
                  <a:pt x="409342" y="271336"/>
                </a:cubicBezTo>
                <a:close/>
                <a:moveTo>
                  <a:pt x="282765" y="271336"/>
                </a:moveTo>
                <a:cubicBezTo>
                  <a:pt x="279175" y="271336"/>
                  <a:pt x="276264" y="274242"/>
                  <a:pt x="276264" y="277778"/>
                </a:cubicBezTo>
                <a:lnTo>
                  <a:pt x="276264" y="320842"/>
                </a:lnTo>
                <a:cubicBezTo>
                  <a:pt x="276264" y="324378"/>
                  <a:pt x="279175" y="327285"/>
                  <a:pt x="282765" y="327285"/>
                </a:cubicBezTo>
                <a:lnTo>
                  <a:pt x="325847" y="327285"/>
                </a:lnTo>
                <a:cubicBezTo>
                  <a:pt x="329437" y="327285"/>
                  <a:pt x="332348" y="324378"/>
                  <a:pt x="332348" y="320842"/>
                </a:cubicBezTo>
                <a:lnTo>
                  <a:pt x="332348" y="277778"/>
                </a:lnTo>
                <a:cubicBezTo>
                  <a:pt x="332348" y="274242"/>
                  <a:pt x="329437" y="271336"/>
                  <a:pt x="325847" y="271336"/>
                </a:cubicBezTo>
                <a:close/>
                <a:moveTo>
                  <a:pt x="199271" y="271336"/>
                </a:moveTo>
                <a:cubicBezTo>
                  <a:pt x="195729" y="271336"/>
                  <a:pt x="192818" y="274242"/>
                  <a:pt x="192818" y="277778"/>
                </a:cubicBezTo>
                <a:lnTo>
                  <a:pt x="192818" y="320842"/>
                </a:lnTo>
                <a:cubicBezTo>
                  <a:pt x="192818" y="324378"/>
                  <a:pt x="195729" y="327285"/>
                  <a:pt x="199271" y="327285"/>
                </a:cubicBezTo>
                <a:lnTo>
                  <a:pt x="242401" y="327285"/>
                </a:lnTo>
                <a:cubicBezTo>
                  <a:pt x="245942" y="327285"/>
                  <a:pt x="248853" y="324378"/>
                  <a:pt x="248853" y="320842"/>
                </a:cubicBezTo>
                <a:lnTo>
                  <a:pt x="248853" y="277778"/>
                </a:lnTo>
                <a:cubicBezTo>
                  <a:pt x="248853" y="274242"/>
                  <a:pt x="245942" y="271336"/>
                  <a:pt x="242401" y="271336"/>
                </a:cubicBezTo>
                <a:close/>
                <a:moveTo>
                  <a:pt x="115824" y="271336"/>
                </a:moveTo>
                <a:cubicBezTo>
                  <a:pt x="112234" y="271336"/>
                  <a:pt x="109323" y="274242"/>
                  <a:pt x="109323" y="277778"/>
                </a:cubicBezTo>
                <a:lnTo>
                  <a:pt x="109323" y="320842"/>
                </a:lnTo>
                <a:cubicBezTo>
                  <a:pt x="109323" y="324378"/>
                  <a:pt x="112234" y="327285"/>
                  <a:pt x="115824" y="327285"/>
                </a:cubicBezTo>
                <a:lnTo>
                  <a:pt x="158906" y="327285"/>
                </a:lnTo>
                <a:cubicBezTo>
                  <a:pt x="162496" y="327285"/>
                  <a:pt x="165359" y="324378"/>
                  <a:pt x="165359" y="320842"/>
                </a:cubicBezTo>
                <a:lnTo>
                  <a:pt x="165359" y="277778"/>
                </a:lnTo>
                <a:cubicBezTo>
                  <a:pt x="165359" y="274242"/>
                  <a:pt x="162496" y="271336"/>
                  <a:pt x="158906" y="271336"/>
                </a:cubicBezTo>
                <a:close/>
                <a:moveTo>
                  <a:pt x="81864" y="238299"/>
                </a:moveTo>
                <a:lnTo>
                  <a:pt x="526749" y="238299"/>
                </a:lnTo>
                <a:cubicBezTo>
                  <a:pt x="530339" y="238299"/>
                  <a:pt x="533250" y="241157"/>
                  <a:pt x="533250" y="244742"/>
                </a:cubicBezTo>
                <a:lnTo>
                  <a:pt x="533250" y="497457"/>
                </a:lnTo>
                <a:lnTo>
                  <a:pt x="571140" y="497457"/>
                </a:lnTo>
                <a:cubicBezTo>
                  <a:pt x="574730" y="497457"/>
                  <a:pt x="577641" y="500363"/>
                  <a:pt x="577641" y="503948"/>
                </a:cubicBezTo>
                <a:lnTo>
                  <a:pt x="577641" y="521386"/>
                </a:lnTo>
                <a:cubicBezTo>
                  <a:pt x="577641" y="524923"/>
                  <a:pt x="574730" y="527829"/>
                  <a:pt x="571140" y="527829"/>
                </a:cubicBezTo>
                <a:lnTo>
                  <a:pt x="37472" y="527829"/>
                </a:lnTo>
                <a:cubicBezTo>
                  <a:pt x="33882" y="527829"/>
                  <a:pt x="30971" y="524923"/>
                  <a:pt x="30971" y="521386"/>
                </a:cubicBezTo>
                <a:lnTo>
                  <a:pt x="30971" y="503948"/>
                </a:lnTo>
                <a:cubicBezTo>
                  <a:pt x="30971" y="500363"/>
                  <a:pt x="33882" y="497457"/>
                  <a:pt x="37472" y="497457"/>
                </a:cubicBezTo>
                <a:lnTo>
                  <a:pt x="75411" y="497457"/>
                </a:lnTo>
                <a:lnTo>
                  <a:pt x="75411" y="244742"/>
                </a:lnTo>
                <a:cubicBezTo>
                  <a:pt x="75411" y="241157"/>
                  <a:pt x="78274" y="238299"/>
                  <a:pt x="81864" y="238299"/>
                </a:cubicBezTo>
                <a:close/>
                <a:moveTo>
                  <a:pt x="193268" y="0"/>
                </a:moveTo>
                <a:lnTo>
                  <a:pt x="224754" y="0"/>
                </a:lnTo>
                <a:cubicBezTo>
                  <a:pt x="228345" y="0"/>
                  <a:pt x="231255" y="2907"/>
                  <a:pt x="231255" y="6443"/>
                </a:cubicBezTo>
                <a:lnTo>
                  <a:pt x="231255" y="49848"/>
                </a:lnTo>
                <a:cubicBezTo>
                  <a:pt x="231255" y="53433"/>
                  <a:pt x="234166" y="56340"/>
                  <a:pt x="237708" y="56340"/>
                </a:cubicBezTo>
                <a:lnTo>
                  <a:pt x="466893" y="56340"/>
                </a:lnTo>
                <a:cubicBezTo>
                  <a:pt x="468737" y="56340"/>
                  <a:pt x="470532" y="57115"/>
                  <a:pt x="471745" y="58520"/>
                </a:cubicBezTo>
                <a:lnTo>
                  <a:pt x="606908" y="211504"/>
                </a:lnTo>
                <a:cubicBezTo>
                  <a:pt x="610595" y="215670"/>
                  <a:pt x="607636" y="222210"/>
                  <a:pt x="602105" y="222210"/>
                </a:cubicBezTo>
                <a:lnTo>
                  <a:pt x="6485" y="222210"/>
                </a:lnTo>
                <a:cubicBezTo>
                  <a:pt x="906" y="222210"/>
                  <a:pt x="-2054" y="215670"/>
                  <a:pt x="1633" y="211504"/>
                </a:cubicBezTo>
                <a:lnTo>
                  <a:pt x="136797" y="58520"/>
                </a:lnTo>
                <a:cubicBezTo>
                  <a:pt x="138009" y="57115"/>
                  <a:pt x="139804" y="56340"/>
                  <a:pt x="141648" y="56340"/>
                </a:cubicBezTo>
                <a:lnTo>
                  <a:pt x="180363" y="56340"/>
                </a:lnTo>
                <a:cubicBezTo>
                  <a:pt x="183905" y="56340"/>
                  <a:pt x="186816" y="53433"/>
                  <a:pt x="186816" y="49848"/>
                </a:cubicBezTo>
                <a:lnTo>
                  <a:pt x="186816" y="6443"/>
                </a:lnTo>
                <a:cubicBezTo>
                  <a:pt x="186816" y="2907"/>
                  <a:pt x="189727" y="0"/>
                  <a:pt x="193268" y="0"/>
                </a:cubicBezTo>
                <a:close/>
              </a:path>
            </a:pathLst>
          </a:custGeom>
          <a:solidFill>
            <a:schemeClr val="accent1">
              <a:lumMod val="7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110" name="文本框 109"/>
          <p:cNvSpPr txBox="1"/>
          <p:nvPr/>
        </p:nvSpPr>
        <p:spPr>
          <a:xfrm>
            <a:off x="8823184" y="2660835"/>
            <a:ext cx="733922" cy="274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rPr>
              <a:t>XXX</a:t>
            </a:r>
            <a:endPar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endParaRPr>
          </a:p>
        </p:txBody>
      </p:sp>
      <p:sp>
        <p:nvSpPr>
          <p:cNvPr id="111" name="hospital-buildings_33777"/>
          <p:cNvSpPr>
            <a:spLocks noChangeAspect="1"/>
          </p:cNvSpPr>
          <p:nvPr/>
        </p:nvSpPr>
        <p:spPr bwMode="auto">
          <a:xfrm>
            <a:off x="8809715" y="2108138"/>
            <a:ext cx="760860" cy="558823"/>
          </a:xfrm>
          <a:custGeom>
            <a:avLst/>
            <a:gdLst>
              <a:gd name="T0" fmla="*/ 1192 w 1260"/>
              <a:gd name="T1" fmla="*/ 756 h 862"/>
              <a:gd name="T2" fmla="*/ 1147 w 1260"/>
              <a:gd name="T3" fmla="*/ 193 h 862"/>
              <a:gd name="T4" fmla="*/ 900 w 1260"/>
              <a:gd name="T5" fmla="*/ 745 h 862"/>
              <a:gd name="T6" fmla="*/ 866 w 1260"/>
              <a:gd name="T7" fmla="*/ 770 h 862"/>
              <a:gd name="T8" fmla="*/ 869 w 1260"/>
              <a:gd name="T9" fmla="*/ 44 h 862"/>
              <a:gd name="T10" fmla="*/ 436 w 1260"/>
              <a:gd name="T11" fmla="*/ 0 h 862"/>
              <a:gd name="T12" fmla="*/ 391 w 1260"/>
              <a:gd name="T13" fmla="*/ 756 h 862"/>
              <a:gd name="T14" fmla="*/ 365 w 1260"/>
              <a:gd name="T15" fmla="*/ 770 h 862"/>
              <a:gd name="T16" fmla="*/ 360 w 1260"/>
              <a:gd name="T17" fmla="*/ 193 h 862"/>
              <a:gd name="T18" fmla="*/ 74 w 1260"/>
              <a:gd name="T19" fmla="*/ 238 h 862"/>
              <a:gd name="T20" fmla="*/ 76 w 1260"/>
              <a:gd name="T21" fmla="*/ 770 h 862"/>
              <a:gd name="T22" fmla="*/ 0 w 1260"/>
              <a:gd name="T23" fmla="*/ 862 h 862"/>
              <a:gd name="T24" fmla="*/ 1260 w 1260"/>
              <a:gd name="T25" fmla="*/ 770 h 862"/>
              <a:gd name="T26" fmla="*/ 1190 w 1260"/>
              <a:gd name="T27" fmla="*/ 770 h 862"/>
              <a:gd name="T28" fmla="*/ 144 w 1260"/>
              <a:gd name="T29" fmla="*/ 589 h 862"/>
              <a:gd name="T30" fmla="*/ 208 w 1260"/>
              <a:gd name="T31" fmla="*/ 525 h 862"/>
              <a:gd name="T32" fmla="*/ 208 w 1260"/>
              <a:gd name="T33" fmla="*/ 477 h 862"/>
              <a:gd name="T34" fmla="*/ 144 w 1260"/>
              <a:gd name="T35" fmla="*/ 413 h 862"/>
              <a:gd name="T36" fmla="*/ 208 w 1260"/>
              <a:gd name="T37" fmla="*/ 477 h 862"/>
              <a:gd name="T38" fmla="*/ 144 w 1260"/>
              <a:gd name="T39" fmla="*/ 368 h 862"/>
              <a:gd name="T40" fmla="*/ 208 w 1260"/>
              <a:gd name="T41" fmla="*/ 305 h 862"/>
              <a:gd name="T42" fmla="*/ 307 w 1260"/>
              <a:gd name="T43" fmla="*/ 589 h 862"/>
              <a:gd name="T44" fmla="*/ 243 w 1260"/>
              <a:gd name="T45" fmla="*/ 525 h 862"/>
              <a:gd name="T46" fmla="*/ 307 w 1260"/>
              <a:gd name="T47" fmla="*/ 589 h 862"/>
              <a:gd name="T48" fmla="*/ 243 w 1260"/>
              <a:gd name="T49" fmla="*/ 477 h 862"/>
              <a:gd name="T50" fmla="*/ 307 w 1260"/>
              <a:gd name="T51" fmla="*/ 413 h 862"/>
              <a:gd name="T52" fmla="*/ 307 w 1260"/>
              <a:gd name="T53" fmla="*/ 368 h 862"/>
              <a:gd name="T54" fmla="*/ 243 w 1260"/>
              <a:gd name="T55" fmla="*/ 305 h 862"/>
              <a:gd name="T56" fmla="*/ 307 w 1260"/>
              <a:gd name="T57" fmla="*/ 368 h 862"/>
              <a:gd name="T58" fmla="*/ 542 w 1260"/>
              <a:gd name="T59" fmla="*/ 767 h 862"/>
              <a:gd name="T60" fmla="*/ 729 w 1260"/>
              <a:gd name="T61" fmla="*/ 534 h 862"/>
              <a:gd name="T62" fmla="*/ 630 w 1260"/>
              <a:gd name="T63" fmla="*/ 334 h 862"/>
              <a:gd name="T64" fmla="*/ 630 w 1260"/>
              <a:gd name="T65" fmla="*/ 20 h 862"/>
              <a:gd name="T66" fmla="*/ 630 w 1260"/>
              <a:gd name="T67" fmla="*/ 334 h 862"/>
              <a:gd name="T68" fmla="*/ 971 w 1260"/>
              <a:gd name="T69" fmla="*/ 589 h 862"/>
              <a:gd name="T70" fmla="*/ 1035 w 1260"/>
              <a:gd name="T71" fmla="*/ 525 h 862"/>
              <a:gd name="T72" fmla="*/ 1035 w 1260"/>
              <a:gd name="T73" fmla="*/ 477 h 862"/>
              <a:gd name="T74" fmla="*/ 971 w 1260"/>
              <a:gd name="T75" fmla="*/ 413 h 862"/>
              <a:gd name="T76" fmla="*/ 1035 w 1260"/>
              <a:gd name="T77" fmla="*/ 477 h 862"/>
              <a:gd name="T78" fmla="*/ 971 w 1260"/>
              <a:gd name="T79" fmla="*/ 368 h 862"/>
              <a:gd name="T80" fmla="*/ 1035 w 1260"/>
              <a:gd name="T81" fmla="*/ 305 h 862"/>
              <a:gd name="T82" fmla="*/ 1134 w 1260"/>
              <a:gd name="T83" fmla="*/ 589 h 862"/>
              <a:gd name="T84" fmla="*/ 1070 w 1260"/>
              <a:gd name="T85" fmla="*/ 525 h 862"/>
              <a:gd name="T86" fmla="*/ 1134 w 1260"/>
              <a:gd name="T87" fmla="*/ 589 h 862"/>
              <a:gd name="T88" fmla="*/ 1070 w 1260"/>
              <a:gd name="T89" fmla="*/ 477 h 862"/>
              <a:gd name="T90" fmla="*/ 1134 w 1260"/>
              <a:gd name="T91" fmla="*/ 413 h 862"/>
              <a:gd name="T92" fmla="*/ 1134 w 1260"/>
              <a:gd name="T93" fmla="*/ 368 h 862"/>
              <a:gd name="T94" fmla="*/ 1070 w 1260"/>
              <a:gd name="T95" fmla="*/ 305 h 862"/>
              <a:gd name="T96" fmla="*/ 1134 w 1260"/>
              <a:gd name="T97" fmla="*/ 368 h 862"/>
              <a:gd name="T98" fmla="*/ 729 w 1260"/>
              <a:gd name="T99" fmla="*/ 138 h 862"/>
              <a:gd name="T100" fmla="*/ 669 w 1260"/>
              <a:gd name="T101" fmla="*/ 216 h 862"/>
              <a:gd name="T102" fmla="*/ 591 w 1260"/>
              <a:gd name="T103" fmla="*/ 276 h 862"/>
              <a:gd name="T104" fmla="*/ 531 w 1260"/>
              <a:gd name="T105" fmla="*/ 216 h 862"/>
              <a:gd name="T106" fmla="*/ 591 w 1260"/>
              <a:gd name="T107" fmla="*/ 138 h 862"/>
              <a:gd name="T108" fmla="*/ 669 w 1260"/>
              <a:gd name="T109" fmla="*/ 7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60" h="862">
                <a:moveTo>
                  <a:pt x="1190" y="770"/>
                </a:moveTo>
                <a:cubicBezTo>
                  <a:pt x="1191" y="766"/>
                  <a:pt x="1192" y="761"/>
                  <a:pt x="1192" y="756"/>
                </a:cubicBezTo>
                <a:lnTo>
                  <a:pt x="1192" y="238"/>
                </a:lnTo>
                <a:cubicBezTo>
                  <a:pt x="1192" y="213"/>
                  <a:pt x="1172" y="193"/>
                  <a:pt x="1147" y="193"/>
                </a:cubicBezTo>
                <a:lnTo>
                  <a:pt x="900" y="193"/>
                </a:lnTo>
                <a:lnTo>
                  <a:pt x="900" y="745"/>
                </a:lnTo>
                <a:cubicBezTo>
                  <a:pt x="900" y="754"/>
                  <a:pt x="898" y="762"/>
                  <a:pt x="895" y="770"/>
                </a:cubicBezTo>
                <a:lnTo>
                  <a:pt x="866" y="770"/>
                </a:lnTo>
                <a:cubicBezTo>
                  <a:pt x="868" y="766"/>
                  <a:pt x="869" y="761"/>
                  <a:pt x="869" y="756"/>
                </a:cubicBezTo>
                <a:lnTo>
                  <a:pt x="869" y="44"/>
                </a:lnTo>
                <a:cubicBezTo>
                  <a:pt x="869" y="20"/>
                  <a:pt x="849" y="0"/>
                  <a:pt x="824" y="0"/>
                </a:cubicBezTo>
                <a:lnTo>
                  <a:pt x="436" y="0"/>
                </a:lnTo>
                <a:cubicBezTo>
                  <a:pt x="411" y="0"/>
                  <a:pt x="391" y="20"/>
                  <a:pt x="391" y="44"/>
                </a:cubicBezTo>
                <a:lnTo>
                  <a:pt x="391" y="756"/>
                </a:lnTo>
                <a:cubicBezTo>
                  <a:pt x="391" y="761"/>
                  <a:pt x="392" y="766"/>
                  <a:pt x="394" y="770"/>
                </a:cubicBezTo>
                <a:lnTo>
                  <a:pt x="365" y="770"/>
                </a:lnTo>
                <a:cubicBezTo>
                  <a:pt x="362" y="762"/>
                  <a:pt x="360" y="754"/>
                  <a:pt x="360" y="745"/>
                </a:cubicBezTo>
                <a:lnTo>
                  <a:pt x="360" y="193"/>
                </a:lnTo>
                <a:lnTo>
                  <a:pt x="119" y="193"/>
                </a:lnTo>
                <a:cubicBezTo>
                  <a:pt x="94" y="193"/>
                  <a:pt x="74" y="213"/>
                  <a:pt x="74" y="238"/>
                </a:cubicBezTo>
                <a:lnTo>
                  <a:pt x="74" y="756"/>
                </a:lnTo>
                <a:cubicBezTo>
                  <a:pt x="74" y="761"/>
                  <a:pt x="75" y="766"/>
                  <a:pt x="76" y="770"/>
                </a:cubicBezTo>
                <a:lnTo>
                  <a:pt x="0" y="770"/>
                </a:lnTo>
                <a:lnTo>
                  <a:pt x="0" y="862"/>
                </a:lnTo>
                <a:lnTo>
                  <a:pt x="1260" y="862"/>
                </a:lnTo>
                <a:lnTo>
                  <a:pt x="1260" y="770"/>
                </a:lnTo>
                <a:lnTo>
                  <a:pt x="1190" y="770"/>
                </a:lnTo>
                <a:lnTo>
                  <a:pt x="1190" y="770"/>
                </a:lnTo>
                <a:close/>
                <a:moveTo>
                  <a:pt x="208" y="589"/>
                </a:moveTo>
                <a:lnTo>
                  <a:pt x="144" y="589"/>
                </a:lnTo>
                <a:lnTo>
                  <a:pt x="144" y="525"/>
                </a:lnTo>
                <a:lnTo>
                  <a:pt x="208" y="525"/>
                </a:lnTo>
                <a:lnTo>
                  <a:pt x="208" y="589"/>
                </a:lnTo>
                <a:close/>
                <a:moveTo>
                  <a:pt x="208" y="477"/>
                </a:moveTo>
                <a:lnTo>
                  <a:pt x="144" y="477"/>
                </a:lnTo>
                <a:lnTo>
                  <a:pt x="144" y="413"/>
                </a:lnTo>
                <a:lnTo>
                  <a:pt x="208" y="413"/>
                </a:lnTo>
                <a:lnTo>
                  <a:pt x="208" y="477"/>
                </a:lnTo>
                <a:close/>
                <a:moveTo>
                  <a:pt x="208" y="368"/>
                </a:moveTo>
                <a:lnTo>
                  <a:pt x="144" y="368"/>
                </a:lnTo>
                <a:lnTo>
                  <a:pt x="144" y="305"/>
                </a:lnTo>
                <a:lnTo>
                  <a:pt x="208" y="305"/>
                </a:lnTo>
                <a:lnTo>
                  <a:pt x="208" y="368"/>
                </a:lnTo>
                <a:close/>
                <a:moveTo>
                  <a:pt x="307" y="589"/>
                </a:moveTo>
                <a:lnTo>
                  <a:pt x="243" y="589"/>
                </a:lnTo>
                <a:lnTo>
                  <a:pt x="243" y="525"/>
                </a:lnTo>
                <a:lnTo>
                  <a:pt x="307" y="525"/>
                </a:lnTo>
                <a:lnTo>
                  <a:pt x="307" y="589"/>
                </a:lnTo>
                <a:close/>
                <a:moveTo>
                  <a:pt x="307" y="477"/>
                </a:moveTo>
                <a:lnTo>
                  <a:pt x="243" y="477"/>
                </a:lnTo>
                <a:lnTo>
                  <a:pt x="243" y="413"/>
                </a:lnTo>
                <a:lnTo>
                  <a:pt x="307" y="413"/>
                </a:lnTo>
                <a:lnTo>
                  <a:pt x="307" y="477"/>
                </a:lnTo>
                <a:close/>
                <a:moveTo>
                  <a:pt x="307" y="368"/>
                </a:moveTo>
                <a:lnTo>
                  <a:pt x="243" y="368"/>
                </a:lnTo>
                <a:lnTo>
                  <a:pt x="243" y="305"/>
                </a:lnTo>
                <a:lnTo>
                  <a:pt x="307" y="305"/>
                </a:lnTo>
                <a:lnTo>
                  <a:pt x="307" y="368"/>
                </a:lnTo>
                <a:close/>
                <a:moveTo>
                  <a:pt x="729" y="767"/>
                </a:moveTo>
                <a:lnTo>
                  <a:pt x="542" y="767"/>
                </a:lnTo>
                <a:lnTo>
                  <a:pt x="542" y="534"/>
                </a:lnTo>
                <a:lnTo>
                  <a:pt x="729" y="534"/>
                </a:lnTo>
                <a:lnTo>
                  <a:pt x="729" y="767"/>
                </a:lnTo>
                <a:close/>
                <a:moveTo>
                  <a:pt x="630" y="334"/>
                </a:moveTo>
                <a:cubicBezTo>
                  <a:pt x="543" y="334"/>
                  <a:pt x="473" y="263"/>
                  <a:pt x="473" y="177"/>
                </a:cubicBezTo>
                <a:cubicBezTo>
                  <a:pt x="473" y="90"/>
                  <a:pt x="543" y="20"/>
                  <a:pt x="630" y="20"/>
                </a:cubicBezTo>
                <a:cubicBezTo>
                  <a:pt x="717" y="20"/>
                  <a:pt x="787" y="90"/>
                  <a:pt x="787" y="177"/>
                </a:cubicBezTo>
                <a:cubicBezTo>
                  <a:pt x="787" y="263"/>
                  <a:pt x="717" y="334"/>
                  <a:pt x="630" y="334"/>
                </a:cubicBezTo>
                <a:close/>
                <a:moveTo>
                  <a:pt x="1035" y="589"/>
                </a:moveTo>
                <a:lnTo>
                  <a:pt x="971" y="589"/>
                </a:lnTo>
                <a:lnTo>
                  <a:pt x="971" y="525"/>
                </a:lnTo>
                <a:lnTo>
                  <a:pt x="1035" y="525"/>
                </a:lnTo>
                <a:lnTo>
                  <a:pt x="1035" y="589"/>
                </a:lnTo>
                <a:close/>
                <a:moveTo>
                  <a:pt x="1035" y="477"/>
                </a:moveTo>
                <a:lnTo>
                  <a:pt x="971" y="477"/>
                </a:lnTo>
                <a:lnTo>
                  <a:pt x="971" y="413"/>
                </a:lnTo>
                <a:lnTo>
                  <a:pt x="1035" y="413"/>
                </a:lnTo>
                <a:lnTo>
                  <a:pt x="1035" y="477"/>
                </a:lnTo>
                <a:close/>
                <a:moveTo>
                  <a:pt x="1035" y="368"/>
                </a:moveTo>
                <a:lnTo>
                  <a:pt x="971" y="368"/>
                </a:lnTo>
                <a:lnTo>
                  <a:pt x="971" y="305"/>
                </a:lnTo>
                <a:lnTo>
                  <a:pt x="1035" y="305"/>
                </a:lnTo>
                <a:lnTo>
                  <a:pt x="1035" y="368"/>
                </a:lnTo>
                <a:close/>
                <a:moveTo>
                  <a:pt x="1134" y="589"/>
                </a:moveTo>
                <a:lnTo>
                  <a:pt x="1070" y="589"/>
                </a:lnTo>
                <a:lnTo>
                  <a:pt x="1070" y="525"/>
                </a:lnTo>
                <a:lnTo>
                  <a:pt x="1134" y="525"/>
                </a:lnTo>
                <a:lnTo>
                  <a:pt x="1134" y="589"/>
                </a:lnTo>
                <a:close/>
                <a:moveTo>
                  <a:pt x="1134" y="477"/>
                </a:moveTo>
                <a:lnTo>
                  <a:pt x="1070" y="477"/>
                </a:lnTo>
                <a:lnTo>
                  <a:pt x="1070" y="413"/>
                </a:lnTo>
                <a:lnTo>
                  <a:pt x="1134" y="413"/>
                </a:lnTo>
                <a:lnTo>
                  <a:pt x="1134" y="477"/>
                </a:lnTo>
                <a:close/>
                <a:moveTo>
                  <a:pt x="1134" y="368"/>
                </a:moveTo>
                <a:lnTo>
                  <a:pt x="1070" y="368"/>
                </a:lnTo>
                <a:lnTo>
                  <a:pt x="1070" y="305"/>
                </a:lnTo>
                <a:lnTo>
                  <a:pt x="1134" y="305"/>
                </a:lnTo>
                <a:lnTo>
                  <a:pt x="1134" y="368"/>
                </a:lnTo>
                <a:close/>
                <a:moveTo>
                  <a:pt x="669" y="138"/>
                </a:moveTo>
                <a:lnTo>
                  <a:pt x="729" y="138"/>
                </a:lnTo>
                <a:lnTo>
                  <a:pt x="729" y="216"/>
                </a:lnTo>
                <a:lnTo>
                  <a:pt x="669" y="216"/>
                </a:lnTo>
                <a:lnTo>
                  <a:pt x="669" y="276"/>
                </a:lnTo>
                <a:lnTo>
                  <a:pt x="591" y="276"/>
                </a:lnTo>
                <a:lnTo>
                  <a:pt x="591" y="216"/>
                </a:lnTo>
                <a:lnTo>
                  <a:pt x="531" y="216"/>
                </a:lnTo>
                <a:lnTo>
                  <a:pt x="531" y="138"/>
                </a:lnTo>
                <a:lnTo>
                  <a:pt x="591" y="138"/>
                </a:lnTo>
                <a:lnTo>
                  <a:pt x="591" y="78"/>
                </a:lnTo>
                <a:lnTo>
                  <a:pt x="669" y="78"/>
                </a:lnTo>
                <a:lnTo>
                  <a:pt x="669" y="138"/>
                </a:lnTo>
                <a:close/>
              </a:path>
            </a:pathLst>
          </a:custGeom>
          <a:solidFill>
            <a:schemeClr val="accent1">
              <a:lumMod val="7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charset="-122"/>
              <a:cs typeface="+mn-cs"/>
            </a:endParaRPr>
          </a:p>
        </p:txBody>
      </p:sp>
      <p:grpSp>
        <p:nvGrpSpPr>
          <p:cNvPr id="15" name="组合 14"/>
          <p:cNvGrpSpPr/>
          <p:nvPr/>
        </p:nvGrpSpPr>
        <p:grpSpPr>
          <a:xfrm>
            <a:off x="317664" y="1158211"/>
            <a:ext cx="2861953" cy="4949368"/>
            <a:chOff x="317664" y="1158211"/>
            <a:chExt cx="3173681" cy="4949368"/>
          </a:xfrm>
          <a:effectLst/>
        </p:grpSpPr>
        <p:sp>
          <p:nvSpPr>
            <p:cNvPr id="43" name="矩形 42"/>
            <p:cNvSpPr/>
            <p:nvPr/>
          </p:nvSpPr>
          <p:spPr>
            <a:xfrm>
              <a:off x="317664" y="1158211"/>
              <a:ext cx="3173681" cy="4949368"/>
            </a:xfrm>
            <a:prstGeom prst="rect">
              <a:avLst/>
            </a:prstGeom>
            <a:solidFill>
              <a:srgbClr val="FFFAF7"/>
            </a:solidFill>
            <a:ln w="19050" cap="rnd" cmpd="sng" algn="ctr">
              <a:solidFill>
                <a:schemeClr val="accent1">
                  <a:lumMod val="7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13" name="组合 12"/>
            <p:cNvGrpSpPr/>
            <p:nvPr/>
          </p:nvGrpSpPr>
          <p:grpSpPr>
            <a:xfrm>
              <a:off x="436419" y="1261607"/>
              <a:ext cx="2951018" cy="4755568"/>
              <a:chOff x="498764" y="1362076"/>
              <a:chExt cx="2826327" cy="4554629"/>
            </a:xfrm>
          </p:grpSpPr>
          <p:grpSp>
            <p:nvGrpSpPr>
              <p:cNvPr id="8" name="组合 7"/>
              <p:cNvGrpSpPr/>
              <p:nvPr/>
            </p:nvGrpSpPr>
            <p:grpSpPr>
              <a:xfrm>
                <a:off x="498764" y="1362076"/>
                <a:ext cx="2826327" cy="1452866"/>
                <a:chOff x="498764" y="1362077"/>
                <a:chExt cx="2826327" cy="1627504"/>
              </a:xfrm>
            </p:grpSpPr>
            <p:sp>
              <p:nvSpPr>
                <p:cNvPr id="118" name="矩形 117"/>
                <p:cNvSpPr/>
                <p:nvPr/>
              </p:nvSpPr>
              <p:spPr>
                <a:xfrm>
                  <a:off x="516301" y="1383126"/>
                  <a:ext cx="2788007" cy="1575227"/>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3600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15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4" name="矩形 3"/>
                <p:cNvSpPr/>
                <p:nvPr/>
              </p:nvSpPr>
              <p:spPr>
                <a:xfrm>
                  <a:off x="518956" y="1477880"/>
                  <a:ext cx="686446" cy="396245"/>
                </a:xfrm>
                <a:prstGeom prst="rect">
                  <a:avLst/>
                </a:prstGeom>
              </p:spPr>
              <p:txBody>
                <a:bodyPr wrap="none">
                  <a:sp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8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en-US" altLang="zh-CN" sz="18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 name="矩形 4"/>
                <p:cNvSpPr/>
                <p:nvPr/>
              </p:nvSpPr>
              <p:spPr>
                <a:xfrm>
                  <a:off x="637309" y="1868414"/>
                  <a:ext cx="2594264" cy="396245"/>
                </a:xfrm>
                <a:prstGeom prst="rect">
                  <a:avLst/>
                </a:prstGeom>
                <a:ln w="19050">
                  <a:solidFill>
                    <a:schemeClr val="bg1"/>
                  </a:solidFill>
                </a:ln>
              </p:spPr>
              <p:txBody>
                <a:bodyPr wrap="square" anchor="ctr">
                  <a:sp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8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8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48" name="矩形 47"/>
                <p:cNvSpPr/>
                <p:nvPr/>
              </p:nvSpPr>
              <p:spPr>
                <a:xfrm>
                  <a:off x="637309" y="2349028"/>
                  <a:ext cx="2594264" cy="396245"/>
                </a:xfrm>
                <a:prstGeom prst="rect">
                  <a:avLst/>
                </a:prstGeom>
                <a:ln w="19050">
                  <a:solidFill>
                    <a:schemeClr val="bg1"/>
                  </a:solidFill>
                </a:ln>
              </p:spPr>
              <p:txBody>
                <a:bodyPr wrap="square" anchor="ctr">
                  <a:sp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8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8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51" name="组合 50"/>
                <p:cNvGrpSpPr/>
                <p:nvPr/>
              </p:nvGrpSpPr>
              <p:grpSpPr>
                <a:xfrm>
                  <a:off x="498764" y="1362077"/>
                  <a:ext cx="2826327" cy="1627504"/>
                  <a:chOff x="-8582026" y="3954454"/>
                  <a:chExt cx="7604125" cy="4238607"/>
                </a:xfrm>
                <a:solidFill>
                  <a:schemeClr val="accent1">
                    <a:lumMod val="75000"/>
                  </a:schemeClr>
                </a:solidFill>
              </p:grpSpPr>
              <p:sp>
                <p:nvSpPr>
                  <p:cNvPr id="52" name="Oval 4763"/>
                  <p:cNvSpPr>
                    <a:spLocks noChangeArrowheads="1"/>
                  </p:cNvSpPr>
                  <p:nvPr/>
                </p:nvSpPr>
                <p:spPr bwMode="auto">
                  <a:xfrm>
                    <a:off x="-2614613" y="4065574"/>
                    <a:ext cx="58738" cy="635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3" name="Oval 4764"/>
                  <p:cNvSpPr>
                    <a:spLocks noChangeArrowheads="1"/>
                  </p:cNvSpPr>
                  <p:nvPr/>
                </p:nvSpPr>
                <p:spPr bwMode="auto">
                  <a:xfrm>
                    <a:off x="-1114426" y="7869212"/>
                    <a:ext cx="60325" cy="635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4" name="Oval 4765"/>
                  <p:cNvSpPr>
                    <a:spLocks noChangeArrowheads="1"/>
                  </p:cNvSpPr>
                  <p:nvPr/>
                </p:nvSpPr>
                <p:spPr bwMode="auto">
                  <a:xfrm>
                    <a:off x="-2249488" y="8056536"/>
                    <a:ext cx="58738" cy="587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5" name="Freeform 4766"/>
                  <p:cNvSpPr>
                    <a:spLocks noEditPoints="1"/>
                  </p:cNvSpPr>
                  <p:nvPr/>
                </p:nvSpPr>
                <p:spPr bwMode="auto">
                  <a:xfrm>
                    <a:off x="-1677988" y="4154474"/>
                    <a:ext cx="71438" cy="7143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6" name="Freeform 4767"/>
                  <p:cNvSpPr>
                    <a:spLocks noEditPoints="1"/>
                  </p:cNvSpPr>
                  <p:nvPr/>
                </p:nvSpPr>
                <p:spPr bwMode="auto">
                  <a:xfrm>
                    <a:off x="-1139826" y="4081449"/>
                    <a:ext cx="73025" cy="73025"/>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7" name="Freeform 4768"/>
                  <p:cNvSpPr>
                    <a:spLocks noEditPoints="1"/>
                  </p:cNvSpPr>
                  <p:nvPr/>
                </p:nvSpPr>
                <p:spPr bwMode="auto">
                  <a:xfrm>
                    <a:off x="-1050926" y="7397725"/>
                    <a:ext cx="73025" cy="73025"/>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8" name="Freeform 4769"/>
                  <p:cNvSpPr>
                    <a:spLocks noEditPoints="1"/>
                  </p:cNvSpPr>
                  <p:nvPr/>
                </p:nvSpPr>
                <p:spPr bwMode="auto">
                  <a:xfrm>
                    <a:off x="-2716213" y="8120036"/>
                    <a:ext cx="71438" cy="73025"/>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 name="Freeform 4770"/>
                  <p:cNvSpPr/>
                  <p:nvPr/>
                </p:nvSpPr>
                <p:spPr bwMode="auto">
                  <a:xfrm>
                    <a:off x="-1198563" y="8077173"/>
                    <a:ext cx="88900" cy="42863"/>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 name="Freeform 4771"/>
                  <p:cNvSpPr/>
                  <p:nvPr/>
                </p:nvSpPr>
                <p:spPr bwMode="auto">
                  <a:xfrm>
                    <a:off x="-1262063" y="8077173"/>
                    <a:ext cx="88900" cy="42863"/>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 name="Freeform 4772"/>
                  <p:cNvSpPr/>
                  <p:nvPr/>
                </p:nvSpPr>
                <p:spPr bwMode="auto">
                  <a:xfrm>
                    <a:off x="-1325563" y="8077173"/>
                    <a:ext cx="88900" cy="42863"/>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 name="Freeform 4773"/>
                  <p:cNvSpPr/>
                  <p:nvPr/>
                </p:nvSpPr>
                <p:spPr bwMode="auto">
                  <a:xfrm>
                    <a:off x="-1389063" y="8077173"/>
                    <a:ext cx="88900" cy="42863"/>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 name="Freeform 4774"/>
                  <p:cNvSpPr/>
                  <p:nvPr/>
                </p:nvSpPr>
                <p:spPr bwMode="auto">
                  <a:xfrm>
                    <a:off x="-1096963" y="5713394"/>
                    <a:ext cx="25400" cy="1243009"/>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4" name="Freeform 4775"/>
                  <p:cNvSpPr/>
                  <p:nvPr/>
                </p:nvSpPr>
                <p:spPr bwMode="auto">
                  <a:xfrm>
                    <a:off x="-1076326" y="4498960"/>
                    <a:ext cx="25400" cy="619123"/>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 name="Freeform 4776"/>
                  <p:cNvSpPr/>
                  <p:nvPr/>
                </p:nvSpPr>
                <p:spPr bwMode="auto">
                  <a:xfrm>
                    <a:off x="-1096963" y="5670531"/>
                    <a:ext cx="25400" cy="46038"/>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 name="Freeform 4777"/>
                  <p:cNvSpPr/>
                  <p:nvPr/>
                </p:nvSpPr>
                <p:spPr bwMode="auto">
                  <a:xfrm>
                    <a:off x="-1096963" y="5627669"/>
                    <a:ext cx="25400" cy="50800"/>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 name="Freeform 4778"/>
                  <p:cNvSpPr/>
                  <p:nvPr/>
                </p:nvSpPr>
                <p:spPr bwMode="auto">
                  <a:xfrm>
                    <a:off x="-1096963" y="5589569"/>
                    <a:ext cx="25400" cy="46038"/>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 name="Freeform 4779"/>
                  <p:cNvSpPr/>
                  <p:nvPr/>
                </p:nvSpPr>
                <p:spPr bwMode="auto">
                  <a:xfrm>
                    <a:off x="-1096963" y="5546706"/>
                    <a:ext cx="25400" cy="50800"/>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 name="Freeform 4780"/>
                  <p:cNvSpPr/>
                  <p:nvPr/>
                </p:nvSpPr>
                <p:spPr bwMode="auto">
                  <a:xfrm>
                    <a:off x="-1096963" y="5508606"/>
                    <a:ext cx="25400"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0" name="Freeform 4781"/>
                  <p:cNvSpPr/>
                  <p:nvPr/>
                </p:nvSpPr>
                <p:spPr bwMode="auto">
                  <a:xfrm>
                    <a:off x="-1096963" y="5465744"/>
                    <a:ext cx="25400" cy="50800"/>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 name="Rectangle 4782"/>
                  <p:cNvSpPr>
                    <a:spLocks noChangeArrowheads="1"/>
                  </p:cNvSpPr>
                  <p:nvPr/>
                </p:nvSpPr>
                <p:spPr bwMode="auto">
                  <a:xfrm>
                    <a:off x="-1169988" y="4268773"/>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 name="Rectangle 4783"/>
                  <p:cNvSpPr>
                    <a:spLocks noChangeArrowheads="1"/>
                  </p:cNvSpPr>
                  <p:nvPr/>
                </p:nvSpPr>
                <p:spPr bwMode="auto">
                  <a:xfrm>
                    <a:off x="-1169988" y="4306873"/>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 name="Rectangle 4784"/>
                  <p:cNvSpPr>
                    <a:spLocks noChangeArrowheads="1"/>
                  </p:cNvSpPr>
                  <p:nvPr/>
                </p:nvSpPr>
                <p:spPr bwMode="auto">
                  <a:xfrm>
                    <a:off x="-1169988" y="4349735"/>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 name="Rectangle 4785"/>
                  <p:cNvSpPr>
                    <a:spLocks noChangeArrowheads="1"/>
                  </p:cNvSpPr>
                  <p:nvPr/>
                </p:nvSpPr>
                <p:spPr bwMode="auto">
                  <a:xfrm>
                    <a:off x="-1169988" y="4387835"/>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6" name="Rectangle 4786"/>
                  <p:cNvSpPr>
                    <a:spLocks noChangeArrowheads="1"/>
                  </p:cNvSpPr>
                  <p:nvPr/>
                </p:nvSpPr>
                <p:spPr bwMode="auto">
                  <a:xfrm>
                    <a:off x="-1169988" y="4430698"/>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8" name="Freeform 4787"/>
                  <p:cNvSpPr/>
                  <p:nvPr/>
                </p:nvSpPr>
                <p:spPr bwMode="auto">
                  <a:xfrm>
                    <a:off x="-1300163" y="4162411"/>
                    <a:ext cx="79375"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 name="Oval 4788"/>
                  <p:cNvSpPr>
                    <a:spLocks noChangeArrowheads="1"/>
                  </p:cNvSpPr>
                  <p:nvPr/>
                </p:nvSpPr>
                <p:spPr bwMode="auto">
                  <a:xfrm>
                    <a:off x="-7005638" y="8056536"/>
                    <a:ext cx="58738" cy="587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 name="Oval 4789"/>
                  <p:cNvSpPr>
                    <a:spLocks noChangeArrowheads="1"/>
                  </p:cNvSpPr>
                  <p:nvPr/>
                </p:nvSpPr>
                <p:spPr bwMode="auto">
                  <a:xfrm>
                    <a:off x="-8505826" y="4251310"/>
                    <a:ext cx="58738" cy="603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 name="Oval 4790"/>
                  <p:cNvSpPr>
                    <a:spLocks noChangeArrowheads="1"/>
                  </p:cNvSpPr>
                  <p:nvPr/>
                </p:nvSpPr>
                <p:spPr bwMode="auto">
                  <a:xfrm>
                    <a:off x="-7370763" y="4065574"/>
                    <a:ext cx="60325" cy="635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 name="Freeform 4791"/>
                  <p:cNvSpPr>
                    <a:spLocks noEditPoints="1"/>
                  </p:cNvSpPr>
                  <p:nvPr/>
                </p:nvSpPr>
                <p:spPr bwMode="auto">
                  <a:xfrm>
                    <a:off x="-7954963" y="7954936"/>
                    <a:ext cx="71438" cy="71438"/>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 name="Freeform 4792"/>
                  <p:cNvSpPr>
                    <a:spLocks noEditPoints="1"/>
                  </p:cNvSpPr>
                  <p:nvPr/>
                </p:nvSpPr>
                <p:spPr bwMode="auto">
                  <a:xfrm>
                    <a:off x="-8493126" y="8026373"/>
                    <a:ext cx="71438"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 name="Freeform 4793"/>
                  <p:cNvSpPr>
                    <a:spLocks noEditPoints="1"/>
                  </p:cNvSpPr>
                  <p:nvPr/>
                </p:nvSpPr>
                <p:spPr bwMode="auto">
                  <a:xfrm>
                    <a:off x="-8582026" y="4671997"/>
                    <a:ext cx="71438" cy="73025"/>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 name="Freeform 4794"/>
                  <p:cNvSpPr>
                    <a:spLocks noEditPoints="1"/>
                  </p:cNvSpPr>
                  <p:nvPr/>
                </p:nvSpPr>
                <p:spPr bwMode="auto">
                  <a:xfrm>
                    <a:off x="-6916738" y="3992550"/>
                    <a:ext cx="71438" cy="73025"/>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 name="Freeform 4795"/>
                  <p:cNvSpPr/>
                  <p:nvPr/>
                </p:nvSpPr>
                <p:spPr bwMode="auto">
                  <a:xfrm>
                    <a:off x="-8451851" y="4073511"/>
                    <a:ext cx="90488" cy="42863"/>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8" name="Freeform 4796"/>
                  <p:cNvSpPr/>
                  <p:nvPr/>
                </p:nvSpPr>
                <p:spPr bwMode="auto">
                  <a:xfrm>
                    <a:off x="-8386763" y="4073511"/>
                    <a:ext cx="88900" cy="42863"/>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9" name="Freeform 4797"/>
                  <p:cNvSpPr/>
                  <p:nvPr/>
                </p:nvSpPr>
                <p:spPr bwMode="auto">
                  <a:xfrm>
                    <a:off x="-8323263" y="4073511"/>
                    <a:ext cx="88900" cy="42863"/>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0" name="Freeform 4798"/>
                  <p:cNvSpPr/>
                  <p:nvPr/>
                </p:nvSpPr>
                <p:spPr bwMode="auto">
                  <a:xfrm>
                    <a:off x="-8259763" y="4073511"/>
                    <a:ext cx="88900" cy="42863"/>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1" name="Freeform 4799"/>
                  <p:cNvSpPr/>
                  <p:nvPr/>
                </p:nvSpPr>
                <p:spPr bwMode="auto">
                  <a:xfrm>
                    <a:off x="-8489951" y="5148246"/>
                    <a:ext cx="25400" cy="1239834"/>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2" name="Freeform 4800"/>
                  <p:cNvSpPr/>
                  <p:nvPr/>
                </p:nvSpPr>
                <p:spPr bwMode="auto">
                  <a:xfrm>
                    <a:off x="-8510588" y="6981801"/>
                    <a:ext cx="25400" cy="620711"/>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3" name="Freeform 4801"/>
                  <p:cNvSpPr/>
                  <p:nvPr/>
                </p:nvSpPr>
                <p:spPr bwMode="auto">
                  <a:xfrm>
                    <a:off x="-8489951" y="6383316"/>
                    <a:ext cx="25400" cy="50800"/>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 name="Freeform 4802"/>
                  <p:cNvSpPr/>
                  <p:nvPr/>
                </p:nvSpPr>
                <p:spPr bwMode="auto">
                  <a:xfrm>
                    <a:off x="-8489951" y="6426178"/>
                    <a:ext cx="25400" cy="46038"/>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 name="Freeform 4803"/>
                  <p:cNvSpPr/>
                  <p:nvPr/>
                </p:nvSpPr>
                <p:spPr bwMode="auto">
                  <a:xfrm>
                    <a:off x="-8489951" y="6464278"/>
                    <a:ext cx="25400" cy="50800"/>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 name="Freeform 4804"/>
                  <p:cNvSpPr/>
                  <p:nvPr/>
                </p:nvSpPr>
                <p:spPr bwMode="auto">
                  <a:xfrm>
                    <a:off x="-8489951" y="6507141"/>
                    <a:ext cx="25400" cy="46038"/>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 name="Freeform 4805"/>
                  <p:cNvSpPr/>
                  <p:nvPr/>
                </p:nvSpPr>
                <p:spPr bwMode="auto">
                  <a:xfrm>
                    <a:off x="-8489951" y="6545241"/>
                    <a:ext cx="25400" cy="50800"/>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 name="Freeform 4806"/>
                  <p:cNvSpPr/>
                  <p:nvPr/>
                </p:nvSpPr>
                <p:spPr bwMode="auto">
                  <a:xfrm>
                    <a:off x="-8489951" y="6588103"/>
                    <a:ext cx="25400" cy="46038"/>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2" name="Rectangle 4807"/>
                  <p:cNvSpPr>
                    <a:spLocks noChangeArrowheads="1"/>
                  </p:cNvSpPr>
                  <p:nvPr/>
                </p:nvSpPr>
                <p:spPr bwMode="auto">
                  <a:xfrm>
                    <a:off x="-8413751" y="7894612"/>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4" name="Rectangle 4808"/>
                  <p:cNvSpPr>
                    <a:spLocks noChangeArrowheads="1"/>
                  </p:cNvSpPr>
                  <p:nvPr/>
                </p:nvSpPr>
                <p:spPr bwMode="auto">
                  <a:xfrm>
                    <a:off x="-8413751" y="7853337"/>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5" name="Rectangle 4809"/>
                  <p:cNvSpPr>
                    <a:spLocks noChangeArrowheads="1"/>
                  </p:cNvSpPr>
                  <p:nvPr/>
                </p:nvSpPr>
                <p:spPr bwMode="auto">
                  <a:xfrm>
                    <a:off x="-8413751" y="7815237"/>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 name="Rectangle 4810"/>
                  <p:cNvSpPr>
                    <a:spLocks noChangeArrowheads="1"/>
                  </p:cNvSpPr>
                  <p:nvPr/>
                </p:nvSpPr>
                <p:spPr bwMode="auto">
                  <a:xfrm>
                    <a:off x="-8413751" y="7772374"/>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 name="Rectangle 4811"/>
                  <p:cNvSpPr>
                    <a:spLocks noChangeArrowheads="1"/>
                  </p:cNvSpPr>
                  <p:nvPr/>
                </p:nvSpPr>
                <p:spPr bwMode="auto">
                  <a:xfrm>
                    <a:off x="-8413751" y="7734274"/>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 name="Freeform 4812"/>
                  <p:cNvSpPr/>
                  <p:nvPr/>
                </p:nvSpPr>
                <p:spPr bwMode="auto">
                  <a:xfrm>
                    <a:off x="-8340726" y="7937473"/>
                    <a:ext cx="80963" cy="80963"/>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 name="Freeform 4813"/>
                  <p:cNvSpPr/>
                  <p:nvPr/>
                </p:nvSpPr>
                <p:spPr bwMode="auto">
                  <a:xfrm>
                    <a:off x="-8553451" y="4022711"/>
                    <a:ext cx="1641475" cy="654048"/>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1" name="Freeform 4814"/>
                  <p:cNvSpPr/>
                  <p:nvPr/>
                </p:nvSpPr>
                <p:spPr bwMode="auto">
                  <a:xfrm>
                    <a:off x="-7310438" y="4022711"/>
                    <a:ext cx="5637213" cy="174625"/>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 name="Freeform 4815"/>
                  <p:cNvSpPr/>
                  <p:nvPr/>
                </p:nvSpPr>
                <p:spPr bwMode="auto">
                  <a:xfrm>
                    <a:off x="-2555876" y="4090974"/>
                    <a:ext cx="1411288"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 name="Freeform 4816"/>
                  <p:cNvSpPr/>
                  <p:nvPr/>
                </p:nvSpPr>
                <p:spPr bwMode="auto">
                  <a:xfrm>
                    <a:off x="-1109663" y="4149711"/>
                    <a:ext cx="93663" cy="3719500"/>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 name="Freeform 4817"/>
                  <p:cNvSpPr/>
                  <p:nvPr/>
                </p:nvSpPr>
                <p:spPr bwMode="auto">
                  <a:xfrm>
                    <a:off x="-2647951" y="7465988"/>
                    <a:ext cx="1639888" cy="696911"/>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7" name="Freeform 4818"/>
                  <p:cNvSpPr/>
                  <p:nvPr/>
                </p:nvSpPr>
                <p:spPr bwMode="auto">
                  <a:xfrm>
                    <a:off x="-7886701" y="7983511"/>
                    <a:ext cx="5637213" cy="179387"/>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 name="Freeform 4819"/>
                  <p:cNvSpPr/>
                  <p:nvPr/>
                </p:nvSpPr>
                <p:spPr bwMode="auto">
                  <a:xfrm>
                    <a:off x="-8416926" y="7932711"/>
                    <a:ext cx="1411288" cy="157163"/>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 name="Freeform 4820"/>
                  <p:cNvSpPr/>
                  <p:nvPr/>
                </p:nvSpPr>
                <p:spPr bwMode="auto">
                  <a:xfrm>
                    <a:off x="-8543926" y="4311635"/>
                    <a:ext cx="92075" cy="372426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 name="Freeform 4821"/>
                  <p:cNvSpPr/>
                  <p:nvPr/>
                </p:nvSpPr>
                <p:spPr bwMode="auto">
                  <a:xfrm>
                    <a:off x="-8518526" y="3954454"/>
                    <a:ext cx="461963" cy="161925"/>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 name="Rectangle 4822"/>
                  <p:cNvSpPr>
                    <a:spLocks noChangeArrowheads="1"/>
                  </p:cNvSpPr>
                  <p:nvPr/>
                </p:nvSpPr>
                <p:spPr bwMode="auto">
                  <a:xfrm>
                    <a:off x="-8515351" y="4103683"/>
                    <a:ext cx="4286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 name="Freeform 4823"/>
                  <p:cNvSpPr/>
                  <p:nvPr/>
                </p:nvSpPr>
                <p:spPr bwMode="auto">
                  <a:xfrm>
                    <a:off x="-8053388" y="3992563"/>
                    <a:ext cx="636588"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grpSp>
            <p:nvGrpSpPr>
              <p:cNvPr id="145" name="组合 144"/>
              <p:cNvGrpSpPr/>
              <p:nvPr/>
            </p:nvGrpSpPr>
            <p:grpSpPr>
              <a:xfrm>
                <a:off x="498764" y="2912957"/>
                <a:ext cx="2826327" cy="1452866"/>
                <a:chOff x="498764" y="1362077"/>
                <a:chExt cx="2826327" cy="1627504"/>
              </a:xfrm>
            </p:grpSpPr>
            <p:sp>
              <p:nvSpPr>
                <p:cNvPr id="146" name="矩形 145"/>
                <p:cNvSpPr/>
                <p:nvPr/>
              </p:nvSpPr>
              <p:spPr>
                <a:xfrm>
                  <a:off x="516301" y="1383126"/>
                  <a:ext cx="2788007" cy="1575227"/>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3600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15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47" name="矩形 146"/>
                <p:cNvSpPr/>
                <p:nvPr/>
              </p:nvSpPr>
              <p:spPr>
                <a:xfrm>
                  <a:off x="518956" y="1477880"/>
                  <a:ext cx="686446" cy="396245"/>
                </a:xfrm>
                <a:prstGeom prst="rect">
                  <a:avLst/>
                </a:prstGeom>
              </p:spPr>
              <p:txBody>
                <a:bodyPr wrap="none">
                  <a:sp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8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8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48" name="矩形 147"/>
                <p:cNvSpPr/>
                <p:nvPr/>
              </p:nvSpPr>
              <p:spPr>
                <a:xfrm>
                  <a:off x="637309" y="1868415"/>
                  <a:ext cx="2594264" cy="396245"/>
                </a:xfrm>
                <a:prstGeom prst="rect">
                  <a:avLst/>
                </a:prstGeom>
                <a:ln w="19050">
                  <a:solidFill>
                    <a:schemeClr val="bg1"/>
                  </a:solidFill>
                </a:ln>
              </p:spPr>
              <p:txBody>
                <a:bodyPr wrap="square" anchor="ctr">
                  <a:sp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8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8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49" name="矩形 148"/>
                <p:cNvSpPr/>
                <p:nvPr/>
              </p:nvSpPr>
              <p:spPr>
                <a:xfrm>
                  <a:off x="637309" y="2349029"/>
                  <a:ext cx="2594264" cy="396245"/>
                </a:xfrm>
                <a:prstGeom prst="rect">
                  <a:avLst/>
                </a:prstGeom>
                <a:ln w="19050">
                  <a:solidFill>
                    <a:schemeClr val="bg1"/>
                  </a:solidFill>
                </a:ln>
              </p:spPr>
              <p:txBody>
                <a:bodyPr wrap="square" anchor="ctr">
                  <a:sp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8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8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150" name="组合 149"/>
                <p:cNvGrpSpPr/>
                <p:nvPr/>
              </p:nvGrpSpPr>
              <p:grpSpPr>
                <a:xfrm>
                  <a:off x="498764" y="1362077"/>
                  <a:ext cx="2826327" cy="1627504"/>
                  <a:chOff x="-8582026" y="3954454"/>
                  <a:chExt cx="7604125" cy="4238607"/>
                </a:xfrm>
                <a:solidFill>
                  <a:schemeClr val="accent1">
                    <a:lumMod val="75000"/>
                  </a:schemeClr>
                </a:solidFill>
              </p:grpSpPr>
              <p:sp>
                <p:nvSpPr>
                  <p:cNvPr id="151" name="Oval 4763"/>
                  <p:cNvSpPr>
                    <a:spLocks noChangeArrowheads="1"/>
                  </p:cNvSpPr>
                  <p:nvPr/>
                </p:nvSpPr>
                <p:spPr bwMode="auto">
                  <a:xfrm>
                    <a:off x="-2614613" y="4065574"/>
                    <a:ext cx="58738" cy="635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2" name="Oval 4764"/>
                  <p:cNvSpPr>
                    <a:spLocks noChangeArrowheads="1"/>
                  </p:cNvSpPr>
                  <p:nvPr/>
                </p:nvSpPr>
                <p:spPr bwMode="auto">
                  <a:xfrm>
                    <a:off x="-1114426" y="7869212"/>
                    <a:ext cx="60325" cy="635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3" name="Oval 4765"/>
                  <p:cNvSpPr>
                    <a:spLocks noChangeArrowheads="1"/>
                  </p:cNvSpPr>
                  <p:nvPr/>
                </p:nvSpPr>
                <p:spPr bwMode="auto">
                  <a:xfrm>
                    <a:off x="-2249488" y="8056536"/>
                    <a:ext cx="58738" cy="587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8" name="Freeform 4766"/>
                  <p:cNvSpPr>
                    <a:spLocks noEditPoints="1"/>
                  </p:cNvSpPr>
                  <p:nvPr/>
                </p:nvSpPr>
                <p:spPr bwMode="auto">
                  <a:xfrm>
                    <a:off x="-1677988" y="4154474"/>
                    <a:ext cx="71438" cy="7143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9" name="Freeform 4767"/>
                  <p:cNvSpPr>
                    <a:spLocks noEditPoints="1"/>
                  </p:cNvSpPr>
                  <p:nvPr/>
                </p:nvSpPr>
                <p:spPr bwMode="auto">
                  <a:xfrm>
                    <a:off x="-1139826" y="4081449"/>
                    <a:ext cx="73025" cy="73025"/>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0" name="Freeform 4768"/>
                  <p:cNvSpPr>
                    <a:spLocks noEditPoints="1"/>
                  </p:cNvSpPr>
                  <p:nvPr/>
                </p:nvSpPr>
                <p:spPr bwMode="auto">
                  <a:xfrm>
                    <a:off x="-1050926" y="7397725"/>
                    <a:ext cx="73025" cy="73025"/>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1" name="Freeform 4769"/>
                  <p:cNvSpPr>
                    <a:spLocks noEditPoints="1"/>
                  </p:cNvSpPr>
                  <p:nvPr/>
                </p:nvSpPr>
                <p:spPr bwMode="auto">
                  <a:xfrm>
                    <a:off x="-2716213" y="8120036"/>
                    <a:ext cx="71438" cy="73025"/>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2" name="Freeform 4770"/>
                  <p:cNvSpPr/>
                  <p:nvPr/>
                </p:nvSpPr>
                <p:spPr bwMode="auto">
                  <a:xfrm>
                    <a:off x="-1198563" y="8077173"/>
                    <a:ext cx="88900" cy="42863"/>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3" name="Freeform 4771"/>
                  <p:cNvSpPr/>
                  <p:nvPr/>
                </p:nvSpPr>
                <p:spPr bwMode="auto">
                  <a:xfrm>
                    <a:off x="-1262063" y="8077173"/>
                    <a:ext cx="88900" cy="42863"/>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4" name="Freeform 4772"/>
                  <p:cNvSpPr/>
                  <p:nvPr/>
                </p:nvSpPr>
                <p:spPr bwMode="auto">
                  <a:xfrm>
                    <a:off x="-1325563" y="8077173"/>
                    <a:ext cx="88900" cy="42863"/>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5" name="Freeform 4773"/>
                  <p:cNvSpPr/>
                  <p:nvPr/>
                </p:nvSpPr>
                <p:spPr bwMode="auto">
                  <a:xfrm>
                    <a:off x="-1389063" y="8077173"/>
                    <a:ext cx="88900" cy="42863"/>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6" name="Freeform 4774"/>
                  <p:cNvSpPr/>
                  <p:nvPr/>
                </p:nvSpPr>
                <p:spPr bwMode="auto">
                  <a:xfrm>
                    <a:off x="-1096963" y="5713394"/>
                    <a:ext cx="25400" cy="1243009"/>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7" name="Freeform 4775"/>
                  <p:cNvSpPr/>
                  <p:nvPr/>
                </p:nvSpPr>
                <p:spPr bwMode="auto">
                  <a:xfrm>
                    <a:off x="-1076326" y="4498960"/>
                    <a:ext cx="25400" cy="619123"/>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8" name="Freeform 4776"/>
                  <p:cNvSpPr/>
                  <p:nvPr/>
                </p:nvSpPr>
                <p:spPr bwMode="auto">
                  <a:xfrm>
                    <a:off x="-1096963" y="5670531"/>
                    <a:ext cx="25400" cy="46038"/>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9" name="Freeform 4777"/>
                  <p:cNvSpPr/>
                  <p:nvPr/>
                </p:nvSpPr>
                <p:spPr bwMode="auto">
                  <a:xfrm>
                    <a:off x="-1096963" y="5627669"/>
                    <a:ext cx="25400" cy="50800"/>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0" name="Freeform 4778"/>
                  <p:cNvSpPr/>
                  <p:nvPr/>
                </p:nvSpPr>
                <p:spPr bwMode="auto">
                  <a:xfrm>
                    <a:off x="-1096963" y="5589569"/>
                    <a:ext cx="25400" cy="46038"/>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1" name="Freeform 4779"/>
                  <p:cNvSpPr/>
                  <p:nvPr/>
                </p:nvSpPr>
                <p:spPr bwMode="auto">
                  <a:xfrm>
                    <a:off x="-1096963" y="5546706"/>
                    <a:ext cx="25400" cy="50800"/>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2" name="Freeform 4780"/>
                  <p:cNvSpPr/>
                  <p:nvPr/>
                </p:nvSpPr>
                <p:spPr bwMode="auto">
                  <a:xfrm>
                    <a:off x="-1096963" y="5508606"/>
                    <a:ext cx="25400"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3" name="Freeform 4781"/>
                  <p:cNvSpPr/>
                  <p:nvPr/>
                </p:nvSpPr>
                <p:spPr bwMode="auto">
                  <a:xfrm>
                    <a:off x="-1096963" y="5465744"/>
                    <a:ext cx="25400" cy="50800"/>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4" name="Rectangle 4782"/>
                  <p:cNvSpPr>
                    <a:spLocks noChangeArrowheads="1"/>
                  </p:cNvSpPr>
                  <p:nvPr/>
                </p:nvSpPr>
                <p:spPr bwMode="auto">
                  <a:xfrm>
                    <a:off x="-1169988" y="4268773"/>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5" name="Rectangle 4783"/>
                  <p:cNvSpPr>
                    <a:spLocks noChangeArrowheads="1"/>
                  </p:cNvSpPr>
                  <p:nvPr/>
                </p:nvSpPr>
                <p:spPr bwMode="auto">
                  <a:xfrm>
                    <a:off x="-1169988" y="4306873"/>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6" name="Rectangle 4784"/>
                  <p:cNvSpPr>
                    <a:spLocks noChangeArrowheads="1"/>
                  </p:cNvSpPr>
                  <p:nvPr/>
                </p:nvSpPr>
                <p:spPr bwMode="auto">
                  <a:xfrm>
                    <a:off x="-1169988" y="4349735"/>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7" name="Rectangle 4785"/>
                  <p:cNvSpPr>
                    <a:spLocks noChangeArrowheads="1"/>
                  </p:cNvSpPr>
                  <p:nvPr/>
                </p:nvSpPr>
                <p:spPr bwMode="auto">
                  <a:xfrm>
                    <a:off x="-1169988" y="4387835"/>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8" name="Rectangle 4786"/>
                  <p:cNvSpPr>
                    <a:spLocks noChangeArrowheads="1"/>
                  </p:cNvSpPr>
                  <p:nvPr/>
                </p:nvSpPr>
                <p:spPr bwMode="auto">
                  <a:xfrm>
                    <a:off x="-1169988" y="4430698"/>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9" name="Freeform 4787"/>
                  <p:cNvSpPr/>
                  <p:nvPr/>
                </p:nvSpPr>
                <p:spPr bwMode="auto">
                  <a:xfrm>
                    <a:off x="-1300163" y="4162411"/>
                    <a:ext cx="79375"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0" name="Oval 4788"/>
                  <p:cNvSpPr>
                    <a:spLocks noChangeArrowheads="1"/>
                  </p:cNvSpPr>
                  <p:nvPr/>
                </p:nvSpPr>
                <p:spPr bwMode="auto">
                  <a:xfrm>
                    <a:off x="-7005638" y="8056536"/>
                    <a:ext cx="58738" cy="587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1" name="Oval 4789"/>
                  <p:cNvSpPr>
                    <a:spLocks noChangeArrowheads="1"/>
                  </p:cNvSpPr>
                  <p:nvPr/>
                </p:nvSpPr>
                <p:spPr bwMode="auto">
                  <a:xfrm>
                    <a:off x="-8505826" y="4251310"/>
                    <a:ext cx="58738" cy="603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2" name="Oval 4790"/>
                  <p:cNvSpPr>
                    <a:spLocks noChangeArrowheads="1"/>
                  </p:cNvSpPr>
                  <p:nvPr/>
                </p:nvSpPr>
                <p:spPr bwMode="auto">
                  <a:xfrm>
                    <a:off x="-7370763" y="4065574"/>
                    <a:ext cx="60325" cy="635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3" name="Freeform 4791"/>
                  <p:cNvSpPr>
                    <a:spLocks noEditPoints="1"/>
                  </p:cNvSpPr>
                  <p:nvPr/>
                </p:nvSpPr>
                <p:spPr bwMode="auto">
                  <a:xfrm>
                    <a:off x="-7954963" y="7954936"/>
                    <a:ext cx="71438" cy="71438"/>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4" name="Freeform 4792"/>
                  <p:cNvSpPr>
                    <a:spLocks noEditPoints="1"/>
                  </p:cNvSpPr>
                  <p:nvPr/>
                </p:nvSpPr>
                <p:spPr bwMode="auto">
                  <a:xfrm>
                    <a:off x="-8493126" y="8026373"/>
                    <a:ext cx="71438"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5" name="Freeform 4793"/>
                  <p:cNvSpPr>
                    <a:spLocks noEditPoints="1"/>
                  </p:cNvSpPr>
                  <p:nvPr/>
                </p:nvSpPr>
                <p:spPr bwMode="auto">
                  <a:xfrm>
                    <a:off x="-8582026" y="4671997"/>
                    <a:ext cx="71438" cy="73025"/>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6" name="Freeform 4794"/>
                  <p:cNvSpPr>
                    <a:spLocks noEditPoints="1"/>
                  </p:cNvSpPr>
                  <p:nvPr/>
                </p:nvSpPr>
                <p:spPr bwMode="auto">
                  <a:xfrm>
                    <a:off x="-6916738" y="3992550"/>
                    <a:ext cx="71438" cy="73025"/>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7" name="Freeform 4795"/>
                  <p:cNvSpPr/>
                  <p:nvPr/>
                </p:nvSpPr>
                <p:spPr bwMode="auto">
                  <a:xfrm>
                    <a:off x="-8451851" y="4073511"/>
                    <a:ext cx="90488" cy="42863"/>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8" name="Freeform 4796"/>
                  <p:cNvSpPr/>
                  <p:nvPr/>
                </p:nvSpPr>
                <p:spPr bwMode="auto">
                  <a:xfrm>
                    <a:off x="-8386763" y="4073511"/>
                    <a:ext cx="88900" cy="42863"/>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9" name="Freeform 4797"/>
                  <p:cNvSpPr/>
                  <p:nvPr/>
                </p:nvSpPr>
                <p:spPr bwMode="auto">
                  <a:xfrm>
                    <a:off x="-8323263" y="4073511"/>
                    <a:ext cx="88900" cy="42863"/>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0" name="Freeform 4798"/>
                  <p:cNvSpPr/>
                  <p:nvPr/>
                </p:nvSpPr>
                <p:spPr bwMode="auto">
                  <a:xfrm>
                    <a:off x="-8259763" y="4073511"/>
                    <a:ext cx="88900" cy="42863"/>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1" name="Freeform 4799"/>
                  <p:cNvSpPr/>
                  <p:nvPr/>
                </p:nvSpPr>
                <p:spPr bwMode="auto">
                  <a:xfrm>
                    <a:off x="-8489951" y="5148246"/>
                    <a:ext cx="25400" cy="1239834"/>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3" name="Freeform 4800"/>
                  <p:cNvSpPr/>
                  <p:nvPr/>
                </p:nvSpPr>
                <p:spPr bwMode="auto">
                  <a:xfrm>
                    <a:off x="-8510588" y="6981801"/>
                    <a:ext cx="25400" cy="620711"/>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4" name="Freeform 4801"/>
                  <p:cNvSpPr/>
                  <p:nvPr/>
                </p:nvSpPr>
                <p:spPr bwMode="auto">
                  <a:xfrm>
                    <a:off x="-8489951" y="6383316"/>
                    <a:ext cx="25400" cy="50800"/>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5" name="Freeform 4802"/>
                  <p:cNvSpPr/>
                  <p:nvPr/>
                </p:nvSpPr>
                <p:spPr bwMode="auto">
                  <a:xfrm>
                    <a:off x="-8489951" y="6426178"/>
                    <a:ext cx="25400" cy="46038"/>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6" name="Freeform 4803"/>
                  <p:cNvSpPr/>
                  <p:nvPr/>
                </p:nvSpPr>
                <p:spPr bwMode="auto">
                  <a:xfrm>
                    <a:off x="-8489951" y="6464278"/>
                    <a:ext cx="25400" cy="50800"/>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7" name="Freeform 4804"/>
                  <p:cNvSpPr/>
                  <p:nvPr/>
                </p:nvSpPr>
                <p:spPr bwMode="auto">
                  <a:xfrm>
                    <a:off x="-8489951" y="6507141"/>
                    <a:ext cx="25400" cy="46038"/>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8" name="Freeform 4805"/>
                  <p:cNvSpPr/>
                  <p:nvPr/>
                </p:nvSpPr>
                <p:spPr bwMode="auto">
                  <a:xfrm>
                    <a:off x="-8489951" y="6545241"/>
                    <a:ext cx="25400" cy="50800"/>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9" name="Freeform 4806"/>
                  <p:cNvSpPr/>
                  <p:nvPr/>
                </p:nvSpPr>
                <p:spPr bwMode="auto">
                  <a:xfrm>
                    <a:off x="-8489951" y="6588103"/>
                    <a:ext cx="25400" cy="46038"/>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0" name="Rectangle 4807"/>
                  <p:cNvSpPr>
                    <a:spLocks noChangeArrowheads="1"/>
                  </p:cNvSpPr>
                  <p:nvPr/>
                </p:nvSpPr>
                <p:spPr bwMode="auto">
                  <a:xfrm>
                    <a:off x="-8413751" y="7894612"/>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1" name="Rectangle 4808"/>
                  <p:cNvSpPr>
                    <a:spLocks noChangeArrowheads="1"/>
                  </p:cNvSpPr>
                  <p:nvPr/>
                </p:nvSpPr>
                <p:spPr bwMode="auto">
                  <a:xfrm>
                    <a:off x="-8413751" y="7853337"/>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2" name="Rectangle 4809"/>
                  <p:cNvSpPr>
                    <a:spLocks noChangeArrowheads="1"/>
                  </p:cNvSpPr>
                  <p:nvPr/>
                </p:nvSpPr>
                <p:spPr bwMode="auto">
                  <a:xfrm>
                    <a:off x="-8413751" y="7815237"/>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3" name="Rectangle 4810"/>
                  <p:cNvSpPr>
                    <a:spLocks noChangeArrowheads="1"/>
                  </p:cNvSpPr>
                  <p:nvPr/>
                </p:nvSpPr>
                <p:spPr bwMode="auto">
                  <a:xfrm>
                    <a:off x="-8413751" y="7772374"/>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4" name="Rectangle 4811"/>
                  <p:cNvSpPr>
                    <a:spLocks noChangeArrowheads="1"/>
                  </p:cNvSpPr>
                  <p:nvPr/>
                </p:nvSpPr>
                <p:spPr bwMode="auto">
                  <a:xfrm>
                    <a:off x="-8413751" y="7734274"/>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5" name="Freeform 4812"/>
                  <p:cNvSpPr/>
                  <p:nvPr/>
                </p:nvSpPr>
                <p:spPr bwMode="auto">
                  <a:xfrm>
                    <a:off x="-8340726" y="7937473"/>
                    <a:ext cx="80963" cy="80963"/>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6" name="Freeform 4813"/>
                  <p:cNvSpPr/>
                  <p:nvPr/>
                </p:nvSpPr>
                <p:spPr bwMode="auto">
                  <a:xfrm>
                    <a:off x="-8553451" y="4022711"/>
                    <a:ext cx="1641475" cy="654048"/>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7" name="Freeform 4814"/>
                  <p:cNvSpPr/>
                  <p:nvPr/>
                </p:nvSpPr>
                <p:spPr bwMode="auto">
                  <a:xfrm>
                    <a:off x="-7310438" y="4022711"/>
                    <a:ext cx="5637213" cy="174625"/>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8" name="Freeform 4815"/>
                  <p:cNvSpPr/>
                  <p:nvPr/>
                </p:nvSpPr>
                <p:spPr bwMode="auto">
                  <a:xfrm>
                    <a:off x="-2555876" y="4090974"/>
                    <a:ext cx="1411288"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9" name="Freeform 4816"/>
                  <p:cNvSpPr/>
                  <p:nvPr/>
                </p:nvSpPr>
                <p:spPr bwMode="auto">
                  <a:xfrm>
                    <a:off x="-1109663" y="4149711"/>
                    <a:ext cx="93663" cy="3719500"/>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0" name="Freeform 4817"/>
                  <p:cNvSpPr/>
                  <p:nvPr/>
                </p:nvSpPr>
                <p:spPr bwMode="auto">
                  <a:xfrm>
                    <a:off x="-2647951" y="7465988"/>
                    <a:ext cx="1639888" cy="696911"/>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1" name="Freeform 4818"/>
                  <p:cNvSpPr/>
                  <p:nvPr/>
                </p:nvSpPr>
                <p:spPr bwMode="auto">
                  <a:xfrm>
                    <a:off x="-7886701" y="7983511"/>
                    <a:ext cx="5637213" cy="179387"/>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2" name="Freeform 4819"/>
                  <p:cNvSpPr/>
                  <p:nvPr/>
                </p:nvSpPr>
                <p:spPr bwMode="auto">
                  <a:xfrm>
                    <a:off x="-8416926" y="7932711"/>
                    <a:ext cx="1411288" cy="157163"/>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3" name="Freeform 4820"/>
                  <p:cNvSpPr/>
                  <p:nvPr/>
                </p:nvSpPr>
                <p:spPr bwMode="auto">
                  <a:xfrm>
                    <a:off x="-8543926" y="4311635"/>
                    <a:ext cx="92075" cy="372426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4" name="Freeform 4821"/>
                  <p:cNvSpPr/>
                  <p:nvPr/>
                </p:nvSpPr>
                <p:spPr bwMode="auto">
                  <a:xfrm>
                    <a:off x="-8518526" y="3954454"/>
                    <a:ext cx="461963" cy="161925"/>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5" name="Rectangle 4822"/>
                  <p:cNvSpPr>
                    <a:spLocks noChangeArrowheads="1"/>
                  </p:cNvSpPr>
                  <p:nvPr/>
                </p:nvSpPr>
                <p:spPr bwMode="auto">
                  <a:xfrm>
                    <a:off x="-8515351" y="4103683"/>
                    <a:ext cx="4286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6" name="Freeform 4823"/>
                  <p:cNvSpPr/>
                  <p:nvPr/>
                </p:nvSpPr>
                <p:spPr bwMode="auto">
                  <a:xfrm>
                    <a:off x="-8053388" y="3992563"/>
                    <a:ext cx="636588"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grpSp>
            <p:nvGrpSpPr>
              <p:cNvPr id="12" name="组合 11"/>
              <p:cNvGrpSpPr/>
              <p:nvPr/>
            </p:nvGrpSpPr>
            <p:grpSpPr>
              <a:xfrm>
                <a:off x="498764" y="4463839"/>
                <a:ext cx="2826327" cy="1452866"/>
                <a:chOff x="498764" y="4463839"/>
                <a:chExt cx="2826327" cy="1452866"/>
              </a:xfrm>
            </p:grpSpPr>
            <p:sp>
              <p:nvSpPr>
                <p:cNvPr id="218" name="矩形 217"/>
                <p:cNvSpPr/>
                <p:nvPr/>
              </p:nvSpPr>
              <p:spPr>
                <a:xfrm>
                  <a:off x="516301" y="4482629"/>
                  <a:ext cx="2788007" cy="140619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3600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15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219" name="矩形 218"/>
                <p:cNvSpPr/>
                <p:nvPr/>
              </p:nvSpPr>
              <p:spPr>
                <a:xfrm>
                  <a:off x="518956" y="4567216"/>
                  <a:ext cx="686446" cy="353726"/>
                </a:xfrm>
                <a:prstGeom prst="rect">
                  <a:avLst/>
                </a:prstGeom>
              </p:spPr>
              <p:txBody>
                <a:bodyPr wrap="none">
                  <a:sp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8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8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222" name="组合 221"/>
                <p:cNvGrpSpPr/>
                <p:nvPr/>
              </p:nvGrpSpPr>
              <p:grpSpPr>
                <a:xfrm>
                  <a:off x="498764" y="4463839"/>
                  <a:ext cx="2826327" cy="1452866"/>
                  <a:chOff x="-8582026" y="3954454"/>
                  <a:chExt cx="7604125" cy="4238607"/>
                </a:xfrm>
                <a:solidFill>
                  <a:schemeClr val="accent1">
                    <a:lumMod val="75000"/>
                  </a:schemeClr>
                </a:solidFill>
              </p:grpSpPr>
              <p:sp>
                <p:nvSpPr>
                  <p:cNvPr id="223" name="Oval 4763"/>
                  <p:cNvSpPr>
                    <a:spLocks noChangeArrowheads="1"/>
                  </p:cNvSpPr>
                  <p:nvPr/>
                </p:nvSpPr>
                <p:spPr bwMode="auto">
                  <a:xfrm>
                    <a:off x="-2614613" y="4065574"/>
                    <a:ext cx="58738" cy="635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4" name="Oval 4764"/>
                  <p:cNvSpPr>
                    <a:spLocks noChangeArrowheads="1"/>
                  </p:cNvSpPr>
                  <p:nvPr/>
                </p:nvSpPr>
                <p:spPr bwMode="auto">
                  <a:xfrm>
                    <a:off x="-1114426" y="7869212"/>
                    <a:ext cx="60325" cy="635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5" name="Oval 4765"/>
                  <p:cNvSpPr>
                    <a:spLocks noChangeArrowheads="1"/>
                  </p:cNvSpPr>
                  <p:nvPr/>
                </p:nvSpPr>
                <p:spPr bwMode="auto">
                  <a:xfrm>
                    <a:off x="-2249488" y="8056536"/>
                    <a:ext cx="58738" cy="587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6" name="Freeform 4766"/>
                  <p:cNvSpPr>
                    <a:spLocks noEditPoints="1"/>
                  </p:cNvSpPr>
                  <p:nvPr/>
                </p:nvSpPr>
                <p:spPr bwMode="auto">
                  <a:xfrm>
                    <a:off x="-1677988" y="4154474"/>
                    <a:ext cx="71438" cy="7143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7" name="Freeform 4767"/>
                  <p:cNvSpPr>
                    <a:spLocks noEditPoints="1"/>
                  </p:cNvSpPr>
                  <p:nvPr/>
                </p:nvSpPr>
                <p:spPr bwMode="auto">
                  <a:xfrm>
                    <a:off x="-1139826" y="4081449"/>
                    <a:ext cx="73025" cy="73025"/>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8" name="Freeform 4768"/>
                  <p:cNvSpPr>
                    <a:spLocks noEditPoints="1"/>
                  </p:cNvSpPr>
                  <p:nvPr/>
                </p:nvSpPr>
                <p:spPr bwMode="auto">
                  <a:xfrm>
                    <a:off x="-1050926" y="7397725"/>
                    <a:ext cx="73025" cy="73025"/>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9" name="Freeform 4769"/>
                  <p:cNvSpPr>
                    <a:spLocks noEditPoints="1"/>
                  </p:cNvSpPr>
                  <p:nvPr/>
                </p:nvSpPr>
                <p:spPr bwMode="auto">
                  <a:xfrm>
                    <a:off x="-2716213" y="8120036"/>
                    <a:ext cx="71438" cy="73025"/>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0" name="Freeform 4770"/>
                  <p:cNvSpPr/>
                  <p:nvPr/>
                </p:nvSpPr>
                <p:spPr bwMode="auto">
                  <a:xfrm>
                    <a:off x="-1198563" y="8077173"/>
                    <a:ext cx="88900" cy="42863"/>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1" name="Freeform 4771"/>
                  <p:cNvSpPr/>
                  <p:nvPr/>
                </p:nvSpPr>
                <p:spPr bwMode="auto">
                  <a:xfrm>
                    <a:off x="-1262063" y="8077173"/>
                    <a:ext cx="88900" cy="42863"/>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2" name="Freeform 4772"/>
                  <p:cNvSpPr/>
                  <p:nvPr/>
                </p:nvSpPr>
                <p:spPr bwMode="auto">
                  <a:xfrm>
                    <a:off x="-1325563" y="8077173"/>
                    <a:ext cx="88900" cy="42863"/>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3" name="Freeform 4773"/>
                  <p:cNvSpPr/>
                  <p:nvPr/>
                </p:nvSpPr>
                <p:spPr bwMode="auto">
                  <a:xfrm>
                    <a:off x="-1389063" y="8077173"/>
                    <a:ext cx="88900" cy="42863"/>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4" name="Freeform 4774"/>
                  <p:cNvSpPr/>
                  <p:nvPr/>
                </p:nvSpPr>
                <p:spPr bwMode="auto">
                  <a:xfrm>
                    <a:off x="-1096963" y="5713394"/>
                    <a:ext cx="25400" cy="1243009"/>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5" name="Freeform 4775"/>
                  <p:cNvSpPr/>
                  <p:nvPr/>
                </p:nvSpPr>
                <p:spPr bwMode="auto">
                  <a:xfrm>
                    <a:off x="-1076326" y="4498960"/>
                    <a:ext cx="25400" cy="619123"/>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6" name="Freeform 4776"/>
                  <p:cNvSpPr/>
                  <p:nvPr/>
                </p:nvSpPr>
                <p:spPr bwMode="auto">
                  <a:xfrm>
                    <a:off x="-1096963" y="5670531"/>
                    <a:ext cx="25400" cy="46038"/>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7" name="Freeform 4777"/>
                  <p:cNvSpPr/>
                  <p:nvPr/>
                </p:nvSpPr>
                <p:spPr bwMode="auto">
                  <a:xfrm>
                    <a:off x="-1096963" y="5627669"/>
                    <a:ext cx="25400" cy="50800"/>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8" name="Freeform 4778"/>
                  <p:cNvSpPr/>
                  <p:nvPr/>
                </p:nvSpPr>
                <p:spPr bwMode="auto">
                  <a:xfrm>
                    <a:off x="-1096963" y="5589569"/>
                    <a:ext cx="25400" cy="46038"/>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9" name="Freeform 4779"/>
                  <p:cNvSpPr/>
                  <p:nvPr/>
                </p:nvSpPr>
                <p:spPr bwMode="auto">
                  <a:xfrm>
                    <a:off x="-1096963" y="5546706"/>
                    <a:ext cx="25400" cy="50800"/>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0" name="Freeform 4780"/>
                  <p:cNvSpPr/>
                  <p:nvPr/>
                </p:nvSpPr>
                <p:spPr bwMode="auto">
                  <a:xfrm>
                    <a:off x="-1096963" y="5508606"/>
                    <a:ext cx="25400"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1" name="Freeform 4781"/>
                  <p:cNvSpPr/>
                  <p:nvPr/>
                </p:nvSpPr>
                <p:spPr bwMode="auto">
                  <a:xfrm>
                    <a:off x="-1096963" y="5465744"/>
                    <a:ext cx="25400" cy="50800"/>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2" name="Rectangle 4782"/>
                  <p:cNvSpPr>
                    <a:spLocks noChangeArrowheads="1"/>
                  </p:cNvSpPr>
                  <p:nvPr/>
                </p:nvSpPr>
                <p:spPr bwMode="auto">
                  <a:xfrm>
                    <a:off x="-1169988" y="4268773"/>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3" name="Rectangle 4783"/>
                  <p:cNvSpPr>
                    <a:spLocks noChangeArrowheads="1"/>
                  </p:cNvSpPr>
                  <p:nvPr/>
                </p:nvSpPr>
                <p:spPr bwMode="auto">
                  <a:xfrm>
                    <a:off x="-1169988" y="4306873"/>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4" name="Rectangle 4784"/>
                  <p:cNvSpPr>
                    <a:spLocks noChangeArrowheads="1"/>
                  </p:cNvSpPr>
                  <p:nvPr/>
                </p:nvSpPr>
                <p:spPr bwMode="auto">
                  <a:xfrm>
                    <a:off x="-1169988" y="4349735"/>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5" name="Rectangle 4785"/>
                  <p:cNvSpPr>
                    <a:spLocks noChangeArrowheads="1"/>
                  </p:cNvSpPr>
                  <p:nvPr/>
                </p:nvSpPr>
                <p:spPr bwMode="auto">
                  <a:xfrm>
                    <a:off x="-1169988" y="4387835"/>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6" name="Rectangle 4786"/>
                  <p:cNvSpPr>
                    <a:spLocks noChangeArrowheads="1"/>
                  </p:cNvSpPr>
                  <p:nvPr/>
                </p:nvSpPr>
                <p:spPr bwMode="auto">
                  <a:xfrm>
                    <a:off x="-1169988" y="4430698"/>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7" name="Freeform 4787"/>
                  <p:cNvSpPr/>
                  <p:nvPr/>
                </p:nvSpPr>
                <p:spPr bwMode="auto">
                  <a:xfrm>
                    <a:off x="-1300163" y="4162411"/>
                    <a:ext cx="79375"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8" name="Oval 4788"/>
                  <p:cNvSpPr>
                    <a:spLocks noChangeArrowheads="1"/>
                  </p:cNvSpPr>
                  <p:nvPr/>
                </p:nvSpPr>
                <p:spPr bwMode="auto">
                  <a:xfrm>
                    <a:off x="-7005638" y="8056536"/>
                    <a:ext cx="58738" cy="587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9" name="Oval 4789"/>
                  <p:cNvSpPr>
                    <a:spLocks noChangeArrowheads="1"/>
                  </p:cNvSpPr>
                  <p:nvPr/>
                </p:nvSpPr>
                <p:spPr bwMode="auto">
                  <a:xfrm>
                    <a:off x="-8505826" y="4251310"/>
                    <a:ext cx="58738" cy="603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0" name="Oval 4790"/>
                  <p:cNvSpPr>
                    <a:spLocks noChangeArrowheads="1"/>
                  </p:cNvSpPr>
                  <p:nvPr/>
                </p:nvSpPr>
                <p:spPr bwMode="auto">
                  <a:xfrm>
                    <a:off x="-7370763" y="4065574"/>
                    <a:ext cx="60325" cy="635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1" name="Freeform 4791"/>
                  <p:cNvSpPr>
                    <a:spLocks noEditPoints="1"/>
                  </p:cNvSpPr>
                  <p:nvPr/>
                </p:nvSpPr>
                <p:spPr bwMode="auto">
                  <a:xfrm>
                    <a:off x="-7954963" y="7954936"/>
                    <a:ext cx="71438" cy="71438"/>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2" name="Freeform 4792"/>
                  <p:cNvSpPr>
                    <a:spLocks noEditPoints="1"/>
                  </p:cNvSpPr>
                  <p:nvPr/>
                </p:nvSpPr>
                <p:spPr bwMode="auto">
                  <a:xfrm>
                    <a:off x="-8493126" y="8026373"/>
                    <a:ext cx="71438"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3" name="Freeform 4793"/>
                  <p:cNvSpPr>
                    <a:spLocks noEditPoints="1"/>
                  </p:cNvSpPr>
                  <p:nvPr/>
                </p:nvSpPr>
                <p:spPr bwMode="auto">
                  <a:xfrm>
                    <a:off x="-8582026" y="4671997"/>
                    <a:ext cx="71438" cy="73025"/>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4" name="Freeform 4794"/>
                  <p:cNvSpPr>
                    <a:spLocks noEditPoints="1"/>
                  </p:cNvSpPr>
                  <p:nvPr/>
                </p:nvSpPr>
                <p:spPr bwMode="auto">
                  <a:xfrm>
                    <a:off x="-6916738" y="3992550"/>
                    <a:ext cx="71438" cy="73025"/>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5" name="Freeform 4795"/>
                  <p:cNvSpPr/>
                  <p:nvPr/>
                </p:nvSpPr>
                <p:spPr bwMode="auto">
                  <a:xfrm>
                    <a:off x="-8451851" y="4073511"/>
                    <a:ext cx="90488" cy="42863"/>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6" name="Freeform 4796"/>
                  <p:cNvSpPr/>
                  <p:nvPr/>
                </p:nvSpPr>
                <p:spPr bwMode="auto">
                  <a:xfrm>
                    <a:off x="-8386763" y="4073511"/>
                    <a:ext cx="88900" cy="42863"/>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7" name="Freeform 4797"/>
                  <p:cNvSpPr/>
                  <p:nvPr/>
                </p:nvSpPr>
                <p:spPr bwMode="auto">
                  <a:xfrm>
                    <a:off x="-8323263" y="4073511"/>
                    <a:ext cx="88900" cy="42863"/>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8" name="Freeform 4798"/>
                  <p:cNvSpPr/>
                  <p:nvPr/>
                </p:nvSpPr>
                <p:spPr bwMode="auto">
                  <a:xfrm>
                    <a:off x="-8259763" y="4073511"/>
                    <a:ext cx="88900" cy="42863"/>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9" name="Freeform 4799"/>
                  <p:cNvSpPr/>
                  <p:nvPr/>
                </p:nvSpPr>
                <p:spPr bwMode="auto">
                  <a:xfrm>
                    <a:off x="-8489951" y="5148246"/>
                    <a:ext cx="25400" cy="1239834"/>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0" name="Freeform 4800"/>
                  <p:cNvSpPr/>
                  <p:nvPr/>
                </p:nvSpPr>
                <p:spPr bwMode="auto">
                  <a:xfrm>
                    <a:off x="-8510588" y="6981801"/>
                    <a:ext cx="25400" cy="620711"/>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1" name="Freeform 4801"/>
                  <p:cNvSpPr/>
                  <p:nvPr/>
                </p:nvSpPr>
                <p:spPr bwMode="auto">
                  <a:xfrm>
                    <a:off x="-8489951" y="6383316"/>
                    <a:ext cx="25400" cy="50800"/>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2" name="Freeform 4802"/>
                  <p:cNvSpPr/>
                  <p:nvPr/>
                </p:nvSpPr>
                <p:spPr bwMode="auto">
                  <a:xfrm>
                    <a:off x="-8489951" y="6426178"/>
                    <a:ext cx="25400" cy="46038"/>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3" name="Freeform 4803"/>
                  <p:cNvSpPr/>
                  <p:nvPr/>
                </p:nvSpPr>
                <p:spPr bwMode="auto">
                  <a:xfrm>
                    <a:off x="-8489951" y="6464278"/>
                    <a:ext cx="25400" cy="50800"/>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4" name="Freeform 4804"/>
                  <p:cNvSpPr/>
                  <p:nvPr/>
                </p:nvSpPr>
                <p:spPr bwMode="auto">
                  <a:xfrm>
                    <a:off x="-8489951" y="6507141"/>
                    <a:ext cx="25400" cy="46038"/>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5" name="Freeform 4805"/>
                  <p:cNvSpPr/>
                  <p:nvPr/>
                </p:nvSpPr>
                <p:spPr bwMode="auto">
                  <a:xfrm>
                    <a:off x="-8489951" y="6545241"/>
                    <a:ext cx="25400" cy="50800"/>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6" name="Freeform 4806"/>
                  <p:cNvSpPr/>
                  <p:nvPr/>
                </p:nvSpPr>
                <p:spPr bwMode="auto">
                  <a:xfrm>
                    <a:off x="-8489951" y="6588103"/>
                    <a:ext cx="25400" cy="46038"/>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7" name="Rectangle 4807"/>
                  <p:cNvSpPr>
                    <a:spLocks noChangeArrowheads="1"/>
                  </p:cNvSpPr>
                  <p:nvPr/>
                </p:nvSpPr>
                <p:spPr bwMode="auto">
                  <a:xfrm>
                    <a:off x="-8413751" y="7894612"/>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8" name="Rectangle 4808"/>
                  <p:cNvSpPr>
                    <a:spLocks noChangeArrowheads="1"/>
                  </p:cNvSpPr>
                  <p:nvPr/>
                </p:nvSpPr>
                <p:spPr bwMode="auto">
                  <a:xfrm>
                    <a:off x="-8413751" y="7853337"/>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9" name="Rectangle 4809"/>
                  <p:cNvSpPr>
                    <a:spLocks noChangeArrowheads="1"/>
                  </p:cNvSpPr>
                  <p:nvPr/>
                </p:nvSpPr>
                <p:spPr bwMode="auto">
                  <a:xfrm>
                    <a:off x="-8413751" y="7815237"/>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0" name="Rectangle 4810"/>
                  <p:cNvSpPr>
                    <a:spLocks noChangeArrowheads="1"/>
                  </p:cNvSpPr>
                  <p:nvPr/>
                </p:nvSpPr>
                <p:spPr bwMode="auto">
                  <a:xfrm>
                    <a:off x="-8413751" y="7772374"/>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1" name="Rectangle 4811"/>
                  <p:cNvSpPr>
                    <a:spLocks noChangeArrowheads="1"/>
                  </p:cNvSpPr>
                  <p:nvPr/>
                </p:nvSpPr>
                <p:spPr bwMode="auto">
                  <a:xfrm>
                    <a:off x="-8413751" y="7734274"/>
                    <a:ext cx="222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2" name="Freeform 4812"/>
                  <p:cNvSpPr/>
                  <p:nvPr/>
                </p:nvSpPr>
                <p:spPr bwMode="auto">
                  <a:xfrm>
                    <a:off x="-8340726" y="7937473"/>
                    <a:ext cx="80963" cy="80963"/>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3" name="Freeform 4813"/>
                  <p:cNvSpPr/>
                  <p:nvPr/>
                </p:nvSpPr>
                <p:spPr bwMode="auto">
                  <a:xfrm>
                    <a:off x="-8553451" y="4022711"/>
                    <a:ext cx="1641475" cy="654048"/>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4" name="Freeform 4814"/>
                  <p:cNvSpPr/>
                  <p:nvPr/>
                </p:nvSpPr>
                <p:spPr bwMode="auto">
                  <a:xfrm>
                    <a:off x="-7310438" y="4022711"/>
                    <a:ext cx="5637213" cy="174625"/>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5" name="Freeform 4815"/>
                  <p:cNvSpPr/>
                  <p:nvPr/>
                </p:nvSpPr>
                <p:spPr bwMode="auto">
                  <a:xfrm>
                    <a:off x="-2555876" y="4090974"/>
                    <a:ext cx="1411288"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6" name="Freeform 4816"/>
                  <p:cNvSpPr/>
                  <p:nvPr/>
                </p:nvSpPr>
                <p:spPr bwMode="auto">
                  <a:xfrm>
                    <a:off x="-1109663" y="4149711"/>
                    <a:ext cx="93663" cy="3719500"/>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7" name="Freeform 4817"/>
                  <p:cNvSpPr/>
                  <p:nvPr/>
                </p:nvSpPr>
                <p:spPr bwMode="auto">
                  <a:xfrm>
                    <a:off x="-2647951" y="7465988"/>
                    <a:ext cx="1639888" cy="696911"/>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8" name="Freeform 4818"/>
                  <p:cNvSpPr/>
                  <p:nvPr/>
                </p:nvSpPr>
                <p:spPr bwMode="auto">
                  <a:xfrm>
                    <a:off x="-7886701" y="7983511"/>
                    <a:ext cx="5637213" cy="179387"/>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9" name="Freeform 4819"/>
                  <p:cNvSpPr/>
                  <p:nvPr/>
                </p:nvSpPr>
                <p:spPr bwMode="auto">
                  <a:xfrm>
                    <a:off x="-8416926" y="7932711"/>
                    <a:ext cx="1411288" cy="157163"/>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0" name="Freeform 4820"/>
                  <p:cNvSpPr/>
                  <p:nvPr/>
                </p:nvSpPr>
                <p:spPr bwMode="auto">
                  <a:xfrm>
                    <a:off x="-8543926" y="4311635"/>
                    <a:ext cx="92075" cy="372426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1" name="Freeform 4821"/>
                  <p:cNvSpPr/>
                  <p:nvPr/>
                </p:nvSpPr>
                <p:spPr bwMode="auto">
                  <a:xfrm>
                    <a:off x="-8518526" y="3954454"/>
                    <a:ext cx="461963" cy="161925"/>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2" name="Rectangle 4822"/>
                  <p:cNvSpPr>
                    <a:spLocks noChangeArrowheads="1"/>
                  </p:cNvSpPr>
                  <p:nvPr/>
                </p:nvSpPr>
                <p:spPr bwMode="auto">
                  <a:xfrm>
                    <a:off x="-8515351" y="4103683"/>
                    <a:ext cx="4286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3" name="Freeform 4823"/>
                  <p:cNvSpPr/>
                  <p:nvPr/>
                </p:nvSpPr>
                <p:spPr bwMode="auto">
                  <a:xfrm>
                    <a:off x="-8053388" y="3992563"/>
                    <a:ext cx="636588"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220" name="矩形 219"/>
                <p:cNvSpPr/>
                <p:nvPr/>
              </p:nvSpPr>
              <p:spPr>
                <a:xfrm>
                  <a:off x="637309" y="4901683"/>
                  <a:ext cx="2594264" cy="260384"/>
                </a:xfrm>
                <a:prstGeom prst="rect">
                  <a:avLst/>
                </a:prstGeom>
                <a:ln w="19050">
                  <a:solidFill>
                    <a:schemeClr val="bg1"/>
                  </a:solidFill>
                </a:ln>
              </p:spPr>
              <p:txBody>
                <a:bodyPr wrap="square" t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6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6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221" name="矩形 220"/>
                <p:cNvSpPr/>
                <p:nvPr/>
              </p:nvSpPr>
              <p:spPr>
                <a:xfrm>
                  <a:off x="637309" y="5530816"/>
                  <a:ext cx="2594264" cy="260384"/>
                </a:xfrm>
                <a:prstGeom prst="rect">
                  <a:avLst/>
                </a:prstGeom>
                <a:ln w="19050">
                  <a:solidFill>
                    <a:schemeClr val="bg1"/>
                  </a:solidFill>
                </a:ln>
              </p:spPr>
              <p:txBody>
                <a:bodyPr wrap="square" t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6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6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284" name="矩形 283"/>
                <p:cNvSpPr/>
                <p:nvPr/>
              </p:nvSpPr>
              <p:spPr>
                <a:xfrm>
                  <a:off x="637309" y="5216250"/>
                  <a:ext cx="2594264" cy="260384"/>
                </a:xfrm>
                <a:prstGeom prst="rect">
                  <a:avLst/>
                </a:prstGeom>
                <a:ln w="19050">
                  <a:solidFill>
                    <a:schemeClr val="bg1"/>
                  </a:solidFill>
                </a:ln>
              </p:spPr>
              <p:txBody>
                <a:bodyPr wrap="square" t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6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6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grpSp>
      </p:grpSp>
      <p:sp>
        <p:nvSpPr>
          <p:cNvPr id="286" name="任意多边形 285"/>
          <p:cNvSpPr/>
          <p:nvPr/>
        </p:nvSpPr>
        <p:spPr>
          <a:xfrm rot="5400000" flipV="1">
            <a:off x="7799687" y="2436626"/>
            <a:ext cx="984224" cy="944095"/>
          </a:xfrm>
          <a:custGeom>
            <a:avLst/>
            <a:gdLst>
              <a:gd name="connsiteX0" fmla="*/ 745724 w 745724"/>
              <a:gd name="connsiteY0" fmla="*/ 0 h 1491449"/>
              <a:gd name="connsiteX1" fmla="*/ 0 w 745724"/>
              <a:gd name="connsiteY1" fmla="*/ 0 h 1491449"/>
              <a:gd name="connsiteX2" fmla="*/ 0 w 745724"/>
              <a:gd name="connsiteY2" fmla="*/ 1491449 h 1491449"/>
            </a:gdLst>
            <a:ahLst/>
            <a:cxnLst>
              <a:cxn ang="0">
                <a:pos x="connsiteX0" y="connsiteY0"/>
              </a:cxn>
              <a:cxn ang="0">
                <a:pos x="connsiteX1" y="connsiteY1"/>
              </a:cxn>
              <a:cxn ang="0">
                <a:pos x="connsiteX2" y="connsiteY2"/>
              </a:cxn>
            </a:cxnLst>
            <a:rect l="l" t="t" r="r" b="b"/>
            <a:pathLst>
              <a:path w="745724" h="1491449">
                <a:moveTo>
                  <a:pt x="745724" y="0"/>
                </a:moveTo>
                <a:lnTo>
                  <a:pt x="0" y="0"/>
                </a:lnTo>
                <a:lnTo>
                  <a:pt x="0" y="1491449"/>
                </a:lnTo>
              </a:path>
            </a:pathLst>
          </a:cu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charset="-122"/>
              <a:cs typeface="+mn-cs"/>
            </a:endParaRPr>
          </a:p>
        </p:txBody>
      </p:sp>
      <p:sp>
        <p:nvSpPr>
          <p:cNvPr id="287" name="任意多边形 286"/>
          <p:cNvSpPr/>
          <p:nvPr/>
        </p:nvSpPr>
        <p:spPr>
          <a:xfrm rot="5400000" flipV="1">
            <a:off x="7940336" y="2536173"/>
            <a:ext cx="792848" cy="854361"/>
          </a:xfrm>
          <a:custGeom>
            <a:avLst/>
            <a:gdLst>
              <a:gd name="connsiteX0" fmla="*/ 745724 w 745724"/>
              <a:gd name="connsiteY0" fmla="*/ 0 h 1491449"/>
              <a:gd name="connsiteX1" fmla="*/ 0 w 745724"/>
              <a:gd name="connsiteY1" fmla="*/ 0 h 1491449"/>
              <a:gd name="connsiteX2" fmla="*/ 0 w 745724"/>
              <a:gd name="connsiteY2" fmla="*/ 1491449 h 1491449"/>
            </a:gdLst>
            <a:ahLst/>
            <a:cxnLst>
              <a:cxn ang="0">
                <a:pos x="connsiteX0" y="connsiteY0"/>
              </a:cxn>
              <a:cxn ang="0">
                <a:pos x="connsiteX1" y="connsiteY1"/>
              </a:cxn>
              <a:cxn ang="0">
                <a:pos x="connsiteX2" y="connsiteY2"/>
              </a:cxn>
            </a:cxnLst>
            <a:rect l="l" t="t" r="r" b="b"/>
            <a:pathLst>
              <a:path w="745724" h="1491449">
                <a:moveTo>
                  <a:pt x="745724" y="0"/>
                </a:moveTo>
                <a:lnTo>
                  <a:pt x="0" y="0"/>
                </a:lnTo>
                <a:lnTo>
                  <a:pt x="0" y="1491449"/>
                </a:lnTo>
              </a:path>
            </a:pathLst>
          </a:custGeom>
          <a:noFill/>
          <a:ln>
            <a:solidFill>
              <a:schemeClr val="bg1">
                <a:lumMod val="50000"/>
              </a:schemeClr>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charset="-122"/>
              <a:cs typeface="+mn-cs"/>
            </a:endParaRPr>
          </a:p>
        </p:txBody>
      </p:sp>
      <p:sp>
        <p:nvSpPr>
          <p:cNvPr id="288" name="文本框 287"/>
          <p:cNvSpPr txBox="1"/>
          <p:nvPr/>
        </p:nvSpPr>
        <p:spPr>
          <a:xfrm>
            <a:off x="7402667" y="2768852"/>
            <a:ext cx="387332" cy="3437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289" name="文本框 288"/>
          <p:cNvSpPr txBox="1"/>
          <p:nvPr/>
        </p:nvSpPr>
        <p:spPr>
          <a:xfrm>
            <a:off x="7920448" y="2768852"/>
            <a:ext cx="387332" cy="3437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grpSp>
        <p:nvGrpSpPr>
          <p:cNvPr id="20" name="组合 19"/>
          <p:cNvGrpSpPr/>
          <p:nvPr/>
        </p:nvGrpSpPr>
        <p:grpSpPr>
          <a:xfrm>
            <a:off x="3481487" y="4248945"/>
            <a:ext cx="1084603" cy="1691443"/>
            <a:chOff x="3481487" y="4342463"/>
            <a:chExt cx="1084603" cy="1691443"/>
          </a:xfrm>
        </p:grpSpPr>
        <p:sp>
          <p:nvSpPr>
            <p:cNvPr id="291" name="矩形 290"/>
            <p:cNvSpPr/>
            <p:nvPr/>
          </p:nvSpPr>
          <p:spPr>
            <a:xfrm>
              <a:off x="3481487" y="4342463"/>
              <a:ext cx="1084603" cy="1691443"/>
            </a:xfrm>
            <a:prstGeom prst="rect">
              <a:avLst/>
            </a:prstGeom>
            <a:solidFill>
              <a:srgbClr val="FFFAF7"/>
            </a:solidFill>
            <a:ln w="19050" cap="rnd" cmpd="sng" algn="ctr">
              <a:solidFill>
                <a:schemeClr val="accent1">
                  <a:lumMod val="7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3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429" name="矩形 428"/>
            <p:cNvSpPr/>
            <p:nvPr/>
          </p:nvSpPr>
          <p:spPr>
            <a:xfrm>
              <a:off x="3528329" y="4384504"/>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430" name="矩形 429"/>
            <p:cNvSpPr/>
            <p:nvPr/>
          </p:nvSpPr>
          <p:spPr>
            <a:xfrm>
              <a:off x="3581280" y="4414687"/>
              <a:ext cx="651140"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en-US" altLang="zh-CN"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18" name="组合 17"/>
            <p:cNvGrpSpPr/>
            <p:nvPr/>
          </p:nvGrpSpPr>
          <p:grpSpPr>
            <a:xfrm>
              <a:off x="3571508" y="4517556"/>
              <a:ext cx="925701" cy="322325"/>
              <a:chOff x="3571508" y="4517556"/>
              <a:chExt cx="925701" cy="271127"/>
            </a:xfrm>
          </p:grpSpPr>
          <p:sp>
            <p:nvSpPr>
              <p:cNvPr id="431" name="矩形 430"/>
              <p:cNvSpPr/>
              <p:nvPr/>
            </p:nvSpPr>
            <p:spPr>
              <a:xfrm>
                <a:off x="3571508" y="4517556"/>
                <a:ext cx="925701" cy="118034"/>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432" name="矩形 431"/>
              <p:cNvSpPr/>
              <p:nvPr/>
            </p:nvSpPr>
            <p:spPr>
              <a:xfrm>
                <a:off x="3571508" y="4670649"/>
                <a:ext cx="925701" cy="118034"/>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grpSp>
          <p:nvGrpSpPr>
            <p:cNvPr id="433" name="组合 432"/>
            <p:cNvGrpSpPr/>
            <p:nvPr/>
          </p:nvGrpSpPr>
          <p:grpSpPr>
            <a:xfrm>
              <a:off x="3522071" y="4377798"/>
              <a:ext cx="1008508" cy="518422"/>
              <a:chOff x="-8582025" y="3954421"/>
              <a:chExt cx="7604117" cy="4238591"/>
            </a:xfrm>
            <a:solidFill>
              <a:schemeClr val="accent1">
                <a:lumMod val="75000"/>
              </a:schemeClr>
            </a:solidFill>
          </p:grpSpPr>
          <p:sp>
            <p:nvSpPr>
              <p:cNvPr id="434"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5"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6"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7"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8"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9"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0"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1"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2"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3"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4"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5"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6"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7"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8"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9"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0"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1"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2"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3"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4"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5"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6"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7"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8"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9"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0"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1"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2"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3"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4"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5"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6"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7"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8"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9"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0"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1"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2"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3"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4"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5"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6"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7"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8"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9"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0"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1"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2"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3"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4"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5"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6"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7"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8"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9"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0"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1"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2"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3"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4"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363" name="矩形 362"/>
            <p:cNvSpPr/>
            <p:nvPr/>
          </p:nvSpPr>
          <p:spPr>
            <a:xfrm>
              <a:off x="3528329" y="4937899"/>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364" name="矩形 363"/>
            <p:cNvSpPr/>
            <p:nvPr/>
          </p:nvSpPr>
          <p:spPr>
            <a:xfrm>
              <a:off x="3581280" y="4968082"/>
              <a:ext cx="569387"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365" name="矩形 364"/>
            <p:cNvSpPr/>
            <p:nvPr/>
          </p:nvSpPr>
          <p:spPr>
            <a:xfrm>
              <a:off x="3571508" y="5070951"/>
              <a:ext cx="925702" cy="139910"/>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366" name="矩形 365"/>
            <p:cNvSpPr/>
            <p:nvPr/>
          </p:nvSpPr>
          <p:spPr>
            <a:xfrm>
              <a:off x="3571508" y="5256338"/>
              <a:ext cx="925702" cy="139910"/>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367" name="组合 366"/>
            <p:cNvGrpSpPr/>
            <p:nvPr/>
          </p:nvGrpSpPr>
          <p:grpSpPr>
            <a:xfrm>
              <a:off x="3522071" y="4931193"/>
              <a:ext cx="1008508" cy="518422"/>
              <a:chOff x="-8582025" y="3954421"/>
              <a:chExt cx="7604117" cy="4238591"/>
            </a:xfrm>
            <a:solidFill>
              <a:schemeClr val="accent1">
                <a:lumMod val="75000"/>
              </a:schemeClr>
            </a:solidFill>
          </p:grpSpPr>
          <p:sp>
            <p:nvSpPr>
              <p:cNvPr id="368"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9"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0"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1"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2"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3"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4"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5"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6"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7"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8"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9"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0"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1"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2"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3"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4"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5"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6"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7"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8"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9"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0"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1"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2"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3"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4"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5"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6"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7"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8"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9"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0"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1"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2"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3"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4"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5"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6"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7"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8"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9"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0"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1"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2"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3"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4"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5"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6"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7"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8"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9"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0"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1"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2"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3"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4"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5"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6"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7"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8"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296" name="矩形 295"/>
            <p:cNvSpPr/>
            <p:nvPr/>
          </p:nvSpPr>
          <p:spPr>
            <a:xfrm>
              <a:off x="3528329" y="5491295"/>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297" name="矩形 296"/>
            <p:cNvSpPr/>
            <p:nvPr/>
          </p:nvSpPr>
          <p:spPr>
            <a:xfrm>
              <a:off x="3581280" y="5521478"/>
              <a:ext cx="441146"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298" name="组合 297"/>
            <p:cNvGrpSpPr/>
            <p:nvPr/>
          </p:nvGrpSpPr>
          <p:grpSpPr>
            <a:xfrm>
              <a:off x="3522071" y="5484589"/>
              <a:ext cx="1008508" cy="518422"/>
              <a:chOff x="-8582025" y="3954421"/>
              <a:chExt cx="7604117" cy="4238591"/>
            </a:xfrm>
            <a:solidFill>
              <a:schemeClr val="accent1">
                <a:lumMod val="75000"/>
              </a:schemeClr>
            </a:solidFill>
          </p:grpSpPr>
          <p:sp>
            <p:nvSpPr>
              <p:cNvPr id="302"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3"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4"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5"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6"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7"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8"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9"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0"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1"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2"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3"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4"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5"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6"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7"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8"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9"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0"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1"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2"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3"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4"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5"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6"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7"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8"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9"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0"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1"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2"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3"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4"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5"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6"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7"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8"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9"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0"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1"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2"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3"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4"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5"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6"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7"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8"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9"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0"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1"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2"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3"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4"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5"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6"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7"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8"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9"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0"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1"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2"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6" name="组合 15"/>
            <p:cNvGrpSpPr/>
            <p:nvPr/>
          </p:nvGrpSpPr>
          <p:grpSpPr>
            <a:xfrm>
              <a:off x="3571508" y="5612613"/>
              <a:ext cx="925702" cy="345615"/>
              <a:chOff x="3571508" y="5640824"/>
              <a:chExt cx="925702" cy="317404"/>
            </a:xfrm>
          </p:grpSpPr>
          <p:sp>
            <p:nvSpPr>
              <p:cNvPr id="299" name="矩形 298"/>
              <p:cNvSpPr/>
              <p:nvPr/>
            </p:nvSpPr>
            <p:spPr>
              <a:xfrm>
                <a:off x="3571508" y="5640824"/>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300" name="矩形 299"/>
              <p:cNvSpPr/>
              <p:nvPr/>
            </p:nvSpPr>
            <p:spPr>
              <a:xfrm>
                <a:off x="3571508" y="5865316"/>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301" name="矩形 300"/>
              <p:cNvSpPr/>
              <p:nvPr/>
            </p:nvSpPr>
            <p:spPr>
              <a:xfrm>
                <a:off x="3571508" y="5753070"/>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grpSp>
          <p:nvGrpSpPr>
            <p:cNvPr id="495" name="Group 8199"/>
            <p:cNvGrpSpPr/>
            <p:nvPr/>
          </p:nvGrpSpPr>
          <p:grpSpPr>
            <a:xfrm>
              <a:off x="4334703" y="4533472"/>
              <a:ext cx="122997" cy="122997"/>
              <a:chOff x="-1339187" y="4292667"/>
              <a:chExt cx="652288" cy="652288"/>
            </a:xfrm>
          </p:grpSpPr>
          <p:sp>
            <p:nvSpPr>
              <p:cNvPr id="496"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497" name="Group 8198"/>
              <p:cNvGrpSpPr/>
              <p:nvPr/>
            </p:nvGrpSpPr>
            <p:grpSpPr>
              <a:xfrm>
                <a:off x="-1300864" y="4330990"/>
                <a:ext cx="575643" cy="575643"/>
                <a:chOff x="-1649413" y="3355975"/>
                <a:chExt cx="530226" cy="520700"/>
              </a:xfrm>
            </p:grpSpPr>
            <p:sp>
              <p:nvSpPr>
                <p:cNvPr id="498"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499"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500" name="Group 8199"/>
            <p:cNvGrpSpPr/>
            <p:nvPr/>
          </p:nvGrpSpPr>
          <p:grpSpPr>
            <a:xfrm>
              <a:off x="4334703" y="4711272"/>
              <a:ext cx="122997" cy="122997"/>
              <a:chOff x="-1339187" y="4292667"/>
              <a:chExt cx="652288" cy="652288"/>
            </a:xfrm>
          </p:grpSpPr>
          <p:sp>
            <p:nvSpPr>
              <p:cNvPr id="501"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502" name="Group 8198"/>
              <p:cNvGrpSpPr/>
              <p:nvPr/>
            </p:nvGrpSpPr>
            <p:grpSpPr>
              <a:xfrm>
                <a:off x="-1300864" y="4330990"/>
                <a:ext cx="575643" cy="575643"/>
                <a:chOff x="-1649413" y="3355975"/>
                <a:chExt cx="530226" cy="520700"/>
              </a:xfrm>
            </p:grpSpPr>
            <p:sp>
              <p:nvSpPr>
                <p:cNvPr id="503"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504"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505" name="Group 8199"/>
            <p:cNvGrpSpPr/>
            <p:nvPr/>
          </p:nvGrpSpPr>
          <p:grpSpPr>
            <a:xfrm>
              <a:off x="4334703" y="5075339"/>
              <a:ext cx="122997" cy="122997"/>
              <a:chOff x="-1339187" y="4292667"/>
              <a:chExt cx="652288" cy="652288"/>
            </a:xfrm>
          </p:grpSpPr>
          <p:sp>
            <p:nvSpPr>
              <p:cNvPr id="506"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507" name="Group 8198"/>
              <p:cNvGrpSpPr/>
              <p:nvPr/>
            </p:nvGrpSpPr>
            <p:grpSpPr>
              <a:xfrm>
                <a:off x="-1300864" y="4330990"/>
                <a:ext cx="575643" cy="575643"/>
                <a:chOff x="-1649413" y="3355975"/>
                <a:chExt cx="530226" cy="520700"/>
              </a:xfrm>
            </p:grpSpPr>
            <p:sp>
              <p:nvSpPr>
                <p:cNvPr id="508"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509"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510" name="Group 8199"/>
            <p:cNvGrpSpPr/>
            <p:nvPr/>
          </p:nvGrpSpPr>
          <p:grpSpPr>
            <a:xfrm>
              <a:off x="4334703" y="5261606"/>
              <a:ext cx="122997" cy="122997"/>
              <a:chOff x="-1339187" y="4292667"/>
              <a:chExt cx="652288" cy="652288"/>
            </a:xfrm>
          </p:grpSpPr>
          <p:sp>
            <p:nvSpPr>
              <p:cNvPr id="511"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512" name="Group 8198"/>
              <p:cNvGrpSpPr/>
              <p:nvPr/>
            </p:nvGrpSpPr>
            <p:grpSpPr>
              <a:xfrm>
                <a:off x="-1300864" y="4330990"/>
                <a:ext cx="575643" cy="575643"/>
                <a:chOff x="-1649413" y="3355975"/>
                <a:chExt cx="530226" cy="520700"/>
              </a:xfrm>
            </p:grpSpPr>
            <p:sp>
              <p:nvSpPr>
                <p:cNvPr id="513"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514"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515" name="Group 8199"/>
            <p:cNvGrpSpPr/>
            <p:nvPr/>
          </p:nvGrpSpPr>
          <p:grpSpPr>
            <a:xfrm>
              <a:off x="4334703" y="5600273"/>
              <a:ext cx="122997" cy="122997"/>
              <a:chOff x="-1339187" y="4292667"/>
              <a:chExt cx="652288" cy="652288"/>
            </a:xfrm>
          </p:grpSpPr>
          <p:sp>
            <p:nvSpPr>
              <p:cNvPr id="516"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517" name="Group 8198"/>
              <p:cNvGrpSpPr/>
              <p:nvPr/>
            </p:nvGrpSpPr>
            <p:grpSpPr>
              <a:xfrm>
                <a:off x="-1300864" y="4330990"/>
                <a:ext cx="575643" cy="575643"/>
                <a:chOff x="-1649413" y="3355975"/>
                <a:chExt cx="530226" cy="520700"/>
              </a:xfrm>
            </p:grpSpPr>
            <p:sp>
              <p:nvSpPr>
                <p:cNvPr id="518"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519"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520" name="Group 8199"/>
            <p:cNvGrpSpPr/>
            <p:nvPr/>
          </p:nvGrpSpPr>
          <p:grpSpPr>
            <a:xfrm>
              <a:off x="4334703" y="5727273"/>
              <a:ext cx="122997" cy="122997"/>
              <a:chOff x="-1339187" y="4292667"/>
              <a:chExt cx="652288" cy="652288"/>
            </a:xfrm>
          </p:grpSpPr>
          <p:sp>
            <p:nvSpPr>
              <p:cNvPr id="521"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522" name="Group 8198"/>
              <p:cNvGrpSpPr/>
              <p:nvPr/>
            </p:nvGrpSpPr>
            <p:grpSpPr>
              <a:xfrm>
                <a:off x="-1300864" y="4330990"/>
                <a:ext cx="575643" cy="575643"/>
                <a:chOff x="-1649413" y="3355975"/>
                <a:chExt cx="530226" cy="520700"/>
              </a:xfrm>
            </p:grpSpPr>
            <p:sp>
              <p:nvSpPr>
                <p:cNvPr id="523"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524"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525" name="Group 8199"/>
            <p:cNvGrpSpPr/>
            <p:nvPr/>
          </p:nvGrpSpPr>
          <p:grpSpPr>
            <a:xfrm>
              <a:off x="4334703" y="5841572"/>
              <a:ext cx="122997" cy="122997"/>
              <a:chOff x="-1339187" y="4292667"/>
              <a:chExt cx="652288" cy="652288"/>
            </a:xfrm>
          </p:grpSpPr>
          <p:sp>
            <p:nvSpPr>
              <p:cNvPr id="526"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527" name="Group 8198"/>
              <p:cNvGrpSpPr/>
              <p:nvPr/>
            </p:nvGrpSpPr>
            <p:grpSpPr>
              <a:xfrm>
                <a:off x="-1300864" y="4330990"/>
                <a:ext cx="575643" cy="575643"/>
                <a:chOff x="-1649413" y="3355975"/>
                <a:chExt cx="530226" cy="520700"/>
              </a:xfrm>
            </p:grpSpPr>
            <p:sp>
              <p:nvSpPr>
                <p:cNvPr id="528"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529"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grpSp>
        <p:nvGrpSpPr>
          <p:cNvPr id="21" name="组合 20"/>
          <p:cNvGrpSpPr/>
          <p:nvPr/>
        </p:nvGrpSpPr>
        <p:grpSpPr>
          <a:xfrm>
            <a:off x="6060829" y="1649293"/>
            <a:ext cx="1084603" cy="1691443"/>
            <a:chOff x="4873869" y="1630436"/>
            <a:chExt cx="1084603" cy="1691443"/>
          </a:xfrm>
        </p:grpSpPr>
        <p:sp>
          <p:nvSpPr>
            <p:cNvPr id="531" name="矩形 530"/>
            <p:cNvSpPr/>
            <p:nvPr/>
          </p:nvSpPr>
          <p:spPr>
            <a:xfrm>
              <a:off x="4873869" y="1630436"/>
              <a:ext cx="1084603" cy="1691443"/>
            </a:xfrm>
            <a:prstGeom prst="rect">
              <a:avLst/>
            </a:prstGeom>
            <a:solidFill>
              <a:srgbClr val="FFFAF7"/>
            </a:solidFill>
            <a:ln w="19050" cap="rnd" cmpd="sng" algn="ctr">
              <a:solidFill>
                <a:schemeClr val="accent1">
                  <a:lumMod val="7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3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32" name="矩形 531"/>
            <p:cNvSpPr/>
            <p:nvPr/>
          </p:nvSpPr>
          <p:spPr>
            <a:xfrm>
              <a:off x="4920711" y="1672477"/>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33" name="矩形 532"/>
            <p:cNvSpPr/>
            <p:nvPr/>
          </p:nvSpPr>
          <p:spPr>
            <a:xfrm>
              <a:off x="4973662" y="1702660"/>
              <a:ext cx="651140"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en-US" altLang="zh-CN"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534" name="组合 533"/>
            <p:cNvGrpSpPr/>
            <p:nvPr/>
          </p:nvGrpSpPr>
          <p:grpSpPr>
            <a:xfrm>
              <a:off x="4963890" y="1805529"/>
              <a:ext cx="925701" cy="322325"/>
              <a:chOff x="3571508" y="4517556"/>
              <a:chExt cx="925701" cy="271127"/>
            </a:xfrm>
          </p:grpSpPr>
          <p:sp>
            <p:nvSpPr>
              <p:cNvPr id="766" name="矩形 765"/>
              <p:cNvSpPr/>
              <p:nvPr/>
            </p:nvSpPr>
            <p:spPr>
              <a:xfrm>
                <a:off x="3571508" y="4517556"/>
                <a:ext cx="925701" cy="118034"/>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67" name="矩形 766"/>
              <p:cNvSpPr/>
              <p:nvPr/>
            </p:nvSpPr>
            <p:spPr>
              <a:xfrm>
                <a:off x="3571508" y="4670649"/>
                <a:ext cx="925701" cy="118034"/>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grpSp>
          <p:nvGrpSpPr>
            <p:cNvPr id="535" name="组合 534"/>
            <p:cNvGrpSpPr/>
            <p:nvPr/>
          </p:nvGrpSpPr>
          <p:grpSpPr>
            <a:xfrm>
              <a:off x="4914453" y="1665771"/>
              <a:ext cx="1008508" cy="518422"/>
              <a:chOff x="-8582025" y="3954421"/>
              <a:chExt cx="7604117" cy="4238591"/>
            </a:xfrm>
            <a:solidFill>
              <a:schemeClr val="accent1">
                <a:lumMod val="75000"/>
              </a:schemeClr>
            </a:solidFill>
          </p:grpSpPr>
          <p:sp>
            <p:nvSpPr>
              <p:cNvPr id="705"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06"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07"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08"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09"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0"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1"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2"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3"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4"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5"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6"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7"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8"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9"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0"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1"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2"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3"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4"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5"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6"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7"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8"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9"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0"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1"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2"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3"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4"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5"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6"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7"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8"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9"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0"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1"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2"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3"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4"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5"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6"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7"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8"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9"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50"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51"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52"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53"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54"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55"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56"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57"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58"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59"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60"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61"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62"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63"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64"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65"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536" name="矩形 535"/>
            <p:cNvSpPr/>
            <p:nvPr/>
          </p:nvSpPr>
          <p:spPr>
            <a:xfrm>
              <a:off x="4920711" y="2225872"/>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37" name="矩形 536"/>
            <p:cNvSpPr/>
            <p:nvPr/>
          </p:nvSpPr>
          <p:spPr>
            <a:xfrm>
              <a:off x="4973662" y="2256055"/>
              <a:ext cx="569387"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38" name="矩形 537"/>
            <p:cNvSpPr/>
            <p:nvPr/>
          </p:nvSpPr>
          <p:spPr>
            <a:xfrm>
              <a:off x="4963890" y="2358924"/>
              <a:ext cx="925702" cy="139910"/>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39" name="矩形 538"/>
            <p:cNvSpPr/>
            <p:nvPr/>
          </p:nvSpPr>
          <p:spPr>
            <a:xfrm>
              <a:off x="4963890" y="2544311"/>
              <a:ext cx="925702" cy="139910"/>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540" name="组合 539"/>
            <p:cNvGrpSpPr/>
            <p:nvPr/>
          </p:nvGrpSpPr>
          <p:grpSpPr>
            <a:xfrm>
              <a:off x="4914453" y="2219166"/>
              <a:ext cx="1008508" cy="518422"/>
              <a:chOff x="-8582025" y="3954421"/>
              <a:chExt cx="7604117" cy="4238591"/>
            </a:xfrm>
            <a:solidFill>
              <a:schemeClr val="accent1">
                <a:lumMod val="75000"/>
              </a:schemeClr>
            </a:solidFill>
          </p:grpSpPr>
          <p:sp>
            <p:nvSpPr>
              <p:cNvPr id="644"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45"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46"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47"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48"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49"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0"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1"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2"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3"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4"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5"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6"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7"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8"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9"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0"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1"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2"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3"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4"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5"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6"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7"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8"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9"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0"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1"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2"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3"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4"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5"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6"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7"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8"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9"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0"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1"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2"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3"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4"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5"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6"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7"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8"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9"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0"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1"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2"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3"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4"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5"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6"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7"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8"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9"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00"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01"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02"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03"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04"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541" name="矩形 540"/>
            <p:cNvSpPr/>
            <p:nvPr/>
          </p:nvSpPr>
          <p:spPr>
            <a:xfrm>
              <a:off x="4920711" y="2779268"/>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42" name="矩形 541"/>
            <p:cNvSpPr/>
            <p:nvPr/>
          </p:nvSpPr>
          <p:spPr>
            <a:xfrm>
              <a:off x="4973662" y="2809451"/>
              <a:ext cx="441146"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543" name="组合 542"/>
            <p:cNvGrpSpPr/>
            <p:nvPr/>
          </p:nvGrpSpPr>
          <p:grpSpPr>
            <a:xfrm>
              <a:off x="4914453" y="2772562"/>
              <a:ext cx="1008508" cy="518422"/>
              <a:chOff x="-8582025" y="3954421"/>
              <a:chExt cx="7604117" cy="4238591"/>
            </a:xfrm>
            <a:solidFill>
              <a:schemeClr val="accent1">
                <a:lumMod val="75000"/>
              </a:schemeClr>
            </a:solidFill>
          </p:grpSpPr>
          <p:sp>
            <p:nvSpPr>
              <p:cNvPr id="583"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84"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85"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86"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87"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88"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89"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0"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1"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2"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3"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4"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5"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6"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7"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8"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9"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0"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1"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2"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3"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4"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5"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6"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7"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8"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9"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0"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1"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2"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3"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4"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5"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6"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7"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8"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9"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0"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1"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2"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3"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4"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5"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6"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7"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8"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9"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0"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1"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2"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3"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4"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5"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6"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7"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8"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9"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40"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41"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42"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43"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544" name="组合 543"/>
            <p:cNvGrpSpPr/>
            <p:nvPr/>
          </p:nvGrpSpPr>
          <p:grpSpPr>
            <a:xfrm>
              <a:off x="4963890" y="2900586"/>
              <a:ext cx="925702" cy="345615"/>
              <a:chOff x="3571508" y="5640824"/>
              <a:chExt cx="925702" cy="317404"/>
            </a:xfrm>
          </p:grpSpPr>
          <p:sp>
            <p:nvSpPr>
              <p:cNvPr id="580" name="矩形 579"/>
              <p:cNvSpPr/>
              <p:nvPr/>
            </p:nvSpPr>
            <p:spPr>
              <a:xfrm>
                <a:off x="3571508" y="5640824"/>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81" name="矩形 580"/>
              <p:cNvSpPr/>
              <p:nvPr/>
            </p:nvSpPr>
            <p:spPr>
              <a:xfrm>
                <a:off x="3571508" y="5865316"/>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582" name="矩形 581"/>
              <p:cNvSpPr/>
              <p:nvPr/>
            </p:nvSpPr>
            <p:spPr>
              <a:xfrm>
                <a:off x="3571508" y="5753070"/>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grpSp>
          <p:nvGrpSpPr>
            <p:cNvPr id="547" name="Group 8199"/>
            <p:cNvGrpSpPr/>
            <p:nvPr/>
          </p:nvGrpSpPr>
          <p:grpSpPr>
            <a:xfrm>
              <a:off x="5727085" y="2363312"/>
              <a:ext cx="122997" cy="122997"/>
              <a:chOff x="-1339187" y="4292667"/>
              <a:chExt cx="652288" cy="652288"/>
            </a:xfrm>
          </p:grpSpPr>
          <p:sp>
            <p:nvSpPr>
              <p:cNvPr id="568"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569" name="Group 8198"/>
              <p:cNvGrpSpPr/>
              <p:nvPr/>
            </p:nvGrpSpPr>
            <p:grpSpPr>
              <a:xfrm>
                <a:off x="-1300864" y="4330990"/>
                <a:ext cx="575643" cy="575643"/>
                <a:chOff x="-1649413" y="3355975"/>
                <a:chExt cx="530226" cy="520700"/>
              </a:xfrm>
            </p:grpSpPr>
            <p:sp>
              <p:nvSpPr>
                <p:cNvPr id="570"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571"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grpSp>
        <p:nvGrpSpPr>
          <p:cNvPr id="25" name="组合 24"/>
          <p:cNvGrpSpPr/>
          <p:nvPr/>
        </p:nvGrpSpPr>
        <p:grpSpPr>
          <a:xfrm>
            <a:off x="8983187" y="3024760"/>
            <a:ext cx="1084603" cy="1691443"/>
            <a:chOff x="10521042" y="3097495"/>
            <a:chExt cx="1084603" cy="1691443"/>
          </a:xfrm>
        </p:grpSpPr>
        <p:sp>
          <p:nvSpPr>
            <p:cNvPr id="997" name="矩形 996"/>
            <p:cNvSpPr/>
            <p:nvPr/>
          </p:nvSpPr>
          <p:spPr>
            <a:xfrm>
              <a:off x="10521042" y="3097495"/>
              <a:ext cx="1084603" cy="1691443"/>
            </a:xfrm>
            <a:prstGeom prst="rect">
              <a:avLst/>
            </a:prstGeom>
            <a:solidFill>
              <a:srgbClr val="FFFAF7"/>
            </a:solidFill>
            <a:ln w="19050" cap="rnd" cmpd="sng" algn="ctr">
              <a:solidFill>
                <a:schemeClr val="accent1">
                  <a:lumMod val="7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3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998" name="矩形 997"/>
            <p:cNvSpPr/>
            <p:nvPr/>
          </p:nvSpPr>
          <p:spPr>
            <a:xfrm>
              <a:off x="10567884" y="3139536"/>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999" name="矩形 998"/>
            <p:cNvSpPr/>
            <p:nvPr/>
          </p:nvSpPr>
          <p:spPr>
            <a:xfrm>
              <a:off x="10620835" y="3169719"/>
              <a:ext cx="651140"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en-US" altLang="zh-CN"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1000" name="组合 999"/>
            <p:cNvGrpSpPr/>
            <p:nvPr/>
          </p:nvGrpSpPr>
          <p:grpSpPr>
            <a:xfrm>
              <a:off x="10611063" y="3272588"/>
              <a:ext cx="925701" cy="322325"/>
              <a:chOff x="3571508" y="4517556"/>
              <a:chExt cx="925701" cy="271127"/>
            </a:xfrm>
          </p:grpSpPr>
          <p:sp>
            <p:nvSpPr>
              <p:cNvPr id="1222" name="矩形 1221"/>
              <p:cNvSpPr/>
              <p:nvPr/>
            </p:nvSpPr>
            <p:spPr>
              <a:xfrm>
                <a:off x="3571508" y="4517556"/>
                <a:ext cx="925701" cy="118034"/>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23" name="矩形 1222"/>
              <p:cNvSpPr/>
              <p:nvPr/>
            </p:nvSpPr>
            <p:spPr>
              <a:xfrm>
                <a:off x="3571508" y="4670649"/>
                <a:ext cx="925701" cy="118034"/>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grpSp>
          <p:nvGrpSpPr>
            <p:cNvPr id="1001" name="组合 1000"/>
            <p:cNvGrpSpPr/>
            <p:nvPr/>
          </p:nvGrpSpPr>
          <p:grpSpPr>
            <a:xfrm>
              <a:off x="10561626" y="3132830"/>
              <a:ext cx="1008508" cy="518422"/>
              <a:chOff x="-8582025" y="3954421"/>
              <a:chExt cx="7604117" cy="4238591"/>
            </a:xfrm>
            <a:solidFill>
              <a:schemeClr val="accent1">
                <a:lumMod val="75000"/>
              </a:schemeClr>
            </a:solidFill>
          </p:grpSpPr>
          <p:sp>
            <p:nvSpPr>
              <p:cNvPr id="1161"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62"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63"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64"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65"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66"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67"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68"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69"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70"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71"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72"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73"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74"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75"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76"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77"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78"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79"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80"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81"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82"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83"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84"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85"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86"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87"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88"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89"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0"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1"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2"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3"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4"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5"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6"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7"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8"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9"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00"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01"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02"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03"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04"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05"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06"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07"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08"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09"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10"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11"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12"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13"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14"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15"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16"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17"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18"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19"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20"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21"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1002" name="矩形 1001"/>
            <p:cNvSpPr/>
            <p:nvPr/>
          </p:nvSpPr>
          <p:spPr>
            <a:xfrm>
              <a:off x="10567884" y="3692931"/>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003" name="矩形 1002"/>
            <p:cNvSpPr/>
            <p:nvPr/>
          </p:nvSpPr>
          <p:spPr>
            <a:xfrm>
              <a:off x="10620835" y="3723114"/>
              <a:ext cx="569387"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004" name="矩形 1003"/>
            <p:cNvSpPr/>
            <p:nvPr/>
          </p:nvSpPr>
          <p:spPr>
            <a:xfrm>
              <a:off x="10611063" y="3825983"/>
              <a:ext cx="925702" cy="139910"/>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005" name="矩形 1004"/>
            <p:cNvSpPr/>
            <p:nvPr/>
          </p:nvSpPr>
          <p:spPr>
            <a:xfrm>
              <a:off x="10611063" y="4011370"/>
              <a:ext cx="925702" cy="139910"/>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1006" name="组合 1005"/>
            <p:cNvGrpSpPr/>
            <p:nvPr/>
          </p:nvGrpSpPr>
          <p:grpSpPr>
            <a:xfrm>
              <a:off x="10561626" y="3686225"/>
              <a:ext cx="1008508" cy="518422"/>
              <a:chOff x="-8582025" y="3954421"/>
              <a:chExt cx="7604117" cy="4238591"/>
            </a:xfrm>
            <a:solidFill>
              <a:schemeClr val="accent1">
                <a:lumMod val="75000"/>
              </a:schemeClr>
            </a:solidFill>
          </p:grpSpPr>
          <p:sp>
            <p:nvSpPr>
              <p:cNvPr id="1100"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01"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02"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03"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04"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05"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06"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07"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08"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09"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10"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11"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12"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13"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14"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15"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16"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17"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18"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19"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20"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21"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22"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23"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24"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25"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26"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27"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28"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29"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0"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1"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2"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3"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4"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5"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6"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7"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8"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9"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40"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41"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42"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43"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44"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45"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46"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47"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48"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49"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50"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51"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52"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53"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54"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55"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56"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57"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58"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59"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60"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1007" name="矩形 1006"/>
            <p:cNvSpPr/>
            <p:nvPr/>
          </p:nvSpPr>
          <p:spPr>
            <a:xfrm>
              <a:off x="10567884" y="4246327"/>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008" name="矩形 1007"/>
            <p:cNvSpPr/>
            <p:nvPr/>
          </p:nvSpPr>
          <p:spPr>
            <a:xfrm>
              <a:off x="10620835" y="4276510"/>
              <a:ext cx="441146"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1009" name="组合 1008"/>
            <p:cNvGrpSpPr/>
            <p:nvPr/>
          </p:nvGrpSpPr>
          <p:grpSpPr>
            <a:xfrm>
              <a:off x="10561626" y="4239621"/>
              <a:ext cx="1008508" cy="518422"/>
              <a:chOff x="-8582025" y="3954421"/>
              <a:chExt cx="7604117" cy="4238591"/>
            </a:xfrm>
            <a:solidFill>
              <a:schemeClr val="accent1">
                <a:lumMod val="75000"/>
              </a:schemeClr>
            </a:solidFill>
          </p:grpSpPr>
          <p:sp>
            <p:nvSpPr>
              <p:cNvPr id="1039"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0"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1"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2"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3"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4"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5"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6"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7"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8"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9"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0"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1"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2"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3"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4"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5"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6"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7"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8"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9"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0"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1"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2"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3"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4"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5"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6"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7"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8"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9"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0"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1"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2"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3"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4"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5"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6"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7"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8"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9"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80"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81"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82"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83"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84"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85"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86"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87"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88"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89"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90"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91"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92"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93"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94"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95"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96"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97"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98"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99"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010" name="组合 1009"/>
            <p:cNvGrpSpPr/>
            <p:nvPr/>
          </p:nvGrpSpPr>
          <p:grpSpPr>
            <a:xfrm>
              <a:off x="10611063" y="4367645"/>
              <a:ext cx="925702" cy="345615"/>
              <a:chOff x="3571508" y="5640824"/>
              <a:chExt cx="925702" cy="317404"/>
            </a:xfrm>
          </p:grpSpPr>
          <p:sp>
            <p:nvSpPr>
              <p:cNvPr id="1036" name="矩形 1035"/>
              <p:cNvSpPr/>
              <p:nvPr/>
            </p:nvSpPr>
            <p:spPr>
              <a:xfrm>
                <a:off x="3571508" y="5640824"/>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037" name="矩形 1036"/>
              <p:cNvSpPr/>
              <p:nvPr/>
            </p:nvSpPr>
            <p:spPr>
              <a:xfrm>
                <a:off x="3571508" y="5865316"/>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038" name="矩形 1037"/>
              <p:cNvSpPr/>
              <p:nvPr/>
            </p:nvSpPr>
            <p:spPr>
              <a:xfrm>
                <a:off x="3571508" y="5753070"/>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grpSp>
          <p:nvGrpSpPr>
            <p:cNvPr id="1011" name="Group 8199"/>
            <p:cNvGrpSpPr/>
            <p:nvPr/>
          </p:nvGrpSpPr>
          <p:grpSpPr>
            <a:xfrm>
              <a:off x="11374258" y="3830371"/>
              <a:ext cx="122997" cy="122997"/>
              <a:chOff x="-1339187" y="4292667"/>
              <a:chExt cx="652288" cy="652288"/>
            </a:xfrm>
          </p:grpSpPr>
          <p:sp>
            <p:nvSpPr>
              <p:cNvPr id="1032"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1033" name="Group 8198"/>
              <p:cNvGrpSpPr/>
              <p:nvPr/>
            </p:nvGrpSpPr>
            <p:grpSpPr>
              <a:xfrm>
                <a:off x="-1300864" y="4330990"/>
                <a:ext cx="575643" cy="575643"/>
                <a:chOff x="-1649413" y="3355975"/>
                <a:chExt cx="530226" cy="520700"/>
              </a:xfrm>
            </p:grpSpPr>
            <p:sp>
              <p:nvSpPr>
                <p:cNvPr id="1034"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1035"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1012" name="Group 8199"/>
            <p:cNvGrpSpPr/>
            <p:nvPr/>
          </p:nvGrpSpPr>
          <p:grpSpPr>
            <a:xfrm>
              <a:off x="11374258" y="3287760"/>
              <a:ext cx="122997" cy="122997"/>
              <a:chOff x="-1339187" y="4292667"/>
              <a:chExt cx="652288" cy="652288"/>
            </a:xfrm>
          </p:grpSpPr>
          <p:sp>
            <p:nvSpPr>
              <p:cNvPr id="1028"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1029" name="Group 8198"/>
              <p:cNvGrpSpPr/>
              <p:nvPr/>
            </p:nvGrpSpPr>
            <p:grpSpPr>
              <a:xfrm>
                <a:off x="-1300864" y="4330990"/>
                <a:ext cx="575643" cy="575643"/>
                <a:chOff x="-1649413" y="3355975"/>
                <a:chExt cx="530226" cy="520700"/>
              </a:xfrm>
            </p:grpSpPr>
            <p:sp>
              <p:nvSpPr>
                <p:cNvPr id="1030"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1031"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1013" name="Group 8199"/>
            <p:cNvGrpSpPr/>
            <p:nvPr/>
          </p:nvGrpSpPr>
          <p:grpSpPr>
            <a:xfrm>
              <a:off x="11374258" y="3468630"/>
              <a:ext cx="122997" cy="122997"/>
              <a:chOff x="-1339187" y="4292667"/>
              <a:chExt cx="652288" cy="652288"/>
            </a:xfrm>
          </p:grpSpPr>
          <p:sp>
            <p:nvSpPr>
              <p:cNvPr id="1024"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1025" name="Group 8198"/>
              <p:cNvGrpSpPr/>
              <p:nvPr/>
            </p:nvGrpSpPr>
            <p:grpSpPr>
              <a:xfrm>
                <a:off x="-1300864" y="4330990"/>
                <a:ext cx="575643" cy="575643"/>
                <a:chOff x="-1649413" y="3355975"/>
                <a:chExt cx="530226" cy="520700"/>
              </a:xfrm>
            </p:grpSpPr>
            <p:sp>
              <p:nvSpPr>
                <p:cNvPr id="1026"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1027"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sp>
        <p:nvSpPr>
          <p:cNvPr id="27" name="任意多边形 26"/>
          <p:cNvSpPr/>
          <p:nvPr/>
        </p:nvSpPr>
        <p:spPr>
          <a:xfrm>
            <a:off x="9611591" y="2441864"/>
            <a:ext cx="914400" cy="0"/>
          </a:xfrm>
          <a:custGeom>
            <a:avLst/>
            <a:gdLst>
              <a:gd name="connsiteX0" fmla="*/ 0 w 914400"/>
              <a:gd name="connsiteY0" fmla="*/ 0 h 0"/>
              <a:gd name="connsiteX1" fmla="*/ 914400 w 914400"/>
              <a:gd name="connsiteY1" fmla="*/ 0 h 0"/>
            </a:gdLst>
            <a:ahLst/>
            <a:cxnLst>
              <a:cxn ang="0">
                <a:pos x="connsiteX0" y="connsiteY0"/>
              </a:cxn>
              <a:cxn ang="0">
                <a:pos x="connsiteX1" y="connsiteY1"/>
              </a:cxn>
            </a:cxnLst>
            <a:rect l="l" t="t" r="r" b="b"/>
            <a:pathLst>
              <a:path w="914400">
                <a:moveTo>
                  <a:pt x="0" y="0"/>
                </a:moveTo>
                <a:lnTo>
                  <a:pt x="914400" y="0"/>
                </a:lnTo>
              </a:path>
            </a:pathLst>
          </a:custGeom>
          <a:noFill/>
          <a:ln w="19050" cap="rnd" cmpd="sng" algn="ctr">
            <a:solidFill>
              <a:schemeClr val="accent1">
                <a:lumMod val="75000"/>
              </a:schemeClr>
            </a:solidFill>
            <a:prstDash val="solid"/>
            <a:round/>
            <a:headEnd type="oval"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1462" name="任意多边形 1461"/>
          <p:cNvSpPr/>
          <p:nvPr/>
        </p:nvSpPr>
        <p:spPr>
          <a:xfrm>
            <a:off x="9611591" y="5205846"/>
            <a:ext cx="914400" cy="0"/>
          </a:xfrm>
          <a:custGeom>
            <a:avLst/>
            <a:gdLst>
              <a:gd name="connsiteX0" fmla="*/ 0 w 914400"/>
              <a:gd name="connsiteY0" fmla="*/ 0 h 0"/>
              <a:gd name="connsiteX1" fmla="*/ 914400 w 914400"/>
              <a:gd name="connsiteY1" fmla="*/ 0 h 0"/>
            </a:gdLst>
            <a:ahLst/>
            <a:cxnLst>
              <a:cxn ang="0">
                <a:pos x="connsiteX0" y="connsiteY0"/>
              </a:cxn>
              <a:cxn ang="0">
                <a:pos x="connsiteX1" y="connsiteY1"/>
              </a:cxn>
            </a:cxnLst>
            <a:rect l="l" t="t" r="r" b="b"/>
            <a:pathLst>
              <a:path w="914400">
                <a:moveTo>
                  <a:pt x="0" y="0"/>
                </a:moveTo>
                <a:lnTo>
                  <a:pt x="914400" y="0"/>
                </a:lnTo>
              </a:path>
            </a:pathLst>
          </a:custGeom>
          <a:noFill/>
          <a:ln w="19050" cap="rnd" cmpd="sng" algn="ctr">
            <a:solidFill>
              <a:schemeClr val="accent1">
                <a:lumMod val="75000"/>
              </a:schemeClr>
            </a:solidFill>
            <a:prstDash val="solid"/>
            <a:round/>
            <a:headEnd type="oval"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grpSp>
        <p:nvGrpSpPr>
          <p:cNvPr id="24" name="组合 23"/>
          <p:cNvGrpSpPr/>
          <p:nvPr/>
        </p:nvGrpSpPr>
        <p:grpSpPr>
          <a:xfrm>
            <a:off x="10521042" y="1380370"/>
            <a:ext cx="1084603" cy="1691443"/>
            <a:chOff x="7893398" y="575360"/>
            <a:chExt cx="1084603" cy="1691443"/>
          </a:xfrm>
        </p:grpSpPr>
        <p:sp>
          <p:nvSpPr>
            <p:cNvPr id="769" name="矩形 768"/>
            <p:cNvSpPr/>
            <p:nvPr/>
          </p:nvSpPr>
          <p:spPr>
            <a:xfrm>
              <a:off x="7893398" y="575360"/>
              <a:ext cx="1084603" cy="1691443"/>
            </a:xfrm>
            <a:prstGeom prst="rect">
              <a:avLst/>
            </a:prstGeom>
            <a:solidFill>
              <a:srgbClr val="FFFAF7"/>
            </a:solidFill>
            <a:ln w="19050" cap="rnd" cmpd="sng" algn="ctr">
              <a:solidFill>
                <a:schemeClr val="accent1">
                  <a:lumMod val="7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3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70" name="矩形 769"/>
            <p:cNvSpPr/>
            <p:nvPr/>
          </p:nvSpPr>
          <p:spPr>
            <a:xfrm>
              <a:off x="7940240" y="617401"/>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71" name="矩形 770"/>
            <p:cNvSpPr/>
            <p:nvPr/>
          </p:nvSpPr>
          <p:spPr>
            <a:xfrm>
              <a:off x="7993191" y="647584"/>
              <a:ext cx="651140"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en-US" altLang="zh-CN"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772" name="组合 771"/>
            <p:cNvGrpSpPr/>
            <p:nvPr/>
          </p:nvGrpSpPr>
          <p:grpSpPr>
            <a:xfrm>
              <a:off x="7983419" y="750453"/>
              <a:ext cx="925701" cy="322325"/>
              <a:chOff x="3571508" y="4517556"/>
              <a:chExt cx="925701" cy="271127"/>
            </a:xfrm>
          </p:grpSpPr>
          <p:sp>
            <p:nvSpPr>
              <p:cNvPr id="974" name="矩形 973"/>
              <p:cNvSpPr/>
              <p:nvPr/>
            </p:nvSpPr>
            <p:spPr>
              <a:xfrm>
                <a:off x="3571508" y="4517556"/>
                <a:ext cx="925701" cy="118034"/>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975" name="矩形 974"/>
              <p:cNvSpPr/>
              <p:nvPr/>
            </p:nvSpPr>
            <p:spPr>
              <a:xfrm>
                <a:off x="3571508" y="4670649"/>
                <a:ext cx="925701" cy="118034"/>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grpSp>
          <p:nvGrpSpPr>
            <p:cNvPr id="773" name="组合 772"/>
            <p:cNvGrpSpPr/>
            <p:nvPr/>
          </p:nvGrpSpPr>
          <p:grpSpPr>
            <a:xfrm>
              <a:off x="7933982" y="610695"/>
              <a:ext cx="1008508" cy="518422"/>
              <a:chOff x="-8582025" y="3954421"/>
              <a:chExt cx="7604117" cy="4238591"/>
            </a:xfrm>
            <a:solidFill>
              <a:schemeClr val="accent1">
                <a:lumMod val="75000"/>
              </a:schemeClr>
            </a:solidFill>
          </p:grpSpPr>
          <p:sp>
            <p:nvSpPr>
              <p:cNvPr id="913"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4"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5"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6"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7"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8"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9"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0"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1"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2"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3"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4"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5"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6"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7"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8"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9"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0"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1"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2"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3"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4"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5"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6"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7"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8"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9"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0"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1"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2"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3"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4"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5"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6"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7"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8"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9"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0"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1"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2"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3"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4"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5"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6"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7"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8"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9"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0"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1"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2"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3"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4"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5"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6"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7"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8"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9"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70"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71"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72"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73"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774" name="矩形 773"/>
            <p:cNvSpPr/>
            <p:nvPr/>
          </p:nvSpPr>
          <p:spPr>
            <a:xfrm>
              <a:off x="7940240" y="1170796"/>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75" name="矩形 774"/>
            <p:cNvSpPr/>
            <p:nvPr/>
          </p:nvSpPr>
          <p:spPr>
            <a:xfrm>
              <a:off x="7993191" y="1200979"/>
              <a:ext cx="569387"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XA</a:t>
              </a:r>
              <a:endParaRPr kumimoji="0" lang="zh-CN" altLang="en-US"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76" name="矩形 775"/>
            <p:cNvSpPr/>
            <p:nvPr/>
          </p:nvSpPr>
          <p:spPr>
            <a:xfrm>
              <a:off x="7983419" y="1303848"/>
              <a:ext cx="925702" cy="139910"/>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77" name="矩形 776"/>
            <p:cNvSpPr/>
            <p:nvPr/>
          </p:nvSpPr>
          <p:spPr>
            <a:xfrm>
              <a:off x="7983419" y="1489235"/>
              <a:ext cx="925702" cy="139910"/>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778" name="组合 777"/>
            <p:cNvGrpSpPr/>
            <p:nvPr/>
          </p:nvGrpSpPr>
          <p:grpSpPr>
            <a:xfrm>
              <a:off x="7933982" y="1164090"/>
              <a:ext cx="1008508" cy="518422"/>
              <a:chOff x="-8582025" y="3954421"/>
              <a:chExt cx="7604117" cy="4238591"/>
            </a:xfrm>
            <a:solidFill>
              <a:schemeClr val="accent1">
                <a:lumMod val="75000"/>
              </a:schemeClr>
            </a:solidFill>
          </p:grpSpPr>
          <p:sp>
            <p:nvSpPr>
              <p:cNvPr id="852"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3"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4"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5"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6"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7"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8"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9"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0"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1"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2"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3"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4"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5"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6"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7"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8"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9"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0"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1"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2"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3"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4"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5"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6"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7"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8"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9"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0"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1"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2"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3"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4"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5"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6"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7"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8"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9"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0"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1"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2"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3"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4"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5"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6"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7"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8"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9"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0"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1"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2"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3"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4"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5"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6"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7"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8"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9"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0"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1"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2"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779" name="矩形 778"/>
            <p:cNvSpPr/>
            <p:nvPr/>
          </p:nvSpPr>
          <p:spPr>
            <a:xfrm>
              <a:off x="7940240" y="1724192"/>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80" name="矩形 779"/>
            <p:cNvSpPr/>
            <p:nvPr/>
          </p:nvSpPr>
          <p:spPr>
            <a:xfrm>
              <a:off x="7993191" y="1754375"/>
              <a:ext cx="441146"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781" name="组合 780"/>
            <p:cNvGrpSpPr/>
            <p:nvPr/>
          </p:nvGrpSpPr>
          <p:grpSpPr>
            <a:xfrm>
              <a:off x="7933982" y="1717486"/>
              <a:ext cx="1008508" cy="518422"/>
              <a:chOff x="-8582025" y="3954421"/>
              <a:chExt cx="7604117" cy="4238591"/>
            </a:xfrm>
            <a:solidFill>
              <a:schemeClr val="accent1">
                <a:lumMod val="75000"/>
              </a:schemeClr>
            </a:solidFill>
          </p:grpSpPr>
          <p:sp>
            <p:nvSpPr>
              <p:cNvPr id="791"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92"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93"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94"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95"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96"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97"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98"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99"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0"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1"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2"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3"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4"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5"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6"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7"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8"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09"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0"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1"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2"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3"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4"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5"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6"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7"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8"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19"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0"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1"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2"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3"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4"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5"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6"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7"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8"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29"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0"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1"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2"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3"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4"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5"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6"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7"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8"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39"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0"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1"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2"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3"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4"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5"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6"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7"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8"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9"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0"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1"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782" name="组合 781"/>
            <p:cNvGrpSpPr/>
            <p:nvPr/>
          </p:nvGrpSpPr>
          <p:grpSpPr>
            <a:xfrm>
              <a:off x="7983419" y="1845510"/>
              <a:ext cx="925702" cy="345615"/>
              <a:chOff x="3571508" y="5640824"/>
              <a:chExt cx="925702" cy="317404"/>
            </a:xfrm>
          </p:grpSpPr>
          <p:sp>
            <p:nvSpPr>
              <p:cNvPr id="788" name="矩形 787"/>
              <p:cNvSpPr/>
              <p:nvPr/>
            </p:nvSpPr>
            <p:spPr>
              <a:xfrm>
                <a:off x="3571508" y="5640824"/>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89" name="矩形 788"/>
              <p:cNvSpPr/>
              <p:nvPr/>
            </p:nvSpPr>
            <p:spPr>
              <a:xfrm>
                <a:off x="3571508" y="5865316"/>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790" name="矩形 789"/>
              <p:cNvSpPr/>
              <p:nvPr/>
            </p:nvSpPr>
            <p:spPr>
              <a:xfrm>
                <a:off x="3571508" y="5753070"/>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grpSp>
          <p:nvGrpSpPr>
            <p:cNvPr id="783" name="Group 8199"/>
            <p:cNvGrpSpPr/>
            <p:nvPr/>
          </p:nvGrpSpPr>
          <p:grpSpPr>
            <a:xfrm>
              <a:off x="8746614" y="1308236"/>
              <a:ext cx="122997" cy="122997"/>
              <a:chOff x="-1339187" y="4292667"/>
              <a:chExt cx="652288" cy="652288"/>
            </a:xfrm>
          </p:grpSpPr>
          <p:sp>
            <p:nvSpPr>
              <p:cNvPr id="784"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785" name="Group 8198"/>
              <p:cNvGrpSpPr/>
              <p:nvPr/>
            </p:nvGrpSpPr>
            <p:grpSpPr>
              <a:xfrm>
                <a:off x="-1300864" y="4330990"/>
                <a:ext cx="575643" cy="575643"/>
                <a:chOff x="-1649413" y="3355975"/>
                <a:chExt cx="530226" cy="520700"/>
              </a:xfrm>
            </p:grpSpPr>
            <p:sp>
              <p:nvSpPr>
                <p:cNvPr id="786"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787"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976" name="Group 8199"/>
            <p:cNvGrpSpPr/>
            <p:nvPr/>
          </p:nvGrpSpPr>
          <p:grpSpPr>
            <a:xfrm>
              <a:off x="8746614" y="765625"/>
              <a:ext cx="122997" cy="122997"/>
              <a:chOff x="-1339187" y="4292667"/>
              <a:chExt cx="652288" cy="652288"/>
            </a:xfrm>
          </p:grpSpPr>
          <p:sp>
            <p:nvSpPr>
              <p:cNvPr id="977"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978" name="Group 8198"/>
              <p:cNvGrpSpPr/>
              <p:nvPr/>
            </p:nvGrpSpPr>
            <p:grpSpPr>
              <a:xfrm>
                <a:off x="-1300864" y="4330990"/>
                <a:ext cx="575643" cy="575643"/>
                <a:chOff x="-1649413" y="3355975"/>
                <a:chExt cx="530226" cy="520700"/>
              </a:xfrm>
            </p:grpSpPr>
            <p:sp>
              <p:nvSpPr>
                <p:cNvPr id="979"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980"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981" name="Group 8199"/>
            <p:cNvGrpSpPr/>
            <p:nvPr/>
          </p:nvGrpSpPr>
          <p:grpSpPr>
            <a:xfrm>
              <a:off x="8746614" y="946495"/>
              <a:ext cx="122997" cy="122997"/>
              <a:chOff x="-1339187" y="4292667"/>
              <a:chExt cx="652288" cy="652288"/>
            </a:xfrm>
          </p:grpSpPr>
          <p:sp>
            <p:nvSpPr>
              <p:cNvPr id="982"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983" name="Group 8198"/>
              <p:cNvGrpSpPr/>
              <p:nvPr/>
            </p:nvGrpSpPr>
            <p:grpSpPr>
              <a:xfrm>
                <a:off x="-1300864" y="4330990"/>
                <a:ext cx="575643" cy="575643"/>
                <a:chOff x="-1649413" y="3355975"/>
                <a:chExt cx="530226" cy="520700"/>
              </a:xfrm>
            </p:grpSpPr>
            <p:sp>
              <p:nvSpPr>
                <p:cNvPr id="984"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985"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986" name="Group 8199"/>
            <p:cNvGrpSpPr/>
            <p:nvPr/>
          </p:nvGrpSpPr>
          <p:grpSpPr>
            <a:xfrm>
              <a:off x="8746614" y="1499154"/>
              <a:ext cx="122997" cy="122997"/>
              <a:chOff x="-1339187" y="4292667"/>
              <a:chExt cx="652288" cy="652288"/>
            </a:xfrm>
          </p:grpSpPr>
          <p:sp>
            <p:nvSpPr>
              <p:cNvPr id="987"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988" name="Group 8198"/>
              <p:cNvGrpSpPr/>
              <p:nvPr/>
            </p:nvGrpSpPr>
            <p:grpSpPr>
              <a:xfrm>
                <a:off x="-1300864" y="4330990"/>
                <a:ext cx="575643" cy="575643"/>
                <a:chOff x="-1649413" y="3355975"/>
                <a:chExt cx="530226" cy="520700"/>
              </a:xfrm>
            </p:grpSpPr>
            <p:sp>
              <p:nvSpPr>
                <p:cNvPr id="989"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990"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991" name="Group 8199"/>
            <p:cNvGrpSpPr/>
            <p:nvPr/>
          </p:nvGrpSpPr>
          <p:grpSpPr>
            <a:xfrm>
              <a:off x="8746614" y="2086983"/>
              <a:ext cx="122997" cy="122997"/>
              <a:chOff x="-1339187" y="4292667"/>
              <a:chExt cx="652288" cy="652288"/>
            </a:xfrm>
          </p:grpSpPr>
          <p:sp>
            <p:nvSpPr>
              <p:cNvPr id="992"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993" name="Group 8198"/>
              <p:cNvGrpSpPr/>
              <p:nvPr/>
            </p:nvGrpSpPr>
            <p:grpSpPr>
              <a:xfrm>
                <a:off x="-1300864" y="4330990"/>
                <a:ext cx="575643" cy="575643"/>
                <a:chOff x="-1649413" y="3355975"/>
                <a:chExt cx="530226" cy="520700"/>
              </a:xfrm>
            </p:grpSpPr>
            <p:sp>
              <p:nvSpPr>
                <p:cNvPr id="994"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995"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grpSp>
        <p:nvGrpSpPr>
          <p:cNvPr id="26" name="组合 25"/>
          <p:cNvGrpSpPr/>
          <p:nvPr/>
        </p:nvGrpSpPr>
        <p:grpSpPr>
          <a:xfrm>
            <a:off x="10479478" y="4160907"/>
            <a:ext cx="1084603" cy="1691443"/>
            <a:chOff x="10521042" y="5127262"/>
            <a:chExt cx="1084603" cy="1691443"/>
          </a:xfrm>
        </p:grpSpPr>
        <p:sp>
          <p:nvSpPr>
            <p:cNvPr id="1225" name="矩形 1224"/>
            <p:cNvSpPr/>
            <p:nvPr/>
          </p:nvSpPr>
          <p:spPr>
            <a:xfrm>
              <a:off x="10521042" y="5127262"/>
              <a:ext cx="1084603" cy="1691443"/>
            </a:xfrm>
            <a:prstGeom prst="rect">
              <a:avLst/>
            </a:prstGeom>
            <a:solidFill>
              <a:srgbClr val="FFFAF7"/>
            </a:solidFill>
            <a:ln w="19050" cap="rnd" cmpd="sng" algn="ctr">
              <a:solidFill>
                <a:schemeClr val="accent1">
                  <a:lumMod val="7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3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26" name="矩形 1225"/>
            <p:cNvSpPr/>
            <p:nvPr/>
          </p:nvSpPr>
          <p:spPr>
            <a:xfrm>
              <a:off x="10567884" y="5169303"/>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27" name="矩形 1226"/>
            <p:cNvSpPr/>
            <p:nvPr/>
          </p:nvSpPr>
          <p:spPr>
            <a:xfrm>
              <a:off x="10620835" y="5199486"/>
              <a:ext cx="651140"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a:t>
              </a:r>
              <a:endParaRPr kumimoji="0" lang="en-US" altLang="zh-CN"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1228" name="组合 1227"/>
            <p:cNvGrpSpPr/>
            <p:nvPr/>
          </p:nvGrpSpPr>
          <p:grpSpPr>
            <a:xfrm>
              <a:off x="10611063" y="5302355"/>
              <a:ext cx="925701" cy="322325"/>
              <a:chOff x="3571508" y="4517556"/>
              <a:chExt cx="925701" cy="271127"/>
            </a:xfrm>
          </p:grpSpPr>
          <p:sp>
            <p:nvSpPr>
              <p:cNvPr id="1440" name="矩形 1439"/>
              <p:cNvSpPr/>
              <p:nvPr/>
            </p:nvSpPr>
            <p:spPr>
              <a:xfrm>
                <a:off x="3571508" y="4517556"/>
                <a:ext cx="925701" cy="118034"/>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441" name="矩形 1440"/>
              <p:cNvSpPr/>
              <p:nvPr/>
            </p:nvSpPr>
            <p:spPr>
              <a:xfrm>
                <a:off x="3571508" y="4670649"/>
                <a:ext cx="925701" cy="118034"/>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grpSp>
          <p:nvGrpSpPr>
            <p:cNvPr id="1229" name="组合 1228"/>
            <p:cNvGrpSpPr/>
            <p:nvPr/>
          </p:nvGrpSpPr>
          <p:grpSpPr>
            <a:xfrm>
              <a:off x="10561626" y="5162597"/>
              <a:ext cx="1008508" cy="518422"/>
              <a:chOff x="-8582025" y="3954421"/>
              <a:chExt cx="7604117" cy="4238591"/>
            </a:xfrm>
            <a:solidFill>
              <a:schemeClr val="accent1">
                <a:lumMod val="75000"/>
              </a:schemeClr>
            </a:solidFill>
          </p:grpSpPr>
          <p:sp>
            <p:nvSpPr>
              <p:cNvPr id="1379"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0"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1"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2"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3"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4"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5"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6"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7"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8"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9"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0"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1"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2"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3"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4"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5"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6"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7"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8"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9"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0"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1"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2"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3"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4"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5"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6"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7"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8"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9"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0"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1"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2"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3"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4"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5"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6"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7"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8"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9"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0"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1"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2"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3"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4"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5"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6"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7"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8"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9"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0"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1"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2"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3"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4"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5"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6"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7"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8"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9"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1230" name="矩形 1229"/>
            <p:cNvSpPr/>
            <p:nvPr/>
          </p:nvSpPr>
          <p:spPr>
            <a:xfrm>
              <a:off x="10567884" y="5722698"/>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31" name="矩形 1230"/>
            <p:cNvSpPr/>
            <p:nvPr/>
          </p:nvSpPr>
          <p:spPr>
            <a:xfrm>
              <a:off x="10620835" y="5752881"/>
              <a:ext cx="569387"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32" name="矩形 1231"/>
            <p:cNvSpPr/>
            <p:nvPr/>
          </p:nvSpPr>
          <p:spPr>
            <a:xfrm>
              <a:off x="10611063" y="5855750"/>
              <a:ext cx="925702" cy="139910"/>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33" name="矩形 1232"/>
            <p:cNvSpPr/>
            <p:nvPr/>
          </p:nvSpPr>
          <p:spPr>
            <a:xfrm>
              <a:off x="10611063" y="6041137"/>
              <a:ext cx="925702" cy="139910"/>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1234" name="组合 1233"/>
            <p:cNvGrpSpPr/>
            <p:nvPr/>
          </p:nvGrpSpPr>
          <p:grpSpPr>
            <a:xfrm>
              <a:off x="10561626" y="5715992"/>
              <a:ext cx="1008508" cy="518422"/>
              <a:chOff x="-8582025" y="3954421"/>
              <a:chExt cx="7604117" cy="4238591"/>
            </a:xfrm>
            <a:solidFill>
              <a:schemeClr val="accent1">
                <a:lumMod val="75000"/>
              </a:schemeClr>
            </a:solidFill>
          </p:grpSpPr>
          <p:sp>
            <p:nvSpPr>
              <p:cNvPr id="1318"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19"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0"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1"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2"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3"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4"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5"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6"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7"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8"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9"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0"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1"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2"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3"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4"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5"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6"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7"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8"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9"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0"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1"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2"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3"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4"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5"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6"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7"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8"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9"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50"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51"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52"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53"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54"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55"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56"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57"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58"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59"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60"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61"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62"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63"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64"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65"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66"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67"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68"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69"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70"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71"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72"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73"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74"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75"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76"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77"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78"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1235" name="矩形 1234"/>
            <p:cNvSpPr/>
            <p:nvPr/>
          </p:nvSpPr>
          <p:spPr>
            <a:xfrm>
              <a:off x="10567884" y="6276094"/>
              <a:ext cx="994834" cy="501769"/>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174625" marR="0" lvl="0" indent="-174625" algn="l" defTabSz="914400" rtl="0" eaLnBrk="1" fontAlgn="auto" latinLnBrk="0" hangingPunct="1">
                <a:lnSpc>
                  <a:spcPct val="100000"/>
                </a:lnSpc>
                <a:spcBef>
                  <a:spcPts val="300"/>
                </a:spcBef>
                <a:spcAft>
                  <a:spcPts val="0"/>
                </a:spcAft>
                <a:buClrTx/>
                <a:buSzTx/>
                <a:buFont typeface="Arial" panose="020B0604020202020204" pitchFamily="34" charset="0"/>
                <a:buChar char="•"/>
                <a:defRPr/>
              </a:pPr>
              <a:endParaRPr kumimoji="0" lang="zh-CN" altLang="en-US" sz="4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36" name="矩形 1235"/>
            <p:cNvSpPr/>
            <p:nvPr/>
          </p:nvSpPr>
          <p:spPr>
            <a:xfrm>
              <a:off x="10620835" y="6306277"/>
              <a:ext cx="441146" cy="169277"/>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6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6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nvGrpSpPr>
            <p:cNvPr id="1237" name="组合 1236"/>
            <p:cNvGrpSpPr/>
            <p:nvPr/>
          </p:nvGrpSpPr>
          <p:grpSpPr>
            <a:xfrm>
              <a:off x="10561626" y="6269388"/>
              <a:ext cx="1008508" cy="518422"/>
              <a:chOff x="-8582025" y="3954421"/>
              <a:chExt cx="7604117" cy="4238591"/>
            </a:xfrm>
            <a:solidFill>
              <a:schemeClr val="accent1">
                <a:lumMod val="75000"/>
              </a:schemeClr>
            </a:solidFill>
          </p:grpSpPr>
          <p:sp>
            <p:nvSpPr>
              <p:cNvPr id="1257" name="Oval 4763"/>
              <p:cNvSpPr>
                <a:spLocks noChangeArrowheads="1"/>
              </p:cNvSpPr>
              <p:nvPr/>
            </p:nvSpPr>
            <p:spPr bwMode="auto">
              <a:xfrm>
                <a:off x="-2614616" y="4065548"/>
                <a:ext cx="58736"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58" name="Oval 4764"/>
              <p:cNvSpPr>
                <a:spLocks noChangeArrowheads="1"/>
              </p:cNvSpPr>
              <p:nvPr/>
            </p:nvSpPr>
            <p:spPr bwMode="auto">
              <a:xfrm>
                <a:off x="-1114434" y="7869163"/>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59" name="Oval 4765"/>
              <p:cNvSpPr>
                <a:spLocks noChangeArrowheads="1"/>
              </p:cNvSpPr>
              <p:nvPr/>
            </p:nvSpPr>
            <p:spPr bwMode="auto">
              <a:xfrm>
                <a:off x="-2249493" y="8056490"/>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0" name="Freeform 4766"/>
              <p:cNvSpPr>
                <a:spLocks noEditPoints="1"/>
              </p:cNvSpPr>
              <p:nvPr/>
            </p:nvSpPr>
            <p:spPr bwMode="auto">
              <a:xfrm>
                <a:off x="-1677994" y="4154446"/>
                <a:ext cx="71441" cy="71441"/>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5" y="3"/>
                      <a:pt x="3" y="6"/>
                      <a:pt x="3" y="9"/>
                    </a:cubicBezTo>
                    <a:cubicBezTo>
                      <a:pt x="3" y="12"/>
                      <a:pt x="5" y="14"/>
                      <a:pt x="9" y="14"/>
                    </a:cubicBezTo>
                    <a:cubicBezTo>
                      <a:pt x="12" y="14"/>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1" name="Freeform 4767"/>
              <p:cNvSpPr>
                <a:spLocks noEditPoints="1"/>
              </p:cNvSpPr>
              <p:nvPr/>
            </p:nvSpPr>
            <p:spPr bwMode="auto">
              <a:xfrm>
                <a:off x="-1139836" y="4081426"/>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2" name="Freeform 4768"/>
              <p:cNvSpPr>
                <a:spLocks noEditPoints="1"/>
              </p:cNvSpPr>
              <p:nvPr/>
            </p:nvSpPr>
            <p:spPr bwMode="auto">
              <a:xfrm>
                <a:off x="-1050933" y="7397680"/>
                <a:ext cx="73025"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1" y="14"/>
                      <a:pt x="14" y="12"/>
                      <a:pt x="14" y="8"/>
                    </a:cubicBezTo>
                    <a:cubicBezTo>
                      <a:pt x="14" y="5"/>
                      <a:pt x="11"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3" name="Freeform 4769"/>
              <p:cNvSpPr>
                <a:spLocks noEditPoints="1"/>
              </p:cNvSpPr>
              <p:nvPr/>
            </p:nvSpPr>
            <p:spPr bwMode="auto">
              <a:xfrm>
                <a:off x="-2716217" y="8119984"/>
                <a:ext cx="71441" cy="73028"/>
              </a:xfrm>
              <a:custGeom>
                <a:avLst/>
                <a:gdLst>
                  <a:gd name="T0" fmla="*/ 9 w 17"/>
                  <a:gd name="T1" fmla="*/ 17 h 17"/>
                  <a:gd name="T2" fmla="*/ 0 w 17"/>
                  <a:gd name="T3" fmla="*/ 8 h 17"/>
                  <a:gd name="T4" fmla="*/ 9 w 17"/>
                  <a:gd name="T5" fmla="*/ 0 h 17"/>
                  <a:gd name="T6" fmla="*/ 17 w 17"/>
                  <a:gd name="T7" fmla="*/ 8 h 17"/>
                  <a:gd name="T8" fmla="*/ 9 w 17"/>
                  <a:gd name="T9" fmla="*/ 17 h 17"/>
                  <a:gd name="T10" fmla="*/ 9 w 17"/>
                  <a:gd name="T11" fmla="*/ 2 h 17"/>
                  <a:gd name="T12" fmla="*/ 3 w 17"/>
                  <a:gd name="T13" fmla="*/ 8 h 17"/>
                  <a:gd name="T14" fmla="*/ 9 w 17"/>
                  <a:gd name="T15" fmla="*/ 14 h 17"/>
                  <a:gd name="T16" fmla="*/ 14 w 17"/>
                  <a:gd name="T17" fmla="*/ 8 h 17"/>
                  <a:gd name="T18" fmla="*/ 9 w 17"/>
                  <a:gd name="T19"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8"/>
                    </a:cubicBezTo>
                    <a:cubicBezTo>
                      <a:pt x="0" y="3"/>
                      <a:pt x="4" y="0"/>
                      <a:pt x="9" y="0"/>
                    </a:cubicBezTo>
                    <a:cubicBezTo>
                      <a:pt x="13" y="0"/>
                      <a:pt x="17" y="3"/>
                      <a:pt x="17" y="8"/>
                    </a:cubicBezTo>
                    <a:cubicBezTo>
                      <a:pt x="17" y="13"/>
                      <a:pt x="13" y="17"/>
                      <a:pt x="9" y="17"/>
                    </a:cubicBezTo>
                    <a:close/>
                    <a:moveTo>
                      <a:pt x="9" y="2"/>
                    </a:moveTo>
                    <a:cubicBezTo>
                      <a:pt x="5" y="2"/>
                      <a:pt x="3" y="5"/>
                      <a:pt x="3" y="8"/>
                    </a:cubicBezTo>
                    <a:cubicBezTo>
                      <a:pt x="3" y="11"/>
                      <a:pt x="5" y="14"/>
                      <a:pt x="9" y="14"/>
                    </a:cubicBezTo>
                    <a:cubicBezTo>
                      <a:pt x="12" y="14"/>
                      <a:pt x="14" y="11"/>
                      <a:pt x="14" y="8"/>
                    </a:cubicBezTo>
                    <a:cubicBezTo>
                      <a:pt x="14" y="5"/>
                      <a:pt x="12"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4" name="Freeform 4770"/>
              <p:cNvSpPr/>
              <p:nvPr/>
            </p:nvSpPr>
            <p:spPr bwMode="auto">
              <a:xfrm>
                <a:off x="-1198573"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5" name="Freeform 4771"/>
              <p:cNvSpPr/>
              <p:nvPr/>
            </p:nvSpPr>
            <p:spPr bwMode="auto">
              <a:xfrm>
                <a:off x="-1262067"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6" name="Freeform 4772"/>
              <p:cNvSpPr/>
              <p:nvPr/>
            </p:nvSpPr>
            <p:spPr bwMode="auto">
              <a:xfrm>
                <a:off x="-1325568" y="8077125"/>
                <a:ext cx="88896" cy="42866"/>
              </a:xfrm>
              <a:custGeom>
                <a:avLst/>
                <a:gdLst>
                  <a:gd name="T0" fmla="*/ 29 w 56"/>
                  <a:gd name="T1" fmla="*/ 27 h 27"/>
                  <a:gd name="T2" fmla="*/ 0 w 56"/>
                  <a:gd name="T3" fmla="*/ 27 h 27"/>
                  <a:gd name="T4" fmla="*/ 29 w 56"/>
                  <a:gd name="T5" fmla="*/ 0 h 27"/>
                  <a:gd name="T6" fmla="*/ 56 w 56"/>
                  <a:gd name="T7" fmla="*/ 0 h 27"/>
                  <a:gd name="T8" fmla="*/ 29 w 56"/>
                  <a:gd name="T9" fmla="*/ 27 h 27"/>
                </a:gdLst>
                <a:ahLst/>
                <a:cxnLst>
                  <a:cxn ang="0">
                    <a:pos x="T0" y="T1"/>
                  </a:cxn>
                  <a:cxn ang="0">
                    <a:pos x="T2" y="T3"/>
                  </a:cxn>
                  <a:cxn ang="0">
                    <a:pos x="T4" y="T5"/>
                  </a:cxn>
                  <a:cxn ang="0">
                    <a:pos x="T6" y="T7"/>
                  </a:cxn>
                  <a:cxn ang="0">
                    <a:pos x="T8" y="T9"/>
                  </a:cxn>
                </a:cxnLst>
                <a:rect l="0" t="0" r="r" b="b"/>
                <a:pathLst>
                  <a:path w="56" h="27">
                    <a:moveTo>
                      <a:pt x="29" y="27"/>
                    </a:moveTo>
                    <a:lnTo>
                      <a:pt x="0" y="27"/>
                    </a:lnTo>
                    <a:lnTo>
                      <a:pt x="29" y="0"/>
                    </a:lnTo>
                    <a:lnTo>
                      <a:pt x="56" y="0"/>
                    </a:lnTo>
                    <a:lnTo>
                      <a:pt x="2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7" name="Freeform 4773"/>
              <p:cNvSpPr/>
              <p:nvPr/>
            </p:nvSpPr>
            <p:spPr bwMode="auto">
              <a:xfrm>
                <a:off x="-1389070" y="8077125"/>
                <a:ext cx="88896" cy="42866"/>
              </a:xfrm>
              <a:custGeom>
                <a:avLst/>
                <a:gdLst>
                  <a:gd name="T0" fmla="*/ 26 w 56"/>
                  <a:gd name="T1" fmla="*/ 27 h 27"/>
                  <a:gd name="T2" fmla="*/ 0 w 56"/>
                  <a:gd name="T3" fmla="*/ 27 h 27"/>
                  <a:gd name="T4" fmla="*/ 26 w 56"/>
                  <a:gd name="T5" fmla="*/ 0 h 27"/>
                  <a:gd name="T6" fmla="*/ 56 w 56"/>
                  <a:gd name="T7" fmla="*/ 0 h 27"/>
                  <a:gd name="T8" fmla="*/ 26 w 56"/>
                  <a:gd name="T9" fmla="*/ 27 h 27"/>
                </a:gdLst>
                <a:ahLst/>
                <a:cxnLst>
                  <a:cxn ang="0">
                    <a:pos x="T0" y="T1"/>
                  </a:cxn>
                  <a:cxn ang="0">
                    <a:pos x="T2" y="T3"/>
                  </a:cxn>
                  <a:cxn ang="0">
                    <a:pos x="T4" y="T5"/>
                  </a:cxn>
                  <a:cxn ang="0">
                    <a:pos x="T6" y="T7"/>
                  </a:cxn>
                  <a:cxn ang="0">
                    <a:pos x="T8" y="T9"/>
                  </a:cxn>
                </a:cxnLst>
                <a:rect l="0" t="0" r="r" b="b"/>
                <a:pathLst>
                  <a:path w="56" h="27">
                    <a:moveTo>
                      <a:pt x="26" y="27"/>
                    </a:moveTo>
                    <a:lnTo>
                      <a:pt x="0" y="27"/>
                    </a:lnTo>
                    <a:lnTo>
                      <a:pt x="26" y="0"/>
                    </a:lnTo>
                    <a:lnTo>
                      <a:pt x="56" y="0"/>
                    </a:lnTo>
                    <a:lnTo>
                      <a:pt x="26"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8" name="Freeform 4774"/>
              <p:cNvSpPr/>
              <p:nvPr/>
            </p:nvSpPr>
            <p:spPr bwMode="auto">
              <a:xfrm>
                <a:off x="-1096972" y="5713361"/>
                <a:ext cx="25402" cy="1243005"/>
              </a:xfrm>
              <a:custGeom>
                <a:avLst/>
                <a:gdLst>
                  <a:gd name="T0" fmla="*/ 16 w 16"/>
                  <a:gd name="T1" fmla="*/ 767 h 783"/>
                  <a:gd name="T2" fmla="*/ 0 w 16"/>
                  <a:gd name="T3" fmla="*/ 783 h 783"/>
                  <a:gd name="T4" fmla="*/ 0 w 16"/>
                  <a:gd name="T5" fmla="*/ 16 h 783"/>
                  <a:gd name="T6" fmla="*/ 16 w 16"/>
                  <a:gd name="T7" fmla="*/ 0 h 783"/>
                  <a:gd name="T8" fmla="*/ 16 w 16"/>
                  <a:gd name="T9" fmla="*/ 767 h 783"/>
                </a:gdLst>
                <a:ahLst/>
                <a:cxnLst>
                  <a:cxn ang="0">
                    <a:pos x="T0" y="T1"/>
                  </a:cxn>
                  <a:cxn ang="0">
                    <a:pos x="T2" y="T3"/>
                  </a:cxn>
                  <a:cxn ang="0">
                    <a:pos x="T4" y="T5"/>
                  </a:cxn>
                  <a:cxn ang="0">
                    <a:pos x="T6" y="T7"/>
                  </a:cxn>
                  <a:cxn ang="0">
                    <a:pos x="T8" y="T9"/>
                  </a:cxn>
                </a:cxnLst>
                <a:rect l="0" t="0" r="r" b="b"/>
                <a:pathLst>
                  <a:path w="16" h="783">
                    <a:moveTo>
                      <a:pt x="16" y="767"/>
                    </a:moveTo>
                    <a:lnTo>
                      <a:pt x="0" y="783"/>
                    </a:lnTo>
                    <a:lnTo>
                      <a:pt x="0" y="16"/>
                    </a:lnTo>
                    <a:lnTo>
                      <a:pt x="16" y="0"/>
                    </a:lnTo>
                    <a:lnTo>
                      <a:pt x="16" y="7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9" name="Freeform 4775"/>
              <p:cNvSpPr/>
              <p:nvPr/>
            </p:nvSpPr>
            <p:spPr bwMode="auto">
              <a:xfrm>
                <a:off x="-1076335" y="4498931"/>
                <a:ext cx="25402" cy="619115"/>
              </a:xfrm>
              <a:custGeom>
                <a:avLst/>
                <a:gdLst>
                  <a:gd name="T0" fmla="*/ 0 w 16"/>
                  <a:gd name="T1" fmla="*/ 377 h 390"/>
                  <a:gd name="T2" fmla="*/ 16 w 16"/>
                  <a:gd name="T3" fmla="*/ 390 h 390"/>
                  <a:gd name="T4" fmla="*/ 16 w 16"/>
                  <a:gd name="T5" fmla="*/ 16 h 390"/>
                  <a:gd name="T6" fmla="*/ 0 w 16"/>
                  <a:gd name="T7" fmla="*/ 0 h 390"/>
                  <a:gd name="T8" fmla="*/ 0 w 16"/>
                  <a:gd name="T9" fmla="*/ 377 h 390"/>
                </a:gdLst>
                <a:ahLst/>
                <a:cxnLst>
                  <a:cxn ang="0">
                    <a:pos x="T0" y="T1"/>
                  </a:cxn>
                  <a:cxn ang="0">
                    <a:pos x="T2" y="T3"/>
                  </a:cxn>
                  <a:cxn ang="0">
                    <a:pos x="T4" y="T5"/>
                  </a:cxn>
                  <a:cxn ang="0">
                    <a:pos x="T6" y="T7"/>
                  </a:cxn>
                  <a:cxn ang="0">
                    <a:pos x="T8" y="T9"/>
                  </a:cxn>
                </a:cxnLst>
                <a:rect l="0" t="0" r="r" b="b"/>
                <a:pathLst>
                  <a:path w="16" h="390">
                    <a:moveTo>
                      <a:pt x="0" y="377"/>
                    </a:moveTo>
                    <a:lnTo>
                      <a:pt x="16" y="390"/>
                    </a:lnTo>
                    <a:lnTo>
                      <a:pt x="16" y="16"/>
                    </a:lnTo>
                    <a:lnTo>
                      <a:pt x="0" y="0"/>
                    </a:lnTo>
                    <a:lnTo>
                      <a:pt x="0" y="3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0" name="Freeform 4776"/>
              <p:cNvSpPr/>
              <p:nvPr/>
            </p:nvSpPr>
            <p:spPr bwMode="auto">
              <a:xfrm>
                <a:off x="-1096972" y="5670495"/>
                <a:ext cx="25402" cy="46039"/>
              </a:xfrm>
              <a:custGeom>
                <a:avLst/>
                <a:gdLst>
                  <a:gd name="T0" fmla="*/ 16 w 16"/>
                  <a:gd name="T1" fmla="*/ 16 h 29"/>
                  <a:gd name="T2" fmla="*/ 0 w 16"/>
                  <a:gd name="T3" fmla="*/ 29 h 29"/>
                  <a:gd name="T4" fmla="*/ 0 w 16"/>
                  <a:gd name="T5" fmla="*/ 16 h 29"/>
                  <a:gd name="T6" fmla="*/ 16 w 16"/>
                  <a:gd name="T7" fmla="*/ 0 h 29"/>
                  <a:gd name="T8" fmla="*/ 16 w 16"/>
                  <a:gd name="T9" fmla="*/ 16 h 29"/>
                </a:gdLst>
                <a:ahLst/>
                <a:cxnLst>
                  <a:cxn ang="0">
                    <a:pos x="T0" y="T1"/>
                  </a:cxn>
                  <a:cxn ang="0">
                    <a:pos x="T2" y="T3"/>
                  </a:cxn>
                  <a:cxn ang="0">
                    <a:pos x="T4" y="T5"/>
                  </a:cxn>
                  <a:cxn ang="0">
                    <a:pos x="T6" y="T7"/>
                  </a:cxn>
                  <a:cxn ang="0">
                    <a:pos x="T8" y="T9"/>
                  </a:cxn>
                </a:cxnLst>
                <a:rect l="0" t="0" r="r" b="b"/>
                <a:pathLst>
                  <a:path w="16" h="29">
                    <a:moveTo>
                      <a:pt x="16" y="16"/>
                    </a:moveTo>
                    <a:lnTo>
                      <a:pt x="0" y="29"/>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1" name="Freeform 4777"/>
              <p:cNvSpPr/>
              <p:nvPr/>
            </p:nvSpPr>
            <p:spPr bwMode="auto">
              <a:xfrm>
                <a:off x="-1096972" y="5627636"/>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2" name="Freeform 4778"/>
              <p:cNvSpPr/>
              <p:nvPr/>
            </p:nvSpPr>
            <p:spPr bwMode="auto">
              <a:xfrm>
                <a:off x="-1096972" y="5589537"/>
                <a:ext cx="25402" cy="46039"/>
              </a:xfrm>
              <a:custGeom>
                <a:avLst/>
                <a:gdLst>
                  <a:gd name="T0" fmla="*/ 16 w 16"/>
                  <a:gd name="T1" fmla="*/ 13 h 29"/>
                  <a:gd name="T2" fmla="*/ 0 w 16"/>
                  <a:gd name="T3" fmla="*/ 29 h 29"/>
                  <a:gd name="T4" fmla="*/ 0 w 16"/>
                  <a:gd name="T5" fmla="*/ 13 h 29"/>
                  <a:gd name="T6" fmla="*/ 16 w 16"/>
                  <a:gd name="T7" fmla="*/ 0 h 29"/>
                  <a:gd name="T8" fmla="*/ 16 w 16"/>
                  <a:gd name="T9" fmla="*/ 13 h 29"/>
                </a:gdLst>
                <a:ahLst/>
                <a:cxnLst>
                  <a:cxn ang="0">
                    <a:pos x="T0" y="T1"/>
                  </a:cxn>
                  <a:cxn ang="0">
                    <a:pos x="T2" y="T3"/>
                  </a:cxn>
                  <a:cxn ang="0">
                    <a:pos x="T4" y="T5"/>
                  </a:cxn>
                  <a:cxn ang="0">
                    <a:pos x="T6" y="T7"/>
                  </a:cxn>
                  <a:cxn ang="0">
                    <a:pos x="T8" y="T9"/>
                  </a:cxn>
                </a:cxnLst>
                <a:rect l="0" t="0" r="r" b="b"/>
                <a:pathLst>
                  <a:path w="16" h="29">
                    <a:moveTo>
                      <a:pt x="16" y="13"/>
                    </a:moveTo>
                    <a:lnTo>
                      <a:pt x="0" y="29"/>
                    </a:lnTo>
                    <a:lnTo>
                      <a:pt x="0" y="13"/>
                    </a:lnTo>
                    <a:lnTo>
                      <a:pt x="16" y="0"/>
                    </a:lnTo>
                    <a:lnTo>
                      <a:pt x="16"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3" name="Freeform 4779"/>
              <p:cNvSpPr/>
              <p:nvPr/>
            </p:nvSpPr>
            <p:spPr bwMode="auto">
              <a:xfrm>
                <a:off x="-1096972" y="5546670"/>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4" name="Freeform 4780"/>
              <p:cNvSpPr/>
              <p:nvPr/>
            </p:nvSpPr>
            <p:spPr bwMode="auto">
              <a:xfrm>
                <a:off x="-1096972" y="5508570"/>
                <a:ext cx="25402" cy="47625"/>
              </a:xfrm>
              <a:custGeom>
                <a:avLst/>
                <a:gdLst>
                  <a:gd name="T0" fmla="*/ 16 w 16"/>
                  <a:gd name="T1" fmla="*/ 14 h 30"/>
                  <a:gd name="T2" fmla="*/ 0 w 16"/>
                  <a:gd name="T3" fmla="*/ 30 h 30"/>
                  <a:gd name="T4" fmla="*/ 0 w 16"/>
                  <a:gd name="T5" fmla="*/ 14 h 30"/>
                  <a:gd name="T6" fmla="*/ 16 w 16"/>
                  <a:gd name="T7" fmla="*/ 0 h 30"/>
                  <a:gd name="T8" fmla="*/ 16 w 16"/>
                  <a:gd name="T9" fmla="*/ 14 h 30"/>
                </a:gdLst>
                <a:ahLst/>
                <a:cxnLst>
                  <a:cxn ang="0">
                    <a:pos x="T0" y="T1"/>
                  </a:cxn>
                  <a:cxn ang="0">
                    <a:pos x="T2" y="T3"/>
                  </a:cxn>
                  <a:cxn ang="0">
                    <a:pos x="T4" y="T5"/>
                  </a:cxn>
                  <a:cxn ang="0">
                    <a:pos x="T6" y="T7"/>
                  </a:cxn>
                  <a:cxn ang="0">
                    <a:pos x="T8" y="T9"/>
                  </a:cxn>
                </a:cxnLst>
                <a:rect l="0" t="0" r="r" b="b"/>
                <a:pathLst>
                  <a:path w="16" h="30">
                    <a:moveTo>
                      <a:pt x="16" y="14"/>
                    </a:moveTo>
                    <a:lnTo>
                      <a:pt x="0" y="30"/>
                    </a:lnTo>
                    <a:lnTo>
                      <a:pt x="0" y="14"/>
                    </a:lnTo>
                    <a:lnTo>
                      <a:pt x="16" y="0"/>
                    </a:lnTo>
                    <a:lnTo>
                      <a:pt x="16"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5" name="Freeform 4781"/>
              <p:cNvSpPr/>
              <p:nvPr/>
            </p:nvSpPr>
            <p:spPr bwMode="auto">
              <a:xfrm>
                <a:off x="-1096972" y="5465712"/>
                <a:ext cx="25402" cy="50797"/>
              </a:xfrm>
              <a:custGeom>
                <a:avLst/>
                <a:gdLst>
                  <a:gd name="T0" fmla="*/ 16 w 16"/>
                  <a:gd name="T1" fmla="*/ 16 h 32"/>
                  <a:gd name="T2" fmla="*/ 0 w 16"/>
                  <a:gd name="T3" fmla="*/ 32 h 32"/>
                  <a:gd name="T4" fmla="*/ 0 w 16"/>
                  <a:gd name="T5" fmla="*/ 16 h 32"/>
                  <a:gd name="T6" fmla="*/ 16 w 16"/>
                  <a:gd name="T7" fmla="*/ 0 h 32"/>
                  <a:gd name="T8" fmla="*/ 16 w 16"/>
                  <a:gd name="T9" fmla="*/ 16 h 32"/>
                </a:gdLst>
                <a:ahLst/>
                <a:cxnLst>
                  <a:cxn ang="0">
                    <a:pos x="T0" y="T1"/>
                  </a:cxn>
                  <a:cxn ang="0">
                    <a:pos x="T2" y="T3"/>
                  </a:cxn>
                  <a:cxn ang="0">
                    <a:pos x="T4" y="T5"/>
                  </a:cxn>
                  <a:cxn ang="0">
                    <a:pos x="T6" y="T7"/>
                  </a:cxn>
                  <a:cxn ang="0">
                    <a:pos x="T8" y="T9"/>
                  </a:cxn>
                </a:cxnLst>
                <a:rect l="0" t="0" r="r" b="b"/>
                <a:pathLst>
                  <a:path w="16" h="32">
                    <a:moveTo>
                      <a:pt x="16" y="16"/>
                    </a:moveTo>
                    <a:lnTo>
                      <a:pt x="0" y="32"/>
                    </a:lnTo>
                    <a:lnTo>
                      <a:pt x="0" y="16"/>
                    </a:lnTo>
                    <a:lnTo>
                      <a:pt x="16" y="0"/>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6" name="Rectangle 4782"/>
              <p:cNvSpPr>
                <a:spLocks noChangeArrowheads="1"/>
              </p:cNvSpPr>
              <p:nvPr/>
            </p:nvSpPr>
            <p:spPr bwMode="auto">
              <a:xfrm>
                <a:off x="-1169996" y="42687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7" name="Rectangle 4783"/>
              <p:cNvSpPr>
                <a:spLocks noChangeArrowheads="1"/>
              </p:cNvSpPr>
              <p:nvPr/>
            </p:nvSpPr>
            <p:spPr bwMode="auto">
              <a:xfrm>
                <a:off x="-1169996" y="430684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8" name="Rectangle 4784"/>
              <p:cNvSpPr>
                <a:spLocks noChangeArrowheads="1"/>
              </p:cNvSpPr>
              <p:nvPr/>
            </p:nvSpPr>
            <p:spPr bwMode="auto">
              <a:xfrm>
                <a:off x="-1169996" y="43497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9" name="Rectangle 4785"/>
              <p:cNvSpPr>
                <a:spLocks noChangeArrowheads="1"/>
              </p:cNvSpPr>
              <p:nvPr/>
            </p:nvSpPr>
            <p:spPr bwMode="auto">
              <a:xfrm>
                <a:off x="-1169996" y="438781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0" name="Rectangle 4786"/>
              <p:cNvSpPr>
                <a:spLocks noChangeArrowheads="1"/>
              </p:cNvSpPr>
              <p:nvPr/>
            </p:nvSpPr>
            <p:spPr bwMode="auto">
              <a:xfrm>
                <a:off x="-1169996" y="4430670"/>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1" name="Freeform 4787"/>
              <p:cNvSpPr/>
              <p:nvPr/>
            </p:nvSpPr>
            <p:spPr bwMode="auto">
              <a:xfrm>
                <a:off x="-1300166" y="4162384"/>
                <a:ext cx="79373" cy="85725"/>
              </a:xfrm>
              <a:custGeom>
                <a:avLst/>
                <a:gdLst>
                  <a:gd name="T0" fmla="*/ 0 w 50"/>
                  <a:gd name="T1" fmla="*/ 0 h 54"/>
                  <a:gd name="T2" fmla="*/ 0 w 50"/>
                  <a:gd name="T3" fmla="*/ 54 h 54"/>
                  <a:gd name="T4" fmla="*/ 50 w 50"/>
                  <a:gd name="T5" fmla="*/ 54 h 54"/>
                  <a:gd name="T6" fmla="*/ 0 w 50"/>
                  <a:gd name="T7" fmla="*/ 0 h 54"/>
                </a:gdLst>
                <a:ahLst/>
                <a:cxnLst>
                  <a:cxn ang="0">
                    <a:pos x="T0" y="T1"/>
                  </a:cxn>
                  <a:cxn ang="0">
                    <a:pos x="T2" y="T3"/>
                  </a:cxn>
                  <a:cxn ang="0">
                    <a:pos x="T4" y="T5"/>
                  </a:cxn>
                  <a:cxn ang="0">
                    <a:pos x="T6" y="T7"/>
                  </a:cxn>
                </a:cxnLst>
                <a:rect l="0" t="0" r="r" b="b"/>
                <a:pathLst>
                  <a:path w="50" h="54">
                    <a:moveTo>
                      <a:pt x="0" y="0"/>
                    </a:moveTo>
                    <a:lnTo>
                      <a:pt x="0" y="54"/>
                    </a:lnTo>
                    <a:lnTo>
                      <a:pt x="50" y="5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2" name="Oval 4788"/>
              <p:cNvSpPr>
                <a:spLocks noChangeArrowheads="1"/>
              </p:cNvSpPr>
              <p:nvPr/>
            </p:nvSpPr>
            <p:spPr bwMode="auto">
              <a:xfrm>
                <a:off x="-7005637" y="8056489"/>
                <a:ext cx="58736" cy="5873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3" name="Oval 4789"/>
              <p:cNvSpPr>
                <a:spLocks noChangeArrowheads="1"/>
              </p:cNvSpPr>
              <p:nvPr/>
            </p:nvSpPr>
            <p:spPr bwMode="auto">
              <a:xfrm>
                <a:off x="-8505826" y="4251281"/>
                <a:ext cx="58736" cy="6032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4" name="Oval 4790"/>
              <p:cNvSpPr>
                <a:spLocks noChangeArrowheads="1"/>
              </p:cNvSpPr>
              <p:nvPr/>
            </p:nvSpPr>
            <p:spPr bwMode="auto">
              <a:xfrm>
                <a:off x="-7370767" y="4065548"/>
                <a:ext cx="60327" cy="635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5" name="Freeform 4791"/>
              <p:cNvSpPr>
                <a:spLocks noEditPoints="1"/>
              </p:cNvSpPr>
              <p:nvPr/>
            </p:nvSpPr>
            <p:spPr bwMode="auto">
              <a:xfrm>
                <a:off x="-7954964" y="7954887"/>
                <a:ext cx="71441" cy="71441"/>
              </a:xfrm>
              <a:custGeom>
                <a:avLst/>
                <a:gdLst>
                  <a:gd name="T0" fmla="*/ 8 w 17"/>
                  <a:gd name="T1" fmla="*/ 17 h 17"/>
                  <a:gd name="T2" fmla="*/ 0 w 17"/>
                  <a:gd name="T3" fmla="*/ 9 h 17"/>
                  <a:gd name="T4" fmla="*/ 8 w 17"/>
                  <a:gd name="T5" fmla="*/ 0 h 17"/>
                  <a:gd name="T6" fmla="*/ 17 w 17"/>
                  <a:gd name="T7" fmla="*/ 9 h 17"/>
                  <a:gd name="T8" fmla="*/ 8 w 17"/>
                  <a:gd name="T9" fmla="*/ 17 h 17"/>
                  <a:gd name="T10" fmla="*/ 8 w 17"/>
                  <a:gd name="T11" fmla="*/ 3 h 17"/>
                  <a:gd name="T12" fmla="*/ 3 w 17"/>
                  <a:gd name="T13" fmla="*/ 9 h 17"/>
                  <a:gd name="T14" fmla="*/ 8 w 17"/>
                  <a:gd name="T15" fmla="*/ 15 h 17"/>
                  <a:gd name="T16" fmla="*/ 14 w 17"/>
                  <a:gd name="T17" fmla="*/ 9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4"/>
                      <a:pt x="0" y="9"/>
                    </a:cubicBezTo>
                    <a:cubicBezTo>
                      <a:pt x="0" y="4"/>
                      <a:pt x="4" y="0"/>
                      <a:pt x="8" y="0"/>
                    </a:cubicBezTo>
                    <a:cubicBezTo>
                      <a:pt x="13" y="0"/>
                      <a:pt x="17" y="4"/>
                      <a:pt x="17" y="9"/>
                    </a:cubicBezTo>
                    <a:cubicBezTo>
                      <a:pt x="17" y="14"/>
                      <a:pt x="13" y="17"/>
                      <a:pt x="8" y="17"/>
                    </a:cubicBezTo>
                    <a:close/>
                    <a:moveTo>
                      <a:pt x="8" y="3"/>
                    </a:moveTo>
                    <a:cubicBezTo>
                      <a:pt x="5" y="3"/>
                      <a:pt x="3" y="6"/>
                      <a:pt x="3" y="9"/>
                    </a:cubicBezTo>
                    <a:cubicBezTo>
                      <a:pt x="3" y="12"/>
                      <a:pt x="5" y="15"/>
                      <a:pt x="8" y="15"/>
                    </a:cubicBezTo>
                    <a:cubicBezTo>
                      <a:pt x="12" y="15"/>
                      <a:pt x="14" y="12"/>
                      <a:pt x="14" y="9"/>
                    </a:cubicBezTo>
                    <a:cubicBezTo>
                      <a:pt x="14" y="6"/>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6" name="Freeform 4792"/>
              <p:cNvSpPr>
                <a:spLocks noEditPoints="1"/>
              </p:cNvSpPr>
              <p:nvPr/>
            </p:nvSpPr>
            <p:spPr bwMode="auto">
              <a:xfrm>
                <a:off x="-8493129" y="8026328"/>
                <a:ext cx="71441" cy="76200"/>
              </a:xfrm>
              <a:custGeom>
                <a:avLst/>
                <a:gdLst>
                  <a:gd name="T0" fmla="*/ 9 w 17"/>
                  <a:gd name="T1" fmla="*/ 18 h 18"/>
                  <a:gd name="T2" fmla="*/ 0 w 17"/>
                  <a:gd name="T3" fmla="*/ 9 h 18"/>
                  <a:gd name="T4" fmla="*/ 9 w 17"/>
                  <a:gd name="T5" fmla="*/ 0 h 18"/>
                  <a:gd name="T6" fmla="*/ 17 w 17"/>
                  <a:gd name="T7" fmla="*/ 9 h 18"/>
                  <a:gd name="T8" fmla="*/ 9 w 17"/>
                  <a:gd name="T9" fmla="*/ 18 h 18"/>
                  <a:gd name="T10" fmla="*/ 9 w 17"/>
                  <a:gd name="T11" fmla="*/ 3 h 18"/>
                  <a:gd name="T12" fmla="*/ 3 w 17"/>
                  <a:gd name="T13" fmla="*/ 9 h 18"/>
                  <a:gd name="T14" fmla="*/ 9 w 17"/>
                  <a:gd name="T15" fmla="*/ 15 h 18"/>
                  <a:gd name="T16" fmla="*/ 14 w 17"/>
                  <a:gd name="T17" fmla="*/ 9 h 18"/>
                  <a:gd name="T18" fmla="*/ 9 w 17"/>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9" y="18"/>
                    </a:moveTo>
                    <a:cubicBezTo>
                      <a:pt x="4" y="18"/>
                      <a:pt x="0" y="14"/>
                      <a:pt x="0" y="9"/>
                    </a:cubicBezTo>
                    <a:cubicBezTo>
                      <a:pt x="0" y="4"/>
                      <a:pt x="4" y="0"/>
                      <a:pt x="9" y="0"/>
                    </a:cubicBezTo>
                    <a:cubicBezTo>
                      <a:pt x="13" y="0"/>
                      <a:pt x="17" y="4"/>
                      <a:pt x="17" y="9"/>
                    </a:cubicBezTo>
                    <a:cubicBezTo>
                      <a:pt x="17" y="14"/>
                      <a:pt x="13" y="18"/>
                      <a:pt x="9" y="18"/>
                    </a:cubicBezTo>
                    <a:close/>
                    <a:moveTo>
                      <a:pt x="9" y="3"/>
                    </a:moveTo>
                    <a:cubicBezTo>
                      <a:pt x="6" y="3"/>
                      <a:pt x="3" y="6"/>
                      <a:pt x="3" y="9"/>
                    </a:cubicBezTo>
                    <a:cubicBezTo>
                      <a:pt x="3" y="12"/>
                      <a:pt x="6" y="15"/>
                      <a:pt x="9" y="15"/>
                    </a:cubicBezTo>
                    <a:cubicBezTo>
                      <a:pt x="12" y="15"/>
                      <a:pt x="14" y="12"/>
                      <a:pt x="14" y="9"/>
                    </a:cubicBezTo>
                    <a:cubicBezTo>
                      <a:pt x="14" y="6"/>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7" name="Freeform 4793"/>
              <p:cNvSpPr>
                <a:spLocks noEditPoints="1"/>
              </p:cNvSpPr>
              <p:nvPr/>
            </p:nvSpPr>
            <p:spPr bwMode="auto">
              <a:xfrm>
                <a:off x="-8582025" y="4671967"/>
                <a:ext cx="71441" cy="73028"/>
              </a:xfrm>
              <a:custGeom>
                <a:avLst/>
                <a:gdLst>
                  <a:gd name="T0" fmla="*/ 9 w 17"/>
                  <a:gd name="T1" fmla="*/ 17 h 17"/>
                  <a:gd name="T2" fmla="*/ 0 w 17"/>
                  <a:gd name="T3" fmla="*/ 9 h 17"/>
                  <a:gd name="T4" fmla="*/ 9 w 17"/>
                  <a:gd name="T5" fmla="*/ 0 h 17"/>
                  <a:gd name="T6" fmla="*/ 17 w 17"/>
                  <a:gd name="T7" fmla="*/ 9 h 17"/>
                  <a:gd name="T8" fmla="*/ 9 w 17"/>
                  <a:gd name="T9" fmla="*/ 17 h 17"/>
                  <a:gd name="T10" fmla="*/ 9 w 17"/>
                  <a:gd name="T11" fmla="*/ 3 h 17"/>
                  <a:gd name="T12" fmla="*/ 3 w 17"/>
                  <a:gd name="T13" fmla="*/ 9 h 17"/>
                  <a:gd name="T14" fmla="*/ 9 w 17"/>
                  <a:gd name="T15" fmla="*/ 14 h 17"/>
                  <a:gd name="T16" fmla="*/ 14 w 17"/>
                  <a:gd name="T17" fmla="*/ 9 h 17"/>
                  <a:gd name="T18" fmla="*/ 9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17"/>
                    </a:moveTo>
                    <a:cubicBezTo>
                      <a:pt x="4" y="17"/>
                      <a:pt x="0" y="13"/>
                      <a:pt x="0" y="9"/>
                    </a:cubicBezTo>
                    <a:cubicBezTo>
                      <a:pt x="0" y="4"/>
                      <a:pt x="4" y="0"/>
                      <a:pt x="9" y="0"/>
                    </a:cubicBezTo>
                    <a:cubicBezTo>
                      <a:pt x="13" y="0"/>
                      <a:pt x="17" y="4"/>
                      <a:pt x="17" y="9"/>
                    </a:cubicBezTo>
                    <a:cubicBezTo>
                      <a:pt x="17" y="13"/>
                      <a:pt x="13" y="17"/>
                      <a:pt x="9" y="17"/>
                    </a:cubicBezTo>
                    <a:close/>
                    <a:moveTo>
                      <a:pt x="9" y="3"/>
                    </a:moveTo>
                    <a:cubicBezTo>
                      <a:pt x="6" y="3"/>
                      <a:pt x="3" y="5"/>
                      <a:pt x="3" y="9"/>
                    </a:cubicBezTo>
                    <a:cubicBezTo>
                      <a:pt x="3" y="12"/>
                      <a:pt x="6" y="14"/>
                      <a:pt x="9" y="14"/>
                    </a:cubicBezTo>
                    <a:cubicBezTo>
                      <a:pt x="12" y="14"/>
                      <a:pt x="14" y="12"/>
                      <a:pt x="14" y="9"/>
                    </a:cubicBezTo>
                    <a:cubicBezTo>
                      <a:pt x="14" y="5"/>
                      <a:pt x="12" y="3"/>
                      <a:pt x="9"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8" name="Freeform 4794"/>
              <p:cNvSpPr>
                <a:spLocks noEditPoints="1"/>
              </p:cNvSpPr>
              <p:nvPr/>
            </p:nvSpPr>
            <p:spPr bwMode="auto">
              <a:xfrm>
                <a:off x="-6916741" y="3992521"/>
                <a:ext cx="71441" cy="73028"/>
              </a:xfrm>
              <a:custGeom>
                <a:avLst/>
                <a:gdLst>
                  <a:gd name="T0" fmla="*/ 8 w 17"/>
                  <a:gd name="T1" fmla="*/ 17 h 17"/>
                  <a:gd name="T2" fmla="*/ 0 w 17"/>
                  <a:gd name="T3" fmla="*/ 8 h 17"/>
                  <a:gd name="T4" fmla="*/ 8 w 17"/>
                  <a:gd name="T5" fmla="*/ 0 h 17"/>
                  <a:gd name="T6" fmla="*/ 17 w 17"/>
                  <a:gd name="T7" fmla="*/ 8 h 17"/>
                  <a:gd name="T8" fmla="*/ 8 w 17"/>
                  <a:gd name="T9" fmla="*/ 17 h 17"/>
                  <a:gd name="T10" fmla="*/ 8 w 17"/>
                  <a:gd name="T11" fmla="*/ 3 h 17"/>
                  <a:gd name="T12" fmla="*/ 3 w 17"/>
                  <a:gd name="T13" fmla="*/ 8 h 17"/>
                  <a:gd name="T14" fmla="*/ 8 w 17"/>
                  <a:gd name="T15" fmla="*/ 14 h 17"/>
                  <a:gd name="T16" fmla="*/ 14 w 17"/>
                  <a:gd name="T17" fmla="*/ 8 h 17"/>
                  <a:gd name="T18" fmla="*/ 8 w 17"/>
                  <a:gd name="T1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8" y="17"/>
                    </a:moveTo>
                    <a:cubicBezTo>
                      <a:pt x="4" y="17"/>
                      <a:pt x="0" y="13"/>
                      <a:pt x="0" y="8"/>
                    </a:cubicBezTo>
                    <a:cubicBezTo>
                      <a:pt x="0" y="4"/>
                      <a:pt x="4" y="0"/>
                      <a:pt x="8" y="0"/>
                    </a:cubicBezTo>
                    <a:cubicBezTo>
                      <a:pt x="13" y="0"/>
                      <a:pt x="17" y="4"/>
                      <a:pt x="17" y="8"/>
                    </a:cubicBezTo>
                    <a:cubicBezTo>
                      <a:pt x="17" y="13"/>
                      <a:pt x="13" y="17"/>
                      <a:pt x="8" y="17"/>
                    </a:cubicBezTo>
                    <a:close/>
                    <a:moveTo>
                      <a:pt x="8" y="3"/>
                    </a:moveTo>
                    <a:cubicBezTo>
                      <a:pt x="5" y="3"/>
                      <a:pt x="3" y="5"/>
                      <a:pt x="3" y="8"/>
                    </a:cubicBezTo>
                    <a:cubicBezTo>
                      <a:pt x="3" y="12"/>
                      <a:pt x="5" y="14"/>
                      <a:pt x="8" y="14"/>
                    </a:cubicBezTo>
                    <a:cubicBezTo>
                      <a:pt x="12" y="14"/>
                      <a:pt x="14" y="12"/>
                      <a:pt x="14" y="8"/>
                    </a:cubicBezTo>
                    <a:cubicBezTo>
                      <a:pt x="14" y="5"/>
                      <a:pt x="12" y="3"/>
                      <a:pt x="8"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9" name="Freeform 4795"/>
              <p:cNvSpPr/>
              <p:nvPr/>
            </p:nvSpPr>
            <p:spPr bwMode="auto">
              <a:xfrm>
                <a:off x="-8451848" y="4073487"/>
                <a:ext cx="90487" cy="42866"/>
              </a:xfrm>
              <a:custGeom>
                <a:avLst/>
                <a:gdLst>
                  <a:gd name="T0" fmla="*/ 30 w 57"/>
                  <a:gd name="T1" fmla="*/ 0 h 27"/>
                  <a:gd name="T2" fmla="*/ 57 w 57"/>
                  <a:gd name="T3" fmla="*/ 0 h 27"/>
                  <a:gd name="T4" fmla="*/ 30 w 57"/>
                  <a:gd name="T5" fmla="*/ 27 h 27"/>
                  <a:gd name="T6" fmla="*/ 0 w 57"/>
                  <a:gd name="T7" fmla="*/ 27 h 27"/>
                  <a:gd name="T8" fmla="*/ 30 w 57"/>
                  <a:gd name="T9" fmla="*/ 0 h 27"/>
                </a:gdLst>
                <a:ahLst/>
                <a:cxnLst>
                  <a:cxn ang="0">
                    <a:pos x="T0" y="T1"/>
                  </a:cxn>
                  <a:cxn ang="0">
                    <a:pos x="T2" y="T3"/>
                  </a:cxn>
                  <a:cxn ang="0">
                    <a:pos x="T4" y="T5"/>
                  </a:cxn>
                  <a:cxn ang="0">
                    <a:pos x="T6" y="T7"/>
                  </a:cxn>
                  <a:cxn ang="0">
                    <a:pos x="T8" y="T9"/>
                  </a:cxn>
                </a:cxnLst>
                <a:rect l="0" t="0" r="r" b="b"/>
                <a:pathLst>
                  <a:path w="57" h="27">
                    <a:moveTo>
                      <a:pt x="30" y="0"/>
                    </a:moveTo>
                    <a:lnTo>
                      <a:pt x="57" y="0"/>
                    </a:lnTo>
                    <a:lnTo>
                      <a:pt x="30" y="27"/>
                    </a:lnTo>
                    <a:lnTo>
                      <a:pt x="0" y="27"/>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0" name="Freeform 4796"/>
              <p:cNvSpPr/>
              <p:nvPr/>
            </p:nvSpPr>
            <p:spPr bwMode="auto">
              <a:xfrm>
                <a:off x="-8386763"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1" name="Freeform 4797"/>
              <p:cNvSpPr/>
              <p:nvPr/>
            </p:nvSpPr>
            <p:spPr bwMode="auto">
              <a:xfrm>
                <a:off x="-8323261"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2" name="Freeform 4798"/>
              <p:cNvSpPr/>
              <p:nvPr/>
            </p:nvSpPr>
            <p:spPr bwMode="auto">
              <a:xfrm>
                <a:off x="-8259760" y="4073487"/>
                <a:ext cx="88896" cy="42866"/>
              </a:xfrm>
              <a:custGeom>
                <a:avLst/>
                <a:gdLst>
                  <a:gd name="T0" fmla="*/ 29 w 56"/>
                  <a:gd name="T1" fmla="*/ 0 h 27"/>
                  <a:gd name="T2" fmla="*/ 56 w 56"/>
                  <a:gd name="T3" fmla="*/ 0 h 27"/>
                  <a:gd name="T4" fmla="*/ 29 w 56"/>
                  <a:gd name="T5" fmla="*/ 27 h 27"/>
                  <a:gd name="T6" fmla="*/ 0 w 56"/>
                  <a:gd name="T7" fmla="*/ 27 h 27"/>
                  <a:gd name="T8" fmla="*/ 29 w 56"/>
                  <a:gd name="T9" fmla="*/ 0 h 27"/>
                </a:gdLst>
                <a:ahLst/>
                <a:cxnLst>
                  <a:cxn ang="0">
                    <a:pos x="T0" y="T1"/>
                  </a:cxn>
                  <a:cxn ang="0">
                    <a:pos x="T2" y="T3"/>
                  </a:cxn>
                  <a:cxn ang="0">
                    <a:pos x="T4" y="T5"/>
                  </a:cxn>
                  <a:cxn ang="0">
                    <a:pos x="T6" y="T7"/>
                  </a:cxn>
                  <a:cxn ang="0">
                    <a:pos x="T8" y="T9"/>
                  </a:cxn>
                </a:cxnLst>
                <a:rect l="0" t="0" r="r" b="b"/>
                <a:pathLst>
                  <a:path w="56" h="27">
                    <a:moveTo>
                      <a:pt x="29" y="0"/>
                    </a:moveTo>
                    <a:lnTo>
                      <a:pt x="56" y="0"/>
                    </a:lnTo>
                    <a:lnTo>
                      <a:pt x="29" y="27"/>
                    </a:lnTo>
                    <a:lnTo>
                      <a:pt x="0" y="27"/>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3" name="Freeform 4799"/>
              <p:cNvSpPr/>
              <p:nvPr/>
            </p:nvSpPr>
            <p:spPr bwMode="auto">
              <a:xfrm>
                <a:off x="-8489947" y="5148215"/>
                <a:ext cx="25402" cy="1239825"/>
              </a:xfrm>
              <a:custGeom>
                <a:avLst/>
                <a:gdLst>
                  <a:gd name="T0" fmla="*/ 0 w 16"/>
                  <a:gd name="T1" fmla="*/ 16 h 781"/>
                  <a:gd name="T2" fmla="*/ 16 w 16"/>
                  <a:gd name="T3" fmla="*/ 0 h 781"/>
                  <a:gd name="T4" fmla="*/ 16 w 16"/>
                  <a:gd name="T5" fmla="*/ 765 h 781"/>
                  <a:gd name="T6" fmla="*/ 0 w 16"/>
                  <a:gd name="T7" fmla="*/ 781 h 781"/>
                  <a:gd name="T8" fmla="*/ 0 w 16"/>
                  <a:gd name="T9" fmla="*/ 16 h 781"/>
                </a:gdLst>
                <a:ahLst/>
                <a:cxnLst>
                  <a:cxn ang="0">
                    <a:pos x="T0" y="T1"/>
                  </a:cxn>
                  <a:cxn ang="0">
                    <a:pos x="T2" y="T3"/>
                  </a:cxn>
                  <a:cxn ang="0">
                    <a:pos x="T4" y="T5"/>
                  </a:cxn>
                  <a:cxn ang="0">
                    <a:pos x="T6" y="T7"/>
                  </a:cxn>
                  <a:cxn ang="0">
                    <a:pos x="T8" y="T9"/>
                  </a:cxn>
                </a:cxnLst>
                <a:rect l="0" t="0" r="r" b="b"/>
                <a:pathLst>
                  <a:path w="16" h="781">
                    <a:moveTo>
                      <a:pt x="0" y="16"/>
                    </a:moveTo>
                    <a:lnTo>
                      <a:pt x="16" y="0"/>
                    </a:lnTo>
                    <a:lnTo>
                      <a:pt x="16" y="765"/>
                    </a:lnTo>
                    <a:lnTo>
                      <a:pt x="0" y="781"/>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4" name="Freeform 4800"/>
              <p:cNvSpPr/>
              <p:nvPr/>
            </p:nvSpPr>
            <p:spPr bwMode="auto">
              <a:xfrm>
                <a:off x="-8510584" y="6981761"/>
                <a:ext cx="25402" cy="620710"/>
              </a:xfrm>
              <a:custGeom>
                <a:avLst/>
                <a:gdLst>
                  <a:gd name="T0" fmla="*/ 16 w 16"/>
                  <a:gd name="T1" fmla="*/ 16 h 391"/>
                  <a:gd name="T2" fmla="*/ 0 w 16"/>
                  <a:gd name="T3" fmla="*/ 0 h 391"/>
                  <a:gd name="T4" fmla="*/ 0 w 16"/>
                  <a:gd name="T5" fmla="*/ 375 h 391"/>
                  <a:gd name="T6" fmla="*/ 16 w 16"/>
                  <a:gd name="T7" fmla="*/ 391 h 391"/>
                  <a:gd name="T8" fmla="*/ 16 w 16"/>
                  <a:gd name="T9" fmla="*/ 16 h 391"/>
                </a:gdLst>
                <a:ahLst/>
                <a:cxnLst>
                  <a:cxn ang="0">
                    <a:pos x="T0" y="T1"/>
                  </a:cxn>
                  <a:cxn ang="0">
                    <a:pos x="T2" y="T3"/>
                  </a:cxn>
                  <a:cxn ang="0">
                    <a:pos x="T4" y="T5"/>
                  </a:cxn>
                  <a:cxn ang="0">
                    <a:pos x="T6" y="T7"/>
                  </a:cxn>
                  <a:cxn ang="0">
                    <a:pos x="T8" y="T9"/>
                  </a:cxn>
                </a:cxnLst>
                <a:rect l="0" t="0" r="r" b="b"/>
                <a:pathLst>
                  <a:path w="16" h="391">
                    <a:moveTo>
                      <a:pt x="16" y="16"/>
                    </a:moveTo>
                    <a:lnTo>
                      <a:pt x="0" y="0"/>
                    </a:lnTo>
                    <a:lnTo>
                      <a:pt x="0" y="375"/>
                    </a:lnTo>
                    <a:lnTo>
                      <a:pt x="16" y="391"/>
                    </a:lnTo>
                    <a:lnTo>
                      <a:pt x="16"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5" name="Freeform 4801"/>
              <p:cNvSpPr/>
              <p:nvPr/>
            </p:nvSpPr>
            <p:spPr bwMode="auto">
              <a:xfrm>
                <a:off x="-8489947" y="6383274"/>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6" name="Freeform 4802"/>
              <p:cNvSpPr/>
              <p:nvPr/>
            </p:nvSpPr>
            <p:spPr bwMode="auto">
              <a:xfrm>
                <a:off x="-8489947" y="6426140"/>
                <a:ext cx="25402" cy="46039"/>
              </a:xfrm>
              <a:custGeom>
                <a:avLst/>
                <a:gdLst>
                  <a:gd name="T0" fmla="*/ 0 w 16"/>
                  <a:gd name="T1" fmla="*/ 13 h 29"/>
                  <a:gd name="T2" fmla="*/ 16 w 16"/>
                  <a:gd name="T3" fmla="*/ 0 h 29"/>
                  <a:gd name="T4" fmla="*/ 16 w 16"/>
                  <a:gd name="T5" fmla="*/ 13 h 29"/>
                  <a:gd name="T6" fmla="*/ 0 w 16"/>
                  <a:gd name="T7" fmla="*/ 29 h 29"/>
                  <a:gd name="T8" fmla="*/ 0 w 16"/>
                  <a:gd name="T9" fmla="*/ 13 h 29"/>
                </a:gdLst>
                <a:ahLst/>
                <a:cxnLst>
                  <a:cxn ang="0">
                    <a:pos x="T0" y="T1"/>
                  </a:cxn>
                  <a:cxn ang="0">
                    <a:pos x="T2" y="T3"/>
                  </a:cxn>
                  <a:cxn ang="0">
                    <a:pos x="T4" y="T5"/>
                  </a:cxn>
                  <a:cxn ang="0">
                    <a:pos x="T6" y="T7"/>
                  </a:cxn>
                  <a:cxn ang="0">
                    <a:pos x="T8" y="T9"/>
                  </a:cxn>
                </a:cxnLst>
                <a:rect l="0" t="0" r="r" b="b"/>
                <a:pathLst>
                  <a:path w="16" h="29">
                    <a:moveTo>
                      <a:pt x="0" y="13"/>
                    </a:moveTo>
                    <a:lnTo>
                      <a:pt x="16" y="0"/>
                    </a:lnTo>
                    <a:lnTo>
                      <a:pt x="16" y="13"/>
                    </a:lnTo>
                    <a:lnTo>
                      <a:pt x="0" y="29"/>
                    </a:lnTo>
                    <a:lnTo>
                      <a:pt x="0"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7" name="Freeform 4803"/>
              <p:cNvSpPr/>
              <p:nvPr/>
            </p:nvSpPr>
            <p:spPr bwMode="auto">
              <a:xfrm>
                <a:off x="-8489947" y="6464240"/>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8" name="Freeform 4804"/>
              <p:cNvSpPr/>
              <p:nvPr/>
            </p:nvSpPr>
            <p:spPr bwMode="auto">
              <a:xfrm>
                <a:off x="-8489947" y="6507098"/>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9" name="Freeform 4805"/>
              <p:cNvSpPr/>
              <p:nvPr/>
            </p:nvSpPr>
            <p:spPr bwMode="auto">
              <a:xfrm>
                <a:off x="-8489947" y="6545198"/>
                <a:ext cx="25402" cy="50797"/>
              </a:xfrm>
              <a:custGeom>
                <a:avLst/>
                <a:gdLst>
                  <a:gd name="T0" fmla="*/ 0 w 16"/>
                  <a:gd name="T1" fmla="*/ 16 h 32"/>
                  <a:gd name="T2" fmla="*/ 16 w 16"/>
                  <a:gd name="T3" fmla="*/ 0 h 32"/>
                  <a:gd name="T4" fmla="*/ 16 w 16"/>
                  <a:gd name="T5" fmla="*/ 16 h 32"/>
                  <a:gd name="T6" fmla="*/ 0 w 16"/>
                  <a:gd name="T7" fmla="*/ 32 h 32"/>
                  <a:gd name="T8" fmla="*/ 0 w 16"/>
                  <a:gd name="T9" fmla="*/ 16 h 32"/>
                </a:gdLst>
                <a:ahLst/>
                <a:cxnLst>
                  <a:cxn ang="0">
                    <a:pos x="T0" y="T1"/>
                  </a:cxn>
                  <a:cxn ang="0">
                    <a:pos x="T2" y="T3"/>
                  </a:cxn>
                  <a:cxn ang="0">
                    <a:pos x="T4" y="T5"/>
                  </a:cxn>
                  <a:cxn ang="0">
                    <a:pos x="T6" y="T7"/>
                  </a:cxn>
                  <a:cxn ang="0">
                    <a:pos x="T8" y="T9"/>
                  </a:cxn>
                </a:cxnLst>
                <a:rect l="0" t="0" r="r" b="b"/>
                <a:pathLst>
                  <a:path w="16" h="32">
                    <a:moveTo>
                      <a:pt x="0" y="16"/>
                    </a:moveTo>
                    <a:lnTo>
                      <a:pt x="16" y="0"/>
                    </a:lnTo>
                    <a:lnTo>
                      <a:pt x="16" y="16"/>
                    </a:lnTo>
                    <a:lnTo>
                      <a:pt x="0" y="32"/>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0" name="Freeform 4806"/>
              <p:cNvSpPr/>
              <p:nvPr/>
            </p:nvSpPr>
            <p:spPr bwMode="auto">
              <a:xfrm>
                <a:off x="-8489947" y="6588065"/>
                <a:ext cx="25402" cy="46039"/>
              </a:xfrm>
              <a:custGeom>
                <a:avLst/>
                <a:gdLst>
                  <a:gd name="T0" fmla="*/ 0 w 16"/>
                  <a:gd name="T1" fmla="*/ 16 h 29"/>
                  <a:gd name="T2" fmla="*/ 16 w 16"/>
                  <a:gd name="T3" fmla="*/ 0 h 29"/>
                  <a:gd name="T4" fmla="*/ 16 w 16"/>
                  <a:gd name="T5" fmla="*/ 16 h 29"/>
                  <a:gd name="T6" fmla="*/ 0 w 16"/>
                  <a:gd name="T7" fmla="*/ 29 h 29"/>
                  <a:gd name="T8" fmla="*/ 0 w 16"/>
                  <a:gd name="T9" fmla="*/ 16 h 29"/>
                </a:gdLst>
                <a:ahLst/>
                <a:cxnLst>
                  <a:cxn ang="0">
                    <a:pos x="T0" y="T1"/>
                  </a:cxn>
                  <a:cxn ang="0">
                    <a:pos x="T2" y="T3"/>
                  </a:cxn>
                  <a:cxn ang="0">
                    <a:pos x="T4" y="T5"/>
                  </a:cxn>
                  <a:cxn ang="0">
                    <a:pos x="T6" y="T7"/>
                  </a:cxn>
                  <a:cxn ang="0">
                    <a:pos x="T8" y="T9"/>
                  </a:cxn>
                </a:cxnLst>
                <a:rect l="0" t="0" r="r" b="b"/>
                <a:pathLst>
                  <a:path w="16" h="29">
                    <a:moveTo>
                      <a:pt x="0" y="16"/>
                    </a:moveTo>
                    <a:lnTo>
                      <a:pt x="16" y="0"/>
                    </a:lnTo>
                    <a:lnTo>
                      <a:pt x="16" y="16"/>
                    </a:lnTo>
                    <a:lnTo>
                      <a:pt x="0" y="29"/>
                    </a:lnTo>
                    <a:lnTo>
                      <a:pt x="0" y="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1" name="Rectangle 4807"/>
              <p:cNvSpPr>
                <a:spLocks noChangeArrowheads="1"/>
              </p:cNvSpPr>
              <p:nvPr/>
            </p:nvSpPr>
            <p:spPr bwMode="auto">
              <a:xfrm>
                <a:off x="-8413748" y="7894565"/>
                <a:ext cx="22228" cy="222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2" name="Rectangle 4808"/>
              <p:cNvSpPr>
                <a:spLocks noChangeArrowheads="1"/>
              </p:cNvSpPr>
              <p:nvPr/>
            </p:nvSpPr>
            <p:spPr bwMode="auto">
              <a:xfrm>
                <a:off x="-8413748" y="78532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3" name="Rectangle 4809"/>
              <p:cNvSpPr>
                <a:spLocks noChangeArrowheads="1"/>
              </p:cNvSpPr>
              <p:nvPr/>
            </p:nvSpPr>
            <p:spPr bwMode="auto">
              <a:xfrm>
                <a:off x="-8413748" y="7815192"/>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4" name="Rectangle 4810"/>
              <p:cNvSpPr>
                <a:spLocks noChangeArrowheads="1"/>
              </p:cNvSpPr>
              <p:nvPr/>
            </p:nvSpPr>
            <p:spPr bwMode="auto">
              <a:xfrm>
                <a:off x="-8413748" y="77723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5" name="Rectangle 4811"/>
              <p:cNvSpPr>
                <a:spLocks noChangeArrowheads="1"/>
              </p:cNvSpPr>
              <p:nvPr/>
            </p:nvSpPr>
            <p:spPr bwMode="auto">
              <a:xfrm>
                <a:off x="-8413748" y="7734226"/>
                <a:ext cx="22228" cy="206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6" name="Freeform 4812"/>
              <p:cNvSpPr/>
              <p:nvPr/>
            </p:nvSpPr>
            <p:spPr bwMode="auto">
              <a:xfrm>
                <a:off x="-8340724" y="7937423"/>
                <a:ext cx="80964" cy="80966"/>
              </a:xfrm>
              <a:custGeom>
                <a:avLst/>
                <a:gdLst>
                  <a:gd name="T0" fmla="*/ 51 w 51"/>
                  <a:gd name="T1" fmla="*/ 51 h 51"/>
                  <a:gd name="T2" fmla="*/ 51 w 51"/>
                  <a:gd name="T3" fmla="*/ 0 h 51"/>
                  <a:gd name="T4" fmla="*/ 0 w 51"/>
                  <a:gd name="T5" fmla="*/ 0 h 51"/>
                  <a:gd name="T6" fmla="*/ 51 w 51"/>
                  <a:gd name="T7" fmla="*/ 51 h 51"/>
                </a:gdLst>
                <a:ahLst/>
                <a:cxnLst>
                  <a:cxn ang="0">
                    <a:pos x="T0" y="T1"/>
                  </a:cxn>
                  <a:cxn ang="0">
                    <a:pos x="T2" y="T3"/>
                  </a:cxn>
                  <a:cxn ang="0">
                    <a:pos x="T4" y="T5"/>
                  </a:cxn>
                  <a:cxn ang="0">
                    <a:pos x="T6" y="T7"/>
                  </a:cxn>
                </a:cxnLst>
                <a:rect l="0" t="0" r="r" b="b"/>
                <a:pathLst>
                  <a:path w="51" h="51">
                    <a:moveTo>
                      <a:pt x="51" y="51"/>
                    </a:moveTo>
                    <a:lnTo>
                      <a:pt x="51" y="0"/>
                    </a:lnTo>
                    <a:lnTo>
                      <a:pt x="0" y="0"/>
                    </a:lnTo>
                    <a:lnTo>
                      <a:pt x="51" y="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7" name="Freeform 4813"/>
              <p:cNvSpPr/>
              <p:nvPr/>
            </p:nvSpPr>
            <p:spPr bwMode="auto">
              <a:xfrm>
                <a:off x="-8553449" y="4022682"/>
                <a:ext cx="1641473" cy="654043"/>
              </a:xfrm>
              <a:custGeom>
                <a:avLst/>
                <a:gdLst>
                  <a:gd name="T0" fmla="*/ 8 w 1034"/>
                  <a:gd name="T1" fmla="*/ 412 h 412"/>
                  <a:gd name="T2" fmla="*/ 0 w 1034"/>
                  <a:gd name="T3" fmla="*/ 412 h 412"/>
                  <a:gd name="T4" fmla="*/ 0 w 1034"/>
                  <a:gd name="T5" fmla="*/ 128 h 412"/>
                  <a:gd name="T6" fmla="*/ 46 w 1034"/>
                  <a:gd name="T7" fmla="*/ 83 h 412"/>
                  <a:gd name="T8" fmla="*/ 238 w 1034"/>
                  <a:gd name="T9" fmla="*/ 86 h 412"/>
                  <a:gd name="T10" fmla="*/ 310 w 1034"/>
                  <a:gd name="T11" fmla="*/ 0 h 412"/>
                  <a:gd name="T12" fmla="*/ 1034 w 1034"/>
                  <a:gd name="T13" fmla="*/ 0 h 412"/>
                  <a:gd name="T14" fmla="*/ 1034 w 1034"/>
                  <a:gd name="T15" fmla="*/ 8 h 412"/>
                  <a:gd name="T16" fmla="*/ 313 w 1034"/>
                  <a:gd name="T17" fmla="*/ 8 h 412"/>
                  <a:gd name="T18" fmla="*/ 243 w 1034"/>
                  <a:gd name="T19" fmla="*/ 91 h 412"/>
                  <a:gd name="T20" fmla="*/ 48 w 1034"/>
                  <a:gd name="T21" fmla="*/ 91 h 412"/>
                  <a:gd name="T22" fmla="*/ 8 w 1034"/>
                  <a:gd name="T23" fmla="*/ 131 h 412"/>
                  <a:gd name="T24" fmla="*/ 8 w 1034"/>
                  <a:gd name="T25"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412">
                    <a:moveTo>
                      <a:pt x="8" y="412"/>
                    </a:moveTo>
                    <a:lnTo>
                      <a:pt x="0" y="412"/>
                    </a:lnTo>
                    <a:lnTo>
                      <a:pt x="0" y="128"/>
                    </a:lnTo>
                    <a:lnTo>
                      <a:pt x="46" y="83"/>
                    </a:lnTo>
                    <a:lnTo>
                      <a:pt x="238" y="86"/>
                    </a:lnTo>
                    <a:lnTo>
                      <a:pt x="310" y="0"/>
                    </a:lnTo>
                    <a:lnTo>
                      <a:pt x="1034" y="0"/>
                    </a:lnTo>
                    <a:lnTo>
                      <a:pt x="1034" y="8"/>
                    </a:lnTo>
                    <a:lnTo>
                      <a:pt x="313" y="8"/>
                    </a:lnTo>
                    <a:lnTo>
                      <a:pt x="243" y="91"/>
                    </a:lnTo>
                    <a:lnTo>
                      <a:pt x="48" y="91"/>
                    </a:lnTo>
                    <a:lnTo>
                      <a:pt x="8" y="131"/>
                    </a:lnTo>
                    <a:lnTo>
                      <a:pt x="8" y="4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8" name="Freeform 4814"/>
              <p:cNvSpPr/>
              <p:nvPr/>
            </p:nvSpPr>
            <p:spPr bwMode="auto">
              <a:xfrm>
                <a:off x="-7310440" y="4022682"/>
                <a:ext cx="5637204" cy="174622"/>
              </a:xfrm>
              <a:custGeom>
                <a:avLst/>
                <a:gdLst>
                  <a:gd name="T0" fmla="*/ 3551 w 3551"/>
                  <a:gd name="T1" fmla="*/ 110 h 110"/>
                  <a:gd name="T2" fmla="*/ 2806 w 3551"/>
                  <a:gd name="T3" fmla="*/ 110 h 110"/>
                  <a:gd name="T4" fmla="*/ 2707 w 3551"/>
                  <a:gd name="T5" fmla="*/ 8 h 110"/>
                  <a:gd name="T6" fmla="*/ 713 w 3551"/>
                  <a:gd name="T7" fmla="*/ 8 h 110"/>
                  <a:gd name="T8" fmla="*/ 670 w 3551"/>
                  <a:gd name="T9" fmla="*/ 51 h 110"/>
                  <a:gd name="T10" fmla="*/ 0 w 3551"/>
                  <a:gd name="T11" fmla="*/ 51 h 110"/>
                  <a:gd name="T12" fmla="*/ 0 w 3551"/>
                  <a:gd name="T13" fmla="*/ 43 h 110"/>
                  <a:gd name="T14" fmla="*/ 667 w 3551"/>
                  <a:gd name="T15" fmla="*/ 43 h 110"/>
                  <a:gd name="T16" fmla="*/ 710 w 3551"/>
                  <a:gd name="T17" fmla="*/ 0 h 110"/>
                  <a:gd name="T18" fmla="*/ 2710 w 3551"/>
                  <a:gd name="T19" fmla="*/ 0 h 110"/>
                  <a:gd name="T20" fmla="*/ 2808 w 3551"/>
                  <a:gd name="T21" fmla="*/ 102 h 110"/>
                  <a:gd name="T22" fmla="*/ 3551 w 3551"/>
                  <a:gd name="T23" fmla="*/ 102 h 110"/>
                  <a:gd name="T24" fmla="*/ 3551 w 3551"/>
                  <a:gd name="T2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0">
                    <a:moveTo>
                      <a:pt x="3551" y="110"/>
                    </a:moveTo>
                    <a:lnTo>
                      <a:pt x="2806" y="110"/>
                    </a:lnTo>
                    <a:lnTo>
                      <a:pt x="2707" y="8"/>
                    </a:lnTo>
                    <a:lnTo>
                      <a:pt x="713" y="8"/>
                    </a:lnTo>
                    <a:lnTo>
                      <a:pt x="670" y="51"/>
                    </a:lnTo>
                    <a:lnTo>
                      <a:pt x="0" y="51"/>
                    </a:lnTo>
                    <a:lnTo>
                      <a:pt x="0" y="43"/>
                    </a:lnTo>
                    <a:lnTo>
                      <a:pt x="667" y="43"/>
                    </a:lnTo>
                    <a:lnTo>
                      <a:pt x="710" y="0"/>
                    </a:lnTo>
                    <a:lnTo>
                      <a:pt x="2710" y="0"/>
                    </a:lnTo>
                    <a:lnTo>
                      <a:pt x="2808" y="102"/>
                    </a:lnTo>
                    <a:lnTo>
                      <a:pt x="3551" y="102"/>
                    </a:lnTo>
                    <a:lnTo>
                      <a:pt x="3551"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9" name="Freeform 4815"/>
              <p:cNvSpPr/>
              <p:nvPr/>
            </p:nvSpPr>
            <p:spPr bwMode="auto">
              <a:xfrm>
                <a:off x="-2555880" y="4090951"/>
                <a:ext cx="1411286" cy="160338"/>
              </a:xfrm>
              <a:custGeom>
                <a:avLst/>
                <a:gdLst>
                  <a:gd name="T0" fmla="*/ 884 w 889"/>
                  <a:gd name="T1" fmla="*/ 101 h 101"/>
                  <a:gd name="T2" fmla="*/ 791 w 889"/>
                  <a:gd name="T3" fmla="*/ 8 h 101"/>
                  <a:gd name="T4" fmla="*/ 0 w 889"/>
                  <a:gd name="T5" fmla="*/ 8 h 101"/>
                  <a:gd name="T6" fmla="*/ 0 w 889"/>
                  <a:gd name="T7" fmla="*/ 0 h 101"/>
                  <a:gd name="T8" fmla="*/ 793 w 889"/>
                  <a:gd name="T9" fmla="*/ 0 h 101"/>
                  <a:gd name="T10" fmla="*/ 889 w 889"/>
                  <a:gd name="T11" fmla="*/ 96 h 101"/>
                  <a:gd name="T12" fmla="*/ 884 w 88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889" h="101">
                    <a:moveTo>
                      <a:pt x="884" y="101"/>
                    </a:moveTo>
                    <a:lnTo>
                      <a:pt x="791" y="8"/>
                    </a:lnTo>
                    <a:lnTo>
                      <a:pt x="0" y="8"/>
                    </a:lnTo>
                    <a:lnTo>
                      <a:pt x="0" y="0"/>
                    </a:lnTo>
                    <a:lnTo>
                      <a:pt x="793" y="0"/>
                    </a:lnTo>
                    <a:lnTo>
                      <a:pt x="889" y="96"/>
                    </a:lnTo>
                    <a:lnTo>
                      <a:pt x="884" y="1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10" name="Freeform 4816"/>
              <p:cNvSpPr/>
              <p:nvPr/>
            </p:nvSpPr>
            <p:spPr bwMode="auto">
              <a:xfrm>
                <a:off x="-1109669" y="4149687"/>
                <a:ext cx="93661" cy="3719475"/>
              </a:xfrm>
              <a:custGeom>
                <a:avLst/>
                <a:gdLst>
                  <a:gd name="T0" fmla="*/ 21 w 59"/>
                  <a:gd name="T1" fmla="*/ 2343 h 2343"/>
                  <a:gd name="T2" fmla="*/ 13 w 59"/>
                  <a:gd name="T3" fmla="*/ 2343 h 2343"/>
                  <a:gd name="T4" fmla="*/ 13 w 59"/>
                  <a:gd name="T5" fmla="*/ 1982 h 2343"/>
                  <a:gd name="T6" fmla="*/ 51 w 59"/>
                  <a:gd name="T7" fmla="*/ 1942 h 2343"/>
                  <a:gd name="T8" fmla="*/ 51 w 59"/>
                  <a:gd name="T9" fmla="*/ 688 h 2343"/>
                  <a:gd name="T10" fmla="*/ 0 w 59"/>
                  <a:gd name="T11" fmla="*/ 637 h 2343"/>
                  <a:gd name="T12" fmla="*/ 0 w 59"/>
                  <a:gd name="T13" fmla="*/ 0 h 2343"/>
                  <a:gd name="T14" fmla="*/ 8 w 59"/>
                  <a:gd name="T15" fmla="*/ 0 h 2343"/>
                  <a:gd name="T16" fmla="*/ 8 w 59"/>
                  <a:gd name="T17" fmla="*/ 631 h 2343"/>
                  <a:gd name="T18" fmla="*/ 59 w 59"/>
                  <a:gd name="T19" fmla="*/ 685 h 2343"/>
                  <a:gd name="T20" fmla="*/ 59 w 59"/>
                  <a:gd name="T21" fmla="*/ 1947 h 2343"/>
                  <a:gd name="T22" fmla="*/ 21 w 59"/>
                  <a:gd name="T23" fmla="*/ 1985 h 2343"/>
                  <a:gd name="T24" fmla="*/ 21 w 59"/>
                  <a:gd name="T25" fmla="*/ 2343 h 2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2343">
                    <a:moveTo>
                      <a:pt x="21" y="2343"/>
                    </a:moveTo>
                    <a:lnTo>
                      <a:pt x="13" y="2343"/>
                    </a:lnTo>
                    <a:lnTo>
                      <a:pt x="13" y="1982"/>
                    </a:lnTo>
                    <a:lnTo>
                      <a:pt x="51" y="1942"/>
                    </a:lnTo>
                    <a:lnTo>
                      <a:pt x="51" y="688"/>
                    </a:lnTo>
                    <a:lnTo>
                      <a:pt x="0" y="637"/>
                    </a:lnTo>
                    <a:lnTo>
                      <a:pt x="0" y="0"/>
                    </a:lnTo>
                    <a:lnTo>
                      <a:pt x="8" y="0"/>
                    </a:lnTo>
                    <a:lnTo>
                      <a:pt x="8" y="631"/>
                    </a:lnTo>
                    <a:lnTo>
                      <a:pt x="59" y="685"/>
                    </a:lnTo>
                    <a:lnTo>
                      <a:pt x="59" y="1947"/>
                    </a:lnTo>
                    <a:lnTo>
                      <a:pt x="21" y="1985"/>
                    </a:lnTo>
                    <a:lnTo>
                      <a:pt x="21" y="2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11" name="Freeform 4817"/>
              <p:cNvSpPr/>
              <p:nvPr/>
            </p:nvSpPr>
            <p:spPr bwMode="auto">
              <a:xfrm>
                <a:off x="-2647958" y="7465941"/>
                <a:ext cx="1639890" cy="696909"/>
              </a:xfrm>
              <a:custGeom>
                <a:avLst/>
                <a:gdLst>
                  <a:gd name="T0" fmla="*/ 953 w 1033"/>
                  <a:gd name="T1" fmla="*/ 439 h 439"/>
                  <a:gd name="T2" fmla="*/ 766 w 1033"/>
                  <a:gd name="T3" fmla="*/ 439 h 439"/>
                  <a:gd name="T4" fmla="*/ 723 w 1033"/>
                  <a:gd name="T5" fmla="*/ 393 h 439"/>
                  <a:gd name="T6" fmla="*/ 421 w 1033"/>
                  <a:gd name="T7" fmla="*/ 393 h 439"/>
                  <a:gd name="T8" fmla="*/ 376 w 1033"/>
                  <a:gd name="T9" fmla="*/ 439 h 439"/>
                  <a:gd name="T10" fmla="*/ 0 w 1033"/>
                  <a:gd name="T11" fmla="*/ 439 h 439"/>
                  <a:gd name="T12" fmla="*/ 0 w 1033"/>
                  <a:gd name="T13" fmla="*/ 431 h 439"/>
                  <a:gd name="T14" fmla="*/ 373 w 1033"/>
                  <a:gd name="T15" fmla="*/ 431 h 439"/>
                  <a:gd name="T16" fmla="*/ 416 w 1033"/>
                  <a:gd name="T17" fmla="*/ 388 h 439"/>
                  <a:gd name="T18" fmla="*/ 729 w 1033"/>
                  <a:gd name="T19" fmla="*/ 388 h 439"/>
                  <a:gd name="T20" fmla="*/ 769 w 1033"/>
                  <a:gd name="T21" fmla="*/ 431 h 439"/>
                  <a:gd name="T22" fmla="*/ 950 w 1033"/>
                  <a:gd name="T23" fmla="*/ 431 h 439"/>
                  <a:gd name="T24" fmla="*/ 1025 w 1033"/>
                  <a:gd name="T25" fmla="*/ 348 h 439"/>
                  <a:gd name="T26" fmla="*/ 1025 w 1033"/>
                  <a:gd name="T27" fmla="*/ 0 h 439"/>
                  <a:gd name="T28" fmla="*/ 1033 w 1033"/>
                  <a:gd name="T29" fmla="*/ 0 h 439"/>
                  <a:gd name="T30" fmla="*/ 1033 w 1033"/>
                  <a:gd name="T31" fmla="*/ 351 h 439"/>
                  <a:gd name="T32" fmla="*/ 953 w 1033"/>
                  <a:gd name="T33"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3" h="439">
                    <a:moveTo>
                      <a:pt x="953" y="439"/>
                    </a:moveTo>
                    <a:lnTo>
                      <a:pt x="766" y="439"/>
                    </a:lnTo>
                    <a:lnTo>
                      <a:pt x="723" y="393"/>
                    </a:lnTo>
                    <a:lnTo>
                      <a:pt x="421" y="393"/>
                    </a:lnTo>
                    <a:lnTo>
                      <a:pt x="376" y="439"/>
                    </a:lnTo>
                    <a:lnTo>
                      <a:pt x="0" y="439"/>
                    </a:lnTo>
                    <a:lnTo>
                      <a:pt x="0" y="431"/>
                    </a:lnTo>
                    <a:lnTo>
                      <a:pt x="373" y="431"/>
                    </a:lnTo>
                    <a:lnTo>
                      <a:pt x="416" y="388"/>
                    </a:lnTo>
                    <a:lnTo>
                      <a:pt x="729" y="388"/>
                    </a:lnTo>
                    <a:lnTo>
                      <a:pt x="769" y="431"/>
                    </a:lnTo>
                    <a:lnTo>
                      <a:pt x="950" y="431"/>
                    </a:lnTo>
                    <a:lnTo>
                      <a:pt x="1025" y="348"/>
                    </a:lnTo>
                    <a:lnTo>
                      <a:pt x="1025" y="0"/>
                    </a:lnTo>
                    <a:lnTo>
                      <a:pt x="1033" y="0"/>
                    </a:lnTo>
                    <a:lnTo>
                      <a:pt x="1033" y="351"/>
                    </a:lnTo>
                    <a:lnTo>
                      <a:pt x="953" y="4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12" name="Freeform 4818"/>
              <p:cNvSpPr/>
              <p:nvPr/>
            </p:nvSpPr>
            <p:spPr bwMode="auto">
              <a:xfrm>
                <a:off x="-7886705" y="7983462"/>
                <a:ext cx="5637204" cy="179388"/>
              </a:xfrm>
              <a:custGeom>
                <a:avLst/>
                <a:gdLst>
                  <a:gd name="T0" fmla="*/ 2840 w 3551"/>
                  <a:gd name="T1" fmla="*/ 113 h 113"/>
                  <a:gd name="T2" fmla="*/ 841 w 3551"/>
                  <a:gd name="T3" fmla="*/ 113 h 113"/>
                  <a:gd name="T4" fmla="*/ 742 w 3551"/>
                  <a:gd name="T5" fmla="*/ 9 h 113"/>
                  <a:gd name="T6" fmla="*/ 0 w 3551"/>
                  <a:gd name="T7" fmla="*/ 9 h 113"/>
                  <a:gd name="T8" fmla="*/ 0 w 3551"/>
                  <a:gd name="T9" fmla="*/ 0 h 113"/>
                  <a:gd name="T10" fmla="*/ 744 w 3551"/>
                  <a:gd name="T11" fmla="*/ 0 h 113"/>
                  <a:gd name="T12" fmla="*/ 843 w 3551"/>
                  <a:gd name="T13" fmla="*/ 105 h 113"/>
                  <a:gd name="T14" fmla="*/ 2838 w 3551"/>
                  <a:gd name="T15" fmla="*/ 105 h 113"/>
                  <a:gd name="T16" fmla="*/ 2880 w 3551"/>
                  <a:gd name="T17" fmla="*/ 62 h 113"/>
                  <a:gd name="T18" fmla="*/ 3551 w 3551"/>
                  <a:gd name="T19" fmla="*/ 62 h 113"/>
                  <a:gd name="T20" fmla="*/ 3551 w 3551"/>
                  <a:gd name="T21" fmla="*/ 67 h 113"/>
                  <a:gd name="T22" fmla="*/ 2883 w 3551"/>
                  <a:gd name="T23" fmla="*/ 67 h 113"/>
                  <a:gd name="T24" fmla="*/ 2840 w 355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1" h="113">
                    <a:moveTo>
                      <a:pt x="2840" y="113"/>
                    </a:moveTo>
                    <a:lnTo>
                      <a:pt x="841" y="113"/>
                    </a:lnTo>
                    <a:lnTo>
                      <a:pt x="742" y="9"/>
                    </a:lnTo>
                    <a:lnTo>
                      <a:pt x="0" y="9"/>
                    </a:lnTo>
                    <a:lnTo>
                      <a:pt x="0" y="0"/>
                    </a:lnTo>
                    <a:lnTo>
                      <a:pt x="744" y="0"/>
                    </a:lnTo>
                    <a:lnTo>
                      <a:pt x="843" y="105"/>
                    </a:lnTo>
                    <a:lnTo>
                      <a:pt x="2838" y="105"/>
                    </a:lnTo>
                    <a:lnTo>
                      <a:pt x="2880" y="62"/>
                    </a:lnTo>
                    <a:lnTo>
                      <a:pt x="3551" y="62"/>
                    </a:lnTo>
                    <a:lnTo>
                      <a:pt x="3551" y="67"/>
                    </a:lnTo>
                    <a:lnTo>
                      <a:pt x="2883" y="67"/>
                    </a:lnTo>
                    <a:lnTo>
                      <a:pt x="2840"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13" name="Freeform 4819"/>
              <p:cNvSpPr/>
              <p:nvPr/>
            </p:nvSpPr>
            <p:spPr bwMode="auto">
              <a:xfrm>
                <a:off x="-8416923" y="7932665"/>
                <a:ext cx="1411286" cy="157158"/>
              </a:xfrm>
              <a:custGeom>
                <a:avLst/>
                <a:gdLst>
                  <a:gd name="T0" fmla="*/ 889 w 889"/>
                  <a:gd name="T1" fmla="*/ 99 h 99"/>
                  <a:gd name="T2" fmla="*/ 96 w 889"/>
                  <a:gd name="T3" fmla="*/ 99 h 99"/>
                  <a:gd name="T4" fmla="*/ 0 w 889"/>
                  <a:gd name="T5" fmla="*/ 6 h 99"/>
                  <a:gd name="T6" fmla="*/ 5 w 889"/>
                  <a:gd name="T7" fmla="*/ 0 h 99"/>
                  <a:gd name="T8" fmla="*/ 99 w 889"/>
                  <a:gd name="T9" fmla="*/ 91 h 99"/>
                  <a:gd name="T10" fmla="*/ 889 w 889"/>
                  <a:gd name="T11" fmla="*/ 91 h 99"/>
                  <a:gd name="T12" fmla="*/ 889 w 889"/>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89" h="99">
                    <a:moveTo>
                      <a:pt x="889" y="99"/>
                    </a:moveTo>
                    <a:lnTo>
                      <a:pt x="96" y="99"/>
                    </a:lnTo>
                    <a:lnTo>
                      <a:pt x="0" y="6"/>
                    </a:lnTo>
                    <a:lnTo>
                      <a:pt x="5" y="0"/>
                    </a:lnTo>
                    <a:lnTo>
                      <a:pt x="99" y="91"/>
                    </a:lnTo>
                    <a:lnTo>
                      <a:pt x="889" y="91"/>
                    </a:lnTo>
                    <a:lnTo>
                      <a:pt x="889"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14" name="Freeform 4820"/>
              <p:cNvSpPr/>
              <p:nvPr/>
            </p:nvSpPr>
            <p:spPr bwMode="auto">
              <a:xfrm>
                <a:off x="-8543926" y="4311612"/>
                <a:ext cx="92078" cy="3724242"/>
              </a:xfrm>
              <a:custGeom>
                <a:avLst/>
                <a:gdLst>
                  <a:gd name="T0" fmla="*/ 58 w 58"/>
                  <a:gd name="T1" fmla="*/ 2346 h 2346"/>
                  <a:gd name="T2" fmla="*/ 50 w 58"/>
                  <a:gd name="T3" fmla="*/ 2346 h 2346"/>
                  <a:gd name="T4" fmla="*/ 50 w 58"/>
                  <a:gd name="T5" fmla="*/ 1661 h 2346"/>
                  <a:gd name="T6" fmla="*/ 0 w 58"/>
                  <a:gd name="T7" fmla="*/ 1610 h 2346"/>
                  <a:gd name="T8" fmla="*/ 0 w 58"/>
                  <a:gd name="T9" fmla="*/ 348 h 2346"/>
                  <a:gd name="T10" fmla="*/ 37 w 58"/>
                  <a:gd name="T11" fmla="*/ 310 h 2346"/>
                  <a:gd name="T12" fmla="*/ 37 w 58"/>
                  <a:gd name="T13" fmla="*/ 0 h 2346"/>
                  <a:gd name="T14" fmla="*/ 45 w 58"/>
                  <a:gd name="T15" fmla="*/ 0 h 2346"/>
                  <a:gd name="T16" fmla="*/ 45 w 58"/>
                  <a:gd name="T17" fmla="*/ 313 h 2346"/>
                  <a:gd name="T18" fmla="*/ 8 w 58"/>
                  <a:gd name="T19" fmla="*/ 350 h 2346"/>
                  <a:gd name="T20" fmla="*/ 8 w 58"/>
                  <a:gd name="T21" fmla="*/ 1607 h 2346"/>
                  <a:gd name="T22" fmla="*/ 58 w 58"/>
                  <a:gd name="T23" fmla="*/ 1658 h 2346"/>
                  <a:gd name="T24" fmla="*/ 58 w 58"/>
                  <a:gd name="T25" fmla="*/ 2346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2346">
                    <a:moveTo>
                      <a:pt x="58" y="2346"/>
                    </a:moveTo>
                    <a:lnTo>
                      <a:pt x="50" y="2346"/>
                    </a:lnTo>
                    <a:lnTo>
                      <a:pt x="50" y="1661"/>
                    </a:lnTo>
                    <a:lnTo>
                      <a:pt x="0" y="1610"/>
                    </a:lnTo>
                    <a:lnTo>
                      <a:pt x="0" y="348"/>
                    </a:lnTo>
                    <a:lnTo>
                      <a:pt x="37" y="310"/>
                    </a:lnTo>
                    <a:lnTo>
                      <a:pt x="37" y="0"/>
                    </a:lnTo>
                    <a:lnTo>
                      <a:pt x="45" y="0"/>
                    </a:lnTo>
                    <a:lnTo>
                      <a:pt x="45" y="313"/>
                    </a:lnTo>
                    <a:lnTo>
                      <a:pt x="8" y="350"/>
                    </a:lnTo>
                    <a:lnTo>
                      <a:pt x="8" y="1607"/>
                    </a:lnTo>
                    <a:lnTo>
                      <a:pt x="58" y="1658"/>
                    </a:lnTo>
                    <a:lnTo>
                      <a:pt x="58" y="23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15" name="Freeform 4821"/>
              <p:cNvSpPr/>
              <p:nvPr/>
            </p:nvSpPr>
            <p:spPr bwMode="auto">
              <a:xfrm>
                <a:off x="-8518524" y="3954421"/>
                <a:ext cx="461967" cy="161924"/>
              </a:xfrm>
              <a:custGeom>
                <a:avLst/>
                <a:gdLst>
                  <a:gd name="T0" fmla="*/ 5 w 291"/>
                  <a:gd name="T1" fmla="*/ 102 h 102"/>
                  <a:gd name="T2" fmla="*/ 0 w 291"/>
                  <a:gd name="T3" fmla="*/ 102 h 102"/>
                  <a:gd name="T4" fmla="*/ 0 w 291"/>
                  <a:gd name="T5" fmla="*/ 54 h 102"/>
                  <a:gd name="T6" fmla="*/ 34 w 291"/>
                  <a:gd name="T7" fmla="*/ 24 h 102"/>
                  <a:gd name="T8" fmla="*/ 264 w 291"/>
                  <a:gd name="T9" fmla="*/ 24 h 102"/>
                  <a:gd name="T10" fmla="*/ 285 w 291"/>
                  <a:gd name="T11" fmla="*/ 0 h 102"/>
                  <a:gd name="T12" fmla="*/ 291 w 291"/>
                  <a:gd name="T13" fmla="*/ 3 h 102"/>
                  <a:gd name="T14" fmla="*/ 267 w 291"/>
                  <a:gd name="T15" fmla="*/ 30 h 102"/>
                  <a:gd name="T16" fmla="*/ 37 w 291"/>
                  <a:gd name="T17" fmla="*/ 30 h 102"/>
                  <a:gd name="T18" fmla="*/ 5 w 291"/>
                  <a:gd name="T19" fmla="*/ 56 h 102"/>
                  <a:gd name="T20" fmla="*/ 5 w 291"/>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102">
                    <a:moveTo>
                      <a:pt x="5" y="102"/>
                    </a:moveTo>
                    <a:lnTo>
                      <a:pt x="0" y="102"/>
                    </a:lnTo>
                    <a:lnTo>
                      <a:pt x="0" y="54"/>
                    </a:lnTo>
                    <a:lnTo>
                      <a:pt x="34" y="24"/>
                    </a:lnTo>
                    <a:lnTo>
                      <a:pt x="264" y="24"/>
                    </a:lnTo>
                    <a:lnTo>
                      <a:pt x="285" y="0"/>
                    </a:lnTo>
                    <a:lnTo>
                      <a:pt x="291" y="3"/>
                    </a:lnTo>
                    <a:lnTo>
                      <a:pt x="267" y="30"/>
                    </a:lnTo>
                    <a:lnTo>
                      <a:pt x="37" y="30"/>
                    </a:lnTo>
                    <a:lnTo>
                      <a:pt x="5" y="56"/>
                    </a:lnTo>
                    <a:lnTo>
                      <a:pt x="5"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16" name="Rectangle 4822"/>
              <p:cNvSpPr>
                <a:spLocks noChangeArrowheads="1"/>
              </p:cNvSpPr>
              <p:nvPr/>
            </p:nvSpPr>
            <p:spPr bwMode="auto">
              <a:xfrm>
                <a:off x="-8515350" y="4103665"/>
                <a:ext cx="42865" cy="126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17" name="Freeform 4823"/>
              <p:cNvSpPr/>
              <p:nvPr/>
            </p:nvSpPr>
            <p:spPr bwMode="auto">
              <a:xfrm>
                <a:off x="-8053391" y="3992562"/>
                <a:ext cx="636585" cy="38100"/>
              </a:xfrm>
              <a:custGeom>
                <a:avLst/>
                <a:gdLst>
                  <a:gd name="T0" fmla="*/ 398 w 401"/>
                  <a:gd name="T1" fmla="*/ 24 h 24"/>
                  <a:gd name="T2" fmla="*/ 377 w 401"/>
                  <a:gd name="T3" fmla="*/ 6 h 24"/>
                  <a:gd name="T4" fmla="*/ 0 w 401"/>
                  <a:gd name="T5" fmla="*/ 6 h 24"/>
                  <a:gd name="T6" fmla="*/ 0 w 401"/>
                  <a:gd name="T7" fmla="*/ 0 h 24"/>
                  <a:gd name="T8" fmla="*/ 377 w 401"/>
                  <a:gd name="T9" fmla="*/ 0 h 24"/>
                  <a:gd name="T10" fmla="*/ 401 w 401"/>
                  <a:gd name="T11" fmla="*/ 22 h 24"/>
                  <a:gd name="T12" fmla="*/ 398 w 40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01" h="24">
                    <a:moveTo>
                      <a:pt x="398" y="24"/>
                    </a:moveTo>
                    <a:lnTo>
                      <a:pt x="377" y="6"/>
                    </a:lnTo>
                    <a:lnTo>
                      <a:pt x="0" y="6"/>
                    </a:lnTo>
                    <a:lnTo>
                      <a:pt x="0" y="0"/>
                    </a:lnTo>
                    <a:lnTo>
                      <a:pt x="377" y="0"/>
                    </a:lnTo>
                    <a:lnTo>
                      <a:pt x="401" y="22"/>
                    </a:lnTo>
                    <a:lnTo>
                      <a:pt x="398"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0" tIns="0" rIns="0" bIns="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5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238" name="组合 1237"/>
            <p:cNvGrpSpPr/>
            <p:nvPr/>
          </p:nvGrpSpPr>
          <p:grpSpPr>
            <a:xfrm>
              <a:off x="10611063" y="6397412"/>
              <a:ext cx="925702" cy="345615"/>
              <a:chOff x="3571508" y="5640824"/>
              <a:chExt cx="925702" cy="317404"/>
            </a:xfrm>
          </p:grpSpPr>
          <p:sp>
            <p:nvSpPr>
              <p:cNvPr id="1254" name="矩形 1253"/>
              <p:cNvSpPr/>
              <p:nvPr/>
            </p:nvSpPr>
            <p:spPr>
              <a:xfrm>
                <a:off x="3571508" y="5640824"/>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55" name="矩形 1254"/>
              <p:cNvSpPr/>
              <p:nvPr/>
            </p:nvSpPr>
            <p:spPr>
              <a:xfrm>
                <a:off x="3571508" y="5865316"/>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56" name="矩形 1255"/>
              <p:cNvSpPr/>
              <p:nvPr/>
            </p:nvSpPr>
            <p:spPr>
              <a:xfrm>
                <a:off x="3571508" y="5753070"/>
                <a:ext cx="925702" cy="92912"/>
              </a:xfrm>
              <a:prstGeom prst="rect">
                <a:avLst/>
              </a:prstGeom>
              <a:ln w="12700">
                <a:solidFill>
                  <a:schemeClr val="bg1"/>
                </a:solidFill>
              </a:ln>
            </p:spPr>
            <p:txBody>
              <a:bodyPr wrap="square" lIns="0" tIns="0" rIns="0" bIns="0" anchor="ctr">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700" b="0"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7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grpSp>
        <p:grpSp>
          <p:nvGrpSpPr>
            <p:cNvPr id="1239" name="Group 8199"/>
            <p:cNvGrpSpPr/>
            <p:nvPr/>
          </p:nvGrpSpPr>
          <p:grpSpPr>
            <a:xfrm>
              <a:off x="11374258" y="5860138"/>
              <a:ext cx="122997" cy="122997"/>
              <a:chOff x="-1339187" y="4292667"/>
              <a:chExt cx="652288" cy="652288"/>
            </a:xfrm>
          </p:grpSpPr>
          <p:sp>
            <p:nvSpPr>
              <p:cNvPr id="1250"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1251" name="Group 8198"/>
              <p:cNvGrpSpPr/>
              <p:nvPr/>
            </p:nvGrpSpPr>
            <p:grpSpPr>
              <a:xfrm>
                <a:off x="-1300864" y="4330990"/>
                <a:ext cx="575643" cy="575643"/>
                <a:chOff x="-1649413" y="3355975"/>
                <a:chExt cx="530226" cy="520700"/>
              </a:xfrm>
            </p:grpSpPr>
            <p:sp>
              <p:nvSpPr>
                <p:cNvPr id="1252"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1253"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1240" name="Group 8199"/>
            <p:cNvGrpSpPr/>
            <p:nvPr/>
          </p:nvGrpSpPr>
          <p:grpSpPr>
            <a:xfrm>
              <a:off x="11374258" y="5317527"/>
              <a:ext cx="122997" cy="122997"/>
              <a:chOff x="-1339187" y="4292667"/>
              <a:chExt cx="652288" cy="652288"/>
            </a:xfrm>
          </p:grpSpPr>
          <p:sp>
            <p:nvSpPr>
              <p:cNvPr id="1246"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1247" name="Group 8198"/>
              <p:cNvGrpSpPr/>
              <p:nvPr/>
            </p:nvGrpSpPr>
            <p:grpSpPr>
              <a:xfrm>
                <a:off x="-1300864" y="4330990"/>
                <a:ext cx="575643" cy="575643"/>
                <a:chOff x="-1649413" y="3355975"/>
                <a:chExt cx="530226" cy="520700"/>
              </a:xfrm>
            </p:grpSpPr>
            <p:sp>
              <p:nvSpPr>
                <p:cNvPr id="1248"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1249"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1241" name="Group 8199"/>
            <p:cNvGrpSpPr/>
            <p:nvPr/>
          </p:nvGrpSpPr>
          <p:grpSpPr>
            <a:xfrm>
              <a:off x="11374258" y="5498397"/>
              <a:ext cx="122997" cy="122997"/>
              <a:chOff x="-1339187" y="4292667"/>
              <a:chExt cx="652288" cy="652288"/>
            </a:xfrm>
          </p:grpSpPr>
          <p:sp>
            <p:nvSpPr>
              <p:cNvPr id="1242"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1243" name="Group 8198"/>
              <p:cNvGrpSpPr/>
              <p:nvPr/>
            </p:nvGrpSpPr>
            <p:grpSpPr>
              <a:xfrm>
                <a:off x="-1300864" y="4330990"/>
                <a:ext cx="575643" cy="575643"/>
                <a:chOff x="-1649413" y="3355975"/>
                <a:chExt cx="530226" cy="520700"/>
              </a:xfrm>
            </p:grpSpPr>
            <p:sp>
              <p:nvSpPr>
                <p:cNvPr id="1244"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1245"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1442" name="Group 8199"/>
            <p:cNvGrpSpPr/>
            <p:nvPr/>
          </p:nvGrpSpPr>
          <p:grpSpPr>
            <a:xfrm>
              <a:off x="11374258" y="6050482"/>
              <a:ext cx="122997" cy="122997"/>
              <a:chOff x="-1339187" y="4292667"/>
              <a:chExt cx="652288" cy="652288"/>
            </a:xfrm>
          </p:grpSpPr>
          <p:sp>
            <p:nvSpPr>
              <p:cNvPr id="1443"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1444" name="Group 8198"/>
              <p:cNvGrpSpPr/>
              <p:nvPr/>
            </p:nvGrpSpPr>
            <p:grpSpPr>
              <a:xfrm>
                <a:off x="-1300864" y="4330990"/>
                <a:ext cx="575643" cy="575643"/>
                <a:chOff x="-1649413" y="3355975"/>
                <a:chExt cx="530226" cy="520700"/>
              </a:xfrm>
            </p:grpSpPr>
            <p:sp>
              <p:nvSpPr>
                <p:cNvPr id="1445"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1446"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1447" name="Group 8199"/>
            <p:cNvGrpSpPr/>
            <p:nvPr/>
          </p:nvGrpSpPr>
          <p:grpSpPr>
            <a:xfrm>
              <a:off x="11374258" y="6386384"/>
              <a:ext cx="122997" cy="122997"/>
              <a:chOff x="-1339187" y="4292667"/>
              <a:chExt cx="652288" cy="652288"/>
            </a:xfrm>
          </p:grpSpPr>
          <p:sp>
            <p:nvSpPr>
              <p:cNvPr id="1448"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1449" name="Group 8198"/>
              <p:cNvGrpSpPr/>
              <p:nvPr/>
            </p:nvGrpSpPr>
            <p:grpSpPr>
              <a:xfrm>
                <a:off x="-1300864" y="4330990"/>
                <a:ext cx="575643" cy="575643"/>
                <a:chOff x="-1649413" y="3355975"/>
                <a:chExt cx="530226" cy="520700"/>
              </a:xfrm>
            </p:grpSpPr>
            <p:sp>
              <p:nvSpPr>
                <p:cNvPr id="1450"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1451"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1452" name="Group 8199"/>
            <p:cNvGrpSpPr/>
            <p:nvPr/>
          </p:nvGrpSpPr>
          <p:grpSpPr>
            <a:xfrm>
              <a:off x="11374258" y="6520745"/>
              <a:ext cx="122997" cy="122997"/>
              <a:chOff x="-1339187" y="4292667"/>
              <a:chExt cx="652288" cy="652288"/>
            </a:xfrm>
          </p:grpSpPr>
          <p:sp>
            <p:nvSpPr>
              <p:cNvPr id="1453"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1454" name="Group 8198"/>
              <p:cNvGrpSpPr/>
              <p:nvPr/>
            </p:nvGrpSpPr>
            <p:grpSpPr>
              <a:xfrm>
                <a:off x="-1300864" y="4330990"/>
                <a:ext cx="575643" cy="575643"/>
                <a:chOff x="-1649413" y="3355975"/>
                <a:chExt cx="530226" cy="520700"/>
              </a:xfrm>
            </p:grpSpPr>
            <p:sp>
              <p:nvSpPr>
                <p:cNvPr id="1455"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1456"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nvGrpSpPr>
            <p:cNvPr id="1457" name="Group 8199"/>
            <p:cNvGrpSpPr/>
            <p:nvPr/>
          </p:nvGrpSpPr>
          <p:grpSpPr>
            <a:xfrm>
              <a:off x="11374258" y="6643908"/>
              <a:ext cx="122997" cy="122997"/>
              <a:chOff x="-1339187" y="4292667"/>
              <a:chExt cx="652288" cy="652288"/>
            </a:xfrm>
          </p:grpSpPr>
          <p:sp>
            <p:nvSpPr>
              <p:cNvPr id="1458" name="Oval 205"/>
              <p:cNvSpPr/>
              <p:nvPr/>
            </p:nvSpPr>
            <p:spPr>
              <a:xfrm>
                <a:off x="-1339187" y="4292667"/>
                <a:ext cx="652288" cy="652288"/>
              </a:xfrm>
              <a:prstGeom prst="ellipse">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nvGrpSpPr>
              <p:cNvPr id="1459" name="Group 8198"/>
              <p:cNvGrpSpPr/>
              <p:nvPr/>
            </p:nvGrpSpPr>
            <p:grpSpPr>
              <a:xfrm>
                <a:off x="-1300864" y="4330990"/>
                <a:ext cx="575643" cy="575643"/>
                <a:chOff x="-1649413" y="3355975"/>
                <a:chExt cx="530226" cy="520700"/>
              </a:xfrm>
            </p:grpSpPr>
            <p:sp>
              <p:nvSpPr>
                <p:cNvPr id="1460" name="Freeform 224"/>
                <p:cNvSpPr/>
                <p:nvPr/>
              </p:nvSpPr>
              <p:spPr bwMode="auto">
                <a:xfrm>
                  <a:off x="-1539875" y="3473450"/>
                  <a:ext cx="390525" cy="282575"/>
                </a:xfrm>
                <a:custGeom>
                  <a:avLst/>
                  <a:gdLst>
                    <a:gd name="T0" fmla="*/ 105 w 317"/>
                    <a:gd name="T1" fmla="*/ 229 h 229"/>
                    <a:gd name="T2" fmla="*/ 91 w 317"/>
                    <a:gd name="T3" fmla="*/ 223 h 229"/>
                    <a:gd name="T4" fmla="*/ 8 w 317"/>
                    <a:gd name="T5" fmla="*/ 141 h 229"/>
                    <a:gd name="T6" fmla="*/ 8 w 317"/>
                    <a:gd name="T7" fmla="*/ 113 h 229"/>
                    <a:gd name="T8" fmla="*/ 36 w 317"/>
                    <a:gd name="T9" fmla="*/ 113 h 229"/>
                    <a:gd name="T10" fmla="*/ 105 w 317"/>
                    <a:gd name="T11" fmla="*/ 180 h 229"/>
                    <a:gd name="T12" fmla="*/ 281 w 317"/>
                    <a:gd name="T13" fmla="*/ 8 h 229"/>
                    <a:gd name="T14" fmla="*/ 309 w 317"/>
                    <a:gd name="T15" fmla="*/ 8 h 229"/>
                    <a:gd name="T16" fmla="*/ 309 w 317"/>
                    <a:gd name="T17" fmla="*/ 36 h 229"/>
                    <a:gd name="T18" fmla="*/ 119 w 317"/>
                    <a:gd name="T19" fmla="*/ 223 h 229"/>
                    <a:gd name="T20" fmla="*/ 105 w 317"/>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7" h="229">
                      <a:moveTo>
                        <a:pt x="105" y="229"/>
                      </a:moveTo>
                      <a:cubicBezTo>
                        <a:pt x="100" y="229"/>
                        <a:pt x="95" y="226"/>
                        <a:pt x="91" y="223"/>
                      </a:cubicBezTo>
                      <a:cubicBezTo>
                        <a:pt x="8" y="141"/>
                        <a:pt x="8" y="141"/>
                        <a:pt x="8" y="141"/>
                      </a:cubicBezTo>
                      <a:cubicBezTo>
                        <a:pt x="0" y="133"/>
                        <a:pt x="0" y="121"/>
                        <a:pt x="8" y="113"/>
                      </a:cubicBezTo>
                      <a:cubicBezTo>
                        <a:pt x="16" y="105"/>
                        <a:pt x="29" y="105"/>
                        <a:pt x="36" y="113"/>
                      </a:cubicBezTo>
                      <a:cubicBezTo>
                        <a:pt x="105" y="180"/>
                        <a:pt x="105" y="180"/>
                        <a:pt x="105" y="180"/>
                      </a:cubicBezTo>
                      <a:cubicBezTo>
                        <a:pt x="281" y="8"/>
                        <a:pt x="281" y="8"/>
                        <a:pt x="281" y="8"/>
                      </a:cubicBezTo>
                      <a:cubicBezTo>
                        <a:pt x="288" y="0"/>
                        <a:pt x="301" y="0"/>
                        <a:pt x="309" y="8"/>
                      </a:cubicBezTo>
                      <a:cubicBezTo>
                        <a:pt x="317" y="15"/>
                        <a:pt x="317" y="28"/>
                        <a:pt x="309" y="36"/>
                      </a:cubicBezTo>
                      <a:cubicBezTo>
                        <a:pt x="119" y="223"/>
                        <a:pt x="119" y="223"/>
                        <a:pt x="119" y="223"/>
                      </a:cubicBezTo>
                      <a:cubicBezTo>
                        <a:pt x="115" y="226"/>
                        <a:pt x="110" y="229"/>
                        <a:pt x="105" y="229"/>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sp>
              <p:nvSpPr>
                <p:cNvPr id="1461" name="Freeform 225"/>
                <p:cNvSpPr/>
                <p:nvPr/>
              </p:nvSpPr>
              <p:spPr bwMode="auto">
                <a:xfrm>
                  <a:off x="-1649413" y="3355975"/>
                  <a:ext cx="530226" cy="520700"/>
                </a:xfrm>
                <a:custGeom>
                  <a:avLst/>
                  <a:gdLst>
                    <a:gd name="T0" fmla="*/ 215 w 430"/>
                    <a:gd name="T1" fmla="*/ 423 h 423"/>
                    <a:gd name="T2" fmla="*/ 0 w 430"/>
                    <a:gd name="T3" fmla="*/ 211 h 423"/>
                    <a:gd name="T4" fmla="*/ 215 w 430"/>
                    <a:gd name="T5" fmla="*/ 0 h 423"/>
                    <a:gd name="T6" fmla="*/ 334 w 430"/>
                    <a:gd name="T7" fmla="*/ 35 h 423"/>
                    <a:gd name="T8" fmla="*/ 338 w 430"/>
                    <a:gd name="T9" fmla="*/ 56 h 423"/>
                    <a:gd name="T10" fmla="*/ 317 w 430"/>
                    <a:gd name="T11" fmla="*/ 60 h 423"/>
                    <a:gd name="T12" fmla="*/ 215 w 430"/>
                    <a:gd name="T13" fmla="*/ 30 h 423"/>
                    <a:gd name="T14" fmla="*/ 31 w 430"/>
                    <a:gd name="T15" fmla="*/ 211 h 423"/>
                    <a:gd name="T16" fmla="*/ 215 w 430"/>
                    <a:gd name="T17" fmla="*/ 393 h 423"/>
                    <a:gd name="T18" fmla="*/ 400 w 430"/>
                    <a:gd name="T19" fmla="*/ 211 h 423"/>
                    <a:gd name="T20" fmla="*/ 399 w 430"/>
                    <a:gd name="T21" fmla="*/ 192 h 423"/>
                    <a:gd name="T22" fmla="*/ 413 w 430"/>
                    <a:gd name="T23" fmla="*/ 176 h 423"/>
                    <a:gd name="T24" fmla="*/ 429 w 430"/>
                    <a:gd name="T25" fmla="*/ 189 h 423"/>
                    <a:gd name="T26" fmla="*/ 430 w 430"/>
                    <a:gd name="T27" fmla="*/ 211 h 423"/>
                    <a:gd name="T28" fmla="*/ 215 w 430"/>
                    <a:gd name="T29"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0" h="423">
                      <a:moveTo>
                        <a:pt x="215" y="423"/>
                      </a:moveTo>
                      <a:cubicBezTo>
                        <a:pt x="97" y="423"/>
                        <a:pt x="0" y="328"/>
                        <a:pt x="0" y="211"/>
                      </a:cubicBezTo>
                      <a:cubicBezTo>
                        <a:pt x="0" y="95"/>
                        <a:pt x="97" y="0"/>
                        <a:pt x="215" y="0"/>
                      </a:cubicBezTo>
                      <a:cubicBezTo>
                        <a:pt x="258" y="0"/>
                        <a:pt x="299" y="12"/>
                        <a:pt x="334" y="35"/>
                      </a:cubicBezTo>
                      <a:cubicBezTo>
                        <a:pt x="341" y="40"/>
                        <a:pt x="343" y="48"/>
                        <a:pt x="338" y="56"/>
                      </a:cubicBezTo>
                      <a:cubicBezTo>
                        <a:pt x="334" y="63"/>
                        <a:pt x="324" y="64"/>
                        <a:pt x="317" y="60"/>
                      </a:cubicBezTo>
                      <a:cubicBezTo>
                        <a:pt x="287" y="41"/>
                        <a:pt x="251" y="30"/>
                        <a:pt x="215" y="30"/>
                      </a:cubicBezTo>
                      <a:cubicBezTo>
                        <a:pt x="114" y="30"/>
                        <a:pt x="31" y="111"/>
                        <a:pt x="31" y="211"/>
                      </a:cubicBezTo>
                      <a:cubicBezTo>
                        <a:pt x="31" y="311"/>
                        <a:pt x="114" y="393"/>
                        <a:pt x="215" y="393"/>
                      </a:cubicBezTo>
                      <a:cubicBezTo>
                        <a:pt x="317" y="393"/>
                        <a:pt x="400" y="311"/>
                        <a:pt x="400" y="211"/>
                      </a:cubicBezTo>
                      <a:cubicBezTo>
                        <a:pt x="400" y="205"/>
                        <a:pt x="399" y="199"/>
                        <a:pt x="399" y="192"/>
                      </a:cubicBezTo>
                      <a:cubicBezTo>
                        <a:pt x="398" y="184"/>
                        <a:pt x="404" y="177"/>
                        <a:pt x="413" y="176"/>
                      </a:cubicBezTo>
                      <a:cubicBezTo>
                        <a:pt x="421" y="175"/>
                        <a:pt x="428" y="181"/>
                        <a:pt x="429" y="189"/>
                      </a:cubicBezTo>
                      <a:cubicBezTo>
                        <a:pt x="430" y="197"/>
                        <a:pt x="430" y="204"/>
                        <a:pt x="430" y="211"/>
                      </a:cubicBezTo>
                      <a:cubicBezTo>
                        <a:pt x="430" y="328"/>
                        <a:pt x="334" y="423"/>
                        <a:pt x="215" y="423"/>
                      </a:cubicBezTo>
                      <a:close/>
                    </a:path>
                  </a:pathLst>
                </a:custGeom>
                <a:solidFill>
                  <a:schemeClr val="accent1">
                    <a:lumMod val="75000"/>
                  </a:schemeClr>
                </a:solid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srgbClr val="000000"/>
                    </a:solidFill>
                    <a:effectLst/>
                    <a:uLnTx/>
                    <a:uFillTx/>
                    <a:latin typeface="Arial" panose="020B0604020202020204" pitchFamily="34" charset="0"/>
                    <a:ea typeface="华文楷体" panose="02010600040101010101" charset="-122"/>
                    <a:cs typeface="Arial" panose="020B0604020202020204" pitchFamily="34" charset="0"/>
                  </a:endParaRPr>
                </a:p>
              </p:txBody>
            </p:sp>
          </p:grpSp>
        </p:grpSp>
      </p:grpSp>
      <p:sp>
        <p:nvSpPr>
          <p:cNvPr id="1463" name="任意多边形 1462"/>
          <p:cNvSpPr/>
          <p:nvPr/>
        </p:nvSpPr>
        <p:spPr>
          <a:xfrm>
            <a:off x="8562109" y="3803072"/>
            <a:ext cx="426027" cy="45719"/>
          </a:xfrm>
          <a:custGeom>
            <a:avLst/>
            <a:gdLst>
              <a:gd name="connsiteX0" fmla="*/ 0 w 914400"/>
              <a:gd name="connsiteY0" fmla="*/ 0 h 0"/>
              <a:gd name="connsiteX1" fmla="*/ 914400 w 914400"/>
              <a:gd name="connsiteY1" fmla="*/ 0 h 0"/>
            </a:gdLst>
            <a:ahLst/>
            <a:cxnLst>
              <a:cxn ang="0">
                <a:pos x="connsiteX0" y="connsiteY0"/>
              </a:cxn>
              <a:cxn ang="0">
                <a:pos x="connsiteX1" y="connsiteY1"/>
              </a:cxn>
            </a:cxnLst>
            <a:rect l="l" t="t" r="r" b="b"/>
            <a:pathLst>
              <a:path w="914400">
                <a:moveTo>
                  <a:pt x="0" y="0"/>
                </a:moveTo>
                <a:lnTo>
                  <a:pt x="914400" y="0"/>
                </a:lnTo>
              </a:path>
            </a:pathLst>
          </a:custGeom>
          <a:noFill/>
          <a:ln w="19050" cap="rnd" cmpd="sng" algn="ctr">
            <a:solidFill>
              <a:schemeClr val="accent1">
                <a:lumMod val="75000"/>
              </a:schemeClr>
            </a:solidFill>
            <a:prstDash val="solid"/>
            <a:round/>
            <a:headEnd type="oval"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28" name="任意多边形 27"/>
          <p:cNvSpPr/>
          <p:nvPr/>
        </p:nvSpPr>
        <p:spPr>
          <a:xfrm flipH="1">
            <a:off x="5631873" y="2712028"/>
            <a:ext cx="426027" cy="623455"/>
          </a:xfrm>
          <a:custGeom>
            <a:avLst/>
            <a:gdLst>
              <a:gd name="connsiteX0" fmla="*/ 426027 w 426027"/>
              <a:gd name="connsiteY0" fmla="*/ 623455 h 623455"/>
              <a:gd name="connsiteX1" fmla="*/ 426027 w 426027"/>
              <a:gd name="connsiteY1" fmla="*/ 0 h 623455"/>
              <a:gd name="connsiteX2" fmla="*/ 0 w 426027"/>
              <a:gd name="connsiteY2" fmla="*/ 0 h 623455"/>
            </a:gdLst>
            <a:ahLst/>
            <a:cxnLst>
              <a:cxn ang="0">
                <a:pos x="connsiteX0" y="connsiteY0"/>
              </a:cxn>
              <a:cxn ang="0">
                <a:pos x="connsiteX1" y="connsiteY1"/>
              </a:cxn>
              <a:cxn ang="0">
                <a:pos x="connsiteX2" y="connsiteY2"/>
              </a:cxn>
            </a:cxnLst>
            <a:rect l="l" t="t" r="r" b="b"/>
            <a:pathLst>
              <a:path w="426027" h="623455">
                <a:moveTo>
                  <a:pt x="426027" y="623455"/>
                </a:moveTo>
                <a:lnTo>
                  <a:pt x="426027" y="0"/>
                </a:lnTo>
                <a:lnTo>
                  <a:pt x="0" y="0"/>
                </a:lnTo>
              </a:path>
            </a:pathLst>
          </a:custGeom>
          <a:noFill/>
          <a:ln w="19050" cap="rnd" cmpd="sng" algn="ctr">
            <a:solidFill>
              <a:schemeClr val="accent1">
                <a:lumMod val="75000"/>
              </a:schemeClr>
            </a:solidFill>
            <a:prstDash val="solid"/>
            <a:round/>
            <a:headEnd type="oval"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146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工作分析</a:t>
            </a:r>
            <a:endParaRPr lang="zh-CN" altLang="en-US" sz="2400" dirty="0">
              <a:solidFill>
                <a:prstClr val="black"/>
              </a:solidFill>
              <a:latin typeface="华文楷体" panose="02010600040101010101" charset="-122"/>
            </a:endParaRPr>
          </a:p>
        </p:txBody>
      </p:sp>
      <p:pic>
        <p:nvPicPr>
          <p:cNvPr id="1467" name="图片 14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对象 15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930" name="think-cell Slide" r:id="rId2" imgW="12700" imgH="12700" progId="TCLayout.ActiveDocument.1">
                  <p:embed/>
                </p:oleObj>
              </mc:Choice>
              <mc:Fallback>
                <p:oleObj name="think-cell Slide" r:id="rId2" imgW="12700" imgH="12700" progId="TCLayout.ActiveDocument.1">
                  <p:embed/>
                  <p:pic>
                    <p:nvPicPr>
                      <p:cNvPr id="0" name="对象 153"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19" name="矩形 18"/>
          <p:cNvSpPr/>
          <p:nvPr/>
        </p:nvSpPr>
        <p:spPr>
          <a:xfrm>
            <a:off x="3788228" y="1158211"/>
            <a:ext cx="8098971" cy="4949368"/>
          </a:xfrm>
          <a:prstGeom prst="rect">
            <a:avLst/>
          </a:prstGeom>
          <a:solidFill>
            <a:schemeClr val="bg1"/>
          </a:solidFill>
          <a:ln w="19050" cap="rnd" cmpd="sng" algn="ctr">
            <a:solidFill>
              <a:schemeClr val="bg1">
                <a:lumMod val="7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b"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203" name="矩形 202"/>
          <p:cNvSpPr/>
          <p:nvPr/>
        </p:nvSpPr>
        <p:spPr>
          <a:xfrm>
            <a:off x="288993" y="1158211"/>
            <a:ext cx="1052080" cy="2410133"/>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36000" numCol="1" spcCol="0" rtlCol="0" fromWordArt="0" anchor="t" anchorCtr="0" forceAA="0" compatLnSpc="1">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5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5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18" name="矩形 117"/>
          <p:cNvSpPr/>
          <p:nvPr/>
        </p:nvSpPr>
        <p:spPr>
          <a:xfrm>
            <a:off x="1446611" y="1158211"/>
            <a:ext cx="1052080" cy="2410133"/>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36000" numCol="1" spcCol="0" rtlCol="0" fromWordArt="0" anchor="t" anchorCtr="0" forceAA="0" compatLnSpc="1">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5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5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0" name="矩形 119"/>
          <p:cNvSpPr/>
          <p:nvPr/>
        </p:nvSpPr>
        <p:spPr>
          <a:xfrm>
            <a:off x="288993" y="3697446"/>
            <a:ext cx="1052080" cy="2410133"/>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36000" numCol="1" spcCol="0" rtlCol="0" fromWordArt="0" anchor="t" anchorCtr="0" forceAA="0" compatLnSpc="1">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5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5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1" name="矩形 120"/>
          <p:cNvSpPr/>
          <p:nvPr/>
        </p:nvSpPr>
        <p:spPr>
          <a:xfrm>
            <a:off x="1446611" y="3697446"/>
            <a:ext cx="1052080" cy="2410133"/>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36000" numCol="1" spcCol="0" rtlCol="0" fromWordArt="0" anchor="t" anchorCtr="0" forceAA="0" compatLnSpc="1">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5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5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19" name="矩形 118"/>
          <p:cNvSpPr/>
          <p:nvPr/>
        </p:nvSpPr>
        <p:spPr>
          <a:xfrm>
            <a:off x="2604228" y="1158211"/>
            <a:ext cx="1052080" cy="2410133"/>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36000" numCol="1" spcCol="0" rtlCol="0" fromWordArt="0" anchor="t" anchorCtr="0" forceAA="0" compatLnSpc="1">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5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5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122" name="矩形 121"/>
          <p:cNvSpPr/>
          <p:nvPr/>
        </p:nvSpPr>
        <p:spPr>
          <a:xfrm>
            <a:off x="2604228" y="3697446"/>
            <a:ext cx="1052080" cy="2410133"/>
          </a:xfrm>
          <a:prstGeom prst="rect">
            <a:avLst/>
          </a:prstGeom>
          <a:solidFill>
            <a:schemeClr val="bg1">
              <a:lumMod val="95000"/>
            </a:schemeClr>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36000" numCol="1" spcCol="0" rtlCol="0" fromWordArt="0" anchor="t" anchorCtr="0" forceAA="0" compatLnSpc="1">
            <a:noAutofit/>
          </a:bodyPr>
          <a:lstStyle/>
          <a:p>
            <a:pPr marL="0" marR="0" lvl="0" indent="0" algn="l" defTabSz="914400" rtl="0" eaLnBrk="1" fontAlgn="auto" latinLnBrk="0" hangingPunct="1">
              <a:lnSpc>
                <a:spcPct val="100000"/>
              </a:lnSpc>
              <a:spcBef>
                <a:spcPts val="300"/>
              </a:spcBef>
              <a:spcAft>
                <a:spcPts val="0"/>
              </a:spcAft>
              <a:buClrTx/>
              <a:buSzTx/>
              <a:buFontTx/>
              <a:buNone/>
              <a:defRPr/>
            </a:pPr>
            <a:r>
              <a:rPr kumimoji="0" lang="en-US" altLang="zh-CN" sz="1500" b="1" i="0" u="none" strike="noStrike" kern="0" cap="none" spc="0" normalizeH="0" baseline="0" noProof="0" dirty="0" smtClean="0">
                <a:ln>
                  <a:noFill/>
                </a:ln>
                <a:solidFill>
                  <a:sysClr val="windowText" lastClr="000000"/>
                </a:solidFill>
                <a:effectLst/>
                <a:uLnTx/>
                <a:uFillTx/>
                <a:latin typeface="Arial" panose="020B0604020202020204"/>
                <a:ea typeface="华文楷体" panose="02010600040101010101" charset="-122"/>
                <a:cs typeface="+mn-ea"/>
                <a:sym typeface="+mn-lt"/>
              </a:rPr>
              <a:t>XXX</a:t>
            </a:r>
            <a:endParaRPr kumimoji="0" lang="zh-CN" altLang="en-US" sz="1500" b="0"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3" name="矩形 2"/>
          <p:cNvSpPr/>
          <p:nvPr/>
        </p:nvSpPr>
        <p:spPr>
          <a:xfrm>
            <a:off x="288529" y="863993"/>
            <a:ext cx="1154162" cy="2769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rPr>
              <a:t>字段列表：</a:t>
            </a:r>
            <a:endParaRPr kumimoji="0" lang="en-US" altLang="zh-CN" sz="1800" b="1" i="0" u="none" strike="noStrike" kern="0" cap="none" spc="0" normalizeH="0" baseline="0" noProof="0" dirty="0">
              <a:ln>
                <a:noFill/>
              </a:ln>
              <a:solidFill>
                <a:sysClr val="windowText" lastClr="000000"/>
              </a:solidFill>
              <a:effectLst/>
              <a:uLnTx/>
              <a:uFillTx/>
              <a:latin typeface="Arial" panose="020B0604020202020204"/>
              <a:ea typeface="华文楷体" panose="02010600040101010101" charset="-122"/>
              <a:cs typeface="+mn-ea"/>
              <a:sym typeface="+mn-lt"/>
            </a:endParaRPr>
          </a:p>
        </p:txBody>
      </p:sp>
      <p:sp>
        <p:nvSpPr>
          <p:cNvPr id="8" name="矩形 7"/>
          <p:cNvSpPr/>
          <p:nvPr/>
        </p:nvSpPr>
        <p:spPr>
          <a:xfrm>
            <a:off x="2869011" y="3060344"/>
            <a:ext cx="522514" cy="508000"/>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3600" b="1" i="0" u="none" strike="noStrike" kern="0" cap="none" spc="0" normalizeH="0" baseline="0" noProof="0" dirty="0" smtClean="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rPr>
              <a:t>3</a:t>
            </a:r>
            <a:endParaRPr kumimoji="0" lang="zh-CN" altLang="en-US" sz="3600" b="1"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endParaRPr>
          </a:p>
        </p:txBody>
      </p:sp>
      <p:sp>
        <p:nvSpPr>
          <p:cNvPr id="129" name="矩形 128"/>
          <p:cNvSpPr/>
          <p:nvPr/>
        </p:nvSpPr>
        <p:spPr>
          <a:xfrm>
            <a:off x="1711394" y="3060344"/>
            <a:ext cx="522514" cy="508000"/>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3600" b="1" i="0" u="none" strike="noStrike" kern="0" cap="none" spc="0" normalizeH="0" baseline="0" noProof="0" dirty="0" smtClean="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rPr>
              <a:t>2</a:t>
            </a:r>
            <a:endParaRPr kumimoji="0" lang="zh-CN" altLang="en-US" sz="3600" b="1"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endParaRPr>
          </a:p>
        </p:txBody>
      </p:sp>
      <p:sp>
        <p:nvSpPr>
          <p:cNvPr id="130" name="矩形 129"/>
          <p:cNvSpPr/>
          <p:nvPr/>
        </p:nvSpPr>
        <p:spPr>
          <a:xfrm>
            <a:off x="553776" y="3060344"/>
            <a:ext cx="522514" cy="508000"/>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3600" b="1" i="0" u="none" strike="noStrike" kern="0" cap="none" spc="0" normalizeH="0" baseline="0" noProof="0" dirty="0" smtClean="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rPr>
              <a:t>1</a:t>
            </a:r>
            <a:endParaRPr kumimoji="0" lang="zh-CN" altLang="en-US" sz="3600" b="1"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endParaRPr>
          </a:p>
        </p:txBody>
      </p:sp>
      <p:sp>
        <p:nvSpPr>
          <p:cNvPr id="131" name="矩形 130"/>
          <p:cNvSpPr/>
          <p:nvPr/>
        </p:nvSpPr>
        <p:spPr>
          <a:xfrm>
            <a:off x="2869011" y="5599579"/>
            <a:ext cx="522514" cy="508000"/>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3600" b="1" i="0" u="none" strike="noStrike" kern="0" cap="none" spc="0" normalizeH="0" baseline="0" noProof="0" dirty="0" smtClean="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rPr>
              <a:t>6</a:t>
            </a:r>
            <a:endParaRPr kumimoji="0" lang="zh-CN" altLang="en-US" sz="3600" b="1"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endParaRPr>
          </a:p>
        </p:txBody>
      </p:sp>
      <p:sp>
        <p:nvSpPr>
          <p:cNvPr id="132" name="矩形 131"/>
          <p:cNvSpPr/>
          <p:nvPr/>
        </p:nvSpPr>
        <p:spPr>
          <a:xfrm>
            <a:off x="1711394" y="5599579"/>
            <a:ext cx="522514" cy="508000"/>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3600" b="1" i="0" u="none" strike="noStrike" kern="0" cap="none" spc="0" normalizeH="0" baseline="0" noProof="0" dirty="0" smtClean="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rPr>
              <a:t>5</a:t>
            </a:r>
            <a:endParaRPr kumimoji="0" lang="zh-CN" altLang="en-US" sz="3600" b="1"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endParaRPr>
          </a:p>
        </p:txBody>
      </p:sp>
      <p:sp>
        <p:nvSpPr>
          <p:cNvPr id="133" name="矩形 132"/>
          <p:cNvSpPr/>
          <p:nvPr/>
        </p:nvSpPr>
        <p:spPr>
          <a:xfrm>
            <a:off x="553776" y="5599579"/>
            <a:ext cx="522514" cy="508000"/>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3600" b="1" i="0" u="none" strike="noStrike" kern="0" cap="none" spc="0" normalizeH="0" baseline="0" noProof="0" dirty="0" smtClean="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rPr>
              <a:t>4</a:t>
            </a:r>
            <a:endParaRPr kumimoji="0" lang="zh-CN" altLang="en-US" sz="3600" b="1"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endParaRPr>
          </a:p>
        </p:txBody>
      </p:sp>
      <p:sp>
        <p:nvSpPr>
          <p:cNvPr id="64" name="文本框 63"/>
          <p:cNvSpPr txBox="1"/>
          <p:nvPr/>
        </p:nvSpPr>
        <p:spPr>
          <a:xfrm>
            <a:off x="10199919" y="5317091"/>
            <a:ext cx="1129580" cy="1920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66" name="文本框 65"/>
          <p:cNvSpPr txBox="1"/>
          <p:nvPr/>
        </p:nvSpPr>
        <p:spPr>
          <a:xfrm>
            <a:off x="9093347" y="2382853"/>
            <a:ext cx="733922" cy="2314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rPr>
              <a:t>XX</a:t>
            </a:r>
            <a:endPar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endParaRPr>
          </a:p>
        </p:txBody>
      </p:sp>
      <p:sp>
        <p:nvSpPr>
          <p:cNvPr id="67" name="文本框 66"/>
          <p:cNvSpPr txBox="1"/>
          <p:nvPr/>
        </p:nvSpPr>
        <p:spPr>
          <a:xfrm>
            <a:off x="11272272" y="3809970"/>
            <a:ext cx="440757" cy="2484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rPr>
              <a:t>XX</a:t>
            </a:r>
            <a:endPar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endParaRPr>
          </a:p>
        </p:txBody>
      </p:sp>
      <p:sp>
        <p:nvSpPr>
          <p:cNvPr id="68" name="文本框 67"/>
          <p:cNvSpPr txBox="1"/>
          <p:nvPr/>
        </p:nvSpPr>
        <p:spPr>
          <a:xfrm>
            <a:off x="9093347" y="3875132"/>
            <a:ext cx="733922" cy="274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rPr>
              <a:t>XXX</a:t>
            </a:r>
            <a:endParaRPr kumimoji="0" lang="zh-CN" altLang="en-US" sz="1600" b="1" i="0" u="none" strike="noStrike" kern="1200" cap="none" spc="0" normalizeH="0" baseline="0" noProof="0" dirty="0" err="1" smtClean="0">
              <a:ln>
                <a:noFill/>
              </a:ln>
              <a:solidFill>
                <a:srgbClr val="FE8637">
                  <a:lumMod val="75000"/>
                </a:srgbClr>
              </a:solidFill>
              <a:effectLst/>
              <a:uLnTx/>
              <a:uFillTx/>
              <a:latin typeface="Arial" panose="020B0604020202020204" pitchFamily="34" charset="0"/>
              <a:ea typeface="华文楷体" panose="02010600040101010101" charset="-122"/>
              <a:cs typeface="+mn-cs"/>
            </a:endParaRPr>
          </a:p>
        </p:txBody>
      </p:sp>
      <p:sp>
        <p:nvSpPr>
          <p:cNvPr id="70" name="market-store_79976"/>
          <p:cNvSpPr>
            <a:spLocks noChangeAspect="1"/>
          </p:cNvSpPr>
          <p:nvPr/>
        </p:nvSpPr>
        <p:spPr bwMode="auto">
          <a:xfrm>
            <a:off x="9129235" y="1828801"/>
            <a:ext cx="637413" cy="542614"/>
          </a:xfrm>
          <a:custGeom>
            <a:avLst/>
            <a:gdLst>
              <a:gd name="connsiteX0" fmla="*/ 291485 w 582977"/>
              <a:gd name="connsiteY0" fmla="*/ 247403 h 607851"/>
              <a:gd name="connsiteX1" fmla="*/ 330402 w 582977"/>
              <a:gd name="connsiteY1" fmla="*/ 291895 h 607851"/>
              <a:gd name="connsiteX2" fmla="*/ 291485 w 582977"/>
              <a:gd name="connsiteY2" fmla="*/ 336387 h 607851"/>
              <a:gd name="connsiteX3" fmla="*/ 252568 w 582977"/>
              <a:gd name="connsiteY3" fmla="*/ 291895 h 607851"/>
              <a:gd name="connsiteX4" fmla="*/ 291485 w 582977"/>
              <a:gd name="connsiteY4" fmla="*/ 247403 h 607851"/>
              <a:gd name="connsiteX5" fmla="*/ 83197 w 582977"/>
              <a:gd name="connsiteY5" fmla="*/ 232372 h 607851"/>
              <a:gd name="connsiteX6" fmla="*/ 110705 w 582977"/>
              <a:gd name="connsiteY6" fmla="*/ 244223 h 607851"/>
              <a:gd name="connsiteX7" fmla="*/ 124930 w 582977"/>
              <a:gd name="connsiteY7" fmla="*/ 245634 h 607851"/>
              <a:gd name="connsiteX8" fmla="*/ 134256 w 582977"/>
              <a:gd name="connsiteY8" fmla="*/ 244882 h 607851"/>
              <a:gd name="connsiteX9" fmla="*/ 134256 w 582977"/>
              <a:gd name="connsiteY9" fmla="*/ 470809 h 607851"/>
              <a:gd name="connsiteX10" fmla="*/ 157619 w 582977"/>
              <a:gd name="connsiteY10" fmla="*/ 494229 h 607851"/>
              <a:gd name="connsiteX11" fmla="*/ 241839 w 582977"/>
              <a:gd name="connsiteY11" fmla="*/ 494229 h 607851"/>
              <a:gd name="connsiteX12" fmla="*/ 241839 w 582977"/>
              <a:gd name="connsiteY12" fmla="*/ 429894 h 607851"/>
              <a:gd name="connsiteX13" fmla="*/ 212070 w 582977"/>
              <a:gd name="connsiteY13" fmla="*/ 479556 h 607851"/>
              <a:gd name="connsiteX14" fmla="*/ 195961 w 582977"/>
              <a:gd name="connsiteY14" fmla="*/ 488680 h 607851"/>
              <a:gd name="connsiteX15" fmla="*/ 186352 w 582977"/>
              <a:gd name="connsiteY15" fmla="*/ 485952 h 607851"/>
              <a:gd name="connsiteX16" fmla="*/ 179946 w 582977"/>
              <a:gd name="connsiteY16" fmla="*/ 460368 h 607851"/>
              <a:gd name="connsiteX17" fmla="*/ 239578 w 582977"/>
              <a:gd name="connsiteY17" fmla="*/ 361137 h 607851"/>
              <a:gd name="connsiteX18" fmla="*/ 256911 w 582977"/>
              <a:gd name="connsiteY18" fmla="*/ 352296 h 607851"/>
              <a:gd name="connsiteX19" fmla="*/ 326341 w 582977"/>
              <a:gd name="connsiteY19" fmla="*/ 352296 h 607851"/>
              <a:gd name="connsiteX20" fmla="*/ 343392 w 582977"/>
              <a:gd name="connsiteY20" fmla="*/ 361137 h 607851"/>
              <a:gd name="connsiteX21" fmla="*/ 403024 w 582977"/>
              <a:gd name="connsiteY21" fmla="*/ 460368 h 607851"/>
              <a:gd name="connsiteX22" fmla="*/ 396618 w 582977"/>
              <a:gd name="connsiteY22" fmla="*/ 485952 h 607851"/>
              <a:gd name="connsiteX23" fmla="*/ 387009 w 582977"/>
              <a:gd name="connsiteY23" fmla="*/ 488680 h 607851"/>
              <a:gd name="connsiteX24" fmla="*/ 370900 w 582977"/>
              <a:gd name="connsiteY24" fmla="*/ 479556 h 607851"/>
              <a:gd name="connsiteX25" fmla="*/ 341319 w 582977"/>
              <a:gd name="connsiteY25" fmla="*/ 430176 h 607851"/>
              <a:gd name="connsiteX26" fmla="*/ 341319 w 582977"/>
              <a:gd name="connsiteY26" fmla="*/ 494229 h 607851"/>
              <a:gd name="connsiteX27" fmla="*/ 425350 w 582977"/>
              <a:gd name="connsiteY27" fmla="*/ 494229 h 607851"/>
              <a:gd name="connsiteX28" fmla="*/ 448713 w 582977"/>
              <a:gd name="connsiteY28" fmla="*/ 470809 h 607851"/>
              <a:gd name="connsiteX29" fmla="*/ 448713 w 582977"/>
              <a:gd name="connsiteY29" fmla="*/ 244882 h 607851"/>
              <a:gd name="connsiteX30" fmla="*/ 458039 w 582977"/>
              <a:gd name="connsiteY30" fmla="*/ 245634 h 607851"/>
              <a:gd name="connsiteX31" fmla="*/ 472264 w 582977"/>
              <a:gd name="connsiteY31" fmla="*/ 244223 h 607851"/>
              <a:gd name="connsiteX32" fmla="*/ 499772 w 582977"/>
              <a:gd name="connsiteY32" fmla="*/ 232372 h 607851"/>
              <a:gd name="connsiteX33" fmla="*/ 541317 w 582977"/>
              <a:gd name="connsiteY33" fmla="*/ 245634 h 607851"/>
              <a:gd name="connsiteX34" fmla="*/ 541317 w 582977"/>
              <a:gd name="connsiteY34" fmla="*/ 549347 h 607851"/>
              <a:gd name="connsiteX35" fmla="*/ 553657 w 582977"/>
              <a:gd name="connsiteY35" fmla="*/ 549347 h 607851"/>
              <a:gd name="connsiteX36" fmla="*/ 582955 w 582977"/>
              <a:gd name="connsiteY36" fmla="*/ 578599 h 607851"/>
              <a:gd name="connsiteX37" fmla="*/ 553657 w 582977"/>
              <a:gd name="connsiteY37" fmla="*/ 607851 h 607851"/>
              <a:gd name="connsiteX38" fmla="*/ 29312 w 582977"/>
              <a:gd name="connsiteY38" fmla="*/ 607851 h 607851"/>
              <a:gd name="connsiteX39" fmla="*/ 14 w 582977"/>
              <a:gd name="connsiteY39" fmla="*/ 578599 h 607851"/>
              <a:gd name="connsiteX40" fmla="*/ 29312 w 582977"/>
              <a:gd name="connsiteY40" fmla="*/ 549347 h 607851"/>
              <a:gd name="connsiteX41" fmla="*/ 41653 w 582977"/>
              <a:gd name="connsiteY41" fmla="*/ 549347 h 607851"/>
              <a:gd name="connsiteX42" fmla="*/ 41653 w 582977"/>
              <a:gd name="connsiteY42" fmla="*/ 245634 h 607851"/>
              <a:gd name="connsiteX43" fmla="*/ 83197 w 582977"/>
              <a:gd name="connsiteY43" fmla="*/ 232372 h 607851"/>
              <a:gd name="connsiteX44" fmla="*/ 86782 w 582977"/>
              <a:gd name="connsiteY44" fmla="*/ 0 h 607851"/>
              <a:gd name="connsiteX45" fmla="*/ 496189 w 582977"/>
              <a:gd name="connsiteY45" fmla="*/ 0 h 607851"/>
              <a:gd name="connsiteX46" fmla="*/ 543667 w 582977"/>
              <a:gd name="connsiteY46" fmla="*/ 35275 h 607851"/>
              <a:gd name="connsiteX47" fmla="*/ 581254 w 582977"/>
              <a:gd name="connsiteY47" fmla="*/ 160948 h 607851"/>
              <a:gd name="connsiteX48" fmla="*/ 553276 w 582977"/>
              <a:gd name="connsiteY48" fmla="*/ 212685 h 607851"/>
              <a:gd name="connsiteX49" fmla="*/ 541312 w 582977"/>
              <a:gd name="connsiteY49" fmla="*/ 214378 h 607851"/>
              <a:gd name="connsiteX50" fmla="*/ 501464 w 582977"/>
              <a:gd name="connsiteY50" fmla="*/ 184747 h 607851"/>
              <a:gd name="connsiteX51" fmla="*/ 499203 w 582977"/>
              <a:gd name="connsiteY51" fmla="*/ 177410 h 607851"/>
              <a:gd name="connsiteX52" fmla="*/ 466138 w 582977"/>
              <a:gd name="connsiteY52" fmla="*/ 213625 h 607851"/>
              <a:gd name="connsiteX53" fmla="*/ 458036 w 582977"/>
              <a:gd name="connsiteY53" fmla="*/ 214378 h 607851"/>
              <a:gd name="connsiteX54" fmla="*/ 417246 w 582977"/>
              <a:gd name="connsiteY54" fmla="*/ 180890 h 607851"/>
              <a:gd name="connsiteX55" fmla="*/ 416210 w 582977"/>
              <a:gd name="connsiteY55" fmla="*/ 175811 h 607851"/>
              <a:gd name="connsiteX56" fmla="*/ 378906 w 582977"/>
              <a:gd name="connsiteY56" fmla="*/ 214190 h 607851"/>
              <a:gd name="connsiteX57" fmla="*/ 374667 w 582977"/>
              <a:gd name="connsiteY57" fmla="*/ 214378 h 607851"/>
              <a:gd name="connsiteX58" fmla="*/ 333311 w 582977"/>
              <a:gd name="connsiteY58" fmla="*/ 176939 h 607851"/>
              <a:gd name="connsiteX59" fmla="*/ 333029 w 582977"/>
              <a:gd name="connsiteY59" fmla="*/ 173835 h 607851"/>
              <a:gd name="connsiteX60" fmla="*/ 291485 w 582977"/>
              <a:gd name="connsiteY60" fmla="*/ 214378 h 607851"/>
              <a:gd name="connsiteX61" fmla="*/ 249942 w 582977"/>
              <a:gd name="connsiteY61" fmla="*/ 173835 h 607851"/>
              <a:gd name="connsiteX62" fmla="*/ 249659 w 582977"/>
              <a:gd name="connsiteY62" fmla="*/ 176939 h 607851"/>
              <a:gd name="connsiteX63" fmla="*/ 208304 w 582977"/>
              <a:gd name="connsiteY63" fmla="*/ 214378 h 607851"/>
              <a:gd name="connsiteX64" fmla="*/ 204065 w 582977"/>
              <a:gd name="connsiteY64" fmla="*/ 214190 h 607851"/>
              <a:gd name="connsiteX65" fmla="*/ 166760 w 582977"/>
              <a:gd name="connsiteY65" fmla="*/ 175811 h 607851"/>
              <a:gd name="connsiteX66" fmla="*/ 165818 w 582977"/>
              <a:gd name="connsiteY66" fmla="*/ 180890 h 607851"/>
              <a:gd name="connsiteX67" fmla="*/ 124934 w 582977"/>
              <a:gd name="connsiteY67" fmla="*/ 214378 h 607851"/>
              <a:gd name="connsiteX68" fmla="*/ 116833 w 582977"/>
              <a:gd name="connsiteY68" fmla="*/ 213625 h 607851"/>
              <a:gd name="connsiteX69" fmla="*/ 83767 w 582977"/>
              <a:gd name="connsiteY69" fmla="*/ 177410 h 607851"/>
              <a:gd name="connsiteX70" fmla="*/ 81601 w 582977"/>
              <a:gd name="connsiteY70" fmla="*/ 184747 h 607851"/>
              <a:gd name="connsiteX71" fmla="*/ 41658 w 582977"/>
              <a:gd name="connsiteY71" fmla="*/ 214378 h 607851"/>
              <a:gd name="connsiteX72" fmla="*/ 29789 w 582977"/>
              <a:gd name="connsiteY72" fmla="*/ 212685 h 607851"/>
              <a:gd name="connsiteX73" fmla="*/ 1716 w 582977"/>
              <a:gd name="connsiteY73" fmla="*/ 160948 h 607851"/>
              <a:gd name="connsiteX74" fmla="*/ 39303 w 582977"/>
              <a:gd name="connsiteY74" fmla="*/ 35275 h 607851"/>
              <a:gd name="connsiteX75" fmla="*/ 86782 w 582977"/>
              <a:gd name="connsiteY75" fmla="*/ 0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82977" h="607851">
                <a:moveTo>
                  <a:pt x="291485" y="247403"/>
                </a:moveTo>
                <a:cubicBezTo>
                  <a:pt x="312978" y="247403"/>
                  <a:pt x="330402" y="267323"/>
                  <a:pt x="330402" y="291895"/>
                </a:cubicBezTo>
                <a:cubicBezTo>
                  <a:pt x="330402" y="316467"/>
                  <a:pt x="312978" y="336387"/>
                  <a:pt x="291485" y="336387"/>
                </a:cubicBezTo>
                <a:cubicBezTo>
                  <a:pt x="269992" y="336387"/>
                  <a:pt x="252568" y="316467"/>
                  <a:pt x="252568" y="291895"/>
                </a:cubicBezTo>
                <a:cubicBezTo>
                  <a:pt x="252568" y="267323"/>
                  <a:pt x="269992" y="247403"/>
                  <a:pt x="291485" y="247403"/>
                </a:cubicBezTo>
                <a:close/>
                <a:moveTo>
                  <a:pt x="83197" y="232372"/>
                </a:moveTo>
                <a:cubicBezTo>
                  <a:pt x="91205" y="238015"/>
                  <a:pt x="100437" y="242154"/>
                  <a:pt x="110705" y="244223"/>
                </a:cubicBezTo>
                <a:cubicBezTo>
                  <a:pt x="115510" y="245164"/>
                  <a:pt x="120220" y="245634"/>
                  <a:pt x="124930" y="245634"/>
                </a:cubicBezTo>
                <a:cubicBezTo>
                  <a:pt x="128133" y="245634"/>
                  <a:pt x="131148" y="245258"/>
                  <a:pt x="134256" y="244882"/>
                </a:cubicBezTo>
                <a:lnTo>
                  <a:pt x="134256" y="470809"/>
                </a:lnTo>
                <a:cubicBezTo>
                  <a:pt x="134256" y="483695"/>
                  <a:pt x="144713" y="494229"/>
                  <a:pt x="157619" y="494229"/>
                </a:cubicBezTo>
                <a:lnTo>
                  <a:pt x="241839" y="494229"/>
                </a:lnTo>
                <a:lnTo>
                  <a:pt x="241839" y="429894"/>
                </a:lnTo>
                <a:lnTo>
                  <a:pt x="212070" y="479556"/>
                </a:lnTo>
                <a:cubicBezTo>
                  <a:pt x="208490" y="485388"/>
                  <a:pt x="202367" y="488680"/>
                  <a:pt x="195961" y="488680"/>
                </a:cubicBezTo>
                <a:cubicBezTo>
                  <a:pt x="192758" y="488680"/>
                  <a:pt x="189366" y="487833"/>
                  <a:pt x="186352" y="485952"/>
                </a:cubicBezTo>
                <a:cubicBezTo>
                  <a:pt x="177497" y="480685"/>
                  <a:pt x="174670" y="469210"/>
                  <a:pt x="179946" y="460368"/>
                </a:cubicBezTo>
                <a:lnTo>
                  <a:pt x="239578" y="361137"/>
                </a:lnTo>
                <a:cubicBezTo>
                  <a:pt x="243252" y="354835"/>
                  <a:pt x="250129" y="351826"/>
                  <a:pt x="256911" y="352296"/>
                </a:cubicBezTo>
                <a:cubicBezTo>
                  <a:pt x="257288" y="352202"/>
                  <a:pt x="325870" y="352202"/>
                  <a:pt x="326341" y="352296"/>
                </a:cubicBezTo>
                <a:cubicBezTo>
                  <a:pt x="333029" y="351920"/>
                  <a:pt x="339718" y="354929"/>
                  <a:pt x="343392" y="361137"/>
                </a:cubicBezTo>
                <a:lnTo>
                  <a:pt x="403024" y="460368"/>
                </a:lnTo>
                <a:cubicBezTo>
                  <a:pt x="408299" y="469210"/>
                  <a:pt x="405473" y="480685"/>
                  <a:pt x="396618" y="485952"/>
                </a:cubicBezTo>
                <a:cubicBezTo>
                  <a:pt x="393603" y="487833"/>
                  <a:pt x="390212" y="488680"/>
                  <a:pt x="387009" y="488680"/>
                </a:cubicBezTo>
                <a:cubicBezTo>
                  <a:pt x="380603" y="488680"/>
                  <a:pt x="374479" y="485388"/>
                  <a:pt x="370900" y="479556"/>
                </a:cubicBezTo>
                <a:lnTo>
                  <a:pt x="341319" y="430176"/>
                </a:lnTo>
                <a:lnTo>
                  <a:pt x="341319" y="494229"/>
                </a:lnTo>
                <a:lnTo>
                  <a:pt x="425350" y="494229"/>
                </a:lnTo>
                <a:cubicBezTo>
                  <a:pt x="438256" y="494229"/>
                  <a:pt x="448713" y="483695"/>
                  <a:pt x="448713" y="470809"/>
                </a:cubicBezTo>
                <a:lnTo>
                  <a:pt x="448713" y="244882"/>
                </a:lnTo>
                <a:cubicBezTo>
                  <a:pt x="451822" y="245258"/>
                  <a:pt x="454836" y="245634"/>
                  <a:pt x="458039" y="245634"/>
                </a:cubicBezTo>
                <a:cubicBezTo>
                  <a:pt x="462750" y="245634"/>
                  <a:pt x="467554" y="245164"/>
                  <a:pt x="472264" y="244223"/>
                </a:cubicBezTo>
                <a:cubicBezTo>
                  <a:pt x="482533" y="242154"/>
                  <a:pt x="491765" y="238015"/>
                  <a:pt x="499772" y="232372"/>
                </a:cubicBezTo>
                <a:cubicBezTo>
                  <a:pt x="511736" y="240649"/>
                  <a:pt x="526150" y="245634"/>
                  <a:pt x="541317" y="245634"/>
                </a:cubicBezTo>
                <a:lnTo>
                  <a:pt x="541317" y="549347"/>
                </a:lnTo>
                <a:lnTo>
                  <a:pt x="553657" y="549347"/>
                </a:lnTo>
                <a:cubicBezTo>
                  <a:pt x="569861" y="549347"/>
                  <a:pt x="582955" y="562515"/>
                  <a:pt x="582955" y="578599"/>
                </a:cubicBezTo>
                <a:cubicBezTo>
                  <a:pt x="582955" y="594777"/>
                  <a:pt x="569861" y="607851"/>
                  <a:pt x="553657" y="607851"/>
                </a:cubicBezTo>
                <a:lnTo>
                  <a:pt x="29312" y="607851"/>
                </a:lnTo>
                <a:cubicBezTo>
                  <a:pt x="13109" y="607851"/>
                  <a:pt x="14" y="594777"/>
                  <a:pt x="14" y="578599"/>
                </a:cubicBezTo>
                <a:cubicBezTo>
                  <a:pt x="14" y="562515"/>
                  <a:pt x="13109" y="549347"/>
                  <a:pt x="29312" y="549347"/>
                </a:cubicBezTo>
                <a:lnTo>
                  <a:pt x="41653" y="549347"/>
                </a:lnTo>
                <a:lnTo>
                  <a:pt x="41653" y="245634"/>
                </a:lnTo>
                <a:cubicBezTo>
                  <a:pt x="56820" y="245634"/>
                  <a:pt x="71233" y="240649"/>
                  <a:pt x="83197" y="232372"/>
                </a:cubicBezTo>
                <a:close/>
                <a:moveTo>
                  <a:pt x="86782" y="0"/>
                </a:moveTo>
                <a:lnTo>
                  <a:pt x="496189" y="0"/>
                </a:lnTo>
                <a:cubicBezTo>
                  <a:pt x="518044" y="0"/>
                  <a:pt x="537356" y="14392"/>
                  <a:pt x="543667" y="35275"/>
                </a:cubicBezTo>
                <a:lnTo>
                  <a:pt x="581254" y="160948"/>
                </a:lnTo>
                <a:cubicBezTo>
                  <a:pt x="587754" y="182866"/>
                  <a:pt x="575319" y="206100"/>
                  <a:pt x="553276" y="212685"/>
                </a:cubicBezTo>
                <a:cubicBezTo>
                  <a:pt x="549225" y="213814"/>
                  <a:pt x="545269" y="214378"/>
                  <a:pt x="541312" y="214378"/>
                </a:cubicBezTo>
                <a:cubicBezTo>
                  <a:pt x="523413" y="214378"/>
                  <a:pt x="506834" y="202714"/>
                  <a:pt x="501464" y="184747"/>
                </a:cubicBezTo>
                <a:lnTo>
                  <a:pt x="499203" y="177410"/>
                </a:lnTo>
                <a:cubicBezTo>
                  <a:pt x="497319" y="194906"/>
                  <a:pt x="484413" y="209957"/>
                  <a:pt x="466138" y="213625"/>
                </a:cubicBezTo>
                <a:cubicBezTo>
                  <a:pt x="463406" y="214096"/>
                  <a:pt x="460674" y="214378"/>
                  <a:pt x="458036" y="214378"/>
                </a:cubicBezTo>
                <a:cubicBezTo>
                  <a:pt x="438536" y="214378"/>
                  <a:pt x="421109" y="200738"/>
                  <a:pt x="417246" y="180890"/>
                </a:cubicBezTo>
                <a:lnTo>
                  <a:pt x="416210" y="175811"/>
                </a:lnTo>
                <a:cubicBezTo>
                  <a:pt x="414797" y="195659"/>
                  <a:pt x="399348" y="212120"/>
                  <a:pt x="378906" y="214190"/>
                </a:cubicBezTo>
                <a:cubicBezTo>
                  <a:pt x="377493" y="214284"/>
                  <a:pt x="376080" y="214378"/>
                  <a:pt x="374667" y="214378"/>
                </a:cubicBezTo>
                <a:cubicBezTo>
                  <a:pt x="353565" y="214378"/>
                  <a:pt x="335478" y="198387"/>
                  <a:pt x="333311" y="176939"/>
                </a:cubicBezTo>
                <a:lnTo>
                  <a:pt x="333029" y="173835"/>
                </a:lnTo>
                <a:cubicBezTo>
                  <a:pt x="332464" y="196317"/>
                  <a:pt x="314094" y="214378"/>
                  <a:pt x="291485" y="214378"/>
                </a:cubicBezTo>
                <a:cubicBezTo>
                  <a:pt x="268876" y="214378"/>
                  <a:pt x="250507" y="196317"/>
                  <a:pt x="249942" y="173835"/>
                </a:cubicBezTo>
                <a:lnTo>
                  <a:pt x="249659" y="176939"/>
                </a:lnTo>
                <a:cubicBezTo>
                  <a:pt x="247492" y="198387"/>
                  <a:pt x="229405" y="214378"/>
                  <a:pt x="208304" y="214378"/>
                </a:cubicBezTo>
                <a:cubicBezTo>
                  <a:pt x="206891" y="214378"/>
                  <a:pt x="205478" y="214284"/>
                  <a:pt x="204065" y="214190"/>
                </a:cubicBezTo>
                <a:cubicBezTo>
                  <a:pt x="183623" y="212120"/>
                  <a:pt x="168267" y="195659"/>
                  <a:pt x="166760" y="175811"/>
                </a:cubicBezTo>
                <a:lnTo>
                  <a:pt x="165818" y="180890"/>
                </a:lnTo>
                <a:cubicBezTo>
                  <a:pt x="161862" y="200738"/>
                  <a:pt x="144434" y="214378"/>
                  <a:pt x="124934" y="214378"/>
                </a:cubicBezTo>
                <a:cubicBezTo>
                  <a:pt x="122296" y="214378"/>
                  <a:pt x="119564" y="214096"/>
                  <a:pt x="116833" y="213625"/>
                </a:cubicBezTo>
                <a:cubicBezTo>
                  <a:pt x="98557" y="209957"/>
                  <a:pt x="85746" y="194906"/>
                  <a:pt x="83767" y="177410"/>
                </a:cubicBezTo>
                <a:lnTo>
                  <a:pt x="81601" y="184747"/>
                </a:lnTo>
                <a:cubicBezTo>
                  <a:pt x="76137" y="202714"/>
                  <a:pt x="59557" y="214378"/>
                  <a:pt x="41658" y="214378"/>
                </a:cubicBezTo>
                <a:cubicBezTo>
                  <a:pt x="37702" y="214378"/>
                  <a:pt x="33745" y="213814"/>
                  <a:pt x="29789" y="212685"/>
                </a:cubicBezTo>
                <a:cubicBezTo>
                  <a:pt x="7745" y="206100"/>
                  <a:pt x="-4784" y="182866"/>
                  <a:pt x="1716" y="160948"/>
                </a:cubicBezTo>
                <a:lnTo>
                  <a:pt x="39303" y="35275"/>
                </a:lnTo>
                <a:cubicBezTo>
                  <a:pt x="45615" y="14392"/>
                  <a:pt x="64927" y="0"/>
                  <a:pt x="86782" y="0"/>
                </a:cubicBezTo>
                <a:close/>
              </a:path>
            </a:pathLst>
          </a:custGeom>
          <a:solidFill>
            <a:schemeClr val="accent1">
              <a:lumMod val="7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116" name="文本框 115"/>
          <p:cNvSpPr txBox="1"/>
          <p:nvPr/>
        </p:nvSpPr>
        <p:spPr>
          <a:xfrm>
            <a:off x="9093347" y="5467691"/>
            <a:ext cx="733922" cy="274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rPr>
              <a:t>XX</a:t>
            </a:r>
            <a:endPar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endParaRPr>
          </a:p>
        </p:txBody>
      </p:sp>
      <p:sp>
        <p:nvSpPr>
          <p:cNvPr id="117" name="hospital-buildings_33777"/>
          <p:cNvSpPr>
            <a:spLocks noChangeAspect="1"/>
          </p:cNvSpPr>
          <p:nvPr/>
        </p:nvSpPr>
        <p:spPr bwMode="auto">
          <a:xfrm>
            <a:off x="9079878" y="4914994"/>
            <a:ext cx="760860" cy="558823"/>
          </a:xfrm>
          <a:custGeom>
            <a:avLst/>
            <a:gdLst>
              <a:gd name="T0" fmla="*/ 1192 w 1260"/>
              <a:gd name="T1" fmla="*/ 756 h 862"/>
              <a:gd name="T2" fmla="*/ 1147 w 1260"/>
              <a:gd name="T3" fmla="*/ 193 h 862"/>
              <a:gd name="T4" fmla="*/ 900 w 1260"/>
              <a:gd name="T5" fmla="*/ 745 h 862"/>
              <a:gd name="T6" fmla="*/ 866 w 1260"/>
              <a:gd name="T7" fmla="*/ 770 h 862"/>
              <a:gd name="T8" fmla="*/ 869 w 1260"/>
              <a:gd name="T9" fmla="*/ 44 h 862"/>
              <a:gd name="T10" fmla="*/ 436 w 1260"/>
              <a:gd name="T11" fmla="*/ 0 h 862"/>
              <a:gd name="T12" fmla="*/ 391 w 1260"/>
              <a:gd name="T13" fmla="*/ 756 h 862"/>
              <a:gd name="T14" fmla="*/ 365 w 1260"/>
              <a:gd name="T15" fmla="*/ 770 h 862"/>
              <a:gd name="T16" fmla="*/ 360 w 1260"/>
              <a:gd name="T17" fmla="*/ 193 h 862"/>
              <a:gd name="T18" fmla="*/ 74 w 1260"/>
              <a:gd name="T19" fmla="*/ 238 h 862"/>
              <a:gd name="T20" fmla="*/ 76 w 1260"/>
              <a:gd name="T21" fmla="*/ 770 h 862"/>
              <a:gd name="T22" fmla="*/ 0 w 1260"/>
              <a:gd name="T23" fmla="*/ 862 h 862"/>
              <a:gd name="T24" fmla="*/ 1260 w 1260"/>
              <a:gd name="T25" fmla="*/ 770 h 862"/>
              <a:gd name="T26" fmla="*/ 1190 w 1260"/>
              <a:gd name="T27" fmla="*/ 770 h 862"/>
              <a:gd name="T28" fmla="*/ 144 w 1260"/>
              <a:gd name="T29" fmla="*/ 589 h 862"/>
              <a:gd name="T30" fmla="*/ 208 w 1260"/>
              <a:gd name="T31" fmla="*/ 525 h 862"/>
              <a:gd name="T32" fmla="*/ 208 w 1260"/>
              <a:gd name="T33" fmla="*/ 477 h 862"/>
              <a:gd name="T34" fmla="*/ 144 w 1260"/>
              <a:gd name="T35" fmla="*/ 413 h 862"/>
              <a:gd name="T36" fmla="*/ 208 w 1260"/>
              <a:gd name="T37" fmla="*/ 477 h 862"/>
              <a:gd name="T38" fmla="*/ 144 w 1260"/>
              <a:gd name="T39" fmla="*/ 368 h 862"/>
              <a:gd name="T40" fmla="*/ 208 w 1260"/>
              <a:gd name="T41" fmla="*/ 305 h 862"/>
              <a:gd name="T42" fmla="*/ 307 w 1260"/>
              <a:gd name="T43" fmla="*/ 589 h 862"/>
              <a:gd name="T44" fmla="*/ 243 w 1260"/>
              <a:gd name="T45" fmla="*/ 525 h 862"/>
              <a:gd name="T46" fmla="*/ 307 w 1260"/>
              <a:gd name="T47" fmla="*/ 589 h 862"/>
              <a:gd name="T48" fmla="*/ 243 w 1260"/>
              <a:gd name="T49" fmla="*/ 477 h 862"/>
              <a:gd name="T50" fmla="*/ 307 w 1260"/>
              <a:gd name="T51" fmla="*/ 413 h 862"/>
              <a:gd name="T52" fmla="*/ 307 w 1260"/>
              <a:gd name="T53" fmla="*/ 368 h 862"/>
              <a:gd name="T54" fmla="*/ 243 w 1260"/>
              <a:gd name="T55" fmla="*/ 305 h 862"/>
              <a:gd name="T56" fmla="*/ 307 w 1260"/>
              <a:gd name="T57" fmla="*/ 368 h 862"/>
              <a:gd name="T58" fmla="*/ 542 w 1260"/>
              <a:gd name="T59" fmla="*/ 767 h 862"/>
              <a:gd name="T60" fmla="*/ 729 w 1260"/>
              <a:gd name="T61" fmla="*/ 534 h 862"/>
              <a:gd name="T62" fmla="*/ 630 w 1260"/>
              <a:gd name="T63" fmla="*/ 334 h 862"/>
              <a:gd name="T64" fmla="*/ 630 w 1260"/>
              <a:gd name="T65" fmla="*/ 20 h 862"/>
              <a:gd name="T66" fmla="*/ 630 w 1260"/>
              <a:gd name="T67" fmla="*/ 334 h 862"/>
              <a:gd name="T68" fmla="*/ 971 w 1260"/>
              <a:gd name="T69" fmla="*/ 589 h 862"/>
              <a:gd name="T70" fmla="*/ 1035 w 1260"/>
              <a:gd name="T71" fmla="*/ 525 h 862"/>
              <a:gd name="T72" fmla="*/ 1035 w 1260"/>
              <a:gd name="T73" fmla="*/ 477 h 862"/>
              <a:gd name="T74" fmla="*/ 971 w 1260"/>
              <a:gd name="T75" fmla="*/ 413 h 862"/>
              <a:gd name="T76" fmla="*/ 1035 w 1260"/>
              <a:gd name="T77" fmla="*/ 477 h 862"/>
              <a:gd name="T78" fmla="*/ 971 w 1260"/>
              <a:gd name="T79" fmla="*/ 368 h 862"/>
              <a:gd name="T80" fmla="*/ 1035 w 1260"/>
              <a:gd name="T81" fmla="*/ 305 h 862"/>
              <a:gd name="T82" fmla="*/ 1134 w 1260"/>
              <a:gd name="T83" fmla="*/ 589 h 862"/>
              <a:gd name="T84" fmla="*/ 1070 w 1260"/>
              <a:gd name="T85" fmla="*/ 525 h 862"/>
              <a:gd name="T86" fmla="*/ 1134 w 1260"/>
              <a:gd name="T87" fmla="*/ 589 h 862"/>
              <a:gd name="T88" fmla="*/ 1070 w 1260"/>
              <a:gd name="T89" fmla="*/ 477 h 862"/>
              <a:gd name="T90" fmla="*/ 1134 w 1260"/>
              <a:gd name="T91" fmla="*/ 413 h 862"/>
              <a:gd name="T92" fmla="*/ 1134 w 1260"/>
              <a:gd name="T93" fmla="*/ 368 h 862"/>
              <a:gd name="T94" fmla="*/ 1070 w 1260"/>
              <a:gd name="T95" fmla="*/ 305 h 862"/>
              <a:gd name="T96" fmla="*/ 1134 w 1260"/>
              <a:gd name="T97" fmla="*/ 368 h 862"/>
              <a:gd name="T98" fmla="*/ 729 w 1260"/>
              <a:gd name="T99" fmla="*/ 138 h 862"/>
              <a:gd name="T100" fmla="*/ 669 w 1260"/>
              <a:gd name="T101" fmla="*/ 216 h 862"/>
              <a:gd name="T102" fmla="*/ 591 w 1260"/>
              <a:gd name="T103" fmla="*/ 276 h 862"/>
              <a:gd name="T104" fmla="*/ 531 w 1260"/>
              <a:gd name="T105" fmla="*/ 216 h 862"/>
              <a:gd name="T106" fmla="*/ 591 w 1260"/>
              <a:gd name="T107" fmla="*/ 138 h 862"/>
              <a:gd name="T108" fmla="*/ 669 w 1260"/>
              <a:gd name="T109" fmla="*/ 7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60" h="862">
                <a:moveTo>
                  <a:pt x="1190" y="770"/>
                </a:moveTo>
                <a:cubicBezTo>
                  <a:pt x="1191" y="766"/>
                  <a:pt x="1192" y="761"/>
                  <a:pt x="1192" y="756"/>
                </a:cubicBezTo>
                <a:lnTo>
                  <a:pt x="1192" y="238"/>
                </a:lnTo>
                <a:cubicBezTo>
                  <a:pt x="1192" y="213"/>
                  <a:pt x="1172" y="193"/>
                  <a:pt x="1147" y="193"/>
                </a:cubicBezTo>
                <a:lnTo>
                  <a:pt x="900" y="193"/>
                </a:lnTo>
                <a:lnTo>
                  <a:pt x="900" y="745"/>
                </a:lnTo>
                <a:cubicBezTo>
                  <a:pt x="900" y="754"/>
                  <a:pt x="898" y="762"/>
                  <a:pt x="895" y="770"/>
                </a:cubicBezTo>
                <a:lnTo>
                  <a:pt x="866" y="770"/>
                </a:lnTo>
                <a:cubicBezTo>
                  <a:pt x="868" y="766"/>
                  <a:pt x="869" y="761"/>
                  <a:pt x="869" y="756"/>
                </a:cubicBezTo>
                <a:lnTo>
                  <a:pt x="869" y="44"/>
                </a:lnTo>
                <a:cubicBezTo>
                  <a:pt x="869" y="20"/>
                  <a:pt x="849" y="0"/>
                  <a:pt x="824" y="0"/>
                </a:cubicBezTo>
                <a:lnTo>
                  <a:pt x="436" y="0"/>
                </a:lnTo>
                <a:cubicBezTo>
                  <a:pt x="411" y="0"/>
                  <a:pt x="391" y="20"/>
                  <a:pt x="391" y="44"/>
                </a:cubicBezTo>
                <a:lnTo>
                  <a:pt x="391" y="756"/>
                </a:lnTo>
                <a:cubicBezTo>
                  <a:pt x="391" y="761"/>
                  <a:pt x="392" y="766"/>
                  <a:pt x="394" y="770"/>
                </a:cubicBezTo>
                <a:lnTo>
                  <a:pt x="365" y="770"/>
                </a:lnTo>
                <a:cubicBezTo>
                  <a:pt x="362" y="762"/>
                  <a:pt x="360" y="754"/>
                  <a:pt x="360" y="745"/>
                </a:cubicBezTo>
                <a:lnTo>
                  <a:pt x="360" y="193"/>
                </a:lnTo>
                <a:lnTo>
                  <a:pt x="119" y="193"/>
                </a:lnTo>
                <a:cubicBezTo>
                  <a:pt x="94" y="193"/>
                  <a:pt x="74" y="213"/>
                  <a:pt x="74" y="238"/>
                </a:cubicBezTo>
                <a:lnTo>
                  <a:pt x="74" y="756"/>
                </a:lnTo>
                <a:cubicBezTo>
                  <a:pt x="74" y="761"/>
                  <a:pt x="75" y="766"/>
                  <a:pt x="76" y="770"/>
                </a:cubicBezTo>
                <a:lnTo>
                  <a:pt x="0" y="770"/>
                </a:lnTo>
                <a:lnTo>
                  <a:pt x="0" y="862"/>
                </a:lnTo>
                <a:lnTo>
                  <a:pt x="1260" y="862"/>
                </a:lnTo>
                <a:lnTo>
                  <a:pt x="1260" y="770"/>
                </a:lnTo>
                <a:lnTo>
                  <a:pt x="1190" y="770"/>
                </a:lnTo>
                <a:lnTo>
                  <a:pt x="1190" y="770"/>
                </a:lnTo>
                <a:close/>
                <a:moveTo>
                  <a:pt x="208" y="589"/>
                </a:moveTo>
                <a:lnTo>
                  <a:pt x="144" y="589"/>
                </a:lnTo>
                <a:lnTo>
                  <a:pt x="144" y="525"/>
                </a:lnTo>
                <a:lnTo>
                  <a:pt x="208" y="525"/>
                </a:lnTo>
                <a:lnTo>
                  <a:pt x="208" y="589"/>
                </a:lnTo>
                <a:close/>
                <a:moveTo>
                  <a:pt x="208" y="477"/>
                </a:moveTo>
                <a:lnTo>
                  <a:pt x="144" y="477"/>
                </a:lnTo>
                <a:lnTo>
                  <a:pt x="144" y="413"/>
                </a:lnTo>
                <a:lnTo>
                  <a:pt x="208" y="413"/>
                </a:lnTo>
                <a:lnTo>
                  <a:pt x="208" y="477"/>
                </a:lnTo>
                <a:close/>
                <a:moveTo>
                  <a:pt x="208" y="368"/>
                </a:moveTo>
                <a:lnTo>
                  <a:pt x="144" y="368"/>
                </a:lnTo>
                <a:lnTo>
                  <a:pt x="144" y="305"/>
                </a:lnTo>
                <a:lnTo>
                  <a:pt x="208" y="305"/>
                </a:lnTo>
                <a:lnTo>
                  <a:pt x="208" y="368"/>
                </a:lnTo>
                <a:close/>
                <a:moveTo>
                  <a:pt x="307" y="589"/>
                </a:moveTo>
                <a:lnTo>
                  <a:pt x="243" y="589"/>
                </a:lnTo>
                <a:lnTo>
                  <a:pt x="243" y="525"/>
                </a:lnTo>
                <a:lnTo>
                  <a:pt x="307" y="525"/>
                </a:lnTo>
                <a:lnTo>
                  <a:pt x="307" y="589"/>
                </a:lnTo>
                <a:close/>
                <a:moveTo>
                  <a:pt x="307" y="477"/>
                </a:moveTo>
                <a:lnTo>
                  <a:pt x="243" y="477"/>
                </a:lnTo>
                <a:lnTo>
                  <a:pt x="243" y="413"/>
                </a:lnTo>
                <a:lnTo>
                  <a:pt x="307" y="413"/>
                </a:lnTo>
                <a:lnTo>
                  <a:pt x="307" y="477"/>
                </a:lnTo>
                <a:close/>
                <a:moveTo>
                  <a:pt x="307" y="368"/>
                </a:moveTo>
                <a:lnTo>
                  <a:pt x="243" y="368"/>
                </a:lnTo>
                <a:lnTo>
                  <a:pt x="243" y="305"/>
                </a:lnTo>
                <a:lnTo>
                  <a:pt x="307" y="305"/>
                </a:lnTo>
                <a:lnTo>
                  <a:pt x="307" y="368"/>
                </a:lnTo>
                <a:close/>
                <a:moveTo>
                  <a:pt x="729" y="767"/>
                </a:moveTo>
                <a:lnTo>
                  <a:pt x="542" y="767"/>
                </a:lnTo>
                <a:lnTo>
                  <a:pt x="542" y="534"/>
                </a:lnTo>
                <a:lnTo>
                  <a:pt x="729" y="534"/>
                </a:lnTo>
                <a:lnTo>
                  <a:pt x="729" y="767"/>
                </a:lnTo>
                <a:close/>
                <a:moveTo>
                  <a:pt x="630" y="334"/>
                </a:moveTo>
                <a:cubicBezTo>
                  <a:pt x="543" y="334"/>
                  <a:pt x="473" y="263"/>
                  <a:pt x="473" y="177"/>
                </a:cubicBezTo>
                <a:cubicBezTo>
                  <a:pt x="473" y="90"/>
                  <a:pt x="543" y="20"/>
                  <a:pt x="630" y="20"/>
                </a:cubicBezTo>
                <a:cubicBezTo>
                  <a:pt x="717" y="20"/>
                  <a:pt x="787" y="90"/>
                  <a:pt x="787" y="177"/>
                </a:cubicBezTo>
                <a:cubicBezTo>
                  <a:pt x="787" y="263"/>
                  <a:pt x="717" y="334"/>
                  <a:pt x="630" y="334"/>
                </a:cubicBezTo>
                <a:close/>
                <a:moveTo>
                  <a:pt x="1035" y="589"/>
                </a:moveTo>
                <a:lnTo>
                  <a:pt x="971" y="589"/>
                </a:lnTo>
                <a:lnTo>
                  <a:pt x="971" y="525"/>
                </a:lnTo>
                <a:lnTo>
                  <a:pt x="1035" y="525"/>
                </a:lnTo>
                <a:lnTo>
                  <a:pt x="1035" y="589"/>
                </a:lnTo>
                <a:close/>
                <a:moveTo>
                  <a:pt x="1035" y="477"/>
                </a:moveTo>
                <a:lnTo>
                  <a:pt x="971" y="477"/>
                </a:lnTo>
                <a:lnTo>
                  <a:pt x="971" y="413"/>
                </a:lnTo>
                <a:lnTo>
                  <a:pt x="1035" y="413"/>
                </a:lnTo>
                <a:lnTo>
                  <a:pt x="1035" y="477"/>
                </a:lnTo>
                <a:close/>
                <a:moveTo>
                  <a:pt x="1035" y="368"/>
                </a:moveTo>
                <a:lnTo>
                  <a:pt x="971" y="368"/>
                </a:lnTo>
                <a:lnTo>
                  <a:pt x="971" y="305"/>
                </a:lnTo>
                <a:lnTo>
                  <a:pt x="1035" y="305"/>
                </a:lnTo>
                <a:lnTo>
                  <a:pt x="1035" y="368"/>
                </a:lnTo>
                <a:close/>
                <a:moveTo>
                  <a:pt x="1134" y="589"/>
                </a:moveTo>
                <a:lnTo>
                  <a:pt x="1070" y="589"/>
                </a:lnTo>
                <a:lnTo>
                  <a:pt x="1070" y="525"/>
                </a:lnTo>
                <a:lnTo>
                  <a:pt x="1134" y="525"/>
                </a:lnTo>
                <a:lnTo>
                  <a:pt x="1134" y="589"/>
                </a:lnTo>
                <a:close/>
                <a:moveTo>
                  <a:pt x="1134" y="477"/>
                </a:moveTo>
                <a:lnTo>
                  <a:pt x="1070" y="477"/>
                </a:lnTo>
                <a:lnTo>
                  <a:pt x="1070" y="413"/>
                </a:lnTo>
                <a:lnTo>
                  <a:pt x="1134" y="413"/>
                </a:lnTo>
                <a:lnTo>
                  <a:pt x="1134" y="477"/>
                </a:lnTo>
                <a:close/>
                <a:moveTo>
                  <a:pt x="1134" y="368"/>
                </a:moveTo>
                <a:lnTo>
                  <a:pt x="1070" y="368"/>
                </a:lnTo>
                <a:lnTo>
                  <a:pt x="1070" y="305"/>
                </a:lnTo>
                <a:lnTo>
                  <a:pt x="1134" y="305"/>
                </a:lnTo>
                <a:lnTo>
                  <a:pt x="1134" y="368"/>
                </a:lnTo>
                <a:close/>
                <a:moveTo>
                  <a:pt x="669" y="138"/>
                </a:moveTo>
                <a:lnTo>
                  <a:pt x="729" y="138"/>
                </a:lnTo>
                <a:lnTo>
                  <a:pt x="729" y="216"/>
                </a:lnTo>
                <a:lnTo>
                  <a:pt x="669" y="216"/>
                </a:lnTo>
                <a:lnTo>
                  <a:pt x="669" y="276"/>
                </a:lnTo>
                <a:lnTo>
                  <a:pt x="591" y="276"/>
                </a:lnTo>
                <a:lnTo>
                  <a:pt x="591" y="216"/>
                </a:lnTo>
                <a:lnTo>
                  <a:pt x="531" y="216"/>
                </a:lnTo>
                <a:lnTo>
                  <a:pt x="531" y="138"/>
                </a:lnTo>
                <a:lnTo>
                  <a:pt x="591" y="138"/>
                </a:lnTo>
                <a:lnTo>
                  <a:pt x="591" y="78"/>
                </a:lnTo>
                <a:lnTo>
                  <a:pt x="669" y="78"/>
                </a:lnTo>
                <a:lnTo>
                  <a:pt x="669" y="138"/>
                </a:lnTo>
                <a:close/>
              </a:path>
            </a:pathLst>
          </a:custGeom>
          <a:solidFill>
            <a:schemeClr val="accent1">
              <a:lumMod val="7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72" name="embassy_89010"/>
          <p:cNvSpPr>
            <a:spLocks noChangeAspect="1"/>
          </p:cNvSpPr>
          <p:nvPr/>
        </p:nvSpPr>
        <p:spPr bwMode="auto">
          <a:xfrm>
            <a:off x="9167600" y="3335345"/>
            <a:ext cx="585414" cy="565532"/>
          </a:xfrm>
          <a:custGeom>
            <a:avLst/>
            <a:gdLst>
              <a:gd name="T0" fmla="*/ 3427 w 3600"/>
              <a:gd name="T1" fmla="*/ 1254 h 4492"/>
              <a:gd name="T2" fmla="*/ 2647 w 3600"/>
              <a:gd name="T3" fmla="*/ 4128 h 4492"/>
              <a:gd name="T4" fmla="*/ 2462 w 3600"/>
              <a:gd name="T5" fmla="*/ 702 h 4492"/>
              <a:gd name="T6" fmla="*/ 1842 w 3600"/>
              <a:gd name="T7" fmla="*/ 404 h 4492"/>
              <a:gd name="T8" fmla="*/ 2259 w 3600"/>
              <a:gd name="T9" fmla="*/ 95 h 4492"/>
              <a:gd name="T10" fmla="*/ 1842 w 3600"/>
              <a:gd name="T11" fmla="*/ 62 h 4492"/>
              <a:gd name="T12" fmla="*/ 1759 w 3600"/>
              <a:gd name="T13" fmla="*/ 702 h 4492"/>
              <a:gd name="T14" fmla="*/ 1138 w 3600"/>
              <a:gd name="T15" fmla="*/ 4128 h 4492"/>
              <a:gd name="T16" fmla="*/ 953 w 3600"/>
              <a:gd name="T17" fmla="*/ 1254 h 4492"/>
              <a:gd name="T18" fmla="*/ 173 w 3600"/>
              <a:gd name="T19" fmla="*/ 4128 h 4492"/>
              <a:gd name="T20" fmla="*/ 0 w 3600"/>
              <a:gd name="T21" fmla="*/ 4492 h 4492"/>
              <a:gd name="T22" fmla="*/ 3600 w 3600"/>
              <a:gd name="T23" fmla="*/ 4128 h 4492"/>
              <a:gd name="T24" fmla="*/ 763 w 3600"/>
              <a:gd name="T25" fmla="*/ 3945 h 4492"/>
              <a:gd name="T26" fmla="*/ 396 w 3600"/>
              <a:gd name="T27" fmla="*/ 3579 h 4492"/>
              <a:gd name="T28" fmla="*/ 763 w 3600"/>
              <a:gd name="T29" fmla="*/ 3945 h 4492"/>
              <a:gd name="T30" fmla="*/ 396 w 3600"/>
              <a:gd name="T31" fmla="*/ 3285 h 4492"/>
              <a:gd name="T32" fmla="*/ 763 w 3600"/>
              <a:gd name="T33" fmla="*/ 2918 h 4492"/>
              <a:gd name="T34" fmla="*/ 763 w 3600"/>
              <a:gd name="T35" fmla="*/ 2624 h 4492"/>
              <a:gd name="T36" fmla="*/ 396 w 3600"/>
              <a:gd name="T37" fmla="*/ 2258 h 4492"/>
              <a:gd name="T38" fmla="*/ 763 w 3600"/>
              <a:gd name="T39" fmla="*/ 2624 h 4492"/>
              <a:gd name="T40" fmla="*/ 396 w 3600"/>
              <a:gd name="T41" fmla="*/ 1964 h 4492"/>
              <a:gd name="T42" fmla="*/ 763 w 3600"/>
              <a:gd name="T43" fmla="*/ 1597 h 4492"/>
              <a:gd name="T44" fmla="*/ 2176 w 3600"/>
              <a:gd name="T45" fmla="*/ 3829 h 4492"/>
              <a:gd name="T46" fmla="*/ 1424 w 3600"/>
              <a:gd name="T47" fmla="*/ 3461 h 4492"/>
              <a:gd name="T48" fmla="*/ 2176 w 3600"/>
              <a:gd name="T49" fmla="*/ 3829 h 4492"/>
              <a:gd name="T50" fmla="*/ 1424 w 3600"/>
              <a:gd name="T51" fmla="*/ 2999 h 4492"/>
              <a:gd name="T52" fmla="*/ 2176 w 3600"/>
              <a:gd name="T53" fmla="*/ 2632 h 4492"/>
              <a:gd name="T54" fmla="*/ 2176 w 3600"/>
              <a:gd name="T55" fmla="*/ 2170 h 4492"/>
              <a:gd name="T56" fmla="*/ 1424 w 3600"/>
              <a:gd name="T57" fmla="*/ 1803 h 4492"/>
              <a:gd name="T58" fmla="*/ 2176 w 3600"/>
              <a:gd name="T59" fmla="*/ 2170 h 4492"/>
              <a:gd name="T60" fmla="*/ 1424 w 3600"/>
              <a:gd name="T61" fmla="*/ 1341 h 4492"/>
              <a:gd name="T62" fmla="*/ 2176 w 3600"/>
              <a:gd name="T63" fmla="*/ 974 h 4492"/>
              <a:gd name="T64" fmla="*/ 3204 w 3600"/>
              <a:gd name="T65" fmla="*/ 3945 h 4492"/>
              <a:gd name="T66" fmla="*/ 2837 w 3600"/>
              <a:gd name="T67" fmla="*/ 3579 h 4492"/>
              <a:gd name="T68" fmla="*/ 3204 w 3600"/>
              <a:gd name="T69" fmla="*/ 3945 h 4492"/>
              <a:gd name="T70" fmla="*/ 2837 w 3600"/>
              <a:gd name="T71" fmla="*/ 3285 h 4492"/>
              <a:gd name="T72" fmla="*/ 3204 w 3600"/>
              <a:gd name="T73" fmla="*/ 2918 h 4492"/>
              <a:gd name="T74" fmla="*/ 3204 w 3600"/>
              <a:gd name="T75" fmla="*/ 2624 h 4492"/>
              <a:gd name="T76" fmla="*/ 2837 w 3600"/>
              <a:gd name="T77" fmla="*/ 2258 h 4492"/>
              <a:gd name="T78" fmla="*/ 3204 w 3600"/>
              <a:gd name="T79" fmla="*/ 2624 h 4492"/>
              <a:gd name="T80" fmla="*/ 2837 w 3600"/>
              <a:gd name="T81" fmla="*/ 1964 h 4492"/>
              <a:gd name="T82" fmla="*/ 3204 w 3600"/>
              <a:gd name="T83" fmla="*/ 1597 h 4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00" h="4492">
                <a:moveTo>
                  <a:pt x="3427" y="4128"/>
                </a:moveTo>
                <a:lnTo>
                  <a:pt x="3427" y="1254"/>
                </a:lnTo>
                <a:lnTo>
                  <a:pt x="2647" y="1254"/>
                </a:lnTo>
                <a:lnTo>
                  <a:pt x="2647" y="4128"/>
                </a:lnTo>
                <a:lnTo>
                  <a:pt x="2462" y="4128"/>
                </a:lnTo>
                <a:lnTo>
                  <a:pt x="2462" y="702"/>
                </a:lnTo>
                <a:lnTo>
                  <a:pt x="1842" y="702"/>
                </a:lnTo>
                <a:lnTo>
                  <a:pt x="1842" y="404"/>
                </a:lnTo>
                <a:cubicBezTo>
                  <a:pt x="1991" y="455"/>
                  <a:pt x="2103" y="291"/>
                  <a:pt x="2259" y="385"/>
                </a:cubicBezTo>
                <a:lnTo>
                  <a:pt x="2259" y="95"/>
                </a:lnTo>
                <a:cubicBezTo>
                  <a:pt x="2103" y="0"/>
                  <a:pt x="1991" y="165"/>
                  <a:pt x="1842" y="114"/>
                </a:cubicBezTo>
                <a:lnTo>
                  <a:pt x="1842" y="62"/>
                </a:lnTo>
                <a:lnTo>
                  <a:pt x="1759" y="62"/>
                </a:lnTo>
                <a:lnTo>
                  <a:pt x="1759" y="702"/>
                </a:lnTo>
                <a:lnTo>
                  <a:pt x="1138" y="702"/>
                </a:lnTo>
                <a:lnTo>
                  <a:pt x="1138" y="4128"/>
                </a:lnTo>
                <a:lnTo>
                  <a:pt x="953" y="4128"/>
                </a:lnTo>
                <a:lnTo>
                  <a:pt x="953" y="1254"/>
                </a:lnTo>
                <a:lnTo>
                  <a:pt x="173" y="1254"/>
                </a:lnTo>
                <a:lnTo>
                  <a:pt x="173" y="4128"/>
                </a:lnTo>
                <a:lnTo>
                  <a:pt x="0" y="4128"/>
                </a:lnTo>
                <a:lnTo>
                  <a:pt x="0" y="4492"/>
                </a:lnTo>
                <a:lnTo>
                  <a:pt x="3600" y="4492"/>
                </a:lnTo>
                <a:lnTo>
                  <a:pt x="3600" y="4128"/>
                </a:lnTo>
                <a:lnTo>
                  <a:pt x="3427" y="4128"/>
                </a:lnTo>
                <a:close/>
                <a:moveTo>
                  <a:pt x="763" y="3945"/>
                </a:moveTo>
                <a:lnTo>
                  <a:pt x="396" y="3945"/>
                </a:lnTo>
                <a:lnTo>
                  <a:pt x="396" y="3579"/>
                </a:lnTo>
                <a:lnTo>
                  <a:pt x="763" y="3579"/>
                </a:lnTo>
                <a:lnTo>
                  <a:pt x="763" y="3945"/>
                </a:lnTo>
                <a:close/>
                <a:moveTo>
                  <a:pt x="763" y="3285"/>
                </a:moveTo>
                <a:lnTo>
                  <a:pt x="396" y="3285"/>
                </a:lnTo>
                <a:lnTo>
                  <a:pt x="396" y="2918"/>
                </a:lnTo>
                <a:lnTo>
                  <a:pt x="763" y="2918"/>
                </a:lnTo>
                <a:lnTo>
                  <a:pt x="763" y="3285"/>
                </a:lnTo>
                <a:close/>
                <a:moveTo>
                  <a:pt x="763" y="2624"/>
                </a:moveTo>
                <a:lnTo>
                  <a:pt x="396" y="2624"/>
                </a:lnTo>
                <a:lnTo>
                  <a:pt x="396" y="2258"/>
                </a:lnTo>
                <a:lnTo>
                  <a:pt x="763" y="2258"/>
                </a:lnTo>
                <a:lnTo>
                  <a:pt x="763" y="2624"/>
                </a:lnTo>
                <a:close/>
                <a:moveTo>
                  <a:pt x="763" y="1964"/>
                </a:moveTo>
                <a:lnTo>
                  <a:pt x="396" y="1964"/>
                </a:lnTo>
                <a:lnTo>
                  <a:pt x="396" y="1597"/>
                </a:lnTo>
                <a:lnTo>
                  <a:pt x="763" y="1597"/>
                </a:lnTo>
                <a:lnTo>
                  <a:pt x="763" y="1964"/>
                </a:lnTo>
                <a:close/>
                <a:moveTo>
                  <a:pt x="2176" y="3829"/>
                </a:moveTo>
                <a:lnTo>
                  <a:pt x="1424" y="3829"/>
                </a:lnTo>
                <a:lnTo>
                  <a:pt x="1424" y="3461"/>
                </a:lnTo>
                <a:lnTo>
                  <a:pt x="2176" y="3461"/>
                </a:lnTo>
                <a:lnTo>
                  <a:pt x="2176" y="3829"/>
                </a:lnTo>
                <a:close/>
                <a:moveTo>
                  <a:pt x="2176" y="2999"/>
                </a:moveTo>
                <a:lnTo>
                  <a:pt x="1424" y="2999"/>
                </a:lnTo>
                <a:lnTo>
                  <a:pt x="1424" y="2632"/>
                </a:lnTo>
                <a:lnTo>
                  <a:pt x="2176" y="2632"/>
                </a:lnTo>
                <a:lnTo>
                  <a:pt x="2176" y="2999"/>
                </a:lnTo>
                <a:close/>
                <a:moveTo>
                  <a:pt x="2176" y="2170"/>
                </a:moveTo>
                <a:lnTo>
                  <a:pt x="1424" y="2170"/>
                </a:lnTo>
                <a:lnTo>
                  <a:pt x="1424" y="1803"/>
                </a:lnTo>
                <a:lnTo>
                  <a:pt x="2176" y="1803"/>
                </a:lnTo>
                <a:lnTo>
                  <a:pt x="2176" y="2170"/>
                </a:lnTo>
                <a:close/>
                <a:moveTo>
                  <a:pt x="2176" y="1341"/>
                </a:moveTo>
                <a:lnTo>
                  <a:pt x="1424" y="1341"/>
                </a:lnTo>
                <a:lnTo>
                  <a:pt x="1424" y="974"/>
                </a:lnTo>
                <a:lnTo>
                  <a:pt x="2176" y="974"/>
                </a:lnTo>
                <a:lnTo>
                  <a:pt x="2176" y="1341"/>
                </a:lnTo>
                <a:close/>
                <a:moveTo>
                  <a:pt x="3204" y="3945"/>
                </a:moveTo>
                <a:lnTo>
                  <a:pt x="2837" y="3945"/>
                </a:lnTo>
                <a:lnTo>
                  <a:pt x="2837" y="3579"/>
                </a:lnTo>
                <a:lnTo>
                  <a:pt x="3204" y="3579"/>
                </a:lnTo>
                <a:lnTo>
                  <a:pt x="3204" y="3945"/>
                </a:lnTo>
                <a:close/>
                <a:moveTo>
                  <a:pt x="3204" y="3285"/>
                </a:moveTo>
                <a:lnTo>
                  <a:pt x="2837" y="3285"/>
                </a:lnTo>
                <a:lnTo>
                  <a:pt x="2837" y="2918"/>
                </a:lnTo>
                <a:lnTo>
                  <a:pt x="3204" y="2918"/>
                </a:lnTo>
                <a:lnTo>
                  <a:pt x="3204" y="3285"/>
                </a:lnTo>
                <a:close/>
                <a:moveTo>
                  <a:pt x="3204" y="2624"/>
                </a:moveTo>
                <a:lnTo>
                  <a:pt x="2837" y="2624"/>
                </a:lnTo>
                <a:lnTo>
                  <a:pt x="2837" y="2258"/>
                </a:lnTo>
                <a:lnTo>
                  <a:pt x="3204" y="2258"/>
                </a:lnTo>
                <a:lnTo>
                  <a:pt x="3204" y="2624"/>
                </a:lnTo>
                <a:close/>
                <a:moveTo>
                  <a:pt x="3204" y="1964"/>
                </a:moveTo>
                <a:lnTo>
                  <a:pt x="2837" y="1964"/>
                </a:lnTo>
                <a:lnTo>
                  <a:pt x="2837" y="1597"/>
                </a:lnTo>
                <a:lnTo>
                  <a:pt x="3204" y="1597"/>
                </a:lnTo>
                <a:lnTo>
                  <a:pt x="3204" y="1964"/>
                </a:lnTo>
                <a:close/>
              </a:path>
            </a:pathLst>
          </a:custGeom>
          <a:solidFill>
            <a:schemeClr val="accent1">
              <a:lumMod val="7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73" name="man-with-arm-injury_18026"/>
          <p:cNvSpPr>
            <a:spLocks noChangeAspect="1"/>
          </p:cNvSpPr>
          <p:nvPr/>
        </p:nvSpPr>
        <p:spPr bwMode="auto">
          <a:xfrm>
            <a:off x="11323289" y="3361578"/>
            <a:ext cx="338723" cy="467092"/>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40234" h="607074">
                <a:moveTo>
                  <a:pt x="201090" y="453593"/>
                </a:moveTo>
                <a:lnTo>
                  <a:pt x="226523" y="453593"/>
                </a:lnTo>
                <a:cubicBezTo>
                  <a:pt x="242940" y="453593"/>
                  <a:pt x="256321" y="466951"/>
                  <a:pt x="256321" y="483341"/>
                </a:cubicBezTo>
                <a:cubicBezTo>
                  <a:pt x="256321" y="499826"/>
                  <a:pt x="242940" y="513185"/>
                  <a:pt x="226523" y="513185"/>
                </a:cubicBezTo>
                <a:lnTo>
                  <a:pt x="213048" y="513280"/>
                </a:lnTo>
                <a:cubicBezTo>
                  <a:pt x="216559" y="496795"/>
                  <a:pt x="207354" y="469414"/>
                  <a:pt x="201090" y="453593"/>
                </a:cubicBezTo>
                <a:close/>
                <a:moveTo>
                  <a:pt x="39384" y="261836"/>
                </a:moveTo>
                <a:lnTo>
                  <a:pt x="34829" y="513753"/>
                </a:lnTo>
                <a:lnTo>
                  <a:pt x="28755" y="513848"/>
                </a:lnTo>
                <a:cubicBezTo>
                  <a:pt x="20119" y="513848"/>
                  <a:pt x="13382" y="511290"/>
                  <a:pt x="8637" y="506458"/>
                </a:cubicBezTo>
                <a:cubicBezTo>
                  <a:pt x="-94" y="497458"/>
                  <a:pt x="1" y="483152"/>
                  <a:pt x="1" y="482678"/>
                </a:cubicBezTo>
                <a:lnTo>
                  <a:pt x="286" y="322944"/>
                </a:lnTo>
                <a:cubicBezTo>
                  <a:pt x="570" y="320765"/>
                  <a:pt x="4936" y="285710"/>
                  <a:pt x="39384" y="261836"/>
                </a:cubicBezTo>
                <a:close/>
                <a:moveTo>
                  <a:pt x="128208" y="239950"/>
                </a:moveTo>
                <a:lnTo>
                  <a:pt x="184104" y="449329"/>
                </a:lnTo>
                <a:cubicBezTo>
                  <a:pt x="194827" y="474057"/>
                  <a:pt x="203273" y="505416"/>
                  <a:pt x="198528" y="512522"/>
                </a:cubicBezTo>
                <a:cubicBezTo>
                  <a:pt x="198338" y="512901"/>
                  <a:pt x="198054" y="513185"/>
                  <a:pt x="196725" y="513185"/>
                </a:cubicBezTo>
                <a:lnTo>
                  <a:pt x="49063" y="513185"/>
                </a:lnTo>
                <a:lnTo>
                  <a:pt x="53713" y="253972"/>
                </a:lnTo>
                <a:cubicBezTo>
                  <a:pt x="63583" y="250561"/>
                  <a:pt x="90059" y="242698"/>
                  <a:pt x="128208" y="239950"/>
                </a:cubicBezTo>
                <a:close/>
                <a:moveTo>
                  <a:pt x="142728" y="239571"/>
                </a:moveTo>
                <a:lnTo>
                  <a:pt x="315917" y="239571"/>
                </a:lnTo>
                <a:cubicBezTo>
                  <a:pt x="320757" y="239571"/>
                  <a:pt x="432073" y="239287"/>
                  <a:pt x="440234" y="336492"/>
                </a:cubicBezTo>
                <a:lnTo>
                  <a:pt x="440234" y="573535"/>
                </a:lnTo>
                <a:cubicBezTo>
                  <a:pt x="440234" y="592105"/>
                  <a:pt x="425145" y="607074"/>
                  <a:pt x="406735" y="607074"/>
                </a:cubicBezTo>
                <a:cubicBezTo>
                  <a:pt x="388135" y="607074"/>
                  <a:pt x="373141" y="592105"/>
                  <a:pt x="373141" y="573251"/>
                </a:cubicBezTo>
                <a:lnTo>
                  <a:pt x="373046" y="566146"/>
                </a:lnTo>
                <a:lnTo>
                  <a:pt x="373046" y="314228"/>
                </a:lnTo>
                <a:lnTo>
                  <a:pt x="356818" y="314228"/>
                </a:lnTo>
                <a:lnTo>
                  <a:pt x="356913" y="601958"/>
                </a:lnTo>
                <a:lnTo>
                  <a:pt x="102871" y="601768"/>
                </a:lnTo>
                <a:lnTo>
                  <a:pt x="102966" y="527396"/>
                </a:lnTo>
                <a:lnTo>
                  <a:pt x="196725" y="527396"/>
                </a:lnTo>
                <a:lnTo>
                  <a:pt x="226523" y="527396"/>
                </a:lnTo>
                <a:cubicBezTo>
                  <a:pt x="250722" y="527396"/>
                  <a:pt x="270556" y="507595"/>
                  <a:pt x="270556" y="483341"/>
                </a:cubicBezTo>
                <a:cubicBezTo>
                  <a:pt x="270556" y="459182"/>
                  <a:pt x="250722" y="439476"/>
                  <a:pt x="226523" y="439476"/>
                </a:cubicBezTo>
                <a:lnTo>
                  <a:pt x="195966" y="439476"/>
                </a:lnTo>
                <a:close/>
                <a:moveTo>
                  <a:pt x="223881" y="14119"/>
                </a:moveTo>
                <a:cubicBezTo>
                  <a:pt x="174624" y="14119"/>
                  <a:pt x="134573" y="54200"/>
                  <a:pt x="134573" y="103473"/>
                </a:cubicBezTo>
                <a:cubicBezTo>
                  <a:pt x="134573" y="152557"/>
                  <a:pt x="174624" y="192544"/>
                  <a:pt x="223881" y="192544"/>
                </a:cubicBezTo>
                <a:cubicBezTo>
                  <a:pt x="273138" y="192544"/>
                  <a:pt x="313189" y="152557"/>
                  <a:pt x="313189" y="103473"/>
                </a:cubicBezTo>
                <a:cubicBezTo>
                  <a:pt x="313189" y="54200"/>
                  <a:pt x="273138" y="14119"/>
                  <a:pt x="223881" y="14119"/>
                </a:cubicBezTo>
                <a:close/>
                <a:moveTo>
                  <a:pt x="223881" y="0"/>
                </a:moveTo>
                <a:cubicBezTo>
                  <a:pt x="281015" y="0"/>
                  <a:pt x="327330" y="46430"/>
                  <a:pt x="327330" y="103473"/>
                </a:cubicBezTo>
                <a:cubicBezTo>
                  <a:pt x="327330" y="160421"/>
                  <a:pt x="281015" y="206757"/>
                  <a:pt x="223881" y="206757"/>
                </a:cubicBezTo>
                <a:cubicBezTo>
                  <a:pt x="166842" y="206757"/>
                  <a:pt x="120432" y="160421"/>
                  <a:pt x="120432" y="103473"/>
                </a:cubicBezTo>
                <a:cubicBezTo>
                  <a:pt x="120432" y="46430"/>
                  <a:pt x="166842" y="0"/>
                  <a:pt x="223881" y="0"/>
                </a:cubicBezTo>
                <a:close/>
              </a:path>
            </a:pathLst>
          </a:custGeom>
          <a:solidFill>
            <a:schemeClr val="accent1">
              <a:lumMod val="7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76" name="文本框 75"/>
          <p:cNvSpPr txBox="1"/>
          <p:nvPr/>
        </p:nvSpPr>
        <p:spPr>
          <a:xfrm>
            <a:off x="10367355" y="1895912"/>
            <a:ext cx="771781" cy="1998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77" name="文本框 76"/>
          <p:cNvSpPr txBox="1"/>
          <p:nvPr/>
        </p:nvSpPr>
        <p:spPr>
          <a:xfrm>
            <a:off x="6634326" y="4664050"/>
            <a:ext cx="442166" cy="3439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80" name="文本框 79"/>
          <p:cNvSpPr txBox="1"/>
          <p:nvPr/>
        </p:nvSpPr>
        <p:spPr>
          <a:xfrm>
            <a:off x="10054304" y="3404303"/>
            <a:ext cx="770481" cy="2639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81" name="文本框 80"/>
          <p:cNvSpPr txBox="1"/>
          <p:nvPr/>
        </p:nvSpPr>
        <p:spPr>
          <a:xfrm>
            <a:off x="9426834" y="4306223"/>
            <a:ext cx="360076" cy="2452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82" name="任意多边形 81"/>
          <p:cNvSpPr/>
          <p:nvPr/>
        </p:nvSpPr>
        <p:spPr>
          <a:xfrm rot="16200000">
            <a:off x="7258257" y="3654955"/>
            <a:ext cx="1152641" cy="2399045"/>
          </a:xfrm>
          <a:custGeom>
            <a:avLst/>
            <a:gdLst>
              <a:gd name="connsiteX0" fmla="*/ 745724 w 745724"/>
              <a:gd name="connsiteY0" fmla="*/ 0 h 1491449"/>
              <a:gd name="connsiteX1" fmla="*/ 0 w 745724"/>
              <a:gd name="connsiteY1" fmla="*/ 0 h 1491449"/>
              <a:gd name="connsiteX2" fmla="*/ 0 w 745724"/>
              <a:gd name="connsiteY2" fmla="*/ 1491449 h 1491449"/>
            </a:gdLst>
            <a:ahLst/>
            <a:cxnLst>
              <a:cxn ang="0">
                <a:pos x="connsiteX0" y="connsiteY0"/>
              </a:cxn>
              <a:cxn ang="0">
                <a:pos x="connsiteX1" y="connsiteY1"/>
              </a:cxn>
              <a:cxn ang="0">
                <a:pos x="connsiteX2" y="connsiteY2"/>
              </a:cxn>
            </a:cxnLst>
            <a:rect l="l" t="t" r="r" b="b"/>
            <a:pathLst>
              <a:path w="745724" h="1491449">
                <a:moveTo>
                  <a:pt x="745724" y="0"/>
                </a:moveTo>
                <a:lnTo>
                  <a:pt x="0" y="0"/>
                </a:lnTo>
                <a:lnTo>
                  <a:pt x="0" y="1491449"/>
                </a:lnTo>
              </a:path>
            </a:pathLst>
          </a:cu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charset="-122"/>
              <a:cs typeface="+mn-cs"/>
            </a:endParaRPr>
          </a:p>
        </p:txBody>
      </p:sp>
      <p:sp>
        <p:nvSpPr>
          <p:cNvPr id="83" name="任意多边形 82"/>
          <p:cNvSpPr/>
          <p:nvPr/>
        </p:nvSpPr>
        <p:spPr>
          <a:xfrm rot="16200000" flipH="1">
            <a:off x="7216386" y="1363676"/>
            <a:ext cx="1236384" cy="2399045"/>
          </a:xfrm>
          <a:custGeom>
            <a:avLst/>
            <a:gdLst>
              <a:gd name="connsiteX0" fmla="*/ 745724 w 745724"/>
              <a:gd name="connsiteY0" fmla="*/ 0 h 1491449"/>
              <a:gd name="connsiteX1" fmla="*/ 0 w 745724"/>
              <a:gd name="connsiteY1" fmla="*/ 0 h 1491449"/>
              <a:gd name="connsiteX2" fmla="*/ 0 w 745724"/>
              <a:gd name="connsiteY2" fmla="*/ 1491449 h 1491449"/>
            </a:gdLst>
            <a:ahLst/>
            <a:cxnLst>
              <a:cxn ang="0">
                <a:pos x="connsiteX0" y="connsiteY0"/>
              </a:cxn>
              <a:cxn ang="0">
                <a:pos x="connsiteX1" y="connsiteY1"/>
              </a:cxn>
              <a:cxn ang="0">
                <a:pos x="connsiteX2" y="connsiteY2"/>
              </a:cxn>
            </a:cxnLst>
            <a:rect l="l" t="t" r="r" b="b"/>
            <a:pathLst>
              <a:path w="745724" h="1491449">
                <a:moveTo>
                  <a:pt x="745724" y="0"/>
                </a:moveTo>
                <a:lnTo>
                  <a:pt x="0" y="0"/>
                </a:lnTo>
                <a:lnTo>
                  <a:pt x="0" y="1491449"/>
                </a:lnTo>
              </a:path>
            </a:pathLst>
          </a:cu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charset="-122"/>
              <a:cs typeface="+mn-cs"/>
            </a:endParaRPr>
          </a:p>
        </p:txBody>
      </p:sp>
      <p:sp>
        <p:nvSpPr>
          <p:cNvPr id="84" name="矩形 83"/>
          <p:cNvSpPr/>
          <p:nvPr/>
        </p:nvSpPr>
        <p:spPr>
          <a:xfrm>
            <a:off x="7850466" y="3396344"/>
            <a:ext cx="932119" cy="626512"/>
          </a:xfrm>
          <a:prstGeom prst="rect">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600" b="1"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X</a:t>
            </a:r>
            <a:endParaRPr kumimoji="1" lang="zh-CN" altLang="en-US" sz="16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85" name="任意多边形 84"/>
          <p:cNvSpPr/>
          <p:nvPr/>
        </p:nvSpPr>
        <p:spPr>
          <a:xfrm rot="16200000">
            <a:off x="8069850" y="4234252"/>
            <a:ext cx="984224" cy="944095"/>
          </a:xfrm>
          <a:custGeom>
            <a:avLst/>
            <a:gdLst>
              <a:gd name="connsiteX0" fmla="*/ 745724 w 745724"/>
              <a:gd name="connsiteY0" fmla="*/ 0 h 1491449"/>
              <a:gd name="connsiteX1" fmla="*/ 0 w 745724"/>
              <a:gd name="connsiteY1" fmla="*/ 0 h 1491449"/>
              <a:gd name="connsiteX2" fmla="*/ 0 w 745724"/>
              <a:gd name="connsiteY2" fmla="*/ 1491449 h 1491449"/>
            </a:gdLst>
            <a:ahLst/>
            <a:cxnLst>
              <a:cxn ang="0">
                <a:pos x="connsiteX0" y="connsiteY0"/>
              </a:cxn>
              <a:cxn ang="0">
                <a:pos x="connsiteX1" y="connsiteY1"/>
              </a:cxn>
              <a:cxn ang="0">
                <a:pos x="connsiteX2" y="connsiteY2"/>
              </a:cxn>
            </a:cxnLst>
            <a:rect l="l" t="t" r="r" b="b"/>
            <a:pathLst>
              <a:path w="745724" h="1491449">
                <a:moveTo>
                  <a:pt x="745724" y="0"/>
                </a:moveTo>
                <a:lnTo>
                  <a:pt x="0" y="0"/>
                </a:lnTo>
                <a:lnTo>
                  <a:pt x="0" y="1491449"/>
                </a:lnTo>
              </a:path>
            </a:pathLst>
          </a:cu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charset="-122"/>
              <a:cs typeface="+mn-cs"/>
            </a:endParaRPr>
          </a:p>
        </p:txBody>
      </p:sp>
      <p:sp>
        <p:nvSpPr>
          <p:cNvPr id="86" name="任意多边形 85"/>
          <p:cNvSpPr/>
          <p:nvPr/>
        </p:nvSpPr>
        <p:spPr>
          <a:xfrm rot="16200000" flipH="1">
            <a:off x="8069850" y="2265801"/>
            <a:ext cx="984224" cy="944095"/>
          </a:xfrm>
          <a:custGeom>
            <a:avLst/>
            <a:gdLst>
              <a:gd name="connsiteX0" fmla="*/ 745724 w 745724"/>
              <a:gd name="connsiteY0" fmla="*/ 0 h 1491449"/>
              <a:gd name="connsiteX1" fmla="*/ 0 w 745724"/>
              <a:gd name="connsiteY1" fmla="*/ 0 h 1491449"/>
              <a:gd name="connsiteX2" fmla="*/ 0 w 745724"/>
              <a:gd name="connsiteY2" fmla="*/ 1491449 h 1491449"/>
            </a:gdLst>
            <a:ahLst/>
            <a:cxnLst>
              <a:cxn ang="0">
                <a:pos x="connsiteX0" y="connsiteY0"/>
              </a:cxn>
              <a:cxn ang="0">
                <a:pos x="connsiteX1" y="connsiteY1"/>
              </a:cxn>
              <a:cxn ang="0">
                <a:pos x="connsiteX2" y="connsiteY2"/>
              </a:cxn>
            </a:cxnLst>
            <a:rect l="l" t="t" r="r" b="b"/>
            <a:pathLst>
              <a:path w="745724" h="1491449">
                <a:moveTo>
                  <a:pt x="745724" y="0"/>
                </a:moveTo>
                <a:lnTo>
                  <a:pt x="0" y="0"/>
                </a:lnTo>
                <a:lnTo>
                  <a:pt x="0" y="1491449"/>
                </a:lnTo>
              </a:path>
            </a:pathLst>
          </a:cu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charset="-122"/>
              <a:cs typeface="+mn-cs"/>
            </a:endParaRPr>
          </a:p>
        </p:txBody>
      </p:sp>
      <p:sp>
        <p:nvSpPr>
          <p:cNvPr id="87" name="任意多边形 86"/>
          <p:cNvSpPr/>
          <p:nvPr/>
        </p:nvSpPr>
        <p:spPr>
          <a:xfrm rot="16200000">
            <a:off x="8210499" y="4224439"/>
            <a:ext cx="792848" cy="854361"/>
          </a:xfrm>
          <a:custGeom>
            <a:avLst/>
            <a:gdLst>
              <a:gd name="connsiteX0" fmla="*/ 745724 w 745724"/>
              <a:gd name="connsiteY0" fmla="*/ 0 h 1491449"/>
              <a:gd name="connsiteX1" fmla="*/ 0 w 745724"/>
              <a:gd name="connsiteY1" fmla="*/ 0 h 1491449"/>
              <a:gd name="connsiteX2" fmla="*/ 0 w 745724"/>
              <a:gd name="connsiteY2" fmla="*/ 1491449 h 1491449"/>
            </a:gdLst>
            <a:ahLst/>
            <a:cxnLst>
              <a:cxn ang="0">
                <a:pos x="connsiteX0" y="connsiteY0"/>
              </a:cxn>
              <a:cxn ang="0">
                <a:pos x="connsiteX1" y="connsiteY1"/>
              </a:cxn>
              <a:cxn ang="0">
                <a:pos x="connsiteX2" y="connsiteY2"/>
              </a:cxn>
            </a:cxnLst>
            <a:rect l="l" t="t" r="r" b="b"/>
            <a:pathLst>
              <a:path w="745724" h="1491449">
                <a:moveTo>
                  <a:pt x="745724" y="0"/>
                </a:moveTo>
                <a:lnTo>
                  <a:pt x="0" y="0"/>
                </a:lnTo>
                <a:lnTo>
                  <a:pt x="0" y="1491449"/>
                </a:lnTo>
              </a:path>
            </a:pathLst>
          </a:custGeom>
          <a:noFill/>
          <a:ln>
            <a:solidFill>
              <a:schemeClr val="bg1">
                <a:lumMod val="50000"/>
              </a:schemeClr>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charset="-122"/>
              <a:cs typeface="+mn-cs"/>
            </a:endParaRPr>
          </a:p>
        </p:txBody>
      </p:sp>
      <p:sp>
        <p:nvSpPr>
          <p:cNvPr id="89" name="任意多边形 88"/>
          <p:cNvSpPr/>
          <p:nvPr/>
        </p:nvSpPr>
        <p:spPr>
          <a:xfrm rot="16200000" flipH="1">
            <a:off x="8210499" y="2351681"/>
            <a:ext cx="792848" cy="854361"/>
          </a:xfrm>
          <a:custGeom>
            <a:avLst/>
            <a:gdLst>
              <a:gd name="connsiteX0" fmla="*/ 745724 w 745724"/>
              <a:gd name="connsiteY0" fmla="*/ 0 h 1491449"/>
              <a:gd name="connsiteX1" fmla="*/ 0 w 745724"/>
              <a:gd name="connsiteY1" fmla="*/ 0 h 1491449"/>
              <a:gd name="connsiteX2" fmla="*/ 0 w 745724"/>
              <a:gd name="connsiteY2" fmla="*/ 1491449 h 1491449"/>
            </a:gdLst>
            <a:ahLst/>
            <a:cxnLst>
              <a:cxn ang="0">
                <a:pos x="connsiteX0" y="connsiteY0"/>
              </a:cxn>
              <a:cxn ang="0">
                <a:pos x="connsiteX1" y="connsiteY1"/>
              </a:cxn>
              <a:cxn ang="0">
                <a:pos x="connsiteX2" y="connsiteY2"/>
              </a:cxn>
            </a:cxnLst>
            <a:rect l="l" t="t" r="r" b="b"/>
            <a:pathLst>
              <a:path w="745724" h="1491449">
                <a:moveTo>
                  <a:pt x="745724" y="0"/>
                </a:moveTo>
                <a:lnTo>
                  <a:pt x="0" y="0"/>
                </a:lnTo>
                <a:lnTo>
                  <a:pt x="0" y="1491449"/>
                </a:lnTo>
              </a:path>
            </a:pathLst>
          </a:custGeom>
          <a:noFill/>
          <a:ln>
            <a:solidFill>
              <a:schemeClr val="bg1">
                <a:lumMod val="50000"/>
              </a:schemeClr>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charset="-122"/>
              <a:cs typeface="+mn-cs"/>
            </a:endParaRPr>
          </a:p>
        </p:txBody>
      </p:sp>
      <p:sp>
        <p:nvSpPr>
          <p:cNvPr id="91" name="文本框 90"/>
          <p:cNvSpPr txBox="1"/>
          <p:nvPr/>
        </p:nvSpPr>
        <p:spPr>
          <a:xfrm>
            <a:off x="7672830" y="2572543"/>
            <a:ext cx="387332" cy="3437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92" name="文本框 91"/>
          <p:cNvSpPr txBox="1"/>
          <p:nvPr/>
        </p:nvSpPr>
        <p:spPr>
          <a:xfrm>
            <a:off x="9426834" y="2903339"/>
            <a:ext cx="360076" cy="2452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支付</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grpSp>
        <p:nvGrpSpPr>
          <p:cNvPr id="94" name="组合 93"/>
          <p:cNvGrpSpPr/>
          <p:nvPr/>
        </p:nvGrpSpPr>
        <p:grpSpPr>
          <a:xfrm rot="16200000">
            <a:off x="7336525" y="3313625"/>
            <a:ext cx="157545" cy="819243"/>
            <a:chOff x="3387436" y="2421082"/>
            <a:chExt cx="124691" cy="426027"/>
          </a:xfrm>
        </p:grpSpPr>
        <p:cxnSp>
          <p:nvCxnSpPr>
            <p:cNvPr id="114" name="直接箭头连接符 113"/>
            <p:cNvCxnSpPr/>
            <p:nvPr/>
          </p:nvCxnSpPr>
          <p:spPr>
            <a:xfrm flipV="1">
              <a:off x="3387436" y="2421082"/>
              <a:ext cx="0" cy="426027"/>
            </a:xfrm>
            <a:prstGeom prst="straightConnector1">
              <a:avLst/>
            </a:prstGeom>
            <a:noFill/>
            <a:ln>
              <a:solidFill>
                <a:schemeClr val="bg1">
                  <a:lumMod val="50000"/>
                </a:schemeClr>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15" name="直接箭头连接符 114"/>
            <p:cNvCxnSpPr/>
            <p:nvPr/>
          </p:nvCxnSpPr>
          <p:spPr>
            <a:xfrm flipV="1">
              <a:off x="3512127" y="2421082"/>
              <a:ext cx="0" cy="426027"/>
            </a:xfrm>
            <a:prstGeom prst="straightConnector1">
              <a:avLst/>
            </a:prstGeom>
            <a:noFill/>
            <a:ln>
              <a:solidFill>
                <a:schemeClr val="bg1">
                  <a:lumMod val="50000"/>
                </a:schemeClr>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grpSp>
      <p:cxnSp>
        <p:nvCxnSpPr>
          <p:cNvPr id="95" name="直接箭头连接符 94"/>
          <p:cNvCxnSpPr/>
          <p:nvPr/>
        </p:nvCxnSpPr>
        <p:spPr>
          <a:xfrm flipH="1">
            <a:off x="9832859" y="3701895"/>
            <a:ext cx="1398177" cy="0"/>
          </a:xfrm>
          <a:prstGeom prst="straightConnector1">
            <a:avLst/>
          </a:pr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96" name="文本框 95"/>
          <p:cNvSpPr txBox="1"/>
          <p:nvPr/>
        </p:nvSpPr>
        <p:spPr>
          <a:xfrm>
            <a:off x="7216634" y="3902420"/>
            <a:ext cx="397329" cy="3326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X</a:t>
            </a:r>
            <a:endPar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97" name="文本框 96"/>
          <p:cNvSpPr txBox="1"/>
          <p:nvPr/>
        </p:nvSpPr>
        <p:spPr>
          <a:xfrm>
            <a:off x="7216634" y="3261824"/>
            <a:ext cx="397329" cy="3326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X</a:t>
            </a:r>
            <a:endPar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98" name="文本框 97"/>
          <p:cNvSpPr txBox="1"/>
          <p:nvPr/>
        </p:nvSpPr>
        <p:spPr>
          <a:xfrm>
            <a:off x="8190611" y="2572543"/>
            <a:ext cx="387332" cy="3437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99" name="TextBox 9"/>
          <p:cNvSpPr txBox="1"/>
          <p:nvPr/>
        </p:nvSpPr>
        <p:spPr>
          <a:xfrm>
            <a:off x="5133429" y="3931065"/>
            <a:ext cx="656699" cy="344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rPr>
              <a:t>XX</a:t>
            </a:r>
            <a:endPar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endParaRPr>
          </a:p>
        </p:txBody>
      </p:sp>
      <p:sp>
        <p:nvSpPr>
          <p:cNvPr id="100" name="house-big-construction_58151"/>
          <p:cNvSpPr>
            <a:spLocks noChangeAspect="1"/>
          </p:cNvSpPr>
          <p:nvPr/>
        </p:nvSpPr>
        <p:spPr bwMode="auto">
          <a:xfrm>
            <a:off x="5145736" y="3331443"/>
            <a:ext cx="618890" cy="536801"/>
          </a:xfrm>
          <a:custGeom>
            <a:avLst/>
            <a:gdLst>
              <a:gd name="connsiteX0" fmla="*/ 449706 w 608542"/>
              <a:gd name="connsiteY0" fmla="*/ 367054 h 527829"/>
              <a:gd name="connsiteX1" fmla="*/ 443254 w 608542"/>
              <a:gd name="connsiteY1" fmla="*/ 373545 h 527829"/>
              <a:gd name="connsiteX2" fmla="*/ 443254 w 608542"/>
              <a:gd name="connsiteY2" fmla="*/ 416561 h 527829"/>
              <a:gd name="connsiteX3" fmla="*/ 449706 w 608542"/>
              <a:gd name="connsiteY3" fmla="*/ 423003 h 527829"/>
              <a:gd name="connsiteX4" fmla="*/ 492788 w 608542"/>
              <a:gd name="connsiteY4" fmla="*/ 423003 h 527829"/>
              <a:gd name="connsiteX5" fmla="*/ 499289 w 608542"/>
              <a:gd name="connsiteY5" fmla="*/ 416561 h 527829"/>
              <a:gd name="connsiteX6" fmla="*/ 499289 w 608542"/>
              <a:gd name="connsiteY6" fmla="*/ 373545 h 527829"/>
              <a:gd name="connsiteX7" fmla="*/ 492788 w 608542"/>
              <a:gd name="connsiteY7" fmla="*/ 367054 h 527829"/>
              <a:gd name="connsiteX8" fmla="*/ 366212 w 608542"/>
              <a:gd name="connsiteY8" fmla="*/ 367054 h 527829"/>
              <a:gd name="connsiteX9" fmla="*/ 359759 w 608542"/>
              <a:gd name="connsiteY9" fmla="*/ 373545 h 527829"/>
              <a:gd name="connsiteX10" fmla="*/ 359759 w 608542"/>
              <a:gd name="connsiteY10" fmla="*/ 416561 h 527829"/>
              <a:gd name="connsiteX11" fmla="*/ 366212 w 608542"/>
              <a:gd name="connsiteY11" fmla="*/ 423003 h 527829"/>
              <a:gd name="connsiteX12" fmla="*/ 409342 w 608542"/>
              <a:gd name="connsiteY12" fmla="*/ 423003 h 527829"/>
              <a:gd name="connsiteX13" fmla="*/ 415794 w 608542"/>
              <a:gd name="connsiteY13" fmla="*/ 416561 h 527829"/>
              <a:gd name="connsiteX14" fmla="*/ 415794 w 608542"/>
              <a:gd name="connsiteY14" fmla="*/ 373545 h 527829"/>
              <a:gd name="connsiteX15" fmla="*/ 409342 w 608542"/>
              <a:gd name="connsiteY15" fmla="*/ 367054 h 527829"/>
              <a:gd name="connsiteX16" fmla="*/ 282765 w 608542"/>
              <a:gd name="connsiteY16" fmla="*/ 367054 h 527829"/>
              <a:gd name="connsiteX17" fmla="*/ 276264 w 608542"/>
              <a:gd name="connsiteY17" fmla="*/ 373545 h 527829"/>
              <a:gd name="connsiteX18" fmla="*/ 276264 w 608542"/>
              <a:gd name="connsiteY18" fmla="*/ 476530 h 527829"/>
              <a:gd name="connsiteX19" fmla="*/ 282765 w 608542"/>
              <a:gd name="connsiteY19" fmla="*/ 482973 h 527829"/>
              <a:gd name="connsiteX20" fmla="*/ 325847 w 608542"/>
              <a:gd name="connsiteY20" fmla="*/ 482973 h 527829"/>
              <a:gd name="connsiteX21" fmla="*/ 332348 w 608542"/>
              <a:gd name="connsiteY21" fmla="*/ 476530 h 527829"/>
              <a:gd name="connsiteX22" fmla="*/ 332348 w 608542"/>
              <a:gd name="connsiteY22" fmla="*/ 373545 h 527829"/>
              <a:gd name="connsiteX23" fmla="*/ 325847 w 608542"/>
              <a:gd name="connsiteY23" fmla="*/ 367054 h 527829"/>
              <a:gd name="connsiteX24" fmla="*/ 199271 w 608542"/>
              <a:gd name="connsiteY24" fmla="*/ 367054 h 527829"/>
              <a:gd name="connsiteX25" fmla="*/ 192818 w 608542"/>
              <a:gd name="connsiteY25" fmla="*/ 373545 h 527829"/>
              <a:gd name="connsiteX26" fmla="*/ 192818 w 608542"/>
              <a:gd name="connsiteY26" fmla="*/ 416561 h 527829"/>
              <a:gd name="connsiteX27" fmla="*/ 199271 w 608542"/>
              <a:gd name="connsiteY27" fmla="*/ 423003 h 527829"/>
              <a:gd name="connsiteX28" fmla="*/ 242401 w 608542"/>
              <a:gd name="connsiteY28" fmla="*/ 423003 h 527829"/>
              <a:gd name="connsiteX29" fmla="*/ 248853 w 608542"/>
              <a:gd name="connsiteY29" fmla="*/ 416561 h 527829"/>
              <a:gd name="connsiteX30" fmla="*/ 248853 w 608542"/>
              <a:gd name="connsiteY30" fmla="*/ 373545 h 527829"/>
              <a:gd name="connsiteX31" fmla="*/ 242401 w 608542"/>
              <a:gd name="connsiteY31" fmla="*/ 367054 h 527829"/>
              <a:gd name="connsiteX32" fmla="*/ 115824 w 608542"/>
              <a:gd name="connsiteY32" fmla="*/ 367054 h 527829"/>
              <a:gd name="connsiteX33" fmla="*/ 109323 w 608542"/>
              <a:gd name="connsiteY33" fmla="*/ 373545 h 527829"/>
              <a:gd name="connsiteX34" fmla="*/ 109323 w 608542"/>
              <a:gd name="connsiteY34" fmla="*/ 416561 h 527829"/>
              <a:gd name="connsiteX35" fmla="*/ 115824 w 608542"/>
              <a:gd name="connsiteY35" fmla="*/ 423003 h 527829"/>
              <a:gd name="connsiteX36" fmla="*/ 158906 w 608542"/>
              <a:gd name="connsiteY36" fmla="*/ 423003 h 527829"/>
              <a:gd name="connsiteX37" fmla="*/ 165359 w 608542"/>
              <a:gd name="connsiteY37" fmla="*/ 416561 h 527829"/>
              <a:gd name="connsiteX38" fmla="*/ 165359 w 608542"/>
              <a:gd name="connsiteY38" fmla="*/ 373545 h 527829"/>
              <a:gd name="connsiteX39" fmla="*/ 158906 w 608542"/>
              <a:gd name="connsiteY39" fmla="*/ 367054 h 527829"/>
              <a:gd name="connsiteX40" fmla="*/ 449706 w 608542"/>
              <a:gd name="connsiteY40" fmla="*/ 271336 h 527829"/>
              <a:gd name="connsiteX41" fmla="*/ 443254 w 608542"/>
              <a:gd name="connsiteY41" fmla="*/ 277778 h 527829"/>
              <a:gd name="connsiteX42" fmla="*/ 443254 w 608542"/>
              <a:gd name="connsiteY42" fmla="*/ 320842 h 527829"/>
              <a:gd name="connsiteX43" fmla="*/ 449706 w 608542"/>
              <a:gd name="connsiteY43" fmla="*/ 327285 h 527829"/>
              <a:gd name="connsiteX44" fmla="*/ 492788 w 608542"/>
              <a:gd name="connsiteY44" fmla="*/ 327285 h 527829"/>
              <a:gd name="connsiteX45" fmla="*/ 499289 w 608542"/>
              <a:gd name="connsiteY45" fmla="*/ 320842 h 527829"/>
              <a:gd name="connsiteX46" fmla="*/ 499289 w 608542"/>
              <a:gd name="connsiteY46" fmla="*/ 277778 h 527829"/>
              <a:gd name="connsiteX47" fmla="*/ 492788 w 608542"/>
              <a:gd name="connsiteY47" fmla="*/ 271336 h 527829"/>
              <a:gd name="connsiteX48" fmla="*/ 366212 w 608542"/>
              <a:gd name="connsiteY48" fmla="*/ 271336 h 527829"/>
              <a:gd name="connsiteX49" fmla="*/ 359759 w 608542"/>
              <a:gd name="connsiteY49" fmla="*/ 277778 h 527829"/>
              <a:gd name="connsiteX50" fmla="*/ 359759 w 608542"/>
              <a:gd name="connsiteY50" fmla="*/ 320842 h 527829"/>
              <a:gd name="connsiteX51" fmla="*/ 366212 w 608542"/>
              <a:gd name="connsiteY51" fmla="*/ 327285 h 527829"/>
              <a:gd name="connsiteX52" fmla="*/ 409342 w 608542"/>
              <a:gd name="connsiteY52" fmla="*/ 327285 h 527829"/>
              <a:gd name="connsiteX53" fmla="*/ 415794 w 608542"/>
              <a:gd name="connsiteY53" fmla="*/ 320842 h 527829"/>
              <a:gd name="connsiteX54" fmla="*/ 415794 w 608542"/>
              <a:gd name="connsiteY54" fmla="*/ 277778 h 527829"/>
              <a:gd name="connsiteX55" fmla="*/ 409342 w 608542"/>
              <a:gd name="connsiteY55" fmla="*/ 271336 h 527829"/>
              <a:gd name="connsiteX56" fmla="*/ 282765 w 608542"/>
              <a:gd name="connsiteY56" fmla="*/ 271336 h 527829"/>
              <a:gd name="connsiteX57" fmla="*/ 276264 w 608542"/>
              <a:gd name="connsiteY57" fmla="*/ 277778 h 527829"/>
              <a:gd name="connsiteX58" fmla="*/ 276264 w 608542"/>
              <a:gd name="connsiteY58" fmla="*/ 320842 h 527829"/>
              <a:gd name="connsiteX59" fmla="*/ 282765 w 608542"/>
              <a:gd name="connsiteY59" fmla="*/ 327285 h 527829"/>
              <a:gd name="connsiteX60" fmla="*/ 325847 w 608542"/>
              <a:gd name="connsiteY60" fmla="*/ 327285 h 527829"/>
              <a:gd name="connsiteX61" fmla="*/ 332348 w 608542"/>
              <a:gd name="connsiteY61" fmla="*/ 320842 h 527829"/>
              <a:gd name="connsiteX62" fmla="*/ 332348 w 608542"/>
              <a:gd name="connsiteY62" fmla="*/ 277778 h 527829"/>
              <a:gd name="connsiteX63" fmla="*/ 325847 w 608542"/>
              <a:gd name="connsiteY63" fmla="*/ 271336 h 527829"/>
              <a:gd name="connsiteX64" fmla="*/ 199271 w 608542"/>
              <a:gd name="connsiteY64" fmla="*/ 271336 h 527829"/>
              <a:gd name="connsiteX65" fmla="*/ 192818 w 608542"/>
              <a:gd name="connsiteY65" fmla="*/ 277778 h 527829"/>
              <a:gd name="connsiteX66" fmla="*/ 192818 w 608542"/>
              <a:gd name="connsiteY66" fmla="*/ 320842 h 527829"/>
              <a:gd name="connsiteX67" fmla="*/ 199271 w 608542"/>
              <a:gd name="connsiteY67" fmla="*/ 327285 h 527829"/>
              <a:gd name="connsiteX68" fmla="*/ 242401 w 608542"/>
              <a:gd name="connsiteY68" fmla="*/ 327285 h 527829"/>
              <a:gd name="connsiteX69" fmla="*/ 248853 w 608542"/>
              <a:gd name="connsiteY69" fmla="*/ 320842 h 527829"/>
              <a:gd name="connsiteX70" fmla="*/ 248853 w 608542"/>
              <a:gd name="connsiteY70" fmla="*/ 277778 h 527829"/>
              <a:gd name="connsiteX71" fmla="*/ 242401 w 608542"/>
              <a:gd name="connsiteY71" fmla="*/ 271336 h 527829"/>
              <a:gd name="connsiteX72" fmla="*/ 115824 w 608542"/>
              <a:gd name="connsiteY72" fmla="*/ 271336 h 527829"/>
              <a:gd name="connsiteX73" fmla="*/ 109323 w 608542"/>
              <a:gd name="connsiteY73" fmla="*/ 277778 h 527829"/>
              <a:gd name="connsiteX74" fmla="*/ 109323 w 608542"/>
              <a:gd name="connsiteY74" fmla="*/ 320842 h 527829"/>
              <a:gd name="connsiteX75" fmla="*/ 115824 w 608542"/>
              <a:gd name="connsiteY75" fmla="*/ 327285 h 527829"/>
              <a:gd name="connsiteX76" fmla="*/ 158906 w 608542"/>
              <a:gd name="connsiteY76" fmla="*/ 327285 h 527829"/>
              <a:gd name="connsiteX77" fmla="*/ 165359 w 608542"/>
              <a:gd name="connsiteY77" fmla="*/ 320842 h 527829"/>
              <a:gd name="connsiteX78" fmla="*/ 165359 w 608542"/>
              <a:gd name="connsiteY78" fmla="*/ 277778 h 527829"/>
              <a:gd name="connsiteX79" fmla="*/ 158906 w 608542"/>
              <a:gd name="connsiteY79" fmla="*/ 271336 h 527829"/>
              <a:gd name="connsiteX80" fmla="*/ 81864 w 608542"/>
              <a:gd name="connsiteY80" fmla="*/ 238299 h 527829"/>
              <a:gd name="connsiteX81" fmla="*/ 526749 w 608542"/>
              <a:gd name="connsiteY81" fmla="*/ 238299 h 527829"/>
              <a:gd name="connsiteX82" fmla="*/ 533250 w 608542"/>
              <a:gd name="connsiteY82" fmla="*/ 244742 h 527829"/>
              <a:gd name="connsiteX83" fmla="*/ 533250 w 608542"/>
              <a:gd name="connsiteY83" fmla="*/ 497457 h 527829"/>
              <a:gd name="connsiteX84" fmla="*/ 571140 w 608542"/>
              <a:gd name="connsiteY84" fmla="*/ 497457 h 527829"/>
              <a:gd name="connsiteX85" fmla="*/ 577641 w 608542"/>
              <a:gd name="connsiteY85" fmla="*/ 503948 h 527829"/>
              <a:gd name="connsiteX86" fmla="*/ 577641 w 608542"/>
              <a:gd name="connsiteY86" fmla="*/ 521386 h 527829"/>
              <a:gd name="connsiteX87" fmla="*/ 571140 w 608542"/>
              <a:gd name="connsiteY87" fmla="*/ 527829 h 527829"/>
              <a:gd name="connsiteX88" fmla="*/ 37472 w 608542"/>
              <a:gd name="connsiteY88" fmla="*/ 527829 h 527829"/>
              <a:gd name="connsiteX89" fmla="*/ 30971 w 608542"/>
              <a:gd name="connsiteY89" fmla="*/ 521386 h 527829"/>
              <a:gd name="connsiteX90" fmla="*/ 30971 w 608542"/>
              <a:gd name="connsiteY90" fmla="*/ 503948 h 527829"/>
              <a:gd name="connsiteX91" fmla="*/ 37472 w 608542"/>
              <a:gd name="connsiteY91" fmla="*/ 497457 h 527829"/>
              <a:gd name="connsiteX92" fmla="*/ 75411 w 608542"/>
              <a:gd name="connsiteY92" fmla="*/ 497457 h 527829"/>
              <a:gd name="connsiteX93" fmla="*/ 75411 w 608542"/>
              <a:gd name="connsiteY93" fmla="*/ 244742 h 527829"/>
              <a:gd name="connsiteX94" fmla="*/ 81864 w 608542"/>
              <a:gd name="connsiteY94" fmla="*/ 238299 h 527829"/>
              <a:gd name="connsiteX95" fmla="*/ 193268 w 608542"/>
              <a:gd name="connsiteY95" fmla="*/ 0 h 527829"/>
              <a:gd name="connsiteX96" fmla="*/ 224754 w 608542"/>
              <a:gd name="connsiteY96" fmla="*/ 0 h 527829"/>
              <a:gd name="connsiteX97" fmla="*/ 231255 w 608542"/>
              <a:gd name="connsiteY97" fmla="*/ 6443 h 527829"/>
              <a:gd name="connsiteX98" fmla="*/ 231255 w 608542"/>
              <a:gd name="connsiteY98" fmla="*/ 49848 h 527829"/>
              <a:gd name="connsiteX99" fmla="*/ 237708 w 608542"/>
              <a:gd name="connsiteY99" fmla="*/ 56340 h 527829"/>
              <a:gd name="connsiteX100" fmla="*/ 466893 w 608542"/>
              <a:gd name="connsiteY100" fmla="*/ 56340 h 527829"/>
              <a:gd name="connsiteX101" fmla="*/ 471745 w 608542"/>
              <a:gd name="connsiteY101" fmla="*/ 58520 h 527829"/>
              <a:gd name="connsiteX102" fmla="*/ 606908 w 608542"/>
              <a:gd name="connsiteY102" fmla="*/ 211504 h 527829"/>
              <a:gd name="connsiteX103" fmla="*/ 602105 w 608542"/>
              <a:gd name="connsiteY103" fmla="*/ 222210 h 527829"/>
              <a:gd name="connsiteX104" fmla="*/ 6485 w 608542"/>
              <a:gd name="connsiteY104" fmla="*/ 222210 h 527829"/>
              <a:gd name="connsiteX105" fmla="*/ 1633 w 608542"/>
              <a:gd name="connsiteY105" fmla="*/ 211504 h 527829"/>
              <a:gd name="connsiteX106" fmla="*/ 136797 w 608542"/>
              <a:gd name="connsiteY106" fmla="*/ 58520 h 527829"/>
              <a:gd name="connsiteX107" fmla="*/ 141648 w 608542"/>
              <a:gd name="connsiteY107" fmla="*/ 56340 h 527829"/>
              <a:gd name="connsiteX108" fmla="*/ 180363 w 608542"/>
              <a:gd name="connsiteY108" fmla="*/ 56340 h 527829"/>
              <a:gd name="connsiteX109" fmla="*/ 186816 w 608542"/>
              <a:gd name="connsiteY109" fmla="*/ 49848 h 527829"/>
              <a:gd name="connsiteX110" fmla="*/ 186816 w 608542"/>
              <a:gd name="connsiteY110" fmla="*/ 6443 h 527829"/>
              <a:gd name="connsiteX111" fmla="*/ 193268 w 608542"/>
              <a:gd name="connsiteY111" fmla="*/ 0 h 52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08542" h="527829">
                <a:moveTo>
                  <a:pt x="449706" y="367054"/>
                </a:moveTo>
                <a:cubicBezTo>
                  <a:pt x="446116" y="367054"/>
                  <a:pt x="443254" y="369961"/>
                  <a:pt x="443254" y="373545"/>
                </a:cubicBezTo>
                <a:lnTo>
                  <a:pt x="443254" y="416561"/>
                </a:lnTo>
                <a:cubicBezTo>
                  <a:pt x="443254" y="420145"/>
                  <a:pt x="446116" y="423003"/>
                  <a:pt x="449706" y="423003"/>
                </a:cubicBezTo>
                <a:lnTo>
                  <a:pt x="492788" y="423003"/>
                </a:lnTo>
                <a:cubicBezTo>
                  <a:pt x="496378" y="423003"/>
                  <a:pt x="499289" y="420145"/>
                  <a:pt x="499289" y="416561"/>
                </a:cubicBezTo>
                <a:lnTo>
                  <a:pt x="499289" y="373545"/>
                </a:lnTo>
                <a:cubicBezTo>
                  <a:pt x="499289" y="369961"/>
                  <a:pt x="496378" y="367054"/>
                  <a:pt x="492788" y="367054"/>
                </a:cubicBezTo>
                <a:close/>
                <a:moveTo>
                  <a:pt x="366212" y="367054"/>
                </a:moveTo>
                <a:cubicBezTo>
                  <a:pt x="362670" y="367054"/>
                  <a:pt x="359759" y="369961"/>
                  <a:pt x="359759" y="373545"/>
                </a:cubicBezTo>
                <a:lnTo>
                  <a:pt x="359759" y="416561"/>
                </a:lnTo>
                <a:cubicBezTo>
                  <a:pt x="359759" y="420145"/>
                  <a:pt x="362670" y="423003"/>
                  <a:pt x="366212" y="423003"/>
                </a:cubicBezTo>
                <a:lnTo>
                  <a:pt x="409342" y="423003"/>
                </a:lnTo>
                <a:cubicBezTo>
                  <a:pt x="412932" y="423003"/>
                  <a:pt x="415794" y="420145"/>
                  <a:pt x="415794" y="416561"/>
                </a:cubicBezTo>
                <a:lnTo>
                  <a:pt x="415794" y="373545"/>
                </a:lnTo>
                <a:cubicBezTo>
                  <a:pt x="415794" y="369961"/>
                  <a:pt x="412932" y="367054"/>
                  <a:pt x="409342" y="367054"/>
                </a:cubicBezTo>
                <a:close/>
                <a:moveTo>
                  <a:pt x="282765" y="367054"/>
                </a:moveTo>
                <a:cubicBezTo>
                  <a:pt x="279175" y="367054"/>
                  <a:pt x="276264" y="369961"/>
                  <a:pt x="276264" y="373545"/>
                </a:cubicBezTo>
                <a:lnTo>
                  <a:pt x="276264" y="476530"/>
                </a:lnTo>
                <a:cubicBezTo>
                  <a:pt x="276264" y="480066"/>
                  <a:pt x="279175" y="482973"/>
                  <a:pt x="282765" y="482973"/>
                </a:cubicBezTo>
                <a:lnTo>
                  <a:pt x="325847" y="482973"/>
                </a:lnTo>
                <a:cubicBezTo>
                  <a:pt x="329437" y="482973"/>
                  <a:pt x="332348" y="480066"/>
                  <a:pt x="332348" y="476530"/>
                </a:cubicBezTo>
                <a:lnTo>
                  <a:pt x="332348" y="373545"/>
                </a:lnTo>
                <a:cubicBezTo>
                  <a:pt x="332348" y="369961"/>
                  <a:pt x="329437" y="367054"/>
                  <a:pt x="325847" y="367054"/>
                </a:cubicBezTo>
                <a:close/>
                <a:moveTo>
                  <a:pt x="199271" y="367054"/>
                </a:moveTo>
                <a:cubicBezTo>
                  <a:pt x="195729" y="367054"/>
                  <a:pt x="192818" y="369961"/>
                  <a:pt x="192818" y="373545"/>
                </a:cubicBezTo>
                <a:lnTo>
                  <a:pt x="192818" y="416561"/>
                </a:lnTo>
                <a:cubicBezTo>
                  <a:pt x="192818" y="420145"/>
                  <a:pt x="195729" y="423003"/>
                  <a:pt x="199271" y="423003"/>
                </a:cubicBezTo>
                <a:lnTo>
                  <a:pt x="242401" y="423003"/>
                </a:lnTo>
                <a:cubicBezTo>
                  <a:pt x="245942" y="423003"/>
                  <a:pt x="248853" y="420145"/>
                  <a:pt x="248853" y="416561"/>
                </a:cubicBezTo>
                <a:lnTo>
                  <a:pt x="248853" y="373545"/>
                </a:lnTo>
                <a:cubicBezTo>
                  <a:pt x="248853" y="369961"/>
                  <a:pt x="245942" y="367054"/>
                  <a:pt x="242401" y="367054"/>
                </a:cubicBezTo>
                <a:close/>
                <a:moveTo>
                  <a:pt x="115824" y="367054"/>
                </a:moveTo>
                <a:cubicBezTo>
                  <a:pt x="112234" y="367054"/>
                  <a:pt x="109323" y="369961"/>
                  <a:pt x="109323" y="373545"/>
                </a:cubicBezTo>
                <a:lnTo>
                  <a:pt x="109323" y="416561"/>
                </a:lnTo>
                <a:cubicBezTo>
                  <a:pt x="109323" y="420145"/>
                  <a:pt x="112234" y="423003"/>
                  <a:pt x="115824" y="423003"/>
                </a:cubicBezTo>
                <a:lnTo>
                  <a:pt x="158906" y="423003"/>
                </a:lnTo>
                <a:cubicBezTo>
                  <a:pt x="162496" y="423003"/>
                  <a:pt x="165359" y="420145"/>
                  <a:pt x="165359" y="416561"/>
                </a:cubicBezTo>
                <a:lnTo>
                  <a:pt x="165359" y="373545"/>
                </a:lnTo>
                <a:cubicBezTo>
                  <a:pt x="165359" y="369961"/>
                  <a:pt x="162496" y="367054"/>
                  <a:pt x="158906" y="367054"/>
                </a:cubicBezTo>
                <a:close/>
                <a:moveTo>
                  <a:pt x="449706" y="271336"/>
                </a:moveTo>
                <a:cubicBezTo>
                  <a:pt x="446116" y="271336"/>
                  <a:pt x="443254" y="274242"/>
                  <a:pt x="443254" y="277778"/>
                </a:cubicBezTo>
                <a:lnTo>
                  <a:pt x="443254" y="320842"/>
                </a:lnTo>
                <a:cubicBezTo>
                  <a:pt x="443254" y="324378"/>
                  <a:pt x="446116" y="327285"/>
                  <a:pt x="449706" y="327285"/>
                </a:cubicBezTo>
                <a:lnTo>
                  <a:pt x="492788" y="327285"/>
                </a:lnTo>
                <a:cubicBezTo>
                  <a:pt x="496378" y="327285"/>
                  <a:pt x="499289" y="324378"/>
                  <a:pt x="499289" y="320842"/>
                </a:cubicBezTo>
                <a:lnTo>
                  <a:pt x="499289" y="277778"/>
                </a:lnTo>
                <a:cubicBezTo>
                  <a:pt x="499289" y="274242"/>
                  <a:pt x="496378" y="271336"/>
                  <a:pt x="492788" y="271336"/>
                </a:cubicBezTo>
                <a:close/>
                <a:moveTo>
                  <a:pt x="366212" y="271336"/>
                </a:moveTo>
                <a:cubicBezTo>
                  <a:pt x="362670" y="271336"/>
                  <a:pt x="359759" y="274242"/>
                  <a:pt x="359759" y="277778"/>
                </a:cubicBezTo>
                <a:lnTo>
                  <a:pt x="359759" y="320842"/>
                </a:lnTo>
                <a:cubicBezTo>
                  <a:pt x="359759" y="324378"/>
                  <a:pt x="362670" y="327285"/>
                  <a:pt x="366212" y="327285"/>
                </a:cubicBezTo>
                <a:lnTo>
                  <a:pt x="409342" y="327285"/>
                </a:lnTo>
                <a:cubicBezTo>
                  <a:pt x="412932" y="327285"/>
                  <a:pt x="415794" y="324378"/>
                  <a:pt x="415794" y="320842"/>
                </a:cubicBezTo>
                <a:lnTo>
                  <a:pt x="415794" y="277778"/>
                </a:lnTo>
                <a:cubicBezTo>
                  <a:pt x="415794" y="274242"/>
                  <a:pt x="412932" y="271336"/>
                  <a:pt x="409342" y="271336"/>
                </a:cubicBezTo>
                <a:close/>
                <a:moveTo>
                  <a:pt x="282765" y="271336"/>
                </a:moveTo>
                <a:cubicBezTo>
                  <a:pt x="279175" y="271336"/>
                  <a:pt x="276264" y="274242"/>
                  <a:pt x="276264" y="277778"/>
                </a:cubicBezTo>
                <a:lnTo>
                  <a:pt x="276264" y="320842"/>
                </a:lnTo>
                <a:cubicBezTo>
                  <a:pt x="276264" y="324378"/>
                  <a:pt x="279175" y="327285"/>
                  <a:pt x="282765" y="327285"/>
                </a:cubicBezTo>
                <a:lnTo>
                  <a:pt x="325847" y="327285"/>
                </a:lnTo>
                <a:cubicBezTo>
                  <a:pt x="329437" y="327285"/>
                  <a:pt x="332348" y="324378"/>
                  <a:pt x="332348" y="320842"/>
                </a:cubicBezTo>
                <a:lnTo>
                  <a:pt x="332348" y="277778"/>
                </a:lnTo>
                <a:cubicBezTo>
                  <a:pt x="332348" y="274242"/>
                  <a:pt x="329437" y="271336"/>
                  <a:pt x="325847" y="271336"/>
                </a:cubicBezTo>
                <a:close/>
                <a:moveTo>
                  <a:pt x="199271" y="271336"/>
                </a:moveTo>
                <a:cubicBezTo>
                  <a:pt x="195729" y="271336"/>
                  <a:pt x="192818" y="274242"/>
                  <a:pt x="192818" y="277778"/>
                </a:cubicBezTo>
                <a:lnTo>
                  <a:pt x="192818" y="320842"/>
                </a:lnTo>
                <a:cubicBezTo>
                  <a:pt x="192818" y="324378"/>
                  <a:pt x="195729" y="327285"/>
                  <a:pt x="199271" y="327285"/>
                </a:cubicBezTo>
                <a:lnTo>
                  <a:pt x="242401" y="327285"/>
                </a:lnTo>
                <a:cubicBezTo>
                  <a:pt x="245942" y="327285"/>
                  <a:pt x="248853" y="324378"/>
                  <a:pt x="248853" y="320842"/>
                </a:cubicBezTo>
                <a:lnTo>
                  <a:pt x="248853" y="277778"/>
                </a:lnTo>
                <a:cubicBezTo>
                  <a:pt x="248853" y="274242"/>
                  <a:pt x="245942" y="271336"/>
                  <a:pt x="242401" y="271336"/>
                </a:cubicBezTo>
                <a:close/>
                <a:moveTo>
                  <a:pt x="115824" y="271336"/>
                </a:moveTo>
                <a:cubicBezTo>
                  <a:pt x="112234" y="271336"/>
                  <a:pt x="109323" y="274242"/>
                  <a:pt x="109323" y="277778"/>
                </a:cubicBezTo>
                <a:lnTo>
                  <a:pt x="109323" y="320842"/>
                </a:lnTo>
                <a:cubicBezTo>
                  <a:pt x="109323" y="324378"/>
                  <a:pt x="112234" y="327285"/>
                  <a:pt x="115824" y="327285"/>
                </a:cubicBezTo>
                <a:lnTo>
                  <a:pt x="158906" y="327285"/>
                </a:lnTo>
                <a:cubicBezTo>
                  <a:pt x="162496" y="327285"/>
                  <a:pt x="165359" y="324378"/>
                  <a:pt x="165359" y="320842"/>
                </a:cubicBezTo>
                <a:lnTo>
                  <a:pt x="165359" y="277778"/>
                </a:lnTo>
                <a:cubicBezTo>
                  <a:pt x="165359" y="274242"/>
                  <a:pt x="162496" y="271336"/>
                  <a:pt x="158906" y="271336"/>
                </a:cubicBezTo>
                <a:close/>
                <a:moveTo>
                  <a:pt x="81864" y="238299"/>
                </a:moveTo>
                <a:lnTo>
                  <a:pt x="526749" y="238299"/>
                </a:lnTo>
                <a:cubicBezTo>
                  <a:pt x="530339" y="238299"/>
                  <a:pt x="533250" y="241157"/>
                  <a:pt x="533250" y="244742"/>
                </a:cubicBezTo>
                <a:lnTo>
                  <a:pt x="533250" y="497457"/>
                </a:lnTo>
                <a:lnTo>
                  <a:pt x="571140" y="497457"/>
                </a:lnTo>
                <a:cubicBezTo>
                  <a:pt x="574730" y="497457"/>
                  <a:pt x="577641" y="500363"/>
                  <a:pt x="577641" y="503948"/>
                </a:cubicBezTo>
                <a:lnTo>
                  <a:pt x="577641" y="521386"/>
                </a:lnTo>
                <a:cubicBezTo>
                  <a:pt x="577641" y="524923"/>
                  <a:pt x="574730" y="527829"/>
                  <a:pt x="571140" y="527829"/>
                </a:cubicBezTo>
                <a:lnTo>
                  <a:pt x="37472" y="527829"/>
                </a:lnTo>
                <a:cubicBezTo>
                  <a:pt x="33882" y="527829"/>
                  <a:pt x="30971" y="524923"/>
                  <a:pt x="30971" y="521386"/>
                </a:cubicBezTo>
                <a:lnTo>
                  <a:pt x="30971" y="503948"/>
                </a:lnTo>
                <a:cubicBezTo>
                  <a:pt x="30971" y="500363"/>
                  <a:pt x="33882" y="497457"/>
                  <a:pt x="37472" y="497457"/>
                </a:cubicBezTo>
                <a:lnTo>
                  <a:pt x="75411" y="497457"/>
                </a:lnTo>
                <a:lnTo>
                  <a:pt x="75411" y="244742"/>
                </a:lnTo>
                <a:cubicBezTo>
                  <a:pt x="75411" y="241157"/>
                  <a:pt x="78274" y="238299"/>
                  <a:pt x="81864" y="238299"/>
                </a:cubicBezTo>
                <a:close/>
                <a:moveTo>
                  <a:pt x="193268" y="0"/>
                </a:moveTo>
                <a:lnTo>
                  <a:pt x="224754" y="0"/>
                </a:lnTo>
                <a:cubicBezTo>
                  <a:pt x="228345" y="0"/>
                  <a:pt x="231255" y="2907"/>
                  <a:pt x="231255" y="6443"/>
                </a:cubicBezTo>
                <a:lnTo>
                  <a:pt x="231255" y="49848"/>
                </a:lnTo>
                <a:cubicBezTo>
                  <a:pt x="231255" y="53433"/>
                  <a:pt x="234166" y="56340"/>
                  <a:pt x="237708" y="56340"/>
                </a:cubicBezTo>
                <a:lnTo>
                  <a:pt x="466893" y="56340"/>
                </a:lnTo>
                <a:cubicBezTo>
                  <a:pt x="468737" y="56340"/>
                  <a:pt x="470532" y="57115"/>
                  <a:pt x="471745" y="58520"/>
                </a:cubicBezTo>
                <a:lnTo>
                  <a:pt x="606908" y="211504"/>
                </a:lnTo>
                <a:cubicBezTo>
                  <a:pt x="610595" y="215670"/>
                  <a:pt x="607636" y="222210"/>
                  <a:pt x="602105" y="222210"/>
                </a:cubicBezTo>
                <a:lnTo>
                  <a:pt x="6485" y="222210"/>
                </a:lnTo>
                <a:cubicBezTo>
                  <a:pt x="906" y="222210"/>
                  <a:pt x="-2054" y="215670"/>
                  <a:pt x="1633" y="211504"/>
                </a:cubicBezTo>
                <a:lnTo>
                  <a:pt x="136797" y="58520"/>
                </a:lnTo>
                <a:cubicBezTo>
                  <a:pt x="138009" y="57115"/>
                  <a:pt x="139804" y="56340"/>
                  <a:pt x="141648" y="56340"/>
                </a:cubicBezTo>
                <a:lnTo>
                  <a:pt x="180363" y="56340"/>
                </a:lnTo>
                <a:cubicBezTo>
                  <a:pt x="183905" y="56340"/>
                  <a:pt x="186816" y="53433"/>
                  <a:pt x="186816" y="49848"/>
                </a:cubicBezTo>
                <a:lnTo>
                  <a:pt x="186816" y="6443"/>
                </a:lnTo>
                <a:cubicBezTo>
                  <a:pt x="186816" y="2907"/>
                  <a:pt x="189727" y="0"/>
                  <a:pt x="193268" y="0"/>
                </a:cubicBezTo>
                <a:close/>
              </a:path>
            </a:pathLst>
          </a:custGeom>
          <a:solidFill>
            <a:schemeClr val="accent1">
              <a:lumMod val="7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101" name="TextBox 9"/>
          <p:cNvSpPr txBox="1"/>
          <p:nvPr/>
        </p:nvSpPr>
        <p:spPr>
          <a:xfrm>
            <a:off x="3925243" y="3931065"/>
            <a:ext cx="656699" cy="344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rPr>
              <a:t>XXX</a:t>
            </a:r>
            <a:endPar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endParaRPr>
          </a:p>
        </p:txBody>
      </p:sp>
      <p:sp>
        <p:nvSpPr>
          <p:cNvPr id="102" name="house-big-construction_58151"/>
          <p:cNvSpPr>
            <a:spLocks noChangeAspect="1"/>
          </p:cNvSpPr>
          <p:nvPr/>
        </p:nvSpPr>
        <p:spPr bwMode="auto">
          <a:xfrm>
            <a:off x="3979141" y="3331443"/>
            <a:ext cx="618890" cy="536801"/>
          </a:xfrm>
          <a:custGeom>
            <a:avLst/>
            <a:gdLst>
              <a:gd name="connsiteX0" fmla="*/ 449706 w 608542"/>
              <a:gd name="connsiteY0" fmla="*/ 367054 h 527829"/>
              <a:gd name="connsiteX1" fmla="*/ 443254 w 608542"/>
              <a:gd name="connsiteY1" fmla="*/ 373545 h 527829"/>
              <a:gd name="connsiteX2" fmla="*/ 443254 w 608542"/>
              <a:gd name="connsiteY2" fmla="*/ 416561 h 527829"/>
              <a:gd name="connsiteX3" fmla="*/ 449706 w 608542"/>
              <a:gd name="connsiteY3" fmla="*/ 423003 h 527829"/>
              <a:gd name="connsiteX4" fmla="*/ 492788 w 608542"/>
              <a:gd name="connsiteY4" fmla="*/ 423003 h 527829"/>
              <a:gd name="connsiteX5" fmla="*/ 499289 w 608542"/>
              <a:gd name="connsiteY5" fmla="*/ 416561 h 527829"/>
              <a:gd name="connsiteX6" fmla="*/ 499289 w 608542"/>
              <a:gd name="connsiteY6" fmla="*/ 373545 h 527829"/>
              <a:gd name="connsiteX7" fmla="*/ 492788 w 608542"/>
              <a:gd name="connsiteY7" fmla="*/ 367054 h 527829"/>
              <a:gd name="connsiteX8" fmla="*/ 366212 w 608542"/>
              <a:gd name="connsiteY8" fmla="*/ 367054 h 527829"/>
              <a:gd name="connsiteX9" fmla="*/ 359759 w 608542"/>
              <a:gd name="connsiteY9" fmla="*/ 373545 h 527829"/>
              <a:gd name="connsiteX10" fmla="*/ 359759 w 608542"/>
              <a:gd name="connsiteY10" fmla="*/ 416561 h 527829"/>
              <a:gd name="connsiteX11" fmla="*/ 366212 w 608542"/>
              <a:gd name="connsiteY11" fmla="*/ 423003 h 527829"/>
              <a:gd name="connsiteX12" fmla="*/ 409342 w 608542"/>
              <a:gd name="connsiteY12" fmla="*/ 423003 h 527829"/>
              <a:gd name="connsiteX13" fmla="*/ 415794 w 608542"/>
              <a:gd name="connsiteY13" fmla="*/ 416561 h 527829"/>
              <a:gd name="connsiteX14" fmla="*/ 415794 w 608542"/>
              <a:gd name="connsiteY14" fmla="*/ 373545 h 527829"/>
              <a:gd name="connsiteX15" fmla="*/ 409342 w 608542"/>
              <a:gd name="connsiteY15" fmla="*/ 367054 h 527829"/>
              <a:gd name="connsiteX16" fmla="*/ 282765 w 608542"/>
              <a:gd name="connsiteY16" fmla="*/ 367054 h 527829"/>
              <a:gd name="connsiteX17" fmla="*/ 276264 w 608542"/>
              <a:gd name="connsiteY17" fmla="*/ 373545 h 527829"/>
              <a:gd name="connsiteX18" fmla="*/ 276264 w 608542"/>
              <a:gd name="connsiteY18" fmla="*/ 476530 h 527829"/>
              <a:gd name="connsiteX19" fmla="*/ 282765 w 608542"/>
              <a:gd name="connsiteY19" fmla="*/ 482973 h 527829"/>
              <a:gd name="connsiteX20" fmla="*/ 325847 w 608542"/>
              <a:gd name="connsiteY20" fmla="*/ 482973 h 527829"/>
              <a:gd name="connsiteX21" fmla="*/ 332348 w 608542"/>
              <a:gd name="connsiteY21" fmla="*/ 476530 h 527829"/>
              <a:gd name="connsiteX22" fmla="*/ 332348 w 608542"/>
              <a:gd name="connsiteY22" fmla="*/ 373545 h 527829"/>
              <a:gd name="connsiteX23" fmla="*/ 325847 w 608542"/>
              <a:gd name="connsiteY23" fmla="*/ 367054 h 527829"/>
              <a:gd name="connsiteX24" fmla="*/ 199271 w 608542"/>
              <a:gd name="connsiteY24" fmla="*/ 367054 h 527829"/>
              <a:gd name="connsiteX25" fmla="*/ 192818 w 608542"/>
              <a:gd name="connsiteY25" fmla="*/ 373545 h 527829"/>
              <a:gd name="connsiteX26" fmla="*/ 192818 w 608542"/>
              <a:gd name="connsiteY26" fmla="*/ 416561 h 527829"/>
              <a:gd name="connsiteX27" fmla="*/ 199271 w 608542"/>
              <a:gd name="connsiteY27" fmla="*/ 423003 h 527829"/>
              <a:gd name="connsiteX28" fmla="*/ 242401 w 608542"/>
              <a:gd name="connsiteY28" fmla="*/ 423003 h 527829"/>
              <a:gd name="connsiteX29" fmla="*/ 248853 w 608542"/>
              <a:gd name="connsiteY29" fmla="*/ 416561 h 527829"/>
              <a:gd name="connsiteX30" fmla="*/ 248853 w 608542"/>
              <a:gd name="connsiteY30" fmla="*/ 373545 h 527829"/>
              <a:gd name="connsiteX31" fmla="*/ 242401 w 608542"/>
              <a:gd name="connsiteY31" fmla="*/ 367054 h 527829"/>
              <a:gd name="connsiteX32" fmla="*/ 115824 w 608542"/>
              <a:gd name="connsiteY32" fmla="*/ 367054 h 527829"/>
              <a:gd name="connsiteX33" fmla="*/ 109323 w 608542"/>
              <a:gd name="connsiteY33" fmla="*/ 373545 h 527829"/>
              <a:gd name="connsiteX34" fmla="*/ 109323 w 608542"/>
              <a:gd name="connsiteY34" fmla="*/ 416561 h 527829"/>
              <a:gd name="connsiteX35" fmla="*/ 115824 w 608542"/>
              <a:gd name="connsiteY35" fmla="*/ 423003 h 527829"/>
              <a:gd name="connsiteX36" fmla="*/ 158906 w 608542"/>
              <a:gd name="connsiteY36" fmla="*/ 423003 h 527829"/>
              <a:gd name="connsiteX37" fmla="*/ 165359 w 608542"/>
              <a:gd name="connsiteY37" fmla="*/ 416561 h 527829"/>
              <a:gd name="connsiteX38" fmla="*/ 165359 w 608542"/>
              <a:gd name="connsiteY38" fmla="*/ 373545 h 527829"/>
              <a:gd name="connsiteX39" fmla="*/ 158906 w 608542"/>
              <a:gd name="connsiteY39" fmla="*/ 367054 h 527829"/>
              <a:gd name="connsiteX40" fmla="*/ 449706 w 608542"/>
              <a:gd name="connsiteY40" fmla="*/ 271336 h 527829"/>
              <a:gd name="connsiteX41" fmla="*/ 443254 w 608542"/>
              <a:gd name="connsiteY41" fmla="*/ 277778 h 527829"/>
              <a:gd name="connsiteX42" fmla="*/ 443254 w 608542"/>
              <a:gd name="connsiteY42" fmla="*/ 320842 h 527829"/>
              <a:gd name="connsiteX43" fmla="*/ 449706 w 608542"/>
              <a:gd name="connsiteY43" fmla="*/ 327285 h 527829"/>
              <a:gd name="connsiteX44" fmla="*/ 492788 w 608542"/>
              <a:gd name="connsiteY44" fmla="*/ 327285 h 527829"/>
              <a:gd name="connsiteX45" fmla="*/ 499289 w 608542"/>
              <a:gd name="connsiteY45" fmla="*/ 320842 h 527829"/>
              <a:gd name="connsiteX46" fmla="*/ 499289 w 608542"/>
              <a:gd name="connsiteY46" fmla="*/ 277778 h 527829"/>
              <a:gd name="connsiteX47" fmla="*/ 492788 w 608542"/>
              <a:gd name="connsiteY47" fmla="*/ 271336 h 527829"/>
              <a:gd name="connsiteX48" fmla="*/ 366212 w 608542"/>
              <a:gd name="connsiteY48" fmla="*/ 271336 h 527829"/>
              <a:gd name="connsiteX49" fmla="*/ 359759 w 608542"/>
              <a:gd name="connsiteY49" fmla="*/ 277778 h 527829"/>
              <a:gd name="connsiteX50" fmla="*/ 359759 w 608542"/>
              <a:gd name="connsiteY50" fmla="*/ 320842 h 527829"/>
              <a:gd name="connsiteX51" fmla="*/ 366212 w 608542"/>
              <a:gd name="connsiteY51" fmla="*/ 327285 h 527829"/>
              <a:gd name="connsiteX52" fmla="*/ 409342 w 608542"/>
              <a:gd name="connsiteY52" fmla="*/ 327285 h 527829"/>
              <a:gd name="connsiteX53" fmla="*/ 415794 w 608542"/>
              <a:gd name="connsiteY53" fmla="*/ 320842 h 527829"/>
              <a:gd name="connsiteX54" fmla="*/ 415794 w 608542"/>
              <a:gd name="connsiteY54" fmla="*/ 277778 h 527829"/>
              <a:gd name="connsiteX55" fmla="*/ 409342 w 608542"/>
              <a:gd name="connsiteY55" fmla="*/ 271336 h 527829"/>
              <a:gd name="connsiteX56" fmla="*/ 282765 w 608542"/>
              <a:gd name="connsiteY56" fmla="*/ 271336 h 527829"/>
              <a:gd name="connsiteX57" fmla="*/ 276264 w 608542"/>
              <a:gd name="connsiteY57" fmla="*/ 277778 h 527829"/>
              <a:gd name="connsiteX58" fmla="*/ 276264 w 608542"/>
              <a:gd name="connsiteY58" fmla="*/ 320842 h 527829"/>
              <a:gd name="connsiteX59" fmla="*/ 282765 w 608542"/>
              <a:gd name="connsiteY59" fmla="*/ 327285 h 527829"/>
              <a:gd name="connsiteX60" fmla="*/ 325847 w 608542"/>
              <a:gd name="connsiteY60" fmla="*/ 327285 h 527829"/>
              <a:gd name="connsiteX61" fmla="*/ 332348 w 608542"/>
              <a:gd name="connsiteY61" fmla="*/ 320842 h 527829"/>
              <a:gd name="connsiteX62" fmla="*/ 332348 w 608542"/>
              <a:gd name="connsiteY62" fmla="*/ 277778 h 527829"/>
              <a:gd name="connsiteX63" fmla="*/ 325847 w 608542"/>
              <a:gd name="connsiteY63" fmla="*/ 271336 h 527829"/>
              <a:gd name="connsiteX64" fmla="*/ 199271 w 608542"/>
              <a:gd name="connsiteY64" fmla="*/ 271336 h 527829"/>
              <a:gd name="connsiteX65" fmla="*/ 192818 w 608542"/>
              <a:gd name="connsiteY65" fmla="*/ 277778 h 527829"/>
              <a:gd name="connsiteX66" fmla="*/ 192818 w 608542"/>
              <a:gd name="connsiteY66" fmla="*/ 320842 h 527829"/>
              <a:gd name="connsiteX67" fmla="*/ 199271 w 608542"/>
              <a:gd name="connsiteY67" fmla="*/ 327285 h 527829"/>
              <a:gd name="connsiteX68" fmla="*/ 242401 w 608542"/>
              <a:gd name="connsiteY68" fmla="*/ 327285 h 527829"/>
              <a:gd name="connsiteX69" fmla="*/ 248853 w 608542"/>
              <a:gd name="connsiteY69" fmla="*/ 320842 h 527829"/>
              <a:gd name="connsiteX70" fmla="*/ 248853 w 608542"/>
              <a:gd name="connsiteY70" fmla="*/ 277778 h 527829"/>
              <a:gd name="connsiteX71" fmla="*/ 242401 w 608542"/>
              <a:gd name="connsiteY71" fmla="*/ 271336 h 527829"/>
              <a:gd name="connsiteX72" fmla="*/ 115824 w 608542"/>
              <a:gd name="connsiteY72" fmla="*/ 271336 h 527829"/>
              <a:gd name="connsiteX73" fmla="*/ 109323 w 608542"/>
              <a:gd name="connsiteY73" fmla="*/ 277778 h 527829"/>
              <a:gd name="connsiteX74" fmla="*/ 109323 w 608542"/>
              <a:gd name="connsiteY74" fmla="*/ 320842 h 527829"/>
              <a:gd name="connsiteX75" fmla="*/ 115824 w 608542"/>
              <a:gd name="connsiteY75" fmla="*/ 327285 h 527829"/>
              <a:gd name="connsiteX76" fmla="*/ 158906 w 608542"/>
              <a:gd name="connsiteY76" fmla="*/ 327285 h 527829"/>
              <a:gd name="connsiteX77" fmla="*/ 165359 w 608542"/>
              <a:gd name="connsiteY77" fmla="*/ 320842 h 527829"/>
              <a:gd name="connsiteX78" fmla="*/ 165359 w 608542"/>
              <a:gd name="connsiteY78" fmla="*/ 277778 h 527829"/>
              <a:gd name="connsiteX79" fmla="*/ 158906 w 608542"/>
              <a:gd name="connsiteY79" fmla="*/ 271336 h 527829"/>
              <a:gd name="connsiteX80" fmla="*/ 81864 w 608542"/>
              <a:gd name="connsiteY80" fmla="*/ 238299 h 527829"/>
              <a:gd name="connsiteX81" fmla="*/ 526749 w 608542"/>
              <a:gd name="connsiteY81" fmla="*/ 238299 h 527829"/>
              <a:gd name="connsiteX82" fmla="*/ 533250 w 608542"/>
              <a:gd name="connsiteY82" fmla="*/ 244742 h 527829"/>
              <a:gd name="connsiteX83" fmla="*/ 533250 w 608542"/>
              <a:gd name="connsiteY83" fmla="*/ 497457 h 527829"/>
              <a:gd name="connsiteX84" fmla="*/ 571140 w 608542"/>
              <a:gd name="connsiteY84" fmla="*/ 497457 h 527829"/>
              <a:gd name="connsiteX85" fmla="*/ 577641 w 608542"/>
              <a:gd name="connsiteY85" fmla="*/ 503948 h 527829"/>
              <a:gd name="connsiteX86" fmla="*/ 577641 w 608542"/>
              <a:gd name="connsiteY86" fmla="*/ 521386 h 527829"/>
              <a:gd name="connsiteX87" fmla="*/ 571140 w 608542"/>
              <a:gd name="connsiteY87" fmla="*/ 527829 h 527829"/>
              <a:gd name="connsiteX88" fmla="*/ 37472 w 608542"/>
              <a:gd name="connsiteY88" fmla="*/ 527829 h 527829"/>
              <a:gd name="connsiteX89" fmla="*/ 30971 w 608542"/>
              <a:gd name="connsiteY89" fmla="*/ 521386 h 527829"/>
              <a:gd name="connsiteX90" fmla="*/ 30971 w 608542"/>
              <a:gd name="connsiteY90" fmla="*/ 503948 h 527829"/>
              <a:gd name="connsiteX91" fmla="*/ 37472 w 608542"/>
              <a:gd name="connsiteY91" fmla="*/ 497457 h 527829"/>
              <a:gd name="connsiteX92" fmla="*/ 75411 w 608542"/>
              <a:gd name="connsiteY92" fmla="*/ 497457 h 527829"/>
              <a:gd name="connsiteX93" fmla="*/ 75411 w 608542"/>
              <a:gd name="connsiteY93" fmla="*/ 244742 h 527829"/>
              <a:gd name="connsiteX94" fmla="*/ 81864 w 608542"/>
              <a:gd name="connsiteY94" fmla="*/ 238299 h 527829"/>
              <a:gd name="connsiteX95" fmla="*/ 193268 w 608542"/>
              <a:gd name="connsiteY95" fmla="*/ 0 h 527829"/>
              <a:gd name="connsiteX96" fmla="*/ 224754 w 608542"/>
              <a:gd name="connsiteY96" fmla="*/ 0 h 527829"/>
              <a:gd name="connsiteX97" fmla="*/ 231255 w 608542"/>
              <a:gd name="connsiteY97" fmla="*/ 6443 h 527829"/>
              <a:gd name="connsiteX98" fmla="*/ 231255 w 608542"/>
              <a:gd name="connsiteY98" fmla="*/ 49848 h 527829"/>
              <a:gd name="connsiteX99" fmla="*/ 237708 w 608542"/>
              <a:gd name="connsiteY99" fmla="*/ 56340 h 527829"/>
              <a:gd name="connsiteX100" fmla="*/ 466893 w 608542"/>
              <a:gd name="connsiteY100" fmla="*/ 56340 h 527829"/>
              <a:gd name="connsiteX101" fmla="*/ 471745 w 608542"/>
              <a:gd name="connsiteY101" fmla="*/ 58520 h 527829"/>
              <a:gd name="connsiteX102" fmla="*/ 606908 w 608542"/>
              <a:gd name="connsiteY102" fmla="*/ 211504 h 527829"/>
              <a:gd name="connsiteX103" fmla="*/ 602105 w 608542"/>
              <a:gd name="connsiteY103" fmla="*/ 222210 h 527829"/>
              <a:gd name="connsiteX104" fmla="*/ 6485 w 608542"/>
              <a:gd name="connsiteY104" fmla="*/ 222210 h 527829"/>
              <a:gd name="connsiteX105" fmla="*/ 1633 w 608542"/>
              <a:gd name="connsiteY105" fmla="*/ 211504 h 527829"/>
              <a:gd name="connsiteX106" fmla="*/ 136797 w 608542"/>
              <a:gd name="connsiteY106" fmla="*/ 58520 h 527829"/>
              <a:gd name="connsiteX107" fmla="*/ 141648 w 608542"/>
              <a:gd name="connsiteY107" fmla="*/ 56340 h 527829"/>
              <a:gd name="connsiteX108" fmla="*/ 180363 w 608542"/>
              <a:gd name="connsiteY108" fmla="*/ 56340 h 527829"/>
              <a:gd name="connsiteX109" fmla="*/ 186816 w 608542"/>
              <a:gd name="connsiteY109" fmla="*/ 49848 h 527829"/>
              <a:gd name="connsiteX110" fmla="*/ 186816 w 608542"/>
              <a:gd name="connsiteY110" fmla="*/ 6443 h 527829"/>
              <a:gd name="connsiteX111" fmla="*/ 193268 w 608542"/>
              <a:gd name="connsiteY111" fmla="*/ 0 h 52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08542" h="527829">
                <a:moveTo>
                  <a:pt x="449706" y="367054"/>
                </a:moveTo>
                <a:cubicBezTo>
                  <a:pt x="446116" y="367054"/>
                  <a:pt x="443254" y="369961"/>
                  <a:pt x="443254" y="373545"/>
                </a:cubicBezTo>
                <a:lnTo>
                  <a:pt x="443254" y="416561"/>
                </a:lnTo>
                <a:cubicBezTo>
                  <a:pt x="443254" y="420145"/>
                  <a:pt x="446116" y="423003"/>
                  <a:pt x="449706" y="423003"/>
                </a:cubicBezTo>
                <a:lnTo>
                  <a:pt x="492788" y="423003"/>
                </a:lnTo>
                <a:cubicBezTo>
                  <a:pt x="496378" y="423003"/>
                  <a:pt x="499289" y="420145"/>
                  <a:pt x="499289" y="416561"/>
                </a:cubicBezTo>
                <a:lnTo>
                  <a:pt x="499289" y="373545"/>
                </a:lnTo>
                <a:cubicBezTo>
                  <a:pt x="499289" y="369961"/>
                  <a:pt x="496378" y="367054"/>
                  <a:pt x="492788" y="367054"/>
                </a:cubicBezTo>
                <a:close/>
                <a:moveTo>
                  <a:pt x="366212" y="367054"/>
                </a:moveTo>
                <a:cubicBezTo>
                  <a:pt x="362670" y="367054"/>
                  <a:pt x="359759" y="369961"/>
                  <a:pt x="359759" y="373545"/>
                </a:cubicBezTo>
                <a:lnTo>
                  <a:pt x="359759" y="416561"/>
                </a:lnTo>
                <a:cubicBezTo>
                  <a:pt x="359759" y="420145"/>
                  <a:pt x="362670" y="423003"/>
                  <a:pt x="366212" y="423003"/>
                </a:cubicBezTo>
                <a:lnTo>
                  <a:pt x="409342" y="423003"/>
                </a:lnTo>
                <a:cubicBezTo>
                  <a:pt x="412932" y="423003"/>
                  <a:pt x="415794" y="420145"/>
                  <a:pt x="415794" y="416561"/>
                </a:cubicBezTo>
                <a:lnTo>
                  <a:pt x="415794" y="373545"/>
                </a:lnTo>
                <a:cubicBezTo>
                  <a:pt x="415794" y="369961"/>
                  <a:pt x="412932" y="367054"/>
                  <a:pt x="409342" y="367054"/>
                </a:cubicBezTo>
                <a:close/>
                <a:moveTo>
                  <a:pt x="282765" y="367054"/>
                </a:moveTo>
                <a:cubicBezTo>
                  <a:pt x="279175" y="367054"/>
                  <a:pt x="276264" y="369961"/>
                  <a:pt x="276264" y="373545"/>
                </a:cubicBezTo>
                <a:lnTo>
                  <a:pt x="276264" y="476530"/>
                </a:lnTo>
                <a:cubicBezTo>
                  <a:pt x="276264" y="480066"/>
                  <a:pt x="279175" y="482973"/>
                  <a:pt x="282765" y="482973"/>
                </a:cubicBezTo>
                <a:lnTo>
                  <a:pt x="325847" y="482973"/>
                </a:lnTo>
                <a:cubicBezTo>
                  <a:pt x="329437" y="482973"/>
                  <a:pt x="332348" y="480066"/>
                  <a:pt x="332348" y="476530"/>
                </a:cubicBezTo>
                <a:lnTo>
                  <a:pt x="332348" y="373545"/>
                </a:lnTo>
                <a:cubicBezTo>
                  <a:pt x="332348" y="369961"/>
                  <a:pt x="329437" y="367054"/>
                  <a:pt x="325847" y="367054"/>
                </a:cubicBezTo>
                <a:close/>
                <a:moveTo>
                  <a:pt x="199271" y="367054"/>
                </a:moveTo>
                <a:cubicBezTo>
                  <a:pt x="195729" y="367054"/>
                  <a:pt x="192818" y="369961"/>
                  <a:pt x="192818" y="373545"/>
                </a:cubicBezTo>
                <a:lnTo>
                  <a:pt x="192818" y="416561"/>
                </a:lnTo>
                <a:cubicBezTo>
                  <a:pt x="192818" y="420145"/>
                  <a:pt x="195729" y="423003"/>
                  <a:pt x="199271" y="423003"/>
                </a:cubicBezTo>
                <a:lnTo>
                  <a:pt x="242401" y="423003"/>
                </a:lnTo>
                <a:cubicBezTo>
                  <a:pt x="245942" y="423003"/>
                  <a:pt x="248853" y="420145"/>
                  <a:pt x="248853" y="416561"/>
                </a:cubicBezTo>
                <a:lnTo>
                  <a:pt x="248853" y="373545"/>
                </a:lnTo>
                <a:cubicBezTo>
                  <a:pt x="248853" y="369961"/>
                  <a:pt x="245942" y="367054"/>
                  <a:pt x="242401" y="367054"/>
                </a:cubicBezTo>
                <a:close/>
                <a:moveTo>
                  <a:pt x="115824" y="367054"/>
                </a:moveTo>
                <a:cubicBezTo>
                  <a:pt x="112234" y="367054"/>
                  <a:pt x="109323" y="369961"/>
                  <a:pt x="109323" y="373545"/>
                </a:cubicBezTo>
                <a:lnTo>
                  <a:pt x="109323" y="416561"/>
                </a:lnTo>
                <a:cubicBezTo>
                  <a:pt x="109323" y="420145"/>
                  <a:pt x="112234" y="423003"/>
                  <a:pt x="115824" y="423003"/>
                </a:cubicBezTo>
                <a:lnTo>
                  <a:pt x="158906" y="423003"/>
                </a:lnTo>
                <a:cubicBezTo>
                  <a:pt x="162496" y="423003"/>
                  <a:pt x="165359" y="420145"/>
                  <a:pt x="165359" y="416561"/>
                </a:cubicBezTo>
                <a:lnTo>
                  <a:pt x="165359" y="373545"/>
                </a:lnTo>
                <a:cubicBezTo>
                  <a:pt x="165359" y="369961"/>
                  <a:pt x="162496" y="367054"/>
                  <a:pt x="158906" y="367054"/>
                </a:cubicBezTo>
                <a:close/>
                <a:moveTo>
                  <a:pt x="449706" y="271336"/>
                </a:moveTo>
                <a:cubicBezTo>
                  <a:pt x="446116" y="271336"/>
                  <a:pt x="443254" y="274242"/>
                  <a:pt x="443254" y="277778"/>
                </a:cubicBezTo>
                <a:lnTo>
                  <a:pt x="443254" y="320842"/>
                </a:lnTo>
                <a:cubicBezTo>
                  <a:pt x="443254" y="324378"/>
                  <a:pt x="446116" y="327285"/>
                  <a:pt x="449706" y="327285"/>
                </a:cubicBezTo>
                <a:lnTo>
                  <a:pt x="492788" y="327285"/>
                </a:lnTo>
                <a:cubicBezTo>
                  <a:pt x="496378" y="327285"/>
                  <a:pt x="499289" y="324378"/>
                  <a:pt x="499289" y="320842"/>
                </a:cubicBezTo>
                <a:lnTo>
                  <a:pt x="499289" y="277778"/>
                </a:lnTo>
                <a:cubicBezTo>
                  <a:pt x="499289" y="274242"/>
                  <a:pt x="496378" y="271336"/>
                  <a:pt x="492788" y="271336"/>
                </a:cubicBezTo>
                <a:close/>
                <a:moveTo>
                  <a:pt x="366212" y="271336"/>
                </a:moveTo>
                <a:cubicBezTo>
                  <a:pt x="362670" y="271336"/>
                  <a:pt x="359759" y="274242"/>
                  <a:pt x="359759" y="277778"/>
                </a:cubicBezTo>
                <a:lnTo>
                  <a:pt x="359759" y="320842"/>
                </a:lnTo>
                <a:cubicBezTo>
                  <a:pt x="359759" y="324378"/>
                  <a:pt x="362670" y="327285"/>
                  <a:pt x="366212" y="327285"/>
                </a:cubicBezTo>
                <a:lnTo>
                  <a:pt x="409342" y="327285"/>
                </a:lnTo>
                <a:cubicBezTo>
                  <a:pt x="412932" y="327285"/>
                  <a:pt x="415794" y="324378"/>
                  <a:pt x="415794" y="320842"/>
                </a:cubicBezTo>
                <a:lnTo>
                  <a:pt x="415794" y="277778"/>
                </a:lnTo>
                <a:cubicBezTo>
                  <a:pt x="415794" y="274242"/>
                  <a:pt x="412932" y="271336"/>
                  <a:pt x="409342" y="271336"/>
                </a:cubicBezTo>
                <a:close/>
                <a:moveTo>
                  <a:pt x="282765" y="271336"/>
                </a:moveTo>
                <a:cubicBezTo>
                  <a:pt x="279175" y="271336"/>
                  <a:pt x="276264" y="274242"/>
                  <a:pt x="276264" y="277778"/>
                </a:cubicBezTo>
                <a:lnTo>
                  <a:pt x="276264" y="320842"/>
                </a:lnTo>
                <a:cubicBezTo>
                  <a:pt x="276264" y="324378"/>
                  <a:pt x="279175" y="327285"/>
                  <a:pt x="282765" y="327285"/>
                </a:cubicBezTo>
                <a:lnTo>
                  <a:pt x="325847" y="327285"/>
                </a:lnTo>
                <a:cubicBezTo>
                  <a:pt x="329437" y="327285"/>
                  <a:pt x="332348" y="324378"/>
                  <a:pt x="332348" y="320842"/>
                </a:cubicBezTo>
                <a:lnTo>
                  <a:pt x="332348" y="277778"/>
                </a:lnTo>
                <a:cubicBezTo>
                  <a:pt x="332348" y="274242"/>
                  <a:pt x="329437" y="271336"/>
                  <a:pt x="325847" y="271336"/>
                </a:cubicBezTo>
                <a:close/>
                <a:moveTo>
                  <a:pt x="199271" y="271336"/>
                </a:moveTo>
                <a:cubicBezTo>
                  <a:pt x="195729" y="271336"/>
                  <a:pt x="192818" y="274242"/>
                  <a:pt x="192818" y="277778"/>
                </a:cubicBezTo>
                <a:lnTo>
                  <a:pt x="192818" y="320842"/>
                </a:lnTo>
                <a:cubicBezTo>
                  <a:pt x="192818" y="324378"/>
                  <a:pt x="195729" y="327285"/>
                  <a:pt x="199271" y="327285"/>
                </a:cubicBezTo>
                <a:lnTo>
                  <a:pt x="242401" y="327285"/>
                </a:lnTo>
                <a:cubicBezTo>
                  <a:pt x="245942" y="327285"/>
                  <a:pt x="248853" y="324378"/>
                  <a:pt x="248853" y="320842"/>
                </a:cubicBezTo>
                <a:lnTo>
                  <a:pt x="248853" y="277778"/>
                </a:lnTo>
                <a:cubicBezTo>
                  <a:pt x="248853" y="274242"/>
                  <a:pt x="245942" y="271336"/>
                  <a:pt x="242401" y="271336"/>
                </a:cubicBezTo>
                <a:close/>
                <a:moveTo>
                  <a:pt x="115824" y="271336"/>
                </a:moveTo>
                <a:cubicBezTo>
                  <a:pt x="112234" y="271336"/>
                  <a:pt x="109323" y="274242"/>
                  <a:pt x="109323" y="277778"/>
                </a:cubicBezTo>
                <a:lnTo>
                  <a:pt x="109323" y="320842"/>
                </a:lnTo>
                <a:cubicBezTo>
                  <a:pt x="109323" y="324378"/>
                  <a:pt x="112234" y="327285"/>
                  <a:pt x="115824" y="327285"/>
                </a:cubicBezTo>
                <a:lnTo>
                  <a:pt x="158906" y="327285"/>
                </a:lnTo>
                <a:cubicBezTo>
                  <a:pt x="162496" y="327285"/>
                  <a:pt x="165359" y="324378"/>
                  <a:pt x="165359" y="320842"/>
                </a:cubicBezTo>
                <a:lnTo>
                  <a:pt x="165359" y="277778"/>
                </a:lnTo>
                <a:cubicBezTo>
                  <a:pt x="165359" y="274242"/>
                  <a:pt x="162496" y="271336"/>
                  <a:pt x="158906" y="271336"/>
                </a:cubicBezTo>
                <a:close/>
                <a:moveTo>
                  <a:pt x="81864" y="238299"/>
                </a:moveTo>
                <a:lnTo>
                  <a:pt x="526749" y="238299"/>
                </a:lnTo>
                <a:cubicBezTo>
                  <a:pt x="530339" y="238299"/>
                  <a:pt x="533250" y="241157"/>
                  <a:pt x="533250" y="244742"/>
                </a:cubicBezTo>
                <a:lnTo>
                  <a:pt x="533250" y="497457"/>
                </a:lnTo>
                <a:lnTo>
                  <a:pt x="571140" y="497457"/>
                </a:lnTo>
                <a:cubicBezTo>
                  <a:pt x="574730" y="497457"/>
                  <a:pt x="577641" y="500363"/>
                  <a:pt x="577641" y="503948"/>
                </a:cubicBezTo>
                <a:lnTo>
                  <a:pt x="577641" y="521386"/>
                </a:lnTo>
                <a:cubicBezTo>
                  <a:pt x="577641" y="524923"/>
                  <a:pt x="574730" y="527829"/>
                  <a:pt x="571140" y="527829"/>
                </a:cubicBezTo>
                <a:lnTo>
                  <a:pt x="37472" y="527829"/>
                </a:lnTo>
                <a:cubicBezTo>
                  <a:pt x="33882" y="527829"/>
                  <a:pt x="30971" y="524923"/>
                  <a:pt x="30971" y="521386"/>
                </a:cubicBezTo>
                <a:lnTo>
                  <a:pt x="30971" y="503948"/>
                </a:lnTo>
                <a:cubicBezTo>
                  <a:pt x="30971" y="500363"/>
                  <a:pt x="33882" y="497457"/>
                  <a:pt x="37472" y="497457"/>
                </a:cubicBezTo>
                <a:lnTo>
                  <a:pt x="75411" y="497457"/>
                </a:lnTo>
                <a:lnTo>
                  <a:pt x="75411" y="244742"/>
                </a:lnTo>
                <a:cubicBezTo>
                  <a:pt x="75411" y="241157"/>
                  <a:pt x="78274" y="238299"/>
                  <a:pt x="81864" y="238299"/>
                </a:cubicBezTo>
                <a:close/>
                <a:moveTo>
                  <a:pt x="193268" y="0"/>
                </a:moveTo>
                <a:lnTo>
                  <a:pt x="224754" y="0"/>
                </a:lnTo>
                <a:cubicBezTo>
                  <a:pt x="228345" y="0"/>
                  <a:pt x="231255" y="2907"/>
                  <a:pt x="231255" y="6443"/>
                </a:cubicBezTo>
                <a:lnTo>
                  <a:pt x="231255" y="49848"/>
                </a:lnTo>
                <a:cubicBezTo>
                  <a:pt x="231255" y="53433"/>
                  <a:pt x="234166" y="56340"/>
                  <a:pt x="237708" y="56340"/>
                </a:cubicBezTo>
                <a:lnTo>
                  <a:pt x="466893" y="56340"/>
                </a:lnTo>
                <a:cubicBezTo>
                  <a:pt x="468737" y="56340"/>
                  <a:pt x="470532" y="57115"/>
                  <a:pt x="471745" y="58520"/>
                </a:cubicBezTo>
                <a:lnTo>
                  <a:pt x="606908" y="211504"/>
                </a:lnTo>
                <a:cubicBezTo>
                  <a:pt x="610595" y="215670"/>
                  <a:pt x="607636" y="222210"/>
                  <a:pt x="602105" y="222210"/>
                </a:cubicBezTo>
                <a:lnTo>
                  <a:pt x="6485" y="222210"/>
                </a:lnTo>
                <a:cubicBezTo>
                  <a:pt x="906" y="222210"/>
                  <a:pt x="-2054" y="215670"/>
                  <a:pt x="1633" y="211504"/>
                </a:cubicBezTo>
                <a:lnTo>
                  <a:pt x="136797" y="58520"/>
                </a:lnTo>
                <a:cubicBezTo>
                  <a:pt x="138009" y="57115"/>
                  <a:pt x="139804" y="56340"/>
                  <a:pt x="141648" y="56340"/>
                </a:cubicBezTo>
                <a:lnTo>
                  <a:pt x="180363" y="56340"/>
                </a:lnTo>
                <a:cubicBezTo>
                  <a:pt x="183905" y="56340"/>
                  <a:pt x="186816" y="53433"/>
                  <a:pt x="186816" y="49848"/>
                </a:cubicBezTo>
                <a:lnTo>
                  <a:pt x="186816" y="6443"/>
                </a:lnTo>
                <a:cubicBezTo>
                  <a:pt x="186816" y="2907"/>
                  <a:pt x="189727" y="0"/>
                  <a:pt x="193268" y="0"/>
                </a:cubicBezTo>
                <a:close/>
              </a:path>
            </a:pathLst>
          </a:custGeom>
          <a:solidFill>
            <a:schemeClr val="accent1">
              <a:lumMod val="7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charset="-122"/>
              <a:cs typeface="+mn-cs"/>
            </a:endParaRPr>
          </a:p>
        </p:txBody>
      </p:sp>
      <p:cxnSp>
        <p:nvCxnSpPr>
          <p:cNvPr id="103" name="直接箭头连接符 102"/>
          <p:cNvCxnSpPr/>
          <p:nvPr/>
        </p:nvCxnSpPr>
        <p:spPr>
          <a:xfrm rot="16200000">
            <a:off x="4929961" y="3515755"/>
            <a:ext cx="0" cy="420419"/>
          </a:xfrm>
          <a:prstGeom prst="straightConnector1">
            <a:avLst/>
          </a:pr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04" name="直接箭头连接符 103"/>
          <p:cNvCxnSpPr/>
          <p:nvPr/>
        </p:nvCxnSpPr>
        <p:spPr>
          <a:xfrm>
            <a:off x="5797031" y="3725965"/>
            <a:ext cx="594747" cy="0"/>
          </a:xfrm>
          <a:prstGeom prst="straightConnector1">
            <a:avLst/>
          </a:pr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05" name="文本框 104"/>
          <p:cNvSpPr txBox="1"/>
          <p:nvPr/>
        </p:nvSpPr>
        <p:spPr>
          <a:xfrm>
            <a:off x="5890161" y="3302374"/>
            <a:ext cx="401499" cy="3075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106" name="文本框 105"/>
          <p:cNvSpPr txBox="1"/>
          <p:nvPr/>
        </p:nvSpPr>
        <p:spPr>
          <a:xfrm>
            <a:off x="4579836" y="3302374"/>
            <a:ext cx="590880" cy="3075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135" name="TextBox 9"/>
          <p:cNvSpPr txBox="1"/>
          <p:nvPr/>
        </p:nvSpPr>
        <p:spPr>
          <a:xfrm>
            <a:off x="6374065" y="3931065"/>
            <a:ext cx="656699" cy="344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FE8637">
                    <a:lumMod val="75000"/>
                  </a:srgbClr>
                </a:solidFill>
                <a:effectLst/>
                <a:uLnTx/>
                <a:uFillTx/>
                <a:latin typeface="Arial" panose="020B0604020202020204" pitchFamily="34" charset="0"/>
                <a:ea typeface="华文楷体" panose="02010600040101010101" charset="-122"/>
                <a:cs typeface="+mn-cs"/>
              </a:rPr>
              <a:t>XXX</a:t>
            </a:r>
            <a:endParaRPr kumimoji="0" lang="zh-CN" altLang="en-US" sz="1600" b="1" i="0" u="none" strike="noStrike" kern="1200" cap="none" spc="0" normalizeH="0" baseline="0" noProof="0" dirty="0">
              <a:ln>
                <a:noFill/>
              </a:ln>
              <a:solidFill>
                <a:srgbClr val="FE8637">
                  <a:lumMod val="75000"/>
                </a:srgbClr>
              </a:solidFill>
              <a:effectLst/>
              <a:uLnTx/>
              <a:uFillTx/>
              <a:latin typeface="Arial" panose="020B0604020202020204" pitchFamily="34" charset="0"/>
              <a:ea typeface="华文楷体" panose="02010600040101010101" charset="-122"/>
              <a:cs typeface="+mn-cs"/>
            </a:endParaRPr>
          </a:p>
        </p:txBody>
      </p:sp>
      <p:sp>
        <p:nvSpPr>
          <p:cNvPr id="136" name="house-big-construction_58151"/>
          <p:cNvSpPr>
            <a:spLocks noChangeAspect="1"/>
          </p:cNvSpPr>
          <p:nvPr/>
        </p:nvSpPr>
        <p:spPr bwMode="auto">
          <a:xfrm>
            <a:off x="6386371" y="3331443"/>
            <a:ext cx="618890" cy="536801"/>
          </a:xfrm>
          <a:custGeom>
            <a:avLst/>
            <a:gdLst>
              <a:gd name="connsiteX0" fmla="*/ 449706 w 608542"/>
              <a:gd name="connsiteY0" fmla="*/ 367054 h 527829"/>
              <a:gd name="connsiteX1" fmla="*/ 443254 w 608542"/>
              <a:gd name="connsiteY1" fmla="*/ 373545 h 527829"/>
              <a:gd name="connsiteX2" fmla="*/ 443254 w 608542"/>
              <a:gd name="connsiteY2" fmla="*/ 416561 h 527829"/>
              <a:gd name="connsiteX3" fmla="*/ 449706 w 608542"/>
              <a:gd name="connsiteY3" fmla="*/ 423003 h 527829"/>
              <a:gd name="connsiteX4" fmla="*/ 492788 w 608542"/>
              <a:gd name="connsiteY4" fmla="*/ 423003 h 527829"/>
              <a:gd name="connsiteX5" fmla="*/ 499289 w 608542"/>
              <a:gd name="connsiteY5" fmla="*/ 416561 h 527829"/>
              <a:gd name="connsiteX6" fmla="*/ 499289 w 608542"/>
              <a:gd name="connsiteY6" fmla="*/ 373545 h 527829"/>
              <a:gd name="connsiteX7" fmla="*/ 492788 w 608542"/>
              <a:gd name="connsiteY7" fmla="*/ 367054 h 527829"/>
              <a:gd name="connsiteX8" fmla="*/ 366212 w 608542"/>
              <a:gd name="connsiteY8" fmla="*/ 367054 h 527829"/>
              <a:gd name="connsiteX9" fmla="*/ 359759 w 608542"/>
              <a:gd name="connsiteY9" fmla="*/ 373545 h 527829"/>
              <a:gd name="connsiteX10" fmla="*/ 359759 w 608542"/>
              <a:gd name="connsiteY10" fmla="*/ 416561 h 527829"/>
              <a:gd name="connsiteX11" fmla="*/ 366212 w 608542"/>
              <a:gd name="connsiteY11" fmla="*/ 423003 h 527829"/>
              <a:gd name="connsiteX12" fmla="*/ 409342 w 608542"/>
              <a:gd name="connsiteY12" fmla="*/ 423003 h 527829"/>
              <a:gd name="connsiteX13" fmla="*/ 415794 w 608542"/>
              <a:gd name="connsiteY13" fmla="*/ 416561 h 527829"/>
              <a:gd name="connsiteX14" fmla="*/ 415794 w 608542"/>
              <a:gd name="connsiteY14" fmla="*/ 373545 h 527829"/>
              <a:gd name="connsiteX15" fmla="*/ 409342 w 608542"/>
              <a:gd name="connsiteY15" fmla="*/ 367054 h 527829"/>
              <a:gd name="connsiteX16" fmla="*/ 282765 w 608542"/>
              <a:gd name="connsiteY16" fmla="*/ 367054 h 527829"/>
              <a:gd name="connsiteX17" fmla="*/ 276264 w 608542"/>
              <a:gd name="connsiteY17" fmla="*/ 373545 h 527829"/>
              <a:gd name="connsiteX18" fmla="*/ 276264 w 608542"/>
              <a:gd name="connsiteY18" fmla="*/ 476530 h 527829"/>
              <a:gd name="connsiteX19" fmla="*/ 282765 w 608542"/>
              <a:gd name="connsiteY19" fmla="*/ 482973 h 527829"/>
              <a:gd name="connsiteX20" fmla="*/ 325847 w 608542"/>
              <a:gd name="connsiteY20" fmla="*/ 482973 h 527829"/>
              <a:gd name="connsiteX21" fmla="*/ 332348 w 608542"/>
              <a:gd name="connsiteY21" fmla="*/ 476530 h 527829"/>
              <a:gd name="connsiteX22" fmla="*/ 332348 w 608542"/>
              <a:gd name="connsiteY22" fmla="*/ 373545 h 527829"/>
              <a:gd name="connsiteX23" fmla="*/ 325847 w 608542"/>
              <a:gd name="connsiteY23" fmla="*/ 367054 h 527829"/>
              <a:gd name="connsiteX24" fmla="*/ 199271 w 608542"/>
              <a:gd name="connsiteY24" fmla="*/ 367054 h 527829"/>
              <a:gd name="connsiteX25" fmla="*/ 192818 w 608542"/>
              <a:gd name="connsiteY25" fmla="*/ 373545 h 527829"/>
              <a:gd name="connsiteX26" fmla="*/ 192818 w 608542"/>
              <a:gd name="connsiteY26" fmla="*/ 416561 h 527829"/>
              <a:gd name="connsiteX27" fmla="*/ 199271 w 608542"/>
              <a:gd name="connsiteY27" fmla="*/ 423003 h 527829"/>
              <a:gd name="connsiteX28" fmla="*/ 242401 w 608542"/>
              <a:gd name="connsiteY28" fmla="*/ 423003 h 527829"/>
              <a:gd name="connsiteX29" fmla="*/ 248853 w 608542"/>
              <a:gd name="connsiteY29" fmla="*/ 416561 h 527829"/>
              <a:gd name="connsiteX30" fmla="*/ 248853 w 608542"/>
              <a:gd name="connsiteY30" fmla="*/ 373545 h 527829"/>
              <a:gd name="connsiteX31" fmla="*/ 242401 w 608542"/>
              <a:gd name="connsiteY31" fmla="*/ 367054 h 527829"/>
              <a:gd name="connsiteX32" fmla="*/ 115824 w 608542"/>
              <a:gd name="connsiteY32" fmla="*/ 367054 h 527829"/>
              <a:gd name="connsiteX33" fmla="*/ 109323 w 608542"/>
              <a:gd name="connsiteY33" fmla="*/ 373545 h 527829"/>
              <a:gd name="connsiteX34" fmla="*/ 109323 w 608542"/>
              <a:gd name="connsiteY34" fmla="*/ 416561 h 527829"/>
              <a:gd name="connsiteX35" fmla="*/ 115824 w 608542"/>
              <a:gd name="connsiteY35" fmla="*/ 423003 h 527829"/>
              <a:gd name="connsiteX36" fmla="*/ 158906 w 608542"/>
              <a:gd name="connsiteY36" fmla="*/ 423003 h 527829"/>
              <a:gd name="connsiteX37" fmla="*/ 165359 w 608542"/>
              <a:gd name="connsiteY37" fmla="*/ 416561 h 527829"/>
              <a:gd name="connsiteX38" fmla="*/ 165359 w 608542"/>
              <a:gd name="connsiteY38" fmla="*/ 373545 h 527829"/>
              <a:gd name="connsiteX39" fmla="*/ 158906 w 608542"/>
              <a:gd name="connsiteY39" fmla="*/ 367054 h 527829"/>
              <a:gd name="connsiteX40" fmla="*/ 449706 w 608542"/>
              <a:gd name="connsiteY40" fmla="*/ 271336 h 527829"/>
              <a:gd name="connsiteX41" fmla="*/ 443254 w 608542"/>
              <a:gd name="connsiteY41" fmla="*/ 277778 h 527829"/>
              <a:gd name="connsiteX42" fmla="*/ 443254 w 608542"/>
              <a:gd name="connsiteY42" fmla="*/ 320842 h 527829"/>
              <a:gd name="connsiteX43" fmla="*/ 449706 w 608542"/>
              <a:gd name="connsiteY43" fmla="*/ 327285 h 527829"/>
              <a:gd name="connsiteX44" fmla="*/ 492788 w 608542"/>
              <a:gd name="connsiteY44" fmla="*/ 327285 h 527829"/>
              <a:gd name="connsiteX45" fmla="*/ 499289 w 608542"/>
              <a:gd name="connsiteY45" fmla="*/ 320842 h 527829"/>
              <a:gd name="connsiteX46" fmla="*/ 499289 w 608542"/>
              <a:gd name="connsiteY46" fmla="*/ 277778 h 527829"/>
              <a:gd name="connsiteX47" fmla="*/ 492788 w 608542"/>
              <a:gd name="connsiteY47" fmla="*/ 271336 h 527829"/>
              <a:gd name="connsiteX48" fmla="*/ 366212 w 608542"/>
              <a:gd name="connsiteY48" fmla="*/ 271336 h 527829"/>
              <a:gd name="connsiteX49" fmla="*/ 359759 w 608542"/>
              <a:gd name="connsiteY49" fmla="*/ 277778 h 527829"/>
              <a:gd name="connsiteX50" fmla="*/ 359759 w 608542"/>
              <a:gd name="connsiteY50" fmla="*/ 320842 h 527829"/>
              <a:gd name="connsiteX51" fmla="*/ 366212 w 608542"/>
              <a:gd name="connsiteY51" fmla="*/ 327285 h 527829"/>
              <a:gd name="connsiteX52" fmla="*/ 409342 w 608542"/>
              <a:gd name="connsiteY52" fmla="*/ 327285 h 527829"/>
              <a:gd name="connsiteX53" fmla="*/ 415794 w 608542"/>
              <a:gd name="connsiteY53" fmla="*/ 320842 h 527829"/>
              <a:gd name="connsiteX54" fmla="*/ 415794 w 608542"/>
              <a:gd name="connsiteY54" fmla="*/ 277778 h 527829"/>
              <a:gd name="connsiteX55" fmla="*/ 409342 w 608542"/>
              <a:gd name="connsiteY55" fmla="*/ 271336 h 527829"/>
              <a:gd name="connsiteX56" fmla="*/ 282765 w 608542"/>
              <a:gd name="connsiteY56" fmla="*/ 271336 h 527829"/>
              <a:gd name="connsiteX57" fmla="*/ 276264 w 608542"/>
              <a:gd name="connsiteY57" fmla="*/ 277778 h 527829"/>
              <a:gd name="connsiteX58" fmla="*/ 276264 w 608542"/>
              <a:gd name="connsiteY58" fmla="*/ 320842 h 527829"/>
              <a:gd name="connsiteX59" fmla="*/ 282765 w 608542"/>
              <a:gd name="connsiteY59" fmla="*/ 327285 h 527829"/>
              <a:gd name="connsiteX60" fmla="*/ 325847 w 608542"/>
              <a:gd name="connsiteY60" fmla="*/ 327285 h 527829"/>
              <a:gd name="connsiteX61" fmla="*/ 332348 w 608542"/>
              <a:gd name="connsiteY61" fmla="*/ 320842 h 527829"/>
              <a:gd name="connsiteX62" fmla="*/ 332348 w 608542"/>
              <a:gd name="connsiteY62" fmla="*/ 277778 h 527829"/>
              <a:gd name="connsiteX63" fmla="*/ 325847 w 608542"/>
              <a:gd name="connsiteY63" fmla="*/ 271336 h 527829"/>
              <a:gd name="connsiteX64" fmla="*/ 199271 w 608542"/>
              <a:gd name="connsiteY64" fmla="*/ 271336 h 527829"/>
              <a:gd name="connsiteX65" fmla="*/ 192818 w 608542"/>
              <a:gd name="connsiteY65" fmla="*/ 277778 h 527829"/>
              <a:gd name="connsiteX66" fmla="*/ 192818 w 608542"/>
              <a:gd name="connsiteY66" fmla="*/ 320842 h 527829"/>
              <a:gd name="connsiteX67" fmla="*/ 199271 w 608542"/>
              <a:gd name="connsiteY67" fmla="*/ 327285 h 527829"/>
              <a:gd name="connsiteX68" fmla="*/ 242401 w 608542"/>
              <a:gd name="connsiteY68" fmla="*/ 327285 h 527829"/>
              <a:gd name="connsiteX69" fmla="*/ 248853 w 608542"/>
              <a:gd name="connsiteY69" fmla="*/ 320842 h 527829"/>
              <a:gd name="connsiteX70" fmla="*/ 248853 w 608542"/>
              <a:gd name="connsiteY70" fmla="*/ 277778 h 527829"/>
              <a:gd name="connsiteX71" fmla="*/ 242401 w 608542"/>
              <a:gd name="connsiteY71" fmla="*/ 271336 h 527829"/>
              <a:gd name="connsiteX72" fmla="*/ 115824 w 608542"/>
              <a:gd name="connsiteY72" fmla="*/ 271336 h 527829"/>
              <a:gd name="connsiteX73" fmla="*/ 109323 w 608542"/>
              <a:gd name="connsiteY73" fmla="*/ 277778 h 527829"/>
              <a:gd name="connsiteX74" fmla="*/ 109323 w 608542"/>
              <a:gd name="connsiteY74" fmla="*/ 320842 h 527829"/>
              <a:gd name="connsiteX75" fmla="*/ 115824 w 608542"/>
              <a:gd name="connsiteY75" fmla="*/ 327285 h 527829"/>
              <a:gd name="connsiteX76" fmla="*/ 158906 w 608542"/>
              <a:gd name="connsiteY76" fmla="*/ 327285 h 527829"/>
              <a:gd name="connsiteX77" fmla="*/ 165359 w 608542"/>
              <a:gd name="connsiteY77" fmla="*/ 320842 h 527829"/>
              <a:gd name="connsiteX78" fmla="*/ 165359 w 608542"/>
              <a:gd name="connsiteY78" fmla="*/ 277778 h 527829"/>
              <a:gd name="connsiteX79" fmla="*/ 158906 w 608542"/>
              <a:gd name="connsiteY79" fmla="*/ 271336 h 527829"/>
              <a:gd name="connsiteX80" fmla="*/ 81864 w 608542"/>
              <a:gd name="connsiteY80" fmla="*/ 238299 h 527829"/>
              <a:gd name="connsiteX81" fmla="*/ 526749 w 608542"/>
              <a:gd name="connsiteY81" fmla="*/ 238299 h 527829"/>
              <a:gd name="connsiteX82" fmla="*/ 533250 w 608542"/>
              <a:gd name="connsiteY82" fmla="*/ 244742 h 527829"/>
              <a:gd name="connsiteX83" fmla="*/ 533250 w 608542"/>
              <a:gd name="connsiteY83" fmla="*/ 497457 h 527829"/>
              <a:gd name="connsiteX84" fmla="*/ 571140 w 608542"/>
              <a:gd name="connsiteY84" fmla="*/ 497457 h 527829"/>
              <a:gd name="connsiteX85" fmla="*/ 577641 w 608542"/>
              <a:gd name="connsiteY85" fmla="*/ 503948 h 527829"/>
              <a:gd name="connsiteX86" fmla="*/ 577641 w 608542"/>
              <a:gd name="connsiteY86" fmla="*/ 521386 h 527829"/>
              <a:gd name="connsiteX87" fmla="*/ 571140 w 608542"/>
              <a:gd name="connsiteY87" fmla="*/ 527829 h 527829"/>
              <a:gd name="connsiteX88" fmla="*/ 37472 w 608542"/>
              <a:gd name="connsiteY88" fmla="*/ 527829 h 527829"/>
              <a:gd name="connsiteX89" fmla="*/ 30971 w 608542"/>
              <a:gd name="connsiteY89" fmla="*/ 521386 h 527829"/>
              <a:gd name="connsiteX90" fmla="*/ 30971 w 608542"/>
              <a:gd name="connsiteY90" fmla="*/ 503948 h 527829"/>
              <a:gd name="connsiteX91" fmla="*/ 37472 w 608542"/>
              <a:gd name="connsiteY91" fmla="*/ 497457 h 527829"/>
              <a:gd name="connsiteX92" fmla="*/ 75411 w 608542"/>
              <a:gd name="connsiteY92" fmla="*/ 497457 h 527829"/>
              <a:gd name="connsiteX93" fmla="*/ 75411 w 608542"/>
              <a:gd name="connsiteY93" fmla="*/ 244742 h 527829"/>
              <a:gd name="connsiteX94" fmla="*/ 81864 w 608542"/>
              <a:gd name="connsiteY94" fmla="*/ 238299 h 527829"/>
              <a:gd name="connsiteX95" fmla="*/ 193268 w 608542"/>
              <a:gd name="connsiteY95" fmla="*/ 0 h 527829"/>
              <a:gd name="connsiteX96" fmla="*/ 224754 w 608542"/>
              <a:gd name="connsiteY96" fmla="*/ 0 h 527829"/>
              <a:gd name="connsiteX97" fmla="*/ 231255 w 608542"/>
              <a:gd name="connsiteY97" fmla="*/ 6443 h 527829"/>
              <a:gd name="connsiteX98" fmla="*/ 231255 w 608542"/>
              <a:gd name="connsiteY98" fmla="*/ 49848 h 527829"/>
              <a:gd name="connsiteX99" fmla="*/ 237708 w 608542"/>
              <a:gd name="connsiteY99" fmla="*/ 56340 h 527829"/>
              <a:gd name="connsiteX100" fmla="*/ 466893 w 608542"/>
              <a:gd name="connsiteY100" fmla="*/ 56340 h 527829"/>
              <a:gd name="connsiteX101" fmla="*/ 471745 w 608542"/>
              <a:gd name="connsiteY101" fmla="*/ 58520 h 527829"/>
              <a:gd name="connsiteX102" fmla="*/ 606908 w 608542"/>
              <a:gd name="connsiteY102" fmla="*/ 211504 h 527829"/>
              <a:gd name="connsiteX103" fmla="*/ 602105 w 608542"/>
              <a:gd name="connsiteY103" fmla="*/ 222210 h 527829"/>
              <a:gd name="connsiteX104" fmla="*/ 6485 w 608542"/>
              <a:gd name="connsiteY104" fmla="*/ 222210 h 527829"/>
              <a:gd name="connsiteX105" fmla="*/ 1633 w 608542"/>
              <a:gd name="connsiteY105" fmla="*/ 211504 h 527829"/>
              <a:gd name="connsiteX106" fmla="*/ 136797 w 608542"/>
              <a:gd name="connsiteY106" fmla="*/ 58520 h 527829"/>
              <a:gd name="connsiteX107" fmla="*/ 141648 w 608542"/>
              <a:gd name="connsiteY107" fmla="*/ 56340 h 527829"/>
              <a:gd name="connsiteX108" fmla="*/ 180363 w 608542"/>
              <a:gd name="connsiteY108" fmla="*/ 56340 h 527829"/>
              <a:gd name="connsiteX109" fmla="*/ 186816 w 608542"/>
              <a:gd name="connsiteY109" fmla="*/ 49848 h 527829"/>
              <a:gd name="connsiteX110" fmla="*/ 186816 w 608542"/>
              <a:gd name="connsiteY110" fmla="*/ 6443 h 527829"/>
              <a:gd name="connsiteX111" fmla="*/ 193268 w 608542"/>
              <a:gd name="connsiteY111" fmla="*/ 0 h 52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08542" h="527829">
                <a:moveTo>
                  <a:pt x="449706" y="367054"/>
                </a:moveTo>
                <a:cubicBezTo>
                  <a:pt x="446116" y="367054"/>
                  <a:pt x="443254" y="369961"/>
                  <a:pt x="443254" y="373545"/>
                </a:cubicBezTo>
                <a:lnTo>
                  <a:pt x="443254" y="416561"/>
                </a:lnTo>
                <a:cubicBezTo>
                  <a:pt x="443254" y="420145"/>
                  <a:pt x="446116" y="423003"/>
                  <a:pt x="449706" y="423003"/>
                </a:cubicBezTo>
                <a:lnTo>
                  <a:pt x="492788" y="423003"/>
                </a:lnTo>
                <a:cubicBezTo>
                  <a:pt x="496378" y="423003"/>
                  <a:pt x="499289" y="420145"/>
                  <a:pt x="499289" y="416561"/>
                </a:cubicBezTo>
                <a:lnTo>
                  <a:pt x="499289" y="373545"/>
                </a:lnTo>
                <a:cubicBezTo>
                  <a:pt x="499289" y="369961"/>
                  <a:pt x="496378" y="367054"/>
                  <a:pt x="492788" y="367054"/>
                </a:cubicBezTo>
                <a:close/>
                <a:moveTo>
                  <a:pt x="366212" y="367054"/>
                </a:moveTo>
                <a:cubicBezTo>
                  <a:pt x="362670" y="367054"/>
                  <a:pt x="359759" y="369961"/>
                  <a:pt x="359759" y="373545"/>
                </a:cubicBezTo>
                <a:lnTo>
                  <a:pt x="359759" y="416561"/>
                </a:lnTo>
                <a:cubicBezTo>
                  <a:pt x="359759" y="420145"/>
                  <a:pt x="362670" y="423003"/>
                  <a:pt x="366212" y="423003"/>
                </a:cubicBezTo>
                <a:lnTo>
                  <a:pt x="409342" y="423003"/>
                </a:lnTo>
                <a:cubicBezTo>
                  <a:pt x="412932" y="423003"/>
                  <a:pt x="415794" y="420145"/>
                  <a:pt x="415794" y="416561"/>
                </a:cubicBezTo>
                <a:lnTo>
                  <a:pt x="415794" y="373545"/>
                </a:lnTo>
                <a:cubicBezTo>
                  <a:pt x="415794" y="369961"/>
                  <a:pt x="412932" y="367054"/>
                  <a:pt x="409342" y="367054"/>
                </a:cubicBezTo>
                <a:close/>
                <a:moveTo>
                  <a:pt x="282765" y="367054"/>
                </a:moveTo>
                <a:cubicBezTo>
                  <a:pt x="279175" y="367054"/>
                  <a:pt x="276264" y="369961"/>
                  <a:pt x="276264" y="373545"/>
                </a:cubicBezTo>
                <a:lnTo>
                  <a:pt x="276264" y="476530"/>
                </a:lnTo>
                <a:cubicBezTo>
                  <a:pt x="276264" y="480066"/>
                  <a:pt x="279175" y="482973"/>
                  <a:pt x="282765" y="482973"/>
                </a:cubicBezTo>
                <a:lnTo>
                  <a:pt x="325847" y="482973"/>
                </a:lnTo>
                <a:cubicBezTo>
                  <a:pt x="329437" y="482973"/>
                  <a:pt x="332348" y="480066"/>
                  <a:pt x="332348" y="476530"/>
                </a:cubicBezTo>
                <a:lnTo>
                  <a:pt x="332348" y="373545"/>
                </a:lnTo>
                <a:cubicBezTo>
                  <a:pt x="332348" y="369961"/>
                  <a:pt x="329437" y="367054"/>
                  <a:pt x="325847" y="367054"/>
                </a:cubicBezTo>
                <a:close/>
                <a:moveTo>
                  <a:pt x="199271" y="367054"/>
                </a:moveTo>
                <a:cubicBezTo>
                  <a:pt x="195729" y="367054"/>
                  <a:pt x="192818" y="369961"/>
                  <a:pt x="192818" y="373545"/>
                </a:cubicBezTo>
                <a:lnTo>
                  <a:pt x="192818" y="416561"/>
                </a:lnTo>
                <a:cubicBezTo>
                  <a:pt x="192818" y="420145"/>
                  <a:pt x="195729" y="423003"/>
                  <a:pt x="199271" y="423003"/>
                </a:cubicBezTo>
                <a:lnTo>
                  <a:pt x="242401" y="423003"/>
                </a:lnTo>
                <a:cubicBezTo>
                  <a:pt x="245942" y="423003"/>
                  <a:pt x="248853" y="420145"/>
                  <a:pt x="248853" y="416561"/>
                </a:cubicBezTo>
                <a:lnTo>
                  <a:pt x="248853" y="373545"/>
                </a:lnTo>
                <a:cubicBezTo>
                  <a:pt x="248853" y="369961"/>
                  <a:pt x="245942" y="367054"/>
                  <a:pt x="242401" y="367054"/>
                </a:cubicBezTo>
                <a:close/>
                <a:moveTo>
                  <a:pt x="115824" y="367054"/>
                </a:moveTo>
                <a:cubicBezTo>
                  <a:pt x="112234" y="367054"/>
                  <a:pt x="109323" y="369961"/>
                  <a:pt x="109323" y="373545"/>
                </a:cubicBezTo>
                <a:lnTo>
                  <a:pt x="109323" y="416561"/>
                </a:lnTo>
                <a:cubicBezTo>
                  <a:pt x="109323" y="420145"/>
                  <a:pt x="112234" y="423003"/>
                  <a:pt x="115824" y="423003"/>
                </a:cubicBezTo>
                <a:lnTo>
                  <a:pt x="158906" y="423003"/>
                </a:lnTo>
                <a:cubicBezTo>
                  <a:pt x="162496" y="423003"/>
                  <a:pt x="165359" y="420145"/>
                  <a:pt x="165359" y="416561"/>
                </a:cubicBezTo>
                <a:lnTo>
                  <a:pt x="165359" y="373545"/>
                </a:lnTo>
                <a:cubicBezTo>
                  <a:pt x="165359" y="369961"/>
                  <a:pt x="162496" y="367054"/>
                  <a:pt x="158906" y="367054"/>
                </a:cubicBezTo>
                <a:close/>
                <a:moveTo>
                  <a:pt x="449706" y="271336"/>
                </a:moveTo>
                <a:cubicBezTo>
                  <a:pt x="446116" y="271336"/>
                  <a:pt x="443254" y="274242"/>
                  <a:pt x="443254" y="277778"/>
                </a:cubicBezTo>
                <a:lnTo>
                  <a:pt x="443254" y="320842"/>
                </a:lnTo>
                <a:cubicBezTo>
                  <a:pt x="443254" y="324378"/>
                  <a:pt x="446116" y="327285"/>
                  <a:pt x="449706" y="327285"/>
                </a:cubicBezTo>
                <a:lnTo>
                  <a:pt x="492788" y="327285"/>
                </a:lnTo>
                <a:cubicBezTo>
                  <a:pt x="496378" y="327285"/>
                  <a:pt x="499289" y="324378"/>
                  <a:pt x="499289" y="320842"/>
                </a:cubicBezTo>
                <a:lnTo>
                  <a:pt x="499289" y="277778"/>
                </a:lnTo>
                <a:cubicBezTo>
                  <a:pt x="499289" y="274242"/>
                  <a:pt x="496378" y="271336"/>
                  <a:pt x="492788" y="271336"/>
                </a:cubicBezTo>
                <a:close/>
                <a:moveTo>
                  <a:pt x="366212" y="271336"/>
                </a:moveTo>
                <a:cubicBezTo>
                  <a:pt x="362670" y="271336"/>
                  <a:pt x="359759" y="274242"/>
                  <a:pt x="359759" y="277778"/>
                </a:cubicBezTo>
                <a:lnTo>
                  <a:pt x="359759" y="320842"/>
                </a:lnTo>
                <a:cubicBezTo>
                  <a:pt x="359759" y="324378"/>
                  <a:pt x="362670" y="327285"/>
                  <a:pt x="366212" y="327285"/>
                </a:cubicBezTo>
                <a:lnTo>
                  <a:pt x="409342" y="327285"/>
                </a:lnTo>
                <a:cubicBezTo>
                  <a:pt x="412932" y="327285"/>
                  <a:pt x="415794" y="324378"/>
                  <a:pt x="415794" y="320842"/>
                </a:cubicBezTo>
                <a:lnTo>
                  <a:pt x="415794" y="277778"/>
                </a:lnTo>
                <a:cubicBezTo>
                  <a:pt x="415794" y="274242"/>
                  <a:pt x="412932" y="271336"/>
                  <a:pt x="409342" y="271336"/>
                </a:cubicBezTo>
                <a:close/>
                <a:moveTo>
                  <a:pt x="282765" y="271336"/>
                </a:moveTo>
                <a:cubicBezTo>
                  <a:pt x="279175" y="271336"/>
                  <a:pt x="276264" y="274242"/>
                  <a:pt x="276264" y="277778"/>
                </a:cubicBezTo>
                <a:lnTo>
                  <a:pt x="276264" y="320842"/>
                </a:lnTo>
                <a:cubicBezTo>
                  <a:pt x="276264" y="324378"/>
                  <a:pt x="279175" y="327285"/>
                  <a:pt x="282765" y="327285"/>
                </a:cubicBezTo>
                <a:lnTo>
                  <a:pt x="325847" y="327285"/>
                </a:lnTo>
                <a:cubicBezTo>
                  <a:pt x="329437" y="327285"/>
                  <a:pt x="332348" y="324378"/>
                  <a:pt x="332348" y="320842"/>
                </a:cubicBezTo>
                <a:lnTo>
                  <a:pt x="332348" y="277778"/>
                </a:lnTo>
                <a:cubicBezTo>
                  <a:pt x="332348" y="274242"/>
                  <a:pt x="329437" y="271336"/>
                  <a:pt x="325847" y="271336"/>
                </a:cubicBezTo>
                <a:close/>
                <a:moveTo>
                  <a:pt x="199271" y="271336"/>
                </a:moveTo>
                <a:cubicBezTo>
                  <a:pt x="195729" y="271336"/>
                  <a:pt x="192818" y="274242"/>
                  <a:pt x="192818" y="277778"/>
                </a:cubicBezTo>
                <a:lnTo>
                  <a:pt x="192818" y="320842"/>
                </a:lnTo>
                <a:cubicBezTo>
                  <a:pt x="192818" y="324378"/>
                  <a:pt x="195729" y="327285"/>
                  <a:pt x="199271" y="327285"/>
                </a:cubicBezTo>
                <a:lnTo>
                  <a:pt x="242401" y="327285"/>
                </a:lnTo>
                <a:cubicBezTo>
                  <a:pt x="245942" y="327285"/>
                  <a:pt x="248853" y="324378"/>
                  <a:pt x="248853" y="320842"/>
                </a:cubicBezTo>
                <a:lnTo>
                  <a:pt x="248853" y="277778"/>
                </a:lnTo>
                <a:cubicBezTo>
                  <a:pt x="248853" y="274242"/>
                  <a:pt x="245942" y="271336"/>
                  <a:pt x="242401" y="271336"/>
                </a:cubicBezTo>
                <a:close/>
                <a:moveTo>
                  <a:pt x="115824" y="271336"/>
                </a:moveTo>
                <a:cubicBezTo>
                  <a:pt x="112234" y="271336"/>
                  <a:pt x="109323" y="274242"/>
                  <a:pt x="109323" y="277778"/>
                </a:cubicBezTo>
                <a:lnTo>
                  <a:pt x="109323" y="320842"/>
                </a:lnTo>
                <a:cubicBezTo>
                  <a:pt x="109323" y="324378"/>
                  <a:pt x="112234" y="327285"/>
                  <a:pt x="115824" y="327285"/>
                </a:cubicBezTo>
                <a:lnTo>
                  <a:pt x="158906" y="327285"/>
                </a:lnTo>
                <a:cubicBezTo>
                  <a:pt x="162496" y="327285"/>
                  <a:pt x="165359" y="324378"/>
                  <a:pt x="165359" y="320842"/>
                </a:cubicBezTo>
                <a:lnTo>
                  <a:pt x="165359" y="277778"/>
                </a:lnTo>
                <a:cubicBezTo>
                  <a:pt x="165359" y="274242"/>
                  <a:pt x="162496" y="271336"/>
                  <a:pt x="158906" y="271336"/>
                </a:cubicBezTo>
                <a:close/>
                <a:moveTo>
                  <a:pt x="81864" y="238299"/>
                </a:moveTo>
                <a:lnTo>
                  <a:pt x="526749" y="238299"/>
                </a:lnTo>
                <a:cubicBezTo>
                  <a:pt x="530339" y="238299"/>
                  <a:pt x="533250" y="241157"/>
                  <a:pt x="533250" y="244742"/>
                </a:cubicBezTo>
                <a:lnTo>
                  <a:pt x="533250" y="497457"/>
                </a:lnTo>
                <a:lnTo>
                  <a:pt x="571140" y="497457"/>
                </a:lnTo>
                <a:cubicBezTo>
                  <a:pt x="574730" y="497457"/>
                  <a:pt x="577641" y="500363"/>
                  <a:pt x="577641" y="503948"/>
                </a:cubicBezTo>
                <a:lnTo>
                  <a:pt x="577641" y="521386"/>
                </a:lnTo>
                <a:cubicBezTo>
                  <a:pt x="577641" y="524923"/>
                  <a:pt x="574730" y="527829"/>
                  <a:pt x="571140" y="527829"/>
                </a:cubicBezTo>
                <a:lnTo>
                  <a:pt x="37472" y="527829"/>
                </a:lnTo>
                <a:cubicBezTo>
                  <a:pt x="33882" y="527829"/>
                  <a:pt x="30971" y="524923"/>
                  <a:pt x="30971" y="521386"/>
                </a:cubicBezTo>
                <a:lnTo>
                  <a:pt x="30971" y="503948"/>
                </a:lnTo>
                <a:cubicBezTo>
                  <a:pt x="30971" y="500363"/>
                  <a:pt x="33882" y="497457"/>
                  <a:pt x="37472" y="497457"/>
                </a:cubicBezTo>
                <a:lnTo>
                  <a:pt x="75411" y="497457"/>
                </a:lnTo>
                <a:lnTo>
                  <a:pt x="75411" y="244742"/>
                </a:lnTo>
                <a:cubicBezTo>
                  <a:pt x="75411" y="241157"/>
                  <a:pt x="78274" y="238299"/>
                  <a:pt x="81864" y="238299"/>
                </a:cubicBezTo>
                <a:close/>
                <a:moveTo>
                  <a:pt x="193268" y="0"/>
                </a:moveTo>
                <a:lnTo>
                  <a:pt x="224754" y="0"/>
                </a:lnTo>
                <a:cubicBezTo>
                  <a:pt x="228345" y="0"/>
                  <a:pt x="231255" y="2907"/>
                  <a:pt x="231255" y="6443"/>
                </a:cubicBezTo>
                <a:lnTo>
                  <a:pt x="231255" y="49848"/>
                </a:lnTo>
                <a:cubicBezTo>
                  <a:pt x="231255" y="53433"/>
                  <a:pt x="234166" y="56340"/>
                  <a:pt x="237708" y="56340"/>
                </a:cubicBezTo>
                <a:lnTo>
                  <a:pt x="466893" y="56340"/>
                </a:lnTo>
                <a:cubicBezTo>
                  <a:pt x="468737" y="56340"/>
                  <a:pt x="470532" y="57115"/>
                  <a:pt x="471745" y="58520"/>
                </a:cubicBezTo>
                <a:lnTo>
                  <a:pt x="606908" y="211504"/>
                </a:lnTo>
                <a:cubicBezTo>
                  <a:pt x="610595" y="215670"/>
                  <a:pt x="607636" y="222210"/>
                  <a:pt x="602105" y="222210"/>
                </a:cubicBezTo>
                <a:lnTo>
                  <a:pt x="6485" y="222210"/>
                </a:lnTo>
                <a:cubicBezTo>
                  <a:pt x="906" y="222210"/>
                  <a:pt x="-2054" y="215670"/>
                  <a:pt x="1633" y="211504"/>
                </a:cubicBezTo>
                <a:lnTo>
                  <a:pt x="136797" y="58520"/>
                </a:lnTo>
                <a:cubicBezTo>
                  <a:pt x="138009" y="57115"/>
                  <a:pt x="139804" y="56340"/>
                  <a:pt x="141648" y="56340"/>
                </a:cubicBezTo>
                <a:lnTo>
                  <a:pt x="180363" y="56340"/>
                </a:lnTo>
                <a:cubicBezTo>
                  <a:pt x="183905" y="56340"/>
                  <a:pt x="186816" y="53433"/>
                  <a:pt x="186816" y="49848"/>
                </a:cubicBezTo>
                <a:lnTo>
                  <a:pt x="186816" y="6443"/>
                </a:lnTo>
                <a:cubicBezTo>
                  <a:pt x="186816" y="2907"/>
                  <a:pt x="189727" y="0"/>
                  <a:pt x="193268" y="0"/>
                </a:cubicBezTo>
                <a:close/>
              </a:path>
            </a:pathLst>
          </a:custGeom>
          <a:solidFill>
            <a:schemeClr val="accent1">
              <a:lumMod val="75000"/>
            </a:scheme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137" name="文本框 136"/>
          <p:cNvSpPr txBox="1"/>
          <p:nvPr/>
        </p:nvSpPr>
        <p:spPr>
          <a:xfrm>
            <a:off x="6634326" y="2420742"/>
            <a:ext cx="442166" cy="3439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cxnSp>
        <p:nvCxnSpPr>
          <p:cNvPr id="12" name="直接箭头连接符 11"/>
          <p:cNvCxnSpPr/>
          <p:nvPr/>
        </p:nvCxnSpPr>
        <p:spPr>
          <a:xfrm flipH="1">
            <a:off x="9460943" y="4149861"/>
            <a:ext cx="0" cy="65031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42" name="直接箭头连接符 141"/>
          <p:cNvCxnSpPr/>
          <p:nvPr/>
        </p:nvCxnSpPr>
        <p:spPr>
          <a:xfrm flipH="1" flipV="1">
            <a:off x="9425878" y="2613835"/>
            <a:ext cx="0" cy="65031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43" name="文本框 142"/>
          <p:cNvSpPr txBox="1"/>
          <p:nvPr/>
        </p:nvSpPr>
        <p:spPr>
          <a:xfrm>
            <a:off x="7672830" y="4502421"/>
            <a:ext cx="387332" cy="3437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144" name="文本框 143"/>
          <p:cNvSpPr txBox="1"/>
          <p:nvPr/>
        </p:nvSpPr>
        <p:spPr>
          <a:xfrm>
            <a:off x="8190611" y="4502421"/>
            <a:ext cx="387332" cy="3437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rPr>
              <a:t>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华文楷体" panose="02010600040101010101" charset="-122"/>
              <a:cs typeface="+mn-cs"/>
            </a:endParaRPr>
          </a:p>
        </p:txBody>
      </p:sp>
      <p:sp>
        <p:nvSpPr>
          <p:cNvPr id="15" name="任意多边形 14"/>
          <p:cNvSpPr/>
          <p:nvPr/>
        </p:nvSpPr>
        <p:spPr>
          <a:xfrm>
            <a:off x="9885373" y="2128539"/>
            <a:ext cx="1634489" cy="1168430"/>
          </a:xfrm>
          <a:custGeom>
            <a:avLst/>
            <a:gdLst>
              <a:gd name="connsiteX0" fmla="*/ 0 w 1548882"/>
              <a:gd name="connsiteY0" fmla="*/ 0 h 1107233"/>
              <a:gd name="connsiteX1" fmla="*/ 1548882 w 1548882"/>
              <a:gd name="connsiteY1" fmla="*/ 0 h 1107233"/>
              <a:gd name="connsiteX2" fmla="*/ 1548882 w 1548882"/>
              <a:gd name="connsiteY2" fmla="*/ 1107233 h 1107233"/>
            </a:gdLst>
            <a:ahLst/>
            <a:cxnLst>
              <a:cxn ang="0">
                <a:pos x="connsiteX0" y="connsiteY0"/>
              </a:cxn>
              <a:cxn ang="0">
                <a:pos x="connsiteX1" y="connsiteY1"/>
              </a:cxn>
              <a:cxn ang="0">
                <a:pos x="connsiteX2" y="connsiteY2"/>
              </a:cxn>
            </a:cxnLst>
            <a:rect l="l" t="t" r="r" b="b"/>
            <a:pathLst>
              <a:path w="1548882" h="1107233">
                <a:moveTo>
                  <a:pt x="0" y="0"/>
                </a:moveTo>
                <a:lnTo>
                  <a:pt x="1548882" y="0"/>
                </a:lnTo>
                <a:lnTo>
                  <a:pt x="1548882" y="1107233"/>
                </a:lnTo>
              </a:path>
            </a:pathLst>
          </a:cu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147" name="任意多边形 146"/>
          <p:cNvSpPr/>
          <p:nvPr/>
        </p:nvSpPr>
        <p:spPr>
          <a:xfrm flipV="1">
            <a:off x="9885373" y="4104367"/>
            <a:ext cx="1634489" cy="1168430"/>
          </a:xfrm>
          <a:custGeom>
            <a:avLst/>
            <a:gdLst>
              <a:gd name="connsiteX0" fmla="*/ 0 w 1548882"/>
              <a:gd name="connsiteY0" fmla="*/ 0 h 1107233"/>
              <a:gd name="connsiteX1" fmla="*/ 1548882 w 1548882"/>
              <a:gd name="connsiteY1" fmla="*/ 0 h 1107233"/>
              <a:gd name="connsiteX2" fmla="*/ 1548882 w 1548882"/>
              <a:gd name="connsiteY2" fmla="*/ 1107233 h 1107233"/>
            </a:gdLst>
            <a:ahLst/>
            <a:cxnLst>
              <a:cxn ang="0">
                <a:pos x="connsiteX0" y="connsiteY0"/>
              </a:cxn>
              <a:cxn ang="0">
                <a:pos x="connsiteX1" y="connsiteY1"/>
              </a:cxn>
              <a:cxn ang="0">
                <a:pos x="connsiteX2" y="connsiteY2"/>
              </a:cxn>
            </a:cxnLst>
            <a:rect l="l" t="t" r="r" b="b"/>
            <a:pathLst>
              <a:path w="1548882" h="1107233">
                <a:moveTo>
                  <a:pt x="0" y="0"/>
                </a:moveTo>
                <a:lnTo>
                  <a:pt x="1548882" y="0"/>
                </a:lnTo>
                <a:lnTo>
                  <a:pt x="1548882" y="1107233"/>
                </a:lnTo>
              </a:path>
            </a:pathLst>
          </a:custGeom>
          <a:noFill/>
          <a:ln>
            <a:solidFill>
              <a:schemeClr val="bg1">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153" name="矩形 152"/>
          <p:cNvSpPr/>
          <p:nvPr/>
        </p:nvSpPr>
        <p:spPr>
          <a:xfrm>
            <a:off x="5449257" y="3187947"/>
            <a:ext cx="198734" cy="194934"/>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rPr>
              <a:t>1</a:t>
            </a:r>
            <a:endParaRPr kumimoji="0" lang="zh-CN" altLang="en-US" sz="1600" b="0"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endParaRPr>
          </a:p>
        </p:txBody>
      </p:sp>
      <p:sp>
        <p:nvSpPr>
          <p:cNvPr id="155" name="矩形 154"/>
          <p:cNvSpPr/>
          <p:nvPr/>
        </p:nvSpPr>
        <p:spPr>
          <a:xfrm>
            <a:off x="6671465" y="3187947"/>
            <a:ext cx="419582" cy="194934"/>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rPr>
              <a:t>2, 4</a:t>
            </a:r>
            <a:endParaRPr kumimoji="0" lang="zh-CN" altLang="en-US" sz="1600" b="0"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endParaRPr>
          </a:p>
        </p:txBody>
      </p:sp>
      <p:sp>
        <p:nvSpPr>
          <p:cNvPr id="156" name="矩形 155"/>
          <p:cNvSpPr/>
          <p:nvPr/>
        </p:nvSpPr>
        <p:spPr>
          <a:xfrm>
            <a:off x="8402294" y="3187947"/>
            <a:ext cx="419582" cy="194934"/>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rPr>
              <a:t>3</a:t>
            </a:r>
            <a:r>
              <a:rPr kumimoji="0" lang="en-US" altLang="zh-CN" sz="1600" b="0" i="0" u="none" strike="noStrike" kern="0" cap="none" spc="0" normalizeH="0" baseline="0" noProof="0" dirty="0" smtClean="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rPr>
              <a:t> ,4</a:t>
            </a:r>
            <a:endParaRPr kumimoji="0" lang="zh-CN" altLang="en-US" sz="1600" b="0"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endParaRPr>
          </a:p>
        </p:txBody>
      </p:sp>
      <p:sp>
        <p:nvSpPr>
          <p:cNvPr id="158" name="文本框 157"/>
          <p:cNvSpPr txBox="1"/>
          <p:nvPr/>
        </p:nvSpPr>
        <p:spPr>
          <a:xfrm>
            <a:off x="9457149" y="3187947"/>
            <a:ext cx="1091068" cy="194934"/>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defPPr>
              <a:defRPr lang="zh-CN"/>
            </a:defPPr>
            <a:lvl1pPr algn="ctr">
              <a:defRPr sz="1600" b="1" kern="0">
                <a:solidFill>
                  <a:schemeClr val="bg1">
                    <a:lumMod val="65000"/>
                  </a:schemeClr>
                </a:solidFill>
                <a:latin typeface="Impact" panose="020B0806030902050204" pitchFamily="34" charset="0"/>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a:ln>
                  <a:noFill/>
                </a:ln>
                <a:solidFill>
                  <a:prstClr val="white">
                    <a:lumMod val="65000"/>
                  </a:prstClr>
                </a:solidFill>
                <a:effectLst/>
                <a:uLnTx/>
                <a:uFillTx/>
                <a:latin typeface="Impact" panose="020B0806030902050204" pitchFamily="34" charset="0"/>
                <a:ea typeface="华文楷体" panose="02010600040101010101" charset="-122"/>
              </a:rPr>
              <a:t>1,2,3,4,5,6</a:t>
            </a:r>
            <a:endParaRPr kumimoji="0" lang="zh-CN" altLang="en-US" sz="1600" b="0"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endParaRPr>
          </a:p>
        </p:txBody>
      </p:sp>
      <p:sp>
        <p:nvSpPr>
          <p:cNvPr id="157" name="文本框 156"/>
          <p:cNvSpPr txBox="1"/>
          <p:nvPr/>
        </p:nvSpPr>
        <p:spPr>
          <a:xfrm>
            <a:off x="9593530" y="4822372"/>
            <a:ext cx="551956" cy="177543"/>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defPPr>
              <a:defRPr lang="zh-CN"/>
            </a:defPPr>
            <a:lvl1pPr algn="ctr">
              <a:defRPr sz="1600" b="1" kern="0">
                <a:solidFill>
                  <a:schemeClr val="bg1">
                    <a:lumMod val="65000"/>
                  </a:schemeClr>
                </a:solidFill>
                <a:latin typeface="Impact" panose="020B0806030902050204" pitchFamily="34" charset="0"/>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rPr>
              <a:t>3,4,5</a:t>
            </a:r>
            <a:endParaRPr kumimoji="0" lang="zh-CN" altLang="en-US" sz="1600" b="0"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endParaRPr>
          </a:p>
        </p:txBody>
      </p:sp>
      <p:sp>
        <p:nvSpPr>
          <p:cNvPr id="159" name="文本框 158"/>
          <p:cNvSpPr txBox="1"/>
          <p:nvPr/>
        </p:nvSpPr>
        <p:spPr>
          <a:xfrm>
            <a:off x="9593530" y="1567543"/>
            <a:ext cx="551956" cy="177543"/>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defPPr>
              <a:defRPr lang="zh-CN"/>
            </a:defPPr>
            <a:lvl1pPr algn="ctr">
              <a:defRPr sz="1600" b="1" kern="0">
                <a:solidFill>
                  <a:schemeClr val="bg1">
                    <a:lumMod val="65000"/>
                  </a:schemeClr>
                </a:solidFill>
                <a:latin typeface="Impact" panose="020B0806030902050204" pitchFamily="34" charset="0"/>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rPr>
              <a:t>3,4,6</a:t>
            </a:r>
            <a:endParaRPr kumimoji="0" lang="zh-CN" altLang="en-US" sz="1600" b="0"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endParaRPr>
          </a:p>
        </p:txBody>
      </p:sp>
      <p:sp>
        <p:nvSpPr>
          <p:cNvPr id="160" name="矩形 159"/>
          <p:cNvSpPr/>
          <p:nvPr/>
        </p:nvSpPr>
        <p:spPr>
          <a:xfrm>
            <a:off x="10993094" y="3187947"/>
            <a:ext cx="419582" cy="194934"/>
          </a:xfrm>
          <a:prstGeom prst="rect">
            <a:avLst/>
          </a:prstGeom>
          <a:noFill/>
          <a:ln w="2857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rPr>
              <a:t>5 ,6</a:t>
            </a:r>
            <a:endParaRPr kumimoji="0" lang="zh-CN" altLang="en-US" sz="1600" b="0" i="0" u="none" strike="noStrike" kern="0" cap="none" spc="0" normalizeH="0" baseline="0" noProof="0" dirty="0">
              <a:ln>
                <a:noFill/>
              </a:ln>
              <a:solidFill>
                <a:prstClr val="white">
                  <a:lumMod val="65000"/>
                </a:prstClr>
              </a:solidFill>
              <a:effectLst/>
              <a:uLnTx/>
              <a:uFillTx/>
              <a:latin typeface="Impact" panose="020B0806030902050204" pitchFamily="34" charset="0"/>
              <a:ea typeface="华文楷体" panose="02010600040101010101" charset="-122"/>
              <a:cs typeface="+mn-ea"/>
              <a:sym typeface="+mn-lt"/>
            </a:endParaRPr>
          </a:p>
        </p:txBody>
      </p:sp>
      <p:sp>
        <p:nvSpPr>
          <p:cNvPr id="75"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流程分析</a:t>
            </a:r>
            <a:endParaRPr lang="zh-CN" altLang="en-US" sz="2400" dirty="0">
              <a:solidFill>
                <a:prstClr val="black"/>
              </a:solidFill>
              <a:latin typeface="华文楷体" panose="02010600040101010101" charset="-122"/>
            </a:endParaRPr>
          </a:p>
        </p:txBody>
      </p:sp>
      <p:pic>
        <p:nvPicPr>
          <p:cNvPr id="74" name="图片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670" name="think-cell Slide" r:id="rId2" imgW="12700" imgH="12700" progId="TCLayout.ActiveDocument.1">
                  <p:embed/>
                </p:oleObj>
              </mc:Choice>
              <mc:Fallback>
                <p:oleObj name="think-cell Slide" r:id="rId2" imgW="12700" imgH="12700" progId="TCLayout.ActiveDocument.1">
                  <p:embed/>
                  <p:pic>
                    <p:nvPicPr>
                      <p:cNvPr id="0" name="对象 3" hidden="1"/>
                      <p:cNvPicPr/>
                      <p:nvPr/>
                    </p:nvPicPr>
                    <p:blipFill>
                      <a:blip r:embed="rId3"/>
                      <a:stretch>
                        <a:fillRect/>
                      </a:stretch>
                    </p:blipFill>
                    <p:spPr>
                      <a:xfrm>
                        <a:off x="1588" y="1588"/>
                        <a:ext cx="1588" cy="1588"/>
                      </a:xfrm>
                      <a:prstGeom prst="rect">
                        <a:avLst/>
                      </a:prstGeom>
                    </p:spPr>
                  </p:pic>
                </p:oleObj>
              </mc:Fallback>
            </mc:AlternateContent>
          </a:graphicData>
        </a:graphic>
      </p:graphicFrame>
      <p:cxnSp>
        <p:nvCxnSpPr>
          <p:cNvPr id="69" name="直接连接符 68"/>
          <p:cNvCxnSpPr/>
          <p:nvPr>
            <p:custDataLst>
              <p:tags r:id="rId4"/>
            </p:custDataLst>
          </p:nvPr>
        </p:nvCxnSpPr>
        <p:spPr bwMode="auto">
          <a:xfrm>
            <a:off x="10209535" y="1342418"/>
            <a:ext cx="0" cy="4717869"/>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custDataLst>
              <p:tags r:id="rId5"/>
            </p:custDataLst>
          </p:nvPr>
        </p:nvCxnSpPr>
        <p:spPr bwMode="auto">
          <a:xfrm>
            <a:off x="4106426" y="1342418"/>
            <a:ext cx="0" cy="4717869"/>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直接连接符 64"/>
          <p:cNvCxnSpPr/>
          <p:nvPr>
            <p:custDataLst>
              <p:tags r:id="rId6"/>
            </p:custDataLst>
          </p:nvPr>
        </p:nvCxnSpPr>
        <p:spPr bwMode="auto">
          <a:xfrm>
            <a:off x="5328094" y="1342418"/>
            <a:ext cx="0" cy="4717869"/>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直接连接符 65"/>
          <p:cNvCxnSpPr/>
          <p:nvPr>
            <p:custDataLst>
              <p:tags r:id="rId7"/>
            </p:custDataLst>
          </p:nvPr>
        </p:nvCxnSpPr>
        <p:spPr bwMode="auto">
          <a:xfrm>
            <a:off x="6557108" y="1342418"/>
            <a:ext cx="0" cy="4717869"/>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直接连接符 66"/>
          <p:cNvCxnSpPr/>
          <p:nvPr>
            <p:custDataLst>
              <p:tags r:id="rId8"/>
            </p:custDataLst>
          </p:nvPr>
        </p:nvCxnSpPr>
        <p:spPr bwMode="auto">
          <a:xfrm>
            <a:off x="7786123" y="1342418"/>
            <a:ext cx="0" cy="4717869"/>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直接连接符 67"/>
          <p:cNvCxnSpPr/>
          <p:nvPr>
            <p:custDataLst>
              <p:tags r:id="rId9"/>
            </p:custDataLst>
          </p:nvPr>
        </p:nvCxnSpPr>
        <p:spPr bwMode="auto">
          <a:xfrm>
            <a:off x="9022043" y="1342418"/>
            <a:ext cx="0" cy="4717869"/>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8986562" y="1073761"/>
            <a:ext cx="1224000" cy="268657"/>
          </a:xfrm>
          <a:prstGeom prst="rect">
            <a:avLst/>
          </a:prstGeom>
          <a:solidFill>
            <a:schemeClr val="accent1">
              <a:lumMod val="20000"/>
              <a:lumOff val="80000"/>
            </a:schemeClr>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smtClean="0">
                <a:solidFill>
                  <a:schemeClr val="tx1"/>
                </a:solidFill>
              </a:rPr>
              <a:t>12</a:t>
            </a:r>
            <a:r>
              <a:rPr lang="zh-CN" altLang="en-US" sz="1400" smtClean="0">
                <a:solidFill>
                  <a:schemeClr val="tx1"/>
                </a:solidFill>
              </a:rPr>
              <a:t>月</a:t>
            </a:r>
            <a:endParaRPr lang="zh-CN" altLang="en-US" sz="1400" dirty="0" smtClean="0">
              <a:solidFill>
                <a:schemeClr val="tx1"/>
              </a:solidFill>
            </a:endParaRPr>
          </a:p>
        </p:txBody>
      </p:sp>
      <p:sp>
        <p:nvSpPr>
          <p:cNvPr id="15" name="矩形 14"/>
          <p:cNvSpPr/>
          <p:nvPr/>
        </p:nvSpPr>
        <p:spPr>
          <a:xfrm>
            <a:off x="7767071" y="1073761"/>
            <a:ext cx="1224000" cy="268657"/>
          </a:xfrm>
          <a:prstGeom prst="rect">
            <a:avLst/>
          </a:prstGeom>
          <a:solidFill>
            <a:schemeClr val="accent1">
              <a:lumMod val="20000"/>
              <a:lumOff val="80000"/>
            </a:schemeClr>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smtClean="0">
                <a:solidFill>
                  <a:schemeClr val="tx1"/>
                </a:solidFill>
              </a:rPr>
              <a:t>11</a:t>
            </a:r>
            <a:r>
              <a:rPr lang="zh-CN" altLang="en-US" sz="1400" smtClean="0">
                <a:solidFill>
                  <a:schemeClr val="tx1"/>
                </a:solidFill>
              </a:rPr>
              <a:t>月</a:t>
            </a:r>
            <a:endParaRPr lang="zh-CN" altLang="en-US" sz="1400" dirty="0" smtClean="0">
              <a:solidFill>
                <a:schemeClr val="tx1"/>
              </a:solidFill>
            </a:endParaRPr>
          </a:p>
        </p:txBody>
      </p:sp>
      <p:sp>
        <p:nvSpPr>
          <p:cNvPr id="14" name="矩形 13"/>
          <p:cNvSpPr/>
          <p:nvPr/>
        </p:nvSpPr>
        <p:spPr>
          <a:xfrm>
            <a:off x="6547582" y="1073761"/>
            <a:ext cx="1224000" cy="268657"/>
          </a:xfrm>
          <a:prstGeom prst="rect">
            <a:avLst/>
          </a:prstGeom>
          <a:solidFill>
            <a:schemeClr val="accent1">
              <a:lumMod val="20000"/>
              <a:lumOff val="80000"/>
            </a:schemeClr>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smtClean="0">
                <a:solidFill>
                  <a:schemeClr val="tx1"/>
                </a:solidFill>
              </a:rPr>
              <a:t>10</a:t>
            </a:r>
            <a:r>
              <a:rPr lang="zh-CN" altLang="en-US" sz="1400" smtClean="0">
                <a:solidFill>
                  <a:schemeClr val="tx1"/>
                </a:solidFill>
              </a:rPr>
              <a:t>月</a:t>
            </a:r>
            <a:endParaRPr lang="zh-CN" altLang="en-US" sz="1400" dirty="0" smtClean="0">
              <a:solidFill>
                <a:schemeClr val="tx1"/>
              </a:solidFill>
            </a:endParaRPr>
          </a:p>
        </p:txBody>
      </p:sp>
      <p:sp>
        <p:nvSpPr>
          <p:cNvPr id="13" name="矩形 12"/>
          <p:cNvSpPr/>
          <p:nvPr/>
        </p:nvSpPr>
        <p:spPr>
          <a:xfrm>
            <a:off x="5328093" y="1073761"/>
            <a:ext cx="1224000" cy="268657"/>
          </a:xfrm>
          <a:prstGeom prst="rect">
            <a:avLst/>
          </a:prstGeom>
          <a:solidFill>
            <a:schemeClr val="accent1">
              <a:lumMod val="20000"/>
              <a:lumOff val="80000"/>
            </a:schemeClr>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smtClean="0">
                <a:solidFill>
                  <a:schemeClr val="tx1"/>
                </a:solidFill>
              </a:rPr>
              <a:t>9</a:t>
            </a:r>
            <a:r>
              <a:rPr lang="zh-CN" altLang="en-US" sz="1400" smtClean="0">
                <a:solidFill>
                  <a:schemeClr val="tx1"/>
                </a:solidFill>
              </a:rPr>
              <a:t>月</a:t>
            </a:r>
            <a:endParaRPr lang="zh-CN" altLang="en-US" sz="1400" dirty="0" smtClean="0">
              <a:solidFill>
                <a:schemeClr val="tx1"/>
              </a:solidFill>
            </a:endParaRPr>
          </a:p>
        </p:txBody>
      </p:sp>
      <p:sp>
        <p:nvSpPr>
          <p:cNvPr id="12" name="矩形 11"/>
          <p:cNvSpPr/>
          <p:nvPr/>
        </p:nvSpPr>
        <p:spPr>
          <a:xfrm>
            <a:off x="4108604" y="1073761"/>
            <a:ext cx="1224000" cy="268657"/>
          </a:xfrm>
          <a:prstGeom prst="rect">
            <a:avLst/>
          </a:prstGeom>
          <a:solidFill>
            <a:schemeClr val="accent1">
              <a:lumMod val="20000"/>
              <a:lumOff val="80000"/>
            </a:schemeClr>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smtClean="0">
                <a:solidFill>
                  <a:schemeClr val="tx1"/>
                </a:solidFill>
              </a:rPr>
              <a:t>8</a:t>
            </a:r>
            <a:r>
              <a:rPr lang="zh-CN" altLang="en-US" sz="1400" smtClean="0">
                <a:solidFill>
                  <a:schemeClr val="tx1"/>
                </a:solidFill>
              </a:rPr>
              <a:t>月</a:t>
            </a:r>
            <a:endParaRPr lang="zh-CN" altLang="en-US" sz="1400" dirty="0" smtClean="0">
              <a:solidFill>
                <a:schemeClr val="tx1"/>
              </a:solidFill>
            </a:endParaRPr>
          </a:p>
        </p:txBody>
      </p:sp>
      <p:sp>
        <p:nvSpPr>
          <p:cNvPr id="11" name="矩形 10"/>
          <p:cNvSpPr/>
          <p:nvPr/>
        </p:nvSpPr>
        <p:spPr>
          <a:xfrm>
            <a:off x="2889115" y="1073761"/>
            <a:ext cx="1224000" cy="268657"/>
          </a:xfrm>
          <a:prstGeom prst="rect">
            <a:avLst/>
          </a:prstGeom>
          <a:solidFill>
            <a:schemeClr val="accent1">
              <a:lumMod val="20000"/>
              <a:lumOff val="80000"/>
            </a:schemeClr>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smtClean="0">
                <a:solidFill>
                  <a:schemeClr val="tx1"/>
                </a:solidFill>
              </a:rPr>
              <a:t>7</a:t>
            </a:r>
            <a:r>
              <a:rPr lang="zh-CN" altLang="en-US" sz="1400" smtClean="0">
                <a:solidFill>
                  <a:schemeClr val="tx1"/>
                </a:solidFill>
              </a:rPr>
              <a:t>月</a:t>
            </a:r>
            <a:endParaRPr lang="zh-CN" altLang="en-US" sz="1400" dirty="0" smtClean="0">
              <a:solidFill>
                <a:schemeClr val="tx1"/>
              </a:solidFill>
            </a:endParaRPr>
          </a:p>
        </p:txBody>
      </p:sp>
      <p:sp>
        <p:nvSpPr>
          <p:cNvPr id="18" name="矩形 17"/>
          <p:cNvSpPr/>
          <p:nvPr/>
        </p:nvSpPr>
        <p:spPr>
          <a:xfrm>
            <a:off x="2889115" y="805104"/>
            <a:ext cx="7315377" cy="268657"/>
          </a:xfrm>
          <a:prstGeom prst="rect">
            <a:avLst/>
          </a:prstGeom>
          <a:solidFill>
            <a:schemeClr val="accent1">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dirty="0" smtClean="0">
                <a:solidFill>
                  <a:schemeClr val="tx1"/>
                </a:solidFill>
              </a:rPr>
              <a:t>2018</a:t>
            </a:r>
            <a:r>
              <a:rPr lang="zh-CN" altLang="en-US" sz="1400" dirty="0" smtClean="0">
                <a:solidFill>
                  <a:schemeClr val="tx1"/>
                </a:solidFill>
              </a:rPr>
              <a:t>年</a:t>
            </a:r>
            <a:endParaRPr lang="zh-CN" altLang="en-US" sz="1400" dirty="0" smtClean="0">
              <a:solidFill>
                <a:schemeClr val="tx1"/>
              </a:solidFill>
            </a:endParaRPr>
          </a:p>
        </p:txBody>
      </p:sp>
      <p:sp>
        <p:nvSpPr>
          <p:cNvPr id="7" name="文本框 6"/>
          <p:cNvSpPr txBox="1"/>
          <p:nvPr/>
        </p:nvSpPr>
        <p:spPr>
          <a:xfrm>
            <a:off x="179024" y="1347350"/>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b="1" smtClean="0">
                <a:solidFill>
                  <a:schemeClr val="accent1"/>
                </a:solidFill>
              </a:rPr>
              <a:t>1.</a:t>
            </a:r>
            <a:r>
              <a:rPr lang="zh-CN" altLang="en-US" sz="1200" b="1" smtClean="0">
                <a:solidFill>
                  <a:schemeClr val="accent1"/>
                </a:solidFill>
              </a:rPr>
              <a:t>项目综合管理</a:t>
            </a:r>
            <a:endParaRPr lang="zh-CN" altLang="en-US" sz="1200" b="1" dirty="0" err="1" smtClean="0">
              <a:solidFill>
                <a:schemeClr val="accent1"/>
              </a:solidFill>
            </a:endParaRPr>
          </a:p>
        </p:txBody>
      </p:sp>
      <p:sp>
        <p:nvSpPr>
          <p:cNvPr id="23" name="文本框 22"/>
          <p:cNvSpPr txBox="1"/>
          <p:nvPr/>
        </p:nvSpPr>
        <p:spPr>
          <a:xfrm>
            <a:off x="179024" y="2428400"/>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b="1" dirty="0" smtClean="0">
                <a:solidFill>
                  <a:schemeClr val="accent1"/>
                </a:solidFill>
              </a:rPr>
              <a:t>2.xx</a:t>
            </a:r>
            <a:r>
              <a:rPr lang="zh-CN" altLang="en-US" sz="1200" b="1" dirty="0" smtClean="0">
                <a:solidFill>
                  <a:schemeClr val="accent1"/>
                </a:solidFill>
              </a:rPr>
              <a:t>管理及</a:t>
            </a:r>
            <a:endParaRPr lang="zh-CN" altLang="en-US" sz="1200" b="1" dirty="0" smtClean="0">
              <a:solidFill>
                <a:schemeClr val="accent1"/>
              </a:solidFill>
            </a:endParaRPr>
          </a:p>
        </p:txBody>
      </p:sp>
      <p:sp>
        <p:nvSpPr>
          <p:cNvPr id="24" name="文本框 23"/>
          <p:cNvSpPr txBox="1"/>
          <p:nvPr/>
        </p:nvSpPr>
        <p:spPr>
          <a:xfrm>
            <a:off x="179024" y="3910326"/>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b="1" dirty="0" smtClean="0">
                <a:solidFill>
                  <a:schemeClr val="accent1"/>
                </a:solidFill>
              </a:rPr>
              <a:t>3.xx</a:t>
            </a:r>
            <a:r>
              <a:rPr lang="zh-CN" altLang="en-US" sz="1200" b="1" dirty="0" smtClean="0">
                <a:solidFill>
                  <a:schemeClr val="accent1"/>
                </a:solidFill>
              </a:rPr>
              <a:t>管理</a:t>
            </a:r>
            <a:endParaRPr lang="zh-CN" altLang="en-US" sz="1200" b="1" dirty="0" smtClean="0">
              <a:solidFill>
                <a:schemeClr val="accent1"/>
              </a:solidFill>
            </a:endParaRPr>
          </a:p>
        </p:txBody>
      </p:sp>
      <p:sp>
        <p:nvSpPr>
          <p:cNvPr id="26" name="文本框 25"/>
          <p:cNvSpPr txBox="1"/>
          <p:nvPr/>
        </p:nvSpPr>
        <p:spPr>
          <a:xfrm>
            <a:off x="179024" y="1779770"/>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smtClean="0">
                <a:solidFill>
                  <a:schemeClr val="tx1"/>
                </a:solidFill>
              </a:rPr>
              <a:t>1.2 </a:t>
            </a:r>
            <a:r>
              <a:rPr lang="zh-CN" altLang="en-US" sz="1200" smtClean="0">
                <a:solidFill>
                  <a:schemeClr val="tx1"/>
                </a:solidFill>
              </a:rPr>
              <a:t>实施团队搭建</a:t>
            </a:r>
            <a:endParaRPr lang="zh-CN" altLang="en-US" sz="1200" dirty="0" err="1" smtClean="0">
              <a:solidFill>
                <a:schemeClr val="tx1"/>
              </a:solidFill>
            </a:endParaRPr>
          </a:p>
        </p:txBody>
      </p:sp>
      <p:sp>
        <p:nvSpPr>
          <p:cNvPr id="27" name="文本框 26"/>
          <p:cNvSpPr txBox="1"/>
          <p:nvPr/>
        </p:nvSpPr>
        <p:spPr>
          <a:xfrm>
            <a:off x="179024" y="2644610"/>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2.1 xx</a:t>
            </a:r>
            <a:endParaRPr lang="zh-CN" altLang="en-US" sz="1200" dirty="0" smtClean="0">
              <a:solidFill>
                <a:schemeClr val="tx1"/>
              </a:solidFill>
            </a:endParaRPr>
          </a:p>
        </p:txBody>
      </p:sp>
      <p:sp>
        <p:nvSpPr>
          <p:cNvPr id="28" name="文本框 27"/>
          <p:cNvSpPr txBox="1"/>
          <p:nvPr/>
        </p:nvSpPr>
        <p:spPr>
          <a:xfrm>
            <a:off x="179024" y="4991376"/>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b="1" dirty="0" smtClean="0">
                <a:solidFill>
                  <a:schemeClr val="accent1"/>
                </a:solidFill>
              </a:rPr>
              <a:t>4.xx</a:t>
            </a:r>
            <a:endParaRPr lang="zh-CN" altLang="en-US" sz="1200" b="1" dirty="0" smtClean="0">
              <a:solidFill>
                <a:schemeClr val="accent1"/>
              </a:solidFill>
            </a:endParaRPr>
          </a:p>
        </p:txBody>
      </p:sp>
      <p:sp>
        <p:nvSpPr>
          <p:cNvPr id="29" name="文本框 28"/>
          <p:cNvSpPr txBox="1"/>
          <p:nvPr/>
        </p:nvSpPr>
        <p:spPr>
          <a:xfrm>
            <a:off x="179024" y="1563560"/>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1.1xx</a:t>
            </a:r>
            <a:endParaRPr lang="zh-CN" altLang="en-US" sz="1200" dirty="0" smtClean="0">
              <a:solidFill>
                <a:schemeClr val="tx1"/>
              </a:solidFill>
            </a:endParaRPr>
          </a:p>
        </p:txBody>
      </p:sp>
      <p:sp>
        <p:nvSpPr>
          <p:cNvPr id="30" name="文本框 29"/>
          <p:cNvSpPr txBox="1"/>
          <p:nvPr/>
        </p:nvSpPr>
        <p:spPr>
          <a:xfrm>
            <a:off x="179024" y="1995980"/>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1.3 </a:t>
            </a:r>
            <a:r>
              <a:rPr lang="zh-CN" altLang="en-US" sz="1200" dirty="0" smtClean="0">
                <a:solidFill>
                  <a:schemeClr val="tx1"/>
                </a:solidFill>
              </a:rPr>
              <a:t>确定</a:t>
            </a:r>
            <a:r>
              <a:rPr lang="en-US" altLang="zh-CN" sz="1200" dirty="0" smtClean="0">
                <a:solidFill>
                  <a:schemeClr val="tx1"/>
                </a:solidFill>
              </a:rPr>
              <a:t>xx</a:t>
            </a:r>
            <a:r>
              <a:rPr lang="zh-CN" altLang="en-US" sz="1200" dirty="0" smtClean="0">
                <a:solidFill>
                  <a:schemeClr val="tx1"/>
                </a:solidFill>
              </a:rPr>
              <a:t>城市</a:t>
            </a:r>
            <a:endParaRPr lang="zh-CN" altLang="en-US" sz="1200" dirty="0" smtClean="0">
              <a:solidFill>
                <a:schemeClr val="tx1"/>
              </a:solidFill>
            </a:endParaRPr>
          </a:p>
        </p:txBody>
      </p:sp>
      <p:sp>
        <p:nvSpPr>
          <p:cNvPr id="31" name="文本框 30"/>
          <p:cNvSpPr txBox="1"/>
          <p:nvPr/>
        </p:nvSpPr>
        <p:spPr>
          <a:xfrm>
            <a:off x="179024" y="4126536"/>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3.1 xx</a:t>
            </a:r>
            <a:endParaRPr lang="zh-CN" altLang="en-US" sz="1200" dirty="0" smtClean="0">
              <a:solidFill>
                <a:schemeClr val="tx1"/>
              </a:solidFill>
            </a:endParaRPr>
          </a:p>
        </p:txBody>
      </p:sp>
      <p:sp>
        <p:nvSpPr>
          <p:cNvPr id="32" name="文本框 31"/>
          <p:cNvSpPr txBox="1"/>
          <p:nvPr/>
        </p:nvSpPr>
        <p:spPr>
          <a:xfrm>
            <a:off x="179024" y="5207586"/>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4.1 xx</a:t>
            </a:r>
            <a:endParaRPr lang="zh-CN" altLang="en-US" sz="1200" dirty="0" smtClean="0">
              <a:solidFill>
                <a:schemeClr val="tx1"/>
              </a:solidFill>
            </a:endParaRPr>
          </a:p>
        </p:txBody>
      </p:sp>
      <p:sp>
        <p:nvSpPr>
          <p:cNvPr id="34" name="文本框 33"/>
          <p:cNvSpPr txBox="1"/>
          <p:nvPr/>
        </p:nvSpPr>
        <p:spPr>
          <a:xfrm>
            <a:off x="179024" y="2860820"/>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2.2 xx</a:t>
            </a:r>
            <a:endParaRPr lang="en-US" altLang="zh-CN" sz="1200" dirty="0" smtClean="0">
              <a:solidFill>
                <a:schemeClr val="tx1"/>
              </a:solidFill>
            </a:endParaRPr>
          </a:p>
        </p:txBody>
      </p:sp>
      <p:sp>
        <p:nvSpPr>
          <p:cNvPr id="35" name="文本框 34"/>
          <p:cNvSpPr txBox="1"/>
          <p:nvPr/>
        </p:nvSpPr>
        <p:spPr>
          <a:xfrm>
            <a:off x="179024" y="5423796"/>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4.2 xx</a:t>
            </a:r>
            <a:endParaRPr lang="zh-CN" altLang="en-US" sz="1200" dirty="0" smtClean="0">
              <a:solidFill>
                <a:schemeClr val="tx1"/>
              </a:solidFill>
            </a:endParaRPr>
          </a:p>
        </p:txBody>
      </p:sp>
      <p:sp>
        <p:nvSpPr>
          <p:cNvPr id="36" name="文本框 35"/>
          <p:cNvSpPr txBox="1"/>
          <p:nvPr/>
        </p:nvSpPr>
        <p:spPr>
          <a:xfrm>
            <a:off x="179024" y="5640006"/>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4.3 xx</a:t>
            </a:r>
            <a:endParaRPr lang="zh-CN" altLang="en-US" sz="1200" dirty="0" smtClean="0">
              <a:solidFill>
                <a:schemeClr val="tx1"/>
              </a:solidFill>
            </a:endParaRPr>
          </a:p>
        </p:txBody>
      </p:sp>
      <p:sp>
        <p:nvSpPr>
          <p:cNvPr id="37" name="文本框 36"/>
          <p:cNvSpPr txBox="1"/>
          <p:nvPr/>
        </p:nvSpPr>
        <p:spPr>
          <a:xfrm>
            <a:off x="179024" y="4558956"/>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3.3 xx</a:t>
            </a:r>
            <a:endParaRPr lang="zh-CN" altLang="en-US" sz="1200" dirty="0" smtClean="0">
              <a:solidFill>
                <a:schemeClr val="tx1"/>
              </a:solidFill>
            </a:endParaRPr>
          </a:p>
        </p:txBody>
      </p:sp>
      <p:sp>
        <p:nvSpPr>
          <p:cNvPr id="38" name="文本框 37"/>
          <p:cNvSpPr txBox="1"/>
          <p:nvPr/>
        </p:nvSpPr>
        <p:spPr>
          <a:xfrm>
            <a:off x="179024" y="4342746"/>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3.2 xx</a:t>
            </a:r>
            <a:endParaRPr lang="zh-CN" altLang="en-US" sz="1200" dirty="0" smtClean="0">
              <a:solidFill>
                <a:schemeClr val="tx1"/>
              </a:solidFill>
            </a:endParaRPr>
          </a:p>
        </p:txBody>
      </p:sp>
      <p:sp>
        <p:nvSpPr>
          <p:cNvPr id="39" name="文本框 38"/>
          <p:cNvSpPr txBox="1"/>
          <p:nvPr/>
        </p:nvSpPr>
        <p:spPr>
          <a:xfrm>
            <a:off x="179024" y="3293240"/>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2.4 xx</a:t>
            </a:r>
            <a:endParaRPr lang="en-US" altLang="zh-CN" sz="1200" dirty="0" smtClean="0">
              <a:solidFill>
                <a:schemeClr val="tx1"/>
              </a:solidFill>
            </a:endParaRPr>
          </a:p>
        </p:txBody>
      </p:sp>
      <p:sp>
        <p:nvSpPr>
          <p:cNvPr id="40" name="文本框 39"/>
          <p:cNvSpPr txBox="1"/>
          <p:nvPr/>
        </p:nvSpPr>
        <p:spPr>
          <a:xfrm>
            <a:off x="179024" y="3077030"/>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2.3 xx</a:t>
            </a:r>
            <a:endParaRPr lang="en-US" altLang="zh-CN" sz="1200" dirty="0" smtClean="0">
              <a:solidFill>
                <a:schemeClr val="tx1"/>
              </a:solidFill>
            </a:endParaRPr>
          </a:p>
        </p:txBody>
      </p:sp>
      <p:sp>
        <p:nvSpPr>
          <p:cNvPr id="41" name="文本框 40"/>
          <p:cNvSpPr txBox="1"/>
          <p:nvPr/>
        </p:nvSpPr>
        <p:spPr>
          <a:xfrm>
            <a:off x="179024" y="4775166"/>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3.4 xx</a:t>
            </a:r>
            <a:endParaRPr lang="zh-CN" altLang="en-US" sz="1200" dirty="0" smtClean="0">
              <a:solidFill>
                <a:schemeClr val="tx1"/>
              </a:solidFill>
            </a:endParaRPr>
          </a:p>
        </p:txBody>
      </p:sp>
      <p:sp>
        <p:nvSpPr>
          <p:cNvPr id="42" name="文本框 41"/>
          <p:cNvSpPr txBox="1"/>
          <p:nvPr/>
        </p:nvSpPr>
        <p:spPr>
          <a:xfrm>
            <a:off x="179024" y="5856207"/>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4.4 xx</a:t>
            </a:r>
            <a:endParaRPr lang="zh-CN" altLang="en-US" sz="1200" dirty="0" smtClean="0">
              <a:solidFill>
                <a:schemeClr val="tx1"/>
              </a:solidFill>
            </a:endParaRPr>
          </a:p>
        </p:txBody>
      </p:sp>
      <p:sp>
        <p:nvSpPr>
          <p:cNvPr id="9" name="五边形 8"/>
          <p:cNvSpPr/>
          <p:nvPr/>
        </p:nvSpPr>
        <p:spPr>
          <a:xfrm>
            <a:off x="2930894" y="1618324"/>
            <a:ext cx="1188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47" name="五边形 46"/>
          <p:cNvSpPr/>
          <p:nvPr/>
        </p:nvSpPr>
        <p:spPr>
          <a:xfrm>
            <a:off x="2930894" y="1828167"/>
            <a:ext cx="2412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48" name="五边形 47"/>
          <p:cNvSpPr/>
          <p:nvPr/>
        </p:nvSpPr>
        <p:spPr>
          <a:xfrm>
            <a:off x="4106426" y="2038010"/>
            <a:ext cx="2448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49" name="五边形 48"/>
          <p:cNvSpPr/>
          <p:nvPr/>
        </p:nvSpPr>
        <p:spPr>
          <a:xfrm>
            <a:off x="6555790" y="3240187"/>
            <a:ext cx="2484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0" name="五边形 49"/>
          <p:cNvSpPr/>
          <p:nvPr/>
        </p:nvSpPr>
        <p:spPr>
          <a:xfrm>
            <a:off x="5328093" y="2737039"/>
            <a:ext cx="2484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1" name="五边形 50"/>
          <p:cNvSpPr/>
          <p:nvPr/>
        </p:nvSpPr>
        <p:spPr>
          <a:xfrm>
            <a:off x="6555790" y="2988613"/>
            <a:ext cx="2484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2" name="文本框 51"/>
          <p:cNvSpPr txBox="1"/>
          <p:nvPr/>
        </p:nvSpPr>
        <p:spPr>
          <a:xfrm>
            <a:off x="179024" y="2212190"/>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1.4 xx</a:t>
            </a:r>
            <a:endParaRPr lang="zh-CN" altLang="en-US" sz="1200" dirty="0" smtClean="0">
              <a:solidFill>
                <a:schemeClr val="tx1"/>
              </a:solidFill>
            </a:endParaRPr>
          </a:p>
        </p:txBody>
      </p:sp>
      <p:sp>
        <p:nvSpPr>
          <p:cNvPr id="53" name="五边形 52"/>
          <p:cNvSpPr/>
          <p:nvPr/>
        </p:nvSpPr>
        <p:spPr>
          <a:xfrm>
            <a:off x="4106426" y="2247853"/>
            <a:ext cx="6120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4" name="五边形 53"/>
          <p:cNvSpPr/>
          <p:nvPr/>
        </p:nvSpPr>
        <p:spPr>
          <a:xfrm>
            <a:off x="7791139" y="3491761"/>
            <a:ext cx="1224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6" name="五边形 55"/>
          <p:cNvSpPr/>
          <p:nvPr/>
        </p:nvSpPr>
        <p:spPr>
          <a:xfrm>
            <a:off x="6562124" y="5275142"/>
            <a:ext cx="2484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9" name="五边形 58"/>
          <p:cNvSpPr/>
          <p:nvPr/>
        </p:nvSpPr>
        <p:spPr>
          <a:xfrm>
            <a:off x="7781108" y="4611738"/>
            <a:ext cx="1260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60" name="五边形 59"/>
          <p:cNvSpPr/>
          <p:nvPr/>
        </p:nvSpPr>
        <p:spPr>
          <a:xfrm>
            <a:off x="6562124" y="4191950"/>
            <a:ext cx="2484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61" name="五边形 60"/>
          <p:cNvSpPr/>
          <p:nvPr/>
        </p:nvSpPr>
        <p:spPr>
          <a:xfrm>
            <a:off x="6556303" y="4401844"/>
            <a:ext cx="2484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70" name="TextBox 255"/>
          <p:cNvSpPr txBox="1"/>
          <p:nvPr/>
        </p:nvSpPr>
        <p:spPr>
          <a:xfrm>
            <a:off x="10288817" y="1503367"/>
            <a:ext cx="1572983" cy="276999"/>
          </a:xfrm>
          <a:prstGeom prst="rect">
            <a:avLst/>
          </a:prstGeom>
          <a:noFill/>
        </p:spPr>
        <p:txBody>
          <a:bodyPr wrap="square" rtlCol="0">
            <a:spAutoFit/>
          </a:bodyPr>
          <a:lstStyle/>
          <a:p>
            <a:r>
              <a:rPr lang="en-US" altLang="zh-CN" sz="1200" dirty="0" smtClean="0">
                <a:latin typeface="Arial" panose="020B0604020202020204" pitchFamily="34" charset="0"/>
                <a:ea typeface="华文楷体" panose="02010600040101010101" charset="-122"/>
              </a:rPr>
              <a:t>xxx</a:t>
            </a:r>
            <a:endParaRPr lang="zh-CN" altLang="en-US" sz="1200" dirty="0">
              <a:latin typeface="Arial" panose="020B0604020202020204" pitchFamily="34" charset="0"/>
              <a:ea typeface="华文楷体" panose="02010600040101010101" charset="-122"/>
            </a:endParaRPr>
          </a:p>
        </p:txBody>
      </p:sp>
      <p:sp>
        <p:nvSpPr>
          <p:cNvPr id="71" name="矩形 70"/>
          <p:cNvSpPr/>
          <p:nvPr/>
        </p:nvSpPr>
        <p:spPr>
          <a:xfrm>
            <a:off x="10233343" y="805104"/>
            <a:ext cx="1722871" cy="537314"/>
          </a:xfrm>
          <a:prstGeom prst="rect">
            <a:avLst/>
          </a:prstGeom>
          <a:solidFill>
            <a:schemeClr val="accent1">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smtClean="0">
                <a:solidFill>
                  <a:schemeClr val="tx1"/>
                </a:solidFill>
              </a:rPr>
              <a:t>预期成果</a:t>
            </a:r>
            <a:endParaRPr lang="zh-CN" altLang="en-US" sz="1400" dirty="0" smtClean="0">
              <a:solidFill>
                <a:schemeClr val="tx1"/>
              </a:solidFill>
            </a:endParaRPr>
          </a:p>
        </p:txBody>
      </p:sp>
      <p:sp>
        <p:nvSpPr>
          <p:cNvPr id="72" name="五边形 71"/>
          <p:cNvSpPr/>
          <p:nvPr/>
        </p:nvSpPr>
        <p:spPr>
          <a:xfrm>
            <a:off x="7781108" y="4821632"/>
            <a:ext cx="2448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73" name="五边形 72"/>
          <p:cNvSpPr/>
          <p:nvPr/>
        </p:nvSpPr>
        <p:spPr>
          <a:xfrm>
            <a:off x="6562124" y="5480983"/>
            <a:ext cx="2484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74" name="五边形 73"/>
          <p:cNvSpPr/>
          <p:nvPr/>
        </p:nvSpPr>
        <p:spPr>
          <a:xfrm>
            <a:off x="7781108" y="5686824"/>
            <a:ext cx="2448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75" name="五边形 74"/>
          <p:cNvSpPr/>
          <p:nvPr/>
        </p:nvSpPr>
        <p:spPr>
          <a:xfrm>
            <a:off x="9028817" y="5892665"/>
            <a:ext cx="1224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76" name="TextBox 255"/>
          <p:cNvSpPr txBox="1"/>
          <p:nvPr/>
        </p:nvSpPr>
        <p:spPr>
          <a:xfrm>
            <a:off x="10288817" y="2803055"/>
            <a:ext cx="1572983" cy="276999"/>
          </a:xfrm>
          <a:prstGeom prst="rect">
            <a:avLst/>
          </a:prstGeom>
          <a:noFill/>
        </p:spPr>
        <p:txBody>
          <a:bodyPr wrap="square" rtlCol="0">
            <a:spAutoFit/>
          </a:bodyPr>
          <a:lstStyle/>
          <a:p>
            <a:r>
              <a:rPr lang="en-US" altLang="zh-CN" sz="1200" dirty="0" smtClean="0">
                <a:latin typeface="Arial" panose="020B0604020202020204" pitchFamily="34" charset="0"/>
                <a:ea typeface="华文楷体" panose="02010600040101010101" charset="-122"/>
              </a:rPr>
              <a:t>xxx</a:t>
            </a:r>
            <a:endParaRPr lang="zh-CN" altLang="en-US" sz="1200" dirty="0">
              <a:latin typeface="Arial" panose="020B0604020202020204" pitchFamily="34" charset="0"/>
              <a:ea typeface="华文楷体" panose="02010600040101010101" charset="-122"/>
            </a:endParaRPr>
          </a:p>
        </p:txBody>
      </p:sp>
      <p:sp>
        <p:nvSpPr>
          <p:cNvPr id="77" name="TextBox 255"/>
          <p:cNvSpPr txBox="1"/>
          <p:nvPr/>
        </p:nvSpPr>
        <p:spPr>
          <a:xfrm>
            <a:off x="10288817" y="4161102"/>
            <a:ext cx="1572983" cy="276999"/>
          </a:xfrm>
          <a:prstGeom prst="rect">
            <a:avLst/>
          </a:prstGeom>
          <a:noFill/>
        </p:spPr>
        <p:txBody>
          <a:bodyPr wrap="square" rtlCol="0">
            <a:spAutoFit/>
          </a:bodyPr>
          <a:lstStyle/>
          <a:p>
            <a:r>
              <a:rPr lang="en-US" altLang="zh-CN" sz="1200" dirty="0" smtClean="0">
                <a:latin typeface="Arial" panose="020B0604020202020204" pitchFamily="34" charset="0"/>
                <a:ea typeface="华文楷体" panose="02010600040101010101" charset="-122"/>
              </a:rPr>
              <a:t>xxx</a:t>
            </a:r>
            <a:endParaRPr lang="zh-CN" altLang="en-US" sz="1200" dirty="0">
              <a:latin typeface="Arial" panose="020B0604020202020204" pitchFamily="34" charset="0"/>
              <a:ea typeface="华文楷体" panose="02010600040101010101" charset="-122"/>
            </a:endParaRPr>
          </a:p>
        </p:txBody>
      </p:sp>
      <p:sp>
        <p:nvSpPr>
          <p:cNvPr id="78" name="TextBox 255"/>
          <p:cNvSpPr txBox="1"/>
          <p:nvPr/>
        </p:nvSpPr>
        <p:spPr>
          <a:xfrm>
            <a:off x="10288817" y="5381117"/>
            <a:ext cx="1572983" cy="276999"/>
          </a:xfrm>
          <a:prstGeom prst="rect">
            <a:avLst/>
          </a:prstGeom>
          <a:noFill/>
        </p:spPr>
        <p:txBody>
          <a:bodyPr wrap="square" rtlCol="0">
            <a:spAutoFit/>
          </a:bodyPr>
          <a:lstStyle/>
          <a:p>
            <a:r>
              <a:rPr lang="en-US" altLang="zh-CN" sz="1200" dirty="0" smtClean="0">
                <a:latin typeface="Arial" panose="020B0604020202020204" pitchFamily="34" charset="0"/>
                <a:ea typeface="华文楷体" panose="02010600040101010101" charset="-122"/>
              </a:rPr>
              <a:t>xxx</a:t>
            </a:r>
            <a:endParaRPr lang="zh-CN" altLang="en-US" sz="1200" dirty="0">
              <a:latin typeface="Arial" panose="020B0604020202020204" pitchFamily="34" charset="0"/>
              <a:ea typeface="华文楷体" panose="02010600040101010101" charset="-122"/>
            </a:endParaRPr>
          </a:p>
        </p:txBody>
      </p:sp>
      <p:sp>
        <p:nvSpPr>
          <p:cNvPr id="79" name="文本框 78"/>
          <p:cNvSpPr txBox="1"/>
          <p:nvPr/>
        </p:nvSpPr>
        <p:spPr>
          <a:xfrm>
            <a:off x="179024" y="3694116"/>
            <a:ext cx="2808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r>
              <a:rPr lang="en-US" altLang="zh-CN" sz="1200" dirty="0" smtClean="0">
                <a:solidFill>
                  <a:schemeClr val="tx1"/>
                </a:solidFill>
              </a:rPr>
              <a:t>2.5 xx</a:t>
            </a:r>
            <a:endParaRPr lang="en-US" altLang="zh-CN" sz="1200" dirty="0" smtClean="0">
              <a:solidFill>
                <a:schemeClr val="tx1"/>
              </a:solidFill>
            </a:endParaRPr>
          </a:p>
        </p:txBody>
      </p:sp>
      <p:sp>
        <p:nvSpPr>
          <p:cNvPr id="81" name="五边形 80"/>
          <p:cNvSpPr/>
          <p:nvPr/>
        </p:nvSpPr>
        <p:spPr>
          <a:xfrm>
            <a:off x="7791139" y="3743336"/>
            <a:ext cx="2448000" cy="177343"/>
          </a:xfrm>
          <a:prstGeom prst="homePlate">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cxnSp>
        <p:nvCxnSpPr>
          <p:cNvPr id="33" name="直接连接符 32"/>
          <p:cNvCxnSpPr/>
          <p:nvPr/>
        </p:nvCxnSpPr>
        <p:spPr>
          <a:xfrm>
            <a:off x="252765" y="2449187"/>
            <a:ext cx="11664000" cy="0"/>
          </a:xfrm>
          <a:prstGeom prst="line">
            <a:avLst/>
          </a:prstGeom>
          <a:ln w="12700"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a:off x="252765" y="3951659"/>
            <a:ext cx="11664000" cy="0"/>
          </a:xfrm>
          <a:prstGeom prst="line">
            <a:avLst/>
          </a:prstGeom>
          <a:ln w="12700"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a:off x="252765" y="5030387"/>
            <a:ext cx="11664000" cy="0"/>
          </a:xfrm>
          <a:prstGeom prst="line">
            <a:avLst/>
          </a:prstGeom>
          <a:ln w="12700"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sp>
        <p:nvSpPr>
          <p:cNvPr id="85" name="等腰三角形 84"/>
          <p:cNvSpPr/>
          <p:nvPr>
            <p:custDataLst>
              <p:tags r:id="rId10"/>
            </p:custDataLst>
          </p:nvPr>
        </p:nvSpPr>
        <p:spPr bwMode="gray">
          <a:xfrm>
            <a:off x="4045354" y="6047511"/>
            <a:ext cx="119063" cy="103188"/>
          </a:xfrm>
          <a:prstGeom prst="triangle">
            <a:avLst/>
          </a:prstGeom>
          <a:solidFill>
            <a:srgbClr val="FCA76D"/>
          </a:solidFill>
          <a:ln w="19050">
            <a:solidFill>
              <a:srgbClr val="FCA7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华文楷体" panose="02010600040101010101" charset="-122"/>
            </a:endParaRPr>
          </a:p>
        </p:txBody>
      </p:sp>
      <p:sp>
        <p:nvSpPr>
          <p:cNvPr id="88" name="TextBox 245"/>
          <p:cNvSpPr txBox="1"/>
          <p:nvPr/>
        </p:nvSpPr>
        <p:spPr>
          <a:xfrm>
            <a:off x="3731964" y="6118103"/>
            <a:ext cx="748923" cy="261610"/>
          </a:xfrm>
          <a:prstGeom prst="rect">
            <a:avLst/>
          </a:prstGeom>
          <a:noFill/>
        </p:spPr>
        <p:txBody>
          <a:bodyPr wrap="square" rtlCol="0">
            <a:spAutoFit/>
          </a:bodyPr>
          <a:lstStyle/>
          <a:p>
            <a:pPr algn="ctr"/>
            <a:r>
              <a:rPr lang="zh-CN" altLang="en-US" sz="1100" b="1" dirty="0">
                <a:latin typeface="Arial" panose="020B0604020202020204" pitchFamily="34" charset="0"/>
                <a:ea typeface="华文楷体" panose="02010600040101010101" charset="-122"/>
              </a:rPr>
              <a:t>规</a:t>
            </a:r>
            <a:r>
              <a:rPr lang="zh-CN" altLang="en-US" sz="1100" b="1" dirty="0" smtClean="0">
                <a:latin typeface="Arial" panose="020B0604020202020204" pitchFamily="34" charset="0"/>
                <a:ea typeface="华文楷体" panose="02010600040101010101" charset="-122"/>
              </a:rPr>
              <a:t>划汇报</a:t>
            </a:r>
            <a:endParaRPr lang="zh-CN" altLang="en-US" sz="1100" b="1" dirty="0">
              <a:latin typeface="Arial" panose="020B0604020202020204" pitchFamily="34" charset="0"/>
              <a:ea typeface="华文楷体" panose="02010600040101010101" charset="-122"/>
            </a:endParaRPr>
          </a:p>
        </p:txBody>
      </p:sp>
      <p:sp>
        <p:nvSpPr>
          <p:cNvPr id="92" name="等腰三角形 91"/>
          <p:cNvSpPr/>
          <p:nvPr>
            <p:custDataLst>
              <p:tags r:id="rId11"/>
            </p:custDataLst>
          </p:nvPr>
        </p:nvSpPr>
        <p:spPr bwMode="gray">
          <a:xfrm>
            <a:off x="6500606" y="6047511"/>
            <a:ext cx="119063" cy="103188"/>
          </a:xfrm>
          <a:prstGeom prst="triangle">
            <a:avLst/>
          </a:prstGeom>
          <a:solidFill>
            <a:srgbClr val="FCA76D"/>
          </a:solidFill>
          <a:ln w="19050">
            <a:solidFill>
              <a:srgbClr val="FCA7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华文楷体" panose="02010600040101010101" charset="-122"/>
            </a:endParaRPr>
          </a:p>
        </p:txBody>
      </p:sp>
      <p:sp>
        <p:nvSpPr>
          <p:cNvPr id="93" name="TextBox 245"/>
          <p:cNvSpPr txBox="1"/>
          <p:nvPr/>
        </p:nvSpPr>
        <p:spPr>
          <a:xfrm>
            <a:off x="5836201" y="6118103"/>
            <a:ext cx="1386860" cy="261610"/>
          </a:xfrm>
          <a:prstGeom prst="rect">
            <a:avLst/>
          </a:prstGeom>
          <a:noFill/>
        </p:spPr>
        <p:txBody>
          <a:bodyPr wrap="square" rtlCol="0">
            <a:spAutoFit/>
          </a:bodyPr>
          <a:lstStyle/>
          <a:p>
            <a:pPr algn="ctr"/>
            <a:r>
              <a:rPr lang="zh-CN" altLang="en-US" sz="1100" b="1" smtClean="0">
                <a:latin typeface="Arial" panose="020B0604020202020204" pitchFamily="34" charset="0"/>
                <a:ea typeface="华文楷体" panose="02010600040101010101" charset="-122"/>
              </a:rPr>
              <a:t>第一次阶段性汇报</a:t>
            </a:r>
            <a:endParaRPr lang="zh-CN" altLang="en-US" sz="1100" b="1" dirty="0">
              <a:latin typeface="Arial" panose="020B0604020202020204" pitchFamily="34" charset="0"/>
              <a:ea typeface="华文楷体" panose="02010600040101010101" charset="-122"/>
            </a:endParaRPr>
          </a:p>
        </p:txBody>
      </p:sp>
      <p:sp>
        <p:nvSpPr>
          <p:cNvPr id="96" name="等腰三角形 95"/>
          <p:cNvSpPr/>
          <p:nvPr>
            <p:custDataLst>
              <p:tags r:id="rId12"/>
            </p:custDataLst>
          </p:nvPr>
        </p:nvSpPr>
        <p:spPr bwMode="gray">
          <a:xfrm>
            <a:off x="8954132" y="6047511"/>
            <a:ext cx="119063" cy="103188"/>
          </a:xfrm>
          <a:prstGeom prst="triangle">
            <a:avLst/>
          </a:prstGeom>
          <a:solidFill>
            <a:srgbClr val="FCA76D"/>
          </a:solidFill>
          <a:ln w="19050">
            <a:solidFill>
              <a:srgbClr val="FCA7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华文楷体" panose="02010600040101010101" charset="-122"/>
            </a:endParaRPr>
          </a:p>
        </p:txBody>
      </p:sp>
      <p:sp>
        <p:nvSpPr>
          <p:cNvPr id="98" name="等腰三角形 97"/>
          <p:cNvSpPr/>
          <p:nvPr>
            <p:custDataLst>
              <p:tags r:id="rId13"/>
            </p:custDataLst>
          </p:nvPr>
        </p:nvSpPr>
        <p:spPr bwMode="gray">
          <a:xfrm>
            <a:off x="10173519" y="6047511"/>
            <a:ext cx="119063" cy="103188"/>
          </a:xfrm>
          <a:prstGeom prst="triangle">
            <a:avLst/>
          </a:prstGeom>
          <a:solidFill>
            <a:srgbClr val="FCA76D"/>
          </a:solidFill>
          <a:ln w="19050">
            <a:solidFill>
              <a:srgbClr val="FCA7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华文楷体" panose="02010600040101010101" charset="-122"/>
            </a:endParaRPr>
          </a:p>
        </p:txBody>
      </p:sp>
      <p:sp>
        <p:nvSpPr>
          <p:cNvPr id="99" name="TextBox 245"/>
          <p:cNvSpPr txBox="1"/>
          <p:nvPr/>
        </p:nvSpPr>
        <p:spPr>
          <a:xfrm>
            <a:off x="9719730" y="6118103"/>
            <a:ext cx="1066173" cy="261610"/>
          </a:xfrm>
          <a:prstGeom prst="rect">
            <a:avLst/>
          </a:prstGeom>
          <a:noFill/>
        </p:spPr>
        <p:txBody>
          <a:bodyPr wrap="square" rtlCol="0">
            <a:spAutoFit/>
          </a:bodyPr>
          <a:lstStyle/>
          <a:p>
            <a:pPr algn="ctr"/>
            <a:r>
              <a:rPr lang="zh-CN" altLang="en-US" sz="1100" b="1">
                <a:latin typeface="Arial" panose="020B0604020202020204" pitchFamily="34" charset="0"/>
                <a:ea typeface="华文楷体" panose="02010600040101010101" charset="-122"/>
              </a:rPr>
              <a:t>试</a:t>
            </a:r>
            <a:r>
              <a:rPr lang="zh-CN" altLang="en-US" sz="1100" b="1" smtClean="0">
                <a:latin typeface="Arial" panose="020B0604020202020204" pitchFamily="34" charset="0"/>
                <a:ea typeface="华文楷体" panose="02010600040101010101" charset="-122"/>
              </a:rPr>
              <a:t>点情况汇报</a:t>
            </a:r>
            <a:endParaRPr lang="zh-CN" altLang="en-US" sz="1100" b="1" dirty="0">
              <a:latin typeface="Arial" panose="020B0604020202020204" pitchFamily="34" charset="0"/>
              <a:ea typeface="华文楷体" panose="02010600040101010101" charset="-122"/>
            </a:endParaRPr>
          </a:p>
        </p:txBody>
      </p:sp>
      <p:sp>
        <p:nvSpPr>
          <p:cNvPr id="100" name="TextBox 245"/>
          <p:cNvSpPr txBox="1"/>
          <p:nvPr/>
        </p:nvSpPr>
        <p:spPr>
          <a:xfrm>
            <a:off x="8340816" y="6118103"/>
            <a:ext cx="1397947" cy="261610"/>
          </a:xfrm>
          <a:prstGeom prst="rect">
            <a:avLst/>
          </a:prstGeom>
          <a:noFill/>
        </p:spPr>
        <p:txBody>
          <a:bodyPr wrap="square" rtlCol="0">
            <a:spAutoFit/>
          </a:bodyPr>
          <a:lstStyle/>
          <a:p>
            <a:pPr algn="ctr"/>
            <a:r>
              <a:rPr lang="zh-CN" altLang="en-US" sz="1100" b="1" smtClean="0">
                <a:latin typeface="Arial" panose="020B0604020202020204" pitchFamily="34" charset="0"/>
                <a:ea typeface="华文楷体" panose="02010600040101010101" charset="-122"/>
              </a:rPr>
              <a:t>第二次阶段性汇报</a:t>
            </a:r>
            <a:endParaRPr lang="zh-CN" altLang="en-US" sz="1100" b="1" dirty="0">
              <a:latin typeface="Arial" panose="020B0604020202020204" pitchFamily="34" charset="0"/>
              <a:ea typeface="华文楷体" panose="02010600040101010101" charset="-122"/>
            </a:endParaRPr>
          </a:p>
        </p:txBody>
      </p:sp>
      <p:sp>
        <p:nvSpPr>
          <p:cNvPr id="80" name="五边形 79"/>
          <p:cNvSpPr/>
          <p:nvPr/>
        </p:nvSpPr>
        <p:spPr>
          <a:xfrm>
            <a:off x="2930894" y="1399457"/>
            <a:ext cx="7272000" cy="177343"/>
          </a:xfrm>
          <a:prstGeom prst="homePlate">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82" name="五边形 81"/>
          <p:cNvSpPr/>
          <p:nvPr/>
        </p:nvSpPr>
        <p:spPr>
          <a:xfrm>
            <a:off x="5323738" y="2485465"/>
            <a:ext cx="4896000" cy="177343"/>
          </a:xfrm>
          <a:prstGeom prst="homePlate">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86" name="五边形 85"/>
          <p:cNvSpPr/>
          <p:nvPr/>
        </p:nvSpPr>
        <p:spPr>
          <a:xfrm>
            <a:off x="6546803" y="3982056"/>
            <a:ext cx="3672000" cy="177343"/>
          </a:xfrm>
          <a:prstGeom prst="homePlate">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87" name="五边形 86"/>
          <p:cNvSpPr/>
          <p:nvPr/>
        </p:nvSpPr>
        <p:spPr>
          <a:xfrm>
            <a:off x="6546803" y="5069301"/>
            <a:ext cx="3672000" cy="177343"/>
          </a:xfrm>
          <a:prstGeom prst="homePlate">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grpSp>
        <p:nvGrpSpPr>
          <p:cNvPr id="10" name="组合 9"/>
          <p:cNvGrpSpPr/>
          <p:nvPr/>
        </p:nvGrpSpPr>
        <p:grpSpPr>
          <a:xfrm>
            <a:off x="10129976" y="303798"/>
            <a:ext cx="914400" cy="396585"/>
            <a:chOff x="-1215914" y="463814"/>
            <a:chExt cx="914400" cy="396585"/>
          </a:xfrm>
        </p:grpSpPr>
        <p:sp>
          <p:nvSpPr>
            <p:cNvPr id="5" name="文本框 4"/>
            <p:cNvSpPr txBox="1"/>
            <p:nvPr/>
          </p:nvSpPr>
          <p:spPr>
            <a:xfrm>
              <a:off x="-1215914" y="469691"/>
              <a:ext cx="914400" cy="3848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zh-CN" altLang="en-US" sz="1600" b="1" smtClean="0">
                  <a:solidFill>
                    <a:srgbClr val="575757"/>
                  </a:solidFill>
                </a:rPr>
                <a:t>非常初步</a:t>
              </a:r>
              <a:endParaRPr lang="zh-CN" altLang="en-US" sz="1600" b="1" dirty="0" err="1" smtClean="0">
                <a:solidFill>
                  <a:srgbClr val="575757"/>
                </a:solidFill>
              </a:endParaRPr>
            </a:p>
          </p:txBody>
        </p:sp>
        <p:cxnSp>
          <p:nvCxnSpPr>
            <p:cNvPr id="8" name="直接连接符 7"/>
            <p:cNvCxnSpPr/>
            <p:nvPr/>
          </p:nvCxnSpPr>
          <p:spPr>
            <a:xfrm>
              <a:off x="-1215914" y="463814"/>
              <a:ext cx="914400" cy="0"/>
            </a:xfrm>
            <a:prstGeom prst="line">
              <a:avLst/>
            </a:prstGeom>
            <a:ln w="25400" cap="rnd" cmpd="dbl">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a:off x="-1215914" y="860399"/>
              <a:ext cx="914400" cy="0"/>
            </a:xfrm>
            <a:prstGeom prst="line">
              <a:avLst/>
            </a:prstGeom>
            <a:ln w="25400" cap="rnd" cmpd="dbl">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0" name="组合 89"/>
          <p:cNvGrpSpPr/>
          <p:nvPr/>
        </p:nvGrpSpPr>
        <p:grpSpPr>
          <a:xfrm>
            <a:off x="11205873" y="303798"/>
            <a:ext cx="914400" cy="396585"/>
            <a:chOff x="-1215914" y="463814"/>
            <a:chExt cx="914400" cy="396585"/>
          </a:xfrm>
        </p:grpSpPr>
        <p:sp>
          <p:nvSpPr>
            <p:cNvPr id="91" name="文本框 90"/>
            <p:cNvSpPr txBox="1"/>
            <p:nvPr/>
          </p:nvSpPr>
          <p:spPr>
            <a:xfrm>
              <a:off x="-1215914" y="469691"/>
              <a:ext cx="914400" cy="3848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zh-CN" altLang="en-US" sz="1600" b="1" smtClean="0">
                  <a:solidFill>
                    <a:srgbClr val="575757"/>
                  </a:solidFill>
                </a:rPr>
                <a:t>待讨论</a:t>
              </a:r>
              <a:endParaRPr lang="zh-CN" altLang="en-US" sz="1600" b="1" dirty="0" err="1" smtClean="0">
                <a:solidFill>
                  <a:srgbClr val="575757"/>
                </a:solidFill>
              </a:endParaRPr>
            </a:p>
          </p:txBody>
        </p:sp>
        <p:cxnSp>
          <p:nvCxnSpPr>
            <p:cNvPr id="94" name="直接连接符 93"/>
            <p:cNvCxnSpPr/>
            <p:nvPr/>
          </p:nvCxnSpPr>
          <p:spPr>
            <a:xfrm>
              <a:off x="-1215914" y="463814"/>
              <a:ext cx="914400" cy="0"/>
            </a:xfrm>
            <a:prstGeom prst="line">
              <a:avLst/>
            </a:prstGeom>
            <a:ln w="25400" cap="rnd" cmpd="dbl">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1215914" y="860399"/>
              <a:ext cx="914400" cy="0"/>
            </a:xfrm>
            <a:prstGeom prst="line">
              <a:avLst/>
            </a:prstGeom>
            <a:ln w="25400" cap="rnd" cmpd="dbl">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03"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甘特图</a:t>
            </a:r>
            <a:endParaRPr lang="zh-CN" altLang="en-US" sz="2400" dirty="0">
              <a:solidFill>
                <a:prstClr val="black"/>
              </a:solidFill>
              <a:latin typeface="华文楷体" panose="02010600040101010101" charset="-122"/>
            </a:endParaRPr>
          </a:p>
        </p:txBody>
      </p:sp>
      <p:pic>
        <p:nvPicPr>
          <p:cNvPr id="102" name="图片 10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1839683" y="1395179"/>
          <a:ext cx="8491300" cy="4489283"/>
        </p:xfrm>
        <a:graphic>
          <a:graphicData uri="http://schemas.openxmlformats.org/drawingml/2006/table">
            <a:tbl>
              <a:tblPr>
                <a:tableStyleId>{2D5ABB26-0587-4C30-8999-92F81FD0307C}</a:tableStyleId>
              </a:tblPr>
              <a:tblGrid>
                <a:gridCol w="424565"/>
                <a:gridCol w="424565"/>
                <a:gridCol w="424565"/>
                <a:gridCol w="424565"/>
                <a:gridCol w="424565"/>
                <a:gridCol w="424565"/>
                <a:gridCol w="424565"/>
                <a:gridCol w="424565"/>
                <a:gridCol w="424565"/>
                <a:gridCol w="424565"/>
                <a:gridCol w="424565"/>
                <a:gridCol w="424565"/>
                <a:gridCol w="424565"/>
                <a:gridCol w="424565"/>
                <a:gridCol w="424565"/>
                <a:gridCol w="424565"/>
                <a:gridCol w="424565"/>
                <a:gridCol w="424565"/>
                <a:gridCol w="424565"/>
                <a:gridCol w="424565"/>
              </a:tblGrid>
              <a:tr h="320709">
                <a:tc>
                  <a:txBody>
                    <a:bodyPr/>
                    <a:lstStyle/>
                    <a:p>
                      <a:pPr algn="ctr" fontAlgn="b"/>
                      <a:r>
                        <a:rPr lang="en-US" altLang="zh-CN" sz="1000" b="0" i="0" u="none" strike="noStrike" dirty="0" smtClean="0">
                          <a:solidFill>
                            <a:srgbClr val="000000"/>
                          </a:solidFill>
                          <a:effectLst/>
                          <a:latin typeface="Arial" panose="020B0604020202020204"/>
                        </a:rPr>
                        <a:t>5</a:t>
                      </a:r>
                      <a:r>
                        <a:rPr lang="zh-CN" altLang="en-US" sz="1000" b="0" i="0" u="none" strike="noStrike" dirty="0" smtClean="0">
                          <a:solidFill>
                            <a:srgbClr val="000000"/>
                          </a:solidFill>
                          <a:effectLst/>
                          <a:latin typeface="Arial" panose="020B0604020202020204"/>
                        </a:rPr>
                        <a:t>月</a:t>
                      </a:r>
                      <a:br>
                        <a:rPr lang="en-SG" altLang="zh-CN" sz="1000" b="0" i="0" u="none" strike="noStrike" dirty="0" smtClean="0">
                          <a:solidFill>
                            <a:srgbClr val="000000"/>
                          </a:solidFill>
                          <a:effectLst/>
                          <a:latin typeface="Arial" panose="020B0604020202020204"/>
                        </a:rPr>
                      </a:br>
                      <a:r>
                        <a:rPr lang="en-US" altLang="zh-CN" sz="1000" b="0" i="0" u="none" strike="noStrike" dirty="0" smtClean="0">
                          <a:solidFill>
                            <a:srgbClr val="000000"/>
                          </a:solidFill>
                          <a:effectLst/>
                          <a:latin typeface="Arial" panose="020B0604020202020204"/>
                        </a:rPr>
                        <a:t>26</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6</a:t>
                      </a:r>
                      <a:r>
                        <a:rPr lang="zh-CN" altLang="en-US" sz="1000" b="0" i="0" u="none" strike="noStrike" dirty="0" smtClean="0">
                          <a:solidFill>
                            <a:srgbClr val="000000"/>
                          </a:solidFill>
                          <a:effectLst/>
                          <a:latin typeface="Arial" panose="020B0604020202020204"/>
                        </a:rPr>
                        <a:t>月</a:t>
                      </a:r>
                      <a:endParaRPr lang="en-US" altLang="zh-CN" sz="1000" b="0" i="0" u="none" strike="noStrike" dirty="0" smtClean="0">
                        <a:solidFill>
                          <a:srgbClr val="000000"/>
                        </a:solidFill>
                        <a:effectLst/>
                        <a:latin typeface="Arial" panose="020B0604020202020204"/>
                      </a:endParaRPr>
                    </a:p>
                    <a:p>
                      <a:pPr algn="ctr" fontAlgn="b"/>
                      <a:r>
                        <a:rPr lang="en-US" altLang="zh-CN" sz="1000" b="0" i="0" u="none" strike="noStrike" dirty="0" smtClean="0">
                          <a:solidFill>
                            <a:srgbClr val="000000"/>
                          </a:solidFill>
                          <a:effectLst/>
                          <a:latin typeface="Arial" panose="020B0604020202020204"/>
                        </a:rPr>
                        <a:t>2</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9</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16</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23</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30</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7</a:t>
                      </a:r>
                      <a:r>
                        <a:rPr lang="zh-CN" altLang="en-US" sz="1000" b="0" i="0" u="none" strike="noStrike" dirty="0" smtClean="0">
                          <a:solidFill>
                            <a:srgbClr val="000000"/>
                          </a:solidFill>
                          <a:effectLst/>
                          <a:latin typeface="Arial" panose="020B0604020202020204"/>
                        </a:rPr>
                        <a:t>月</a:t>
                      </a:r>
                      <a:endParaRPr lang="en-US" altLang="zh-CN" sz="1000" b="0" i="0" u="none" strike="noStrike" dirty="0" smtClean="0">
                        <a:solidFill>
                          <a:srgbClr val="000000"/>
                        </a:solidFill>
                        <a:effectLst/>
                        <a:latin typeface="Arial" panose="020B0604020202020204"/>
                      </a:endParaRPr>
                    </a:p>
                    <a:p>
                      <a:pPr algn="ctr" fontAlgn="b"/>
                      <a:r>
                        <a:rPr lang="en-US" altLang="zh-CN" sz="1000" b="0" i="0" u="none" strike="noStrike" dirty="0" smtClean="0">
                          <a:solidFill>
                            <a:srgbClr val="000000"/>
                          </a:solidFill>
                          <a:effectLst/>
                          <a:latin typeface="Arial" panose="020B0604020202020204"/>
                        </a:rPr>
                        <a:t>7</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14</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21</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28</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8</a:t>
                      </a:r>
                      <a:r>
                        <a:rPr lang="zh-CN" altLang="en-US" sz="1000" b="0" i="0" u="none" strike="noStrike" dirty="0" smtClean="0">
                          <a:solidFill>
                            <a:srgbClr val="000000"/>
                          </a:solidFill>
                          <a:effectLst/>
                          <a:latin typeface="Arial" panose="020B0604020202020204"/>
                        </a:rPr>
                        <a:t>月</a:t>
                      </a:r>
                      <a:endParaRPr lang="en-US" altLang="zh-CN" sz="1000" b="0" i="0" u="none" strike="noStrike" dirty="0" smtClean="0">
                        <a:solidFill>
                          <a:srgbClr val="000000"/>
                        </a:solidFill>
                        <a:effectLst/>
                        <a:latin typeface="Arial" panose="020B0604020202020204"/>
                      </a:endParaRPr>
                    </a:p>
                    <a:p>
                      <a:pPr algn="ctr" fontAlgn="b"/>
                      <a:r>
                        <a:rPr lang="en-US" altLang="zh-CN" sz="1000" b="0" i="0" u="none" strike="noStrike" dirty="0" smtClean="0">
                          <a:solidFill>
                            <a:srgbClr val="000000"/>
                          </a:solidFill>
                          <a:effectLst/>
                          <a:latin typeface="Arial" panose="020B0604020202020204"/>
                        </a:rPr>
                        <a:t>4</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11</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SG" altLang="zh-CN" sz="1000" b="0" i="0" u="none" strike="noStrike" dirty="0" smtClean="0">
                          <a:solidFill>
                            <a:srgbClr val="000000"/>
                          </a:solidFill>
                          <a:effectLst/>
                          <a:latin typeface="Arial" panose="020B0604020202020204"/>
                        </a:rPr>
                        <a:t>18</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25</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9</a:t>
                      </a:r>
                      <a:r>
                        <a:rPr lang="zh-CN" altLang="en-US" sz="1000" b="0" i="0" u="none" strike="noStrike" dirty="0" smtClean="0">
                          <a:solidFill>
                            <a:srgbClr val="000000"/>
                          </a:solidFill>
                          <a:effectLst/>
                          <a:latin typeface="Arial" panose="020B0604020202020204"/>
                        </a:rPr>
                        <a:t>月</a:t>
                      </a:r>
                      <a:endParaRPr lang="en-US" altLang="zh-CN" sz="1000" b="0" i="0" u="none" strike="noStrike" dirty="0" smtClean="0">
                        <a:solidFill>
                          <a:srgbClr val="000000"/>
                        </a:solidFill>
                        <a:effectLst/>
                        <a:latin typeface="Arial" panose="020B0604020202020204"/>
                      </a:endParaRPr>
                    </a:p>
                    <a:p>
                      <a:pPr algn="ctr" fontAlgn="b"/>
                      <a:r>
                        <a:rPr lang="en-US" altLang="zh-CN" sz="1000" b="0" i="0" u="none" strike="noStrike" dirty="0" smtClean="0">
                          <a:solidFill>
                            <a:srgbClr val="000000"/>
                          </a:solidFill>
                          <a:effectLst/>
                          <a:latin typeface="Arial" panose="020B0604020202020204"/>
                        </a:rPr>
                        <a:t>1</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8</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15</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22</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29</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solidFill>
                      <a:schemeClr val="bg2">
                        <a:lumMod val="95000"/>
                      </a:schemeClr>
                    </a:solidFill>
                  </a:tcPr>
                </a:tc>
                <a:tc>
                  <a:txBody>
                    <a:bodyPr/>
                    <a:lstStyle/>
                    <a:p>
                      <a:pPr algn="ctr" fontAlgn="b"/>
                      <a:r>
                        <a:rPr lang="en-US" altLang="zh-CN" sz="1000" b="0" i="0" u="none" strike="noStrike" dirty="0" smtClean="0">
                          <a:solidFill>
                            <a:srgbClr val="000000"/>
                          </a:solidFill>
                          <a:effectLst/>
                          <a:latin typeface="Arial" panose="020B0604020202020204"/>
                        </a:rPr>
                        <a:t>10</a:t>
                      </a:r>
                      <a:r>
                        <a:rPr lang="zh-CN" altLang="en-US" sz="1000" b="0" i="0" u="none" strike="noStrike" dirty="0" smtClean="0">
                          <a:solidFill>
                            <a:srgbClr val="000000"/>
                          </a:solidFill>
                          <a:effectLst/>
                          <a:latin typeface="Arial" panose="020B0604020202020204"/>
                        </a:rPr>
                        <a:t>月</a:t>
                      </a:r>
                      <a:endParaRPr lang="en-US" altLang="zh-CN" sz="1000" b="0" i="0" u="none" strike="noStrike" dirty="0" smtClean="0">
                        <a:solidFill>
                          <a:srgbClr val="000000"/>
                        </a:solidFill>
                        <a:effectLst/>
                        <a:latin typeface="Arial" panose="020B0604020202020204"/>
                      </a:endParaRPr>
                    </a:p>
                    <a:p>
                      <a:pPr algn="ctr" fontAlgn="b"/>
                      <a:r>
                        <a:rPr lang="en-US" altLang="zh-CN" sz="1000" b="0" i="0" u="none" strike="noStrike" dirty="0" smtClean="0">
                          <a:solidFill>
                            <a:srgbClr val="000000"/>
                          </a:solidFill>
                          <a:effectLst/>
                          <a:latin typeface="Arial" panose="020B0604020202020204"/>
                        </a:rPr>
                        <a:t>6</a:t>
                      </a:r>
                      <a:r>
                        <a:rPr lang="zh-CN" altLang="en-US" sz="1000" b="0" i="0" u="none" strike="noStrike" dirty="0" smtClean="0">
                          <a:solidFill>
                            <a:srgbClr val="000000"/>
                          </a:solidFill>
                          <a:effectLst/>
                          <a:latin typeface="Arial" panose="020B0604020202020204"/>
                        </a:rPr>
                        <a:t>日</a:t>
                      </a:r>
                      <a:endParaRPr lang="zh-CN" altLang="en-US" sz="1000" b="0" i="0" u="none" strike="noStrike" dirty="0">
                        <a:solidFill>
                          <a:srgbClr val="000000"/>
                        </a:solidFill>
                        <a:effectLst/>
                        <a:latin typeface="Arial" panose="020B0604020202020204"/>
                      </a:endParaRPr>
                    </a:p>
                  </a:txBody>
                  <a:tcPr marL="9718" marR="9718" marT="9718" marB="0" anchor="b">
                    <a:lnL w="12700" cap="flat" cmpd="sng" algn="ctr">
                      <a:solidFill>
                        <a:schemeClr val="accent1">
                          <a:lumMod val="90000"/>
                        </a:schemeClr>
                      </a:solidFill>
                      <a:prstDash val="sysDot"/>
                      <a:round/>
                      <a:headEnd type="none" w="med" len="med"/>
                      <a:tailEnd type="none" w="med" len="med"/>
                    </a:lnL>
                    <a:solidFill>
                      <a:schemeClr val="bg2">
                        <a:lumMod val="95000"/>
                      </a:schemeClr>
                    </a:solidFill>
                  </a:tcPr>
                </a:tc>
              </a:tr>
              <a:tr h="216532">
                <a:tc>
                  <a:txBody>
                    <a:bodyPr/>
                    <a:lstStyle/>
                    <a:p>
                      <a:pPr algn="ctr" fontAlgn="ctr"/>
                      <a:r>
                        <a:rPr lang="zh-CN" altLang="en-US" sz="800" u="none" strike="noStrike" dirty="0" smtClean="0">
                          <a:effectLst/>
                        </a:rPr>
                        <a:t>周</a:t>
                      </a:r>
                      <a:r>
                        <a:rPr lang="en-US" sz="800" u="none" strike="noStrike" dirty="0" smtClean="0">
                          <a:effectLst/>
                        </a:rPr>
                        <a:t>1</a:t>
                      </a:r>
                      <a:endParaRPr lang="en-US" sz="800" b="0" i="0" u="none" strike="noStrike" dirty="0">
                        <a:solidFill>
                          <a:srgbClr val="000000"/>
                        </a:solidFill>
                        <a:effectLst/>
                        <a:latin typeface="Arial" panose="020B0604020202020204"/>
                      </a:endParaRPr>
                    </a:p>
                  </a:txBody>
                  <a:tcPr marL="2954" marR="2954" marT="2954" marB="0" anchor="ctr">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2</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3</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4</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5</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6</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7</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8</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9</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10</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11</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12</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13</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14</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15</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16</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17</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18</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19</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ctr" fontAlgn="ctr"/>
                      <a:r>
                        <a:rPr lang="zh-CN" altLang="en-US" sz="800" u="none" strike="noStrike" dirty="0" smtClean="0">
                          <a:effectLst/>
                        </a:rPr>
                        <a:t>周</a:t>
                      </a:r>
                      <a:r>
                        <a:rPr lang="en-US" sz="800" u="none" strike="noStrike" dirty="0" smtClean="0">
                          <a:effectLst/>
                        </a:rPr>
                        <a:t>20</a:t>
                      </a:r>
                      <a:endParaRPr lang="en-US" sz="800" b="0" i="0" u="none" strike="noStrike" dirty="0">
                        <a:solidFill>
                          <a:srgbClr val="000000"/>
                        </a:solidFill>
                        <a:effectLst/>
                        <a:latin typeface="Arial" panose="020B0604020202020204"/>
                      </a:endParaRPr>
                    </a:p>
                  </a:txBody>
                  <a:tcPr marL="2954" marR="2954" marT="2954" marB="0" anchor="ctr">
                    <a:lnL w="12700" cap="flat" cmpd="sng" algn="ctr">
                      <a:solidFill>
                        <a:schemeClr val="accent1">
                          <a:lumMod val="90000"/>
                        </a:schemeClr>
                      </a:solidFill>
                      <a:prstDash val="sysDot"/>
                      <a:round/>
                      <a:headEnd type="none" w="med" len="med"/>
                      <a:tailEnd type="none" w="med" len="med"/>
                    </a:lnL>
                    <a:lnB w="12700" cap="flat" cmpd="sng" algn="ctr">
                      <a:solidFill>
                        <a:schemeClr val="tx1"/>
                      </a:solidFill>
                      <a:prstDash val="solid"/>
                      <a:round/>
                      <a:headEnd type="none" w="med" len="med"/>
                      <a:tailEnd type="none" w="med" len="med"/>
                    </a:lnB>
                    <a:solidFill>
                      <a:schemeClr val="bg2">
                        <a:lumMod val="95000"/>
                      </a:schemeClr>
                    </a:solidFill>
                  </a:tcPr>
                </a:tc>
              </a:tr>
              <a:tr h="1067246">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T w="12700" cap="flat" cmpd="sng" algn="ctr">
                      <a:solidFill>
                        <a:schemeClr val="tx1"/>
                      </a:solidFill>
                      <a:prstDash val="solid"/>
                      <a:round/>
                      <a:headEnd type="none" w="med" len="med"/>
                      <a:tailEnd type="none" w="med" len="med"/>
                    </a:lnT>
                  </a:tcPr>
                </a:tc>
              </a:tr>
              <a:tr h="1067246">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tcPr>
                </a:tc>
              </a:tr>
              <a:tr h="1067246">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tcPr>
                </a:tc>
              </a:tr>
              <a:tr h="750304">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a:effectLst/>
                        </a:rPr>
                        <a:t> </a:t>
                      </a:r>
                      <a:endParaRPr lang="en-US" sz="800" b="0" i="0" u="none" strike="noStrike">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lnR w="12700" cap="flat" cmpd="sng" algn="ctr">
                      <a:solidFill>
                        <a:schemeClr val="accent1">
                          <a:lumMod val="90000"/>
                        </a:schemeClr>
                      </a:solidFill>
                      <a:prstDash val="sysDot"/>
                      <a:round/>
                      <a:headEnd type="none" w="med" len="med"/>
                      <a:tailEnd type="none" w="med" len="med"/>
                    </a:lnR>
                  </a:tcPr>
                </a:tc>
                <a:tc>
                  <a:txBody>
                    <a:bodyPr/>
                    <a:lstStyle/>
                    <a:p>
                      <a:pPr algn="l" fontAlgn="t"/>
                      <a:r>
                        <a:rPr lang="en-US" sz="800" u="none" strike="noStrike" dirty="0">
                          <a:effectLst/>
                        </a:rPr>
                        <a:t> </a:t>
                      </a:r>
                      <a:endParaRPr lang="en-US" sz="800" b="0" i="0" u="none" strike="noStrike" dirty="0">
                        <a:solidFill>
                          <a:srgbClr val="000000"/>
                        </a:solidFill>
                        <a:effectLst/>
                        <a:latin typeface="Arial" panose="020B0604020202020204"/>
                      </a:endParaRPr>
                    </a:p>
                  </a:txBody>
                  <a:tcPr marL="2954" marR="2954" marT="2954" marB="0">
                    <a:lnL w="12700" cap="flat" cmpd="sng" algn="ctr">
                      <a:solidFill>
                        <a:schemeClr val="accent1">
                          <a:lumMod val="90000"/>
                        </a:schemeClr>
                      </a:solidFill>
                      <a:prstDash val="sysDot"/>
                      <a:round/>
                      <a:headEnd type="none" w="med" len="med"/>
                      <a:tailEnd type="none" w="med" len="med"/>
                    </a:lnL>
                  </a:tcPr>
                </a:tc>
              </a:tr>
            </a:tbl>
          </a:graphicData>
        </a:graphic>
      </p:graphicFrame>
      <p:graphicFrame>
        <p:nvGraphicFramePr>
          <p:cNvPr id="468994" name="Rectangle 2" hidden="1"/>
          <p:cNvGraphicFramePr/>
          <p:nvPr>
            <p:custDataLst>
              <p:tags r:id="rId1"/>
            </p:custDataLst>
          </p:nvPr>
        </p:nvGraphicFramePr>
        <p:xfrm>
          <a:off x="1524270" y="1"/>
          <a:ext cx="161974" cy="161974"/>
        </p:xfrm>
        <a:graphic>
          <a:graphicData uri="http://schemas.openxmlformats.org/presentationml/2006/ole">
            <mc:AlternateContent xmlns:mc="http://schemas.openxmlformats.org/markup-compatibility/2006">
              <mc:Choice xmlns:v="urn:schemas-microsoft-com:vml" Requires="v">
                <p:oleObj spid="_x0000_s542801" name="think-cell Slide" r:id="rId2" imgW="0" imgH="0" progId="TCLayout.ActiveDocument.1">
                  <p:embed/>
                </p:oleObj>
              </mc:Choice>
              <mc:Fallback>
                <p:oleObj name="think-cell Slide" r:id="rId2" imgW="0" imgH="0" progId="TCLayout.ActiveDocument.1">
                  <p:embed/>
                  <p:pic>
                    <p:nvPicPr>
                      <p:cNvPr id="0" name="Rectangle 2" hidden="1"/>
                      <p:cNvPicPr>
                        <a:picLocks noChangeArrowheads="1"/>
                      </p:cNvPicPr>
                      <p:nvPr/>
                    </p:nvPicPr>
                    <p:blipFill>
                      <a:blip/>
                      <a:srcRect/>
                      <a:stretch>
                        <a:fillRect/>
                      </a:stretch>
                    </p:blipFill>
                    <p:spPr bwMode="auto">
                      <a:xfrm>
                        <a:off x="1524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Freeform 39"/>
          <p:cNvSpPr/>
          <p:nvPr>
            <p:custDataLst>
              <p:tags r:id="rId3"/>
            </p:custDataLst>
          </p:nvPr>
        </p:nvSpPr>
        <p:spPr bwMode="gray">
          <a:xfrm>
            <a:off x="3657190" y="824097"/>
            <a:ext cx="1731452" cy="38506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713890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1"/>
              <a:gd name="connsiteX1-15" fmla="*/ 1713890 w 1828800"/>
              <a:gd name="connsiteY1-16" fmla="*/ 0 h 914401"/>
              <a:gd name="connsiteX2-17" fmla="*/ 1828800 w 1828800"/>
              <a:gd name="connsiteY2-18" fmla="*/ 457200 h 914401"/>
              <a:gd name="connsiteX3-19" fmla="*/ 1713890 w 1828800"/>
              <a:gd name="connsiteY3-20" fmla="*/ 914401 h 914401"/>
              <a:gd name="connsiteX4-21" fmla="*/ 0 w 1828800"/>
              <a:gd name="connsiteY4-22" fmla="*/ 914400 h 914401"/>
              <a:gd name="connsiteX5-23" fmla="*/ 0 w 1828800"/>
              <a:gd name="connsiteY5-24" fmla="*/ 457200 h 914401"/>
              <a:gd name="connsiteX0-25" fmla="*/ 0 w 1828800"/>
              <a:gd name="connsiteY0-26" fmla="*/ 0 h 914401"/>
              <a:gd name="connsiteX1-27" fmla="*/ 1713890 w 1828800"/>
              <a:gd name="connsiteY1-28" fmla="*/ 0 h 914401"/>
              <a:gd name="connsiteX2-29" fmla="*/ 1828800 w 1828800"/>
              <a:gd name="connsiteY2-30" fmla="*/ 457200 h 914401"/>
              <a:gd name="connsiteX3-31" fmla="*/ 1713890 w 1828800"/>
              <a:gd name="connsiteY3-32" fmla="*/ 914401 h 914401"/>
              <a:gd name="connsiteX4-33" fmla="*/ 0 w 1828800"/>
              <a:gd name="connsiteY4-34" fmla="*/ 914400 h 914401"/>
              <a:gd name="connsiteX5-35" fmla="*/ 114911 w 1828800"/>
              <a:gd name="connsiteY5-36" fmla="*/ 457200 h 914401"/>
              <a:gd name="connsiteX0-37" fmla="*/ 0 w 1828800"/>
              <a:gd name="connsiteY0-38" fmla="*/ 0 h 914401"/>
              <a:gd name="connsiteX1-39" fmla="*/ 1713889 w 1828800"/>
              <a:gd name="connsiteY1-40" fmla="*/ 0 h 914401"/>
              <a:gd name="connsiteX2-41" fmla="*/ 1828800 w 1828800"/>
              <a:gd name="connsiteY2-42" fmla="*/ 457200 h 914401"/>
              <a:gd name="connsiteX3-43" fmla="*/ 1713890 w 1828800"/>
              <a:gd name="connsiteY3-44" fmla="*/ 914401 h 914401"/>
              <a:gd name="connsiteX4-45" fmla="*/ 0 w 1828800"/>
              <a:gd name="connsiteY4-46" fmla="*/ 914400 h 914401"/>
              <a:gd name="connsiteX5-47" fmla="*/ 114911 w 1828800"/>
              <a:gd name="connsiteY5-48" fmla="*/ 457200 h 914401"/>
              <a:gd name="connsiteX0-49" fmla="*/ 0 w 1828800"/>
              <a:gd name="connsiteY0-50" fmla="*/ 0 h 914401"/>
              <a:gd name="connsiteX1-51" fmla="*/ 1713889 w 1828800"/>
              <a:gd name="connsiteY1-52" fmla="*/ 0 h 914401"/>
              <a:gd name="connsiteX2-53" fmla="*/ 1828800 w 1828800"/>
              <a:gd name="connsiteY2-54" fmla="*/ 457200 h 914401"/>
              <a:gd name="connsiteX3-55" fmla="*/ 1713889 w 1828800"/>
              <a:gd name="connsiteY3-56" fmla="*/ 914401 h 914401"/>
              <a:gd name="connsiteX4-57" fmla="*/ 0 w 1828800"/>
              <a:gd name="connsiteY4-58" fmla="*/ 914400 h 914401"/>
              <a:gd name="connsiteX5-59" fmla="*/ 114911 w 1828800"/>
              <a:gd name="connsiteY5-60" fmla="*/ 457200 h 914401"/>
              <a:gd name="connsiteX0-61" fmla="*/ 0 w 1828800"/>
              <a:gd name="connsiteY0-62" fmla="*/ 0 h 914401"/>
              <a:gd name="connsiteX1-63" fmla="*/ 1713889 w 1828800"/>
              <a:gd name="connsiteY1-64" fmla="*/ 0 h 914401"/>
              <a:gd name="connsiteX2-65" fmla="*/ 1828800 w 1828800"/>
              <a:gd name="connsiteY2-66" fmla="*/ 457200 h 914401"/>
              <a:gd name="connsiteX3-67" fmla="*/ 1713889 w 1828800"/>
              <a:gd name="connsiteY3-68" fmla="*/ 914401 h 914401"/>
              <a:gd name="connsiteX4-69" fmla="*/ 0 w 1828800"/>
              <a:gd name="connsiteY4-70" fmla="*/ 914400 h 914401"/>
              <a:gd name="connsiteX5-71" fmla="*/ 0 w 1828800"/>
              <a:gd name="connsiteY5-72" fmla="*/ 457200 h 914401"/>
              <a:gd name="connsiteX0-73" fmla="*/ 0 w 1828800"/>
              <a:gd name="connsiteY0-74" fmla="*/ 0 h 914401"/>
              <a:gd name="connsiteX1-75" fmla="*/ 1713889 w 1828800"/>
              <a:gd name="connsiteY1-76" fmla="*/ 0 h 914401"/>
              <a:gd name="connsiteX2-77" fmla="*/ 1828800 w 1828800"/>
              <a:gd name="connsiteY2-78" fmla="*/ 457200 h 914401"/>
              <a:gd name="connsiteX3-79" fmla="*/ 1713889 w 1828800"/>
              <a:gd name="connsiteY3-80" fmla="*/ 914401 h 914401"/>
              <a:gd name="connsiteX4-81" fmla="*/ 0 w 1828800"/>
              <a:gd name="connsiteY4-82" fmla="*/ 914400 h 914401"/>
              <a:gd name="connsiteX5-83" fmla="*/ 0 w 1828800"/>
              <a:gd name="connsiteY5-84" fmla="*/ 457200 h 914401"/>
              <a:gd name="connsiteX0-85" fmla="*/ 0 w 1828800"/>
              <a:gd name="connsiteY0-86" fmla="*/ 0 h 914401"/>
              <a:gd name="connsiteX1-87" fmla="*/ 1713889 w 1828800"/>
              <a:gd name="connsiteY1-88" fmla="*/ 0 h 914401"/>
              <a:gd name="connsiteX2-89" fmla="*/ 1828800 w 1828800"/>
              <a:gd name="connsiteY2-90" fmla="*/ 457200 h 914401"/>
              <a:gd name="connsiteX3-91" fmla="*/ 1713889 w 1828800"/>
              <a:gd name="connsiteY3-92" fmla="*/ 914401 h 914401"/>
              <a:gd name="connsiteX4-93" fmla="*/ 0 w 1828800"/>
              <a:gd name="connsiteY4-94" fmla="*/ 914400 h 914401"/>
              <a:gd name="connsiteX5-95" fmla="*/ 0 w 1828800"/>
              <a:gd name="connsiteY5-96" fmla="*/ 457200 h 914401"/>
              <a:gd name="connsiteX0-97" fmla="*/ 0 w 1828800"/>
              <a:gd name="connsiteY0-98" fmla="*/ 0 h 914401"/>
              <a:gd name="connsiteX1-99" fmla="*/ 1713889 w 1828800"/>
              <a:gd name="connsiteY1-100" fmla="*/ 0 h 914401"/>
              <a:gd name="connsiteX2-101" fmla="*/ 1828800 w 1828800"/>
              <a:gd name="connsiteY2-102" fmla="*/ 457200 h 914401"/>
              <a:gd name="connsiteX3-103" fmla="*/ 1713889 w 1828800"/>
              <a:gd name="connsiteY3-104" fmla="*/ 914401 h 914401"/>
              <a:gd name="connsiteX4-105" fmla="*/ 0 w 1828800"/>
              <a:gd name="connsiteY4-106" fmla="*/ 914400 h 914401"/>
              <a:gd name="connsiteX5-107" fmla="*/ 114911 w 1828800"/>
              <a:gd name="connsiteY5-108" fmla="*/ 457200 h 914401"/>
              <a:gd name="connsiteX0-109" fmla="*/ 0 w 1828800"/>
              <a:gd name="connsiteY0-110" fmla="*/ 0 h 914401"/>
              <a:gd name="connsiteX1-111" fmla="*/ 1713889 w 1828800"/>
              <a:gd name="connsiteY1-112" fmla="*/ 0 h 914401"/>
              <a:gd name="connsiteX2-113" fmla="*/ 1828800 w 1828800"/>
              <a:gd name="connsiteY2-114" fmla="*/ 457200 h 914401"/>
              <a:gd name="connsiteX3-115" fmla="*/ 1713889 w 1828800"/>
              <a:gd name="connsiteY3-116" fmla="*/ 914401 h 914401"/>
              <a:gd name="connsiteX4-117" fmla="*/ 0 w 1828800"/>
              <a:gd name="connsiteY4-118" fmla="*/ 914400 h 914401"/>
              <a:gd name="connsiteX5-119" fmla="*/ 114911 w 1828800"/>
              <a:gd name="connsiteY5-120" fmla="*/ 457200 h 914401"/>
              <a:gd name="connsiteX0-121" fmla="*/ 0 w 1828800"/>
              <a:gd name="connsiteY0-122" fmla="*/ 0 h 914401"/>
              <a:gd name="connsiteX1-123" fmla="*/ 1713889 w 1828800"/>
              <a:gd name="connsiteY1-124" fmla="*/ 0 h 914401"/>
              <a:gd name="connsiteX2-125" fmla="*/ 1828800 w 1828800"/>
              <a:gd name="connsiteY2-126" fmla="*/ 457200 h 914401"/>
              <a:gd name="connsiteX3-127" fmla="*/ 1713889 w 1828800"/>
              <a:gd name="connsiteY3-128" fmla="*/ 914401 h 914401"/>
              <a:gd name="connsiteX4-129" fmla="*/ 0 w 1828800"/>
              <a:gd name="connsiteY4-130" fmla="*/ 914400 h 914401"/>
              <a:gd name="connsiteX5-131" fmla="*/ 114911 w 1828800"/>
              <a:gd name="connsiteY5-132" fmla="*/ 457200 h 914401"/>
              <a:gd name="connsiteX0-133" fmla="*/ 0 w 1828800"/>
              <a:gd name="connsiteY0-134" fmla="*/ 0 h 914401"/>
              <a:gd name="connsiteX1-135" fmla="*/ 1713889 w 1828800"/>
              <a:gd name="connsiteY1-136" fmla="*/ 0 h 914401"/>
              <a:gd name="connsiteX2-137" fmla="*/ 1828800 w 1828800"/>
              <a:gd name="connsiteY2-138" fmla="*/ 457200 h 914401"/>
              <a:gd name="connsiteX3-139" fmla="*/ 1713889 w 1828800"/>
              <a:gd name="connsiteY3-140" fmla="*/ 914401 h 914401"/>
              <a:gd name="connsiteX4-141" fmla="*/ 0 w 1828800"/>
              <a:gd name="connsiteY4-142" fmla="*/ 914400 h 914401"/>
              <a:gd name="connsiteX5-143" fmla="*/ 49143 w 1828800"/>
              <a:gd name="connsiteY5-144" fmla="*/ 457201 h 914401"/>
              <a:gd name="connsiteX0-145" fmla="*/ 0 w 1828800"/>
              <a:gd name="connsiteY0-146" fmla="*/ 0 h 914401"/>
              <a:gd name="connsiteX1-147" fmla="*/ 1779657 w 1828800"/>
              <a:gd name="connsiteY1-148" fmla="*/ 0 h 914401"/>
              <a:gd name="connsiteX2-149" fmla="*/ 1828800 w 1828800"/>
              <a:gd name="connsiteY2-150" fmla="*/ 457200 h 914401"/>
              <a:gd name="connsiteX3-151" fmla="*/ 1713889 w 1828800"/>
              <a:gd name="connsiteY3-152" fmla="*/ 914401 h 914401"/>
              <a:gd name="connsiteX4-153" fmla="*/ 0 w 1828800"/>
              <a:gd name="connsiteY4-154" fmla="*/ 914400 h 914401"/>
              <a:gd name="connsiteX5-155" fmla="*/ 49143 w 1828800"/>
              <a:gd name="connsiteY5-156" fmla="*/ 457201 h 914401"/>
              <a:gd name="connsiteX0-157" fmla="*/ 0 w 1828800"/>
              <a:gd name="connsiteY0-158" fmla="*/ 0 h 914401"/>
              <a:gd name="connsiteX1-159" fmla="*/ 1779657 w 1828800"/>
              <a:gd name="connsiteY1-160" fmla="*/ 0 h 914401"/>
              <a:gd name="connsiteX2-161" fmla="*/ 1828800 w 1828800"/>
              <a:gd name="connsiteY2-162" fmla="*/ 457200 h 914401"/>
              <a:gd name="connsiteX3-163" fmla="*/ 1779657 w 1828800"/>
              <a:gd name="connsiteY3-164" fmla="*/ 914401 h 914401"/>
              <a:gd name="connsiteX4-165" fmla="*/ 0 w 1828800"/>
              <a:gd name="connsiteY4-166" fmla="*/ 914400 h 914401"/>
              <a:gd name="connsiteX5-167" fmla="*/ 49143 w 1828800"/>
              <a:gd name="connsiteY5-168" fmla="*/ 457201 h 914401"/>
              <a:gd name="connsiteX0-169" fmla="*/ 0 w 1828800"/>
              <a:gd name="connsiteY0-170" fmla="*/ 0 h 914401"/>
              <a:gd name="connsiteX1-171" fmla="*/ 1779657 w 1828800"/>
              <a:gd name="connsiteY1-172" fmla="*/ 0 h 914401"/>
              <a:gd name="connsiteX2-173" fmla="*/ 1828800 w 1828800"/>
              <a:gd name="connsiteY2-174" fmla="*/ 457200 h 914401"/>
              <a:gd name="connsiteX3-175" fmla="*/ 1779657 w 1828800"/>
              <a:gd name="connsiteY3-176" fmla="*/ 914401 h 914401"/>
              <a:gd name="connsiteX4-177" fmla="*/ 0 w 1828800"/>
              <a:gd name="connsiteY4-178" fmla="*/ 914400 h 914401"/>
              <a:gd name="connsiteX5-179" fmla="*/ 73208 w 1828800"/>
              <a:gd name="connsiteY5-180" fmla="*/ 457201 h 914401"/>
              <a:gd name="connsiteX0-181" fmla="*/ 0 w 1828800"/>
              <a:gd name="connsiteY0-182" fmla="*/ 0 h 914401"/>
              <a:gd name="connsiteX1-183" fmla="*/ 1755592 w 1828800"/>
              <a:gd name="connsiteY1-184" fmla="*/ 0 h 914401"/>
              <a:gd name="connsiteX2-185" fmla="*/ 1828800 w 1828800"/>
              <a:gd name="connsiteY2-186" fmla="*/ 457200 h 914401"/>
              <a:gd name="connsiteX3-187" fmla="*/ 1779657 w 1828800"/>
              <a:gd name="connsiteY3-188" fmla="*/ 914401 h 914401"/>
              <a:gd name="connsiteX4-189" fmla="*/ 0 w 1828800"/>
              <a:gd name="connsiteY4-190" fmla="*/ 914400 h 914401"/>
              <a:gd name="connsiteX5-191" fmla="*/ 73208 w 1828800"/>
              <a:gd name="connsiteY5-192" fmla="*/ 457201 h 914401"/>
              <a:gd name="connsiteX0-193" fmla="*/ 0 w 1828800"/>
              <a:gd name="connsiteY0-194" fmla="*/ 0 h 914401"/>
              <a:gd name="connsiteX1-195" fmla="*/ 1755592 w 1828800"/>
              <a:gd name="connsiteY1-196" fmla="*/ 0 h 914401"/>
              <a:gd name="connsiteX2-197" fmla="*/ 1828800 w 1828800"/>
              <a:gd name="connsiteY2-198" fmla="*/ 457200 h 914401"/>
              <a:gd name="connsiteX3-199" fmla="*/ 1755592 w 1828800"/>
              <a:gd name="connsiteY3-200" fmla="*/ 914401 h 914401"/>
              <a:gd name="connsiteX4-201" fmla="*/ 0 w 1828800"/>
              <a:gd name="connsiteY4-202" fmla="*/ 914400 h 914401"/>
              <a:gd name="connsiteX5-203" fmla="*/ 73208 w 1828800"/>
              <a:gd name="connsiteY5-204" fmla="*/ 457201 h 9144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1">
                <a:moveTo>
                  <a:pt x="0" y="0"/>
                </a:moveTo>
                <a:lnTo>
                  <a:pt x="1755592" y="0"/>
                </a:lnTo>
                <a:lnTo>
                  <a:pt x="1828800" y="457200"/>
                </a:lnTo>
                <a:lnTo>
                  <a:pt x="1755592" y="914401"/>
                </a:lnTo>
                <a:lnTo>
                  <a:pt x="0" y="914400"/>
                </a:lnTo>
                <a:lnTo>
                  <a:pt x="73208" y="457201"/>
                </a:lnTo>
                <a:close/>
              </a:path>
            </a:pathLst>
          </a:custGeom>
          <a:solidFill>
            <a:srgbClr val="FFC3AB"/>
          </a:solidFill>
          <a:ln w="9525">
            <a:noFill/>
            <a:round/>
          </a:ln>
        </p:spPr>
        <p:txBody>
          <a:bodyPr wrap="none" rtlCol="0" anchor="ctr"/>
          <a:lstStyle/>
          <a:p>
            <a:pPr algn="ctr"/>
            <a:endParaRPr lang="en-US" sz="1225" b="1" dirty="0"/>
          </a:p>
        </p:txBody>
      </p:sp>
      <p:sp>
        <p:nvSpPr>
          <p:cNvPr id="41" name="TextBox 9"/>
          <p:cNvSpPr txBox="1">
            <a:spLocks noChangeArrowheads="1"/>
          </p:cNvSpPr>
          <p:nvPr>
            <p:custDataLst>
              <p:tags r:id="rId4"/>
            </p:custDataLst>
          </p:nvPr>
        </p:nvSpPr>
        <p:spPr bwMode="gray">
          <a:xfrm>
            <a:off x="3970357" y="912673"/>
            <a:ext cx="960076"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r>
              <a:rPr lang="zh-CN" altLang="en-US" sz="1225" b="1" dirty="0"/>
              <a:t>阶段二：</a:t>
            </a:r>
            <a:r>
              <a:rPr lang="en-US" altLang="zh-CN" sz="1225" b="1" dirty="0"/>
              <a:t>XXX</a:t>
            </a:r>
            <a:endParaRPr lang="en-US" altLang="zh-CN" sz="1225" b="1" dirty="0"/>
          </a:p>
        </p:txBody>
      </p:sp>
      <p:sp>
        <p:nvSpPr>
          <p:cNvPr id="43" name="Freeform 42"/>
          <p:cNvSpPr/>
          <p:nvPr>
            <p:custDataLst>
              <p:tags r:id="rId5"/>
            </p:custDataLst>
          </p:nvPr>
        </p:nvSpPr>
        <p:spPr bwMode="gray">
          <a:xfrm>
            <a:off x="5388642" y="824097"/>
            <a:ext cx="3270250" cy="38506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713890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1"/>
              <a:gd name="connsiteX1-15" fmla="*/ 1713890 w 1828800"/>
              <a:gd name="connsiteY1-16" fmla="*/ 0 h 914401"/>
              <a:gd name="connsiteX2-17" fmla="*/ 1828800 w 1828800"/>
              <a:gd name="connsiteY2-18" fmla="*/ 457200 h 914401"/>
              <a:gd name="connsiteX3-19" fmla="*/ 1713890 w 1828800"/>
              <a:gd name="connsiteY3-20" fmla="*/ 914401 h 914401"/>
              <a:gd name="connsiteX4-21" fmla="*/ 0 w 1828800"/>
              <a:gd name="connsiteY4-22" fmla="*/ 914400 h 914401"/>
              <a:gd name="connsiteX5-23" fmla="*/ 0 w 1828800"/>
              <a:gd name="connsiteY5-24" fmla="*/ 457200 h 914401"/>
              <a:gd name="connsiteX0-25" fmla="*/ 0 w 1828800"/>
              <a:gd name="connsiteY0-26" fmla="*/ 0 h 914401"/>
              <a:gd name="connsiteX1-27" fmla="*/ 1713890 w 1828800"/>
              <a:gd name="connsiteY1-28" fmla="*/ 0 h 914401"/>
              <a:gd name="connsiteX2-29" fmla="*/ 1828800 w 1828800"/>
              <a:gd name="connsiteY2-30" fmla="*/ 457200 h 914401"/>
              <a:gd name="connsiteX3-31" fmla="*/ 1713890 w 1828800"/>
              <a:gd name="connsiteY3-32" fmla="*/ 914401 h 914401"/>
              <a:gd name="connsiteX4-33" fmla="*/ 0 w 1828800"/>
              <a:gd name="connsiteY4-34" fmla="*/ 914400 h 914401"/>
              <a:gd name="connsiteX5-35" fmla="*/ 114911 w 1828800"/>
              <a:gd name="connsiteY5-36" fmla="*/ 457200 h 914401"/>
              <a:gd name="connsiteX0-37" fmla="*/ 0 w 1828800"/>
              <a:gd name="connsiteY0-38" fmla="*/ 0 h 914401"/>
              <a:gd name="connsiteX1-39" fmla="*/ 1713888 w 1828800"/>
              <a:gd name="connsiteY1-40" fmla="*/ 0 h 914401"/>
              <a:gd name="connsiteX2-41" fmla="*/ 1828800 w 1828800"/>
              <a:gd name="connsiteY2-42" fmla="*/ 457200 h 914401"/>
              <a:gd name="connsiteX3-43" fmla="*/ 1713890 w 1828800"/>
              <a:gd name="connsiteY3-44" fmla="*/ 914401 h 914401"/>
              <a:gd name="connsiteX4-45" fmla="*/ 0 w 1828800"/>
              <a:gd name="connsiteY4-46" fmla="*/ 914400 h 914401"/>
              <a:gd name="connsiteX5-47" fmla="*/ 114911 w 1828800"/>
              <a:gd name="connsiteY5-48" fmla="*/ 457200 h 914401"/>
              <a:gd name="connsiteX0-49" fmla="*/ 0 w 1828800"/>
              <a:gd name="connsiteY0-50" fmla="*/ 0 h 914401"/>
              <a:gd name="connsiteX1-51" fmla="*/ 1713888 w 1828800"/>
              <a:gd name="connsiteY1-52" fmla="*/ 0 h 914401"/>
              <a:gd name="connsiteX2-53" fmla="*/ 1828800 w 1828800"/>
              <a:gd name="connsiteY2-54" fmla="*/ 457200 h 914401"/>
              <a:gd name="connsiteX3-55" fmla="*/ 1713888 w 1828800"/>
              <a:gd name="connsiteY3-56" fmla="*/ 914401 h 914401"/>
              <a:gd name="connsiteX4-57" fmla="*/ 0 w 1828800"/>
              <a:gd name="connsiteY4-58" fmla="*/ 914400 h 914401"/>
              <a:gd name="connsiteX5-59" fmla="*/ 114911 w 1828800"/>
              <a:gd name="connsiteY5-60" fmla="*/ 457200 h 914401"/>
              <a:gd name="connsiteX0-61" fmla="*/ 0 w 1828800"/>
              <a:gd name="connsiteY0-62" fmla="*/ 0 h 914401"/>
              <a:gd name="connsiteX1-63" fmla="*/ 1713888 w 1828800"/>
              <a:gd name="connsiteY1-64" fmla="*/ 0 h 914401"/>
              <a:gd name="connsiteX2-65" fmla="*/ 1828800 w 1828800"/>
              <a:gd name="connsiteY2-66" fmla="*/ 457200 h 914401"/>
              <a:gd name="connsiteX3-67" fmla="*/ 1713888 w 1828800"/>
              <a:gd name="connsiteY3-68" fmla="*/ 914401 h 914401"/>
              <a:gd name="connsiteX4-69" fmla="*/ 0 w 1828800"/>
              <a:gd name="connsiteY4-70" fmla="*/ 914400 h 914401"/>
              <a:gd name="connsiteX5-71" fmla="*/ 0 w 1828800"/>
              <a:gd name="connsiteY5-72" fmla="*/ 457200 h 914401"/>
              <a:gd name="connsiteX0-73" fmla="*/ 0 w 1828800"/>
              <a:gd name="connsiteY0-74" fmla="*/ 0 h 914401"/>
              <a:gd name="connsiteX1-75" fmla="*/ 1713888 w 1828800"/>
              <a:gd name="connsiteY1-76" fmla="*/ 0 h 914401"/>
              <a:gd name="connsiteX2-77" fmla="*/ 1828800 w 1828800"/>
              <a:gd name="connsiteY2-78" fmla="*/ 457200 h 914401"/>
              <a:gd name="connsiteX3-79" fmla="*/ 1713888 w 1828800"/>
              <a:gd name="connsiteY3-80" fmla="*/ 914401 h 914401"/>
              <a:gd name="connsiteX4-81" fmla="*/ 0 w 1828800"/>
              <a:gd name="connsiteY4-82" fmla="*/ 914400 h 914401"/>
              <a:gd name="connsiteX5-83" fmla="*/ 0 w 1828800"/>
              <a:gd name="connsiteY5-84" fmla="*/ 457200 h 914401"/>
              <a:gd name="connsiteX0-85" fmla="*/ 0 w 1828800"/>
              <a:gd name="connsiteY0-86" fmla="*/ 0 h 914401"/>
              <a:gd name="connsiteX1-87" fmla="*/ 1713888 w 1828800"/>
              <a:gd name="connsiteY1-88" fmla="*/ 0 h 914401"/>
              <a:gd name="connsiteX2-89" fmla="*/ 1828800 w 1828800"/>
              <a:gd name="connsiteY2-90" fmla="*/ 457200 h 914401"/>
              <a:gd name="connsiteX3-91" fmla="*/ 1713888 w 1828800"/>
              <a:gd name="connsiteY3-92" fmla="*/ 914401 h 914401"/>
              <a:gd name="connsiteX4-93" fmla="*/ 0 w 1828800"/>
              <a:gd name="connsiteY4-94" fmla="*/ 914400 h 914401"/>
              <a:gd name="connsiteX5-95" fmla="*/ 0 w 1828800"/>
              <a:gd name="connsiteY5-96" fmla="*/ 457200 h 914401"/>
              <a:gd name="connsiteX0-97" fmla="*/ 0 w 1828800"/>
              <a:gd name="connsiteY0-98" fmla="*/ 0 h 914401"/>
              <a:gd name="connsiteX1-99" fmla="*/ 1713888 w 1828800"/>
              <a:gd name="connsiteY1-100" fmla="*/ 0 h 914401"/>
              <a:gd name="connsiteX2-101" fmla="*/ 1828800 w 1828800"/>
              <a:gd name="connsiteY2-102" fmla="*/ 457200 h 914401"/>
              <a:gd name="connsiteX3-103" fmla="*/ 1713888 w 1828800"/>
              <a:gd name="connsiteY3-104" fmla="*/ 914401 h 914401"/>
              <a:gd name="connsiteX4-105" fmla="*/ 0 w 1828800"/>
              <a:gd name="connsiteY4-106" fmla="*/ 914400 h 914401"/>
              <a:gd name="connsiteX5-107" fmla="*/ 114911 w 1828800"/>
              <a:gd name="connsiteY5-108" fmla="*/ 457200 h 914401"/>
              <a:gd name="connsiteX0-109" fmla="*/ 0 w 1828800"/>
              <a:gd name="connsiteY0-110" fmla="*/ 0 h 914401"/>
              <a:gd name="connsiteX1-111" fmla="*/ 1713888 w 1828800"/>
              <a:gd name="connsiteY1-112" fmla="*/ 0 h 914401"/>
              <a:gd name="connsiteX2-113" fmla="*/ 1828800 w 1828800"/>
              <a:gd name="connsiteY2-114" fmla="*/ 457200 h 914401"/>
              <a:gd name="connsiteX3-115" fmla="*/ 1713888 w 1828800"/>
              <a:gd name="connsiteY3-116" fmla="*/ 914401 h 914401"/>
              <a:gd name="connsiteX4-117" fmla="*/ 0 w 1828800"/>
              <a:gd name="connsiteY4-118" fmla="*/ 914400 h 914401"/>
              <a:gd name="connsiteX5-119" fmla="*/ 114911 w 1828800"/>
              <a:gd name="connsiteY5-120" fmla="*/ 457200 h 914401"/>
              <a:gd name="connsiteX0-121" fmla="*/ 0 w 1828800"/>
              <a:gd name="connsiteY0-122" fmla="*/ 0 h 914401"/>
              <a:gd name="connsiteX1-123" fmla="*/ 1713888 w 1828800"/>
              <a:gd name="connsiteY1-124" fmla="*/ 0 h 914401"/>
              <a:gd name="connsiteX2-125" fmla="*/ 1828800 w 1828800"/>
              <a:gd name="connsiteY2-126" fmla="*/ 457200 h 914401"/>
              <a:gd name="connsiteX3-127" fmla="*/ 1713888 w 1828800"/>
              <a:gd name="connsiteY3-128" fmla="*/ 914401 h 914401"/>
              <a:gd name="connsiteX4-129" fmla="*/ 0 w 1828800"/>
              <a:gd name="connsiteY4-130" fmla="*/ 914400 h 914401"/>
              <a:gd name="connsiteX5-131" fmla="*/ 114911 w 1828800"/>
              <a:gd name="connsiteY5-132" fmla="*/ 457200 h 914401"/>
              <a:gd name="connsiteX0-133" fmla="*/ 0 w 1828800"/>
              <a:gd name="connsiteY0-134" fmla="*/ 0 h 914401"/>
              <a:gd name="connsiteX1-135" fmla="*/ 1713888 w 1828800"/>
              <a:gd name="connsiteY1-136" fmla="*/ 0 h 914401"/>
              <a:gd name="connsiteX2-137" fmla="*/ 1828800 w 1828800"/>
              <a:gd name="connsiteY2-138" fmla="*/ 457200 h 914401"/>
              <a:gd name="connsiteX3-139" fmla="*/ 1713888 w 1828800"/>
              <a:gd name="connsiteY3-140" fmla="*/ 914401 h 914401"/>
              <a:gd name="connsiteX4-141" fmla="*/ 0 w 1828800"/>
              <a:gd name="connsiteY4-142" fmla="*/ 914400 h 914401"/>
              <a:gd name="connsiteX5-143" fmla="*/ 49143 w 1828800"/>
              <a:gd name="connsiteY5-144" fmla="*/ 457201 h 914401"/>
              <a:gd name="connsiteX0-145" fmla="*/ 0 w 1828800"/>
              <a:gd name="connsiteY0-146" fmla="*/ 0 h 914401"/>
              <a:gd name="connsiteX1-147" fmla="*/ 1779656 w 1828800"/>
              <a:gd name="connsiteY1-148" fmla="*/ 0 h 914401"/>
              <a:gd name="connsiteX2-149" fmla="*/ 1828800 w 1828800"/>
              <a:gd name="connsiteY2-150" fmla="*/ 457200 h 914401"/>
              <a:gd name="connsiteX3-151" fmla="*/ 1713888 w 1828800"/>
              <a:gd name="connsiteY3-152" fmla="*/ 914401 h 914401"/>
              <a:gd name="connsiteX4-153" fmla="*/ 0 w 1828800"/>
              <a:gd name="connsiteY4-154" fmla="*/ 914400 h 914401"/>
              <a:gd name="connsiteX5-155" fmla="*/ 49143 w 1828800"/>
              <a:gd name="connsiteY5-156" fmla="*/ 457201 h 914401"/>
              <a:gd name="connsiteX0-157" fmla="*/ 0 w 1828800"/>
              <a:gd name="connsiteY0-158" fmla="*/ 0 h 914401"/>
              <a:gd name="connsiteX1-159" fmla="*/ 1779656 w 1828800"/>
              <a:gd name="connsiteY1-160" fmla="*/ 0 h 914401"/>
              <a:gd name="connsiteX2-161" fmla="*/ 1828800 w 1828800"/>
              <a:gd name="connsiteY2-162" fmla="*/ 457200 h 914401"/>
              <a:gd name="connsiteX3-163" fmla="*/ 1779656 w 1828800"/>
              <a:gd name="connsiteY3-164" fmla="*/ 914401 h 914401"/>
              <a:gd name="connsiteX4-165" fmla="*/ 0 w 1828800"/>
              <a:gd name="connsiteY4-166" fmla="*/ 914400 h 914401"/>
              <a:gd name="connsiteX5-167" fmla="*/ 49143 w 1828800"/>
              <a:gd name="connsiteY5-168" fmla="*/ 457201 h 914401"/>
              <a:gd name="connsiteX0-169" fmla="*/ 0 w 1828800"/>
              <a:gd name="connsiteY0-170" fmla="*/ 0 h 914401"/>
              <a:gd name="connsiteX1-171" fmla="*/ 1779656 w 1828800"/>
              <a:gd name="connsiteY1-172" fmla="*/ 0 h 914401"/>
              <a:gd name="connsiteX2-173" fmla="*/ 1828800 w 1828800"/>
              <a:gd name="connsiteY2-174" fmla="*/ 457200 h 914401"/>
              <a:gd name="connsiteX3-175" fmla="*/ 1779656 w 1828800"/>
              <a:gd name="connsiteY3-176" fmla="*/ 914401 h 914401"/>
              <a:gd name="connsiteX4-177" fmla="*/ 0 w 1828800"/>
              <a:gd name="connsiteY4-178" fmla="*/ 914400 h 914401"/>
              <a:gd name="connsiteX5-179" fmla="*/ 38760 w 1828800"/>
              <a:gd name="connsiteY5-180" fmla="*/ 457201 h 914401"/>
              <a:gd name="connsiteX0-181" fmla="*/ 0 w 1828800"/>
              <a:gd name="connsiteY0-182" fmla="*/ 0 h 914401"/>
              <a:gd name="connsiteX1-183" fmla="*/ 1790040 w 1828800"/>
              <a:gd name="connsiteY1-184" fmla="*/ 0 h 914401"/>
              <a:gd name="connsiteX2-185" fmla="*/ 1828800 w 1828800"/>
              <a:gd name="connsiteY2-186" fmla="*/ 457200 h 914401"/>
              <a:gd name="connsiteX3-187" fmla="*/ 1779656 w 1828800"/>
              <a:gd name="connsiteY3-188" fmla="*/ 914401 h 914401"/>
              <a:gd name="connsiteX4-189" fmla="*/ 0 w 1828800"/>
              <a:gd name="connsiteY4-190" fmla="*/ 914400 h 914401"/>
              <a:gd name="connsiteX5-191" fmla="*/ 38760 w 1828800"/>
              <a:gd name="connsiteY5-192" fmla="*/ 457201 h 914401"/>
              <a:gd name="connsiteX0-193" fmla="*/ 0 w 1828800"/>
              <a:gd name="connsiteY0-194" fmla="*/ 0 h 914401"/>
              <a:gd name="connsiteX1-195" fmla="*/ 1790040 w 1828800"/>
              <a:gd name="connsiteY1-196" fmla="*/ 0 h 914401"/>
              <a:gd name="connsiteX2-197" fmla="*/ 1828800 w 1828800"/>
              <a:gd name="connsiteY2-198" fmla="*/ 457200 h 914401"/>
              <a:gd name="connsiteX3-199" fmla="*/ 1790040 w 1828800"/>
              <a:gd name="connsiteY3-200" fmla="*/ 914401 h 914401"/>
              <a:gd name="connsiteX4-201" fmla="*/ 0 w 1828800"/>
              <a:gd name="connsiteY4-202" fmla="*/ 914400 h 914401"/>
              <a:gd name="connsiteX5-203" fmla="*/ 38760 w 1828800"/>
              <a:gd name="connsiteY5-204" fmla="*/ 457201 h 9144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1">
                <a:moveTo>
                  <a:pt x="0" y="0"/>
                </a:moveTo>
                <a:lnTo>
                  <a:pt x="1790040" y="0"/>
                </a:lnTo>
                <a:lnTo>
                  <a:pt x="1828800" y="457200"/>
                </a:lnTo>
                <a:lnTo>
                  <a:pt x="1790040" y="914401"/>
                </a:lnTo>
                <a:lnTo>
                  <a:pt x="0" y="914400"/>
                </a:lnTo>
                <a:lnTo>
                  <a:pt x="38760" y="457201"/>
                </a:lnTo>
                <a:close/>
              </a:path>
            </a:pathLst>
          </a:custGeom>
          <a:solidFill>
            <a:srgbClr val="FFC3AB"/>
          </a:solidFill>
          <a:ln w="9525">
            <a:noFill/>
            <a:round/>
          </a:ln>
        </p:spPr>
        <p:txBody>
          <a:bodyPr wrap="none" rtlCol="0" anchor="ctr"/>
          <a:lstStyle/>
          <a:p>
            <a:pPr algn="ctr"/>
            <a:endParaRPr lang="en-US" sz="1225" b="1" dirty="0"/>
          </a:p>
        </p:txBody>
      </p:sp>
      <p:sp>
        <p:nvSpPr>
          <p:cNvPr id="44" name="TextBox 9"/>
          <p:cNvSpPr txBox="1">
            <a:spLocks noChangeArrowheads="1"/>
          </p:cNvSpPr>
          <p:nvPr>
            <p:custDataLst>
              <p:tags r:id="rId6"/>
            </p:custDataLst>
          </p:nvPr>
        </p:nvSpPr>
        <p:spPr bwMode="gray">
          <a:xfrm>
            <a:off x="5481935" y="920523"/>
            <a:ext cx="3079796" cy="192211"/>
          </a:xfrm>
          <a:prstGeom prst="rect">
            <a:avLst/>
          </a:prstGeom>
          <a:solidFill>
            <a:srgbClr val="FFC3AB"/>
          </a:solidFill>
          <a:ln w="9525">
            <a:noFill/>
            <a:round/>
          </a:ln>
        </p:spPr>
        <p:txBody>
          <a:bodyPr wrap="none" rtlCol="0" anchor="ctr"/>
          <a:lstStyle>
            <a:defPPr>
              <a:defRPr lang="en-US"/>
            </a:defPPr>
            <a:lvl1pPr algn="ctr">
              <a:defRPr sz="1225" b="1"/>
            </a:lvl1pPr>
          </a:lstStyle>
          <a:p>
            <a:r>
              <a:rPr lang="zh-CN" altLang="en-US" dirty="0"/>
              <a:t>阶段三：</a:t>
            </a:r>
            <a:r>
              <a:rPr lang="en-US" altLang="zh-CN" dirty="0"/>
              <a:t>XXX</a:t>
            </a:r>
            <a:endParaRPr lang="en-US" altLang="zh-CN" dirty="0"/>
          </a:p>
        </p:txBody>
      </p:sp>
      <p:sp>
        <p:nvSpPr>
          <p:cNvPr id="46" name="Freeform 45"/>
          <p:cNvSpPr/>
          <p:nvPr>
            <p:custDataLst>
              <p:tags r:id="rId7"/>
            </p:custDataLst>
          </p:nvPr>
        </p:nvSpPr>
        <p:spPr bwMode="gray">
          <a:xfrm>
            <a:off x="1773937" y="824097"/>
            <a:ext cx="1844479" cy="38506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713890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1"/>
              <a:gd name="connsiteX1-15" fmla="*/ 1713890 w 1828800"/>
              <a:gd name="connsiteY1-16" fmla="*/ 0 h 914401"/>
              <a:gd name="connsiteX2-17" fmla="*/ 1828800 w 1828800"/>
              <a:gd name="connsiteY2-18" fmla="*/ 457200 h 914401"/>
              <a:gd name="connsiteX3-19" fmla="*/ 1713890 w 1828800"/>
              <a:gd name="connsiteY3-20" fmla="*/ 914401 h 914401"/>
              <a:gd name="connsiteX4-21" fmla="*/ 0 w 1828800"/>
              <a:gd name="connsiteY4-22" fmla="*/ 914400 h 914401"/>
              <a:gd name="connsiteX5-23" fmla="*/ 0 w 1828800"/>
              <a:gd name="connsiteY5-24" fmla="*/ 457200 h 914401"/>
              <a:gd name="connsiteX0-25" fmla="*/ 0 w 1828800"/>
              <a:gd name="connsiteY0-26" fmla="*/ 0 h 914401"/>
              <a:gd name="connsiteX1-27" fmla="*/ 1713890 w 1828800"/>
              <a:gd name="connsiteY1-28" fmla="*/ 0 h 914401"/>
              <a:gd name="connsiteX2-29" fmla="*/ 1828800 w 1828800"/>
              <a:gd name="connsiteY2-30" fmla="*/ 457200 h 914401"/>
              <a:gd name="connsiteX3-31" fmla="*/ 1713890 w 1828800"/>
              <a:gd name="connsiteY3-32" fmla="*/ 914401 h 914401"/>
              <a:gd name="connsiteX4-33" fmla="*/ 0 w 1828800"/>
              <a:gd name="connsiteY4-34" fmla="*/ 914400 h 914401"/>
              <a:gd name="connsiteX5-35" fmla="*/ 114911 w 1828800"/>
              <a:gd name="connsiteY5-36" fmla="*/ 457200 h 914401"/>
              <a:gd name="connsiteX0-37" fmla="*/ 0 w 1828800"/>
              <a:gd name="connsiteY0-38" fmla="*/ 0 h 914401"/>
              <a:gd name="connsiteX1-39" fmla="*/ 1713889 w 1828800"/>
              <a:gd name="connsiteY1-40" fmla="*/ 0 h 914401"/>
              <a:gd name="connsiteX2-41" fmla="*/ 1828800 w 1828800"/>
              <a:gd name="connsiteY2-42" fmla="*/ 457200 h 914401"/>
              <a:gd name="connsiteX3-43" fmla="*/ 1713890 w 1828800"/>
              <a:gd name="connsiteY3-44" fmla="*/ 914401 h 914401"/>
              <a:gd name="connsiteX4-45" fmla="*/ 0 w 1828800"/>
              <a:gd name="connsiteY4-46" fmla="*/ 914400 h 914401"/>
              <a:gd name="connsiteX5-47" fmla="*/ 114911 w 1828800"/>
              <a:gd name="connsiteY5-48" fmla="*/ 457200 h 914401"/>
              <a:gd name="connsiteX0-49" fmla="*/ 0 w 1828800"/>
              <a:gd name="connsiteY0-50" fmla="*/ 0 h 914401"/>
              <a:gd name="connsiteX1-51" fmla="*/ 1713889 w 1828800"/>
              <a:gd name="connsiteY1-52" fmla="*/ 0 h 914401"/>
              <a:gd name="connsiteX2-53" fmla="*/ 1828800 w 1828800"/>
              <a:gd name="connsiteY2-54" fmla="*/ 457200 h 914401"/>
              <a:gd name="connsiteX3-55" fmla="*/ 1713889 w 1828800"/>
              <a:gd name="connsiteY3-56" fmla="*/ 914401 h 914401"/>
              <a:gd name="connsiteX4-57" fmla="*/ 0 w 1828800"/>
              <a:gd name="connsiteY4-58" fmla="*/ 914400 h 914401"/>
              <a:gd name="connsiteX5-59" fmla="*/ 114911 w 1828800"/>
              <a:gd name="connsiteY5-60" fmla="*/ 457200 h 914401"/>
              <a:gd name="connsiteX0-61" fmla="*/ 0 w 1828800"/>
              <a:gd name="connsiteY0-62" fmla="*/ 0 h 914401"/>
              <a:gd name="connsiteX1-63" fmla="*/ 1713889 w 1828800"/>
              <a:gd name="connsiteY1-64" fmla="*/ 0 h 914401"/>
              <a:gd name="connsiteX2-65" fmla="*/ 1828800 w 1828800"/>
              <a:gd name="connsiteY2-66" fmla="*/ 457200 h 914401"/>
              <a:gd name="connsiteX3-67" fmla="*/ 1713889 w 1828800"/>
              <a:gd name="connsiteY3-68" fmla="*/ 914401 h 914401"/>
              <a:gd name="connsiteX4-69" fmla="*/ 0 w 1828800"/>
              <a:gd name="connsiteY4-70" fmla="*/ 914400 h 914401"/>
              <a:gd name="connsiteX5-71" fmla="*/ 0 w 1828800"/>
              <a:gd name="connsiteY5-72" fmla="*/ 457200 h 914401"/>
              <a:gd name="connsiteX0-73" fmla="*/ 0 w 1828800"/>
              <a:gd name="connsiteY0-74" fmla="*/ 0 h 914401"/>
              <a:gd name="connsiteX1-75" fmla="*/ 1713889 w 1828800"/>
              <a:gd name="connsiteY1-76" fmla="*/ 0 h 914401"/>
              <a:gd name="connsiteX2-77" fmla="*/ 1828800 w 1828800"/>
              <a:gd name="connsiteY2-78" fmla="*/ 457200 h 914401"/>
              <a:gd name="connsiteX3-79" fmla="*/ 1713889 w 1828800"/>
              <a:gd name="connsiteY3-80" fmla="*/ 914401 h 914401"/>
              <a:gd name="connsiteX4-81" fmla="*/ 0 w 1828800"/>
              <a:gd name="connsiteY4-82" fmla="*/ 914400 h 914401"/>
              <a:gd name="connsiteX5-83" fmla="*/ 0 w 1828800"/>
              <a:gd name="connsiteY5-84" fmla="*/ 457200 h 914401"/>
              <a:gd name="connsiteX0-85" fmla="*/ 0 w 1828800"/>
              <a:gd name="connsiteY0-86" fmla="*/ 0 h 914401"/>
              <a:gd name="connsiteX1-87" fmla="*/ 1713889 w 1828800"/>
              <a:gd name="connsiteY1-88" fmla="*/ 0 h 914401"/>
              <a:gd name="connsiteX2-89" fmla="*/ 1828800 w 1828800"/>
              <a:gd name="connsiteY2-90" fmla="*/ 457200 h 914401"/>
              <a:gd name="connsiteX3-91" fmla="*/ 1713889 w 1828800"/>
              <a:gd name="connsiteY3-92" fmla="*/ 914401 h 914401"/>
              <a:gd name="connsiteX4-93" fmla="*/ 0 w 1828800"/>
              <a:gd name="connsiteY4-94" fmla="*/ 914400 h 914401"/>
              <a:gd name="connsiteX5-95" fmla="*/ 0 w 1828800"/>
              <a:gd name="connsiteY5-96" fmla="*/ 457200 h 914401"/>
              <a:gd name="connsiteX0-97" fmla="*/ 0 w 1828800"/>
              <a:gd name="connsiteY0-98" fmla="*/ 0 h 914401"/>
              <a:gd name="connsiteX1-99" fmla="*/ 1713889 w 1828800"/>
              <a:gd name="connsiteY1-100" fmla="*/ 0 h 914401"/>
              <a:gd name="connsiteX2-101" fmla="*/ 1828800 w 1828800"/>
              <a:gd name="connsiteY2-102" fmla="*/ 457200 h 914401"/>
              <a:gd name="connsiteX3-103" fmla="*/ 1713889 w 1828800"/>
              <a:gd name="connsiteY3-104" fmla="*/ 914401 h 914401"/>
              <a:gd name="connsiteX4-105" fmla="*/ 0 w 1828800"/>
              <a:gd name="connsiteY4-106" fmla="*/ 914400 h 914401"/>
              <a:gd name="connsiteX5-107" fmla="*/ 0 w 1828800"/>
              <a:gd name="connsiteY5-108" fmla="*/ 457201 h 914401"/>
              <a:gd name="connsiteX0-109" fmla="*/ 0 w 1828800"/>
              <a:gd name="connsiteY0-110" fmla="*/ 0 h 914401"/>
              <a:gd name="connsiteX1-111" fmla="*/ 1779657 w 1828800"/>
              <a:gd name="connsiteY1-112" fmla="*/ 0 h 914401"/>
              <a:gd name="connsiteX2-113" fmla="*/ 1828800 w 1828800"/>
              <a:gd name="connsiteY2-114" fmla="*/ 457200 h 914401"/>
              <a:gd name="connsiteX3-115" fmla="*/ 1713889 w 1828800"/>
              <a:gd name="connsiteY3-116" fmla="*/ 914401 h 914401"/>
              <a:gd name="connsiteX4-117" fmla="*/ 0 w 1828800"/>
              <a:gd name="connsiteY4-118" fmla="*/ 914400 h 914401"/>
              <a:gd name="connsiteX5-119" fmla="*/ 0 w 1828800"/>
              <a:gd name="connsiteY5-120" fmla="*/ 457201 h 914401"/>
              <a:gd name="connsiteX0-121" fmla="*/ 0 w 1828800"/>
              <a:gd name="connsiteY0-122" fmla="*/ 0 h 914401"/>
              <a:gd name="connsiteX1-123" fmla="*/ 1779657 w 1828800"/>
              <a:gd name="connsiteY1-124" fmla="*/ 0 h 914401"/>
              <a:gd name="connsiteX2-125" fmla="*/ 1828800 w 1828800"/>
              <a:gd name="connsiteY2-126" fmla="*/ 457200 h 914401"/>
              <a:gd name="connsiteX3-127" fmla="*/ 1779657 w 1828800"/>
              <a:gd name="connsiteY3-128" fmla="*/ 914401 h 914401"/>
              <a:gd name="connsiteX4-129" fmla="*/ 0 w 1828800"/>
              <a:gd name="connsiteY4-130" fmla="*/ 914400 h 914401"/>
              <a:gd name="connsiteX5-131" fmla="*/ 0 w 1828800"/>
              <a:gd name="connsiteY5-132" fmla="*/ 457201 h 914401"/>
              <a:gd name="connsiteX0-133" fmla="*/ 0 w 1828800"/>
              <a:gd name="connsiteY0-134" fmla="*/ 0 h 914401"/>
              <a:gd name="connsiteX1-135" fmla="*/ 1779657 w 1828800"/>
              <a:gd name="connsiteY1-136" fmla="*/ 0 h 914401"/>
              <a:gd name="connsiteX2-137" fmla="*/ 1828800 w 1828800"/>
              <a:gd name="connsiteY2-138" fmla="*/ 457200 h 914401"/>
              <a:gd name="connsiteX3-139" fmla="*/ 1779657 w 1828800"/>
              <a:gd name="connsiteY3-140" fmla="*/ 914401 h 914401"/>
              <a:gd name="connsiteX4-141" fmla="*/ 0 w 1828800"/>
              <a:gd name="connsiteY4-142" fmla="*/ 914400 h 914401"/>
              <a:gd name="connsiteX5-143" fmla="*/ 0 w 1828800"/>
              <a:gd name="connsiteY5-144" fmla="*/ 457201 h 914401"/>
              <a:gd name="connsiteX0-145" fmla="*/ 0 w 1828800"/>
              <a:gd name="connsiteY0-146" fmla="*/ 0 h 914401"/>
              <a:gd name="connsiteX1-147" fmla="*/ 1702759 w 1828800"/>
              <a:gd name="connsiteY1-148" fmla="*/ 0 h 914401"/>
              <a:gd name="connsiteX2-149" fmla="*/ 1828800 w 1828800"/>
              <a:gd name="connsiteY2-150" fmla="*/ 457200 h 914401"/>
              <a:gd name="connsiteX3-151" fmla="*/ 1779657 w 1828800"/>
              <a:gd name="connsiteY3-152" fmla="*/ 914401 h 914401"/>
              <a:gd name="connsiteX4-153" fmla="*/ 0 w 1828800"/>
              <a:gd name="connsiteY4-154" fmla="*/ 914400 h 914401"/>
              <a:gd name="connsiteX5-155" fmla="*/ 0 w 1828800"/>
              <a:gd name="connsiteY5-156" fmla="*/ 457201 h 914401"/>
              <a:gd name="connsiteX0-157" fmla="*/ 0 w 1828800"/>
              <a:gd name="connsiteY0-158" fmla="*/ 0 h 914401"/>
              <a:gd name="connsiteX1-159" fmla="*/ 1702759 w 1828800"/>
              <a:gd name="connsiteY1-160" fmla="*/ 0 h 914401"/>
              <a:gd name="connsiteX2-161" fmla="*/ 1828800 w 1828800"/>
              <a:gd name="connsiteY2-162" fmla="*/ 457200 h 914401"/>
              <a:gd name="connsiteX3-163" fmla="*/ 1702759 w 1828800"/>
              <a:gd name="connsiteY3-164" fmla="*/ 914401 h 914401"/>
              <a:gd name="connsiteX4-165" fmla="*/ 0 w 1828800"/>
              <a:gd name="connsiteY4-166" fmla="*/ 914400 h 914401"/>
              <a:gd name="connsiteX5-167" fmla="*/ 0 w 1828800"/>
              <a:gd name="connsiteY5-168" fmla="*/ 457201 h 9144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1">
                <a:moveTo>
                  <a:pt x="0" y="0"/>
                </a:moveTo>
                <a:lnTo>
                  <a:pt x="1702759" y="0"/>
                </a:lnTo>
                <a:lnTo>
                  <a:pt x="1828800" y="457200"/>
                </a:lnTo>
                <a:lnTo>
                  <a:pt x="1702759" y="914401"/>
                </a:lnTo>
                <a:lnTo>
                  <a:pt x="0" y="914400"/>
                </a:lnTo>
                <a:lnTo>
                  <a:pt x="0" y="457201"/>
                </a:lnTo>
                <a:close/>
              </a:path>
            </a:pathLst>
          </a:custGeom>
          <a:solidFill>
            <a:srgbClr val="FFC3AB"/>
          </a:solidFill>
          <a:ln w="9525">
            <a:noFill/>
            <a:round/>
          </a:ln>
        </p:spPr>
        <p:txBody>
          <a:bodyPr wrap="none" rtlCol="0" anchor="ctr"/>
          <a:lstStyle/>
          <a:p>
            <a:pPr algn="ctr"/>
            <a:endParaRPr lang="en-US" sz="1225" b="1" dirty="0"/>
          </a:p>
        </p:txBody>
      </p:sp>
      <p:sp>
        <p:nvSpPr>
          <p:cNvPr id="47" name="TextBox 9"/>
          <p:cNvSpPr txBox="1">
            <a:spLocks noChangeArrowheads="1"/>
          </p:cNvSpPr>
          <p:nvPr>
            <p:custDataLst>
              <p:tags r:id="rId8"/>
            </p:custDataLst>
          </p:nvPr>
        </p:nvSpPr>
        <p:spPr bwMode="gray">
          <a:xfrm>
            <a:off x="2225663" y="922435"/>
            <a:ext cx="1071637" cy="188385"/>
          </a:xfrm>
          <a:prstGeom prst="rect">
            <a:avLst/>
          </a:prstGeom>
          <a:solidFill>
            <a:srgbClr val="FFC3AB"/>
          </a:solidFill>
          <a:ln w="9525">
            <a:noFill/>
            <a:miter lim="800000"/>
          </a:ln>
          <a:effectLst/>
        </p:spPr>
        <p:txBody>
          <a:bodyPr vert="horz" wrap="square" lIns="0" tIns="0" rIns="0" bIns="0" numCol="1" anchor="ctr" anchorCtr="0" compatLnSpc="1">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r>
              <a:rPr lang="zh-CN" altLang="en-US" sz="1225" b="1" dirty="0"/>
              <a:t>阶段一：</a:t>
            </a:r>
            <a:r>
              <a:rPr lang="en-US" altLang="zh-CN" sz="1225" b="1" dirty="0"/>
              <a:t>XXX</a:t>
            </a:r>
            <a:endParaRPr lang="en-US" altLang="zh-CN" sz="1225" b="1" dirty="0"/>
          </a:p>
        </p:txBody>
      </p:sp>
      <p:sp>
        <p:nvSpPr>
          <p:cNvPr id="60" name="Freeform 59"/>
          <p:cNvSpPr/>
          <p:nvPr>
            <p:custDataLst>
              <p:tags r:id="rId9"/>
            </p:custDataLst>
          </p:nvPr>
        </p:nvSpPr>
        <p:spPr bwMode="gray">
          <a:xfrm>
            <a:off x="8658893" y="824097"/>
            <a:ext cx="1775505" cy="38506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1" fmla="*/ 0 w 1828800"/>
              <a:gd name="connsiteY0-2" fmla="*/ 0 h 914400"/>
              <a:gd name="connsiteX1-3" fmla="*/ 1713890 w 1828800"/>
              <a:gd name="connsiteY1-4" fmla="*/ 0 h 914400"/>
              <a:gd name="connsiteX2-5" fmla="*/ 1828800 w 1828800"/>
              <a:gd name="connsiteY2-6" fmla="*/ 457200 h 914400"/>
              <a:gd name="connsiteX3-7" fmla="*/ 1664208 w 1828800"/>
              <a:gd name="connsiteY3-8" fmla="*/ 914400 h 914400"/>
              <a:gd name="connsiteX4-9" fmla="*/ 0 w 1828800"/>
              <a:gd name="connsiteY4-10" fmla="*/ 914400 h 914400"/>
              <a:gd name="connsiteX5-11" fmla="*/ 0 w 1828800"/>
              <a:gd name="connsiteY5-12" fmla="*/ 457200 h 914400"/>
              <a:gd name="connsiteX0-13" fmla="*/ 0 w 1828800"/>
              <a:gd name="connsiteY0-14" fmla="*/ 0 h 914401"/>
              <a:gd name="connsiteX1-15" fmla="*/ 1713890 w 1828800"/>
              <a:gd name="connsiteY1-16" fmla="*/ 0 h 914401"/>
              <a:gd name="connsiteX2-17" fmla="*/ 1828800 w 1828800"/>
              <a:gd name="connsiteY2-18" fmla="*/ 457200 h 914401"/>
              <a:gd name="connsiteX3-19" fmla="*/ 1713890 w 1828800"/>
              <a:gd name="connsiteY3-20" fmla="*/ 914401 h 914401"/>
              <a:gd name="connsiteX4-21" fmla="*/ 0 w 1828800"/>
              <a:gd name="connsiteY4-22" fmla="*/ 914400 h 914401"/>
              <a:gd name="connsiteX5-23" fmla="*/ 0 w 1828800"/>
              <a:gd name="connsiteY5-24" fmla="*/ 457200 h 914401"/>
              <a:gd name="connsiteX0-25" fmla="*/ 0 w 1828800"/>
              <a:gd name="connsiteY0-26" fmla="*/ 0 h 914401"/>
              <a:gd name="connsiteX1-27" fmla="*/ 1713890 w 1828800"/>
              <a:gd name="connsiteY1-28" fmla="*/ 0 h 914401"/>
              <a:gd name="connsiteX2-29" fmla="*/ 1828800 w 1828800"/>
              <a:gd name="connsiteY2-30" fmla="*/ 457200 h 914401"/>
              <a:gd name="connsiteX3-31" fmla="*/ 1713890 w 1828800"/>
              <a:gd name="connsiteY3-32" fmla="*/ 914401 h 914401"/>
              <a:gd name="connsiteX4-33" fmla="*/ 0 w 1828800"/>
              <a:gd name="connsiteY4-34" fmla="*/ 914400 h 914401"/>
              <a:gd name="connsiteX5-35" fmla="*/ 114911 w 1828800"/>
              <a:gd name="connsiteY5-36" fmla="*/ 457200 h 914401"/>
              <a:gd name="connsiteX0-37" fmla="*/ 0 w 1828800"/>
              <a:gd name="connsiteY0-38" fmla="*/ 0 h 914401"/>
              <a:gd name="connsiteX1-39" fmla="*/ 1713888 w 1828800"/>
              <a:gd name="connsiteY1-40" fmla="*/ 0 h 914401"/>
              <a:gd name="connsiteX2-41" fmla="*/ 1828800 w 1828800"/>
              <a:gd name="connsiteY2-42" fmla="*/ 457200 h 914401"/>
              <a:gd name="connsiteX3-43" fmla="*/ 1713890 w 1828800"/>
              <a:gd name="connsiteY3-44" fmla="*/ 914401 h 914401"/>
              <a:gd name="connsiteX4-45" fmla="*/ 0 w 1828800"/>
              <a:gd name="connsiteY4-46" fmla="*/ 914400 h 914401"/>
              <a:gd name="connsiteX5-47" fmla="*/ 114911 w 1828800"/>
              <a:gd name="connsiteY5-48" fmla="*/ 457200 h 914401"/>
              <a:gd name="connsiteX0-49" fmla="*/ 0 w 1828800"/>
              <a:gd name="connsiteY0-50" fmla="*/ 0 h 914401"/>
              <a:gd name="connsiteX1-51" fmla="*/ 1713888 w 1828800"/>
              <a:gd name="connsiteY1-52" fmla="*/ 0 h 914401"/>
              <a:gd name="connsiteX2-53" fmla="*/ 1828800 w 1828800"/>
              <a:gd name="connsiteY2-54" fmla="*/ 457200 h 914401"/>
              <a:gd name="connsiteX3-55" fmla="*/ 1713888 w 1828800"/>
              <a:gd name="connsiteY3-56" fmla="*/ 914401 h 914401"/>
              <a:gd name="connsiteX4-57" fmla="*/ 0 w 1828800"/>
              <a:gd name="connsiteY4-58" fmla="*/ 914400 h 914401"/>
              <a:gd name="connsiteX5-59" fmla="*/ 114911 w 1828800"/>
              <a:gd name="connsiteY5-60" fmla="*/ 457200 h 914401"/>
              <a:gd name="connsiteX0-61" fmla="*/ 0 w 1828800"/>
              <a:gd name="connsiteY0-62" fmla="*/ 0 h 914401"/>
              <a:gd name="connsiteX1-63" fmla="*/ 1713888 w 1828800"/>
              <a:gd name="connsiteY1-64" fmla="*/ 0 h 914401"/>
              <a:gd name="connsiteX2-65" fmla="*/ 1828800 w 1828800"/>
              <a:gd name="connsiteY2-66" fmla="*/ 457200 h 914401"/>
              <a:gd name="connsiteX3-67" fmla="*/ 1713888 w 1828800"/>
              <a:gd name="connsiteY3-68" fmla="*/ 914401 h 914401"/>
              <a:gd name="connsiteX4-69" fmla="*/ 0 w 1828800"/>
              <a:gd name="connsiteY4-70" fmla="*/ 914400 h 914401"/>
              <a:gd name="connsiteX5-71" fmla="*/ 0 w 1828800"/>
              <a:gd name="connsiteY5-72" fmla="*/ 457200 h 914401"/>
              <a:gd name="connsiteX0-73" fmla="*/ 0 w 1828800"/>
              <a:gd name="connsiteY0-74" fmla="*/ 0 h 914401"/>
              <a:gd name="connsiteX1-75" fmla="*/ 1713888 w 1828800"/>
              <a:gd name="connsiteY1-76" fmla="*/ 0 h 914401"/>
              <a:gd name="connsiteX2-77" fmla="*/ 1828800 w 1828800"/>
              <a:gd name="connsiteY2-78" fmla="*/ 457200 h 914401"/>
              <a:gd name="connsiteX3-79" fmla="*/ 1713888 w 1828800"/>
              <a:gd name="connsiteY3-80" fmla="*/ 914401 h 914401"/>
              <a:gd name="connsiteX4-81" fmla="*/ 0 w 1828800"/>
              <a:gd name="connsiteY4-82" fmla="*/ 914400 h 914401"/>
              <a:gd name="connsiteX5-83" fmla="*/ 0 w 1828800"/>
              <a:gd name="connsiteY5-84" fmla="*/ 457200 h 914401"/>
              <a:gd name="connsiteX0-85" fmla="*/ 0 w 1828800"/>
              <a:gd name="connsiteY0-86" fmla="*/ 0 h 914401"/>
              <a:gd name="connsiteX1-87" fmla="*/ 1713888 w 1828800"/>
              <a:gd name="connsiteY1-88" fmla="*/ 0 h 914401"/>
              <a:gd name="connsiteX2-89" fmla="*/ 1828800 w 1828800"/>
              <a:gd name="connsiteY2-90" fmla="*/ 457200 h 914401"/>
              <a:gd name="connsiteX3-91" fmla="*/ 1713888 w 1828800"/>
              <a:gd name="connsiteY3-92" fmla="*/ 914401 h 914401"/>
              <a:gd name="connsiteX4-93" fmla="*/ 0 w 1828800"/>
              <a:gd name="connsiteY4-94" fmla="*/ 914400 h 914401"/>
              <a:gd name="connsiteX5-95" fmla="*/ 0 w 1828800"/>
              <a:gd name="connsiteY5-96" fmla="*/ 457200 h 914401"/>
              <a:gd name="connsiteX0-97" fmla="*/ 0 w 1828800"/>
              <a:gd name="connsiteY0-98" fmla="*/ 0 h 914401"/>
              <a:gd name="connsiteX1-99" fmla="*/ 1713888 w 1828800"/>
              <a:gd name="connsiteY1-100" fmla="*/ 0 h 914401"/>
              <a:gd name="connsiteX2-101" fmla="*/ 1828800 w 1828800"/>
              <a:gd name="connsiteY2-102" fmla="*/ 457200 h 914401"/>
              <a:gd name="connsiteX3-103" fmla="*/ 1713888 w 1828800"/>
              <a:gd name="connsiteY3-104" fmla="*/ 914401 h 914401"/>
              <a:gd name="connsiteX4-105" fmla="*/ 0 w 1828800"/>
              <a:gd name="connsiteY4-106" fmla="*/ 914400 h 914401"/>
              <a:gd name="connsiteX5-107" fmla="*/ 114911 w 1828800"/>
              <a:gd name="connsiteY5-108" fmla="*/ 457200 h 914401"/>
              <a:gd name="connsiteX0-109" fmla="*/ 0 w 1828800"/>
              <a:gd name="connsiteY0-110" fmla="*/ 0 h 914401"/>
              <a:gd name="connsiteX1-111" fmla="*/ 1713888 w 1828800"/>
              <a:gd name="connsiteY1-112" fmla="*/ 0 h 914401"/>
              <a:gd name="connsiteX2-113" fmla="*/ 1828800 w 1828800"/>
              <a:gd name="connsiteY2-114" fmla="*/ 457200 h 914401"/>
              <a:gd name="connsiteX3-115" fmla="*/ 1713888 w 1828800"/>
              <a:gd name="connsiteY3-116" fmla="*/ 914401 h 914401"/>
              <a:gd name="connsiteX4-117" fmla="*/ 0 w 1828800"/>
              <a:gd name="connsiteY4-118" fmla="*/ 914400 h 914401"/>
              <a:gd name="connsiteX5-119" fmla="*/ 114911 w 1828800"/>
              <a:gd name="connsiteY5-120" fmla="*/ 457200 h 914401"/>
              <a:gd name="connsiteX0-121" fmla="*/ 0 w 1828800"/>
              <a:gd name="connsiteY0-122" fmla="*/ 0 h 914401"/>
              <a:gd name="connsiteX1-123" fmla="*/ 1713888 w 1828800"/>
              <a:gd name="connsiteY1-124" fmla="*/ 0 h 914401"/>
              <a:gd name="connsiteX2-125" fmla="*/ 1828800 w 1828800"/>
              <a:gd name="connsiteY2-126" fmla="*/ 457200 h 914401"/>
              <a:gd name="connsiteX3-127" fmla="*/ 1713888 w 1828800"/>
              <a:gd name="connsiteY3-128" fmla="*/ 914401 h 914401"/>
              <a:gd name="connsiteX4-129" fmla="*/ 0 w 1828800"/>
              <a:gd name="connsiteY4-130" fmla="*/ 914400 h 914401"/>
              <a:gd name="connsiteX5-131" fmla="*/ 114911 w 1828800"/>
              <a:gd name="connsiteY5-132" fmla="*/ 457200 h 914401"/>
              <a:gd name="connsiteX0-133" fmla="*/ 0 w 1828800"/>
              <a:gd name="connsiteY0-134" fmla="*/ 0 h 914401"/>
              <a:gd name="connsiteX1-135" fmla="*/ 1713888 w 1828800"/>
              <a:gd name="connsiteY1-136" fmla="*/ 0 h 914401"/>
              <a:gd name="connsiteX2-137" fmla="*/ 1828800 w 1828800"/>
              <a:gd name="connsiteY2-138" fmla="*/ 457200 h 914401"/>
              <a:gd name="connsiteX3-139" fmla="*/ 1713888 w 1828800"/>
              <a:gd name="connsiteY3-140" fmla="*/ 914401 h 914401"/>
              <a:gd name="connsiteX4-141" fmla="*/ 0 w 1828800"/>
              <a:gd name="connsiteY4-142" fmla="*/ 914400 h 914401"/>
              <a:gd name="connsiteX5-143" fmla="*/ 49143 w 1828800"/>
              <a:gd name="connsiteY5-144" fmla="*/ 457201 h 914401"/>
              <a:gd name="connsiteX0-145" fmla="*/ 0 w 1828800"/>
              <a:gd name="connsiteY0-146" fmla="*/ 0 h 914401"/>
              <a:gd name="connsiteX1-147" fmla="*/ 1779656 w 1828800"/>
              <a:gd name="connsiteY1-148" fmla="*/ 0 h 914401"/>
              <a:gd name="connsiteX2-149" fmla="*/ 1828800 w 1828800"/>
              <a:gd name="connsiteY2-150" fmla="*/ 457200 h 914401"/>
              <a:gd name="connsiteX3-151" fmla="*/ 1713888 w 1828800"/>
              <a:gd name="connsiteY3-152" fmla="*/ 914401 h 914401"/>
              <a:gd name="connsiteX4-153" fmla="*/ 0 w 1828800"/>
              <a:gd name="connsiteY4-154" fmla="*/ 914400 h 914401"/>
              <a:gd name="connsiteX5-155" fmla="*/ 49143 w 1828800"/>
              <a:gd name="connsiteY5-156" fmla="*/ 457201 h 914401"/>
              <a:gd name="connsiteX0-157" fmla="*/ 0 w 1828800"/>
              <a:gd name="connsiteY0-158" fmla="*/ 0 h 914401"/>
              <a:gd name="connsiteX1-159" fmla="*/ 1779656 w 1828800"/>
              <a:gd name="connsiteY1-160" fmla="*/ 0 h 914401"/>
              <a:gd name="connsiteX2-161" fmla="*/ 1828800 w 1828800"/>
              <a:gd name="connsiteY2-162" fmla="*/ 457200 h 914401"/>
              <a:gd name="connsiteX3-163" fmla="*/ 1779656 w 1828800"/>
              <a:gd name="connsiteY3-164" fmla="*/ 914401 h 914401"/>
              <a:gd name="connsiteX4-165" fmla="*/ 0 w 1828800"/>
              <a:gd name="connsiteY4-166" fmla="*/ 914400 h 914401"/>
              <a:gd name="connsiteX5-167" fmla="*/ 49143 w 1828800"/>
              <a:gd name="connsiteY5-168" fmla="*/ 457201 h 914401"/>
              <a:gd name="connsiteX0-169" fmla="*/ 0 w 1828800"/>
              <a:gd name="connsiteY0-170" fmla="*/ 0 h 914401"/>
              <a:gd name="connsiteX1-171" fmla="*/ 1779656 w 1828800"/>
              <a:gd name="connsiteY1-172" fmla="*/ 0 h 914401"/>
              <a:gd name="connsiteX2-173" fmla="*/ 1828800 w 1828800"/>
              <a:gd name="connsiteY2-174" fmla="*/ 457200 h 914401"/>
              <a:gd name="connsiteX3-175" fmla="*/ 1779656 w 1828800"/>
              <a:gd name="connsiteY3-176" fmla="*/ 914401 h 914401"/>
              <a:gd name="connsiteX4-177" fmla="*/ 0 w 1828800"/>
              <a:gd name="connsiteY4-178" fmla="*/ 914400 h 914401"/>
              <a:gd name="connsiteX5-179" fmla="*/ 71392 w 1828800"/>
              <a:gd name="connsiteY5-180" fmla="*/ 457201 h 914401"/>
              <a:gd name="connsiteX0-181" fmla="*/ 0 w 1828800"/>
              <a:gd name="connsiteY0-182" fmla="*/ 0 h 914401"/>
              <a:gd name="connsiteX1-183" fmla="*/ 1757409 w 1828800"/>
              <a:gd name="connsiteY1-184" fmla="*/ 0 h 914401"/>
              <a:gd name="connsiteX2-185" fmla="*/ 1828800 w 1828800"/>
              <a:gd name="connsiteY2-186" fmla="*/ 457200 h 914401"/>
              <a:gd name="connsiteX3-187" fmla="*/ 1779656 w 1828800"/>
              <a:gd name="connsiteY3-188" fmla="*/ 914401 h 914401"/>
              <a:gd name="connsiteX4-189" fmla="*/ 0 w 1828800"/>
              <a:gd name="connsiteY4-190" fmla="*/ 914400 h 914401"/>
              <a:gd name="connsiteX5-191" fmla="*/ 71392 w 1828800"/>
              <a:gd name="connsiteY5-192" fmla="*/ 457201 h 914401"/>
              <a:gd name="connsiteX0-193" fmla="*/ 0 w 1828800"/>
              <a:gd name="connsiteY0-194" fmla="*/ 0 h 914401"/>
              <a:gd name="connsiteX1-195" fmla="*/ 1757409 w 1828800"/>
              <a:gd name="connsiteY1-196" fmla="*/ 0 h 914401"/>
              <a:gd name="connsiteX2-197" fmla="*/ 1828800 w 1828800"/>
              <a:gd name="connsiteY2-198" fmla="*/ 457200 h 914401"/>
              <a:gd name="connsiteX3-199" fmla="*/ 1757409 w 1828800"/>
              <a:gd name="connsiteY3-200" fmla="*/ 914401 h 914401"/>
              <a:gd name="connsiteX4-201" fmla="*/ 0 w 1828800"/>
              <a:gd name="connsiteY4-202" fmla="*/ 914400 h 914401"/>
              <a:gd name="connsiteX5-203" fmla="*/ 71392 w 1828800"/>
              <a:gd name="connsiteY5-204" fmla="*/ 457201 h 9144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28800" h="914401">
                <a:moveTo>
                  <a:pt x="0" y="0"/>
                </a:moveTo>
                <a:lnTo>
                  <a:pt x="1757409" y="0"/>
                </a:lnTo>
                <a:lnTo>
                  <a:pt x="1828800" y="457200"/>
                </a:lnTo>
                <a:lnTo>
                  <a:pt x="1757409" y="914401"/>
                </a:lnTo>
                <a:lnTo>
                  <a:pt x="0" y="914400"/>
                </a:lnTo>
                <a:lnTo>
                  <a:pt x="71392" y="457201"/>
                </a:lnTo>
                <a:close/>
              </a:path>
            </a:pathLst>
          </a:custGeom>
          <a:solidFill>
            <a:srgbClr val="FFC3AB"/>
          </a:solidFill>
          <a:ln w="9525">
            <a:noFill/>
            <a:round/>
          </a:ln>
        </p:spPr>
        <p:txBody>
          <a:bodyPr wrap="none" rtlCol="0" anchor="ctr"/>
          <a:lstStyle/>
          <a:p>
            <a:pPr algn="ctr"/>
            <a:endParaRPr lang="en-US" sz="1225" b="1" dirty="0"/>
          </a:p>
        </p:txBody>
      </p:sp>
      <p:sp>
        <p:nvSpPr>
          <p:cNvPr id="61" name="TextBox 9"/>
          <p:cNvSpPr txBox="1">
            <a:spLocks noChangeArrowheads="1"/>
          </p:cNvSpPr>
          <p:nvPr>
            <p:custDataLst>
              <p:tags r:id="rId10"/>
            </p:custDataLst>
          </p:nvPr>
        </p:nvSpPr>
        <p:spPr bwMode="gray">
          <a:xfrm>
            <a:off x="8780037" y="920523"/>
            <a:ext cx="1585051" cy="192211"/>
          </a:xfrm>
          <a:prstGeom prst="rect">
            <a:avLst/>
          </a:prstGeom>
          <a:solidFill>
            <a:srgbClr val="FFC3AB"/>
          </a:solidFill>
          <a:ln w="9525">
            <a:noFill/>
            <a:round/>
          </a:ln>
        </p:spPr>
        <p:txBody>
          <a:bodyPr wrap="none" rtlCol="0" anchor="ctr"/>
          <a:lstStyle>
            <a:defPPr>
              <a:defRPr lang="en-US"/>
            </a:defPPr>
            <a:lvl1pPr algn="ctr">
              <a:defRPr sz="1225" b="1"/>
            </a:lvl1pPr>
          </a:lstStyle>
          <a:p>
            <a:r>
              <a:rPr lang="zh-CN" altLang="en-US" dirty="0"/>
              <a:t>阶段四：</a:t>
            </a:r>
            <a:r>
              <a:rPr lang="en-US" altLang="zh-CN" dirty="0"/>
              <a:t>XXX</a:t>
            </a:r>
            <a:endParaRPr lang="en-US" altLang="zh-CN" dirty="0"/>
          </a:p>
        </p:txBody>
      </p:sp>
      <p:grpSp>
        <p:nvGrpSpPr>
          <p:cNvPr id="2" name="Group 1"/>
          <p:cNvGrpSpPr/>
          <p:nvPr/>
        </p:nvGrpSpPr>
        <p:grpSpPr>
          <a:xfrm>
            <a:off x="10948066" y="252000"/>
            <a:ext cx="870092" cy="160950"/>
            <a:chOff x="7805802" y="227008"/>
            <a:chExt cx="852771" cy="157746"/>
          </a:xfrm>
        </p:grpSpPr>
        <p:sp>
          <p:nvSpPr>
            <p:cNvPr id="110" name="Rectangle 109"/>
            <p:cNvSpPr/>
            <p:nvPr/>
          </p:nvSpPr>
          <p:spPr>
            <a:xfrm>
              <a:off x="8001342" y="227788"/>
              <a:ext cx="657231" cy="156966"/>
            </a:xfrm>
            <a:prstGeom prst="rect">
              <a:avLst/>
            </a:prstGeom>
          </p:spPr>
          <p:txBody>
            <a:bodyPr wrap="none" lIns="0" tIns="0" rIns="0" bIns="0">
              <a:spAutoFit/>
            </a:bodyPr>
            <a:lstStyle/>
            <a:p>
              <a:r>
                <a:rPr lang="zh-CN" altLang="en-US" sz="1020" dirty="0"/>
                <a:t>重要里程碑</a:t>
              </a:r>
              <a:endParaRPr lang="en-US" altLang="zh-CN" sz="1020" dirty="0"/>
            </a:p>
          </p:txBody>
        </p:sp>
        <p:sp>
          <p:nvSpPr>
            <p:cNvPr id="111" name="Isosceles Triangle 110"/>
            <p:cNvSpPr/>
            <p:nvPr/>
          </p:nvSpPr>
          <p:spPr bwMode="gray">
            <a:xfrm>
              <a:off x="7805802" y="227008"/>
              <a:ext cx="155448" cy="155448"/>
            </a:xfrm>
            <a:prstGeom prst="triangle">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20" dirty="0" err="1">
                <a:solidFill>
                  <a:schemeClr val="tx1"/>
                </a:solidFill>
              </a:endParaRPr>
            </a:p>
          </p:txBody>
        </p:sp>
      </p:grpSp>
      <p:sp>
        <p:nvSpPr>
          <p:cNvPr id="64" name="Rectangle 21"/>
          <p:cNvSpPr>
            <a:spLocks noChangeArrowheads="1"/>
          </p:cNvSpPr>
          <p:nvPr/>
        </p:nvSpPr>
        <p:spPr bwMode="gray">
          <a:xfrm>
            <a:off x="588598" y="2207922"/>
            <a:ext cx="1026034" cy="772211"/>
          </a:xfrm>
          <a:prstGeom prst="rect">
            <a:avLst/>
          </a:prstGeom>
          <a:solidFill>
            <a:srgbClr val="FF976D"/>
          </a:solidFill>
          <a:ln>
            <a:noFill/>
          </a:ln>
          <a:effectLst/>
        </p:spPr>
        <p:txBody>
          <a:bodyPr wrap="square" lIns="149276" tIns="74638" rIns="74638" bIns="74638" anchor="ctr">
            <a:noAutofit/>
          </a:bodyPr>
          <a:lstStyle>
            <a:lvl1pPr defTabSz="895350">
              <a:buClr>
                <a:schemeClr val="tx2"/>
              </a:buClr>
              <a:defRPr sz="1600">
                <a:solidFill>
                  <a:schemeClr val="tx1"/>
                </a:solidFill>
                <a:latin typeface="Arial" panose="020B0604020202020204" pitchFamily="34" charset="0"/>
              </a:defRPr>
            </a:lvl1pPr>
            <a:lvl2pPr marL="193675" indent="-192405"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r>
              <a:rPr lang="en-US" altLang="zh-CN" sz="1225" b="1" dirty="0">
                <a:latin typeface="+mn-lt"/>
              </a:rPr>
              <a:t>XXX</a:t>
            </a:r>
            <a:endParaRPr lang="en-US" altLang="zh-CN" sz="1225" b="1" dirty="0">
              <a:latin typeface="+mn-lt"/>
            </a:endParaRPr>
          </a:p>
        </p:txBody>
      </p:sp>
      <p:sp>
        <p:nvSpPr>
          <p:cNvPr id="93" name="Oval 83"/>
          <p:cNvSpPr>
            <a:spLocks noChangeArrowheads="1"/>
          </p:cNvSpPr>
          <p:nvPr/>
        </p:nvSpPr>
        <p:spPr bwMode="gray">
          <a:xfrm>
            <a:off x="484007" y="2485961"/>
            <a:ext cx="186595" cy="186595"/>
          </a:xfrm>
          <a:prstGeom prst="ellipse">
            <a:avLst/>
          </a:prstGeom>
          <a:solidFill>
            <a:srgbClr val="E75C01"/>
          </a:solidFill>
          <a:ln w="9525">
            <a:solidFill>
              <a:schemeClr val="bg1"/>
            </a:solidFill>
            <a:round/>
          </a:ln>
          <a:effectLst/>
        </p:spPr>
        <p:txBody>
          <a:bodyPr vert="horz" wrap="square" lIns="0" tIns="0" rIns="0" bIns="0" numCol="1" anchor="ctr" anchorCtr="1" compatLnSpc="1"/>
          <a:lstStyle/>
          <a:p>
            <a:pPr defTabSz="1063625"/>
            <a:r>
              <a:rPr lang="en-US" altLang="zh-CN" sz="1225" b="1" dirty="0">
                <a:solidFill>
                  <a:schemeClr val="bg1"/>
                </a:solidFill>
                <a:cs typeface="Arial" panose="020B0604020202020204" pitchFamily="34" charset="0"/>
              </a:rPr>
              <a:t>A</a:t>
            </a:r>
            <a:endParaRPr lang="en-US" sz="1225" b="1" dirty="0">
              <a:solidFill>
                <a:schemeClr val="bg1"/>
              </a:solidFill>
              <a:cs typeface="Arial" panose="020B0604020202020204" pitchFamily="34" charset="0"/>
            </a:endParaRPr>
          </a:p>
        </p:txBody>
      </p:sp>
      <p:sp>
        <p:nvSpPr>
          <p:cNvPr id="228" name="Rectangle 21"/>
          <p:cNvSpPr>
            <a:spLocks noChangeArrowheads="1"/>
          </p:cNvSpPr>
          <p:nvPr/>
        </p:nvSpPr>
        <p:spPr bwMode="gray">
          <a:xfrm>
            <a:off x="588598" y="3079975"/>
            <a:ext cx="1026034" cy="804145"/>
          </a:xfrm>
          <a:prstGeom prst="rect">
            <a:avLst/>
          </a:prstGeom>
          <a:solidFill>
            <a:srgbClr val="FF976D"/>
          </a:solidFill>
          <a:ln>
            <a:noFill/>
          </a:ln>
          <a:effectLst/>
        </p:spPr>
        <p:txBody>
          <a:bodyPr wrap="square" lIns="149276" tIns="74638" rIns="74638" bIns="74638" anchor="ctr">
            <a:noAutofit/>
          </a:bodyPr>
          <a:lstStyle>
            <a:lvl1pPr defTabSz="895350">
              <a:buClr>
                <a:schemeClr val="tx2"/>
              </a:buClr>
              <a:defRPr sz="1600">
                <a:solidFill>
                  <a:schemeClr val="tx1"/>
                </a:solidFill>
                <a:latin typeface="Arial" panose="020B0604020202020204" pitchFamily="34" charset="0"/>
              </a:defRPr>
            </a:lvl1pPr>
            <a:lvl2pPr marL="193675" indent="-192405"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r>
              <a:rPr lang="en-US" altLang="zh-CN" sz="1225" b="1" dirty="0">
                <a:latin typeface="+mn-lt"/>
              </a:rPr>
              <a:t>XXX</a:t>
            </a:r>
            <a:endParaRPr lang="en-US" altLang="zh-CN" sz="1225" b="1" dirty="0">
              <a:latin typeface="+mn-lt"/>
            </a:endParaRPr>
          </a:p>
        </p:txBody>
      </p:sp>
      <p:sp>
        <p:nvSpPr>
          <p:cNvPr id="197" name="Rectangle 21"/>
          <p:cNvSpPr>
            <a:spLocks noChangeArrowheads="1"/>
          </p:cNvSpPr>
          <p:nvPr/>
        </p:nvSpPr>
        <p:spPr bwMode="gray">
          <a:xfrm>
            <a:off x="591393" y="3987360"/>
            <a:ext cx="1026034" cy="780458"/>
          </a:xfrm>
          <a:prstGeom prst="rect">
            <a:avLst/>
          </a:prstGeom>
          <a:solidFill>
            <a:srgbClr val="FF976D"/>
          </a:solidFill>
          <a:ln>
            <a:noFill/>
          </a:ln>
          <a:effectLst/>
        </p:spPr>
        <p:txBody>
          <a:bodyPr wrap="square" lIns="149276" tIns="74638" rIns="74638" bIns="74638" anchor="ctr">
            <a:noAutofit/>
          </a:bodyPr>
          <a:lstStyle>
            <a:lvl1pPr defTabSz="895350">
              <a:buClr>
                <a:schemeClr val="tx2"/>
              </a:buClr>
              <a:defRPr sz="1600">
                <a:solidFill>
                  <a:schemeClr val="tx1"/>
                </a:solidFill>
                <a:latin typeface="Arial" panose="020B0604020202020204" pitchFamily="34" charset="0"/>
              </a:defRPr>
            </a:lvl1pPr>
            <a:lvl2pPr marL="193675" indent="-192405"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r>
              <a:rPr lang="en-US" altLang="zh-CN" sz="1225" b="1" dirty="0">
                <a:latin typeface="+mn-lt"/>
              </a:rPr>
              <a:t>XXX</a:t>
            </a:r>
            <a:endParaRPr lang="en-US" altLang="zh-CN" sz="1225" b="1" dirty="0">
              <a:latin typeface="+mn-lt"/>
            </a:endParaRPr>
          </a:p>
        </p:txBody>
      </p:sp>
      <p:sp>
        <p:nvSpPr>
          <p:cNvPr id="218" name="Oval 83"/>
          <p:cNvSpPr>
            <a:spLocks noChangeArrowheads="1"/>
          </p:cNvSpPr>
          <p:nvPr/>
        </p:nvSpPr>
        <p:spPr bwMode="gray">
          <a:xfrm>
            <a:off x="499223" y="4269521"/>
            <a:ext cx="186595" cy="186595"/>
          </a:xfrm>
          <a:prstGeom prst="ellipse">
            <a:avLst/>
          </a:prstGeom>
          <a:solidFill>
            <a:srgbClr val="E75C01"/>
          </a:solidFill>
          <a:ln w="9525">
            <a:solidFill>
              <a:schemeClr val="bg1"/>
            </a:solidFill>
            <a:round/>
          </a:ln>
          <a:effectLst/>
        </p:spPr>
        <p:txBody>
          <a:bodyPr vert="horz" wrap="square" lIns="0" tIns="0" rIns="0" bIns="0" numCol="1" anchor="ctr" anchorCtr="1" compatLnSpc="1"/>
          <a:lstStyle/>
          <a:p>
            <a:pPr defTabSz="1063625"/>
            <a:r>
              <a:rPr lang="en-US" altLang="zh-CN" sz="1225" b="1" dirty="0">
                <a:solidFill>
                  <a:schemeClr val="bg1"/>
                </a:solidFill>
                <a:cs typeface="Arial" panose="020B0604020202020204" pitchFamily="34" charset="0"/>
              </a:rPr>
              <a:t>C</a:t>
            </a:r>
            <a:endParaRPr lang="en-US" sz="1225" b="1" dirty="0">
              <a:solidFill>
                <a:schemeClr val="bg1"/>
              </a:solidFill>
              <a:cs typeface="Arial" panose="020B0604020202020204" pitchFamily="34" charset="0"/>
            </a:endParaRPr>
          </a:p>
        </p:txBody>
      </p:sp>
      <p:sp>
        <p:nvSpPr>
          <p:cNvPr id="193" name="Oval 83"/>
          <p:cNvSpPr>
            <a:spLocks noChangeArrowheads="1"/>
          </p:cNvSpPr>
          <p:nvPr/>
        </p:nvSpPr>
        <p:spPr bwMode="gray">
          <a:xfrm>
            <a:off x="486623" y="3373979"/>
            <a:ext cx="186595" cy="186595"/>
          </a:xfrm>
          <a:prstGeom prst="ellipse">
            <a:avLst/>
          </a:prstGeom>
          <a:solidFill>
            <a:srgbClr val="E75C01"/>
          </a:solidFill>
          <a:ln w="9525">
            <a:solidFill>
              <a:schemeClr val="bg1"/>
            </a:solidFill>
            <a:round/>
          </a:ln>
          <a:effectLst/>
        </p:spPr>
        <p:txBody>
          <a:bodyPr vert="horz" wrap="square" lIns="0" tIns="0" rIns="0" bIns="0" numCol="1" anchor="ctr" anchorCtr="1" compatLnSpc="1"/>
          <a:lstStyle/>
          <a:p>
            <a:pPr defTabSz="1063625"/>
            <a:r>
              <a:rPr lang="en-US" altLang="zh-CN" sz="1225" b="1" dirty="0">
                <a:solidFill>
                  <a:schemeClr val="bg1"/>
                </a:solidFill>
                <a:cs typeface="Arial" panose="020B0604020202020204" pitchFamily="34" charset="0"/>
              </a:rPr>
              <a:t>B</a:t>
            </a:r>
            <a:endParaRPr lang="en-US" sz="1225" b="1" dirty="0">
              <a:solidFill>
                <a:schemeClr val="bg1"/>
              </a:solidFill>
              <a:cs typeface="Arial" panose="020B0604020202020204" pitchFamily="34" charset="0"/>
            </a:endParaRPr>
          </a:p>
        </p:txBody>
      </p:sp>
      <p:sp>
        <p:nvSpPr>
          <p:cNvPr id="96" name="Rectangle 21"/>
          <p:cNvSpPr>
            <a:spLocks noChangeArrowheads="1"/>
          </p:cNvSpPr>
          <p:nvPr/>
        </p:nvSpPr>
        <p:spPr bwMode="gray">
          <a:xfrm>
            <a:off x="590684" y="4894800"/>
            <a:ext cx="1026034" cy="780458"/>
          </a:xfrm>
          <a:prstGeom prst="rect">
            <a:avLst/>
          </a:prstGeom>
          <a:solidFill>
            <a:srgbClr val="FF976D"/>
          </a:solidFill>
          <a:ln>
            <a:noFill/>
          </a:ln>
          <a:effectLst/>
        </p:spPr>
        <p:txBody>
          <a:bodyPr wrap="square" lIns="149276" tIns="74638" rIns="74638" bIns="74638" anchor="ctr">
            <a:noAutofit/>
          </a:bodyPr>
          <a:lstStyle>
            <a:lvl1pPr defTabSz="895350">
              <a:buClr>
                <a:schemeClr val="tx2"/>
              </a:buClr>
              <a:defRPr sz="1600">
                <a:solidFill>
                  <a:schemeClr val="tx1"/>
                </a:solidFill>
                <a:latin typeface="Arial" panose="020B0604020202020204" pitchFamily="34" charset="0"/>
              </a:defRPr>
            </a:lvl1pPr>
            <a:lvl2pPr marL="193675" indent="-192405"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r>
              <a:rPr lang="en-US" altLang="zh-CN" sz="1225" b="1" dirty="0">
                <a:latin typeface="+mn-lt"/>
              </a:rPr>
              <a:t>XXX</a:t>
            </a:r>
            <a:endParaRPr lang="en-US" altLang="zh-CN" sz="1225" b="1" dirty="0">
              <a:latin typeface="+mn-lt"/>
            </a:endParaRPr>
          </a:p>
        </p:txBody>
      </p:sp>
      <p:sp>
        <p:nvSpPr>
          <p:cNvPr id="116" name="Oval 83"/>
          <p:cNvSpPr>
            <a:spLocks noChangeArrowheads="1"/>
          </p:cNvSpPr>
          <p:nvPr/>
        </p:nvSpPr>
        <p:spPr bwMode="gray">
          <a:xfrm>
            <a:off x="498515" y="5176961"/>
            <a:ext cx="186595" cy="186595"/>
          </a:xfrm>
          <a:prstGeom prst="ellipse">
            <a:avLst/>
          </a:prstGeom>
          <a:solidFill>
            <a:srgbClr val="E75C01"/>
          </a:solidFill>
          <a:ln w="9525">
            <a:solidFill>
              <a:schemeClr val="bg1"/>
            </a:solidFill>
            <a:round/>
          </a:ln>
          <a:effectLst/>
        </p:spPr>
        <p:txBody>
          <a:bodyPr vert="horz" wrap="square" lIns="0" tIns="0" rIns="0" bIns="0" numCol="1" anchor="ctr" anchorCtr="1" compatLnSpc="1"/>
          <a:lstStyle/>
          <a:p>
            <a:pPr defTabSz="1063625"/>
            <a:r>
              <a:rPr lang="en-US" altLang="zh-CN" sz="1225" b="1" dirty="0">
                <a:solidFill>
                  <a:schemeClr val="bg1"/>
                </a:solidFill>
                <a:cs typeface="Arial" panose="020B0604020202020204" pitchFamily="34" charset="0"/>
              </a:rPr>
              <a:t>D</a:t>
            </a:r>
            <a:endParaRPr lang="en-US" sz="1225" b="1" dirty="0">
              <a:solidFill>
                <a:schemeClr val="bg1"/>
              </a:solidFill>
              <a:cs typeface="Arial" panose="020B0604020202020204" pitchFamily="34" charset="0"/>
            </a:endParaRPr>
          </a:p>
        </p:txBody>
      </p:sp>
      <p:grpSp>
        <p:nvGrpSpPr>
          <p:cNvPr id="3" name="组合 2"/>
          <p:cNvGrpSpPr/>
          <p:nvPr/>
        </p:nvGrpSpPr>
        <p:grpSpPr>
          <a:xfrm>
            <a:off x="1773937" y="1331906"/>
            <a:ext cx="8680310" cy="4552557"/>
            <a:chOff x="2612743" y="1331906"/>
            <a:chExt cx="7841503" cy="4552557"/>
          </a:xfrm>
        </p:grpSpPr>
        <p:sp>
          <p:nvSpPr>
            <p:cNvPr id="100" name="Pentagon 80"/>
            <p:cNvSpPr/>
            <p:nvPr/>
          </p:nvSpPr>
          <p:spPr>
            <a:xfrm>
              <a:off x="5346284" y="2601389"/>
              <a:ext cx="4891071" cy="378744"/>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469011" name="Line 19"/>
            <p:cNvSpPr>
              <a:spLocks noChangeShapeType="1"/>
            </p:cNvSpPr>
            <p:nvPr/>
          </p:nvSpPr>
          <p:spPr bwMode="gray">
            <a:xfrm>
              <a:off x="2689519" y="2087459"/>
              <a:ext cx="7705351" cy="0"/>
            </a:xfrm>
            <a:prstGeom prst="line">
              <a:avLst/>
            </a:prstGeom>
            <a:noFill/>
            <a:ln w="19050">
              <a:solidFill>
                <a:srgbClr val="808080"/>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3287" tIns="46644" rIns="93287" bIns="46644" anchor="ctr">
              <a:spAutoFit/>
            </a:bodyPr>
            <a:lstStyle/>
            <a:p>
              <a:endParaRPr lang="en-US" sz="1835"/>
            </a:p>
          </p:txBody>
        </p:sp>
        <p:sp>
          <p:nvSpPr>
            <p:cNvPr id="469012" name="Rectangle 20"/>
            <p:cNvSpPr>
              <a:spLocks noChangeArrowheads="1"/>
            </p:cNvSpPr>
            <p:nvPr/>
          </p:nvSpPr>
          <p:spPr bwMode="gray">
            <a:xfrm>
              <a:off x="2612743" y="1331906"/>
              <a:ext cx="7841503" cy="4552557"/>
            </a:xfrm>
            <a:prstGeom prst="rect">
              <a:avLst/>
            </a:prstGeom>
            <a:noFill/>
            <a:ln w="19050">
              <a:solidFill>
                <a:schemeClr val="accent2"/>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5"/>
            </a:p>
          </p:txBody>
        </p:sp>
        <p:sp>
          <p:nvSpPr>
            <p:cNvPr id="81" name="Pentagon 80"/>
            <p:cNvSpPr/>
            <p:nvPr/>
          </p:nvSpPr>
          <p:spPr>
            <a:xfrm>
              <a:off x="5769701" y="2193991"/>
              <a:ext cx="4480076"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82" name="Pentagon 81"/>
            <p:cNvSpPr/>
            <p:nvPr/>
          </p:nvSpPr>
          <p:spPr>
            <a:xfrm>
              <a:off x="2674090" y="2193994"/>
              <a:ext cx="4836729"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102" name="Rectangle 14"/>
            <p:cNvSpPr txBox="1"/>
            <p:nvPr/>
          </p:nvSpPr>
          <p:spPr>
            <a:xfrm>
              <a:off x="7861799" y="2245666"/>
              <a:ext cx="1874593"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dirty="0">
                  <a:ea typeface="+mn-ea"/>
                </a:rPr>
                <a:t>持续开展项目</a:t>
              </a:r>
              <a:endParaRPr lang="en-US" sz="1225" dirty="0">
                <a:ea typeface="+mn-ea"/>
              </a:endParaRPr>
            </a:p>
          </p:txBody>
        </p:sp>
        <p:sp>
          <p:nvSpPr>
            <p:cNvPr id="105" name="Rectangle 14"/>
            <p:cNvSpPr txBox="1"/>
            <p:nvPr/>
          </p:nvSpPr>
          <p:spPr>
            <a:xfrm>
              <a:off x="2686513" y="2202552"/>
              <a:ext cx="3985921"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dirty="0">
                  <a:ea typeface="+mn-ea"/>
                </a:rPr>
                <a:t>探索开放式资金池及产业基金业务模式</a:t>
              </a:r>
              <a:endParaRPr lang="en-US" altLang="zh-CN" sz="1225" dirty="0">
                <a:ea typeface="+mn-ea"/>
              </a:endParaRPr>
            </a:p>
          </p:txBody>
        </p:sp>
        <p:sp>
          <p:nvSpPr>
            <p:cNvPr id="118" name="Isosceles Triangle 117"/>
            <p:cNvSpPr/>
            <p:nvPr/>
          </p:nvSpPr>
          <p:spPr bwMode="gray">
            <a:xfrm>
              <a:off x="6995032" y="2392429"/>
              <a:ext cx="176785" cy="169011"/>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119" name="Rectangle 14"/>
            <p:cNvSpPr txBox="1"/>
            <p:nvPr/>
          </p:nvSpPr>
          <p:spPr>
            <a:xfrm>
              <a:off x="5956015" y="2382743"/>
              <a:ext cx="1252448"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dirty="0">
                  <a:ea typeface="+mn-ea"/>
                </a:rPr>
                <a:t>试点项目成立</a:t>
              </a:r>
              <a:endParaRPr lang="en-US" sz="1225" dirty="0">
                <a:ea typeface="+mn-ea"/>
              </a:endParaRPr>
            </a:p>
          </p:txBody>
        </p:sp>
        <p:sp>
          <p:nvSpPr>
            <p:cNvPr id="134" name="Pentagon 133"/>
            <p:cNvSpPr/>
            <p:nvPr/>
          </p:nvSpPr>
          <p:spPr>
            <a:xfrm>
              <a:off x="2666963" y="2612816"/>
              <a:ext cx="3380088"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143" name="Rectangle 14"/>
            <p:cNvSpPr txBox="1"/>
            <p:nvPr/>
          </p:nvSpPr>
          <p:spPr>
            <a:xfrm>
              <a:off x="2696548" y="2610745"/>
              <a:ext cx="3985921"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建立集团内部合作机制</a:t>
              </a:r>
              <a:endParaRPr lang="en-US" sz="1225" dirty="0">
                <a:ea typeface="+mn-ea"/>
              </a:endParaRPr>
            </a:p>
          </p:txBody>
        </p:sp>
        <p:sp>
          <p:nvSpPr>
            <p:cNvPr id="146" name="Rectangle 14"/>
            <p:cNvSpPr txBox="1"/>
            <p:nvPr/>
          </p:nvSpPr>
          <p:spPr>
            <a:xfrm>
              <a:off x="4200627" y="2760677"/>
              <a:ext cx="1252448" cy="18838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确定初步合作模式</a:t>
              </a:r>
              <a:endParaRPr lang="en-US" sz="1225" dirty="0">
                <a:ea typeface="+mn-ea"/>
              </a:endParaRPr>
            </a:p>
          </p:txBody>
        </p:sp>
        <p:sp>
          <p:nvSpPr>
            <p:cNvPr id="147" name="Isosceles Triangle 107"/>
            <p:cNvSpPr/>
            <p:nvPr/>
          </p:nvSpPr>
          <p:spPr bwMode="gray">
            <a:xfrm>
              <a:off x="5458071" y="2766395"/>
              <a:ext cx="176785" cy="154501"/>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148" name="Rectangle 14"/>
            <p:cNvSpPr txBox="1"/>
            <p:nvPr/>
          </p:nvSpPr>
          <p:spPr>
            <a:xfrm>
              <a:off x="6184025" y="2604730"/>
              <a:ext cx="2894067"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与集团合作开展非标业务</a:t>
              </a:r>
              <a:endParaRPr lang="en-US" sz="1225" dirty="0">
                <a:ea typeface="+mn-ea"/>
              </a:endParaRPr>
            </a:p>
          </p:txBody>
        </p:sp>
        <p:sp>
          <p:nvSpPr>
            <p:cNvPr id="149" name="Isosceles Triangle 117"/>
            <p:cNvSpPr/>
            <p:nvPr/>
          </p:nvSpPr>
          <p:spPr bwMode="gray">
            <a:xfrm>
              <a:off x="9985519" y="2720756"/>
              <a:ext cx="176785" cy="154270"/>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150" name="Rectangle 14"/>
            <p:cNvSpPr txBox="1"/>
            <p:nvPr/>
          </p:nvSpPr>
          <p:spPr>
            <a:xfrm>
              <a:off x="9034425" y="2720756"/>
              <a:ext cx="1252448"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成功合作项目</a:t>
              </a:r>
              <a:endParaRPr lang="en-US" sz="1225" dirty="0">
                <a:ea typeface="+mn-ea"/>
              </a:endParaRPr>
            </a:p>
          </p:txBody>
        </p:sp>
        <p:sp>
          <p:nvSpPr>
            <p:cNvPr id="194" name="Pentagon 80"/>
            <p:cNvSpPr/>
            <p:nvPr/>
          </p:nvSpPr>
          <p:spPr>
            <a:xfrm>
              <a:off x="5347575" y="4406188"/>
              <a:ext cx="4891071" cy="367301"/>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198" name="Pentagon 80"/>
            <p:cNvSpPr/>
            <p:nvPr/>
          </p:nvSpPr>
          <p:spPr>
            <a:xfrm>
              <a:off x="5758570" y="4001277"/>
              <a:ext cx="4480076"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199" name="Pentagon 81"/>
            <p:cNvSpPr/>
            <p:nvPr/>
          </p:nvSpPr>
          <p:spPr>
            <a:xfrm>
              <a:off x="2676884" y="4001281"/>
              <a:ext cx="4836729"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200" name="Rectangle 14"/>
            <p:cNvSpPr txBox="1"/>
            <p:nvPr/>
          </p:nvSpPr>
          <p:spPr>
            <a:xfrm>
              <a:off x="7906369" y="4025104"/>
              <a:ext cx="1874593"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dirty="0">
                  <a:ea typeface="+mn-ea"/>
                </a:rPr>
                <a:t>持续开展项目</a:t>
              </a:r>
              <a:endParaRPr lang="en-US" sz="1225" dirty="0">
                <a:ea typeface="+mn-ea"/>
              </a:endParaRPr>
            </a:p>
          </p:txBody>
        </p:sp>
        <p:sp>
          <p:nvSpPr>
            <p:cNvPr id="201" name="Rectangle 14"/>
            <p:cNvSpPr txBox="1"/>
            <p:nvPr/>
          </p:nvSpPr>
          <p:spPr>
            <a:xfrm>
              <a:off x="2703233" y="3981990"/>
              <a:ext cx="3985921"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dirty="0">
                  <a:ea typeface="+mn-ea"/>
                </a:rPr>
                <a:t>探索开放式资金池及产业基金业务模式</a:t>
              </a:r>
              <a:endParaRPr lang="en-US" altLang="zh-CN" sz="1225" dirty="0">
                <a:ea typeface="+mn-ea"/>
              </a:endParaRPr>
            </a:p>
          </p:txBody>
        </p:sp>
        <p:sp>
          <p:nvSpPr>
            <p:cNvPr id="202" name="Isosceles Triangle 117"/>
            <p:cNvSpPr/>
            <p:nvPr/>
          </p:nvSpPr>
          <p:spPr bwMode="gray">
            <a:xfrm>
              <a:off x="7039602" y="4157943"/>
              <a:ext cx="176785" cy="169011"/>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203" name="Rectangle 14"/>
            <p:cNvSpPr txBox="1"/>
            <p:nvPr/>
          </p:nvSpPr>
          <p:spPr>
            <a:xfrm>
              <a:off x="6000585" y="4162181"/>
              <a:ext cx="1252448"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试点项目成立</a:t>
              </a:r>
              <a:endParaRPr lang="en-US" sz="1225" dirty="0">
                <a:ea typeface="+mn-ea"/>
              </a:endParaRPr>
            </a:p>
          </p:txBody>
        </p:sp>
        <p:sp>
          <p:nvSpPr>
            <p:cNvPr id="204" name="Pentagon 133"/>
            <p:cNvSpPr/>
            <p:nvPr/>
          </p:nvSpPr>
          <p:spPr>
            <a:xfrm>
              <a:off x="2683683" y="4406178"/>
              <a:ext cx="3380088"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207" name="Rectangle 14"/>
            <p:cNvSpPr txBox="1"/>
            <p:nvPr/>
          </p:nvSpPr>
          <p:spPr>
            <a:xfrm>
              <a:off x="2697839" y="4429468"/>
              <a:ext cx="3985921"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dirty="0">
                  <a:ea typeface="+mn-ea"/>
                </a:rPr>
                <a:t>建立集团内部合作机制</a:t>
              </a:r>
              <a:endParaRPr lang="en-US" sz="1225" dirty="0">
                <a:ea typeface="+mn-ea"/>
              </a:endParaRPr>
            </a:p>
          </p:txBody>
        </p:sp>
        <p:sp>
          <p:nvSpPr>
            <p:cNvPr id="208" name="Rectangle 14"/>
            <p:cNvSpPr txBox="1"/>
            <p:nvPr/>
          </p:nvSpPr>
          <p:spPr>
            <a:xfrm>
              <a:off x="4201917" y="4579400"/>
              <a:ext cx="1252448" cy="18838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确定初步合作模式</a:t>
              </a:r>
              <a:endParaRPr lang="en-US" sz="1225" dirty="0">
                <a:ea typeface="+mn-ea"/>
              </a:endParaRPr>
            </a:p>
          </p:txBody>
        </p:sp>
        <p:sp>
          <p:nvSpPr>
            <p:cNvPr id="209" name="Isosceles Triangle 107"/>
            <p:cNvSpPr/>
            <p:nvPr/>
          </p:nvSpPr>
          <p:spPr bwMode="gray">
            <a:xfrm>
              <a:off x="5459361" y="4585118"/>
              <a:ext cx="176785" cy="154501"/>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210" name="Rectangle 14"/>
            <p:cNvSpPr txBox="1"/>
            <p:nvPr/>
          </p:nvSpPr>
          <p:spPr>
            <a:xfrm>
              <a:off x="6185315" y="4423453"/>
              <a:ext cx="2894067"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与集团合作开展非标业务</a:t>
              </a:r>
              <a:endParaRPr lang="en-US" sz="1225" dirty="0">
                <a:ea typeface="+mn-ea"/>
              </a:endParaRPr>
            </a:p>
          </p:txBody>
        </p:sp>
        <p:sp>
          <p:nvSpPr>
            <p:cNvPr id="211" name="Isosceles Triangle 117"/>
            <p:cNvSpPr/>
            <p:nvPr/>
          </p:nvSpPr>
          <p:spPr bwMode="gray">
            <a:xfrm>
              <a:off x="9986810" y="4539479"/>
              <a:ext cx="176785" cy="154270"/>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212" name="Rectangle 14"/>
            <p:cNvSpPr txBox="1"/>
            <p:nvPr/>
          </p:nvSpPr>
          <p:spPr>
            <a:xfrm>
              <a:off x="9035716" y="4539479"/>
              <a:ext cx="1252448"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成功合作项目</a:t>
              </a:r>
              <a:endParaRPr lang="en-US" sz="1225" dirty="0">
                <a:ea typeface="+mn-ea"/>
              </a:endParaRPr>
            </a:p>
          </p:txBody>
        </p:sp>
        <p:sp>
          <p:nvSpPr>
            <p:cNvPr id="244" name="Pentagon 80"/>
            <p:cNvSpPr/>
            <p:nvPr/>
          </p:nvSpPr>
          <p:spPr>
            <a:xfrm>
              <a:off x="5336034" y="3516819"/>
              <a:ext cx="4891071" cy="367301"/>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245" name="Pentagon 80"/>
            <p:cNvSpPr/>
            <p:nvPr/>
          </p:nvSpPr>
          <p:spPr>
            <a:xfrm>
              <a:off x="5747029" y="3111908"/>
              <a:ext cx="4480076"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246" name="Pentagon 81"/>
            <p:cNvSpPr/>
            <p:nvPr/>
          </p:nvSpPr>
          <p:spPr>
            <a:xfrm>
              <a:off x="2665343" y="3111912"/>
              <a:ext cx="4836729"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247" name="Rectangle 14"/>
            <p:cNvSpPr txBox="1"/>
            <p:nvPr/>
          </p:nvSpPr>
          <p:spPr>
            <a:xfrm>
              <a:off x="7894829" y="3135735"/>
              <a:ext cx="1874593"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dirty="0">
                  <a:ea typeface="+mn-ea"/>
                </a:rPr>
                <a:t>持续开展项目</a:t>
              </a:r>
              <a:endParaRPr lang="en-US" sz="1225" dirty="0">
                <a:ea typeface="+mn-ea"/>
              </a:endParaRPr>
            </a:p>
          </p:txBody>
        </p:sp>
        <p:sp>
          <p:nvSpPr>
            <p:cNvPr id="248" name="Rectangle 14"/>
            <p:cNvSpPr txBox="1"/>
            <p:nvPr/>
          </p:nvSpPr>
          <p:spPr>
            <a:xfrm>
              <a:off x="2691692" y="3092621"/>
              <a:ext cx="3985921"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dirty="0">
                  <a:ea typeface="+mn-ea"/>
                </a:rPr>
                <a:t>探索开放式资金池及产业基金业务模式</a:t>
              </a:r>
              <a:endParaRPr lang="en-US" altLang="zh-CN" sz="1225" dirty="0">
                <a:ea typeface="+mn-ea"/>
              </a:endParaRPr>
            </a:p>
          </p:txBody>
        </p:sp>
        <p:sp>
          <p:nvSpPr>
            <p:cNvPr id="249" name="Isosceles Triangle 117"/>
            <p:cNvSpPr/>
            <p:nvPr/>
          </p:nvSpPr>
          <p:spPr bwMode="gray">
            <a:xfrm>
              <a:off x="7028061" y="3268574"/>
              <a:ext cx="176785" cy="169011"/>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250" name="Rectangle 14"/>
            <p:cNvSpPr txBox="1"/>
            <p:nvPr/>
          </p:nvSpPr>
          <p:spPr>
            <a:xfrm>
              <a:off x="5989044" y="3272812"/>
              <a:ext cx="1252448"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试点项目成立</a:t>
              </a:r>
              <a:endParaRPr lang="en-US" sz="1225" dirty="0">
                <a:ea typeface="+mn-ea"/>
              </a:endParaRPr>
            </a:p>
          </p:txBody>
        </p:sp>
        <p:sp>
          <p:nvSpPr>
            <p:cNvPr id="251" name="Pentagon 133"/>
            <p:cNvSpPr/>
            <p:nvPr/>
          </p:nvSpPr>
          <p:spPr>
            <a:xfrm>
              <a:off x="2672142" y="3516809"/>
              <a:ext cx="3380088"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254" name="Rectangle 14"/>
            <p:cNvSpPr txBox="1"/>
            <p:nvPr/>
          </p:nvSpPr>
          <p:spPr>
            <a:xfrm>
              <a:off x="2686298" y="3540099"/>
              <a:ext cx="3985921"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建立集团内部合作机制</a:t>
              </a:r>
              <a:endParaRPr lang="en-US" sz="1225" dirty="0">
                <a:ea typeface="+mn-ea"/>
              </a:endParaRPr>
            </a:p>
          </p:txBody>
        </p:sp>
        <p:sp>
          <p:nvSpPr>
            <p:cNvPr id="255" name="Rectangle 14"/>
            <p:cNvSpPr txBox="1"/>
            <p:nvPr/>
          </p:nvSpPr>
          <p:spPr>
            <a:xfrm>
              <a:off x="4190376" y="3690031"/>
              <a:ext cx="1252448" cy="18838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确定初步合作模式</a:t>
              </a:r>
              <a:endParaRPr lang="en-US" sz="1225" dirty="0">
                <a:ea typeface="+mn-ea"/>
              </a:endParaRPr>
            </a:p>
          </p:txBody>
        </p:sp>
        <p:sp>
          <p:nvSpPr>
            <p:cNvPr id="256" name="Isosceles Triangle 107"/>
            <p:cNvSpPr/>
            <p:nvPr/>
          </p:nvSpPr>
          <p:spPr bwMode="gray">
            <a:xfrm>
              <a:off x="5447821" y="3695749"/>
              <a:ext cx="176785" cy="154501"/>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257" name="Rectangle 14"/>
            <p:cNvSpPr txBox="1"/>
            <p:nvPr/>
          </p:nvSpPr>
          <p:spPr>
            <a:xfrm>
              <a:off x="6173774" y="3534084"/>
              <a:ext cx="2894067"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与集团合作开展非标业务</a:t>
              </a:r>
              <a:endParaRPr lang="en-US" sz="1225" dirty="0">
                <a:ea typeface="+mn-ea"/>
              </a:endParaRPr>
            </a:p>
          </p:txBody>
        </p:sp>
        <p:sp>
          <p:nvSpPr>
            <p:cNvPr id="258" name="Isosceles Triangle 117"/>
            <p:cNvSpPr/>
            <p:nvPr/>
          </p:nvSpPr>
          <p:spPr bwMode="gray">
            <a:xfrm>
              <a:off x="9975269" y="3650110"/>
              <a:ext cx="176785" cy="154270"/>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259" name="Rectangle 14"/>
            <p:cNvSpPr txBox="1"/>
            <p:nvPr/>
          </p:nvSpPr>
          <p:spPr>
            <a:xfrm>
              <a:off x="9024175" y="3650110"/>
              <a:ext cx="1252448"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成功合作项目</a:t>
              </a:r>
              <a:endParaRPr lang="en-US" sz="1225" dirty="0">
                <a:ea typeface="+mn-ea"/>
              </a:endParaRPr>
            </a:p>
          </p:txBody>
        </p:sp>
        <p:sp>
          <p:nvSpPr>
            <p:cNvPr id="265" name="Line 19"/>
            <p:cNvSpPr>
              <a:spLocks noChangeShapeType="1"/>
            </p:cNvSpPr>
            <p:nvPr/>
          </p:nvSpPr>
          <p:spPr bwMode="gray">
            <a:xfrm>
              <a:off x="2687787" y="3946507"/>
              <a:ext cx="7705351" cy="0"/>
            </a:xfrm>
            <a:prstGeom prst="line">
              <a:avLst/>
            </a:prstGeom>
            <a:noFill/>
            <a:ln w="19050">
              <a:solidFill>
                <a:srgbClr val="808080"/>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3287" tIns="46644" rIns="93287" bIns="46644" anchor="ctr">
              <a:spAutoFit/>
            </a:bodyPr>
            <a:lstStyle/>
            <a:p>
              <a:endParaRPr lang="en-US" sz="1835"/>
            </a:p>
          </p:txBody>
        </p:sp>
        <p:sp>
          <p:nvSpPr>
            <p:cNvPr id="94" name="Line 19"/>
            <p:cNvSpPr>
              <a:spLocks noChangeShapeType="1"/>
            </p:cNvSpPr>
            <p:nvPr/>
          </p:nvSpPr>
          <p:spPr bwMode="gray">
            <a:xfrm>
              <a:off x="2687787" y="3056207"/>
              <a:ext cx="7705351" cy="0"/>
            </a:xfrm>
            <a:prstGeom prst="line">
              <a:avLst/>
            </a:prstGeom>
            <a:noFill/>
            <a:ln w="19050">
              <a:solidFill>
                <a:srgbClr val="808080"/>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3287" tIns="46644" rIns="93287" bIns="46644" anchor="ctr">
              <a:spAutoFit/>
            </a:bodyPr>
            <a:lstStyle/>
            <a:p>
              <a:endParaRPr lang="en-US" sz="1835"/>
            </a:p>
          </p:txBody>
        </p:sp>
        <p:sp>
          <p:nvSpPr>
            <p:cNvPr id="95" name="Pentagon 80"/>
            <p:cNvSpPr/>
            <p:nvPr/>
          </p:nvSpPr>
          <p:spPr>
            <a:xfrm>
              <a:off x="5374717" y="5313628"/>
              <a:ext cx="4891071" cy="367301"/>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97" name="Pentagon 80"/>
            <p:cNvSpPr/>
            <p:nvPr/>
          </p:nvSpPr>
          <p:spPr>
            <a:xfrm>
              <a:off x="5785712" y="4908716"/>
              <a:ext cx="4480076"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98" name="Pentagon 81"/>
            <p:cNvSpPr/>
            <p:nvPr/>
          </p:nvSpPr>
          <p:spPr>
            <a:xfrm>
              <a:off x="2704026" y="4908720"/>
              <a:ext cx="4836729"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99" name="Rectangle 14"/>
            <p:cNvSpPr txBox="1"/>
            <p:nvPr/>
          </p:nvSpPr>
          <p:spPr>
            <a:xfrm>
              <a:off x="7933512" y="4932543"/>
              <a:ext cx="1874593"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dirty="0">
                  <a:ea typeface="+mn-ea"/>
                </a:rPr>
                <a:t>持续开展项目</a:t>
              </a:r>
              <a:endParaRPr lang="en-US" sz="1225" dirty="0">
                <a:ea typeface="+mn-ea"/>
              </a:endParaRPr>
            </a:p>
          </p:txBody>
        </p:sp>
        <p:sp>
          <p:nvSpPr>
            <p:cNvPr id="101" name="Rectangle 14"/>
            <p:cNvSpPr txBox="1"/>
            <p:nvPr/>
          </p:nvSpPr>
          <p:spPr>
            <a:xfrm>
              <a:off x="2730375" y="4889430"/>
              <a:ext cx="3985921"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dirty="0">
                  <a:ea typeface="+mn-ea"/>
                </a:rPr>
                <a:t>探索开放式资金池及产业基金业务模式</a:t>
              </a:r>
              <a:endParaRPr lang="en-US" altLang="zh-CN" sz="1225" dirty="0">
                <a:ea typeface="+mn-ea"/>
              </a:endParaRPr>
            </a:p>
          </p:txBody>
        </p:sp>
        <p:sp>
          <p:nvSpPr>
            <p:cNvPr id="103" name="Isosceles Triangle 117"/>
            <p:cNvSpPr/>
            <p:nvPr/>
          </p:nvSpPr>
          <p:spPr bwMode="gray">
            <a:xfrm>
              <a:off x="7066744" y="5065383"/>
              <a:ext cx="176785" cy="169011"/>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104" name="Rectangle 14"/>
            <p:cNvSpPr txBox="1"/>
            <p:nvPr/>
          </p:nvSpPr>
          <p:spPr>
            <a:xfrm>
              <a:off x="6027727" y="5069621"/>
              <a:ext cx="1252448"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试点项目成立</a:t>
              </a:r>
              <a:endParaRPr lang="en-US" sz="1225" dirty="0">
                <a:ea typeface="+mn-ea"/>
              </a:endParaRPr>
            </a:p>
          </p:txBody>
        </p:sp>
        <p:sp>
          <p:nvSpPr>
            <p:cNvPr id="106" name="Pentagon 133"/>
            <p:cNvSpPr/>
            <p:nvPr/>
          </p:nvSpPr>
          <p:spPr>
            <a:xfrm>
              <a:off x="2710825" y="5313618"/>
              <a:ext cx="3380088" cy="367310"/>
            </a:xfrm>
            <a:prstGeom prst="homePlate">
              <a:avLst/>
            </a:prstGeom>
            <a:solidFill>
              <a:srgbClr val="FFC3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endParaRPr>
            </a:p>
          </p:txBody>
        </p:sp>
        <p:sp>
          <p:nvSpPr>
            <p:cNvPr id="107" name="Rectangle 14"/>
            <p:cNvSpPr txBox="1"/>
            <p:nvPr/>
          </p:nvSpPr>
          <p:spPr>
            <a:xfrm>
              <a:off x="2724981" y="5336908"/>
              <a:ext cx="3985921"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建立集团内部合作机制</a:t>
              </a:r>
              <a:endParaRPr lang="en-US" sz="1225" dirty="0">
                <a:ea typeface="+mn-ea"/>
              </a:endParaRPr>
            </a:p>
          </p:txBody>
        </p:sp>
        <p:sp>
          <p:nvSpPr>
            <p:cNvPr id="108" name="Rectangle 14"/>
            <p:cNvSpPr txBox="1"/>
            <p:nvPr/>
          </p:nvSpPr>
          <p:spPr>
            <a:xfrm>
              <a:off x="4229060" y="5486840"/>
              <a:ext cx="1252448" cy="18838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确定初步合作模式</a:t>
              </a:r>
              <a:endParaRPr lang="en-US" sz="1225" dirty="0">
                <a:ea typeface="+mn-ea"/>
              </a:endParaRPr>
            </a:p>
          </p:txBody>
        </p:sp>
        <p:sp>
          <p:nvSpPr>
            <p:cNvPr id="112" name="Isosceles Triangle 107"/>
            <p:cNvSpPr/>
            <p:nvPr/>
          </p:nvSpPr>
          <p:spPr bwMode="gray">
            <a:xfrm>
              <a:off x="5486504" y="5492557"/>
              <a:ext cx="176785" cy="154501"/>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113" name="Rectangle 14"/>
            <p:cNvSpPr txBox="1"/>
            <p:nvPr/>
          </p:nvSpPr>
          <p:spPr>
            <a:xfrm>
              <a:off x="6212458" y="5330892"/>
              <a:ext cx="2894067"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与集团合作开展非标业务</a:t>
              </a:r>
              <a:endParaRPr lang="en-US" sz="1225" dirty="0">
                <a:ea typeface="+mn-ea"/>
              </a:endParaRPr>
            </a:p>
          </p:txBody>
        </p:sp>
        <p:sp>
          <p:nvSpPr>
            <p:cNvPr id="114" name="Isosceles Triangle 117"/>
            <p:cNvSpPr/>
            <p:nvPr/>
          </p:nvSpPr>
          <p:spPr bwMode="gray">
            <a:xfrm>
              <a:off x="10013952" y="5446919"/>
              <a:ext cx="176785" cy="154270"/>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2"/>
                </a:buClr>
              </a:pPr>
              <a:endParaRPr lang="en-US" sz="1120" dirty="0" err="1">
                <a:solidFill>
                  <a:schemeClr val="tx1"/>
                </a:solidFill>
              </a:endParaRPr>
            </a:p>
          </p:txBody>
        </p:sp>
        <p:sp>
          <p:nvSpPr>
            <p:cNvPr id="115" name="Rectangle 14"/>
            <p:cNvSpPr txBox="1"/>
            <p:nvPr/>
          </p:nvSpPr>
          <p:spPr>
            <a:xfrm>
              <a:off x="9062858" y="5446919"/>
              <a:ext cx="1252448" cy="19221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225">
                  <a:ea typeface="+mn-ea"/>
                </a:rPr>
                <a:t>成功合作项目</a:t>
              </a:r>
              <a:endParaRPr lang="en-US" sz="1225" dirty="0">
                <a:ea typeface="+mn-ea"/>
              </a:endParaRPr>
            </a:p>
          </p:txBody>
        </p:sp>
        <p:sp>
          <p:nvSpPr>
            <p:cNvPr id="117" name="Line 19"/>
            <p:cNvSpPr>
              <a:spLocks noChangeShapeType="1"/>
            </p:cNvSpPr>
            <p:nvPr/>
          </p:nvSpPr>
          <p:spPr bwMode="gray">
            <a:xfrm>
              <a:off x="2714929" y="4853947"/>
              <a:ext cx="7705351" cy="0"/>
            </a:xfrm>
            <a:prstGeom prst="line">
              <a:avLst/>
            </a:prstGeom>
            <a:noFill/>
            <a:ln w="19050">
              <a:solidFill>
                <a:srgbClr val="808080"/>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3287" tIns="46644" rIns="93287" bIns="46644" anchor="ctr">
              <a:spAutoFit/>
            </a:bodyPr>
            <a:lstStyle/>
            <a:p>
              <a:endParaRPr lang="en-US" sz="1835"/>
            </a:p>
          </p:txBody>
        </p:sp>
      </p:grpSp>
      <p:sp>
        <p:nvSpPr>
          <p:cNvPr id="120"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t>工作</a:t>
            </a:r>
            <a:r>
              <a:rPr lang="zh-CN" altLang="en-US" sz="2400" dirty="0"/>
              <a:t>计划时间表：展示项目的关键工作计划进度</a:t>
            </a:r>
            <a:endParaRPr lang="zh-CN" altLang="en-US" sz="2400" dirty="0">
              <a:solidFill>
                <a:prstClr val="black"/>
              </a:solidFill>
              <a:latin typeface="华文楷体" panose="02010600040101010101" charset="-122"/>
            </a:endParaRPr>
          </a:p>
        </p:txBody>
      </p:sp>
      <p:pic>
        <p:nvPicPr>
          <p:cNvPr id="89" name="图片 8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389467" y="740093"/>
            <a:ext cx="11688204" cy="5505039"/>
            <a:chOff x="389467" y="558059"/>
            <a:chExt cx="11688204" cy="5687076"/>
          </a:xfrm>
        </p:grpSpPr>
        <p:sp>
          <p:nvSpPr>
            <p:cNvPr id="22" name="Rectangle 8"/>
            <p:cNvSpPr txBox="1"/>
            <p:nvPr/>
          </p:nvSpPr>
          <p:spPr>
            <a:xfrm>
              <a:off x="9479438" y="558059"/>
              <a:ext cx="2598233" cy="254690"/>
            </a:xfrm>
            <a:prstGeom prst="rect">
              <a:avLst/>
            </a:prstGeom>
            <a:noFill/>
            <a:ln w="9525">
              <a:noFill/>
              <a:miter lim="800000"/>
            </a:ln>
            <a:effectLst/>
          </p:spPr>
          <p:txBody>
            <a:bodyPr vert="horz" wrap="square" lIns="38874" tIns="38874" rIns="38874" bIns="38874"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0" marR="0" lvl="0" indent="0" algn="l" defTabSz="913765" rtl="0" eaLnBrk="1" fontAlgn="base" latinLnBrk="0" hangingPunct="1">
                <a:lnSpc>
                  <a:spcPct val="100000"/>
                </a:lnSpc>
                <a:spcBef>
                  <a:spcPct val="0"/>
                </a:spcBef>
                <a:spcAft>
                  <a:spcPct val="0"/>
                </a:spcAft>
                <a:buClr>
                  <a:srgbClr val="002960"/>
                </a:buClr>
                <a:buSzTx/>
                <a:buFontTx/>
                <a:buNone/>
                <a:defRPr/>
              </a:pPr>
              <a:r>
                <a:rPr kumimoji="0" lang="zh-CN" altLang="en-US" sz="1120" b="0"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rPr>
                <a:t>负责更新</a:t>
              </a:r>
              <a:r>
                <a:rPr kumimoji="0" lang="en-US" altLang="zh-CN" sz="1120" b="0"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rPr>
                <a:t>: xx</a:t>
              </a:r>
              <a:r>
                <a:rPr kumimoji="0" lang="zh-CN" altLang="en-US" sz="1120" b="0"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rPr>
                <a:t>代表</a:t>
              </a:r>
              <a:r>
                <a:rPr kumimoji="0" lang="zh-CN" altLang="en-US" sz="1120" b="1"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rPr>
                <a:t> </a:t>
              </a:r>
              <a:r>
                <a:rPr kumimoji="0" lang="en-US" altLang="zh-CN" sz="1120" b="1"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rPr>
                <a:t>; </a:t>
              </a:r>
              <a:r>
                <a:rPr kumimoji="0" lang="zh-CN" altLang="en-US" sz="1120" b="0"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rPr>
                <a:t>最新更新</a:t>
              </a:r>
              <a:r>
                <a:rPr kumimoji="0" lang="en-US" altLang="zh-CN" sz="1120" b="0"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rPr>
                <a:t>: </a:t>
              </a:r>
              <a:r>
                <a:rPr kumimoji="0" lang="en-US" altLang="zh-CN" sz="1120" b="1"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rPr>
                <a:t>X</a:t>
              </a:r>
              <a:r>
                <a:rPr kumimoji="0" lang="zh-CN" altLang="en-US" sz="1120" b="1"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rPr>
                <a:t>月</a:t>
              </a:r>
              <a:r>
                <a:rPr kumimoji="0" lang="en-US" altLang="zh-CN" sz="1120" b="1"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rPr>
                <a:t>X</a:t>
              </a:r>
              <a:r>
                <a:rPr kumimoji="0" lang="zh-CN" altLang="en-US" sz="1120" b="1"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rPr>
                <a:t>日</a:t>
              </a:r>
              <a:endParaRPr kumimoji="0" lang="en-US" sz="1120" b="1" i="0" u="none" strike="noStrike" kern="1200" cap="none" spc="0" normalizeH="0" baseline="0" noProof="0" dirty="0">
                <a:ln>
                  <a:noFill/>
                </a:ln>
                <a:solidFill>
                  <a:schemeClr val="accent1"/>
                </a:solidFill>
                <a:effectLst/>
                <a:uLnTx/>
                <a:uFillTx/>
                <a:latin typeface="Arial" panose="020B0604020202020204"/>
                <a:ea typeface="楷体" panose="02010609060101010101" pitchFamily="49" charset="-122"/>
                <a:cs typeface="+mn-cs"/>
              </a:endParaRPr>
            </a:p>
          </p:txBody>
        </p:sp>
        <p:sp>
          <p:nvSpPr>
            <p:cNvPr id="21" name="Rectangle 78"/>
            <p:cNvSpPr/>
            <p:nvPr/>
          </p:nvSpPr>
          <p:spPr>
            <a:xfrm>
              <a:off x="389467" y="892738"/>
              <a:ext cx="11497733" cy="5352397"/>
            </a:xfrm>
            <a:prstGeom prst="rect">
              <a:avLst/>
            </a:prstGeom>
            <a:noFill/>
            <a:ln w="19050" cap="flat" cmpd="sng" algn="ctr">
              <a:solidFill>
                <a:schemeClr val="accent1"/>
              </a:solid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32815" rtl="0" eaLnBrk="1" fontAlgn="base" latinLnBrk="0" hangingPunct="1">
                <a:lnSpc>
                  <a:spcPct val="100000"/>
                </a:lnSpc>
                <a:spcBef>
                  <a:spcPct val="0"/>
                </a:spcBef>
                <a:spcAft>
                  <a:spcPct val="0"/>
                </a:spcAft>
                <a:buClrTx/>
                <a:buSzTx/>
                <a:buFontTx/>
                <a:buNone/>
                <a:defRPr/>
              </a:pPr>
              <a:endParaRPr kumimoji="0" lang="en-US"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endParaRPr>
            </a:p>
          </p:txBody>
        </p:sp>
        <p:sp>
          <p:nvSpPr>
            <p:cNvPr id="4" name="Rectangle 3"/>
            <p:cNvSpPr>
              <a:spLocks noChangeArrowheads="1"/>
            </p:cNvSpPr>
            <p:nvPr/>
          </p:nvSpPr>
          <p:spPr bwMode="gray">
            <a:xfrm>
              <a:off x="476102" y="953930"/>
              <a:ext cx="5628365" cy="1659209"/>
            </a:xfrm>
            <a:prstGeom prst="rect">
              <a:avLst/>
            </a:prstGeom>
            <a:solidFill>
              <a:schemeClr val="bg1"/>
            </a:solidFill>
            <a:ln w="19050" algn="ctr">
              <a:solidFill>
                <a:schemeClr val="accent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7" tIns="46644" rIns="93287" bIns="46644" anchor="ctr"/>
            <a:lstStyle>
              <a:lvl1pPr marL="342900" indent="-342900" algn="l" defTabSz="895350" eaLnBrk="0" hangingPunct="0">
                <a:buClr>
                  <a:schemeClr val="tx2"/>
                </a:buClr>
                <a:defRPr sz="1600">
                  <a:solidFill>
                    <a:schemeClr val="tx1"/>
                  </a:solidFill>
                  <a:latin typeface="Arial" panose="020B0604020202020204" pitchFamily="34" charset="0"/>
                </a:defRPr>
              </a:lvl1pPr>
              <a:lvl2pPr marL="742950" indent="-741680"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9480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1141730"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1441450"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349885" marR="0" lvl="0" indent="-349885" algn="ctr" defTabSz="913765" rtl="0" eaLnBrk="1" fontAlgn="base" latinLnBrk="0" hangingPunct="1">
                <a:lnSpc>
                  <a:spcPct val="100000"/>
                </a:lnSpc>
                <a:spcBef>
                  <a:spcPct val="0"/>
                </a:spcBef>
                <a:spcAft>
                  <a:spcPct val="0"/>
                </a:spcAft>
                <a:buClrTx/>
                <a:buSzTx/>
                <a:buFontTx/>
                <a:buNone/>
                <a:defRPr/>
              </a:pPr>
              <a:endParaRPr kumimoji="0" lang="en-US" sz="122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6" name="Rectangle 5"/>
            <p:cNvSpPr>
              <a:spLocks noChangeArrowheads="1"/>
            </p:cNvSpPr>
            <p:nvPr/>
          </p:nvSpPr>
          <p:spPr bwMode="gray">
            <a:xfrm>
              <a:off x="476102" y="2696068"/>
              <a:ext cx="5628365" cy="3477798"/>
            </a:xfrm>
            <a:prstGeom prst="rect">
              <a:avLst/>
            </a:prstGeom>
            <a:solidFill>
              <a:schemeClr val="bg1"/>
            </a:solidFill>
            <a:ln w="19050" algn="ctr">
              <a:solidFill>
                <a:schemeClr val="accent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7" tIns="46644" rIns="93287" bIns="46644" anchor="ctr"/>
            <a:lstStyle/>
            <a:p>
              <a:pPr marL="349885" marR="0" lvl="0" indent="-349885" algn="ctr" defTabSz="913765" rtl="0" eaLnBrk="1" fontAlgn="base" latinLnBrk="0" hangingPunct="1">
                <a:lnSpc>
                  <a:spcPct val="100000"/>
                </a:lnSpc>
                <a:spcBef>
                  <a:spcPct val="0"/>
                </a:spcBef>
                <a:spcAft>
                  <a:spcPct val="0"/>
                </a:spcAft>
                <a:buClrTx/>
                <a:buSzTx/>
                <a:buFontTx/>
                <a:buNone/>
                <a:defRPr/>
              </a:pPr>
              <a:endParaRPr kumimoji="0" lang="en-US" sz="1225"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Arial" panose="020B0604020202020204"/>
                <a:ea typeface="楷体" panose="02010609060101010101" pitchFamily="49" charset="-122"/>
                <a:cs typeface="+mn-cs"/>
              </a:endParaRPr>
            </a:p>
          </p:txBody>
        </p:sp>
        <p:sp>
          <p:nvSpPr>
            <p:cNvPr id="7" name="Rectangle 7"/>
            <p:cNvSpPr>
              <a:spLocks noChangeArrowheads="1"/>
            </p:cNvSpPr>
            <p:nvPr/>
          </p:nvSpPr>
          <p:spPr bwMode="gray">
            <a:xfrm>
              <a:off x="558954" y="1283204"/>
              <a:ext cx="5397113" cy="895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背景</a:t>
              </a:r>
              <a:r>
                <a:rPr kumimoji="0" lang="zh-CN" altLang="en-US" sz="1225" b="1"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a:t>
              </a:r>
              <a:r>
                <a:rPr kumimoji="0" lang="en-US" altLang="zh-CN" sz="1225"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 </a:t>
              </a:r>
              <a:r>
                <a:rPr kumimoji="0" lang="en-US" altLang="zh-CN" sz="1225" b="0" i="0" u="none" strike="noStrike" kern="1200" cap="none" spc="0" normalizeH="0" baseline="0" noProof="0" dirty="0" err="1" smtClean="0">
                  <a:ln>
                    <a:noFill/>
                  </a:ln>
                  <a:solidFill>
                    <a:srgbClr val="000000"/>
                  </a:solidFill>
                  <a:effectLst/>
                  <a:uLnTx/>
                  <a:uFillTx/>
                  <a:latin typeface="Arial" panose="020B0604020202020204"/>
                  <a:ea typeface="楷体" panose="02010609060101010101" pitchFamily="49" charset="-122"/>
                  <a:cs typeface="+mn-cs"/>
                </a:rPr>
                <a:t>xxxxxxxx</a:t>
              </a:r>
              <a:endParaRPr kumimoji="0" lang="en-US" altLang="zh-CN" sz="1225"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endParaRPr lang="en-US" altLang="zh-CN" sz="1225" dirty="0">
                <a:solidFill>
                  <a:srgbClr val="000000"/>
                </a:solidFill>
                <a:latin typeface="Arial" panose="020B0604020202020204"/>
                <a:ea typeface="楷体" panose="02010609060101010101" pitchFamily="49" charset="-122"/>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endPar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20015" marR="0" lvl="1" indent="-1200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目标或成功的定义</a:t>
              </a:r>
              <a:r>
                <a:rPr kumimoji="0" lang="zh-CN" altLang="en-US" sz="1225" b="1"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a:t>
              </a:r>
              <a:r>
                <a:rPr lang="en-US" altLang="zh-CN" sz="1225" noProof="0" dirty="0" smtClean="0">
                  <a:solidFill>
                    <a:srgbClr val="000000"/>
                  </a:solidFill>
                  <a:latin typeface="Arial" panose="020B0604020202020204"/>
                  <a:ea typeface="楷体" panose="02010609060101010101" pitchFamily="49" charset="-122"/>
                </a:rPr>
                <a:t>xxx</a:t>
              </a:r>
              <a:endParaRPr kumimoji="0" lang="en-US" altLang="zh-CN" sz="1225"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endParaRPr>
            </a:p>
          </p:txBody>
        </p:sp>
        <p:sp>
          <p:nvSpPr>
            <p:cNvPr id="8" name="Rectangle 9"/>
            <p:cNvSpPr>
              <a:spLocks noChangeArrowheads="1"/>
            </p:cNvSpPr>
            <p:nvPr/>
          </p:nvSpPr>
          <p:spPr bwMode="gray">
            <a:xfrm>
              <a:off x="476102" y="953929"/>
              <a:ext cx="5628365" cy="287916"/>
            </a:xfrm>
            <a:prstGeom prst="rect">
              <a:avLst/>
            </a:prstGeom>
            <a:solidFill>
              <a:srgbClr val="FE5817"/>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4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10" name="Rectangle 11"/>
            <p:cNvSpPr>
              <a:spLocks noChangeArrowheads="1"/>
            </p:cNvSpPr>
            <p:nvPr/>
          </p:nvSpPr>
          <p:spPr bwMode="gray">
            <a:xfrm>
              <a:off x="595542" y="5197597"/>
              <a:ext cx="5397113" cy="428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在</a:t>
              </a:r>
              <a:r>
                <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5</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个城市进行十点</a:t>
              </a:r>
              <a:r>
                <a:rPr kumimoji="0" lang="zh-CN" altLang="en-US" sz="1225"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a:t>
              </a:r>
              <a:r>
                <a:rPr kumimoji="0" lang="en-US" altLang="zh-CN" sz="1225"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xxx</a:t>
              </a:r>
              <a:r>
                <a:rPr kumimoji="0" lang="zh-CN" altLang="en-US" sz="1225"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201</a:t>
              </a:r>
              <a:r>
                <a:rPr kumimoji="0" lang="en-SG"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预计人数：</a:t>
              </a:r>
              <a:r>
                <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第二阶段增加</a:t>
              </a:r>
              <a:r>
                <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4</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个城市</a:t>
              </a:r>
              <a:r>
                <a:rPr kumimoji="0" lang="zh-CN" altLang="en-US" sz="1225"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a:t>
              </a:r>
              <a:r>
                <a:rPr kumimoji="0" lang="en-US" altLang="zh-CN" sz="1225"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xxx</a:t>
              </a:r>
              <a:r>
                <a:rPr kumimoji="0" lang="zh-CN" altLang="en-US" sz="1225"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201</a:t>
              </a:r>
              <a:r>
                <a:rPr kumimoji="0" lang="en-SG"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预计人数：</a:t>
              </a:r>
              <a:r>
                <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11" name="Rectangle 12"/>
            <p:cNvSpPr>
              <a:spLocks noChangeArrowheads="1"/>
            </p:cNvSpPr>
            <p:nvPr/>
          </p:nvSpPr>
          <p:spPr bwMode="gray">
            <a:xfrm>
              <a:off x="476102" y="2696068"/>
              <a:ext cx="5628365" cy="287917"/>
            </a:xfrm>
            <a:prstGeom prst="rect">
              <a:avLst/>
            </a:prstGeom>
            <a:solidFill>
              <a:srgbClr val="FE5817"/>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zh-CN" sz="1400" b="1" dirty="0">
                <a:solidFill>
                  <a:prstClr val="white"/>
                </a:solidFill>
                <a:latin typeface="华文楷体" panose="02010600040101010101" charset="-122"/>
                <a:ea typeface="华文楷体" panose="02010600040101010101" charset="-122"/>
              </a:endParaRPr>
            </a:p>
          </p:txBody>
        </p:sp>
        <p:sp>
          <p:nvSpPr>
            <p:cNvPr id="17" name="McK 4. Footnote"/>
            <p:cNvSpPr txBox="1">
              <a:spLocks noChangeArrowheads="1"/>
            </p:cNvSpPr>
            <p:nvPr>
              <p:custDataLst>
                <p:tags r:id="rId1"/>
              </p:custDataLst>
            </p:nvPr>
          </p:nvSpPr>
          <p:spPr bwMode="auto">
            <a:xfrm>
              <a:off x="558953" y="1020489"/>
              <a:ext cx="583836" cy="154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oAutofit/>
            </a:bodyPr>
            <a:lstStyle>
              <a:lvl1pPr marL="104775" indent="-104775" algn="l" defTabSz="895350" eaLnBrk="0" hangingPunct="0">
                <a:buClr>
                  <a:schemeClr val="tx2"/>
                </a:buClr>
                <a:defRPr sz="1600">
                  <a:solidFill>
                    <a:schemeClr val="tx1"/>
                  </a:solidFill>
                  <a:latin typeface="Arial" panose="020B0604020202020204" pitchFamily="34" charset="0"/>
                </a:defRPr>
              </a:lvl1pPr>
              <a:lvl2pPr marL="10318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21793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405255"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179260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2498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7070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1642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6214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06680" marR="0" lvl="0" indent="-106680" algn="l" defTabSz="913765" rtl="0" eaLnBrk="1" fontAlgn="base" latinLnBrk="0" hangingPunct="1">
                <a:lnSpc>
                  <a:spcPct val="100000"/>
                </a:lnSpc>
                <a:spcBef>
                  <a:spcPct val="0"/>
                </a:spcBef>
                <a:spcAft>
                  <a:spcPct val="0"/>
                </a:spcAft>
                <a:buClrTx/>
                <a:buSzTx/>
                <a:buFontTx/>
                <a:buNone/>
                <a:defRPr/>
              </a:pPr>
              <a:r>
                <a:rPr kumimoji="0" lang="zh-CN" altLang="en-US" sz="12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rPr>
                <a:t>背景和目标</a:t>
              </a:r>
              <a:endParaRPr kumimoji="0" lang="en-US" sz="12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endParaRPr>
            </a:p>
          </p:txBody>
        </p:sp>
        <p:sp>
          <p:nvSpPr>
            <p:cNvPr id="18" name="McK 4. Footnote"/>
            <p:cNvSpPr txBox="1">
              <a:spLocks noChangeArrowheads="1"/>
            </p:cNvSpPr>
            <p:nvPr>
              <p:custDataLst>
                <p:tags r:id="rId2"/>
              </p:custDataLst>
            </p:nvPr>
          </p:nvSpPr>
          <p:spPr bwMode="auto">
            <a:xfrm>
              <a:off x="558955" y="2723919"/>
              <a:ext cx="1413849" cy="194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marL="104775" indent="-104775" algn="l" defTabSz="895350" eaLnBrk="0" hangingPunct="0">
                <a:buClr>
                  <a:schemeClr val="tx2"/>
                </a:buClr>
                <a:defRPr sz="1600">
                  <a:solidFill>
                    <a:schemeClr val="tx1"/>
                  </a:solidFill>
                  <a:latin typeface="Arial" panose="020B0604020202020204" pitchFamily="34" charset="0"/>
                </a:defRPr>
              </a:lvl1pPr>
              <a:lvl2pPr marL="10318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21793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405255"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179260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2498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7070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1642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6214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06680" marR="0" lvl="0" indent="-106680" algn="l" defTabSz="913765" rtl="0" eaLnBrk="1" fontAlgn="base" latinLnBrk="0" hangingPunct="1">
                <a:lnSpc>
                  <a:spcPct val="100000"/>
                </a:lnSpc>
                <a:spcBef>
                  <a:spcPct val="0"/>
                </a:spcBef>
                <a:spcAft>
                  <a:spcPct val="0"/>
                </a:spcAft>
                <a:buClrTx/>
                <a:buSzTx/>
                <a:buFontTx/>
                <a:buNone/>
                <a:defRPr/>
              </a:pPr>
              <a:r>
                <a:rPr kumimoji="0" lang="zh-CN" altLang="en-US" sz="12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rPr>
                <a:t>关键工作和时间安排</a:t>
              </a:r>
              <a:endParaRPr kumimoji="0" lang="en-US" sz="12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endParaRPr>
            </a:p>
          </p:txBody>
        </p:sp>
        <p:sp>
          <p:nvSpPr>
            <p:cNvPr id="25" name="Line 20"/>
            <p:cNvSpPr>
              <a:spLocks noChangeShapeType="1"/>
            </p:cNvSpPr>
            <p:nvPr/>
          </p:nvSpPr>
          <p:spPr bwMode="gray">
            <a:xfrm>
              <a:off x="595542" y="3232574"/>
              <a:ext cx="53971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0" tIns="0" rIns="0" bIns="0"/>
            <a:lstStyle/>
            <a:p>
              <a:pPr marL="0" marR="0" lvl="0" indent="0" algn="l" defTabSz="932815" rtl="0" eaLnBrk="1" fontAlgn="base" latinLnBrk="0" hangingPunct="1">
                <a:lnSpc>
                  <a:spcPct val="100000"/>
                </a:lnSpc>
                <a:spcBef>
                  <a:spcPct val="0"/>
                </a:spcBef>
                <a:spcAft>
                  <a:spcPct val="0"/>
                </a:spcAft>
                <a:buClrTx/>
                <a:buSzTx/>
                <a:buFontTx/>
                <a:buNone/>
                <a:defRPr/>
              </a:pPr>
              <a:endParaRPr kumimoji="0" lang="en-US" sz="122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26" name="Rectangle 21"/>
            <p:cNvSpPr>
              <a:spLocks noChangeArrowheads="1"/>
            </p:cNvSpPr>
            <p:nvPr/>
          </p:nvSpPr>
          <p:spPr bwMode="gray">
            <a:xfrm>
              <a:off x="595542" y="3012614"/>
              <a:ext cx="5397113"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349885" marR="0" lvl="0" indent="-349885" algn="l" defTabSz="913765" rtl="0" eaLnBrk="1" fontAlgn="base" latinLnBrk="0" hangingPunct="1">
                <a:lnSpc>
                  <a:spcPct val="100000"/>
                </a:lnSpc>
                <a:spcBef>
                  <a:spcPct val="0"/>
                </a:spcBef>
                <a:spcAft>
                  <a:spcPct val="0"/>
                </a:spcAft>
                <a:buClr>
                  <a:srgbClr val="002960"/>
                </a:buClr>
                <a:buSzTx/>
                <a:buFontTx/>
                <a:buNone/>
                <a:defRPr/>
              </a:pPr>
              <a:r>
                <a:rPr kumimoji="0" lang="zh-CN" altLang="en-US" sz="12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百天之内</a:t>
              </a:r>
              <a:endParaRPr kumimoji="0" lang="zh-CN" altLang="en-US" sz="12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27" name="Line 20"/>
            <p:cNvSpPr>
              <a:spLocks noChangeShapeType="1"/>
            </p:cNvSpPr>
            <p:nvPr/>
          </p:nvSpPr>
          <p:spPr bwMode="gray">
            <a:xfrm>
              <a:off x="595542" y="5143353"/>
              <a:ext cx="53971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0" tIns="0" rIns="0" bIns="0"/>
            <a:lstStyle/>
            <a:p>
              <a:pPr marL="0" marR="0" lvl="0" indent="0" algn="l" defTabSz="932815" rtl="0" eaLnBrk="1" fontAlgn="base" latinLnBrk="0" hangingPunct="1">
                <a:lnSpc>
                  <a:spcPct val="100000"/>
                </a:lnSpc>
                <a:spcBef>
                  <a:spcPct val="0"/>
                </a:spcBef>
                <a:spcAft>
                  <a:spcPct val="0"/>
                </a:spcAft>
                <a:buClrTx/>
                <a:buSzTx/>
                <a:buFontTx/>
                <a:buNone/>
                <a:defRPr/>
              </a:pPr>
              <a:endParaRPr kumimoji="0" lang="en-US" sz="122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28" name="Rectangle 21"/>
            <p:cNvSpPr>
              <a:spLocks noChangeArrowheads="1"/>
            </p:cNvSpPr>
            <p:nvPr/>
          </p:nvSpPr>
          <p:spPr bwMode="gray">
            <a:xfrm>
              <a:off x="595542" y="4923394"/>
              <a:ext cx="5397113"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349885" marR="0" lvl="0" indent="-349885" algn="l" defTabSz="913765" rtl="0" eaLnBrk="1" fontAlgn="base" latinLnBrk="0" hangingPunct="1">
                <a:lnSpc>
                  <a:spcPct val="100000"/>
                </a:lnSpc>
                <a:spcBef>
                  <a:spcPct val="0"/>
                </a:spcBef>
                <a:spcAft>
                  <a:spcPct val="0"/>
                </a:spcAft>
                <a:buClr>
                  <a:srgbClr val="002960"/>
                </a:buClr>
                <a:buSzTx/>
                <a:buFontTx/>
                <a:buNone/>
                <a:defRPr/>
              </a:pPr>
              <a:r>
                <a:rPr kumimoji="0" lang="zh-CN" altLang="en-US" sz="12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一年内</a:t>
              </a:r>
              <a:endParaRPr kumimoji="0" lang="zh-CN" altLang="en-US" sz="12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29" name="Rectangle 11"/>
            <p:cNvSpPr>
              <a:spLocks noChangeArrowheads="1"/>
            </p:cNvSpPr>
            <p:nvPr/>
          </p:nvSpPr>
          <p:spPr bwMode="gray">
            <a:xfrm>
              <a:off x="595542" y="3295424"/>
              <a:ext cx="5397113" cy="1345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5" name="Rectangle 4"/>
            <p:cNvSpPr>
              <a:spLocks noChangeArrowheads="1"/>
            </p:cNvSpPr>
            <p:nvPr/>
          </p:nvSpPr>
          <p:spPr bwMode="gray">
            <a:xfrm>
              <a:off x="6223908" y="953931"/>
              <a:ext cx="5559308" cy="787395"/>
            </a:xfrm>
            <a:prstGeom prst="rect">
              <a:avLst/>
            </a:prstGeom>
            <a:solidFill>
              <a:schemeClr val="bg1"/>
            </a:solidFill>
            <a:ln w="19050" algn="ctr">
              <a:solidFill>
                <a:schemeClr val="accent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7" tIns="46644" rIns="93287" bIns="46644" anchor="ctr"/>
            <a:lstStyle>
              <a:lvl1pPr marL="342900" indent="-342900" algn="l" defTabSz="895350" eaLnBrk="0" hangingPunct="0">
                <a:buClr>
                  <a:schemeClr val="tx2"/>
                </a:buClr>
                <a:defRPr sz="1600">
                  <a:solidFill>
                    <a:schemeClr val="tx1"/>
                  </a:solidFill>
                  <a:latin typeface="Arial" panose="020B0604020202020204" pitchFamily="34" charset="0"/>
                </a:defRPr>
              </a:lvl1pPr>
              <a:lvl2pPr marL="742950" indent="-741680"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9480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1141730"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1441450"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349885" marR="0" lvl="0" indent="-349885" algn="ctr" defTabSz="913765" rtl="0" eaLnBrk="1" fontAlgn="base" latinLnBrk="0" hangingPunct="1">
                <a:lnSpc>
                  <a:spcPct val="100000"/>
                </a:lnSpc>
                <a:spcBef>
                  <a:spcPct val="0"/>
                </a:spcBef>
                <a:spcAft>
                  <a:spcPct val="0"/>
                </a:spcAft>
                <a:buClrTx/>
                <a:buSzTx/>
                <a:buFontTx/>
                <a:buNone/>
                <a:defRPr/>
              </a:pPr>
              <a:endParaRPr kumimoji="0" lang="en-US" sz="122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9" name="Rectangle 10"/>
            <p:cNvSpPr>
              <a:spLocks noChangeArrowheads="1"/>
            </p:cNvSpPr>
            <p:nvPr/>
          </p:nvSpPr>
          <p:spPr bwMode="gray">
            <a:xfrm>
              <a:off x="6223907" y="953929"/>
              <a:ext cx="5559307" cy="287916"/>
            </a:xfrm>
            <a:prstGeom prst="rect">
              <a:avLst/>
            </a:prstGeom>
            <a:solidFill>
              <a:srgbClr val="FE5817"/>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prstClr val="white"/>
                </a:solidFill>
                <a:latin typeface="华文楷体" panose="02010600040101010101" charset="-122"/>
                <a:ea typeface="华文楷体" panose="02010600040101010101" charset="-122"/>
              </a:endParaRPr>
            </a:p>
          </p:txBody>
        </p:sp>
        <p:sp>
          <p:nvSpPr>
            <p:cNvPr id="12" name="Rectangle 14"/>
            <p:cNvSpPr>
              <a:spLocks noChangeArrowheads="1"/>
            </p:cNvSpPr>
            <p:nvPr/>
          </p:nvSpPr>
          <p:spPr bwMode="gray">
            <a:xfrm>
              <a:off x="6355987" y="1295932"/>
              <a:ext cx="5344712" cy="422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项目牵头人：</a:t>
              </a:r>
              <a:r>
                <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	[</a:t>
              </a:r>
              <a:r>
                <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小组成员：</a:t>
              </a:r>
              <a:r>
                <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endPar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13" name="Rectangle 16"/>
            <p:cNvSpPr>
              <a:spLocks noChangeArrowheads="1"/>
            </p:cNvSpPr>
            <p:nvPr/>
          </p:nvSpPr>
          <p:spPr bwMode="gray">
            <a:xfrm>
              <a:off x="6223907" y="2696068"/>
              <a:ext cx="5559307" cy="3477798"/>
            </a:xfrm>
            <a:prstGeom prst="rect">
              <a:avLst/>
            </a:prstGeom>
            <a:solidFill>
              <a:schemeClr val="bg1"/>
            </a:solidFill>
            <a:ln w="19050" algn="ctr">
              <a:solidFill>
                <a:schemeClr val="accent1"/>
              </a:solidFill>
              <a:miter lim="800000"/>
            </a:ln>
            <a:effectLst/>
          </p:spPr>
          <p:txBody>
            <a:bodyPr wrap="none" lIns="93287" tIns="46644" rIns="93287" bIns="46644" anchor="ctr"/>
            <a:lstStyle>
              <a:lvl1pPr marL="342900" indent="-342900" algn="l" defTabSz="895350" eaLnBrk="0" hangingPunct="0">
                <a:buClr>
                  <a:schemeClr val="tx2"/>
                </a:buClr>
                <a:defRPr sz="1600">
                  <a:solidFill>
                    <a:schemeClr val="tx1"/>
                  </a:solidFill>
                  <a:latin typeface="Arial" panose="020B0604020202020204" pitchFamily="34" charset="0"/>
                </a:defRPr>
              </a:lvl1pPr>
              <a:lvl2pPr marL="742950" indent="-741680"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9480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1141730"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1441450"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349885" marR="0" lvl="0" indent="-349885" algn="ctr" defTabSz="913765" rtl="0" eaLnBrk="1" fontAlgn="base" latinLnBrk="0" hangingPunct="1">
                <a:lnSpc>
                  <a:spcPct val="100000"/>
                </a:lnSpc>
                <a:spcBef>
                  <a:spcPct val="0"/>
                </a:spcBef>
                <a:spcAft>
                  <a:spcPct val="0"/>
                </a:spcAft>
                <a:buClrTx/>
                <a:buSzTx/>
                <a:buFontTx/>
                <a:buNone/>
                <a:defRPr/>
              </a:pPr>
              <a:endParaRPr kumimoji="0" lang="en-US" sz="122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14" name="Rectangle 17"/>
            <p:cNvSpPr>
              <a:spLocks noChangeArrowheads="1"/>
            </p:cNvSpPr>
            <p:nvPr/>
          </p:nvSpPr>
          <p:spPr bwMode="gray">
            <a:xfrm>
              <a:off x="6223907" y="2696068"/>
              <a:ext cx="5559307" cy="287917"/>
            </a:xfrm>
            <a:prstGeom prst="rect">
              <a:avLst/>
            </a:prstGeom>
            <a:solidFill>
              <a:srgbClr val="FE5817"/>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prstClr val="white"/>
                </a:solidFill>
                <a:latin typeface="华文楷体" panose="02010600040101010101" charset="-122"/>
                <a:ea typeface="华文楷体" panose="02010600040101010101" charset="-122"/>
              </a:endParaRPr>
            </a:p>
          </p:txBody>
        </p:sp>
        <p:sp>
          <p:nvSpPr>
            <p:cNvPr id="15" name="Line 20"/>
            <p:cNvSpPr>
              <a:spLocks noChangeShapeType="1"/>
            </p:cNvSpPr>
            <p:nvPr/>
          </p:nvSpPr>
          <p:spPr bwMode="gray">
            <a:xfrm>
              <a:off x="6355986" y="3232574"/>
              <a:ext cx="526409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0" tIns="0" rIns="0" bIns="0"/>
            <a:lstStyle/>
            <a:p>
              <a:pPr marL="0" marR="0" lvl="0" indent="0" algn="l" defTabSz="932815" rtl="0" eaLnBrk="1" fontAlgn="base" latinLnBrk="0" hangingPunct="1">
                <a:lnSpc>
                  <a:spcPct val="100000"/>
                </a:lnSpc>
                <a:spcBef>
                  <a:spcPct val="0"/>
                </a:spcBef>
                <a:spcAft>
                  <a:spcPct val="0"/>
                </a:spcAft>
                <a:buClrTx/>
                <a:buSzTx/>
                <a:buFontTx/>
                <a:buNone/>
                <a:defRPr/>
              </a:pPr>
              <a:endParaRPr kumimoji="0" lang="en-US" sz="122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16" name="Rectangle 21"/>
            <p:cNvSpPr>
              <a:spLocks noChangeArrowheads="1"/>
            </p:cNvSpPr>
            <p:nvPr/>
          </p:nvSpPr>
          <p:spPr bwMode="gray">
            <a:xfrm>
              <a:off x="6355986" y="3012614"/>
              <a:ext cx="5264099"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349885" marR="0" lvl="0" indent="-349885" algn="l" defTabSz="913765" rtl="0" eaLnBrk="1" fontAlgn="base" latinLnBrk="0" hangingPunct="1">
                <a:lnSpc>
                  <a:spcPct val="100000"/>
                </a:lnSpc>
                <a:spcBef>
                  <a:spcPct val="0"/>
                </a:spcBef>
                <a:spcAft>
                  <a:spcPct val="0"/>
                </a:spcAft>
                <a:buClr>
                  <a:srgbClr val="002960"/>
                </a:buClr>
                <a:buSzTx/>
                <a:buFontTx/>
                <a:buNone/>
                <a:defRPr/>
              </a:pPr>
              <a:r>
                <a:rPr kumimoji="0" lang="zh-CN" altLang="en-US" sz="12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百天之内</a:t>
              </a:r>
              <a:endParaRPr kumimoji="0" lang="zh-CN" altLang="en-US" sz="12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19" name="McK 4. Footnote"/>
            <p:cNvSpPr txBox="1">
              <a:spLocks noChangeArrowheads="1"/>
            </p:cNvSpPr>
            <p:nvPr>
              <p:custDataLst>
                <p:tags r:id="rId3"/>
              </p:custDataLst>
            </p:nvPr>
          </p:nvSpPr>
          <p:spPr bwMode="auto">
            <a:xfrm>
              <a:off x="6355986" y="980673"/>
              <a:ext cx="2800958" cy="194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algn="l" defTabSz="895350" eaLnBrk="0" hangingPunct="0">
                <a:buClr>
                  <a:schemeClr val="tx2"/>
                </a:buClr>
                <a:defRPr sz="1600">
                  <a:solidFill>
                    <a:schemeClr val="tx1"/>
                  </a:solidFill>
                  <a:latin typeface="Arial" panose="020B0604020202020204" pitchFamily="34" charset="0"/>
                </a:defRPr>
              </a:lvl1pPr>
              <a:lvl2pPr marL="10318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21793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405255"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179260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2498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7070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1642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6214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06680" marR="0" lvl="0" indent="-106680" algn="l" defTabSz="913765" rtl="0" eaLnBrk="1" fontAlgn="base" latinLnBrk="0" hangingPunct="1">
                <a:lnSpc>
                  <a:spcPct val="100000"/>
                </a:lnSpc>
                <a:spcBef>
                  <a:spcPct val="0"/>
                </a:spcBef>
                <a:spcAft>
                  <a:spcPct val="0"/>
                </a:spcAft>
                <a:buClrTx/>
                <a:buSzTx/>
                <a:buFontTx/>
                <a:buNone/>
                <a:defRPr/>
              </a:pPr>
              <a:r>
                <a:rPr kumimoji="0" lang="zh-CN" altLang="en-US" sz="12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rPr>
                <a:t>项目负责人</a:t>
              </a:r>
              <a:endParaRPr kumimoji="0" lang="en-US" sz="12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endParaRPr>
            </a:p>
          </p:txBody>
        </p:sp>
        <p:sp>
          <p:nvSpPr>
            <p:cNvPr id="20" name="McK 4. Footnote"/>
            <p:cNvSpPr txBox="1">
              <a:spLocks noChangeArrowheads="1"/>
            </p:cNvSpPr>
            <p:nvPr>
              <p:custDataLst>
                <p:tags r:id="rId4"/>
              </p:custDataLst>
            </p:nvPr>
          </p:nvSpPr>
          <p:spPr bwMode="auto">
            <a:xfrm>
              <a:off x="6355986" y="2723919"/>
              <a:ext cx="2672355" cy="194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algn="l" defTabSz="895350" eaLnBrk="0" hangingPunct="0">
                <a:buClr>
                  <a:schemeClr val="tx2"/>
                </a:buClr>
                <a:defRPr sz="1600">
                  <a:solidFill>
                    <a:schemeClr val="tx1"/>
                  </a:solidFill>
                  <a:latin typeface="Arial" panose="020B0604020202020204" pitchFamily="34" charset="0"/>
                </a:defRPr>
              </a:lvl1pPr>
              <a:lvl2pPr marL="10318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21793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405255"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179260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2498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7070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1642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6214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06680" marR="0" lvl="0" indent="-106680" algn="l" defTabSz="913765" rtl="0" eaLnBrk="1" fontAlgn="base" latinLnBrk="0" hangingPunct="1">
                <a:lnSpc>
                  <a:spcPct val="100000"/>
                </a:lnSpc>
                <a:spcBef>
                  <a:spcPct val="0"/>
                </a:spcBef>
                <a:spcAft>
                  <a:spcPct val="0"/>
                </a:spcAft>
                <a:buClrTx/>
                <a:buSzTx/>
                <a:buFontTx/>
                <a:buNone/>
                <a:defRPr/>
              </a:pPr>
              <a:r>
                <a:rPr kumimoji="0" lang="zh-CN" altLang="en-US" sz="12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rPr>
                <a:t>重要里程碑和会议</a:t>
              </a:r>
              <a:endParaRPr kumimoji="0" lang="en-US" sz="12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endParaRPr>
            </a:p>
          </p:txBody>
        </p:sp>
        <p:sp>
          <p:nvSpPr>
            <p:cNvPr id="23" name="Line 20"/>
            <p:cNvSpPr>
              <a:spLocks noChangeShapeType="1"/>
            </p:cNvSpPr>
            <p:nvPr/>
          </p:nvSpPr>
          <p:spPr bwMode="gray">
            <a:xfrm>
              <a:off x="6355986" y="5143353"/>
              <a:ext cx="526409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0" tIns="0" rIns="0" bIns="0"/>
            <a:lstStyle/>
            <a:p>
              <a:pPr marL="0" marR="0" lvl="0" indent="0" algn="l" defTabSz="932815" rtl="0" eaLnBrk="1" fontAlgn="base" latinLnBrk="0" hangingPunct="1">
                <a:lnSpc>
                  <a:spcPct val="100000"/>
                </a:lnSpc>
                <a:spcBef>
                  <a:spcPct val="0"/>
                </a:spcBef>
                <a:spcAft>
                  <a:spcPct val="0"/>
                </a:spcAft>
                <a:buClrTx/>
                <a:buSzTx/>
                <a:buFontTx/>
                <a:buNone/>
                <a:defRPr/>
              </a:pPr>
              <a:endParaRPr kumimoji="0" lang="en-US" sz="122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24" name="Rectangle 21"/>
            <p:cNvSpPr>
              <a:spLocks noChangeArrowheads="1"/>
            </p:cNvSpPr>
            <p:nvPr/>
          </p:nvSpPr>
          <p:spPr bwMode="gray">
            <a:xfrm>
              <a:off x="6355986" y="4923394"/>
              <a:ext cx="5264099"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349885" marR="0" lvl="0" indent="-349885" algn="l" defTabSz="913765" rtl="0" eaLnBrk="1" fontAlgn="base" latinLnBrk="0" hangingPunct="1">
                <a:lnSpc>
                  <a:spcPct val="100000"/>
                </a:lnSpc>
                <a:spcBef>
                  <a:spcPct val="0"/>
                </a:spcBef>
                <a:spcAft>
                  <a:spcPct val="0"/>
                </a:spcAft>
                <a:buClr>
                  <a:srgbClr val="002960"/>
                </a:buClr>
                <a:buSzTx/>
                <a:buFontTx/>
                <a:buNone/>
                <a:defRPr/>
              </a:pPr>
              <a:r>
                <a:rPr kumimoji="0" lang="zh-CN" altLang="en-US" sz="12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一年内</a:t>
              </a:r>
              <a:endParaRPr kumimoji="0" lang="zh-CN" altLang="en-US" sz="1225"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30" name="Rectangle 4"/>
            <p:cNvSpPr>
              <a:spLocks noChangeArrowheads="1"/>
            </p:cNvSpPr>
            <p:nvPr/>
          </p:nvSpPr>
          <p:spPr bwMode="gray">
            <a:xfrm>
              <a:off x="6223908" y="1813336"/>
              <a:ext cx="5559308" cy="799804"/>
            </a:xfrm>
            <a:prstGeom prst="rect">
              <a:avLst/>
            </a:prstGeom>
            <a:solidFill>
              <a:schemeClr val="bg1"/>
            </a:solidFill>
            <a:ln w="19050" algn="ctr">
              <a:solidFill>
                <a:schemeClr val="accent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7" tIns="46644" rIns="93287" bIns="46644" anchor="ctr"/>
            <a:lstStyle>
              <a:lvl1pPr marL="342900" indent="-342900" algn="l" defTabSz="895350" eaLnBrk="0" hangingPunct="0">
                <a:buClr>
                  <a:schemeClr val="tx2"/>
                </a:buClr>
                <a:defRPr sz="1600">
                  <a:solidFill>
                    <a:schemeClr val="tx1"/>
                  </a:solidFill>
                  <a:latin typeface="Arial" panose="020B0604020202020204" pitchFamily="34" charset="0"/>
                </a:defRPr>
              </a:lvl1pPr>
              <a:lvl2pPr marL="742950" indent="-741680"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9480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1141730"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1441450"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349885" marR="0" lvl="0" indent="-349885" algn="ctr" defTabSz="913765" rtl="0" eaLnBrk="1" fontAlgn="base" latinLnBrk="0" hangingPunct="1">
                <a:lnSpc>
                  <a:spcPct val="100000"/>
                </a:lnSpc>
                <a:spcBef>
                  <a:spcPct val="0"/>
                </a:spcBef>
                <a:spcAft>
                  <a:spcPct val="0"/>
                </a:spcAft>
                <a:buClrTx/>
                <a:buSzTx/>
                <a:buFontTx/>
                <a:buNone/>
                <a:defRPr/>
              </a:pPr>
              <a:endParaRPr kumimoji="0" lang="en-US" sz="122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31" name="Rectangle 10"/>
            <p:cNvSpPr>
              <a:spLocks noChangeArrowheads="1"/>
            </p:cNvSpPr>
            <p:nvPr/>
          </p:nvSpPr>
          <p:spPr bwMode="gray">
            <a:xfrm>
              <a:off x="6223907" y="1795180"/>
              <a:ext cx="5559307" cy="287916"/>
            </a:xfrm>
            <a:prstGeom prst="rect">
              <a:avLst/>
            </a:prstGeom>
            <a:solidFill>
              <a:srgbClr val="FE5817"/>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prstClr val="white"/>
                </a:solidFill>
                <a:latin typeface="华文楷体" panose="02010600040101010101" charset="-122"/>
                <a:ea typeface="华文楷体" panose="02010600040101010101" charset="-122"/>
              </a:endParaRPr>
            </a:p>
          </p:txBody>
        </p:sp>
        <p:sp>
          <p:nvSpPr>
            <p:cNvPr id="32" name="McK 4. Footnote"/>
            <p:cNvSpPr txBox="1">
              <a:spLocks noChangeArrowheads="1"/>
            </p:cNvSpPr>
            <p:nvPr>
              <p:custDataLst>
                <p:tags r:id="rId5"/>
              </p:custDataLst>
            </p:nvPr>
          </p:nvSpPr>
          <p:spPr bwMode="auto">
            <a:xfrm>
              <a:off x="6355986" y="1821923"/>
              <a:ext cx="2800958" cy="194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algn="l" defTabSz="895350" eaLnBrk="0" hangingPunct="0">
                <a:buClr>
                  <a:schemeClr val="tx2"/>
                </a:buClr>
                <a:defRPr sz="1600">
                  <a:solidFill>
                    <a:schemeClr val="tx1"/>
                  </a:solidFill>
                  <a:latin typeface="Arial" panose="020B0604020202020204" pitchFamily="34" charset="0"/>
                </a:defRPr>
              </a:lvl1pPr>
              <a:lvl2pPr marL="10318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21793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405255"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179260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2498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7070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1642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62140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06680" marR="0" lvl="0" indent="-106680" algn="l" defTabSz="913765" rtl="0" eaLnBrk="1" fontAlgn="base" latinLnBrk="0" hangingPunct="1">
                <a:lnSpc>
                  <a:spcPct val="100000"/>
                </a:lnSpc>
                <a:spcBef>
                  <a:spcPct val="0"/>
                </a:spcBef>
                <a:spcAft>
                  <a:spcPct val="0"/>
                </a:spcAft>
                <a:buClrTx/>
                <a:buSzTx/>
                <a:buFontTx/>
                <a:buNone/>
                <a:defRPr/>
              </a:pPr>
              <a:r>
                <a:rPr kumimoji="0" lang="zh-CN" altLang="en-US" sz="12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rPr>
                <a:t>关键合作方</a:t>
              </a:r>
              <a:endParaRPr kumimoji="0" lang="en-US" sz="1225" b="1" i="0" u="none" strike="noStrike" kern="1200" cap="none" spc="0" normalizeH="0" baseline="0" noProof="0" dirty="0">
                <a:ln>
                  <a:noFill/>
                </a:ln>
                <a:solidFill>
                  <a:schemeClr val="bg1"/>
                </a:solidFill>
                <a:effectLst/>
                <a:uLnTx/>
                <a:uFillTx/>
                <a:latin typeface="Arial" panose="020B0604020202020204"/>
                <a:ea typeface="楷体" panose="02010609060101010101" pitchFamily="49" charset="-122"/>
                <a:cs typeface="+mn-cs"/>
              </a:endParaRPr>
            </a:p>
          </p:txBody>
        </p:sp>
        <p:sp>
          <p:nvSpPr>
            <p:cNvPr id="33" name="Rectangle 14"/>
            <p:cNvSpPr>
              <a:spLocks noChangeArrowheads="1"/>
            </p:cNvSpPr>
            <p:nvPr/>
          </p:nvSpPr>
          <p:spPr bwMode="gray">
            <a:xfrm>
              <a:off x="6355987" y="2148144"/>
              <a:ext cx="1578096" cy="422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HR</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 [X]</a:t>
              </a:r>
              <a:endPar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集团内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endPar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34" name="Rectangle 14"/>
            <p:cNvSpPr>
              <a:spLocks noChangeArrowheads="1"/>
            </p:cNvSpPr>
            <p:nvPr/>
          </p:nvSpPr>
          <p:spPr bwMode="gray">
            <a:xfrm>
              <a:off x="8198986" y="2148144"/>
              <a:ext cx="1578096" cy="422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股销</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 [X]</a:t>
              </a:r>
              <a:endPar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xx</a:t>
              </a:r>
              <a:endPar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35" name="Rectangle 11"/>
            <p:cNvSpPr>
              <a:spLocks noChangeArrowheads="1"/>
            </p:cNvSpPr>
            <p:nvPr/>
          </p:nvSpPr>
          <p:spPr bwMode="gray">
            <a:xfrm>
              <a:off x="6355986" y="3295424"/>
              <a:ext cx="5264099" cy="1345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周</a:t>
              </a: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36" name="Rectangle 11"/>
            <p:cNvSpPr>
              <a:spLocks noChangeArrowheads="1"/>
            </p:cNvSpPr>
            <p:nvPr/>
          </p:nvSpPr>
          <p:spPr bwMode="gray">
            <a:xfrm>
              <a:off x="6355986" y="5197598"/>
              <a:ext cx="5264099" cy="884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月：</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月：</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月：</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en-SG"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a:t>
              </a:r>
              <a:r>
                <a:rPr kumimoji="0" lang="zh-CN" altLang="en-US"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月：</a:t>
              </a:r>
              <a:r>
                <a:rPr kumimoji="0" lang="en-SG"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endParaRPr kumimoji="0" lang="en-US" altLang="ko-KR"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37" name="Rectangle 14"/>
            <p:cNvSpPr>
              <a:spLocks noChangeArrowheads="1"/>
            </p:cNvSpPr>
            <p:nvPr/>
          </p:nvSpPr>
          <p:spPr bwMode="gray">
            <a:xfrm>
              <a:off x="10041988" y="2148144"/>
              <a:ext cx="1578096" cy="422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panose="020B0604020202020204" pitchFamily="34" charset="0"/>
                </a:defRPr>
              </a:lvl1pPr>
              <a:lvl2pPr marL="193675" indent="-192405" algn="l" defTabSz="895350" eaLnBrk="0" hangingPunct="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algn="l" defTabSz="895350" eaLnBrk="0" hangingPunct="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algn="l" defTabSz="895350" eaLnBrk="0" hangingPunct="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Xxx</a:t>
              </a:r>
              <a:endPar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7485" marR="0" lvl="1" indent="-196215" algn="l" defTabSz="913765" rtl="0" eaLnBrk="1" fontAlgn="base" latinLnBrk="0" hangingPunct="1">
                <a:lnSpc>
                  <a:spcPct val="100000"/>
                </a:lnSpc>
                <a:spcBef>
                  <a:spcPct val="0"/>
                </a:spcBef>
                <a:spcAft>
                  <a:spcPct val="20000"/>
                </a:spcAft>
                <a:buClr>
                  <a:srgbClr val="002960"/>
                </a:buClr>
                <a:buSzPct val="125000"/>
                <a:buFont typeface="Arial" panose="020B0604020202020204" pitchFamily="34" charset="0"/>
                <a:buChar char="▪"/>
                <a:defRPr/>
              </a:pPr>
              <a:r>
                <a:rPr kumimoji="0" lang="en-US" altLang="zh-CN" sz="12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rPr>
                <a:t>Xxxx</a:t>
              </a:r>
              <a:r>
                <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 </a:t>
              </a:r>
              <a:endParaRPr kumimoji="0" lang="en-US" altLang="zh-CN" sz="1225"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grpSp>
      <p:pic>
        <p:nvPicPr>
          <p:cNvPr id="43" name="图片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45" name="标题 2"/>
          <p:cNvSpPr txBox="1"/>
          <p:nvPr/>
        </p:nvSpPr>
        <p:spPr>
          <a:xfrm>
            <a:off x="325154" y="3341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endParaRPr lang="en-US" altLang="zh-CN" sz="2400" dirty="0">
              <a:solidFill>
                <a:srgbClr val="37373A"/>
              </a:solidFill>
            </a:endParaRPr>
          </a:p>
        </p:txBody>
      </p:sp>
      <p:sp>
        <p:nvSpPr>
          <p:cNvPr id="46" name="标题 2"/>
          <p:cNvSpPr txBox="1"/>
          <p:nvPr/>
        </p:nvSpPr>
        <p:spPr>
          <a:xfrm>
            <a:off x="172754" y="181774"/>
            <a:ext cx="1161046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solidFill>
                  <a:srgbClr val="37373A"/>
                </a:solidFill>
              </a:rPr>
              <a:t>工作</a:t>
            </a:r>
            <a:r>
              <a:rPr lang="zh-CN" altLang="en-US" sz="2400" dirty="0">
                <a:solidFill>
                  <a:srgbClr val="37373A"/>
                </a:solidFill>
              </a:rPr>
              <a:t>流明细表：明确各项工作的目标、负责人、合作方、里程碑和重要</a:t>
            </a:r>
            <a:r>
              <a:rPr lang="zh-CN" altLang="en-US" sz="2400" dirty="0" smtClean="0">
                <a:solidFill>
                  <a:srgbClr val="37373A"/>
                </a:solidFill>
              </a:rPr>
              <a:t>议会</a:t>
            </a:r>
            <a:endParaRPr lang="en-US" altLang="zh-CN" sz="2400" dirty="0">
              <a:solidFill>
                <a:srgbClr val="37373A"/>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 name="Object 97" hidden="1"/>
          <p:cNvGraphicFramePr>
            <a:graphicFrameLocks noChangeAspect="1"/>
          </p:cNvGraphicFramePr>
          <p:nvPr>
            <p:custDataLst>
              <p:tags r:id="rId1"/>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554061" name="think-cell Slide" r:id="rId2" imgW="12700" imgH="12700" progId="TCLayout.ActiveDocument.1">
                  <p:embed/>
                </p:oleObj>
              </mc:Choice>
              <mc:Fallback>
                <p:oleObj name="think-cell Slide" r:id="rId2" imgW="12700" imgH="12700" progId="TCLayout.ActiveDocument.1">
                  <p:embed/>
                  <p:pic>
                    <p:nvPicPr>
                      <p:cNvPr id="0" name="Object 97" hidden="1"/>
                      <p:cNvPicPr/>
                      <p:nvPr/>
                    </p:nvPicPr>
                    <p:blipFill>
                      <a:blip r:embed="rId3"/>
                      <a:stretch>
                        <a:fillRect/>
                      </a:stretch>
                    </p:blipFill>
                    <p:spPr>
                      <a:xfrm>
                        <a:off x="1525891" y="1621"/>
                        <a:ext cx="1619" cy="1619"/>
                      </a:xfrm>
                      <a:prstGeom prst="rect">
                        <a:avLst/>
                      </a:prstGeom>
                    </p:spPr>
                  </p:pic>
                </p:oleObj>
              </mc:Fallback>
            </mc:AlternateContent>
          </a:graphicData>
        </a:graphic>
      </p:graphicFrame>
      <p:grpSp>
        <p:nvGrpSpPr>
          <p:cNvPr id="5" name="组合 4"/>
          <p:cNvGrpSpPr/>
          <p:nvPr/>
        </p:nvGrpSpPr>
        <p:grpSpPr>
          <a:xfrm>
            <a:off x="639710" y="795527"/>
            <a:ext cx="10286907" cy="5491205"/>
            <a:chOff x="1645751" y="637911"/>
            <a:chExt cx="8793595" cy="5648822"/>
          </a:xfrm>
        </p:grpSpPr>
        <p:sp>
          <p:nvSpPr>
            <p:cNvPr id="22" name="Rectangle 6"/>
            <p:cNvSpPr>
              <a:spLocks noChangeArrowheads="1"/>
            </p:cNvSpPr>
            <p:nvPr/>
          </p:nvSpPr>
          <p:spPr bwMode="gray">
            <a:xfrm>
              <a:off x="1645751" y="637911"/>
              <a:ext cx="8793595" cy="5648822"/>
            </a:xfrm>
            <a:prstGeom prst="rect">
              <a:avLst/>
            </a:prstGeom>
            <a:noFill/>
            <a:ln w="19050">
              <a:solidFill>
                <a:schemeClr val="accent1"/>
              </a:solidFill>
              <a:miter lim="800000"/>
            </a:ln>
            <a:effectLst/>
          </p:spPr>
          <p:txBody>
            <a:bodyPr lIns="151219" tIns="151219" rIns="151219" bIns="151219" anchor="ctr"/>
            <a:lstStyle>
              <a:lvl1pPr defTabSz="895350">
                <a:buClr>
                  <a:schemeClr val="tx2"/>
                </a:buClr>
                <a:defRPr sz="1600">
                  <a:solidFill>
                    <a:schemeClr val="tx1"/>
                  </a:solidFill>
                  <a:latin typeface="Arial" panose="020B0604020202020204" pitchFamily="34" charset="0"/>
                </a:defRPr>
              </a:lvl1pPr>
              <a:lvl2pPr marL="193675" indent="-192405"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225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680"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3675" marR="0" lvl="1" indent="-192405" algn="l" defTabSz="895350" rtl="0" eaLnBrk="1" fontAlgn="auto" latinLnBrk="0" hangingPunct="1">
                <a:lnSpc>
                  <a:spcPct val="100000"/>
                </a:lnSpc>
                <a:spcBef>
                  <a:spcPts val="0"/>
                </a:spcBef>
                <a:spcAft>
                  <a:spcPct val="30000"/>
                </a:spcAft>
                <a:buClr>
                  <a:srgbClr val="000000"/>
                </a:buClr>
                <a:buSzPct val="125000"/>
                <a:buFont typeface="Arial" panose="020B0604020202020204" pitchFamily="34" charset="0"/>
                <a:buChar char="▪"/>
                <a:defRPr/>
              </a:pPr>
              <a:endParaRPr kumimoji="0" lang="en-US" sz="163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grpSp>
          <p:nvGrpSpPr>
            <p:cNvPr id="4" name="组合 3"/>
            <p:cNvGrpSpPr/>
            <p:nvPr/>
          </p:nvGrpSpPr>
          <p:grpSpPr>
            <a:xfrm>
              <a:off x="1767848" y="754996"/>
              <a:ext cx="8549401" cy="5396040"/>
              <a:chOff x="1767848" y="754996"/>
              <a:chExt cx="8549401" cy="5396040"/>
            </a:xfrm>
          </p:grpSpPr>
          <p:sp>
            <p:nvSpPr>
              <p:cNvPr id="43" name="AutoShape 6"/>
              <p:cNvSpPr>
                <a:spLocks noChangeArrowheads="1"/>
              </p:cNvSpPr>
              <p:nvPr/>
            </p:nvSpPr>
            <p:spPr bwMode="auto">
              <a:xfrm>
                <a:off x="1767849" y="773608"/>
                <a:ext cx="1926538" cy="5377428"/>
              </a:xfrm>
              <a:prstGeom prst="homePlate">
                <a:avLst>
                  <a:gd name="adj" fmla="val 18079"/>
                </a:avLst>
              </a:prstGeom>
              <a:noFill/>
              <a:ln w="19050">
                <a:solidFill>
                  <a:srgbClr val="FFC3AB"/>
                </a:solidFill>
                <a:miter lim="800000"/>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cxnSp>
            <p:nvCxnSpPr>
              <p:cNvPr id="74" name="hdivdtable170554751157760 3"/>
              <p:cNvCxnSpPr/>
              <p:nvPr/>
            </p:nvCxnSpPr>
            <p:spPr>
              <a:xfrm>
                <a:off x="5050125" y="2381100"/>
                <a:ext cx="5267124" cy="0"/>
              </a:xfrm>
              <a:prstGeom prst="line">
                <a:avLst/>
              </a:prstGeom>
              <a:ln w="19050">
                <a:solidFill>
                  <a:srgbClr val="FE5817"/>
                </a:solidFill>
                <a:prstDash val="sysDot"/>
              </a:ln>
            </p:spPr>
            <p:style>
              <a:lnRef idx="1">
                <a:schemeClr val="accent1"/>
              </a:lnRef>
              <a:fillRef idx="0">
                <a:schemeClr val="accent1"/>
              </a:fillRef>
              <a:effectRef idx="0">
                <a:schemeClr val="accent1"/>
              </a:effectRef>
              <a:fontRef idx="minor">
                <a:schemeClr val="tx1"/>
              </a:fontRef>
            </p:style>
          </p:cxnSp>
          <p:cxnSp>
            <p:nvCxnSpPr>
              <p:cNvPr id="75" name="hdivdtable170554751157760 3"/>
              <p:cNvCxnSpPr/>
              <p:nvPr/>
            </p:nvCxnSpPr>
            <p:spPr>
              <a:xfrm>
                <a:off x="5050125" y="3663185"/>
                <a:ext cx="5267124" cy="0"/>
              </a:xfrm>
              <a:prstGeom prst="line">
                <a:avLst/>
              </a:prstGeom>
              <a:ln w="19050">
                <a:solidFill>
                  <a:srgbClr val="FE5817"/>
                </a:solidFill>
                <a:prstDash val="sysDot"/>
              </a:ln>
            </p:spPr>
            <p:style>
              <a:lnRef idx="1">
                <a:schemeClr val="accent1"/>
              </a:lnRef>
              <a:fillRef idx="0">
                <a:schemeClr val="accent1"/>
              </a:fillRef>
              <a:effectRef idx="0">
                <a:schemeClr val="accent1"/>
              </a:effectRef>
              <a:fontRef idx="minor">
                <a:schemeClr val="tx1"/>
              </a:fontRef>
            </p:style>
          </p:cxnSp>
          <p:cxnSp>
            <p:nvCxnSpPr>
              <p:cNvPr id="76" name="hdivdtable170554751157760 3"/>
              <p:cNvCxnSpPr/>
              <p:nvPr/>
            </p:nvCxnSpPr>
            <p:spPr>
              <a:xfrm>
                <a:off x="5050125" y="4945270"/>
                <a:ext cx="5267124" cy="0"/>
              </a:xfrm>
              <a:prstGeom prst="line">
                <a:avLst/>
              </a:prstGeom>
              <a:ln w="19050">
                <a:solidFill>
                  <a:srgbClr val="FE5817"/>
                </a:solidFill>
                <a:prstDash val="sysDot"/>
              </a:ln>
            </p:spPr>
            <p:style>
              <a:lnRef idx="1">
                <a:schemeClr val="accent1"/>
              </a:lnRef>
              <a:fillRef idx="0">
                <a:schemeClr val="accent1"/>
              </a:fillRef>
              <a:effectRef idx="0">
                <a:schemeClr val="accent1"/>
              </a:effectRef>
              <a:fontRef idx="minor">
                <a:schemeClr val="tx1"/>
              </a:fontRef>
            </p:style>
          </p:cxnSp>
          <p:sp>
            <p:nvSpPr>
              <p:cNvPr id="82" name="Rectangle 21"/>
              <p:cNvSpPr txBox="1"/>
              <p:nvPr/>
            </p:nvSpPr>
            <p:spPr>
              <a:xfrm>
                <a:off x="6168383" y="1175334"/>
                <a:ext cx="1772649" cy="44325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日</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日</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83" name="Rectangle 21"/>
              <p:cNvSpPr txBox="1"/>
              <p:nvPr/>
            </p:nvSpPr>
            <p:spPr>
              <a:xfrm>
                <a:off x="5050124" y="1175334"/>
                <a:ext cx="929739" cy="44325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某某</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69" name="dtable170554751157760 10 40 127 94 52"/>
              <p:cNvSpPr txBox="1">
                <a:spLocks noChangeArrowheads="1"/>
              </p:cNvSpPr>
              <p:nvPr/>
            </p:nvSpPr>
            <p:spPr bwMode="auto">
              <a:xfrm>
                <a:off x="3805230" y="1175334"/>
                <a:ext cx="1056375" cy="1129448"/>
              </a:xfrm>
              <a:prstGeom prst="rect">
                <a:avLst/>
              </a:prstGeom>
              <a:solidFill>
                <a:srgbClr val="FFC3AB"/>
              </a:solidFill>
              <a:ln w="19050">
                <a:noFill/>
                <a:miter lim="800000"/>
              </a:ln>
              <a:effectLst/>
            </p:spPr>
            <p:txBody>
              <a:bodyPr vert="horz" wrap="square" lIns="270562" tIns="73472" rIns="73472" bIns="73472" numCol="1" anchor="ctr" anchorCtr="0" compatLnSpc="1">
                <a:noAutofit/>
              </a:bodyPr>
              <a:lstStyle>
                <a:defPPr>
                  <a:defRPr lang="en-US"/>
                </a:defPPr>
                <a:lvl1pPr marL="114300" lvl="0" indent="0" defTabSz="895350" eaLnBrk="1" hangingPunct="1">
                  <a:buClr>
                    <a:srgbClr val="000000"/>
                  </a:buClr>
                  <a:defRPr sz="1400" b="1" baseline="0">
                    <a:solidFill>
                      <a:srgbClr val="000000"/>
                    </a:solidFill>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114300" marR="0" lvl="0" indent="0" algn="l" defTabSz="895350" rtl="0" eaLnBrk="1" fontAlgn="auto" latinLnBrk="0" hangingPunct="1">
                  <a:lnSpc>
                    <a:spcPct val="100000"/>
                  </a:lnSpc>
                  <a:spcBef>
                    <a:spcPts val="0"/>
                  </a:spcBef>
                  <a:spcAft>
                    <a:spcPts val="0"/>
                  </a:spcAft>
                  <a:buClr>
                    <a:srgbClr val="000000"/>
                  </a:buClr>
                  <a:buSzTx/>
                  <a:buFontTx/>
                  <a:buNone/>
                  <a:defRPr/>
                </a:pPr>
                <a:r>
                  <a:rPr kumimoji="0" lang="en-US" altLang="zh-CN" sz="163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63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71" name="Rectangle 21"/>
              <p:cNvSpPr txBox="1"/>
              <p:nvPr/>
            </p:nvSpPr>
            <p:spPr>
              <a:xfrm>
                <a:off x="8129553" y="1175334"/>
                <a:ext cx="2187695" cy="36938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endParaRPr kumimoji="0" lang="zh-CN" altLang="en-US" sz="1400" b="0" i="0" u="none" strike="noStrike" kern="1200" cap="none" spc="0" normalizeH="0" baseline="30000" noProof="0" dirty="0">
                  <a:ln>
                    <a:noFill/>
                  </a:ln>
                  <a:solidFill>
                    <a:srgbClr val="000000"/>
                  </a:solidFill>
                  <a:effectLst/>
                  <a:uLnTx/>
                  <a:uFillTx/>
                  <a:latin typeface="Arial" panose="020B0604020202020204"/>
                  <a:ea typeface="华文楷体" panose="02010600040101010101" charset="-122"/>
                  <a:cs typeface="+mn-cs"/>
                </a:endParaRPr>
              </a:p>
            </p:txBody>
          </p:sp>
          <p:sp>
            <p:nvSpPr>
              <p:cNvPr id="90" name="Rectangle 21"/>
              <p:cNvSpPr txBox="1"/>
              <p:nvPr/>
            </p:nvSpPr>
            <p:spPr>
              <a:xfrm>
                <a:off x="6168383" y="2457419"/>
                <a:ext cx="1772649" cy="44325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日</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日</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72" name="dtable170554751157760 10 40 189 94 52"/>
              <p:cNvSpPr txBox="1">
                <a:spLocks noChangeArrowheads="1"/>
              </p:cNvSpPr>
              <p:nvPr/>
            </p:nvSpPr>
            <p:spPr bwMode="auto">
              <a:xfrm>
                <a:off x="3805230" y="2457419"/>
                <a:ext cx="1056375" cy="1129448"/>
              </a:xfrm>
              <a:prstGeom prst="rect">
                <a:avLst/>
              </a:prstGeom>
              <a:solidFill>
                <a:srgbClr val="FFC3AB"/>
              </a:solidFill>
              <a:ln w="19050">
                <a:noFill/>
                <a:miter lim="800000"/>
              </a:ln>
              <a:effectLst/>
            </p:spPr>
            <p:txBody>
              <a:bodyPr vert="horz" wrap="square" lIns="270562" tIns="73472" rIns="73472" bIns="73472" numCol="1" anchor="ctr" anchorCtr="0" compatLnSpc="1">
                <a:noAutofit/>
              </a:bodyPr>
              <a:lstStyle>
                <a:defPPr>
                  <a:defRPr lang="en-US"/>
                </a:defPPr>
                <a:lvl1pPr marL="114300" lvl="0" indent="0" defTabSz="895350">
                  <a:buClr>
                    <a:srgbClr val="000000"/>
                  </a:buClr>
                  <a:defRPr sz="1630" b="1" baseline="0">
                    <a:solidFill>
                      <a:srgbClr val="000000"/>
                    </a:solidFill>
                  </a:defRPr>
                </a:lvl1pPr>
                <a:lvl2pPr marL="193675" lvl="1" indent="-192405" defTabSz="895350">
                  <a:buClr>
                    <a:schemeClr val="tx2"/>
                  </a:buClr>
                  <a:buSzPct val="125000"/>
                  <a:buFont typeface="Arial" panose="020B0604020202020204" pitchFamily="34" charset="0"/>
                  <a:buChar char="▪"/>
                  <a:defRPr baseline="0"/>
                </a:lvl2pPr>
                <a:lvl3pPr marL="457200" lvl="2" indent="-262255" defTabSz="895350">
                  <a:buClr>
                    <a:schemeClr val="tx2"/>
                  </a:buClr>
                  <a:buSzPct val="120000"/>
                  <a:buFont typeface="Arial" panose="020B0604020202020204" pitchFamily="34" charset="0"/>
                  <a:buChar char="–"/>
                  <a:defRPr baseline="0"/>
                </a:lvl3pPr>
                <a:lvl4pPr marL="614680" lvl="3" indent="-155575" defTabSz="895350">
                  <a:buClr>
                    <a:schemeClr val="tx2"/>
                  </a:buClr>
                  <a:buSzPct val="120000"/>
                  <a:buFont typeface="Arial" panose="020B0604020202020204" pitchFamily="34" charset="0"/>
                  <a:buChar char="▫"/>
                  <a:defRPr baseline="0"/>
                </a:lvl4pPr>
                <a:lvl5pPr marL="749935" lvl="4" indent="-130175" defTabSz="895350">
                  <a:buClr>
                    <a:schemeClr val="tx2"/>
                  </a:buClr>
                  <a:buSzPct val="89000"/>
                  <a:buFont typeface="Arial" panose="020B0604020202020204" pitchFamily="34" charset="0"/>
                  <a:buChar char="-"/>
                  <a:defRPr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marL="114300" marR="0" lvl="0" indent="0" algn="l" defTabSz="895350" rtl="0" eaLnBrk="1" fontAlgn="auto" latinLnBrk="0" hangingPunct="1">
                  <a:lnSpc>
                    <a:spcPct val="100000"/>
                  </a:lnSpc>
                  <a:spcBef>
                    <a:spcPts val="0"/>
                  </a:spcBef>
                  <a:spcAft>
                    <a:spcPts val="0"/>
                  </a:spcAft>
                  <a:buClr>
                    <a:srgbClr val="000000"/>
                  </a:buClr>
                  <a:buSzTx/>
                  <a:buFontTx/>
                  <a:buNone/>
                  <a:defRPr/>
                </a:pPr>
                <a:r>
                  <a:rPr kumimoji="0" lang="en-US" altLang="zh-CN" sz="163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63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91" name="Rectangle 21"/>
              <p:cNvSpPr txBox="1"/>
              <p:nvPr/>
            </p:nvSpPr>
            <p:spPr>
              <a:xfrm>
                <a:off x="5050124" y="2457419"/>
                <a:ext cx="929739" cy="44325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某某</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87" name="Rectangle 21"/>
              <p:cNvSpPr txBox="1"/>
              <p:nvPr/>
            </p:nvSpPr>
            <p:spPr>
              <a:xfrm>
                <a:off x="8129553" y="2457419"/>
                <a:ext cx="2187695" cy="36938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endParaRPr kumimoji="0" lang="zh-CN" altLang="en-US" sz="1400" b="0" i="0" u="none" strike="noStrike" kern="1200" cap="none" spc="0" normalizeH="0" baseline="30000" noProof="0" dirty="0">
                  <a:ln>
                    <a:noFill/>
                  </a:ln>
                  <a:solidFill>
                    <a:srgbClr val="000000"/>
                  </a:solidFill>
                  <a:effectLst/>
                  <a:uLnTx/>
                  <a:uFillTx/>
                  <a:latin typeface="Arial" panose="020B0604020202020204"/>
                  <a:ea typeface="华文楷体" panose="02010600040101010101" charset="-122"/>
                  <a:cs typeface="+mn-cs"/>
                </a:endParaRPr>
              </a:p>
            </p:txBody>
          </p:sp>
          <p:sp>
            <p:nvSpPr>
              <p:cNvPr id="93" name="Rectangle 21"/>
              <p:cNvSpPr txBox="1"/>
              <p:nvPr/>
            </p:nvSpPr>
            <p:spPr>
              <a:xfrm>
                <a:off x="6168383" y="3739504"/>
                <a:ext cx="1772649" cy="44325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日</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日</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94" name="Rectangle 21"/>
              <p:cNvSpPr txBox="1"/>
              <p:nvPr/>
            </p:nvSpPr>
            <p:spPr>
              <a:xfrm>
                <a:off x="5050124" y="3739504"/>
                <a:ext cx="929739" cy="44325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某某</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77" name="dtable170554751157760 10 40 314 94 52"/>
              <p:cNvSpPr txBox="1">
                <a:spLocks noChangeArrowheads="1"/>
              </p:cNvSpPr>
              <p:nvPr/>
            </p:nvSpPr>
            <p:spPr bwMode="auto">
              <a:xfrm>
                <a:off x="3805230" y="3739504"/>
                <a:ext cx="1056375" cy="1129448"/>
              </a:xfrm>
              <a:prstGeom prst="rect">
                <a:avLst/>
              </a:prstGeom>
              <a:solidFill>
                <a:srgbClr val="FFC3AB"/>
              </a:solidFill>
              <a:ln w="19050">
                <a:noFill/>
                <a:miter lim="800000"/>
              </a:ln>
              <a:effectLst/>
            </p:spPr>
            <p:txBody>
              <a:bodyPr vert="horz" wrap="square" lIns="270562" tIns="73472" rIns="73472" bIns="73472" numCol="1" anchor="ctr" anchorCtr="0" compatLnSpc="1">
                <a:noAutofit/>
              </a:bodyPr>
              <a:lstStyle>
                <a:defPPr>
                  <a:defRPr lang="en-US"/>
                </a:defPPr>
                <a:lvl1pPr marL="114300" lvl="0" indent="0" defTabSz="895350">
                  <a:buClr>
                    <a:srgbClr val="000000"/>
                  </a:buClr>
                  <a:defRPr sz="1630" b="1" baseline="0">
                    <a:solidFill>
                      <a:srgbClr val="000000"/>
                    </a:solidFill>
                  </a:defRPr>
                </a:lvl1pPr>
                <a:lvl2pPr marL="193675" lvl="1" indent="-192405" defTabSz="895350">
                  <a:buClr>
                    <a:schemeClr val="tx2"/>
                  </a:buClr>
                  <a:buSzPct val="125000"/>
                  <a:buFont typeface="Arial" panose="020B0604020202020204" pitchFamily="34" charset="0"/>
                  <a:buChar char="▪"/>
                  <a:defRPr baseline="0"/>
                </a:lvl2pPr>
                <a:lvl3pPr marL="457200" lvl="2" indent="-262255" defTabSz="895350">
                  <a:buClr>
                    <a:schemeClr val="tx2"/>
                  </a:buClr>
                  <a:buSzPct val="120000"/>
                  <a:buFont typeface="Arial" panose="020B0604020202020204" pitchFamily="34" charset="0"/>
                  <a:buChar char="–"/>
                  <a:defRPr baseline="0"/>
                </a:lvl3pPr>
                <a:lvl4pPr marL="614680" lvl="3" indent="-155575" defTabSz="895350">
                  <a:buClr>
                    <a:schemeClr val="tx2"/>
                  </a:buClr>
                  <a:buSzPct val="120000"/>
                  <a:buFont typeface="Arial" panose="020B0604020202020204" pitchFamily="34" charset="0"/>
                  <a:buChar char="▫"/>
                  <a:defRPr baseline="0"/>
                </a:lvl4pPr>
                <a:lvl5pPr marL="749935" lvl="4" indent="-130175" defTabSz="895350">
                  <a:buClr>
                    <a:schemeClr val="tx2"/>
                  </a:buClr>
                  <a:buSzPct val="89000"/>
                  <a:buFont typeface="Arial" panose="020B0604020202020204" pitchFamily="34" charset="0"/>
                  <a:buChar char="-"/>
                  <a:defRPr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marL="114300" marR="0" lvl="0" indent="0" algn="l" defTabSz="895350" rtl="0" eaLnBrk="1" fontAlgn="auto" latinLnBrk="0" hangingPunct="1">
                  <a:lnSpc>
                    <a:spcPct val="100000"/>
                  </a:lnSpc>
                  <a:spcBef>
                    <a:spcPts val="0"/>
                  </a:spcBef>
                  <a:spcAft>
                    <a:spcPts val="0"/>
                  </a:spcAft>
                  <a:buClr>
                    <a:srgbClr val="000000"/>
                  </a:buClr>
                  <a:buSzTx/>
                  <a:buFontTx/>
                  <a:buNone/>
                  <a:defRPr/>
                </a:pPr>
                <a:r>
                  <a:rPr kumimoji="0" lang="en-US" altLang="zh-CN" sz="163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63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92" name="Rectangle 21"/>
              <p:cNvSpPr txBox="1"/>
              <p:nvPr/>
            </p:nvSpPr>
            <p:spPr>
              <a:xfrm>
                <a:off x="8129553" y="3739504"/>
                <a:ext cx="2187695" cy="36938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endParaRPr kumimoji="0" lang="zh-CN" altLang="en-US" sz="1400" b="0" i="0" u="none" strike="noStrike" kern="1200" cap="none" spc="0" normalizeH="0" baseline="30000" noProof="0" dirty="0">
                  <a:ln>
                    <a:noFill/>
                  </a:ln>
                  <a:solidFill>
                    <a:srgbClr val="000000"/>
                  </a:solidFill>
                  <a:effectLst/>
                  <a:uLnTx/>
                  <a:uFillTx/>
                  <a:latin typeface="Arial" panose="020B0604020202020204"/>
                  <a:ea typeface="华文楷体" panose="02010600040101010101" charset="-122"/>
                  <a:cs typeface="+mn-cs"/>
                </a:endParaRPr>
              </a:p>
            </p:txBody>
          </p:sp>
          <p:sp>
            <p:nvSpPr>
              <p:cNvPr id="96" name="Rectangle 21"/>
              <p:cNvSpPr txBox="1"/>
              <p:nvPr/>
            </p:nvSpPr>
            <p:spPr>
              <a:xfrm>
                <a:off x="6168383" y="5021588"/>
                <a:ext cx="1772649" cy="44325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日</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日</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99" name="Rectangle 21"/>
              <p:cNvSpPr txBox="1"/>
              <p:nvPr/>
            </p:nvSpPr>
            <p:spPr>
              <a:xfrm>
                <a:off x="5050124" y="5021588"/>
                <a:ext cx="929739" cy="44325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某某</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79" name="dtable170554751157760 10 40 252 94 52"/>
              <p:cNvSpPr txBox="1">
                <a:spLocks noChangeArrowheads="1"/>
              </p:cNvSpPr>
              <p:nvPr/>
            </p:nvSpPr>
            <p:spPr bwMode="auto">
              <a:xfrm>
                <a:off x="3805230" y="5021587"/>
                <a:ext cx="1056375" cy="1129448"/>
              </a:xfrm>
              <a:prstGeom prst="rect">
                <a:avLst/>
              </a:prstGeom>
              <a:solidFill>
                <a:srgbClr val="FFC3AB"/>
              </a:solidFill>
              <a:ln w="19050">
                <a:noFill/>
                <a:miter lim="800000"/>
              </a:ln>
              <a:effectLst/>
            </p:spPr>
            <p:txBody>
              <a:bodyPr vert="horz" wrap="square" lIns="270562" tIns="73472" rIns="73472" bIns="73472" numCol="1" anchor="ctr" anchorCtr="0" compatLnSpc="1">
                <a:noAutofit/>
              </a:bodyPr>
              <a:lstStyle>
                <a:defPPr>
                  <a:defRPr lang="en-US"/>
                </a:defPPr>
                <a:lvl1pPr marL="114300" lvl="0" indent="0" defTabSz="895350">
                  <a:buClr>
                    <a:srgbClr val="000000"/>
                  </a:buClr>
                  <a:defRPr sz="1630" b="1" baseline="0">
                    <a:solidFill>
                      <a:srgbClr val="000000"/>
                    </a:solidFill>
                  </a:defRPr>
                </a:lvl1pPr>
                <a:lvl2pPr marL="193675" lvl="1" indent="-192405" defTabSz="895350">
                  <a:buClr>
                    <a:schemeClr val="tx2"/>
                  </a:buClr>
                  <a:buSzPct val="125000"/>
                  <a:buFont typeface="Arial" panose="020B0604020202020204" pitchFamily="34" charset="0"/>
                  <a:buChar char="▪"/>
                  <a:defRPr baseline="0"/>
                </a:lvl2pPr>
                <a:lvl3pPr marL="457200" lvl="2" indent="-262255" defTabSz="895350">
                  <a:buClr>
                    <a:schemeClr val="tx2"/>
                  </a:buClr>
                  <a:buSzPct val="120000"/>
                  <a:buFont typeface="Arial" panose="020B0604020202020204" pitchFamily="34" charset="0"/>
                  <a:buChar char="–"/>
                  <a:defRPr baseline="0"/>
                </a:lvl3pPr>
                <a:lvl4pPr marL="614680" lvl="3" indent="-155575" defTabSz="895350">
                  <a:buClr>
                    <a:schemeClr val="tx2"/>
                  </a:buClr>
                  <a:buSzPct val="120000"/>
                  <a:buFont typeface="Arial" panose="020B0604020202020204" pitchFamily="34" charset="0"/>
                  <a:buChar char="▫"/>
                  <a:defRPr baseline="0"/>
                </a:lvl4pPr>
                <a:lvl5pPr marL="749935" lvl="4" indent="-130175" defTabSz="895350">
                  <a:buClr>
                    <a:schemeClr val="tx2"/>
                  </a:buClr>
                  <a:buSzPct val="89000"/>
                  <a:buFont typeface="Arial" panose="020B0604020202020204" pitchFamily="34" charset="0"/>
                  <a:buChar char="-"/>
                  <a:defRPr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vl9pPr>
              </a:lstStyle>
              <a:p>
                <a:pPr marL="114300" marR="0" lvl="0" indent="0" algn="l" defTabSz="895350" rtl="0" eaLnBrk="1" fontAlgn="auto" latinLnBrk="0" hangingPunct="1">
                  <a:lnSpc>
                    <a:spcPct val="100000"/>
                  </a:lnSpc>
                  <a:spcBef>
                    <a:spcPts val="0"/>
                  </a:spcBef>
                  <a:spcAft>
                    <a:spcPts val="0"/>
                  </a:spcAft>
                  <a:buClr>
                    <a:srgbClr val="000000"/>
                  </a:buClr>
                  <a:buSzTx/>
                  <a:buFontTx/>
                  <a:buNone/>
                  <a:defRPr/>
                </a:pPr>
                <a:r>
                  <a:rPr kumimoji="0" lang="en-US" altLang="zh-CN" sz="163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63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sp>
            <p:nvSpPr>
              <p:cNvPr id="95" name="Rectangle 21"/>
              <p:cNvSpPr txBox="1"/>
              <p:nvPr/>
            </p:nvSpPr>
            <p:spPr>
              <a:xfrm>
                <a:off x="8129553" y="5021588"/>
                <a:ext cx="2187695" cy="36938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XXX</a:t>
                </a:r>
                <a:endParaRPr kumimoji="0" lang="en-US" altLang="zh-CN" sz="1400" b="0"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a:p>
                <a:pPr marL="238125" marR="0" lvl="1" indent="-236220" algn="l" defTabSz="895350" rtl="0" eaLnBrk="1" fontAlgn="auto" latinLnBrk="0" hangingPunct="1">
                  <a:lnSpc>
                    <a:spcPct val="100000"/>
                  </a:lnSpc>
                  <a:spcBef>
                    <a:spcPts val="0"/>
                  </a:spcBef>
                  <a:spcAft>
                    <a:spcPts val="0"/>
                  </a:spcAft>
                  <a:buClr>
                    <a:srgbClr val="575F6D"/>
                  </a:buClr>
                  <a:buSzPct val="125000"/>
                  <a:buFont typeface="Arial" panose="020B0604020202020204" pitchFamily="34" charset="0"/>
                  <a:buChar char="▪"/>
                  <a:defRPr/>
                </a:pPr>
                <a:endParaRPr kumimoji="0" lang="zh-CN" altLang="en-US" sz="1400" b="0" i="0" u="none" strike="noStrike" kern="1200" cap="none" spc="0" normalizeH="0" baseline="30000" noProof="0" dirty="0">
                  <a:ln>
                    <a:noFill/>
                  </a:ln>
                  <a:solidFill>
                    <a:srgbClr val="000000"/>
                  </a:solidFill>
                  <a:effectLst/>
                  <a:uLnTx/>
                  <a:uFillTx/>
                  <a:latin typeface="Arial" panose="020B0604020202020204"/>
                  <a:ea typeface="华文楷体" panose="02010600040101010101" charset="-122"/>
                  <a:cs typeface="+mn-cs"/>
                </a:endParaRPr>
              </a:p>
            </p:txBody>
          </p:sp>
          <p:sp>
            <p:nvSpPr>
              <p:cNvPr id="67" name="Rectangle 3"/>
              <p:cNvSpPr txBox="1"/>
              <p:nvPr/>
            </p:nvSpPr>
            <p:spPr>
              <a:xfrm>
                <a:off x="6168383" y="754996"/>
                <a:ext cx="1772649" cy="288448"/>
              </a:xfrm>
              <a:prstGeom prst="rect">
                <a:avLst/>
              </a:prstGeom>
              <a:solidFill>
                <a:schemeClr val="bg1"/>
              </a:solidFill>
              <a:ln w="9525">
                <a:noFill/>
                <a:miter lim="800000"/>
              </a:ln>
              <a:effectLst/>
            </p:spPr>
            <p:txBody>
              <a:bodyPr vert="horz" wrap="square" lIns="0" tIns="0" rIns="0" bIns="0" numCol="1" anchor="ctr"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000000"/>
                  </a:buClr>
                  <a:buSzTx/>
                  <a:buFontTx/>
                  <a:buNone/>
                  <a:defRPr/>
                </a:pPr>
                <a:r>
                  <a:rPr kumimoji="0" lang="zh-CN" altLang="en-US" sz="1835"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时间安排  </a:t>
                </a:r>
                <a:endParaRPr kumimoji="0" lang="en-US" sz="1835"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cxnSp>
            <p:nvCxnSpPr>
              <p:cNvPr id="84" name="hdivdtable170554751157760 2 2"/>
              <p:cNvCxnSpPr/>
              <p:nvPr/>
            </p:nvCxnSpPr>
            <p:spPr>
              <a:xfrm>
                <a:off x="6168383" y="1034340"/>
                <a:ext cx="1772649" cy="0"/>
              </a:xfrm>
              <a:prstGeom prst="line">
                <a:avLst/>
              </a:prstGeom>
              <a:ln>
                <a:solidFill>
                  <a:srgbClr val="FE5817"/>
                </a:solidFill>
              </a:ln>
            </p:spPr>
            <p:style>
              <a:lnRef idx="1">
                <a:schemeClr val="accent1"/>
              </a:lnRef>
              <a:fillRef idx="0">
                <a:schemeClr val="accent1"/>
              </a:fillRef>
              <a:effectRef idx="0">
                <a:schemeClr val="accent1"/>
              </a:effectRef>
              <a:fontRef idx="minor">
                <a:schemeClr val="tx1"/>
              </a:fontRef>
            </p:style>
          </p:cxnSp>
          <p:sp>
            <p:nvSpPr>
              <p:cNvPr id="81" name="Rectangle 3"/>
              <p:cNvSpPr txBox="1"/>
              <p:nvPr/>
            </p:nvSpPr>
            <p:spPr>
              <a:xfrm>
                <a:off x="5050124" y="754996"/>
                <a:ext cx="929739" cy="288448"/>
              </a:xfrm>
              <a:prstGeom prst="rect">
                <a:avLst/>
              </a:prstGeom>
              <a:solidFill>
                <a:schemeClr val="bg1"/>
              </a:solidFill>
              <a:ln w="9525">
                <a:noFill/>
                <a:miter lim="800000"/>
              </a:ln>
              <a:effectLst/>
            </p:spPr>
            <p:txBody>
              <a:bodyPr vert="horz" wrap="square" lIns="0" tIns="0" rIns="0" bIns="0" numCol="1" anchor="ctr"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000000"/>
                  </a:buClr>
                  <a:buSzTx/>
                  <a:buFontTx/>
                  <a:buNone/>
                  <a:defRPr/>
                </a:pPr>
                <a:r>
                  <a:rPr kumimoji="0" lang="zh-CN" altLang="en-US" sz="1835"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负责人</a:t>
                </a:r>
                <a:endParaRPr kumimoji="0" lang="en-US" sz="1835"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cxnSp>
            <p:nvCxnSpPr>
              <p:cNvPr id="85" name="hdivdtable170554751157760 2 2"/>
              <p:cNvCxnSpPr/>
              <p:nvPr/>
            </p:nvCxnSpPr>
            <p:spPr>
              <a:xfrm>
                <a:off x="5050124" y="1034340"/>
                <a:ext cx="929739" cy="0"/>
              </a:xfrm>
              <a:prstGeom prst="line">
                <a:avLst/>
              </a:prstGeom>
              <a:ln>
                <a:solidFill>
                  <a:srgbClr val="FE5817"/>
                </a:solidFill>
              </a:ln>
            </p:spPr>
            <p:style>
              <a:lnRef idx="1">
                <a:schemeClr val="accent1"/>
              </a:lnRef>
              <a:fillRef idx="0">
                <a:schemeClr val="accent1"/>
              </a:fillRef>
              <a:effectRef idx="0">
                <a:schemeClr val="accent1"/>
              </a:effectRef>
              <a:fontRef idx="minor">
                <a:schemeClr val="tx1"/>
              </a:fontRef>
            </p:style>
          </p:cxnSp>
          <p:sp>
            <p:nvSpPr>
              <p:cNvPr id="63" name="dtable170554751157760 10 144 100 256 17"/>
              <p:cNvSpPr txBox="1">
                <a:spLocks noChangeArrowheads="1"/>
              </p:cNvSpPr>
              <p:nvPr/>
            </p:nvSpPr>
            <p:spPr bwMode="auto">
              <a:xfrm>
                <a:off x="3805230" y="771090"/>
                <a:ext cx="1056375" cy="256260"/>
              </a:xfrm>
              <a:prstGeom prst="rect">
                <a:avLst/>
              </a:prstGeom>
              <a:solidFill>
                <a:schemeClr val="bg1"/>
              </a:solidFill>
              <a:ln w="9525">
                <a:noFill/>
                <a:miter lim="800000"/>
              </a:ln>
              <a:effectLst/>
            </p:spPr>
            <p:txBody>
              <a:bodyPr vert="horz" wrap="square" lIns="0" tIns="0" rIns="0" bIns="0" numCol="1" anchor="ctr" anchorCtr="0" compatLnSpc="1">
                <a:spAutoFit/>
              </a:bodyPr>
              <a:lstStyle>
                <a:defPPr>
                  <a:defRPr lang="en-US"/>
                </a:defPPr>
                <a:lvl1pPr marL="0" lvl="0" indent="0" defTabSz="895350" eaLnBrk="1" hangingPunct="1">
                  <a:buClr>
                    <a:srgbClr val="000000"/>
                  </a:buClr>
                  <a:defRPr sz="1400" b="1" baseline="0">
                    <a:solidFill>
                      <a:srgbClr val="000000"/>
                    </a:solidFill>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000000"/>
                  </a:buClr>
                  <a:buSzTx/>
                  <a:buFontTx/>
                  <a:buNone/>
                  <a:defRPr/>
                </a:pPr>
                <a:r>
                  <a:rPr kumimoji="0" lang="zh-CN" altLang="en-US" sz="163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工作流</a:t>
                </a:r>
                <a:endParaRPr kumimoji="0" lang="en-US" sz="1630"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cxnSp>
            <p:nvCxnSpPr>
              <p:cNvPr id="64" name="hdivdtable170554751157760 2 2"/>
              <p:cNvCxnSpPr/>
              <p:nvPr/>
            </p:nvCxnSpPr>
            <p:spPr>
              <a:xfrm>
                <a:off x="3805230" y="1034340"/>
                <a:ext cx="1056375" cy="0"/>
              </a:xfrm>
              <a:prstGeom prst="line">
                <a:avLst/>
              </a:prstGeom>
              <a:ln>
                <a:solidFill>
                  <a:srgbClr val="FE5817"/>
                </a:solidFill>
              </a:ln>
            </p:spPr>
            <p:style>
              <a:lnRef idx="1">
                <a:schemeClr val="accent1"/>
              </a:lnRef>
              <a:fillRef idx="0">
                <a:schemeClr val="accent1"/>
              </a:fillRef>
              <a:effectRef idx="0">
                <a:schemeClr val="accent1"/>
              </a:effectRef>
              <a:fontRef idx="minor">
                <a:schemeClr val="tx1"/>
              </a:fontRef>
            </p:style>
          </p:cxnSp>
          <p:sp>
            <p:nvSpPr>
              <p:cNvPr id="66" name="Rectangle 3"/>
              <p:cNvSpPr txBox="1"/>
              <p:nvPr/>
            </p:nvSpPr>
            <p:spPr>
              <a:xfrm>
                <a:off x="8129553" y="754996"/>
                <a:ext cx="2187695" cy="288448"/>
              </a:xfrm>
              <a:prstGeom prst="rect">
                <a:avLst/>
              </a:prstGeom>
              <a:solidFill>
                <a:schemeClr val="bg1"/>
              </a:solidFill>
              <a:ln w="9525">
                <a:noFill/>
                <a:miter lim="800000"/>
              </a:ln>
              <a:effectLst/>
            </p:spPr>
            <p:txBody>
              <a:bodyPr vert="horz" wrap="square" lIns="0" tIns="0" rIns="0" bIns="0" numCol="1" anchor="ctr" anchorCtr="0" compatLnSpc="1">
                <a:spAutoFit/>
              </a:bodyPr>
              <a:lstStyle>
                <a:lvl1pPr marL="0" lvl="0" indent="0" defTabSz="895350" eaLnBrk="1" hangingPunct="1">
                  <a:buClr>
                    <a:schemeClr val="tx2"/>
                  </a:buClr>
                  <a:defRPr baseline="0">
                    <a:latin typeface="+mn-lt"/>
                    <a:ea typeface="华文楷体" panose="02010600040101010101" charset="-122"/>
                  </a:defRPr>
                </a:lvl1pPr>
                <a:lvl2pPr marL="193675" indent="-192405" defTabSz="895350" eaLnBrk="1" hangingPunct="1">
                  <a:buClr>
                    <a:schemeClr val="tx2"/>
                  </a:buClr>
                  <a:buSzPct val="125000"/>
                  <a:buFont typeface="Arial" panose="020B0604020202020204" pitchFamily="34" charset="0"/>
                  <a:buChar char="▪"/>
                  <a:defRPr baseline="0">
                    <a:latin typeface="+mn-lt"/>
                    <a:ea typeface="华文楷体" panose="02010600040101010101" charset="-122"/>
                  </a:defRPr>
                </a:lvl2pPr>
                <a:lvl3pPr marL="457200" indent="-26225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3pPr>
                <a:lvl4pPr marL="614680" indent="-155575" defTabSz="895350" eaLnBrk="1" hangingPunct="1">
                  <a:buClr>
                    <a:schemeClr val="tx2"/>
                  </a:buClr>
                  <a:buSzPct val="120000"/>
                  <a:buFont typeface="Arial" panose="020B0604020202020204" pitchFamily="34" charset="0"/>
                  <a:buChar char="▫"/>
                  <a:defRPr baseline="0">
                    <a:latin typeface="+mn-lt"/>
                    <a:ea typeface="华文楷体" panose="02010600040101010101" charset="-122"/>
                  </a:defRPr>
                </a:lvl4pPr>
                <a:lvl5pPr marL="749935" indent="-130175" defTabSz="895350" eaLnBrk="1" hangingPunct="1">
                  <a:buClr>
                    <a:schemeClr val="tx2"/>
                  </a:buClr>
                  <a:buSzPct val="89000"/>
                  <a:buFont typeface="Arial" panose="020B0604020202020204" pitchFamily="34" charset="0"/>
                  <a:buChar char="-"/>
                  <a:defRPr baseline="0">
                    <a:latin typeface="+mn-lt"/>
                    <a:ea typeface="华文楷体" panose="02010600040101010101" charset="-122"/>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000000"/>
                  </a:buClr>
                  <a:buSzTx/>
                  <a:buFontTx/>
                  <a:buNone/>
                  <a:defRPr/>
                </a:pPr>
                <a:r>
                  <a:rPr kumimoji="0" lang="zh-CN" altLang="en-US" sz="1835"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rPr>
                  <a:t>具体工作</a:t>
                </a:r>
                <a:endParaRPr kumimoji="0" lang="en-US" sz="1835" b="1" i="0" u="none" strike="noStrike" kern="1200" cap="none" spc="0" normalizeH="0" baseline="0" noProof="0" dirty="0">
                  <a:ln>
                    <a:noFill/>
                  </a:ln>
                  <a:solidFill>
                    <a:srgbClr val="000000"/>
                  </a:solidFill>
                  <a:effectLst/>
                  <a:uLnTx/>
                  <a:uFillTx/>
                  <a:latin typeface="Arial" panose="020B0604020202020204"/>
                  <a:ea typeface="华文楷体" panose="02010600040101010101" charset="-122"/>
                  <a:cs typeface="+mn-cs"/>
                </a:endParaRPr>
              </a:p>
            </p:txBody>
          </p:sp>
          <p:cxnSp>
            <p:nvCxnSpPr>
              <p:cNvPr id="46" name="hdivdtable170554751157760 2 2"/>
              <p:cNvCxnSpPr/>
              <p:nvPr/>
            </p:nvCxnSpPr>
            <p:spPr>
              <a:xfrm>
                <a:off x="8129553" y="1034340"/>
                <a:ext cx="2187695" cy="0"/>
              </a:xfrm>
              <a:prstGeom prst="line">
                <a:avLst/>
              </a:prstGeom>
              <a:ln>
                <a:solidFill>
                  <a:srgbClr val="FE5817"/>
                </a:solidFill>
              </a:ln>
            </p:spPr>
            <p:style>
              <a:lnRef idx="1">
                <a:schemeClr val="accent1"/>
              </a:lnRef>
              <a:fillRef idx="0">
                <a:schemeClr val="accent1"/>
              </a:fillRef>
              <a:effectRef idx="0">
                <a:schemeClr val="accent1"/>
              </a:effectRef>
              <a:fontRef idx="minor">
                <a:schemeClr val="tx1"/>
              </a:fontRef>
            </p:style>
          </p:cxnSp>
          <p:sp>
            <p:nvSpPr>
              <p:cNvPr id="51" name="ListLeanHorizontalTextTopic0"/>
              <p:cNvSpPr txBox="1"/>
              <p:nvPr/>
            </p:nvSpPr>
            <p:spPr>
              <a:xfrm>
                <a:off x="2006530" y="2852792"/>
                <a:ext cx="1328586" cy="1013723"/>
              </a:xfrm>
              <a:prstGeom prst="rect">
                <a:avLst/>
              </a:prstGeom>
              <a:solidFill>
                <a:srgbClr val="FFC3AB"/>
              </a:solidFill>
              <a:ln w="9525">
                <a:noFill/>
              </a:ln>
            </p:spPr>
            <p:txBody>
              <a:bodyPr vert="horz" wrap="square" lIns="270562" tIns="73472" rIns="73472" bIns="73472"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部门</a:t>
                </a:r>
                <a:r>
                  <a:rPr kumimoji="0" lang="en-US" altLang="zh-CN"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a:t>
                </a:r>
                <a:r>
                  <a:rPr kumimoji="0" lang="zh-CN" alt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业务</a:t>
                </a:r>
                <a:r>
                  <a:rPr kumimoji="0" lang="en-US" altLang="zh-CN"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a:t>
                </a:r>
                <a:endParaRPr kumimoji="0" lang="en-US" altLang="zh-CN"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产品</a:t>
                </a:r>
                <a:endParaRPr kumimoji="0" lang="en-US" altLang="zh-CN"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52" name="Oval 83"/>
              <p:cNvSpPr>
                <a:spLocks noChangeArrowheads="1"/>
              </p:cNvSpPr>
              <p:nvPr/>
            </p:nvSpPr>
            <p:spPr bwMode="gray">
              <a:xfrm>
                <a:off x="2021492" y="3233701"/>
                <a:ext cx="215418" cy="251903"/>
              </a:xfrm>
              <a:prstGeom prst="ellipse">
                <a:avLst/>
              </a:prstGeom>
              <a:solidFill>
                <a:srgbClr val="FFC3AB"/>
              </a:solidFill>
              <a:ln w="9525">
                <a:solidFill>
                  <a:schemeClr val="bg1"/>
                </a:solidFill>
                <a:round/>
              </a:ln>
              <a:effectLst/>
            </p:spPr>
            <p:txBody>
              <a:bodyPr vert="horz" wrap="square" lIns="0" tIns="0" rIns="0" bIns="0" numCol="1" anchor="ctr" anchorCtr="1" compatLnSpc="1"/>
              <a:lstStyle/>
              <a:p>
                <a:pPr marL="0" marR="0" lvl="0" indent="0" algn="l" defTabSz="1063625" rtl="0" eaLnBrk="1" fontAlgn="auto" latinLnBrk="0" hangingPunct="1">
                  <a:lnSpc>
                    <a:spcPct val="100000"/>
                  </a:lnSpc>
                  <a:spcBef>
                    <a:spcPts val="0"/>
                  </a:spcBef>
                  <a:spcAft>
                    <a:spcPts val="0"/>
                  </a:spcAft>
                  <a:buClrTx/>
                  <a:buSzTx/>
                  <a:buFontTx/>
                  <a:buNone/>
                  <a:defRPr/>
                </a:pPr>
                <a:r>
                  <a:rPr kumimoji="0" 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rPr>
                  <a:t>1</a:t>
                </a:r>
                <a:endParaRPr kumimoji="0" 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endParaRPr>
              </a:p>
            </p:txBody>
          </p:sp>
          <p:sp>
            <p:nvSpPr>
              <p:cNvPr id="50" name="Rectangle 9"/>
              <p:cNvSpPr txBox="1">
                <a:spLocks noChangeArrowheads="1"/>
              </p:cNvSpPr>
              <p:nvPr/>
            </p:nvSpPr>
            <p:spPr bwMode="auto">
              <a:xfrm>
                <a:off x="1767848" y="771091"/>
                <a:ext cx="1567268" cy="404638"/>
              </a:xfrm>
              <a:prstGeom prst="rect">
                <a:avLst/>
              </a:prstGeom>
              <a:solidFill>
                <a:srgbClr val="FFC3AB"/>
              </a:solidFill>
              <a:ln w="9525">
                <a:noFill/>
                <a:miter lim="800000"/>
              </a:ln>
              <a:effectLst/>
            </p:spPr>
            <p:txBody>
              <a:bodyPr vert="horz" wrap="square" lIns="73472" tIns="73472" rIns="73472" bIns="73472" numCol="1" anchor="ctr"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575F6D"/>
                  </a:buClr>
                  <a:buSzTx/>
                  <a:buFontTx/>
                  <a:buNone/>
                  <a:defRPr/>
                </a:pPr>
                <a:r>
                  <a:rPr kumimoji="0" lang="zh-CN" altLang="en-US" sz="163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关键战略举措</a:t>
                </a:r>
                <a:endParaRPr kumimoji="0" lang="en-US" altLang="ko-KR" sz="163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3" name="Freeform 2"/>
              <p:cNvSpPr/>
              <p:nvPr/>
            </p:nvSpPr>
            <p:spPr>
              <a:xfrm>
                <a:off x="3317468" y="773608"/>
                <a:ext cx="76627" cy="401726"/>
              </a:xfrm>
              <a:custGeom>
                <a:avLst/>
                <a:gdLst>
                  <a:gd name="connsiteX0" fmla="*/ 0 w 80963"/>
                  <a:gd name="connsiteY0" fmla="*/ 381000 h 381000"/>
                  <a:gd name="connsiteX1" fmla="*/ 80963 w 80963"/>
                  <a:gd name="connsiteY1" fmla="*/ 381000 h 381000"/>
                  <a:gd name="connsiteX2" fmla="*/ 38100 w 80963"/>
                  <a:gd name="connsiteY2" fmla="*/ 0 h 381000"/>
                  <a:gd name="connsiteX3" fmla="*/ 4763 w 80963"/>
                  <a:gd name="connsiteY3" fmla="*/ 0 h 381000"/>
                  <a:gd name="connsiteX4" fmla="*/ 0 w 80963"/>
                  <a:gd name="connsiteY4" fmla="*/ 38100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3" h="381000">
                    <a:moveTo>
                      <a:pt x="0" y="381000"/>
                    </a:moveTo>
                    <a:lnTo>
                      <a:pt x="80963" y="381000"/>
                    </a:lnTo>
                    <a:lnTo>
                      <a:pt x="38100" y="0"/>
                    </a:lnTo>
                    <a:lnTo>
                      <a:pt x="4763" y="0"/>
                    </a:lnTo>
                    <a:cubicBezTo>
                      <a:pt x="3175" y="127000"/>
                      <a:pt x="1588" y="254000"/>
                      <a:pt x="0" y="381000"/>
                    </a:cubicBezTo>
                    <a:close/>
                  </a:path>
                </a:pathLst>
              </a:custGeom>
              <a:solidFill>
                <a:srgbClr val="FFC3A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36" name="Oval 83"/>
              <p:cNvSpPr>
                <a:spLocks noChangeArrowheads="1"/>
              </p:cNvSpPr>
              <p:nvPr/>
            </p:nvSpPr>
            <p:spPr bwMode="gray">
              <a:xfrm>
                <a:off x="3859083" y="1614106"/>
                <a:ext cx="215418" cy="251903"/>
              </a:xfrm>
              <a:prstGeom prst="ellipse">
                <a:avLst/>
              </a:prstGeom>
              <a:solidFill>
                <a:srgbClr val="FFC3AB"/>
              </a:solidFill>
              <a:ln w="9525">
                <a:solidFill>
                  <a:schemeClr val="bg1"/>
                </a:solidFill>
                <a:round/>
              </a:ln>
              <a:effectLst/>
            </p:spPr>
            <p:txBody>
              <a:bodyPr vert="horz" wrap="square" lIns="0" tIns="0" rIns="0" bIns="0" numCol="1" anchor="ctr" anchorCtr="1" compatLnSpc="1"/>
              <a:lstStyle/>
              <a:p>
                <a:pPr marL="0" marR="0" lvl="0" indent="0" algn="l" defTabSz="1063625"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rPr>
                  <a:t>A</a:t>
                </a:r>
                <a:endParaRPr kumimoji="0" 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endParaRPr>
              </a:p>
            </p:txBody>
          </p:sp>
          <p:sp>
            <p:nvSpPr>
              <p:cNvPr id="37" name="Oval 83"/>
              <p:cNvSpPr>
                <a:spLocks noChangeArrowheads="1"/>
              </p:cNvSpPr>
              <p:nvPr/>
            </p:nvSpPr>
            <p:spPr bwMode="gray">
              <a:xfrm>
                <a:off x="3859083" y="2896191"/>
                <a:ext cx="215418" cy="251903"/>
              </a:xfrm>
              <a:prstGeom prst="ellipse">
                <a:avLst/>
              </a:prstGeom>
              <a:solidFill>
                <a:srgbClr val="FFC3AB"/>
              </a:solidFill>
              <a:ln w="9525">
                <a:solidFill>
                  <a:schemeClr val="bg1"/>
                </a:solidFill>
                <a:round/>
              </a:ln>
              <a:effectLst/>
            </p:spPr>
            <p:txBody>
              <a:bodyPr vert="horz" wrap="square" lIns="0" tIns="0" rIns="0" bIns="0" numCol="1" anchor="ctr" anchorCtr="1" compatLnSpc="1"/>
              <a:lstStyle/>
              <a:p>
                <a:pPr marL="0" marR="0" lvl="0" indent="0" algn="l" defTabSz="1063625"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rPr>
                  <a:t>B</a:t>
                </a:r>
                <a:endParaRPr kumimoji="0" 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endParaRPr>
              </a:p>
            </p:txBody>
          </p:sp>
          <p:sp>
            <p:nvSpPr>
              <p:cNvPr id="38" name="Oval 83"/>
              <p:cNvSpPr>
                <a:spLocks noChangeArrowheads="1"/>
              </p:cNvSpPr>
              <p:nvPr/>
            </p:nvSpPr>
            <p:spPr bwMode="gray">
              <a:xfrm>
                <a:off x="3859083" y="4178276"/>
                <a:ext cx="215418" cy="251903"/>
              </a:xfrm>
              <a:prstGeom prst="ellipse">
                <a:avLst/>
              </a:prstGeom>
              <a:solidFill>
                <a:srgbClr val="FFC3AB"/>
              </a:solidFill>
              <a:ln w="9525">
                <a:solidFill>
                  <a:schemeClr val="bg1"/>
                </a:solidFill>
                <a:round/>
              </a:ln>
              <a:effectLst/>
            </p:spPr>
            <p:txBody>
              <a:bodyPr vert="horz" wrap="square" lIns="0" tIns="0" rIns="0" bIns="0" numCol="1" anchor="ctr" anchorCtr="1" compatLnSpc="1"/>
              <a:lstStyle/>
              <a:p>
                <a:pPr marL="0" marR="0" lvl="0" indent="0" algn="l" defTabSz="1063625"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rPr>
                  <a:t>C</a:t>
                </a:r>
                <a:endParaRPr kumimoji="0" 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endParaRPr>
              </a:p>
            </p:txBody>
          </p:sp>
          <p:sp>
            <p:nvSpPr>
              <p:cNvPr id="39" name="Oval 83"/>
              <p:cNvSpPr>
                <a:spLocks noChangeArrowheads="1"/>
              </p:cNvSpPr>
              <p:nvPr/>
            </p:nvSpPr>
            <p:spPr bwMode="gray">
              <a:xfrm>
                <a:off x="3859083" y="5460360"/>
                <a:ext cx="215418" cy="251903"/>
              </a:xfrm>
              <a:prstGeom prst="ellipse">
                <a:avLst/>
              </a:prstGeom>
              <a:solidFill>
                <a:srgbClr val="FFC3AB"/>
              </a:solidFill>
              <a:ln w="9525">
                <a:solidFill>
                  <a:schemeClr val="bg1"/>
                </a:solidFill>
                <a:round/>
              </a:ln>
              <a:effectLst/>
            </p:spPr>
            <p:txBody>
              <a:bodyPr vert="horz" wrap="square" lIns="0" tIns="0" rIns="0" bIns="0" numCol="1" anchor="ctr" anchorCtr="1" compatLnSpc="1"/>
              <a:lstStyle/>
              <a:p>
                <a:pPr marL="0" marR="0" lvl="0" indent="0" algn="l" defTabSz="1063625" rtl="0" eaLnBrk="1" fontAlgn="auto" latinLnBrk="0" hangingPunct="1">
                  <a:lnSpc>
                    <a:spcPct val="100000"/>
                  </a:lnSpc>
                  <a:spcBef>
                    <a:spcPts val="0"/>
                  </a:spcBef>
                  <a:spcAft>
                    <a:spcPts val="0"/>
                  </a:spcAft>
                  <a:buClrTx/>
                  <a:buSzTx/>
                  <a:buFontTx/>
                  <a:buNone/>
                  <a:defRPr/>
                </a:pPr>
                <a:r>
                  <a:rPr kumimoji="0" lang="en-US" altLang="zh-CN"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rPr>
                  <a:t>D</a:t>
                </a:r>
                <a:endParaRPr kumimoji="0" 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endParaRPr>
              </a:p>
            </p:txBody>
          </p:sp>
        </p:grpSp>
      </p:grpSp>
      <p:pic>
        <p:nvPicPr>
          <p:cNvPr id="53" name="图片 5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56"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solidFill>
                  <a:prstClr val="black"/>
                </a:solidFill>
              </a:rPr>
              <a:t>工作</a:t>
            </a:r>
            <a:r>
              <a:rPr lang="zh-CN" altLang="en-US" sz="2400" dirty="0">
                <a:solidFill>
                  <a:prstClr val="black"/>
                </a:solidFill>
              </a:rPr>
              <a:t>流分解表：将关键战略举措细分至工作流和具体工作细</a:t>
            </a:r>
            <a:r>
              <a:rPr lang="zh-CN" altLang="en-US" sz="2400" dirty="0" smtClean="0">
                <a:solidFill>
                  <a:prstClr val="black"/>
                </a:solidFill>
              </a:rPr>
              <a:t>项</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对象 9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4778" name="think-cell Slide" r:id="rId2" imgW="12700" imgH="12700" progId="TCLayout.ActiveDocument.1">
                  <p:embed/>
                </p:oleObj>
              </mc:Choice>
              <mc:Fallback>
                <p:oleObj name="think-cell Slide" r:id="rId2" imgW="12700" imgH="12700" progId="TCLayout.ActiveDocument.1">
                  <p:embed/>
                  <p:pic>
                    <p:nvPicPr>
                      <p:cNvPr id="0" name="对象 93" hidden="1"/>
                      <p:cNvPicPr/>
                      <p:nvPr/>
                    </p:nvPicPr>
                    <p:blipFill>
                      <a:blip r:embed="rId3"/>
                      <a:stretch>
                        <a:fillRect/>
                      </a:stretch>
                    </p:blipFill>
                    <p:spPr>
                      <a:xfrm>
                        <a:off x="1588" y="1588"/>
                        <a:ext cx="1587" cy="1587"/>
                      </a:xfrm>
                      <a:prstGeom prst="rect">
                        <a:avLst/>
                      </a:prstGeom>
                    </p:spPr>
                  </p:pic>
                </p:oleObj>
              </mc:Fallback>
            </mc:AlternateContent>
          </a:graphicData>
        </a:graphic>
      </p:graphicFrame>
      <p:cxnSp>
        <p:nvCxnSpPr>
          <p:cNvPr id="4" name="直接箭头连接符 3"/>
          <p:cNvCxnSpPr/>
          <p:nvPr/>
        </p:nvCxnSpPr>
        <p:spPr>
          <a:xfrm>
            <a:off x="1201216" y="1331651"/>
            <a:ext cx="9220202" cy="0"/>
          </a:xfrm>
          <a:prstGeom prst="straightConnector1">
            <a:avLst/>
          </a:prstGeom>
          <a:ln w="38100" cap="rnd">
            <a:solidFill>
              <a:schemeClr val="bg1">
                <a:lumMod val="50000"/>
              </a:schemeClr>
            </a:solidFill>
            <a:prstDash val="solid"/>
            <a:round/>
            <a:headEnd type="none" w="med" len="med"/>
            <a:tailEnd type="stealth" w="med" len="med"/>
          </a:ln>
        </p:spPr>
        <p:style>
          <a:lnRef idx="1">
            <a:schemeClr val="accent1"/>
          </a:lnRef>
          <a:fillRef idx="0">
            <a:schemeClr val="accent1"/>
          </a:fillRef>
          <a:effectRef idx="0">
            <a:schemeClr val="accent1"/>
          </a:effectRef>
          <a:fontRef idx="minor">
            <a:schemeClr val="tx1"/>
          </a:fontRef>
        </p:style>
      </p:cxnSp>
      <p:sp>
        <p:nvSpPr>
          <p:cNvPr id="22" name="矩形 21"/>
          <p:cNvSpPr/>
          <p:nvPr/>
        </p:nvSpPr>
        <p:spPr>
          <a:xfrm>
            <a:off x="3198269"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5</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4" name="矩形 23"/>
          <p:cNvSpPr/>
          <p:nvPr/>
        </p:nvSpPr>
        <p:spPr>
          <a:xfrm>
            <a:off x="1282262" y="1004803"/>
            <a:ext cx="656349"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Day1</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5" name="矩形 24"/>
          <p:cNvSpPr/>
          <p:nvPr/>
        </p:nvSpPr>
        <p:spPr>
          <a:xfrm>
            <a:off x="1874282"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2</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6" name="矩形 25"/>
          <p:cNvSpPr/>
          <p:nvPr/>
        </p:nvSpPr>
        <p:spPr>
          <a:xfrm>
            <a:off x="2315611"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3</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7" name="矩形 26"/>
          <p:cNvSpPr/>
          <p:nvPr/>
        </p:nvSpPr>
        <p:spPr>
          <a:xfrm>
            <a:off x="2756940"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4</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8" name="矩形 27"/>
          <p:cNvSpPr/>
          <p:nvPr/>
        </p:nvSpPr>
        <p:spPr>
          <a:xfrm>
            <a:off x="3639598"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6</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9" name="矩形 28"/>
          <p:cNvSpPr/>
          <p:nvPr/>
        </p:nvSpPr>
        <p:spPr>
          <a:xfrm>
            <a:off x="4080927"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7</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0" name="矩形 29"/>
          <p:cNvSpPr/>
          <p:nvPr/>
        </p:nvSpPr>
        <p:spPr>
          <a:xfrm>
            <a:off x="4522256"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8</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1" name="矩形 30"/>
          <p:cNvSpPr/>
          <p:nvPr/>
        </p:nvSpPr>
        <p:spPr>
          <a:xfrm>
            <a:off x="4963585"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9</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2" name="矩形 31"/>
          <p:cNvSpPr/>
          <p:nvPr/>
        </p:nvSpPr>
        <p:spPr>
          <a:xfrm>
            <a:off x="5404914"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10</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3" name="矩形 32"/>
          <p:cNvSpPr/>
          <p:nvPr/>
        </p:nvSpPr>
        <p:spPr>
          <a:xfrm>
            <a:off x="5846243"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11</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4" name="矩形 33"/>
          <p:cNvSpPr/>
          <p:nvPr/>
        </p:nvSpPr>
        <p:spPr>
          <a:xfrm>
            <a:off x="6287572"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12</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5" name="矩形 34"/>
          <p:cNvSpPr/>
          <p:nvPr/>
        </p:nvSpPr>
        <p:spPr>
          <a:xfrm>
            <a:off x="6728901"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13</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6" name="矩形 35"/>
          <p:cNvSpPr/>
          <p:nvPr/>
        </p:nvSpPr>
        <p:spPr>
          <a:xfrm>
            <a:off x="7170230"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14</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7" name="矩形 36"/>
          <p:cNvSpPr/>
          <p:nvPr/>
        </p:nvSpPr>
        <p:spPr>
          <a:xfrm>
            <a:off x="7611559"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15</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8" name="矩形 37"/>
          <p:cNvSpPr/>
          <p:nvPr/>
        </p:nvSpPr>
        <p:spPr>
          <a:xfrm>
            <a:off x="8052888"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16</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9" name="矩形 38"/>
          <p:cNvSpPr/>
          <p:nvPr/>
        </p:nvSpPr>
        <p:spPr>
          <a:xfrm>
            <a:off x="8494217"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17</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0" name="矩形 39"/>
          <p:cNvSpPr/>
          <p:nvPr/>
        </p:nvSpPr>
        <p:spPr>
          <a:xfrm>
            <a:off x="8935546"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18</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1" name="矩形 40"/>
          <p:cNvSpPr/>
          <p:nvPr/>
        </p:nvSpPr>
        <p:spPr>
          <a:xfrm>
            <a:off x="9376875"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19</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2" name="矩形 41"/>
          <p:cNvSpPr/>
          <p:nvPr/>
        </p:nvSpPr>
        <p:spPr>
          <a:xfrm>
            <a:off x="9818201" y="1004803"/>
            <a:ext cx="442596" cy="269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rPr>
              <a:t>20</a:t>
            </a:r>
            <a:endParaRPr kumimoji="0" lang="zh-CN" altLang="en-US" sz="1400" b="0" i="1" u="none" strike="noStrike" kern="1200" cap="none" spc="0" normalizeH="0" baseline="0" noProof="0" dirty="0" smtClean="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5" name="椭圆 44"/>
          <p:cNvSpPr/>
          <p:nvPr/>
        </p:nvSpPr>
        <p:spPr bwMode="auto">
          <a:xfrm>
            <a:off x="1583229"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46" name="椭圆 45"/>
          <p:cNvSpPr/>
          <p:nvPr/>
        </p:nvSpPr>
        <p:spPr bwMode="auto">
          <a:xfrm>
            <a:off x="2024558"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47" name="椭圆 46"/>
          <p:cNvSpPr/>
          <p:nvPr/>
        </p:nvSpPr>
        <p:spPr bwMode="auto">
          <a:xfrm>
            <a:off x="2465887"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48" name="椭圆 47"/>
          <p:cNvSpPr/>
          <p:nvPr/>
        </p:nvSpPr>
        <p:spPr bwMode="auto">
          <a:xfrm>
            <a:off x="2907216"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49" name="椭圆 48"/>
          <p:cNvSpPr/>
          <p:nvPr/>
        </p:nvSpPr>
        <p:spPr bwMode="auto">
          <a:xfrm>
            <a:off x="3348545"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50" name="椭圆 49"/>
          <p:cNvSpPr/>
          <p:nvPr/>
        </p:nvSpPr>
        <p:spPr bwMode="auto">
          <a:xfrm>
            <a:off x="3789874"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51" name="椭圆 50"/>
          <p:cNvSpPr/>
          <p:nvPr/>
        </p:nvSpPr>
        <p:spPr bwMode="auto">
          <a:xfrm>
            <a:off x="4231203"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52" name="椭圆 51"/>
          <p:cNvSpPr/>
          <p:nvPr/>
        </p:nvSpPr>
        <p:spPr bwMode="auto">
          <a:xfrm>
            <a:off x="4672532"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53" name="椭圆 52"/>
          <p:cNvSpPr/>
          <p:nvPr/>
        </p:nvSpPr>
        <p:spPr bwMode="auto">
          <a:xfrm>
            <a:off x="5113861"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54" name="椭圆 53"/>
          <p:cNvSpPr/>
          <p:nvPr/>
        </p:nvSpPr>
        <p:spPr bwMode="auto">
          <a:xfrm>
            <a:off x="5555190"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55" name="椭圆 54"/>
          <p:cNvSpPr/>
          <p:nvPr/>
        </p:nvSpPr>
        <p:spPr bwMode="auto">
          <a:xfrm>
            <a:off x="6437848"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56" name="椭圆 55"/>
          <p:cNvSpPr/>
          <p:nvPr/>
        </p:nvSpPr>
        <p:spPr bwMode="auto">
          <a:xfrm>
            <a:off x="6879177"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57" name="椭圆 56"/>
          <p:cNvSpPr/>
          <p:nvPr/>
        </p:nvSpPr>
        <p:spPr bwMode="auto">
          <a:xfrm>
            <a:off x="7320506"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58" name="椭圆 57"/>
          <p:cNvSpPr/>
          <p:nvPr/>
        </p:nvSpPr>
        <p:spPr bwMode="auto">
          <a:xfrm>
            <a:off x="7761835"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59" name="椭圆 58"/>
          <p:cNvSpPr/>
          <p:nvPr/>
        </p:nvSpPr>
        <p:spPr bwMode="auto">
          <a:xfrm>
            <a:off x="8203164"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60" name="椭圆 59"/>
          <p:cNvSpPr/>
          <p:nvPr/>
        </p:nvSpPr>
        <p:spPr bwMode="auto">
          <a:xfrm>
            <a:off x="8644493"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61" name="椭圆 60"/>
          <p:cNvSpPr/>
          <p:nvPr/>
        </p:nvSpPr>
        <p:spPr bwMode="auto">
          <a:xfrm>
            <a:off x="9085822"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62" name="椭圆 61"/>
          <p:cNvSpPr/>
          <p:nvPr/>
        </p:nvSpPr>
        <p:spPr bwMode="auto">
          <a:xfrm>
            <a:off x="9527151"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63" name="椭圆 62"/>
          <p:cNvSpPr/>
          <p:nvPr/>
        </p:nvSpPr>
        <p:spPr bwMode="auto">
          <a:xfrm>
            <a:off x="9968477"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64" name="椭圆 63"/>
          <p:cNvSpPr/>
          <p:nvPr/>
        </p:nvSpPr>
        <p:spPr bwMode="auto">
          <a:xfrm>
            <a:off x="5996519" y="1260629"/>
            <a:ext cx="142044" cy="142044"/>
          </a:xfrm>
          <a:prstGeom prst="ellipse">
            <a:avLst/>
          </a:prstGeom>
          <a:solidFill>
            <a:srgbClr val="E75C01"/>
          </a:solidFill>
          <a:ln w="9525" algn="ctr">
            <a:solidFill>
              <a:schemeClr val="bg1"/>
            </a:solidFill>
            <a:round/>
          </a:ln>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grpSp>
        <p:nvGrpSpPr>
          <p:cNvPr id="88" name="组合 87"/>
          <p:cNvGrpSpPr/>
          <p:nvPr/>
        </p:nvGrpSpPr>
        <p:grpSpPr>
          <a:xfrm>
            <a:off x="1660635" y="1418896"/>
            <a:ext cx="8378864" cy="4656083"/>
            <a:chOff x="2102069" y="1418896"/>
            <a:chExt cx="8378864" cy="4656083"/>
          </a:xfrm>
        </p:grpSpPr>
        <p:cxnSp>
          <p:nvCxnSpPr>
            <p:cNvPr id="68" name="直接连接符 67"/>
            <p:cNvCxnSpPr/>
            <p:nvPr/>
          </p:nvCxnSpPr>
          <p:spPr>
            <a:xfrm>
              <a:off x="2102069"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9" name="直接连接符 68"/>
            <p:cNvCxnSpPr/>
            <p:nvPr/>
          </p:nvCxnSpPr>
          <p:spPr>
            <a:xfrm>
              <a:off x="2543062"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a:off x="2984055"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a:off x="3425048"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2" name="直接连接符 71"/>
            <p:cNvCxnSpPr/>
            <p:nvPr/>
          </p:nvCxnSpPr>
          <p:spPr>
            <a:xfrm>
              <a:off x="3866041"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a:off x="4307034" y="1418896"/>
              <a:ext cx="0" cy="4656083"/>
            </a:xfrm>
            <a:prstGeom prst="line">
              <a:avLst/>
            </a:prstGeom>
            <a:ln w="9525" cap="rnd">
              <a:solidFill>
                <a:schemeClr val="tx1">
                  <a:lumMod val="85000"/>
                  <a:lumOff val="1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a:off x="4748027"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a:off x="5189020"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a:off x="5630013"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6071006"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6511999"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6952992"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7393985"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a:off x="7834978"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a:off x="8275971" y="1418896"/>
              <a:ext cx="0" cy="4656083"/>
            </a:xfrm>
            <a:prstGeom prst="line">
              <a:avLst/>
            </a:prstGeom>
            <a:ln w="9525" cap="rnd">
              <a:solidFill>
                <a:schemeClr val="tx1">
                  <a:lumMod val="85000"/>
                  <a:lumOff val="1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a:off x="8716964"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a:off x="9157957"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a:off x="9598950"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6" name="直接连接符 85"/>
            <p:cNvCxnSpPr/>
            <p:nvPr/>
          </p:nvCxnSpPr>
          <p:spPr>
            <a:xfrm>
              <a:off x="10039943" y="1418896"/>
              <a:ext cx="0" cy="4656083"/>
            </a:xfrm>
            <a:prstGeom prst="line">
              <a:avLst/>
            </a:prstGeom>
            <a:ln w="1270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a:off x="10480933" y="1418896"/>
              <a:ext cx="0" cy="4656083"/>
            </a:xfrm>
            <a:prstGeom prst="line">
              <a:avLst/>
            </a:prstGeom>
            <a:ln w="9525" cap="rnd">
              <a:solidFill>
                <a:schemeClr val="bg1">
                  <a:lumMod val="95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93" name="直接箭头连接符 92"/>
          <p:cNvCxnSpPr/>
          <p:nvPr/>
        </p:nvCxnSpPr>
        <p:spPr>
          <a:xfrm>
            <a:off x="1072056" y="6096000"/>
            <a:ext cx="2722179" cy="0"/>
          </a:xfrm>
          <a:prstGeom prst="straightConnector1">
            <a:avLst/>
          </a:prstGeom>
          <a:ln w="9525" cap="rnd">
            <a:solidFill>
              <a:schemeClr val="accent1">
                <a:lumMod val="75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89" name="TextBox 40"/>
          <p:cNvSpPr txBox="1"/>
          <p:nvPr/>
        </p:nvSpPr>
        <p:spPr>
          <a:xfrm>
            <a:off x="1910354" y="5936537"/>
            <a:ext cx="1040814" cy="29869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rPr>
              <a:t>审</a:t>
            </a:r>
            <a:r>
              <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计准备</a:t>
            </a:r>
            <a:endPar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endParaRPr>
          </a:p>
        </p:txBody>
      </p:sp>
      <p:cxnSp>
        <p:nvCxnSpPr>
          <p:cNvPr id="95" name="直接箭头连接符 94"/>
          <p:cNvCxnSpPr/>
          <p:nvPr/>
        </p:nvCxnSpPr>
        <p:spPr>
          <a:xfrm>
            <a:off x="3899339" y="6096000"/>
            <a:ext cx="3888827" cy="0"/>
          </a:xfrm>
          <a:prstGeom prst="straightConnector1">
            <a:avLst/>
          </a:prstGeom>
          <a:ln w="9525" cap="rnd">
            <a:solidFill>
              <a:schemeClr val="accent1">
                <a:lumMod val="75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90" name="TextBox 125"/>
          <p:cNvSpPr txBox="1"/>
          <p:nvPr/>
        </p:nvSpPr>
        <p:spPr>
          <a:xfrm>
            <a:off x="5307580" y="5947047"/>
            <a:ext cx="1040814" cy="29869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rPr>
              <a:t>审</a:t>
            </a:r>
            <a:r>
              <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计实施</a:t>
            </a:r>
            <a:endPar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endParaRPr>
          </a:p>
        </p:txBody>
      </p:sp>
      <p:cxnSp>
        <p:nvCxnSpPr>
          <p:cNvPr id="97" name="直接箭头连接符 96"/>
          <p:cNvCxnSpPr/>
          <p:nvPr/>
        </p:nvCxnSpPr>
        <p:spPr>
          <a:xfrm>
            <a:off x="7872249" y="6096000"/>
            <a:ext cx="2522483" cy="0"/>
          </a:xfrm>
          <a:prstGeom prst="straightConnector1">
            <a:avLst/>
          </a:prstGeom>
          <a:ln w="9525" cap="rnd">
            <a:solidFill>
              <a:schemeClr val="accent1">
                <a:lumMod val="75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91" name="TextBox 126"/>
          <p:cNvSpPr txBox="1"/>
          <p:nvPr/>
        </p:nvSpPr>
        <p:spPr>
          <a:xfrm>
            <a:off x="8586808" y="5947047"/>
            <a:ext cx="1040814" cy="29869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rPr>
              <a:t>审</a:t>
            </a:r>
            <a:r>
              <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计</a:t>
            </a:r>
            <a:r>
              <a:rPr kumimoji="0" lang="zh-CN" altLang="en-US" sz="1600" b="1" i="0" u="none" strike="noStrike" kern="120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rPr>
              <a:t>终结</a:t>
            </a:r>
            <a:endParaRPr kumimoji="0" lang="zh-CN" altLang="en-US" sz="16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endParaRPr>
          </a:p>
        </p:txBody>
      </p:sp>
      <p:sp>
        <p:nvSpPr>
          <p:cNvPr id="102" name="矩形 101"/>
          <p:cNvSpPr/>
          <p:nvPr/>
        </p:nvSpPr>
        <p:spPr bwMode="auto">
          <a:xfrm>
            <a:off x="708414" y="2298262"/>
            <a:ext cx="363641" cy="1587062"/>
          </a:xfrm>
          <a:prstGeom prst="rect">
            <a:avLst/>
          </a:prstGeom>
          <a:solidFill>
            <a:schemeClr val="accent1">
              <a:lumMod val="40000"/>
              <a:lumOff val="60000"/>
            </a:schemeClr>
          </a:solidFill>
          <a:ln w="6350" algn="ctr">
            <a:solidFill>
              <a:schemeClr val="bg1">
                <a:lumMod val="50000"/>
              </a:schemeClr>
            </a:solidFill>
            <a:round/>
          </a:ln>
          <a:effectLst>
            <a:outerShdw blurRad="50800" dist="38100" sx="1000" sy="1000" algn="l" rotWithShape="0">
              <a:prstClr val="black">
                <a:alpha val="40000"/>
              </a:prstClr>
            </a:outerShdw>
          </a:effectLst>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不</a:t>
            </a:r>
            <a:endPar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准</a:t>
            </a:r>
            <a:endPar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确</a:t>
            </a:r>
            <a:endPar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03" name="矩形 102"/>
          <p:cNvSpPr/>
          <p:nvPr/>
        </p:nvSpPr>
        <p:spPr bwMode="auto">
          <a:xfrm>
            <a:off x="708414" y="3955392"/>
            <a:ext cx="363641" cy="1082565"/>
          </a:xfrm>
          <a:prstGeom prst="rect">
            <a:avLst/>
          </a:prstGeom>
          <a:solidFill>
            <a:srgbClr val="FF976D"/>
          </a:solidFill>
          <a:ln w="6350" algn="ctr">
            <a:solidFill>
              <a:schemeClr val="bg1">
                <a:lumMod val="50000"/>
              </a:schemeClr>
            </a:solidFill>
            <a:round/>
          </a:ln>
          <a:effectLst>
            <a:outerShdw blurRad="50800" dist="38100" sx="1000" sy="1000" algn="l" rotWithShape="0">
              <a:prstClr val="black">
                <a:alpha val="40000"/>
              </a:prstClr>
            </a:outerShdw>
          </a:effectLst>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速</a:t>
            </a:r>
            <a:endPar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度</a:t>
            </a:r>
            <a:endPar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慢</a:t>
            </a:r>
            <a:endPar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01" name="矩形 100"/>
          <p:cNvSpPr/>
          <p:nvPr/>
        </p:nvSpPr>
        <p:spPr bwMode="auto">
          <a:xfrm>
            <a:off x="708414" y="1484538"/>
            <a:ext cx="363641" cy="743656"/>
          </a:xfrm>
          <a:prstGeom prst="rect">
            <a:avLst/>
          </a:prstGeom>
          <a:solidFill>
            <a:schemeClr val="accent1">
              <a:lumMod val="20000"/>
              <a:lumOff val="80000"/>
            </a:schemeClr>
          </a:solidFill>
          <a:ln w="6350" algn="ctr">
            <a:solidFill>
              <a:schemeClr val="bg1">
                <a:lumMod val="50000"/>
              </a:schemeClr>
            </a:solidFill>
            <a:round/>
          </a:ln>
          <a:effectLst>
            <a:outerShdw blurRad="50800" dist="38100" sx="1000" sy="1000" algn="l" rotWithShape="0">
              <a:prstClr val="black">
                <a:alpha val="40000"/>
              </a:prstClr>
            </a:outerShdw>
          </a:effectLst>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不</a:t>
            </a:r>
            <a:endPar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客</a:t>
            </a:r>
            <a:endPar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观</a:t>
            </a:r>
            <a:endPar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04" name="矩形 103"/>
          <p:cNvSpPr/>
          <p:nvPr/>
        </p:nvSpPr>
        <p:spPr bwMode="auto">
          <a:xfrm>
            <a:off x="708414" y="5108028"/>
            <a:ext cx="363641" cy="819806"/>
          </a:xfrm>
          <a:prstGeom prst="rect">
            <a:avLst/>
          </a:prstGeom>
          <a:solidFill>
            <a:srgbClr val="FE733C"/>
          </a:solidFill>
          <a:ln w="6350" algn="ctr">
            <a:solidFill>
              <a:schemeClr val="bg1">
                <a:lumMod val="50000"/>
              </a:schemeClr>
            </a:solidFill>
            <a:round/>
          </a:ln>
          <a:effectLst>
            <a:outerShdw blurRad="50800" dist="38100" sx="1000" sy="1000" algn="l" rotWithShape="0">
              <a:prstClr val="black">
                <a:alpha val="40000"/>
              </a:prstClr>
            </a:outerShdw>
          </a:effectLst>
        </p:spPr>
        <p:txBody>
          <a:bodyPr wrap="none" lIns="0" tIns="0" rIns="0" bIns="0" rtlCol="0" anchor="ctr" anchorCtr="1"/>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成</a:t>
            </a:r>
            <a:endPar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本</a:t>
            </a:r>
            <a:endPar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高</a:t>
            </a:r>
            <a:endParaRPr kumimoji="0" lang="zh-CN" altLang="en-US"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06" name="左中括号 105"/>
          <p:cNvSpPr/>
          <p:nvPr/>
        </p:nvSpPr>
        <p:spPr>
          <a:xfrm>
            <a:off x="430925" y="1471447"/>
            <a:ext cx="136634" cy="4448151"/>
          </a:xfrm>
          <a:prstGeom prst="leftBracket">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 name="矩形 104"/>
          <p:cNvSpPr/>
          <p:nvPr/>
        </p:nvSpPr>
        <p:spPr bwMode="auto">
          <a:xfrm>
            <a:off x="218773" y="3234858"/>
            <a:ext cx="403282" cy="942655"/>
          </a:xfrm>
          <a:prstGeom prst="rect">
            <a:avLst/>
          </a:prstGeom>
          <a:solidFill>
            <a:schemeClr val="bg1"/>
          </a:solidFill>
          <a:ln w="9525" algn="ctr">
            <a:noFill/>
            <a:round/>
          </a:ln>
          <a:effectLst/>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痛</a:t>
            </a:r>
            <a:endParaRPr kumimoji="0" lang="en-US" altLang="zh-CN" sz="18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点</a:t>
            </a:r>
            <a:endParaRPr kumimoji="0" lang="en-US" altLang="zh-CN" sz="18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endParaRPr>
          </a:p>
        </p:txBody>
      </p:sp>
      <p:cxnSp>
        <p:nvCxnSpPr>
          <p:cNvPr id="109" name="直接连接符 108"/>
          <p:cNvCxnSpPr/>
          <p:nvPr/>
        </p:nvCxnSpPr>
        <p:spPr>
          <a:xfrm>
            <a:off x="1114097" y="2263228"/>
            <a:ext cx="9228082" cy="0"/>
          </a:xfrm>
          <a:prstGeom prst="line">
            <a:avLst/>
          </a:prstGeom>
          <a:ln w="9525"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10" name="直接连接符 109"/>
          <p:cNvCxnSpPr/>
          <p:nvPr/>
        </p:nvCxnSpPr>
        <p:spPr>
          <a:xfrm>
            <a:off x="1114097" y="3920358"/>
            <a:ext cx="9228082" cy="0"/>
          </a:xfrm>
          <a:prstGeom prst="line">
            <a:avLst/>
          </a:prstGeom>
          <a:ln w="9525"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a:off x="1114097" y="5072992"/>
            <a:ext cx="9228082" cy="0"/>
          </a:xfrm>
          <a:prstGeom prst="line">
            <a:avLst/>
          </a:prstGeom>
          <a:ln w="9525" cap="rnd">
            <a:solidFill>
              <a:schemeClr val="bg1">
                <a:lumMod val="7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14" name="TextBox 18"/>
          <p:cNvSpPr txBox="1"/>
          <p:nvPr/>
        </p:nvSpPr>
        <p:spPr>
          <a:xfrm>
            <a:off x="1699647" y="1557715"/>
            <a:ext cx="822836" cy="274656"/>
          </a:xfrm>
          <a:prstGeom prst="homePlate">
            <a:avLst>
              <a:gd name="adj" fmla="val 13721"/>
            </a:avLst>
          </a:prstGeom>
          <a:solidFill>
            <a:schemeClr val="accent1">
              <a:lumMod val="20000"/>
              <a:lumOff val="80000"/>
            </a:schemeClr>
          </a:solidFill>
          <a:ln w="31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风险评估</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15" name="矩形 114"/>
          <p:cNvSpPr/>
          <p:nvPr/>
        </p:nvSpPr>
        <p:spPr>
          <a:xfrm>
            <a:off x="1717005" y="1868601"/>
            <a:ext cx="1077218" cy="369332"/>
          </a:xfrm>
          <a:prstGeom prst="rect">
            <a:avLst/>
          </a:prstGeom>
          <a:solidFill>
            <a:srgbClr val="FFFFFF"/>
          </a:solid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凭审计师个人经</a:t>
            </a:r>
            <a:br>
              <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b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验判定风险</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6" name="TextBox 75"/>
          <p:cNvSpPr txBox="1"/>
          <p:nvPr/>
        </p:nvSpPr>
        <p:spPr>
          <a:xfrm>
            <a:off x="2576974" y="2823099"/>
            <a:ext cx="1259304" cy="285402"/>
          </a:xfrm>
          <a:prstGeom prst="homePlate">
            <a:avLst>
              <a:gd name="adj" fmla="val 12658"/>
            </a:avLst>
          </a:prstGeom>
          <a:solidFill>
            <a:schemeClr val="accent1">
              <a:lumMod val="40000"/>
              <a:lumOff val="60000"/>
            </a:schemeClr>
          </a:solidFill>
          <a:ln w="31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制</a:t>
            </a:r>
            <a:r>
              <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定审计计划</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17" name="矩形 116"/>
          <p:cNvSpPr/>
          <p:nvPr/>
        </p:nvSpPr>
        <p:spPr>
          <a:xfrm>
            <a:off x="2568343" y="3171883"/>
            <a:ext cx="1231106" cy="369332"/>
          </a:xfrm>
          <a:prstGeom prst="rect">
            <a:avLst/>
          </a:prstGeom>
          <a:solidFill>
            <a:srgbClr val="FFFFFF"/>
          </a:solid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复制过往审计计划</a:t>
            </a:r>
            <a:br>
              <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b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未根据风险定制</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0" name="矩形 119"/>
          <p:cNvSpPr/>
          <p:nvPr/>
        </p:nvSpPr>
        <p:spPr>
          <a:xfrm>
            <a:off x="3934688" y="2635856"/>
            <a:ext cx="512961" cy="184666"/>
          </a:xfrm>
          <a:prstGeom prst="rect">
            <a:avLst/>
          </a:prstGeom>
          <a:solidFill>
            <a:srgbClr val="FFFFFF"/>
          </a:solid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XX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1" name="矩形 120"/>
          <p:cNvSpPr/>
          <p:nvPr/>
        </p:nvSpPr>
        <p:spPr>
          <a:xfrm>
            <a:off x="3934688" y="3686891"/>
            <a:ext cx="512961" cy="184666"/>
          </a:xfrm>
          <a:prstGeom prst="rect">
            <a:avLst/>
          </a:prstGeom>
          <a:solidFill>
            <a:srgbClr val="FFFFFF"/>
          </a:solid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XXX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3" name="TextBox 75"/>
          <p:cNvSpPr txBox="1"/>
          <p:nvPr/>
        </p:nvSpPr>
        <p:spPr>
          <a:xfrm>
            <a:off x="4761187" y="2875651"/>
            <a:ext cx="1313793" cy="285402"/>
          </a:xfrm>
          <a:prstGeom prst="homePlate">
            <a:avLst>
              <a:gd name="adj" fmla="val 12658"/>
            </a:avLst>
          </a:prstGeom>
          <a:solidFill>
            <a:schemeClr val="accent1">
              <a:lumMod val="40000"/>
              <a:lumOff val="60000"/>
            </a:schemeClr>
          </a:solidFill>
          <a:ln w="31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制</a:t>
            </a:r>
            <a:r>
              <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定审计计划</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4" name="矩形 123"/>
          <p:cNvSpPr/>
          <p:nvPr/>
        </p:nvSpPr>
        <p:spPr>
          <a:xfrm>
            <a:off x="4786026" y="3213925"/>
            <a:ext cx="2769989" cy="184666"/>
          </a:xfrm>
          <a:prstGeom prst="rect">
            <a:avLst/>
          </a:prstGeom>
          <a:solidFill>
            <a:srgbClr val="FFFFFF"/>
          </a:solid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由经验不足的员工随意翻阅完成，凑数量</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5" name="TextBox 115"/>
          <p:cNvSpPr txBox="1"/>
          <p:nvPr/>
        </p:nvSpPr>
        <p:spPr>
          <a:xfrm>
            <a:off x="4749555" y="3972410"/>
            <a:ext cx="1304404" cy="256514"/>
          </a:xfrm>
          <a:prstGeom prst="homePlate">
            <a:avLst>
              <a:gd name="adj" fmla="val 25315"/>
            </a:avLst>
          </a:prstGeom>
          <a:solidFill>
            <a:srgbClr val="FF976D"/>
          </a:solidFill>
          <a:ln w="31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defPPr>
              <a:defRPr lang="en-US"/>
            </a:defPPr>
            <a:lvl1pPr algn="ctr">
              <a:defRPr sz="1400" b="1">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合理性测试</a:t>
            </a:r>
            <a:endPar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6" name="矩形 125"/>
          <p:cNvSpPr/>
          <p:nvPr/>
        </p:nvSpPr>
        <p:spPr>
          <a:xfrm>
            <a:off x="4775515" y="4296489"/>
            <a:ext cx="1846659" cy="184666"/>
          </a:xfrm>
          <a:prstGeom prst="rect">
            <a:avLst/>
          </a:prstGeom>
          <a:solidFill>
            <a:srgbClr val="FFFFFF"/>
          </a:solid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重新估算折旧、成本等数据</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8" name="TextBox 115"/>
          <p:cNvSpPr txBox="1"/>
          <p:nvPr/>
        </p:nvSpPr>
        <p:spPr>
          <a:xfrm>
            <a:off x="3926338" y="4564624"/>
            <a:ext cx="3888828" cy="256514"/>
          </a:xfrm>
          <a:prstGeom prst="homePlate">
            <a:avLst>
              <a:gd name="adj" fmla="val 25315"/>
            </a:avLst>
          </a:prstGeom>
          <a:solidFill>
            <a:srgbClr val="FF976D"/>
          </a:solidFill>
          <a:ln w="31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defPPr>
              <a:defRPr lang="en-US"/>
            </a:defPPr>
            <a:lvl1pPr algn="ctr">
              <a:defRPr sz="1400" b="1">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询证函</a:t>
            </a:r>
            <a:endPar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9" name="矩形 128"/>
          <p:cNvSpPr/>
          <p:nvPr/>
        </p:nvSpPr>
        <p:spPr>
          <a:xfrm>
            <a:off x="3899338" y="4843027"/>
            <a:ext cx="2769989" cy="184666"/>
          </a:xfrm>
          <a:prstGeom prst="rect">
            <a:avLst/>
          </a:prstGeom>
          <a:solidFill>
            <a:srgbClr val="FFFFFF"/>
          </a:solid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手工填写并通过平信往来，耗费大量时间</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31" name="矩形 130"/>
          <p:cNvSpPr/>
          <p:nvPr/>
        </p:nvSpPr>
        <p:spPr>
          <a:xfrm>
            <a:off x="6110330" y="5431610"/>
            <a:ext cx="3077766" cy="369332"/>
          </a:xfrm>
          <a:prstGeom prst="rect">
            <a:avLst/>
          </a:prstGeom>
          <a:solidFill>
            <a:srgbClr val="FFFFFF"/>
          </a:solid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人工反复核查，需要专门的打字员进行录入</a:t>
            </a:r>
            <a:r>
              <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和</a:t>
            </a:r>
            <a:b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br>
            <a:r>
              <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格式</a:t>
            </a: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调整</a:t>
            </a:r>
            <a:r>
              <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耗费</a:t>
            </a:r>
            <a:r>
              <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大量人力和时间</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8" name="TextBox 77"/>
          <p:cNvSpPr txBox="1"/>
          <p:nvPr/>
        </p:nvSpPr>
        <p:spPr>
          <a:xfrm>
            <a:off x="3908728" y="2333298"/>
            <a:ext cx="862969" cy="256512"/>
          </a:xfrm>
          <a:prstGeom prst="homePlate">
            <a:avLst>
              <a:gd name="adj" fmla="val 25315"/>
            </a:avLst>
          </a:prstGeom>
          <a:solidFill>
            <a:schemeClr val="accent1">
              <a:lumMod val="40000"/>
              <a:lumOff val="60000"/>
            </a:schemeClr>
          </a:solidFill>
          <a:ln w="31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defPPr>
              <a:defRPr lang="en-US"/>
            </a:defPPr>
            <a:lvl1pPr algn="ctr">
              <a:defRPr sz="1400" b="1">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内控测试</a:t>
            </a:r>
            <a:endPar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9" name="TextBox 115"/>
          <p:cNvSpPr txBox="1"/>
          <p:nvPr/>
        </p:nvSpPr>
        <p:spPr>
          <a:xfrm>
            <a:off x="3908728" y="3404854"/>
            <a:ext cx="862969" cy="256514"/>
          </a:xfrm>
          <a:prstGeom prst="homePlate">
            <a:avLst>
              <a:gd name="adj" fmla="val 25315"/>
            </a:avLst>
          </a:prstGeom>
          <a:solidFill>
            <a:schemeClr val="accent1">
              <a:lumMod val="40000"/>
              <a:lumOff val="60000"/>
            </a:schemeClr>
          </a:solidFill>
          <a:ln w="31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defPPr>
              <a:defRPr lang="en-US"/>
            </a:defPPr>
            <a:lvl1pPr algn="ctr">
              <a:defRPr sz="1400" b="1">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存货盘点</a:t>
            </a:r>
            <a:endPar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32" name="矩形 131"/>
          <p:cNvSpPr/>
          <p:nvPr/>
        </p:nvSpPr>
        <p:spPr>
          <a:xfrm>
            <a:off x="10812683" y="2461803"/>
            <a:ext cx="1199999" cy="288001"/>
          </a:xfrm>
          <a:prstGeom prst="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6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主要</a:t>
            </a:r>
            <a:r>
              <a:rPr kumimoji="0" lang="zh-CN" altLang="en-US"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痛点</a:t>
            </a:r>
            <a:endParaRPr kumimoji="0" lang="zh-CN" altLang="en-US"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sp>
        <p:nvSpPr>
          <p:cNvPr id="133" name="TextBox 49"/>
          <p:cNvSpPr txBox="1"/>
          <p:nvPr/>
        </p:nvSpPr>
        <p:spPr>
          <a:xfrm>
            <a:off x="10812682" y="2749806"/>
            <a:ext cx="1200000" cy="2071332"/>
          </a:xfrm>
          <a:prstGeom prst="rect">
            <a:avLst/>
          </a:prstGeom>
          <a:noFill/>
          <a:ln w="9525" cap="rnd">
            <a:solidFill>
              <a:schemeClr val="accent1"/>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1800" b="0" i="0" u="none" strike="noStrike" kern="1200" cap="none" spc="0" normalizeH="0" baseline="0" noProof="0" dirty="0" smtClean="0">
                <a:ln>
                  <a:noFill/>
                </a:ln>
                <a:solidFill>
                  <a:prstClr val="black">
                    <a:lumMod val="100000"/>
                  </a:prstClr>
                </a:solidFill>
                <a:effectLst/>
                <a:uLnTx/>
                <a:uFillTx/>
                <a:latin typeface="Trebuchet MS" panose="020B0603020202020204" pitchFamily="34" charset="0"/>
                <a:ea typeface="华文楷体" panose="02010600040101010101" charset="-122"/>
                <a:cs typeface="+mn-cs"/>
              </a:rPr>
              <a:t>XX</a:t>
            </a:r>
            <a:endParaRPr kumimoji="0" lang="zh-CN" altLang="en-US" sz="1800" b="0" i="0" u="none" strike="noStrike" kern="1200" cap="none" spc="0" normalizeH="0" baseline="0" noProof="0" dirty="0" smtClean="0">
              <a:ln>
                <a:noFill/>
              </a:ln>
              <a:solidFill>
                <a:prstClr val="black">
                  <a:lumMod val="100000"/>
                </a:prstClr>
              </a:solidFill>
              <a:effectLst/>
              <a:uLnTx/>
              <a:uFillTx/>
              <a:latin typeface="Trebuchet MS" panose="020B0603020202020204" pitchFamily="34" charset="0"/>
              <a:ea typeface="华文楷体" panose="02010600040101010101" charset="-122"/>
              <a:cs typeface="+mn-cs"/>
            </a:endParaRPr>
          </a:p>
        </p:txBody>
      </p:sp>
      <p:cxnSp>
        <p:nvCxnSpPr>
          <p:cNvPr id="136" name="直接连接符 135"/>
          <p:cNvCxnSpPr/>
          <p:nvPr/>
        </p:nvCxnSpPr>
        <p:spPr>
          <a:xfrm>
            <a:off x="10520854" y="1439917"/>
            <a:ext cx="0" cy="1576552"/>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7" name="直接连接符 136"/>
          <p:cNvCxnSpPr/>
          <p:nvPr/>
        </p:nvCxnSpPr>
        <p:spPr>
          <a:xfrm>
            <a:off x="10520854" y="4414345"/>
            <a:ext cx="0" cy="1618594"/>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1" name="等腰三角形 140"/>
          <p:cNvSpPr/>
          <p:nvPr/>
        </p:nvSpPr>
        <p:spPr bwMode="auto">
          <a:xfrm rot="5400000">
            <a:off x="9947446" y="3647928"/>
            <a:ext cx="1279544" cy="132728"/>
          </a:xfrm>
          <a:prstGeom prst="triangle">
            <a:avLst/>
          </a:prstGeom>
          <a:solidFill>
            <a:srgbClr val="E75C01"/>
          </a:solidFill>
          <a:ln w="9525" algn="ctr">
            <a:noFill/>
            <a:round/>
          </a:ln>
          <a:extLst>
            <a:ext uri="{91240B29-F687-4F45-9708-019B960494DF}">
              <a14:hiddenLine xmlns:a14="http://schemas.microsoft.com/office/drawing/2010/main" w="9525">
                <a:solidFill>
                  <a:schemeClr val="accent6"/>
                </a:solidFill>
                <a:round/>
              </a14:hiddenLine>
            </a:ext>
          </a:extLst>
        </p:spPr>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1" i="0" u="none" strike="noStrike" kern="1200" cap="none" spc="0" normalizeH="0" baseline="0" noProof="0" smtClean="0">
              <a:ln>
                <a:noFill/>
              </a:ln>
              <a:solidFill>
                <a:prstClr val="white"/>
              </a:solidFill>
              <a:effectLst/>
              <a:uLnTx/>
              <a:uFillTx/>
              <a:latin typeface="Arial" panose="020B0604020202020204"/>
              <a:ea typeface="华文楷体" panose="02010600040101010101" charset="-122"/>
              <a:cs typeface="+mn-cs"/>
            </a:endParaRPr>
          </a:p>
        </p:txBody>
      </p:sp>
      <p:sp>
        <p:nvSpPr>
          <p:cNvPr id="130" name="TextBox 115"/>
          <p:cNvSpPr txBox="1"/>
          <p:nvPr/>
        </p:nvSpPr>
        <p:spPr>
          <a:xfrm>
            <a:off x="6085489" y="5170590"/>
            <a:ext cx="3920359" cy="256514"/>
          </a:xfrm>
          <a:prstGeom prst="homePlate">
            <a:avLst>
              <a:gd name="adj" fmla="val 25315"/>
            </a:avLst>
          </a:prstGeom>
          <a:solidFill>
            <a:srgbClr val="FE733C"/>
          </a:solidFill>
          <a:ln w="31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defPPr>
              <a:defRPr lang="en-US"/>
            </a:defPPr>
            <a:lvl1pPr algn="ctr">
              <a:defRPr sz="1400" b="1">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编写审计报告</a:t>
            </a:r>
            <a:endPar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0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时间计划</a:t>
            </a:r>
            <a:endParaRPr lang="zh-CN" altLang="en-US" sz="2400" dirty="0">
              <a:solidFill>
                <a:prstClr val="black"/>
              </a:solidFill>
              <a:latin typeface="华文楷体" panose="02010600040101010101" charset="-122"/>
            </a:endParaRPr>
          </a:p>
        </p:txBody>
      </p:sp>
      <p:pic>
        <p:nvPicPr>
          <p:cNvPr id="107" name="图片 10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767225" y="4230222"/>
            <a:ext cx="3608339" cy="830997"/>
          </a:xfrm>
          <a:prstGeom prst="rect">
            <a:avLst/>
          </a:prstGeom>
        </p:spPr>
        <p:txBody>
          <a:bodyPr wrap="square">
            <a:spAutoFit/>
          </a:bodyPr>
          <a:lstStyle/>
          <a:p>
            <a:r>
              <a:rPr lang="zh-CN" altLang="en-US" sz="2000" b="1" dirty="0">
                <a:latin typeface="楷体" panose="02010609060101010101" pitchFamily="49" charset="-122"/>
                <a:ea typeface="楷体" panose="02010609060101010101" pitchFamily="49" charset="-122"/>
              </a:rPr>
              <a:t>⑤</a:t>
            </a:r>
            <a:r>
              <a:rPr lang="zh-CN" altLang="en-US" sz="2000" b="1" dirty="0" smtClean="0">
                <a:latin typeface="楷体" panose="02010609060101010101" pitchFamily="49" charset="-122"/>
                <a:ea typeface="楷体" panose="02010609060101010101" pitchFamily="49" charset="-122"/>
              </a:rPr>
              <a:t>项目资源</a:t>
            </a:r>
            <a:r>
              <a:rPr lang="zh-CN" altLang="en-US" sz="2000" b="1" dirty="0">
                <a:latin typeface="楷体" panose="02010609060101010101" pitchFamily="49" charset="-122"/>
                <a:ea typeface="楷体" panose="02010609060101010101" pitchFamily="49" charset="-122"/>
              </a:rPr>
              <a:t>调配不合理</a:t>
            </a:r>
            <a:endParaRPr lang="en-US" altLang="zh-CN" sz="2000" b="1" dirty="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smtClean="0">
                <a:latin typeface="楷体" panose="02010609060101010101" pitchFamily="49" charset="-122"/>
                <a:ea typeface="楷体" panose="02010609060101010101" pitchFamily="49" charset="-122"/>
              </a:rPr>
              <a:t>XX</a:t>
            </a:r>
            <a:endParaRPr lang="en-US" altLang="zh-CN" sz="1400" dirty="0" smtClean="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a:latin typeface="楷体" panose="02010609060101010101" pitchFamily="49" charset="-122"/>
                <a:ea typeface="楷体" panose="02010609060101010101" pitchFamily="49" charset="-122"/>
                <a:cs typeface="+mn-ea"/>
                <a:sym typeface="+mn-lt"/>
              </a:rPr>
              <a:t>XX</a:t>
            </a:r>
            <a:endParaRPr lang="en-US" altLang="zh-CN" sz="1400" dirty="0">
              <a:latin typeface="楷体" panose="02010609060101010101" pitchFamily="49" charset="-122"/>
              <a:ea typeface="楷体" panose="02010609060101010101" pitchFamily="49" charset="-122"/>
              <a:cs typeface="+mn-ea"/>
              <a:sym typeface="+mn-lt"/>
            </a:endParaRPr>
          </a:p>
        </p:txBody>
      </p:sp>
      <p:grpSp>
        <p:nvGrpSpPr>
          <p:cNvPr id="6" name="组合 5"/>
          <p:cNvGrpSpPr/>
          <p:nvPr/>
        </p:nvGrpSpPr>
        <p:grpSpPr>
          <a:xfrm>
            <a:off x="1069423" y="4402797"/>
            <a:ext cx="738852" cy="485846"/>
            <a:chOff x="4000268" y="2603288"/>
            <a:chExt cx="850389" cy="569090"/>
          </a:xfrm>
          <a:solidFill>
            <a:srgbClr val="FE8637"/>
          </a:solidFill>
        </p:grpSpPr>
        <p:sp>
          <p:nvSpPr>
            <p:cNvPr id="7" name="Freeform 497"/>
            <p:cNvSpPr/>
            <p:nvPr/>
          </p:nvSpPr>
          <p:spPr bwMode="auto">
            <a:xfrm>
              <a:off x="4697746" y="2981960"/>
              <a:ext cx="152911" cy="129109"/>
            </a:xfrm>
            <a:custGeom>
              <a:avLst/>
              <a:gdLst>
                <a:gd name="T0" fmla="*/ 73 w 90"/>
                <a:gd name="T1" fmla="*/ 0 h 76"/>
                <a:gd name="T2" fmla="*/ 0 w 90"/>
                <a:gd name="T3" fmla="*/ 0 h 76"/>
                <a:gd name="T4" fmla="*/ 0 w 90"/>
                <a:gd name="T5" fmla="*/ 14 h 76"/>
                <a:gd name="T6" fmla="*/ 62 w 90"/>
                <a:gd name="T7" fmla="*/ 14 h 76"/>
                <a:gd name="T8" fmla="*/ 76 w 90"/>
                <a:gd name="T9" fmla="*/ 28 h 76"/>
                <a:gd name="T10" fmla="*/ 76 w 90"/>
                <a:gd name="T11" fmla="*/ 76 h 76"/>
                <a:gd name="T12" fmla="*/ 90 w 90"/>
                <a:gd name="T13" fmla="*/ 76 h 76"/>
                <a:gd name="T14" fmla="*/ 90 w 90"/>
                <a:gd name="T15" fmla="*/ 18 h 76"/>
                <a:gd name="T16" fmla="*/ 73 w 90"/>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76">
                  <a:moveTo>
                    <a:pt x="73" y="0"/>
                  </a:moveTo>
                  <a:cubicBezTo>
                    <a:pt x="0" y="0"/>
                    <a:pt x="0" y="0"/>
                    <a:pt x="0" y="0"/>
                  </a:cubicBezTo>
                  <a:cubicBezTo>
                    <a:pt x="0" y="14"/>
                    <a:pt x="0" y="14"/>
                    <a:pt x="0" y="14"/>
                  </a:cubicBezTo>
                  <a:cubicBezTo>
                    <a:pt x="62" y="14"/>
                    <a:pt x="62" y="14"/>
                    <a:pt x="62" y="14"/>
                  </a:cubicBezTo>
                  <a:cubicBezTo>
                    <a:pt x="70" y="14"/>
                    <a:pt x="76" y="20"/>
                    <a:pt x="76" y="28"/>
                  </a:cubicBezTo>
                  <a:cubicBezTo>
                    <a:pt x="76" y="76"/>
                    <a:pt x="76" y="76"/>
                    <a:pt x="76" y="76"/>
                  </a:cubicBezTo>
                  <a:cubicBezTo>
                    <a:pt x="90" y="76"/>
                    <a:pt x="90" y="76"/>
                    <a:pt x="90" y="76"/>
                  </a:cubicBezTo>
                  <a:cubicBezTo>
                    <a:pt x="90" y="18"/>
                    <a:pt x="90" y="18"/>
                    <a:pt x="90" y="18"/>
                  </a:cubicBezTo>
                  <a:cubicBezTo>
                    <a:pt x="90" y="8"/>
                    <a:pt x="82" y="0"/>
                    <a:pt x="73" y="0"/>
                  </a:cubicBez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8" name="Oval 498"/>
            <p:cNvSpPr>
              <a:spLocks noChangeArrowheads="1"/>
            </p:cNvSpPr>
            <p:nvPr/>
          </p:nvSpPr>
          <p:spPr bwMode="auto">
            <a:xfrm>
              <a:off x="4668173" y="3022352"/>
              <a:ext cx="58424" cy="68522"/>
            </a:xfrm>
            <a:prstGeom prst="ellipse">
              <a:avLst/>
            </a:pr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9" name="Freeform 499"/>
            <p:cNvSpPr/>
            <p:nvPr/>
          </p:nvSpPr>
          <p:spPr bwMode="auto">
            <a:xfrm>
              <a:off x="4644371" y="3095922"/>
              <a:ext cx="106028" cy="76456"/>
            </a:xfrm>
            <a:custGeom>
              <a:avLst/>
              <a:gdLst>
                <a:gd name="T0" fmla="*/ 39 w 62"/>
                <a:gd name="T1" fmla="*/ 0 h 45"/>
                <a:gd name="T2" fmla="*/ 31 w 62"/>
                <a:gd name="T3" fmla="*/ 5 h 45"/>
                <a:gd name="T4" fmla="*/ 37 w 62"/>
                <a:gd name="T5" fmla="*/ 27 h 45"/>
                <a:gd name="T6" fmla="*/ 31 w 62"/>
                <a:gd name="T7" fmla="*/ 34 h 45"/>
                <a:gd name="T8" fmla="*/ 25 w 62"/>
                <a:gd name="T9" fmla="*/ 27 h 45"/>
                <a:gd name="T10" fmla="*/ 31 w 62"/>
                <a:gd name="T11" fmla="*/ 5 h 45"/>
                <a:gd name="T12" fmla="*/ 23 w 62"/>
                <a:gd name="T13" fmla="*/ 0 h 45"/>
                <a:gd name="T14" fmla="*/ 0 w 62"/>
                <a:gd name="T15" fmla="*/ 18 h 45"/>
                <a:gd name="T16" fmla="*/ 0 w 62"/>
                <a:gd name="T17" fmla="*/ 45 h 45"/>
                <a:gd name="T18" fmla="*/ 29 w 62"/>
                <a:gd name="T19" fmla="*/ 45 h 45"/>
                <a:gd name="T20" fmla="*/ 33 w 62"/>
                <a:gd name="T21" fmla="*/ 45 h 45"/>
                <a:gd name="T22" fmla="*/ 62 w 62"/>
                <a:gd name="T23" fmla="*/ 45 h 45"/>
                <a:gd name="T24" fmla="*/ 62 w 62"/>
                <a:gd name="T25" fmla="*/ 18 h 45"/>
                <a:gd name="T26" fmla="*/ 39 w 62"/>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45">
                  <a:moveTo>
                    <a:pt x="39" y="0"/>
                  </a:moveTo>
                  <a:cubicBezTo>
                    <a:pt x="31" y="5"/>
                    <a:pt x="31" y="5"/>
                    <a:pt x="31" y="5"/>
                  </a:cubicBezTo>
                  <a:cubicBezTo>
                    <a:pt x="37" y="27"/>
                    <a:pt x="37" y="27"/>
                    <a:pt x="37" y="27"/>
                  </a:cubicBezTo>
                  <a:cubicBezTo>
                    <a:pt x="31" y="34"/>
                    <a:pt x="31" y="34"/>
                    <a:pt x="31" y="34"/>
                  </a:cubicBezTo>
                  <a:cubicBezTo>
                    <a:pt x="25" y="27"/>
                    <a:pt x="25" y="27"/>
                    <a:pt x="25" y="27"/>
                  </a:cubicBezTo>
                  <a:cubicBezTo>
                    <a:pt x="31" y="5"/>
                    <a:pt x="31" y="5"/>
                    <a:pt x="31" y="5"/>
                  </a:cubicBezTo>
                  <a:cubicBezTo>
                    <a:pt x="23" y="0"/>
                    <a:pt x="23" y="0"/>
                    <a:pt x="23" y="0"/>
                  </a:cubicBezTo>
                  <a:cubicBezTo>
                    <a:pt x="14" y="2"/>
                    <a:pt x="0" y="7"/>
                    <a:pt x="0" y="18"/>
                  </a:cubicBezTo>
                  <a:cubicBezTo>
                    <a:pt x="0" y="34"/>
                    <a:pt x="0" y="45"/>
                    <a:pt x="0" y="45"/>
                  </a:cubicBezTo>
                  <a:cubicBezTo>
                    <a:pt x="29" y="45"/>
                    <a:pt x="29" y="45"/>
                    <a:pt x="29" y="45"/>
                  </a:cubicBezTo>
                  <a:cubicBezTo>
                    <a:pt x="33" y="45"/>
                    <a:pt x="33" y="45"/>
                    <a:pt x="33" y="45"/>
                  </a:cubicBezTo>
                  <a:cubicBezTo>
                    <a:pt x="62" y="45"/>
                    <a:pt x="62" y="45"/>
                    <a:pt x="62" y="45"/>
                  </a:cubicBezTo>
                  <a:cubicBezTo>
                    <a:pt x="62" y="45"/>
                    <a:pt x="62" y="34"/>
                    <a:pt x="62" y="18"/>
                  </a:cubicBezTo>
                  <a:cubicBezTo>
                    <a:pt x="62" y="7"/>
                    <a:pt x="48" y="2"/>
                    <a:pt x="39" y="0"/>
                  </a:cubicBez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10" name="Freeform 500"/>
            <p:cNvSpPr/>
            <p:nvPr/>
          </p:nvSpPr>
          <p:spPr bwMode="auto">
            <a:xfrm>
              <a:off x="4399136" y="2642238"/>
              <a:ext cx="59866" cy="68522"/>
            </a:xfrm>
            <a:custGeom>
              <a:avLst/>
              <a:gdLst>
                <a:gd name="T0" fmla="*/ 11 w 35"/>
                <a:gd name="T1" fmla="*/ 39 h 40"/>
                <a:gd name="T2" fmla="*/ 18 w 35"/>
                <a:gd name="T3" fmla="*/ 40 h 40"/>
                <a:gd name="T4" fmla="*/ 35 w 35"/>
                <a:gd name="T5" fmla="*/ 20 h 40"/>
                <a:gd name="T6" fmla="*/ 18 w 35"/>
                <a:gd name="T7" fmla="*/ 0 h 40"/>
                <a:gd name="T8" fmla="*/ 0 w 35"/>
                <a:gd name="T9" fmla="*/ 20 h 40"/>
                <a:gd name="T10" fmla="*/ 11 w 35"/>
                <a:gd name="T11" fmla="*/ 39 h 40"/>
              </a:gdLst>
              <a:ahLst/>
              <a:cxnLst>
                <a:cxn ang="0">
                  <a:pos x="T0" y="T1"/>
                </a:cxn>
                <a:cxn ang="0">
                  <a:pos x="T2" y="T3"/>
                </a:cxn>
                <a:cxn ang="0">
                  <a:pos x="T4" y="T5"/>
                </a:cxn>
                <a:cxn ang="0">
                  <a:pos x="T6" y="T7"/>
                </a:cxn>
                <a:cxn ang="0">
                  <a:pos x="T8" y="T9"/>
                </a:cxn>
                <a:cxn ang="0">
                  <a:pos x="T10" y="T11"/>
                </a:cxn>
              </a:cxnLst>
              <a:rect l="0" t="0" r="r" b="b"/>
              <a:pathLst>
                <a:path w="35" h="40">
                  <a:moveTo>
                    <a:pt x="11" y="39"/>
                  </a:moveTo>
                  <a:cubicBezTo>
                    <a:pt x="13" y="40"/>
                    <a:pt x="15" y="40"/>
                    <a:pt x="18" y="40"/>
                  </a:cubicBezTo>
                  <a:cubicBezTo>
                    <a:pt x="27" y="40"/>
                    <a:pt x="35" y="31"/>
                    <a:pt x="35" y="20"/>
                  </a:cubicBezTo>
                  <a:cubicBezTo>
                    <a:pt x="35" y="9"/>
                    <a:pt x="27" y="0"/>
                    <a:pt x="18" y="0"/>
                  </a:cubicBezTo>
                  <a:cubicBezTo>
                    <a:pt x="8" y="0"/>
                    <a:pt x="0" y="9"/>
                    <a:pt x="0" y="20"/>
                  </a:cubicBezTo>
                  <a:cubicBezTo>
                    <a:pt x="0" y="29"/>
                    <a:pt x="5" y="36"/>
                    <a:pt x="11" y="39"/>
                  </a:cubicBez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11" name="Freeform 501"/>
            <p:cNvSpPr/>
            <p:nvPr/>
          </p:nvSpPr>
          <p:spPr bwMode="auto">
            <a:xfrm>
              <a:off x="4375333" y="2715808"/>
              <a:ext cx="107471" cy="76456"/>
            </a:xfrm>
            <a:custGeom>
              <a:avLst/>
              <a:gdLst>
                <a:gd name="T0" fmla="*/ 34 w 63"/>
                <a:gd name="T1" fmla="*/ 45 h 45"/>
                <a:gd name="T2" fmla="*/ 63 w 63"/>
                <a:gd name="T3" fmla="*/ 45 h 45"/>
                <a:gd name="T4" fmla="*/ 63 w 63"/>
                <a:gd name="T5" fmla="*/ 19 h 45"/>
                <a:gd name="T6" fmla="*/ 40 w 63"/>
                <a:gd name="T7" fmla="*/ 0 h 45"/>
                <a:gd name="T8" fmla="*/ 32 w 63"/>
                <a:gd name="T9" fmla="*/ 6 h 45"/>
                <a:gd name="T10" fmla="*/ 38 w 63"/>
                <a:gd name="T11" fmla="*/ 27 h 45"/>
                <a:gd name="T12" fmla="*/ 32 w 63"/>
                <a:gd name="T13" fmla="*/ 35 h 45"/>
                <a:gd name="T14" fmla="*/ 26 w 63"/>
                <a:gd name="T15" fmla="*/ 27 h 45"/>
                <a:gd name="T16" fmla="*/ 32 w 63"/>
                <a:gd name="T17" fmla="*/ 6 h 45"/>
                <a:gd name="T18" fmla="*/ 23 w 63"/>
                <a:gd name="T19" fmla="*/ 0 h 45"/>
                <a:gd name="T20" fmla="*/ 0 w 63"/>
                <a:gd name="T21" fmla="*/ 19 h 45"/>
                <a:gd name="T22" fmla="*/ 0 w 63"/>
                <a:gd name="T23" fmla="*/ 45 h 45"/>
                <a:gd name="T24" fmla="*/ 30 w 63"/>
                <a:gd name="T25" fmla="*/ 45 h 45"/>
                <a:gd name="T26" fmla="*/ 34 w 63"/>
                <a:gd name="T2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45">
                  <a:moveTo>
                    <a:pt x="34" y="45"/>
                  </a:moveTo>
                  <a:cubicBezTo>
                    <a:pt x="63" y="45"/>
                    <a:pt x="63" y="45"/>
                    <a:pt x="63" y="45"/>
                  </a:cubicBezTo>
                  <a:cubicBezTo>
                    <a:pt x="63" y="45"/>
                    <a:pt x="63" y="34"/>
                    <a:pt x="63" y="19"/>
                  </a:cubicBezTo>
                  <a:cubicBezTo>
                    <a:pt x="63" y="8"/>
                    <a:pt x="49" y="3"/>
                    <a:pt x="40" y="0"/>
                  </a:cubicBezTo>
                  <a:cubicBezTo>
                    <a:pt x="32" y="6"/>
                    <a:pt x="32" y="6"/>
                    <a:pt x="32" y="6"/>
                  </a:cubicBezTo>
                  <a:cubicBezTo>
                    <a:pt x="38" y="27"/>
                    <a:pt x="38" y="27"/>
                    <a:pt x="38" y="27"/>
                  </a:cubicBezTo>
                  <a:cubicBezTo>
                    <a:pt x="32" y="35"/>
                    <a:pt x="32" y="35"/>
                    <a:pt x="32" y="35"/>
                  </a:cubicBezTo>
                  <a:cubicBezTo>
                    <a:pt x="26" y="27"/>
                    <a:pt x="26" y="27"/>
                    <a:pt x="26" y="27"/>
                  </a:cubicBezTo>
                  <a:cubicBezTo>
                    <a:pt x="32" y="6"/>
                    <a:pt x="32" y="6"/>
                    <a:pt x="32" y="6"/>
                  </a:cubicBezTo>
                  <a:cubicBezTo>
                    <a:pt x="23" y="0"/>
                    <a:pt x="23" y="0"/>
                    <a:pt x="23" y="0"/>
                  </a:cubicBezTo>
                  <a:cubicBezTo>
                    <a:pt x="15" y="3"/>
                    <a:pt x="0" y="8"/>
                    <a:pt x="0" y="19"/>
                  </a:cubicBezTo>
                  <a:cubicBezTo>
                    <a:pt x="0" y="34"/>
                    <a:pt x="0" y="45"/>
                    <a:pt x="0" y="45"/>
                  </a:cubicBezTo>
                  <a:cubicBezTo>
                    <a:pt x="30" y="45"/>
                    <a:pt x="30" y="45"/>
                    <a:pt x="30" y="45"/>
                  </a:cubicBezTo>
                  <a:lnTo>
                    <a:pt x="34" y="45"/>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12" name="Freeform 502"/>
            <p:cNvSpPr>
              <a:spLocks noEditPoints="1"/>
            </p:cNvSpPr>
            <p:nvPr/>
          </p:nvSpPr>
          <p:spPr bwMode="auto">
            <a:xfrm>
              <a:off x="4276518" y="2603288"/>
              <a:ext cx="306544" cy="230088"/>
            </a:xfrm>
            <a:custGeom>
              <a:avLst/>
              <a:gdLst>
                <a:gd name="T0" fmla="*/ 17 w 180"/>
                <a:gd name="T1" fmla="*/ 135 h 135"/>
                <a:gd name="T2" fmla="*/ 163 w 180"/>
                <a:gd name="T3" fmla="*/ 135 h 135"/>
                <a:gd name="T4" fmla="*/ 180 w 180"/>
                <a:gd name="T5" fmla="*/ 117 h 135"/>
                <a:gd name="T6" fmla="*/ 180 w 180"/>
                <a:gd name="T7" fmla="*/ 18 h 135"/>
                <a:gd name="T8" fmla="*/ 163 w 180"/>
                <a:gd name="T9" fmla="*/ 0 h 135"/>
                <a:gd name="T10" fmla="*/ 17 w 180"/>
                <a:gd name="T11" fmla="*/ 0 h 135"/>
                <a:gd name="T12" fmla="*/ 0 w 180"/>
                <a:gd name="T13" fmla="*/ 18 h 135"/>
                <a:gd name="T14" fmla="*/ 0 w 180"/>
                <a:gd name="T15" fmla="*/ 117 h 135"/>
                <a:gd name="T16" fmla="*/ 17 w 180"/>
                <a:gd name="T17" fmla="*/ 135 h 135"/>
                <a:gd name="T18" fmla="*/ 13 w 180"/>
                <a:gd name="T19" fmla="*/ 27 h 135"/>
                <a:gd name="T20" fmla="*/ 28 w 180"/>
                <a:gd name="T21" fmla="*/ 13 h 135"/>
                <a:gd name="T22" fmla="*/ 90 w 180"/>
                <a:gd name="T23" fmla="*/ 13 h 135"/>
                <a:gd name="T24" fmla="*/ 152 w 180"/>
                <a:gd name="T25" fmla="*/ 13 h 135"/>
                <a:gd name="T26" fmla="*/ 166 w 180"/>
                <a:gd name="T27" fmla="*/ 27 h 135"/>
                <a:gd name="T28" fmla="*/ 166 w 180"/>
                <a:gd name="T29" fmla="*/ 107 h 135"/>
                <a:gd name="T30" fmla="*/ 152 w 180"/>
                <a:gd name="T31" fmla="*/ 122 h 135"/>
                <a:gd name="T32" fmla="*/ 92 w 180"/>
                <a:gd name="T33" fmla="*/ 122 h 135"/>
                <a:gd name="T34" fmla="*/ 28 w 180"/>
                <a:gd name="T35" fmla="*/ 122 h 135"/>
                <a:gd name="T36" fmla="*/ 13 w 180"/>
                <a:gd name="T37" fmla="*/ 107 h 135"/>
                <a:gd name="T38" fmla="*/ 13 w 180"/>
                <a:gd name="T39" fmla="*/ 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0" h="135">
                  <a:moveTo>
                    <a:pt x="17" y="135"/>
                  </a:moveTo>
                  <a:cubicBezTo>
                    <a:pt x="163" y="135"/>
                    <a:pt x="163" y="135"/>
                    <a:pt x="163" y="135"/>
                  </a:cubicBezTo>
                  <a:cubicBezTo>
                    <a:pt x="172" y="135"/>
                    <a:pt x="180" y="127"/>
                    <a:pt x="180" y="117"/>
                  </a:cubicBezTo>
                  <a:cubicBezTo>
                    <a:pt x="180" y="18"/>
                    <a:pt x="180" y="18"/>
                    <a:pt x="180" y="18"/>
                  </a:cubicBezTo>
                  <a:cubicBezTo>
                    <a:pt x="180" y="8"/>
                    <a:pt x="172" y="0"/>
                    <a:pt x="163" y="0"/>
                  </a:cubicBezTo>
                  <a:cubicBezTo>
                    <a:pt x="17" y="0"/>
                    <a:pt x="17" y="0"/>
                    <a:pt x="17" y="0"/>
                  </a:cubicBezTo>
                  <a:cubicBezTo>
                    <a:pt x="8" y="0"/>
                    <a:pt x="0" y="8"/>
                    <a:pt x="0" y="18"/>
                  </a:cubicBezTo>
                  <a:cubicBezTo>
                    <a:pt x="0" y="117"/>
                    <a:pt x="0" y="117"/>
                    <a:pt x="0" y="117"/>
                  </a:cubicBezTo>
                  <a:cubicBezTo>
                    <a:pt x="0" y="127"/>
                    <a:pt x="8" y="135"/>
                    <a:pt x="17" y="135"/>
                  </a:cubicBezTo>
                  <a:close/>
                  <a:moveTo>
                    <a:pt x="13" y="27"/>
                  </a:moveTo>
                  <a:cubicBezTo>
                    <a:pt x="13" y="19"/>
                    <a:pt x="20" y="13"/>
                    <a:pt x="28" y="13"/>
                  </a:cubicBezTo>
                  <a:cubicBezTo>
                    <a:pt x="90" y="13"/>
                    <a:pt x="90" y="13"/>
                    <a:pt x="90" y="13"/>
                  </a:cubicBezTo>
                  <a:cubicBezTo>
                    <a:pt x="152" y="13"/>
                    <a:pt x="152" y="13"/>
                    <a:pt x="152" y="13"/>
                  </a:cubicBezTo>
                  <a:cubicBezTo>
                    <a:pt x="160" y="13"/>
                    <a:pt x="166" y="19"/>
                    <a:pt x="166" y="27"/>
                  </a:cubicBezTo>
                  <a:cubicBezTo>
                    <a:pt x="166" y="107"/>
                    <a:pt x="166" y="107"/>
                    <a:pt x="166" y="107"/>
                  </a:cubicBezTo>
                  <a:cubicBezTo>
                    <a:pt x="166" y="115"/>
                    <a:pt x="160" y="122"/>
                    <a:pt x="152" y="122"/>
                  </a:cubicBezTo>
                  <a:cubicBezTo>
                    <a:pt x="92" y="122"/>
                    <a:pt x="92" y="122"/>
                    <a:pt x="92" y="122"/>
                  </a:cubicBezTo>
                  <a:cubicBezTo>
                    <a:pt x="28" y="122"/>
                    <a:pt x="28" y="122"/>
                    <a:pt x="28" y="122"/>
                  </a:cubicBezTo>
                  <a:cubicBezTo>
                    <a:pt x="20" y="122"/>
                    <a:pt x="13" y="115"/>
                    <a:pt x="13" y="107"/>
                  </a:cubicBezTo>
                  <a:lnTo>
                    <a:pt x="13" y="27"/>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13" name="Freeform 503"/>
            <p:cNvSpPr/>
            <p:nvPr/>
          </p:nvSpPr>
          <p:spPr bwMode="auto">
            <a:xfrm>
              <a:off x="4153901" y="2850687"/>
              <a:ext cx="548894" cy="103864"/>
            </a:xfrm>
            <a:custGeom>
              <a:avLst/>
              <a:gdLst>
                <a:gd name="T0" fmla="*/ 720 w 761"/>
                <a:gd name="T1" fmla="*/ 144 h 144"/>
                <a:gd name="T2" fmla="*/ 761 w 761"/>
                <a:gd name="T3" fmla="*/ 144 h 144"/>
                <a:gd name="T4" fmla="*/ 761 w 761"/>
                <a:gd name="T5" fmla="*/ 85 h 144"/>
                <a:gd name="T6" fmla="*/ 409 w 761"/>
                <a:gd name="T7" fmla="*/ 85 h 144"/>
                <a:gd name="T8" fmla="*/ 409 w 761"/>
                <a:gd name="T9" fmla="*/ 0 h 144"/>
                <a:gd name="T10" fmla="*/ 390 w 761"/>
                <a:gd name="T11" fmla="*/ 0 h 144"/>
                <a:gd name="T12" fmla="*/ 371 w 761"/>
                <a:gd name="T13" fmla="*/ 0 h 144"/>
                <a:gd name="T14" fmla="*/ 352 w 761"/>
                <a:gd name="T15" fmla="*/ 0 h 144"/>
                <a:gd name="T16" fmla="*/ 352 w 761"/>
                <a:gd name="T17" fmla="*/ 85 h 144"/>
                <a:gd name="T18" fmla="*/ 0 w 761"/>
                <a:gd name="T19" fmla="*/ 85 h 144"/>
                <a:gd name="T20" fmla="*/ 0 w 761"/>
                <a:gd name="T21" fmla="*/ 144 h 144"/>
                <a:gd name="T22" fmla="*/ 40 w 761"/>
                <a:gd name="T23" fmla="*/ 144 h 144"/>
                <a:gd name="T24" fmla="*/ 40 w 761"/>
                <a:gd name="T25" fmla="*/ 115 h 144"/>
                <a:gd name="T26" fmla="*/ 371 w 761"/>
                <a:gd name="T27" fmla="*/ 115 h 144"/>
                <a:gd name="T28" fmla="*/ 390 w 761"/>
                <a:gd name="T29" fmla="*/ 115 h 144"/>
                <a:gd name="T30" fmla="*/ 720 w 761"/>
                <a:gd name="T31" fmla="*/ 115 h 144"/>
                <a:gd name="T32" fmla="*/ 720 w 761"/>
                <a:gd name="T3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1" h="144">
                  <a:moveTo>
                    <a:pt x="720" y="144"/>
                  </a:moveTo>
                  <a:lnTo>
                    <a:pt x="761" y="144"/>
                  </a:lnTo>
                  <a:lnTo>
                    <a:pt x="761" y="85"/>
                  </a:lnTo>
                  <a:lnTo>
                    <a:pt x="409" y="85"/>
                  </a:lnTo>
                  <a:lnTo>
                    <a:pt x="409" y="0"/>
                  </a:lnTo>
                  <a:lnTo>
                    <a:pt x="390" y="0"/>
                  </a:lnTo>
                  <a:lnTo>
                    <a:pt x="371" y="0"/>
                  </a:lnTo>
                  <a:lnTo>
                    <a:pt x="352" y="0"/>
                  </a:lnTo>
                  <a:lnTo>
                    <a:pt x="352" y="85"/>
                  </a:lnTo>
                  <a:lnTo>
                    <a:pt x="0" y="85"/>
                  </a:lnTo>
                  <a:lnTo>
                    <a:pt x="0" y="144"/>
                  </a:lnTo>
                  <a:lnTo>
                    <a:pt x="40" y="144"/>
                  </a:lnTo>
                  <a:lnTo>
                    <a:pt x="40" y="115"/>
                  </a:lnTo>
                  <a:lnTo>
                    <a:pt x="371" y="115"/>
                  </a:lnTo>
                  <a:lnTo>
                    <a:pt x="390" y="115"/>
                  </a:lnTo>
                  <a:lnTo>
                    <a:pt x="720" y="115"/>
                  </a:lnTo>
                  <a:lnTo>
                    <a:pt x="720" y="144"/>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14" name="Oval 504"/>
            <p:cNvSpPr>
              <a:spLocks noChangeArrowheads="1"/>
            </p:cNvSpPr>
            <p:nvPr/>
          </p:nvSpPr>
          <p:spPr bwMode="auto">
            <a:xfrm>
              <a:off x="4122886" y="3019467"/>
              <a:ext cx="59866" cy="67800"/>
            </a:xfrm>
            <a:prstGeom prst="ellipse">
              <a:avLst/>
            </a:pr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15" name="Freeform 505"/>
            <p:cNvSpPr/>
            <p:nvPr/>
          </p:nvSpPr>
          <p:spPr bwMode="auto">
            <a:xfrm>
              <a:off x="4099084" y="3092316"/>
              <a:ext cx="107471" cy="77177"/>
            </a:xfrm>
            <a:custGeom>
              <a:avLst/>
              <a:gdLst>
                <a:gd name="T0" fmla="*/ 63 w 63"/>
                <a:gd name="T1" fmla="*/ 45 h 45"/>
                <a:gd name="T2" fmla="*/ 63 w 63"/>
                <a:gd name="T3" fmla="*/ 18 h 45"/>
                <a:gd name="T4" fmla="*/ 40 w 63"/>
                <a:gd name="T5" fmla="*/ 0 h 45"/>
                <a:gd name="T6" fmla="*/ 32 w 63"/>
                <a:gd name="T7" fmla="*/ 5 h 45"/>
                <a:gd name="T8" fmla="*/ 38 w 63"/>
                <a:gd name="T9" fmla="*/ 27 h 45"/>
                <a:gd name="T10" fmla="*/ 32 w 63"/>
                <a:gd name="T11" fmla="*/ 34 h 45"/>
                <a:gd name="T12" fmla="*/ 26 w 63"/>
                <a:gd name="T13" fmla="*/ 27 h 45"/>
                <a:gd name="T14" fmla="*/ 32 w 63"/>
                <a:gd name="T15" fmla="*/ 5 h 45"/>
                <a:gd name="T16" fmla="*/ 23 w 63"/>
                <a:gd name="T17" fmla="*/ 0 h 45"/>
                <a:gd name="T18" fmla="*/ 0 w 63"/>
                <a:gd name="T19" fmla="*/ 18 h 45"/>
                <a:gd name="T20" fmla="*/ 0 w 63"/>
                <a:gd name="T21" fmla="*/ 45 h 45"/>
                <a:gd name="T22" fmla="*/ 30 w 63"/>
                <a:gd name="T23" fmla="*/ 45 h 45"/>
                <a:gd name="T24" fmla="*/ 34 w 63"/>
                <a:gd name="T25" fmla="*/ 45 h 45"/>
                <a:gd name="T26" fmla="*/ 63 w 63"/>
                <a:gd name="T2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45">
                  <a:moveTo>
                    <a:pt x="63" y="45"/>
                  </a:moveTo>
                  <a:cubicBezTo>
                    <a:pt x="63" y="45"/>
                    <a:pt x="63" y="33"/>
                    <a:pt x="63" y="18"/>
                  </a:cubicBezTo>
                  <a:cubicBezTo>
                    <a:pt x="63" y="7"/>
                    <a:pt x="49" y="2"/>
                    <a:pt x="40" y="0"/>
                  </a:cubicBezTo>
                  <a:cubicBezTo>
                    <a:pt x="32" y="5"/>
                    <a:pt x="32" y="5"/>
                    <a:pt x="32" y="5"/>
                  </a:cubicBezTo>
                  <a:cubicBezTo>
                    <a:pt x="38" y="27"/>
                    <a:pt x="38" y="27"/>
                    <a:pt x="38" y="27"/>
                  </a:cubicBezTo>
                  <a:cubicBezTo>
                    <a:pt x="32" y="34"/>
                    <a:pt x="32" y="34"/>
                    <a:pt x="32" y="34"/>
                  </a:cubicBezTo>
                  <a:cubicBezTo>
                    <a:pt x="26" y="27"/>
                    <a:pt x="26" y="27"/>
                    <a:pt x="26" y="27"/>
                  </a:cubicBezTo>
                  <a:cubicBezTo>
                    <a:pt x="32" y="5"/>
                    <a:pt x="32" y="5"/>
                    <a:pt x="32" y="5"/>
                  </a:cubicBezTo>
                  <a:cubicBezTo>
                    <a:pt x="23" y="0"/>
                    <a:pt x="23" y="0"/>
                    <a:pt x="23" y="0"/>
                  </a:cubicBezTo>
                  <a:cubicBezTo>
                    <a:pt x="15" y="2"/>
                    <a:pt x="0" y="7"/>
                    <a:pt x="0" y="18"/>
                  </a:cubicBezTo>
                  <a:cubicBezTo>
                    <a:pt x="0" y="33"/>
                    <a:pt x="0" y="45"/>
                    <a:pt x="0" y="45"/>
                  </a:cubicBezTo>
                  <a:cubicBezTo>
                    <a:pt x="30" y="45"/>
                    <a:pt x="30" y="45"/>
                    <a:pt x="30" y="45"/>
                  </a:cubicBezTo>
                  <a:cubicBezTo>
                    <a:pt x="34" y="45"/>
                    <a:pt x="34" y="45"/>
                    <a:pt x="34" y="45"/>
                  </a:cubicBezTo>
                  <a:lnTo>
                    <a:pt x="63" y="45"/>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16" name="Freeform 506"/>
            <p:cNvSpPr/>
            <p:nvPr/>
          </p:nvSpPr>
          <p:spPr bwMode="auto">
            <a:xfrm>
              <a:off x="4000268" y="2978354"/>
              <a:ext cx="153633" cy="129109"/>
            </a:xfrm>
            <a:custGeom>
              <a:avLst/>
              <a:gdLst>
                <a:gd name="T0" fmla="*/ 90 w 90"/>
                <a:gd name="T1" fmla="*/ 0 h 76"/>
                <a:gd name="T2" fmla="*/ 17 w 90"/>
                <a:gd name="T3" fmla="*/ 0 h 76"/>
                <a:gd name="T4" fmla="*/ 0 w 90"/>
                <a:gd name="T5" fmla="*/ 18 h 76"/>
                <a:gd name="T6" fmla="*/ 0 w 90"/>
                <a:gd name="T7" fmla="*/ 76 h 76"/>
                <a:gd name="T8" fmla="*/ 13 w 90"/>
                <a:gd name="T9" fmla="*/ 76 h 76"/>
                <a:gd name="T10" fmla="*/ 13 w 90"/>
                <a:gd name="T11" fmla="*/ 28 h 76"/>
                <a:gd name="T12" fmla="*/ 28 w 90"/>
                <a:gd name="T13" fmla="*/ 13 h 76"/>
                <a:gd name="T14" fmla="*/ 90 w 90"/>
                <a:gd name="T15" fmla="*/ 13 h 76"/>
                <a:gd name="T16" fmla="*/ 90 w 90"/>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76">
                  <a:moveTo>
                    <a:pt x="90" y="0"/>
                  </a:moveTo>
                  <a:cubicBezTo>
                    <a:pt x="17" y="0"/>
                    <a:pt x="17" y="0"/>
                    <a:pt x="17" y="0"/>
                  </a:cubicBezTo>
                  <a:cubicBezTo>
                    <a:pt x="7" y="0"/>
                    <a:pt x="0" y="8"/>
                    <a:pt x="0" y="18"/>
                  </a:cubicBezTo>
                  <a:cubicBezTo>
                    <a:pt x="0" y="76"/>
                    <a:pt x="0" y="76"/>
                    <a:pt x="0" y="76"/>
                  </a:cubicBezTo>
                  <a:cubicBezTo>
                    <a:pt x="13" y="76"/>
                    <a:pt x="13" y="76"/>
                    <a:pt x="13" y="76"/>
                  </a:cubicBezTo>
                  <a:cubicBezTo>
                    <a:pt x="13" y="28"/>
                    <a:pt x="13" y="28"/>
                    <a:pt x="13" y="28"/>
                  </a:cubicBezTo>
                  <a:cubicBezTo>
                    <a:pt x="13" y="20"/>
                    <a:pt x="20" y="13"/>
                    <a:pt x="28" y="13"/>
                  </a:cubicBezTo>
                  <a:cubicBezTo>
                    <a:pt x="90" y="13"/>
                    <a:pt x="90" y="13"/>
                    <a:pt x="90" y="13"/>
                  </a:cubicBezTo>
                  <a:lnTo>
                    <a:pt x="90" y="0"/>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grpSp>
      <p:grpSp>
        <p:nvGrpSpPr>
          <p:cNvPr id="17" name="组合 16"/>
          <p:cNvGrpSpPr/>
          <p:nvPr/>
        </p:nvGrpSpPr>
        <p:grpSpPr>
          <a:xfrm>
            <a:off x="1069423" y="1520151"/>
            <a:ext cx="547716" cy="566511"/>
            <a:chOff x="7360698" y="1225150"/>
            <a:chExt cx="630398" cy="663577"/>
          </a:xfrm>
          <a:solidFill>
            <a:srgbClr val="FE8637"/>
          </a:solidFill>
        </p:grpSpPr>
        <p:sp>
          <p:nvSpPr>
            <p:cNvPr id="18" name="Rectangle 599"/>
            <p:cNvSpPr>
              <a:spLocks noChangeArrowheads="1"/>
            </p:cNvSpPr>
            <p:nvPr/>
          </p:nvSpPr>
          <p:spPr bwMode="auto">
            <a:xfrm>
              <a:off x="7442203" y="1716342"/>
              <a:ext cx="427719" cy="238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19" name="Freeform 600"/>
            <p:cNvSpPr/>
            <p:nvPr/>
          </p:nvSpPr>
          <p:spPr bwMode="auto">
            <a:xfrm>
              <a:off x="7825923" y="1315310"/>
              <a:ext cx="51211" cy="62030"/>
            </a:xfrm>
            <a:custGeom>
              <a:avLst/>
              <a:gdLst>
                <a:gd name="T0" fmla="*/ 26 w 30"/>
                <a:gd name="T1" fmla="*/ 0 h 36"/>
                <a:gd name="T2" fmla="*/ 29 w 30"/>
                <a:gd name="T3" fmla="*/ 1 h 36"/>
                <a:gd name="T4" fmla="*/ 30 w 30"/>
                <a:gd name="T5" fmla="*/ 3 h 36"/>
                <a:gd name="T6" fmla="*/ 29 w 30"/>
                <a:gd name="T7" fmla="*/ 5 h 36"/>
                <a:gd name="T8" fmla="*/ 26 w 30"/>
                <a:gd name="T9" fmla="*/ 6 h 36"/>
                <a:gd name="T10" fmla="*/ 19 w 30"/>
                <a:gd name="T11" fmla="*/ 6 h 36"/>
                <a:gd name="T12" fmla="*/ 19 w 30"/>
                <a:gd name="T13" fmla="*/ 31 h 36"/>
                <a:gd name="T14" fmla="*/ 18 w 30"/>
                <a:gd name="T15" fmla="*/ 35 h 36"/>
                <a:gd name="T16" fmla="*/ 15 w 30"/>
                <a:gd name="T17" fmla="*/ 36 h 36"/>
                <a:gd name="T18" fmla="*/ 13 w 30"/>
                <a:gd name="T19" fmla="*/ 35 h 36"/>
                <a:gd name="T20" fmla="*/ 12 w 30"/>
                <a:gd name="T21" fmla="*/ 31 h 36"/>
                <a:gd name="T22" fmla="*/ 12 w 30"/>
                <a:gd name="T23" fmla="*/ 6 h 36"/>
                <a:gd name="T24" fmla="*/ 4 w 30"/>
                <a:gd name="T25" fmla="*/ 6 h 36"/>
                <a:gd name="T26" fmla="*/ 1 w 30"/>
                <a:gd name="T27" fmla="*/ 5 h 36"/>
                <a:gd name="T28" fmla="*/ 0 w 30"/>
                <a:gd name="T29" fmla="*/ 3 h 36"/>
                <a:gd name="T30" fmla="*/ 1 w 30"/>
                <a:gd name="T31" fmla="*/ 1 h 36"/>
                <a:gd name="T32" fmla="*/ 4 w 30"/>
                <a:gd name="T33" fmla="*/ 0 h 36"/>
                <a:gd name="T34" fmla="*/ 26 w 30"/>
                <a:gd name="T3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6">
                  <a:moveTo>
                    <a:pt x="26" y="0"/>
                  </a:moveTo>
                  <a:cubicBezTo>
                    <a:pt x="28" y="0"/>
                    <a:pt x="29" y="1"/>
                    <a:pt x="29" y="1"/>
                  </a:cubicBezTo>
                  <a:cubicBezTo>
                    <a:pt x="30" y="2"/>
                    <a:pt x="30" y="2"/>
                    <a:pt x="30" y="3"/>
                  </a:cubicBezTo>
                  <a:cubicBezTo>
                    <a:pt x="30" y="4"/>
                    <a:pt x="30" y="5"/>
                    <a:pt x="29" y="5"/>
                  </a:cubicBezTo>
                  <a:cubicBezTo>
                    <a:pt x="28" y="6"/>
                    <a:pt x="28" y="6"/>
                    <a:pt x="26" y="6"/>
                  </a:cubicBezTo>
                  <a:cubicBezTo>
                    <a:pt x="19" y="6"/>
                    <a:pt x="19" y="6"/>
                    <a:pt x="19" y="6"/>
                  </a:cubicBezTo>
                  <a:cubicBezTo>
                    <a:pt x="19" y="31"/>
                    <a:pt x="19" y="31"/>
                    <a:pt x="19" y="31"/>
                  </a:cubicBezTo>
                  <a:cubicBezTo>
                    <a:pt x="19" y="33"/>
                    <a:pt x="18" y="34"/>
                    <a:pt x="18" y="35"/>
                  </a:cubicBezTo>
                  <a:cubicBezTo>
                    <a:pt x="17" y="35"/>
                    <a:pt x="16" y="36"/>
                    <a:pt x="15" y="36"/>
                  </a:cubicBezTo>
                  <a:cubicBezTo>
                    <a:pt x="14" y="36"/>
                    <a:pt x="13" y="35"/>
                    <a:pt x="13" y="35"/>
                  </a:cubicBezTo>
                  <a:cubicBezTo>
                    <a:pt x="12" y="34"/>
                    <a:pt x="12" y="33"/>
                    <a:pt x="12" y="31"/>
                  </a:cubicBezTo>
                  <a:cubicBezTo>
                    <a:pt x="12" y="6"/>
                    <a:pt x="12" y="6"/>
                    <a:pt x="12" y="6"/>
                  </a:cubicBezTo>
                  <a:cubicBezTo>
                    <a:pt x="4" y="6"/>
                    <a:pt x="4" y="6"/>
                    <a:pt x="4" y="6"/>
                  </a:cubicBezTo>
                  <a:cubicBezTo>
                    <a:pt x="3" y="6"/>
                    <a:pt x="2" y="6"/>
                    <a:pt x="1" y="5"/>
                  </a:cubicBezTo>
                  <a:cubicBezTo>
                    <a:pt x="1" y="5"/>
                    <a:pt x="0" y="4"/>
                    <a:pt x="0" y="3"/>
                  </a:cubicBezTo>
                  <a:cubicBezTo>
                    <a:pt x="0" y="2"/>
                    <a:pt x="1" y="2"/>
                    <a:pt x="1" y="1"/>
                  </a:cubicBezTo>
                  <a:cubicBezTo>
                    <a:pt x="2" y="1"/>
                    <a:pt x="3" y="0"/>
                    <a:pt x="4" y="0"/>
                  </a:cubicBezTo>
                  <a:lnTo>
                    <a:pt x="2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20" name="Rectangle 601"/>
            <p:cNvSpPr>
              <a:spLocks noChangeArrowheads="1"/>
            </p:cNvSpPr>
            <p:nvPr/>
          </p:nvSpPr>
          <p:spPr bwMode="auto">
            <a:xfrm>
              <a:off x="7442203" y="1655033"/>
              <a:ext cx="383721" cy="252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21" name="Freeform 602"/>
            <p:cNvSpPr/>
            <p:nvPr/>
          </p:nvSpPr>
          <p:spPr bwMode="auto">
            <a:xfrm>
              <a:off x="7769663" y="1315310"/>
              <a:ext cx="52654" cy="62030"/>
            </a:xfrm>
            <a:custGeom>
              <a:avLst/>
              <a:gdLst>
                <a:gd name="T0" fmla="*/ 29 w 31"/>
                <a:gd name="T1" fmla="*/ 6 h 36"/>
                <a:gd name="T2" fmla="*/ 30 w 31"/>
                <a:gd name="T3" fmla="*/ 10 h 36"/>
                <a:gd name="T4" fmla="*/ 30 w 31"/>
                <a:gd name="T5" fmla="*/ 12 h 36"/>
                <a:gd name="T6" fmla="*/ 27 w 31"/>
                <a:gd name="T7" fmla="*/ 13 h 36"/>
                <a:gd name="T8" fmla="*/ 25 w 31"/>
                <a:gd name="T9" fmla="*/ 13 h 36"/>
                <a:gd name="T10" fmla="*/ 24 w 31"/>
                <a:gd name="T11" fmla="*/ 10 h 36"/>
                <a:gd name="T12" fmla="*/ 21 w 31"/>
                <a:gd name="T13" fmla="*/ 7 h 36"/>
                <a:gd name="T14" fmla="*/ 16 w 31"/>
                <a:gd name="T15" fmla="*/ 5 h 36"/>
                <a:gd name="T16" fmla="*/ 9 w 31"/>
                <a:gd name="T17" fmla="*/ 9 h 36"/>
                <a:gd name="T18" fmla="*/ 7 w 31"/>
                <a:gd name="T19" fmla="*/ 18 h 36"/>
                <a:gd name="T20" fmla="*/ 8 w 31"/>
                <a:gd name="T21" fmla="*/ 25 h 36"/>
                <a:gd name="T22" fmla="*/ 11 w 31"/>
                <a:gd name="T23" fmla="*/ 29 h 36"/>
                <a:gd name="T24" fmla="*/ 16 w 31"/>
                <a:gd name="T25" fmla="*/ 30 h 36"/>
                <a:gd name="T26" fmla="*/ 21 w 31"/>
                <a:gd name="T27" fmla="*/ 29 h 36"/>
                <a:gd name="T28" fmla="*/ 24 w 31"/>
                <a:gd name="T29" fmla="*/ 24 h 36"/>
                <a:gd name="T30" fmla="*/ 25 w 31"/>
                <a:gd name="T31" fmla="*/ 22 h 36"/>
                <a:gd name="T32" fmla="*/ 27 w 31"/>
                <a:gd name="T33" fmla="*/ 21 h 36"/>
                <a:gd name="T34" fmla="*/ 30 w 31"/>
                <a:gd name="T35" fmla="*/ 22 h 36"/>
                <a:gd name="T36" fmla="*/ 31 w 31"/>
                <a:gd name="T37" fmla="*/ 24 h 36"/>
                <a:gd name="T38" fmla="*/ 30 w 31"/>
                <a:gd name="T39" fmla="*/ 28 h 36"/>
                <a:gd name="T40" fmla="*/ 27 w 31"/>
                <a:gd name="T41" fmla="*/ 31 h 36"/>
                <a:gd name="T42" fmla="*/ 23 w 31"/>
                <a:gd name="T43" fmla="*/ 35 h 36"/>
                <a:gd name="T44" fmla="*/ 16 w 31"/>
                <a:gd name="T45" fmla="*/ 36 h 36"/>
                <a:gd name="T46" fmla="*/ 11 w 31"/>
                <a:gd name="T47" fmla="*/ 35 h 36"/>
                <a:gd name="T48" fmla="*/ 7 w 31"/>
                <a:gd name="T49" fmla="*/ 34 h 36"/>
                <a:gd name="T50" fmla="*/ 4 w 31"/>
                <a:gd name="T51" fmla="*/ 31 h 36"/>
                <a:gd name="T52" fmla="*/ 1 w 31"/>
                <a:gd name="T53" fmla="*/ 27 h 36"/>
                <a:gd name="T54" fmla="*/ 0 w 31"/>
                <a:gd name="T55" fmla="*/ 23 h 36"/>
                <a:gd name="T56" fmla="*/ 0 w 31"/>
                <a:gd name="T57" fmla="*/ 18 h 36"/>
                <a:gd name="T58" fmla="*/ 1 w 31"/>
                <a:gd name="T59" fmla="*/ 10 h 36"/>
                <a:gd name="T60" fmla="*/ 4 w 31"/>
                <a:gd name="T61" fmla="*/ 5 h 36"/>
                <a:gd name="T62" fmla="*/ 10 w 31"/>
                <a:gd name="T63" fmla="*/ 1 h 36"/>
                <a:gd name="T64" fmla="*/ 16 w 31"/>
                <a:gd name="T65" fmla="*/ 0 h 36"/>
                <a:gd name="T66" fmla="*/ 24 w 31"/>
                <a:gd name="T67" fmla="*/ 1 h 36"/>
                <a:gd name="T68" fmla="*/ 29 w 31"/>
                <a:gd name="T69"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36">
                  <a:moveTo>
                    <a:pt x="29" y="6"/>
                  </a:moveTo>
                  <a:cubicBezTo>
                    <a:pt x="30" y="7"/>
                    <a:pt x="30" y="9"/>
                    <a:pt x="30" y="10"/>
                  </a:cubicBezTo>
                  <a:cubicBezTo>
                    <a:pt x="30" y="11"/>
                    <a:pt x="30" y="12"/>
                    <a:pt x="30" y="12"/>
                  </a:cubicBezTo>
                  <a:cubicBezTo>
                    <a:pt x="29" y="13"/>
                    <a:pt x="28" y="13"/>
                    <a:pt x="27" y="13"/>
                  </a:cubicBezTo>
                  <a:cubicBezTo>
                    <a:pt x="27" y="13"/>
                    <a:pt x="26" y="13"/>
                    <a:pt x="25" y="13"/>
                  </a:cubicBezTo>
                  <a:cubicBezTo>
                    <a:pt x="25" y="12"/>
                    <a:pt x="24" y="12"/>
                    <a:pt x="24" y="10"/>
                  </a:cubicBezTo>
                  <a:cubicBezTo>
                    <a:pt x="23" y="9"/>
                    <a:pt x="22" y="7"/>
                    <a:pt x="21" y="7"/>
                  </a:cubicBezTo>
                  <a:cubicBezTo>
                    <a:pt x="19" y="6"/>
                    <a:pt x="18" y="5"/>
                    <a:pt x="16" y="5"/>
                  </a:cubicBezTo>
                  <a:cubicBezTo>
                    <a:pt x="13" y="5"/>
                    <a:pt x="11" y="6"/>
                    <a:pt x="9" y="9"/>
                  </a:cubicBezTo>
                  <a:cubicBezTo>
                    <a:pt x="8" y="11"/>
                    <a:pt x="7" y="14"/>
                    <a:pt x="7" y="18"/>
                  </a:cubicBezTo>
                  <a:cubicBezTo>
                    <a:pt x="7" y="21"/>
                    <a:pt x="7" y="23"/>
                    <a:pt x="8" y="25"/>
                  </a:cubicBezTo>
                  <a:cubicBezTo>
                    <a:pt x="9" y="27"/>
                    <a:pt x="10" y="28"/>
                    <a:pt x="11" y="29"/>
                  </a:cubicBezTo>
                  <a:cubicBezTo>
                    <a:pt x="12" y="30"/>
                    <a:pt x="14" y="30"/>
                    <a:pt x="16" y="30"/>
                  </a:cubicBezTo>
                  <a:cubicBezTo>
                    <a:pt x="18" y="30"/>
                    <a:pt x="20" y="30"/>
                    <a:pt x="21" y="29"/>
                  </a:cubicBezTo>
                  <a:cubicBezTo>
                    <a:pt x="22" y="28"/>
                    <a:pt x="23" y="26"/>
                    <a:pt x="24" y="24"/>
                  </a:cubicBezTo>
                  <a:cubicBezTo>
                    <a:pt x="24" y="23"/>
                    <a:pt x="25" y="22"/>
                    <a:pt x="25" y="22"/>
                  </a:cubicBezTo>
                  <a:cubicBezTo>
                    <a:pt x="26" y="21"/>
                    <a:pt x="26" y="21"/>
                    <a:pt x="27" y="21"/>
                  </a:cubicBezTo>
                  <a:cubicBezTo>
                    <a:pt x="28" y="21"/>
                    <a:pt x="29" y="21"/>
                    <a:pt x="30" y="22"/>
                  </a:cubicBezTo>
                  <a:cubicBezTo>
                    <a:pt x="30" y="22"/>
                    <a:pt x="31" y="23"/>
                    <a:pt x="31" y="24"/>
                  </a:cubicBezTo>
                  <a:cubicBezTo>
                    <a:pt x="31" y="25"/>
                    <a:pt x="30" y="26"/>
                    <a:pt x="30" y="28"/>
                  </a:cubicBezTo>
                  <a:cubicBezTo>
                    <a:pt x="29" y="29"/>
                    <a:pt x="28" y="30"/>
                    <a:pt x="27" y="31"/>
                  </a:cubicBezTo>
                  <a:cubicBezTo>
                    <a:pt x="26" y="33"/>
                    <a:pt x="24" y="34"/>
                    <a:pt x="23" y="35"/>
                  </a:cubicBezTo>
                  <a:cubicBezTo>
                    <a:pt x="21" y="35"/>
                    <a:pt x="19" y="36"/>
                    <a:pt x="16" y="36"/>
                  </a:cubicBezTo>
                  <a:cubicBezTo>
                    <a:pt x="14" y="36"/>
                    <a:pt x="13" y="36"/>
                    <a:pt x="11" y="35"/>
                  </a:cubicBezTo>
                  <a:cubicBezTo>
                    <a:pt x="10" y="35"/>
                    <a:pt x="8" y="34"/>
                    <a:pt x="7" y="34"/>
                  </a:cubicBezTo>
                  <a:cubicBezTo>
                    <a:pt x="6" y="33"/>
                    <a:pt x="5" y="32"/>
                    <a:pt x="4" y="31"/>
                  </a:cubicBezTo>
                  <a:cubicBezTo>
                    <a:pt x="3" y="30"/>
                    <a:pt x="2" y="28"/>
                    <a:pt x="1" y="27"/>
                  </a:cubicBezTo>
                  <a:cubicBezTo>
                    <a:pt x="1" y="26"/>
                    <a:pt x="0" y="24"/>
                    <a:pt x="0" y="23"/>
                  </a:cubicBezTo>
                  <a:cubicBezTo>
                    <a:pt x="0" y="21"/>
                    <a:pt x="0" y="19"/>
                    <a:pt x="0" y="18"/>
                  </a:cubicBezTo>
                  <a:cubicBezTo>
                    <a:pt x="0" y="15"/>
                    <a:pt x="0" y="12"/>
                    <a:pt x="1" y="10"/>
                  </a:cubicBezTo>
                  <a:cubicBezTo>
                    <a:pt x="2" y="8"/>
                    <a:pt x="3" y="6"/>
                    <a:pt x="4" y="5"/>
                  </a:cubicBezTo>
                  <a:cubicBezTo>
                    <a:pt x="6" y="3"/>
                    <a:pt x="8" y="2"/>
                    <a:pt x="10" y="1"/>
                  </a:cubicBezTo>
                  <a:cubicBezTo>
                    <a:pt x="12" y="0"/>
                    <a:pt x="14" y="0"/>
                    <a:pt x="16" y="0"/>
                  </a:cubicBezTo>
                  <a:cubicBezTo>
                    <a:pt x="19" y="0"/>
                    <a:pt x="21" y="0"/>
                    <a:pt x="24" y="1"/>
                  </a:cubicBezTo>
                  <a:cubicBezTo>
                    <a:pt x="26" y="3"/>
                    <a:pt x="27" y="4"/>
                    <a:pt x="29"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22" name="Rectangle 603"/>
            <p:cNvSpPr>
              <a:spLocks noChangeArrowheads="1"/>
            </p:cNvSpPr>
            <p:nvPr/>
          </p:nvSpPr>
          <p:spPr bwMode="auto">
            <a:xfrm>
              <a:off x="7442203" y="1591560"/>
              <a:ext cx="295004" cy="324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23" name="Freeform 604"/>
            <p:cNvSpPr/>
            <p:nvPr/>
          </p:nvSpPr>
          <p:spPr bwMode="auto">
            <a:xfrm>
              <a:off x="7714846" y="1315310"/>
              <a:ext cx="46162" cy="59866"/>
            </a:xfrm>
            <a:custGeom>
              <a:avLst/>
              <a:gdLst>
                <a:gd name="T0" fmla="*/ 24 w 27"/>
                <a:gd name="T1" fmla="*/ 35 h 35"/>
                <a:gd name="T2" fmla="*/ 5 w 27"/>
                <a:gd name="T3" fmla="*/ 35 h 35"/>
                <a:gd name="T4" fmla="*/ 1 w 27"/>
                <a:gd name="T5" fmla="*/ 34 h 35"/>
                <a:gd name="T6" fmla="*/ 0 w 27"/>
                <a:gd name="T7" fmla="*/ 31 h 35"/>
                <a:gd name="T8" fmla="*/ 0 w 27"/>
                <a:gd name="T9" fmla="*/ 5 h 35"/>
                <a:gd name="T10" fmla="*/ 1 w 27"/>
                <a:gd name="T11" fmla="*/ 2 h 35"/>
                <a:gd name="T12" fmla="*/ 2 w 27"/>
                <a:gd name="T13" fmla="*/ 1 h 35"/>
                <a:gd name="T14" fmla="*/ 5 w 27"/>
                <a:gd name="T15" fmla="*/ 0 h 35"/>
                <a:gd name="T16" fmla="*/ 23 w 27"/>
                <a:gd name="T17" fmla="*/ 0 h 35"/>
                <a:gd name="T18" fmla="*/ 26 w 27"/>
                <a:gd name="T19" fmla="*/ 1 h 35"/>
                <a:gd name="T20" fmla="*/ 27 w 27"/>
                <a:gd name="T21" fmla="*/ 3 h 35"/>
                <a:gd name="T22" fmla="*/ 26 w 27"/>
                <a:gd name="T23" fmla="*/ 5 h 35"/>
                <a:gd name="T24" fmla="*/ 23 w 27"/>
                <a:gd name="T25" fmla="*/ 6 h 35"/>
                <a:gd name="T26" fmla="*/ 8 w 27"/>
                <a:gd name="T27" fmla="*/ 6 h 35"/>
                <a:gd name="T28" fmla="*/ 8 w 27"/>
                <a:gd name="T29" fmla="*/ 14 h 35"/>
                <a:gd name="T30" fmla="*/ 22 w 27"/>
                <a:gd name="T31" fmla="*/ 14 h 35"/>
                <a:gd name="T32" fmla="*/ 25 w 27"/>
                <a:gd name="T33" fmla="*/ 15 h 35"/>
                <a:gd name="T34" fmla="*/ 25 w 27"/>
                <a:gd name="T35" fmla="*/ 17 h 35"/>
                <a:gd name="T36" fmla="*/ 25 w 27"/>
                <a:gd name="T37" fmla="*/ 19 h 35"/>
                <a:gd name="T38" fmla="*/ 22 w 27"/>
                <a:gd name="T39" fmla="*/ 20 h 35"/>
                <a:gd name="T40" fmla="*/ 8 w 27"/>
                <a:gd name="T41" fmla="*/ 20 h 35"/>
                <a:gd name="T42" fmla="*/ 8 w 27"/>
                <a:gd name="T43" fmla="*/ 30 h 35"/>
                <a:gd name="T44" fmla="*/ 24 w 27"/>
                <a:gd name="T45" fmla="*/ 30 h 35"/>
                <a:gd name="T46" fmla="*/ 26 w 27"/>
                <a:gd name="T47" fmla="*/ 30 h 35"/>
                <a:gd name="T48" fmla="*/ 27 w 27"/>
                <a:gd name="T49" fmla="*/ 32 h 35"/>
                <a:gd name="T50" fmla="*/ 26 w 27"/>
                <a:gd name="T51" fmla="*/ 34 h 35"/>
                <a:gd name="T52" fmla="*/ 24 w 27"/>
                <a:gd name="T5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5">
                  <a:moveTo>
                    <a:pt x="24" y="35"/>
                  </a:moveTo>
                  <a:cubicBezTo>
                    <a:pt x="5" y="35"/>
                    <a:pt x="5" y="35"/>
                    <a:pt x="5" y="35"/>
                  </a:cubicBezTo>
                  <a:cubicBezTo>
                    <a:pt x="3" y="35"/>
                    <a:pt x="2" y="35"/>
                    <a:pt x="1" y="34"/>
                  </a:cubicBezTo>
                  <a:cubicBezTo>
                    <a:pt x="1" y="33"/>
                    <a:pt x="0" y="32"/>
                    <a:pt x="0" y="31"/>
                  </a:cubicBezTo>
                  <a:cubicBezTo>
                    <a:pt x="0" y="5"/>
                    <a:pt x="0" y="5"/>
                    <a:pt x="0" y="5"/>
                  </a:cubicBezTo>
                  <a:cubicBezTo>
                    <a:pt x="0" y="4"/>
                    <a:pt x="1" y="3"/>
                    <a:pt x="1" y="2"/>
                  </a:cubicBezTo>
                  <a:cubicBezTo>
                    <a:pt x="1" y="2"/>
                    <a:pt x="2" y="1"/>
                    <a:pt x="2" y="1"/>
                  </a:cubicBezTo>
                  <a:cubicBezTo>
                    <a:pt x="3" y="0"/>
                    <a:pt x="4" y="0"/>
                    <a:pt x="5" y="0"/>
                  </a:cubicBezTo>
                  <a:cubicBezTo>
                    <a:pt x="23" y="0"/>
                    <a:pt x="23" y="0"/>
                    <a:pt x="23" y="0"/>
                  </a:cubicBezTo>
                  <a:cubicBezTo>
                    <a:pt x="25" y="0"/>
                    <a:pt x="25" y="1"/>
                    <a:pt x="26" y="1"/>
                  </a:cubicBezTo>
                  <a:cubicBezTo>
                    <a:pt x="26" y="2"/>
                    <a:pt x="27" y="2"/>
                    <a:pt x="27" y="3"/>
                  </a:cubicBezTo>
                  <a:cubicBezTo>
                    <a:pt x="27" y="4"/>
                    <a:pt x="26" y="4"/>
                    <a:pt x="26" y="5"/>
                  </a:cubicBezTo>
                  <a:cubicBezTo>
                    <a:pt x="25" y="6"/>
                    <a:pt x="25" y="6"/>
                    <a:pt x="23" y="6"/>
                  </a:cubicBezTo>
                  <a:cubicBezTo>
                    <a:pt x="8" y="6"/>
                    <a:pt x="8" y="6"/>
                    <a:pt x="8" y="6"/>
                  </a:cubicBezTo>
                  <a:cubicBezTo>
                    <a:pt x="8" y="14"/>
                    <a:pt x="8" y="14"/>
                    <a:pt x="8" y="14"/>
                  </a:cubicBezTo>
                  <a:cubicBezTo>
                    <a:pt x="22" y="14"/>
                    <a:pt x="22" y="14"/>
                    <a:pt x="22" y="14"/>
                  </a:cubicBezTo>
                  <a:cubicBezTo>
                    <a:pt x="23" y="14"/>
                    <a:pt x="24" y="15"/>
                    <a:pt x="25" y="15"/>
                  </a:cubicBezTo>
                  <a:cubicBezTo>
                    <a:pt x="25" y="16"/>
                    <a:pt x="25" y="16"/>
                    <a:pt x="25" y="17"/>
                  </a:cubicBezTo>
                  <a:cubicBezTo>
                    <a:pt x="25" y="18"/>
                    <a:pt x="25" y="18"/>
                    <a:pt x="25" y="19"/>
                  </a:cubicBezTo>
                  <a:cubicBezTo>
                    <a:pt x="24" y="19"/>
                    <a:pt x="23" y="20"/>
                    <a:pt x="22" y="20"/>
                  </a:cubicBezTo>
                  <a:cubicBezTo>
                    <a:pt x="8" y="20"/>
                    <a:pt x="8" y="20"/>
                    <a:pt x="8" y="20"/>
                  </a:cubicBezTo>
                  <a:cubicBezTo>
                    <a:pt x="8" y="30"/>
                    <a:pt x="8" y="30"/>
                    <a:pt x="8" y="30"/>
                  </a:cubicBezTo>
                  <a:cubicBezTo>
                    <a:pt x="24" y="30"/>
                    <a:pt x="24" y="30"/>
                    <a:pt x="24" y="30"/>
                  </a:cubicBezTo>
                  <a:cubicBezTo>
                    <a:pt x="25" y="30"/>
                    <a:pt x="26" y="30"/>
                    <a:pt x="26" y="30"/>
                  </a:cubicBezTo>
                  <a:cubicBezTo>
                    <a:pt x="27" y="31"/>
                    <a:pt x="27" y="31"/>
                    <a:pt x="27" y="32"/>
                  </a:cubicBezTo>
                  <a:cubicBezTo>
                    <a:pt x="27" y="33"/>
                    <a:pt x="27" y="34"/>
                    <a:pt x="26" y="34"/>
                  </a:cubicBezTo>
                  <a:cubicBezTo>
                    <a:pt x="26" y="35"/>
                    <a:pt x="25" y="35"/>
                    <a:pt x="24" y="3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24" name="Rectangle 605"/>
            <p:cNvSpPr>
              <a:spLocks noChangeArrowheads="1"/>
            </p:cNvSpPr>
            <p:nvPr/>
          </p:nvSpPr>
          <p:spPr bwMode="auto">
            <a:xfrm>
              <a:off x="7442203" y="1533858"/>
              <a:ext cx="233695" cy="274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25" name="Freeform 606"/>
            <p:cNvSpPr/>
            <p:nvPr/>
          </p:nvSpPr>
          <p:spPr bwMode="auto">
            <a:xfrm>
              <a:off x="7663636" y="1315310"/>
              <a:ext cx="39671" cy="62030"/>
            </a:xfrm>
            <a:custGeom>
              <a:avLst/>
              <a:gdLst>
                <a:gd name="T0" fmla="*/ 22 w 23"/>
                <a:gd name="T1" fmla="*/ 1 h 36"/>
                <a:gd name="T2" fmla="*/ 23 w 23"/>
                <a:gd name="T3" fmla="*/ 4 h 36"/>
                <a:gd name="T4" fmla="*/ 23 w 23"/>
                <a:gd name="T5" fmla="*/ 22 h 36"/>
                <a:gd name="T6" fmla="*/ 23 w 23"/>
                <a:gd name="T7" fmla="*/ 26 h 36"/>
                <a:gd name="T8" fmla="*/ 22 w 23"/>
                <a:gd name="T9" fmla="*/ 30 h 36"/>
                <a:gd name="T10" fmla="*/ 18 w 23"/>
                <a:gd name="T11" fmla="*/ 34 h 36"/>
                <a:gd name="T12" fmla="*/ 11 w 23"/>
                <a:gd name="T13" fmla="*/ 36 h 36"/>
                <a:gd name="T14" fmla="*/ 5 w 23"/>
                <a:gd name="T15" fmla="*/ 35 h 36"/>
                <a:gd name="T16" fmla="*/ 1 w 23"/>
                <a:gd name="T17" fmla="*/ 31 h 36"/>
                <a:gd name="T18" fmla="*/ 0 w 23"/>
                <a:gd name="T19" fmla="*/ 28 h 36"/>
                <a:gd name="T20" fmla="*/ 0 w 23"/>
                <a:gd name="T21" fmla="*/ 25 h 36"/>
                <a:gd name="T22" fmla="*/ 1 w 23"/>
                <a:gd name="T23" fmla="*/ 22 h 36"/>
                <a:gd name="T24" fmla="*/ 3 w 23"/>
                <a:gd name="T25" fmla="*/ 21 h 36"/>
                <a:gd name="T26" fmla="*/ 5 w 23"/>
                <a:gd name="T27" fmla="*/ 22 h 36"/>
                <a:gd name="T28" fmla="*/ 6 w 23"/>
                <a:gd name="T29" fmla="*/ 25 h 36"/>
                <a:gd name="T30" fmla="*/ 7 w 23"/>
                <a:gd name="T31" fmla="*/ 27 h 36"/>
                <a:gd name="T32" fmla="*/ 8 w 23"/>
                <a:gd name="T33" fmla="*/ 29 h 36"/>
                <a:gd name="T34" fmla="*/ 11 w 23"/>
                <a:gd name="T35" fmla="*/ 30 h 36"/>
                <a:gd name="T36" fmla="*/ 16 w 23"/>
                <a:gd name="T37" fmla="*/ 23 h 36"/>
                <a:gd name="T38" fmla="*/ 16 w 23"/>
                <a:gd name="T39" fmla="*/ 4 h 36"/>
                <a:gd name="T40" fmla="*/ 17 w 23"/>
                <a:gd name="T41" fmla="*/ 1 h 36"/>
                <a:gd name="T42" fmla="*/ 19 w 23"/>
                <a:gd name="T43" fmla="*/ 0 h 36"/>
                <a:gd name="T44" fmla="*/ 22 w 23"/>
                <a:gd name="T4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36">
                  <a:moveTo>
                    <a:pt x="22" y="1"/>
                  </a:moveTo>
                  <a:cubicBezTo>
                    <a:pt x="23" y="2"/>
                    <a:pt x="23" y="3"/>
                    <a:pt x="23" y="4"/>
                  </a:cubicBezTo>
                  <a:cubicBezTo>
                    <a:pt x="23" y="22"/>
                    <a:pt x="23" y="22"/>
                    <a:pt x="23" y="22"/>
                  </a:cubicBezTo>
                  <a:cubicBezTo>
                    <a:pt x="23" y="24"/>
                    <a:pt x="23" y="25"/>
                    <a:pt x="23" y="26"/>
                  </a:cubicBezTo>
                  <a:cubicBezTo>
                    <a:pt x="22" y="27"/>
                    <a:pt x="22" y="28"/>
                    <a:pt x="22" y="30"/>
                  </a:cubicBezTo>
                  <a:cubicBezTo>
                    <a:pt x="21" y="31"/>
                    <a:pt x="20" y="33"/>
                    <a:pt x="18" y="34"/>
                  </a:cubicBezTo>
                  <a:cubicBezTo>
                    <a:pt x="16" y="35"/>
                    <a:pt x="14" y="36"/>
                    <a:pt x="11" y="36"/>
                  </a:cubicBezTo>
                  <a:cubicBezTo>
                    <a:pt x="9" y="36"/>
                    <a:pt x="7" y="35"/>
                    <a:pt x="5" y="35"/>
                  </a:cubicBezTo>
                  <a:cubicBezTo>
                    <a:pt x="4" y="34"/>
                    <a:pt x="2" y="33"/>
                    <a:pt x="1" y="31"/>
                  </a:cubicBezTo>
                  <a:cubicBezTo>
                    <a:pt x="1" y="30"/>
                    <a:pt x="1" y="29"/>
                    <a:pt x="0" y="28"/>
                  </a:cubicBezTo>
                  <a:cubicBezTo>
                    <a:pt x="0" y="27"/>
                    <a:pt x="0" y="26"/>
                    <a:pt x="0" y="25"/>
                  </a:cubicBezTo>
                  <a:cubicBezTo>
                    <a:pt x="0" y="23"/>
                    <a:pt x="0" y="23"/>
                    <a:pt x="1" y="22"/>
                  </a:cubicBezTo>
                  <a:cubicBezTo>
                    <a:pt x="1" y="22"/>
                    <a:pt x="2" y="21"/>
                    <a:pt x="3" y="21"/>
                  </a:cubicBezTo>
                  <a:cubicBezTo>
                    <a:pt x="4" y="21"/>
                    <a:pt x="5" y="21"/>
                    <a:pt x="5" y="22"/>
                  </a:cubicBezTo>
                  <a:cubicBezTo>
                    <a:pt x="6" y="23"/>
                    <a:pt x="6" y="23"/>
                    <a:pt x="6" y="25"/>
                  </a:cubicBezTo>
                  <a:cubicBezTo>
                    <a:pt x="7" y="26"/>
                    <a:pt x="7" y="27"/>
                    <a:pt x="7" y="27"/>
                  </a:cubicBezTo>
                  <a:cubicBezTo>
                    <a:pt x="7" y="28"/>
                    <a:pt x="8" y="29"/>
                    <a:pt x="8" y="29"/>
                  </a:cubicBezTo>
                  <a:cubicBezTo>
                    <a:pt x="9" y="30"/>
                    <a:pt x="10" y="30"/>
                    <a:pt x="11" y="30"/>
                  </a:cubicBezTo>
                  <a:cubicBezTo>
                    <a:pt x="14" y="30"/>
                    <a:pt x="16" y="28"/>
                    <a:pt x="16" y="23"/>
                  </a:cubicBezTo>
                  <a:cubicBezTo>
                    <a:pt x="16" y="4"/>
                    <a:pt x="16" y="4"/>
                    <a:pt x="16" y="4"/>
                  </a:cubicBezTo>
                  <a:cubicBezTo>
                    <a:pt x="16" y="3"/>
                    <a:pt x="16" y="2"/>
                    <a:pt x="17" y="1"/>
                  </a:cubicBezTo>
                  <a:cubicBezTo>
                    <a:pt x="17" y="0"/>
                    <a:pt x="18" y="0"/>
                    <a:pt x="19" y="0"/>
                  </a:cubicBezTo>
                  <a:cubicBezTo>
                    <a:pt x="20" y="0"/>
                    <a:pt x="21" y="0"/>
                    <a:pt x="22"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26" name="Freeform 608"/>
            <p:cNvSpPr>
              <a:spLocks noEditPoints="1"/>
            </p:cNvSpPr>
            <p:nvPr/>
          </p:nvSpPr>
          <p:spPr bwMode="auto">
            <a:xfrm>
              <a:off x="7600884" y="1315310"/>
              <a:ext cx="57702" cy="62030"/>
            </a:xfrm>
            <a:custGeom>
              <a:avLst/>
              <a:gdLst>
                <a:gd name="T0" fmla="*/ 9 w 34"/>
                <a:gd name="T1" fmla="*/ 1 h 36"/>
                <a:gd name="T2" fmla="*/ 16 w 34"/>
                <a:gd name="T3" fmla="*/ 0 h 36"/>
                <a:gd name="T4" fmla="*/ 26 w 34"/>
                <a:gd name="T5" fmla="*/ 2 h 36"/>
                <a:gd name="T6" fmla="*/ 32 w 34"/>
                <a:gd name="T7" fmla="*/ 8 h 36"/>
                <a:gd name="T8" fmla="*/ 34 w 34"/>
                <a:gd name="T9" fmla="*/ 18 h 36"/>
                <a:gd name="T10" fmla="*/ 33 w 34"/>
                <a:gd name="T11" fmla="*/ 25 h 36"/>
                <a:gd name="T12" fmla="*/ 29 w 34"/>
                <a:gd name="T13" fmla="*/ 31 h 36"/>
                <a:gd name="T14" fmla="*/ 24 w 34"/>
                <a:gd name="T15" fmla="*/ 34 h 36"/>
                <a:gd name="T16" fmla="*/ 17 w 34"/>
                <a:gd name="T17" fmla="*/ 36 h 36"/>
                <a:gd name="T18" fmla="*/ 9 w 34"/>
                <a:gd name="T19" fmla="*/ 34 h 36"/>
                <a:gd name="T20" fmla="*/ 4 w 34"/>
                <a:gd name="T21" fmla="*/ 31 h 36"/>
                <a:gd name="T22" fmla="*/ 1 w 34"/>
                <a:gd name="T23" fmla="*/ 25 h 36"/>
                <a:gd name="T24" fmla="*/ 0 w 34"/>
                <a:gd name="T25" fmla="*/ 18 h 36"/>
                <a:gd name="T26" fmla="*/ 1 w 34"/>
                <a:gd name="T27" fmla="*/ 10 h 36"/>
                <a:gd name="T28" fmla="*/ 4 w 34"/>
                <a:gd name="T29" fmla="*/ 5 h 36"/>
                <a:gd name="T30" fmla="*/ 9 w 34"/>
                <a:gd name="T31" fmla="*/ 1 h 36"/>
                <a:gd name="T32" fmla="*/ 17 w 34"/>
                <a:gd name="T33" fmla="*/ 30 h 36"/>
                <a:gd name="T34" fmla="*/ 22 w 34"/>
                <a:gd name="T35" fmla="*/ 29 h 36"/>
                <a:gd name="T36" fmla="*/ 25 w 34"/>
                <a:gd name="T37" fmla="*/ 25 h 36"/>
                <a:gd name="T38" fmla="*/ 26 w 34"/>
                <a:gd name="T39" fmla="*/ 18 h 36"/>
                <a:gd name="T40" fmla="*/ 25 w 34"/>
                <a:gd name="T41" fmla="*/ 11 h 36"/>
                <a:gd name="T42" fmla="*/ 22 w 34"/>
                <a:gd name="T43" fmla="*/ 7 h 36"/>
                <a:gd name="T44" fmla="*/ 16 w 34"/>
                <a:gd name="T45" fmla="*/ 5 h 36"/>
                <a:gd name="T46" fmla="*/ 13 w 34"/>
                <a:gd name="T47" fmla="*/ 6 h 36"/>
                <a:gd name="T48" fmla="*/ 9 w 34"/>
                <a:gd name="T49" fmla="*/ 8 h 36"/>
                <a:gd name="T50" fmla="*/ 7 w 34"/>
                <a:gd name="T51" fmla="*/ 12 h 36"/>
                <a:gd name="T52" fmla="*/ 7 w 34"/>
                <a:gd name="T53" fmla="*/ 18 h 36"/>
                <a:gd name="T54" fmla="*/ 7 w 34"/>
                <a:gd name="T55" fmla="*/ 23 h 36"/>
                <a:gd name="T56" fmla="*/ 10 w 34"/>
                <a:gd name="T57" fmla="*/ 27 h 36"/>
                <a:gd name="T58" fmla="*/ 13 w 34"/>
                <a:gd name="T59" fmla="*/ 29 h 36"/>
                <a:gd name="T60" fmla="*/ 17 w 34"/>
                <a:gd name="T61"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 h="36">
                  <a:moveTo>
                    <a:pt x="9" y="1"/>
                  </a:moveTo>
                  <a:cubicBezTo>
                    <a:pt x="11" y="0"/>
                    <a:pt x="14" y="0"/>
                    <a:pt x="16" y="0"/>
                  </a:cubicBezTo>
                  <a:cubicBezTo>
                    <a:pt x="20" y="0"/>
                    <a:pt x="23" y="0"/>
                    <a:pt x="26" y="2"/>
                  </a:cubicBezTo>
                  <a:cubicBezTo>
                    <a:pt x="28" y="3"/>
                    <a:pt x="30" y="5"/>
                    <a:pt x="32" y="8"/>
                  </a:cubicBezTo>
                  <a:cubicBezTo>
                    <a:pt x="33" y="11"/>
                    <a:pt x="34" y="14"/>
                    <a:pt x="34" y="18"/>
                  </a:cubicBezTo>
                  <a:cubicBezTo>
                    <a:pt x="34" y="20"/>
                    <a:pt x="33" y="23"/>
                    <a:pt x="33" y="25"/>
                  </a:cubicBezTo>
                  <a:cubicBezTo>
                    <a:pt x="32" y="27"/>
                    <a:pt x="31" y="29"/>
                    <a:pt x="29" y="31"/>
                  </a:cubicBezTo>
                  <a:cubicBezTo>
                    <a:pt x="28" y="32"/>
                    <a:pt x="26" y="34"/>
                    <a:pt x="24" y="34"/>
                  </a:cubicBezTo>
                  <a:cubicBezTo>
                    <a:pt x="22" y="35"/>
                    <a:pt x="19" y="36"/>
                    <a:pt x="17" y="36"/>
                  </a:cubicBezTo>
                  <a:cubicBezTo>
                    <a:pt x="14" y="36"/>
                    <a:pt x="11" y="35"/>
                    <a:pt x="9" y="34"/>
                  </a:cubicBezTo>
                  <a:cubicBezTo>
                    <a:pt x="7" y="33"/>
                    <a:pt x="5" y="32"/>
                    <a:pt x="4" y="31"/>
                  </a:cubicBezTo>
                  <a:cubicBezTo>
                    <a:pt x="2" y="29"/>
                    <a:pt x="1" y="27"/>
                    <a:pt x="1" y="25"/>
                  </a:cubicBezTo>
                  <a:cubicBezTo>
                    <a:pt x="0" y="23"/>
                    <a:pt x="0" y="20"/>
                    <a:pt x="0" y="18"/>
                  </a:cubicBezTo>
                  <a:cubicBezTo>
                    <a:pt x="0" y="15"/>
                    <a:pt x="0" y="13"/>
                    <a:pt x="1" y="10"/>
                  </a:cubicBezTo>
                  <a:cubicBezTo>
                    <a:pt x="2" y="8"/>
                    <a:pt x="3" y="6"/>
                    <a:pt x="4" y="5"/>
                  </a:cubicBezTo>
                  <a:cubicBezTo>
                    <a:pt x="6" y="3"/>
                    <a:pt x="7" y="2"/>
                    <a:pt x="9" y="1"/>
                  </a:cubicBezTo>
                  <a:close/>
                  <a:moveTo>
                    <a:pt x="17" y="30"/>
                  </a:moveTo>
                  <a:cubicBezTo>
                    <a:pt x="18" y="30"/>
                    <a:pt x="20" y="30"/>
                    <a:pt x="22" y="29"/>
                  </a:cubicBezTo>
                  <a:cubicBezTo>
                    <a:pt x="23" y="28"/>
                    <a:pt x="24" y="26"/>
                    <a:pt x="25" y="25"/>
                  </a:cubicBezTo>
                  <a:cubicBezTo>
                    <a:pt x="26" y="23"/>
                    <a:pt x="26" y="20"/>
                    <a:pt x="26" y="18"/>
                  </a:cubicBezTo>
                  <a:cubicBezTo>
                    <a:pt x="26" y="15"/>
                    <a:pt x="26" y="13"/>
                    <a:pt x="25" y="11"/>
                  </a:cubicBezTo>
                  <a:cubicBezTo>
                    <a:pt x="24" y="9"/>
                    <a:pt x="23" y="8"/>
                    <a:pt x="22" y="7"/>
                  </a:cubicBezTo>
                  <a:cubicBezTo>
                    <a:pt x="20" y="6"/>
                    <a:pt x="18" y="5"/>
                    <a:pt x="16" y="5"/>
                  </a:cubicBezTo>
                  <a:cubicBezTo>
                    <a:pt x="15" y="5"/>
                    <a:pt x="14" y="6"/>
                    <a:pt x="13" y="6"/>
                  </a:cubicBezTo>
                  <a:cubicBezTo>
                    <a:pt x="11" y="7"/>
                    <a:pt x="10" y="7"/>
                    <a:pt x="9" y="8"/>
                  </a:cubicBezTo>
                  <a:cubicBezTo>
                    <a:pt x="9" y="9"/>
                    <a:pt x="8" y="11"/>
                    <a:pt x="7" y="12"/>
                  </a:cubicBezTo>
                  <a:cubicBezTo>
                    <a:pt x="7" y="14"/>
                    <a:pt x="7" y="16"/>
                    <a:pt x="7" y="18"/>
                  </a:cubicBezTo>
                  <a:cubicBezTo>
                    <a:pt x="7" y="20"/>
                    <a:pt x="7" y="21"/>
                    <a:pt x="7" y="23"/>
                  </a:cubicBezTo>
                  <a:cubicBezTo>
                    <a:pt x="8" y="25"/>
                    <a:pt x="9" y="26"/>
                    <a:pt x="10" y="27"/>
                  </a:cubicBezTo>
                  <a:cubicBezTo>
                    <a:pt x="10" y="28"/>
                    <a:pt x="11" y="29"/>
                    <a:pt x="13" y="29"/>
                  </a:cubicBezTo>
                  <a:cubicBezTo>
                    <a:pt x="14" y="30"/>
                    <a:pt x="15" y="30"/>
                    <a:pt x="17"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27" name="Rectangle 609"/>
            <p:cNvSpPr>
              <a:spLocks noChangeArrowheads="1"/>
            </p:cNvSpPr>
            <p:nvPr/>
          </p:nvSpPr>
          <p:spPr bwMode="auto">
            <a:xfrm>
              <a:off x="7442203" y="1468943"/>
              <a:ext cx="139928" cy="274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28" name="Freeform 610"/>
            <p:cNvSpPr>
              <a:spLocks noEditPoints="1"/>
            </p:cNvSpPr>
            <p:nvPr/>
          </p:nvSpPr>
          <p:spPr bwMode="auto">
            <a:xfrm>
              <a:off x="7543182" y="1315310"/>
              <a:ext cx="49047" cy="62030"/>
            </a:xfrm>
            <a:custGeom>
              <a:avLst/>
              <a:gdLst>
                <a:gd name="T0" fmla="*/ 15 w 29"/>
                <a:gd name="T1" fmla="*/ 23 h 36"/>
                <a:gd name="T2" fmla="*/ 13 w 29"/>
                <a:gd name="T3" fmla="*/ 21 h 36"/>
                <a:gd name="T4" fmla="*/ 10 w 29"/>
                <a:gd name="T5" fmla="*/ 20 h 36"/>
                <a:gd name="T6" fmla="*/ 7 w 29"/>
                <a:gd name="T7" fmla="*/ 20 h 36"/>
                <a:gd name="T8" fmla="*/ 7 w 29"/>
                <a:gd name="T9" fmla="*/ 31 h 36"/>
                <a:gd name="T10" fmla="*/ 6 w 29"/>
                <a:gd name="T11" fmla="*/ 35 h 36"/>
                <a:gd name="T12" fmla="*/ 4 w 29"/>
                <a:gd name="T13" fmla="*/ 36 h 36"/>
                <a:gd name="T14" fmla="*/ 1 w 29"/>
                <a:gd name="T15" fmla="*/ 35 h 36"/>
                <a:gd name="T16" fmla="*/ 0 w 29"/>
                <a:gd name="T17" fmla="*/ 31 h 36"/>
                <a:gd name="T18" fmla="*/ 0 w 29"/>
                <a:gd name="T19" fmla="*/ 5 h 36"/>
                <a:gd name="T20" fmla="*/ 1 w 29"/>
                <a:gd name="T21" fmla="*/ 1 h 36"/>
                <a:gd name="T22" fmla="*/ 4 w 29"/>
                <a:gd name="T23" fmla="*/ 0 h 36"/>
                <a:gd name="T24" fmla="*/ 16 w 29"/>
                <a:gd name="T25" fmla="*/ 0 h 36"/>
                <a:gd name="T26" fmla="*/ 20 w 29"/>
                <a:gd name="T27" fmla="*/ 1 h 36"/>
                <a:gd name="T28" fmla="*/ 23 w 29"/>
                <a:gd name="T29" fmla="*/ 1 h 36"/>
                <a:gd name="T30" fmla="*/ 26 w 29"/>
                <a:gd name="T31" fmla="*/ 3 h 36"/>
                <a:gd name="T32" fmla="*/ 28 w 29"/>
                <a:gd name="T33" fmla="*/ 6 h 36"/>
                <a:gd name="T34" fmla="*/ 29 w 29"/>
                <a:gd name="T35" fmla="*/ 10 h 36"/>
                <a:gd name="T36" fmla="*/ 26 w 29"/>
                <a:gd name="T37" fmla="*/ 16 h 36"/>
                <a:gd name="T38" fmla="*/ 20 w 29"/>
                <a:gd name="T39" fmla="*/ 19 h 36"/>
                <a:gd name="T40" fmla="*/ 23 w 29"/>
                <a:gd name="T41" fmla="*/ 22 h 36"/>
                <a:gd name="T42" fmla="*/ 26 w 29"/>
                <a:gd name="T43" fmla="*/ 26 h 36"/>
                <a:gd name="T44" fmla="*/ 28 w 29"/>
                <a:gd name="T45" fmla="*/ 30 h 36"/>
                <a:gd name="T46" fmla="*/ 29 w 29"/>
                <a:gd name="T47" fmla="*/ 33 h 36"/>
                <a:gd name="T48" fmla="*/ 29 w 29"/>
                <a:gd name="T49" fmla="*/ 34 h 36"/>
                <a:gd name="T50" fmla="*/ 27 w 29"/>
                <a:gd name="T51" fmla="*/ 35 h 36"/>
                <a:gd name="T52" fmla="*/ 26 w 29"/>
                <a:gd name="T53" fmla="*/ 36 h 36"/>
                <a:gd name="T54" fmla="*/ 24 w 29"/>
                <a:gd name="T55" fmla="*/ 35 h 36"/>
                <a:gd name="T56" fmla="*/ 22 w 29"/>
                <a:gd name="T57" fmla="*/ 34 h 36"/>
                <a:gd name="T58" fmla="*/ 21 w 29"/>
                <a:gd name="T59" fmla="*/ 31 h 36"/>
                <a:gd name="T60" fmla="*/ 18 w 29"/>
                <a:gd name="T61" fmla="*/ 26 h 36"/>
                <a:gd name="T62" fmla="*/ 15 w 29"/>
                <a:gd name="T63" fmla="*/ 23 h 36"/>
                <a:gd name="T64" fmla="*/ 19 w 29"/>
                <a:gd name="T65" fmla="*/ 6 h 36"/>
                <a:gd name="T66" fmla="*/ 14 w 29"/>
                <a:gd name="T67" fmla="*/ 6 h 36"/>
                <a:gd name="T68" fmla="*/ 7 w 29"/>
                <a:gd name="T69" fmla="*/ 6 h 36"/>
                <a:gd name="T70" fmla="*/ 7 w 29"/>
                <a:gd name="T71" fmla="*/ 15 h 36"/>
                <a:gd name="T72" fmla="*/ 14 w 29"/>
                <a:gd name="T73" fmla="*/ 15 h 36"/>
                <a:gd name="T74" fmla="*/ 18 w 29"/>
                <a:gd name="T75" fmla="*/ 15 h 36"/>
                <a:gd name="T76" fmla="*/ 20 w 29"/>
                <a:gd name="T77" fmla="*/ 13 h 36"/>
                <a:gd name="T78" fmla="*/ 21 w 29"/>
                <a:gd name="T79" fmla="*/ 10 h 36"/>
                <a:gd name="T80" fmla="*/ 21 w 29"/>
                <a:gd name="T81" fmla="*/ 8 h 36"/>
                <a:gd name="T82" fmla="*/ 19 w 29"/>
                <a:gd name="T8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 h="36">
                  <a:moveTo>
                    <a:pt x="15" y="23"/>
                  </a:moveTo>
                  <a:cubicBezTo>
                    <a:pt x="14" y="22"/>
                    <a:pt x="14" y="21"/>
                    <a:pt x="13" y="21"/>
                  </a:cubicBezTo>
                  <a:cubicBezTo>
                    <a:pt x="12" y="20"/>
                    <a:pt x="11" y="20"/>
                    <a:pt x="10" y="20"/>
                  </a:cubicBezTo>
                  <a:cubicBezTo>
                    <a:pt x="7" y="20"/>
                    <a:pt x="7" y="20"/>
                    <a:pt x="7" y="20"/>
                  </a:cubicBezTo>
                  <a:cubicBezTo>
                    <a:pt x="7" y="31"/>
                    <a:pt x="7" y="31"/>
                    <a:pt x="7" y="31"/>
                  </a:cubicBezTo>
                  <a:cubicBezTo>
                    <a:pt x="7" y="33"/>
                    <a:pt x="7" y="34"/>
                    <a:pt x="6" y="35"/>
                  </a:cubicBezTo>
                  <a:cubicBezTo>
                    <a:pt x="6" y="35"/>
                    <a:pt x="5" y="36"/>
                    <a:pt x="4" y="36"/>
                  </a:cubicBezTo>
                  <a:cubicBezTo>
                    <a:pt x="3" y="36"/>
                    <a:pt x="2" y="35"/>
                    <a:pt x="1" y="35"/>
                  </a:cubicBezTo>
                  <a:cubicBezTo>
                    <a:pt x="0" y="34"/>
                    <a:pt x="0" y="33"/>
                    <a:pt x="0" y="31"/>
                  </a:cubicBezTo>
                  <a:cubicBezTo>
                    <a:pt x="0" y="5"/>
                    <a:pt x="0" y="5"/>
                    <a:pt x="0" y="5"/>
                  </a:cubicBezTo>
                  <a:cubicBezTo>
                    <a:pt x="0" y="3"/>
                    <a:pt x="1" y="2"/>
                    <a:pt x="1" y="1"/>
                  </a:cubicBezTo>
                  <a:cubicBezTo>
                    <a:pt x="2" y="1"/>
                    <a:pt x="3" y="0"/>
                    <a:pt x="4" y="0"/>
                  </a:cubicBezTo>
                  <a:cubicBezTo>
                    <a:pt x="16" y="0"/>
                    <a:pt x="16" y="0"/>
                    <a:pt x="16" y="0"/>
                  </a:cubicBezTo>
                  <a:cubicBezTo>
                    <a:pt x="18" y="0"/>
                    <a:pt x="19" y="0"/>
                    <a:pt x="20" y="1"/>
                  </a:cubicBezTo>
                  <a:cubicBezTo>
                    <a:pt x="21" y="1"/>
                    <a:pt x="22" y="1"/>
                    <a:pt x="23" y="1"/>
                  </a:cubicBezTo>
                  <a:cubicBezTo>
                    <a:pt x="24" y="2"/>
                    <a:pt x="25" y="2"/>
                    <a:pt x="26" y="3"/>
                  </a:cubicBezTo>
                  <a:cubicBezTo>
                    <a:pt x="27" y="4"/>
                    <a:pt x="27" y="5"/>
                    <a:pt x="28" y="6"/>
                  </a:cubicBezTo>
                  <a:cubicBezTo>
                    <a:pt x="28" y="7"/>
                    <a:pt x="29" y="9"/>
                    <a:pt x="29" y="10"/>
                  </a:cubicBezTo>
                  <a:cubicBezTo>
                    <a:pt x="29" y="13"/>
                    <a:pt x="28" y="15"/>
                    <a:pt x="26" y="16"/>
                  </a:cubicBezTo>
                  <a:cubicBezTo>
                    <a:pt x="25" y="18"/>
                    <a:pt x="23" y="19"/>
                    <a:pt x="20" y="19"/>
                  </a:cubicBezTo>
                  <a:cubicBezTo>
                    <a:pt x="21" y="20"/>
                    <a:pt x="22" y="21"/>
                    <a:pt x="23" y="22"/>
                  </a:cubicBezTo>
                  <a:cubicBezTo>
                    <a:pt x="24" y="24"/>
                    <a:pt x="25" y="25"/>
                    <a:pt x="26" y="26"/>
                  </a:cubicBezTo>
                  <a:cubicBezTo>
                    <a:pt x="27" y="28"/>
                    <a:pt x="28" y="29"/>
                    <a:pt x="28" y="30"/>
                  </a:cubicBezTo>
                  <a:cubicBezTo>
                    <a:pt x="29" y="32"/>
                    <a:pt x="29" y="32"/>
                    <a:pt x="29" y="33"/>
                  </a:cubicBezTo>
                  <a:cubicBezTo>
                    <a:pt x="29" y="33"/>
                    <a:pt x="29" y="34"/>
                    <a:pt x="29" y="34"/>
                  </a:cubicBezTo>
                  <a:cubicBezTo>
                    <a:pt x="28" y="35"/>
                    <a:pt x="28" y="35"/>
                    <a:pt x="27" y="35"/>
                  </a:cubicBezTo>
                  <a:cubicBezTo>
                    <a:pt x="27" y="36"/>
                    <a:pt x="26" y="36"/>
                    <a:pt x="26" y="36"/>
                  </a:cubicBezTo>
                  <a:cubicBezTo>
                    <a:pt x="25" y="36"/>
                    <a:pt x="24" y="36"/>
                    <a:pt x="24" y="35"/>
                  </a:cubicBezTo>
                  <a:cubicBezTo>
                    <a:pt x="23" y="35"/>
                    <a:pt x="23" y="34"/>
                    <a:pt x="22" y="34"/>
                  </a:cubicBezTo>
                  <a:cubicBezTo>
                    <a:pt x="22" y="33"/>
                    <a:pt x="21" y="32"/>
                    <a:pt x="21" y="31"/>
                  </a:cubicBezTo>
                  <a:cubicBezTo>
                    <a:pt x="18" y="26"/>
                    <a:pt x="18" y="26"/>
                    <a:pt x="18" y="26"/>
                  </a:cubicBezTo>
                  <a:cubicBezTo>
                    <a:pt x="17" y="25"/>
                    <a:pt x="16" y="23"/>
                    <a:pt x="15" y="23"/>
                  </a:cubicBezTo>
                  <a:close/>
                  <a:moveTo>
                    <a:pt x="19" y="6"/>
                  </a:moveTo>
                  <a:cubicBezTo>
                    <a:pt x="18" y="6"/>
                    <a:pt x="16" y="6"/>
                    <a:pt x="14" y="6"/>
                  </a:cubicBezTo>
                  <a:cubicBezTo>
                    <a:pt x="7" y="6"/>
                    <a:pt x="7" y="6"/>
                    <a:pt x="7" y="6"/>
                  </a:cubicBezTo>
                  <a:cubicBezTo>
                    <a:pt x="7" y="15"/>
                    <a:pt x="7" y="15"/>
                    <a:pt x="7" y="15"/>
                  </a:cubicBezTo>
                  <a:cubicBezTo>
                    <a:pt x="14" y="15"/>
                    <a:pt x="14" y="15"/>
                    <a:pt x="14" y="15"/>
                  </a:cubicBezTo>
                  <a:cubicBezTo>
                    <a:pt x="15" y="15"/>
                    <a:pt x="17" y="15"/>
                    <a:pt x="18" y="15"/>
                  </a:cubicBezTo>
                  <a:cubicBezTo>
                    <a:pt x="19" y="14"/>
                    <a:pt x="20" y="14"/>
                    <a:pt x="20" y="13"/>
                  </a:cubicBezTo>
                  <a:cubicBezTo>
                    <a:pt x="21" y="13"/>
                    <a:pt x="21" y="12"/>
                    <a:pt x="21" y="10"/>
                  </a:cubicBezTo>
                  <a:cubicBezTo>
                    <a:pt x="21" y="9"/>
                    <a:pt x="21" y="8"/>
                    <a:pt x="21" y="8"/>
                  </a:cubicBezTo>
                  <a:cubicBezTo>
                    <a:pt x="20" y="7"/>
                    <a:pt x="19" y="7"/>
                    <a:pt x="19"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29" name="Freeform 611"/>
            <p:cNvSpPr>
              <a:spLocks noEditPoints="1"/>
            </p:cNvSpPr>
            <p:nvPr/>
          </p:nvSpPr>
          <p:spPr bwMode="auto">
            <a:xfrm>
              <a:off x="7488364" y="1315310"/>
              <a:ext cx="43998" cy="62030"/>
            </a:xfrm>
            <a:custGeom>
              <a:avLst/>
              <a:gdLst>
                <a:gd name="T0" fmla="*/ 19 w 26"/>
                <a:gd name="T1" fmla="*/ 11 h 36"/>
                <a:gd name="T2" fmla="*/ 18 w 26"/>
                <a:gd name="T3" fmla="*/ 7 h 36"/>
                <a:gd name="T4" fmla="*/ 12 w 26"/>
                <a:gd name="T5" fmla="*/ 6 h 36"/>
                <a:gd name="T6" fmla="*/ 7 w 26"/>
                <a:gd name="T7" fmla="*/ 6 h 36"/>
                <a:gd name="T8" fmla="*/ 7 w 26"/>
                <a:gd name="T9" fmla="*/ 16 h 36"/>
                <a:gd name="T10" fmla="*/ 12 w 26"/>
                <a:gd name="T11" fmla="*/ 16 h 36"/>
                <a:gd name="T12" fmla="*/ 16 w 26"/>
                <a:gd name="T13" fmla="*/ 16 h 36"/>
                <a:gd name="T14" fmla="*/ 18 w 26"/>
                <a:gd name="T15" fmla="*/ 14 h 36"/>
                <a:gd name="T16" fmla="*/ 19 w 26"/>
                <a:gd name="T17" fmla="*/ 11 h 36"/>
                <a:gd name="T18" fmla="*/ 7 w 26"/>
                <a:gd name="T19" fmla="*/ 31 h 36"/>
                <a:gd name="T20" fmla="*/ 6 w 26"/>
                <a:gd name="T21" fmla="*/ 35 h 36"/>
                <a:gd name="T22" fmla="*/ 3 w 26"/>
                <a:gd name="T23" fmla="*/ 36 h 36"/>
                <a:gd name="T24" fmla="*/ 1 w 26"/>
                <a:gd name="T25" fmla="*/ 35 h 36"/>
                <a:gd name="T26" fmla="*/ 0 w 26"/>
                <a:gd name="T27" fmla="*/ 31 h 36"/>
                <a:gd name="T28" fmla="*/ 0 w 26"/>
                <a:gd name="T29" fmla="*/ 5 h 36"/>
                <a:gd name="T30" fmla="*/ 1 w 26"/>
                <a:gd name="T31" fmla="*/ 1 h 36"/>
                <a:gd name="T32" fmla="*/ 4 w 26"/>
                <a:gd name="T33" fmla="*/ 0 h 36"/>
                <a:gd name="T34" fmla="*/ 13 w 26"/>
                <a:gd name="T35" fmla="*/ 0 h 36"/>
                <a:gd name="T36" fmla="*/ 20 w 26"/>
                <a:gd name="T37" fmla="*/ 1 h 36"/>
                <a:gd name="T38" fmla="*/ 23 w 26"/>
                <a:gd name="T39" fmla="*/ 3 h 36"/>
                <a:gd name="T40" fmla="*/ 26 w 26"/>
                <a:gd name="T41" fmla="*/ 6 h 36"/>
                <a:gd name="T42" fmla="*/ 26 w 26"/>
                <a:gd name="T43" fmla="*/ 11 h 36"/>
                <a:gd name="T44" fmla="*/ 23 w 26"/>
                <a:gd name="T45" fmla="*/ 19 h 36"/>
                <a:gd name="T46" fmla="*/ 13 w 26"/>
                <a:gd name="T47" fmla="*/ 22 h 36"/>
                <a:gd name="T48" fmla="*/ 7 w 26"/>
                <a:gd name="T49" fmla="*/ 22 h 36"/>
                <a:gd name="T50" fmla="*/ 7 w 26"/>
                <a:gd name="T51"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6">
                  <a:moveTo>
                    <a:pt x="19" y="11"/>
                  </a:moveTo>
                  <a:cubicBezTo>
                    <a:pt x="19" y="9"/>
                    <a:pt x="19" y="8"/>
                    <a:pt x="18" y="7"/>
                  </a:cubicBezTo>
                  <a:cubicBezTo>
                    <a:pt x="17" y="6"/>
                    <a:pt x="15" y="6"/>
                    <a:pt x="12" y="6"/>
                  </a:cubicBezTo>
                  <a:cubicBezTo>
                    <a:pt x="7" y="6"/>
                    <a:pt x="7" y="6"/>
                    <a:pt x="7" y="6"/>
                  </a:cubicBezTo>
                  <a:cubicBezTo>
                    <a:pt x="7" y="16"/>
                    <a:pt x="7" y="16"/>
                    <a:pt x="7" y="16"/>
                  </a:cubicBezTo>
                  <a:cubicBezTo>
                    <a:pt x="12" y="16"/>
                    <a:pt x="12" y="16"/>
                    <a:pt x="12" y="16"/>
                  </a:cubicBezTo>
                  <a:cubicBezTo>
                    <a:pt x="13" y="16"/>
                    <a:pt x="15" y="16"/>
                    <a:pt x="16" y="16"/>
                  </a:cubicBezTo>
                  <a:cubicBezTo>
                    <a:pt x="17" y="15"/>
                    <a:pt x="18" y="15"/>
                    <a:pt x="18" y="14"/>
                  </a:cubicBezTo>
                  <a:cubicBezTo>
                    <a:pt x="19" y="13"/>
                    <a:pt x="19" y="12"/>
                    <a:pt x="19" y="11"/>
                  </a:cubicBezTo>
                  <a:close/>
                  <a:moveTo>
                    <a:pt x="7" y="31"/>
                  </a:moveTo>
                  <a:cubicBezTo>
                    <a:pt x="7" y="33"/>
                    <a:pt x="7" y="34"/>
                    <a:pt x="6" y="35"/>
                  </a:cubicBezTo>
                  <a:cubicBezTo>
                    <a:pt x="5" y="35"/>
                    <a:pt x="4" y="36"/>
                    <a:pt x="3" y="36"/>
                  </a:cubicBezTo>
                  <a:cubicBezTo>
                    <a:pt x="2" y="36"/>
                    <a:pt x="1" y="35"/>
                    <a:pt x="1" y="35"/>
                  </a:cubicBezTo>
                  <a:cubicBezTo>
                    <a:pt x="0" y="34"/>
                    <a:pt x="0" y="33"/>
                    <a:pt x="0" y="31"/>
                  </a:cubicBezTo>
                  <a:cubicBezTo>
                    <a:pt x="0" y="5"/>
                    <a:pt x="0" y="5"/>
                    <a:pt x="0" y="5"/>
                  </a:cubicBezTo>
                  <a:cubicBezTo>
                    <a:pt x="0" y="3"/>
                    <a:pt x="0" y="2"/>
                    <a:pt x="1" y="1"/>
                  </a:cubicBezTo>
                  <a:cubicBezTo>
                    <a:pt x="2" y="1"/>
                    <a:pt x="3" y="0"/>
                    <a:pt x="4" y="0"/>
                  </a:cubicBezTo>
                  <a:cubicBezTo>
                    <a:pt x="13" y="0"/>
                    <a:pt x="13" y="0"/>
                    <a:pt x="13" y="0"/>
                  </a:cubicBezTo>
                  <a:cubicBezTo>
                    <a:pt x="16" y="0"/>
                    <a:pt x="18" y="1"/>
                    <a:pt x="20" y="1"/>
                  </a:cubicBezTo>
                  <a:cubicBezTo>
                    <a:pt x="21" y="1"/>
                    <a:pt x="22" y="2"/>
                    <a:pt x="23" y="3"/>
                  </a:cubicBezTo>
                  <a:cubicBezTo>
                    <a:pt x="24" y="4"/>
                    <a:pt x="25" y="5"/>
                    <a:pt x="26" y="6"/>
                  </a:cubicBezTo>
                  <a:cubicBezTo>
                    <a:pt x="26" y="8"/>
                    <a:pt x="26" y="9"/>
                    <a:pt x="26" y="11"/>
                  </a:cubicBezTo>
                  <a:cubicBezTo>
                    <a:pt x="26" y="14"/>
                    <a:pt x="25" y="17"/>
                    <a:pt x="23" y="19"/>
                  </a:cubicBezTo>
                  <a:cubicBezTo>
                    <a:pt x="21" y="21"/>
                    <a:pt x="18" y="22"/>
                    <a:pt x="13" y="22"/>
                  </a:cubicBezTo>
                  <a:cubicBezTo>
                    <a:pt x="7" y="22"/>
                    <a:pt x="7" y="22"/>
                    <a:pt x="7" y="22"/>
                  </a:cubicBezTo>
                  <a:lnTo>
                    <a:pt x="7"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30" name="Freeform 612"/>
            <p:cNvSpPr>
              <a:spLocks noEditPoints="1"/>
            </p:cNvSpPr>
            <p:nvPr/>
          </p:nvSpPr>
          <p:spPr bwMode="auto">
            <a:xfrm>
              <a:off x="7360698" y="1225150"/>
              <a:ext cx="630398" cy="663577"/>
            </a:xfrm>
            <a:custGeom>
              <a:avLst/>
              <a:gdLst>
                <a:gd name="T0" fmla="*/ 328 w 370"/>
                <a:gd name="T1" fmla="*/ 389 h 389"/>
                <a:gd name="T2" fmla="*/ 42 w 370"/>
                <a:gd name="T3" fmla="*/ 389 h 389"/>
                <a:gd name="T4" fmla="*/ 0 w 370"/>
                <a:gd name="T5" fmla="*/ 347 h 389"/>
                <a:gd name="T6" fmla="*/ 0 w 370"/>
                <a:gd name="T7" fmla="*/ 42 h 389"/>
                <a:gd name="T8" fmla="*/ 42 w 370"/>
                <a:gd name="T9" fmla="*/ 0 h 389"/>
                <a:gd name="T10" fmla="*/ 328 w 370"/>
                <a:gd name="T11" fmla="*/ 0 h 389"/>
                <a:gd name="T12" fmla="*/ 370 w 370"/>
                <a:gd name="T13" fmla="*/ 42 h 389"/>
                <a:gd name="T14" fmla="*/ 370 w 370"/>
                <a:gd name="T15" fmla="*/ 347 h 389"/>
                <a:gd name="T16" fmla="*/ 328 w 370"/>
                <a:gd name="T17" fmla="*/ 389 h 389"/>
                <a:gd name="T18" fmla="*/ 56 w 370"/>
                <a:gd name="T19" fmla="*/ 371 h 389"/>
                <a:gd name="T20" fmla="*/ 315 w 370"/>
                <a:gd name="T21" fmla="*/ 371 h 389"/>
                <a:gd name="T22" fmla="*/ 353 w 370"/>
                <a:gd name="T23" fmla="*/ 333 h 389"/>
                <a:gd name="T24" fmla="*/ 353 w 370"/>
                <a:gd name="T25" fmla="*/ 56 h 389"/>
                <a:gd name="T26" fmla="*/ 315 w 370"/>
                <a:gd name="T27" fmla="*/ 18 h 389"/>
                <a:gd name="T28" fmla="*/ 56 w 370"/>
                <a:gd name="T29" fmla="*/ 18 h 389"/>
                <a:gd name="T30" fmla="*/ 18 w 370"/>
                <a:gd name="T31" fmla="*/ 56 h 389"/>
                <a:gd name="T32" fmla="*/ 18 w 370"/>
                <a:gd name="T33" fmla="*/ 333 h 389"/>
                <a:gd name="T34" fmla="*/ 56 w 370"/>
                <a:gd name="T35" fmla="*/ 37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0" h="389">
                  <a:moveTo>
                    <a:pt x="328" y="389"/>
                  </a:moveTo>
                  <a:cubicBezTo>
                    <a:pt x="42" y="389"/>
                    <a:pt x="42" y="389"/>
                    <a:pt x="42" y="389"/>
                  </a:cubicBezTo>
                  <a:cubicBezTo>
                    <a:pt x="19" y="389"/>
                    <a:pt x="0" y="370"/>
                    <a:pt x="0" y="347"/>
                  </a:cubicBezTo>
                  <a:cubicBezTo>
                    <a:pt x="0" y="42"/>
                    <a:pt x="0" y="42"/>
                    <a:pt x="0" y="42"/>
                  </a:cubicBezTo>
                  <a:cubicBezTo>
                    <a:pt x="0" y="19"/>
                    <a:pt x="19" y="0"/>
                    <a:pt x="42" y="0"/>
                  </a:cubicBezTo>
                  <a:cubicBezTo>
                    <a:pt x="328" y="0"/>
                    <a:pt x="328" y="0"/>
                    <a:pt x="328" y="0"/>
                  </a:cubicBezTo>
                  <a:cubicBezTo>
                    <a:pt x="351" y="0"/>
                    <a:pt x="370" y="19"/>
                    <a:pt x="370" y="42"/>
                  </a:cubicBezTo>
                  <a:cubicBezTo>
                    <a:pt x="370" y="347"/>
                    <a:pt x="370" y="347"/>
                    <a:pt x="370" y="347"/>
                  </a:cubicBezTo>
                  <a:cubicBezTo>
                    <a:pt x="370" y="370"/>
                    <a:pt x="351" y="389"/>
                    <a:pt x="328" y="389"/>
                  </a:cubicBezTo>
                  <a:close/>
                  <a:moveTo>
                    <a:pt x="56" y="371"/>
                  </a:moveTo>
                  <a:cubicBezTo>
                    <a:pt x="315" y="371"/>
                    <a:pt x="315" y="371"/>
                    <a:pt x="315" y="371"/>
                  </a:cubicBezTo>
                  <a:cubicBezTo>
                    <a:pt x="336" y="371"/>
                    <a:pt x="353" y="354"/>
                    <a:pt x="353" y="333"/>
                  </a:cubicBezTo>
                  <a:cubicBezTo>
                    <a:pt x="353" y="56"/>
                    <a:pt x="353" y="56"/>
                    <a:pt x="353" y="56"/>
                  </a:cubicBezTo>
                  <a:cubicBezTo>
                    <a:pt x="353" y="35"/>
                    <a:pt x="336" y="18"/>
                    <a:pt x="315" y="18"/>
                  </a:cubicBezTo>
                  <a:cubicBezTo>
                    <a:pt x="56" y="18"/>
                    <a:pt x="56" y="18"/>
                    <a:pt x="56" y="18"/>
                  </a:cubicBezTo>
                  <a:cubicBezTo>
                    <a:pt x="35" y="18"/>
                    <a:pt x="18" y="35"/>
                    <a:pt x="18" y="56"/>
                  </a:cubicBezTo>
                  <a:cubicBezTo>
                    <a:pt x="18" y="333"/>
                    <a:pt x="18" y="333"/>
                    <a:pt x="18" y="333"/>
                  </a:cubicBezTo>
                  <a:cubicBezTo>
                    <a:pt x="18" y="354"/>
                    <a:pt x="35" y="371"/>
                    <a:pt x="56" y="3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grpSp>
      <p:sp>
        <p:nvSpPr>
          <p:cNvPr id="31" name="矩形 30"/>
          <p:cNvSpPr/>
          <p:nvPr/>
        </p:nvSpPr>
        <p:spPr>
          <a:xfrm>
            <a:off x="1767225" y="1357130"/>
            <a:ext cx="3608339" cy="892552"/>
          </a:xfrm>
          <a:prstGeom prst="rect">
            <a:avLst/>
          </a:prstGeom>
        </p:spPr>
        <p:txBody>
          <a:bodyPr wrap="square">
            <a:spAutoFit/>
          </a:bodyPr>
          <a:lstStyle/>
          <a:p>
            <a:r>
              <a:rPr lang="zh-CN" altLang="en-US" sz="2400" b="1" dirty="0" smtClean="0">
                <a:latin typeface="楷体" panose="02010609060101010101" pitchFamily="49" charset="-122"/>
                <a:ea typeface="楷体" panose="02010609060101010101" pitchFamily="49" charset="-122"/>
              </a:rPr>
              <a:t>①</a:t>
            </a:r>
            <a:r>
              <a:rPr lang="zh-CN" altLang="en-US" sz="2000" b="1" dirty="0" smtClean="0">
                <a:latin typeface="楷体" panose="02010609060101010101" pitchFamily="49" charset="-122"/>
                <a:ea typeface="楷体" panose="02010609060101010101" pitchFamily="49" charset="-122"/>
              </a:rPr>
              <a:t>过程</a:t>
            </a:r>
            <a:r>
              <a:rPr lang="zh-CN" altLang="en-US" sz="2000" b="1" dirty="0">
                <a:latin typeface="楷体" panose="02010609060101010101" pitchFamily="49" charset="-122"/>
                <a:ea typeface="楷体" panose="02010609060101010101" pitchFamily="49" charset="-122"/>
              </a:rPr>
              <a:t>监管困难</a:t>
            </a:r>
            <a:endParaRPr lang="en-US" altLang="zh-CN" sz="2000" b="1" dirty="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smtClean="0">
                <a:latin typeface="楷体" panose="02010609060101010101" pitchFamily="49" charset="-122"/>
                <a:ea typeface="楷体" panose="02010609060101010101" pitchFamily="49" charset="-122"/>
              </a:rPr>
              <a:t>XX</a:t>
            </a:r>
            <a:endParaRPr lang="en-US" altLang="zh-CN" sz="1400" dirty="0" smtClean="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smtClean="0">
                <a:latin typeface="楷体" panose="02010609060101010101" pitchFamily="49" charset="-122"/>
                <a:ea typeface="楷体" panose="02010609060101010101" pitchFamily="49" charset="-122"/>
              </a:rPr>
              <a:t>XX</a:t>
            </a:r>
            <a:endParaRPr lang="zh-CN" altLang="en-US" sz="1400" dirty="0">
              <a:latin typeface="楷体" panose="02010609060101010101" pitchFamily="49" charset="-122"/>
              <a:ea typeface="楷体" panose="02010609060101010101" pitchFamily="49" charset="-122"/>
            </a:endParaRPr>
          </a:p>
        </p:txBody>
      </p:sp>
      <p:sp>
        <p:nvSpPr>
          <p:cNvPr id="32" name="矩形 31"/>
          <p:cNvSpPr/>
          <p:nvPr/>
        </p:nvSpPr>
        <p:spPr>
          <a:xfrm>
            <a:off x="7054113" y="5459300"/>
            <a:ext cx="4075704" cy="830997"/>
          </a:xfrm>
          <a:prstGeom prst="rect">
            <a:avLst/>
          </a:prstGeom>
        </p:spPr>
        <p:txBody>
          <a:bodyPr wrap="square">
            <a:spAutoFit/>
          </a:bodyPr>
          <a:lstStyle/>
          <a:p>
            <a:r>
              <a:rPr lang="zh-CN" altLang="en-US" sz="2000" b="1" dirty="0" smtClean="0">
                <a:latin typeface="楷体" panose="02010609060101010101" pitchFamily="49" charset="-122"/>
                <a:ea typeface="楷体" panose="02010609060101010101" pitchFamily="49" charset="-122"/>
              </a:rPr>
              <a:t>⑧领导</a:t>
            </a:r>
            <a:r>
              <a:rPr lang="zh-CN" altLang="en-US" sz="2000" b="1" dirty="0">
                <a:latin typeface="楷体" panose="02010609060101010101" pitchFamily="49" charset="-122"/>
                <a:ea typeface="楷体" panose="02010609060101010101" pitchFamily="49" charset="-122"/>
              </a:rPr>
              <a:t>决策缺乏数据支撑</a:t>
            </a:r>
            <a:endParaRPr lang="en-US" altLang="zh-CN" sz="2000" b="1" dirty="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smtClean="0">
                <a:latin typeface="楷体" panose="02010609060101010101" pitchFamily="49" charset="-122"/>
                <a:ea typeface="楷体" panose="02010609060101010101" pitchFamily="49" charset="-122"/>
              </a:rPr>
              <a:t>XX</a:t>
            </a:r>
            <a:endParaRPr lang="en-US" altLang="zh-CN" sz="1400" dirty="0" smtClean="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a:latin typeface="楷体" panose="02010609060101010101" pitchFamily="49" charset="-122"/>
                <a:ea typeface="楷体" panose="02010609060101010101" pitchFamily="49" charset="-122"/>
              </a:rPr>
              <a:t>XX</a:t>
            </a:r>
            <a:endParaRPr lang="zh-CN" altLang="en-US" sz="1400" dirty="0">
              <a:latin typeface="楷体" panose="02010609060101010101" pitchFamily="49" charset="-122"/>
              <a:ea typeface="楷体" panose="02010609060101010101" pitchFamily="49" charset="-122"/>
            </a:endParaRPr>
          </a:p>
        </p:txBody>
      </p:sp>
      <p:grpSp>
        <p:nvGrpSpPr>
          <p:cNvPr id="33" name="组合 32"/>
          <p:cNvGrpSpPr/>
          <p:nvPr/>
        </p:nvGrpSpPr>
        <p:grpSpPr>
          <a:xfrm>
            <a:off x="6099545" y="5634031"/>
            <a:ext cx="829368" cy="481535"/>
            <a:chOff x="6274451" y="3104083"/>
            <a:chExt cx="745081" cy="564041"/>
          </a:xfrm>
          <a:solidFill>
            <a:srgbClr val="FE8637"/>
          </a:solidFill>
        </p:grpSpPr>
        <p:sp>
          <p:nvSpPr>
            <p:cNvPr id="34" name="Freeform 512"/>
            <p:cNvSpPr/>
            <p:nvPr/>
          </p:nvSpPr>
          <p:spPr bwMode="auto">
            <a:xfrm>
              <a:off x="6569454" y="3119230"/>
              <a:ext cx="450078" cy="22360"/>
            </a:xfrm>
            <a:custGeom>
              <a:avLst/>
              <a:gdLst>
                <a:gd name="T0" fmla="*/ 257 w 264"/>
                <a:gd name="T1" fmla="*/ 0 h 13"/>
                <a:gd name="T2" fmla="*/ 6 w 264"/>
                <a:gd name="T3" fmla="*/ 0 h 13"/>
                <a:gd name="T4" fmla="*/ 2 w 264"/>
                <a:gd name="T5" fmla="*/ 2 h 13"/>
                <a:gd name="T6" fmla="*/ 0 w 264"/>
                <a:gd name="T7" fmla="*/ 7 h 13"/>
                <a:gd name="T8" fmla="*/ 6 w 264"/>
                <a:gd name="T9" fmla="*/ 13 h 13"/>
                <a:gd name="T10" fmla="*/ 257 w 264"/>
                <a:gd name="T11" fmla="*/ 13 h 13"/>
                <a:gd name="T12" fmla="*/ 264 w 264"/>
                <a:gd name="T13" fmla="*/ 7 h 13"/>
                <a:gd name="T14" fmla="*/ 257 w 264"/>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13">
                  <a:moveTo>
                    <a:pt x="257" y="0"/>
                  </a:moveTo>
                  <a:cubicBezTo>
                    <a:pt x="6" y="0"/>
                    <a:pt x="6" y="0"/>
                    <a:pt x="6" y="0"/>
                  </a:cubicBezTo>
                  <a:cubicBezTo>
                    <a:pt x="4" y="0"/>
                    <a:pt x="3" y="1"/>
                    <a:pt x="2" y="2"/>
                  </a:cubicBezTo>
                  <a:cubicBezTo>
                    <a:pt x="0" y="3"/>
                    <a:pt x="0" y="5"/>
                    <a:pt x="0" y="7"/>
                  </a:cubicBezTo>
                  <a:cubicBezTo>
                    <a:pt x="0" y="10"/>
                    <a:pt x="3" y="13"/>
                    <a:pt x="6" y="13"/>
                  </a:cubicBezTo>
                  <a:cubicBezTo>
                    <a:pt x="257" y="13"/>
                    <a:pt x="257" y="13"/>
                    <a:pt x="257" y="13"/>
                  </a:cubicBezTo>
                  <a:cubicBezTo>
                    <a:pt x="261" y="13"/>
                    <a:pt x="264" y="10"/>
                    <a:pt x="264" y="7"/>
                  </a:cubicBezTo>
                  <a:cubicBezTo>
                    <a:pt x="264" y="3"/>
                    <a:pt x="261" y="0"/>
                    <a:pt x="25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35" name="Rectangle 513"/>
            <p:cNvSpPr>
              <a:spLocks noChangeArrowheads="1"/>
            </p:cNvSpPr>
            <p:nvPr/>
          </p:nvSpPr>
          <p:spPr bwMode="auto">
            <a:xfrm>
              <a:off x="6869507" y="3293058"/>
              <a:ext cx="28851" cy="1226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36" name="Rectangle 514"/>
            <p:cNvSpPr>
              <a:spLocks noChangeArrowheads="1"/>
            </p:cNvSpPr>
            <p:nvPr/>
          </p:nvSpPr>
          <p:spPr bwMode="auto">
            <a:xfrm>
              <a:off x="6821902" y="3325516"/>
              <a:ext cx="30294" cy="865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37" name="Rectangle 515"/>
            <p:cNvSpPr>
              <a:spLocks noChangeArrowheads="1"/>
            </p:cNvSpPr>
            <p:nvPr/>
          </p:nvSpPr>
          <p:spPr bwMode="auto">
            <a:xfrm>
              <a:off x="6772134" y="3280796"/>
              <a:ext cx="28851" cy="1312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38" name="Freeform 516"/>
            <p:cNvSpPr/>
            <p:nvPr/>
          </p:nvSpPr>
          <p:spPr bwMode="auto">
            <a:xfrm>
              <a:off x="6750496" y="3521704"/>
              <a:ext cx="86554" cy="146420"/>
            </a:xfrm>
            <a:custGeom>
              <a:avLst/>
              <a:gdLst>
                <a:gd name="T0" fmla="*/ 43 w 51"/>
                <a:gd name="T1" fmla="*/ 71 h 86"/>
                <a:gd name="T2" fmla="*/ 36 w 51"/>
                <a:gd name="T3" fmla="*/ 71 h 86"/>
                <a:gd name="T4" fmla="*/ 36 w 51"/>
                <a:gd name="T5" fmla="*/ 0 h 86"/>
                <a:gd name="T6" fmla="*/ 19 w 51"/>
                <a:gd name="T7" fmla="*/ 0 h 86"/>
                <a:gd name="T8" fmla="*/ 19 w 51"/>
                <a:gd name="T9" fmla="*/ 71 h 86"/>
                <a:gd name="T10" fmla="*/ 7 w 51"/>
                <a:gd name="T11" fmla="*/ 71 h 86"/>
                <a:gd name="T12" fmla="*/ 2 w 51"/>
                <a:gd name="T13" fmla="*/ 73 h 86"/>
                <a:gd name="T14" fmla="*/ 0 w 51"/>
                <a:gd name="T15" fmla="*/ 79 h 86"/>
                <a:gd name="T16" fmla="*/ 7 w 51"/>
                <a:gd name="T17" fmla="*/ 86 h 86"/>
                <a:gd name="T18" fmla="*/ 43 w 51"/>
                <a:gd name="T19" fmla="*/ 86 h 86"/>
                <a:gd name="T20" fmla="*/ 51 w 51"/>
                <a:gd name="T21" fmla="*/ 79 h 86"/>
                <a:gd name="T22" fmla="*/ 43 w 51"/>
                <a:gd name="T23"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86">
                  <a:moveTo>
                    <a:pt x="43" y="71"/>
                  </a:moveTo>
                  <a:cubicBezTo>
                    <a:pt x="36" y="71"/>
                    <a:pt x="36" y="71"/>
                    <a:pt x="36" y="71"/>
                  </a:cubicBezTo>
                  <a:cubicBezTo>
                    <a:pt x="36" y="0"/>
                    <a:pt x="36" y="0"/>
                    <a:pt x="36" y="0"/>
                  </a:cubicBezTo>
                  <a:cubicBezTo>
                    <a:pt x="19" y="0"/>
                    <a:pt x="19" y="0"/>
                    <a:pt x="19" y="0"/>
                  </a:cubicBezTo>
                  <a:cubicBezTo>
                    <a:pt x="19" y="71"/>
                    <a:pt x="19" y="71"/>
                    <a:pt x="19" y="71"/>
                  </a:cubicBezTo>
                  <a:cubicBezTo>
                    <a:pt x="7" y="71"/>
                    <a:pt x="7" y="71"/>
                    <a:pt x="7" y="71"/>
                  </a:cubicBezTo>
                  <a:cubicBezTo>
                    <a:pt x="5" y="71"/>
                    <a:pt x="3" y="72"/>
                    <a:pt x="2" y="73"/>
                  </a:cubicBezTo>
                  <a:cubicBezTo>
                    <a:pt x="0" y="75"/>
                    <a:pt x="0" y="77"/>
                    <a:pt x="0" y="79"/>
                  </a:cubicBezTo>
                  <a:cubicBezTo>
                    <a:pt x="0" y="83"/>
                    <a:pt x="3" y="86"/>
                    <a:pt x="7" y="86"/>
                  </a:cubicBezTo>
                  <a:cubicBezTo>
                    <a:pt x="43" y="86"/>
                    <a:pt x="43" y="86"/>
                    <a:pt x="43" y="86"/>
                  </a:cubicBezTo>
                  <a:cubicBezTo>
                    <a:pt x="47" y="86"/>
                    <a:pt x="51" y="83"/>
                    <a:pt x="51" y="79"/>
                  </a:cubicBezTo>
                  <a:cubicBezTo>
                    <a:pt x="51" y="75"/>
                    <a:pt x="47" y="71"/>
                    <a:pt x="43" y="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39" name="Rectangle 517"/>
            <p:cNvSpPr>
              <a:spLocks noChangeArrowheads="1"/>
            </p:cNvSpPr>
            <p:nvPr/>
          </p:nvSpPr>
          <p:spPr bwMode="auto">
            <a:xfrm>
              <a:off x="6720923" y="3325516"/>
              <a:ext cx="29573" cy="865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40" name="Rectangle 518"/>
            <p:cNvSpPr>
              <a:spLocks noChangeArrowheads="1"/>
            </p:cNvSpPr>
            <p:nvPr/>
          </p:nvSpPr>
          <p:spPr bwMode="auto">
            <a:xfrm>
              <a:off x="6668270" y="3357974"/>
              <a:ext cx="28851" cy="540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41" name="Freeform 519"/>
            <p:cNvSpPr>
              <a:spLocks noEditPoints="1"/>
            </p:cNvSpPr>
            <p:nvPr/>
          </p:nvSpPr>
          <p:spPr bwMode="auto">
            <a:xfrm>
              <a:off x="6601912" y="3161786"/>
              <a:ext cx="383721" cy="346214"/>
            </a:xfrm>
            <a:custGeom>
              <a:avLst/>
              <a:gdLst>
                <a:gd name="T0" fmla="*/ 0 w 532"/>
                <a:gd name="T1" fmla="*/ 480 h 480"/>
                <a:gd name="T2" fmla="*/ 532 w 532"/>
                <a:gd name="T3" fmla="*/ 480 h 480"/>
                <a:gd name="T4" fmla="*/ 532 w 532"/>
                <a:gd name="T5" fmla="*/ 0 h 480"/>
                <a:gd name="T6" fmla="*/ 0 w 532"/>
                <a:gd name="T7" fmla="*/ 0 h 480"/>
                <a:gd name="T8" fmla="*/ 0 w 532"/>
                <a:gd name="T9" fmla="*/ 480 h 480"/>
                <a:gd name="T10" fmla="*/ 28 w 532"/>
                <a:gd name="T11" fmla="*/ 28 h 480"/>
                <a:gd name="T12" fmla="*/ 506 w 532"/>
                <a:gd name="T13" fmla="*/ 28 h 480"/>
                <a:gd name="T14" fmla="*/ 506 w 532"/>
                <a:gd name="T15" fmla="*/ 442 h 480"/>
                <a:gd name="T16" fmla="*/ 28 w 532"/>
                <a:gd name="T17" fmla="*/ 442 h 480"/>
                <a:gd name="T18" fmla="*/ 28 w 532"/>
                <a:gd name="T19" fmla="*/ 28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2" h="480">
                  <a:moveTo>
                    <a:pt x="0" y="480"/>
                  </a:moveTo>
                  <a:lnTo>
                    <a:pt x="532" y="480"/>
                  </a:lnTo>
                  <a:lnTo>
                    <a:pt x="532" y="0"/>
                  </a:lnTo>
                  <a:lnTo>
                    <a:pt x="0" y="0"/>
                  </a:lnTo>
                  <a:lnTo>
                    <a:pt x="0" y="480"/>
                  </a:lnTo>
                  <a:close/>
                  <a:moveTo>
                    <a:pt x="28" y="28"/>
                  </a:moveTo>
                  <a:lnTo>
                    <a:pt x="506" y="28"/>
                  </a:lnTo>
                  <a:lnTo>
                    <a:pt x="506" y="442"/>
                  </a:lnTo>
                  <a:lnTo>
                    <a:pt x="28" y="442"/>
                  </a:lnTo>
                  <a:lnTo>
                    <a:pt x="28" y="2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42" name="Freeform 520"/>
            <p:cNvSpPr/>
            <p:nvPr/>
          </p:nvSpPr>
          <p:spPr bwMode="auto">
            <a:xfrm>
              <a:off x="6274451" y="3299550"/>
              <a:ext cx="313757" cy="281299"/>
            </a:xfrm>
            <a:custGeom>
              <a:avLst/>
              <a:gdLst>
                <a:gd name="T0" fmla="*/ 161 w 184"/>
                <a:gd name="T1" fmla="*/ 20 h 165"/>
                <a:gd name="T2" fmla="*/ 119 w 184"/>
                <a:gd name="T3" fmla="*/ 0 h 165"/>
                <a:gd name="T4" fmla="*/ 92 w 184"/>
                <a:gd name="T5" fmla="*/ 11 h 165"/>
                <a:gd name="T6" fmla="*/ 114 w 184"/>
                <a:gd name="T7" fmla="*/ 90 h 165"/>
                <a:gd name="T8" fmla="*/ 92 w 184"/>
                <a:gd name="T9" fmla="*/ 122 h 165"/>
                <a:gd name="T10" fmla="*/ 70 w 184"/>
                <a:gd name="T11" fmla="*/ 90 h 165"/>
                <a:gd name="T12" fmla="*/ 92 w 184"/>
                <a:gd name="T13" fmla="*/ 11 h 165"/>
                <a:gd name="T14" fmla="*/ 65 w 184"/>
                <a:gd name="T15" fmla="*/ 0 h 165"/>
                <a:gd name="T16" fmla="*/ 0 w 184"/>
                <a:gd name="T17" fmla="*/ 65 h 165"/>
                <a:gd name="T18" fmla="*/ 0 w 184"/>
                <a:gd name="T19" fmla="*/ 135 h 165"/>
                <a:gd name="T20" fmla="*/ 84 w 184"/>
                <a:gd name="T21" fmla="*/ 165 h 165"/>
                <a:gd name="T22" fmla="*/ 100 w 184"/>
                <a:gd name="T23" fmla="*/ 165 h 165"/>
                <a:gd name="T24" fmla="*/ 184 w 184"/>
                <a:gd name="T25" fmla="*/ 135 h 165"/>
                <a:gd name="T26" fmla="*/ 184 w 184"/>
                <a:gd name="T27" fmla="*/ 65 h 165"/>
                <a:gd name="T28" fmla="*/ 161 w 184"/>
                <a:gd name="T29" fmla="*/ 2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4" h="165">
                  <a:moveTo>
                    <a:pt x="161" y="20"/>
                  </a:moveTo>
                  <a:cubicBezTo>
                    <a:pt x="148" y="10"/>
                    <a:pt x="132" y="4"/>
                    <a:pt x="119" y="0"/>
                  </a:cubicBezTo>
                  <a:cubicBezTo>
                    <a:pt x="92" y="11"/>
                    <a:pt x="92" y="11"/>
                    <a:pt x="92" y="11"/>
                  </a:cubicBezTo>
                  <a:cubicBezTo>
                    <a:pt x="114" y="90"/>
                    <a:pt x="114" y="90"/>
                    <a:pt x="114" y="90"/>
                  </a:cubicBezTo>
                  <a:cubicBezTo>
                    <a:pt x="92" y="122"/>
                    <a:pt x="92" y="122"/>
                    <a:pt x="92" y="122"/>
                  </a:cubicBezTo>
                  <a:cubicBezTo>
                    <a:pt x="70" y="90"/>
                    <a:pt x="70" y="90"/>
                    <a:pt x="70" y="90"/>
                  </a:cubicBezTo>
                  <a:cubicBezTo>
                    <a:pt x="92" y="11"/>
                    <a:pt x="92" y="11"/>
                    <a:pt x="92" y="11"/>
                  </a:cubicBezTo>
                  <a:cubicBezTo>
                    <a:pt x="65" y="0"/>
                    <a:pt x="65" y="0"/>
                    <a:pt x="65" y="0"/>
                  </a:cubicBezTo>
                  <a:cubicBezTo>
                    <a:pt x="40" y="7"/>
                    <a:pt x="0" y="24"/>
                    <a:pt x="0" y="65"/>
                  </a:cubicBezTo>
                  <a:cubicBezTo>
                    <a:pt x="0" y="124"/>
                    <a:pt x="0" y="135"/>
                    <a:pt x="0" y="135"/>
                  </a:cubicBezTo>
                  <a:cubicBezTo>
                    <a:pt x="0" y="135"/>
                    <a:pt x="3" y="165"/>
                    <a:pt x="84" y="165"/>
                  </a:cubicBezTo>
                  <a:cubicBezTo>
                    <a:pt x="100" y="165"/>
                    <a:pt x="100" y="165"/>
                    <a:pt x="100" y="165"/>
                  </a:cubicBezTo>
                  <a:cubicBezTo>
                    <a:pt x="182" y="165"/>
                    <a:pt x="184" y="135"/>
                    <a:pt x="184" y="135"/>
                  </a:cubicBezTo>
                  <a:cubicBezTo>
                    <a:pt x="184" y="135"/>
                    <a:pt x="184" y="124"/>
                    <a:pt x="184" y="65"/>
                  </a:cubicBezTo>
                  <a:cubicBezTo>
                    <a:pt x="184" y="44"/>
                    <a:pt x="174" y="30"/>
                    <a:pt x="161"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43" name="Oval 521"/>
            <p:cNvSpPr>
              <a:spLocks noChangeArrowheads="1"/>
            </p:cNvSpPr>
            <p:nvPr/>
          </p:nvSpPr>
          <p:spPr bwMode="auto">
            <a:xfrm>
              <a:off x="6353071" y="3104083"/>
              <a:ext cx="156518" cy="18248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grpSp>
      <p:sp>
        <p:nvSpPr>
          <p:cNvPr id="44" name="矩形 43"/>
          <p:cNvSpPr/>
          <p:nvPr/>
        </p:nvSpPr>
        <p:spPr>
          <a:xfrm>
            <a:off x="7054113" y="4230222"/>
            <a:ext cx="4075704" cy="830997"/>
          </a:xfrm>
          <a:prstGeom prst="rect">
            <a:avLst/>
          </a:prstGeom>
        </p:spPr>
        <p:txBody>
          <a:bodyPr wrap="square">
            <a:spAutoFit/>
          </a:bodyPr>
          <a:lstStyle/>
          <a:p>
            <a:r>
              <a:rPr lang="zh-CN" altLang="en-US" sz="2000" b="1" dirty="0">
                <a:latin typeface="楷体" panose="02010609060101010101" pitchFamily="49" charset="-122"/>
                <a:ea typeface="楷体" panose="02010609060101010101" pitchFamily="49" charset="-122"/>
                <a:cs typeface="+mn-ea"/>
                <a:sym typeface="+mn-lt"/>
              </a:rPr>
              <a:t>⑥</a:t>
            </a:r>
            <a:r>
              <a:rPr lang="zh-CN" altLang="en-US" sz="2000" b="1" dirty="0" smtClean="0">
                <a:latin typeface="楷体" panose="02010609060101010101" pitchFamily="49" charset="-122"/>
                <a:ea typeface="楷体" panose="02010609060101010101" pitchFamily="49" charset="-122"/>
              </a:rPr>
              <a:t>知识</a:t>
            </a:r>
            <a:r>
              <a:rPr lang="zh-CN" altLang="en-US" sz="2000" b="1" dirty="0">
                <a:latin typeface="楷体" panose="02010609060101010101" pitchFamily="49" charset="-122"/>
                <a:ea typeface="楷体" panose="02010609060101010101" pitchFamily="49" charset="-122"/>
              </a:rPr>
              <a:t>经验难以沉淀复用</a:t>
            </a:r>
            <a:endParaRPr lang="en-US" altLang="zh-CN" sz="2000" b="1" dirty="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smtClean="0">
                <a:latin typeface="楷体" panose="02010609060101010101" pitchFamily="49" charset="-122"/>
                <a:ea typeface="楷体" panose="02010609060101010101" pitchFamily="49" charset="-122"/>
              </a:rPr>
              <a:t>XX</a:t>
            </a:r>
            <a:endParaRPr lang="en-US" altLang="zh-CN" sz="1400" dirty="0" smtClean="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a:latin typeface="楷体" panose="02010609060101010101" pitchFamily="49" charset="-122"/>
                <a:ea typeface="楷体" panose="02010609060101010101" pitchFamily="49" charset="-122"/>
              </a:rPr>
              <a:t>XX</a:t>
            </a:r>
            <a:endParaRPr lang="zh-CN" altLang="en-US" sz="1400" dirty="0">
              <a:latin typeface="楷体" panose="02010609060101010101" pitchFamily="49" charset="-122"/>
              <a:ea typeface="楷体" panose="02010609060101010101" pitchFamily="49" charset="-122"/>
            </a:endParaRPr>
          </a:p>
        </p:txBody>
      </p:sp>
      <p:grpSp>
        <p:nvGrpSpPr>
          <p:cNvPr id="45" name="组合 44"/>
          <p:cNvGrpSpPr/>
          <p:nvPr/>
        </p:nvGrpSpPr>
        <p:grpSpPr>
          <a:xfrm>
            <a:off x="6310313" y="4364004"/>
            <a:ext cx="668135" cy="563432"/>
            <a:chOff x="9414192" y="3509937"/>
            <a:chExt cx="610202" cy="659971"/>
          </a:xfrm>
          <a:solidFill>
            <a:srgbClr val="FE8637"/>
          </a:solidFill>
        </p:grpSpPr>
        <p:sp>
          <p:nvSpPr>
            <p:cNvPr id="46" name="Freeform 539"/>
            <p:cNvSpPr/>
            <p:nvPr/>
          </p:nvSpPr>
          <p:spPr bwMode="auto">
            <a:xfrm>
              <a:off x="9924136" y="3988866"/>
              <a:ext cx="37507" cy="87275"/>
            </a:xfrm>
            <a:custGeom>
              <a:avLst/>
              <a:gdLst>
                <a:gd name="T0" fmla="*/ 21 w 52"/>
                <a:gd name="T1" fmla="*/ 0 h 121"/>
                <a:gd name="T2" fmla="*/ 0 w 52"/>
                <a:gd name="T3" fmla="*/ 7 h 121"/>
                <a:gd name="T4" fmla="*/ 30 w 52"/>
                <a:gd name="T5" fmla="*/ 121 h 121"/>
                <a:gd name="T6" fmla="*/ 52 w 52"/>
                <a:gd name="T7" fmla="*/ 114 h 121"/>
                <a:gd name="T8" fmla="*/ 21 w 52"/>
                <a:gd name="T9" fmla="*/ 0 h 121"/>
              </a:gdLst>
              <a:ahLst/>
              <a:cxnLst>
                <a:cxn ang="0">
                  <a:pos x="T0" y="T1"/>
                </a:cxn>
                <a:cxn ang="0">
                  <a:pos x="T2" y="T3"/>
                </a:cxn>
                <a:cxn ang="0">
                  <a:pos x="T4" y="T5"/>
                </a:cxn>
                <a:cxn ang="0">
                  <a:pos x="T6" y="T7"/>
                </a:cxn>
                <a:cxn ang="0">
                  <a:pos x="T8" y="T9"/>
                </a:cxn>
              </a:cxnLst>
              <a:rect l="0" t="0" r="r" b="b"/>
              <a:pathLst>
                <a:path w="52" h="121">
                  <a:moveTo>
                    <a:pt x="21" y="0"/>
                  </a:moveTo>
                  <a:lnTo>
                    <a:pt x="0" y="7"/>
                  </a:lnTo>
                  <a:lnTo>
                    <a:pt x="30" y="121"/>
                  </a:lnTo>
                  <a:lnTo>
                    <a:pt x="52" y="114"/>
                  </a:lnTo>
                  <a:lnTo>
                    <a:pt x="21" y="0"/>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47" name="Freeform 540"/>
            <p:cNvSpPr/>
            <p:nvPr/>
          </p:nvSpPr>
          <p:spPr bwMode="auto">
            <a:xfrm>
              <a:off x="9891679" y="3997522"/>
              <a:ext cx="37507" cy="87275"/>
            </a:xfrm>
            <a:custGeom>
              <a:avLst/>
              <a:gdLst>
                <a:gd name="T0" fmla="*/ 0 w 52"/>
                <a:gd name="T1" fmla="*/ 7 h 121"/>
                <a:gd name="T2" fmla="*/ 31 w 52"/>
                <a:gd name="T3" fmla="*/ 121 h 121"/>
                <a:gd name="T4" fmla="*/ 52 w 52"/>
                <a:gd name="T5" fmla="*/ 116 h 121"/>
                <a:gd name="T6" fmla="*/ 21 w 52"/>
                <a:gd name="T7" fmla="*/ 0 h 121"/>
                <a:gd name="T8" fmla="*/ 0 w 52"/>
                <a:gd name="T9" fmla="*/ 7 h 121"/>
              </a:gdLst>
              <a:ahLst/>
              <a:cxnLst>
                <a:cxn ang="0">
                  <a:pos x="T0" y="T1"/>
                </a:cxn>
                <a:cxn ang="0">
                  <a:pos x="T2" y="T3"/>
                </a:cxn>
                <a:cxn ang="0">
                  <a:pos x="T4" y="T5"/>
                </a:cxn>
                <a:cxn ang="0">
                  <a:pos x="T6" y="T7"/>
                </a:cxn>
                <a:cxn ang="0">
                  <a:pos x="T8" y="T9"/>
                </a:cxn>
              </a:cxnLst>
              <a:rect l="0" t="0" r="r" b="b"/>
              <a:pathLst>
                <a:path w="52" h="121">
                  <a:moveTo>
                    <a:pt x="0" y="7"/>
                  </a:moveTo>
                  <a:lnTo>
                    <a:pt x="31" y="121"/>
                  </a:lnTo>
                  <a:lnTo>
                    <a:pt x="52" y="116"/>
                  </a:lnTo>
                  <a:lnTo>
                    <a:pt x="21" y="0"/>
                  </a:lnTo>
                  <a:lnTo>
                    <a:pt x="0" y="7"/>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48" name="Freeform 541"/>
            <p:cNvSpPr/>
            <p:nvPr/>
          </p:nvSpPr>
          <p:spPr bwMode="auto">
            <a:xfrm>
              <a:off x="9857778" y="4007620"/>
              <a:ext cx="37507" cy="85832"/>
            </a:xfrm>
            <a:custGeom>
              <a:avLst/>
              <a:gdLst>
                <a:gd name="T0" fmla="*/ 0 w 52"/>
                <a:gd name="T1" fmla="*/ 5 h 119"/>
                <a:gd name="T2" fmla="*/ 30 w 52"/>
                <a:gd name="T3" fmla="*/ 119 h 119"/>
                <a:gd name="T4" fmla="*/ 52 w 52"/>
                <a:gd name="T5" fmla="*/ 114 h 119"/>
                <a:gd name="T6" fmla="*/ 21 w 52"/>
                <a:gd name="T7" fmla="*/ 0 h 119"/>
                <a:gd name="T8" fmla="*/ 0 w 52"/>
                <a:gd name="T9" fmla="*/ 5 h 119"/>
              </a:gdLst>
              <a:ahLst/>
              <a:cxnLst>
                <a:cxn ang="0">
                  <a:pos x="T0" y="T1"/>
                </a:cxn>
                <a:cxn ang="0">
                  <a:pos x="T2" y="T3"/>
                </a:cxn>
                <a:cxn ang="0">
                  <a:pos x="T4" y="T5"/>
                </a:cxn>
                <a:cxn ang="0">
                  <a:pos x="T6" y="T7"/>
                </a:cxn>
                <a:cxn ang="0">
                  <a:pos x="T8" y="T9"/>
                </a:cxn>
              </a:cxnLst>
              <a:rect l="0" t="0" r="r" b="b"/>
              <a:pathLst>
                <a:path w="52" h="119">
                  <a:moveTo>
                    <a:pt x="0" y="5"/>
                  </a:moveTo>
                  <a:lnTo>
                    <a:pt x="30" y="119"/>
                  </a:lnTo>
                  <a:lnTo>
                    <a:pt x="52" y="114"/>
                  </a:lnTo>
                  <a:lnTo>
                    <a:pt x="21" y="0"/>
                  </a:lnTo>
                  <a:lnTo>
                    <a:pt x="0" y="5"/>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49" name="Freeform 542"/>
            <p:cNvSpPr/>
            <p:nvPr/>
          </p:nvSpPr>
          <p:spPr bwMode="auto">
            <a:xfrm>
              <a:off x="9825321" y="4016275"/>
              <a:ext cx="37507" cy="87275"/>
            </a:xfrm>
            <a:custGeom>
              <a:avLst/>
              <a:gdLst>
                <a:gd name="T0" fmla="*/ 0 w 52"/>
                <a:gd name="T1" fmla="*/ 5 h 121"/>
                <a:gd name="T2" fmla="*/ 28 w 52"/>
                <a:gd name="T3" fmla="*/ 121 h 121"/>
                <a:gd name="T4" fmla="*/ 52 w 52"/>
                <a:gd name="T5" fmla="*/ 114 h 121"/>
                <a:gd name="T6" fmla="*/ 21 w 52"/>
                <a:gd name="T7" fmla="*/ 0 h 121"/>
                <a:gd name="T8" fmla="*/ 0 w 52"/>
                <a:gd name="T9" fmla="*/ 5 h 121"/>
              </a:gdLst>
              <a:ahLst/>
              <a:cxnLst>
                <a:cxn ang="0">
                  <a:pos x="T0" y="T1"/>
                </a:cxn>
                <a:cxn ang="0">
                  <a:pos x="T2" y="T3"/>
                </a:cxn>
                <a:cxn ang="0">
                  <a:pos x="T4" y="T5"/>
                </a:cxn>
                <a:cxn ang="0">
                  <a:pos x="T6" y="T7"/>
                </a:cxn>
                <a:cxn ang="0">
                  <a:pos x="T8" y="T9"/>
                </a:cxn>
              </a:cxnLst>
              <a:rect l="0" t="0" r="r" b="b"/>
              <a:pathLst>
                <a:path w="52" h="121">
                  <a:moveTo>
                    <a:pt x="0" y="5"/>
                  </a:moveTo>
                  <a:lnTo>
                    <a:pt x="28" y="121"/>
                  </a:lnTo>
                  <a:lnTo>
                    <a:pt x="52" y="114"/>
                  </a:lnTo>
                  <a:lnTo>
                    <a:pt x="21" y="0"/>
                  </a:lnTo>
                  <a:lnTo>
                    <a:pt x="0" y="5"/>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50" name="Freeform 543"/>
            <p:cNvSpPr>
              <a:spLocks noEditPoints="1"/>
            </p:cNvSpPr>
            <p:nvPr/>
          </p:nvSpPr>
          <p:spPr bwMode="auto">
            <a:xfrm>
              <a:off x="9707752" y="3579901"/>
              <a:ext cx="160124" cy="160124"/>
            </a:xfrm>
            <a:custGeom>
              <a:avLst/>
              <a:gdLst>
                <a:gd name="T0" fmla="*/ 88 w 94"/>
                <a:gd name="T1" fmla="*/ 36 h 94"/>
                <a:gd name="T2" fmla="*/ 36 w 94"/>
                <a:gd name="T3" fmla="*/ 6 h 94"/>
                <a:gd name="T4" fmla="*/ 6 w 94"/>
                <a:gd name="T5" fmla="*/ 58 h 94"/>
                <a:gd name="T6" fmla="*/ 58 w 94"/>
                <a:gd name="T7" fmla="*/ 88 h 94"/>
                <a:gd name="T8" fmla="*/ 88 w 94"/>
                <a:gd name="T9" fmla="*/ 36 h 94"/>
                <a:gd name="T10" fmla="*/ 55 w 94"/>
                <a:gd name="T11" fmla="*/ 74 h 94"/>
                <a:gd name="T12" fmla="*/ 21 w 94"/>
                <a:gd name="T13" fmla="*/ 54 h 94"/>
                <a:gd name="T14" fmla="*/ 41 w 94"/>
                <a:gd name="T15" fmla="*/ 20 h 94"/>
                <a:gd name="T16" fmla="*/ 74 w 94"/>
                <a:gd name="T17" fmla="*/ 40 h 94"/>
                <a:gd name="T18" fmla="*/ 55 w 94"/>
                <a:gd name="T19" fmla="*/ 7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88" y="36"/>
                  </a:moveTo>
                  <a:cubicBezTo>
                    <a:pt x="82" y="13"/>
                    <a:pt x="59" y="0"/>
                    <a:pt x="36" y="6"/>
                  </a:cubicBezTo>
                  <a:cubicBezTo>
                    <a:pt x="14" y="12"/>
                    <a:pt x="0" y="36"/>
                    <a:pt x="6" y="58"/>
                  </a:cubicBezTo>
                  <a:cubicBezTo>
                    <a:pt x="12" y="81"/>
                    <a:pt x="36" y="94"/>
                    <a:pt x="58" y="88"/>
                  </a:cubicBezTo>
                  <a:cubicBezTo>
                    <a:pt x="81" y="82"/>
                    <a:pt x="94" y="59"/>
                    <a:pt x="88" y="36"/>
                  </a:cubicBezTo>
                  <a:close/>
                  <a:moveTo>
                    <a:pt x="55" y="74"/>
                  </a:moveTo>
                  <a:cubicBezTo>
                    <a:pt x="40" y="78"/>
                    <a:pt x="25" y="69"/>
                    <a:pt x="21" y="54"/>
                  </a:cubicBezTo>
                  <a:cubicBezTo>
                    <a:pt x="17" y="39"/>
                    <a:pt x="26" y="24"/>
                    <a:pt x="41" y="20"/>
                  </a:cubicBezTo>
                  <a:cubicBezTo>
                    <a:pt x="55" y="17"/>
                    <a:pt x="70" y="25"/>
                    <a:pt x="74" y="40"/>
                  </a:cubicBezTo>
                  <a:cubicBezTo>
                    <a:pt x="78" y="55"/>
                    <a:pt x="69" y="70"/>
                    <a:pt x="55" y="74"/>
                  </a:cubicBez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51" name="Freeform 544"/>
            <p:cNvSpPr>
              <a:spLocks noEditPoints="1"/>
            </p:cNvSpPr>
            <p:nvPr/>
          </p:nvSpPr>
          <p:spPr bwMode="auto">
            <a:xfrm>
              <a:off x="9645722" y="3509937"/>
              <a:ext cx="378672" cy="659971"/>
            </a:xfrm>
            <a:custGeom>
              <a:avLst/>
              <a:gdLst>
                <a:gd name="T0" fmla="*/ 301 w 525"/>
                <a:gd name="T1" fmla="*/ 0 h 915"/>
                <a:gd name="T2" fmla="*/ 0 w 525"/>
                <a:gd name="T3" fmla="*/ 83 h 915"/>
                <a:gd name="T4" fmla="*/ 223 w 525"/>
                <a:gd name="T5" fmla="*/ 915 h 915"/>
                <a:gd name="T6" fmla="*/ 525 w 525"/>
                <a:gd name="T7" fmla="*/ 835 h 915"/>
                <a:gd name="T8" fmla="*/ 301 w 525"/>
                <a:gd name="T9" fmla="*/ 0 h 915"/>
                <a:gd name="T10" fmla="*/ 29 w 525"/>
                <a:gd name="T11" fmla="*/ 104 h 915"/>
                <a:gd name="T12" fmla="*/ 291 w 525"/>
                <a:gd name="T13" fmla="*/ 36 h 915"/>
                <a:gd name="T14" fmla="*/ 497 w 525"/>
                <a:gd name="T15" fmla="*/ 806 h 915"/>
                <a:gd name="T16" fmla="*/ 237 w 525"/>
                <a:gd name="T17" fmla="*/ 877 h 915"/>
                <a:gd name="T18" fmla="*/ 29 w 525"/>
                <a:gd name="T19" fmla="*/ 104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5" h="915">
                  <a:moveTo>
                    <a:pt x="301" y="0"/>
                  </a:moveTo>
                  <a:lnTo>
                    <a:pt x="0" y="83"/>
                  </a:lnTo>
                  <a:lnTo>
                    <a:pt x="223" y="915"/>
                  </a:lnTo>
                  <a:lnTo>
                    <a:pt x="525" y="835"/>
                  </a:lnTo>
                  <a:lnTo>
                    <a:pt x="301" y="0"/>
                  </a:lnTo>
                  <a:close/>
                  <a:moveTo>
                    <a:pt x="29" y="104"/>
                  </a:moveTo>
                  <a:lnTo>
                    <a:pt x="291" y="36"/>
                  </a:lnTo>
                  <a:lnTo>
                    <a:pt x="497" y="806"/>
                  </a:lnTo>
                  <a:lnTo>
                    <a:pt x="237" y="877"/>
                  </a:lnTo>
                  <a:lnTo>
                    <a:pt x="29" y="104"/>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52" name="Rectangle 545"/>
            <p:cNvSpPr>
              <a:spLocks noChangeArrowheads="1"/>
            </p:cNvSpPr>
            <p:nvPr/>
          </p:nvSpPr>
          <p:spPr bwMode="auto">
            <a:xfrm>
              <a:off x="9572873" y="4029979"/>
              <a:ext cx="16590" cy="85111"/>
            </a:xfrm>
            <a:prstGeom prst="rect">
              <a:avLst/>
            </a:pr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53" name="Rectangle 546"/>
            <p:cNvSpPr>
              <a:spLocks noChangeArrowheads="1"/>
            </p:cNvSpPr>
            <p:nvPr/>
          </p:nvSpPr>
          <p:spPr bwMode="auto">
            <a:xfrm>
              <a:off x="9538973" y="4029979"/>
              <a:ext cx="16590" cy="85111"/>
            </a:xfrm>
            <a:prstGeom prst="rect">
              <a:avLst/>
            </a:pr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54" name="Rectangle 547"/>
            <p:cNvSpPr>
              <a:spLocks noChangeArrowheads="1"/>
            </p:cNvSpPr>
            <p:nvPr/>
          </p:nvSpPr>
          <p:spPr bwMode="auto">
            <a:xfrm>
              <a:off x="9502909" y="4029979"/>
              <a:ext cx="17311" cy="85111"/>
            </a:xfrm>
            <a:prstGeom prst="rect">
              <a:avLst/>
            </a:pr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55" name="Rectangle 548"/>
            <p:cNvSpPr>
              <a:spLocks noChangeArrowheads="1"/>
            </p:cNvSpPr>
            <p:nvPr/>
          </p:nvSpPr>
          <p:spPr bwMode="auto">
            <a:xfrm>
              <a:off x="9469009" y="4029979"/>
              <a:ext cx="16590" cy="85111"/>
            </a:xfrm>
            <a:prstGeom prst="rect">
              <a:avLst/>
            </a:pr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56" name="Freeform 549"/>
            <p:cNvSpPr>
              <a:spLocks noEditPoints="1"/>
            </p:cNvSpPr>
            <p:nvPr/>
          </p:nvSpPr>
          <p:spPr bwMode="auto">
            <a:xfrm>
              <a:off x="9455304" y="3600818"/>
              <a:ext cx="144977" cy="144256"/>
            </a:xfrm>
            <a:custGeom>
              <a:avLst/>
              <a:gdLst>
                <a:gd name="T0" fmla="*/ 42 w 85"/>
                <a:gd name="T1" fmla="*/ 0 h 85"/>
                <a:gd name="T2" fmla="*/ 0 w 85"/>
                <a:gd name="T3" fmla="*/ 43 h 85"/>
                <a:gd name="T4" fmla="*/ 42 w 85"/>
                <a:gd name="T5" fmla="*/ 85 h 85"/>
                <a:gd name="T6" fmla="*/ 85 w 85"/>
                <a:gd name="T7" fmla="*/ 43 h 85"/>
                <a:gd name="T8" fmla="*/ 42 w 85"/>
                <a:gd name="T9" fmla="*/ 0 h 85"/>
                <a:gd name="T10" fmla="*/ 43 w 85"/>
                <a:gd name="T11" fmla="*/ 70 h 85"/>
                <a:gd name="T12" fmla="*/ 15 w 85"/>
                <a:gd name="T13" fmla="*/ 43 h 85"/>
                <a:gd name="T14" fmla="*/ 43 w 85"/>
                <a:gd name="T15" fmla="*/ 15 h 85"/>
                <a:gd name="T16" fmla="*/ 70 w 85"/>
                <a:gd name="T17" fmla="*/ 43 h 85"/>
                <a:gd name="T18" fmla="*/ 43 w 85"/>
                <a:gd name="T19" fmla="*/ 7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42" y="0"/>
                  </a:moveTo>
                  <a:cubicBezTo>
                    <a:pt x="19" y="0"/>
                    <a:pt x="0" y="19"/>
                    <a:pt x="0" y="43"/>
                  </a:cubicBezTo>
                  <a:cubicBezTo>
                    <a:pt x="0" y="66"/>
                    <a:pt x="19" y="85"/>
                    <a:pt x="42" y="85"/>
                  </a:cubicBezTo>
                  <a:cubicBezTo>
                    <a:pt x="66" y="85"/>
                    <a:pt x="85" y="66"/>
                    <a:pt x="85" y="43"/>
                  </a:cubicBezTo>
                  <a:cubicBezTo>
                    <a:pt x="85" y="19"/>
                    <a:pt x="66" y="0"/>
                    <a:pt x="42" y="0"/>
                  </a:cubicBezTo>
                  <a:close/>
                  <a:moveTo>
                    <a:pt x="43" y="70"/>
                  </a:moveTo>
                  <a:cubicBezTo>
                    <a:pt x="28" y="70"/>
                    <a:pt x="15" y="58"/>
                    <a:pt x="15" y="43"/>
                  </a:cubicBezTo>
                  <a:cubicBezTo>
                    <a:pt x="15" y="27"/>
                    <a:pt x="28" y="15"/>
                    <a:pt x="43" y="15"/>
                  </a:cubicBezTo>
                  <a:cubicBezTo>
                    <a:pt x="58" y="15"/>
                    <a:pt x="70" y="27"/>
                    <a:pt x="70" y="43"/>
                  </a:cubicBezTo>
                  <a:cubicBezTo>
                    <a:pt x="70" y="58"/>
                    <a:pt x="58" y="70"/>
                    <a:pt x="43" y="70"/>
                  </a:cubicBez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57" name="Freeform 550"/>
            <p:cNvSpPr>
              <a:spLocks noEditPoints="1"/>
            </p:cNvSpPr>
            <p:nvPr/>
          </p:nvSpPr>
          <p:spPr bwMode="auto">
            <a:xfrm>
              <a:off x="9414192" y="3547443"/>
              <a:ext cx="225039" cy="622464"/>
            </a:xfrm>
            <a:custGeom>
              <a:avLst/>
              <a:gdLst>
                <a:gd name="T0" fmla="*/ 0 w 312"/>
                <a:gd name="T1" fmla="*/ 863 h 863"/>
                <a:gd name="T2" fmla="*/ 312 w 312"/>
                <a:gd name="T3" fmla="*/ 863 h 863"/>
                <a:gd name="T4" fmla="*/ 312 w 312"/>
                <a:gd name="T5" fmla="*/ 0 h 863"/>
                <a:gd name="T6" fmla="*/ 0 w 312"/>
                <a:gd name="T7" fmla="*/ 0 h 863"/>
                <a:gd name="T8" fmla="*/ 0 w 312"/>
                <a:gd name="T9" fmla="*/ 863 h 863"/>
                <a:gd name="T10" fmla="*/ 21 w 312"/>
                <a:gd name="T11" fmla="*/ 31 h 863"/>
                <a:gd name="T12" fmla="*/ 291 w 312"/>
                <a:gd name="T13" fmla="*/ 31 h 863"/>
                <a:gd name="T14" fmla="*/ 291 w 312"/>
                <a:gd name="T15" fmla="*/ 830 h 863"/>
                <a:gd name="T16" fmla="*/ 21 w 312"/>
                <a:gd name="T17" fmla="*/ 830 h 863"/>
                <a:gd name="T18" fmla="*/ 21 w 312"/>
                <a:gd name="T19" fmla="*/ 31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863">
                  <a:moveTo>
                    <a:pt x="0" y="863"/>
                  </a:moveTo>
                  <a:lnTo>
                    <a:pt x="312" y="863"/>
                  </a:lnTo>
                  <a:lnTo>
                    <a:pt x="312" y="0"/>
                  </a:lnTo>
                  <a:lnTo>
                    <a:pt x="0" y="0"/>
                  </a:lnTo>
                  <a:lnTo>
                    <a:pt x="0" y="863"/>
                  </a:lnTo>
                  <a:close/>
                  <a:moveTo>
                    <a:pt x="21" y="31"/>
                  </a:moveTo>
                  <a:lnTo>
                    <a:pt x="291" y="31"/>
                  </a:lnTo>
                  <a:lnTo>
                    <a:pt x="291" y="830"/>
                  </a:lnTo>
                  <a:lnTo>
                    <a:pt x="21" y="830"/>
                  </a:lnTo>
                  <a:lnTo>
                    <a:pt x="21" y="31"/>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grpSp>
      <p:cxnSp>
        <p:nvCxnSpPr>
          <p:cNvPr id="58" name="直接连接符 57"/>
          <p:cNvCxnSpPr/>
          <p:nvPr/>
        </p:nvCxnSpPr>
        <p:spPr bwMode="auto">
          <a:xfrm flipV="1">
            <a:off x="403483" y="2398768"/>
            <a:ext cx="11020707" cy="9364"/>
          </a:xfrm>
          <a:prstGeom prst="line">
            <a:avLst/>
          </a:prstGeom>
          <a:ln>
            <a:solidFill>
              <a:schemeClr val="bg1">
                <a:lumMod val="65000"/>
              </a:schemeClr>
            </a:solidFill>
            <a:prstDash val="dash"/>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59" name="直接连接符 58"/>
          <p:cNvCxnSpPr/>
          <p:nvPr/>
        </p:nvCxnSpPr>
        <p:spPr bwMode="auto">
          <a:xfrm>
            <a:off x="403483" y="3846439"/>
            <a:ext cx="11020707" cy="63411"/>
          </a:xfrm>
          <a:prstGeom prst="line">
            <a:avLst/>
          </a:prstGeom>
          <a:ln>
            <a:solidFill>
              <a:schemeClr val="bg1">
                <a:lumMod val="65000"/>
              </a:schemeClr>
            </a:solidFill>
            <a:prstDash val="dash"/>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60" name="直接连接符 59"/>
          <p:cNvCxnSpPr/>
          <p:nvPr/>
        </p:nvCxnSpPr>
        <p:spPr bwMode="auto">
          <a:xfrm flipV="1">
            <a:off x="403483" y="5348156"/>
            <a:ext cx="11020707" cy="23445"/>
          </a:xfrm>
          <a:prstGeom prst="line">
            <a:avLst/>
          </a:prstGeom>
          <a:ln>
            <a:solidFill>
              <a:schemeClr val="bg1">
                <a:lumMod val="65000"/>
              </a:schemeClr>
            </a:solidFill>
            <a:prstDash val="dash"/>
            <a:headEnd type="none" w="med" len="med"/>
            <a:tailEnd type="none" w="med" len="med"/>
          </a:ln>
        </p:spPr>
        <p:style>
          <a:lnRef idx="2">
            <a:schemeClr val="accent2"/>
          </a:lnRef>
          <a:fillRef idx="0">
            <a:schemeClr val="accent2"/>
          </a:fillRef>
          <a:effectRef idx="1">
            <a:schemeClr val="accent2"/>
          </a:effectRef>
          <a:fontRef idx="minor">
            <a:schemeClr val="tx1"/>
          </a:fontRef>
        </p:style>
      </p:cxnSp>
      <p:sp>
        <p:nvSpPr>
          <p:cNvPr id="61" name="矩形 60"/>
          <p:cNvSpPr/>
          <p:nvPr/>
        </p:nvSpPr>
        <p:spPr>
          <a:xfrm>
            <a:off x="7054112" y="1357130"/>
            <a:ext cx="4075705" cy="892552"/>
          </a:xfrm>
          <a:prstGeom prst="rect">
            <a:avLst/>
          </a:prstGeom>
        </p:spPr>
        <p:txBody>
          <a:bodyPr wrap="square">
            <a:spAutoFit/>
          </a:bodyPr>
          <a:lstStyle/>
          <a:p>
            <a:r>
              <a:rPr lang="zh-CN" altLang="en-US" sz="2400" b="1" dirty="0">
                <a:latin typeface="楷体" panose="02010609060101010101" pitchFamily="49" charset="-122"/>
                <a:ea typeface="楷体" panose="02010609060101010101" pitchFamily="49" charset="-122"/>
              </a:rPr>
              <a:t>②</a:t>
            </a:r>
            <a:r>
              <a:rPr lang="zh-CN" altLang="en-US" sz="2000" b="1" dirty="0">
                <a:latin typeface="楷体" panose="02010609060101010101" pitchFamily="49" charset="-122"/>
                <a:ea typeface="楷体" panose="02010609060101010101" pitchFamily="49" charset="-122"/>
              </a:rPr>
              <a:t>业务流程没有固化</a:t>
            </a:r>
            <a:endParaRPr lang="en-US" altLang="zh-CN" sz="2000" b="1" dirty="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smtClean="0">
                <a:latin typeface="楷体" panose="02010609060101010101" pitchFamily="49" charset="-122"/>
                <a:ea typeface="楷体" panose="02010609060101010101" pitchFamily="49" charset="-122"/>
              </a:rPr>
              <a:t>XX</a:t>
            </a:r>
            <a:endParaRPr lang="en-US" altLang="zh-CN" sz="1400" dirty="0" smtClean="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a:latin typeface="楷体" panose="02010609060101010101" pitchFamily="49" charset="-122"/>
                <a:ea typeface="楷体" panose="02010609060101010101" pitchFamily="49" charset="-122"/>
              </a:rPr>
              <a:t>XX</a:t>
            </a:r>
            <a:endParaRPr lang="en-US" altLang="zh-CN" sz="1400" dirty="0">
              <a:latin typeface="楷体" panose="02010609060101010101" pitchFamily="49" charset="-122"/>
              <a:ea typeface="楷体" panose="02010609060101010101" pitchFamily="49" charset="-122"/>
            </a:endParaRPr>
          </a:p>
        </p:txBody>
      </p:sp>
      <p:grpSp>
        <p:nvGrpSpPr>
          <p:cNvPr id="62" name="组合 61"/>
          <p:cNvGrpSpPr/>
          <p:nvPr/>
        </p:nvGrpSpPr>
        <p:grpSpPr>
          <a:xfrm>
            <a:off x="6310314" y="1514354"/>
            <a:ext cx="528224" cy="578104"/>
            <a:chOff x="5606473" y="710652"/>
            <a:chExt cx="640150" cy="644432"/>
          </a:xfrm>
          <a:solidFill>
            <a:srgbClr val="FE8637"/>
          </a:solidFill>
        </p:grpSpPr>
        <p:sp>
          <p:nvSpPr>
            <p:cNvPr id="63" name="Freeform 293"/>
            <p:cNvSpPr/>
            <p:nvPr/>
          </p:nvSpPr>
          <p:spPr bwMode="auto">
            <a:xfrm>
              <a:off x="6055035" y="710652"/>
              <a:ext cx="191588" cy="644432"/>
            </a:xfrm>
            <a:custGeom>
              <a:avLst/>
              <a:gdLst>
                <a:gd name="T0" fmla="*/ 0 w 284"/>
                <a:gd name="T1" fmla="*/ 300 h 955"/>
                <a:gd name="T2" fmla="*/ 36 w 284"/>
                <a:gd name="T3" fmla="*/ 327 h 955"/>
                <a:gd name="T4" fmla="*/ 137 w 284"/>
                <a:gd name="T5" fmla="*/ 118 h 955"/>
                <a:gd name="T6" fmla="*/ 248 w 284"/>
                <a:gd name="T7" fmla="*/ 478 h 955"/>
                <a:gd name="T8" fmla="*/ 137 w 284"/>
                <a:gd name="T9" fmla="*/ 837 h 955"/>
                <a:gd name="T10" fmla="*/ 36 w 284"/>
                <a:gd name="T11" fmla="*/ 629 h 955"/>
                <a:gd name="T12" fmla="*/ 0 w 284"/>
                <a:gd name="T13" fmla="*/ 655 h 955"/>
                <a:gd name="T14" fmla="*/ 137 w 284"/>
                <a:gd name="T15" fmla="*/ 955 h 955"/>
                <a:gd name="T16" fmla="*/ 284 w 284"/>
                <a:gd name="T17" fmla="*/ 478 h 955"/>
                <a:gd name="T18" fmla="*/ 137 w 284"/>
                <a:gd name="T19" fmla="*/ 0 h 955"/>
                <a:gd name="T20" fmla="*/ 0 w 284"/>
                <a:gd name="T21" fmla="*/ 300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955">
                  <a:moveTo>
                    <a:pt x="0" y="300"/>
                  </a:moveTo>
                  <a:cubicBezTo>
                    <a:pt x="13" y="308"/>
                    <a:pt x="25" y="317"/>
                    <a:pt x="36" y="327"/>
                  </a:cubicBezTo>
                  <a:cubicBezTo>
                    <a:pt x="54" y="204"/>
                    <a:pt x="92" y="118"/>
                    <a:pt x="137" y="118"/>
                  </a:cubicBezTo>
                  <a:cubicBezTo>
                    <a:pt x="198" y="118"/>
                    <a:pt x="248" y="279"/>
                    <a:pt x="248" y="478"/>
                  </a:cubicBezTo>
                  <a:cubicBezTo>
                    <a:pt x="248" y="676"/>
                    <a:pt x="198" y="837"/>
                    <a:pt x="137" y="837"/>
                  </a:cubicBezTo>
                  <a:cubicBezTo>
                    <a:pt x="92" y="837"/>
                    <a:pt x="54" y="752"/>
                    <a:pt x="36" y="629"/>
                  </a:cubicBezTo>
                  <a:cubicBezTo>
                    <a:pt x="25" y="638"/>
                    <a:pt x="13" y="647"/>
                    <a:pt x="0" y="655"/>
                  </a:cubicBezTo>
                  <a:cubicBezTo>
                    <a:pt x="22" y="831"/>
                    <a:pt x="75" y="955"/>
                    <a:pt x="137" y="955"/>
                  </a:cubicBezTo>
                  <a:cubicBezTo>
                    <a:pt x="218" y="955"/>
                    <a:pt x="284" y="741"/>
                    <a:pt x="284" y="478"/>
                  </a:cubicBezTo>
                  <a:cubicBezTo>
                    <a:pt x="284" y="214"/>
                    <a:pt x="218" y="0"/>
                    <a:pt x="137" y="0"/>
                  </a:cubicBezTo>
                  <a:cubicBezTo>
                    <a:pt x="75" y="0"/>
                    <a:pt x="22" y="124"/>
                    <a:pt x="0" y="3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2400" kern="0">
                <a:solidFill>
                  <a:srgbClr val="000000"/>
                </a:solidFill>
                <a:latin typeface="楷体" panose="02010609060101010101" pitchFamily="49" charset="-122"/>
                <a:ea typeface="楷体" panose="02010609060101010101" pitchFamily="49" charset="-122"/>
              </a:endParaRPr>
            </a:p>
          </p:txBody>
        </p:sp>
        <p:sp>
          <p:nvSpPr>
            <p:cNvPr id="64" name="Freeform 294"/>
            <p:cNvSpPr/>
            <p:nvPr/>
          </p:nvSpPr>
          <p:spPr bwMode="auto">
            <a:xfrm>
              <a:off x="6097578" y="850274"/>
              <a:ext cx="106501" cy="365759"/>
            </a:xfrm>
            <a:custGeom>
              <a:avLst/>
              <a:gdLst>
                <a:gd name="T0" fmla="*/ 26 w 158"/>
                <a:gd name="T1" fmla="*/ 368 h 542"/>
                <a:gd name="T2" fmla="*/ 0 w 158"/>
                <a:gd name="T3" fmla="*/ 397 h 542"/>
                <a:gd name="T4" fmla="*/ 74 w 158"/>
                <a:gd name="T5" fmla="*/ 542 h 542"/>
                <a:gd name="T6" fmla="*/ 158 w 158"/>
                <a:gd name="T7" fmla="*/ 271 h 542"/>
                <a:gd name="T8" fmla="*/ 74 w 158"/>
                <a:gd name="T9" fmla="*/ 0 h 542"/>
                <a:gd name="T10" fmla="*/ 0 w 158"/>
                <a:gd name="T11" fmla="*/ 144 h 542"/>
                <a:gd name="T12" fmla="*/ 26 w 158"/>
                <a:gd name="T13" fmla="*/ 174 h 542"/>
                <a:gd name="T14" fmla="*/ 74 w 158"/>
                <a:gd name="T15" fmla="*/ 88 h 542"/>
                <a:gd name="T16" fmla="*/ 130 w 158"/>
                <a:gd name="T17" fmla="*/ 271 h 542"/>
                <a:gd name="T18" fmla="*/ 74 w 158"/>
                <a:gd name="T19" fmla="*/ 453 h 542"/>
                <a:gd name="T20" fmla="*/ 26 w 158"/>
                <a:gd name="T21" fmla="*/ 368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542">
                  <a:moveTo>
                    <a:pt x="26" y="368"/>
                  </a:moveTo>
                  <a:cubicBezTo>
                    <a:pt x="18" y="378"/>
                    <a:pt x="10" y="388"/>
                    <a:pt x="0" y="397"/>
                  </a:cubicBezTo>
                  <a:cubicBezTo>
                    <a:pt x="14" y="483"/>
                    <a:pt x="42" y="542"/>
                    <a:pt x="74" y="542"/>
                  </a:cubicBezTo>
                  <a:cubicBezTo>
                    <a:pt x="120" y="542"/>
                    <a:pt x="158" y="420"/>
                    <a:pt x="158" y="271"/>
                  </a:cubicBezTo>
                  <a:cubicBezTo>
                    <a:pt x="158" y="121"/>
                    <a:pt x="120" y="0"/>
                    <a:pt x="74" y="0"/>
                  </a:cubicBezTo>
                  <a:cubicBezTo>
                    <a:pt x="42" y="0"/>
                    <a:pt x="14" y="58"/>
                    <a:pt x="0" y="144"/>
                  </a:cubicBezTo>
                  <a:cubicBezTo>
                    <a:pt x="10" y="153"/>
                    <a:pt x="18" y="163"/>
                    <a:pt x="26" y="174"/>
                  </a:cubicBezTo>
                  <a:cubicBezTo>
                    <a:pt x="36" y="122"/>
                    <a:pt x="54" y="88"/>
                    <a:pt x="74" y="88"/>
                  </a:cubicBezTo>
                  <a:cubicBezTo>
                    <a:pt x="105" y="88"/>
                    <a:pt x="130" y="170"/>
                    <a:pt x="130" y="271"/>
                  </a:cubicBezTo>
                  <a:cubicBezTo>
                    <a:pt x="130" y="371"/>
                    <a:pt x="105" y="453"/>
                    <a:pt x="74" y="453"/>
                  </a:cubicBezTo>
                  <a:cubicBezTo>
                    <a:pt x="54" y="453"/>
                    <a:pt x="36" y="419"/>
                    <a:pt x="26" y="36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2400" kern="0">
                <a:solidFill>
                  <a:srgbClr val="000000"/>
                </a:solidFill>
                <a:latin typeface="楷体" panose="02010609060101010101" pitchFamily="49" charset="-122"/>
                <a:ea typeface="楷体" panose="02010609060101010101" pitchFamily="49" charset="-122"/>
              </a:endParaRPr>
            </a:p>
          </p:txBody>
        </p:sp>
        <p:sp>
          <p:nvSpPr>
            <p:cNvPr id="65" name="Freeform 295"/>
            <p:cNvSpPr/>
            <p:nvPr/>
          </p:nvSpPr>
          <p:spPr bwMode="auto">
            <a:xfrm>
              <a:off x="6131270" y="969053"/>
              <a:ext cx="35691" cy="127630"/>
            </a:xfrm>
            <a:custGeom>
              <a:avLst/>
              <a:gdLst>
                <a:gd name="T0" fmla="*/ 24 w 53"/>
                <a:gd name="T1" fmla="*/ 0 h 189"/>
                <a:gd name="T2" fmla="*/ 0 w 53"/>
                <a:gd name="T3" fmla="*/ 39 h 189"/>
                <a:gd name="T4" fmla="*/ 12 w 53"/>
                <a:gd name="T5" fmla="*/ 95 h 189"/>
                <a:gd name="T6" fmla="*/ 0 w 53"/>
                <a:gd name="T7" fmla="*/ 150 h 189"/>
                <a:gd name="T8" fmla="*/ 24 w 53"/>
                <a:gd name="T9" fmla="*/ 189 h 189"/>
                <a:gd name="T10" fmla="*/ 53 w 53"/>
                <a:gd name="T11" fmla="*/ 95 h 189"/>
                <a:gd name="T12" fmla="*/ 24 w 53"/>
                <a:gd name="T13" fmla="*/ 0 h 189"/>
              </a:gdLst>
              <a:ahLst/>
              <a:cxnLst>
                <a:cxn ang="0">
                  <a:pos x="T0" y="T1"/>
                </a:cxn>
                <a:cxn ang="0">
                  <a:pos x="T2" y="T3"/>
                </a:cxn>
                <a:cxn ang="0">
                  <a:pos x="T4" y="T5"/>
                </a:cxn>
                <a:cxn ang="0">
                  <a:pos x="T6" y="T7"/>
                </a:cxn>
                <a:cxn ang="0">
                  <a:pos x="T8" y="T9"/>
                </a:cxn>
                <a:cxn ang="0">
                  <a:pos x="T10" y="T11"/>
                </a:cxn>
                <a:cxn ang="0">
                  <a:pos x="T12" y="T13"/>
                </a:cxn>
              </a:cxnLst>
              <a:rect l="0" t="0" r="r" b="b"/>
              <a:pathLst>
                <a:path w="53" h="189">
                  <a:moveTo>
                    <a:pt x="24" y="0"/>
                  </a:moveTo>
                  <a:cubicBezTo>
                    <a:pt x="14" y="0"/>
                    <a:pt x="6" y="16"/>
                    <a:pt x="0" y="39"/>
                  </a:cubicBezTo>
                  <a:cubicBezTo>
                    <a:pt x="8" y="57"/>
                    <a:pt x="12" y="76"/>
                    <a:pt x="12" y="95"/>
                  </a:cubicBezTo>
                  <a:cubicBezTo>
                    <a:pt x="12" y="114"/>
                    <a:pt x="8" y="132"/>
                    <a:pt x="0" y="150"/>
                  </a:cubicBezTo>
                  <a:cubicBezTo>
                    <a:pt x="6" y="174"/>
                    <a:pt x="14" y="189"/>
                    <a:pt x="24" y="189"/>
                  </a:cubicBezTo>
                  <a:cubicBezTo>
                    <a:pt x="40" y="189"/>
                    <a:pt x="53" y="146"/>
                    <a:pt x="53" y="95"/>
                  </a:cubicBezTo>
                  <a:cubicBezTo>
                    <a:pt x="53" y="43"/>
                    <a:pt x="40" y="0"/>
                    <a:pt x="2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2400" kern="0">
                <a:solidFill>
                  <a:srgbClr val="000000"/>
                </a:solidFill>
                <a:latin typeface="楷体" panose="02010609060101010101" pitchFamily="49" charset="-122"/>
                <a:ea typeface="楷体" panose="02010609060101010101" pitchFamily="49" charset="-122"/>
              </a:endParaRPr>
            </a:p>
          </p:txBody>
        </p:sp>
        <p:sp>
          <p:nvSpPr>
            <p:cNvPr id="66" name="Freeform 296"/>
            <p:cNvSpPr/>
            <p:nvPr/>
          </p:nvSpPr>
          <p:spPr bwMode="auto">
            <a:xfrm>
              <a:off x="5606473" y="944783"/>
              <a:ext cx="520228" cy="181594"/>
            </a:xfrm>
            <a:custGeom>
              <a:avLst/>
              <a:gdLst>
                <a:gd name="T0" fmla="*/ 437 w 1822"/>
                <a:gd name="T1" fmla="*/ 442 h 636"/>
                <a:gd name="T2" fmla="*/ 1366 w 1822"/>
                <a:gd name="T3" fmla="*/ 423 h 636"/>
                <a:gd name="T4" fmla="*/ 1366 w 1822"/>
                <a:gd name="T5" fmla="*/ 513 h 636"/>
                <a:gd name="T6" fmla="*/ 1822 w 1822"/>
                <a:gd name="T7" fmla="*/ 319 h 636"/>
                <a:gd name="T8" fmla="*/ 1366 w 1822"/>
                <a:gd name="T9" fmla="*/ 125 h 636"/>
                <a:gd name="T10" fmla="*/ 1366 w 1822"/>
                <a:gd name="T11" fmla="*/ 215 h 636"/>
                <a:gd name="T12" fmla="*/ 437 w 1822"/>
                <a:gd name="T13" fmla="*/ 196 h 636"/>
                <a:gd name="T14" fmla="*/ 387 w 1822"/>
                <a:gd name="T15" fmla="*/ 35 h 636"/>
                <a:gd name="T16" fmla="*/ 0 w 1822"/>
                <a:gd name="T17" fmla="*/ 0 h 636"/>
                <a:gd name="T18" fmla="*/ 85 w 1822"/>
                <a:gd name="T19" fmla="*/ 302 h 636"/>
                <a:gd name="T20" fmla="*/ 1285 w 1822"/>
                <a:gd name="T21" fmla="*/ 302 h 636"/>
                <a:gd name="T22" fmla="*/ 1285 w 1822"/>
                <a:gd name="T23" fmla="*/ 331 h 636"/>
                <a:gd name="T24" fmla="*/ 85 w 1822"/>
                <a:gd name="T25" fmla="*/ 331 h 636"/>
                <a:gd name="T26" fmla="*/ 0 w 1822"/>
                <a:gd name="T27" fmla="*/ 636 h 636"/>
                <a:gd name="T28" fmla="*/ 387 w 1822"/>
                <a:gd name="T29" fmla="*/ 600 h 636"/>
                <a:gd name="T30" fmla="*/ 437 w 1822"/>
                <a:gd name="T31" fmla="*/ 44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22" h="636">
                  <a:moveTo>
                    <a:pt x="437" y="442"/>
                  </a:moveTo>
                  <a:lnTo>
                    <a:pt x="1366" y="423"/>
                  </a:lnTo>
                  <a:lnTo>
                    <a:pt x="1366" y="513"/>
                  </a:lnTo>
                  <a:lnTo>
                    <a:pt x="1822" y="319"/>
                  </a:lnTo>
                  <a:lnTo>
                    <a:pt x="1366" y="125"/>
                  </a:lnTo>
                  <a:lnTo>
                    <a:pt x="1366" y="215"/>
                  </a:lnTo>
                  <a:lnTo>
                    <a:pt x="437" y="196"/>
                  </a:lnTo>
                  <a:lnTo>
                    <a:pt x="387" y="35"/>
                  </a:lnTo>
                  <a:lnTo>
                    <a:pt x="0" y="0"/>
                  </a:lnTo>
                  <a:lnTo>
                    <a:pt x="85" y="302"/>
                  </a:lnTo>
                  <a:lnTo>
                    <a:pt x="1285" y="302"/>
                  </a:lnTo>
                  <a:lnTo>
                    <a:pt x="1285" y="331"/>
                  </a:lnTo>
                  <a:lnTo>
                    <a:pt x="85" y="331"/>
                  </a:lnTo>
                  <a:lnTo>
                    <a:pt x="0" y="636"/>
                  </a:lnTo>
                  <a:lnTo>
                    <a:pt x="387" y="600"/>
                  </a:lnTo>
                  <a:lnTo>
                    <a:pt x="437" y="4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2400" kern="0">
                <a:solidFill>
                  <a:srgbClr val="000000"/>
                </a:solidFill>
                <a:latin typeface="楷体" panose="02010609060101010101" pitchFamily="49" charset="-122"/>
                <a:ea typeface="楷体" panose="02010609060101010101" pitchFamily="49" charset="-122"/>
              </a:endParaRPr>
            </a:p>
          </p:txBody>
        </p:sp>
        <p:sp>
          <p:nvSpPr>
            <p:cNvPr id="67" name="Freeform 297"/>
            <p:cNvSpPr/>
            <p:nvPr/>
          </p:nvSpPr>
          <p:spPr bwMode="auto">
            <a:xfrm>
              <a:off x="5828898" y="1080979"/>
              <a:ext cx="278673" cy="180167"/>
            </a:xfrm>
            <a:custGeom>
              <a:avLst/>
              <a:gdLst>
                <a:gd name="T0" fmla="*/ 301 w 976"/>
                <a:gd name="T1" fmla="*/ 442 h 631"/>
                <a:gd name="T2" fmla="*/ 766 w 976"/>
                <a:gd name="T3" fmla="*/ 166 h 631"/>
                <a:gd name="T4" fmla="*/ 783 w 976"/>
                <a:gd name="T5" fmla="*/ 194 h 631"/>
                <a:gd name="T6" fmla="*/ 976 w 976"/>
                <a:gd name="T7" fmla="*/ 0 h 631"/>
                <a:gd name="T8" fmla="*/ 712 w 976"/>
                <a:gd name="T9" fmla="*/ 74 h 631"/>
                <a:gd name="T10" fmla="*/ 728 w 976"/>
                <a:gd name="T11" fmla="*/ 99 h 631"/>
                <a:gd name="T12" fmla="*/ 256 w 976"/>
                <a:gd name="T13" fmla="*/ 367 h 631"/>
                <a:gd name="T14" fmla="*/ 201 w 976"/>
                <a:gd name="T15" fmla="*/ 331 h 631"/>
                <a:gd name="T16" fmla="*/ 0 w 976"/>
                <a:gd name="T17" fmla="*/ 433 h 631"/>
                <a:gd name="T18" fmla="*/ 97 w 976"/>
                <a:gd name="T19" fmla="*/ 501 h 631"/>
                <a:gd name="T20" fmla="*/ 702 w 976"/>
                <a:gd name="T21" fmla="*/ 151 h 631"/>
                <a:gd name="T22" fmla="*/ 709 w 976"/>
                <a:gd name="T23" fmla="*/ 161 h 631"/>
                <a:gd name="T24" fmla="*/ 102 w 976"/>
                <a:gd name="T25" fmla="*/ 511 h 631"/>
                <a:gd name="T26" fmla="*/ 114 w 976"/>
                <a:gd name="T27" fmla="*/ 631 h 631"/>
                <a:gd name="T28" fmla="*/ 303 w 976"/>
                <a:gd name="T29" fmla="*/ 506 h 631"/>
                <a:gd name="T30" fmla="*/ 301 w 976"/>
                <a:gd name="T31" fmla="*/ 442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6" h="631">
                  <a:moveTo>
                    <a:pt x="301" y="442"/>
                  </a:moveTo>
                  <a:lnTo>
                    <a:pt x="766" y="166"/>
                  </a:lnTo>
                  <a:lnTo>
                    <a:pt x="783" y="194"/>
                  </a:lnTo>
                  <a:lnTo>
                    <a:pt x="976" y="0"/>
                  </a:lnTo>
                  <a:lnTo>
                    <a:pt x="712" y="74"/>
                  </a:lnTo>
                  <a:lnTo>
                    <a:pt x="728" y="99"/>
                  </a:lnTo>
                  <a:lnTo>
                    <a:pt x="256" y="367"/>
                  </a:lnTo>
                  <a:lnTo>
                    <a:pt x="201" y="331"/>
                  </a:lnTo>
                  <a:lnTo>
                    <a:pt x="0" y="433"/>
                  </a:lnTo>
                  <a:lnTo>
                    <a:pt x="97" y="501"/>
                  </a:lnTo>
                  <a:lnTo>
                    <a:pt x="702" y="151"/>
                  </a:lnTo>
                  <a:lnTo>
                    <a:pt x="709" y="161"/>
                  </a:lnTo>
                  <a:lnTo>
                    <a:pt x="102" y="511"/>
                  </a:lnTo>
                  <a:lnTo>
                    <a:pt x="114" y="631"/>
                  </a:lnTo>
                  <a:lnTo>
                    <a:pt x="303" y="506"/>
                  </a:lnTo>
                  <a:lnTo>
                    <a:pt x="301" y="4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2400" kern="0">
                <a:solidFill>
                  <a:srgbClr val="000000"/>
                </a:solidFill>
                <a:latin typeface="楷体" panose="02010609060101010101" pitchFamily="49" charset="-122"/>
                <a:ea typeface="楷体" panose="02010609060101010101" pitchFamily="49" charset="-122"/>
              </a:endParaRPr>
            </a:p>
          </p:txBody>
        </p:sp>
        <p:sp>
          <p:nvSpPr>
            <p:cNvPr id="68" name="Freeform 298"/>
            <p:cNvSpPr/>
            <p:nvPr/>
          </p:nvSpPr>
          <p:spPr bwMode="auto">
            <a:xfrm>
              <a:off x="5825757" y="809729"/>
              <a:ext cx="278673" cy="180167"/>
            </a:xfrm>
            <a:custGeom>
              <a:avLst/>
              <a:gdLst>
                <a:gd name="T0" fmla="*/ 727 w 976"/>
                <a:gd name="T1" fmla="*/ 530 h 631"/>
                <a:gd name="T2" fmla="*/ 711 w 976"/>
                <a:gd name="T3" fmla="*/ 558 h 631"/>
                <a:gd name="T4" fmla="*/ 976 w 976"/>
                <a:gd name="T5" fmla="*/ 631 h 631"/>
                <a:gd name="T6" fmla="*/ 779 w 976"/>
                <a:gd name="T7" fmla="*/ 437 h 631"/>
                <a:gd name="T8" fmla="*/ 765 w 976"/>
                <a:gd name="T9" fmla="*/ 466 h 631"/>
                <a:gd name="T10" fmla="*/ 300 w 976"/>
                <a:gd name="T11" fmla="*/ 189 h 631"/>
                <a:gd name="T12" fmla="*/ 302 w 976"/>
                <a:gd name="T13" fmla="*/ 126 h 631"/>
                <a:gd name="T14" fmla="*/ 113 w 976"/>
                <a:gd name="T15" fmla="*/ 0 h 631"/>
                <a:gd name="T16" fmla="*/ 101 w 976"/>
                <a:gd name="T17" fmla="*/ 118 h 631"/>
                <a:gd name="T18" fmla="*/ 709 w 976"/>
                <a:gd name="T19" fmla="*/ 471 h 631"/>
                <a:gd name="T20" fmla="*/ 704 w 976"/>
                <a:gd name="T21" fmla="*/ 478 h 631"/>
                <a:gd name="T22" fmla="*/ 97 w 976"/>
                <a:gd name="T23" fmla="*/ 128 h 631"/>
                <a:gd name="T24" fmla="*/ 0 w 976"/>
                <a:gd name="T25" fmla="*/ 199 h 631"/>
                <a:gd name="T26" fmla="*/ 201 w 976"/>
                <a:gd name="T27" fmla="*/ 300 h 631"/>
                <a:gd name="T28" fmla="*/ 255 w 976"/>
                <a:gd name="T29" fmla="*/ 265 h 631"/>
                <a:gd name="T30" fmla="*/ 727 w 976"/>
                <a:gd name="T31" fmla="*/ 53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6" h="631">
                  <a:moveTo>
                    <a:pt x="727" y="530"/>
                  </a:moveTo>
                  <a:lnTo>
                    <a:pt x="711" y="558"/>
                  </a:lnTo>
                  <a:lnTo>
                    <a:pt x="976" y="631"/>
                  </a:lnTo>
                  <a:lnTo>
                    <a:pt x="779" y="437"/>
                  </a:lnTo>
                  <a:lnTo>
                    <a:pt x="765" y="466"/>
                  </a:lnTo>
                  <a:lnTo>
                    <a:pt x="300" y="189"/>
                  </a:lnTo>
                  <a:lnTo>
                    <a:pt x="302" y="126"/>
                  </a:lnTo>
                  <a:lnTo>
                    <a:pt x="113" y="0"/>
                  </a:lnTo>
                  <a:lnTo>
                    <a:pt x="101" y="118"/>
                  </a:lnTo>
                  <a:lnTo>
                    <a:pt x="709" y="471"/>
                  </a:lnTo>
                  <a:lnTo>
                    <a:pt x="704" y="478"/>
                  </a:lnTo>
                  <a:lnTo>
                    <a:pt x="97" y="128"/>
                  </a:lnTo>
                  <a:lnTo>
                    <a:pt x="0" y="199"/>
                  </a:lnTo>
                  <a:lnTo>
                    <a:pt x="201" y="300"/>
                  </a:lnTo>
                  <a:lnTo>
                    <a:pt x="255" y="265"/>
                  </a:lnTo>
                  <a:lnTo>
                    <a:pt x="727" y="5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2400" kern="0">
                <a:solidFill>
                  <a:srgbClr val="000000"/>
                </a:solidFill>
                <a:latin typeface="楷体" panose="02010609060101010101" pitchFamily="49" charset="-122"/>
                <a:ea typeface="楷体" panose="02010609060101010101" pitchFamily="49" charset="-122"/>
              </a:endParaRPr>
            </a:p>
          </p:txBody>
        </p:sp>
      </p:grpSp>
      <p:grpSp>
        <p:nvGrpSpPr>
          <p:cNvPr id="69" name="组合 68"/>
          <p:cNvGrpSpPr/>
          <p:nvPr/>
        </p:nvGrpSpPr>
        <p:grpSpPr>
          <a:xfrm>
            <a:off x="1069423" y="2949241"/>
            <a:ext cx="612857" cy="560353"/>
            <a:chOff x="8292602" y="3499839"/>
            <a:chExt cx="671511" cy="656364"/>
          </a:xfrm>
          <a:solidFill>
            <a:srgbClr val="FE8637"/>
          </a:solidFill>
        </p:grpSpPr>
        <p:sp>
          <p:nvSpPr>
            <p:cNvPr id="70" name="Freeform 532"/>
            <p:cNvSpPr/>
            <p:nvPr/>
          </p:nvSpPr>
          <p:spPr bwMode="auto">
            <a:xfrm>
              <a:off x="8749172" y="3963621"/>
              <a:ext cx="214941" cy="192582"/>
            </a:xfrm>
            <a:custGeom>
              <a:avLst/>
              <a:gdLst>
                <a:gd name="T0" fmla="*/ 81 w 126"/>
                <a:gd name="T1" fmla="*/ 0 h 113"/>
                <a:gd name="T2" fmla="*/ 63 w 126"/>
                <a:gd name="T3" fmla="*/ 7 h 113"/>
                <a:gd name="T4" fmla="*/ 77 w 126"/>
                <a:gd name="T5" fmla="*/ 61 h 113"/>
                <a:gd name="T6" fmla="*/ 63 w 126"/>
                <a:gd name="T7" fmla="*/ 83 h 113"/>
                <a:gd name="T8" fmla="*/ 48 w 126"/>
                <a:gd name="T9" fmla="*/ 61 h 113"/>
                <a:gd name="T10" fmla="*/ 63 w 126"/>
                <a:gd name="T11" fmla="*/ 7 h 113"/>
                <a:gd name="T12" fmla="*/ 44 w 126"/>
                <a:gd name="T13" fmla="*/ 0 h 113"/>
                <a:gd name="T14" fmla="*/ 0 w 126"/>
                <a:gd name="T15" fmla="*/ 44 h 113"/>
                <a:gd name="T16" fmla="*/ 0 w 126"/>
                <a:gd name="T17" fmla="*/ 92 h 113"/>
                <a:gd name="T18" fmla="*/ 57 w 126"/>
                <a:gd name="T19" fmla="*/ 113 h 113"/>
                <a:gd name="T20" fmla="*/ 68 w 126"/>
                <a:gd name="T21" fmla="*/ 113 h 113"/>
                <a:gd name="T22" fmla="*/ 126 w 126"/>
                <a:gd name="T23" fmla="*/ 92 h 113"/>
                <a:gd name="T24" fmla="*/ 126 w 126"/>
                <a:gd name="T25" fmla="*/ 44 h 113"/>
                <a:gd name="T26" fmla="*/ 81 w 126"/>
                <a:gd name="T2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113">
                  <a:moveTo>
                    <a:pt x="81" y="0"/>
                  </a:moveTo>
                  <a:cubicBezTo>
                    <a:pt x="63" y="7"/>
                    <a:pt x="63" y="7"/>
                    <a:pt x="63" y="7"/>
                  </a:cubicBezTo>
                  <a:cubicBezTo>
                    <a:pt x="77" y="61"/>
                    <a:pt x="77" y="61"/>
                    <a:pt x="77" y="61"/>
                  </a:cubicBezTo>
                  <a:cubicBezTo>
                    <a:pt x="63" y="83"/>
                    <a:pt x="63" y="83"/>
                    <a:pt x="63" y="83"/>
                  </a:cubicBezTo>
                  <a:cubicBezTo>
                    <a:pt x="48" y="61"/>
                    <a:pt x="48" y="61"/>
                    <a:pt x="48" y="61"/>
                  </a:cubicBezTo>
                  <a:cubicBezTo>
                    <a:pt x="63" y="7"/>
                    <a:pt x="63" y="7"/>
                    <a:pt x="63" y="7"/>
                  </a:cubicBezTo>
                  <a:cubicBezTo>
                    <a:pt x="44" y="0"/>
                    <a:pt x="44" y="0"/>
                    <a:pt x="44" y="0"/>
                  </a:cubicBezTo>
                  <a:cubicBezTo>
                    <a:pt x="27" y="4"/>
                    <a:pt x="0" y="16"/>
                    <a:pt x="0" y="44"/>
                  </a:cubicBezTo>
                  <a:cubicBezTo>
                    <a:pt x="0" y="84"/>
                    <a:pt x="0" y="92"/>
                    <a:pt x="0" y="92"/>
                  </a:cubicBezTo>
                  <a:cubicBezTo>
                    <a:pt x="0" y="92"/>
                    <a:pt x="1" y="113"/>
                    <a:pt x="57" y="113"/>
                  </a:cubicBezTo>
                  <a:cubicBezTo>
                    <a:pt x="68" y="113"/>
                    <a:pt x="68" y="113"/>
                    <a:pt x="68" y="113"/>
                  </a:cubicBezTo>
                  <a:cubicBezTo>
                    <a:pt x="124" y="113"/>
                    <a:pt x="126" y="92"/>
                    <a:pt x="126" y="92"/>
                  </a:cubicBezTo>
                  <a:cubicBezTo>
                    <a:pt x="126" y="92"/>
                    <a:pt x="126" y="84"/>
                    <a:pt x="126" y="44"/>
                  </a:cubicBezTo>
                  <a:cubicBezTo>
                    <a:pt x="126" y="16"/>
                    <a:pt x="98" y="4"/>
                    <a:pt x="81" y="0"/>
                  </a:cubicBez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71" name="Oval 533"/>
            <p:cNvSpPr>
              <a:spLocks noChangeArrowheads="1"/>
            </p:cNvSpPr>
            <p:nvPr/>
          </p:nvSpPr>
          <p:spPr bwMode="auto">
            <a:xfrm>
              <a:off x="8802547" y="3827300"/>
              <a:ext cx="107471" cy="126224"/>
            </a:xfrm>
            <a:prstGeom prst="ellipse">
              <a:avLst/>
            </a:pr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72" name="Freeform 534"/>
            <p:cNvSpPr/>
            <p:nvPr/>
          </p:nvSpPr>
          <p:spPr bwMode="auto">
            <a:xfrm>
              <a:off x="8519084" y="3634718"/>
              <a:ext cx="214941" cy="192582"/>
            </a:xfrm>
            <a:custGeom>
              <a:avLst/>
              <a:gdLst>
                <a:gd name="T0" fmla="*/ 82 w 126"/>
                <a:gd name="T1" fmla="*/ 0 h 113"/>
                <a:gd name="T2" fmla="*/ 63 w 126"/>
                <a:gd name="T3" fmla="*/ 7 h 113"/>
                <a:gd name="T4" fmla="*/ 78 w 126"/>
                <a:gd name="T5" fmla="*/ 62 h 113"/>
                <a:gd name="T6" fmla="*/ 63 w 126"/>
                <a:gd name="T7" fmla="*/ 83 h 113"/>
                <a:gd name="T8" fmla="*/ 48 w 126"/>
                <a:gd name="T9" fmla="*/ 62 h 113"/>
                <a:gd name="T10" fmla="*/ 63 w 126"/>
                <a:gd name="T11" fmla="*/ 7 h 113"/>
                <a:gd name="T12" fmla="*/ 44 w 126"/>
                <a:gd name="T13" fmla="*/ 0 h 113"/>
                <a:gd name="T14" fmla="*/ 0 w 126"/>
                <a:gd name="T15" fmla="*/ 44 h 113"/>
                <a:gd name="T16" fmla="*/ 0 w 126"/>
                <a:gd name="T17" fmla="*/ 92 h 113"/>
                <a:gd name="T18" fmla="*/ 57 w 126"/>
                <a:gd name="T19" fmla="*/ 113 h 113"/>
                <a:gd name="T20" fmla="*/ 69 w 126"/>
                <a:gd name="T21" fmla="*/ 113 h 113"/>
                <a:gd name="T22" fmla="*/ 126 w 126"/>
                <a:gd name="T23" fmla="*/ 92 h 113"/>
                <a:gd name="T24" fmla="*/ 126 w 126"/>
                <a:gd name="T25" fmla="*/ 44 h 113"/>
                <a:gd name="T26" fmla="*/ 82 w 126"/>
                <a:gd name="T2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113">
                  <a:moveTo>
                    <a:pt x="82" y="0"/>
                  </a:moveTo>
                  <a:cubicBezTo>
                    <a:pt x="63" y="7"/>
                    <a:pt x="63" y="7"/>
                    <a:pt x="63" y="7"/>
                  </a:cubicBezTo>
                  <a:cubicBezTo>
                    <a:pt x="78" y="62"/>
                    <a:pt x="78" y="62"/>
                    <a:pt x="78" y="62"/>
                  </a:cubicBezTo>
                  <a:cubicBezTo>
                    <a:pt x="63" y="83"/>
                    <a:pt x="63" y="83"/>
                    <a:pt x="63" y="83"/>
                  </a:cubicBezTo>
                  <a:cubicBezTo>
                    <a:pt x="48" y="62"/>
                    <a:pt x="48" y="62"/>
                    <a:pt x="48" y="62"/>
                  </a:cubicBezTo>
                  <a:cubicBezTo>
                    <a:pt x="63" y="7"/>
                    <a:pt x="63" y="7"/>
                    <a:pt x="63" y="7"/>
                  </a:cubicBezTo>
                  <a:cubicBezTo>
                    <a:pt x="44" y="0"/>
                    <a:pt x="44" y="0"/>
                    <a:pt x="44" y="0"/>
                  </a:cubicBezTo>
                  <a:cubicBezTo>
                    <a:pt x="27" y="5"/>
                    <a:pt x="0" y="16"/>
                    <a:pt x="0" y="44"/>
                  </a:cubicBezTo>
                  <a:cubicBezTo>
                    <a:pt x="0" y="85"/>
                    <a:pt x="0" y="92"/>
                    <a:pt x="0" y="92"/>
                  </a:cubicBezTo>
                  <a:cubicBezTo>
                    <a:pt x="0" y="92"/>
                    <a:pt x="2" y="113"/>
                    <a:pt x="57" y="113"/>
                  </a:cubicBezTo>
                  <a:cubicBezTo>
                    <a:pt x="69" y="113"/>
                    <a:pt x="69" y="113"/>
                    <a:pt x="69" y="113"/>
                  </a:cubicBezTo>
                  <a:cubicBezTo>
                    <a:pt x="124" y="113"/>
                    <a:pt x="126" y="92"/>
                    <a:pt x="126" y="92"/>
                  </a:cubicBezTo>
                  <a:cubicBezTo>
                    <a:pt x="126" y="92"/>
                    <a:pt x="126" y="85"/>
                    <a:pt x="126" y="44"/>
                  </a:cubicBezTo>
                  <a:cubicBezTo>
                    <a:pt x="126" y="16"/>
                    <a:pt x="99" y="5"/>
                    <a:pt x="82" y="0"/>
                  </a:cubicBez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73" name="Oval 535"/>
            <p:cNvSpPr>
              <a:spLocks noChangeArrowheads="1"/>
            </p:cNvSpPr>
            <p:nvPr/>
          </p:nvSpPr>
          <p:spPr bwMode="auto">
            <a:xfrm>
              <a:off x="8572458" y="3499839"/>
              <a:ext cx="108913" cy="126224"/>
            </a:xfrm>
            <a:prstGeom prst="ellipse">
              <a:avLst/>
            </a:pr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74" name="Freeform 536"/>
            <p:cNvSpPr/>
            <p:nvPr/>
          </p:nvSpPr>
          <p:spPr bwMode="auto">
            <a:xfrm>
              <a:off x="8526297" y="3847496"/>
              <a:ext cx="207728" cy="172386"/>
            </a:xfrm>
            <a:custGeom>
              <a:avLst/>
              <a:gdLst>
                <a:gd name="T0" fmla="*/ 160 w 288"/>
                <a:gd name="T1" fmla="*/ 0 h 239"/>
                <a:gd name="T2" fmla="*/ 139 w 288"/>
                <a:gd name="T3" fmla="*/ 0 h 239"/>
                <a:gd name="T4" fmla="*/ 127 w 288"/>
                <a:gd name="T5" fmla="*/ 0 h 239"/>
                <a:gd name="T6" fmla="*/ 127 w 288"/>
                <a:gd name="T7" fmla="*/ 133 h 239"/>
                <a:gd name="T8" fmla="*/ 0 w 288"/>
                <a:gd name="T9" fmla="*/ 211 h 239"/>
                <a:gd name="T10" fmla="*/ 0 w 288"/>
                <a:gd name="T11" fmla="*/ 239 h 239"/>
                <a:gd name="T12" fmla="*/ 144 w 288"/>
                <a:gd name="T13" fmla="*/ 161 h 239"/>
                <a:gd name="T14" fmla="*/ 288 w 288"/>
                <a:gd name="T15" fmla="*/ 239 h 239"/>
                <a:gd name="T16" fmla="*/ 288 w 288"/>
                <a:gd name="T17" fmla="*/ 211 h 239"/>
                <a:gd name="T18" fmla="*/ 160 w 288"/>
                <a:gd name="T19" fmla="*/ 133 h 239"/>
                <a:gd name="T20" fmla="*/ 160 w 288"/>
                <a:gd name="T2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8" h="239">
                  <a:moveTo>
                    <a:pt x="160" y="0"/>
                  </a:moveTo>
                  <a:lnTo>
                    <a:pt x="139" y="0"/>
                  </a:lnTo>
                  <a:lnTo>
                    <a:pt x="127" y="0"/>
                  </a:lnTo>
                  <a:lnTo>
                    <a:pt x="127" y="133"/>
                  </a:lnTo>
                  <a:lnTo>
                    <a:pt x="0" y="211"/>
                  </a:lnTo>
                  <a:lnTo>
                    <a:pt x="0" y="239"/>
                  </a:lnTo>
                  <a:lnTo>
                    <a:pt x="144" y="161"/>
                  </a:lnTo>
                  <a:lnTo>
                    <a:pt x="288" y="239"/>
                  </a:lnTo>
                  <a:lnTo>
                    <a:pt x="288" y="211"/>
                  </a:lnTo>
                  <a:lnTo>
                    <a:pt x="160" y="133"/>
                  </a:lnTo>
                  <a:lnTo>
                    <a:pt x="160" y="0"/>
                  </a:ln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75" name="Freeform 537"/>
            <p:cNvSpPr/>
            <p:nvPr/>
          </p:nvSpPr>
          <p:spPr bwMode="auto">
            <a:xfrm>
              <a:off x="8292602" y="3963621"/>
              <a:ext cx="214941" cy="192582"/>
            </a:xfrm>
            <a:custGeom>
              <a:avLst/>
              <a:gdLst>
                <a:gd name="T0" fmla="*/ 81 w 126"/>
                <a:gd name="T1" fmla="*/ 0 h 113"/>
                <a:gd name="T2" fmla="*/ 63 w 126"/>
                <a:gd name="T3" fmla="*/ 7 h 113"/>
                <a:gd name="T4" fmla="*/ 77 w 126"/>
                <a:gd name="T5" fmla="*/ 61 h 113"/>
                <a:gd name="T6" fmla="*/ 63 w 126"/>
                <a:gd name="T7" fmla="*/ 83 h 113"/>
                <a:gd name="T8" fmla="*/ 48 w 126"/>
                <a:gd name="T9" fmla="*/ 61 h 113"/>
                <a:gd name="T10" fmla="*/ 63 w 126"/>
                <a:gd name="T11" fmla="*/ 7 h 113"/>
                <a:gd name="T12" fmla="*/ 44 w 126"/>
                <a:gd name="T13" fmla="*/ 0 h 113"/>
                <a:gd name="T14" fmla="*/ 0 w 126"/>
                <a:gd name="T15" fmla="*/ 44 h 113"/>
                <a:gd name="T16" fmla="*/ 0 w 126"/>
                <a:gd name="T17" fmla="*/ 92 h 113"/>
                <a:gd name="T18" fmla="*/ 57 w 126"/>
                <a:gd name="T19" fmla="*/ 113 h 113"/>
                <a:gd name="T20" fmla="*/ 68 w 126"/>
                <a:gd name="T21" fmla="*/ 113 h 113"/>
                <a:gd name="T22" fmla="*/ 126 w 126"/>
                <a:gd name="T23" fmla="*/ 92 h 113"/>
                <a:gd name="T24" fmla="*/ 126 w 126"/>
                <a:gd name="T25" fmla="*/ 44 h 113"/>
                <a:gd name="T26" fmla="*/ 81 w 126"/>
                <a:gd name="T2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113">
                  <a:moveTo>
                    <a:pt x="81" y="0"/>
                  </a:moveTo>
                  <a:cubicBezTo>
                    <a:pt x="63" y="7"/>
                    <a:pt x="63" y="7"/>
                    <a:pt x="63" y="7"/>
                  </a:cubicBezTo>
                  <a:cubicBezTo>
                    <a:pt x="77" y="61"/>
                    <a:pt x="77" y="61"/>
                    <a:pt x="77" y="61"/>
                  </a:cubicBezTo>
                  <a:cubicBezTo>
                    <a:pt x="63" y="83"/>
                    <a:pt x="63" y="83"/>
                    <a:pt x="63" y="83"/>
                  </a:cubicBezTo>
                  <a:cubicBezTo>
                    <a:pt x="48" y="61"/>
                    <a:pt x="48" y="61"/>
                    <a:pt x="48" y="61"/>
                  </a:cubicBezTo>
                  <a:cubicBezTo>
                    <a:pt x="63" y="7"/>
                    <a:pt x="63" y="7"/>
                    <a:pt x="63" y="7"/>
                  </a:cubicBezTo>
                  <a:cubicBezTo>
                    <a:pt x="44" y="0"/>
                    <a:pt x="44" y="0"/>
                    <a:pt x="44" y="0"/>
                  </a:cubicBezTo>
                  <a:cubicBezTo>
                    <a:pt x="27" y="4"/>
                    <a:pt x="0" y="16"/>
                    <a:pt x="0" y="44"/>
                  </a:cubicBezTo>
                  <a:cubicBezTo>
                    <a:pt x="0" y="84"/>
                    <a:pt x="0" y="92"/>
                    <a:pt x="0" y="92"/>
                  </a:cubicBezTo>
                  <a:cubicBezTo>
                    <a:pt x="0" y="92"/>
                    <a:pt x="1" y="113"/>
                    <a:pt x="57" y="113"/>
                  </a:cubicBezTo>
                  <a:cubicBezTo>
                    <a:pt x="68" y="113"/>
                    <a:pt x="68" y="113"/>
                    <a:pt x="68" y="113"/>
                  </a:cubicBezTo>
                  <a:cubicBezTo>
                    <a:pt x="124" y="113"/>
                    <a:pt x="126" y="92"/>
                    <a:pt x="126" y="92"/>
                  </a:cubicBezTo>
                  <a:cubicBezTo>
                    <a:pt x="126" y="92"/>
                    <a:pt x="126" y="84"/>
                    <a:pt x="126" y="44"/>
                  </a:cubicBezTo>
                  <a:cubicBezTo>
                    <a:pt x="126" y="16"/>
                    <a:pt x="98" y="4"/>
                    <a:pt x="81" y="0"/>
                  </a:cubicBezTo>
                  <a:close/>
                </a:path>
              </a:pathLst>
            </a:cu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sp>
          <p:nvSpPr>
            <p:cNvPr id="76" name="Oval 538"/>
            <p:cNvSpPr>
              <a:spLocks noChangeArrowheads="1"/>
            </p:cNvSpPr>
            <p:nvPr/>
          </p:nvSpPr>
          <p:spPr bwMode="auto">
            <a:xfrm>
              <a:off x="8345256" y="3827300"/>
              <a:ext cx="107471" cy="126224"/>
            </a:xfrm>
            <a:prstGeom prst="ellipse">
              <a:avLst/>
            </a:prstGeom>
            <a:grp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2135" kern="0">
                <a:solidFill>
                  <a:schemeClr val="accent1">
                    <a:lumMod val="75000"/>
                  </a:schemeClr>
                </a:solidFill>
                <a:latin typeface="楷体" panose="02010609060101010101" pitchFamily="49" charset="-122"/>
                <a:ea typeface="楷体" panose="02010609060101010101" pitchFamily="49" charset="-122"/>
              </a:endParaRPr>
            </a:p>
          </p:txBody>
        </p:sp>
      </p:grpSp>
      <p:sp>
        <p:nvSpPr>
          <p:cNvPr id="77" name="矩形 76"/>
          <p:cNvSpPr/>
          <p:nvPr/>
        </p:nvSpPr>
        <p:spPr>
          <a:xfrm>
            <a:off x="1767225" y="2783141"/>
            <a:ext cx="3608339" cy="892552"/>
          </a:xfrm>
          <a:prstGeom prst="rect">
            <a:avLst/>
          </a:prstGeom>
        </p:spPr>
        <p:txBody>
          <a:bodyPr wrap="square">
            <a:spAutoFit/>
          </a:bodyPr>
          <a:lstStyle/>
          <a:p>
            <a:r>
              <a:rPr lang="zh-CN" altLang="en-US" sz="2400" b="1" dirty="0" smtClean="0">
                <a:latin typeface="楷体" panose="02010609060101010101" pitchFamily="49" charset="-122"/>
                <a:ea typeface="楷体" panose="02010609060101010101" pitchFamily="49" charset="-122"/>
              </a:rPr>
              <a:t>③</a:t>
            </a:r>
            <a:r>
              <a:rPr lang="zh-CN" altLang="en-US" sz="2000" b="1" dirty="0">
                <a:latin typeface="楷体" panose="02010609060101010101" pitchFamily="49" charset="-122"/>
                <a:ea typeface="楷体" panose="02010609060101010101" pitchFamily="49" charset="-122"/>
              </a:rPr>
              <a:t>团队</a:t>
            </a:r>
            <a:r>
              <a:rPr lang="zh-CN" altLang="en-US" sz="2000" b="1" dirty="0" smtClean="0">
                <a:latin typeface="楷体" panose="02010609060101010101" pitchFamily="49" charset="-122"/>
                <a:ea typeface="楷体" panose="02010609060101010101" pitchFamily="49" charset="-122"/>
              </a:rPr>
              <a:t>协作</a:t>
            </a:r>
            <a:r>
              <a:rPr lang="zh-CN" altLang="en-US" sz="2000" b="1" dirty="0">
                <a:latin typeface="楷体" panose="02010609060101010101" pitchFamily="49" charset="-122"/>
                <a:ea typeface="楷体" panose="02010609060101010101" pitchFamily="49" charset="-122"/>
              </a:rPr>
              <a:t>困难</a:t>
            </a:r>
            <a:endParaRPr lang="en-US" altLang="zh-CN" sz="2000" b="1" dirty="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smtClean="0">
                <a:latin typeface="楷体" panose="02010609060101010101" pitchFamily="49" charset="-122"/>
                <a:ea typeface="楷体" panose="02010609060101010101" pitchFamily="49" charset="-122"/>
              </a:rPr>
              <a:t>XX</a:t>
            </a:r>
            <a:endParaRPr lang="en-US" altLang="zh-CN" sz="1400" dirty="0" smtClean="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a:latin typeface="楷体" panose="02010609060101010101" pitchFamily="49" charset="-122"/>
                <a:ea typeface="楷体" panose="02010609060101010101" pitchFamily="49" charset="-122"/>
              </a:rPr>
              <a:t>XX</a:t>
            </a:r>
            <a:endParaRPr lang="en-US" altLang="zh-CN" sz="1400" dirty="0">
              <a:latin typeface="楷体" panose="02010609060101010101" pitchFamily="49" charset="-122"/>
              <a:ea typeface="楷体" panose="02010609060101010101" pitchFamily="49" charset="-122"/>
            </a:endParaRPr>
          </a:p>
        </p:txBody>
      </p:sp>
      <p:pic>
        <p:nvPicPr>
          <p:cNvPr id="78" name="图片 7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69423" y="5595196"/>
            <a:ext cx="605011" cy="559205"/>
          </a:xfrm>
          <a:prstGeom prst="rect">
            <a:avLst/>
          </a:prstGeom>
        </p:spPr>
      </p:pic>
      <p:sp>
        <p:nvSpPr>
          <p:cNvPr id="79" name="矩形 78"/>
          <p:cNvSpPr/>
          <p:nvPr/>
        </p:nvSpPr>
        <p:spPr>
          <a:xfrm>
            <a:off x="1767225" y="5459300"/>
            <a:ext cx="3608339" cy="830997"/>
          </a:xfrm>
          <a:prstGeom prst="rect">
            <a:avLst/>
          </a:prstGeom>
        </p:spPr>
        <p:txBody>
          <a:bodyPr wrap="square">
            <a:spAutoFit/>
          </a:bodyPr>
          <a:lstStyle/>
          <a:p>
            <a:r>
              <a:rPr lang="zh-CN" altLang="en-US" sz="2000" b="1" dirty="0">
                <a:latin typeface="楷体" panose="02010609060101010101" pitchFamily="49" charset="-122"/>
                <a:ea typeface="楷体" panose="02010609060101010101" pitchFamily="49" charset="-122"/>
              </a:rPr>
              <a:t>⑦</a:t>
            </a:r>
            <a:r>
              <a:rPr lang="zh-CN" altLang="en-US" sz="2000" b="1" dirty="0" smtClean="0">
                <a:latin typeface="楷体" panose="02010609060101010101" pitchFamily="49" charset="-122"/>
                <a:ea typeface="楷体" panose="02010609060101010101" pitchFamily="49" charset="-122"/>
                <a:cs typeface="+mn-ea"/>
                <a:sym typeface="+mn-lt"/>
              </a:rPr>
              <a:t>收入与成本测算</a:t>
            </a:r>
            <a:r>
              <a:rPr lang="zh-CN" altLang="en-US" sz="2000" b="1" dirty="0">
                <a:latin typeface="楷体" panose="02010609060101010101" pitchFamily="49" charset="-122"/>
                <a:ea typeface="楷体" panose="02010609060101010101" pitchFamily="49" charset="-122"/>
                <a:cs typeface="+mn-ea"/>
                <a:sym typeface="+mn-lt"/>
              </a:rPr>
              <a:t>不</a:t>
            </a:r>
            <a:r>
              <a:rPr lang="zh-CN" altLang="en-US" sz="2000" b="1" dirty="0" smtClean="0">
                <a:latin typeface="楷体" panose="02010609060101010101" pitchFamily="49" charset="-122"/>
                <a:ea typeface="楷体" panose="02010609060101010101" pitchFamily="49" charset="-122"/>
                <a:cs typeface="+mn-ea"/>
                <a:sym typeface="+mn-lt"/>
              </a:rPr>
              <a:t>准确</a:t>
            </a:r>
            <a:endParaRPr lang="en-US" altLang="zh-CN" sz="2000" b="1" dirty="0" smtClean="0">
              <a:latin typeface="楷体" panose="02010609060101010101" pitchFamily="49" charset="-122"/>
              <a:ea typeface="楷体" panose="02010609060101010101" pitchFamily="49" charset="-122"/>
              <a:cs typeface="+mn-ea"/>
              <a:sym typeface="+mn-lt"/>
            </a:endParaRPr>
          </a:p>
          <a:p>
            <a:pPr marL="381000" indent="-381000">
              <a:buFont typeface="Wingdings" panose="05000000000000000000" pitchFamily="2" charset="2"/>
              <a:buChar char="Ø"/>
            </a:pPr>
            <a:r>
              <a:rPr lang="en-US" altLang="zh-CN" sz="1400" dirty="0" smtClean="0">
                <a:latin typeface="楷体" panose="02010609060101010101" pitchFamily="49" charset="-122"/>
                <a:ea typeface="楷体" panose="02010609060101010101" pitchFamily="49" charset="-122"/>
                <a:cs typeface="+mn-ea"/>
                <a:sym typeface="+mn-lt"/>
              </a:rPr>
              <a:t>XX</a:t>
            </a:r>
            <a:endParaRPr lang="en-US" altLang="zh-CN" sz="1400" dirty="0" smtClean="0">
              <a:latin typeface="楷体" panose="02010609060101010101" pitchFamily="49" charset="-122"/>
              <a:ea typeface="楷体" panose="02010609060101010101" pitchFamily="49" charset="-122"/>
              <a:cs typeface="+mn-ea"/>
              <a:sym typeface="+mn-lt"/>
            </a:endParaRPr>
          </a:p>
          <a:p>
            <a:pPr marL="381000" indent="-381000">
              <a:buFont typeface="Wingdings" panose="05000000000000000000" pitchFamily="2" charset="2"/>
              <a:buChar char="Ø"/>
            </a:pPr>
            <a:r>
              <a:rPr lang="en-US" altLang="zh-CN" sz="1400" dirty="0">
                <a:latin typeface="楷体" panose="02010609060101010101" pitchFamily="49" charset="-122"/>
                <a:ea typeface="楷体" panose="02010609060101010101" pitchFamily="49" charset="-122"/>
                <a:cs typeface="+mn-ea"/>
                <a:sym typeface="+mn-lt"/>
              </a:rPr>
              <a:t>XX</a:t>
            </a:r>
            <a:endParaRPr lang="en-US" altLang="zh-CN" sz="1400" dirty="0" smtClean="0">
              <a:latin typeface="楷体" panose="02010609060101010101" pitchFamily="49" charset="-122"/>
              <a:ea typeface="楷体" panose="02010609060101010101" pitchFamily="49" charset="-122"/>
              <a:cs typeface="+mn-ea"/>
              <a:sym typeface="+mn-lt"/>
            </a:endParaRPr>
          </a:p>
        </p:txBody>
      </p:sp>
      <p:pic>
        <p:nvPicPr>
          <p:cNvPr id="80" name="图片 7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10314" y="2961460"/>
            <a:ext cx="613320" cy="535915"/>
          </a:xfrm>
          <a:prstGeom prst="rect">
            <a:avLst/>
          </a:prstGeom>
        </p:spPr>
      </p:pic>
      <p:sp>
        <p:nvSpPr>
          <p:cNvPr id="81" name="矩形 80"/>
          <p:cNvSpPr/>
          <p:nvPr/>
        </p:nvSpPr>
        <p:spPr>
          <a:xfrm>
            <a:off x="7054113" y="2783141"/>
            <a:ext cx="4075704" cy="892552"/>
          </a:xfrm>
          <a:prstGeom prst="rect">
            <a:avLst/>
          </a:prstGeom>
        </p:spPr>
        <p:txBody>
          <a:bodyPr wrap="square">
            <a:spAutoFit/>
          </a:bodyPr>
          <a:lstStyle/>
          <a:p>
            <a:r>
              <a:rPr lang="zh-CN" altLang="en-US" sz="2400" b="1" dirty="0" smtClean="0">
                <a:latin typeface="楷体" panose="02010609060101010101" pitchFamily="49" charset="-122"/>
                <a:ea typeface="楷体" panose="02010609060101010101" pitchFamily="49" charset="-122"/>
              </a:rPr>
              <a:t>④管理口径不一</a:t>
            </a:r>
            <a:endParaRPr lang="en-US" altLang="zh-CN" sz="2400" b="1" dirty="0" smtClean="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smtClean="0">
                <a:latin typeface="楷体" panose="02010609060101010101" pitchFamily="49" charset="-122"/>
                <a:ea typeface="楷体" panose="02010609060101010101" pitchFamily="49" charset="-122"/>
              </a:rPr>
              <a:t>XX</a:t>
            </a:r>
            <a:endParaRPr lang="en-US" altLang="zh-CN" sz="1400" dirty="0" smtClean="0">
              <a:latin typeface="楷体" panose="02010609060101010101" pitchFamily="49" charset="-122"/>
              <a:ea typeface="楷体" panose="02010609060101010101" pitchFamily="49" charset="-122"/>
            </a:endParaRPr>
          </a:p>
          <a:p>
            <a:pPr marL="381000" indent="-381000">
              <a:buFont typeface="Wingdings" panose="05000000000000000000" pitchFamily="2" charset="2"/>
              <a:buChar char="Ø"/>
            </a:pPr>
            <a:r>
              <a:rPr lang="en-US" altLang="zh-CN" sz="1400" dirty="0">
                <a:latin typeface="楷体" panose="02010609060101010101" pitchFamily="49" charset="-122"/>
                <a:ea typeface="楷体" panose="02010609060101010101" pitchFamily="49" charset="-122"/>
                <a:cs typeface="+mn-ea"/>
                <a:sym typeface="+mn-lt"/>
              </a:rPr>
              <a:t>XX</a:t>
            </a:r>
            <a:endParaRPr lang="en-US" altLang="zh-CN" sz="1200" dirty="0">
              <a:latin typeface="楷体" panose="02010609060101010101" pitchFamily="49" charset="-122"/>
              <a:ea typeface="楷体" panose="02010609060101010101" pitchFamily="49" charset="-122"/>
              <a:cs typeface="+mn-ea"/>
              <a:sym typeface="+mn-lt"/>
            </a:endParaRPr>
          </a:p>
        </p:txBody>
      </p:sp>
      <p:sp>
        <p:nvSpPr>
          <p:cNvPr id="82" name="文本框 81"/>
          <p:cNvSpPr txBox="1"/>
          <p:nvPr/>
        </p:nvSpPr>
        <p:spPr>
          <a:xfrm>
            <a:off x="323056" y="702298"/>
            <a:ext cx="11868944" cy="4203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r>
              <a:rPr lang="zh-CN" altLang="en-US" sz="1400" dirty="0" smtClean="0">
                <a:solidFill>
                  <a:srgbClr val="575757"/>
                </a:solidFill>
              </a:rPr>
              <a:t>当前行业现状、痛点等情况介绍，充分论证体现该项目开展的必要性</a:t>
            </a:r>
            <a:endParaRPr lang="zh-CN" altLang="en-US" sz="1400" dirty="0" smtClean="0">
              <a:solidFill>
                <a:srgbClr val="575757"/>
              </a:solidFill>
            </a:endParaRPr>
          </a:p>
        </p:txBody>
      </p:sp>
      <p:pic>
        <p:nvPicPr>
          <p:cNvPr id="83" name="图片 8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84"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t>项目背景</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3056" y="702298"/>
            <a:ext cx="11868944" cy="4203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r>
              <a:rPr lang="zh-CN" altLang="en-US" sz="1400" dirty="0" smtClean="0">
                <a:solidFill>
                  <a:srgbClr val="575757"/>
                </a:solidFill>
              </a:rPr>
              <a:t>针对行业现状与痛点，制定开展项目的目标，项目成功结项后，预计达到的成果成效</a:t>
            </a:r>
            <a:endParaRPr lang="zh-CN" altLang="en-US" sz="1400" dirty="0" smtClean="0">
              <a:solidFill>
                <a:srgbClr val="575757"/>
              </a:solidFill>
            </a:endParaRPr>
          </a:p>
        </p:txBody>
      </p:sp>
      <p:grpSp>
        <p:nvGrpSpPr>
          <p:cNvPr id="65" name="组合 64"/>
          <p:cNvGrpSpPr/>
          <p:nvPr/>
        </p:nvGrpSpPr>
        <p:grpSpPr>
          <a:xfrm>
            <a:off x="710967" y="1422298"/>
            <a:ext cx="5040000" cy="4682781"/>
            <a:chOff x="323055" y="1422298"/>
            <a:chExt cx="5708289" cy="4682781"/>
          </a:xfrm>
        </p:grpSpPr>
        <p:sp>
          <p:nvSpPr>
            <p:cNvPr id="4" name="Rectangle 62"/>
            <p:cNvSpPr>
              <a:spLocks noChangeArrowheads="1"/>
            </p:cNvSpPr>
            <p:nvPr>
              <p:custDataLst>
                <p:tags r:id="rId1"/>
              </p:custDataLst>
            </p:nvPr>
          </p:nvSpPr>
          <p:spPr bwMode="auto">
            <a:xfrm>
              <a:off x="323055" y="1422298"/>
              <a:ext cx="5708289" cy="4682781"/>
            </a:xfrm>
            <a:prstGeom prst="rect">
              <a:avLst/>
            </a:prstGeom>
            <a:noFill/>
            <a:ln w="19050">
              <a:solidFill>
                <a:schemeClr val="accent1"/>
              </a:solidFill>
              <a:miter lim="800000"/>
            </a:ln>
          </p:spPr>
          <p:txBody>
            <a:bodyPr lIns="63500" tIns="63500" rIns="63500" bIns="0">
              <a:noAutofit/>
            </a:bodyPr>
            <a:lstStyle>
              <a:lvl1pPr defTabSz="895350">
                <a:spcAft>
                  <a:spcPct val="0"/>
                </a:spcAft>
                <a:defRPr sz="2400">
                  <a:solidFill>
                    <a:schemeClr val="tx1"/>
                  </a:solidFill>
                  <a:latin typeface="Arial" panose="020B0604020202020204" pitchFamily="34" charset="0"/>
                </a:defRPr>
              </a:lvl1pPr>
              <a:lvl2pPr marL="742950" indent="-285750" defTabSz="895350">
                <a:spcAft>
                  <a:spcPct val="0"/>
                </a:spcAft>
                <a:defRPr sz="2400">
                  <a:solidFill>
                    <a:schemeClr val="tx1"/>
                  </a:solidFill>
                  <a:latin typeface="Arial" panose="020B0604020202020204" pitchFamily="34" charset="0"/>
                </a:defRPr>
              </a:lvl2pPr>
              <a:lvl3pPr marL="1143000" indent="-228600" defTabSz="895350">
                <a:spcAft>
                  <a:spcPct val="0"/>
                </a:spcAft>
                <a:defRPr sz="2400">
                  <a:solidFill>
                    <a:schemeClr val="tx1"/>
                  </a:solidFill>
                  <a:latin typeface="Arial" panose="020B0604020202020204" pitchFamily="34" charset="0"/>
                </a:defRPr>
              </a:lvl3pPr>
              <a:lvl4pPr marL="1600200" indent="-228600" defTabSz="895350">
                <a:spcAft>
                  <a:spcPct val="0"/>
                </a:spcAft>
                <a:defRPr sz="2400">
                  <a:solidFill>
                    <a:schemeClr val="tx1"/>
                  </a:solidFill>
                  <a:latin typeface="Arial" panose="020B0604020202020204" pitchFamily="34" charset="0"/>
                </a:defRPr>
              </a:lvl4pPr>
              <a:lvl5pPr marL="2057400" indent="-228600" defTabSz="895350">
                <a:spcAft>
                  <a:spcPct val="0"/>
                </a:spcAft>
                <a:defRPr sz="2400">
                  <a:solidFill>
                    <a:schemeClr val="tx1"/>
                  </a:solidFill>
                  <a:latin typeface="Arial" panose="020B0604020202020204" pitchFamily="34" charset="0"/>
                </a:defRPr>
              </a:lvl5pPr>
              <a:lvl6pPr marL="2514600" indent="-228600" defTabSz="895350" fontAlgn="base">
                <a:spcBef>
                  <a:spcPct val="0"/>
                </a:spcBef>
                <a:spcAft>
                  <a:spcPct val="0"/>
                </a:spcAft>
                <a:defRPr sz="2400">
                  <a:solidFill>
                    <a:schemeClr val="tx1"/>
                  </a:solidFill>
                  <a:latin typeface="Arial" panose="020B0604020202020204" pitchFamily="34" charset="0"/>
                </a:defRPr>
              </a:lvl6pPr>
              <a:lvl7pPr marL="2971800" indent="-228600" defTabSz="895350" fontAlgn="base">
                <a:spcBef>
                  <a:spcPct val="0"/>
                </a:spcBef>
                <a:spcAft>
                  <a:spcPct val="0"/>
                </a:spcAft>
                <a:defRPr sz="2400">
                  <a:solidFill>
                    <a:schemeClr val="tx1"/>
                  </a:solidFill>
                  <a:latin typeface="Arial" panose="020B0604020202020204" pitchFamily="34" charset="0"/>
                </a:defRPr>
              </a:lvl7pPr>
              <a:lvl8pPr marL="3429000" indent="-228600" defTabSz="895350" fontAlgn="base">
                <a:spcBef>
                  <a:spcPct val="0"/>
                </a:spcBef>
                <a:spcAft>
                  <a:spcPct val="0"/>
                </a:spcAft>
                <a:defRPr sz="2400">
                  <a:solidFill>
                    <a:schemeClr val="tx1"/>
                  </a:solidFill>
                  <a:latin typeface="Arial" panose="020B0604020202020204" pitchFamily="34" charset="0"/>
                </a:defRPr>
              </a:lvl8pPr>
              <a:lvl9pPr marL="3886200" indent="-228600" defTabSz="895350" fontAlgn="base">
                <a:spcBef>
                  <a:spcPct val="0"/>
                </a:spcBef>
                <a:spcAft>
                  <a:spcPct val="0"/>
                </a:spcAft>
                <a:defRPr sz="2400">
                  <a:solidFill>
                    <a:schemeClr val="tx1"/>
                  </a:solidFill>
                  <a:latin typeface="Arial" panose="020B0604020202020204" pitchFamily="34" charset="0"/>
                </a:defRPr>
              </a:lvl9pPr>
            </a:lstStyle>
            <a:p>
              <a:endParaRPr lang="en-US" altLang="zh-CN" sz="1400" dirty="0">
                <a:latin typeface="+mn-lt"/>
                <a:ea typeface="+mn-ea"/>
              </a:endParaRPr>
            </a:p>
          </p:txBody>
        </p:sp>
        <p:sp>
          <p:nvSpPr>
            <p:cNvPr id="5" name="Rectangle 8"/>
            <p:cNvSpPr>
              <a:spLocks noChangeArrowheads="1"/>
            </p:cNvSpPr>
            <p:nvPr/>
          </p:nvSpPr>
          <p:spPr bwMode="gray">
            <a:xfrm>
              <a:off x="323055" y="1422298"/>
              <a:ext cx="5708289" cy="563921"/>
            </a:xfrm>
            <a:prstGeom prst="rect">
              <a:avLst/>
            </a:prstGeom>
            <a:solidFill>
              <a:srgbClr val="FF6600"/>
            </a:solidFill>
            <a:ln w="9525">
              <a:noFill/>
              <a:miter lim="800000"/>
            </a:ln>
          </p:spPr>
          <p:txBody>
            <a:bodyPr wrap="square" lIns="72009" tIns="72009" rIns="72009" bIns="72009" anchor="ctr" anchorCtr="0">
              <a:noAutofit/>
            </a:bodyPr>
            <a:lstStyle>
              <a:lvl1pPr defTabSz="894080">
                <a:spcAft>
                  <a:spcPct val="0"/>
                </a:spcAft>
                <a:defRPr sz="2400">
                  <a:solidFill>
                    <a:schemeClr val="tx1"/>
                  </a:solidFill>
                  <a:latin typeface="Arial" panose="020B0604020202020204" pitchFamily="34" charset="0"/>
                </a:defRPr>
              </a:lvl1pPr>
              <a:lvl2pPr marL="742950" indent="-285750" defTabSz="894080">
                <a:spcAft>
                  <a:spcPct val="0"/>
                </a:spcAft>
                <a:defRPr sz="2400">
                  <a:solidFill>
                    <a:schemeClr val="tx1"/>
                  </a:solidFill>
                  <a:latin typeface="Arial" panose="020B0604020202020204" pitchFamily="34" charset="0"/>
                </a:defRPr>
              </a:lvl2pPr>
              <a:lvl3pPr marL="1143000" indent="-228600" defTabSz="894080">
                <a:spcAft>
                  <a:spcPct val="0"/>
                </a:spcAft>
                <a:defRPr sz="2400">
                  <a:solidFill>
                    <a:schemeClr val="tx1"/>
                  </a:solidFill>
                  <a:latin typeface="Arial" panose="020B0604020202020204" pitchFamily="34" charset="0"/>
                </a:defRPr>
              </a:lvl3pPr>
              <a:lvl4pPr marL="1600200" indent="-228600" defTabSz="894080">
                <a:spcAft>
                  <a:spcPct val="0"/>
                </a:spcAft>
                <a:defRPr sz="2400">
                  <a:solidFill>
                    <a:schemeClr val="tx1"/>
                  </a:solidFill>
                  <a:latin typeface="Arial" panose="020B0604020202020204" pitchFamily="34" charset="0"/>
                </a:defRPr>
              </a:lvl4pPr>
              <a:lvl5pPr marL="2057400" indent="-228600" defTabSz="894080">
                <a:spcAft>
                  <a:spcPct val="0"/>
                </a:spcAft>
                <a:defRPr sz="2400">
                  <a:solidFill>
                    <a:schemeClr val="tx1"/>
                  </a:solidFill>
                  <a:latin typeface="Arial" panose="020B0604020202020204" pitchFamily="34" charset="0"/>
                </a:defRPr>
              </a:lvl5pPr>
              <a:lvl6pPr marL="2514600" indent="-228600" defTabSz="894080" fontAlgn="base">
                <a:spcBef>
                  <a:spcPct val="0"/>
                </a:spcBef>
                <a:spcAft>
                  <a:spcPct val="0"/>
                </a:spcAft>
                <a:defRPr sz="2400">
                  <a:solidFill>
                    <a:schemeClr val="tx1"/>
                  </a:solidFill>
                  <a:latin typeface="Arial" panose="020B0604020202020204" pitchFamily="34" charset="0"/>
                </a:defRPr>
              </a:lvl6pPr>
              <a:lvl7pPr marL="2971800" indent="-228600" defTabSz="894080" fontAlgn="base">
                <a:spcBef>
                  <a:spcPct val="0"/>
                </a:spcBef>
                <a:spcAft>
                  <a:spcPct val="0"/>
                </a:spcAft>
                <a:defRPr sz="2400">
                  <a:solidFill>
                    <a:schemeClr val="tx1"/>
                  </a:solidFill>
                  <a:latin typeface="Arial" panose="020B0604020202020204" pitchFamily="34" charset="0"/>
                </a:defRPr>
              </a:lvl7pPr>
              <a:lvl8pPr marL="3429000" indent="-228600" defTabSz="894080" fontAlgn="base">
                <a:spcBef>
                  <a:spcPct val="0"/>
                </a:spcBef>
                <a:spcAft>
                  <a:spcPct val="0"/>
                </a:spcAft>
                <a:defRPr sz="2400">
                  <a:solidFill>
                    <a:schemeClr val="tx1"/>
                  </a:solidFill>
                  <a:latin typeface="Arial" panose="020B0604020202020204" pitchFamily="34" charset="0"/>
                </a:defRPr>
              </a:lvl8pPr>
              <a:lvl9pPr marL="3886200" indent="-228600" defTabSz="894080" fontAlgn="base">
                <a:spcBef>
                  <a:spcPct val="0"/>
                </a:spcBef>
                <a:spcAft>
                  <a:spcPct val="0"/>
                </a:spcAft>
                <a:defRPr sz="2400">
                  <a:solidFill>
                    <a:schemeClr val="tx1"/>
                  </a:solidFill>
                  <a:latin typeface="Arial" panose="020B0604020202020204" pitchFamily="34" charset="0"/>
                </a:defRPr>
              </a:lvl9pPr>
            </a:lstStyle>
            <a:p>
              <a:pPr algn="ctr">
                <a:spcBef>
                  <a:spcPct val="40000"/>
                </a:spcBef>
              </a:pPr>
              <a:r>
                <a:rPr lang="zh-CN" altLang="en-US" sz="1800" b="1" dirty="0" smtClean="0">
                  <a:solidFill>
                    <a:schemeClr val="bg1"/>
                  </a:solidFill>
                </a:rPr>
                <a:t>定量目标</a:t>
              </a:r>
              <a:endParaRPr lang="zh-CN" altLang="en-US" sz="1800" b="1" dirty="0">
                <a:solidFill>
                  <a:schemeClr val="bg1"/>
                </a:solidFill>
              </a:endParaRPr>
            </a:p>
          </p:txBody>
        </p:sp>
      </p:grpSp>
      <p:grpSp>
        <p:nvGrpSpPr>
          <p:cNvPr id="66" name="组合 65"/>
          <p:cNvGrpSpPr/>
          <p:nvPr/>
        </p:nvGrpSpPr>
        <p:grpSpPr>
          <a:xfrm>
            <a:off x="6211235" y="1422298"/>
            <a:ext cx="5040000" cy="4682781"/>
            <a:chOff x="6165055" y="1422298"/>
            <a:chExt cx="5708289" cy="4682781"/>
          </a:xfrm>
        </p:grpSpPr>
        <p:sp>
          <p:nvSpPr>
            <p:cNvPr id="6" name="Rectangle 62"/>
            <p:cNvSpPr>
              <a:spLocks noChangeArrowheads="1"/>
            </p:cNvSpPr>
            <p:nvPr>
              <p:custDataLst>
                <p:tags r:id="rId2"/>
              </p:custDataLst>
            </p:nvPr>
          </p:nvSpPr>
          <p:spPr bwMode="auto">
            <a:xfrm>
              <a:off x="6165055" y="1422298"/>
              <a:ext cx="5708289" cy="4682781"/>
            </a:xfrm>
            <a:prstGeom prst="rect">
              <a:avLst/>
            </a:prstGeom>
            <a:noFill/>
            <a:ln w="19050">
              <a:solidFill>
                <a:schemeClr val="accent1"/>
              </a:solidFill>
              <a:miter lim="800000"/>
            </a:ln>
          </p:spPr>
          <p:txBody>
            <a:bodyPr lIns="63500" tIns="63500" rIns="63500" bIns="0">
              <a:noAutofit/>
            </a:bodyPr>
            <a:lstStyle>
              <a:lvl1pPr defTabSz="895350">
                <a:spcAft>
                  <a:spcPct val="0"/>
                </a:spcAft>
                <a:defRPr sz="2400">
                  <a:solidFill>
                    <a:schemeClr val="tx1"/>
                  </a:solidFill>
                  <a:latin typeface="Arial" panose="020B0604020202020204" pitchFamily="34" charset="0"/>
                </a:defRPr>
              </a:lvl1pPr>
              <a:lvl2pPr marL="742950" indent="-285750" defTabSz="895350">
                <a:spcAft>
                  <a:spcPct val="0"/>
                </a:spcAft>
                <a:defRPr sz="2400">
                  <a:solidFill>
                    <a:schemeClr val="tx1"/>
                  </a:solidFill>
                  <a:latin typeface="Arial" panose="020B0604020202020204" pitchFamily="34" charset="0"/>
                </a:defRPr>
              </a:lvl2pPr>
              <a:lvl3pPr marL="1143000" indent="-228600" defTabSz="895350">
                <a:spcAft>
                  <a:spcPct val="0"/>
                </a:spcAft>
                <a:defRPr sz="2400">
                  <a:solidFill>
                    <a:schemeClr val="tx1"/>
                  </a:solidFill>
                  <a:latin typeface="Arial" panose="020B0604020202020204" pitchFamily="34" charset="0"/>
                </a:defRPr>
              </a:lvl3pPr>
              <a:lvl4pPr marL="1600200" indent="-228600" defTabSz="895350">
                <a:spcAft>
                  <a:spcPct val="0"/>
                </a:spcAft>
                <a:defRPr sz="2400">
                  <a:solidFill>
                    <a:schemeClr val="tx1"/>
                  </a:solidFill>
                  <a:latin typeface="Arial" panose="020B0604020202020204" pitchFamily="34" charset="0"/>
                </a:defRPr>
              </a:lvl4pPr>
              <a:lvl5pPr marL="2057400" indent="-228600" defTabSz="895350">
                <a:spcAft>
                  <a:spcPct val="0"/>
                </a:spcAft>
                <a:defRPr sz="2400">
                  <a:solidFill>
                    <a:schemeClr val="tx1"/>
                  </a:solidFill>
                  <a:latin typeface="Arial" panose="020B0604020202020204" pitchFamily="34" charset="0"/>
                </a:defRPr>
              </a:lvl5pPr>
              <a:lvl6pPr marL="2514600" indent="-228600" defTabSz="895350" fontAlgn="base">
                <a:spcBef>
                  <a:spcPct val="0"/>
                </a:spcBef>
                <a:spcAft>
                  <a:spcPct val="0"/>
                </a:spcAft>
                <a:defRPr sz="2400">
                  <a:solidFill>
                    <a:schemeClr val="tx1"/>
                  </a:solidFill>
                  <a:latin typeface="Arial" panose="020B0604020202020204" pitchFamily="34" charset="0"/>
                </a:defRPr>
              </a:lvl6pPr>
              <a:lvl7pPr marL="2971800" indent="-228600" defTabSz="895350" fontAlgn="base">
                <a:spcBef>
                  <a:spcPct val="0"/>
                </a:spcBef>
                <a:spcAft>
                  <a:spcPct val="0"/>
                </a:spcAft>
                <a:defRPr sz="2400">
                  <a:solidFill>
                    <a:schemeClr val="tx1"/>
                  </a:solidFill>
                  <a:latin typeface="Arial" panose="020B0604020202020204" pitchFamily="34" charset="0"/>
                </a:defRPr>
              </a:lvl7pPr>
              <a:lvl8pPr marL="3429000" indent="-228600" defTabSz="895350" fontAlgn="base">
                <a:spcBef>
                  <a:spcPct val="0"/>
                </a:spcBef>
                <a:spcAft>
                  <a:spcPct val="0"/>
                </a:spcAft>
                <a:defRPr sz="2400">
                  <a:solidFill>
                    <a:schemeClr val="tx1"/>
                  </a:solidFill>
                  <a:latin typeface="Arial" panose="020B0604020202020204" pitchFamily="34" charset="0"/>
                </a:defRPr>
              </a:lvl8pPr>
              <a:lvl9pPr marL="3886200" indent="-228600" defTabSz="895350" fontAlgn="base">
                <a:spcBef>
                  <a:spcPct val="0"/>
                </a:spcBef>
                <a:spcAft>
                  <a:spcPct val="0"/>
                </a:spcAft>
                <a:defRPr sz="2400">
                  <a:solidFill>
                    <a:schemeClr val="tx1"/>
                  </a:solidFill>
                  <a:latin typeface="Arial" panose="020B0604020202020204" pitchFamily="34" charset="0"/>
                </a:defRPr>
              </a:lvl9pPr>
            </a:lstStyle>
            <a:p>
              <a:endParaRPr lang="en-US" altLang="zh-CN" sz="1400" dirty="0">
                <a:latin typeface="+mn-lt"/>
                <a:ea typeface="+mn-ea"/>
              </a:endParaRPr>
            </a:p>
          </p:txBody>
        </p:sp>
        <p:sp>
          <p:nvSpPr>
            <p:cNvPr id="7" name="Rectangle 8"/>
            <p:cNvSpPr>
              <a:spLocks noChangeArrowheads="1"/>
            </p:cNvSpPr>
            <p:nvPr/>
          </p:nvSpPr>
          <p:spPr bwMode="gray">
            <a:xfrm>
              <a:off x="6165055" y="1422298"/>
              <a:ext cx="5708289" cy="563921"/>
            </a:xfrm>
            <a:prstGeom prst="rect">
              <a:avLst/>
            </a:prstGeom>
            <a:solidFill>
              <a:srgbClr val="FF6600"/>
            </a:solidFill>
            <a:ln w="9525">
              <a:noFill/>
              <a:miter lim="800000"/>
            </a:ln>
          </p:spPr>
          <p:txBody>
            <a:bodyPr wrap="square" lIns="72009" tIns="72009" rIns="72009" bIns="72009" anchor="ctr" anchorCtr="0">
              <a:noAutofit/>
            </a:bodyPr>
            <a:lstStyle>
              <a:lvl1pPr defTabSz="894080">
                <a:spcAft>
                  <a:spcPct val="0"/>
                </a:spcAft>
                <a:defRPr sz="2400">
                  <a:solidFill>
                    <a:schemeClr val="tx1"/>
                  </a:solidFill>
                  <a:latin typeface="Arial" panose="020B0604020202020204" pitchFamily="34" charset="0"/>
                </a:defRPr>
              </a:lvl1pPr>
              <a:lvl2pPr marL="742950" indent="-285750" defTabSz="894080">
                <a:spcAft>
                  <a:spcPct val="0"/>
                </a:spcAft>
                <a:defRPr sz="2400">
                  <a:solidFill>
                    <a:schemeClr val="tx1"/>
                  </a:solidFill>
                  <a:latin typeface="Arial" panose="020B0604020202020204" pitchFamily="34" charset="0"/>
                </a:defRPr>
              </a:lvl2pPr>
              <a:lvl3pPr marL="1143000" indent="-228600" defTabSz="894080">
                <a:spcAft>
                  <a:spcPct val="0"/>
                </a:spcAft>
                <a:defRPr sz="2400">
                  <a:solidFill>
                    <a:schemeClr val="tx1"/>
                  </a:solidFill>
                  <a:latin typeface="Arial" panose="020B0604020202020204" pitchFamily="34" charset="0"/>
                </a:defRPr>
              </a:lvl3pPr>
              <a:lvl4pPr marL="1600200" indent="-228600" defTabSz="894080">
                <a:spcAft>
                  <a:spcPct val="0"/>
                </a:spcAft>
                <a:defRPr sz="2400">
                  <a:solidFill>
                    <a:schemeClr val="tx1"/>
                  </a:solidFill>
                  <a:latin typeface="Arial" panose="020B0604020202020204" pitchFamily="34" charset="0"/>
                </a:defRPr>
              </a:lvl4pPr>
              <a:lvl5pPr marL="2057400" indent="-228600" defTabSz="894080">
                <a:spcAft>
                  <a:spcPct val="0"/>
                </a:spcAft>
                <a:defRPr sz="2400">
                  <a:solidFill>
                    <a:schemeClr val="tx1"/>
                  </a:solidFill>
                  <a:latin typeface="Arial" panose="020B0604020202020204" pitchFamily="34" charset="0"/>
                </a:defRPr>
              </a:lvl5pPr>
              <a:lvl6pPr marL="2514600" indent="-228600" defTabSz="894080" fontAlgn="base">
                <a:spcBef>
                  <a:spcPct val="0"/>
                </a:spcBef>
                <a:spcAft>
                  <a:spcPct val="0"/>
                </a:spcAft>
                <a:defRPr sz="2400">
                  <a:solidFill>
                    <a:schemeClr val="tx1"/>
                  </a:solidFill>
                  <a:latin typeface="Arial" panose="020B0604020202020204" pitchFamily="34" charset="0"/>
                </a:defRPr>
              </a:lvl6pPr>
              <a:lvl7pPr marL="2971800" indent="-228600" defTabSz="894080" fontAlgn="base">
                <a:spcBef>
                  <a:spcPct val="0"/>
                </a:spcBef>
                <a:spcAft>
                  <a:spcPct val="0"/>
                </a:spcAft>
                <a:defRPr sz="2400">
                  <a:solidFill>
                    <a:schemeClr val="tx1"/>
                  </a:solidFill>
                  <a:latin typeface="Arial" panose="020B0604020202020204" pitchFamily="34" charset="0"/>
                </a:defRPr>
              </a:lvl7pPr>
              <a:lvl8pPr marL="3429000" indent="-228600" defTabSz="894080" fontAlgn="base">
                <a:spcBef>
                  <a:spcPct val="0"/>
                </a:spcBef>
                <a:spcAft>
                  <a:spcPct val="0"/>
                </a:spcAft>
                <a:defRPr sz="2400">
                  <a:solidFill>
                    <a:schemeClr val="tx1"/>
                  </a:solidFill>
                  <a:latin typeface="Arial" panose="020B0604020202020204" pitchFamily="34" charset="0"/>
                </a:defRPr>
              </a:lvl8pPr>
              <a:lvl9pPr marL="3886200" indent="-228600" defTabSz="894080" fontAlgn="base">
                <a:spcBef>
                  <a:spcPct val="0"/>
                </a:spcBef>
                <a:spcAft>
                  <a:spcPct val="0"/>
                </a:spcAft>
                <a:defRPr sz="2400">
                  <a:solidFill>
                    <a:schemeClr val="tx1"/>
                  </a:solidFill>
                  <a:latin typeface="Arial" panose="020B0604020202020204" pitchFamily="34" charset="0"/>
                </a:defRPr>
              </a:lvl9pPr>
            </a:lstStyle>
            <a:p>
              <a:pPr algn="ctr">
                <a:spcBef>
                  <a:spcPct val="40000"/>
                </a:spcBef>
              </a:pPr>
              <a:r>
                <a:rPr lang="zh-CN" altLang="en-US" sz="1800" b="1" dirty="0" smtClean="0">
                  <a:solidFill>
                    <a:schemeClr val="bg1"/>
                  </a:solidFill>
                </a:rPr>
                <a:t>定性目标</a:t>
              </a:r>
              <a:endParaRPr lang="zh-CN" altLang="en-US" sz="1800" b="1" dirty="0">
                <a:solidFill>
                  <a:schemeClr val="bg1"/>
                </a:solidFill>
              </a:endParaRPr>
            </a:p>
          </p:txBody>
        </p:sp>
      </p:grpSp>
      <p:sp>
        <p:nvSpPr>
          <p:cNvPr id="8" name="文本框 7"/>
          <p:cNvSpPr txBox="1"/>
          <p:nvPr/>
        </p:nvSpPr>
        <p:spPr>
          <a:xfrm>
            <a:off x="955897" y="2841067"/>
            <a:ext cx="1038664" cy="432000"/>
          </a:xfrm>
          <a:prstGeom prst="rect">
            <a:avLst/>
          </a:prstGeom>
          <a:solidFill>
            <a:srgbClr val="FE8637"/>
          </a:solidFill>
          <a:ln w="25400" cap="flat" cmpd="sng" algn="ctr">
            <a:noFill/>
            <a:prstDash val="solid"/>
          </a:ln>
          <a:effectLst/>
        </p:spPr>
        <p:txBody>
          <a:bodyPr lIns="0" tIns="36000" rIns="0" bIns="36000" rtlCol="0" anchor="ctr"/>
          <a:lstStyle>
            <a:defPPr>
              <a:defRPr lang="zh-CN"/>
            </a:defPPr>
            <a:lvl1pPr algn="ctr">
              <a:defRPr>
                <a:latin typeface="楷体" panose="02010609060101010101" pitchFamily="49" charset="-122"/>
                <a:ea typeface="楷体" panose="02010609060101010101" pitchFamily="49" charset="-122"/>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ctr" defTabSz="914400" eaLnBrk="0" fontAlgn="base" latinLnBrk="0" hangingPunct="0">
              <a:lnSpc>
                <a:spcPct val="100000"/>
              </a:lnSpc>
              <a:spcBef>
                <a:spcPct val="0"/>
              </a:spcBef>
              <a:spcAft>
                <a:spcPct val="0"/>
              </a:spcAft>
              <a:buClrTx/>
              <a:buSzTx/>
              <a:buFontTx/>
              <a:buNone/>
              <a:defRPr/>
            </a:pPr>
            <a:r>
              <a:rPr kumimoji="0" lang="en-US" altLang="zh-CN" sz="1200" b="1"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mn-cs"/>
              </a:rPr>
              <a:t>A</a:t>
            </a:r>
            <a:r>
              <a:rPr kumimoji="0" lang="zh-CN" altLang="en-US" sz="1200" b="1"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mn-cs"/>
              </a:rPr>
              <a:t>公司</a:t>
            </a:r>
            <a:endParaRPr kumimoji="0" lang="zh-CN" altLang="en-US" sz="1200" b="1" i="0" u="none" strike="noStrike" kern="0" cap="none" spc="0" normalizeH="0" baseline="0" noProof="0" dirty="0">
              <a:ln>
                <a:noFill/>
              </a:ln>
              <a:solidFill>
                <a:schemeClr val="bg1"/>
              </a:solidFill>
              <a:effectLst/>
              <a:uLnTx/>
              <a:uFillTx/>
              <a:latin typeface="楷体" panose="02010609060101010101" pitchFamily="49" charset="-122"/>
              <a:ea typeface="楷体" panose="02010609060101010101" pitchFamily="49" charset="-122"/>
              <a:cs typeface="+mn-cs"/>
            </a:endParaRPr>
          </a:p>
        </p:txBody>
      </p:sp>
      <p:sp>
        <p:nvSpPr>
          <p:cNvPr id="9" name="文本框 8"/>
          <p:cNvSpPr txBox="1"/>
          <p:nvPr/>
        </p:nvSpPr>
        <p:spPr>
          <a:xfrm>
            <a:off x="955897" y="3600825"/>
            <a:ext cx="1038664" cy="432000"/>
          </a:xfrm>
          <a:prstGeom prst="rect">
            <a:avLst/>
          </a:prstGeom>
          <a:solidFill>
            <a:srgbClr val="FE8637"/>
          </a:solidFill>
          <a:ln w="25400" cap="flat" cmpd="sng" algn="ctr">
            <a:noFill/>
            <a:prstDash val="solid"/>
          </a:ln>
          <a:effectLst/>
        </p:spPr>
        <p:txBody>
          <a:bodyPr lIns="0" tIns="36000" rIns="0" bIns="36000" rtlCol="0" anchor="ctr"/>
          <a:lstStyle>
            <a:defPPr>
              <a:defRPr lang="zh-CN"/>
            </a:defPPr>
            <a:lvl1pPr algn="ctr">
              <a:defRPr>
                <a:latin typeface="楷体" panose="02010609060101010101" pitchFamily="49" charset="-122"/>
                <a:ea typeface="楷体" panose="02010609060101010101" pitchFamily="49" charset="-122"/>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lvl="0" eaLnBrk="0" fontAlgn="base" hangingPunct="0">
              <a:spcBef>
                <a:spcPct val="0"/>
              </a:spcBef>
              <a:spcAft>
                <a:spcPct val="0"/>
              </a:spcAft>
              <a:defRPr/>
            </a:pPr>
            <a:r>
              <a:rPr lang="en-US" altLang="zh-CN" sz="1200" b="1" kern="0" dirty="0" smtClean="0">
                <a:solidFill>
                  <a:schemeClr val="bg1"/>
                </a:solidFill>
              </a:rPr>
              <a:t>B</a:t>
            </a:r>
            <a:r>
              <a:rPr lang="zh-CN" altLang="en-US" sz="1200" b="1" kern="0" dirty="0" smtClean="0">
                <a:solidFill>
                  <a:schemeClr val="bg1"/>
                </a:solidFill>
              </a:rPr>
              <a:t>公司</a:t>
            </a:r>
            <a:endParaRPr lang="zh-CN" altLang="en-US" sz="1200" b="1" kern="0" dirty="0">
              <a:solidFill>
                <a:schemeClr val="bg1"/>
              </a:solidFill>
            </a:endParaRPr>
          </a:p>
        </p:txBody>
      </p:sp>
      <p:sp>
        <p:nvSpPr>
          <p:cNvPr id="10" name="文本框 9"/>
          <p:cNvSpPr txBox="1"/>
          <p:nvPr/>
        </p:nvSpPr>
        <p:spPr>
          <a:xfrm>
            <a:off x="939772" y="5405677"/>
            <a:ext cx="1070914" cy="432000"/>
          </a:xfrm>
          <a:prstGeom prst="rect">
            <a:avLst/>
          </a:prstGeom>
          <a:solidFill>
            <a:srgbClr val="FE8637"/>
          </a:solidFill>
          <a:ln w="25400" cap="flat" cmpd="sng" algn="ctr">
            <a:noFill/>
            <a:prstDash val="solid"/>
          </a:ln>
          <a:effectLst/>
        </p:spPr>
        <p:txBody>
          <a:bodyPr lIns="0" tIns="36000" rIns="0" bIns="36000" rtlCol="0" anchor="ctr"/>
          <a:lstStyle>
            <a:defPPr>
              <a:defRPr lang="zh-CN"/>
            </a:defPPr>
            <a:lvl1pPr algn="ctr">
              <a:defRPr>
                <a:latin typeface="楷体" panose="02010609060101010101" pitchFamily="49" charset="-122"/>
                <a:ea typeface="楷体" panose="02010609060101010101" pitchFamily="49" charset="-122"/>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lvl="0" eaLnBrk="0" fontAlgn="base" hangingPunct="0">
              <a:spcBef>
                <a:spcPct val="0"/>
              </a:spcBef>
              <a:spcAft>
                <a:spcPct val="0"/>
              </a:spcAft>
              <a:defRPr/>
            </a:pPr>
            <a:r>
              <a:rPr lang="en-US" altLang="zh-CN" sz="1200" b="1" kern="0" dirty="0" smtClean="0">
                <a:solidFill>
                  <a:schemeClr val="bg1"/>
                </a:solidFill>
              </a:rPr>
              <a:t>D</a:t>
            </a:r>
            <a:r>
              <a:rPr lang="zh-CN" altLang="en-US" sz="1200" b="1" kern="0" dirty="0" smtClean="0">
                <a:solidFill>
                  <a:schemeClr val="bg1"/>
                </a:solidFill>
              </a:rPr>
              <a:t>公司</a:t>
            </a:r>
            <a:endParaRPr lang="zh-CN" altLang="en-US" sz="1200" b="1" kern="0" dirty="0">
              <a:solidFill>
                <a:schemeClr val="bg1"/>
              </a:solidFill>
            </a:endParaRPr>
          </a:p>
        </p:txBody>
      </p:sp>
      <p:sp>
        <p:nvSpPr>
          <p:cNvPr id="11" name="文本框 14"/>
          <p:cNvSpPr txBox="1"/>
          <p:nvPr/>
        </p:nvSpPr>
        <p:spPr>
          <a:xfrm>
            <a:off x="2456298" y="4152247"/>
            <a:ext cx="1332000" cy="360000"/>
          </a:xfrm>
          <a:prstGeom prst="rect">
            <a:avLst/>
          </a:prstGeom>
          <a:solidFill>
            <a:schemeClr val="accent1">
              <a:lumMod val="20000"/>
              <a:lumOff val="80000"/>
            </a:schemeClr>
          </a:solidFill>
        </p:spPr>
        <p:txBody>
          <a:bodyPr wrap="square" lIns="36000" rIns="36000" rtlCol="0" anchor="ctr" anchorCtr="0">
            <a:noAutofit/>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51943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103886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5582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207835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59778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311721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63664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415607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lvl="0">
              <a:defRPr/>
            </a:pPr>
            <a:r>
              <a:rPr kumimoji="0" lang="zh-CN" altLang="en-US" sz="1200" i="0" u="none" strike="noStrike" kern="1200" cap="none" spc="0" normalizeH="0" baseline="0" noProof="0" dirty="0" smtClean="0">
                <a:ln>
                  <a:noFill/>
                </a:ln>
                <a:solidFill>
                  <a:prstClr val="black"/>
                </a:solidFill>
                <a:effectLst/>
                <a:uLnTx/>
                <a:uFillTx/>
                <a:latin typeface="楷体" panose="02010609060101010101" pitchFamily="49" charset="-122"/>
                <a:ea typeface="楷体" panose="02010609060101010101" pitchFamily="49" charset="-122"/>
              </a:rPr>
              <a:t>车</a:t>
            </a:r>
            <a:r>
              <a:rPr lang="zh-CN" altLang="en-US" sz="1200" dirty="0">
                <a:solidFill>
                  <a:prstClr val="black"/>
                </a:solidFill>
                <a:latin typeface="楷体" panose="02010609060101010101" pitchFamily="49" charset="-122"/>
                <a:ea typeface="楷体" panose="02010609060101010101" pitchFamily="49" charset="-122"/>
              </a:rPr>
              <a:t>贷（回租</a:t>
            </a:r>
            <a:r>
              <a:rPr lang="zh-CN" altLang="en-US" sz="1200" dirty="0" smtClean="0">
                <a:solidFill>
                  <a:prstClr val="black"/>
                </a:solidFill>
                <a:latin typeface="楷体" panose="02010609060101010101" pitchFamily="49" charset="-122"/>
                <a:ea typeface="楷体" panose="02010609060101010101" pitchFamily="49" charset="-122"/>
              </a:rPr>
              <a:t>）</a:t>
            </a:r>
            <a:endParaRPr kumimoji="0" lang="zh-CN" altLang="en-US" sz="1200"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endParaRPr>
          </a:p>
        </p:txBody>
      </p:sp>
      <p:sp>
        <p:nvSpPr>
          <p:cNvPr id="12" name="文本框 15"/>
          <p:cNvSpPr txBox="1"/>
          <p:nvPr/>
        </p:nvSpPr>
        <p:spPr>
          <a:xfrm>
            <a:off x="2456301" y="4665169"/>
            <a:ext cx="1332000" cy="360000"/>
          </a:xfrm>
          <a:prstGeom prst="rect">
            <a:avLst/>
          </a:prstGeom>
          <a:solidFill>
            <a:schemeClr val="accent1">
              <a:lumMod val="20000"/>
              <a:lumOff val="80000"/>
            </a:schemeClr>
          </a:solidFill>
        </p:spPr>
        <p:txBody>
          <a:bodyPr wrap="square" lIns="36000" rIns="36000" rtlCol="0" anchor="ctr" anchorCtr="0">
            <a:noAutofit/>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51943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103886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5582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207835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59778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311721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63664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415607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200" i="0" u="none" strike="noStrike" kern="1200" cap="none" spc="0" normalizeH="0" baseline="0" noProof="0" dirty="0" smtClean="0">
                <a:ln>
                  <a:noFill/>
                </a:ln>
                <a:solidFill>
                  <a:prstClr val="black"/>
                </a:solidFill>
                <a:effectLst/>
                <a:uLnTx/>
                <a:uFillTx/>
                <a:latin typeface="楷体" panose="02010609060101010101" pitchFamily="49" charset="-122"/>
                <a:ea typeface="楷体" panose="02010609060101010101" pitchFamily="49" charset="-122"/>
                <a:cs typeface="+mn-cs"/>
              </a:rPr>
              <a:t>车贷（直租）</a:t>
            </a:r>
            <a:endParaRPr kumimoji="0" lang="zh-CN" altLang="en-US" sz="1200"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n-cs"/>
            </a:endParaRPr>
          </a:p>
        </p:txBody>
      </p:sp>
      <p:sp>
        <p:nvSpPr>
          <p:cNvPr id="13" name="文本框 20"/>
          <p:cNvSpPr txBox="1"/>
          <p:nvPr/>
        </p:nvSpPr>
        <p:spPr>
          <a:xfrm>
            <a:off x="2456300" y="2613481"/>
            <a:ext cx="1332000" cy="360000"/>
          </a:xfrm>
          <a:prstGeom prst="rect">
            <a:avLst/>
          </a:prstGeom>
          <a:solidFill>
            <a:schemeClr val="accent1">
              <a:lumMod val="20000"/>
              <a:lumOff val="80000"/>
            </a:schemeClr>
          </a:solidFill>
        </p:spPr>
        <p:txBody>
          <a:bodyPr wrap="square" lIns="36000" rIns="36000" rtlCol="0" anchor="ctr" anchorCtr="0">
            <a:noAutofit/>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51943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103886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5582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207835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59778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311721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63664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415607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200" i="0" u="none" strike="noStrike" kern="1200" cap="none" spc="0" normalizeH="0" baseline="0" noProof="0" dirty="0" smtClean="0">
                <a:ln>
                  <a:noFill/>
                </a:ln>
                <a:solidFill>
                  <a:prstClr val="black"/>
                </a:solidFill>
                <a:effectLst/>
                <a:uLnTx/>
                <a:uFillTx/>
                <a:latin typeface="楷体" panose="02010609060101010101" pitchFamily="49" charset="-122"/>
                <a:ea typeface="楷体" panose="02010609060101010101" pitchFamily="49" charset="-122"/>
                <a:cs typeface="+mn-cs"/>
              </a:rPr>
              <a:t>车贷（</a:t>
            </a:r>
            <a:r>
              <a:rPr kumimoji="0" lang="en-US" altLang="zh-CN" sz="1200" i="0" u="none" strike="noStrike" kern="1200" cap="none" spc="0" normalizeH="0" baseline="0" noProof="0" dirty="0" smtClean="0">
                <a:ln>
                  <a:noFill/>
                </a:ln>
                <a:solidFill>
                  <a:prstClr val="black"/>
                </a:solidFill>
                <a:effectLst/>
                <a:uLnTx/>
                <a:uFillTx/>
                <a:latin typeface="楷体" panose="02010609060101010101" pitchFamily="49" charset="-122"/>
                <a:ea typeface="楷体" panose="02010609060101010101" pitchFamily="49" charset="-122"/>
                <a:cs typeface="+mn-cs"/>
              </a:rPr>
              <a:t>C</a:t>
            </a:r>
            <a:r>
              <a:rPr kumimoji="0" lang="zh-CN" altLang="en-US" sz="1200" i="0" u="none" strike="noStrike" kern="1200" cap="none" spc="0" normalizeH="0" baseline="0" noProof="0" dirty="0" smtClean="0">
                <a:ln>
                  <a:noFill/>
                </a:ln>
                <a:solidFill>
                  <a:prstClr val="black"/>
                </a:solidFill>
                <a:effectLst/>
                <a:uLnTx/>
                <a:uFillTx/>
                <a:latin typeface="楷体" panose="02010609060101010101" pitchFamily="49" charset="-122"/>
                <a:ea typeface="楷体" panose="02010609060101010101" pitchFamily="49" charset="-122"/>
                <a:cs typeface="+mn-cs"/>
              </a:rPr>
              <a:t>端）</a:t>
            </a:r>
            <a:endParaRPr kumimoji="0" lang="zh-CN" altLang="en-US" sz="1200"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n-cs"/>
            </a:endParaRPr>
          </a:p>
        </p:txBody>
      </p:sp>
      <p:sp>
        <p:nvSpPr>
          <p:cNvPr id="14" name="文本框 21"/>
          <p:cNvSpPr txBox="1"/>
          <p:nvPr/>
        </p:nvSpPr>
        <p:spPr>
          <a:xfrm>
            <a:off x="2456300" y="3639325"/>
            <a:ext cx="1332000" cy="360000"/>
          </a:xfrm>
          <a:prstGeom prst="rect">
            <a:avLst/>
          </a:prstGeom>
          <a:solidFill>
            <a:schemeClr val="accent1">
              <a:lumMod val="20000"/>
              <a:lumOff val="80000"/>
            </a:schemeClr>
          </a:solidFill>
        </p:spPr>
        <p:txBody>
          <a:bodyPr wrap="square" lIns="36000" rIns="36000" rtlCol="0" anchor="ctr" anchorCtr="0">
            <a:noAutofit/>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51943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103886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5582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207835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59778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311721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63664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415607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200"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n-cs"/>
              </a:rPr>
              <a:t>车险</a:t>
            </a:r>
            <a:endParaRPr kumimoji="0" lang="zh-CN" altLang="en-US" sz="1200"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n-cs"/>
            </a:endParaRPr>
          </a:p>
        </p:txBody>
      </p:sp>
      <p:sp>
        <p:nvSpPr>
          <p:cNvPr id="15" name="文本框 27"/>
          <p:cNvSpPr txBox="1"/>
          <p:nvPr/>
        </p:nvSpPr>
        <p:spPr>
          <a:xfrm>
            <a:off x="2456301" y="5178091"/>
            <a:ext cx="1332000" cy="360000"/>
          </a:xfrm>
          <a:prstGeom prst="rect">
            <a:avLst/>
          </a:prstGeom>
          <a:solidFill>
            <a:schemeClr val="accent1">
              <a:lumMod val="20000"/>
              <a:lumOff val="80000"/>
            </a:schemeClr>
          </a:solidFill>
        </p:spPr>
        <p:txBody>
          <a:bodyPr wrap="square" lIns="36000" rIns="36000" rtlCol="0" anchor="ctr" anchorCtr="0">
            <a:noAutofit/>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51943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103886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5582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207835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59778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311721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63664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415607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200"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n-cs"/>
              </a:rPr>
              <a:t>无抵押</a:t>
            </a:r>
            <a:endParaRPr kumimoji="0" lang="zh-CN" altLang="en-US" sz="1200"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n-cs"/>
            </a:endParaRPr>
          </a:p>
        </p:txBody>
      </p:sp>
      <p:sp>
        <p:nvSpPr>
          <p:cNvPr id="16" name="文本框 28"/>
          <p:cNvSpPr txBox="1"/>
          <p:nvPr/>
        </p:nvSpPr>
        <p:spPr>
          <a:xfrm>
            <a:off x="2456301" y="5691013"/>
            <a:ext cx="1332000" cy="360000"/>
          </a:xfrm>
          <a:prstGeom prst="rect">
            <a:avLst/>
          </a:prstGeom>
          <a:solidFill>
            <a:schemeClr val="accent1">
              <a:lumMod val="20000"/>
              <a:lumOff val="80000"/>
            </a:schemeClr>
          </a:solidFill>
        </p:spPr>
        <p:txBody>
          <a:bodyPr wrap="square" lIns="36000" rIns="36000" rtlCol="0" anchor="ctr" anchorCtr="0">
            <a:noAutofit/>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51943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103886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5582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207835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59778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311721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63664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415607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200"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n-cs"/>
              </a:rPr>
              <a:t>车商</a:t>
            </a:r>
            <a:r>
              <a:rPr kumimoji="0" lang="zh-CN" altLang="en-US" sz="1200" i="0" u="none" strike="noStrike" kern="1200" cap="none" spc="0" normalizeH="0" baseline="0" noProof="0" dirty="0" smtClean="0">
                <a:ln>
                  <a:noFill/>
                </a:ln>
                <a:solidFill>
                  <a:prstClr val="black"/>
                </a:solidFill>
                <a:effectLst/>
                <a:uLnTx/>
                <a:uFillTx/>
                <a:latin typeface="楷体" panose="02010609060101010101" pitchFamily="49" charset="-122"/>
                <a:ea typeface="楷体" panose="02010609060101010101" pitchFamily="49" charset="-122"/>
                <a:cs typeface="+mn-cs"/>
              </a:rPr>
              <a:t>贷</a:t>
            </a:r>
            <a:endParaRPr kumimoji="0" lang="zh-CN" altLang="en-US" sz="1200"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n-cs"/>
            </a:endParaRPr>
          </a:p>
        </p:txBody>
      </p:sp>
      <p:cxnSp>
        <p:nvCxnSpPr>
          <p:cNvPr id="17" name="肘形连接符 16"/>
          <p:cNvCxnSpPr>
            <a:stCxn id="8" idx="3"/>
            <a:endCxn id="13" idx="1"/>
          </p:cNvCxnSpPr>
          <p:nvPr/>
        </p:nvCxnSpPr>
        <p:spPr>
          <a:xfrm flipV="1">
            <a:off x="1994561" y="2793481"/>
            <a:ext cx="461739" cy="263586"/>
          </a:xfrm>
          <a:prstGeom prst="bentConnector3">
            <a:avLst/>
          </a:prstGeom>
          <a:noFill/>
          <a:ln w="9525" cap="flat" cmpd="sng" algn="ctr">
            <a:solidFill>
              <a:sysClr val="windowText" lastClr="000000">
                <a:shade val="95000"/>
                <a:satMod val="105000"/>
              </a:sysClr>
            </a:solidFill>
            <a:prstDash val="solid"/>
            <a:tailEnd type="triangle"/>
          </a:ln>
          <a:effectLst/>
        </p:spPr>
      </p:cxnSp>
      <p:cxnSp>
        <p:nvCxnSpPr>
          <p:cNvPr id="18" name="肘形连接符 18"/>
          <p:cNvCxnSpPr>
            <a:stCxn id="22" idx="3"/>
            <a:endCxn id="11" idx="1"/>
          </p:cNvCxnSpPr>
          <p:nvPr/>
        </p:nvCxnSpPr>
        <p:spPr>
          <a:xfrm flipV="1">
            <a:off x="2010686" y="4332247"/>
            <a:ext cx="445612" cy="253961"/>
          </a:xfrm>
          <a:prstGeom prst="bentConnector3">
            <a:avLst/>
          </a:prstGeom>
          <a:noFill/>
          <a:ln w="9525" cap="flat" cmpd="sng" algn="ctr">
            <a:solidFill>
              <a:sysClr val="windowText" lastClr="000000">
                <a:shade val="95000"/>
                <a:satMod val="105000"/>
              </a:sysClr>
            </a:solidFill>
            <a:prstDash val="solid"/>
            <a:tailEnd type="triangle"/>
          </a:ln>
          <a:effectLst/>
        </p:spPr>
      </p:cxnSp>
      <p:cxnSp>
        <p:nvCxnSpPr>
          <p:cNvPr id="19" name="肘形连接符 19"/>
          <p:cNvCxnSpPr>
            <a:stCxn id="22" idx="3"/>
            <a:endCxn id="12" idx="1"/>
          </p:cNvCxnSpPr>
          <p:nvPr/>
        </p:nvCxnSpPr>
        <p:spPr>
          <a:xfrm>
            <a:off x="2010686" y="4586208"/>
            <a:ext cx="445615" cy="258961"/>
          </a:xfrm>
          <a:prstGeom prst="bentConnector3">
            <a:avLst/>
          </a:prstGeom>
          <a:noFill/>
          <a:ln w="9525" cap="flat" cmpd="sng" algn="ctr">
            <a:solidFill>
              <a:sysClr val="windowText" lastClr="000000">
                <a:shade val="95000"/>
                <a:satMod val="105000"/>
              </a:sysClr>
            </a:solidFill>
            <a:prstDash val="solid"/>
            <a:tailEnd type="triangle"/>
          </a:ln>
          <a:effectLst/>
        </p:spPr>
      </p:cxnSp>
      <p:cxnSp>
        <p:nvCxnSpPr>
          <p:cNvPr id="20" name="肘形连接符 20"/>
          <p:cNvCxnSpPr>
            <a:stCxn id="10" idx="3"/>
            <a:endCxn id="15" idx="1"/>
          </p:cNvCxnSpPr>
          <p:nvPr/>
        </p:nvCxnSpPr>
        <p:spPr>
          <a:xfrm flipV="1">
            <a:off x="2010686" y="5358091"/>
            <a:ext cx="445615" cy="263586"/>
          </a:xfrm>
          <a:prstGeom prst="bentConnector3">
            <a:avLst>
              <a:gd name="adj1" fmla="val 50000"/>
            </a:avLst>
          </a:prstGeom>
          <a:noFill/>
          <a:ln w="9525" cap="flat" cmpd="sng" algn="ctr">
            <a:solidFill>
              <a:sysClr val="windowText" lastClr="000000">
                <a:shade val="95000"/>
                <a:satMod val="105000"/>
              </a:sysClr>
            </a:solidFill>
            <a:prstDash val="solid"/>
            <a:tailEnd type="triangle"/>
          </a:ln>
          <a:effectLst/>
        </p:spPr>
      </p:cxnSp>
      <p:cxnSp>
        <p:nvCxnSpPr>
          <p:cNvPr id="21" name="肘形连接符 21"/>
          <p:cNvCxnSpPr>
            <a:stCxn id="10" idx="3"/>
            <a:endCxn id="16" idx="1"/>
          </p:cNvCxnSpPr>
          <p:nvPr/>
        </p:nvCxnSpPr>
        <p:spPr>
          <a:xfrm>
            <a:off x="2010686" y="5621677"/>
            <a:ext cx="445615" cy="249336"/>
          </a:xfrm>
          <a:prstGeom prst="bentConnector3">
            <a:avLst>
              <a:gd name="adj1" fmla="val 50000"/>
            </a:avLst>
          </a:prstGeom>
          <a:noFill/>
          <a:ln w="9525" cap="flat" cmpd="sng" algn="ctr">
            <a:solidFill>
              <a:sysClr val="windowText" lastClr="000000">
                <a:shade val="95000"/>
                <a:satMod val="105000"/>
              </a:sysClr>
            </a:solidFill>
            <a:prstDash val="solid"/>
            <a:tailEnd type="triangle"/>
          </a:ln>
          <a:effectLst/>
        </p:spPr>
      </p:cxnSp>
      <p:sp>
        <p:nvSpPr>
          <p:cNvPr id="22" name="文本框 56"/>
          <p:cNvSpPr txBox="1"/>
          <p:nvPr/>
        </p:nvSpPr>
        <p:spPr>
          <a:xfrm>
            <a:off x="939772" y="4370208"/>
            <a:ext cx="1070914" cy="432000"/>
          </a:xfrm>
          <a:prstGeom prst="rect">
            <a:avLst/>
          </a:prstGeom>
          <a:solidFill>
            <a:srgbClr val="FE8637"/>
          </a:solidFill>
          <a:ln w="25400" cap="flat" cmpd="sng" algn="ctr">
            <a:noFill/>
            <a:prstDash val="solid"/>
          </a:ln>
          <a:effectLst/>
        </p:spPr>
        <p:txBody>
          <a:bodyPr lIns="0" tIns="36000" rIns="0" bIns="36000" rtlCol="0" anchor="ctr"/>
          <a:lstStyle>
            <a:defPPr>
              <a:defRPr lang="zh-CN"/>
            </a:defPPr>
            <a:lvl1pPr algn="ctr">
              <a:defRPr>
                <a:latin typeface="楷体" panose="02010609060101010101" pitchFamily="49" charset="-122"/>
                <a:ea typeface="楷体" panose="02010609060101010101" pitchFamily="49" charset="-122"/>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lvl="0" eaLnBrk="0" fontAlgn="base" hangingPunct="0">
              <a:spcBef>
                <a:spcPct val="0"/>
              </a:spcBef>
              <a:spcAft>
                <a:spcPct val="0"/>
              </a:spcAft>
              <a:defRPr/>
            </a:pPr>
            <a:r>
              <a:rPr lang="en-US" altLang="zh-CN" sz="1200" b="1" kern="0" dirty="0" smtClean="0">
                <a:solidFill>
                  <a:schemeClr val="bg1"/>
                </a:solidFill>
              </a:rPr>
              <a:t>C</a:t>
            </a:r>
            <a:r>
              <a:rPr lang="zh-CN" altLang="en-US" sz="1200" b="1" kern="0" dirty="0" smtClean="0">
                <a:solidFill>
                  <a:schemeClr val="bg1"/>
                </a:solidFill>
              </a:rPr>
              <a:t>公司</a:t>
            </a:r>
            <a:endParaRPr lang="zh-CN" altLang="en-US" sz="1200" b="1" kern="0" dirty="0">
              <a:solidFill>
                <a:schemeClr val="bg1"/>
              </a:solidFill>
            </a:endParaRPr>
          </a:p>
        </p:txBody>
      </p:sp>
      <p:sp>
        <p:nvSpPr>
          <p:cNvPr id="24" name="文本框 81"/>
          <p:cNvSpPr txBox="1"/>
          <p:nvPr/>
        </p:nvSpPr>
        <p:spPr>
          <a:xfrm>
            <a:off x="2456301" y="3126403"/>
            <a:ext cx="1332000" cy="360000"/>
          </a:xfrm>
          <a:prstGeom prst="rect">
            <a:avLst/>
          </a:prstGeom>
          <a:solidFill>
            <a:schemeClr val="accent1">
              <a:lumMod val="20000"/>
              <a:lumOff val="80000"/>
            </a:schemeClr>
          </a:solidFill>
        </p:spPr>
        <p:txBody>
          <a:bodyPr wrap="square" lIns="36000" rIns="36000" rtlCol="0" anchor="ctr" anchorCtr="0">
            <a:noAutofit/>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51943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103886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5582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207835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59778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311721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63664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4156075" algn="l" defTabSz="103886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marL="0" marR="0" lvl="0" indent="0" algn="l" defTabSz="914400" rtl="0" eaLnBrk="0" fontAlgn="base" latinLnBrk="0" hangingPunct="0">
              <a:lnSpc>
                <a:spcPct val="100000"/>
              </a:lnSpc>
              <a:spcBef>
                <a:spcPct val="0"/>
              </a:spcBef>
              <a:spcAft>
                <a:spcPct val="0"/>
              </a:spcAft>
              <a:buClrTx/>
              <a:buSzTx/>
              <a:buFontTx/>
              <a:buNone/>
              <a:defRPr/>
            </a:pPr>
            <a:r>
              <a:rPr kumimoji="0" lang="zh-CN" altLang="en-US" sz="1200"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n-cs"/>
              </a:rPr>
              <a:t>车商</a:t>
            </a:r>
            <a:r>
              <a:rPr kumimoji="0" lang="zh-CN" altLang="en-US" sz="1200" i="0" u="none" strike="noStrike" kern="1200" cap="none" spc="0" normalizeH="0" baseline="0" noProof="0" dirty="0" smtClean="0">
                <a:ln>
                  <a:noFill/>
                </a:ln>
                <a:solidFill>
                  <a:prstClr val="black"/>
                </a:solidFill>
                <a:effectLst/>
                <a:uLnTx/>
                <a:uFillTx/>
                <a:latin typeface="楷体" panose="02010609060101010101" pitchFamily="49" charset="-122"/>
                <a:ea typeface="楷体" panose="02010609060101010101" pitchFamily="49" charset="-122"/>
                <a:cs typeface="+mn-cs"/>
              </a:rPr>
              <a:t>贷（</a:t>
            </a:r>
            <a:r>
              <a:rPr kumimoji="0" lang="en-US" altLang="zh-CN" sz="1200" i="0" u="none" strike="noStrike" kern="1200" cap="none" spc="0" normalizeH="0" baseline="0" noProof="0" dirty="0" smtClean="0">
                <a:ln>
                  <a:noFill/>
                </a:ln>
                <a:solidFill>
                  <a:prstClr val="black"/>
                </a:solidFill>
                <a:effectLst/>
                <a:uLnTx/>
                <a:uFillTx/>
                <a:latin typeface="楷体" panose="02010609060101010101" pitchFamily="49" charset="-122"/>
                <a:ea typeface="楷体" panose="02010609060101010101" pitchFamily="49" charset="-122"/>
                <a:cs typeface="+mn-cs"/>
              </a:rPr>
              <a:t>B</a:t>
            </a:r>
            <a:r>
              <a:rPr kumimoji="0" lang="zh-CN" altLang="en-US" sz="1200" i="0" u="none" strike="noStrike" kern="1200" cap="none" spc="0" normalizeH="0" baseline="0" noProof="0" dirty="0" smtClean="0">
                <a:ln>
                  <a:noFill/>
                </a:ln>
                <a:solidFill>
                  <a:prstClr val="black"/>
                </a:solidFill>
                <a:effectLst/>
                <a:uLnTx/>
                <a:uFillTx/>
                <a:latin typeface="楷体" panose="02010609060101010101" pitchFamily="49" charset="-122"/>
                <a:ea typeface="楷体" panose="02010609060101010101" pitchFamily="49" charset="-122"/>
                <a:cs typeface="+mn-cs"/>
              </a:rPr>
              <a:t>端）</a:t>
            </a:r>
            <a:endParaRPr kumimoji="0" lang="zh-CN" altLang="en-US" sz="1200"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n-cs"/>
            </a:endParaRPr>
          </a:p>
        </p:txBody>
      </p:sp>
      <p:cxnSp>
        <p:nvCxnSpPr>
          <p:cNvPr id="25" name="肘形连接符 32"/>
          <p:cNvCxnSpPr>
            <a:stCxn id="8" idx="3"/>
            <a:endCxn id="24" idx="1"/>
          </p:cNvCxnSpPr>
          <p:nvPr/>
        </p:nvCxnSpPr>
        <p:spPr>
          <a:xfrm>
            <a:off x="1994561" y="3057067"/>
            <a:ext cx="461740" cy="249336"/>
          </a:xfrm>
          <a:prstGeom prst="bentConnector3">
            <a:avLst/>
          </a:prstGeom>
          <a:noFill/>
          <a:ln w="9525" cap="flat" cmpd="sng" algn="ctr">
            <a:solidFill>
              <a:sysClr val="windowText" lastClr="000000">
                <a:shade val="95000"/>
                <a:satMod val="105000"/>
              </a:sysClr>
            </a:solidFill>
            <a:prstDash val="solid"/>
            <a:tailEnd type="triangle"/>
          </a:ln>
          <a:effectLst/>
        </p:spPr>
      </p:cxnSp>
      <p:cxnSp>
        <p:nvCxnSpPr>
          <p:cNvPr id="30" name="直接箭头连接符 29"/>
          <p:cNvCxnSpPr>
            <a:stCxn id="9" idx="3"/>
            <a:endCxn id="14" idx="1"/>
          </p:cNvCxnSpPr>
          <p:nvPr/>
        </p:nvCxnSpPr>
        <p:spPr>
          <a:xfrm>
            <a:off x="1994561" y="3816825"/>
            <a:ext cx="461739" cy="2500"/>
          </a:xfrm>
          <a:prstGeom prst="straightConnector1">
            <a:avLst/>
          </a:prstGeom>
          <a:noFill/>
          <a:ln w="9525" cap="flat" cmpd="sng" algn="ctr">
            <a:solidFill>
              <a:sysClr val="windowText" lastClr="000000">
                <a:shade val="95000"/>
                <a:satMod val="105000"/>
              </a:sysClr>
            </a:solidFill>
            <a:prstDash val="solid"/>
            <a:tailEnd type="triangle"/>
          </a:ln>
          <a:effectLst/>
        </p:spPr>
      </p:cxnSp>
      <p:cxnSp>
        <p:nvCxnSpPr>
          <p:cNvPr id="31" name="直接连接符 30"/>
          <p:cNvCxnSpPr/>
          <p:nvPr/>
        </p:nvCxnSpPr>
        <p:spPr>
          <a:xfrm>
            <a:off x="863229" y="2504521"/>
            <a:ext cx="1224000" cy="0"/>
          </a:xfrm>
          <a:prstGeom prst="line">
            <a:avLst/>
          </a:prstGeom>
          <a:noFill/>
          <a:ln w="9525" cap="flat" cmpd="sng" algn="ctr">
            <a:solidFill>
              <a:sysClr val="windowText" lastClr="000000"/>
            </a:solidFill>
            <a:prstDash val="solid"/>
          </a:ln>
          <a:effectLst/>
        </p:spPr>
      </p:cxnSp>
      <p:sp>
        <p:nvSpPr>
          <p:cNvPr id="32" name="文本框 31"/>
          <p:cNvSpPr txBox="1"/>
          <p:nvPr/>
        </p:nvSpPr>
        <p:spPr>
          <a:xfrm>
            <a:off x="881229" y="2116570"/>
            <a:ext cx="1188000" cy="276999"/>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楷体" panose="02010609060101010101" pitchFamily="49" charset="-122"/>
              </a:rPr>
              <a:t>主要合作方</a:t>
            </a:r>
            <a:endParaRPr kumimoji="0" lang="zh-CN" altLang="en-US" sz="1200" b="1" i="0" u="none" strike="noStrike" kern="0" cap="none" spc="0" normalizeH="0" baseline="0" noProof="0" dirty="0">
              <a:ln>
                <a:noFill/>
              </a:ln>
              <a:solidFill>
                <a:prstClr val="black"/>
              </a:solidFill>
              <a:effectLst/>
              <a:uLnTx/>
              <a:uFillTx/>
              <a:latin typeface="楷体" panose="02010609060101010101" pitchFamily="49" charset="-122"/>
            </a:endParaRPr>
          </a:p>
        </p:txBody>
      </p:sp>
      <p:cxnSp>
        <p:nvCxnSpPr>
          <p:cNvPr id="33" name="直接连接符 32"/>
          <p:cNvCxnSpPr/>
          <p:nvPr/>
        </p:nvCxnSpPr>
        <p:spPr>
          <a:xfrm>
            <a:off x="2456300" y="2504521"/>
            <a:ext cx="1332000" cy="0"/>
          </a:xfrm>
          <a:prstGeom prst="line">
            <a:avLst/>
          </a:prstGeom>
          <a:noFill/>
          <a:ln w="9525" cap="flat" cmpd="sng" algn="ctr">
            <a:solidFill>
              <a:sysClr val="windowText" lastClr="000000"/>
            </a:solidFill>
            <a:prstDash val="solid"/>
          </a:ln>
          <a:effectLst/>
        </p:spPr>
      </p:cxnSp>
      <p:sp>
        <p:nvSpPr>
          <p:cNvPr id="34" name="文本框 33"/>
          <p:cNvSpPr txBox="1"/>
          <p:nvPr/>
        </p:nvSpPr>
        <p:spPr>
          <a:xfrm>
            <a:off x="2456300" y="2116570"/>
            <a:ext cx="1332000" cy="276999"/>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楷体" panose="02010609060101010101" pitchFamily="49" charset="-122"/>
              </a:rPr>
              <a:t>主要合作业务</a:t>
            </a:r>
            <a:endParaRPr kumimoji="0" lang="zh-CN" altLang="en-US" sz="1200" b="1" i="0" u="none" strike="noStrike" kern="0" cap="none" spc="0" normalizeH="0" baseline="0" noProof="0" dirty="0">
              <a:ln>
                <a:noFill/>
              </a:ln>
              <a:solidFill>
                <a:prstClr val="black"/>
              </a:solidFill>
              <a:effectLst/>
              <a:uLnTx/>
              <a:uFillTx/>
              <a:latin typeface="楷体" panose="02010609060101010101" pitchFamily="49" charset="-122"/>
            </a:endParaRPr>
          </a:p>
        </p:txBody>
      </p:sp>
      <p:cxnSp>
        <p:nvCxnSpPr>
          <p:cNvPr id="35" name="直接连接符 34"/>
          <p:cNvCxnSpPr/>
          <p:nvPr/>
        </p:nvCxnSpPr>
        <p:spPr>
          <a:xfrm>
            <a:off x="4108931" y="2504521"/>
            <a:ext cx="1512000" cy="0"/>
          </a:xfrm>
          <a:prstGeom prst="line">
            <a:avLst/>
          </a:prstGeom>
          <a:noFill/>
          <a:ln w="9525" cap="flat" cmpd="sng" algn="ctr">
            <a:solidFill>
              <a:sysClr val="windowText" lastClr="000000"/>
            </a:solidFill>
            <a:prstDash val="solid"/>
          </a:ln>
          <a:effectLst/>
        </p:spPr>
      </p:cxnSp>
      <p:sp>
        <p:nvSpPr>
          <p:cNvPr id="36" name="文本框 35"/>
          <p:cNvSpPr txBox="1"/>
          <p:nvPr/>
        </p:nvSpPr>
        <p:spPr>
          <a:xfrm>
            <a:off x="4108931" y="2116570"/>
            <a:ext cx="1512000" cy="276999"/>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defRPr/>
            </a:pPr>
            <a:r>
              <a:rPr kumimoji="0" lang="en-US" altLang="zh-CN" sz="1200" b="1" i="0" u="none" strike="noStrike" kern="0" cap="none" spc="0" normalizeH="0" baseline="0" noProof="0" dirty="0" smtClean="0">
                <a:ln>
                  <a:noFill/>
                </a:ln>
                <a:solidFill>
                  <a:prstClr val="black"/>
                </a:solidFill>
                <a:effectLst/>
                <a:uLnTx/>
                <a:uFillTx/>
                <a:latin typeface="楷体" panose="02010609060101010101" pitchFamily="49" charset="-122"/>
              </a:rPr>
              <a:t>2019</a:t>
            </a:r>
            <a:r>
              <a:rPr kumimoji="0" lang="zh-CN" altLang="en-US" sz="1200" b="1" i="0" u="none" strike="noStrike" kern="0" cap="none" spc="0" normalizeH="0" baseline="0" noProof="0" dirty="0" smtClean="0">
                <a:ln>
                  <a:noFill/>
                </a:ln>
                <a:solidFill>
                  <a:prstClr val="black"/>
                </a:solidFill>
                <a:effectLst/>
                <a:uLnTx/>
                <a:uFillTx/>
                <a:latin typeface="楷体" panose="02010609060101010101" pitchFamily="49" charset="-122"/>
              </a:rPr>
              <a:t>年交易</a:t>
            </a:r>
            <a:r>
              <a:rPr kumimoji="0" lang="zh-CN" altLang="en-US" sz="1200" b="1" i="0" u="none" strike="noStrike" kern="0" cap="none" spc="0" normalizeH="0" baseline="0" noProof="0" dirty="0">
                <a:ln>
                  <a:noFill/>
                </a:ln>
                <a:solidFill>
                  <a:prstClr val="black"/>
                </a:solidFill>
                <a:effectLst/>
                <a:uLnTx/>
                <a:uFillTx/>
                <a:latin typeface="楷体" panose="02010609060101010101" pitchFamily="49" charset="-122"/>
              </a:rPr>
              <a:t>量</a:t>
            </a:r>
            <a:r>
              <a:rPr kumimoji="0" lang="en-US" altLang="zh-CN" sz="1200" b="1" i="0" u="none" strike="noStrike" kern="0" cap="none" spc="0" normalizeH="0" baseline="0" noProof="0" dirty="0" smtClean="0">
                <a:ln>
                  <a:noFill/>
                </a:ln>
                <a:solidFill>
                  <a:prstClr val="black"/>
                </a:solidFill>
                <a:effectLst/>
                <a:uLnTx/>
                <a:uFillTx/>
                <a:latin typeface="楷体" panose="02010609060101010101" pitchFamily="49" charset="-122"/>
              </a:rPr>
              <a:t>(</a:t>
            </a:r>
            <a:r>
              <a:rPr kumimoji="0" lang="zh-CN" altLang="en-US" sz="1200" b="1" i="0" u="none" strike="noStrike" kern="0" cap="none" spc="0" normalizeH="0" baseline="0" noProof="0" dirty="0" smtClean="0">
                <a:ln>
                  <a:noFill/>
                </a:ln>
                <a:solidFill>
                  <a:prstClr val="black"/>
                </a:solidFill>
                <a:effectLst/>
                <a:uLnTx/>
                <a:uFillTx/>
                <a:latin typeface="楷体" panose="02010609060101010101" pitchFamily="49" charset="-122"/>
              </a:rPr>
              <a:t>亿</a:t>
            </a:r>
            <a:r>
              <a:rPr kumimoji="0" lang="zh-CN" altLang="en-US" sz="1200" b="1" i="0" u="none" strike="noStrike" kern="0" cap="none" spc="0" normalizeH="0" baseline="0" noProof="0" dirty="0">
                <a:ln>
                  <a:noFill/>
                </a:ln>
                <a:solidFill>
                  <a:prstClr val="black"/>
                </a:solidFill>
                <a:effectLst/>
                <a:uLnTx/>
                <a:uFillTx/>
                <a:latin typeface="楷体" panose="02010609060101010101" pitchFamily="49" charset="-122"/>
              </a:rPr>
              <a:t>）</a:t>
            </a:r>
            <a:endParaRPr kumimoji="0" lang="zh-CN" altLang="en-US" sz="1200" b="1" i="0" u="none" strike="noStrike" kern="0" cap="none" spc="0" normalizeH="0" baseline="0" noProof="0" dirty="0">
              <a:ln>
                <a:noFill/>
              </a:ln>
              <a:solidFill>
                <a:prstClr val="black"/>
              </a:solidFill>
              <a:effectLst/>
              <a:uLnTx/>
              <a:uFillTx/>
              <a:latin typeface="楷体" panose="02010609060101010101" pitchFamily="49" charset="-122"/>
            </a:endParaRPr>
          </a:p>
        </p:txBody>
      </p:sp>
      <p:sp>
        <p:nvSpPr>
          <p:cNvPr id="37" name="文本框 36"/>
          <p:cNvSpPr txBox="1"/>
          <p:nvPr/>
        </p:nvSpPr>
        <p:spPr>
          <a:xfrm>
            <a:off x="4108931" y="2613481"/>
            <a:ext cx="1620000" cy="396000"/>
          </a:xfrm>
          <a:prstGeom prst="rect">
            <a:avLst/>
          </a:prstGeom>
          <a:noFill/>
        </p:spPr>
        <p:txBody>
          <a:bodyPr wrap="square" lIns="36000" tIns="0" rIns="36000" bIns="0" rtlCol="0" anchor="ctr" anchorCtr="0">
            <a:noAutofit/>
          </a:bodyPr>
          <a:lstStyle/>
          <a:p>
            <a:pPr marL="174625" indent="-174625" eaLnBrk="0" fontAlgn="base" hangingPunct="0">
              <a:spcBef>
                <a:spcPct val="0"/>
              </a:spcBef>
              <a:spcAft>
                <a:spcPct val="0"/>
              </a:spcAft>
              <a:buFont typeface="Arial" panose="020B0604020202020204" pitchFamily="34" charset="0"/>
              <a:buChar char="•"/>
            </a:pPr>
            <a:r>
              <a:rPr lang="en-US" altLang="zh-CN" sz="1200" dirty="0" smtClean="0">
                <a:solidFill>
                  <a:prstClr val="black"/>
                </a:solidFill>
                <a:latin typeface="楷体" panose="02010609060101010101" pitchFamily="49" charset="-122"/>
              </a:rPr>
              <a:t>xx</a:t>
            </a:r>
            <a:r>
              <a:rPr lang="zh-CN" altLang="en-US" sz="1200" dirty="0" smtClean="0">
                <a:solidFill>
                  <a:prstClr val="black"/>
                </a:solidFill>
                <a:latin typeface="楷体" panose="02010609060101010101" pitchFamily="49" charset="-122"/>
              </a:rPr>
              <a:t>亿</a:t>
            </a:r>
            <a:endParaRPr lang="en-US" altLang="zh-CN" sz="1200" dirty="0">
              <a:solidFill>
                <a:prstClr val="black"/>
              </a:solidFill>
              <a:latin typeface="楷体" panose="02010609060101010101" pitchFamily="49" charset="-122"/>
            </a:endParaRPr>
          </a:p>
        </p:txBody>
      </p:sp>
      <p:sp>
        <p:nvSpPr>
          <p:cNvPr id="38" name="文本框 37"/>
          <p:cNvSpPr txBox="1"/>
          <p:nvPr/>
        </p:nvSpPr>
        <p:spPr>
          <a:xfrm>
            <a:off x="4108931" y="3126403"/>
            <a:ext cx="1620000" cy="396000"/>
          </a:xfrm>
          <a:prstGeom prst="rect">
            <a:avLst/>
          </a:prstGeom>
          <a:noFill/>
        </p:spPr>
        <p:txBody>
          <a:bodyPr wrap="square" lIns="36000" tIns="0" rIns="36000" bIns="0" rtlCol="0" anchor="ctr" anchorCtr="0">
            <a:noAutofit/>
          </a:bodyPr>
          <a:lstStyle/>
          <a:p>
            <a:pPr marL="174625" indent="-174625" eaLnBrk="0" fontAlgn="base" hangingPunct="0">
              <a:spcBef>
                <a:spcPct val="0"/>
              </a:spcBef>
              <a:spcAft>
                <a:spcPct val="0"/>
              </a:spcAft>
              <a:buFont typeface="Arial" panose="020B0604020202020204" pitchFamily="34" charset="0"/>
              <a:buChar char="•"/>
            </a:pPr>
            <a:r>
              <a:rPr lang="en-US" altLang="zh-CN" sz="1200" dirty="0" smtClean="0">
                <a:solidFill>
                  <a:prstClr val="black"/>
                </a:solidFill>
                <a:latin typeface="楷体" panose="02010609060101010101" pitchFamily="49" charset="-122"/>
              </a:rPr>
              <a:t>xx</a:t>
            </a:r>
            <a:r>
              <a:rPr lang="zh-CN" altLang="en-US" sz="1200" dirty="0" smtClean="0">
                <a:solidFill>
                  <a:prstClr val="black"/>
                </a:solidFill>
                <a:latin typeface="楷体" panose="02010609060101010101" pitchFamily="49" charset="-122"/>
              </a:rPr>
              <a:t>亿</a:t>
            </a:r>
            <a:endParaRPr lang="en-US" altLang="zh-CN" sz="1200" dirty="0">
              <a:solidFill>
                <a:prstClr val="black"/>
              </a:solidFill>
              <a:latin typeface="楷体" panose="02010609060101010101" pitchFamily="49" charset="-122"/>
            </a:endParaRPr>
          </a:p>
        </p:txBody>
      </p:sp>
      <p:sp>
        <p:nvSpPr>
          <p:cNvPr id="39" name="文本框 38"/>
          <p:cNvSpPr txBox="1"/>
          <p:nvPr/>
        </p:nvSpPr>
        <p:spPr>
          <a:xfrm>
            <a:off x="4108931" y="3639325"/>
            <a:ext cx="1620000" cy="396000"/>
          </a:xfrm>
          <a:prstGeom prst="rect">
            <a:avLst/>
          </a:prstGeom>
          <a:noFill/>
        </p:spPr>
        <p:txBody>
          <a:bodyPr wrap="square" lIns="36000" tIns="0" rIns="36000" bIns="0" rtlCol="0" anchor="ctr" anchorCtr="0">
            <a:noAutofit/>
          </a:bodyPr>
          <a:lstStyle/>
          <a:p>
            <a:pPr marL="174625" indent="-174625" eaLnBrk="0" fontAlgn="base" hangingPunct="0">
              <a:spcBef>
                <a:spcPct val="0"/>
              </a:spcBef>
              <a:spcAft>
                <a:spcPct val="0"/>
              </a:spcAft>
              <a:buFont typeface="Arial" panose="020B0604020202020204" pitchFamily="34" charset="0"/>
              <a:buChar char="•"/>
            </a:pPr>
            <a:r>
              <a:rPr lang="en-US" altLang="zh-CN" sz="1200" dirty="0" smtClean="0">
                <a:latin typeface="楷体" panose="02010609060101010101" pitchFamily="49" charset="-122"/>
              </a:rPr>
              <a:t>xx</a:t>
            </a:r>
            <a:r>
              <a:rPr lang="zh-CN" altLang="en-US" sz="1200" dirty="0" smtClean="0">
                <a:latin typeface="楷体" panose="02010609060101010101" pitchFamily="49" charset="-122"/>
              </a:rPr>
              <a:t>亿</a:t>
            </a:r>
            <a:endParaRPr lang="en-US" altLang="zh-CN" sz="1200" dirty="0">
              <a:latin typeface="楷体" panose="02010609060101010101" pitchFamily="49" charset="-122"/>
            </a:endParaRPr>
          </a:p>
        </p:txBody>
      </p:sp>
      <p:sp>
        <p:nvSpPr>
          <p:cNvPr id="40" name="文本框 39"/>
          <p:cNvSpPr txBox="1"/>
          <p:nvPr/>
        </p:nvSpPr>
        <p:spPr>
          <a:xfrm>
            <a:off x="4108931" y="4152247"/>
            <a:ext cx="1620000" cy="396000"/>
          </a:xfrm>
          <a:prstGeom prst="rect">
            <a:avLst/>
          </a:prstGeom>
          <a:noFill/>
        </p:spPr>
        <p:txBody>
          <a:bodyPr wrap="square" lIns="36000" tIns="0" rIns="36000" bIns="0" rtlCol="0" anchor="ctr" anchorCtr="0">
            <a:noAutofit/>
          </a:bodyPr>
          <a:lstStyle/>
          <a:p>
            <a:pPr marL="174625" indent="-174625" eaLnBrk="0" fontAlgn="base" hangingPunct="0">
              <a:spcBef>
                <a:spcPct val="0"/>
              </a:spcBef>
              <a:spcAft>
                <a:spcPct val="0"/>
              </a:spcAft>
              <a:buFont typeface="Arial" panose="020B0604020202020204" pitchFamily="34" charset="0"/>
              <a:buChar char="•"/>
            </a:pPr>
            <a:r>
              <a:rPr lang="en-US" altLang="zh-CN" sz="1200" dirty="0" smtClean="0">
                <a:solidFill>
                  <a:prstClr val="black"/>
                </a:solidFill>
                <a:latin typeface="楷体" panose="02010609060101010101" pitchFamily="49" charset="-122"/>
              </a:rPr>
              <a:t>xx</a:t>
            </a:r>
            <a:r>
              <a:rPr lang="zh-CN" altLang="en-US" sz="1200" dirty="0" smtClean="0">
                <a:solidFill>
                  <a:prstClr val="black"/>
                </a:solidFill>
                <a:latin typeface="楷体" panose="02010609060101010101" pitchFamily="49" charset="-122"/>
              </a:rPr>
              <a:t>亿</a:t>
            </a:r>
            <a:endParaRPr lang="en-US" altLang="zh-CN" sz="1200" dirty="0">
              <a:solidFill>
                <a:prstClr val="black"/>
              </a:solidFill>
              <a:latin typeface="楷体" panose="02010609060101010101" pitchFamily="49" charset="-122"/>
            </a:endParaRPr>
          </a:p>
        </p:txBody>
      </p:sp>
      <p:sp>
        <p:nvSpPr>
          <p:cNvPr id="41" name="文本框 40"/>
          <p:cNvSpPr txBox="1"/>
          <p:nvPr/>
        </p:nvSpPr>
        <p:spPr>
          <a:xfrm>
            <a:off x="4108931" y="4665169"/>
            <a:ext cx="1620000" cy="396000"/>
          </a:xfrm>
          <a:prstGeom prst="rect">
            <a:avLst/>
          </a:prstGeom>
          <a:noFill/>
        </p:spPr>
        <p:txBody>
          <a:bodyPr wrap="square" lIns="36000" tIns="0" rIns="36000" bIns="0" rtlCol="0" anchor="ctr" anchorCtr="0">
            <a:noAutofit/>
          </a:bodyPr>
          <a:lstStyle/>
          <a:p>
            <a:pPr marL="174625" indent="-174625" eaLnBrk="0" fontAlgn="base" hangingPunct="0">
              <a:spcBef>
                <a:spcPct val="0"/>
              </a:spcBef>
              <a:spcAft>
                <a:spcPct val="0"/>
              </a:spcAft>
              <a:buFont typeface="Arial" panose="020B0604020202020204" pitchFamily="34" charset="0"/>
              <a:buChar char="•"/>
            </a:pPr>
            <a:r>
              <a:rPr lang="en-US" altLang="zh-CN" sz="1200" dirty="0" smtClean="0">
                <a:solidFill>
                  <a:prstClr val="black"/>
                </a:solidFill>
                <a:latin typeface="楷体" panose="02010609060101010101" pitchFamily="49" charset="-122"/>
              </a:rPr>
              <a:t>xx</a:t>
            </a:r>
            <a:r>
              <a:rPr lang="zh-CN" altLang="en-US" sz="1200" dirty="0" smtClean="0">
                <a:solidFill>
                  <a:prstClr val="black"/>
                </a:solidFill>
                <a:latin typeface="楷体" panose="02010609060101010101" pitchFamily="49" charset="-122"/>
              </a:rPr>
              <a:t>亿</a:t>
            </a:r>
            <a:endParaRPr lang="en-US" altLang="zh-CN" sz="1200" dirty="0">
              <a:solidFill>
                <a:prstClr val="black"/>
              </a:solidFill>
              <a:latin typeface="楷体" panose="02010609060101010101" pitchFamily="49" charset="-122"/>
            </a:endParaRPr>
          </a:p>
        </p:txBody>
      </p:sp>
      <p:sp>
        <p:nvSpPr>
          <p:cNvPr id="42" name="文本框 41"/>
          <p:cNvSpPr txBox="1"/>
          <p:nvPr/>
        </p:nvSpPr>
        <p:spPr>
          <a:xfrm>
            <a:off x="4108931" y="5178091"/>
            <a:ext cx="1620000" cy="396000"/>
          </a:xfrm>
          <a:prstGeom prst="rect">
            <a:avLst/>
          </a:prstGeom>
          <a:noFill/>
        </p:spPr>
        <p:txBody>
          <a:bodyPr wrap="square" lIns="36000" tIns="0" rIns="36000" bIns="0" rtlCol="0" anchor="ctr" anchorCtr="0">
            <a:noAutofit/>
          </a:bodyPr>
          <a:lstStyle/>
          <a:p>
            <a:pPr marL="174625" indent="-174625" eaLnBrk="0" fontAlgn="base" hangingPunct="0">
              <a:spcBef>
                <a:spcPct val="0"/>
              </a:spcBef>
              <a:spcAft>
                <a:spcPct val="0"/>
              </a:spcAft>
              <a:buFont typeface="Arial" panose="020B0604020202020204" pitchFamily="34" charset="0"/>
              <a:buChar char="•"/>
            </a:pPr>
            <a:r>
              <a:rPr lang="en-US" altLang="zh-CN" sz="1200" dirty="0" smtClean="0">
                <a:solidFill>
                  <a:prstClr val="black"/>
                </a:solidFill>
                <a:latin typeface="楷体" panose="02010609060101010101" pitchFamily="49" charset="-122"/>
              </a:rPr>
              <a:t>xx</a:t>
            </a:r>
            <a:r>
              <a:rPr lang="zh-CN" altLang="en-US" sz="1200" dirty="0" smtClean="0">
                <a:solidFill>
                  <a:prstClr val="black"/>
                </a:solidFill>
                <a:latin typeface="楷体" panose="02010609060101010101" pitchFamily="49" charset="-122"/>
              </a:rPr>
              <a:t>亿</a:t>
            </a:r>
            <a:endParaRPr lang="en-US" altLang="zh-CN" sz="1200" dirty="0">
              <a:solidFill>
                <a:prstClr val="black"/>
              </a:solidFill>
              <a:latin typeface="楷体" panose="02010609060101010101" pitchFamily="49" charset="-122"/>
            </a:endParaRPr>
          </a:p>
        </p:txBody>
      </p:sp>
      <p:sp>
        <p:nvSpPr>
          <p:cNvPr id="43" name="文本框 42"/>
          <p:cNvSpPr txBox="1"/>
          <p:nvPr/>
        </p:nvSpPr>
        <p:spPr>
          <a:xfrm>
            <a:off x="4108931" y="5691013"/>
            <a:ext cx="1620000" cy="396000"/>
          </a:xfrm>
          <a:prstGeom prst="rect">
            <a:avLst/>
          </a:prstGeom>
          <a:noFill/>
        </p:spPr>
        <p:txBody>
          <a:bodyPr wrap="square" lIns="36000" tIns="0" rIns="36000" bIns="0" rtlCol="0" anchor="ctr" anchorCtr="0">
            <a:noAutofit/>
          </a:bodyPr>
          <a:lstStyle/>
          <a:p>
            <a:pPr marL="174625" indent="-174625" eaLnBrk="0" fontAlgn="base" hangingPunct="0">
              <a:spcBef>
                <a:spcPct val="0"/>
              </a:spcBef>
              <a:spcAft>
                <a:spcPct val="0"/>
              </a:spcAft>
              <a:buFont typeface="Arial" panose="020B0604020202020204" pitchFamily="34" charset="0"/>
              <a:buChar char="•"/>
            </a:pPr>
            <a:r>
              <a:rPr lang="en-US" altLang="zh-CN" sz="1200" dirty="0" smtClean="0">
                <a:solidFill>
                  <a:prstClr val="black"/>
                </a:solidFill>
                <a:latin typeface="楷体" panose="02010609060101010101" pitchFamily="49" charset="-122"/>
              </a:rPr>
              <a:t>xx</a:t>
            </a:r>
            <a:r>
              <a:rPr lang="zh-CN" altLang="en-US" sz="1200" dirty="0" smtClean="0">
                <a:solidFill>
                  <a:prstClr val="black"/>
                </a:solidFill>
                <a:latin typeface="楷体" panose="02010609060101010101" pitchFamily="49" charset="-122"/>
              </a:rPr>
              <a:t>亿</a:t>
            </a:r>
            <a:endParaRPr lang="en-US" altLang="zh-CN" sz="1200" dirty="0">
              <a:solidFill>
                <a:prstClr val="black"/>
              </a:solidFill>
              <a:latin typeface="楷体" panose="02010609060101010101" pitchFamily="49" charset="-122"/>
            </a:endParaRPr>
          </a:p>
        </p:txBody>
      </p:sp>
      <p:grpSp>
        <p:nvGrpSpPr>
          <p:cNvPr id="53" name="Group 2"/>
          <p:cNvGrpSpPr/>
          <p:nvPr/>
        </p:nvGrpSpPr>
        <p:grpSpPr bwMode="auto">
          <a:xfrm>
            <a:off x="6693029" y="2447223"/>
            <a:ext cx="3982249" cy="264331"/>
            <a:chOff x="721" y="937"/>
            <a:chExt cx="2166" cy="101"/>
          </a:xfrm>
        </p:grpSpPr>
        <p:cxnSp>
          <p:nvCxnSpPr>
            <p:cNvPr id="54" name="AutoShape 249"/>
            <p:cNvCxnSpPr>
              <a:cxnSpLocks noChangeShapeType="1"/>
              <a:endCxn id="55" idx="6"/>
            </p:cNvCxnSpPr>
            <p:nvPr/>
          </p:nvCxnSpPr>
          <p:spPr bwMode="auto">
            <a:xfrm>
              <a:off x="721" y="1038"/>
              <a:ext cx="2166" cy="0"/>
            </a:xfrm>
            <a:prstGeom prst="straightConnector1">
              <a:avLst/>
            </a:prstGeom>
            <a:noFill/>
            <a:ln w="9525">
              <a:solidFill>
                <a:srgbClr val="80808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 name="AutoShape 250"/>
            <p:cNvSpPr>
              <a:spLocks noChangeArrowheads="1"/>
            </p:cNvSpPr>
            <p:nvPr/>
          </p:nvSpPr>
          <p:spPr bwMode="auto">
            <a:xfrm>
              <a:off x="724" y="937"/>
              <a:ext cx="2163" cy="10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algn="ctr"/>
              <a:r>
                <a:rPr lang="zh-CN" altLang="en-US" sz="1600" b="1" dirty="0" smtClean="0"/>
                <a:t>组织机构和考核激励机制</a:t>
              </a:r>
              <a:endParaRPr lang="en-US" altLang="zh-CN" sz="1600" b="1" noProof="0" dirty="0" smtClean="0"/>
            </a:p>
          </p:txBody>
        </p:sp>
      </p:grpSp>
      <p:grpSp>
        <p:nvGrpSpPr>
          <p:cNvPr id="56" name="Group 107"/>
          <p:cNvGrpSpPr/>
          <p:nvPr/>
        </p:nvGrpSpPr>
        <p:grpSpPr>
          <a:xfrm>
            <a:off x="6865804" y="2843559"/>
            <a:ext cx="3732474" cy="2677211"/>
            <a:chOff x="4630852" y="1604358"/>
            <a:chExt cx="3309021" cy="2677211"/>
          </a:xfrm>
        </p:grpSpPr>
        <p:sp>
          <p:nvSpPr>
            <p:cNvPr id="57" name="Rectangle 100"/>
            <p:cNvSpPr txBox="1"/>
            <p:nvPr/>
          </p:nvSpPr>
          <p:spPr>
            <a:xfrm>
              <a:off x="4630853" y="1604358"/>
              <a:ext cx="1639423" cy="884088"/>
            </a:xfrm>
            <a:prstGeom prst="rect">
              <a:avLst/>
            </a:prstGeom>
            <a:solidFill>
              <a:schemeClr val="accent1"/>
            </a:solidFill>
            <a:ln>
              <a:solidFill>
                <a:schemeClr val="bg1"/>
              </a:solidFill>
            </a:ln>
          </p:spPr>
          <p:txBody>
            <a:bodyPr vert="horz" wrap="none" lIns="72009" tIns="72009" rIns="72009" bIns="72009" rtlCol="0" anchor="ctr" anchorCtr="0">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600" b="1" dirty="0">
                  <a:solidFill>
                    <a:schemeClr val="bg1"/>
                  </a:solidFill>
                </a:rPr>
                <a:t>功能设计</a:t>
              </a:r>
              <a:r>
                <a:rPr lang="en-US" altLang="zh-CN" sz="1600" b="1" dirty="0">
                  <a:solidFill>
                    <a:schemeClr val="bg1"/>
                  </a:solidFill>
                </a:rPr>
                <a:t> </a:t>
              </a:r>
              <a:endParaRPr lang="en-US" altLang="zh-CN" sz="1600" b="1" dirty="0" smtClean="0">
                <a:solidFill>
                  <a:schemeClr val="bg1"/>
                </a:solidFill>
              </a:endParaRPr>
            </a:p>
            <a:p>
              <a:r>
                <a:rPr lang="zh-CN" altLang="en-US" sz="1400" dirty="0" smtClean="0">
                  <a:solidFill>
                    <a:schemeClr val="bg1"/>
                  </a:solidFill>
                </a:rPr>
                <a:t>组织</a:t>
              </a:r>
              <a:r>
                <a:rPr lang="zh-CN" altLang="en-US" sz="1400" dirty="0">
                  <a:solidFill>
                    <a:schemeClr val="bg1"/>
                  </a:solidFill>
                </a:rPr>
                <a:t>功能模块</a:t>
              </a:r>
              <a:endParaRPr lang="en-US" altLang="zh-CN" sz="1400" dirty="0" smtClean="0">
                <a:solidFill>
                  <a:schemeClr val="bg1"/>
                </a:solidFill>
              </a:endParaRPr>
            </a:p>
          </p:txBody>
        </p:sp>
        <p:sp>
          <p:nvSpPr>
            <p:cNvPr id="58" name="Rectangle 100"/>
            <p:cNvSpPr txBox="1"/>
            <p:nvPr/>
          </p:nvSpPr>
          <p:spPr>
            <a:xfrm>
              <a:off x="6300450" y="1604358"/>
              <a:ext cx="1639423" cy="884088"/>
            </a:xfrm>
            <a:prstGeom prst="rect">
              <a:avLst/>
            </a:prstGeom>
            <a:solidFill>
              <a:schemeClr val="accent1"/>
            </a:solidFill>
            <a:ln>
              <a:solidFill>
                <a:schemeClr val="bg1"/>
              </a:solidFill>
            </a:ln>
          </p:spPr>
          <p:txBody>
            <a:bodyPr vert="horz" wrap="none" lIns="72009" tIns="72009" rIns="72009" bIns="72009" rtlCol="0" anchor="ctr" anchorCtr="0">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600" b="1" dirty="0">
                  <a:solidFill>
                    <a:schemeClr val="bg1"/>
                  </a:solidFill>
                </a:rPr>
                <a:t>七定</a:t>
              </a:r>
              <a:r>
                <a:rPr lang="en-US" altLang="zh-CN" sz="1600" dirty="0">
                  <a:solidFill>
                    <a:schemeClr val="bg1"/>
                  </a:solidFill>
                </a:rPr>
                <a:t> </a:t>
              </a:r>
              <a:endParaRPr lang="en-US" altLang="zh-CN" sz="1600" dirty="0" smtClean="0">
                <a:solidFill>
                  <a:schemeClr val="bg1"/>
                </a:solidFill>
              </a:endParaRPr>
            </a:p>
            <a:p>
              <a:r>
                <a:rPr lang="zh-CN" altLang="en-US" sz="1400" dirty="0" smtClean="0">
                  <a:solidFill>
                    <a:schemeClr val="bg1"/>
                  </a:solidFill>
                </a:rPr>
                <a:t>定岗定</a:t>
              </a:r>
              <a:r>
                <a:rPr lang="zh-CN" altLang="en-US" sz="1400" dirty="0">
                  <a:solidFill>
                    <a:schemeClr val="bg1"/>
                  </a:solidFill>
                </a:rPr>
                <a:t>责定编定 </a:t>
              </a:r>
              <a:endParaRPr lang="en-US" altLang="zh-CN" sz="1400" dirty="0" smtClean="0">
                <a:solidFill>
                  <a:schemeClr val="bg1"/>
                </a:solidFill>
              </a:endParaRPr>
            </a:p>
            <a:p>
              <a:r>
                <a:rPr lang="zh-CN" altLang="en-US" sz="1400" dirty="0" smtClean="0">
                  <a:solidFill>
                    <a:schemeClr val="bg1"/>
                  </a:solidFill>
                </a:rPr>
                <a:t>员</a:t>
              </a:r>
              <a:r>
                <a:rPr lang="zh-CN" altLang="en-US" sz="1400" dirty="0">
                  <a:solidFill>
                    <a:schemeClr val="bg1"/>
                  </a:solidFill>
                </a:rPr>
                <a:t>定薪定标定线</a:t>
              </a:r>
              <a:endParaRPr lang="en-US" altLang="zh-CN" sz="1400" dirty="0" smtClean="0">
                <a:solidFill>
                  <a:schemeClr val="bg1"/>
                </a:solidFill>
              </a:endParaRPr>
            </a:p>
          </p:txBody>
        </p:sp>
        <p:sp>
          <p:nvSpPr>
            <p:cNvPr id="59" name="Rectangle 100"/>
            <p:cNvSpPr txBox="1"/>
            <p:nvPr/>
          </p:nvSpPr>
          <p:spPr>
            <a:xfrm>
              <a:off x="4630853" y="2500920"/>
              <a:ext cx="1639423" cy="884088"/>
            </a:xfrm>
            <a:prstGeom prst="rect">
              <a:avLst/>
            </a:prstGeom>
            <a:solidFill>
              <a:schemeClr val="accent1"/>
            </a:solidFill>
            <a:ln>
              <a:solidFill>
                <a:schemeClr val="bg1"/>
              </a:solidFill>
            </a:ln>
          </p:spPr>
          <p:txBody>
            <a:bodyPr vert="horz" wrap="none" lIns="72009" tIns="72009" rIns="72009" bIns="72009" rtlCol="0" anchor="ctr" anchorCtr="0">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600" b="1" dirty="0" smtClean="0">
                  <a:solidFill>
                    <a:schemeClr val="bg1"/>
                  </a:solidFill>
                </a:rPr>
                <a:t>组织</a:t>
              </a:r>
              <a:r>
                <a:rPr lang="zh-CN" altLang="en-US" sz="1600" b="1" dirty="0">
                  <a:solidFill>
                    <a:schemeClr val="bg1"/>
                  </a:solidFill>
                </a:rPr>
                <a:t>规划 </a:t>
              </a:r>
              <a:endParaRPr lang="en-US" altLang="zh-CN" sz="1600" b="1" dirty="0" smtClean="0">
                <a:solidFill>
                  <a:schemeClr val="bg1"/>
                </a:solidFill>
              </a:endParaRPr>
            </a:p>
            <a:p>
              <a:r>
                <a:rPr lang="zh-CN" altLang="en-US" sz="1400" dirty="0" smtClean="0">
                  <a:solidFill>
                    <a:schemeClr val="bg1"/>
                  </a:solidFill>
                </a:rPr>
                <a:t>总部</a:t>
              </a:r>
              <a:r>
                <a:rPr lang="zh-CN" altLang="en-US" sz="1400" dirty="0">
                  <a:solidFill>
                    <a:schemeClr val="bg1"/>
                  </a:solidFill>
                </a:rPr>
                <a:t>和板块设置</a:t>
              </a:r>
              <a:endParaRPr lang="en-US" altLang="zh-CN" sz="1400" dirty="0" smtClean="0">
                <a:solidFill>
                  <a:schemeClr val="bg1"/>
                </a:solidFill>
              </a:endParaRPr>
            </a:p>
          </p:txBody>
        </p:sp>
        <p:sp>
          <p:nvSpPr>
            <p:cNvPr id="60" name="Rectangle 100"/>
            <p:cNvSpPr txBox="1"/>
            <p:nvPr/>
          </p:nvSpPr>
          <p:spPr>
            <a:xfrm>
              <a:off x="6300450" y="2500920"/>
              <a:ext cx="1639423" cy="884088"/>
            </a:xfrm>
            <a:prstGeom prst="rect">
              <a:avLst/>
            </a:prstGeom>
            <a:solidFill>
              <a:schemeClr val="accent1"/>
            </a:solidFill>
            <a:ln>
              <a:solidFill>
                <a:schemeClr val="bg1"/>
              </a:solidFill>
            </a:ln>
          </p:spPr>
          <p:txBody>
            <a:bodyPr vert="horz" wrap="none" lIns="72009" tIns="72009" rIns="72009" bIns="72009" rtlCol="0" anchor="ctr" anchorCtr="0">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600" b="1" dirty="0">
                  <a:solidFill>
                    <a:schemeClr val="bg1"/>
                  </a:solidFill>
                </a:rPr>
                <a:t>目标分解 </a:t>
              </a:r>
              <a:endParaRPr lang="en-US" altLang="zh-CN" sz="1600" b="1" dirty="0" smtClean="0">
                <a:solidFill>
                  <a:schemeClr val="bg1"/>
                </a:solidFill>
              </a:endParaRPr>
            </a:p>
            <a:p>
              <a:r>
                <a:rPr lang="zh-CN" altLang="en-US" sz="1400" dirty="0" smtClean="0">
                  <a:solidFill>
                    <a:schemeClr val="bg1"/>
                  </a:solidFill>
                </a:rPr>
                <a:t>制定</a:t>
              </a:r>
              <a:r>
                <a:rPr lang="en-US" altLang="zh-CN" sz="1400" dirty="0" err="1">
                  <a:solidFill>
                    <a:schemeClr val="bg1"/>
                  </a:solidFill>
                </a:rPr>
                <a:t>KPI</a:t>
              </a:r>
              <a:r>
                <a:rPr lang="zh-CN" altLang="en-US" sz="1400" dirty="0">
                  <a:solidFill>
                    <a:schemeClr val="bg1"/>
                  </a:solidFill>
                </a:rPr>
                <a:t>体系</a:t>
              </a:r>
              <a:endParaRPr lang="en-US" altLang="zh-CN" sz="1400" dirty="0" smtClean="0">
                <a:solidFill>
                  <a:schemeClr val="bg1"/>
                </a:solidFill>
              </a:endParaRPr>
            </a:p>
          </p:txBody>
        </p:sp>
        <p:sp>
          <p:nvSpPr>
            <p:cNvPr id="61" name="Rectangle 100"/>
            <p:cNvSpPr txBox="1"/>
            <p:nvPr/>
          </p:nvSpPr>
          <p:spPr>
            <a:xfrm>
              <a:off x="4630852" y="3397481"/>
              <a:ext cx="1639423" cy="884088"/>
            </a:xfrm>
            <a:prstGeom prst="rect">
              <a:avLst/>
            </a:prstGeom>
            <a:solidFill>
              <a:schemeClr val="accent1"/>
            </a:solidFill>
            <a:ln>
              <a:solidFill>
                <a:schemeClr val="bg1"/>
              </a:solidFill>
            </a:ln>
          </p:spPr>
          <p:txBody>
            <a:bodyPr vert="horz" wrap="none" lIns="72009" tIns="72009" rIns="72009" bIns="72009" rtlCol="0" anchor="ctr" anchorCtr="0">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600" b="1" dirty="0">
                  <a:solidFill>
                    <a:schemeClr val="bg1"/>
                  </a:solidFill>
                </a:rPr>
                <a:t>架构细化 </a:t>
              </a:r>
              <a:endParaRPr lang="en-US" altLang="zh-CN" sz="1600" b="1" dirty="0" smtClean="0">
                <a:solidFill>
                  <a:schemeClr val="bg1"/>
                </a:solidFill>
              </a:endParaRPr>
            </a:p>
            <a:p>
              <a:r>
                <a:rPr lang="zh-CN" altLang="en-US" sz="1400" dirty="0" smtClean="0">
                  <a:solidFill>
                    <a:schemeClr val="bg1"/>
                  </a:solidFill>
                </a:rPr>
                <a:t>板块</a:t>
              </a:r>
              <a:r>
                <a:rPr lang="zh-CN" altLang="en-US" sz="1400" dirty="0">
                  <a:solidFill>
                    <a:schemeClr val="bg1"/>
                  </a:solidFill>
                </a:rPr>
                <a:t>内架构设计</a:t>
              </a:r>
              <a:endParaRPr lang="en-US" altLang="zh-CN" sz="1400" dirty="0" smtClean="0">
                <a:solidFill>
                  <a:schemeClr val="bg1"/>
                </a:solidFill>
              </a:endParaRPr>
            </a:p>
          </p:txBody>
        </p:sp>
        <p:sp>
          <p:nvSpPr>
            <p:cNvPr id="62" name="Rectangle 100"/>
            <p:cNvSpPr txBox="1"/>
            <p:nvPr/>
          </p:nvSpPr>
          <p:spPr>
            <a:xfrm>
              <a:off x="6300450" y="3397481"/>
              <a:ext cx="1639423" cy="884088"/>
            </a:xfrm>
            <a:prstGeom prst="rect">
              <a:avLst/>
            </a:prstGeom>
            <a:solidFill>
              <a:schemeClr val="accent1"/>
            </a:solidFill>
            <a:ln>
              <a:solidFill>
                <a:schemeClr val="bg1"/>
              </a:solidFill>
            </a:ln>
          </p:spPr>
          <p:txBody>
            <a:bodyPr vert="horz" wrap="none" lIns="72009" tIns="72009" rIns="72009" bIns="72009" rtlCol="0" anchor="ctr" anchorCtr="0">
              <a:noAutofit/>
            </a:bodyPr>
            <a:lstStyle>
              <a:lvl1pPr marL="0" lvl="0" indent="0" defTabSz="895350" eaLnBrk="1" hangingPunct="1">
                <a:buClr>
                  <a:schemeClr val="tx2"/>
                </a:buClr>
                <a:defRPr baseline="0">
                  <a:latin typeface="+mn-lt"/>
                </a:defRPr>
              </a:lvl1pPr>
              <a:lvl2pPr marL="193675" indent="-192405" defTabSz="895350" eaLnBrk="1" hangingPunct="1">
                <a:buClr>
                  <a:schemeClr val="tx2"/>
                </a:buClr>
                <a:buSzPct val="125000"/>
                <a:buFont typeface="Arial" panose="020B0604020202020204" pitchFamily="34" charset="0"/>
                <a:buChar char="▪"/>
                <a:defRPr baseline="0">
                  <a:latin typeface="+mn-lt"/>
                </a:defRPr>
              </a:lvl2pPr>
              <a:lvl3pPr marL="457200" indent="-262255" defTabSz="895350" eaLnBrk="1" hangingPunct="1">
                <a:buClr>
                  <a:schemeClr val="tx2"/>
                </a:buClr>
                <a:buSzPct val="120000"/>
                <a:buFont typeface="Arial" panose="020B0604020202020204" pitchFamily="34" charset="0"/>
                <a:buChar char="–"/>
                <a:defRPr baseline="0">
                  <a:latin typeface="+mn-lt"/>
                </a:defRPr>
              </a:lvl3pPr>
              <a:lvl4pPr marL="614680" indent="-155575" defTabSz="895350" eaLnBrk="1" hangingPunct="1">
                <a:buClr>
                  <a:schemeClr val="tx2"/>
                </a:buClr>
                <a:buSzPct val="120000"/>
                <a:buFont typeface="Arial" panose="020B0604020202020204" pitchFamily="34" charset="0"/>
                <a:buChar char="▫"/>
                <a:defRPr baseline="0">
                  <a:latin typeface="+mn-lt"/>
                </a:defRPr>
              </a:lvl4pPr>
              <a:lvl5pPr marL="749935"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baseline="0">
                  <a:latin typeface="+mn-lt"/>
                </a:defRPr>
              </a:lvl9pPr>
            </a:lstStyle>
            <a:p>
              <a:r>
                <a:rPr lang="zh-CN" altLang="en-US" sz="1600" b="1" dirty="0">
                  <a:solidFill>
                    <a:schemeClr val="bg1"/>
                  </a:solidFill>
                </a:rPr>
                <a:t>机制配套 </a:t>
              </a:r>
              <a:endParaRPr lang="en-US" altLang="zh-CN" sz="1600" b="1" dirty="0" smtClean="0">
                <a:solidFill>
                  <a:schemeClr val="bg1"/>
                </a:solidFill>
              </a:endParaRPr>
            </a:p>
            <a:p>
              <a:r>
                <a:rPr lang="zh-CN" altLang="en-US" sz="1400" dirty="0" smtClean="0">
                  <a:solidFill>
                    <a:schemeClr val="bg1"/>
                  </a:solidFill>
                </a:rPr>
                <a:t>完善</a:t>
              </a:r>
              <a:r>
                <a:rPr lang="zh-CN" altLang="en-US" sz="1400" dirty="0">
                  <a:solidFill>
                    <a:schemeClr val="bg1"/>
                  </a:solidFill>
                </a:rPr>
                <a:t>管理机制</a:t>
              </a:r>
              <a:endParaRPr lang="en-US" altLang="zh-CN" sz="1400" dirty="0" smtClean="0">
                <a:solidFill>
                  <a:schemeClr val="bg1"/>
                </a:solidFill>
              </a:endParaRPr>
            </a:p>
          </p:txBody>
        </p:sp>
      </p:grpSp>
      <p:pic>
        <p:nvPicPr>
          <p:cNvPr id="51" name="图片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63"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t>项目目标</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413" name="think-cell Slide" r:id="rId2" imgW="12700" imgH="12700" progId="TCLayout.ActiveDocument.1">
                  <p:embed/>
                </p:oleObj>
              </mc:Choice>
              <mc:Fallback>
                <p:oleObj name="think-cell Slide" r:id="rId2" imgW="12700" imgH="12700" progId="TCLayout.ActiveDocument.1">
                  <p:embed/>
                  <p:pic>
                    <p:nvPicPr>
                      <p:cNvPr id="0" name="图片 137412"/>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16" name="TextColumnContent"/>
          <p:cNvSpPr>
            <a:spLocks noChangeArrowheads="1"/>
          </p:cNvSpPr>
          <p:nvPr/>
        </p:nvSpPr>
        <p:spPr bwMode="gray">
          <a:xfrm>
            <a:off x="359999" y="1774371"/>
            <a:ext cx="3610960" cy="3866017"/>
          </a:xfrm>
          <a:prstGeom prst="rect">
            <a:avLst/>
          </a:prstGeom>
          <a:noFill/>
          <a:ln w="9525" algn="ctr">
            <a:noFill/>
            <a:miter lim="800000"/>
            <a:headEnd type="none" w="lg" len="lg"/>
            <a:tailEnd type="none" w="lg" len="lg"/>
          </a:ln>
          <a:effectLst/>
        </p:spPr>
        <p:txBody>
          <a:bodyPr tIns="91440" bIns="91440"/>
          <a:lstStyle/>
          <a:p>
            <a:r>
              <a:rPr lang="en-US" altLang="zh-CN" sz="1400" b="1" dirty="0" smtClean="0">
                <a:solidFill>
                  <a:srgbClr val="000000"/>
                </a:solidFill>
                <a:latin typeface="Arial" panose="020B0604020202020204" pitchFamily="34" charset="0"/>
                <a:cs typeface="Arial" panose="020B0604020202020204" pitchFamily="34" charset="0"/>
              </a:rPr>
              <a:t>Text</a:t>
            </a:r>
            <a:endParaRPr lang="en-US" altLang="zh-CN" sz="1400" b="1" dirty="0" smtClean="0">
              <a:solidFill>
                <a:srgbClr val="000000"/>
              </a:solidFill>
              <a:latin typeface="Arial" panose="020B0604020202020204" pitchFamily="34" charset="0"/>
              <a:cs typeface="Arial" panose="020B0604020202020204" pitchFamily="34" charset="0"/>
            </a:endParaRPr>
          </a:p>
          <a:p>
            <a:pPr marL="288925" lvl="1" indent="-174625">
              <a:buClr>
                <a:schemeClr val="tx2"/>
              </a:buClr>
              <a:buFontTx/>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en-US" altLang="zh-CN" sz="1400" dirty="0" smtClean="0">
              <a:solidFill>
                <a:srgbClr val="000000"/>
              </a:solidFill>
              <a:latin typeface="Arial" panose="020B0604020202020204" pitchFamily="34" charset="0"/>
              <a:cs typeface="Arial" panose="020B0604020202020204" pitchFamily="34" charset="0"/>
            </a:endParaRPr>
          </a:p>
          <a:p>
            <a:pPr marL="570230" lvl="2" indent="-167005">
              <a:buClr>
                <a:schemeClr val="tx2"/>
              </a:buClr>
              <a:buFont typeface="Arial" panose="020B0604020202020204" pitchFamily="34" charset="0"/>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zh-CN" altLang="en-US" sz="1400" dirty="0">
              <a:solidFill>
                <a:srgbClr val="000000"/>
              </a:solidFill>
              <a:latin typeface="Arial" panose="020B0604020202020204" pitchFamily="34" charset="0"/>
              <a:cs typeface="Arial" panose="020B0604020202020204" pitchFamily="34" charset="0"/>
            </a:endParaRPr>
          </a:p>
        </p:txBody>
      </p:sp>
      <p:sp>
        <p:nvSpPr>
          <p:cNvPr id="18" name="TextColumnContent"/>
          <p:cNvSpPr>
            <a:spLocks noChangeArrowheads="1"/>
          </p:cNvSpPr>
          <p:nvPr/>
        </p:nvSpPr>
        <p:spPr bwMode="gray">
          <a:xfrm>
            <a:off x="8156496" y="1774371"/>
            <a:ext cx="3610960" cy="3866017"/>
          </a:xfrm>
          <a:prstGeom prst="rect">
            <a:avLst/>
          </a:prstGeom>
          <a:noFill/>
          <a:ln w="9525" algn="ctr">
            <a:noFill/>
            <a:miter lim="800000"/>
            <a:headEnd type="none" w="lg" len="lg"/>
            <a:tailEnd type="none" w="lg" len="lg"/>
          </a:ln>
          <a:effectLst/>
        </p:spPr>
        <p:txBody>
          <a:bodyPr tIns="91440" bIns="91440"/>
          <a:lstStyle/>
          <a:p>
            <a:r>
              <a:rPr lang="en-US" altLang="zh-CN" sz="1400" b="1" dirty="0" smtClean="0">
                <a:solidFill>
                  <a:srgbClr val="000000"/>
                </a:solidFill>
                <a:latin typeface="Arial" panose="020B0604020202020204" pitchFamily="34" charset="0"/>
                <a:cs typeface="Arial" panose="020B0604020202020204" pitchFamily="34" charset="0"/>
              </a:rPr>
              <a:t>Text</a:t>
            </a:r>
            <a:endParaRPr lang="en-US" altLang="zh-CN" sz="1400" b="1" dirty="0" smtClean="0">
              <a:solidFill>
                <a:srgbClr val="000000"/>
              </a:solidFill>
              <a:latin typeface="Arial" panose="020B0604020202020204" pitchFamily="34" charset="0"/>
              <a:cs typeface="Arial" panose="020B0604020202020204" pitchFamily="34" charset="0"/>
            </a:endParaRPr>
          </a:p>
          <a:p>
            <a:pPr marL="288925" lvl="1" indent="-174625">
              <a:buClr>
                <a:schemeClr val="tx2"/>
              </a:buClr>
              <a:buFontTx/>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en-US" altLang="zh-CN" sz="1400" dirty="0" smtClean="0">
              <a:solidFill>
                <a:srgbClr val="000000"/>
              </a:solidFill>
              <a:latin typeface="Arial" panose="020B0604020202020204" pitchFamily="34" charset="0"/>
              <a:cs typeface="Arial" panose="020B0604020202020204" pitchFamily="34" charset="0"/>
            </a:endParaRPr>
          </a:p>
          <a:p>
            <a:pPr marL="570230" lvl="2" indent="-167005">
              <a:buClr>
                <a:schemeClr val="tx2"/>
              </a:buClr>
              <a:buFont typeface="Arial" panose="020B0604020202020204" pitchFamily="34" charset="0"/>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zh-CN" altLang="en-US" sz="1400" dirty="0">
              <a:solidFill>
                <a:srgbClr val="000000"/>
              </a:solidFill>
              <a:latin typeface="Arial" panose="020B0604020202020204" pitchFamily="34" charset="0"/>
              <a:cs typeface="Arial" panose="020B0604020202020204" pitchFamily="34" charset="0"/>
            </a:endParaRPr>
          </a:p>
        </p:txBody>
      </p:sp>
      <p:sp>
        <p:nvSpPr>
          <p:cNvPr id="8" name="TextColumnContent"/>
          <p:cNvSpPr>
            <a:spLocks noChangeArrowheads="1"/>
          </p:cNvSpPr>
          <p:nvPr/>
        </p:nvSpPr>
        <p:spPr bwMode="gray">
          <a:xfrm>
            <a:off x="4258248" y="1774371"/>
            <a:ext cx="3610960" cy="3866017"/>
          </a:xfrm>
          <a:prstGeom prst="rect">
            <a:avLst/>
          </a:prstGeom>
          <a:noFill/>
          <a:ln w="9525" algn="ctr">
            <a:noFill/>
            <a:miter lim="800000"/>
            <a:headEnd type="none" w="lg" len="lg"/>
            <a:tailEnd type="none" w="lg" len="lg"/>
          </a:ln>
          <a:effectLst/>
        </p:spPr>
        <p:txBody>
          <a:bodyPr tIns="91440" bIns="91440"/>
          <a:lstStyle/>
          <a:p>
            <a:r>
              <a:rPr lang="en-US" altLang="zh-CN" sz="1400" b="1" dirty="0" smtClean="0">
                <a:solidFill>
                  <a:srgbClr val="000000"/>
                </a:solidFill>
                <a:latin typeface="Arial" panose="020B0604020202020204" pitchFamily="34" charset="0"/>
                <a:cs typeface="Arial" panose="020B0604020202020204" pitchFamily="34" charset="0"/>
              </a:rPr>
              <a:t>Text</a:t>
            </a:r>
            <a:endParaRPr lang="en-US" altLang="zh-CN" sz="1400" b="1" dirty="0" smtClean="0">
              <a:solidFill>
                <a:srgbClr val="000000"/>
              </a:solidFill>
              <a:latin typeface="Arial" panose="020B0604020202020204" pitchFamily="34" charset="0"/>
              <a:cs typeface="Arial" panose="020B0604020202020204" pitchFamily="34" charset="0"/>
            </a:endParaRPr>
          </a:p>
          <a:p>
            <a:pPr marL="288925" lvl="1" indent="-174625">
              <a:buClr>
                <a:schemeClr val="tx2"/>
              </a:buClr>
              <a:buFontTx/>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en-US" altLang="zh-CN" sz="1400" dirty="0" smtClean="0">
              <a:solidFill>
                <a:srgbClr val="000000"/>
              </a:solidFill>
              <a:latin typeface="Arial" panose="020B0604020202020204" pitchFamily="34" charset="0"/>
              <a:cs typeface="Arial" panose="020B0604020202020204" pitchFamily="34" charset="0"/>
            </a:endParaRPr>
          </a:p>
          <a:p>
            <a:pPr marL="570230" lvl="2" indent="-167005">
              <a:buClr>
                <a:schemeClr val="tx2"/>
              </a:buClr>
              <a:buFont typeface="Arial" panose="020B0604020202020204" pitchFamily="34" charset="0"/>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zh-CN" altLang="en-US" sz="1400" dirty="0">
              <a:solidFill>
                <a:srgbClr val="000000"/>
              </a:solidFill>
              <a:latin typeface="Arial" panose="020B0604020202020204" pitchFamily="34" charset="0"/>
              <a:cs typeface="Arial" panose="020B0604020202020204" pitchFamily="34" charset="0"/>
            </a:endParaRPr>
          </a:p>
        </p:txBody>
      </p:sp>
      <p:sp>
        <p:nvSpPr>
          <p:cNvPr id="15" name="ColumnHeader"/>
          <p:cNvSpPr>
            <a:spLocks noChangeArrowheads="1"/>
          </p:cNvSpPr>
          <p:nvPr/>
        </p:nvSpPr>
        <p:spPr bwMode="gray">
          <a:xfrm>
            <a:off x="359999" y="1188384"/>
            <a:ext cx="3610960"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algn="ctr"/>
            <a:r>
              <a:rPr lang="en-US" altLang="zh-CN" sz="1600" b="1" dirty="0" smtClean="0">
                <a:solidFill>
                  <a:srgbClr val="000000"/>
                </a:solidFill>
                <a:latin typeface="Arial" panose="020B0604020202020204" pitchFamily="34" charset="0"/>
                <a:cs typeface="Arial" panose="020B0604020202020204" pitchFamily="34" charset="0"/>
              </a:rPr>
              <a:t>Header</a:t>
            </a:r>
            <a:endParaRPr lang="zh-CN" altLang="en-US" sz="1600" b="1" dirty="0">
              <a:solidFill>
                <a:srgbClr val="000000"/>
              </a:solidFill>
              <a:latin typeface="Arial" panose="020B0604020202020204" pitchFamily="34" charset="0"/>
              <a:cs typeface="Arial" panose="020B0604020202020204" pitchFamily="34" charset="0"/>
            </a:endParaRPr>
          </a:p>
        </p:txBody>
      </p:sp>
      <p:sp>
        <p:nvSpPr>
          <p:cNvPr id="17" name="ColumnHeader"/>
          <p:cNvSpPr>
            <a:spLocks noChangeArrowheads="1"/>
          </p:cNvSpPr>
          <p:nvPr/>
        </p:nvSpPr>
        <p:spPr bwMode="gray">
          <a:xfrm>
            <a:off x="8156496" y="1188384"/>
            <a:ext cx="3610960"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algn="ctr"/>
            <a:r>
              <a:rPr lang="en-US" altLang="zh-CN" sz="1600" b="1" dirty="0" smtClean="0">
                <a:solidFill>
                  <a:srgbClr val="000000"/>
                </a:solidFill>
                <a:latin typeface="Arial" panose="020B0604020202020204" pitchFamily="34" charset="0"/>
                <a:cs typeface="Arial" panose="020B0604020202020204" pitchFamily="34" charset="0"/>
              </a:rPr>
              <a:t>Header</a:t>
            </a:r>
            <a:endParaRPr lang="zh-CN" altLang="en-US" sz="1600" b="1" dirty="0">
              <a:solidFill>
                <a:srgbClr val="000000"/>
              </a:solidFill>
              <a:latin typeface="Arial" panose="020B0604020202020204" pitchFamily="34" charset="0"/>
              <a:cs typeface="Arial" panose="020B0604020202020204" pitchFamily="34" charset="0"/>
            </a:endParaRPr>
          </a:p>
        </p:txBody>
      </p:sp>
      <p:sp>
        <p:nvSpPr>
          <p:cNvPr id="11" name="ColumnHeader"/>
          <p:cNvSpPr>
            <a:spLocks noChangeArrowheads="1"/>
          </p:cNvSpPr>
          <p:nvPr/>
        </p:nvSpPr>
        <p:spPr bwMode="gray">
          <a:xfrm>
            <a:off x="4258248" y="1188384"/>
            <a:ext cx="3610960"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algn="ctr"/>
            <a:r>
              <a:rPr lang="en-US" altLang="zh-CN" sz="1600" b="1" dirty="0" smtClean="0">
                <a:solidFill>
                  <a:srgbClr val="000000"/>
                </a:solidFill>
                <a:latin typeface="Arial" panose="020B0604020202020204" pitchFamily="34" charset="0"/>
                <a:cs typeface="Arial" panose="020B0604020202020204" pitchFamily="34" charset="0"/>
              </a:rPr>
              <a:t>Header</a:t>
            </a:r>
            <a:endParaRPr lang="zh-CN" altLang="en-US" sz="1600" b="1" dirty="0">
              <a:solidFill>
                <a:srgbClr val="000000"/>
              </a:solidFill>
              <a:latin typeface="Arial" panose="020B0604020202020204" pitchFamily="34" charset="0"/>
              <a:cs typeface="Arial" panose="020B0604020202020204" pitchFamily="34" charset="0"/>
            </a:endParaRPr>
          </a:p>
        </p:txBody>
      </p:sp>
      <p:sp>
        <p:nvSpPr>
          <p:cNvPr id="1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内容</a:t>
            </a:r>
            <a:endParaRPr lang="en-US" altLang="zh-CN" sz="2400" dirty="0" smtClean="0">
              <a:latin typeface="+mj-ea"/>
            </a:endParaRPr>
          </a:p>
        </p:txBody>
      </p:sp>
      <p:pic>
        <p:nvPicPr>
          <p:cNvPr id="13" name="图片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 name="矩形 380"/>
          <p:cNvSpPr/>
          <p:nvPr/>
        </p:nvSpPr>
        <p:spPr>
          <a:xfrm>
            <a:off x="8811048" y="625537"/>
            <a:ext cx="3416320" cy="276999"/>
          </a:xfrm>
          <a:prstGeom prst="rect">
            <a:avLst/>
          </a:prstGeom>
        </p:spPr>
        <p:txBody>
          <a:bodyPr wrap="none">
            <a:spAutoFit/>
          </a:bodyPr>
          <a:lstStyle/>
          <a:p>
            <a:r>
              <a:rPr lang="zh-CN" altLang="en-US" sz="1200" dirty="0">
                <a:latin typeface="华文楷体" panose="02010600040101010101" charset="-122"/>
                <a:ea typeface="华文楷体" panose="02010600040101010101" charset="-122"/>
              </a:rPr>
              <a:t>分别代表各业务模块进展正常、落后、严重落后</a:t>
            </a:r>
            <a:endParaRPr lang="zh-CN" altLang="en-US" sz="1200" dirty="0">
              <a:latin typeface="华文楷体" panose="02010600040101010101" charset="-122"/>
              <a:ea typeface="华文楷体" panose="02010600040101010101" charset="-122"/>
            </a:endParaRPr>
          </a:p>
        </p:txBody>
      </p:sp>
      <p:sp>
        <p:nvSpPr>
          <p:cNvPr id="382" name="文本框 381"/>
          <p:cNvSpPr txBox="1"/>
          <p:nvPr/>
        </p:nvSpPr>
        <p:spPr>
          <a:xfrm>
            <a:off x="8041912" y="679902"/>
            <a:ext cx="208470" cy="192504"/>
          </a:xfrm>
          <a:prstGeom prst="rect">
            <a:avLst/>
          </a:prstGeom>
          <a:solidFill>
            <a:srgbClr val="00B050"/>
          </a:solidFill>
        </p:spPr>
        <p:txBody>
          <a:bodyPr wrap="square" rtlCol="0">
            <a:spAutoFit/>
          </a:bodyPr>
          <a:lstStyle/>
          <a:p>
            <a:endParaRPr lang="zh-CN" altLang="en-US" dirty="0"/>
          </a:p>
        </p:txBody>
      </p:sp>
      <p:sp>
        <p:nvSpPr>
          <p:cNvPr id="383" name="文本框 382"/>
          <p:cNvSpPr txBox="1"/>
          <p:nvPr/>
        </p:nvSpPr>
        <p:spPr>
          <a:xfrm>
            <a:off x="8337679" y="679902"/>
            <a:ext cx="208470" cy="192504"/>
          </a:xfrm>
          <a:prstGeom prst="rect">
            <a:avLst/>
          </a:prstGeom>
          <a:solidFill>
            <a:srgbClr val="FF0000"/>
          </a:solidFill>
        </p:spPr>
        <p:txBody>
          <a:bodyPr wrap="square" rtlCol="0">
            <a:spAutoFit/>
          </a:bodyPr>
          <a:lstStyle/>
          <a:p>
            <a:endParaRPr lang="zh-CN" altLang="en-US" dirty="0"/>
          </a:p>
        </p:txBody>
      </p:sp>
      <p:sp>
        <p:nvSpPr>
          <p:cNvPr id="384" name="文本框 383"/>
          <p:cNvSpPr txBox="1"/>
          <p:nvPr/>
        </p:nvSpPr>
        <p:spPr>
          <a:xfrm>
            <a:off x="8625286" y="679902"/>
            <a:ext cx="208470" cy="192504"/>
          </a:xfrm>
          <a:prstGeom prst="rect">
            <a:avLst/>
          </a:prstGeom>
          <a:solidFill>
            <a:srgbClr val="FFC000"/>
          </a:solidFill>
        </p:spPr>
        <p:txBody>
          <a:bodyPr wrap="square" rtlCol="0">
            <a:spAutoFit/>
          </a:bodyPr>
          <a:lstStyle/>
          <a:p>
            <a:endParaRPr lang="zh-CN" altLang="en-US" dirty="0"/>
          </a:p>
        </p:txBody>
      </p:sp>
      <p:sp>
        <p:nvSpPr>
          <p:cNvPr id="215" name="文本框 66">
            <a:hlinkClick r:id="" action="ppaction://noaction"/>
          </p:cNvPr>
          <p:cNvSpPr txBox="1"/>
          <p:nvPr>
            <p:custDataLst>
              <p:tags r:id="rId1"/>
            </p:custDataLst>
          </p:nvPr>
        </p:nvSpPr>
        <p:spPr>
          <a:xfrm>
            <a:off x="1792404" y="1465368"/>
            <a:ext cx="2268000" cy="823766"/>
          </a:xfrm>
          <a:prstGeom prst="rect">
            <a:avLst/>
          </a:prstGeom>
          <a:solidFill>
            <a:sysClr val="window" lastClr="FFFFFF">
              <a:lumMod val="95000"/>
            </a:sysClr>
          </a:solidFill>
          <a:ln w="19050">
            <a:solidFill>
              <a:schemeClr val="accent2">
                <a:lumMod val="75000"/>
              </a:schemeClr>
            </a:solidFill>
          </a:ln>
        </p:spPr>
        <p:txBody>
          <a:bodyPr wrap="square" lIns="108850" tIns="36000" rIns="108850" bIns="0" rtlCol="0">
            <a:noAutofit/>
          </a:bodyPr>
          <a:lstStyle/>
          <a:p>
            <a:pPr marL="0" marR="0" lvl="0" indent="0" algn="ctr" defTabSz="12192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ea"/>
                <a:sym typeface="+mn-lt"/>
              </a:rPr>
              <a:t> </a:t>
            </a:r>
            <a:endParaRPr kumimoji="0" lang="en-US" altLang="zh-CN" sz="1600" b="1"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ea"/>
              <a:sym typeface="+mn-lt"/>
            </a:endParaRPr>
          </a:p>
        </p:txBody>
      </p:sp>
      <p:sp>
        <p:nvSpPr>
          <p:cNvPr id="218" name="矩形 217"/>
          <p:cNvSpPr/>
          <p:nvPr>
            <p:custDataLst>
              <p:tags r:id="rId2"/>
            </p:custDataLst>
          </p:nvPr>
        </p:nvSpPr>
        <p:spPr>
          <a:xfrm>
            <a:off x="1792404" y="1053796"/>
            <a:ext cx="2268000" cy="341931"/>
          </a:xfrm>
          <a:prstGeom prst="rect">
            <a:avLst/>
          </a:prstGeom>
          <a:solidFill>
            <a:srgbClr val="FE5817"/>
          </a:solidFill>
          <a:ln w="19050" cap="flat" cmpd="sng" algn="ctr">
            <a:noFill/>
            <a:prstDash val="solid"/>
          </a:ln>
          <a:effectLst/>
        </p:spPr>
        <p:txBody>
          <a:bodyPr lIns="0" tIns="54425" rIns="0" bIns="54425" rtlCol="0" anchor="ctr"/>
          <a:lstStyle/>
          <a:p>
            <a:pPr marL="0" marR="0" lvl="0" indent="0" algn="ctr" defTabSz="12192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rPr>
              <a:t>XX</a:t>
            </a:r>
            <a:r>
              <a:rPr kumimoji="0" lang="zh-CN" altLang="en-US"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rPr>
              <a:t>业务线</a:t>
            </a:r>
            <a:endPar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endParaRPr>
          </a:p>
        </p:txBody>
      </p:sp>
      <p:sp>
        <p:nvSpPr>
          <p:cNvPr id="222" name="文本框 66"/>
          <p:cNvSpPr txBox="1"/>
          <p:nvPr>
            <p:custDataLst>
              <p:tags r:id="rId3"/>
            </p:custDataLst>
          </p:nvPr>
        </p:nvSpPr>
        <p:spPr>
          <a:xfrm>
            <a:off x="1792404" y="1452636"/>
            <a:ext cx="2268000" cy="296556"/>
          </a:xfrm>
          <a:prstGeom prst="rect">
            <a:avLst/>
          </a:prstGeom>
          <a:solidFill>
            <a:srgbClr val="00B050"/>
          </a:solidFill>
          <a:ln w="12700">
            <a:solidFill>
              <a:sysClr val="window" lastClr="FFFFFF">
                <a:lumMod val="75000"/>
              </a:sysClr>
            </a:solidFill>
          </a:ln>
        </p:spPr>
        <p:txBody>
          <a:bodyPr wrap="square" lIns="108850" tIns="36000" rIns="108850" bIns="0" rtlCol="0">
            <a:noAutofit/>
          </a:bodyPr>
          <a:lstStyle/>
          <a:p>
            <a:pPr marL="0" marR="0" lvl="0" indent="0" algn="ctr" defTabSz="12192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rPr>
              <a:t>XX</a:t>
            </a:r>
            <a:r>
              <a:rPr kumimoji="0" lang="zh-CN" altLang="en-US"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rPr>
              <a:t>项目</a:t>
            </a:r>
            <a:r>
              <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rPr>
              <a:t>-XX</a:t>
            </a:r>
            <a:r>
              <a:rPr kumimoji="0" lang="zh-CN" altLang="en-US"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rPr>
              <a:t>负责人</a:t>
            </a:r>
            <a:endParaRPr kumimoji="0" lang="zh-CN" altLang="en-US"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endParaRPr>
          </a:p>
        </p:txBody>
      </p:sp>
      <p:sp>
        <p:nvSpPr>
          <p:cNvPr id="225" name="矩形 224"/>
          <p:cNvSpPr/>
          <p:nvPr/>
        </p:nvSpPr>
        <p:spPr>
          <a:xfrm>
            <a:off x="2085021" y="1804460"/>
            <a:ext cx="1733403" cy="425780"/>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95000"/>
                  </a:schemeClr>
                </a:solidFill>
              </a14:hiddenFill>
            </a:ext>
          </a:extLst>
        </p:spPr>
        <p:txBody>
          <a:bodyPr wrap="square" rtlCol="0" anchor="t" anchorCtr="0">
            <a:noAutofit/>
          </a:bodyPr>
          <a:lstStyle/>
          <a:p>
            <a:pPr marR="0" lvl="0" defTabSz="1219200" eaLnBrk="0" fontAlgn="base" latinLnBrk="0" hangingPunct="0">
              <a:lnSpc>
                <a:spcPct val="100000"/>
              </a:lnSpc>
              <a:spcBef>
                <a:spcPts val="0"/>
              </a:spcBef>
              <a:spcAft>
                <a:spcPct val="0"/>
              </a:spcAft>
              <a:buClrTx/>
              <a:buSzTx/>
              <a:defRPr/>
            </a:pPr>
            <a:r>
              <a:rPr kumimoji="0" lang="zh-CN" altLang="en-US" sz="14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目标：</a:t>
            </a:r>
            <a:endParaRPr kumimoji="0" lang="zh-CN" altLang="en-US" sz="14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p:txBody>
      </p:sp>
      <p:sp>
        <p:nvSpPr>
          <p:cNvPr id="227" name="文本框 66"/>
          <p:cNvSpPr txBox="1"/>
          <p:nvPr>
            <p:custDataLst>
              <p:tags r:id="rId4"/>
            </p:custDataLst>
          </p:nvPr>
        </p:nvSpPr>
        <p:spPr>
          <a:xfrm>
            <a:off x="4156777" y="2357971"/>
            <a:ext cx="2268000" cy="823766"/>
          </a:xfrm>
          <a:prstGeom prst="rect">
            <a:avLst/>
          </a:prstGeom>
          <a:solidFill>
            <a:sysClr val="window" lastClr="FFFFFF">
              <a:lumMod val="95000"/>
            </a:sysClr>
          </a:solidFill>
          <a:ln w="19050">
            <a:solidFill>
              <a:schemeClr val="accent2">
                <a:lumMod val="75000"/>
              </a:schemeClr>
            </a:solidFill>
          </a:ln>
        </p:spPr>
        <p:txBody>
          <a:bodyPr wrap="square" lIns="108850" tIns="36000" rIns="108850" bIns="0" rtlCol="0">
            <a:noAutofit/>
          </a:bodyPr>
          <a:lstStyle>
            <a:defPPr>
              <a:defRPr lang="zh-CN"/>
            </a:defPPr>
            <a:lvl1pPr algn="ctr" defTabSz="1219200">
              <a:defRPr sz="1600" b="1">
                <a:solidFill>
                  <a:prstClr val="black"/>
                </a:solidFill>
                <a:ea typeface="华文楷体" panose="02010600040101010101" charset="-122"/>
                <a:cs typeface="+mn-ea"/>
              </a:defRPr>
            </a:lvl1pPr>
          </a:lstStyle>
          <a:p>
            <a:pPr marL="0" marR="0" lvl="0" indent="0" algn="ctr" defTabSz="12192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sym typeface="+mn-lt"/>
              </a:rPr>
              <a:t> </a:t>
            </a:r>
            <a:endParaRPr kumimoji="0" lang="en-US" altLang="zh-CN" sz="1600" b="1"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sym typeface="+mn-lt"/>
            </a:endParaRPr>
          </a:p>
        </p:txBody>
      </p:sp>
      <p:sp>
        <p:nvSpPr>
          <p:cNvPr id="228" name="矩形 227"/>
          <p:cNvSpPr/>
          <p:nvPr/>
        </p:nvSpPr>
        <p:spPr>
          <a:xfrm>
            <a:off x="4314976" y="2645722"/>
            <a:ext cx="1733403" cy="778325"/>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95000"/>
                  </a:schemeClr>
                </a:solidFill>
              </a14:hiddenFill>
            </a:ext>
          </a:extLst>
        </p:spPr>
        <p:txBody>
          <a:bodyPr wrap="square" rtlCol="0" anchor="t" anchorCtr="0">
            <a:noAutofit/>
          </a:bodyPr>
          <a:lstStyle/>
          <a:p>
            <a:pPr lvl="0" defTabSz="1219200" eaLnBrk="0" fontAlgn="base" hangingPunct="0">
              <a:spcAft>
                <a:spcPct val="0"/>
              </a:spcAft>
              <a:defRPr/>
            </a:pPr>
            <a:r>
              <a:rPr lang="zh-CN" altLang="en-US" sz="1400" kern="0" dirty="0">
                <a:solidFill>
                  <a:prstClr val="black"/>
                </a:solidFill>
                <a:latin typeface="华文楷体" panose="02010600040101010101" charset="-122"/>
                <a:ea typeface="华文楷体" panose="02010600040101010101" charset="-122"/>
              </a:rPr>
              <a:t>目标：</a:t>
            </a:r>
            <a:endParaRPr lang="zh-CN" altLang="en-US" sz="1400" kern="0" dirty="0">
              <a:solidFill>
                <a:prstClr val="black"/>
              </a:solidFill>
              <a:latin typeface="华文楷体" panose="02010600040101010101" charset="-122"/>
              <a:ea typeface="华文楷体" panose="02010600040101010101" charset="-122"/>
            </a:endParaRPr>
          </a:p>
        </p:txBody>
      </p:sp>
      <p:sp>
        <p:nvSpPr>
          <p:cNvPr id="229" name="文本框 66"/>
          <p:cNvSpPr txBox="1"/>
          <p:nvPr>
            <p:custDataLst>
              <p:tags r:id="rId5"/>
            </p:custDataLst>
          </p:nvPr>
        </p:nvSpPr>
        <p:spPr>
          <a:xfrm>
            <a:off x="4156777" y="3295844"/>
            <a:ext cx="2268000" cy="823766"/>
          </a:xfrm>
          <a:prstGeom prst="rect">
            <a:avLst/>
          </a:prstGeom>
          <a:solidFill>
            <a:sysClr val="window" lastClr="FFFFFF">
              <a:lumMod val="95000"/>
            </a:sysClr>
          </a:solidFill>
          <a:ln w="19050">
            <a:solidFill>
              <a:schemeClr val="accent2">
                <a:lumMod val="75000"/>
              </a:schemeClr>
            </a:solidFill>
          </a:ln>
        </p:spPr>
        <p:txBody>
          <a:bodyPr wrap="square" lIns="108850" tIns="36000" rIns="108850" bIns="0" rtlCol="0">
            <a:noAutofit/>
          </a:bodyPr>
          <a:lstStyle>
            <a:defPPr>
              <a:defRPr lang="zh-CN"/>
            </a:defPPr>
            <a:lvl1pPr algn="ctr" defTabSz="1219200">
              <a:defRPr sz="1600" b="1">
                <a:solidFill>
                  <a:prstClr val="black"/>
                </a:solidFill>
                <a:ea typeface="华文楷体" panose="02010600040101010101" charset="-122"/>
                <a:cs typeface="+mn-ea"/>
              </a:defRPr>
            </a:lvl1pPr>
          </a:lstStyle>
          <a:p>
            <a:pPr marL="0" marR="0" lvl="0" indent="0" algn="ctr" defTabSz="12192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sym typeface="+mn-lt"/>
              </a:rPr>
              <a:t> </a:t>
            </a:r>
            <a:endParaRPr kumimoji="0" lang="en-US" altLang="zh-CN" sz="1600" b="1"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sym typeface="+mn-lt"/>
            </a:endParaRPr>
          </a:p>
        </p:txBody>
      </p:sp>
      <p:sp>
        <p:nvSpPr>
          <p:cNvPr id="230" name="文本框 66"/>
          <p:cNvSpPr txBox="1"/>
          <p:nvPr>
            <p:custDataLst>
              <p:tags r:id="rId6"/>
            </p:custDataLst>
          </p:nvPr>
        </p:nvSpPr>
        <p:spPr>
          <a:xfrm>
            <a:off x="4144277" y="3282898"/>
            <a:ext cx="2273405" cy="296556"/>
          </a:xfrm>
          <a:prstGeom prst="rect">
            <a:avLst/>
          </a:prstGeom>
          <a:solidFill>
            <a:srgbClr val="FF0000"/>
          </a:solidFill>
          <a:ln w="12700">
            <a:solidFill>
              <a:sysClr val="window" lastClr="FFFFFF">
                <a:lumMod val="75000"/>
              </a:sysClr>
            </a:solidFill>
          </a:ln>
        </p:spPr>
        <p:txBody>
          <a:bodyPr wrap="square" lIns="108850" tIns="36000" rIns="108850" bIns="0" rtlCol="0">
            <a:noAutofit/>
          </a:bodyPr>
          <a:lstStyle>
            <a:defPPr>
              <a:defRPr lang="zh-CN"/>
            </a:defPPr>
            <a:lvl1pPr algn="ctr" defTabSz="1219200">
              <a:defRPr sz="1600" b="1">
                <a:solidFill>
                  <a:schemeClr val="bg1"/>
                </a:solidFill>
                <a:ea typeface="华文楷体" panose="02010600040101010101" charset="-122"/>
                <a:cs typeface="+mn-ea"/>
              </a:defRPr>
            </a:lvl1pPr>
          </a:lstStyle>
          <a:p>
            <a:pPr lvl="0"/>
            <a:r>
              <a:rPr lang="en-US" altLang="zh-CN" kern="0" dirty="0" smtClean="0">
                <a:solidFill>
                  <a:prstClr val="white"/>
                </a:solidFill>
                <a:latin typeface="华文楷体" panose="02010600040101010101" charset="-122"/>
              </a:rPr>
              <a:t>XX-XX</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sp>
        <p:nvSpPr>
          <p:cNvPr id="231" name="矩形 230"/>
          <p:cNvSpPr/>
          <p:nvPr/>
        </p:nvSpPr>
        <p:spPr>
          <a:xfrm>
            <a:off x="4302476" y="3584485"/>
            <a:ext cx="1733403" cy="706873"/>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95000"/>
                  </a:schemeClr>
                </a:solidFill>
              </a14:hiddenFill>
            </a:ext>
          </a:extLst>
        </p:spPr>
        <p:txBody>
          <a:bodyPr wrap="square" rtlCol="0" anchor="t" anchorCtr="0">
            <a:noAutofit/>
          </a:bodyPr>
          <a:lstStyle/>
          <a:p>
            <a:pPr lvl="0" defTabSz="1219200" eaLnBrk="0" fontAlgn="base" hangingPunct="0">
              <a:spcAft>
                <a:spcPct val="0"/>
              </a:spcAft>
              <a:defRPr/>
            </a:pPr>
            <a:r>
              <a:rPr lang="zh-CN" altLang="en-US" sz="1400" kern="0" dirty="0">
                <a:solidFill>
                  <a:prstClr val="black"/>
                </a:solidFill>
                <a:latin typeface="华文楷体" panose="02010600040101010101" charset="-122"/>
                <a:ea typeface="华文楷体" panose="02010600040101010101" charset="-122"/>
              </a:rPr>
              <a:t>目标：</a:t>
            </a:r>
            <a:endParaRPr lang="zh-CN" altLang="en-US" sz="1400" kern="0" dirty="0">
              <a:solidFill>
                <a:prstClr val="black"/>
              </a:solidFill>
              <a:latin typeface="华文楷体" panose="02010600040101010101" charset="-122"/>
              <a:ea typeface="华文楷体" panose="02010600040101010101" charset="-122"/>
            </a:endParaRPr>
          </a:p>
        </p:txBody>
      </p:sp>
      <p:sp>
        <p:nvSpPr>
          <p:cNvPr id="235" name="文本框 66"/>
          <p:cNvSpPr txBox="1"/>
          <p:nvPr>
            <p:custDataLst>
              <p:tags r:id="rId7"/>
            </p:custDataLst>
          </p:nvPr>
        </p:nvSpPr>
        <p:spPr>
          <a:xfrm>
            <a:off x="4156777" y="2357081"/>
            <a:ext cx="2278128" cy="296556"/>
          </a:xfrm>
          <a:prstGeom prst="rect">
            <a:avLst/>
          </a:prstGeom>
          <a:solidFill>
            <a:srgbClr val="FF0000"/>
          </a:solidFill>
          <a:ln w="12700">
            <a:solidFill>
              <a:sysClr val="window" lastClr="FFFFFF">
                <a:lumMod val="75000"/>
              </a:sysClr>
            </a:solidFill>
          </a:ln>
        </p:spPr>
        <p:txBody>
          <a:bodyPr wrap="square" lIns="108850" tIns="36000" rIns="108850" bIns="0" rtlCol="0">
            <a:noAutofit/>
          </a:bodyPr>
          <a:lstStyle>
            <a:defPPr>
              <a:defRPr lang="zh-CN"/>
            </a:defPPr>
            <a:lvl1pPr algn="ctr" defTabSz="1219200">
              <a:defRPr sz="1600" b="1">
                <a:solidFill>
                  <a:schemeClr val="bg1"/>
                </a:solidFill>
                <a:ea typeface="华文楷体" panose="02010600040101010101" charset="-122"/>
                <a:cs typeface="+mn-ea"/>
              </a:defRPr>
            </a:lvl1pPr>
          </a:lstStyle>
          <a:p>
            <a:pPr lvl="0"/>
            <a:r>
              <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rPr>
              <a:t>XX</a:t>
            </a:r>
            <a:r>
              <a:rPr lang="en-US" altLang="zh-CN" kern="0" dirty="0" smtClean="0">
                <a:solidFill>
                  <a:prstClr val="white"/>
                </a:solidFill>
                <a:latin typeface="华文楷体" panose="02010600040101010101" charset="-122"/>
              </a:rPr>
              <a:t>-XX</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sp>
        <p:nvSpPr>
          <p:cNvPr id="280" name="文本框 66">
            <a:hlinkClick r:id="" action="ppaction://noaction"/>
          </p:cNvPr>
          <p:cNvSpPr txBox="1"/>
          <p:nvPr>
            <p:custDataLst>
              <p:tags r:id="rId8"/>
            </p:custDataLst>
          </p:nvPr>
        </p:nvSpPr>
        <p:spPr>
          <a:xfrm>
            <a:off x="4163326" y="1465364"/>
            <a:ext cx="2268000" cy="823766"/>
          </a:xfrm>
          <a:prstGeom prst="rect">
            <a:avLst/>
          </a:prstGeom>
          <a:solidFill>
            <a:sysClr val="window" lastClr="FFFFFF">
              <a:lumMod val="95000"/>
            </a:sysClr>
          </a:solidFill>
          <a:ln w="19050">
            <a:solidFill>
              <a:schemeClr val="accent2">
                <a:lumMod val="75000"/>
              </a:schemeClr>
            </a:solidFill>
          </a:ln>
        </p:spPr>
        <p:txBody>
          <a:bodyPr wrap="square" lIns="108850" tIns="36000" rIns="108850" bIns="0" rtlCol="0">
            <a:noAutofit/>
          </a:bodyPr>
          <a:lstStyle/>
          <a:p>
            <a:pPr marL="0" marR="0" lvl="0" indent="0" algn="ctr" defTabSz="12192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ea"/>
                <a:sym typeface="+mn-lt"/>
              </a:rPr>
              <a:t> </a:t>
            </a:r>
            <a:endParaRPr kumimoji="0" lang="en-US" altLang="zh-CN" sz="1600" b="1"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ea"/>
              <a:sym typeface="+mn-lt"/>
            </a:endParaRPr>
          </a:p>
        </p:txBody>
      </p:sp>
      <p:sp>
        <p:nvSpPr>
          <p:cNvPr id="281" name="文本框 66"/>
          <p:cNvSpPr txBox="1"/>
          <p:nvPr>
            <p:custDataLst>
              <p:tags r:id="rId9"/>
            </p:custDataLst>
          </p:nvPr>
        </p:nvSpPr>
        <p:spPr>
          <a:xfrm>
            <a:off x="4163326" y="1461586"/>
            <a:ext cx="2268000" cy="296556"/>
          </a:xfrm>
          <a:prstGeom prst="rect">
            <a:avLst/>
          </a:prstGeom>
          <a:solidFill>
            <a:srgbClr val="00B050"/>
          </a:solidFill>
          <a:ln w="12700">
            <a:solidFill>
              <a:sysClr val="window" lastClr="FFFFFF">
                <a:lumMod val="75000"/>
              </a:sysClr>
            </a:solidFill>
          </a:ln>
        </p:spPr>
        <p:txBody>
          <a:bodyPr wrap="square" lIns="108850" tIns="36000" rIns="108850" bIns="0" rtlCol="0">
            <a:noAutofit/>
          </a:bodyPr>
          <a:lstStyle/>
          <a:p>
            <a:pPr marL="0" marR="0" lvl="0" indent="0" algn="ctr" defTabSz="1219200" eaLnBrk="1" fontAlgn="auto" latinLnBrk="0" hangingPunct="1">
              <a:lnSpc>
                <a:spcPct val="100000"/>
              </a:lnSpc>
              <a:spcBef>
                <a:spcPts val="0"/>
              </a:spcBef>
              <a:spcAft>
                <a:spcPts val="0"/>
              </a:spcAft>
              <a:buClrTx/>
              <a:buSzTx/>
              <a:buFontTx/>
              <a:buNone/>
              <a:defRPr/>
            </a:pPr>
            <a:r>
              <a:rPr lang="en-US" altLang="zh-CN" sz="1600" b="1" kern="0" dirty="0" smtClean="0">
                <a:solidFill>
                  <a:prstClr val="white"/>
                </a:solidFill>
                <a:latin typeface="华文楷体" panose="02010600040101010101" charset="-122"/>
                <a:ea typeface="华文楷体" panose="02010600040101010101" charset="-122"/>
                <a:cs typeface="+mn-ea"/>
              </a:rPr>
              <a:t>XX-XX</a:t>
            </a:r>
            <a:r>
              <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rPr>
              <a:t> </a:t>
            </a:r>
            <a:endParaRPr kumimoji="0" lang="zh-CN" altLang="en-US"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endParaRPr>
          </a:p>
        </p:txBody>
      </p:sp>
      <p:sp>
        <p:nvSpPr>
          <p:cNvPr id="282" name="矩形 281"/>
          <p:cNvSpPr/>
          <p:nvPr/>
        </p:nvSpPr>
        <p:spPr>
          <a:xfrm>
            <a:off x="4293933" y="1824471"/>
            <a:ext cx="1733403" cy="413519"/>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95000"/>
                  </a:schemeClr>
                </a:solidFill>
              </a14:hiddenFill>
            </a:ext>
          </a:extLst>
        </p:spPr>
        <p:txBody>
          <a:bodyPr wrap="square" rtlCol="0" anchor="t" anchorCtr="0">
            <a:noAutofit/>
          </a:bodyPr>
          <a:lstStyle/>
          <a:p>
            <a:pPr lvl="0" defTabSz="1219200" eaLnBrk="0" fontAlgn="base" hangingPunct="0">
              <a:spcAft>
                <a:spcPct val="0"/>
              </a:spcAft>
              <a:defRPr/>
            </a:pPr>
            <a:r>
              <a:rPr lang="zh-CN" altLang="en-US" sz="1400" kern="0" dirty="0">
                <a:solidFill>
                  <a:prstClr val="black"/>
                </a:solidFill>
                <a:latin typeface="华文楷体" panose="02010600040101010101" charset="-122"/>
                <a:ea typeface="华文楷体" panose="02010600040101010101" charset="-122"/>
              </a:rPr>
              <a:t>目标：</a:t>
            </a:r>
            <a:endParaRPr lang="zh-CN" altLang="en-US" sz="1400" kern="0" dirty="0">
              <a:solidFill>
                <a:prstClr val="black"/>
              </a:solidFill>
              <a:latin typeface="华文楷体" panose="02010600040101010101" charset="-122"/>
              <a:ea typeface="华文楷体" panose="02010600040101010101" charset="-122"/>
            </a:endParaRPr>
          </a:p>
        </p:txBody>
      </p:sp>
      <p:sp>
        <p:nvSpPr>
          <p:cNvPr id="291" name="矩形 290"/>
          <p:cNvSpPr/>
          <p:nvPr>
            <p:custDataLst>
              <p:tags r:id="rId10"/>
            </p:custDataLst>
          </p:nvPr>
        </p:nvSpPr>
        <p:spPr>
          <a:xfrm>
            <a:off x="1206089" y="1465364"/>
            <a:ext cx="468000" cy="823766"/>
          </a:xfrm>
          <a:prstGeom prst="rect">
            <a:avLst/>
          </a:prstGeom>
          <a:solidFill>
            <a:srgbClr val="FE5817"/>
          </a:solidFill>
          <a:ln w="19050" cap="flat" cmpd="sng" algn="ctr">
            <a:noFill/>
            <a:prstDash val="solid"/>
          </a:ln>
          <a:effectLst/>
        </p:spPr>
        <p:txBody>
          <a:bodyPr lIns="0" tIns="54425" rIns="0" bIns="54425" rtlCol="0" anchor="ctr"/>
          <a:lstStyle/>
          <a:p>
            <a:pPr marL="0" marR="0" lvl="0" indent="0" algn="ctr" defTabSz="12192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rPr>
              <a:t>2G</a:t>
            </a:r>
            <a:endPar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endParaRPr>
          </a:p>
        </p:txBody>
      </p:sp>
      <p:sp>
        <p:nvSpPr>
          <p:cNvPr id="292" name="矩形 291"/>
          <p:cNvSpPr/>
          <p:nvPr>
            <p:custDataLst>
              <p:tags r:id="rId11"/>
            </p:custDataLst>
          </p:nvPr>
        </p:nvSpPr>
        <p:spPr>
          <a:xfrm>
            <a:off x="1206089" y="2371538"/>
            <a:ext cx="468000" cy="2678967"/>
          </a:xfrm>
          <a:prstGeom prst="rect">
            <a:avLst/>
          </a:prstGeom>
          <a:solidFill>
            <a:srgbClr val="FE5817"/>
          </a:solidFill>
          <a:ln w="19050" cap="flat" cmpd="sng" algn="ctr">
            <a:noFill/>
            <a:prstDash val="solid"/>
          </a:ln>
          <a:effectLst/>
        </p:spPr>
        <p:txBody>
          <a:bodyPr lIns="0" tIns="54425" rIns="0" bIns="54425" rtlCol="0" anchor="ctr"/>
          <a:lstStyle/>
          <a:p>
            <a:pPr marL="0" marR="0" lvl="0" indent="0" algn="ctr" defTabSz="12192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rPr>
              <a:t>2B</a:t>
            </a:r>
            <a:endPar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endParaRPr>
          </a:p>
        </p:txBody>
      </p:sp>
      <p:sp>
        <p:nvSpPr>
          <p:cNvPr id="293" name="矩形 292"/>
          <p:cNvSpPr/>
          <p:nvPr>
            <p:custDataLst>
              <p:tags r:id="rId12"/>
            </p:custDataLst>
          </p:nvPr>
        </p:nvSpPr>
        <p:spPr>
          <a:xfrm>
            <a:off x="1206089" y="5132768"/>
            <a:ext cx="468000" cy="1002401"/>
          </a:xfrm>
          <a:prstGeom prst="rect">
            <a:avLst/>
          </a:prstGeom>
          <a:solidFill>
            <a:srgbClr val="FE5817"/>
          </a:solidFill>
          <a:ln w="19050" cap="flat" cmpd="sng" algn="ctr">
            <a:noFill/>
            <a:prstDash val="solid"/>
          </a:ln>
          <a:effectLst/>
        </p:spPr>
        <p:txBody>
          <a:bodyPr lIns="0" tIns="54425" rIns="0" bIns="54425" rtlCol="0" anchor="ctr"/>
          <a:lstStyle/>
          <a:p>
            <a:pPr marL="0" marR="0" lvl="0" indent="0" algn="ctr" defTabSz="12192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rPr>
              <a:t>2C</a:t>
            </a:r>
            <a:endPar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endParaRPr>
          </a:p>
        </p:txBody>
      </p:sp>
      <p:sp>
        <p:nvSpPr>
          <p:cNvPr id="318" name="矩形 317"/>
          <p:cNvSpPr/>
          <p:nvPr>
            <p:custDataLst>
              <p:tags r:id="rId13"/>
            </p:custDataLst>
          </p:nvPr>
        </p:nvSpPr>
        <p:spPr>
          <a:xfrm>
            <a:off x="4163326" y="1061678"/>
            <a:ext cx="2268000" cy="341931"/>
          </a:xfrm>
          <a:prstGeom prst="rect">
            <a:avLst/>
          </a:prstGeom>
          <a:solidFill>
            <a:srgbClr val="FE5817"/>
          </a:solidFill>
          <a:ln w="19050" cap="flat" cmpd="sng" algn="ctr">
            <a:noFill/>
            <a:prstDash val="solid"/>
          </a:ln>
          <a:effectLst/>
        </p:spPr>
        <p:txBody>
          <a:bodyPr lIns="0" tIns="54425" rIns="0" bIns="54425" rtlCol="0" anchor="ctr"/>
          <a:lstStyle/>
          <a:p>
            <a:pPr marL="0" marR="0" lvl="0" indent="0" algn="ctr" defTabSz="12192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rPr>
              <a:t>XX</a:t>
            </a:r>
            <a:endPar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endParaRPr>
          </a:p>
        </p:txBody>
      </p:sp>
      <p:sp>
        <p:nvSpPr>
          <p:cNvPr id="319" name="矩形 318"/>
          <p:cNvSpPr/>
          <p:nvPr>
            <p:custDataLst>
              <p:tags r:id="rId14"/>
            </p:custDataLst>
          </p:nvPr>
        </p:nvSpPr>
        <p:spPr>
          <a:xfrm>
            <a:off x="6532630" y="1069267"/>
            <a:ext cx="2268000" cy="341931"/>
          </a:xfrm>
          <a:prstGeom prst="rect">
            <a:avLst/>
          </a:prstGeom>
          <a:solidFill>
            <a:srgbClr val="FE5817"/>
          </a:solidFill>
          <a:ln w="19050" cap="flat" cmpd="sng" algn="ctr">
            <a:noFill/>
            <a:prstDash val="solid"/>
          </a:ln>
          <a:effectLst/>
        </p:spPr>
        <p:txBody>
          <a:bodyPr lIns="0" tIns="54425" rIns="0" bIns="54425" rtlCol="0" anchor="ctr"/>
          <a:lstStyle/>
          <a:p>
            <a:pPr marL="0" marR="0" lvl="0" indent="0" algn="ctr" defTabSz="12192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rPr>
              <a:t>XX</a:t>
            </a:r>
            <a:endPar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endParaRPr>
          </a:p>
        </p:txBody>
      </p:sp>
      <p:sp>
        <p:nvSpPr>
          <p:cNvPr id="320" name="矩形 319"/>
          <p:cNvSpPr/>
          <p:nvPr>
            <p:custDataLst>
              <p:tags r:id="rId15"/>
            </p:custDataLst>
          </p:nvPr>
        </p:nvSpPr>
        <p:spPr>
          <a:xfrm>
            <a:off x="8916194" y="1079560"/>
            <a:ext cx="2268000" cy="341931"/>
          </a:xfrm>
          <a:prstGeom prst="rect">
            <a:avLst/>
          </a:prstGeom>
          <a:solidFill>
            <a:srgbClr val="FE5817"/>
          </a:solidFill>
          <a:ln w="19050" cap="flat" cmpd="sng" algn="ctr">
            <a:noFill/>
            <a:prstDash val="solid"/>
          </a:ln>
          <a:effectLst/>
        </p:spPr>
        <p:txBody>
          <a:bodyPr lIns="0" tIns="54425" rIns="0" bIns="54425" rtlCol="0" anchor="ctr"/>
          <a:lstStyle/>
          <a:p>
            <a:pPr marL="0" marR="0" lvl="0" indent="0" algn="ctr" defTabSz="12192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rPr>
              <a:t>XX</a:t>
            </a:r>
            <a:endParaRPr kumimoji="0" lang="en-US" altLang="zh-CN"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sym typeface="+mn-lt"/>
            </a:endParaRPr>
          </a:p>
        </p:txBody>
      </p:sp>
      <p:sp>
        <p:nvSpPr>
          <p:cNvPr id="321" name="椭圆 320"/>
          <p:cNvSpPr/>
          <p:nvPr/>
        </p:nvSpPr>
        <p:spPr>
          <a:xfrm>
            <a:off x="1797245" y="1435477"/>
            <a:ext cx="309600" cy="310865"/>
          </a:xfrm>
          <a:prstGeom prst="ellipse">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dirty="0" smtClean="0">
                <a:solidFill>
                  <a:schemeClr val="bg1"/>
                </a:solidFill>
                <a:latin typeface="华文楷体" panose="02010600040101010101" charset="-122"/>
                <a:ea typeface="华文楷体" panose="02010600040101010101" charset="-122"/>
              </a:rPr>
              <a:t>1</a:t>
            </a:r>
            <a:endParaRPr lang="zh-CN" altLang="en-US" sz="1600" dirty="0" smtClean="0">
              <a:solidFill>
                <a:schemeClr val="bg1"/>
              </a:solidFill>
              <a:latin typeface="华文楷体" panose="02010600040101010101" charset="-122"/>
              <a:ea typeface="华文楷体" panose="02010600040101010101" charset="-122"/>
            </a:endParaRPr>
          </a:p>
        </p:txBody>
      </p:sp>
      <p:sp>
        <p:nvSpPr>
          <p:cNvPr id="322" name="椭圆 321"/>
          <p:cNvSpPr/>
          <p:nvPr/>
        </p:nvSpPr>
        <p:spPr>
          <a:xfrm>
            <a:off x="4158381" y="1440179"/>
            <a:ext cx="309600" cy="310865"/>
          </a:xfrm>
          <a:prstGeom prst="ellipse">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dirty="0" smtClean="0">
                <a:solidFill>
                  <a:schemeClr val="bg1"/>
                </a:solidFill>
                <a:latin typeface="华文楷体" panose="02010600040101010101" charset="-122"/>
                <a:ea typeface="华文楷体" panose="02010600040101010101" charset="-122"/>
              </a:rPr>
              <a:t>2</a:t>
            </a:r>
            <a:endParaRPr lang="zh-CN" altLang="en-US" sz="1600" dirty="0" smtClean="0">
              <a:solidFill>
                <a:schemeClr val="bg1"/>
              </a:solidFill>
              <a:latin typeface="华文楷体" panose="02010600040101010101" charset="-122"/>
              <a:ea typeface="华文楷体" panose="02010600040101010101" charset="-122"/>
            </a:endParaRPr>
          </a:p>
        </p:txBody>
      </p:sp>
      <p:sp>
        <p:nvSpPr>
          <p:cNvPr id="323" name="椭圆 322"/>
          <p:cNvSpPr/>
          <p:nvPr/>
        </p:nvSpPr>
        <p:spPr>
          <a:xfrm>
            <a:off x="4182169" y="2329614"/>
            <a:ext cx="309600" cy="310865"/>
          </a:xfrm>
          <a:prstGeom prst="ellipse">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600" dirty="0" smtClean="0">
              <a:solidFill>
                <a:schemeClr val="bg1"/>
              </a:solidFill>
              <a:latin typeface="华文楷体" panose="02010600040101010101" charset="-122"/>
              <a:ea typeface="华文楷体" panose="02010600040101010101" charset="-122"/>
            </a:endParaRPr>
          </a:p>
        </p:txBody>
      </p:sp>
      <p:sp>
        <p:nvSpPr>
          <p:cNvPr id="326" name="文本框 325"/>
          <p:cNvSpPr txBox="1"/>
          <p:nvPr/>
        </p:nvSpPr>
        <p:spPr>
          <a:xfrm>
            <a:off x="4154864" y="2302432"/>
            <a:ext cx="544531" cy="338048"/>
          </a:xfrm>
          <a:prstGeom prst="rect">
            <a:avLst/>
          </a:prstGeom>
          <a:noFill/>
          <a:ln>
            <a:noFill/>
          </a:ln>
        </p:spPr>
        <p:txBody>
          <a:bodyPr wrap="square" rtlCol="0">
            <a:spAutoFit/>
          </a:bodyPr>
          <a:lstStyle/>
          <a:p>
            <a:r>
              <a:rPr lang="en-US" altLang="zh-CN" sz="1600" dirty="0" smtClean="0">
                <a:solidFill>
                  <a:schemeClr val="bg1"/>
                </a:solidFill>
              </a:rPr>
              <a:t>3a</a:t>
            </a:r>
            <a:endParaRPr lang="zh-CN" altLang="en-US" sz="1600" dirty="0">
              <a:solidFill>
                <a:schemeClr val="bg1"/>
              </a:solidFill>
            </a:endParaRPr>
          </a:p>
        </p:txBody>
      </p:sp>
      <p:sp>
        <p:nvSpPr>
          <p:cNvPr id="328" name="椭圆 327"/>
          <p:cNvSpPr/>
          <p:nvPr/>
        </p:nvSpPr>
        <p:spPr>
          <a:xfrm>
            <a:off x="4191248" y="3273620"/>
            <a:ext cx="309600" cy="310865"/>
          </a:xfrm>
          <a:prstGeom prst="ellipse">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600" dirty="0" smtClean="0">
              <a:solidFill>
                <a:schemeClr val="bg1"/>
              </a:solidFill>
              <a:latin typeface="华文楷体" panose="02010600040101010101" charset="-122"/>
              <a:ea typeface="华文楷体" panose="02010600040101010101" charset="-122"/>
            </a:endParaRPr>
          </a:p>
        </p:txBody>
      </p:sp>
      <p:sp>
        <p:nvSpPr>
          <p:cNvPr id="329" name="文本框 328"/>
          <p:cNvSpPr txBox="1"/>
          <p:nvPr/>
        </p:nvSpPr>
        <p:spPr>
          <a:xfrm>
            <a:off x="4163943" y="3246437"/>
            <a:ext cx="544531" cy="338048"/>
          </a:xfrm>
          <a:prstGeom prst="rect">
            <a:avLst/>
          </a:prstGeom>
          <a:noFill/>
          <a:ln>
            <a:noFill/>
          </a:ln>
        </p:spPr>
        <p:txBody>
          <a:bodyPr wrap="square" rtlCol="0">
            <a:spAutoFit/>
          </a:bodyPr>
          <a:lstStyle/>
          <a:p>
            <a:r>
              <a:rPr lang="en-US" altLang="zh-CN" sz="1600" dirty="0" smtClean="0">
                <a:solidFill>
                  <a:schemeClr val="bg1"/>
                </a:solidFill>
              </a:rPr>
              <a:t>3b</a:t>
            </a:r>
            <a:endParaRPr lang="zh-CN" altLang="en-US" sz="1600" dirty="0">
              <a:solidFill>
                <a:schemeClr val="bg1"/>
              </a:solidFill>
            </a:endParaRPr>
          </a:p>
        </p:txBody>
      </p:sp>
      <p:sp>
        <p:nvSpPr>
          <p:cNvPr id="336" name="椭圆 335"/>
          <p:cNvSpPr/>
          <p:nvPr/>
        </p:nvSpPr>
        <p:spPr>
          <a:xfrm>
            <a:off x="4174959" y="4204515"/>
            <a:ext cx="339634" cy="310865"/>
          </a:xfrm>
          <a:prstGeom prst="ellipse">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600" dirty="0" smtClean="0">
              <a:solidFill>
                <a:schemeClr val="bg1"/>
              </a:solidFill>
              <a:latin typeface="华文楷体" panose="02010600040101010101" charset="-122"/>
              <a:ea typeface="华文楷体" panose="02010600040101010101" charset="-122"/>
            </a:endParaRPr>
          </a:p>
        </p:txBody>
      </p:sp>
      <p:sp>
        <p:nvSpPr>
          <p:cNvPr id="337" name="文本框 336"/>
          <p:cNvSpPr txBox="1"/>
          <p:nvPr/>
        </p:nvSpPr>
        <p:spPr>
          <a:xfrm>
            <a:off x="4147654" y="4177333"/>
            <a:ext cx="544531" cy="338048"/>
          </a:xfrm>
          <a:prstGeom prst="rect">
            <a:avLst/>
          </a:prstGeom>
          <a:noFill/>
          <a:ln>
            <a:noFill/>
          </a:ln>
        </p:spPr>
        <p:txBody>
          <a:bodyPr wrap="square" rtlCol="0">
            <a:spAutoFit/>
          </a:bodyPr>
          <a:lstStyle/>
          <a:p>
            <a:r>
              <a:rPr lang="en-US" altLang="zh-CN" dirty="0" smtClean="0">
                <a:solidFill>
                  <a:schemeClr val="bg1"/>
                </a:solidFill>
              </a:rPr>
              <a:t>3c</a:t>
            </a:r>
            <a:endParaRPr lang="zh-CN" altLang="en-US" dirty="0">
              <a:solidFill>
                <a:schemeClr val="bg1"/>
              </a:solidFill>
            </a:endParaRPr>
          </a:p>
        </p:txBody>
      </p:sp>
      <p:sp>
        <p:nvSpPr>
          <p:cNvPr id="338" name="文本框 66">
            <a:hlinkClick r:id="" action="ppaction://noaction"/>
          </p:cNvPr>
          <p:cNvSpPr txBox="1"/>
          <p:nvPr>
            <p:custDataLst>
              <p:tags r:id="rId16"/>
            </p:custDataLst>
          </p:nvPr>
        </p:nvSpPr>
        <p:spPr>
          <a:xfrm>
            <a:off x="1800596" y="5132768"/>
            <a:ext cx="6996681" cy="1002401"/>
          </a:xfrm>
          <a:prstGeom prst="rect">
            <a:avLst/>
          </a:prstGeom>
          <a:solidFill>
            <a:sysClr val="window" lastClr="FFFFFF">
              <a:lumMod val="95000"/>
            </a:sysClr>
          </a:solidFill>
          <a:ln w="19050">
            <a:solidFill>
              <a:schemeClr val="accent2">
                <a:lumMod val="75000"/>
              </a:schemeClr>
            </a:solidFill>
          </a:ln>
        </p:spPr>
        <p:txBody>
          <a:bodyPr wrap="square" lIns="108850" tIns="36000" rIns="108850" bIns="0" rtlCol="0">
            <a:noAutofit/>
          </a:bodyPr>
          <a:lstStyle/>
          <a:p>
            <a:pPr marL="0" marR="0" lvl="0" indent="0" algn="ctr" defTabSz="12192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ea"/>
                <a:sym typeface="+mn-lt"/>
              </a:rPr>
              <a:t> </a:t>
            </a:r>
            <a:endParaRPr kumimoji="0" lang="en-US" altLang="zh-CN" sz="1600" b="1"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ea"/>
              <a:sym typeface="+mn-lt"/>
            </a:endParaRPr>
          </a:p>
        </p:txBody>
      </p:sp>
      <p:sp>
        <p:nvSpPr>
          <p:cNvPr id="339" name="文本框 66"/>
          <p:cNvSpPr txBox="1"/>
          <p:nvPr>
            <p:custDataLst>
              <p:tags r:id="rId17"/>
            </p:custDataLst>
          </p:nvPr>
        </p:nvSpPr>
        <p:spPr>
          <a:xfrm>
            <a:off x="1796075" y="5142674"/>
            <a:ext cx="7002066" cy="316966"/>
          </a:xfrm>
          <a:prstGeom prst="rect">
            <a:avLst/>
          </a:prstGeom>
          <a:solidFill>
            <a:srgbClr val="FFC000"/>
          </a:solidFill>
          <a:ln w="12700">
            <a:solidFill>
              <a:sysClr val="window" lastClr="FFFFFF">
                <a:lumMod val="75000"/>
              </a:sysClr>
            </a:solidFill>
          </a:ln>
        </p:spPr>
        <p:txBody>
          <a:bodyPr wrap="square" lIns="108850" tIns="36000" rIns="108850" bIns="0" rtlCol="0">
            <a:noAutofit/>
          </a:bodyPr>
          <a:lstStyle/>
          <a:p>
            <a:pPr lvl="0" algn="ctr" defTabSz="1219200"/>
            <a:r>
              <a:rPr lang="en-US" altLang="zh-CN" sz="1600" b="1" kern="0" noProof="0" dirty="0" smtClean="0">
                <a:solidFill>
                  <a:prstClr val="white"/>
                </a:solidFill>
                <a:latin typeface="华文楷体" panose="02010600040101010101" charset="-122"/>
                <a:ea typeface="华文楷体" panose="02010600040101010101" charset="-122"/>
                <a:cs typeface="+mn-ea"/>
              </a:rPr>
              <a:t>XX</a:t>
            </a:r>
            <a:r>
              <a:rPr lang="en-US" altLang="zh-CN" sz="1600" b="1" kern="0" dirty="0" smtClean="0">
                <a:solidFill>
                  <a:prstClr val="white"/>
                </a:solidFill>
                <a:latin typeface="华文楷体" panose="02010600040101010101" charset="-122"/>
                <a:ea typeface="华文楷体" panose="02010600040101010101" charset="-122"/>
                <a:cs typeface="+mn-ea"/>
              </a:rPr>
              <a:t>-XX</a:t>
            </a:r>
            <a:endParaRPr kumimoji="0" lang="zh-CN" altLang="en-US" sz="16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ea"/>
            </a:endParaRPr>
          </a:p>
        </p:txBody>
      </p:sp>
      <p:sp>
        <p:nvSpPr>
          <p:cNvPr id="340" name="矩形 339"/>
          <p:cNvSpPr/>
          <p:nvPr/>
        </p:nvSpPr>
        <p:spPr>
          <a:xfrm>
            <a:off x="1955443" y="5456272"/>
            <a:ext cx="1733403" cy="690072"/>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95000"/>
                  </a:schemeClr>
                </a:solidFill>
              </a14:hiddenFill>
            </a:ext>
          </a:extLst>
        </p:spPr>
        <p:txBody>
          <a:bodyPr wrap="square" rtlCol="0" anchor="t" anchorCtr="0">
            <a:noAutofit/>
          </a:bodyPr>
          <a:lstStyle/>
          <a:p>
            <a:pPr lvl="0" defTabSz="1219200" eaLnBrk="0" fontAlgn="base" hangingPunct="0">
              <a:spcAft>
                <a:spcPct val="0"/>
              </a:spcAft>
              <a:defRPr/>
            </a:pPr>
            <a:r>
              <a:rPr lang="zh-CN" altLang="en-US" sz="1400" kern="0" dirty="0">
                <a:solidFill>
                  <a:prstClr val="black"/>
                </a:solidFill>
                <a:latin typeface="华文楷体" panose="02010600040101010101" charset="-122"/>
                <a:ea typeface="华文楷体" panose="02010600040101010101" charset="-122"/>
              </a:rPr>
              <a:t>目标：</a:t>
            </a:r>
            <a:endParaRPr lang="zh-CN" altLang="en-US" sz="1400" kern="0" dirty="0">
              <a:solidFill>
                <a:prstClr val="black"/>
              </a:solidFill>
              <a:latin typeface="华文楷体" panose="02010600040101010101" charset="-122"/>
              <a:ea typeface="华文楷体" panose="02010600040101010101" charset="-122"/>
            </a:endParaRPr>
          </a:p>
        </p:txBody>
      </p:sp>
      <p:sp>
        <p:nvSpPr>
          <p:cNvPr id="347" name="椭圆 346"/>
          <p:cNvSpPr/>
          <p:nvPr/>
        </p:nvSpPr>
        <p:spPr>
          <a:xfrm>
            <a:off x="1800596" y="5148774"/>
            <a:ext cx="309600" cy="310865"/>
          </a:xfrm>
          <a:prstGeom prst="ellipse">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600" dirty="0" smtClean="0">
              <a:solidFill>
                <a:schemeClr val="bg1"/>
              </a:solidFill>
              <a:latin typeface="华文楷体" panose="02010600040101010101" charset="-122"/>
              <a:ea typeface="华文楷体" panose="02010600040101010101" charset="-122"/>
            </a:endParaRPr>
          </a:p>
        </p:txBody>
      </p:sp>
      <p:sp>
        <p:nvSpPr>
          <p:cNvPr id="348" name="文本框 347"/>
          <p:cNvSpPr txBox="1"/>
          <p:nvPr/>
        </p:nvSpPr>
        <p:spPr>
          <a:xfrm>
            <a:off x="1773292" y="5121592"/>
            <a:ext cx="504242" cy="338554"/>
          </a:xfrm>
          <a:prstGeom prst="rect">
            <a:avLst/>
          </a:prstGeom>
          <a:noFill/>
          <a:ln>
            <a:noFill/>
          </a:ln>
        </p:spPr>
        <p:txBody>
          <a:bodyPr wrap="square" rtlCol="0">
            <a:spAutoFit/>
          </a:bodyPr>
          <a:lstStyle/>
          <a:p>
            <a:r>
              <a:rPr lang="en-US" altLang="zh-CN" sz="1600" dirty="0">
                <a:solidFill>
                  <a:schemeClr val="bg1"/>
                </a:solidFill>
              </a:rPr>
              <a:t>4</a:t>
            </a:r>
            <a:r>
              <a:rPr lang="en-US" altLang="zh-CN" sz="1600" dirty="0" smtClean="0">
                <a:solidFill>
                  <a:schemeClr val="bg1"/>
                </a:solidFill>
              </a:rPr>
              <a:t>a</a:t>
            </a:r>
            <a:endParaRPr lang="zh-CN" altLang="en-US" sz="1600" dirty="0">
              <a:solidFill>
                <a:schemeClr val="bg1"/>
              </a:solidFill>
            </a:endParaRPr>
          </a:p>
        </p:txBody>
      </p:sp>
      <p:sp>
        <p:nvSpPr>
          <p:cNvPr id="350" name="文本框 66"/>
          <p:cNvSpPr txBox="1"/>
          <p:nvPr>
            <p:custDataLst>
              <p:tags r:id="rId18"/>
            </p:custDataLst>
          </p:nvPr>
        </p:nvSpPr>
        <p:spPr>
          <a:xfrm>
            <a:off x="6529277" y="2357972"/>
            <a:ext cx="2268000" cy="2692533"/>
          </a:xfrm>
          <a:prstGeom prst="rect">
            <a:avLst/>
          </a:prstGeom>
          <a:solidFill>
            <a:sysClr val="window" lastClr="FFFFFF">
              <a:lumMod val="95000"/>
            </a:sysClr>
          </a:solidFill>
          <a:ln w="19050">
            <a:solidFill>
              <a:schemeClr val="accent2">
                <a:lumMod val="75000"/>
              </a:schemeClr>
            </a:solidFill>
          </a:ln>
        </p:spPr>
        <p:txBody>
          <a:bodyPr wrap="square" lIns="108850" tIns="36000" rIns="108850" bIns="0" rtlCol="0">
            <a:noAutofit/>
          </a:bodyPr>
          <a:lstStyle>
            <a:defPPr>
              <a:defRPr lang="zh-CN"/>
            </a:defPPr>
            <a:lvl1pPr algn="ctr" defTabSz="1219200">
              <a:defRPr sz="1600" b="1">
                <a:solidFill>
                  <a:prstClr val="black"/>
                </a:solidFill>
                <a:ea typeface="华文楷体" panose="02010600040101010101" charset="-122"/>
                <a:cs typeface="+mn-ea"/>
              </a:defRPr>
            </a:lvl1pPr>
          </a:lstStyle>
          <a:p>
            <a:pPr marL="0" marR="0" lvl="0" indent="0" algn="ctr" defTabSz="12192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sym typeface="+mn-lt"/>
              </a:rPr>
              <a:t> </a:t>
            </a:r>
            <a:endParaRPr kumimoji="0" lang="en-US" altLang="zh-CN" sz="1600" b="1"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sym typeface="+mn-lt"/>
            </a:endParaRPr>
          </a:p>
        </p:txBody>
      </p:sp>
      <p:sp>
        <p:nvSpPr>
          <p:cNvPr id="351" name="文本框 66"/>
          <p:cNvSpPr txBox="1"/>
          <p:nvPr>
            <p:custDataLst>
              <p:tags r:id="rId19"/>
            </p:custDataLst>
          </p:nvPr>
        </p:nvSpPr>
        <p:spPr>
          <a:xfrm>
            <a:off x="6527051" y="2362959"/>
            <a:ext cx="2273405" cy="296556"/>
          </a:xfrm>
          <a:prstGeom prst="rect">
            <a:avLst/>
          </a:prstGeom>
          <a:solidFill>
            <a:srgbClr val="00B050"/>
          </a:solidFill>
          <a:ln w="12700">
            <a:solidFill>
              <a:sysClr val="window" lastClr="FFFFFF">
                <a:lumMod val="75000"/>
              </a:sysClr>
            </a:solidFill>
          </a:ln>
        </p:spPr>
        <p:txBody>
          <a:bodyPr wrap="square" lIns="108850" tIns="36000" rIns="108850" bIns="0" rtlCol="0">
            <a:noAutofit/>
          </a:bodyPr>
          <a:lstStyle>
            <a:defPPr>
              <a:defRPr lang="zh-CN"/>
            </a:defPPr>
            <a:lvl1pPr algn="ctr" defTabSz="1219200">
              <a:defRPr sz="1600" b="1">
                <a:solidFill>
                  <a:schemeClr val="bg1"/>
                </a:solidFill>
                <a:ea typeface="华文楷体" panose="02010600040101010101" charset="-122"/>
                <a:cs typeface="+mn-ea"/>
              </a:defRPr>
            </a:lvl1pPr>
          </a:lstStyle>
          <a:p>
            <a:pPr lvl="0"/>
            <a:r>
              <a:rPr lang="en-US" altLang="zh-CN" kern="0" dirty="0" smtClean="0">
                <a:solidFill>
                  <a:prstClr val="white"/>
                </a:solidFill>
                <a:latin typeface="华文楷体" panose="02010600040101010101" charset="-122"/>
              </a:rPr>
              <a:t>XX-XX</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sp>
        <p:nvSpPr>
          <p:cNvPr id="352" name="矩形 351"/>
          <p:cNvSpPr/>
          <p:nvPr/>
        </p:nvSpPr>
        <p:spPr>
          <a:xfrm>
            <a:off x="6702262" y="2765518"/>
            <a:ext cx="1733403" cy="371122"/>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95000"/>
                  </a:schemeClr>
                </a:solidFill>
              </a14:hiddenFill>
            </a:ext>
          </a:extLst>
        </p:spPr>
        <p:txBody>
          <a:bodyPr wrap="square" rtlCol="0" anchor="t" anchorCtr="0">
            <a:noAutofit/>
          </a:bodyPr>
          <a:lstStyle/>
          <a:p>
            <a:pPr lvl="0" defTabSz="1219200" eaLnBrk="0" fontAlgn="base" hangingPunct="0">
              <a:spcAft>
                <a:spcPct val="0"/>
              </a:spcAft>
              <a:defRPr/>
            </a:pPr>
            <a:r>
              <a:rPr lang="zh-CN" altLang="en-US" sz="1400" kern="0" dirty="0">
                <a:solidFill>
                  <a:prstClr val="black"/>
                </a:solidFill>
                <a:latin typeface="华文楷体" panose="02010600040101010101" charset="-122"/>
                <a:ea typeface="华文楷体" panose="02010600040101010101" charset="-122"/>
              </a:rPr>
              <a:t>目标：</a:t>
            </a:r>
            <a:endParaRPr lang="zh-CN" altLang="en-US" sz="1400" kern="0" dirty="0">
              <a:solidFill>
                <a:prstClr val="black"/>
              </a:solidFill>
              <a:latin typeface="华文楷体" panose="02010600040101010101" charset="-122"/>
              <a:ea typeface="华文楷体" panose="02010600040101010101" charset="-122"/>
            </a:endParaRPr>
          </a:p>
        </p:txBody>
      </p:sp>
      <p:sp>
        <p:nvSpPr>
          <p:cNvPr id="356" name="椭圆 355"/>
          <p:cNvSpPr/>
          <p:nvPr/>
        </p:nvSpPr>
        <p:spPr>
          <a:xfrm>
            <a:off x="6574022" y="2371538"/>
            <a:ext cx="309600" cy="310865"/>
          </a:xfrm>
          <a:prstGeom prst="ellipse">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600" dirty="0" smtClean="0">
              <a:solidFill>
                <a:schemeClr val="bg1"/>
              </a:solidFill>
              <a:latin typeface="华文楷体" panose="02010600040101010101" charset="-122"/>
              <a:ea typeface="华文楷体" panose="02010600040101010101" charset="-122"/>
            </a:endParaRPr>
          </a:p>
        </p:txBody>
      </p:sp>
      <p:sp>
        <p:nvSpPr>
          <p:cNvPr id="357" name="文本框 356"/>
          <p:cNvSpPr txBox="1"/>
          <p:nvPr/>
        </p:nvSpPr>
        <p:spPr>
          <a:xfrm>
            <a:off x="6546717" y="2344356"/>
            <a:ext cx="544531" cy="338048"/>
          </a:xfrm>
          <a:prstGeom prst="rect">
            <a:avLst/>
          </a:prstGeom>
          <a:noFill/>
          <a:ln>
            <a:noFill/>
          </a:ln>
        </p:spPr>
        <p:txBody>
          <a:bodyPr wrap="square" rtlCol="0">
            <a:spAutoFit/>
          </a:bodyPr>
          <a:lstStyle/>
          <a:p>
            <a:r>
              <a:rPr lang="en-US" altLang="zh-CN" sz="1600" dirty="0" smtClean="0">
                <a:solidFill>
                  <a:schemeClr val="bg1"/>
                </a:solidFill>
              </a:rPr>
              <a:t>4</a:t>
            </a:r>
            <a:r>
              <a:rPr lang="en-US" altLang="zh-CN" sz="1600" dirty="0">
                <a:solidFill>
                  <a:schemeClr val="bg1"/>
                </a:solidFill>
              </a:rPr>
              <a:t>b</a:t>
            </a:r>
            <a:endParaRPr lang="zh-CN" altLang="en-US" sz="1600" dirty="0">
              <a:solidFill>
                <a:schemeClr val="bg1"/>
              </a:solidFill>
            </a:endParaRPr>
          </a:p>
        </p:txBody>
      </p:sp>
      <p:sp>
        <p:nvSpPr>
          <p:cNvPr id="358" name="文本框 66"/>
          <p:cNvSpPr txBox="1"/>
          <p:nvPr>
            <p:custDataLst>
              <p:tags r:id="rId20"/>
            </p:custDataLst>
          </p:nvPr>
        </p:nvSpPr>
        <p:spPr>
          <a:xfrm>
            <a:off x="8916194" y="1486590"/>
            <a:ext cx="2268000" cy="823766"/>
          </a:xfrm>
          <a:prstGeom prst="rect">
            <a:avLst/>
          </a:prstGeom>
          <a:solidFill>
            <a:sysClr val="window" lastClr="FFFFFF">
              <a:lumMod val="95000"/>
            </a:sysClr>
          </a:solidFill>
          <a:ln w="19050">
            <a:solidFill>
              <a:schemeClr val="accent2">
                <a:lumMod val="75000"/>
              </a:schemeClr>
            </a:solidFill>
          </a:ln>
        </p:spPr>
        <p:txBody>
          <a:bodyPr wrap="square" lIns="108850" tIns="36000" rIns="108850" bIns="0" rtlCol="0">
            <a:noAutofit/>
          </a:bodyPr>
          <a:lstStyle>
            <a:defPPr>
              <a:defRPr lang="zh-CN"/>
            </a:defPPr>
            <a:lvl1pPr algn="ctr" defTabSz="1219200">
              <a:defRPr sz="1600" b="1">
                <a:solidFill>
                  <a:prstClr val="black"/>
                </a:solidFill>
                <a:ea typeface="华文楷体" panose="02010600040101010101" charset="-122"/>
                <a:cs typeface="+mn-ea"/>
              </a:defRPr>
            </a:lvl1pPr>
          </a:lstStyle>
          <a:p>
            <a:pPr marL="0" marR="0" lvl="0" indent="0" algn="ctr" defTabSz="12192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sym typeface="+mn-lt"/>
              </a:rPr>
              <a:t> </a:t>
            </a:r>
            <a:r>
              <a:rPr kumimoji="0" lang="zh-CN" altLang="en-US" sz="1600" b="1"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sym typeface="+mn-lt"/>
              </a:rPr>
              <a:t>何</a:t>
            </a:r>
            <a:endParaRPr kumimoji="0" lang="en-US" altLang="zh-CN" sz="1600" b="1"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sym typeface="+mn-lt"/>
            </a:endParaRPr>
          </a:p>
        </p:txBody>
      </p:sp>
      <p:sp>
        <p:nvSpPr>
          <p:cNvPr id="359" name="文本框 66"/>
          <p:cNvSpPr txBox="1"/>
          <p:nvPr>
            <p:custDataLst>
              <p:tags r:id="rId21"/>
            </p:custDataLst>
          </p:nvPr>
        </p:nvSpPr>
        <p:spPr>
          <a:xfrm>
            <a:off x="8913968" y="1494328"/>
            <a:ext cx="2273405" cy="296556"/>
          </a:xfrm>
          <a:prstGeom prst="rect">
            <a:avLst/>
          </a:prstGeom>
          <a:solidFill>
            <a:srgbClr val="FFC000"/>
          </a:solidFill>
          <a:ln w="12700">
            <a:solidFill>
              <a:sysClr val="window" lastClr="FFFFFF">
                <a:lumMod val="75000"/>
              </a:sysClr>
            </a:solidFill>
          </a:ln>
        </p:spPr>
        <p:txBody>
          <a:bodyPr wrap="square" lIns="108850" tIns="36000" rIns="108850" bIns="0" rtlCol="0">
            <a:noAutofit/>
          </a:bodyPr>
          <a:lstStyle>
            <a:defPPr>
              <a:defRPr lang="zh-CN"/>
            </a:defPPr>
            <a:lvl1pPr algn="ctr" defTabSz="1219200">
              <a:defRPr sz="1600" b="1">
                <a:solidFill>
                  <a:schemeClr val="bg1"/>
                </a:solidFill>
                <a:ea typeface="华文楷体" panose="02010600040101010101" charset="-122"/>
                <a:cs typeface="+mn-ea"/>
              </a:defRPr>
            </a:lvl1pPr>
          </a:lstStyle>
          <a:p>
            <a:pPr marL="0" marR="0" lvl="0" indent="0" algn="ctr" defTabSz="1219200" eaLnBrk="1" fontAlgn="auto" latinLnBrk="0" hangingPunct="1">
              <a:lnSpc>
                <a:spcPct val="100000"/>
              </a:lnSpc>
              <a:spcBef>
                <a:spcPts val="0"/>
              </a:spcBef>
              <a:spcAft>
                <a:spcPts val="0"/>
              </a:spcAft>
              <a:buClrTx/>
              <a:buSzTx/>
              <a:buFontTx/>
              <a:buNone/>
              <a:defRPr/>
            </a:pPr>
            <a:r>
              <a:rPr lang="en-US" altLang="zh-CN" kern="0" dirty="0" smtClean="0">
                <a:solidFill>
                  <a:prstClr val="white"/>
                </a:solidFill>
                <a:latin typeface="华文楷体" panose="02010600040101010101" charset="-122"/>
              </a:rPr>
              <a:t>XX-</a:t>
            </a:r>
            <a:r>
              <a:rPr lang="en-US" altLang="zh-CN" kern="0" dirty="0">
                <a:solidFill>
                  <a:prstClr val="white"/>
                </a:solidFill>
                <a:latin typeface="华文楷体" panose="02010600040101010101" charset="-122"/>
              </a:rPr>
              <a:t>XX</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sp>
        <p:nvSpPr>
          <p:cNvPr id="360" name="矩形 359"/>
          <p:cNvSpPr/>
          <p:nvPr/>
        </p:nvSpPr>
        <p:spPr>
          <a:xfrm>
            <a:off x="9078905" y="1841414"/>
            <a:ext cx="1733403" cy="371122"/>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95000"/>
                  </a:schemeClr>
                </a:solidFill>
              </a14:hiddenFill>
            </a:ext>
          </a:extLst>
        </p:spPr>
        <p:txBody>
          <a:bodyPr wrap="square" rtlCol="0" anchor="t" anchorCtr="0">
            <a:noAutofit/>
          </a:bodyPr>
          <a:lstStyle/>
          <a:p>
            <a:pPr lvl="0" defTabSz="1219200" eaLnBrk="0" fontAlgn="base" hangingPunct="0">
              <a:spcAft>
                <a:spcPct val="0"/>
              </a:spcAft>
              <a:defRPr/>
            </a:pPr>
            <a:r>
              <a:rPr lang="zh-CN" altLang="en-US" sz="1400" kern="0" dirty="0">
                <a:solidFill>
                  <a:prstClr val="black"/>
                </a:solidFill>
                <a:latin typeface="华文楷体" panose="02010600040101010101" charset="-122"/>
                <a:ea typeface="华文楷体" panose="02010600040101010101" charset="-122"/>
              </a:rPr>
              <a:t>目标：</a:t>
            </a:r>
            <a:endParaRPr lang="zh-CN" altLang="en-US" sz="1400" kern="0" dirty="0">
              <a:solidFill>
                <a:prstClr val="black"/>
              </a:solidFill>
              <a:latin typeface="华文楷体" panose="02010600040101010101" charset="-122"/>
              <a:ea typeface="华文楷体" panose="02010600040101010101" charset="-122"/>
            </a:endParaRPr>
          </a:p>
        </p:txBody>
      </p:sp>
      <p:sp>
        <p:nvSpPr>
          <p:cNvPr id="370" name="椭圆 369"/>
          <p:cNvSpPr/>
          <p:nvPr/>
        </p:nvSpPr>
        <p:spPr>
          <a:xfrm>
            <a:off x="8920193" y="1486961"/>
            <a:ext cx="309600" cy="310865"/>
          </a:xfrm>
          <a:prstGeom prst="ellipse">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600" dirty="0" smtClean="0">
              <a:solidFill>
                <a:schemeClr val="bg1"/>
              </a:solidFill>
              <a:latin typeface="华文楷体" panose="02010600040101010101" charset="-122"/>
              <a:ea typeface="华文楷体" panose="02010600040101010101" charset="-122"/>
            </a:endParaRPr>
          </a:p>
        </p:txBody>
      </p:sp>
      <p:sp>
        <p:nvSpPr>
          <p:cNvPr id="371" name="文本框 370"/>
          <p:cNvSpPr txBox="1"/>
          <p:nvPr/>
        </p:nvSpPr>
        <p:spPr>
          <a:xfrm>
            <a:off x="8892888" y="1459779"/>
            <a:ext cx="544531" cy="338048"/>
          </a:xfrm>
          <a:prstGeom prst="rect">
            <a:avLst/>
          </a:prstGeom>
          <a:noFill/>
          <a:ln>
            <a:noFill/>
          </a:ln>
        </p:spPr>
        <p:txBody>
          <a:bodyPr wrap="square" rtlCol="0">
            <a:spAutoFit/>
          </a:bodyPr>
          <a:lstStyle/>
          <a:p>
            <a:r>
              <a:rPr lang="en-US" altLang="zh-CN" sz="1600" dirty="0">
                <a:solidFill>
                  <a:schemeClr val="bg1"/>
                </a:solidFill>
              </a:rPr>
              <a:t>5</a:t>
            </a:r>
            <a:r>
              <a:rPr lang="en-US" altLang="zh-CN" sz="1600" dirty="0" smtClean="0">
                <a:solidFill>
                  <a:schemeClr val="bg1"/>
                </a:solidFill>
              </a:rPr>
              <a:t>a</a:t>
            </a:r>
            <a:endParaRPr lang="zh-CN" altLang="en-US" sz="1600" dirty="0">
              <a:solidFill>
                <a:schemeClr val="bg1"/>
              </a:solidFill>
            </a:endParaRPr>
          </a:p>
        </p:txBody>
      </p:sp>
      <p:sp>
        <p:nvSpPr>
          <p:cNvPr id="372" name="文本框 66"/>
          <p:cNvSpPr txBox="1"/>
          <p:nvPr>
            <p:custDataLst>
              <p:tags r:id="rId22"/>
            </p:custDataLst>
          </p:nvPr>
        </p:nvSpPr>
        <p:spPr>
          <a:xfrm>
            <a:off x="8914001" y="2348746"/>
            <a:ext cx="2268000" cy="3785128"/>
          </a:xfrm>
          <a:prstGeom prst="rect">
            <a:avLst/>
          </a:prstGeom>
          <a:solidFill>
            <a:sysClr val="window" lastClr="FFFFFF">
              <a:lumMod val="95000"/>
            </a:sysClr>
          </a:solidFill>
          <a:ln w="19050">
            <a:solidFill>
              <a:schemeClr val="accent2">
                <a:lumMod val="75000"/>
              </a:schemeClr>
            </a:solidFill>
          </a:ln>
        </p:spPr>
        <p:txBody>
          <a:bodyPr wrap="square" lIns="108850" tIns="36000" rIns="108850" bIns="0" rtlCol="0">
            <a:noAutofit/>
          </a:bodyPr>
          <a:lstStyle>
            <a:defPPr>
              <a:defRPr lang="zh-CN"/>
            </a:defPPr>
            <a:lvl1pPr algn="ctr" defTabSz="1219200">
              <a:defRPr sz="1600" b="1">
                <a:solidFill>
                  <a:prstClr val="black"/>
                </a:solidFill>
                <a:ea typeface="华文楷体" panose="02010600040101010101" charset="-122"/>
                <a:cs typeface="+mn-ea"/>
              </a:defRPr>
            </a:lvl1pPr>
          </a:lstStyle>
          <a:p>
            <a:pPr marL="0" marR="0" lvl="0" indent="0" algn="ctr" defTabSz="12192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sym typeface="+mn-lt"/>
              </a:rPr>
              <a:t> </a:t>
            </a:r>
            <a:endParaRPr kumimoji="0" lang="en-US" altLang="zh-CN" sz="1600" b="1"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sym typeface="+mn-lt"/>
            </a:endParaRPr>
          </a:p>
        </p:txBody>
      </p:sp>
      <p:sp>
        <p:nvSpPr>
          <p:cNvPr id="373" name="文本框 66"/>
          <p:cNvSpPr txBox="1"/>
          <p:nvPr>
            <p:custDataLst>
              <p:tags r:id="rId23"/>
            </p:custDataLst>
          </p:nvPr>
        </p:nvSpPr>
        <p:spPr>
          <a:xfrm>
            <a:off x="8911775" y="2356484"/>
            <a:ext cx="2273405" cy="296556"/>
          </a:xfrm>
          <a:prstGeom prst="rect">
            <a:avLst/>
          </a:prstGeom>
          <a:solidFill>
            <a:srgbClr val="00B050"/>
          </a:solidFill>
          <a:ln w="12700">
            <a:solidFill>
              <a:sysClr val="window" lastClr="FFFFFF">
                <a:lumMod val="75000"/>
              </a:sysClr>
            </a:solidFill>
          </a:ln>
        </p:spPr>
        <p:txBody>
          <a:bodyPr wrap="square" lIns="108850" tIns="36000" rIns="108850" bIns="0" rtlCol="0">
            <a:noAutofit/>
          </a:bodyPr>
          <a:lstStyle>
            <a:defPPr>
              <a:defRPr lang="zh-CN"/>
            </a:defPPr>
            <a:lvl1pPr algn="ctr" defTabSz="1219200">
              <a:defRPr sz="1600" b="1">
                <a:solidFill>
                  <a:schemeClr val="bg1"/>
                </a:solidFill>
                <a:ea typeface="华文楷体" panose="02010600040101010101" charset="-122"/>
                <a:cs typeface="+mn-ea"/>
              </a:defRPr>
            </a:lvl1pPr>
          </a:lstStyle>
          <a:p>
            <a:pPr marL="0" marR="0" lvl="0" indent="0" algn="ctr" defTabSz="1219200" eaLnBrk="1" fontAlgn="auto" latinLnBrk="0" hangingPunct="1">
              <a:lnSpc>
                <a:spcPct val="100000"/>
              </a:lnSpc>
              <a:spcBef>
                <a:spcPts val="0"/>
              </a:spcBef>
              <a:spcAft>
                <a:spcPts val="0"/>
              </a:spcAft>
              <a:buClrTx/>
              <a:buSzTx/>
              <a:buFontTx/>
              <a:buNone/>
              <a:defRPr/>
            </a:pPr>
            <a:r>
              <a:rPr lang="en-US" altLang="zh-CN" kern="0" dirty="0" smtClean="0">
                <a:solidFill>
                  <a:prstClr val="white"/>
                </a:solidFill>
                <a:latin typeface="华文楷体" panose="02010600040101010101" charset="-122"/>
              </a:rPr>
              <a:t>XX-</a:t>
            </a:r>
            <a:r>
              <a:rPr lang="en-US" altLang="zh-CN" kern="0" dirty="0">
                <a:solidFill>
                  <a:prstClr val="white"/>
                </a:solidFill>
                <a:latin typeface="华文楷体" panose="02010600040101010101" charset="-122"/>
              </a:rPr>
              <a:t>XX</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sp>
        <p:nvSpPr>
          <p:cNvPr id="374" name="矩形 373"/>
          <p:cNvSpPr/>
          <p:nvPr/>
        </p:nvSpPr>
        <p:spPr>
          <a:xfrm>
            <a:off x="9076712" y="2703570"/>
            <a:ext cx="1733403" cy="371122"/>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95000"/>
                  </a:schemeClr>
                </a:solidFill>
              </a14:hiddenFill>
            </a:ext>
          </a:extLst>
        </p:spPr>
        <p:txBody>
          <a:bodyPr wrap="square" rtlCol="0" anchor="t" anchorCtr="0">
            <a:noAutofit/>
          </a:bodyPr>
          <a:lstStyle/>
          <a:p>
            <a:pPr lvl="0" defTabSz="1219200" eaLnBrk="0" fontAlgn="base" hangingPunct="0">
              <a:spcAft>
                <a:spcPct val="0"/>
              </a:spcAft>
              <a:defRPr/>
            </a:pPr>
            <a:r>
              <a:rPr lang="zh-CN" altLang="en-US" sz="1400" kern="0" dirty="0">
                <a:solidFill>
                  <a:prstClr val="black"/>
                </a:solidFill>
                <a:latin typeface="华文楷体" panose="02010600040101010101" charset="-122"/>
                <a:ea typeface="华文楷体" panose="02010600040101010101" charset="-122"/>
              </a:rPr>
              <a:t>目标：</a:t>
            </a:r>
            <a:endParaRPr lang="zh-CN" altLang="en-US" sz="1400" kern="0" dirty="0">
              <a:solidFill>
                <a:prstClr val="black"/>
              </a:solidFill>
              <a:latin typeface="华文楷体" panose="02010600040101010101" charset="-122"/>
              <a:ea typeface="华文楷体" panose="02010600040101010101" charset="-122"/>
            </a:endParaRPr>
          </a:p>
        </p:txBody>
      </p:sp>
      <p:sp>
        <p:nvSpPr>
          <p:cNvPr id="378" name="椭圆 377"/>
          <p:cNvSpPr/>
          <p:nvPr/>
        </p:nvSpPr>
        <p:spPr>
          <a:xfrm>
            <a:off x="8918000" y="2349117"/>
            <a:ext cx="309600" cy="310865"/>
          </a:xfrm>
          <a:prstGeom prst="ellipse">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600" dirty="0" smtClean="0">
              <a:solidFill>
                <a:schemeClr val="bg1"/>
              </a:solidFill>
              <a:latin typeface="华文楷体" panose="02010600040101010101" charset="-122"/>
              <a:ea typeface="华文楷体" panose="02010600040101010101" charset="-122"/>
            </a:endParaRPr>
          </a:p>
        </p:txBody>
      </p:sp>
      <p:sp>
        <p:nvSpPr>
          <p:cNvPr id="379" name="文本框 378"/>
          <p:cNvSpPr txBox="1"/>
          <p:nvPr/>
        </p:nvSpPr>
        <p:spPr>
          <a:xfrm>
            <a:off x="8890695" y="2321935"/>
            <a:ext cx="544531" cy="338048"/>
          </a:xfrm>
          <a:prstGeom prst="rect">
            <a:avLst/>
          </a:prstGeom>
          <a:noFill/>
          <a:ln>
            <a:noFill/>
          </a:ln>
        </p:spPr>
        <p:txBody>
          <a:bodyPr wrap="square" rtlCol="0">
            <a:spAutoFit/>
          </a:bodyPr>
          <a:lstStyle/>
          <a:p>
            <a:r>
              <a:rPr lang="en-US" altLang="zh-CN" sz="1600" dirty="0" smtClean="0">
                <a:solidFill>
                  <a:schemeClr val="bg1"/>
                </a:solidFill>
              </a:rPr>
              <a:t>5</a:t>
            </a:r>
            <a:r>
              <a:rPr lang="en-US" altLang="zh-CN" sz="1600" dirty="0">
                <a:solidFill>
                  <a:schemeClr val="bg1"/>
                </a:solidFill>
              </a:rPr>
              <a:t>b</a:t>
            </a:r>
            <a:endParaRPr lang="zh-CN" altLang="en-US" sz="1600" dirty="0">
              <a:solidFill>
                <a:schemeClr val="bg1"/>
              </a:solidFill>
            </a:endParaRPr>
          </a:p>
        </p:txBody>
      </p:sp>
      <p:sp>
        <p:nvSpPr>
          <p:cNvPr id="385" name="矩形 384"/>
          <p:cNvSpPr/>
          <p:nvPr/>
        </p:nvSpPr>
        <p:spPr>
          <a:xfrm>
            <a:off x="1078029" y="961353"/>
            <a:ext cx="10270156" cy="5287047"/>
          </a:xfrm>
          <a:prstGeom prst="rect">
            <a:avLst/>
          </a:prstGeom>
          <a:noFill/>
          <a:ln w="9525" cap="rnd" cmpd="sng" algn="ctr">
            <a:solidFill>
              <a:srgbClr val="D81E0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latin typeface="华文楷体" panose="02010600040101010101" charset="-122"/>
              <a:ea typeface="华文楷体" panose="02010600040101010101" charset="-122"/>
            </a:endParaRPr>
          </a:p>
        </p:txBody>
      </p:sp>
      <p:pic>
        <p:nvPicPr>
          <p:cNvPr id="56" name="图片 55"/>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57"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t>项目</a:t>
            </a:r>
            <a:r>
              <a:rPr lang="zh-CN" altLang="en-US" sz="2400" dirty="0"/>
              <a:t>追踪</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
          <p:cNvSpPr txBox="1"/>
          <p:nvPr/>
        </p:nvSpPr>
        <p:spPr>
          <a:xfrm>
            <a:off x="7645646" y="6477844"/>
            <a:ext cx="909064" cy="184666"/>
          </a:xfrm>
          <a:prstGeom prst="rect">
            <a:avLst/>
          </a:prstGeom>
        </p:spPr>
        <p:txBody>
          <a:bodyPr vert="horz" wrap="squar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zh-CN" sz="1200">
                <a:solidFill>
                  <a:srgbClr val="01B468"/>
                </a:solidFill>
              </a:rPr>
              <a:t>●</a:t>
            </a:r>
            <a:r>
              <a:rPr lang="en-US" altLang="zh-CN" sz="1200">
                <a:solidFill>
                  <a:srgbClr val="FFD700"/>
                </a:solidFill>
              </a:rPr>
              <a:t>●</a:t>
            </a:r>
            <a:r>
              <a:rPr lang="en-US" altLang="zh-CN" sz="1200">
                <a:solidFill>
                  <a:srgbClr val="D81E06"/>
                </a:solidFill>
              </a:rPr>
              <a:t>●</a:t>
            </a:r>
            <a:r>
              <a:rPr lang="en-US" altLang="zh-CN" sz="1200">
                <a:solidFill>
                  <a:schemeClr val="bg1">
                    <a:lumMod val="75000"/>
                  </a:schemeClr>
                </a:solidFill>
              </a:rPr>
              <a:t>●     </a:t>
            </a:r>
            <a:endParaRPr lang="zh-CN" altLang="en-US" sz="1200"/>
          </a:p>
        </p:txBody>
      </p:sp>
      <p:pic>
        <p:nvPicPr>
          <p:cNvPr id="16" name="图片 1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736347" y="6438830"/>
            <a:ext cx="254922" cy="252412"/>
          </a:xfrm>
          <a:prstGeom prst="rect">
            <a:avLst/>
          </a:prstGeom>
        </p:spPr>
      </p:pic>
      <p:pic>
        <p:nvPicPr>
          <p:cNvPr id="17" name="图片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25272" y="6438830"/>
            <a:ext cx="254922" cy="252412"/>
          </a:xfrm>
          <a:prstGeom prst="rect">
            <a:avLst/>
          </a:prstGeom>
        </p:spPr>
      </p:pic>
      <p:pic>
        <p:nvPicPr>
          <p:cNvPr id="18" name="图片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14197" y="6438830"/>
            <a:ext cx="254922" cy="252412"/>
          </a:xfrm>
          <a:prstGeom prst="rect">
            <a:avLst/>
          </a:prstGeom>
        </p:spPr>
      </p:pic>
      <p:pic>
        <p:nvPicPr>
          <p:cNvPr id="19" name="图片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67946" y="6473340"/>
            <a:ext cx="189188" cy="142875"/>
          </a:xfrm>
          <a:prstGeom prst="rect">
            <a:avLst/>
          </a:prstGeom>
        </p:spPr>
      </p:pic>
      <p:pic>
        <p:nvPicPr>
          <p:cNvPr id="20" name="图片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40445" y="251931"/>
            <a:ext cx="432000" cy="432000"/>
          </a:xfrm>
          <a:prstGeom prst="rect">
            <a:avLst/>
          </a:prstGeom>
        </p:spPr>
      </p:pic>
      <p:sp>
        <p:nvSpPr>
          <p:cNvPr id="21" name="椭圆 20"/>
          <p:cNvSpPr/>
          <p:nvPr/>
        </p:nvSpPr>
        <p:spPr>
          <a:xfrm>
            <a:off x="10755772" y="3602540"/>
            <a:ext cx="144463" cy="144462"/>
          </a:xfrm>
          <a:prstGeom prst="ellipse">
            <a:avLst/>
          </a:prstGeom>
          <a:solidFill>
            <a:srgbClr val="FF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Aft>
                <a:spcPts val="1000"/>
              </a:spcAft>
            </a:pPr>
            <a:endParaRPr lang="zh-CN" altLang="en-US" sz="1400">
              <a:solidFill>
                <a:schemeClr val="tx1"/>
              </a:solidFill>
            </a:endParaRPr>
          </a:p>
        </p:txBody>
      </p:sp>
      <p:sp>
        <p:nvSpPr>
          <p:cNvPr id="22" name="椭圆 21"/>
          <p:cNvSpPr/>
          <p:nvPr/>
        </p:nvSpPr>
        <p:spPr>
          <a:xfrm>
            <a:off x="10755772" y="3071031"/>
            <a:ext cx="144463" cy="144463"/>
          </a:xfrm>
          <a:prstGeom prst="ellipse">
            <a:avLst/>
          </a:prstGeom>
          <a:solidFill>
            <a:srgbClr val="00B05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Aft>
                <a:spcPts val="1000"/>
              </a:spcAft>
            </a:pPr>
            <a:endParaRPr lang="zh-CN" altLang="en-US" sz="1400">
              <a:solidFill>
                <a:schemeClr val="tx1"/>
              </a:solidFill>
            </a:endParaRPr>
          </a:p>
        </p:txBody>
      </p:sp>
      <p:sp>
        <p:nvSpPr>
          <p:cNvPr id="23" name="椭圆 22"/>
          <p:cNvSpPr/>
          <p:nvPr/>
        </p:nvSpPr>
        <p:spPr>
          <a:xfrm>
            <a:off x="10755772" y="3333539"/>
            <a:ext cx="144463" cy="142875"/>
          </a:xfrm>
          <a:prstGeom prst="ellipse">
            <a:avLst/>
          </a:prstGeom>
          <a:solidFill>
            <a:srgbClr val="FFC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Aft>
                <a:spcPts val="1000"/>
              </a:spcAft>
            </a:pPr>
            <a:endParaRPr lang="zh-CN" altLang="en-US" sz="1400">
              <a:solidFill>
                <a:schemeClr val="tx1"/>
              </a:solidFill>
            </a:endParaRPr>
          </a:p>
        </p:txBody>
      </p:sp>
      <p:sp>
        <p:nvSpPr>
          <p:cNvPr id="24" name="椭圆 23"/>
          <p:cNvSpPr/>
          <p:nvPr/>
        </p:nvSpPr>
        <p:spPr>
          <a:xfrm>
            <a:off x="10755772" y="3863460"/>
            <a:ext cx="144463" cy="144462"/>
          </a:xfrm>
          <a:prstGeom prst="ellipse">
            <a:avLst/>
          </a:prstGeom>
          <a:solidFill>
            <a:schemeClr val="bg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Aft>
                <a:spcPts val="1000"/>
              </a:spcAft>
            </a:pPr>
            <a:endParaRPr lang="zh-CN" altLang="en-US" sz="1400">
              <a:solidFill>
                <a:schemeClr val="tx1"/>
              </a:solidFill>
            </a:endParaRPr>
          </a:p>
        </p:txBody>
      </p:sp>
      <p:sp>
        <p:nvSpPr>
          <p:cNvPr id="35" name="矩形 34"/>
          <p:cNvSpPr/>
          <p:nvPr/>
        </p:nvSpPr>
        <p:spPr>
          <a:xfrm>
            <a:off x="2671108" y="6441938"/>
            <a:ext cx="3450291" cy="276999"/>
          </a:xfrm>
          <a:prstGeom prst="rect">
            <a:avLst/>
          </a:prstGeom>
        </p:spPr>
        <p:txBody>
          <a:bodyPr wrap="square">
            <a:spAutoFit/>
          </a:bodyPr>
          <a:lstStyle/>
          <a:p>
            <a:r>
              <a:rPr lang="zh-CN" altLang="en-US" sz="1200" dirty="0">
                <a:latin typeface="华文楷体" panose="02010600040101010101" charset="-122"/>
                <a:ea typeface="华文楷体" panose="02010600040101010101" charset="-122"/>
              </a:rPr>
              <a:t>分别代表各业务模块进展正常、落后、严重落后</a:t>
            </a:r>
            <a:endParaRPr lang="zh-CN" altLang="en-US" sz="1200" dirty="0">
              <a:latin typeface="华文楷体" panose="02010600040101010101" charset="-122"/>
              <a:ea typeface="华文楷体" panose="02010600040101010101" charset="-122"/>
            </a:endParaRPr>
          </a:p>
        </p:txBody>
      </p:sp>
      <p:sp>
        <p:nvSpPr>
          <p:cNvPr id="36" name="矩形 35"/>
          <p:cNvSpPr/>
          <p:nvPr/>
        </p:nvSpPr>
        <p:spPr>
          <a:xfrm>
            <a:off x="8545759" y="6443523"/>
            <a:ext cx="3205974" cy="461665"/>
          </a:xfrm>
          <a:prstGeom prst="rect">
            <a:avLst/>
          </a:prstGeom>
        </p:spPr>
        <p:txBody>
          <a:bodyPr wrap="square">
            <a:spAutoFit/>
          </a:bodyPr>
          <a:lstStyle/>
          <a:p>
            <a:r>
              <a:rPr lang="zh-CN" altLang="en-US" sz="1200" dirty="0">
                <a:latin typeface="华文楷体" panose="02010600040101010101" charset="-122"/>
                <a:ea typeface="华文楷体" panose="02010600040101010101" charset="-122"/>
              </a:rPr>
              <a:t>分别代表各子项目进展正常、落后、严重落后、未启动、已完成</a:t>
            </a:r>
            <a:endParaRPr lang="zh-CN" altLang="en-US" sz="1200" dirty="0">
              <a:latin typeface="华文楷体" panose="02010600040101010101" charset="-122"/>
              <a:ea typeface="华文楷体" panose="02010600040101010101" charset="-122"/>
            </a:endParaRPr>
          </a:p>
        </p:txBody>
      </p:sp>
      <p:graphicFrame>
        <p:nvGraphicFramePr>
          <p:cNvPr id="53" name="表格 52"/>
          <p:cNvGraphicFramePr>
            <a:graphicFrameLocks noGrp="1"/>
          </p:cNvGraphicFramePr>
          <p:nvPr/>
        </p:nvGraphicFramePr>
        <p:xfrm>
          <a:off x="857245" y="972155"/>
          <a:ext cx="10972202" cy="5258445"/>
        </p:xfrm>
        <a:graphic>
          <a:graphicData uri="http://schemas.openxmlformats.org/drawingml/2006/table">
            <a:tbl>
              <a:tblPr/>
              <a:tblGrid>
                <a:gridCol w="1448652"/>
                <a:gridCol w="831634"/>
                <a:gridCol w="831634"/>
                <a:gridCol w="831634"/>
                <a:gridCol w="831634"/>
                <a:gridCol w="181226"/>
                <a:gridCol w="650408"/>
                <a:gridCol w="312118"/>
                <a:gridCol w="519516"/>
                <a:gridCol w="577764"/>
                <a:gridCol w="253870"/>
                <a:gridCol w="806234"/>
                <a:gridCol w="25400"/>
                <a:gridCol w="831634"/>
                <a:gridCol w="2038844"/>
              </a:tblGrid>
              <a:tr h="496672">
                <a:tc>
                  <a:txBody>
                    <a:bodyPr/>
                    <a:lstStyle/>
                    <a:p>
                      <a:pPr algn="ctr" fontAlgn="ctr"/>
                      <a:r>
                        <a:rPr lang="zh-CN" altLang="en-US" sz="1400" b="1" i="0" u="none" strike="noStrike" dirty="0">
                          <a:solidFill>
                            <a:schemeClr val="bg1"/>
                          </a:solidFill>
                          <a:effectLst/>
                          <a:latin typeface="华文楷体" panose="02010600040101010101" charset="-122"/>
                          <a:ea typeface="华文楷体" panose="02010600040101010101" charset="-122"/>
                        </a:rPr>
                        <a:t>项目概述</a:t>
                      </a:r>
                      <a:endParaRPr lang="zh-CN" altLang="en-US" sz="1400" b="1" i="0" u="none" strike="noStrike" dirty="0">
                        <a:solidFill>
                          <a:schemeClr val="bg1"/>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5817"/>
                    </a:solidFill>
                  </a:tcPr>
                </a:tc>
                <a:tc gridSpan="14">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c hMerge="1">
                  <a:tcPr/>
                </a:tc>
                <a:tc hMerge="1">
                  <a:tcPr/>
                </a:tc>
                <a:tc hMerge="1">
                  <a:tcPr/>
                </a:tc>
                <a:tc hMerge="1">
                  <a:tcPr/>
                </a:tc>
                <a:tc hMerge="1">
                  <a:tcPr/>
                </a:tc>
                <a:tc hMerge="1">
                  <a:tcPr/>
                </a:tc>
              </a:tr>
              <a:tr h="496672">
                <a:tc>
                  <a:txBody>
                    <a:bodyPr/>
                    <a:lstStyle/>
                    <a:p>
                      <a:pPr algn="ctr" fontAlgn="ctr"/>
                      <a:r>
                        <a:rPr lang="en-US" altLang="zh-CN" sz="1400" b="1" i="0" u="none" strike="noStrike" dirty="0">
                          <a:solidFill>
                            <a:schemeClr val="bg1"/>
                          </a:solidFill>
                          <a:effectLst/>
                          <a:latin typeface="华文楷体" panose="02010600040101010101" charset="-122"/>
                          <a:ea typeface="华文楷体" panose="02010600040101010101" charset="-122"/>
                        </a:rPr>
                        <a:t>19</a:t>
                      </a:r>
                      <a:r>
                        <a:rPr lang="zh-CN" altLang="en-US" sz="1400" b="1" i="0" u="none" strike="noStrike" dirty="0">
                          <a:solidFill>
                            <a:schemeClr val="bg1"/>
                          </a:solidFill>
                          <a:effectLst/>
                          <a:latin typeface="华文楷体" panose="02010600040101010101" charset="-122"/>
                          <a:ea typeface="华文楷体" panose="02010600040101010101" charset="-122"/>
                        </a:rPr>
                        <a:t>年目标</a:t>
                      </a:r>
                      <a:endParaRPr lang="zh-CN" altLang="en-US" sz="1400" b="1" i="0" u="none" strike="noStrike" dirty="0">
                        <a:solidFill>
                          <a:schemeClr val="bg1"/>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5817"/>
                    </a:solidFill>
                  </a:tcPr>
                </a:tc>
                <a:tc>
                  <a:txBody>
                    <a:bodyPr/>
                    <a:lstStyle/>
                    <a:p>
                      <a:pPr algn="l" fontAlgn="ctr"/>
                      <a:r>
                        <a:rPr lang="zh-CN" altLang="en-US" sz="1400" b="0" i="0" u="none" strike="noStrike">
                          <a:solidFill>
                            <a:srgbClr val="000000"/>
                          </a:solidFill>
                          <a:effectLst/>
                          <a:latin typeface="华文楷体" panose="02010600040101010101" charset="-122"/>
                          <a:ea typeface="华文楷体" panose="02010600040101010101" charset="-122"/>
                        </a:rPr>
                        <a:t>　</a:t>
                      </a: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endParaRPr lang="zh-CN" altLang="en-US" dirty="0"/>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endParaRPr lang="zh-CN" altLang="en-US" dirty="0"/>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endParaRPr lang="zh-CN" altLang="en-US" dirty="0"/>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endParaRPr lang="zh-CN" altLang="en-US" dirty="0"/>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solidFill>
                            <a:srgbClr val="000000"/>
                          </a:solidFill>
                          <a:effectLst/>
                          <a:latin typeface="华文楷体" panose="02010600040101010101" charset="-122"/>
                          <a:ea typeface="华文楷体" panose="02010600040101010101" charset="-122"/>
                        </a:rPr>
                        <a:t>　</a:t>
                      </a: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96672">
                <a:tc>
                  <a:txBody>
                    <a:bodyPr/>
                    <a:lstStyle/>
                    <a:p>
                      <a:pPr algn="ctr" fontAlgn="ctr"/>
                      <a:r>
                        <a:rPr lang="zh-CN" altLang="en-US" sz="1400" b="1" i="0" u="none" strike="noStrike" dirty="0">
                          <a:solidFill>
                            <a:schemeClr val="bg1"/>
                          </a:solidFill>
                          <a:effectLst/>
                          <a:latin typeface="华文楷体" panose="02010600040101010101" charset="-122"/>
                          <a:ea typeface="华文楷体" panose="02010600040101010101" charset="-122"/>
                        </a:rPr>
                        <a:t>主管领导</a:t>
                      </a:r>
                      <a:endParaRPr lang="zh-CN" altLang="en-US" sz="1400" b="1" i="0" u="none" strike="noStrike" dirty="0">
                        <a:solidFill>
                          <a:schemeClr val="bg1"/>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5817"/>
                    </a:solidFill>
                  </a:tcPr>
                </a:tc>
                <a:tc gridSpan="2">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a:txBody>
                    <a:bodyPr/>
                    <a:lstStyle/>
                    <a:p>
                      <a:pPr algn="ctr" fontAlgn="ctr"/>
                      <a:r>
                        <a:rPr lang="zh-CN" altLang="en-US" sz="1400" b="1" i="0" u="none" strike="noStrike" dirty="0">
                          <a:solidFill>
                            <a:srgbClr val="000000"/>
                          </a:solidFill>
                          <a:effectLst/>
                          <a:latin typeface="华文楷体" panose="02010600040101010101" charset="-122"/>
                          <a:ea typeface="华文楷体" panose="02010600040101010101" charset="-122"/>
                        </a:rPr>
                        <a:t>负责人</a:t>
                      </a:r>
                      <a:endParaRPr lang="zh-CN" altLang="en-US"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ctr"/>
                      <a:r>
                        <a:rPr lang="zh-CN" altLang="en-US" sz="1400" b="1" i="0" u="none" strike="noStrike">
                          <a:solidFill>
                            <a:srgbClr val="000000"/>
                          </a:solidFill>
                          <a:effectLst/>
                          <a:latin typeface="华文楷体" panose="02010600040101010101" charset="-122"/>
                          <a:ea typeface="华文楷体" panose="02010600040101010101" charset="-122"/>
                        </a:rPr>
                        <a:t>开始时间</a:t>
                      </a:r>
                      <a:endParaRPr lang="zh-CN" altLang="en-US" sz="1400" b="1" i="0" u="none" strike="noStrike">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ctr"/>
                      <a:r>
                        <a:rPr lang="zh-CN" altLang="en-US" sz="1400" b="1" i="0" u="none" strike="noStrike" dirty="0">
                          <a:solidFill>
                            <a:srgbClr val="000000"/>
                          </a:solidFill>
                          <a:effectLst/>
                          <a:latin typeface="华文楷体" panose="02010600040101010101" charset="-122"/>
                          <a:ea typeface="华文楷体" panose="02010600040101010101" charset="-122"/>
                        </a:rPr>
                        <a:t>投入人力</a:t>
                      </a:r>
                      <a:endParaRPr lang="zh-CN" altLang="en-US"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ct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hMerge="1">
                  <a:tcPr/>
                </a:tc>
              </a:tr>
              <a:tr h="234494">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endParaRPr lang="zh-CN" altLang="en-US"/>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endParaRPr lang="zh-CN" altLang="en-US"/>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endParaRPr lang="zh-CN" altLang="en-US"/>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zh-CN" altLang="en-US"/>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8691">
                <a:tc>
                  <a:txBody>
                    <a:bodyPr/>
                    <a:lstStyle/>
                    <a:p>
                      <a:pPr algn="l" fontAlgn="ctr"/>
                      <a:r>
                        <a:rPr lang="zh-CN" altLang="en-US" sz="1400" b="1" i="0" u="none" strike="noStrike" dirty="0">
                          <a:solidFill>
                            <a:srgbClr val="FFFFFF"/>
                          </a:solidFill>
                          <a:effectLst/>
                          <a:latin typeface="华文楷体" panose="02010600040101010101" charset="-122"/>
                          <a:ea typeface="华文楷体" panose="02010600040101010101" charset="-122"/>
                        </a:rPr>
                        <a:t>　</a:t>
                      </a:r>
                      <a:r>
                        <a:rPr lang="zh-CN" altLang="en-US" sz="1400" b="1" i="0" u="none" strike="noStrike" dirty="0" smtClean="0">
                          <a:solidFill>
                            <a:srgbClr val="FFFFFF"/>
                          </a:solidFill>
                          <a:effectLst/>
                          <a:latin typeface="华文楷体" panose="02010600040101010101" charset="-122"/>
                          <a:ea typeface="华文楷体" panose="02010600040101010101" charset="-122"/>
                        </a:rPr>
                        <a:t>指标名称</a:t>
                      </a:r>
                      <a:endParaRPr lang="zh-CN" altLang="en-US" sz="1400" b="1" i="0" u="none" strike="noStrike" dirty="0">
                        <a:solidFill>
                          <a:srgbClr val="FFFFFF"/>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6D"/>
                    </a:solidFill>
                  </a:tcPr>
                </a:tc>
                <a:tc gridSpan="5">
                  <a:txBody>
                    <a:bodyPr/>
                    <a:lstStyle/>
                    <a:p>
                      <a:pPr algn="ctr" fontAlgn="ctr"/>
                      <a:r>
                        <a:rPr lang="en-US" sz="1400" b="1" i="0" u="none" strike="noStrike" dirty="0">
                          <a:solidFill>
                            <a:srgbClr val="FFFFFF"/>
                          </a:solidFill>
                          <a:effectLst/>
                          <a:latin typeface="华文楷体" panose="02010600040101010101" charset="-122"/>
                          <a:ea typeface="华文楷体" panose="02010600040101010101" charset="-122"/>
                        </a:rPr>
                        <a:t>Q1</a:t>
                      </a:r>
                      <a:r>
                        <a:rPr lang="zh-CN" altLang="en-US" sz="1400" b="1" i="0" u="none" strike="noStrike" dirty="0">
                          <a:solidFill>
                            <a:srgbClr val="FFFFFF"/>
                          </a:solidFill>
                          <a:effectLst/>
                          <a:latin typeface="华文楷体" panose="02010600040101010101" charset="-122"/>
                          <a:ea typeface="华文楷体" panose="02010600040101010101" charset="-122"/>
                        </a:rPr>
                        <a:t>核心目标</a:t>
                      </a:r>
                      <a:endParaRPr lang="zh-CN" altLang="en-US" sz="1400" b="1" i="0" u="none" strike="noStrike" dirty="0">
                        <a:solidFill>
                          <a:srgbClr val="FFFFFF"/>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6D"/>
                    </a:solidFill>
                  </a:tcPr>
                </a:tc>
                <a:tc hMerge="1">
                  <a:tcPr/>
                </a:tc>
                <a:tc hMerge="1">
                  <a:tcPr/>
                </a:tc>
                <a:tc hMerge="1">
                  <a:tcPr/>
                </a:tc>
                <a:tc hMerge="1">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gridSpan="8">
                  <a:txBody>
                    <a:bodyPr/>
                    <a:lstStyle/>
                    <a:p>
                      <a:pPr algn="ctr" fontAlgn="ctr"/>
                      <a:r>
                        <a:rPr lang="en-US" altLang="zh-CN" sz="1400" b="1" i="0" u="none" strike="noStrike">
                          <a:solidFill>
                            <a:srgbClr val="FFFFFF"/>
                          </a:solidFill>
                          <a:effectLst/>
                          <a:latin typeface="华文楷体" panose="02010600040101010101" charset="-122"/>
                          <a:ea typeface="华文楷体" panose="02010600040101010101" charset="-122"/>
                        </a:rPr>
                        <a:t>Q1</a:t>
                      </a:r>
                      <a:r>
                        <a:rPr lang="zh-CN" altLang="en-US" sz="1400" b="1" i="0" u="none" strike="noStrike">
                          <a:solidFill>
                            <a:srgbClr val="FFFFFF"/>
                          </a:solidFill>
                          <a:effectLst/>
                          <a:latin typeface="华文楷体" panose="02010600040101010101" charset="-122"/>
                          <a:ea typeface="华文楷体" panose="02010600040101010101" charset="-122"/>
                        </a:rPr>
                        <a:t>目标达成情况</a:t>
                      </a:r>
                      <a:endParaRPr lang="zh-CN" altLang="en-US" sz="1400" b="1" i="0" u="none" strike="noStrike">
                        <a:solidFill>
                          <a:srgbClr val="FFFFFF"/>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6D"/>
                    </a:solidFill>
                  </a:tcPr>
                </a:tc>
                <a:tc hMerge="1">
                  <a:tcPr/>
                </a:tc>
                <a:tc hMerge="1">
                  <a:tcPr/>
                </a:tc>
                <a:tc hMerge="1">
                  <a:tcPr/>
                </a:tc>
                <a:tc hMerge="1">
                  <a:tcPr/>
                </a:tc>
                <a:tc hMerge="1">
                  <a:tcPr/>
                </a:tc>
                <a:tc hMerge="1">
                  <a:tcPr/>
                </a:tc>
                <a:tc hMerge="1">
                  <a:tcPr/>
                </a:tc>
                <a:tc>
                  <a:txBody>
                    <a:bodyPr/>
                    <a:lstStyle/>
                    <a:p>
                      <a:pPr algn="ctr" fontAlgn="ctr"/>
                      <a:r>
                        <a:rPr lang="zh-CN" altLang="en-US" sz="1400" b="1" i="0" u="none" strike="noStrike" dirty="0">
                          <a:solidFill>
                            <a:srgbClr val="FFFFFF"/>
                          </a:solidFill>
                          <a:effectLst/>
                          <a:latin typeface="华文楷体" panose="02010600040101010101" charset="-122"/>
                          <a:ea typeface="华文楷体" panose="02010600040101010101" charset="-122"/>
                        </a:rPr>
                        <a:t>达成状态</a:t>
                      </a:r>
                      <a:endParaRPr lang="zh-CN" altLang="en-US" sz="1400" b="1" i="0" u="none" strike="noStrike" dirty="0">
                        <a:solidFill>
                          <a:srgbClr val="FFFFFF"/>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6D"/>
                    </a:solidFill>
                  </a:tcPr>
                </a:tc>
              </a:tr>
              <a:tr h="268691">
                <a:tc>
                  <a:txBody>
                    <a:bodyPr/>
                    <a:lstStyle/>
                    <a:p>
                      <a:pPr algn="l" fontAlgn="ctr"/>
                      <a:r>
                        <a:rPr lang="zh-CN" altLang="en-US" sz="1400" b="0" i="0" u="none" strike="noStrike" dirty="0" smtClean="0">
                          <a:solidFill>
                            <a:srgbClr val="000000"/>
                          </a:solidFill>
                          <a:effectLst/>
                          <a:latin typeface="华文楷体" panose="02010600040101010101" charset="-122"/>
                          <a:ea typeface="华文楷体" panose="02010600040101010101" charset="-122"/>
                        </a:rPr>
                        <a:t>定量</a:t>
                      </a:r>
                      <a:r>
                        <a:rPr lang="en-US" altLang="zh-CN" sz="1400" b="0" i="0" u="none" strike="noStrike" dirty="0" smtClean="0">
                          <a:solidFill>
                            <a:srgbClr val="000000"/>
                          </a:solidFill>
                          <a:effectLst/>
                          <a:latin typeface="华文楷体" panose="02010600040101010101" charset="-122"/>
                          <a:ea typeface="华文楷体" panose="02010600040101010101" charset="-122"/>
                        </a:rPr>
                        <a:t>1</a:t>
                      </a: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5">
                  <a:txBody>
                    <a:bodyPr/>
                    <a:lstStyle/>
                    <a:p>
                      <a:pPr algn="ctr"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8">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c>
                  <a:txBody>
                    <a:bodyPr/>
                    <a:lstStyle/>
                    <a:p>
                      <a:pPr algn="l" fontAlgn="ct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8691">
                <a:tc>
                  <a:txBody>
                    <a:bodyPr/>
                    <a:lstStyle/>
                    <a:p>
                      <a:pPr algn="l" fontAlgn="ctr"/>
                      <a:r>
                        <a:rPr lang="zh-CN" altLang="en-US" sz="1400" b="0" i="0" u="none" strike="noStrike" dirty="0" smtClean="0">
                          <a:solidFill>
                            <a:srgbClr val="000000"/>
                          </a:solidFill>
                          <a:effectLst/>
                          <a:latin typeface="华文楷体" panose="02010600040101010101" charset="-122"/>
                          <a:ea typeface="华文楷体" panose="02010600040101010101" charset="-122"/>
                        </a:rPr>
                        <a:t>定量</a:t>
                      </a:r>
                      <a:r>
                        <a:rPr lang="en-US" altLang="zh-CN" sz="1400" b="0" i="0" u="none" strike="noStrike" dirty="0" smtClean="0">
                          <a:solidFill>
                            <a:srgbClr val="000000"/>
                          </a:solidFill>
                          <a:effectLst/>
                          <a:latin typeface="华文楷体" panose="02010600040101010101" charset="-122"/>
                          <a:ea typeface="华文楷体" panose="02010600040101010101" charset="-122"/>
                        </a:rPr>
                        <a:t>2</a:t>
                      </a: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5">
                  <a:txBody>
                    <a:bodyPr/>
                    <a:lstStyle/>
                    <a:p>
                      <a:pPr algn="ctr"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8">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8691">
                <a:tc>
                  <a:txBody>
                    <a:bodyPr/>
                    <a:lstStyle/>
                    <a:p>
                      <a:pPr algn="l" fontAlgn="ctr"/>
                      <a:r>
                        <a:rPr lang="zh-CN" altLang="en-US" sz="1400" b="0" i="0" u="none" strike="noStrike" dirty="0" smtClean="0">
                          <a:solidFill>
                            <a:srgbClr val="000000"/>
                          </a:solidFill>
                          <a:effectLst/>
                          <a:latin typeface="华文楷体" panose="02010600040101010101" charset="-122"/>
                          <a:ea typeface="华文楷体" panose="02010600040101010101" charset="-122"/>
                        </a:rPr>
                        <a:t>定性</a:t>
                      </a:r>
                      <a:r>
                        <a:rPr lang="en-US" altLang="zh-CN" sz="1400" b="0" i="0" u="none" strike="noStrike" dirty="0" smtClean="0">
                          <a:solidFill>
                            <a:srgbClr val="000000"/>
                          </a:solidFill>
                          <a:effectLst/>
                          <a:latin typeface="华文楷体" panose="02010600040101010101" charset="-122"/>
                          <a:ea typeface="华文楷体" panose="02010600040101010101" charset="-122"/>
                        </a:rPr>
                        <a:t>1</a:t>
                      </a: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5">
                  <a:txBody>
                    <a:bodyPr/>
                    <a:lstStyle/>
                    <a:p>
                      <a:pPr algn="ctr" fontAlgn="ctr"/>
                      <a:r>
                        <a:rPr lang="zh-CN" altLang="en-US" sz="1400" b="0" i="0" u="none" strike="noStrike">
                          <a:solidFill>
                            <a:srgbClr val="000000"/>
                          </a:solidFill>
                          <a:effectLst/>
                          <a:latin typeface="华文楷体" panose="02010600040101010101" charset="-122"/>
                          <a:ea typeface="华文楷体" panose="02010600040101010101" charset="-122"/>
                        </a:rPr>
                        <a:t>　</a:t>
                      </a: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8">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6833">
                <a:tc>
                  <a:txBody>
                    <a:bodyPr/>
                    <a:lstStyle/>
                    <a:p>
                      <a:pPr algn="l" fontAlgn="ctr"/>
                      <a:r>
                        <a:rPr lang="zh-CN" altLang="en-US" sz="1400" b="0" i="0" u="none" strike="noStrike" dirty="0" smtClean="0">
                          <a:solidFill>
                            <a:srgbClr val="000000"/>
                          </a:solidFill>
                          <a:effectLst/>
                          <a:latin typeface="华文楷体" panose="02010600040101010101" charset="-122"/>
                          <a:ea typeface="华文楷体" panose="02010600040101010101" charset="-122"/>
                        </a:rPr>
                        <a:t>定性</a:t>
                      </a:r>
                      <a:r>
                        <a:rPr lang="en-US" altLang="zh-CN" sz="1400" b="0" i="0" u="none" strike="noStrike" dirty="0" smtClean="0">
                          <a:solidFill>
                            <a:srgbClr val="000000"/>
                          </a:solidFill>
                          <a:effectLst/>
                          <a:latin typeface="华文楷体" panose="02010600040101010101" charset="-122"/>
                          <a:ea typeface="华文楷体" panose="02010600040101010101" charset="-122"/>
                        </a:rPr>
                        <a:t>2</a:t>
                      </a: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5">
                  <a:txBody>
                    <a:bodyPr/>
                    <a:lstStyle/>
                    <a:p>
                      <a:pPr algn="ctr"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hMerge="1">
                  <a:tcPr/>
                </a:tc>
                <a:tc hMerge="1">
                  <a:tcPr/>
                </a:tc>
                <a:tc hMerge="1">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8">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6653">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zh-CN" altLang="en-US"/>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gridSpan="2">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gridSpan="2">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a:txBody>
                    <a:bodyPr/>
                    <a:lstStyle/>
                    <a:p>
                      <a:pPr algn="l" fontAlgn="ct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8691">
                <a:tc gridSpan="7">
                  <a:txBody>
                    <a:bodyPr/>
                    <a:lstStyle/>
                    <a:p>
                      <a:pPr algn="ctr" fontAlgn="ctr"/>
                      <a:r>
                        <a:rPr lang="zh-CN" altLang="en-US" sz="1400" b="1" i="0" u="none" strike="noStrike" dirty="0">
                          <a:solidFill>
                            <a:srgbClr val="FFFFFF"/>
                          </a:solidFill>
                          <a:effectLst/>
                          <a:latin typeface="华文楷体" panose="02010600040101010101" charset="-122"/>
                          <a:ea typeface="华文楷体" panose="02010600040101010101" charset="-122"/>
                        </a:rPr>
                        <a:t>本周进展</a:t>
                      </a:r>
                      <a:endParaRPr lang="zh-CN" altLang="en-US" sz="1400" b="1" i="0" u="none" strike="noStrike" dirty="0">
                        <a:solidFill>
                          <a:srgbClr val="FFFFFF"/>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6D"/>
                    </a:solidFill>
                  </a:tcPr>
                </a:tc>
                <a:tc hMerge="1">
                  <a:tcPr/>
                </a:tc>
                <a:tc hMerge="1">
                  <a:tcPr/>
                </a:tc>
                <a:tc hMerge="1">
                  <a:tcPr/>
                </a:tc>
                <a:tc hMerge="1">
                  <a:tcPr/>
                </a:tc>
                <a:tc hMerge="1">
                  <a:tcPr/>
                </a:tc>
                <a:tc hMerge="1">
                  <a:tcPr/>
                </a:tc>
                <a:tc gridSpan="8">
                  <a:txBody>
                    <a:bodyPr/>
                    <a:lstStyle/>
                    <a:p>
                      <a:pPr algn="ctr" fontAlgn="ctr"/>
                      <a:r>
                        <a:rPr lang="zh-CN" altLang="en-US" sz="1400" b="1" i="0" u="none" strike="noStrike" dirty="0">
                          <a:solidFill>
                            <a:srgbClr val="FFFFFF"/>
                          </a:solidFill>
                          <a:effectLst/>
                          <a:latin typeface="华文楷体" panose="02010600040101010101" charset="-122"/>
                          <a:ea typeface="华文楷体" panose="02010600040101010101" charset="-122"/>
                        </a:rPr>
                        <a:t>下一步工作</a:t>
                      </a:r>
                      <a:endParaRPr lang="zh-CN" altLang="en-US" sz="1400" b="1" i="0" u="none" strike="noStrike" dirty="0">
                        <a:solidFill>
                          <a:srgbClr val="FFFFFF"/>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6D"/>
                    </a:solidFill>
                  </a:tcPr>
                </a:tc>
                <a:tc hMerge="1">
                  <a:tcPr/>
                </a:tc>
                <a:tc hMerge="1">
                  <a:tcPr/>
                </a:tc>
                <a:tc hMerge="1">
                  <a:tcPr/>
                </a:tc>
                <a:tc hMerge="1">
                  <a:tcPr/>
                </a:tc>
                <a:tc hMerge="1">
                  <a:tcPr/>
                </a:tc>
                <a:tc hMerge="1">
                  <a:tcPr/>
                </a:tc>
                <a:tc hMerge="1">
                  <a:tcPr/>
                </a:tc>
              </a:tr>
              <a:tr h="583359">
                <a:tc gridSpan="7">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gridSpan="8">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r>
              <a:tr h="234494">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gridSpan="2">
                  <a:txBody>
                    <a:bodyPr/>
                    <a:lstStyle/>
                    <a:p>
                      <a:pPr algn="l" fontAlgn="ct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gridSpan="2">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gridSpan="2">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a:txBody>
                    <a:bodyPr/>
                    <a:lstStyle/>
                    <a:p>
                      <a:pPr algn="l" fontAlgn="ctr"/>
                      <a:endParaRPr lang="zh-CN" altLang="en-US" sz="1400" b="0" i="0" u="none" strike="noStrike">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8691">
                <a:tc gridSpan="7">
                  <a:txBody>
                    <a:bodyPr/>
                    <a:lstStyle/>
                    <a:p>
                      <a:pPr algn="ctr" fontAlgn="ctr"/>
                      <a:r>
                        <a:rPr lang="zh-CN" altLang="en-US" sz="1400" b="1" i="0" u="none" strike="noStrike" dirty="0">
                          <a:solidFill>
                            <a:srgbClr val="FFFFFF"/>
                          </a:solidFill>
                          <a:effectLst/>
                          <a:latin typeface="华文楷体" panose="02010600040101010101" charset="-122"/>
                          <a:ea typeface="华文楷体" panose="02010600040101010101" charset="-122"/>
                        </a:rPr>
                        <a:t>风险问题</a:t>
                      </a:r>
                      <a:endParaRPr lang="zh-CN" altLang="en-US" sz="1400" b="1" i="0" u="none" strike="noStrike" dirty="0">
                        <a:solidFill>
                          <a:srgbClr val="FFFFFF"/>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6D"/>
                    </a:solidFill>
                  </a:tcPr>
                </a:tc>
                <a:tc hMerge="1">
                  <a:tcPr/>
                </a:tc>
                <a:tc hMerge="1">
                  <a:tcPr/>
                </a:tc>
                <a:tc hMerge="1">
                  <a:tcPr/>
                </a:tc>
                <a:tc hMerge="1">
                  <a:tcPr/>
                </a:tc>
                <a:tc hMerge="1">
                  <a:tcPr/>
                </a:tc>
                <a:tc hMerge="1">
                  <a:tcPr/>
                </a:tc>
                <a:tc gridSpan="8">
                  <a:txBody>
                    <a:bodyPr/>
                    <a:lstStyle/>
                    <a:p>
                      <a:pPr algn="ctr" fontAlgn="ctr"/>
                      <a:r>
                        <a:rPr lang="zh-CN" altLang="en-US" sz="1400" b="1" i="0" u="none" strike="noStrike" dirty="0">
                          <a:solidFill>
                            <a:srgbClr val="FFFFFF"/>
                          </a:solidFill>
                          <a:effectLst/>
                          <a:latin typeface="华文楷体" panose="02010600040101010101" charset="-122"/>
                          <a:ea typeface="华文楷体" panose="02010600040101010101" charset="-122"/>
                        </a:rPr>
                        <a:t>举措</a:t>
                      </a:r>
                      <a:endParaRPr lang="zh-CN" altLang="en-US" sz="1400" b="1" i="0" u="none" strike="noStrike" dirty="0">
                        <a:solidFill>
                          <a:srgbClr val="FFFFFF"/>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6D"/>
                    </a:solidFill>
                  </a:tcPr>
                </a:tc>
                <a:tc hMerge="1">
                  <a:tcPr/>
                </a:tc>
                <a:tc hMerge="1">
                  <a:tcPr/>
                </a:tc>
                <a:tc hMerge="1">
                  <a:tcPr/>
                </a:tc>
                <a:tc hMerge="1">
                  <a:tcPr/>
                </a:tc>
                <a:tc hMerge="1">
                  <a:tcPr/>
                </a:tc>
                <a:tc hMerge="1">
                  <a:tcPr/>
                </a:tc>
                <a:tc hMerge="1">
                  <a:tcPr/>
                </a:tc>
              </a:tr>
              <a:tr h="512957">
                <a:tc gridSpan="7">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非绿灯状态必须填写风险问题、举措，及各项问题的负责人</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gridSpan="8">
                  <a:txBody>
                    <a:bodyPr/>
                    <a:lstStyle/>
                    <a:p>
                      <a:pPr algn="l" fontAlgn="ctr"/>
                      <a:r>
                        <a:rPr lang="zh-CN" altLang="en-US" sz="1400" b="0" i="0" u="none" strike="noStrike" dirty="0">
                          <a:solidFill>
                            <a:srgbClr val="000000"/>
                          </a:solidFill>
                          <a:effectLst/>
                          <a:latin typeface="华文楷体" panose="02010600040101010101" charset="-122"/>
                          <a:ea typeface="华文楷体" panose="02010600040101010101" charset="-122"/>
                        </a:rPr>
                        <a:t>　</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c hMerge="1">
                  <a:tcPr/>
                </a:tc>
              </a:tr>
            </a:tbl>
          </a:graphicData>
        </a:graphic>
      </p:graphicFrame>
      <p:pic>
        <p:nvPicPr>
          <p:cNvPr id="25" name="图片 2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26"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管理</a:t>
            </a:r>
            <a:r>
              <a:rPr lang="en-US" altLang="zh-CN" sz="2400" dirty="0" smtClean="0">
                <a:solidFill>
                  <a:prstClr val="black"/>
                </a:solidFill>
                <a:latin typeface="华文楷体" panose="02010600040101010101" charset="-122"/>
              </a:rPr>
              <a:t>-</a:t>
            </a:r>
            <a:r>
              <a:rPr lang="zh-CN" altLang="en-US" sz="2400" dirty="0" smtClean="0"/>
              <a:t>项目追踪</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508" name="think-cell Slide" r:id="rId2" imgW="12700" imgH="12700" progId="TCLayout.ActiveDocument.1">
                  <p:embed/>
                </p:oleObj>
              </mc:Choice>
              <mc:Fallback>
                <p:oleObj name="think-cell Slide" r:id="rId2" imgW="12700" imgH="12700" progId="TCLayout.ActiveDocument.1">
                  <p:embed/>
                  <p:pic>
                    <p:nvPicPr>
                      <p:cNvPr id="0" name="图片 141507"/>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10" name="矩形 9"/>
          <p:cNvSpPr/>
          <p:nvPr/>
        </p:nvSpPr>
        <p:spPr>
          <a:xfrm>
            <a:off x="363108" y="1148805"/>
            <a:ext cx="3617477" cy="4988343"/>
          </a:xfrm>
          <a:prstGeom prst="rect">
            <a:avLst/>
          </a:prstGeom>
          <a:noFill/>
          <a:ln w="6350"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p>
        </p:txBody>
      </p:sp>
      <p:sp>
        <p:nvSpPr>
          <p:cNvPr id="11" name="流程图: 文档 10"/>
          <p:cNvSpPr/>
          <p:nvPr/>
        </p:nvSpPr>
        <p:spPr>
          <a:xfrm>
            <a:off x="461427" y="1034495"/>
            <a:ext cx="541266" cy="740518"/>
          </a:xfrm>
          <a:prstGeom prst="flowChartDocument">
            <a:avLst/>
          </a:prstGeom>
          <a:solidFill>
            <a:srgbClr val="FE5817"/>
          </a:solidFill>
          <a:ln>
            <a:noFill/>
          </a:ln>
          <a:effectLst/>
        </p:spPr>
        <p:style>
          <a:lnRef idx="1">
            <a:schemeClr val="accent1"/>
          </a:lnRef>
          <a:fillRef idx="3">
            <a:schemeClr val="accent1"/>
          </a:fillRef>
          <a:effectRef idx="2">
            <a:schemeClr val="accent1"/>
          </a:effectRef>
          <a:fontRef idx="minor">
            <a:schemeClr val="lt1"/>
          </a:fontRef>
        </p:style>
        <p:txBody>
          <a:bodyPr anchor="b">
            <a:normAutofit/>
          </a:bodyPr>
          <a:lstStyle/>
          <a:p>
            <a:pPr algn="ctr"/>
            <a:r>
              <a:rPr lang="en-US" sz="2500" dirty="0"/>
              <a:t>01</a:t>
            </a:r>
            <a:endParaRPr lang="en-US" sz="2500" dirty="0"/>
          </a:p>
        </p:txBody>
      </p:sp>
      <p:sp>
        <p:nvSpPr>
          <p:cNvPr id="8" name="矩形 7"/>
          <p:cNvSpPr/>
          <p:nvPr/>
        </p:nvSpPr>
        <p:spPr>
          <a:xfrm>
            <a:off x="1175554" y="1258856"/>
            <a:ext cx="2706713" cy="301468"/>
          </a:xfrm>
          <a:prstGeom prst="rect">
            <a:avLst/>
          </a:prstGeom>
          <a:noFill/>
          <a:ln w="25400" cap="flat">
            <a:noFill/>
            <a:miter lim="400000"/>
          </a:ln>
          <a:effectLst/>
        </p:spPr>
        <p:txBody>
          <a:bodyPr wrap="none" lIns="0" tIns="0" rIns="0" bIns="0" anchor="t">
            <a:noAutofit/>
          </a:bodyPr>
          <a:lstStyle/>
          <a:p>
            <a:pPr marL="0" lvl="1"/>
            <a:r>
              <a:rPr lang="zh-CN" altLang="en-US" sz="2000" b="1" dirty="0">
                <a:solidFill>
                  <a:schemeClr val="accent1">
                    <a:lumMod val="75000"/>
                  </a:schemeClr>
                </a:solidFill>
              </a:rPr>
              <a:t>标题文本预设</a:t>
            </a:r>
            <a:endParaRPr lang="zh-CN" altLang="en-US" sz="2000" b="1" dirty="0">
              <a:solidFill>
                <a:schemeClr val="accent1">
                  <a:lumMod val="75000"/>
                </a:schemeClr>
              </a:solidFill>
            </a:endParaRPr>
          </a:p>
        </p:txBody>
      </p:sp>
      <p:sp>
        <p:nvSpPr>
          <p:cNvPr id="9" name="矩形 8"/>
          <p:cNvSpPr/>
          <p:nvPr/>
        </p:nvSpPr>
        <p:spPr>
          <a:xfrm>
            <a:off x="439271" y="1900518"/>
            <a:ext cx="3466133" cy="1506070"/>
          </a:xfrm>
          <a:prstGeom prst="rect">
            <a:avLst/>
          </a:prstGeom>
          <a:noFill/>
          <a:ln w="25400" cap="flat">
            <a:noFill/>
            <a:miter lim="400000"/>
          </a:ln>
          <a:effectLst/>
        </p:spPr>
        <p:txBody>
          <a:bodyPr wrap="none" lIns="0" tIns="0" rIns="0" bIns="0" anchor="t">
            <a:normAutofit/>
          </a:bodyPr>
          <a:lstStyle/>
          <a:p>
            <a:pPr marL="0" lvl="1">
              <a:lnSpc>
                <a:spcPct val="120000"/>
              </a:lnSpc>
            </a:pPr>
            <a:r>
              <a:rPr lang="zh-CN" altLang="en-US" sz="1400" dirty="0">
                <a:solidFill>
                  <a:schemeClr val="bg1">
                    <a:lumMod val="50000"/>
                  </a:schemeClr>
                </a:solidFill>
              </a:rPr>
              <a:t>此部分内容作为文字排版占位显示</a:t>
            </a:r>
            <a:endParaRPr lang="zh-CN" altLang="en-US" sz="1400" dirty="0">
              <a:solidFill>
                <a:schemeClr val="bg1">
                  <a:lumMod val="50000"/>
                </a:schemeClr>
              </a:solidFill>
            </a:endParaRPr>
          </a:p>
          <a:p>
            <a:pPr marL="0" lvl="1">
              <a:lnSpc>
                <a:spcPct val="120000"/>
              </a:lnSpc>
            </a:pPr>
            <a:r>
              <a:rPr lang="zh-CN" altLang="en-US" sz="1400" dirty="0">
                <a:solidFill>
                  <a:schemeClr val="bg1">
                    <a:lumMod val="50000"/>
                  </a:schemeClr>
                </a:solidFill>
              </a:rPr>
              <a:t>（建议使用主题字体）</a:t>
            </a:r>
            <a:endParaRPr lang="zh-CN" altLang="en-US" sz="1400" dirty="0">
              <a:solidFill>
                <a:schemeClr val="bg1">
                  <a:lumMod val="50000"/>
                </a:schemeClr>
              </a:solidFill>
            </a:endParaRPr>
          </a:p>
        </p:txBody>
      </p:sp>
      <p:sp>
        <p:nvSpPr>
          <p:cNvPr id="13" name="矩形 12"/>
          <p:cNvSpPr/>
          <p:nvPr/>
        </p:nvSpPr>
        <p:spPr>
          <a:xfrm>
            <a:off x="4273409" y="1148805"/>
            <a:ext cx="3617477" cy="4988343"/>
          </a:xfrm>
          <a:prstGeom prst="rect">
            <a:avLst/>
          </a:prstGeom>
          <a:noFill/>
          <a:ln w="6350"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p>
        </p:txBody>
      </p:sp>
      <p:sp>
        <p:nvSpPr>
          <p:cNvPr id="14" name="流程图: 文档 13"/>
          <p:cNvSpPr/>
          <p:nvPr/>
        </p:nvSpPr>
        <p:spPr>
          <a:xfrm>
            <a:off x="4371727" y="1034495"/>
            <a:ext cx="541265" cy="740518"/>
          </a:xfrm>
          <a:prstGeom prst="flowChartDocument">
            <a:avLst/>
          </a:prstGeom>
          <a:solidFill>
            <a:srgbClr val="FE5817"/>
          </a:solidFill>
          <a:ln>
            <a:noFill/>
          </a:ln>
          <a:effectLst/>
        </p:spPr>
        <p:style>
          <a:lnRef idx="1">
            <a:schemeClr val="accent1"/>
          </a:lnRef>
          <a:fillRef idx="3">
            <a:schemeClr val="accent1"/>
          </a:fillRef>
          <a:effectRef idx="2">
            <a:schemeClr val="accent1"/>
          </a:effectRef>
          <a:fontRef idx="minor">
            <a:schemeClr val="lt1"/>
          </a:fontRef>
        </p:style>
        <p:txBody>
          <a:bodyPr anchor="b">
            <a:normAutofit/>
          </a:bodyPr>
          <a:lstStyle/>
          <a:p>
            <a:pPr algn="ctr"/>
            <a:r>
              <a:rPr lang="en-US" sz="2500" dirty="0"/>
              <a:t>02</a:t>
            </a:r>
            <a:endParaRPr lang="en-US" sz="2500" dirty="0"/>
          </a:p>
        </p:txBody>
      </p:sp>
      <p:sp>
        <p:nvSpPr>
          <p:cNvPr id="16" name="矩形 15"/>
          <p:cNvSpPr/>
          <p:nvPr/>
        </p:nvSpPr>
        <p:spPr>
          <a:xfrm>
            <a:off x="5065960" y="1258856"/>
            <a:ext cx="2706713" cy="301468"/>
          </a:xfrm>
          <a:prstGeom prst="rect">
            <a:avLst/>
          </a:prstGeom>
          <a:noFill/>
          <a:ln w="25400" cap="flat">
            <a:noFill/>
            <a:miter lim="400000"/>
          </a:ln>
          <a:effectLst/>
        </p:spPr>
        <p:txBody>
          <a:bodyPr wrap="none" lIns="0" tIns="0" rIns="0" bIns="0" anchor="t">
            <a:noAutofit/>
          </a:bodyPr>
          <a:lstStyle/>
          <a:p>
            <a:pPr marL="0" lvl="1"/>
            <a:r>
              <a:rPr lang="zh-CN" altLang="en-US" sz="2000" b="1" dirty="0">
                <a:solidFill>
                  <a:schemeClr val="accent1">
                    <a:lumMod val="75000"/>
                  </a:schemeClr>
                </a:solidFill>
              </a:rPr>
              <a:t>标题文本预设</a:t>
            </a:r>
            <a:endParaRPr lang="zh-CN" altLang="en-US" sz="2000" b="1" dirty="0">
              <a:solidFill>
                <a:schemeClr val="accent1">
                  <a:lumMod val="75000"/>
                </a:schemeClr>
              </a:solidFill>
            </a:endParaRPr>
          </a:p>
        </p:txBody>
      </p:sp>
      <p:sp>
        <p:nvSpPr>
          <p:cNvPr id="19" name="矩形 18"/>
          <p:cNvSpPr/>
          <p:nvPr/>
        </p:nvSpPr>
        <p:spPr>
          <a:xfrm>
            <a:off x="8177752" y="1140313"/>
            <a:ext cx="3617477" cy="4988343"/>
          </a:xfrm>
          <a:prstGeom prst="rect">
            <a:avLst/>
          </a:prstGeom>
          <a:noFill/>
          <a:ln w="6350"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p>
        </p:txBody>
      </p:sp>
      <p:sp>
        <p:nvSpPr>
          <p:cNvPr id="20" name="流程图: 文档 19"/>
          <p:cNvSpPr/>
          <p:nvPr/>
        </p:nvSpPr>
        <p:spPr>
          <a:xfrm>
            <a:off x="8276072" y="1026003"/>
            <a:ext cx="541265" cy="740518"/>
          </a:xfrm>
          <a:prstGeom prst="flowChartDocument">
            <a:avLst/>
          </a:prstGeom>
          <a:solidFill>
            <a:srgbClr val="FE5817"/>
          </a:solidFill>
          <a:ln>
            <a:noFill/>
          </a:ln>
          <a:effectLst/>
        </p:spPr>
        <p:style>
          <a:lnRef idx="1">
            <a:schemeClr val="accent1"/>
          </a:lnRef>
          <a:fillRef idx="3">
            <a:schemeClr val="accent1"/>
          </a:fillRef>
          <a:effectRef idx="2">
            <a:schemeClr val="accent1"/>
          </a:effectRef>
          <a:fontRef idx="minor">
            <a:schemeClr val="lt1"/>
          </a:fontRef>
        </p:style>
        <p:txBody>
          <a:bodyPr anchor="b">
            <a:normAutofit/>
          </a:bodyPr>
          <a:lstStyle/>
          <a:p>
            <a:pPr algn="ctr"/>
            <a:r>
              <a:rPr lang="en-US" sz="2500" dirty="0"/>
              <a:t>03</a:t>
            </a:r>
            <a:endParaRPr lang="en-US" sz="2500" dirty="0"/>
          </a:p>
        </p:txBody>
      </p:sp>
      <p:sp>
        <p:nvSpPr>
          <p:cNvPr id="22" name="矩形 21"/>
          <p:cNvSpPr/>
          <p:nvPr/>
        </p:nvSpPr>
        <p:spPr>
          <a:xfrm>
            <a:off x="8956369" y="1258856"/>
            <a:ext cx="2706713" cy="301468"/>
          </a:xfrm>
          <a:prstGeom prst="rect">
            <a:avLst/>
          </a:prstGeom>
          <a:noFill/>
          <a:ln w="25400" cap="flat">
            <a:noFill/>
            <a:miter lim="400000"/>
          </a:ln>
          <a:effectLst/>
        </p:spPr>
        <p:txBody>
          <a:bodyPr wrap="none" lIns="0" tIns="0" rIns="0" bIns="0" anchor="t">
            <a:noAutofit/>
          </a:bodyPr>
          <a:lstStyle/>
          <a:p>
            <a:pPr marL="0" lvl="1"/>
            <a:r>
              <a:rPr lang="zh-CN" altLang="en-US" sz="2000" b="1" dirty="0">
                <a:solidFill>
                  <a:schemeClr val="accent1">
                    <a:lumMod val="75000"/>
                  </a:schemeClr>
                </a:solidFill>
              </a:rPr>
              <a:t>标题文本预设</a:t>
            </a:r>
            <a:endParaRPr lang="zh-CN" altLang="en-US" sz="2000" b="1" dirty="0">
              <a:solidFill>
                <a:schemeClr val="accent1">
                  <a:lumMod val="75000"/>
                </a:schemeClr>
              </a:solidFill>
            </a:endParaRPr>
          </a:p>
        </p:txBody>
      </p:sp>
      <p:sp>
        <p:nvSpPr>
          <p:cNvPr id="42" name="矩形 41"/>
          <p:cNvSpPr/>
          <p:nvPr/>
        </p:nvSpPr>
        <p:spPr>
          <a:xfrm>
            <a:off x="4349081" y="1900518"/>
            <a:ext cx="3466133" cy="1506070"/>
          </a:xfrm>
          <a:prstGeom prst="rect">
            <a:avLst/>
          </a:prstGeom>
          <a:noFill/>
          <a:ln w="25400" cap="flat">
            <a:noFill/>
            <a:miter lim="400000"/>
          </a:ln>
          <a:effectLst/>
        </p:spPr>
        <p:txBody>
          <a:bodyPr wrap="none" lIns="0" tIns="0" rIns="0" bIns="0" anchor="t">
            <a:normAutofit/>
          </a:bodyPr>
          <a:lstStyle/>
          <a:p>
            <a:pPr marL="0" lvl="1">
              <a:lnSpc>
                <a:spcPct val="120000"/>
              </a:lnSpc>
            </a:pPr>
            <a:r>
              <a:rPr lang="zh-CN" altLang="en-US" sz="1400" dirty="0">
                <a:solidFill>
                  <a:schemeClr val="bg1">
                    <a:lumMod val="50000"/>
                  </a:schemeClr>
                </a:solidFill>
              </a:rPr>
              <a:t>此部分内容作为文字排版占位显示</a:t>
            </a:r>
            <a:endParaRPr lang="zh-CN" altLang="en-US" sz="1400" dirty="0">
              <a:solidFill>
                <a:schemeClr val="bg1">
                  <a:lumMod val="50000"/>
                </a:schemeClr>
              </a:solidFill>
            </a:endParaRPr>
          </a:p>
          <a:p>
            <a:pPr marL="0" lvl="1">
              <a:lnSpc>
                <a:spcPct val="120000"/>
              </a:lnSpc>
            </a:pPr>
            <a:r>
              <a:rPr lang="zh-CN" altLang="en-US" sz="1400" dirty="0">
                <a:solidFill>
                  <a:schemeClr val="bg1">
                    <a:lumMod val="50000"/>
                  </a:schemeClr>
                </a:solidFill>
              </a:rPr>
              <a:t>（建议使用主题字体）</a:t>
            </a:r>
            <a:endParaRPr lang="zh-CN" altLang="en-US" sz="1400" dirty="0">
              <a:solidFill>
                <a:schemeClr val="bg1">
                  <a:lumMod val="50000"/>
                </a:schemeClr>
              </a:solidFill>
            </a:endParaRPr>
          </a:p>
        </p:txBody>
      </p:sp>
      <p:sp>
        <p:nvSpPr>
          <p:cNvPr id="43" name="矩形 42"/>
          <p:cNvSpPr/>
          <p:nvPr/>
        </p:nvSpPr>
        <p:spPr>
          <a:xfrm>
            <a:off x="8253424" y="1900518"/>
            <a:ext cx="3466133" cy="1506070"/>
          </a:xfrm>
          <a:prstGeom prst="rect">
            <a:avLst/>
          </a:prstGeom>
          <a:noFill/>
          <a:ln w="25400" cap="flat">
            <a:noFill/>
            <a:miter lim="400000"/>
          </a:ln>
          <a:effectLst/>
        </p:spPr>
        <p:txBody>
          <a:bodyPr wrap="none" lIns="0" tIns="0" rIns="0" bIns="0" anchor="t">
            <a:normAutofit/>
          </a:bodyPr>
          <a:lstStyle/>
          <a:p>
            <a:pPr marL="0" lvl="1">
              <a:lnSpc>
                <a:spcPct val="120000"/>
              </a:lnSpc>
            </a:pPr>
            <a:r>
              <a:rPr lang="zh-CN" altLang="en-US" sz="1400" dirty="0">
                <a:solidFill>
                  <a:schemeClr val="bg1">
                    <a:lumMod val="50000"/>
                  </a:schemeClr>
                </a:solidFill>
              </a:rPr>
              <a:t>此部分内容作为文字排版占位显示</a:t>
            </a:r>
            <a:endParaRPr lang="zh-CN" altLang="en-US" sz="1400" dirty="0">
              <a:solidFill>
                <a:schemeClr val="bg1">
                  <a:lumMod val="50000"/>
                </a:schemeClr>
              </a:solidFill>
            </a:endParaRPr>
          </a:p>
          <a:p>
            <a:pPr marL="0" lvl="1">
              <a:lnSpc>
                <a:spcPct val="120000"/>
              </a:lnSpc>
            </a:pPr>
            <a:r>
              <a:rPr lang="zh-CN" altLang="en-US" sz="1400" dirty="0">
                <a:solidFill>
                  <a:schemeClr val="bg1">
                    <a:lumMod val="50000"/>
                  </a:schemeClr>
                </a:solidFill>
              </a:rPr>
              <a:t>（建议使用主题字体）</a:t>
            </a:r>
            <a:endParaRPr lang="zh-CN" altLang="en-US" sz="1400" dirty="0">
              <a:solidFill>
                <a:schemeClr val="bg1">
                  <a:lumMod val="50000"/>
                </a:schemeClr>
              </a:solidFill>
            </a:endParaRPr>
          </a:p>
        </p:txBody>
      </p:sp>
      <p:sp>
        <p:nvSpPr>
          <p:cNvPr id="25"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24" name="图片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对象 1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541" name="think-cell Slide" r:id="rId2" imgW="12700" imgH="12700" progId="TCLayout.ActiveDocument.1">
                  <p:embed/>
                </p:oleObj>
              </mc:Choice>
              <mc:Fallback>
                <p:oleObj name="think-cell Slide" r:id="rId2" imgW="12700" imgH="12700" progId="TCLayout.ActiveDocument.1">
                  <p:embed/>
                  <p:pic>
                    <p:nvPicPr>
                      <p:cNvPr id="0" name="对象 14"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10" name="ColumnHeader"/>
          <p:cNvSpPr>
            <a:spLocks noChangeArrowheads="1"/>
          </p:cNvSpPr>
          <p:nvPr/>
        </p:nvSpPr>
        <p:spPr bwMode="gray">
          <a:xfrm>
            <a:off x="360000" y="1188384"/>
            <a:ext cx="2688685"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algn="ctr"/>
            <a:r>
              <a:rPr lang="en-US" altLang="zh-CN" sz="1600" b="1" dirty="0" smtClean="0">
                <a:solidFill>
                  <a:srgbClr val="000000"/>
                </a:solidFill>
                <a:latin typeface="Arial" panose="020B0604020202020204" pitchFamily="34" charset="0"/>
                <a:cs typeface="Arial" panose="020B0604020202020204" pitchFamily="34" charset="0"/>
              </a:rPr>
              <a:t>Header</a:t>
            </a:r>
            <a:endParaRPr lang="zh-CN" altLang="en-US" sz="1600" b="1" dirty="0">
              <a:solidFill>
                <a:srgbClr val="000000"/>
              </a:solidFill>
              <a:latin typeface="Arial" panose="020B0604020202020204" pitchFamily="34" charset="0"/>
              <a:cs typeface="Arial" panose="020B0604020202020204" pitchFamily="34" charset="0"/>
            </a:endParaRPr>
          </a:p>
        </p:txBody>
      </p:sp>
      <p:sp>
        <p:nvSpPr>
          <p:cNvPr id="11" name="ColumnHeader"/>
          <p:cNvSpPr>
            <a:spLocks noChangeArrowheads="1"/>
          </p:cNvSpPr>
          <p:nvPr/>
        </p:nvSpPr>
        <p:spPr bwMode="gray">
          <a:xfrm>
            <a:off x="9100544" y="1188384"/>
            <a:ext cx="2688685"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algn="ctr"/>
            <a:r>
              <a:rPr lang="en-US" altLang="zh-CN" sz="1600" b="1" dirty="0" smtClean="0">
                <a:solidFill>
                  <a:srgbClr val="000000"/>
                </a:solidFill>
                <a:latin typeface="Arial" panose="020B0604020202020204" pitchFamily="34" charset="0"/>
                <a:cs typeface="Arial" panose="020B0604020202020204" pitchFamily="34" charset="0"/>
              </a:rPr>
              <a:t>Header</a:t>
            </a:r>
            <a:endParaRPr lang="zh-CN" altLang="en-US" sz="1600" b="1" dirty="0">
              <a:solidFill>
                <a:srgbClr val="000000"/>
              </a:solidFill>
              <a:latin typeface="Arial" panose="020B0604020202020204" pitchFamily="34" charset="0"/>
              <a:cs typeface="Arial" panose="020B0604020202020204" pitchFamily="34" charset="0"/>
            </a:endParaRPr>
          </a:p>
        </p:txBody>
      </p:sp>
      <p:sp>
        <p:nvSpPr>
          <p:cNvPr id="12" name="ColumnHeader"/>
          <p:cNvSpPr>
            <a:spLocks noChangeArrowheads="1"/>
          </p:cNvSpPr>
          <p:nvPr/>
        </p:nvSpPr>
        <p:spPr bwMode="gray">
          <a:xfrm>
            <a:off x="3273515" y="1188384"/>
            <a:ext cx="2688685"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algn="ctr"/>
            <a:r>
              <a:rPr lang="en-US" altLang="zh-CN" sz="1600" b="1" dirty="0" smtClean="0">
                <a:solidFill>
                  <a:srgbClr val="000000"/>
                </a:solidFill>
                <a:latin typeface="Arial" panose="020B0604020202020204" pitchFamily="34" charset="0"/>
                <a:cs typeface="Arial" panose="020B0604020202020204" pitchFamily="34" charset="0"/>
              </a:rPr>
              <a:t>Header</a:t>
            </a:r>
            <a:endParaRPr lang="zh-CN" altLang="en-US" sz="1600" b="1" dirty="0">
              <a:solidFill>
                <a:srgbClr val="000000"/>
              </a:solidFill>
              <a:latin typeface="Arial" panose="020B0604020202020204" pitchFamily="34" charset="0"/>
              <a:cs typeface="Arial" panose="020B0604020202020204" pitchFamily="34" charset="0"/>
            </a:endParaRPr>
          </a:p>
        </p:txBody>
      </p:sp>
      <p:sp>
        <p:nvSpPr>
          <p:cNvPr id="13" name="ColumnHeader"/>
          <p:cNvSpPr>
            <a:spLocks noChangeArrowheads="1"/>
          </p:cNvSpPr>
          <p:nvPr/>
        </p:nvSpPr>
        <p:spPr bwMode="gray">
          <a:xfrm>
            <a:off x="6187030" y="1188384"/>
            <a:ext cx="2688685"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algn="ctr"/>
            <a:r>
              <a:rPr lang="en-US" altLang="zh-CN" sz="1600" b="1" dirty="0" smtClean="0">
                <a:solidFill>
                  <a:srgbClr val="000000"/>
                </a:solidFill>
                <a:latin typeface="Arial" panose="020B0604020202020204" pitchFamily="34" charset="0"/>
                <a:cs typeface="Arial" panose="020B0604020202020204" pitchFamily="34" charset="0"/>
              </a:rPr>
              <a:t>Header</a:t>
            </a:r>
            <a:endParaRPr lang="zh-CN" altLang="en-US" sz="1600" b="1" dirty="0">
              <a:solidFill>
                <a:srgbClr val="000000"/>
              </a:solidFill>
              <a:latin typeface="Arial" panose="020B0604020202020204" pitchFamily="34" charset="0"/>
              <a:cs typeface="Arial" panose="020B0604020202020204" pitchFamily="34" charset="0"/>
            </a:endParaRPr>
          </a:p>
        </p:txBody>
      </p:sp>
      <p:sp>
        <p:nvSpPr>
          <p:cNvPr id="7" name="TextColumnContent"/>
          <p:cNvSpPr>
            <a:spLocks noChangeArrowheads="1"/>
          </p:cNvSpPr>
          <p:nvPr/>
        </p:nvSpPr>
        <p:spPr bwMode="gray">
          <a:xfrm>
            <a:off x="360000" y="1774371"/>
            <a:ext cx="2688685" cy="3866017"/>
          </a:xfrm>
          <a:prstGeom prst="rect">
            <a:avLst/>
          </a:prstGeom>
          <a:noFill/>
          <a:ln w="9525" algn="ctr">
            <a:noFill/>
            <a:miter lim="800000"/>
            <a:headEnd type="none" w="lg" len="lg"/>
            <a:tailEnd type="none" w="lg" len="lg"/>
          </a:ln>
          <a:effectLst/>
        </p:spPr>
        <p:txBody>
          <a:bodyPr tIns="91440" bIns="91440"/>
          <a:lstStyle/>
          <a:p>
            <a:r>
              <a:rPr lang="en-US" altLang="zh-CN" sz="1400" b="1" dirty="0" smtClean="0">
                <a:solidFill>
                  <a:srgbClr val="000000"/>
                </a:solidFill>
                <a:latin typeface="Arial" panose="020B0604020202020204" pitchFamily="34" charset="0"/>
                <a:cs typeface="Arial" panose="020B0604020202020204" pitchFamily="34" charset="0"/>
              </a:rPr>
              <a:t>Text</a:t>
            </a:r>
            <a:endParaRPr lang="en-US" altLang="zh-CN" sz="1400" b="1" dirty="0" smtClean="0">
              <a:solidFill>
                <a:srgbClr val="000000"/>
              </a:solidFill>
              <a:latin typeface="Arial" panose="020B0604020202020204" pitchFamily="34" charset="0"/>
              <a:cs typeface="Arial" panose="020B0604020202020204" pitchFamily="34" charset="0"/>
            </a:endParaRPr>
          </a:p>
          <a:p>
            <a:pPr marL="288925" lvl="1" indent="-174625">
              <a:buClr>
                <a:schemeClr val="tx2"/>
              </a:buClr>
              <a:buFontTx/>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en-US" altLang="zh-CN" sz="1400" dirty="0" smtClean="0">
              <a:solidFill>
                <a:srgbClr val="000000"/>
              </a:solidFill>
              <a:latin typeface="Arial" panose="020B0604020202020204" pitchFamily="34" charset="0"/>
              <a:cs typeface="Arial" panose="020B0604020202020204" pitchFamily="34" charset="0"/>
            </a:endParaRPr>
          </a:p>
          <a:p>
            <a:pPr marL="570230" lvl="2" indent="-167005">
              <a:buClr>
                <a:schemeClr val="tx2"/>
              </a:buClr>
              <a:buFont typeface="Arial" panose="020B0604020202020204" pitchFamily="34" charset="0"/>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zh-CN" altLang="en-US" sz="1400" dirty="0">
              <a:solidFill>
                <a:srgbClr val="000000"/>
              </a:solidFill>
              <a:latin typeface="Arial" panose="020B0604020202020204" pitchFamily="34" charset="0"/>
              <a:cs typeface="Arial" panose="020B0604020202020204" pitchFamily="34" charset="0"/>
            </a:endParaRPr>
          </a:p>
        </p:txBody>
      </p:sp>
      <p:sp>
        <p:nvSpPr>
          <p:cNvPr id="8" name="TextColumnContent"/>
          <p:cNvSpPr>
            <a:spLocks noChangeArrowheads="1"/>
          </p:cNvSpPr>
          <p:nvPr/>
        </p:nvSpPr>
        <p:spPr bwMode="gray">
          <a:xfrm>
            <a:off x="9100544" y="1774371"/>
            <a:ext cx="2688685" cy="3866017"/>
          </a:xfrm>
          <a:prstGeom prst="rect">
            <a:avLst/>
          </a:prstGeom>
          <a:noFill/>
          <a:ln w="9525" algn="ctr">
            <a:noFill/>
            <a:miter lim="800000"/>
            <a:headEnd type="none" w="lg" len="lg"/>
            <a:tailEnd type="none" w="lg" len="lg"/>
          </a:ln>
          <a:effectLst/>
        </p:spPr>
        <p:txBody>
          <a:bodyPr tIns="91440" bIns="91440"/>
          <a:lstStyle/>
          <a:p>
            <a:r>
              <a:rPr lang="en-US" altLang="zh-CN" sz="1400" b="1" dirty="0" smtClean="0">
                <a:solidFill>
                  <a:srgbClr val="000000"/>
                </a:solidFill>
                <a:latin typeface="Arial" panose="020B0604020202020204" pitchFamily="34" charset="0"/>
                <a:cs typeface="Arial" panose="020B0604020202020204" pitchFamily="34" charset="0"/>
              </a:rPr>
              <a:t>Text</a:t>
            </a:r>
            <a:endParaRPr lang="en-US" altLang="zh-CN" sz="1400" b="1" dirty="0" smtClean="0">
              <a:solidFill>
                <a:srgbClr val="000000"/>
              </a:solidFill>
              <a:latin typeface="Arial" panose="020B0604020202020204" pitchFamily="34" charset="0"/>
              <a:cs typeface="Arial" panose="020B0604020202020204" pitchFamily="34" charset="0"/>
            </a:endParaRPr>
          </a:p>
          <a:p>
            <a:pPr marL="288925" lvl="1" indent="-174625">
              <a:buClr>
                <a:schemeClr val="tx2"/>
              </a:buClr>
              <a:buFontTx/>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en-US" altLang="zh-CN" sz="1400" dirty="0" smtClean="0">
              <a:solidFill>
                <a:srgbClr val="000000"/>
              </a:solidFill>
              <a:latin typeface="Arial" panose="020B0604020202020204" pitchFamily="34" charset="0"/>
              <a:cs typeface="Arial" panose="020B0604020202020204" pitchFamily="34" charset="0"/>
            </a:endParaRPr>
          </a:p>
          <a:p>
            <a:pPr marL="570230" lvl="2" indent="-167005">
              <a:buClr>
                <a:schemeClr val="tx2"/>
              </a:buClr>
              <a:buFont typeface="Arial" panose="020B0604020202020204" pitchFamily="34" charset="0"/>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zh-CN" altLang="en-US" sz="1400" dirty="0">
              <a:solidFill>
                <a:srgbClr val="000000"/>
              </a:solidFill>
              <a:latin typeface="Arial" panose="020B0604020202020204" pitchFamily="34" charset="0"/>
              <a:cs typeface="Arial" panose="020B0604020202020204" pitchFamily="34" charset="0"/>
            </a:endParaRPr>
          </a:p>
        </p:txBody>
      </p:sp>
      <p:sp>
        <p:nvSpPr>
          <p:cNvPr id="9" name="TextColumnContent"/>
          <p:cNvSpPr>
            <a:spLocks noChangeArrowheads="1"/>
          </p:cNvSpPr>
          <p:nvPr/>
        </p:nvSpPr>
        <p:spPr bwMode="gray">
          <a:xfrm>
            <a:off x="6187030" y="1774371"/>
            <a:ext cx="2688685" cy="3866017"/>
          </a:xfrm>
          <a:prstGeom prst="rect">
            <a:avLst/>
          </a:prstGeom>
          <a:noFill/>
          <a:ln w="9525" algn="ctr">
            <a:noFill/>
            <a:miter lim="800000"/>
            <a:headEnd type="none" w="lg" len="lg"/>
            <a:tailEnd type="none" w="lg" len="lg"/>
          </a:ln>
          <a:effectLst/>
        </p:spPr>
        <p:txBody>
          <a:bodyPr tIns="91440" bIns="91440"/>
          <a:lstStyle/>
          <a:p>
            <a:r>
              <a:rPr lang="en-US" altLang="zh-CN" sz="1400" b="1" dirty="0" smtClean="0">
                <a:solidFill>
                  <a:srgbClr val="000000"/>
                </a:solidFill>
                <a:latin typeface="Arial" panose="020B0604020202020204" pitchFamily="34" charset="0"/>
                <a:cs typeface="Arial" panose="020B0604020202020204" pitchFamily="34" charset="0"/>
              </a:rPr>
              <a:t>Text</a:t>
            </a:r>
            <a:endParaRPr lang="en-US" altLang="zh-CN" sz="1400" b="1" dirty="0" smtClean="0">
              <a:solidFill>
                <a:srgbClr val="000000"/>
              </a:solidFill>
              <a:latin typeface="Arial" panose="020B0604020202020204" pitchFamily="34" charset="0"/>
              <a:cs typeface="Arial" panose="020B0604020202020204" pitchFamily="34" charset="0"/>
            </a:endParaRPr>
          </a:p>
          <a:p>
            <a:pPr marL="288925" lvl="1" indent="-174625">
              <a:buClr>
                <a:schemeClr val="tx2"/>
              </a:buClr>
              <a:buFontTx/>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en-US" altLang="zh-CN" sz="1400" dirty="0" smtClean="0">
              <a:solidFill>
                <a:srgbClr val="000000"/>
              </a:solidFill>
              <a:latin typeface="Arial" panose="020B0604020202020204" pitchFamily="34" charset="0"/>
              <a:cs typeface="Arial" panose="020B0604020202020204" pitchFamily="34" charset="0"/>
            </a:endParaRPr>
          </a:p>
          <a:p>
            <a:pPr marL="570230" lvl="2" indent="-167005">
              <a:buClr>
                <a:schemeClr val="tx2"/>
              </a:buClr>
              <a:buFont typeface="Arial" panose="020B0604020202020204" pitchFamily="34" charset="0"/>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zh-CN" altLang="en-US" sz="1400" dirty="0">
              <a:solidFill>
                <a:srgbClr val="000000"/>
              </a:solidFill>
              <a:latin typeface="Arial" panose="020B0604020202020204" pitchFamily="34" charset="0"/>
              <a:cs typeface="Arial" panose="020B0604020202020204" pitchFamily="34" charset="0"/>
            </a:endParaRPr>
          </a:p>
        </p:txBody>
      </p:sp>
      <p:sp>
        <p:nvSpPr>
          <p:cNvPr id="16" name="TextColumnContent"/>
          <p:cNvSpPr>
            <a:spLocks noChangeArrowheads="1"/>
          </p:cNvSpPr>
          <p:nvPr/>
        </p:nvSpPr>
        <p:spPr bwMode="gray">
          <a:xfrm>
            <a:off x="3273515" y="1774371"/>
            <a:ext cx="2688685" cy="3866017"/>
          </a:xfrm>
          <a:prstGeom prst="rect">
            <a:avLst/>
          </a:prstGeom>
          <a:noFill/>
          <a:ln w="9525" algn="ctr">
            <a:noFill/>
            <a:miter lim="800000"/>
            <a:headEnd type="none" w="lg" len="lg"/>
            <a:tailEnd type="none" w="lg" len="lg"/>
          </a:ln>
          <a:effectLst/>
        </p:spPr>
        <p:txBody>
          <a:bodyPr tIns="91440" bIns="91440"/>
          <a:lstStyle/>
          <a:p>
            <a:r>
              <a:rPr lang="en-US" altLang="zh-CN" sz="1400" b="1" dirty="0" smtClean="0">
                <a:solidFill>
                  <a:srgbClr val="000000"/>
                </a:solidFill>
                <a:latin typeface="Arial" panose="020B0604020202020204" pitchFamily="34" charset="0"/>
                <a:cs typeface="Arial" panose="020B0604020202020204" pitchFamily="34" charset="0"/>
              </a:rPr>
              <a:t>Text</a:t>
            </a:r>
            <a:endParaRPr lang="en-US" altLang="zh-CN" sz="1400" b="1" dirty="0" smtClean="0">
              <a:solidFill>
                <a:srgbClr val="000000"/>
              </a:solidFill>
              <a:latin typeface="Arial" panose="020B0604020202020204" pitchFamily="34" charset="0"/>
              <a:cs typeface="Arial" panose="020B0604020202020204" pitchFamily="34" charset="0"/>
            </a:endParaRPr>
          </a:p>
          <a:p>
            <a:pPr marL="288925" lvl="1" indent="-174625">
              <a:buClr>
                <a:schemeClr val="tx2"/>
              </a:buClr>
              <a:buFontTx/>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en-US" altLang="zh-CN" sz="1400" dirty="0" smtClean="0">
              <a:solidFill>
                <a:srgbClr val="000000"/>
              </a:solidFill>
              <a:latin typeface="Arial" panose="020B0604020202020204" pitchFamily="34" charset="0"/>
              <a:cs typeface="Arial" panose="020B0604020202020204" pitchFamily="34" charset="0"/>
            </a:endParaRPr>
          </a:p>
          <a:p>
            <a:pPr marL="570230" lvl="2" indent="-167005">
              <a:buClr>
                <a:schemeClr val="tx2"/>
              </a:buClr>
              <a:buFont typeface="Arial" panose="020B0604020202020204" pitchFamily="34" charset="0"/>
              <a:buChar char="–"/>
            </a:pPr>
            <a:r>
              <a:rPr lang="en-US" altLang="zh-CN" sz="1400" dirty="0" smtClean="0">
                <a:solidFill>
                  <a:srgbClr val="000000"/>
                </a:solidFill>
                <a:latin typeface="Arial" panose="020B0604020202020204" pitchFamily="34" charset="0"/>
                <a:cs typeface="Arial" panose="020B0604020202020204" pitchFamily="34" charset="0"/>
              </a:rPr>
              <a:t>Text</a:t>
            </a:r>
            <a:endParaRPr lang="zh-CN" altLang="en-US" sz="1400" dirty="0">
              <a:solidFill>
                <a:srgbClr val="000000"/>
              </a:solidFill>
              <a:latin typeface="Arial" panose="020B0604020202020204" pitchFamily="34" charset="0"/>
              <a:cs typeface="Arial" panose="020B0604020202020204" pitchFamily="34" charset="0"/>
            </a:endParaRPr>
          </a:p>
        </p:txBody>
      </p:sp>
      <p:sp>
        <p:nvSpPr>
          <p:cNvPr id="1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内容</a:t>
            </a:r>
            <a:endParaRPr lang="en-US" altLang="zh-CN" sz="2400" dirty="0">
              <a:latin typeface="+mj-ea"/>
            </a:endParaRPr>
          </a:p>
        </p:txBody>
      </p:sp>
      <p:pic>
        <p:nvPicPr>
          <p:cNvPr id="17" name="图片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532" name="think-cell Slide" r:id="rId2" imgW="12700" imgH="12700" progId="TCLayout.ActiveDocument.1">
                  <p:embed/>
                </p:oleObj>
              </mc:Choice>
              <mc:Fallback>
                <p:oleObj name="think-cell Slide" r:id="rId2" imgW="12700" imgH="12700" progId="TCLayout.ActiveDocument.1">
                  <p:embed/>
                  <p:pic>
                    <p:nvPicPr>
                      <p:cNvPr id="0" name="图片 14253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10" name="矩形 9"/>
          <p:cNvSpPr/>
          <p:nvPr/>
        </p:nvSpPr>
        <p:spPr>
          <a:xfrm>
            <a:off x="363108" y="1148806"/>
            <a:ext cx="3617477" cy="2364566"/>
          </a:xfrm>
          <a:prstGeom prst="rect">
            <a:avLst/>
          </a:prstGeom>
          <a:noFill/>
          <a:ln w="6350"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p>
        </p:txBody>
      </p:sp>
      <p:sp>
        <p:nvSpPr>
          <p:cNvPr id="11" name="流程图: 文档 10"/>
          <p:cNvSpPr/>
          <p:nvPr/>
        </p:nvSpPr>
        <p:spPr>
          <a:xfrm>
            <a:off x="461427" y="1026003"/>
            <a:ext cx="541266" cy="740518"/>
          </a:xfrm>
          <a:prstGeom prst="flowChartDocument">
            <a:avLst/>
          </a:prstGeom>
          <a:solidFill>
            <a:srgbClr val="FE5817"/>
          </a:solidFill>
          <a:ln>
            <a:noFill/>
          </a:ln>
          <a:effectLst/>
        </p:spPr>
        <p:style>
          <a:lnRef idx="1">
            <a:schemeClr val="accent1"/>
          </a:lnRef>
          <a:fillRef idx="3">
            <a:schemeClr val="accent1"/>
          </a:fillRef>
          <a:effectRef idx="2">
            <a:schemeClr val="accent1"/>
          </a:effectRef>
          <a:fontRef idx="minor">
            <a:schemeClr val="lt1"/>
          </a:fontRef>
        </p:style>
        <p:txBody>
          <a:bodyPr anchor="b">
            <a:normAutofit/>
          </a:bodyPr>
          <a:lstStyle/>
          <a:p>
            <a:pPr algn="ctr"/>
            <a:r>
              <a:rPr lang="en-US" sz="2500"/>
              <a:t>01</a:t>
            </a:r>
            <a:endParaRPr lang="en-US" sz="2500"/>
          </a:p>
        </p:txBody>
      </p:sp>
      <p:sp>
        <p:nvSpPr>
          <p:cNvPr id="8" name="矩形 7"/>
          <p:cNvSpPr/>
          <p:nvPr/>
        </p:nvSpPr>
        <p:spPr>
          <a:xfrm>
            <a:off x="1175554" y="1258856"/>
            <a:ext cx="2706713" cy="301468"/>
          </a:xfrm>
          <a:prstGeom prst="rect">
            <a:avLst/>
          </a:prstGeom>
          <a:noFill/>
          <a:ln w="25400" cap="flat">
            <a:noFill/>
            <a:miter lim="400000"/>
          </a:ln>
          <a:effectLst/>
        </p:spPr>
        <p:txBody>
          <a:bodyPr wrap="none" lIns="0" tIns="0" rIns="0" bIns="0" anchor="t">
            <a:normAutofit/>
          </a:bodyPr>
          <a:lstStyle/>
          <a:p>
            <a:pPr marL="0" lvl="1"/>
            <a:r>
              <a:rPr lang="zh-CN" altLang="en-US" b="1" dirty="0">
                <a:solidFill>
                  <a:schemeClr val="accent1">
                    <a:lumMod val="75000"/>
                  </a:schemeClr>
                </a:solidFill>
              </a:rPr>
              <a:t>标题文本预设</a:t>
            </a:r>
            <a:endParaRPr lang="zh-CN" altLang="en-US" b="1" dirty="0">
              <a:solidFill>
                <a:schemeClr val="accent1">
                  <a:lumMod val="75000"/>
                </a:schemeClr>
              </a:solidFill>
            </a:endParaRPr>
          </a:p>
        </p:txBody>
      </p:sp>
      <p:sp>
        <p:nvSpPr>
          <p:cNvPr id="9" name="矩形 8"/>
          <p:cNvSpPr/>
          <p:nvPr/>
        </p:nvSpPr>
        <p:spPr>
          <a:xfrm>
            <a:off x="439271" y="1900518"/>
            <a:ext cx="3466133" cy="1506070"/>
          </a:xfrm>
          <a:prstGeom prst="rect">
            <a:avLst/>
          </a:prstGeom>
          <a:noFill/>
          <a:ln w="25400" cap="flat">
            <a:noFill/>
            <a:miter lim="400000"/>
          </a:ln>
          <a:effectLst/>
        </p:spPr>
        <p:txBody>
          <a:bodyPr wrap="none" lIns="0" tIns="0" rIns="0" bIns="0" anchor="t">
            <a:normAutofit/>
          </a:bodyPr>
          <a:lstStyle/>
          <a:p>
            <a:pPr marL="0" lvl="1">
              <a:lnSpc>
                <a:spcPct val="120000"/>
              </a:lnSpc>
            </a:pPr>
            <a:r>
              <a:rPr lang="zh-CN" altLang="en-US" sz="1400" dirty="0">
                <a:solidFill>
                  <a:schemeClr val="bg1">
                    <a:lumMod val="50000"/>
                  </a:schemeClr>
                </a:solidFill>
              </a:rPr>
              <a:t>此部分内容作为文字排版占位显示</a:t>
            </a:r>
            <a:endParaRPr lang="zh-CN" altLang="en-US" sz="1400" dirty="0">
              <a:solidFill>
                <a:schemeClr val="bg1">
                  <a:lumMod val="50000"/>
                </a:schemeClr>
              </a:solidFill>
            </a:endParaRPr>
          </a:p>
          <a:p>
            <a:pPr marL="0" lvl="1">
              <a:lnSpc>
                <a:spcPct val="120000"/>
              </a:lnSpc>
            </a:pPr>
            <a:r>
              <a:rPr lang="zh-CN" altLang="en-US" sz="1400" dirty="0">
                <a:solidFill>
                  <a:schemeClr val="bg1">
                    <a:lumMod val="50000"/>
                  </a:schemeClr>
                </a:solidFill>
              </a:rPr>
              <a:t>（建议使用主题字体）</a:t>
            </a:r>
            <a:endParaRPr lang="zh-CN" altLang="en-US" sz="1400" dirty="0">
              <a:solidFill>
                <a:schemeClr val="bg1">
                  <a:lumMod val="50000"/>
                </a:schemeClr>
              </a:solidFill>
            </a:endParaRPr>
          </a:p>
        </p:txBody>
      </p:sp>
      <p:sp>
        <p:nvSpPr>
          <p:cNvPr id="13" name="矩形 12"/>
          <p:cNvSpPr/>
          <p:nvPr/>
        </p:nvSpPr>
        <p:spPr>
          <a:xfrm>
            <a:off x="4273409" y="1148806"/>
            <a:ext cx="3617477" cy="2364566"/>
          </a:xfrm>
          <a:prstGeom prst="rect">
            <a:avLst/>
          </a:prstGeom>
          <a:noFill/>
          <a:ln w="6350"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p>
        </p:txBody>
      </p:sp>
      <p:sp>
        <p:nvSpPr>
          <p:cNvPr id="14" name="流程图: 文档 13"/>
          <p:cNvSpPr/>
          <p:nvPr/>
        </p:nvSpPr>
        <p:spPr>
          <a:xfrm>
            <a:off x="4371727" y="1034495"/>
            <a:ext cx="541265" cy="740518"/>
          </a:xfrm>
          <a:prstGeom prst="flowChartDocument">
            <a:avLst/>
          </a:prstGeom>
          <a:solidFill>
            <a:srgbClr val="FE5817"/>
          </a:solidFill>
          <a:ln>
            <a:noFill/>
          </a:ln>
          <a:effectLst/>
        </p:spPr>
        <p:style>
          <a:lnRef idx="1">
            <a:schemeClr val="accent1"/>
          </a:lnRef>
          <a:fillRef idx="3">
            <a:schemeClr val="accent1"/>
          </a:fillRef>
          <a:effectRef idx="2">
            <a:schemeClr val="accent1"/>
          </a:effectRef>
          <a:fontRef idx="minor">
            <a:schemeClr val="lt1"/>
          </a:fontRef>
        </p:style>
        <p:txBody>
          <a:bodyPr anchor="b">
            <a:normAutofit/>
          </a:bodyPr>
          <a:lstStyle/>
          <a:p>
            <a:pPr algn="ctr"/>
            <a:r>
              <a:rPr lang="en-US" sz="2500" dirty="0"/>
              <a:t>02</a:t>
            </a:r>
            <a:endParaRPr lang="en-US" sz="2500" dirty="0"/>
          </a:p>
        </p:txBody>
      </p:sp>
      <p:sp>
        <p:nvSpPr>
          <p:cNvPr id="16" name="矩形 15"/>
          <p:cNvSpPr/>
          <p:nvPr/>
        </p:nvSpPr>
        <p:spPr>
          <a:xfrm>
            <a:off x="5065960" y="1258856"/>
            <a:ext cx="2706713" cy="301468"/>
          </a:xfrm>
          <a:prstGeom prst="rect">
            <a:avLst/>
          </a:prstGeom>
          <a:noFill/>
          <a:ln w="25400" cap="flat">
            <a:noFill/>
            <a:miter lim="400000"/>
          </a:ln>
          <a:effectLst/>
        </p:spPr>
        <p:txBody>
          <a:bodyPr wrap="none" lIns="0" tIns="0" rIns="0" bIns="0" anchor="t">
            <a:normAutofit/>
          </a:bodyPr>
          <a:lstStyle/>
          <a:p>
            <a:pPr marL="0" lvl="1"/>
            <a:r>
              <a:rPr lang="zh-CN" altLang="en-US" b="1" dirty="0">
                <a:solidFill>
                  <a:schemeClr val="accent1">
                    <a:lumMod val="75000"/>
                  </a:schemeClr>
                </a:solidFill>
              </a:rPr>
              <a:t>标题文本预设</a:t>
            </a:r>
            <a:endParaRPr lang="zh-CN" altLang="en-US" b="1" dirty="0">
              <a:solidFill>
                <a:schemeClr val="accent1">
                  <a:lumMod val="75000"/>
                </a:schemeClr>
              </a:solidFill>
            </a:endParaRPr>
          </a:p>
        </p:txBody>
      </p:sp>
      <p:sp>
        <p:nvSpPr>
          <p:cNvPr id="19" name="矩形 18"/>
          <p:cNvSpPr/>
          <p:nvPr/>
        </p:nvSpPr>
        <p:spPr>
          <a:xfrm>
            <a:off x="8177752" y="1140314"/>
            <a:ext cx="3617477" cy="2364566"/>
          </a:xfrm>
          <a:prstGeom prst="rect">
            <a:avLst/>
          </a:prstGeom>
          <a:noFill/>
          <a:ln w="6350"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p>
        </p:txBody>
      </p:sp>
      <p:sp>
        <p:nvSpPr>
          <p:cNvPr id="20" name="流程图: 文档 19"/>
          <p:cNvSpPr/>
          <p:nvPr/>
        </p:nvSpPr>
        <p:spPr>
          <a:xfrm>
            <a:off x="8276072" y="1026003"/>
            <a:ext cx="541265" cy="740518"/>
          </a:xfrm>
          <a:prstGeom prst="flowChartDocument">
            <a:avLst/>
          </a:prstGeom>
          <a:solidFill>
            <a:srgbClr val="FE5817"/>
          </a:solidFill>
          <a:ln>
            <a:noFill/>
          </a:ln>
          <a:effectLst/>
        </p:spPr>
        <p:style>
          <a:lnRef idx="1">
            <a:schemeClr val="accent1"/>
          </a:lnRef>
          <a:fillRef idx="3">
            <a:schemeClr val="accent1"/>
          </a:fillRef>
          <a:effectRef idx="2">
            <a:schemeClr val="accent1"/>
          </a:effectRef>
          <a:fontRef idx="minor">
            <a:schemeClr val="lt1"/>
          </a:fontRef>
        </p:style>
        <p:txBody>
          <a:bodyPr anchor="b">
            <a:normAutofit/>
          </a:bodyPr>
          <a:lstStyle/>
          <a:p>
            <a:pPr algn="ctr"/>
            <a:r>
              <a:rPr lang="en-US" sz="2500" dirty="0"/>
              <a:t>03</a:t>
            </a:r>
            <a:endParaRPr lang="en-US" sz="2500" dirty="0"/>
          </a:p>
        </p:txBody>
      </p:sp>
      <p:sp>
        <p:nvSpPr>
          <p:cNvPr id="22" name="矩形 21"/>
          <p:cNvSpPr/>
          <p:nvPr/>
        </p:nvSpPr>
        <p:spPr>
          <a:xfrm>
            <a:off x="8956369" y="1258856"/>
            <a:ext cx="2706713" cy="301468"/>
          </a:xfrm>
          <a:prstGeom prst="rect">
            <a:avLst/>
          </a:prstGeom>
          <a:noFill/>
          <a:ln w="25400" cap="flat">
            <a:noFill/>
            <a:miter lim="400000"/>
          </a:ln>
          <a:effectLst/>
        </p:spPr>
        <p:txBody>
          <a:bodyPr wrap="none" lIns="0" tIns="0" rIns="0" bIns="0" anchor="t">
            <a:normAutofit/>
          </a:bodyPr>
          <a:lstStyle/>
          <a:p>
            <a:pPr marL="0" lvl="1"/>
            <a:r>
              <a:rPr lang="zh-CN" altLang="en-US" b="1" dirty="0">
                <a:solidFill>
                  <a:schemeClr val="accent1">
                    <a:lumMod val="75000"/>
                  </a:schemeClr>
                </a:solidFill>
              </a:rPr>
              <a:t>标题文本预设</a:t>
            </a:r>
            <a:endParaRPr lang="zh-CN" altLang="en-US" b="1" dirty="0">
              <a:solidFill>
                <a:schemeClr val="accent1">
                  <a:lumMod val="75000"/>
                </a:schemeClr>
              </a:solidFill>
            </a:endParaRPr>
          </a:p>
        </p:txBody>
      </p:sp>
      <p:sp>
        <p:nvSpPr>
          <p:cNvPr id="42" name="矩形 41"/>
          <p:cNvSpPr/>
          <p:nvPr/>
        </p:nvSpPr>
        <p:spPr>
          <a:xfrm>
            <a:off x="4349081" y="1900518"/>
            <a:ext cx="3466133" cy="1506070"/>
          </a:xfrm>
          <a:prstGeom prst="rect">
            <a:avLst/>
          </a:prstGeom>
          <a:noFill/>
          <a:ln w="25400" cap="flat">
            <a:noFill/>
            <a:miter lim="400000"/>
          </a:ln>
          <a:effectLst/>
        </p:spPr>
        <p:txBody>
          <a:bodyPr wrap="none" lIns="0" tIns="0" rIns="0" bIns="0" anchor="t">
            <a:normAutofit/>
          </a:bodyPr>
          <a:lstStyle/>
          <a:p>
            <a:pPr marL="0" lvl="1">
              <a:lnSpc>
                <a:spcPct val="120000"/>
              </a:lnSpc>
            </a:pPr>
            <a:r>
              <a:rPr lang="zh-CN" altLang="en-US" sz="1400" dirty="0">
                <a:solidFill>
                  <a:schemeClr val="bg1">
                    <a:lumMod val="50000"/>
                  </a:schemeClr>
                </a:solidFill>
              </a:rPr>
              <a:t>此部分内容作为文字排版占位显示</a:t>
            </a:r>
            <a:endParaRPr lang="zh-CN" altLang="en-US" sz="1400" dirty="0">
              <a:solidFill>
                <a:schemeClr val="bg1">
                  <a:lumMod val="50000"/>
                </a:schemeClr>
              </a:solidFill>
            </a:endParaRPr>
          </a:p>
          <a:p>
            <a:pPr marL="0" lvl="1">
              <a:lnSpc>
                <a:spcPct val="120000"/>
              </a:lnSpc>
            </a:pPr>
            <a:r>
              <a:rPr lang="zh-CN" altLang="en-US" sz="1400" dirty="0">
                <a:solidFill>
                  <a:schemeClr val="bg1">
                    <a:lumMod val="50000"/>
                  </a:schemeClr>
                </a:solidFill>
              </a:rPr>
              <a:t>（建议使用主题字体）</a:t>
            </a:r>
            <a:endParaRPr lang="zh-CN" altLang="en-US" sz="1400" dirty="0">
              <a:solidFill>
                <a:schemeClr val="bg1">
                  <a:lumMod val="50000"/>
                </a:schemeClr>
              </a:solidFill>
            </a:endParaRPr>
          </a:p>
        </p:txBody>
      </p:sp>
      <p:sp>
        <p:nvSpPr>
          <p:cNvPr id="43" name="矩形 42"/>
          <p:cNvSpPr/>
          <p:nvPr/>
        </p:nvSpPr>
        <p:spPr>
          <a:xfrm>
            <a:off x="8253424" y="1900518"/>
            <a:ext cx="3466133" cy="1506070"/>
          </a:xfrm>
          <a:prstGeom prst="rect">
            <a:avLst/>
          </a:prstGeom>
          <a:noFill/>
          <a:ln w="25400" cap="flat">
            <a:noFill/>
            <a:miter lim="400000"/>
          </a:ln>
          <a:effectLst/>
        </p:spPr>
        <p:txBody>
          <a:bodyPr wrap="none" lIns="0" tIns="0" rIns="0" bIns="0" anchor="t">
            <a:normAutofit/>
          </a:bodyPr>
          <a:lstStyle/>
          <a:p>
            <a:pPr marL="0" lvl="1">
              <a:lnSpc>
                <a:spcPct val="120000"/>
              </a:lnSpc>
            </a:pPr>
            <a:r>
              <a:rPr lang="zh-CN" altLang="en-US" sz="1400" dirty="0">
                <a:solidFill>
                  <a:schemeClr val="bg1">
                    <a:lumMod val="50000"/>
                  </a:schemeClr>
                </a:solidFill>
              </a:rPr>
              <a:t>此部分内容作为文字排版占位显示</a:t>
            </a:r>
            <a:endParaRPr lang="zh-CN" altLang="en-US" sz="1400" dirty="0">
              <a:solidFill>
                <a:schemeClr val="bg1">
                  <a:lumMod val="50000"/>
                </a:schemeClr>
              </a:solidFill>
            </a:endParaRPr>
          </a:p>
          <a:p>
            <a:pPr marL="0" lvl="1">
              <a:lnSpc>
                <a:spcPct val="120000"/>
              </a:lnSpc>
            </a:pPr>
            <a:r>
              <a:rPr lang="zh-CN" altLang="en-US" sz="1400" dirty="0">
                <a:solidFill>
                  <a:schemeClr val="bg1">
                    <a:lumMod val="50000"/>
                  </a:schemeClr>
                </a:solidFill>
              </a:rPr>
              <a:t>（建议使用主题字体）</a:t>
            </a:r>
            <a:endParaRPr lang="zh-CN" altLang="en-US" sz="1400" dirty="0">
              <a:solidFill>
                <a:schemeClr val="bg1">
                  <a:lumMod val="50000"/>
                </a:schemeClr>
              </a:solidFill>
            </a:endParaRPr>
          </a:p>
        </p:txBody>
      </p:sp>
      <p:sp>
        <p:nvSpPr>
          <p:cNvPr id="49" name="矩形 48"/>
          <p:cNvSpPr/>
          <p:nvPr/>
        </p:nvSpPr>
        <p:spPr>
          <a:xfrm>
            <a:off x="363108" y="3874077"/>
            <a:ext cx="3617477" cy="2364566"/>
          </a:xfrm>
          <a:prstGeom prst="rect">
            <a:avLst/>
          </a:prstGeom>
          <a:noFill/>
          <a:ln w="6350"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p>
        </p:txBody>
      </p:sp>
      <p:sp>
        <p:nvSpPr>
          <p:cNvPr id="50" name="流程图: 文档 49"/>
          <p:cNvSpPr/>
          <p:nvPr/>
        </p:nvSpPr>
        <p:spPr>
          <a:xfrm>
            <a:off x="461427" y="3759766"/>
            <a:ext cx="541266" cy="740518"/>
          </a:xfrm>
          <a:prstGeom prst="flowChartDocument">
            <a:avLst/>
          </a:prstGeom>
          <a:solidFill>
            <a:srgbClr val="FE5817"/>
          </a:solidFill>
          <a:ln>
            <a:noFill/>
          </a:ln>
          <a:effectLst/>
        </p:spPr>
        <p:style>
          <a:lnRef idx="1">
            <a:schemeClr val="accent1"/>
          </a:lnRef>
          <a:fillRef idx="3">
            <a:schemeClr val="accent1"/>
          </a:fillRef>
          <a:effectRef idx="2">
            <a:schemeClr val="accent1"/>
          </a:effectRef>
          <a:fontRef idx="minor">
            <a:schemeClr val="lt1"/>
          </a:fontRef>
        </p:style>
        <p:txBody>
          <a:bodyPr anchor="b">
            <a:normAutofit/>
          </a:bodyPr>
          <a:lstStyle/>
          <a:p>
            <a:pPr algn="ctr"/>
            <a:r>
              <a:rPr lang="en-US" sz="2500" dirty="0"/>
              <a:t>04</a:t>
            </a:r>
            <a:endParaRPr lang="en-US" sz="2500" dirty="0"/>
          </a:p>
        </p:txBody>
      </p:sp>
      <p:sp>
        <p:nvSpPr>
          <p:cNvPr id="51" name="矩形 50"/>
          <p:cNvSpPr/>
          <p:nvPr/>
        </p:nvSpPr>
        <p:spPr>
          <a:xfrm>
            <a:off x="1175554" y="3984127"/>
            <a:ext cx="2706713" cy="301468"/>
          </a:xfrm>
          <a:prstGeom prst="rect">
            <a:avLst/>
          </a:prstGeom>
          <a:noFill/>
          <a:ln w="25400" cap="flat">
            <a:noFill/>
            <a:miter lim="400000"/>
          </a:ln>
          <a:effectLst/>
        </p:spPr>
        <p:txBody>
          <a:bodyPr wrap="none" lIns="0" tIns="0" rIns="0" bIns="0" anchor="t">
            <a:normAutofit/>
          </a:bodyPr>
          <a:lstStyle/>
          <a:p>
            <a:pPr marL="0" lvl="1"/>
            <a:r>
              <a:rPr lang="zh-CN" altLang="en-US" b="1" dirty="0">
                <a:solidFill>
                  <a:schemeClr val="accent1">
                    <a:lumMod val="75000"/>
                  </a:schemeClr>
                </a:solidFill>
              </a:rPr>
              <a:t>标题文本预设</a:t>
            </a:r>
            <a:endParaRPr lang="zh-CN" altLang="en-US" b="1" dirty="0">
              <a:solidFill>
                <a:schemeClr val="accent1">
                  <a:lumMod val="75000"/>
                </a:schemeClr>
              </a:solidFill>
            </a:endParaRPr>
          </a:p>
        </p:txBody>
      </p:sp>
      <p:sp>
        <p:nvSpPr>
          <p:cNvPr id="52" name="矩形 51"/>
          <p:cNvSpPr/>
          <p:nvPr/>
        </p:nvSpPr>
        <p:spPr>
          <a:xfrm>
            <a:off x="439271" y="4625789"/>
            <a:ext cx="3466133" cy="1506070"/>
          </a:xfrm>
          <a:prstGeom prst="rect">
            <a:avLst/>
          </a:prstGeom>
          <a:noFill/>
          <a:ln w="25400" cap="flat">
            <a:noFill/>
            <a:miter lim="400000"/>
          </a:ln>
          <a:effectLst/>
        </p:spPr>
        <p:txBody>
          <a:bodyPr wrap="none" lIns="0" tIns="0" rIns="0" bIns="0" anchor="t">
            <a:normAutofit/>
          </a:bodyPr>
          <a:lstStyle/>
          <a:p>
            <a:pPr marL="0" lvl="1">
              <a:lnSpc>
                <a:spcPct val="120000"/>
              </a:lnSpc>
            </a:pPr>
            <a:r>
              <a:rPr lang="zh-CN" altLang="en-US" sz="1400" dirty="0">
                <a:solidFill>
                  <a:schemeClr val="bg1">
                    <a:lumMod val="50000"/>
                  </a:schemeClr>
                </a:solidFill>
              </a:rPr>
              <a:t>此部分内容作为文字排版占位显示</a:t>
            </a:r>
            <a:endParaRPr lang="zh-CN" altLang="en-US" sz="1400" dirty="0">
              <a:solidFill>
                <a:schemeClr val="bg1">
                  <a:lumMod val="50000"/>
                </a:schemeClr>
              </a:solidFill>
            </a:endParaRPr>
          </a:p>
          <a:p>
            <a:pPr marL="0" lvl="1">
              <a:lnSpc>
                <a:spcPct val="120000"/>
              </a:lnSpc>
            </a:pPr>
            <a:r>
              <a:rPr lang="zh-CN" altLang="en-US" sz="1400" dirty="0">
                <a:solidFill>
                  <a:schemeClr val="bg1">
                    <a:lumMod val="50000"/>
                  </a:schemeClr>
                </a:solidFill>
              </a:rPr>
              <a:t>（建议使用主题字体）</a:t>
            </a:r>
            <a:endParaRPr lang="zh-CN" altLang="en-US" sz="1400" dirty="0">
              <a:solidFill>
                <a:schemeClr val="bg1">
                  <a:lumMod val="50000"/>
                </a:schemeClr>
              </a:solidFill>
            </a:endParaRPr>
          </a:p>
        </p:txBody>
      </p:sp>
      <p:sp>
        <p:nvSpPr>
          <p:cNvPr id="53" name="矩形 52"/>
          <p:cNvSpPr/>
          <p:nvPr/>
        </p:nvSpPr>
        <p:spPr>
          <a:xfrm>
            <a:off x="4273409" y="3874077"/>
            <a:ext cx="3617477" cy="2364566"/>
          </a:xfrm>
          <a:prstGeom prst="rect">
            <a:avLst/>
          </a:prstGeom>
          <a:noFill/>
          <a:ln w="6350"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p>
        </p:txBody>
      </p:sp>
      <p:sp>
        <p:nvSpPr>
          <p:cNvPr id="54" name="流程图: 文档 53"/>
          <p:cNvSpPr/>
          <p:nvPr/>
        </p:nvSpPr>
        <p:spPr>
          <a:xfrm>
            <a:off x="4371727" y="3759766"/>
            <a:ext cx="541265" cy="740518"/>
          </a:xfrm>
          <a:prstGeom prst="flowChartDocument">
            <a:avLst/>
          </a:prstGeom>
          <a:solidFill>
            <a:srgbClr val="FE5817"/>
          </a:solidFill>
          <a:ln>
            <a:noFill/>
          </a:ln>
          <a:effectLst/>
        </p:spPr>
        <p:style>
          <a:lnRef idx="1">
            <a:schemeClr val="accent1"/>
          </a:lnRef>
          <a:fillRef idx="3">
            <a:schemeClr val="accent1"/>
          </a:fillRef>
          <a:effectRef idx="2">
            <a:schemeClr val="accent1"/>
          </a:effectRef>
          <a:fontRef idx="minor">
            <a:schemeClr val="lt1"/>
          </a:fontRef>
        </p:style>
        <p:txBody>
          <a:bodyPr anchor="b">
            <a:normAutofit/>
          </a:bodyPr>
          <a:lstStyle/>
          <a:p>
            <a:pPr algn="ctr"/>
            <a:r>
              <a:rPr lang="en-US" sz="2500" dirty="0"/>
              <a:t>05</a:t>
            </a:r>
            <a:endParaRPr lang="en-US" sz="2500" dirty="0"/>
          </a:p>
        </p:txBody>
      </p:sp>
      <p:sp>
        <p:nvSpPr>
          <p:cNvPr id="55" name="矩形 54"/>
          <p:cNvSpPr/>
          <p:nvPr/>
        </p:nvSpPr>
        <p:spPr>
          <a:xfrm>
            <a:off x="5065960" y="3984127"/>
            <a:ext cx="2706713" cy="301468"/>
          </a:xfrm>
          <a:prstGeom prst="rect">
            <a:avLst/>
          </a:prstGeom>
          <a:noFill/>
          <a:ln w="25400" cap="flat">
            <a:noFill/>
            <a:miter lim="400000"/>
          </a:ln>
          <a:effectLst/>
        </p:spPr>
        <p:txBody>
          <a:bodyPr wrap="none" lIns="0" tIns="0" rIns="0" bIns="0" anchor="t">
            <a:normAutofit/>
          </a:bodyPr>
          <a:lstStyle/>
          <a:p>
            <a:pPr marL="0" lvl="1"/>
            <a:r>
              <a:rPr lang="zh-CN" altLang="en-US" b="1" dirty="0">
                <a:solidFill>
                  <a:schemeClr val="accent1">
                    <a:lumMod val="75000"/>
                  </a:schemeClr>
                </a:solidFill>
              </a:rPr>
              <a:t>标题文本预设</a:t>
            </a:r>
            <a:endParaRPr lang="zh-CN" altLang="en-US" b="1" dirty="0">
              <a:solidFill>
                <a:schemeClr val="accent1">
                  <a:lumMod val="75000"/>
                </a:schemeClr>
              </a:solidFill>
            </a:endParaRPr>
          </a:p>
        </p:txBody>
      </p:sp>
      <p:sp>
        <p:nvSpPr>
          <p:cNvPr id="56" name="矩形 55"/>
          <p:cNvSpPr/>
          <p:nvPr/>
        </p:nvSpPr>
        <p:spPr>
          <a:xfrm>
            <a:off x="8177752" y="3865585"/>
            <a:ext cx="3617477" cy="2364566"/>
          </a:xfrm>
          <a:prstGeom prst="rect">
            <a:avLst/>
          </a:prstGeom>
          <a:noFill/>
          <a:ln w="6350"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p>
        </p:txBody>
      </p:sp>
      <p:sp>
        <p:nvSpPr>
          <p:cNvPr id="57" name="流程图: 文档 56"/>
          <p:cNvSpPr/>
          <p:nvPr/>
        </p:nvSpPr>
        <p:spPr>
          <a:xfrm>
            <a:off x="8276072" y="3751274"/>
            <a:ext cx="541265" cy="740518"/>
          </a:xfrm>
          <a:prstGeom prst="flowChartDocument">
            <a:avLst/>
          </a:prstGeom>
          <a:solidFill>
            <a:srgbClr val="FE5817"/>
          </a:solidFill>
          <a:ln>
            <a:noFill/>
          </a:ln>
          <a:effectLst/>
        </p:spPr>
        <p:style>
          <a:lnRef idx="1">
            <a:schemeClr val="accent1"/>
          </a:lnRef>
          <a:fillRef idx="3">
            <a:schemeClr val="accent1"/>
          </a:fillRef>
          <a:effectRef idx="2">
            <a:schemeClr val="accent1"/>
          </a:effectRef>
          <a:fontRef idx="minor">
            <a:schemeClr val="lt1"/>
          </a:fontRef>
        </p:style>
        <p:txBody>
          <a:bodyPr anchor="b">
            <a:normAutofit/>
          </a:bodyPr>
          <a:lstStyle/>
          <a:p>
            <a:pPr algn="ctr"/>
            <a:r>
              <a:rPr lang="en-US" sz="2500" dirty="0"/>
              <a:t>06</a:t>
            </a:r>
            <a:endParaRPr lang="en-US" sz="2500" dirty="0"/>
          </a:p>
        </p:txBody>
      </p:sp>
      <p:sp>
        <p:nvSpPr>
          <p:cNvPr id="58" name="矩形 57"/>
          <p:cNvSpPr/>
          <p:nvPr/>
        </p:nvSpPr>
        <p:spPr>
          <a:xfrm>
            <a:off x="8956369" y="3984127"/>
            <a:ext cx="2706713" cy="301468"/>
          </a:xfrm>
          <a:prstGeom prst="rect">
            <a:avLst/>
          </a:prstGeom>
          <a:noFill/>
          <a:ln w="25400" cap="flat">
            <a:noFill/>
            <a:miter lim="400000"/>
          </a:ln>
          <a:effectLst/>
        </p:spPr>
        <p:txBody>
          <a:bodyPr wrap="none" lIns="0" tIns="0" rIns="0" bIns="0" anchor="t">
            <a:normAutofit/>
          </a:bodyPr>
          <a:lstStyle/>
          <a:p>
            <a:pPr marL="0" lvl="1"/>
            <a:r>
              <a:rPr lang="zh-CN" altLang="en-US" b="1" dirty="0">
                <a:solidFill>
                  <a:schemeClr val="accent1">
                    <a:lumMod val="75000"/>
                  </a:schemeClr>
                </a:solidFill>
              </a:rPr>
              <a:t>标题文本预设</a:t>
            </a:r>
            <a:endParaRPr lang="zh-CN" altLang="en-US" b="1" dirty="0">
              <a:solidFill>
                <a:schemeClr val="accent1">
                  <a:lumMod val="75000"/>
                </a:schemeClr>
              </a:solidFill>
            </a:endParaRPr>
          </a:p>
        </p:txBody>
      </p:sp>
      <p:sp>
        <p:nvSpPr>
          <p:cNvPr id="59" name="矩形 58"/>
          <p:cNvSpPr/>
          <p:nvPr/>
        </p:nvSpPr>
        <p:spPr>
          <a:xfrm>
            <a:off x="4349081" y="4625789"/>
            <a:ext cx="3466133" cy="1506070"/>
          </a:xfrm>
          <a:prstGeom prst="rect">
            <a:avLst/>
          </a:prstGeom>
          <a:noFill/>
          <a:ln w="25400" cap="flat">
            <a:noFill/>
            <a:miter lim="400000"/>
          </a:ln>
          <a:effectLst/>
        </p:spPr>
        <p:txBody>
          <a:bodyPr wrap="none" lIns="0" tIns="0" rIns="0" bIns="0" anchor="t">
            <a:normAutofit/>
          </a:bodyPr>
          <a:lstStyle/>
          <a:p>
            <a:pPr marL="0" lvl="1">
              <a:lnSpc>
                <a:spcPct val="120000"/>
              </a:lnSpc>
            </a:pPr>
            <a:r>
              <a:rPr lang="zh-CN" altLang="en-US" sz="1400" dirty="0">
                <a:solidFill>
                  <a:schemeClr val="bg1">
                    <a:lumMod val="50000"/>
                  </a:schemeClr>
                </a:solidFill>
              </a:rPr>
              <a:t>此部分内容作为文字排版占位显示</a:t>
            </a:r>
            <a:endParaRPr lang="zh-CN" altLang="en-US" sz="1400" dirty="0">
              <a:solidFill>
                <a:schemeClr val="bg1">
                  <a:lumMod val="50000"/>
                </a:schemeClr>
              </a:solidFill>
            </a:endParaRPr>
          </a:p>
          <a:p>
            <a:pPr marL="0" lvl="1">
              <a:lnSpc>
                <a:spcPct val="120000"/>
              </a:lnSpc>
            </a:pPr>
            <a:r>
              <a:rPr lang="zh-CN" altLang="en-US" sz="1400" dirty="0">
                <a:solidFill>
                  <a:schemeClr val="bg1">
                    <a:lumMod val="50000"/>
                  </a:schemeClr>
                </a:solidFill>
              </a:rPr>
              <a:t>（建议使用主题字体）</a:t>
            </a:r>
            <a:endParaRPr lang="zh-CN" altLang="en-US" sz="1400" dirty="0">
              <a:solidFill>
                <a:schemeClr val="bg1">
                  <a:lumMod val="50000"/>
                </a:schemeClr>
              </a:solidFill>
            </a:endParaRPr>
          </a:p>
        </p:txBody>
      </p:sp>
      <p:sp>
        <p:nvSpPr>
          <p:cNvPr id="60" name="矩形 59"/>
          <p:cNvSpPr/>
          <p:nvPr/>
        </p:nvSpPr>
        <p:spPr>
          <a:xfrm>
            <a:off x="8253424" y="4625789"/>
            <a:ext cx="3466133" cy="1506070"/>
          </a:xfrm>
          <a:prstGeom prst="rect">
            <a:avLst/>
          </a:prstGeom>
          <a:noFill/>
          <a:ln w="25400" cap="flat">
            <a:noFill/>
            <a:miter lim="400000"/>
          </a:ln>
          <a:effectLst/>
        </p:spPr>
        <p:txBody>
          <a:bodyPr wrap="none" lIns="0" tIns="0" rIns="0" bIns="0" anchor="t">
            <a:normAutofit/>
          </a:bodyPr>
          <a:lstStyle/>
          <a:p>
            <a:pPr marL="0" lvl="1">
              <a:lnSpc>
                <a:spcPct val="120000"/>
              </a:lnSpc>
            </a:pPr>
            <a:r>
              <a:rPr lang="zh-CN" altLang="en-US" sz="1400" dirty="0">
                <a:solidFill>
                  <a:schemeClr val="bg1">
                    <a:lumMod val="50000"/>
                  </a:schemeClr>
                </a:solidFill>
              </a:rPr>
              <a:t>此部分内容作为文字排版占位显示</a:t>
            </a:r>
            <a:endParaRPr lang="zh-CN" altLang="en-US" sz="1400" dirty="0">
              <a:solidFill>
                <a:schemeClr val="bg1">
                  <a:lumMod val="50000"/>
                </a:schemeClr>
              </a:solidFill>
            </a:endParaRPr>
          </a:p>
          <a:p>
            <a:pPr marL="0" lvl="1">
              <a:lnSpc>
                <a:spcPct val="120000"/>
              </a:lnSpc>
            </a:pPr>
            <a:r>
              <a:rPr lang="zh-CN" altLang="en-US" sz="1400" dirty="0">
                <a:solidFill>
                  <a:schemeClr val="bg1">
                    <a:lumMod val="50000"/>
                  </a:schemeClr>
                </a:solidFill>
              </a:rPr>
              <a:t>（建议使用主题字体）</a:t>
            </a:r>
            <a:endParaRPr lang="zh-CN" altLang="en-US" sz="1400" dirty="0">
              <a:solidFill>
                <a:schemeClr val="bg1">
                  <a:lumMod val="50000"/>
                </a:schemeClr>
              </a:solidFill>
            </a:endParaRPr>
          </a:p>
        </p:txBody>
      </p:sp>
      <p:sp>
        <p:nvSpPr>
          <p:cNvPr id="3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33" name="图片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custDataLst>
              <p:tags r:id="rId1"/>
            </p:custDataLst>
          </p:nvPr>
        </p:nvSpPr>
        <p:spPr bwMode="gray">
          <a:xfrm>
            <a:off x="2563039" y="1229011"/>
            <a:ext cx="7072913" cy="468140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err="1">
              <a:solidFill>
                <a:schemeClr val="tx1"/>
              </a:solidFill>
              <a:latin typeface="+mj-lt"/>
              <a:ea typeface="+mj-ea"/>
            </a:endParaRPr>
          </a:p>
        </p:txBody>
      </p:sp>
      <p:sp>
        <p:nvSpPr>
          <p:cNvPr id="5" name="Rectangle 14"/>
          <p:cNvSpPr txBox="1"/>
          <p:nvPr/>
        </p:nvSpPr>
        <p:spPr>
          <a:xfrm>
            <a:off x="4487850" y="1453408"/>
            <a:ext cx="4043787" cy="28844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r>
              <a:rPr lang="zh-CN" altLang="en-US" sz="1835" b="1" dirty="0">
                <a:latin typeface="+mj-lt"/>
                <a:ea typeface="+mj-ea"/>
              </a:rPr>
              <a:t>描述</a:t>
            </a:r>
            <a:endParaRPr lang="en-US" sz="1835" b="1" dirty="0">
              <a:latin typeface="+mj-lt"/>
              <a:ea typeface="+mj-ea"/>
            </a:endParaRPr>
          </a:p>
        </p:txBody>
      </p:sp>
      <p:cxnSp>
        <p:nvCxnSpPr>
          <p:cNvPr id="6" name="Straight Connector 5"/>
          <p:cNvCxnSpPr/>
          <p:nvPr/>
        </p:nvCxnSpPr>
        <p:spPr>
          <a:xfrm>
            <a:off x="4487849" y="1790315"/>
            <a:ext cx="485007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2814397" y="1906937"/>
            <a:ext cx="6523522" cy="1671840"/>
            <a:chOff x="1264444" y="1798638"/>
            <a:chExt cx="6393656" cy="914400"/>
          </a:xfrm>
        </p:grpSpPr>
        <p:sp>
          <p:nvSpPr>
            <p:cNvPr id="4" name="TextBox 5"/>
            <p:cNvSpPr txBox="1"/>
            <p:nvPr>
              <p:custDataLst>
                <p:tags r:id="rId2"/>
              </p:custDataLst>
            </p:nvPr>
          </p:nvSpPr>
          <p:spPr>
            <a:xfrm>
              <a:off x="1264444" y="1798638"/>
              <a:ext cx="1398838" cy="914400"/>
            </a:xfrm>
            <a:prstGeom prst="rect">
              <a:avLst/>
            </a:prstGeom>
            <a:solidFill>
              <a:srgbClr val="FE5817"/>
            </a:solidFill>
            <a:ln w="9525">
              <a:solidFill>
                <a:schemeClr val="accent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748" tIns="77748" rIns="77748" bIns="77748" numCol="1" anchor="ctr" anchorCtr="0" compatLnSpc="1">
              <a:no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r>
                <a:rPr lang="zh-CN" altLang="en-US" sz="1835" b="1" dirty="0" smtClean="0">
                  <a:solidFill>
                    <a:schemeClr val="bg1"/>
                  </a:solidFill>
                  <a:latin typeface="+mj-lt"/>
                  <a:ea typeface="+mj-ea"/>
                </a:rPr>
                <a:t>工具模板</a:t>
              </a:r>
              <a:endParaRPr lang="en-US" sz="1835" b="1" dirty="0">
                <a:solidFill>
                  <a:schemeClr val="bg1"/>
                </a:solidFill>
                <a:latin typeface="+mj-lt"/>
                <a:ea typeface="+mj-ea"/>
              </a:endParaRPr>
            </a:p>
          </p:txBody>
        </p:sp>
        <p:sp>
          <p:nvSpPr>
            <p:cNvPr id="7" name="Rectangle 14"/>
            <p:cNvSpPr txBox="1"/>
            <p:nvPr/>
          </p:nvSpPr>
          <p:spPr>
            <a:xfrm>
              <a:off x="2904582" y="1798638"/>
              <a:ext cx="4753518" cy="55415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altLang="zh-CN" sz="1835" dirty="0" smtClean="0">
                  <a:latin typeface="+mj-lt"/>
                  <a:ea typeface="+mj-ea"/>
                </a:rPr>
                <a:t>P4</a:t>
              </a:r>
              <a:r>
                <a:rPr lang="zh-CN" altLang="en-US" sz="1835" dirty="0" smtClean="0">
                  <a:latin typeface="+mj-lt"/>
                  <a:ea typeface="+mj-ea"/>
                </a:rPr>
                <a:t>目录页中右键点击目录相应板块，选打开超链接可直接跳转到对应页面</a:t>
              </a:r>
              <a:endParaRPr lang="en-US" altLang="zh-CN" sz="1835" dirty="0">
                <a:latin typeface="+mj-lt"/>
                <a:ea typeface="+mj-ea"/>
              </a:endParaRPr>
            </a:p>
          </p:txBody>
        </p:sp>
      </p:grpSp>
      <p:grpSp>
        <p:nvGrpSpPr>
          <p:cNvPr id="15" name="Group 14"/>
          <p:cNvGrpSpPr/>
          <p:nvPr/>
        </p:nvGrpSpPr>
        <p:grpSpPr>
          <a:xfrm>
            <a:off x="2814397" y="3854316"/>
            <a:ext cx="6523522" cy="1671840"/>
            <a:chOff x="1264444" y="2890838"/>
            <a:chExt cx="6393656" cy="914400"/>
          </a:xfrm>
        </p:grpSpPr>
        <p:sp>
          <p:nvSpPr>
            <p:cNvPr id="8" name="TextBox 5"/>
            <p:cNvSpPr txBox="1"/>
            <p:nvPr>
              <p:custDataLst>
                <p:tags r:id="rId3"/>
              </p:custDataLst>
            </p:nvPr>
          </p:nvSpPr>
          <p:spPr>
            <a:xfrm>
              <a:off x="1264444" y="2890838"/>
              <a:ext cx="1398838" cy="914400"/>
            </a:xfrm>
            <a:prstGeom prst="rect">
              <a:avLst/>
            </a:prstGeom>
            <a:solidFill>
              <a:srgbClr val="FE5817"/>
            </a:solidFill>
            <a:ln w="9525">
              <a:solidFill>
                <a:schemeClr val="accent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748" tIns="77748" rIns="77748" bIns="77748" numCol="1" anchor="ctr" anchorCtr="0" compatLnSpc="1">
              <a:no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r>
                <a:rPr lang="zh-CN" altLang="en-US" sz="1835" b="1" dirty="0" smtClean="0">
                  <a:solidFill>
                    <a:schemeClr val="bg1"/>
                  </a:solidFill>
                  <a:latin typeface="+mj-lt"/>
                  <a:ea typeface="+mj-ea"/>
                </a:rPr>
                <a:t>分析模板</a:t>
              </a:r>
              <a:endParaRPr lang="en-US" sz="1835" b="1" dirty="0">
                <a:solidFill>
                  <a:schemeClr val="bg1"/>
                </a:solidFill>
                <a:latin typeface="+mj-lt"/>
                <a:ea typeface="+mj-ea"/>
              </a:endParaRPr>
            </a:p>
          </p:txBody>
        </p:sp>
        <p:sp>
          <p:nvSpPr>
            <p:cNvPr id="9" name="Rectangle 14"/>
            <p:cNvSpPr txBox="1"/>
            <p:nvPr/>
          </p:nvSpPr>
          <p:spPr>
            <a:xfrm>
              <a:off x="2904582" y="2890838"/>
              <a:ext cx="4753518" cy="83123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altLang="zh-CN" sz="1835" dirty="0" smtClean="0">
                  <a:latin typeface="+mj-lt"/>
                  <a:ea typeface="+mj-ea"/>
                </a:rPr>
                <a:t>P75</a:t>
              </a:r>
              <a:r>
                <a:rPr lang="zh-CN" altLang="en-US" sz="1835" dirty="0"/>
                <a:t>右键点击目录相应板块，选打开超链接可直接跳转到对应页面</a:t>
              </a:r>
              <a:endParaRPr lang="en-US" altLang="zh-CN" sz="1835" dirty="0"/>
            </a:p>
            <a:p>
              <a:pPr lvl="1"/>
              <a:r>
                <a:rPr lang="zh-CN" altLang="en-US" sz="1835" dirty="0" smtClean="0">
                  <a:latin typeface="+mj-lt"/>
                  <a:ea typeface="+mj-ea"/>
                </a:rPr>
                <a:t>可直接在查找中搜索关键字</a:t>
              </a:r>
              <a:endParaRPr lang="en-US" sz="1835" dirty="0">
                <a:latin typeface="+mj-lt"/>
                <a:ea typeface="+mj-ea"/>
              </a:endParaRPr>
            </a:p>
          </p:txBody>
        </p:sp>
      </p:grpSp>
      <p:cxnSp>
        <p:nvCxnSpPr>
          <p:cNvPr id="10" name="Straight Connector 9"/>
          <p:cNvCxnSpPr/>
          <p:nvPr/>
        </p:nvCxnSpPr>
        <p:spPr>
          <a:xfrm>
            <a:off x="4487849" y="3690009"/>
            <a:ext cx="485007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7" name="McK 5. Source"/>
          <p:cNvSpPr>
            <a:spLocks noChangeArrowheads="1"/>
          </p:cNvSpPr>
          <p:nvPr/>
        </p:nvSpPr>
        <p:spPr bwMode="auto">
          <a:xfrm>
            <a:off x="1645751" y="6564117"/>
            <a:ext cx="7002157"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665" indent="-621665" defTabSz="913765">
              <a:tabLst>
                <a:tab pos="624840" algn="l"/>
              </a:tabLst>
            </a:pPr>
            <a:r>
              <a:rPr lang="zh-CN" altLang="en-US" sz="1020" dirty="0"/>
              <a:t>资料来源：小组分析</a:t>
            </a:r>
            <a:endParaRPr lang="en-US" altLang="zh-CN" sz="1020" dirty="0"/>
          </a:p>
        </p:txBody>
      </p:sp>
      <p:sp>
        <p:nvSpPr>
          <p:cNvPr id="19"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t>本</a:t>
            </a:r>
            <a:r>
              <a:rPr lang="zh-CN" altLang="en-US" sz="2400" dirty="0" smtClean="0"/>
              <a:t>模板操作指引</a:t>
            </a:r>
            <a:endParaRPr lang="zh-CN" altLang="en-US" sz="2400" dirty="0">
              <a:solidFill>
                <a:prstClr val="black"/>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736" name="think-cell Slide" r:id="rId2" imgW="12700" imgH="12700" progId="TCLayout.ActiveDocument.1">
                  <p:embed/>
                </p:oleObj>
              </mc:Choice>
              <mc:Fallback>
                <p:oleObj name="think-cell Slide" r:id="rId2" imgW="12700" imgH="12700" progId="TCLayout.ActiveDocument.1">
                  <p:embed/>
                  <p:pic>
                    <p:nvPicPr>
                      <p:cNvPr id="0" name="对象 5"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5" name="矩形 4"/>
          <p:cNvSpPr/>
          <p:nvPr/>
        </p:nvSpPr>
        <p:spPr>
          <a:xfrm>
            <a:off x="347472" y="1273432"/>
            <a:ext cx="3703320" cy="2321500"/>
          </a:xfrm>
          <a:prstGeom prst="rect">
            <a:avLst/>
          </a:prstGeom>
          <a:solidFill>
            <a:schemeClr val="bg1"/>
          </a:solidFill>
          <a:ln w="6350" cap="rnd" cmpd="sng" algn="ctr">
            <a:solidFill>
              <a:schemeClr val="tx1">
                <a:lumMod val="75000"/>
                <a:lumOff val="2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8" name="梯形 7"/>
          <p:cNvSpPr/>
          <p:nvPr/>
        </p:nvSpPr>
        <p:spPr>
          <a:xfrm>
            <a:off x="525672" y="923807"/>
            <a:ext cx="2405922" cy="419999"/>
          </a:xfrm>
          <a:prstGeom prst="trapezoid">
            <a:avLst>
              <a:gd name="adj" fmla="val 24322"/>
            </a:avLst>
          </a:prstGeom>
          <a:solidFill>
            <a:srgbClr val="FE5817"/>
          </a:solidFill>
          <a:ln w="1270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smtClean="0">
                <a:solidFill>
                  <a:schemeClr val="bg1"/>
                </a:solidFill>
              </a:rPr>
              <a:t>XX</a:t>
            </a:r>
            <a:endParaRPr lang="zh-CN" altLang="en-US" b="1" dirty="0">
              <a:solidFill>
                <a:schemeClr val="bg1"/>
              </a:solidFill>
            </a:endParaRPr>
          </a:p>
        </p:txBody>
      </p:sp>
      <p:sp>
        <p:nvSpPr>
          <p:cNvPr id="9" name="矩形 8"/>
          <p:cNvSpPr/>
          <p:nvPr/>
        </p:nvSpPr>
        <p:spPr>
          <a:xfrm>
            <a:off x="347472" y="1410162"/>
            <a:ext cx="3703320" cy="2062103"/>
          </a:xfrm>
          <a:prstGeom prst="rect">
            <a:avLst/>
          </a:prstGeom>
          <a:noFill/>
        </p:spPr>
        <p:txBody>
          <a:bodyPr wrap="square">
            <a:noAutofit/>
          </a:bodyPr>
          <a:lstStyle/>
          <a:p>
            <a:pPr marL="182880" lvl="0" indent="-182880">
              <a:buFont typeface="Arial" panose="020B0604020202020204" pitchFamily="34" charset="0"/>
              <a:buChar char="•"/>
            </a:pPr>
            <a:r>
              <a:rPr lang="en-US" altLang="zh-CN" sz="1600" dirty="0" smtClean="0"/>
              <a:t>XXX</a:t>
            </a:r>
            <a:endParaRPr lang="en-US" altLang="zh-CN" sz="1600" dirty="0" smtClean="0"/>
          </a:p>
        </p:txBody>
      </p:sp>
      <p:sp>
        <p:nvSpPr>
          <p:cNvPr id="10" name="矩形 9"/>
          <p:cNvSpPr/>
          <p:nvPr/>
        </p:nvSpPr>
        <p:spPr>
          <a:xfrm>
            <a:off x="4336495" y="1251019"/>
            <a:ext cx="3703320" cy="2343913"/>
          </a:xfrm>
          <a:prstGeom prst="rect">
            <a:avLst/>
          </a:prstGeom>
          <a:solidFill>
            <a:schemeClr val="bg1"/>
          </a:solidFill>
          <a:ln w="6350" cap="rnd" cmpd="sng" algn="ctr">
            <a:solidFill>
              <a:schemeClr val="tx1">
                <a:lumMod val="75000"/>
                <a:lumOff val="2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12" name="矩形 11"/>
          <p:cNvSpPr/>
          <p:nvPr/>
        </p:nvSpPr>
        <p:spPr>
          <a:xfrm>
            <a:off x="4338611" y="1410162"/>
            <a:ext cx="3701204" cy="2062103"/>
          </a:xfrm>
          <a:prstGeom prst="rect">
            <a:avLst/>
          </a:prstGeom>
        </p:spPr>
        <p:txBody>
          <a:bodyPr wrap="square">
            <a:noAutofit/>
          </a:bodyPr>
          <a:lstStyle/>
          <a:p>
            <a:pPr marL="182880" indent="-182880">
              <a:spcAft>
                <a:spcPts val="600"/>
              </a:spcAft>
              <a:buFont typeface="Arial" panose="020B0604020202020204" pitchFamily="34" charset="0"/>
              <a:buChar char="•"/>
            </a:pPr>
            <a:r>
              <a:rPr lang="en-US" altLang="zh-CN" sz="1600" dirty="0" smtClean="0"/>
              <a:t>XX</a:t>
            </a:r>
            <a:endParaRPr lang="zh-CN" altLang="zh-CN" sz="1600" dirty="0"/>
          </a:p>
        </p:txBody>
      </p:sp>
      <p:sp>
        <p:nvSpPr>
          <p:cNvPr id="28" name="梯形 27"/>
          <p:cNvSpPr/>
          <p:nvPr/>
        </p:nvSpPr>
        <p:spPr>
          <a:xfrm>
            <a:off x="4560344" y="923807"/>
            <a:ext cx="2405922" cy="419999"/>
          </a:xfrm>
          <a:prstGeom prst="trapezoid">
            <a:avLst>
              <a:gd name="adj" fmla="val 24322"/>
            </a:avLst>
          </a:prstGeom>
          <a:solidFill>
            <a:srgbClr val="FE5817"/>
          </a:solidFill>
          <a:ln w="1270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smtClean="0">
                <a:solidFill>
                  <a:schemeClr val="bg1"/>
                </a:solidFill>
              </a:rPr>
              <a:t>XX</a:t>
            </a:r>
            <a:endParaRPr lang="zh-CN" altLang="en-US" b="1" dirty="0">
              <a:solidFill>
                <a:schemeClr val="bg1"/>
              </a:solidFill>
            </a:endParaRPr>
          </a:p>
        </p:txBody>
      </p:sp>
      <p:sp>
        <p:nvSpPr>
          <p:cNvPr id="13" name="矩形 12"/>
          <p:cNvSpPr/>
          <p:nvPr/>
        </p:nvSpPr>
        <p:spPr>
          <a:xfrm>
            <a:off x="8267793" y="1254895"/>
            <a:ext cx="3703320" cy="2340038"/>
          </a:xfrm>
          <a:prstGeom prst="rect">
            <a:avLst/>
          </a:prstGeom>
          <a:solidFill>
            <a:schemeClr val="bg1"/>
          </a:solidFill>
          <a:ln w="6350" cap="rnd" cmpd="sng" algn="ctr">
            <a:solidFill>
              <a:schemeClr val="tx1">
                <a:lumMod val="75000"/>
                <a:lumOff val="2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15" name="矩形 14"/>
          <p:cNvSpPr/>
          <p:nvPr/>
        </p:nvSpPr>
        <p:spPr>
          <a:xfrm>
            <a:off x="8267793" y="1410162"/>
            <a:ext cx="3698530" cy="2062103"/>
          </a:xfrm>
          <a:prstGeom prst="rect">
            <a:avLst/>
          </a:prstGeom>
        </p:spPr>
        <p:txBody>
          <a:bodyPr wrap="square">
            <a:noAutofit/>
          </a:bodyPr>
          <a:lstStyle/>
          <a:p>
            <a:pPr marL="182880" lvl="0" indent="-182880">
              <a:buFont typeface="Arial" panose="020B0604020202020204" pitchFamily="34" charset="0"/>
              <a:buChar char="•"/>
            </a:pPr>
            <a:r>
              <a:rPr lang="en-US" altLang="zh-CN" sz="1600" b="1" dirty="0" smtClean="0"/>
              <a:t>XX</a:t>
            </a:r>
            <a:endParaRPr lang="en-US" altLang="zh-CN" sz="1600" dirty="0"/>
          </a:p>
        </p:txBody>
      </p:sp>
      <p:sp>
        <p:nvSpPr>
          <p:cNvPr id="30" name="梯形 29"/>
          <p:cNvSpPr/>
          <p:nvPr/>
        </p:nvSpPr>
        <p:spPr>
          <a:xfrm>
            <a:off x="8604443" y="923807"/>
            <a:ext cx="2405922" cy="419999"/>
          </a:xfrm>
          <a:prstGeom prst="trapezoid">
            <a:avLst>
              <a:gd name="adj" fmla="val 24322"/>
            </a:avLst>
          </a:prstGeom>
          <a:solidFill>
            <a:srgbClr val="FE5817"/>
          </a:solidFill>
          <a:ln w="1270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smtClean="0">
                <a:solidFill>
                  <a:schemeClr val="bg1"/>
                </a:solidFill>
              </a:rPr>
              <a:t>XX</a:t>
            </a:r>
            <a:endParaRPr lang="zh-CN" altLang="en-US" b="1" dirty="0">
              <a:solidFill>
                <a:schemeClr val="bg1"/>
              </a:solidFill>
            </a:endParaRPr>
          </a:p>
        </p:txBody>
      </p:sp>
      <p:sp>
        <p:nvSpPr>
          <p:cNvPr id="16" name="矩形 15"/>
          <p:cNvSpPr/>
          <p:nvPr/>
        </p:nvSpPr>
        <p:spPr>
          <a:xfrm>
            <a:off x="347472" y="4162885"/>
            <a:ext cx="3703320" cy="1946223"/>
          </a:xfrm>
          <a:prstGeom prst="rect">
            <a:avLst/>
          </a:prstGeom>
          <a:solidFill>
            <a:schemeClr val="bg1"/>
          </a:solidFill>
          <a:ln w="6350" cap="rnd" cmpd="sng" algn="ctr">
            <a:solidFill>
              <a:schemeClr val="tx1">
                <a:lumMod val="75000"/>
                <a:lumOff val="2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18" name="矩形 17"/>
          <p:cNvSpPr/>
          <p:nvPr/>
        </p:nvSpPr>
        <p:spPr>
          <a:xfrm>
            <a:off x="347472" y="4389928"/>
            <a:ext cx="3703320" cy="1459508"/>
          </a:xfrm>
          <a:prstGeom prst="rect">
            <a:avLst/>
          </a:prstGeom>
        </p:spPr>
        <p:txBody>
          <a:bodyPr wrap="square">
            <a:noAutofit/>
          </a:bodyPr>
          <a:lstStyle/>
          <a:p>
            <a:pPr marL="182880" indent="-182880">
              <a:buFont typeface="Arial" panose="020B0604020202020204" pitchFamily="34" charset="0"/>
              <a:buChar char="•"/>
            </a:pPr>
            <a:r>
              <a:rPr lang="en-US" altLang="zh-CN" sz="1600" dirty="0" smtClean="0"/>
              <a:t>XX</a:t>
            </a:r>
            <a:endParaRPr lang="zh-CN" altLang="zh-CN" sz="1600" dirty="0"/>
          </a:p>
        </p:txBody>
      </p:sp>
      <p:sp>
        <p:nvSpPr>
          <p:cNvPr id="19" name="矩形 18"/>
          <p:cNvSpPr/>
          <p:nvPr/>
        </p:nvSpPr>
        <p:spPr>
          <a:xfrm>
            <a:off x="4338610" y="4162885"/>
            <a:ext cx="3703320" cy="1946223"/>
          </a:xfrm>
          <a:prstGeom prst="rect">
            <a:avLst/>
          </a:prstGeom>
          <a:solidFill>
            <a:schemeClr val="bg1"/>
          </a:solidFill>
          <a:ln w="6350" cap="rnd" cmpd="sng" algn="ctr">
            <a:solidFill>
              <a:schemeClr val="tx1">
                <a:lumMod val="75000"/>
                <a:lumOff val="2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600" dirty="0">
              <a:solidFill>
                <a:schemeClr val="tx1"/>
              </a:solidFill>
            </a:endParaRPr>
          </a:p>
        </p:txBody>
      </p:sp>
      <p:sp>
        <p:nvSpPr>
          <p:cNvPr id="21" name="矩形 20"/>
          <p:cNvSpPr/>
          <p:nvPr/>
        </p:nvSpPr>
        <p:spPr>
          <a:xfrm>
            <a:off x="4338611" y="4389928"/>
            <a:ext cx="3701204" cy="1459508"/>
          </a:xfrm>
          <a:prstGeom prst="rect">
            <a:avLst/>
          </a:prstGeom>
        </p:spPr>
        <p:txBody>
          <a:bodyPr wrap="square">
            <a:noAutofit/>
          </a:bodyPr>
          <a:lstStyle/>
          <a:p>
            <a:pPr marL="182880" indent="-182880">
              <a:buFont typeface="Arial" panose="020B0604020202020204" pitchFamily="34" charset="0"/>
              <a:buChar char="•"/>
            </a:pPr>
            <a:r>
              <a:rPr lang="en-US" altLang="zh-CN" sz="1600" dirty="0" smtClean="0"/>
              <a:t>XX</a:t>
            </a:r>
            <a:endParaRPr lang="zh-CN" altLang="zh-CN" sz="1600" dirty="0"/>
          </a:p>
        </p:txBody>
      </p:sp>
      <p:sp>
        <p:nvSpPr>
          <p:cNvPr id="22" name="矩形 21"/>
          <p:cNvSpPr/>
          <p:nvPr/>
        </p:nvSpPr>
        <p:spPr>
          <a:xfrm>
            <a:off x="8267794" y="4162885"/>
            <a:ext cx="3703320" cy="1946223"/>
          </a:xfrm>
          <a:prstGeom prst="rect">
            <a:avLst/>
          </a:prstGeom>
          <a:solidFill>
            <a:schemeClr val="bg1"/>
          </a:solidFill>
          <a:ln w="6350" cap="rnd" cmpd="sng" algn="ctr">
            <a:solidFill>
              <a:schemeClr val="tx1">
                <a:lumMod val="75000"/>
                <a:lumOff val="2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a:solidFill>
                <a:schemeClr val="tx1"/>
              </a:solidFill>
            </a:endParaRPr>
          </a:p>
        </p:txBody>
      </p:sp>
      <p:sp>
        <p:nvSpPr>
          <p:cNvPr id="24" name="矩形 23"/>
          <p:cNvSpPr/>
          <p:nvPr/>
        </p:nvSpPr>
        <p:spPr>
          <a:xfrm>
            <a:off x="8267794" y="4389928"/>
            <a:ext cx="3703320" cy="1459508"/>
          </a:xfrm>
          <a:prstGeom prst="rect">
            <a:avLst/>
          </a:prstGeom>
        </p:spPr>
        <p:txBody>
          <a:bodyPr wrap="square">
            <a:noAutofit/>
          </a:bodyPr>
          <a:lstStyle/>
          <a:p>
            <a:pPr marL="182880" indent="-182880">
              <a:buFont typeface="Arial" panose="020B0604020202020204" pitchFamily="34" charset="0"/>
              <a:buChar char="•"/>
            </a:pPr>
            <a:r>
              <a:rPr lang="en-US" altLang="zh-CN" sz="1600" dirty="0" smtClean="0"/>
              <a:t>XX</a:t>
            </a:r>
            <a:endParaRPr lang="zh-CN" altLang="zh-CN" sz="1600" dirty="0"/>
          </a:p>
        </p:txBody>
      </p:sp>
      <p:sp>
        <p:nvSpPr>
          <p:cNvPr id="33" name="梯形 32"/>
          <p:cNvSpPr/>
          <p:nvPr/>
        </p:nvSpPr>
        <p:spPr>
          <a:xfrm>
            <a:off x="525672" y="3828372"/>
            <a:ext cx="2405922" cy="419999"/>
          </a:xfrm>
          <a:prstGeom prst="trapezoid">
            <a:avLst>
              <a:gd name="adj" fmla="val 24322"/>
            </a:avLst>
          </a:prstGeom>
          <a:solidFill>
            <a:srgbClr val="FE5817"/>
          </a:solidFill>
          <a:ln w="1270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a:solidFill>
                  <a:schemeClr val="bg1"/>
                </a:solidFill>
              </a:rPr>
              <a:t>XX</a:t>
            </a:r>
            <a:endParaRPr lang="zh-CN" altLang="en-US" b="1" dirty="0">
              <a:solidFill>
                <a:schemeClr val="bg1"/>
              </a:solidFill>
            </a:endParaRPr>
          </a:p>
        </p:txBody>
      </p:sp>
      <p:sp>
        <p:nvSpPr>
          <p:cNvPr id="34" name="梯形 33"/>
          <p:cNvSpPr/>
          <p:nvPr/>
        </p:nvSpPr>
        <p:spPr>
          <a:xfrm>
            <a:off x="4560344" y="3828372"/>
            <a:ext cx="2405922" cy="419999"/>
          </a:xfrm>
          <a:prstGeom prst="trapezoid">
            <a:avLst>
              <a:gd name="adj" fmla="val 24322"/>
            </a:avLst>
          </a:prstGeom>
          <a:solidFill>
            <a:srgbClr val="FE5817"/>
          </a:solidFill>
          <a:ln w="1270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a:solidFill>
                  <a:schemeClr val="bg1"/>
                </a:solidFill>
              </a:rPr>
              <a:t>XX</a:t>
            </a:r>
            <a:endParaRPr lang="zh-CN" altLang="en-US" b="1" dirty="0">
              <a:solidFill>
                <a:schemeClr val="bg1"/>
              </a:solidFill>
            </a:endParaRPr>
          </a:p>
        </p:txBody>
      </p:sp>
      <p:sp>
        <p:nvSpPr>
          <p:cNvPr id="36" name="梯形 35"/>
          <p:cNvSpPr/>
          <p:nvPr/>
        </p:nvSpPr>
        <p:spPr>
          <a:xfrm>
            <a:off x="8604443" y="3828372"/>
            <a:ext cx="2405922" cy="419999"/>
          </a:xfrm>
          <a:prstGeom prst="trapezoid">
            <a:avLst>
              <a:gd name="adj" fmla="val 24322"/>
            </a:avLst>
          </a:prstGeom>
          <a:solidFill>
            <a:srgbClr val="FE5817"/>
          </a:solidFill>
          <a:ln w="1270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a:solidFill>
                  <a:schemeClr val="bg1"/>
                </a:solidFill>
              </a:rPr>
              <a:t>XX</a:t>
            </a:r>
            <a:endParaRPr lang="zh-CN" altLang="en-US" b="1" dirty="0">
              <a:solidFill>
                <a:schemeClr val="bg1"/>
              </a:solidFill>
            </a:endParaRPr>
          </a:p>
        </p:txBody>
      </p:sp>
      <p:sp>
        <p:nvSpPr>
          <p:cNvPr id="26"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25" name="图片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矩形 61"/>
          <p:cNvSpPr/>
          <p:nvPr/>
        </p:nvSpPr>
        <p:spPr>
          <a:xfrm>
            <a:off x="489856" y="1912947"/>
            <a:ext cx="11255829" cy="4428000"/>
          </a:xfrm>
          <a:prstGeom prst="rect">
            <a:avLst/>
          </a:prstGeom>
          <a:solidFill>
            <a:schemeClr val="bg1"/>
          </a:solidFill>
          <a:ln w="19050"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endParaRPr>
          </a:p>
        </p:txBody>
      </p:sp>
      <p:graphicFrame>
        <p:nvGraphicFramePr>
          <p:cNvPr id="52" name="对象 5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752" name="think-cell Slide" r:id="rId2" imgW="12700" imgH="12700" progId="TCLayout.ActiveDocument.1">
                  <p:embed/>
                </p:oleObj>
              </mc:Choice>
              <mc:Fallback>
                <p:oleObj name="think-cell Slide" r:id="rId2" imgW="12700" imgH="12700" progId="TCLayout.ActiveDocument.1">
                  <p:embed/>
                  <p:pic>
                    <p:nvPicPr>
                      <p:cNvPr id="0" name="对象 51"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27" name="TextBox 82"/>
          <p:cNvSpPr txBox="1"/>
          <p:nvPr/>
        </p:nvSpPr>
        <p:spPr>
          <a:xfrm>
            <a:off x="4785770" y="3914125"/>
            <a:ext cx="2664000" cy="576000"/>
          </a:xfrm>
          <a:prstGeom prst="rect">
            <a:avLst/>
          </a:prstGeom>
          <a:noFill/>
        </p:spPr>
        <p:txBody>
          <a:bodyPr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kern="0" dirty="0" smtClean="0">
                <a:solidFill>
                  <a:prstClr val="black"/>
                </a:solidFill>
                <a:latin typeface="Arial" panose="020B0604020202020204"/>
                <a:ea typeface="华文楷体" panose="02010600040101010101" charset="-122"/>
                <a:cs typeface="+mn-ea"/>
                <a:sym typeface="+mn-lt"/>
              </a:rPr>
              <a:t>XXXX</a:t>
            </a:r>
            <a:endParaRPr kumimoji="0" lang="zh-CN" altLang="en-US" sz="180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28" name="TextBox 75"/>
          <p:cNvSpPr txBox="1"/>
          <p:nvPr/>
        </p:nvSpPr>
        <p:spPr>
          <a:xfrm>
            <a:off x="1000996" y="3914125"/>
            <a:ext cx="2664000" cy="576000"/>
          </a:xfrm>
          <a:prstGeom prst="rect">
            <a:avLst/>
          </a:prstGeom>
          <a:noFill/>
        </p:spPr>
        <p:txBody>
          <a:bodyPr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XX</a:t>
            </a:r>
            <a:endParaRPr kumimoji="0" lang="zh-CN" altLang="en-US" sz="180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29" name="TextBox 76"/>
          <p:cNvSpPr txBox="1"/>
          <p:nvPr/>
        </p:nvSpPr>
        <p:spPr>
          <a:xfrm>
            <a:off x="8581920" y="3914125"/>
            <a:ext cx="2664000" cy="576000"/>
          </a:xfrm>
          <a:prstGeom prst="rect">
            <a:avLst/>
          </a:prstGeom>
          <a:noFill/>
        </p:spPr>
        <p:txBody>
          <a:bodyPr wrap="square" lIns="36000" tIns="0" rIns="36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ea"/>
                <a:sym typeface="+mn-lt"/>
              </a:rPr>
              <a:t>XXXXX</a:t>
            </a:r>
            <a:endParaRPr kumimoji="0" lang="zh-CN" altLang="en-US" sz="1800" i="0" u="none" strike="noStrike" kern="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1" name="文本框 50"/>
          <p:cNvSpPr txBox="1"/>
          <p:nvPr/>
        </p:nvSpPr>
        <p:spPr>
          <a:xfrm>
            <a:off x="489856" y="1048657"/>
            <a:ext cx="11255829" cy="540000"/>
          </a:xfrm>
          <a:prstGeom prst="rect">
            <a:avLst/>
          </a:prstGeom>
          <a:solidFill>
            <a:srgbClr val="FFF5EF"/>
          </a:solidFill>
          <a:ln w="19050">
            <a:solidFill>
              <a:schemeClr val="accent1">
                <a:lumMod val="75000"/>
              </a:schemeClr>
            </a:solidFill>
          </a:ln>
          <a:effectLst/>
        </p:spPr>
        <p:txBody>
          <a:bodyPr wrap="none" lIns="108000" rIns="108000" rtlCol="0" anchor="ctr">
            <a:noAutofit/>
          </a:bodyPr>
          <a:lstStyle>
            <a:defPPr>
              <a:defRPr lang="en-US"/>
            </a:defPPr>
            <a:lvl1pPr>
              <a:spcBef>
                <a:spcPts val="300"/>
              </a:spcBef>
              <a:defRPr sz="2000" b="1">
                <a:solidFill>
                  <a:schemeClr val="tx1"/>
                </a:solidFill>
                <a:cs typeface="+mn-ea"/>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1"/>
            <a:r>
              <a:rPr lang="en-US" altLang="zh-CN" dirty="0"/>
              <a:t>XXXXX</a:t>
            </a:r>
            <a:endParaRPr lang="en-US" altLang="en-US" dirty="0"/>
          </a:p>
        </p:txBody>
      </p:sp>
      <p:sp>
        <p:nvSpPr>
          <p:cNvPr id="53" name="矩形 52"/>
          <p:cNvSpPr/>
          <p:nvPr/>
        </p:nvSpPr>
        <p:spPr>
          <a:xfrm>
            <a:off x="5640717" y="1696854"/>
            <a:ext cx="954107" cy="369332"/>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chemeClr val="accent1"/>
                </a:solidFill>
                <a:effectLst/>
                <a:uLnTx/>
                <a:uFillTx/>
                <a:latin typeface="Arial" panose="020B0604020202020204"/>
                <a:ea typeface="华文楷体" panose="02010600040101010101" charset="-122"/>
                <a:cs typeface="+mn-ea"/>
                <a:sym typeface="+mn-lt"/>
              </a:rPr>
              <a:t>XXXXX</a:t>
            </a:r>
            <a:endParaRPr kumimoji="0" lang="zh-CN" altLang="en-US" sz="1800" b="1" i="0" u="none" strike="noStrike" kern="1200" cap="none" spc="0" normalizeH="0" baseline="0" noProof="0" dirty="0">
              <a:ln>
                <a:noFill/>
              </a:ln>
              <a:solidFill>
                <a:schemeClr val="accent1"/>
              </a:solidFill>
              <a:effectLst/>
              <a:uLnTx/>
              <a:uFillTx/>
              <a:latin typeface="Arial" panose="020B0604020202020204"/>
              <a:ea typeface="华文楷体" panose="02010600040101010101" charset="-122"/>
              <a:cs typeface="+mn-ea"/>
              <a:sym typeface="+mn-lt"/>
            </a:endParaRPr>
          </a:p>
        </p:txBody>
      </p:sp>
      <p:sp>
        <p:nvSpPr>
          <p:cNvPr id="58" name="íṩļîdé"/>
          <p:cNvSpPr/>
          <p:nvPr/>
        </p:nvSpPr>
        <p:spPr>
          <a:xfrm rot="8100000">
            <a:off x="1718617" y="2301624"/>
            <a:ext cx="1228758" cy="1197434"/>
          </a:xfrm>
          <a:prstGeom prst="teardrop">
            <a:avLst/>
          </a:prstGeom>
          <a:solidFill>
            <a:srgbClr val="FE5817"/>
          </a:solidFill>
          <a:ln w="1270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b="1">
              <a:solidFill>
                <a:schemeClr val="bg1"/>
              </a:solidFill>
              <a:sym typeface="+mn-lt"/>
            </a:endParaRPr>
          </a:p>
        </p:txBody>
      </p:sp>
      <p:sp>
        <p:nvSpPr>
          <p:cNvPr id="26" name="îšļîďé"/>
          <p:cNvSpPr/>
          <p:nvPr/>
        </p:nvSpPr>
        <p:spPr bwMode="auto">
          <a:xfrm>
            <a:off x="1969002" y="2611800"/>
            <a:ext cx="727988" cy="529458"/>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ysClr val="window" lastClr="FFFFFF"/>
          </a:solidFill>
          <a:ln>
            <a:noFill/>
          </a:ln>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2000" b="0" i="0" u="none" strike="noStrike" kern="1200" cap="none" spc="0" normalizeH="0" baseline="0" noProof="0">
              <a:ln>
                <a:noFill/>
              </a:ln>
              <a:solidFill>
                <a:srgbClr val="575757"/>
              </a:solidFill>
              <a:effectLst/>
              <a:uLnTx/>
              <a:uFillTx/>
              <a:latin typeface="Arial" panose="020B0604020202020204"/>
              <a:ea typeface="华文楷体" panose="02010600040101010101" charset="-122"/>
              <a:cs typeface="+mn-ea"/>
              <a:sym typeface="+mn-lt"/>
            </a:endParaRPr>
          </a:p>
        </p:txBody>
      </p:sp>
      <p:sp>
        <p:nvSpPr>
          <p:cNvPr id="54" name="椭圆 53"/>
          <p:cNvSpPr/>
          <p:nvPr/>
        </p:nvSpPr>
        <p:spPr>
          <a:xfrm>
            <a:off x="2144099" y="2108872"/>
            <a:ext cx="324000" cy="324000"/>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1</a:t>
            </a:r>
            <a:endParaRPr kumimoji="0" lang="zh-CN" altLang="en-US"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35" name="íṩļîdé"/>
          <p:cNvSpPr/>
          <p:nvPr/>
        </p:nvSpPr>
        <p:spPr>
          <a:xfrm rot="8100000">
            <a:off x="5503391" y="2218185"/>
            <a:ext cx="1228758" cy="1190229"/>
          </a:xfrm>
          <a:prstGeom prst="teardrop">
            <a:avLst/>
          </a:prstGeom>
          <a:solidFill>
            <a:srgbClr val="FE5817"/>
          </a:solidFill>
          <a:ln w="1270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b="1">
              <a:solidFill>
                <a:schemeClr val="bg1"/>
              </a:solidFill>
              <a:sym typeface="+mn-lt"/>
            </a:endParaRPr>
          </a:p>
        </p:txBody>
      </p:sp>
      <p:sp>
        <p:nvSpPr>
          <p:cNvPr id="55" name="椭圆 54"/>
          <p:cNvSpPr/>
          <p:nvPr/>
        </p:nvSpPr>
        <p:spPr>
          <a:xfrm>
            <a:off x="5935366" y="2110914"/>
            <a:ext cx="324000" cy="324000"/>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2</a:t>
            </a:r>
            <a:endParaRPr kumimoji="0" lang="zh-CN" altLang="en-US"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44" name="íṩļîdé"/>
          <p:cNvSpPr/>
          <p:nvPr/>
        </p:nvSpPr>
        <p:spPr>
          <a:xfrm rot="8100000">
            <a:off x="9299541" y="2289231"/>
            <a:ext cx="1228758" cy="1197311"/>
          </a:xfrm>
          <a:prstGeom prst="teardrop">
            <a:avLst/>
          </a:prstGeom>
          <a:solidFill>
            <a:srgbClr val="FE5817"/>
          </a:solidFill>
          <a:ln w="1270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b="1">
              <a:solidFill>
                <a:schemeClr val="bg1"/>
              </a:solidFill>
              <a:sym typeface="+mn-lt"/>
            </a:endParaRPr>
          </a:p>
        </p:txBody>
      </p:sp>
      <p:sp>
        <p:nvSpPr>
          <p:cNvPr id="56" name="椭圆 55"/>
          <p:cNvSpPr/>
          <p:nvPr/>
        </p:nvSpPr>
        <p:spPr>
          <a:xfrm>
            <a:off x="9739748" y="2108906"/>
            <a:ext cx="324000" cy="324000"/>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3</a:t>
            </a:r>
            <a:endParaRPr kumimoji="0" lang="zh-CN" altLang="en-US"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12" name="矩形 11"/>
          <p:cNvSpPr/>
          <p:nvPr/>
        </p:nvSpPr>
        <p:spPr>
          <a:xfrm>
            <a:off x="514996" y="4892534"/>
            <a:ext cx="3636000" cy="338554"/>
          </a:xfrm>
          <a:prstGeom prst="rect">
            <a:avLst/>
          </a:prstGeom>
        </p:spPr>
        <p:txBody>
          <a:bodyPr wrap="square">
            <a:spAutoFit/>
          </a:bodyPr>
          <a:lstStyle/>
          <a:p>
            <a:pPr marL="393700" marR="0" lvl="1" indent="-285750" algn="l" defTabSz="914400" rtl="0" eaLnBrk="1" fontAlgn="auto" latinLnBrk="0" hangingPunct="1">
              <a:lnSpc>
                <a:spcPct val="100000"/>
              </a:lnSpc>
              <a:spcBef>
                <a:spcPts val="100"/>
              </a:spcBef>
              <a:spcAft>
                <a:spcPts val="0"/>
              </a:spcAft>
              <a:buClr>
                <a:srgbClr val="575F6D">
                  <a:lumMod val="100000"/>
                </a:srgbClr>
              </a:buClr>
              <a:buSzPct val="100000"/>
              <a:buFont typeface="Arial" panose="020B0604020202020204" pitchFamily="34" charset="0"/>
              <a:buChar char="•"/>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cs typeface="+mn-cs"/>
              </a:rPr>
              <a:t>XXXXX</a:t>
            </a:r>
            <a:endParaRPr kumimoji="0" lang="en-US" altLang="en-US"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cs typeface="+mn-cs"/>
            </a:endParaRPr>
          </a:p>
        </p:txBody>
      </p:sp>
      <p:sp>
        <p:nvSpPr>
          <p:cNvPr id="13" name="矩形 12"/>
          <p:cNvSpPr/>
          <p:nvPr/>
        </p:nvSpPr>
        <p:spPr>
          <a:xfrm>
            <a:off x="4299770" y="4892534"/>
            <a:ext cx="3636000" cy="338554"/>
          </a:xfrm>
          <a:prstGeom prst="rect">
            <a:avLst/>
          </a:prstGeom>
        </p:spPr>
        <p:txBody>
          <a:bodyPr wrap="square">
            <a:spAutoFit/>
          </a:bodyPr>
          <a:lstStyle/>
          <a:p>
            <a:pPr marL="393700" marR="0" lvl="1" indent="-285750" algn="l" defTabSz="914400" rtl="0" eaLnBrk="1" fontAlgn="auto" latinLnBrk="0" hangingPunct="1">
              <a:lnSpc>
                <a:spcPct val="100000"/>
              </a:lnSpc>
              <a:spcBef>
                <a:spcPts val="100"/>
              </a:spcBef>
              <a:spcAft>
                <a:spcPts val="0"/>
              </a:spcAft>
              <a:buClr>
                <a:srgbClr val="575F6D">
                  <a:lumMod val="100000"/>
                </a:srgbClr>
              </a:buClr>
              <a:buSzPct val="100000"/>
              <a:buFont typeface="Arial" panose="020B0604020202020204" pitchFamily="34" charset="0"/>
              <a:buChar char="•"/>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cs typeface="+mn-cs"/>
              </a:rPr>
              <a:t>XXXXX</a:t>
            </a:r>
            <a:endParaRPr kumimoji="0" lang="en-US" altLang="en-US"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cs typeface="+mn-cs"/>
            </a:endParaRPr>
          </a:p>
        </p:txBody>
      </p:sp>
      <p:sp>
        <p:nvSpPr>
          <p:cNvPr id="14" name="矩形 13"/>
          <p:cNvSpPr/>
          <p:nvPr/>
        </p:nvSpPr>
        <p:spPr>
          <a:xfrm>
            <a:off x="8095920" y="4892534"/>
            <a:ext cx="3636000" cy="338554"/>
          </a:xfrm>
          <a:prstGeom prst="rect">
            <a:avLst/>
          </a:prstGeom>
        </p:spPr>
        <p:txBody>
          <a:bodyPr wrap="square">
            <a:spAutoFit/>
          </a:bodyPr>
          <a:lstStyle/>
          <a:p>
            <a:pPr marL="393700" marR="0" lvl="1" indent="-285750" algn="l" defTabSz="914400" rtl="0" eaLnBrk="1" fontAlgn="auto" latinLnBrk="0" hangingPunct="1">
              <a:lnSpc>
                <a:spcPct val="100000"/>
              </a:lnSpc>
              <a:spcBef>
                <a:spcPts val="100"/>
              </a:spcBef>
              <a:spcAft>
                <a:spcPts val="0"/>
              </a:spcAft>
              <a:buClr>
                <a:srgbClr val="575F6D">
                  <a:lumMod val="100000"/>
                </a:srgbClr>
              </a:buClr>
              <a:buSzPct val="100000"/>
              <a:buFont typeface="Arial" panose="020B0604020202020204" pitchFamily="34" charset="0"/>
              <a:buChar char="•"/>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cs typeface="+mn-cs"/>
              </a:rPr>
              <a:t>XXXXX</a:t>
            </a:r>
            <a:endParaRPr kumimoji="0" lang="en-US" altLang="zh-CN"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cs typeface="+mn-cs"/>
            </a:endParaRPr>
          </a:p>
        </p:txBody>
      </p:sp>
      <p:sp>
        <p:nvSpPr>
          <p:cNvPr id="15" name="等腰三角形 14"/>
          <p:cNvSpPr/>
          <p:nvPr/>
        </p:nvSpPr>
        <p:spPr>
          <a:xfrm flipV="1">
            <a:off x="892636" y="4594526"/>
            <a:ext cx="2880720" cy="180677"/>
          </a:xfrm>
          <a:prstGeom prst="triangle">
            <a:avLst/>
          </a:prstGeom>
          <a:solidFill>
            <a:schemeClr val="bg1">
              <a:lumMod val="6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60" name="等腰三角形 59"/>
          <p:cNvSpPr/>
          <p:nvPr/>
        </p:nvSpPr>
        <p:spPr>
          <a:xfrm flipV="1">
            <a:off x="4677410" y="4594526"/>
            <a:ext cx="2880720" cy="180677"/>
          </a:xfrm>
          <a:prstGeom prst="triangle">
            <a:avLst/>
          </a:prstGeom>
          <a:solidFill>
            <a:schemeClr val="bg1">
              <a:lumMod val="6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61" name="等腰三角形 60"/>
          <p:cNvSpPr/>
          <p:nvPr/>
        </p:nvSpPr>
        <p:spPr>
          <a:xfrm flipV="1">
            <a:off x="8465178" y="4594526"/>
            <a:ext cx="2880720" cy="180677"/>
          </a:xfrm>
          <a:prstGeom prst="triangle">
            <a:avLst/>
          </a:prstGeom>
          <a:solidFill>
            <a:schemeClr val="bg1">
              <a:lumMod val="6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64" name="直接连接符 63"/>
          <p:cNvCxnSpPr/>
          <p:nvPr/>
        </p:nvCxnSpPr>
        <p:spPr>
          <a:xfrm>
            <a:off x="4150996" y="3981255"/>
            <a:ext cx="0" cy="223200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66" name="直接连接符 65"/>
          <p:cNvCxnSpPr/>
          <p:nvPr/>
        </p:nvCxnSpPr>
        <p:spPr>
          <a:xfrm>
            <a:off x="8074059" y="3981255"/>
            <a:ext cx="0" cy="223200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pic>
        <p:nvPicPr>
          <p:cNvPr id="79" name="图片 7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3185" y="2655463"/>
            <a:ext cx="507169" cy="494799"/>
          </a:xfrm>
          <a:prstGeom prst="rect">
            <a:avLst/>
          </a:prstGeom>
        </p:spPr>
      </p:pic>
      <p:pic>
        <p:nvPicPr>
          <p:cNvPr id="80" name="图片 7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7351" y="2576091"/>
            <a:ext cx="537590" cy="537590"/>
          </a:xfrm>
          <a:prstGeom prst="rect">
            <a:avLst/>
          </a:prstGeom>
        </p:spPr>
      </p:pic>
      <p:sp>
        <p:nvSpPr>
          <p:cNvPr id="3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30" name="图片 2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2702" name="think-cell Slide" r:id="rId2" imgW="12700" imgH="12700" progId="TCLayout.ActiveDocument.1">
                  <p:embed/>
                </p:oleObj>
              </mc:Choice>
              <mc:Fallback>
                <p:oleObj name="think-cell Slide" r:id="rId2" imgW="12700" imgH="12700" progId="TCLayout.ActiveDocument.1">
                  <p:embed/>
                  <p:pic>
                    <p:nvPicPr>
                      <p:cNvPr id="0" name="对象 9" hidden="1"/>
                      <p:cNvPicPr/>
                      <p:nvPr/>
                    </p:nvPicPr>
                    <p:blipFill>
                      <a:blip r:embed="rId3"/>
                      <a:stretch>
                        <a:fillRect/>
                      </a:stretch>
                    </p:blipFill>
                    <p:spPr>
                      <a:xfrm>
                        <a:off x="0" y="0"/>
                        <a:ext cx="158750" cy="158750"/>
                      </a:xfrm>
                      <a:prstGeom prst="rect">
                        <a:avLst/>
                      </a:prstGeom>
                    </p:spPr>
                  </p:pic>
                </p:oleObj>
              </mc:Fallback>
            </mc:AlternateContent>
          </a:graphicData>
        </a:graphic>
      </p:graphicFrame>
      <p:pic>
        <p:nvPicPr>
          <p:cNvPr id="15" name="图片 14"/>
          <p:cNvPicPr preferRelativeResize="0"/>
          <p:nvPr/>
        </p:nvPicPr>
        <p:blipFill>
          <a:blip r:embed="rId4">
            <a:extLst>
              <a:ext uri="{28A0092B-C50C-407E-A947-70E740481C1C}">
                <a14:useLocalDpi xmlns:a14="http://schemas.microsoft.com/office/drawing/2010/main" val="0"/>
              </a:ext>
            </a:extLst>
          </a:blip>
          <a:stretch>
            <a:fillRect/>
          </a:stretch>
        </p:blipFill>
        <p:spPr>
          <a:xfrm>
            <a:off x="3317632" y="1470709"/>
            <a:ext cx="2724934" cy="1513852"/>
          </a:xfrm>
          <a:prstGeom prst="rect">
            <a:avLst/>
          </a:prstGeom>
        </p:spPr>
      </p:pic>
      <p:pic>
        <p:nvPicPr>
          <p:cNvPr id="11" name="图片 10"/>
          <p:cNvPicPr preferRelativeResize="0"/>
          <p:nvPr/>
        </p:nvPicPr>
        <p:blipFill>
          <a:blip r:embed="rId5">
            <a:extLst>
              <a:ext uri="{28A0092B-C50C-407E-A947-70E740481C1C}">
                <a14:useLocalDpi xmlns:a14="http://schemas.microsoft.com/office/drawing/2010/main" val="0"/>
              </a:ext>
            </a:extLst>
          </a:blip>
          <a:stretch>
            <a:fillRect/>
          </a:stretch>
        </p:blipFill>
        <p:spPr>
          <a:xfrm>
            <a:off x="6182266" y="1470709"/>
            <a:ext cx="2724934" cy="1513852"/>
          </a:xfrm>
          <a:prstGeom prst="rect">
            <a:avLst/>
          </a:prstGeom>
        </p:spPr>
      </p:pic>
      <p:pic>
        <p:nvPicPr>
          <p:cNvPr id="12" name="图片 11"/>
          <p:cNvPicPr preferRelativeResize="0"/>
          <p:nvPr/>
        </p:nvPicPr>
        <p:blipFill>
          <a:blip r:embed="rId6">
            <a:extLst>
              <a:ext uri="{28A0092B-C50C-407E-A947-70E740481C1C}">
                <a14:useLocalDpi xmlns:a14="http://schemas.microsoft.com/office/drawing/2010/main" val="0"/>
              </a:ext>
            </a:extLst>
          </a:blip>
          <a:stretch>
            <a:fillRect/>
          </a:stretch>
        </p:blipFill>
        <p:spPr>
          <a:xfrm>
            <a:off x="9046901" y="1470709"/>
            <a:ext cx="2724934" cy="1513852"/>
          </a:xfrm>
          <a:prstGeom prst="rect">
            <a:avLst/>
          </a:prstGeom>
        </p:spPr>
      </p:pic>
      <p:grpSp>
        <p:nvGrpSpPr>
          <p:cNvPr id="9" name="组合 8"/>
          <p:cNvGrpSpPr/>
          <p:nvPr/>
        </p:nvGrpSpPr>
        <p:grpSpPr>
          <a:xfrm>
            <a:off x="452998" y="1470709"/>
            <a:ext cx="2724934" cy="1513852"/>
            <a:chOff x="452998" y="1470709"/>
            <a:chExt cx="2724934" cy="1513852"/>
          </a:xfrm>
        </p:grpSpPr>
        <p:pic>
          <p:nvPicPr>
            <p:cNvPr id="4" name="图片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2998" y="1470709"/>
              <a:ext cx="2724934" cy="1513852"/>
            </a:xfrm>
            <a:prstGeom prst="rect">
              <a:avLst/>
            </a:prstGeom>
          </p:spPr>
        </p:pic>
        <p:sp>
          <p:nvSpPr>
            <p:cNvPr id="6" name="矩形 5"/>
            <p:cNvSpPr/>
            <p:nvPr/>
          </p:nvSpPr>
          <p:spPr>
            <a:xfrm>
              <a:off x="452998" y="1470709"/>
              <a:ext cx="2724934" cy="1513852"/>
            </a:xfrm>
            <a:prstGeom prst="rect">
              <a:avLst/>
            </a:prstGeom>
            <a:solidFill>
              <a:srgbClr val="000000">
                <a:alpha val="50196"/>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latin typeface="+mj-ea"/>
                <a:ea typeface="+mj-ea"/>
                <a:cs typeface="+mn-ea"/>
                <a:sym typeface="+mn-lt"/>
              </a:endParaRPr>
            </a:p>
          </p:txBody>
        </p:sp>
      </p:grpSp>
      <p:sp>
        <p:nvSpPr>
          <p:cNvPr id="16" name="矩形 15"/>
          <p:cNvSpPr/>
          <p:nvPr>
            <p:custDataLst>
              <p:tags r:id="rId8"/>
            </p:custDataLst>
          </p:nvPr>
        </p:nvSpPr>
        <p:spPr>
          <a:xfrm>
            <a:off x="452998" y="1012414"/>
            <a:ext cx="2724934" cy="409350"/>
          </a:xfrm>
          <a:prstGeom prst="rect">
            <a:avLst/>
          </a:prstGeom>
          <a:solidFill>
            <a:srgbClr val="FE5817"/>
          </a:solidFill>
          <a:ln w="10795" cap="flat" cmpd="sng" algn="ctr">
            <a:noFill/>
            <a:prstDash val="soli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36000" bIns="0" numCol="1" spcCol="0" rtlCol="0" fromWordArt="0" anchor="ctr" anchorCtr="0" forceAA="0" compatLnSpc="1">
            <a:noAutofit/>
          </a:bodyPr>
          <a:lstStyle/>
          <a:p>
            <a:pPr algn="ctr"/>
            <a:r>
              <a:rPr lang="en-US" altLang="zh-CN" sz="2200" b="1" dirty="0" smtClean="0">
                <a:solidFill>
                  <a:schemeClr val="bg1"/>
                </a:solidFill>
                <a:latin typeface="+mj-ea"/>
                <a:ea typeface="+mj-ea"/>
                <a:cs typeface="+mn-ea"/>
                <a:sym typeface="+mn-lt"/>
              </a:rPr>
              <a:t>XXX</a:t>
            </a:r>
            <a:endParaRPr lang="en-US" altLang="zh-TW" sz="2200" b="1" dirty="0" smtClean="0">
              <a:solidFill>
                <a:schemeClr val="bg1"/>
              </a:solidFill>
              <a:latin typeface="+mj-ea"/>
              <a:ea typeface="+mj-ea"/>
              <a:cs typeface="+mn-ea"/>
              <a:sym typeface="+mn-lt"/>
            </a:endParaRPr>
          </a:p>
        </p:txBody>
      </p:sp>
      <p:sp>
        <p:nvSpPr>
          <p:cNvPr id="17" name="矩形 16"/>
          <p:cNvSpPr/>
          <p:nvPr>
            <p:custDataLst>
              <p:tags r:id="rId9"/>
            </p:custDataLst>
          </p:nvPr>
        </p:nvSpPr>
        <p:spPr>
          <a:xfrm>
            <a:off x="3317632" y="1012414"/>
            <a:ext cx="2724934" cy="409350"/>
          </a:xfrm>
          <a:prstGeom prst="rect">
            <a:avLst/>
          </a:prstGeom>
          <a:solidFill>
            <a:srgbClr val="FE5817"/>
          </a:solidFill>
          <a:ln w="10795" cap="flat" cmpd="sng" algn="ctr">
            <a:noFill/>
            <a:prstDash val="soli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36000" bIns="0" numCol="1" spcCol="0" rtlCol="0" fromWordArt="0" anchor="ctr" anchorCtr="0" forceAA="0" compatLnSpc="1">
            <a:noAutofit/>
          </a:bodyPr>
          <a:lstStyle/>
          <a:p>
            <a:pPr algn="ctr"/>
            <a:r>
              <a:rPr lang="en-US" altLang="zh-CN" sz="2200" b="1" dirty="0" smtClean="0">
                <a:solidFill>
                  <a:schemeClr val="bg1"/>
                </a:solidFill>
                <a:latin typeface="+mj-ea"/>
                <a:ea typeface="+mj-ea"/>
                <a:cs typeface="+mn-ea"/>
                <a:sym typeface="+mn-lt"/>
              </a:rPr>
              <a:t>XXX</a:t>
            </a:r>
            <a:endParaRPr lang="en-US" altLang="zh-TW" sz="2200" b="1" dirty="0">
              <a:solidFill>
                <a:schemeClr val="bg1"/>
              </a:solidFill>
              <a:latin typeface="+mj-ea"/>
              <a:ea typeface="+mj-ea"/>
              <a:cs typeface="+mn-ea"/>
              <a:sym typeface="+mn-lt"/>
            </a:endParaRPr>
          </a:p>
        </p:txBody>
      </p:sp>
      <p:sp>
        <p:nvSpPr>
          <p:cNvPr id="18" name="矩形 17"/>
          <p:cNvSpPr/>
          <p:nvPr>
            <p:custDataLst>
              <p:tags r:id="rId10"/>
            </p:custDataLst>
          </p:nvPr>
        </p:nvSpPr>
        <p:spPr>
          <a:xfrm>
            <a:off x="9046901" y="1012414"/>
            <a:ext cx="2724934" cy="409350"/>
          </a:xfrm>
          <a:prstGeom prst="rect">
            <a:avLst/>
          </a:prstGeom>
          <a:solidFill>
            <a:srgbClr val="FE5817"/>
          </a:solidFill>
          <a:ln w="10795" cap="flat" cmpd="sng" algn="ctr">
            <a:noFill/>
            <a:prstDash val="soli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36000" bIns="0" numCol="1" spcCol="0" rtlCol="0" fromWordArt="0" anchor="ctr" anchorCtr="0" forceAA="0" compatLnSpc="1">
            <a:noAutofit/>
          </a:bodyPr>
          <a:lstStyle/>
          <a:p>
            <a:pPr algn="ctr"/>
            <a:r>
              <a:rPr lang="en-US" altLang="zh-CN" sz="2200" b="1" dirty="0" smtClean="0">
                <a:solidFill>
                  <a:schemeClr val="bg1"/>
                </a:solidFill>
                <a:latin typeface="+mj-ea"/>
                <a:ea typeface="+mj-ea"/>
                <a:cs typeface="+mn-ea"/>
                <a:sym typeface="+mn-lt"/>
              </a:rPr>
              <a:t>XXX</a:t>
            </a:r>
            <a:endParaRPr lang="en-US" altLang="zh-TW" sz="2200" b="1" dirty="0">
              <a:solidFill>
                <a:schemeClr val="bg1"/>
              </a:solidFill>
              <a:latin typeface="+mj-ea"/>
              <a:ea typeface="+mj-ea"/>
              <a:cs typeface="+mn-ea"/>
              <a:sym typeface="+mn-lt"/>
            </a:endParaRPr>
          </a:p>
        </p:txBody>
      </p:sp>
      <p:sp>
        <p:nvSpPr>
          <p:cNvPr id="19" name="矩形 18"/>
          <p:cNvSpPr/>
          <p:nvPr>
            <p:custDataLst>
              <p:tags r:id="rId11"/>
            </p:custDataLst>
          </p:nvPr>
        </p:nvSpPr>
        <p:spPr>
          <a:xfrm>
            <a:off x="6182266" y="1012414"/>
            <a:ext cx="2724934" cy="409350"/>
          </a:xfrm>
          <a:prstGeom prst="rect">
            <a:avLst/>
          </a:prstGeom>
          <a:solidFill>
            <a:srgbClr val="FE5817"/>
          </a:solidFill>
          <a:ln w="10795" cap="flat" cmpd="sng" algn="ctr">
            <a:noFill/>
            <a:prstDash val="soli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36000" bIns="0" numCol="1" spcCol="0" rtlCol="0" fromWordArt="0" anchor="ctr" anchorCtr="0" forceAA="0" compatLnSpc="1">
            <a:noAutofit/>
          </a:bodyPr>
          <a:lstStyle/>
          <a:p>
            <a:pPr algn="ctr"/>
            <a:r>
              <a:rPr lang="en-US" altLang="zh-CN" sz="2200" b="1" dirty="0" smtClean="0">
                <a:solidFill>
                  <a:schemeClr val="bg1"/>
                </a:solidFill>
                <a:latin typeface="+mj-ea"/>
                <a:ea typeface="+mj-ea"/>
                <a:cs typeface="+mn-ea"/>
                <a:sym typeface="+mn-lt"/>
              </a:rPr>
              <a:t>XXX</a:t>
            </a:r>
            <a:endParaRPr lang="en-US" altLang="zh-CN" sz="2200" b="1" dirty="0" smtClean="0">
              <a:solidFill>
                <a:schemeClr val="bg1"/>
              </a:solidFill>
              <a:latin typeface="+mj-ea"/>
              <a:ea typeface="+mj-ea"/>
              <a:cs typeface="+mn-ea"/>
              <a:sym typeface="+mn-lt"/>
            </a:endParaRPr>
          </a:p>
        </p:txBody>
      </p:sp>
      <p:sp>
        <p:nvSpPr>
          <p:cNvPr id="24" name="矩形 23"/>
          <p:cNvSpPr/>
          <p:nvPr>
            <p:custDataLst>
              <p:tags r:id="rId12"/>
            </p:custDataLst>
          </p:nvPr>
        </p:nvSpPr>
        <p:spPr>
          <a:xfrm>
            <a:off x="452998" y="2999678"/>
            <a:ext cx="2724934" cy="3096322"/>
          </a:xfrm>
          <a:prstGeom prst="rect">
            <a:avLst/>
          </a:prstGeom>
          <a:gradFill flip="none" rotWithShape="1">
            <a:gsLst>
              <a:gs pos="0">
                <a:schemeClr val="accent6">
                  <a:lumMod val="5000"/>
                  <a:lumOff val="95000"/>
                </a:schemeClr>
              </a:gs>
              <a:gs pos="100000">
                <a:schemeClr val="bg1">
                  <a:lumMod val="85000"/>
                </a:schemeClr>
              </a:gs>
            </a:gsLst>
            <a:lin ang="5400000" scaled="1"/>
            <a:tileRect/>
          </a:gradFill>
        </p:spPr>
        <p:txBody>
          <a:bodyPr wrap="square" lIns="72000" tIns="144000" rIns="72000" bIns="72000">
            <a:noAutofit/>
          </a:bodyPr>
          <a:lstStyle/>
          <a:p>
            <a:pPr marL="176530" indent="-176530">
              <a:spcBef>
                <a:spcPts val="400"/>
              </a:spcBef>
              <a:buFont typeface="Arial" panose="020B0604020202020204" pitchFamily="34" charset="0"/>
              <a:buChar char="•"/>
            </a:pPr>
            <a:r>
              <a:rPr lang="en-US" altLang="zh-CN" sz="2000" dirty="0" smtClean="0">
                <a:latin typeface="+mj-ea"/>
                <a:ea typeface="+mj-ea"/>
                <a:cs typeface="+mn-ea"/>
                <a:sym typeface="+mn-lt"/>
              </a:rPr>
              <a:t>XXX</a:t>
            </a:r>
            <a:endParaRPr lang="zh-CN" altLang="en-US" sz="2000" dirty="0">
              <a:latin typeface="+mj-ea"/>
              <a:ea typeface="+mj-ea"/>
              <a:cs typeface="+mn-ea"/>
              <a:sym typeface="+mn-lt"/>
            </a:endParaRPr>
          </a:p>
        </p:txBody>
      </p:sp>
      <p:sp>
        <p:nvSpPr>
          <p:cNvPr id="25" name="矩形 24"/>
          <p:cNvSpPr/>
          <p:nvPr>
            <p:custDataLst>
              <p:tags r:id="rId13"/>
            </p:custDataLst>
          </p:nvPr>
        </p:nvSpPr>
        <p:spPr>
          <a:xfrm>
            <a:off x="3317632" y="2999678"/>
            <a:ext cx="2724934" cy="3096322"/>
          </a:xfrm>
          <a:prstGeom prst="rect">
            <a:avLst/>
          </a:prstGeom>
          <a:gradFill flip="none" rotWithShape="1">
            <a:gsLst>
              <a:gs pos="0">
                <a:schemeClr val="accent6">
                  <a:lumMod val="5000"/>
                  <a:lumOff val="95000"/>
                </a:schemeClr>
              </a:gs>
              <a:gs pos="100000">
                <a:schemeClr val="bg1">
                  <a:lumMod val="85000"/>
                </a:schemeClr>
              </a:gs>
            </a:gsLst>
            <a:lin ang="5400000" scaled="1"/>
            <a:tileRect/>
          </a:gradFill>
        </p:spPr>
        <p:txBody>
          <a:bodyPr wrap="square" lIns="72000" tIns="144000" rIns="72000" bIns="72000">
            <a:noAutofit/>
          </a:bodyPr>
          <a:lstStyle/>
          <a:p>
            <a:pPr marL="176530" indent="-176530">
              <a:spcBef>
                <a:spcPts val="400"/>
              </a:spcBef>
              <a:buFont typeface="Arial" panose="020B0604020202020204" pitchFamily="34" charset="0"/>
              <a:buChar char="•"/>
            </a:pPr>
            <a:r>
              <a:rPr lang="en-US" altLang="zh-CN" sz="2000" dirty="0" smtClean="0">
                <a:latin typeface="+mj-ea"/>
                <a:ea typeface="+mj-ea"/>
                <a:cs typeface="+mn-ea"/>
                <a:sym typeface="+mn-lt"/>
              </a:rPr>
              <a:t>XXX</a:t>
            </a:r>
            <a:endParaRPr lang="zh-CN" altLang="en-US" sz="2000" dirty="0">
              <a:latin typeface="+mj-ea"/>
              <a:ea typeface="+mj-ea"/>
              <a:cs typeface="+mn-ea"/>
              <a:sym typeface="+mn-lt"/>
            </a:endParaRPr>
          </a:p>
        </p:txBody>
      </p:sp>
      <p:sp>
        <p:nvSpPr>
          <p:cNvPr id="26" name="矩形 25"/>
          <p:cNvSpPr/>
          <p:nvPr>
            <p:custDataLst>
              <p:tags r:id="rId14"/>
            </p:custDataLst>
          </p:nvPr>
        </p:nvSpPr>
        <p:spPr>
          <a:xfrm>
            <a:off x="6182266" y="2999678"/>
            <a:ext cx="2724934" cy="3096322"/>
          </a:xfrm>
          <a:prstGeom prst="rect">
            <a:avLst/>
          </a:prstGeom>
          <a:gradFill flip="none" rotWithShape="1">
            <a:gsLst>
              <a:gs pos="0">
                <a:schemeClr val="accent6">
                  <a:lumMod val="5000"/>
                  <a:lumOff val="95000"/>
                </a:schemeClr>
              </a:gs>
              <a:gs pos="100000">
                <a:schemeClr val="bg1">
                  <a:lumMod val="85000"/>
                </a:schemeClr>
              </a:gs>
            </a:gsLst>
            <a:lin ang="5400000" scaled="1"/>
            <a:tileRect/>
          </a:gradFill>
        </p:spPr>
        <p:txBody>
          <a:bodyPr wrap="square" lIns="72000" tIns="144000" rIns="72000" bIns="72000">
            <a:noAutofit/>
          </a:bodyPr>
          <a:lstStyle/>
          <a:p>
            <a:pPr marL="176530" indent="-176530">
              <a:spcBef>
                <a:spcPts val="400"/>
              </a:spcBef>
              <a:buFont typeface="Arial" panose="020B0604020202020204" pitchFamily="34" charset="0"/>
              <a:buChar char="•"/>
            </a:pPr>
            <a:r>
              <a:rPr lang="en-US" altLang="zh-CN" sz="2000" dirty="0" smtClean="0">
                <a:latin typeface="+mj-ea"/>
                <a:ea typeface="+mj-ea"/>
                <a:cs typeface="+mn-ea"/>
                <a:sym typeface="+mn-lt"/>
              </a:rPr>
              <a:t>XXX</a:t>
            </a:r>
            <a:endParaRPr lang="zh-CN" altLang="en-US" sz="2000" dirty="0">
              <a:latin typeface="+mj-ea"/>
              <a:ea typeface="+mj-ea"/>
              <a:cs typeface="+mn-ea"/>
              <a:sym typeface="+mn-lt"/>
            </a:endParaRPr>
          </a:p>
        </p:txBody>
      </p:sp>
      <p:sp>
        <p:nvSpPr>
          <p:cNvPr id="27" name="矩形 26"/>
          <p:cNvSpPr/>
          <p:nvPr>
            <p:custDataLst>
              <p:tags r:id="rId15"/>
            </p:custDataLst>
          </p:nvPr>
        </p:nvSpPr>
        <p:spPr>
          <a:xfrm>
            <a:off x="9046901" y="2999678"/>
            <a:ext cx="2724934" cy="3096322"/>
          </a:xfrm>
          <a:prstGeom prst="rect">
            <a:avLst/>
          </a:prstGeom>
          <a:gradFill flip="none" rotWithShape="1">
            <a:gsLst>
              <a:gs pos="0">
                <a:schemeClr val="accent6">
                  <a:lumMod val="5000"/>
                  <a:lumOff val="95000"/>
                </a:schemeClr>
              </a:gs>
              <a:gs pos="100000">
                <a:schemeClr val="bg1">
                  <a:lumMod val="85000"/>
                </a:schemeClr>
              </a:gs>
            </a:gsLst>
            <a:lin ang="5400000" scaled="1"/>
            <a:tileRect/>
          </a:gradFill>
        </p:spPr>
        <p:txBody>
          <a:bodyPr wrap="square" lIns="72000" tIns="144000" rIns="72000" bIns="72000">
            <a:noAutofit/>
          </a:bodyPr>
          <a:lstStyle/>
          <a:p>
            <a:pPr marL="176530" indent="-176530">
              <a:spcBef>
                <a:spcPts val="400"/>
              </a:spcBef>
              <a:buFont typeface="Arial" panose="020B0604020202020204" pitchFamily="34" charset="0"/>
              <a:buChar char="•"/>
            </a:pPr>
            <a:r>
              <a:rPr lang="en-US" altLang="zh-CN" sz="2000" dirty="0" smtClean="0">
                <a:latin typeface="+mj-ea"/>
                <a:ea typeface="+mj-ea"/>
                <a:cs typeface="+mn-ea"/>
                <a:sym typeface="+mn-lt"/>
              </a:rPr>
              <a:t>XXX</a:t>
            </a:r>
            <a:endParaRPr lang="zh-CN" altLang="en-US" sz="2000" dirty="0">
              <a:latin typeface="+mj-ea"/>
              <a:ea typeface="+mj-ea"/>
              <a:cs typeface="+mn-ea"/>
              <a:sym typeface="+mn-lt"/>
            </a:endParaRPr>
          </a:p>
        </p:txBody>
      </p:sp>
      <p:grpSp>
        <p:nvGrpSpPr>
          <p:cNvPr id="8" name="组合 7"/>
          <p:cNvGrpSpPr/>
          <p:nvPr/>
        </p:nvGrpSpPr>
        <p:grpSpPr>
          <a:xfrm>
            <a:off x="1359766" y="1771936"/>
            <a:ext cx="911398" cy="911398"/>
            <a:chOff x="3694321" y="2022147"/>
            <a:chExt cx="817580" cy="817580"/>
          </a:xfrm>
        </p:grpSpPr>
        <p:sp>
          <p:nvSpPr>
            <p:cNvPr id="30" name="椭圆 29"/>
            <p:cNvSpPr/>
            <p:nvPr/>
          </p:nvSpPr>
          <p:spPr>
            <a:xfrm>
              <a:off x="3694321" y="2022147"/>
              <a:ext cx="817580" cy="81758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zh-CN" altLang="en-US" kern="0" dirty="0">
                <a:solidFill>
                  <a:schemeClr val="bg1">
                    <a:lumMod val="50000"/>
                  </a:schemeClr>
                </a:solidFill>
                <a:latin typeface="+mj-ea"/>
                <a:ea typeface="+mj-ea"/>
                <a:cs typeface="+mn-ea"/>
                <a:sym typeface="+mn-lt"/>
              </a:endParaRPr>
            </a:p>
          </p:txBody>
        </p:sp>
        <p:sp>
          <p:nvSpPr>
            <p:cNvPr id="67" name="strategy-board_104908"/>
            <p:cNvSpPr>
              <a:spLocks noChangeAspect="1"/>
            </p:cNvSpPr>
            <p:nvPr/>
          </p:nvSpPr>
          <p:spPr bwMode="auto">
            <a:xfrm>
              <a:off x="3896450" y="2146703"/>
              <a:ext cx="413321" cy="550537"/>
            </a:xfrm>
            <a:custGeom>
              <a:avLst/>
              <a:gdLst>
                <a:gd name="connsiteX0" fmla="*/ 301650 w 452959"/>
                <a:gd name="connsiteY0" fmla="*/ 426850 h 603334"/>
                <a:gd name="connsiteX1" fmla="*/ 333175 w 452959"/>
                <a:gd name="connsiteY1" fmla="*/ 458330 h 603334"/>
                <a:gd name="connsiteX2" fmla="*/ 364824 w 452959"/>
                <a:gd name="connsiteY2" fmla="*/ 426850 h 603334"/>
                <a:gd name="connsiteX3" fmla="*/ 382324 w 452959"/>
                <a:gd name="connsiteY3" fmla="*/ 444325 h 603334"/>
                <a:gd name="connsiteX4" fmla="*/ 350799 w 452959"/>
                <a:gd name="connsiteY4" fmla="*/ 475928 h 603334"/>
                <a:gd name="connsiteX5" fmla="*/ 382324 w 452959"/>
                <a:gd name="connsiteY5" fmla="*/ 507408 h 603334"/>
                <a:gd name="connsiteX6" fmla="*/ 364824 w 452959"/>
                <a:gd name="connsiteY6" fmla="*/ 525006 h 603334"/>
                <a:gd name="connsiteX7" fmla="*/ 333175 w 452959"/>
                <a:gd name="connsiteY7" fmla="*/ 493403 h 603334"/>
                <a:gd name="connsiteX8" fmla="*/ 301650 w 452959"/>
                <a:gd name="connsiteY8" fmla="*/ 525006 h 603334"/>
                <a:gd name="connsiteX9" fmla="*/ 284026 w 452959"/>
                <a:gd name="connsiteY9" fmla="*/ 507408 h 603334"/>
                <a:gd name="connsiteX10" fmla="*/ 315675 w 452959"/>
                <a:gd name="connsiteY10" fmla="*/ 475928 h 603334"/>
                <a:gd name="connsiteX11" fmla="*/ 284026 w 452959"/>
                <a:gd name="connsiteY11" fmla="*/ 444325 h 603334"/>
                <a:gd name="connsiteX12" fmla="*/ 94769 w 452959"/>
                <a:gd name="connsiteY12" fmla="*/ 283602 h 603334"/>
                <a:gd name="connsiteX13" fmla="*/ 126418 w 452959"/>
                <a:gd name="connsiteY13" fmla="*/ 315205 h 603334"/>
                <a:gd name="connsiteX14" fmla="*/ 157943 w 452959"/>
                <a:gd name="connsiteY14" fmla="*/ 283602 h 603334"/>
                <a:gd name="connsiteX15" fmla="*/ 175567 w 452959"/>
                <a:gd name="connsiteY15" fmla="*/ 301200 h 603334"/>
                <a:gd name="connsiteX16" fmla="*/ 143918 w 452959"/>
                <a:gd name="connsiteY16" fmla="*/ 332680 h 603334"/>
                <a:gd name="connsiteX17" fmla="*/ 175567 w 452959"/>
                <a:gd name="connsiteY17" fmla="*/ 364283 h 603334"/>
                <a:gd name="connsiteX18" fmla="*/ 157943 w 452959"/>
                <a:gd name="connsiteY18" fmla="*/ 381758 h 603334"/>
                <a:gd name="connsiteX19" fmla="*/ 126418 w 452959"/>
                <a:gd name="connsiteY19" fmla="*/ 350278 h 603334"/>
                <a:gd name="connsiteX20" fmla="*/ 94769 w 452959"/>
                <a:gd name="connsiteY20" fmla="*/ 381758 h 603334"/>
                <a:gd name="connsiteX21" fmla="*/ 77269 w 452959"/>
                <a:gd name="connsiteY21" fmla="*/ 364283 h 603334"/>
                <a:gd name="connsiteX22" fmla="*/ 108794 w 452959"/>
                <a:gd name="connsiteY22" fmla="*/ 332680 h 603334"/>
                <a:gd name="connsiteX23" fmla="*/ 77269 w 452959"/>
                <a:gd name="connsiteY23" fmla="*/ 301200 h 603334"/>
                <a:gd name="connsiteX24" fmla="*/ 298528 w 452959"/>
                <a:gd name="connsiteY24" fmla="*/ 258622 h 603334"/>
                <a:gd name="connsiteX25" fmla="*/ 363059 w 452959"/>
                <a:gd name="connsiteY25" fmla="*/ 333213 h 603334"/>
                <a:gd name="connsiteX26" fmla="*/ 344320 w 452959"/>
                <a:gd name="connsiteY26" fmla="*/ 349320 h 603334"/>
                <a:gd name="connsiteX27" fmla="*/ 307339 w 452959"/>
                <a:gd name="connsiteY27" fmla="*/ 306697 h 603334"/>
                <a:gd name="connsiteX28" fmla="*/ 79245 w 452959"/>
                <a:gd name="connsiteY28" fmla="*/ 505813 h 603334"/>
                <a:gd name="connsiteX29" fmla="*/ 79245 w 452959"/>
                <a:gd name="connsiteY29" fmla="*/ 481032 h 603334"/>
                <a:gd name="connsiteX30" fmla="*/ 282519 w 452959"/>
                <a:gd name="connsiteY30" fmla="*/ 305210 h 603334"/>
                <a:gd name="connsiteX31" fmla="*/ 240077 w 452959"/>
                <a:gd name="connsiteY31" fmla="*/ 341762 h 603334"/>
                <a:gd name="connsiteX32" fmla="*/ 223820 w 452959"/>
                <a:gd name="connsiteY32" fmla="*/ 323052 h 603334"/>
                <a:gd name="connsiteX33" fmla="*/ 24819 w 452959"/>
                <a:gd name="connsiteY33" fmla="*/ 144731 h 603334"/>
                <a:gd name="connsiteX34" fmla="*/ 24819 w 452959"/>
                <a:gd name="connsiteY34" fmla="*/ 578552 h 603334"/>
                <a:gd name="connsiteX35" fmla="*/ 428140 w 452959"/>
                <a:gd name="connsiteY35" fmla="*/ 578552 h 603334"/>
                <a:gd name="connsiteX36" fmla="*/ 428140 w 452959"/>
                <a:gd name="connsiteY36" fmla="*/ 144731 h 603334"/>
                <a:gd name="connsiteX37" fmla="*/ 293617 w 452959"/>
                <a:gd name="connsiteY37" fmla="*/ 144731 h 603334"/>
                <a:gd name="connsiteX38" fmla="*/ 293617 w 452959"/>
                <a:gd name="connsiteY38" fmla="*/ 198385 h 603334"/>
                <a:gd name="connsiteX39" fmla="*/ 159218 w 452959"/>
                <a:gd name="connsiteY39" fmla="*/ 198385 h 603334"/>
                <a:gd name="connsiteX40" fmla="*/ 159218 w 452959"/>
                <a:gd name="connsiteY40" fmla="*/ 144731 h 603334"/>
                <a:gd name="connsiteX41" fmla="*/ 184038 w 452959"/>
                <a:gd name="connsiteY41" fmla="*/ 111646 h 603334"/>
                <a:gd name="connsiteX42" fmla="*/ 184038 w 452959"/>
                <a:gd name="connsiteY42" fmla="*/ 173602 h 603334"/>
                <a:gd name="connsiteX43" fmla="*/ 268797 w 452959"/>
                <a:gd name="connsiteY43" fmla="*/ 173602 h 603334"/>
                <a:gd name="connsiteX44" fmla="*/ 268797 w 452959"/>
                <a:gd name="connsiteY44" fmla="*/ 111646 h 603334"/>
                <a:gd name="connsiteX45" fmla="*/ 225859 w 452959"/>
                <a:gd name="connsiteY45" fmla="*/ 24782 h 603334"/>
                <a:gd name="connsiteX46" fmla="*/ 184038 w 452959"/>
                <a:gd name="connsiteY46" fmla="*/ 66541 h 603334"/>
                <a:gd name="connsiteX47" fmla="*/ 184038 w 452959"/>
                <a:gd name="connsiteY47" fmla="*/ 86863 h 603334"/>
                <a:gd name="connsiteX48" fmla="*/ 268797 w 452959"/>
                <a:gd name="connsiteY48" fmla="*/ 86863 h 603334"/>
                <a:gd name="connsiteX49" fmla="*/ 268797 w 452959"/>
                <a:gd name="connsiteY49" fmla="*/ 66541 h 603334"/>
                <a:gd name="connsiteX50" fmla="*/ 226976 w 452959"/>
                <a:gd name="connsiteY50" fmla="*/ 24782 h 603334"/>
                <a:gd name="connsiteX51" fmla="*/ 225859 w 452959"/>
                <a:gd name="connsiteY51" fmla="*/ 0 h 603334"/>
                <a:gd name="connsiteX52" fmla="*/ 226976 w 452959"/>
                <a:gd name="connsiteY52" fmla="*/ 0 h 603334"/>
                <a:gd name="connsiteX53" fmla="*/ 293617 w 452959"/>
                <a:gd name="connsiteY53" fmla="*/ 66541 h 603334"/>
                <a:gd name="connsiteX54" fmla="*/ 293617 w 452959"/>
                <a:gd name="connsiteY54" fmla="*/ 86863 h 603334"/>
                <a:gd name="connsiteX55" fmla="*/ 293617 w 452959"/>
                <a:gd name="connsiteY55" fmla="*/ 111646 h 603334"/>
                <a:gd name="connsiteX56" fmla="*/ 293617 w 452959"/>
                <a:gd name="connsiteY56" fmla="*/ 119948 h 603334"/>
                <a:gd name="connsiteX57" fmla="*/ 452959 w 452959"/>
                <a:gd name="connsiteY57" fmla="*/ 119948 h 603334"/>
                <a:gd name="connsiteX58" fmla="*/ 452959 w 452959"/>
                <a:gd name="connsiteY58" fmla="*/ 603334 h 603334"/>
                <a:gd name="connsiteX59" fmla="*/ 0 w 452959"/>
                <a:gd name="connsiteY59" fmla="*/ 603334 h 603334"/>
                <a:gd name="connsiteX60" fmla="*/ 0 w 452959"/>
                <a:gd name="connsiteY60" fmla="*/ 119948 h 603334"/>
                <a:gd name="connsiteX61" fmla="*/ 159218 w 452959"/>
                <a:gd name="connsiteY61" fmla="*/ 119948 h 603334"/>
                <a:gd name="connsiteX62" fmla="*/ 159218 w 452959"/>
                <a:gd name="connsiteY62" fmla="*/ 111646 h 603334"/>
                <a:gd name="connsiteX63" fmla="*/ 159218 w 452959"/>
                <a:gd name="connsiteY63" fmla="*/ 86863 h 603334"/>
                <a:gd name="connsiteX64" fmla="*/ 159218 w 452959"/>
                <a:gd name="connsiteY64" fmla="*/ 66541 h 603334"/>
                <a:gd name="connsiteX65" fmla="*/ 225859 w 452959"/>
                <a:gd name="connsiteY65" fmla="*/ 0 h 60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52959" h="603334">
                  <a:moveTo>
                    <a:pt x="301650" y="426850"/>
                  </a:moveTo>
                  <a:lnTo>
                    <a:pt x="333175" y="458330"/>
                  </a:lnTo>
                  <a:lnTo>
                    <a:pt x="364824" y="426850"/>
                  </a:lnTo>
                  <a:lnTo>
                    <a:pt x="382324" y="444325"/>
                  </a:lnTo>
                  <a:lnTo>
                    <a:pt x="350799" y="475928"/>
                  </a:lnTo>
                  <a:lnTo>
                    <a:pt x="382324" y="507408"/>
                  </a:lnTo>
                  <a:lnTo>
                    <a:pt x="364824" y="525006"/>
                  </a:lnTo>
                  <a:lnTo>
                    <a:pt x="333175" y="493403"/>
                  </a:lnTo>
                  <a:lnTo>
                    <a:pt x="301650" y="525006"/>
                  </a:lnTo>
                  <a:lnTo>
                    <a:pt x="284026" y="507408"/>
                  </a:lnTo>
                  <a:lnTo>
                    <a:pt x="315675" y="475928"/>
                  </a:lnTo>
                  <a:lnTo>
                    <a:pt x="284026" y="444325"/>
                  </a:lnTo>
                  <a:close/>
                  <a:moveTo>
                    <a:pt x="94769" y="283602"/>
                  </a:moveTo>
                  <a:lnTo>
                    <a:pt x="126418" y="315205"/>
                  </a:lnTo>
                  <a:lnTo>
                    <a:pt x="157943" y="283602"/>
                  </a:lnTo>
                  <a:lnTo>
                    <a:pt x="175567" y="301200"/>
                  </a:lnTo>
                  <a:lnTo>
                    <a:pt x="143918" y="332680"/>
                  </a:lnTo>
                  <a:lnTo>
                    <a:pt x="175567" y="364283"/>
                  </a:lnTo>
                  <a:lnTo>
                    <a:pt x="157943" y="381758"/>
                  </a:lnTo>
                  <a:lnTo>
                    <a:pt x="126418" y="350278"/>
                  </a:lnTo>
                  <a:lnTo>
                    <a:pt x="94769" y="381758"/>
                  </a:lnTo>
                  <a:lnTo>
                    <a:pt x="77269" y="364283"/>
                  </a:lnTo>
                  <a:lnTo>
                    <a:pt x="108794" y="332680"/>
                  </a:lnTo>
                  <a:lnTo>
                    <a:pt x="77269" y="301200"/>
                  </a:lnTo>
                  <a:close/>
                  <a:moveTo>
                    <a:pt x="298528" y="258622"/>
                  </a:moveTo>
                  <a:lnTo>
                    <a:pt x="363059" y="333213"/>
                  </a:lnTo>
                  <a:lnTo>
                    <a:pt x="344320" y="349320"/>
                  </a:lnTo>
                  <a:lnTo>
                    <a:pt x="307339" y="306697"/>
                  </a:lnTo>
                  <a:cubicBezTo>
                    <a:pt x="292199" y="418955"/>
                    <a:pt x="195649" y="505813"/>
                    <a:pt x="79245" y="505813"/>
                  </a:cubicBezTo>
                  <a:lnTo>
                    <a:pt x="79245" y="481032"/>
                  </a:lnTo>
                  <a:cubicBezTo>
                    <a:pt x="182495" y="481032"/>
                    <a:pt x="268247" y="404458"/>
                    <a:pt x="282519" y="305210"/>
                  </a:cubicBezTo>
                  <a:lnTo>
                    <a:pt x="240077" y="341762"/>
                  </a:lnTo>
                  <a:lnTo>
                    <a:pt x="223820" y="323052"/>
                  </a:lnTo>
                  <a:close/>
                  <a:moveTo>
                    <a:pt x="24819" y="144731"/>
                  </a:moveTo>
                  <a:lnTo>
                    <a:pt x="24819" y="578552"/>
                  </a:lnTo>
                  <a:lnTo>
                    <a:pt x="428140" y="578552"/>
                  </a:lnTo>
                  <a:lnTo>
                    <a:pt x="428140" y="144731"/>
                  </a:lnTo>
                  <a:lnTo>
                    <a:pt x="293617" y="144731"/>
                  </a:lnTo>
                  <a:lnTo>
                    <a:pt x="293617" y="198385"/>
                  </a:lnTo>
                  <a:lnTo>
                    <a:pt x="159218" y="198385"/>
                  </a:lnTo>
                  <a:lnTo>
                    <a:pt x="159218" y="144731"/>
                  </a:lnTo>
                  <a:close/>
                  <a:moveTo>
                    <a:pt x="184038" y="111646"/>
                  </a:moveTo>
                  <a:lnTo>
                    <a:pt x="184038" y="173602"/>
                  </a:lnTo>
                  <a:lnTo>
                    <a:pt x="268797" y="173602"/>
                  </a:lnTo>
                  <a:lnTo>
                    <a:pt x="268797" y="111646"/>
                  </a:lnTo>
                  <a:close/>
                  <a:moveTo>
                    <a:pt x="225859" y="24782"/>
                  </a:moveTo>
                  <a:cubicBezTo>
                    <a:pt x="202776" y="24782"/>
                    <a:pt x="184038" y="43493"/>
                    <a:pt x="184038" y="66541"/>
                  </a:cubicBezTo>
                  <a:lnTo>
                    <a:pt x="184038" y="86863"/>
                  </a:lnTo>
                  <a:lnTo>
                    <a:pt x="268797" y="86863"/>
                  </a:lnTo>
                  <a:lnTo>
                    <a:pt x="268797" y="66541"/>
                  </a:lnTo>
                  <a:cubicBezTo>
                    <a:pt x="268797" y="43493"/>
                    <a:pt x="250058" y="24782"/>
                    <a:pt x="226976" y="24782"/>
                  </a:cubicBezTo>
                  <a:close/>
                  <a:moveTo>
                    <a:pt x="225859" y="0"/>
                  </a:moveTo>
                  <a:lnTo>
                    <a:pt x="226976" y="0"/>
                  </a:lnTo>
                  <a:cubicBezTo>
                    <a:pt x="263709" y="0"/>
                    <a:pt x="293617" y="29863"/>
                    <a:pt x="293617" y="66541"/>
                  </a:cubicBezTo>
                  <a:lnTo>
                    <a:pt x="293617" y="86863"/>
                  </a:lnTo>
                  <a:lnTo>
                    <a:pt x="293617" y="111646"/>
                  </a:lnTo>
                  <a:lnTo>
                    <a:pt x="293617" y="119948"/>
                  </a:lnTo>
                  <a:lnTo>
                    <a:pt x="452959" y="119948"/>
                  </a:lnTo>
                  <a:lnTo>
                    <a:pt x="452959" y="603334"/>
                  </a:lnTo>
                  <a:lnTo>
                    <a:pt x="0" y="603334"/>
                  </a:lnTo>
                  <a:lnTo>
                    <a:pt x="0" y="119948"/>
                  </a:lnTo>
                  <a:lnTo>
                    <a:pt x="159218" y="119948"/>
                  </a:lnTo>
                  <a:lnTo>
                    <a:pt x="159218" y="111646"/>
                  </a:lnTo>
                  <a:lnTo>
                    <a:pt x="159218" y="86863"/>
                  </a:lnTo>
                  <a:lnTo>
                    <a:pt x="159218" y="66541"/>
                  </a:lnTo>
                  <a:cubicBezTo>
                    <a:pt x="159218" y="29863"/>
                    <a:pt x="189126" y="0"/>
                    <a:pt x="225859" y="0"/>
                  </a:cubicBezTo>
                  <a:close/>
                </a:path>
              </a:pathLst>
            </a:custGeom>
            <a:solidFill>
              <a:schemeClr val="bg1"/>
            </a:solidFill>
            <a:ln>
              <a:noFill/>
            </a:ln>
          </p:spPr>
          <p:txBody>
            <a:bodyPr/>
            <a:lstStyle/>
            <a:p>
              <a:endParaRPr lang="zh-CN" altLang="en-US">
                <a:latin typeface="+mj-ea"/>
                <a:ea typeface="+mj-ea"/>
                <a:cs typeface="+mn-ea"/>
                <a:sym typeface="+mn-lt"/>
              </a:endParaRPr>
            </a:p>
          </p:txBody>
        </p:sp>
      </p:grpSp>
      <p:sp>
        <p:nvSpPr>
          <p:cNvPr id="36" name="矩形 35"/>
          <p:cNvSpPr/>
          <p:nvPr/>
        </p:nvSpPr>
        <p:spPr>
          <a:xfrm>
            <a:off x="3317632" y="1470709"/>
            <a:ext cx="2724934" cy="1513852"/>
          </a:xfrm>
          <a:prstGeom prst="rect">
            <a:avLst/>
          </a:prstGeom>
          <a:solidFill>
            <a:srgbClr val="000000">
              <a:alpha val="50196"/>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latin typeface="+mj-ea"/>
              <a:ea typeface="+mj-ea"/>
              <a:cs typeface="+mn-ea"/>
              <a:sym typeface="+mn-lt"/>
            </a:endParaRPr>
          </a:p>
        </p:txBody>
      </p:sp>
      <p:sp>
        <p:nvSpPr>
          <p:cNvPr id="39" name="矩形 38"/>
          <p:cNvSpPr/>
          <p:nvPr/>
        </p:nvSpPr>
        <p:spPr>
          <a:xfrm>
            <a:off x="6182266" y="1470709"/>
            <a:ext cx="2724934" cy="1513852"/>
          </a:xfrm>
          <a:prstGeom prst="rect">
            <a:avLst/>
          </a:prstGeom>
          <a:solidFill>
            <a:srgbClr val="000000">
              <a:alpha val="50196"/>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latin typeface="+mj-ea"/>
              <a:ea typeface="+mj-ea"/>
              <a:cs typeface="+mn-ea"/>
              <a:sym typeface="+mn-lt"/>
            </a:endParaRPr>
          </a:p>
        </p:txBody>
      </p:sp>
      <p:sp>
        <p:nvSpPr>
          <p:cNvPr id="42" name="矩形 41"/>
          <p:cNvSpPr/>
          <p:nvPr/>
        </p:nvSpPr>
        <p:spPr>
          <a:xfrm>
            <a:off x="9046901" y="1470709"/>
            <a:ext cx="2724934" cy="1513852"/>
          </a:xfrm>
          <a:prstGeom prst="rect">
            <a:avLst/>
          </a:prstGeom>
          <a:solidFill>
            <a:srgbClr val="000000">
              <a:alpha val="50196"/>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latin typeface="+mj-ea"/>
              <a:ea typeface="+mj-ea"/>
              <a:cs typeface="+mn-ea"/>
              <a:sym typeface="+mn-lt"/>
            </a:endParaRPr>
          </a:p>
        </p:txBody>
      </p:sp>
      <p:grpSp>
        <p:nvGrpSpPr>
          <p:cNvPr id="20" name="组合 19"/>
          <p:cNvGrpSpPr/>
          <p:nvPr/>
        </p:nvGrpSpPr>
        <p:grpSpPr>
          <a:xfrm>
            <a:off x="4271309" y="1818845"/>
            <a:ext cx="817580" cy="817580"/>
            <a:chOff x="4513727" y="0"/>
            <a:chExt cx="817580" cy="817580"/>
          </a:xfrm>
        </p:grpSpPr>
        <p:sp>
          <p:nvSpPr>
            <p:cNvPr id="31" name="椭圆 30"/>
            <p:cNvSpPr/>
            <p:nvPr/>
          </p:nvSpPr>
          <p:spPr>
            <a:xfrm>
              <a:off x="4513727" y="0"/>
              <a:ext cx="817580" cy="817580"/>
            </a:xfrm>
            <a:prstGeom prst="ellipse">
              <a:avLst/>
            </a:prstGeom>
            <a:noFill/>
            <a:ln w="28575">
              <a:solidFill>
                <a:schemeClr val="bg1"/>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zh-CN" altLang="en-US" kern="0" dirty="0">
                <a:solidFill>
                  <a:schemeClr val="bg1">
                    <a:lumMod val="50000"/>
                  </a:schemeClr>
                </a:solidFill>
                <a:latin typeface="+mj-ea"/>
                <a:ea typeface="+mj-ea"/>
                <a:cs typeface="+mn-ea"/>
                <a:sym typeface="+mn-lt"/>
              </a:endParaRPr>
            </a:p>
          </p:txBody>
        </p:sp>
        <p:sp>
          <p:nvSpPr>
            <p:cNvPr id="64" name="stethoscope_117921"/>
            <p:cNvSpPr>
              <a:spLocks noChangeAspect="1"/>
            </p:cNvSpPr>
            <p:nvPr/>
          </p:nvSpPr>
          <p:spPr bwMode="auto">
            <a:xfrm>
              <a:off x="4683727" y="185173"/>
              <a:ext cx="477579" cy="473607"/>
            </a:xfrm>
            <a:custGeom>
              <a:avLst/>
              <a:gdLst>
                <a:gd name="T0" fmla="*/ 6396 w 6578"/>
                <a:gd name="T1" fmla="*/ 465 h 6533"/>
                <a:gd name="T2" fmla="*/ 5554 w 6578"/>
                <a:gd name="T3" fmla="*/ 0 h 6533"/>
                <a:gd name="T4" fmla="*/ 5284 w 6578"/>
                <a:gd name="T5" fmla="*/ 270 h 6533"/>
                <a:gd name="T6" fmla="*/ 5554 w 6578"/>
                <a:gd name="T7" fmla="*/ 541 h 6533"/>
                <a:gd name="T8" fmla="*/ 5933 w 6578"/>
                <a:gd name="T9" fmla="*/ 746 h 6533"/>
                <a:gd name="T10" fmla="*/ 5952 w 6578"/>
                <a:gd name="T11" fmla="*/ 1116 h 6533"/>
                <a:gd name="T12" fmla="*/ 5074 w 6578"/>
                <a:gd name="T13" fmla="*/ 2546 h 6533"/>
                <a:gd name="T14" fmla="*/ 5064 w 6578"/>
                <a:gd name="T15" fmla="*/ 2564 h 6533"/>
                <a:gd name="T16" fmla="*/ 4673 w 6578"/>
                <a:gd name="T17" fmla="*/ 2794 h 6533"/>
                <a:gd name="T18" fmla="*/ 4670 w 6578"/>
                <a:gd name="T19" fmla="*/ 2794 h 6533"/>
                <a:gd name="T20" fmla="*/ 4280 w 6578"/>
                <a:gd name="T21" fmla="*/ 2568 h 6533"/>
                <a:gd name="T22" fmla="*/ 4269 w 6578"/>
                <a:gd name="T23" fmla="*/ 2550 h 6533"/>
                <a:gd name="T24" fmla="*/ 3370 w 6578"/>
                <a:gd name="T25" fmla="*/ 1121 h 6533"/>
                <a:gd name="T26" fmla="*/ 3385 w 6578"/>
                <a:gd name="T27" fmla="*/ 749 h 6533"/>
                <a:gd name="T28" fmla="*/ 3765 w 6578"/>
                <a:gd name="T29" fmla="*/ 541 h 6533"/>
                <a:gd name="T30" fmla="*/ 4036 w 6578"/>
                <a:gd name="T31" fmla="*/ 270 h 6533"/>
                <a:gd name="T32" fmla="*/ 3766 w 6578"/>
                <a:gd name="T33" fmla="*/ 0 h 6533"/>
                <a:gd name="T34" fmla="*/ 2922 w 6578"/>
                <a:gd name="T35" fmla="*/ 470 h 6533"/>
                <a:gd name="T36" fmla="*/ 2897 w 6578"/>
                <a:gd name="T37" fmla="*/ 1382 h 6533"/>
                <a:gd name="T38" fmla="*/ 2908 w 6578"/>
                <a:gd name="T39" fmla="*/ 1400 h 6533"/>
                <a:gd name="T40" fmla="*/ 3808 w 6578"/>
                <a:gd name="T41" fmla="*/ 2833 h 6533"/>
                <a:gd name="T42" fmla="*/ 4397 w 6578"/>
                <a:gd name="T43" fmla="*/ 3301 h 6533"/>
                <a:gd name="T44" fmla="*/ 4397 w 6578"/>
                <a:gd name="T45" fmla="*/ 5204 h 6533"/>
                <a:gd name="T46" fmla="*/ 3752 w 6578"/>
                <a:gd name="T47" fmla="*/ 5590 h 6533"/>
                <a:gd name="T48" fmla="*/ 3106 w 6578"/>
                <a:gd name="T49" fmla="*/ 5204 h 6533"/>
                <a:gd name="T50" fmla="*/ 3106 w 6578"/>
                <a:gd name="T51" fmla="*/ 3029 h 6533"/>
                <a:gd name="T52" fmla="*/ 1918 w 6578"/>
                <a:gd name="T53" fmla="*/ 2100 h 6533"/>
                <a:gd name="T54" fmla="*/ 730 w 6578"/>
                <a:gd name="T55" fmla="*/ 3029 h 6533"/>
                <a:gd name="T56" fmla="*/ 730 w 6578"/>
                <a:gd name="T57" fmla="*/ 4621 h 6533"/>
                <a:gd name="T58" fmla="*/ 0 w 6578"/>
                <a:gd name="T59" fmla="*/ 5558 h 6533"/>
                <a:gd name="T60" fmla="*/ 1004 w 6578"/>
                <a:gd name="T61" fmla="*/ 6533 h 6533"/>
                <a:gd name="T62" fmla="*/ 2008 w 6578"/>
                <a:gd name="T63" fmla="*/ 5558 h 6533"/>
                <a:gd name="T64" fmla="*/ 1268 w 6578"/>
                <a:gd name="T65" fmla="*/ 4618 h 6533"/>
                <a:gd name="T66" fmla="*/ 1268 w 6578"/>
                <a:gd name="T67" fmla="*/ 3029 h 6533"/>
                <a:gd name="T68" fmla="*/ 1913 w 6578"/>
                <a:gd name="T69" fmla="*/ 2642 h 6533"/>
                <a:gd name="T70" fmla="*/ 2558 w 6578"/>
                <a:gd name="T71" fmla="*/ 3029 h 6533"/>
                <a:gd name="T72" fmla="*/ 2558 w 6578"/>
                <a:gd name="T73" fmla="*/ 5218 h 6533"/>
                <a:gd name="T74" fmla="*/ 2560 w 6578"/>
                <a:gd name="T75" fmla="*/ 5240 h 6533"/>
                <a:gd name="T76" fmla="*/ 3746 w 6578"/>
                <a:gd name="T77" fmla="*/ 6132 h 6533"/>
                <a:gd name="T78" fmla="*/ 4934 w 6578"/>
                <a:gd name="T79" fmla="*/ 5202 h 6533"/>
                <a:gd name="T80" fmla="*/ 4934 w 6578"/>
                <a:gd name="T81" fmla="*/ 3304 h 6533"/>
                <a:gd name="T82" fmla="*/ 5538 w 6578"/>
                <a:gd name="T83" fmla="*/ 2824 h 6533"/>
                <a:gd name="T84" fmla="*/ 6417 w 6578"/>
                <a:gd name="T85" fmla="*/ 1392 h 6533"/>
                <a:gd name="T86" fmla="*/ 6428 w 6578"/>
                <a:gd name="T87" fmla="*/ 1374 h 6533"/>
                <a:gd name="T88" fmla="*/ 6396 w 6578"/>
                <a:gd name="T89" fmla="*/ 465 h 6533"/>
                <a:gd name="T90" fmla="*/ 1466 w 6578"/>
                <a:gd name="T91" fmla="*/ 5558 h 6533"/>
                <a:gd name="T92" fmla="*/ 1004 w 6578"/>
                <a:gd name="T93" fmla="*/ 5990 h 6533"/>
                <a:gd name="T94" fmla="*/ 541 w 6578"/>
                <a:gd name="T95" fmla="*/ 5558 h 6533"/>
                <a:gd name="T96" fmla="*/ 1004 w 6578"/>
                <a:gd name="T97" fmla="*/ 5126 h 6533"/>
                <a:gd name="T98" fmla="*/ 1466 w 6578"/>
                <a:gd name="T99" fmla="*/ 5558 h 6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78" h="6533">
                  <a:moveTo>
                    <a:pt x="6396" y="465"/>
                  </a:moveTo>
                  <a:cubicBezTo>
                    <a:pt x="6218" y="174"/>
                    <a:pt x="5904" y="0"/>
                    <a:pt x="5554" y="0"/>
                  </a:cubicBezTo>
                  <a:cubicBezTo>
                    <a:pt x="5405" y="0"/>
                    <a:pt x="5284" y="121"/>
                    <a:pt x="5284" y="270"/>
                  </a:cubicBezTo>
                  <a:cubicBezTo>
                    <a:pt x="5284" y="420"/>
                    <a:pt x="5405" y="541"/>
                    <a:pt x="5554" y="541"/>
                  </a:cubicBezTo>
                  <a:cubicBezTo>
                    <a:pt x="5713" y="541"/>
                    <a:pt x="5854" y="618"/>
                    <a:pt x="5933" y="746"/>
                  </a:cubicBezTo>
                  <a:cubicBezTo>
                    <a:pt x="6004" y="861"/>
                    <a:pt x="6009" y="996"/>
                    <a:pt x="5952" y="1116"/>
                  </a:cubicBezTo>
                  <a:lnTo>
                    <a:pt x="5074" y="2546"/>
                  </a:lnTo>
                  <a:cubicBezTo>
                    <a:pt x="5070" y="2552"/>
                    <a:pt x="5068" y="2558"/>
                    <a:pt x="5064" y="2564"/>
                  </a:cubicBezTo>
                  <a:cubicBezTo>
                    <a:pt x="4990" y="2708"/>
                    <a:pt x="4844" y="2794"/>
                    <a:pt x="4673" y="2794"/>
                  </a:cubicBezTo>
                  <a:lnTo>
                    <a:pt x="4670" y="2794"/>
                  </a:lnTo>
                  <a:cubicBezTo>
                    <a:pt x="4501" y="2794"/>
                    <a:pt x="4356" y="2709"/>
                    <a:pt x="4280" y="2568"/>
                  </a:cubicBezTo>
                  <a:cubicBezTo>
                    <a:pt x="4277" y="2562"/>
                    <a:pt x="4273" y="2556"/>
                    <a:pt x="4269" y="2550"/>
                  </a:cubicBezTo>
                  <a:lnTo>
                    <a:pt x="3370" y="1121"/>
                  </a:lnTo>
                  <a:cubicBezTo>
                    <a:pt x="3310" y="1001"/>
                    <a:pt x="3316" y="866"/>
                    <a:pt x="3385" y="749"/>
                  </a:cubicBezTo>
                  <a:cubicBezTo>
                    <a:pt x="3464" y="618"/>
                    <a:pt x="3605" y="541"/>
                    <a:pt x="3765" y="541"/>
                  </a:cubicBezTo>
                  <a:cubicBezTo>
                    <a:pt x="3914" y="541"/>
                    <a:pt x="4036" y="420"/>
                    <a:pt x="4036" y="270"/>
                  </a:cubicBezTo>
                  <a:cubicBezTo>
                    <a:pt x="4036" y="121"/>
                    <a:pt x="3916" y="0"/>
                    <a:pt x="3766" y="0"/>
                  </a:cubicBezTo>
                  <a:cubicBezTo>
                    <a:pt x="3414" y="0"/>
                    <a:pt x="3100" y="176"/>
                    <a:pt x="2922" y="470"/>
                  </a:cubicBezTo>
                  <a:cubicBezTo>
                    <a:pt x="2753" y="752"/>
                    <a:pt x="2744" y="1093"/>
                    <a:pt x="2897" y="1382"/>
                  </a:cubicBezTo>
                  <a:cubicBezTo>
                    <a:pt x="2900" y="1388"/>
                    <a:pt x="2904" y="1394"/>
                    <a:pt x="2908" y="1400"/>
                  </a:cubicBezTo>
                  <a:lnTo>
                    <a:pt x="3808" y="2833"/>
                  </a:lnTo>
                  <a:cubicBezTo>
                    <a:pt x="3933" y="3065"/>
                    <a:pt x="4146" y="3230"/>
                    <a:pt x="4397" y="3301"/>
                  </a:cubicBezTo>
                  <a:lnTo>
                    <a:pt x="4397" y="5204"/>
                  </a:lnTo>
                  <a:cubicBezTo>
                    <a:pt x="4397" y="5386"/>
                    <a:pt x="4132" y="5590"/>
                    <a:pt x="3752" y="5590"/>
                  </a:cubicBezTo>
                  <a:cubicBezTo>
                    <a:pt x="3372" y="5590"/>
                    <a:pt x="3106" y="5386"/>
                    <a:pt x="3106" y="5204"/>
                  </a:cubicBezTo>
                  <a:lnTo>
                    <a:pt x="3106" y="3029"/>
                  </a:lnTo>
                  <a:cubicBezTo>
                    <a:pt x="3106" y="2508"/>
                    <a:pt x="2585" y="2100"/>
                    <a:pt x="1918" y="2100"/>
                  </a:cubicBezTo>
                  <a:cubicBezTo>
                    <a:pt x="1252" y="2100"/>
                    <a:pt x="730" y="2508"/>
                    <a:pt x="730" y="3029"/>
                  </a:cubicBezTo>
                  <a:lnTo>
                    <a:pt x="730" y="4621"/>
                  </a:lnTo>
                  <a:cubicBezTo>
                    <a:pt x="308" y="4738"/>
                    <a:pt x="0" y="5114"/>
                    <a:pt x="0" y="5558"/>
                  </a:cubicBezTo>
                  <a:cubicBezTo>
                    <a:pt x="0" y="6096"/>
                    <a:pt x="450" y="6533"/>
                    <a:pt x="1004" y="6533"/>
                  </a:cubicBezTo>
                  <a:cubicBezTo>
                    <a:pt x="1557" y="6533"/>
                    <a:pt x="2008" y="6096"/>
                    <a:pt x="2008" y="5558"/>
                  </a:cubicBezTo>
                  <a:cubicBezTo>
                    <a:pt x="2008" y="5110"/>
                    <a:pt x="1694" y="4732"/>
                    <a:pt x="1268" y="4618"/>
                  </a:cubicBezTo>
                  <a:lnTo>
                    <a:pt x="1268" y="3029"/>
                  </a:lnTo>
                  <a:cubicBezTo>
                    <a:pt x="1268" y="2846"/>
                    <a:pt x="1533" y="2642"/>
                    <a:pt x="1913" y="2642"/>
                  </a:cubicBezTo>
                  <a:cubicBezTo>
                    <a:pt x="2293" y="2642"/>
                    <a:pt x="2558" y="2846"/>
                    <a:pt x="2558" y="3029"/>
                  </a:cubicBezTo>
                  <a:lnTo>
                    <a:pt x="2558" y="5218"/>
                  </a:lnTo>
                  <a:cubicBezTo>
                    <a:pt x="2558" y="5225"/>
                    <a:pt x="2558" y="5233"/>
                    <a:pt x="2560" y="5240"/>
                  </a:cubicBezTo>
                  <a:cubicBezTo>
                    <a:pt x="2584" y="5742"/>
                    <a:pt x="3097" y="6132"/>
                    <a:pt x="3746" y="6132"/>
                  </a:cubicBezTo>
                  <a:cubicBezTo>
                    <a:pt x="4413" y="6132"/>
                    <a:pt x="4934" y="5724"/>
                    <a:pt x="4934" y="5202"/>
                  </a:cubicBezTo>
                  <a:lnTo>
                    <a:pt x="4934" y="3304"/>
                  </a:lnTo>
                  <a:cubicBezTo>
                    <a:pt x="5192" y="3233"/>
                    <a:pt x="5412" y="3062"/>
                    <a:pt x="5538" y="2824"/>
                  </a:cubicBezTo>
                  <a:lnTo>
                    <a:pt x="6417" y="1392"/>
                  </a:lnTo>
                  <a:cubicBezTo>
                    <a:pt x="6421" y="1386"/>
                    <a:pt x="6424" y="1380"/>
                    <a:pt x="6428" y="1374"/>
                  </a:cubicBezTo>
                  <a:cubicBezTo>
                    <a:pt x="6578" y="1082"/>
                    <a:pt x="6566" y="744"/>
                    <a:pt x="6396" y="465"/>
                  </a:cubicBezTo>
                  <a:close/>
                  <a:moveTo>
                    <a:pt x="1466" y="5558"/>
                  </a:moveTo>
                  <a:cubicBezTo>
                    <a:pt x="1466" y="5797"/>
                    <a:pt x="1258" y="5990"/>
                    <a:pt x="1004" y="5990"/>
                  </a:cubicBezTo>
                  <a:cubicBezTo>
                    <a:pt x="749" y="5990"/>
                    <a:pt x="541" y="5796"/>
                    <a:pt x="541" y="5558"/>
                  </a:cubicBezTo>
                  <a:cubicBezTo>
                    <a:pt x="541" y="5320"/>
                    <a:pt x="749" y="5126"/>
                    <a:pt x="1004" y="5126"/>
                  </a:cubicBezTo>
                  <a:cubicBezTo>
                    <a:pt x="1260" y="5126"/>
                    <a:pt x="1466" y="5320"/>
                    <a:pt x="1466" y="5558"/>
                  </a:cubicBezTo>
                  <a:close/>
                </a:path>
              </a:pathLst>
            </a:custGeom>
            <a:solidFill>
              <a:schemeClr val="bg1"/>
            </a:solidFill>
            <a:ln>
              <a:noFill/>
            </a:ln>
          </p:spPr>
          <p:txBody>
            <a:bodyPr/>
            <a:lstStyle/>
            <a:p>
              <a:endParaRPr lang="zh-CN" altLang="en-US">
                <a:latin typeface="+mj-ea"/>
                <a:ea typeface="+mj-ea"/>
                <a:cs typeface="+mn-ea"/>
                <a:sym typeface="+mn-lt"/>
              </a:endParaRPr>
            </a:p>
          </p:txBody>
        </p:sp>
      </p:grpSp>
      <p:grpSp>
        <p:nvGrpSpPr>
          <p:cNvPr id="21" name="组合 20"/>
          <p:cNvGrpSpPr/>
          <p:nvPr/>
        </p:nvGrpSpPr>
        <p:grpSpPr>
          <a:xfrm>
            <a:off x="7135943" y="1818845"/>
            <a:ext cx="817580" cy="817580"/>
            <a:chOff x="7063855" y="0"/>
            <a:chExt cx="817580" cy="817580"/>
          </a:xfrm>
        </p:grpSpPr>
        <p:sp>
          <p:nvSpPr>
            <p:cNvPr id="32" name="椭圆 31"/>
            <p:cNvSpPr/>
            <p:nvPr/>
          </p:nvSpPr>
          <p:spPr>
            <a:xfrm>
              <a:off x="7063855" y="0"/>
              <a:ext cx="817580" cy="817580"/>
            </a:xfrm>
            <a:prstGeom prst="ellipse">
              <a:avLst/>
            </a:prstGeom>
            <a:noFill/>
            <a:ln w="28575">
              <a:solidFill>
                <a:schemeClr val="bg1"/>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zh-CN" altLang="en-US" kern="0" dirty="0">
                <a:solidFill>
                  <a:schemeClr val="bg1">
                    <a:lumMod val="50000"/>
                  </a:schemeClr>
                </a:solidFill>
                <a:latin typeface="+mj-ea"/>
                <a:ea typeface="+mj-ea"/>
                <a:cs typeface="+mn-ea"/>
                <a:sym typeface="+mn-lt"/>
              </a:endParaRPr>
            </a:p>
          </p:txBody>
        </p:sp>
        <p:sp>
          <p:nvSpPr>
            <p:cNvPr id="71" name="money-bag_153179"/>
            <p:cNvSpPr>
              <a:spLocks noChangeAspect="1"/>
            </p:cNvSpPr>
            <p:nvPr/>
          </p:nvSpPr>
          <p:spPr bwMode="auto">
            <a:xfrm>
              <a:off x="7243341" y="139054"/>
              <a:ext cx="458607" cy="539471"/>
            </a:xfrm>
            <a:custGeom>
              <a:avLst/>
              <a:gdLst>
                <a:gd name="connsiteX0" fmla="*/ 273357 w 512658"/>
                <a:gd name="connsiteY0" fmla="*/ 391046 h 603052"/>
                <a:gd name="connsiteX1" fmla="*/ 273357 w 512658"/>
                <a:gd name="connsiteY1" fmla="*/ 445196 h 603052"/>
                <a:gd name="connsiteX2" fmla="*/ 288737 w 512658"/>
                <a:gd name="connsiteY2" fmla="*/ 419286 h 603052"/>
                <a:gd name="connsiteX3" fmla="*/ 273357 w 512658"/>
                <a:gd name="connsiteY3" fmla="*/ 391046 h 603052"/>
                <a:gd name="connsiteX4" fmla="*/ 247404 w 512658"/>
                <a:gd name="connsiteY4" fmla="*/ 300432 h 603052"/>
                <a:gd name="connsiteX5" fmla="*/ 228591 w 512658"/>
                <a:gd name="connsiteY5" fmla="*/ 321132 h 603052"/>
                <a:gd name="connsiteX6" fmla="*/ 247404 w 512658"/>
                <a:gd name="connsiteY6" fmla="*/ 345260 h 603052"/>
                <a:gd name="connsiteX7" fmla="*/ 260449 w 512658"/>
                <a:gd name="connsiteY7" fmla="*/ 249025 h 603052"/>
                <a:gd name="connsiteX8" fmla="*/ 274181 w 512658"/>
                <a:gd name="connsiteY8" fmla="*/ 261637 h 603052"/>
                <a:gd name="connsiteX9" fmla="*/ 274181 w 512658"/>
                <a:gd name="connsiteY9" fmla="*/ 268080 h 603052"/>
                <a:gd name="connsiteX10" fmla="*/ 316063 w 512658"/>
                <a:gd name="connsiteY10" fmla="*/ 291659 h 603052"/>
                <a:gd name="connsiteX11" fmla="*/ 300821 w 512658"/>
                <a:gd name="connsiteY11" fmla="*/ 309206 h 603052"/>
                <a:gd name="connsiteX12" fmla="*/ 290797 w 512658"/>
                <a:gd name="connsiteY12" fmla="*/ 305916 h 603052"/>
                <a:gd name="connsiteX13" fmla="*/ 274181 w 512658"/>
                <a:gd name="connsiteY13" fmla="*/ 299884 h 603052"/>
                <a:gd name="connsiteX14" fmla="*/ 274181 w 512658"/>
                <a:gd name="connsiteY14" fmla="*/ 354993 h 603052"/>
                <a:gd name="connsiteX15" fmla="*/ 321144 w 512658"/>
                <a:gd name="connsiteY15" fmla="*/ 417641 h 603052"/>
                <a:gd name="connsiteX16" fmla="*/ 274181 w 512658"/>
                <a:gd name="connsiteY16" fmla="*/ 477822 h 603052"/>
                <a:gd name="connsiteX17" fmla="*/ 274181 w 512658"/>
                <a:gd name="connsiteY17" fmla="*/ 487692 h 603052"/>
                <a:gd name="connsiteX18" fmla="*/ 260449 w 512658"/>
                <a:gd name="connsiteY18" fmla="*/ 500167 h 603052"/>
                <a:gd name="connsiteX19" fmla="*/ 246855 w 512658"/>
                <a:gd name="connsiteY19" fmla="*/ 487692 h 603052"/>
                <a:gd name="connsiteX20" fmla="*/ 246855 w 512658"/>
                <a:gd name="connsiteY20" fmla="*/ 479467 h 603052"/>
                <a:gd name="connsiteX21" fmla="*/ 191515 w 512658"/>
                <a:gd name="connsiteY21" fmla="*/ 442728 h 603052"/>
                <a:gd name="connsiteX22" fmla="*/ 207170 w 512658"/>
                <a:gd name="connsiteY22" fmla="*/ 425181 h 603052"/>
                <a:gd name="connsiteX23" fmla="*/ 219254 w 512658"/>
                <a:gd name="connsiteY23" fmla="*/ 432447 h 603052"/>
                <a:gd name="connsiteX24" fmla="*/ 246855 w 512658"/>
                <a:gd name="connsiteY24" fmla="*/ 447252 h 603052"/>
                <a:gd name="connsiteX25" fmla="*/ 246855 w 512658"/>
                <a:gd name="connsiteY25" fmla="*/ 380080 h 603052"/>
                <a:gd name="connsiteX26" fmla="*/ 196596 w 512658"/>
                <a:gd name="connsiteY26" fmla="*/ 322778 h 603052"/>
                <a:gd name="connsiteX27" fmla="*/ 246855 w 512658"/>
                <a:gd name="connsiteY27" fmla="*/ 268766 h 603052"/>
                <a:gd name="connsiteX28" fmla="*/ 246855 w 512658"/>
                <a:gd name="connsiteY28" fmla="*/ 261637 h 603052"/>
                <a:gd name="connsiteX29" fmla="*/ 260449 w 512658"/>
                <a:gd name="connsiteY29" fmla="*/ 249025 h 603052"/>
                <a:gd name="connsiteX30" fmla="*/ 256329 w 512658"/>
                <a:gd name="connsiteY30" fmla="*/ 201063 h 603052"/>
                <a:gd name="connsiteX31" fmla="*/ 100774 w 512658"/>
                <a:gd name="connsiteY31" fmla="*/ 356349 h 603052"/>
                <a:gd name="connsiteX32" fmla="*/ 100774 w 512658"/>
                <a:gd name="connsiteY32" fmla="*/ 496559 h 603052"/>
                <a:gd name="connsiteX33" fmla="*/ 87045 w 512658"/>
                <a:gd name="connsiteY33" fmla="*/ 520270 h 603052"/>
                <a:gd name="connsiteX34" fmla="*/ 61233 w 512658"/>
                <a:gd name="connsiteY34" fmla="*/ 548229 h 603052"/>
                <a:gd name="connsiteX35" fmla="*/ 451425 w 512658"/>
                <a:gd name="connsiteY35" fmla="*/ 548229 h 603052"/>
                <a:gd name="connsiteX36" fmla="*/ 425613 w 512658"/>
                <a:gd name="connsiteY36" fmla="*/ 520270 h 603052"/>
                <a:gd name="connsiteX37" fmla="*/ 411884 w 512658"/>
                <a:gd name="connsiteY37" fmla="*/ 496559 h 603052"/>
                <a:gd name="connsiteX38" fmla="*/ 411884 w 512658"/>
                <a:gd name="connsiteY38" fmla="*/ 356349 h 603052"/>
                <a:gd name="connsiteX39" fmla="*/ 256329 w 512658"/>
                <a:gd name="connsiteY39" fmla="*/ 201063 h 603052"/>
                <a:gd name="connsiteX40" fmla="*/ 201411 w 512658"/>
                <a:gd name="connsiteY40" fmla="*/ 54823 h 603052"/>
                <a:gd name="connsiteX41" fmla="*/ 176286 w 512658"/>
                <a:gd name="connsiteY41" fmla="*/ 71270 h 603052"/>
                <a:gd name="connsiteX42" fmla="*/ 256329 w 512658"/>
                <a:gd name="connsiteY42" fmla="*/ 137879 h 603052"/>
                <a:gd name="connsiteX43" fmla="*/ 336372 w 512658"/>
                <a:gd name="connsiteY43" fmla="*/ 71270 h 603052"/>
                <a:gd name="connsiteX44" fmla="*/ 311247 w 512658"/>
                <a:gd name="connsiteY44" fmla="*/ 54823 h 603052"/>
                <a:gd name="connsiteX45" fmla="*/ 201411 w 512658"/>
                <a:gd name="connsiteY45" fmla="*/ 0 h 603052"/>
                <a:gd name="connsiteX46" fmla="*/ 311247 w 512658"/>
                <a:gd name="connsiteY46" fmla="*/ 0 h 603052"/>
                <a:gd name="connsiteX47" fmla="*/ 393624 w 512658"/>
                <a:gd name="connsiteY47" fmla="*/ 82234 h 603052"/>
                <a:gd name="connsiteX48" fmla="*/ 383739 w 512658"/>
                <a:gd name="connsiteY48" fmla="*/ 103341 h 603052"/>
                <a:gd name="connsiteX49" fmla="*/ 320309 w 512658"/>
                <a:gd name="connsiteY49" fmla="*/ 156108 h 603052"/>
                <a:gd name="connsiteX50" fmla="*/ 466802 w 512658"/>
                <a:gd name="connsiteY50" fmla="*/ 356349 h 603052"/>
                <a:gd name="connsiteX51" fmla="*/ 466802 w 512658"/>
                <a:gd name="connsiteY51" fmla="*/ 482031 h 603052"/>
                <a:gd name="connsiteX52" fmla="*/ 512658 w 512658"/>
                <a:gd name="connsiteY52" fmla="*/ 575641 h 603052"/>
                <a:gd name="connsiteX53" fmla="*/ 485199 w 512658"/>
                <a:gd name="connsiteY53" fmla="*/ 603052 h 603052"/>
                <a:gd name="connsiteX54" fmla="*/ 27459 w 512658"/>
                <a:gd name="connsiteY54" fmla="*/ 603052 h 603052"/>
                <a:gd name="connsiteX55" fmla="*/ 0 w 512658"/>
                <a:gd name="connsiteY55" fmla="*/ 575641 h 603052"/>
                <a:gd name="connsiteX56" fmla="*/ 45856 w 512658"/>
                <a:gd name="connsiteY56" fmla="*/ 482031 h 603052"/>
                <a:gd name="connsiteX57" fmla="*/ 45856 w 512658"/>
                <a:gd name="connsiteY57" fmla="*/ 356349 h 603052"/>
                <a:gd name="connsiteX58" fmla="*/ 192350 w 512658"/>
                <a:gd name="connsiteY58" fmla="*/ 156108 h 603052"/>
                <a:gd name="connsiteX59" fmla="*/ 128919 w 512658"/>
                <a:gd name="connsiteY59" fmla="*/ 103341 h 603052"/>
                <a:gd name="connsiteX60" fmla="*/ 119034 w 512658"/>
                <a:gd name="connsiteY60" fmla="*/ 82234 h 603052"/>
                <a:gd name="connsiteX61" fmla="*/ 201411 w 512658"/>
                <a:gd name="connsiteY61" fmla="*/ 0 h 60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12658" h="603052">
                  <a:moveTo>
                    <a:pt x="273357" y="391046"/>
                  </a:moveTo>
                  <a:lnTo>
                    <a:pt x="273357" y="445196"/>
                  </a:lnTo>
                  <a:cubicBezTo>
                    <a:pt x="283656" y="440946"/>
                    <a:pt x="288737" y="432447"/>
                    <a:pt x="288737" y="419286"/>
                  </a:cubicBezTo>
                  <a:cubicBezTo>
                    <a:pt x="288737" y="404755"/>
                    <a:pt x="283244" y="396941"/>
                    <a:pt x="273357" y="391046"/>
                  </a:cubicBezTo>
                  <a:close/>
                  <a:moveTo>
                    <a:pt x="247404" y="300432"/>
                  </a:moveTo>
                  <a:cubicBezTo>
                    <a:pt x="228591" y="304545"/>
                    <a:pt x="228591" y="316746"/>
                    <a:pt x="228591" y="321132"/>
                  </a:cubicBezTo>
                  <a:cubicBezTo>
                    <a:pt x="228591" y="333607"/>
                    <a:pt x="234496" y="339639"/>
                    <a:pt x="247404" y="345260"/>
                  </a:cubicBezTo>
                  <a:close/>
                  <a:moveTo>
                    <a:pt x="260449" y="249025"/>
                  </a:moveTo>
                  <a:cubicBezTo>
                    <a:pt x="267727" y="249025"/>
                    <a:pt x="274181" y="254920"/>
                    <a:pt x="274181" y="261637"/>
                  </a:cubicBezTo>
                  <a:lnTo>
                    <a:pt x="274181" y="268080"/>
                  </a:lnTo>
                  <a:cubicBezTo>
                    <a:pt x="291621" y="269862"/>
                    <a:pt x="316063" y="276442"/>
                    <a:pt x="316063" y="291659"/>
                  </a:cubicBezTo>
                  <a:cubicBezTo>
                    <a:pt x="316063" y="298925"/>
                    <a:pt x="310296" y="309206"/>
                    <a:pt x="300821" y="309206"/>
                  </a:cubicBezTo>
                  <a:cubicBezTo>
                    <a:pt x="297388" y="309206"/>
                    <a:pt x="294367" y="307698"/>
                    <a:pt x="290797" y="305916"/>
                  </a:cubicBezTo>
                  <a:cubicBezTo>
                    <a:pt x="286815" y="303860"/>
                    <a:pt x="281734" y="301255"/>
                    <a:pt x="274181" y="299884"/>
                  </a:cubicBezTo>
                  <a:lnTo>
                    <a:pt x="274181" y="354993"/>
                  </a:lnTo>
                  <a:cubicBezTo>
                    <a:pt x="292857" y="361984"/>
                    <a:pt x="321144" y="375693"/>
                    <a:pt x="321144" y="417641"/>
                  </a:cubicBezTo>
                  <a:cubicBezTo>
                    <a:pt x="321144" y="449994"/>
                    <a:pt x="304117" y="471653"/>
                    <a:pt x="274181" y="477822"/>
                  </a:cubicBezTo>
                  <a:lnTo>
                    <a:pt x="274181" y="487692"/>
                  </a:lnTo>
                  <a:cubicBezTo>
                    <a:pt x="274181" y="494272"/>
                    <a:pt x="267727" y="500167"/>
                    <a:pt x="260449" y="500167"/>
                  </a:cubicBezTo>
                  <a:cubicBezTo>
                    <a:pt x="252897" y="500167"/>
                    <a:pt x="246855" y="494547"/>
                    <a:pt x="246855" y="487692"/>
                  </a:cubicBezTo>
                  <a:lnTo>
                    <a:pt x="246855" y="479467"/>
                  </a:lnTo>
                  <a:cubicBezTo>
                    <a:pt x="212800" y="476725"/>
                    <a:pt x="191515" y="456711"/>
                    <a:pt x="191515" y="442728"/>
                  </a:cubicBezTo>
                  <a:cubicBezTo>
                    <a:pt x="191515" y="434777"/>
                    <a:pt x="198519" y="425181"/>
                    <a:pt x="207170" y="425181"/>
                  </a:cubicBezTo>
                  <a:cubicBezTo>
                    <a:pt x="212388" y="425181"/>
                    <a:pt x="215683" y="428745"/>
                    <a:pt x="219254" y="432447"/>
                  </a:cubicBezTo>
                  <a:cubicBezTo>
                    <a:pt x="224197" y="437656"/>
                    <a:pt x="231475" y="445058"/>
                    <a:pt x="246855" y="447252"/>
                  </a:cubicBezTo>
                  <a:lnTo>
                    <a:pt x="246855" y="380080"/>
                  </a:lnTo>
                  <a:cubicBezTo>
                    <a:pt x="223648" y="371854"/>
                    <a:pt x="196596" y="360750"/>
                    <a:pt x="196596" y="322778"/>
                  </a:cubicBezTo>
                  <a:cubicBezTo>
                    <a:pt x="196596" y="292619"/>
                    <a:pt x="214722" y="273289"/>
                    <a:pt x="246855" y="268766"/>
                  </a:cubicBezTo>
                  <a:lnTo>
                    <a:pt x="246855" y="261637"/>
                  </a:lnTo>
                  <a:cubicBezTo>
                    <a:pt x="246855" y="254783"/>
                    <a:pt x="252897" y="249025"/>
                    <a:pt x="260449" y="249025"/>
                  </a:cubicBezTo>
                  <a:close/>
                  <a:moveTo>
                    <a:pt x="256329" y="201063"/>
                  </a:moveTo>
                  <a:cubicBezTo>
                    <a:pt x="170520" y="201063"/>
                    <a:pt x="100774" y="270688"/>
                    <a:pt x="100774" y="356349"/>
                  </a:cubicBezTo>
                  <a:lnTo>
                    <a:pt x="100774" y="496559"/>
                  </a:lnTo>
                  <a:cubicBezTo>
                    <a:pt x="100774" y="506290"/>
                    <a:pt x="95557" y="515335"/>
                    <a:pt x="87045" y="520270"/>
                  </a:cubicBezTo>
                  <a:cubicBezTo>
                    <a:pt x="75649" y="526848"/>
                    <a:pt x="66725" y="536716"/>
                    <a:pt x="61233" y="548229"/>
                  </a:cubicBezTo>
                  <a:lnTo>
                    <a:pt x="451425" y="548229"/>
                  </a:lnTo>
                  <a:cubicBezTo>
                    <a:pt x="445933" y="536716"/>
                    <a:pt x="437009" y="526848"/>
                    <a:pt x="425613" y="520270"/>
                  </a:cubicBezTo>
                  <a:cubicBezTo>
                    <a:pt x="417101" y="515335"/>
                    <a:pt x="411884" y="506290"/>
                    <a:pt x="411884" y="496559"/>
                  </a:cubicBezTo>
                  <a:lnTo>
                    <a:pt x="411884" y="356349"/>
                  </a:lnTo>
                  <a:cubicBezTo>
                    <a:pt x="411884" y="270688"/>
                    <a:pt x="342138" y="201063"/>
                    <a:pt x="256329" y="201063"/>
                  </a:cubicBezTo>
                  <a:close/>
                  <a:moveTo>
                    <a:pt x="201411" y="54823"/>
                  </a:moveTo>
                  <a:cubicBezTo>
                    <a:pt x="190153" y="54823"/>
                    <a:pt x="180405" y="61676"/>
                    <a:pt x="176286" y="71270"/>
                  </a:cubicBezTo>
                  <a:lnTo>
                    <a:pt x="256329" y="137879"/>
                  </a:lnTo>
                  <a:lnTo>
                    <a:pt x="336372" y="71270"/>
                  </a:lnTo>
                  <a:cubicBezTo>
                    <a:pt x="332253" y="61676"/>
                    <a:pt x="322505" y="54823"/>
                    <a:pt x="311247" y="54823"/>
                  </a:cubicBezTo>
                  <a:close/>
                  <a:moveTo>
                    <a:pt x="201411" y="0"/>
                  </a:moveTo>
                  <a:lnTo>
                    <a:pt x="311247" y="0"/>
                  </a:lnTo>
                  <a:cubicBezTo>
                    <a:pt x="356692" y="0"/>
                    <a:pt x="393624" y="36868"/>
                    <a:pt x="393624" y="82234"/>
                  </a:cubicBezTo>
                  <a:cubicBezTo>
                    <a:pt x="393624" y="90321"/>
                    <a:pt x="390054" y="98133"/>
                    <a:pt x="383739" y="103341"/>
                  </a:cubicBezTo>
                  <a:lnTo>
                    <a:pt x="320309" y="156108"/>
                  </a:lnTo>
                  <a:cubicBezTo>
                    <a:pt x="405157" y="183245"/>
                    <a:pt x="466802" y="262739"/>
                    <a:pt x="466802" y="356349"/>
                  </a:cubicBezTo>
                  <a:lnTo>
                    <a:pt x="466802" y="482031"/>
                  </a:lnTo>
                  <a:cubicBezTo>
                    <a:pt x="495359" y="504371"/>
                    <a:pt x="512658" y="538909"/>
                    <a:pt x="512658" y="575641"/>
                  </a:cubicBezTo>
                  <a:cubicBezTo>
                    <a:pt x="512658" y="590717"/>
                    <a:pt x="500302" y="603052"/>
                    <a:pt x="485199" y="603052"/>
                  </a:cubicBezTo>
                  <a:lnTo>
                    <a:pt x="27459" y="603052"/>
                  </a:lnTo>
                  <a:cubicBezTo>
                    <a:pt x="12356" y="603052"/>
                    <a:pt x="0" y="590717"/>
                    <a:pt x="0" y="575641"/>
                  </a:cubicBezTo>
                  <a:cubicBezTo>
                    <a:pt x="0" y="538909"/>
                    <a:pt x="17299" y="504371"/>
                    <a:pt x="45856" y="482031"/>
                  </a:cubicBezTo>
                  <a:lnTo>
                    <a:pt x="45856" y="356349"/>
                  </a:lnTo>
                  <a:cubicBezTo>
                    <a:pt x="45856" y="262739"/>
                    <a:pt x="107501" y="183245"/>
                    <a:pt x="192350" y="156108"/>
                  </a:cubicBezTo>
                  <a:lnTo>
                    <a:pt x="128919" y="103341"/>
                  </a:lnTo>
                  <a:cubicBezTo>
                    <a:pt x="122604" y="98133"/>
                    <a:pt x="119034" y="90321"/>
                    <a:pt x="119034" y="82234"/>
                  </a:cubicBezTo>
                  <a:cubicBezTo>
                    <a:pt x="119034" y="36868"/>
                    <a:pt x="155966" y="0"/>
                    <a:pt x="201411" y="0"/>
                  </a:cubicBezTo>
                  <a:close/>
                </a:path>
              </a:pathLst>
            </a:custGeom>
            <a:solidFill>
              <a:schemeClr val="bg1"/>
            </a:solidFill>
            <a:ln>
              <a:noFill/>
            </a:ln>
          </p:spPr>
          <p:txBody>
            <a:bodyPr/>
            <a:lstStyle/>
            <a:p>
              <a:endParaRPr lang="zh-CN" altLang="en-US">
                <a:latin typeface="+mj-ea"/>
                <a:ea typeface="+mj-ea"/>
                <a:cs typeface="+mn-ea"/>
                <a:sym typeface="+mn-lt"/>
              </a:endParaRPr>
            </a:p>
          </p:txBody>
        </p:sp>
      </p:grpSp>
      <p:grpSp>
        <p:nvGrpSpPr>
          <p:cNvPr id="22" name="组合 21"/>
          <p:cNvGrpSpPr/>
          <p:nvPr/>
        </p:nvGrpSpPr>
        <p:grpSpPr>
          <a:xfrm>
            <a:off x="10000578" y="1818845"/>
            <a:ext cx="817580" cy="817580"/>
            <a:chOff x="9613983" y="0"/>
            <a:chExt cx="817580" cy="817580"/>
          </a:xfrm>
        </p:grpSpPr>
        <p:sp>
          <p:nvSpPr>
            <p:cNvPr id="33" name="椭圆 32"/>
            <p:cNvSpPr/>
            <p:nvPr/>
          </p:nvSpPr>
          <p:spPr>
            <a:xfrm>
              <a:off x="9613983" y="0"/>
              <a:ext cx="817580" cy="817580"/>
            </a:xfrm>
            <a:prstGeom prst="ellipse">
              <a:avLst/>
            </a:prstGeom>
            <a:noFill/>
            <a:ln w="28575">
              <a:solidFill>
                <a:schemeClr val="bg1"/>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zh-CN" altLang="en-US" kern="0" dirty="0">
                <a:solidFill>
                  <a:schemeClr val="bg1">
                    <a:lumMod val="50000"/>
                  </a:schemeClr>
                </a:solidFill>
                <a:latin typeface="+mj-ea"/>
                <a:ea typeface="+mj-ea"/>
                <a:cs typeface="+mn-ea"/>
                <a:sym typeface="+mn-lt"/>
              </a:endParaRPr>
            </a:p>
          </p:txBody>
        </p:sp>
        <p:sp>
          <p:nvSpPr>
            <p:cNvPr id="72" name="boss_304505"/>
            <p:cNvSpPr>
              <a:spLocks noChangeAspect="1"/>
            </p:cNvSpPr>
            <p:nvPr/>
          </p:nvSpPr>
          <p:spPr bwMode="auto">
            <a:xfrm>
              <a:off x="9860212" y="89129"/>
              <a:ext cx="325122" cy="609685"/>
            </a:xfrm>
            <a:custGeom>
              <a:avLst/>
              <a:gdLst>
                <a:gd name="T0" fmla="*/ 2688 w 3635"/>
                <a:gd name="T1" fmla="*/ 3413 h 6827"/>
                <a:gd name="T2" fmla="*/ 3635 w 3635"/>
                <a:gd name="T3" fmla="*/ 1818 h 6827"/>
                <a:gd name="T4" fmla="*/ 1817 w 3635"/>
                <a:gd name="T5" fmla="*/ 0 h 6827"/>
                <a:gd name="T6" fmla="*/ 0 w 3635"/>
                <a:gd name="T7" fmla="*/ 1818 h 6827"/>
                <a:gd name="T8" fmla="*/ 947 w 3635"/>
                <a:gd name="T9" fmla="*/ 3413 h 6827"/>
                <a:gd name="T10" fmla="*/ 0 w 3635"/>
                <a:gd name="T11" fmla="*/ 5009 h 6827"/>
                <a:gd name="T12" fmla="*/ 0 w 3635"/>
                <a:gd name="T13" fmla="*/ 6589 h 6827"/>
                <a:gd name="T14" fmla="*/ 238 w 3635"/>
                <a:gd name="T15" fmla="*/ 6827 h 6827"/>
                <a:gd name="T16" fmla="*/ 3397 w 3635"/>
                <a:gd name="T17" fmla="*/ 6827 h 6827"/>
                <a:gd name="T18" fmla="*/ 3635 w 3635"/>
                <a:gd name="T19" fmla="*/ 6589 h 6827"/>
                <a:gd name="T20" fmla="*/ 3635 w 3635"/>
                <a:gd name="T21" fmla="*/ 5009 h 6827"/>
                <a:gd name="T22" fmla="*/ 2688 w 3635"/>
                <a:gd name="T23" fmla="*/ 3413 h 6827"/>
                <a:gd name="T24" fmla="*/ 1809 w 3635"/>
                <a:gd name="T25" fmla="*/ 476 h 6827"/>
                <a:gd name="T26" fmla="*/ 3041 w 3635"/>
                <a:gd name="T27" fmla="*/ 1286 h 6827"/>
                <a:gd name="T28" fmla="*/ 1888 w 3635"/>
                <a:gd name="T29" fmla="*/ 880 h 6827"/>
                <a:gd name="T30" fmla="*/ 1730 w 3635"/>
                <a:gd name="T31" fmla="*/ 880 h 6827"/>
                <a:gd name="T32" fmla="*/ 578 w 3635"/>
                <a:gd name="T33" fmla="*/ 1286 h 6827"/>
                <a:gd name="T34" fmla="*/ 1809 w 3635"/>
                <a:gd name="T35" fmla="*/ 476 h 6827"/>
                <a:gd name="T36" fmla="*/ 468 w 3635"/>
                <a:gd name="T37" fmla="*/ 1829 h 6827"/>
                <a:gd name="T38" fmla="*/ 1809 w 3635"/>
                <a:gd name="T39" fmla="*/ 1357 h 6827"/>
                <a:gd name="T40" fmla="*/ 3151 w 3635"/>
                <a:gd name="T41" fmla="*/ 1829 h 6827"/>
                <a:gd name="T42" fmla="*/ 1809 w 3635"/>
                <a:gd name="T43" fmla="*/ 3159 h 6827"/>
                <a:gd name="T44" fmla="*/ 468 w 3635"/>
                <a:gd name="T45" fmla="*/ 1829 h 6827"/>
                <a:gd name="T46" fmla="*/ 2585 w 3635"/>
                <a:gd name="T47" fmla="*/ 3916 h 6827"/>
                <a:gd name="T48" fmla="*/ 1809 w 3635"/>
                <a:gd name="T49" fmla="*/ 4222 h 6827"/>
                <a:gd name="T50" fmla="*/ 1033 w 3635"/>
                <a:gd name="T51" fmla="*/ 3916 h 6827"/>
                <a:gd name="T52" fmla="*/ 2585 w 3635"/>
                <a:gd name="T53" fmla="*/ 3916 h 6827"/>
                <a:gd name="T54" fmla="*/ 1116 w 3635"/>
                <a:gd name="T55" fmla="*/ 6116 h 6827"/>
                <a:gd name="T56" fmla="*/ 1310 w 3635"/>
                <a:gd name="T57" fmla="*/ 6350 h 6827"/>
                <a:gd name="T58" fmla="*/ 476 w 3635"/>
                <a:gd name="T59" fmla="*/ 6350 h 6827"/>
                <a:gd name="T60" fmla="*/ 476 w 3635"/>
                <a:gd name="T61" fmla="*/ 5009 h 6827"/>
                <a:gd name="T62" fmla="*/ 687 w 3635"/>
                <a:gd name="T63" fmla="*/ 4288 h 6827"/>
                <a:gd name="T64" fmla="*/ 1517 w 3635"/>
                <a:gd name="T65" fmla="*/ 4616 h 6827"/>
                <a:gd name="T66" fmla="*/ 1075 w 3635"/>
                <a:gd name="T67" fmla="*/ 5886 h 6827"/>
                <a:gd name="T68" fmla="*/ 1116 w 3635"/>
                <a:gd name="T69" fmla="*/ 6116 h 6827"/>
                <a:gd name="T70" fmla="*/ 1809 w 3635"/>
                <a:gd name="T71" fmla="*/ 6216 h 6827"/>
                <a:gd name="T72" fmla="*/ 1561 w 3635"/>
                <a:gd name="T73" fmla="*/ 5916 h 6827"/>
                <a:gd name="T74" fmla="*/ 1809 w 3635"/>
                <a:gd name="T75" fmla="*/ 5202 h 6827"/>
                <a:gd name="T76" fmla="*/ 2058 w 3635"/>
                <a:gd name="T77" fmla="*/ 5916 h 6827"/>
                <a:gd name="T78" fmla="*/ 1809 w 3635"/>
                <a:gd name="T79" fmla="*/ 6216 h 6827"/>
                <a:gd name="T80" fmla="*/ 3159 w 3635"/>
                <a:gd name="T81" fmla="*/ 6350 h 6827"/>
                <a:gd name="T82" fmla="*/ 2324 w 3635"/>
                <a:gd name="T83" fmla="*/ 6350 h 6827"/>
                <a:gd name="T84" fmla="*/ 2518 w 3635"/>
                <a:gd name="T85" fmla="*/ 6116 h 6827"/>
                <a:gd name="T86" fmla="*/ 2560 w 3635"/>
                <a:gd name="T87" fmla="*/ 5886 h 6827"/>
                <a:gd name="T88" fmla="*/ 2117 w 3635"/>
                <a:gd name="T89" fmla="*/ 4616 h 6827"/>
                <a:gd name="T90" fmla="*/ 2948 w 3635"/>
                <a:gd name="T91" fmla="*/ 4288 h 6827"/>
                <a:gd name="T92" fmla="*/ 3159 w 3635"/>
                <a:gd name="T93" fmla="*/ 5009 h 6827"/>
                <a:gd name="T94" fmla="*/ 3159 w 3635"/>
                <a:gd name="T95" fmla="*/ 6350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35" h="6827">
                  <a:moveTo>
                    <a:pt x="2688" y="3413"/>
                  </a:moveTo>
                  <a:cubicBezTo>
                    <a:pt x="3252" y="3104"/>
                    <a:pt x="3635" y="2505"/>
                    <a:pt x="3635" y="1818"/>
                  </a:cubicBezTo>
                  <a:cubicBezTo>
                    <a:pt x="3635" y="816"/>
                    <a:pt x="2820" y="0"/>
                    <a:pt x="1817" y="0"/>
                  </a:cubicBezTo>
                  <a:cubicBezTo>
                    <a:pt x="815" y="0"/>
                    <a:pt x="0" y="816"/>
                    <a:pt x="0" y="1818"/>
                  </a:cubicBezTo>
                  <a:cubicBezTo>
                    <a:pt x="0" y="2505"/>
                    <a:pt x="383" y="3104"/>
                    <a:pt x="947" y="3413"/>
                  </a:cubicBezTo>
                  <a:cubicBezTo>
                    <a:pt x="373" y="3728"/>
                    <a:pt x="0" y="4333"/>
                    <a:pt x="0" y="5009"/>
                  </a:cubicBezTo>
                  <a:lnTo>
                    <a:pt x="0" y="6589"/>
                  </a:lnTo>
                  <a:cubicBezTo>
                    <a:pt x="0" y="6720"/>
                    <a:pt x="106" y="6827"/>
                    <a:pt x="238" y="6827"/>
                  </a:cubicBezTo>
                  <a:lnTo>
                    <a:pt x="3397" y="6827"/>
                  </a:lnTo>
                  <a:cubicBezTo>
                    <a:pt x="3529" y="6827"/>
                    <a:pt x="3635" y="6720"/>
                    <a:pt x="3635" y="6589"/>
                  </a:cubicBezTo>
                  <a:lnTo>
                    <a:pt x="3635" y="5009"/>
                  </a:lnTo>
                  <a:cubicBezTo>
                    <a:pt x="3635" y="4334"/>
                    <a:pt x="3263" y="3728"/>
                    <a:pt x="2688" y="3413"/>
                  </a:cubicBezTo>
                  <a:close/>
                  <a:moveTo>
                    <a:pt x="1809" y="476"/>
                  </a:moveTo>
                  <a:cubicBezTo>
                    <a:pt x="2360" y="476"/>
                    <a:pt x="2834" y="810"/>
                    <a:pt x="3041" y="1286"/>
                  </a:cubicBezTo>
                  <a:lnTo>
                    <a:pt x="1888" y="880"/>
                  </a:lnTo>
                  <a:cubicBezTo>
                    <a:pt x="1837" y="862"/>
                    <a:pt x="1781" y="862"/>
                    <a:pt x="1730" y="880"/>
                  </a:cubicBezTo>
                  <a:lnTo>
                    <a:pt x="578" y="1286"/>
                  </a:lnTo>
                  <a:cubicBezTo>
                    <a:pt x="785" y="810"/>
                    <a:pt x="1259" y="476"/>
                    <a:pt x="1809" y="476"/>
                  </a:cubicBezTo>
                  <a:close/>
                  <a:moveTo>
                    <a:pt x="468" y="1829"/>
                  </a:moveTo>
                  <a:lnTo>
                    <a:pt x="1809" y="1357"/>
                  </a:lnTo>
                  <a:lnTo>
                    <a:pt x="3151" y="1829"/>
                  </a:lnTo>
                  <a:cubicBezTo>
                    <a:pt x="3144" y="2564"/>
                    <a:pt x="2545" y="3159"/>
                    <a:pt x="1809" y="3159"/>
                  </a:cubicBezTo>
                  <a:cubicBezTo>
                    <a:pt x="1074" y="3159"/>
                    <a:pt x="474" y="2564"/>
                    <a:pt x="468" y="1829"/>
                  </a:cubicBezTo>
                  <a:close/>
                  <a:moveTo>
                    <a:pt x="2585" y="3916"/>
                  </a:moveTo>
                  <a:lnTo>
                    <a:pt x="1809" y="4222"/>
                  </a:lnTo>
                  <a:lnTo>
                    <a:pt x="1033" y="3916"/>
                  </a:lnTo>
                  <a:cubicBezTo>
                    <a:pt x="1498" y="3585"/>
                    <a:pt x="2120" y="3584"/>
                    <a:pt x="2585" y="3916"/>
                  </a:cubicBezTo>
                  <a:close/>
                  <a:moveTo>
                    <a:pt x="1116" y="6116"/>
                  </a:moveTo>
                  <a:lnTo>
                    <a:pt x="1310" y="6350"/>
                  </a:lnTo>
                  <a:lnTo>
                    <a:pt x="476" y="6350"/>
                  </a:lnTo>
                  <a:lnTo>
                    <a:pt x="476" y="5009"/>
                  </a:lnTo>
                  <a:cubicBezTo>
                    <a:pt x="476" y="4743"/>
                    <a:pt x="554" y="4496"/>
                    <a:pt x="687" y="4288"/>
                  </a:cubicBezTo>
                  <a:lnTo>
                    <a:pt x="1517" y="4616"/>
                  </a:lnTo>
                  <a:lnTo>
                    <a:pt x="1075" y="5886"/>
                  </a:lnTo>
                  <a:cubicBezTo>
                    <a:pt x="1047" y="5965"/>
                    <a:pt x="1063" y="6052"/>
                    <a:pt x="1116" y="6116"/>
                  </a:cubicBezTo>
                  <a:close/>
                  <a:moveTo>
                    <a:pt x="1809" y="6216"/>
                  </a:moveTo>
                  <a:lnTo>
                    <a:pt x="1561" y="5916"/>
                  </a:lnTo>
                  <a:lnTo>
                    <a:pt x="1809" y="5202"/>
                  </a:lnTo>
                  <a:lnTo>
                    <a:pt x="2058" y="5916"/>
                  </a:lnTo>
                  <a:lnTo>
                    <a:pt x="1809" y="6216"/>
                  </a:lnTo>
                  <a:close/>
                  <a:moveTo>
                    <a:pt x="3159" y="6350"/>
                  </a:moveTo>
                  <a:lnTo>
                    <a:pt x="2324" y="6350"/>
                  </a:lnTo>
                  <a:lnTo>
                    <a:pt x="2518" y="6116"/>
                  </a:lnTo>
                  <a:cubicBezTo>
                    <a:pt x="2572" y="6052"/>
                    <a:pt x="2588" y="5965"/>
                    <a:pt x="2560" y="5886"/>
                  </a:cubicBezTo>
                  <a:lnTo>
                    <a:pt x="2117" y="4616"/>
                  </a:lnTo>
                  <a:lnTo>
                    <a:pt x="2948" y="4288"/>
                  </a:lnTo>
                  <a:cubicBezTo>
                    <a:pt x="3081" y="4496"/>
                    <a:pt x="3159" y="4743"/>
                    <a:pt x="3159" y="5009"/>
                  </a:cubicBezTo>
                  <a:lnTo>
                    <a:pt x="3159" y="6350"/>
                  </a:lnTo>
                  <a:close/>
                </a:path>
              </a:pathLst>
            </a:custGeom>
            <a:solidFill>
              <a:schemeClr val="bg1"/>
            </a:solidFill>
            <a:ln>
              <a:noFill/>
            </a:ln>
          </p:spPr>
          <p:txBody>
            <a:bodyPr/>
            <a:lstStyle/>
            <a:p>
              <a:endParaRPr lang="zh-CN" altLang="en-US">
                <a:latin typeface="+mj-ea"/>
                <a:ea typeface="+mj-ea"/>
                <a:cs typeface="+mn-ea"/>
                <a:sym typeface="+mn-lt"/>
              </a:endParaRPr>
            </a:p>
          </p:txBody>
        </p:sp>
      </p:grpSp>
      <p:sp>
        <p:nvSpPr>
          <p:cNvPr id="3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内容</a:t>
            </a:r>
            <a:r>
              <a:rPr lang="en-US" altLang="zh-CN" sz="2400" dirty="0" smtClean="0">
                <a:latin typeface="+mj-ea"/>
              </a:rPr>
              <a:t>-</a:t>
            </a:r>
            <a:r>
              <a:rPr lang="zh-CN" altLang="en-US" sz="2400" dirty="0" smtClean="0">
                <a:latin typeface="+mj-ea"/>
              </a:rPr>
              <a:t>科技</a:t>
            </a:r>
            <a:endParaRPr lang="zh-CN" altLang="en-US" sz="2400" dirty="0">
              <a:solidFill>
                <a:prstClr val="black"/>
              </a:solidFill>
              <a:latin typeface="华文楷体" panose="02010600040101010101" charset="-122"/>
              <a:ea typeface="华文楷体" panose="02010600040101010101" charset="-122"/>
            </a:endParaRPr>
          </a:p>
        </p:txBody>
      </p:sp>
      <p:pic>
        <p:nvPicPr>
          <p:cNvPr id="37" name="图片 36"/>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776" name="think-cell Slide" r:id="rId2" imgW="12700" imgH="12700" progId="TCLayout.ActiveDocument.1">
                  <p:embed/>
                </p:oleObj>
              </mc:Choice>
              <mc:Fallback>
                <p:oleObj name="think-cell Slide" r:id="rId2" imgW="12700" imgH="12700" progId="TCLayout.ActiveDocument.1">
                  <p:embed/>
                  <p:pic>
                    <p:nvPicPr>
                      <p:cNvPr id="0" name="对象 5"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7" name="矩形 36"/>
          <p:cNvSpPr/>
          <p:nvPr/>
        </p:nvSpPr>
        <p:spPr>
          <a:xfrm>
            <a:off x="489856" y="2116368"/>
            <a:ext cx="11255829" cy="4014677"/>
          </a:xfrm>
          <a:prstGeom prst="rect">
            <a:avLst/>
          </a:prstGeom>
          <a:solidFill>
            <a:schemeClr val="bg1"/>
          </a:solidFill>
          <a:ln w="19050"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4" name="矩形 3"/>
          <p:cNvSpPr/>
          <p:nvPr/>
        </p:nvSpPr>
        <p:spPr>
          <a:xfrm>
            <a:off x="1534886" y="5299864"/>
            <a:ext cx="10058699" cy="537929"/>
          </a:xfrm>
          <a:prstGeom prst="rect">
            <a:avLst/>
          </a:prstGeom>
          <a:solidFill>
            <a:schemeClr val="tx2"/>
          </a:solidFill>
          <a:ln w="38100" cap="flat" cmpd="sng" algn="ctr">
            <a:noFill/>
            <a:prstDash val="solid"/>
          </a:ln>
          <a:effectLst/>
        </p:spPr>
        <p:txBody>
          <a:bodyPr lIns="68570" tIns="0" rIns="68570" bIns="34286"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000" b="1" i="0" u="none" strike="noStrike" kern="0" cap="none" spc="0" normalizeH="0" noProof="0" smtClean="0">
                <a:ln>
                  <a:noFill/>
                </a:ln>
                <a:solidFill>
                  <a:prstClr val="white"/>
                </a:solidFill>
                <a:effectLst/>
                <a:uLnTx/>
                <a:uFillTx/>
                <a:cs typeface="+mn-ea"/>
                <a:sym typeface="+mn-lt"/>
              </a:rPr>
              <a:t>XXXX</a:t>
            </a:r>
            <a:endParaRPr kumimoji="0" lang="zh-CN" altLang="en-US" sz="2000" b="1" i="0" u="none" strike="noStrike" kern="0" cap="none" spc="0" normalizeH="0" noProof="0" dirty="0" smtClean="0">
              <a:ln>
                <a:noFill/>
              </a:ln>
              <a:solidFill>
                <a:prstClr val="white"/>
              </a:solidFill>
              <a:effectLst/>
              <a:uLnTx/>
              <a:uFillTx/>
              <a:cs typeface="+mn-ea"/>
              <a:sym typeface="+mn-lt"/>
            </a:endParaRPr>
          </a:p>
        </p:txBody>
      </p:sp>
      <p:sp>
        <p:nvSpPr>
          <p:cNvPr id="28" name="íṩļîdé"/>
          <p:cNvSpPr/>
          <p:nvPr/>
        </p:nvSpPr>
        <p:spPr>
          <a:xfrm rot="8100000">
            <a:off x="3273292" y="2514605"/>
            <a:ext cx="1228756" cy="1228758"/>
          </a:xfrm>
          <a:prstGeom prst="teardrop">
            <a:avLst/>
          </a:prstGeom>
          <a:solidFill>
            <a:srgbClr val="FE5817"/>
          </a:solidFill>
          <a:ln w="762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2000" b="0" i="0" u="none" strike="noStrike" kern="0" cap="none" spc="0" normalizeH="0" baseline="0" noProof="0" smtClean="0">
              <a:ln>
                <a:noFill/>
              </a:ln>
              <a:solidFill>
                <a:prstClr val="white"/>
              </a:solidFill>
              <a:effectLst/>
              <a:uLnTx/>
              <a:uFillTx/>
              <a:cs typeface="+mn-ea"/>
              <a:sym typeface="+mn-lt"/>
            </a:endParaRPr>
          </a:p>
        </p:txBody>
      </p:sp>
      <p:sp>
        <p:nvSpPr>
          <p:cNvPr id="30" name="îšļîďé"/>
          <p:cNvSpPr/>
          <p:nvPr/>
        </p:nvSpPr>
        <p:spPr bwMode="auto">
          <a:xfrm>
            <a:off x="3570136" y="2869517"/>
            <a:ext cx="671239" cy="543308"/>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ysClr val="window" lastClr="FFFFFF"/>
          </a:solidFill>
          <a:ln>
            <a:noFill/>
          </a:ln>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2000" b="0" i="0" u="none" strike="noStrike" kern="1200" cap="none" spc="0" normalizeH="0" baseline="0" noProof="0">
              <a:ln>
                <a:noFill/>
              </a:ln>
              <a:solidFill>
                <a:srgbClr val="575757"/>
              </a:solidFill>
              <a:effectLst/>
              <a:uLnTx/>
              <a:uFillTx/>
              <a:cs typeface="+mn-ea"/>
              <a:sym typeface="+mn-lt"/>
            </a:endParaRPr>
          </a:p>
        </p:txBody>
      </p:sp>
      <p:sp>
        <p:nvSpPr>
          <p:cNvPr id="31" name="TextBox 82"/>
          <p:cNvSpPr txBox="1"/>
          <p:nvPr/>
        </p:nvSpPr>
        <p:spPr>
          <a:xfrm>
            <a:off x="5338828" y="4343406"/>
            <a:ext cx="2546418" cy="363077"/>
          </a:xfrm>
          <a:prstGeom prst="rect">
            <a:avLst/>
          </a:prstGeom>
          <a:noFill/>
        </p:spPr>
        <p:txBody>
          <a:bodyPr wrap="square" lIns="36000" tIns="0" rIns="36000" bIns="0" rtlCol="0" anchor="ctr">
            <a:noAutofit/>
          </a:bodyPr>
          <a:lstStyle/>
          <a:p>
            <a:pPr lvl="0" algn="ctr">
              <a:defRPr/>
            </a:pPr>
            <a:r>
              <a:rPr lang="en-US" altLang="zh-CN" sz="2000" b="1" kern="0" smtClean="0">
                <a:cs typeface="+mn-ea"/>
                <a:sym typeface="+mn-lt"/>
              </a:rPr>
              <a:t>XXX</a:t>
            </a:r>
            <a:endParaRPr lang="en-US" altLang="zh-CN" sz="2000" b="1" kern="0" dirty="0">
              <a:cs typeface="+mn-ea"/>
              <a:sym typeface="+mn-lt"/>
            </a:endParaRPr>
          </a:p>
        </p:txBody>
      </p:sp>
      <p:sp>
        <p:nvSpPr>
          <p:cNvPr id="32" name="TextBox 75"/>
          <p:cNvSpPr txBox="1"/>
          <p:nvPr/>
        </p:nvSpPr>
        <p:spPr>
          <a:xfrm>
            <a:off x="2652710" y="4343406"/>
            <a:ext cx="2546418" cy="363077"/>
          </a:xfrm>
          <a:prstGeom prst="rect">
            <a:avLst/>
          </a:prstGeom>
          <a:noFill/>
        </p:spPr>
        <p:txBody>
          <a:bodyPr wrap="square" lIns="36000" tIns="0" rIns="36000" bIns="0" rtlCol="0" anchor="ctr">
            <a:noAutofit/>
          </a:bodyPr>
          <a:lstStyle/>
          <a:p>
            <a:pPr lvl="0" algn="ctr">
              <a:defRPr/>
            </a:pPr>
            <a:r>
              <a:rPr lang="en-US" altLang="zh-CN" sz="2000" b="1" kern="0" smtClean="0">
                <a:cs typeface="+mn-ea"/>
                <a:sym typeface="+mn-lt"/>
              </a:rPr>
              <a:t>XXX</a:t>
            </a:r>
            <a:endParaRPr lang="en-US" altLang="zh-CN" sz="2000" b="1" kern="0" dirty="0">
              <a:cs typeface="+mn-ea"/>
              <a:sym typeface="+mn-lt"/>
            </a:endParaRPr>
          </a:p>
        </p:txBody>
      </p:sp>
      <p:sp>
        <p:nvSpPr>
          <p:cNvPr id="33" name="TextBox 76"/>
          <p:cNvSpPr txBox="1"/>
          <p:nvPr/>
        </p:nvSpPr>
        <p:spPr>
          <a:xfrm>
            <a:off x="8024946" y="4343406"/>
            <a:ext cx="2546418" cy="363077"/>
          </a:xfrm>
          <a:prstGeom prst="rect">
            <a:avLst/>
          </a:prstGeom>
          <a:noFill/>
        </p:spPr>
        <p:txBody>
          <a:bodyPr wrap="square" lIns="36000" tIns="0" rIns="36000" bIns="0" rtlCol="0" anchor="ctr">
            <a:noAutofit/>
          </a:bodyPr>
          <a:lstStyle/>
          <a:p>
            <a:pPr lvl="0" algn="ctr">
              <a:defRPr/>
            </a:pPr>
            <a:r>
              <a:rPr lang="en-US" altLang="zh-CN" sz="2000" b="1" kern="0" smtClean="0">
                <a:cs typeface="+mn-ea"/>
                <a:sym typeface="+mn-lt"/>
              </a:rPr>
              <a:t>XXX</a:t>
            </a:r>
            <a:endParaRPr lang="en-US" altLang="zh-CN" sz="2000" b="1" kern="0" dirty="0">
              <a:cs typeface="+mn-ea"/>
              <a:sym typeface="+mn-lt"/>
            </a:endParaRPr>
          </a:p>
        </p:txBody>
      </p:sp>
      <p:sp>
        <p:nvSpPr>
          <p:cNvPr id="35" name="íSļïḋè"/>
          <p:cNvSpPr/>
          <p:nvPr/>
        </p:nvSpPr>
        <p:spPr>
          <a:xfrm>
            <a:off x="6115331" y="4051873"/>
            <a:ext cx="1010182" cy="313306"/>
          </a:xfrm>
          <a:prstGeom prst="ellipse">
            <a:avLst/>
          </a:prstGeom>
          <a:solidFill>
            <a:srgbClr val="FE5817"/>
          </a:solidFill>
          <a:ln w="762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2000" b="0" i="0" u="none" strike="noStrike" kern="0" cap="none" spc="0" normalizeH="0" baseline="0" noProof="0" smtClean="0">
              <a:ln>
                <a:noFill/>
              </a:ln>
              <a:solidFill>
                <a:prstClr val="white"/>
              </a:solidFill>
              <a:effectLst/>
              <a:uLnTx/>
              <a:uFillTx/>
              <a:cs typeface="+mn-ea"/>
              <a:sym typeface="+mn-lt"/>
            </a:endParaRPr>
          </a:p>
        </p:txBody>
      </p:sp>
      <p:sp>
        <p:nvSpPr>
          <p:cNvPr id="36" name="íṩļîdé"/>
          <p:cNvSpPr/>
          <p:nvPr/>
        </p:nvSpPr>
        <p:spPr>
          <a:xfrm rot="8100000">
            <a:off x="5997658" y="2721436"/>
            <a:ext cx="1228758" cy="1228760"/>
          </a:xfrm>
          <a:prstGeom prst="teardrop">
            <a:avLst/>
          </a:prstGeom>
          <a:solidFill>
            <a:srgbClr val="FE5817"/>
          </a:solidFill>
          <a:ln w="76200" cap="flat" cmpd="sng" algn="ctr">
            <a:noFill/>
            <a:prstDash val="solid"/>
          </a:ln>
          <a:effectLst/>
        </p:spPr>
        <p:txBody>
          <a:bodyPr anchor="ctr"/>
          <a:lstStyle/>
          <a:p>
            <a:pPr algn="ctr"/>
            <a:endParaRPr sz="2000" kern="0">
              <a:solidFill>
                <a:prstClr val="white"/>
              </a:solidFill>
              <a:cs typeface="+mn-ea"/>
              <a:sym typeface="+mn-lt"/>
            </a:endParaRPr>
          </a:p>
        </p:txBody>
      </p:sp>
      <p:grpSp>
        <p:nvGrpSpPr>
          <p:cNvPr id="38" name="Group 18"/>
          <p:cNvGrpSpPr/>
          <p:nvPr/>
        </p:nvGrpSpPr>
        <p:grpSpPr>
          <a:xfrm>
            <a:off x="6312995" y="2971666"/>
            <a:ext cx="588222" cy="664644"/>
            <a:chOff x="7105650" y="5511800"/>
            <a:chExt cx="806450" cy="911225"/>
          </a:xfrm>
          <a:solidFill>
            <a:schemeClr val="bg1"/>
          </a:solidFill>
        </p:grpSpPr>
        <p:sp>
          <p:nvSpPr>
            <p:cNvPr id="39" name="Freeform 38"/>
            <p:cNvSpPr/>
            <p:nvPr/>
          </p:nvSpPr>
          <p:spPr bwMode="auto">
            <a:xfrm>
              <a:off x="7105650" y="5511800"/>
              <a:ext cx="806450" cy="911225"/>
            </a:xfrm>
            <a:custGeom>
              <a:avLst/>
              <a:gdLst>
                <a:gd name="T0" fmla="*/ 1895 w 3047"/>
                <a:gd name="T1" fmla="*/ 369 h 3448"/>
                <a:gd name="T2" fmla="*/ 1903 w 3047"/>
                <a:gd name="T3" fmla="*/ 708 h 3448"/>
                <a:gd name="T4" fmla="*/ 1592 w 3047"/>
                <a:gd name="T5" fmla="*/ 685 h 3448"/>
                <a:gd name="T6" fmla="*/ 1336 w 3047"/>
                <a:gd name="T7" fmla="*/ 696 h 3448"/>
                <a:gd name="T8" fmla="*/ 1089 w 3047"/>
                <a:gd name="T9" fmla="*/ 760 h 3448"/>
                <a:gd name="T10" fmla="*/ 859 w 3047"/>
                <a:gd name="T11" fmla="*/ 873 h 3448"/>
                <a:gd name="T12" fmla="*/ 659 w 3047"/>
                <a:gd name="T13" fmla="*/ 1028 h 3448"/>
                <a:gd name="T14" fmla="*/ 498 w 3047"/>
                <a:gd name="T15" fmla="*/ 1212 h 3448"/>
                <a:gd name="T16" fmla="*/ 379 w 3047"/>
                <a:gd name="T17" fmla="*/ 1422 h 3448"/>
                <a:gd name="T18" fmla="*/ 302 w 3047"/>
                <a:gd name="T19" fmla="*/ 1655 h 3448"/>
                <a:gd name="T20" fmla="*/ 271 w 3047"/>
                <a:gd name="T21" fmla="*/ 1912 h 3448"/>
                <a:gd name="T22" fmla="*/ 294 w 3047"/>
                <a:gd name="T23" fmla="*/ 2168 h 3448"/>
                <a:gd name="T24" fmla="*/ 368 w 3047"/>
                <a:gd name="T25" fmla="*/ 2410 h 3448"/>
                <a:gd name="T26" fmla="*/ 488 w 3047"/>
                <a:gd name="T27" fmla="*/ 2630 h 3448"/>
                <a:gd name="T28" fmla="*/ 648 w 3047"/>
                <a:gd name="T29" fmla="*/ 2821 h 3448"/>
                <a:gd name="T30" fmla="*/ 845 w 3047"/>
                <a:gd name="T31" fmla="*/ 2978 h 3448"/>
                <a:gd name="T32" fmla="*/ 1073 w 3047"/>
                <a:gd name="T33" fmla="*/ 3093 h 3448"/>
                <a:gd name="T34" fmla="*/ 1329 w 3047"/>
                <a:gd name="T35" fmla="*/ 3161 h 3448"/>
                <a:gd name="T36" fmla="*/ 1575 w 3047"/>
                <a:gd name="T37" fmla="*/ 3176 h 3448"/>
                <a:gd name="T38" fmla="*/ 1818 w 3047"/>
                <a:gd name="T39" fmla="*/ 3143 h 3448"/>
                <a:gd name="T40" fmla="*/ 2047 w 3047"/>
                <a:gd name="T41" fmla="*/ 3063 h 3448"/>
                <a:gd name="T42" fmla="*/ 2261 w 3047"/>
                <a:gd name="T43" fmla="*/ 2938 h 3448"/>
                <a:gd name="T44" fmla="*/ 2446 w 3047"/>
                <a:gd name="T45" fmla="*/ 2774 h 3448"/>
                <a:gd name="T46" fmla="*/ 2592 w 3047"/>
                <a:gd name="T47" fmla="*/ 2581 h 3448"/>
                <a:gd name="T48" fmla="*/ 2699 w 3047"/>
                <a:gd name="T49" fmla="*/ 2362 h 3448"/>
                <a:gd name="T50" fmla="*/ 2760 w 3047"/>
                <a:gd name="T51" fmla="*/ 2124 h 3448"/>
                <a:gd name="T52" fmla="*/ 2774 w 3047"/>
                <a:gd name="T53" fmla="*/ 1872 h 3448"/>
                <a:gd name="T54" fmla="*/ 2738 w 3047"/>
                <a:gd name="T55" fmla="*/ 1628 h 3448"/>
                <a:gd name="T56" fmla="*/ 2654 w 3047"/>
                <a:gd name="T57" fmla="*/ 1396 h 3448"/>
                <a:gd name="T58" fmla="*/ 2526 w 3047"/>
                <a:gd name="T59" fmla="*/ 1184 h 3448"/>
                <a:gd name="T60" fmla="*/ 2356 w 3047"/>
                <a:gd name="T61" fmla="*/ 999 h 3448"/>
                <a:gd name="T62" fmla="*/ 2530 w 3047"/>
                <a:gd name="T63" fmla="*/ 790 h 3448"/>
                <a:gd name="T64" fmla="*/ 2717 w 3047"/>
                <a:gd name="T65" fmla="*/ 986 h 3448"/>
                <a:gd name="T66" fmla="*/ 2864 w 3047"/>
                <a:gd name="T67" fmla="*/ 1210 h 3448"/>
                <a:gd name="T68" fmla="*/ 2971 w 3047"/>
                <a:gd name="T69" fmla="*/ 1455 h 3448"/>
                <a:gd name="T70" fmla="*/ 3032 w 3047"/>
                <a:gd name="T71" fmla="*/ 1715 h 3448"/>
                <a:gd name="T72" fmla="*/ 3046 w 3047"/>
                <a:gd name="T73" fmla="*/ 1984 h 3448"/>
                <a:gd name="T74" fmla="*/ 3011 w 3047"/>
                <a:gd name="T75" fmla="*/ 2257 h 3448"/>
                <a:gd name="T76" fmla="*/ 2928 w 3047"/>
                <a:gd name="T77" fmla="*/ 2520 h 3448"/>
                <a:gd name="T78" fmla="*/ 2800 w 3047"/>
                <a:gd name="T79" fmla="*/ 2760 h 3448"/>
                <a:gd name="T80" fmla="*/ 2630 w 3047"/>
                <a:gd name="T81" fmla="*/ 2974 h 3448"/>
                <a:gd name="T82" fmla="*/ 2420 w 3047"/>
                <a:gd name="T83" fmla="*/ 3157 h 3448"/>
                <a:gd name="T84" fmla="*/ 2171 w 3047"/>
                <a:gd name="T85" fmla="*/ 3304 h 3448"/>
                <a:gd name="T86" fmla="*/ 1904 w 3047"/>
                <a:gd name="T87" fmla="*/ 3400 h 3448"/>
                <a:gd name="T88" fmla="*/ 1622 w 3047"/>
                <a:gd name="T89" fmla="*/ 3445 h 3448"/>
                <a:gd name="T90" fmla="*/ 1367 w 3047"/>
                <a:gd name="T91" fmla="*/ 3439 h 3448"/>
                <a:gd name="T92" fmla="*/ 1100 w 3047"/>
                <a:gd name="T93" fmla="*/ 3387 h 3448"/>
                <a:gd name="T94" fmla="*/ 840 w 3047"/>
                <a:gd name="T95" fmla="*/ 3286 h 3448"/>
                <a:gd name="T96" fmla="*/ 607 w 3047"/>
                <a:gd name="T97" fmla="*/ 3142 h 3448"/>
                <a:gd name="T98" fmla="*/ 406 w 3047"/>
                <a:gd name="T99" fmla="*/ 2961 h 3448"/>
                <a:gd name="T100" fmla="*/ 241 w 3047"/>
                <a:gd name="T101" fmla="*/ 2748 h 3448"/>
                <a:gd name="T102" fmla="*/ 116 w 3047"/>
                <a:gd name="T103" fmla="*/ 2510 h 3448"/>
                <a:gd name="T104" fmla="*/ 34 w 3047"/>
                <a:gd name="T105" fmla="*/ 2251 h 3448"/>
                <a:gd name="T106" fmla="*/ 0 w 3047"/>
                <a:gd name="T107" fmla="*/ 1978 h 3448"/>
                <a:gd name="T108" fmla="*/ 18 w 3047"/>
                <a:gd name="T109" fmla="*/ 1694 h 3448"/>
                <a:gd name="T110" fmla="*/ 85 w 3047"/>
                <a:gd name="T111" fmla="*/ 1426 h 3448"/>
                <a:gd name="T112" fmla="*/ 199 w 3047"/>
                <a:gd name="T113" fmla="*/ 1177 h 3448"/>
                <a:gd name="T114" fmla="*/ 356 w 3047"/>
                <a:gd name="T115" fmla="*/ 954 h 3448"/>
                <a:gd name="T116" fmla="*/ 553 w 3047"/>
                <a:gd name="T117" fmla="*/ 760 h 3448"/>
                <a:gd name="T118" fmla="*/ 785 w 3047"/>
                <a:gd name="T119" fmla="*/ 602 h 3448"/>
                <a:gd name="T120" fmla="*/ 1042 w 3047"/>
                <a:gd name="T121" fmla="*/ 490 h 3448"/>
                <a:gd name="T122" fmla="*/ 1313 w 3047"/>
                <a:gd name="T123" fmla="*/ 427 h 3448"/>
                <a:gd name="T124" fmla="*/ 1592 w 3047"/>
                <a:gd name="T125" fmla="*/ 414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47" h="3448">
                  <a:moveTo>
                    <a:pt x="1505" y="0"/>
                  </a:moveTo>
                  <a:lnTo>
                    <a:pt x="1894" y="369"/>
                  </a:lnTo>
                  <a:lnTo>
                    <a:pt x="1895" y="369"/>
                  </a:lnTo>
                  <a:lnTo>
                    <a:pt x="2069" y="535"/>
                  </a:lnTo>
                  <a:lnTo>
                    <a:pt x="1903" y="709"/>
                  </a:lnTo>
                  <a:lnTo>
                    <a:pt x="1903" y="708"/>
                  </a:lnTo>
                  <a:lnTo>
                    <a:pt x="1532" y="1096"/>
                  </a:lnTo>
                  <a:lnTo>
                    <a:pt x="1357" y="930"/>
                  </a:lnTo>
                  <a:lnTo>
                    <a:pt x="1592" y="685"/>
                  </a:lnTo>
                  <a:lnTo>
                    <a:pt x="1506" y="684"/>
                  </a:lnTo>
                  <a:lnTo>
                    <a:pt x="1420" y="687"/>
                  </a:lnTo>
                  <a:lnTo>
                    <a:pt x="1336" y="696"/>
                  </a:lnTo>
                  <a:lnTo>
                    <a:pt x="1252" y="712"/>
                  </a:lnTo>
                  <a:lnTo>
                    <a:pt x="1170" y="733"/>
                  </a:lnTo>
                  <a:lnTo>
                    <a:pt x="1089" y="760"/>
                  </a:lnTo>
                  <a:lnTo>
                    <a:pt x="1010" y="793"/>
                  </a:lnTo>
                  <a:lnTo>
                    <a:pt x="933" y="830"/>
                  </a:lnTo>
                  <a:lnTo>
                    <a:pt x="859" y="873"/>
                  </a:lnTo>
                  <a:lnTo>
                    <a:pt x="787" y="922"/>
                  </a:lnTo>
                  <a:lnTo>
                    <a:pt x="721" y="973"/>
                  </a:lnTo>
                  <a:lnTo>
                    <a:pt x="659" y="1028"/>
                  </a:lnTo>
                  <a:lnTo>
                    <a:pt x="602" y="1086"/>
                  </a:lnTo>
                  <a:lnTo>
                    <a:pt x="548" y="1147"/>
                  </a:lnTo>
                  <a:lnTo>
                    <a:pt x="498" y="1212"/>
                  </a:lnTo>
                  <a:lnTo>
                    <a:pt x="455" y="1280"/>
                  </a:lnTo>
                  <a:lnTo>
                    <a:pt x="415" y="1349"/>
                  </a:lnTo>
                  <a:lnTo>
                    <a:pt x="379" y="1422"/>
                  </a:lnTo>
                  <a:lnTo>
                    <a:pt x="349" y="1497"/>
                  </a:lnTo>
                  <a:lnTo>
                    <a:pt x="323" y="1576"/>
                  </a:lnTo>
                  <a:lnTo>
                    <a:pt x="302" y="1655"/>
                  </a:lnTo>
                  <a:lnTo>
                    <a:pt x="286" y="1737"/>
                  </a:lnTo>
                  <a:lnTo>
                    <a:pt x="275" y="1824"/>
                  </a:lnTo>
                  <a:lnTo>
                    <a:pt x="271" y="1912"/>
                  </a:lnTo>
                  <a:lnTo>
                    <a:pt x="273" y="1999"/>
                  </a:lnTo>
                  <a:lnTo>
                    <a:pt x="281" y="2085"/>
                  </a:lnTo>
                  <a:lnTo>
                    <a:pt x="294" y="2168"/>
                  </a:lnTo>
                  <a:lnTo>
                    <a:pt x="314" y="2251"/>
                  </a:lnTo>
                  <a:lnTo>
                    <a:pt x="338" y="2331"/>
                  </a:lnTo>
                  <a:lnTo>
                    <a:pt x="368" y="2410"/>
                  </a:lnTo>
                  <a:lnTo>
                    <a:pt x="403" y="2486"/>
                  </a:lnTo>
                  <a:lnTo>
                    <a:pt x="443" y="2559"/>
                  </a:lnTo>
                  <a:lnTo>
                    <a:pt x="488" y="2630"/>
                  </a:lnTo>
                  <a:lnTo>
                    <a:pt x="537" y="2696"/>
                  </a:lnTo>
                  <a:lnTo>
                    <a:pt x="590" y="2761"/>
                  </a:lnTo>
                  <a:lnTo>
                    <a:pt x="648" y="2821"/>
                  </a:lnTo>
                  <a:lnTo>
                    <a:pt x="710" y="2877"/>
                  </a:lnTo>
                  <a:lnTo>
                    <a:pt x="776" y="2930"/>
                  </a:lnTo>
                  <a:lnTo>
                    <a:pt x="845" y="2978"/>
                  </a:lnTo>
                  <a:lnTo>
                    <a:pt x="918" y="3021"/>
                  </a:lnTo>
                  <a:lnTo>
                    <a:pt x="994" y="3060"/>
                  </a:lnTo>
                  <a:lnTo>
                    <a:pt x="1073" y="3093"/>
                  </a:lnTo>
                  <a:lnTo>
                    <a:pt x="1156" y="3122"/>
                  </a:lnTo>
                  <a:lnTo>
                    <a:pt x="1241" y="3144"/>
                  </a:lnTo>
                  <a:lnTo>
                    <a:pt x="1329" y="3161"/>
                  </a:lnTo>
                  <a:lnTo>
                    <a:pt x="1411" y="3172"/>
                  </a:lnTo>
                  <a:lnTo>
                    <a:pt x="1493" y="3177"/>
                  </a:lnTo>
                  <a:lnTo>
                    <a:pt x="1575" y="3176"/>
                  </a:lnTo>
                  <a:lnTo>
                    <a:pt x="1657" y="3170"/>
                  </a:lnTo>
                  <a:lnTo>
                    <a:pt x="1738" y="3159"/>
                  </a:lnTo>
                  <a:lnTo>
                    <a:pt x="1818" y="3143"/>
                  </a:lnTo>
                  <a:lnTo>
                    <a:pt x="1895" y="3121"/>
                  </a:lnTo>
                  <a:lnTo>
                    <a:pt x="1972" y="3094"/>
                  </a:lnTo>
                  <a:lnTo>
                    <a:pt x="2047" y="3063"/>
                  </a:lnTo>
                  <a:lnTo>
                    <a:pt x="2120" y="3026"/>
                  </a:lnTo>
                  <a:lnTo>
                    <a:pt x="2192" y="2984"/>
                  </a:lnTo>
                  <a:lnTo>
                    <a:pt x="2261" y="2938"/>
                  </a:lnTo>
                  <a:lnTo>
                    <a:pt x="2326" y="2887"/>
                  </a:lnTo>
                  <a:lnTo>
                    <a:pt x="2387" y="2832"/>
                  </a:lnTo>
                  <a:lnTo>
                    <a:pt x="2446" y="2774"/>
                  </a:lnTo>
                  <a:lnTo>
                    <a:pt x="2499" y="2712"/>
                  </a:lnTo>
                  <a:lnTo>
                    <a:pt x="2548" y="2648"/>
                  </a:lnTo>
                  <a:lnTo>
                    <a:pt x="2592" y="2581"/>
                  </a:lnTo>
                  <a:lnTo>
                    <a:pt x="2632" y="2510"/>
                  </a:lnTo>
                  <a:lnTo>
                    <a:pt x="2668" y="2437"/>
                  </a:lnTo>
                  <a:lnTo>
                    <a:pt x="2699" y="2362"/>
                  </a:lnTo>
                  <a:lnTo>
                    <a:pt x="2724" y="2285"/>
                  </a:lnTo>
                  <a:lnTo>
                    <a:pt x="2744" y="2205"/>
                  </a:lnTo>
                  <a:lnTo>
                    <a:pt x="2760" y="2124"/>
                  </a:lnTo>
                  <a:lnTo>
                    <a:pt x="2771" y="2039"/>
                  </a:lnTo>
                  <a:lnTo>
                    <a:pt x="2775" y="1956"/>
                  </a:lnTo>
                  <a:lnTo>
                    <a:pt x="2774" y="1872"/>
                  </a:lnTo>
                  <a:lnTo>
                    <a:pt x="2768" y="1790"/>
                  </a:lnTo>
                  <a:lnTo>
                    <a:pt x="2755" y="1708"/>
                  </a:lnTo>
                  <a:lnTo>
                    <a:pt x="2738" y="1628"/>
                  </a:lnTo>
                  <a:lnTo>
                    <a:pt x="2716" y="1548"/>
                  </a:lnTo>
                  <a:lnTo>
                    <a:pt x="2687" y="1471"/>
                  </a:lnTo>
                  <a:lnTo>
                    <a:pt x="2654" y="1396"/>
                  </a:lnTo>
                  <a:lnTo>
                    <a:pt x="2617" y="1323"/>
                  </a:lnTo>
                  <a:lnTo>
                    <a:pt x="2574" y="1252"/>
                  </a:lnTo>
                  <a:lnTo>
                    <a:pt x="2526" y="1184"/>
                  </a:lnTo>
                  <a:lnTo>
                    <a:pt x="2474" y="1119"/>
                  </a:lnTo>
                  <a:lnTo>
                    <a:pt x="2418" y="1057"/>
                  </a:lnTo>
                  <a:lnTo>
                    <a:pt x="2356" y="999"/>
                  </a:lnTo>
                  <a:lnTo>
                    <a:pt x="2292" y="945"/>
                  </a:lnTo>
                  <a:lnTo>
                    <a:pt x="2458" y="731"/>
                  </a:lnTo>
                  <a:lnTo>
                    <a:pt x="2530" y="790"/>
                  </a:lnTo>
                  <a:lnTo>
                    <a:pt x="2597" y="852"/>
                  </a:lnTo>
                  <a:lnTo>
                    <a:pt x="2658" y="918"/>
                  </a:lnTo>
                  <a:lnTo>
                    <a:pt x="2717" y="986"/>
                  </a:lnTo>
                  <a:lnTo>
                    <a:pt x="2771" y="1058"/>
                  </a:lnTo>
                  <a:lnTo>
                    <a:pt x="2820" y="1132"/>
                  </a:lnTo>
                  <a:lnTo>
                    <a:pt x="2864" y="1210"/>
                  </a:lnTo>
                  <a:lnTo>
                    <a:pt x="2905" y="1290"/>
                  </a:lnTo>
                  <a:lnTo>
                    <a:pt x="2940" y="1372"/>
                  </a:lnTo>
                  <a:lnTo>
                    <a:pt x="2971" y="1455"/>
                  </a:lnTo>
                  <a:lnTo>
                    <a:pt x="2996" y="1540"/>
                  </a:lnTo>
                  <a:lnTo>
                    <a:pt x="3016" y="1627"/>
                  </a:lnTo>
                  <a:lnTo>
                    <a:pt x="3032" y="1715"/>
                  </a:lnTo>
                  <a:lnTo>
                    <a:pt x="3042" y="1804"/>
                  </a:lnTo>
                  <a:lnTo>
                    <a:pt x="3047" y="1894"/>
                  </a:lnTo>
                  <a:lnTo>
                    <a:pt x="3046" y="1984"/>
                  </a:lnTo>
                  <a:lnTo>
                    <a:pt x="3041" y="2075"/>
                  </a:lnTo>
                  <a:lnTo>
                    <a:pt x="3029" y="2166"/>
                  </a:lnTo>
                  <a:lnTo>
                    <a:pt x="3011" y="2257"/>
                  </a:lnTo>
                  <a:lnTo>
                    <a:pt x="2989" y="2347"/>
                  </a:lnTo>
                  <a:lnTo>
                    <a:pt x="2961" y="2435"/>
                  </a:lnTo>
                  <a:lnTo>
                    <a:pt x="2928" y="2520"/>
                  </a:lnTo>
                  <a:lnTo>
                    <a:pt x="2890" y="2602"/>
                  </a:lnTo>
                  <a:lnTo>
                    <a:pt x="2847" y="2683"/>
                  </a:lnTo>
                  <a:lnTo>
                    <a:pt x="2800" y="2760"/>
                  </a:lnTo>
                  <a:lnTo>
                    <a:pt x="2748" y="2835"/>
                  </a:lnTo>
                  <a:lnTo>
                    <a:pt x="2691" y="2906"/>
                  </a:lnTo>
                  <a:lnTo>
                    <a:pt x="2630" y="2974"/>
                  </a:lnTo>
                  <a:lnTo>
                    <a:pt x="2564" y="3038"/>
                  </a:lnTo>
                  <a:lnTo>
                    <a:pt x="2495" y="3100"/>
                  </a:lnTo>
                  <a:lnTo>
                    <a:pt x="2420" y="3157"/>
                  </a:lnTo>
                  <a:lnTo>
                    <a:pt x="2340" y="3211"/>
                  </a:lnTo>
                  <a:lnTo>
                    <a:pt x="2256" y="3260"/>
                  </a:lnTo>
                  <a:lnTo>
                    <a:pt x="2171" y="3304"/>
                  </a:lnTo>
                  <a:lnTo>
                    <a:pt x="2084" y="3342"/>
                  </a:lnTo>
                  <a:lnTo>
                    <a:pt x="1995" y="3374"/>
                  </a:lnTo>
                  <a:lnTo>
                    <a:pt x="1904" y="3400"/>
                  </a:lnTo>
                  <a:lnTo>
                    <a:pt x="1811" y="3421"/>
                  </a:lnTo>
                  <a:lnTo>
                    <a:pt x="1717" y="3436"/>
                  </a:lnTo>
                  <a:lnTo>
                    <a:pt x="1622" y="3445"/>
                  </a:lnTo>
                  <a:lnTo>
                    <a:pt x="1526" y="3448"/>
                  </a:lnTo>
                  <a:lnTo>
                    <a:pt x="1447" y="3446"/>
                  </a:lnTo>
                  <a:lnTo>
                    <a:pt x="1367" y="3439"/>
                  </a:lnTo>
                  <a:lnTo>
                    <a:pt x="1286" y="3429"/>
                  </a:lnTo>
                  <a:lnTo>
                    <a:pt x="1191" y="3411"/>
                  </a:lnTo>
                  <a:lnTo>
                    <a:pt x="1100" y="3387"/>
                  </a:lnTo>
                  <a:lnTo>
                    <a:pt x="1010" y="3359"/>
                  </a:lnTo>
                  <a:lnTo>
                    <a:pt x="924" y="3325"/>
                  </a:lnTo>
                  <a:lnTo>
                    <a:pt x="840" y="3286"/>
                  </a:lnTo>
                  <a:lnTo>
                    <a:pt x="759" y="3242"/>
                  </a:lnTo>
                  <a:lnTo>
                    <a:pt x="681" y="3195"/>
                  </a:lnTo>
                  <a:lnTo>
                    <a:pt x="607" y="3142"/>
                  </a:lnTo>
                  <a:lnTo>
                    <a:pt x="537" y="3086"/>
                  </a:lnTo>
                  <a:lnTo>
                    <a:pt x="470" y="3026"/>
                  </a:lnTo>
                  <a:lnTo>
                    <a:pt x="406" y="2961"/>
                  </a:lnTo>
                  <a:lnTo>
                    <a:pt x="346" y="2893"/>
                  </a:lnTo>
                  <a:lnTo>
                    <a:pt x="292" y="2822"/>
                  </a:lnTo>
                  <a:lnTo>
                    <a:pt x="241" y="2748"/>
                  </a:lnTo>
                  <a:lnTo>
                    <a:pt x="195" y="2672"/>
                  </a:lnTo>
                  <a:lnTo>
                    <a:pt x="153" y="2593"/>
                  </a:lnTo>
                  <a:lnTo>
                    <a:pt x="116" y="2510"/>
                  </a:lnTo>
                  <a:lnTo>
                    <a:pt x="83" y="2426"/>
                  </a:lnTo>
                  <a:lnTo>
                    <a:pt x="56" y="2340"/>
                  </a:lnTo>
                  <a:lnTo>
                    <a:pt x="34" y="2251"/>
                  </a:lnTo>
                  <a:lnTo>
                    <a:pt x="17" y="2161"/>
                  </a:lnTo>
                  <a:lnTo>
                    <a:pt x="5" y="2070"/>
                  </a:lnTo>
                  <a:lnTo>
                    <a:pt x="0" y="1978"/>
                  </a:lnTo>
                  <a:lnTo>
                    <a:pt x="0" y="1884"/>
                  </a:lnTo>
                  <a:lnTo>
                    <a:pt x="5" y="1790"/>
                  </a:lnTo>
                  <a:lnTo>
                    <a:pt x="18" y="1694"/>
                  </a:lnTo>
                  <a:lnTo>
                    <a:pt x="35" y="1602"/>
                  </a:lnTo>
                  <a:lnTo>
                    <a:pt x="57" y="1513"/>
                  </a:lnTo>
                  <a:lnTo>
                    <a:pt x="85" y="1426"/>
                  </a:lnTo>
                  <a:lnTo>
                    <a:pt x="118" y="1340"/>
                  </a:lnTo>
                  <a:lnTo>
                    <a:pt x="156" y="1257"/>
                  </a:lnTo>
                  <a:lnTo>
                    <a:pt x="199" y="1177"/>
                  </a:lnTo>
                  <a:lnTo>
                    <a:pt x="247" y="1100"/>
                  </a:lnTo>
                  <a:lnTo>
                    <a:pt x="299" y="1026"/>
                  </a:lnTo>
                  <a:lnTo>
                    <a:pt x="356" y="954"/>
                  </a:lnTo>
                  <a:lnTo>
                    <a:pt x="417" y="886"/>
                  </a:lnTo>
                  <a:lnTo>
                    <a:pt x="483" y="821"/>
                  </a:lnTo>
                  <a:lnTo>
                    <a:pt x="553" y="760"/>
                  </a:lnTo>
                  <a:lnTo>
                    <a:pt x="626" y="704"/>
                  </a:lnTo>
                  <a:lnTo>
                    <a:pt x="705" y="650"/>
                  </a:lnTo>
                  <a:lnTo>
                    <a:pt x="785" y="602"/>
                  </a:lnTo>
                  <a:lnTo>
                    <a:pt x="869" y="559"/>
                  </a:lnTo>
                  <a:lnTo>
                    <a:pt x="954" y="522"/>
                  </a:lnTo>
                  <a:lnTo>
                    <a:pt x="1042" y="490"/>
                  </a:lnTo>
                  <a:lnTo>
                    <a:pt x="1131" y="464"/>
                  </a:lnTo>
                  <a:lnTo>
                    <a:pt x="1221" y="442"/>
                  </a:lnTo>
                  <a:lnTo>
                    <a:pt x="1313" y="427"/>
                  </a:lnTo>
                  <a:lnTo>
                    <a:pt x="1405" y="417"/>
                  </a:lnTo>
                  <a:lnTo>
                    <a:pt x="1499" y="413"/>
                  </a:lnTo>
                  <a:lnTo>
                    <a:pt x="1592" y="414"/>
                  </a:lnTo>
                  <a:lnTo>
                    <a:pt x="1338" y="174"/>
                  </a:lnTo>
                  <a:lnTo>
                    <a:pt x="1505"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smtClean="0">
                <a:ln>
                  <a:noFill/>
                </a:ln>
                <a:solidFill>
                  <a:srgbClr val="575757"/>
                </a:solidFill>
                <a:effectLst/>
                <a:uLnTx/>
                <a:uFillTx/>
                <a:cs typeface="+mn-ea"/>
                <a:sym typeface="+mn-lt"/>
              </a:endParaRPr>
            </a:p>
          </p:txBody>
        </p:sp>
        <p:sp>
          <p:nvSpPr>
            <p:cNvPr id="40" name="Freeform 39"/>
            <p:cNvSpPr/>
            <p:nvPr/>
          </p:nvSpPr>
          <p:spPr bwMode="auto">
            <a:xfrm>
              <a:off x="7375525" y="5840413"/>
              <a:ext cx="269875" cy="385763"/>
            </a:xfrm>
            <a:custGeom>
              <a:avLst/>
              <a:gdLst>
                <a:gd name="T0" fmla="*/ 656 w 1022"/>
                <a:gd name="T1" fmla="*/ 137 h 1460"/>
                <a:gd name="T2" fmla="*/ 739 w 1022"/>
                <a:gd name="T3" fmla="*/ 157 h 1460"/>
                <a:gd name="T4" fmla="*/ 825 w 1022"/>
                <a:gd name="T5" fmla="*/ 195 h 1460"/>
                <a:gd name="T6" fmla="*/ 907 w 1022"/>
                <a:gd name="T7" fmla="*/ 259 h 1460"/>
                <a:gd name="T8" fmla="*/ 975 w 1022"/>
                <a:gd name="T9" fmla="*/ 357 h 1460"/>
                <a:gd name="T10" fmla="*/ 768 w 1022"/>
                <a:gd name="T11" fmla="*/ 456 h 1460"/>
                <a:gd name="T12" fmla="*/ 702 w 1022"/>
                <a:gd name="T13" fmla="*/ 396 h 1460"/>
                <a:gd name="T14" fmla="*/ 601 w 1022"/>
                <a:gd name="T15" fmla="*/ 358 h 1460"/>
                <a:gd name="T16" fmla="*/ 510 w 1022"/>
                <a:gd name="T17" fmla="*/ 350 h 1460"/>
                <a:gd name="T18" fmla="*/ 453 w 1022"/>
                <a:gd name="T19" fmla="*/ 354 h 1460"/>
                <a:gd name="T20" fmla="*/ 389 w 1022"/>
                <a:gd name="T21" fmla="*/ 369 h 1460"/>
                <a:gd name="T22" fmla="*/ 336 w 1022"/>
                <a:gd name="T23" fmla="*/ 400 h 1460"/>
                <a:gd name="T24" fmla="*/ 305 w 1022"/>
                <a:gd name="T25" fmla="*/ 449 h 1460"/>
                <a:gd name="T26" fmla="*/ 313 w 1022"/>
                <a:gd name="T27" fmla="*/ 509 h 1460"/>
                <a:gd name="T28" fmla="*/ 359 w 1022"/>
                <a:gd name="T29" fmla="*/ 548 h 1460"/>
                <a:gd name="T30" fmla="*/ 436 w 1022"/>
                <a:gd name="T31" fmla="*/ 570 h 1460"/>
                <a:gd name="T32" fmla="*/ 535 w 1022"/>
                <a:gd name="T33" fmla="*/ 585 h 1460"/>
                <a:gd name="T34" fmla="*/ 632 w 1022"/>
                <a:gd name="T35" fmla="*/ 597 h 1460"/>
                <a:gd name="T36" fmla="*/ 730 w 1022"/>
                <a:gd name="T37" fmla="*/ 616 h 1460"/>
                <a:gd name="T38" fmla="*/ 826 w 1022"/>
                <a:gd name="T39" fmla="*/ 647 h 1460"/>
                <a:gd name="T40" fmla="*/ 910 w 1022"/>
                <a:gd name="T41" fmla="*/ 696 h 1460"/>
                <a:gd name="T42" fmla="*/ 975 w 1022"/>
                <a:gd name="T43" fmla="*/ 766 h 1460"/>
                <a:gd name="T44" fmla="*/ 1013 w 1022"/>
                <a:gd name="T45" fmla="*/ 863 h 1460"/>
                <a:gd name="T46" fmla="*/ 1019 w 1022"/>
                <a:gd name="T47" fmla="*/ 988 h 1460"/>
                <a:gd name="T48" fmla="*/ 987 w 1022"/>
                <a:gd name="T49" fmla="*/ 1100 h 1460"/>
                <a:gd name="T50" fmla="*/ 922 w 1022"/>
                <a:gd name="T51" fmla="*/ 1188 h 1460"/>
                <a:gd name="T52" fmla="*/ 833 w 1022"/>
                <a:gd name="T53" fmla="*/ 1251 h 1460"/>
                <a:gd name="T54" fmla="*/ 729 w 1022"/>
                <a:gd name="T55" fmla="*/ 1291 h 1460"/>
                <a:gd name="T56" fmla="*/ 656 w 1022"/>
                <a:gd name="T57" fmla="*/ 1460 h 1460"/>
                <a:gd name="T58" fmla="*/ 357 w 1022"/>
                <a:gd name="T59" fmla="*/ 1302 h 1460"/>
                <a:gd name="T60" fmla="*/ 206 w 1022"/>
                <a:gd name="T61" fmla="*/ 1249 h 1460"/>
                <a:gd name="T62" fmla="*/ 89 w 1022"/>
                <a:gd name="T63" fmla="*/ 1160 h 1460"/>
                <a:gd name="T64" fmla="*/ 10 w 1022"/>
                <a:gd name="T65" fmla="*/ 1038 h 1460"/>
                <a:gd name="T66" fmla="*/ 234 w 1022"/>
                <a:gd name="T67" fmla="*/ 942 h 1460"/>
                <a:gd name="T68" fmla="*/ 296 w 1022"/>
                <a:gd name="T69" fmla="*/ 1019 h 1460"/>
                <a:gd name="T70" fmla="*/ 397 w 1022"/>
                <a:gd name="T71" fmla="*/ 1070 h 1460"/>
                <a:gd name="T72" fmla="*/ 520 w 1022"/>
                <a:gd name="T73" fmla="*/ 1091 h 1460"/>
                <a:gd name="T74" fmla="*/ 568 w 1022"/>
                <a:gd name="T75" fmla="*/ 1088 h 1460"/>
                <a:gd name="T76" fmla="*/ 632 w 1022"/>
                <a:gd name="T77" fmla="*/ 1078 h 1460"/>
                <a:gd name="T78" fmla="*/ 695 w 1022"/>
                <a:gd name="T79" fmla="*/ 1055 h 1460"/>
                <a:gd name="T80" fmla="*/ 745 w 1022"/>
                <a:gd name="T81" fmla="*/ 1012 h 1460"/>
                <a:gd name="T82" fmla="*/ 764 w 1022"/>
                <a:gd name="T83" fmla="*/ 946 h 1460"/>
                <a:gd name="T84" fmla="*/ 738 w 1022"/>
                <a:gd name="T85" fmla="*/ 884 h 1460"/>
                <a:gd name="T86" fmla="*/ 655 w 1022"/>
                <a:gd name="T87" fmla="*/ 840 h 1460"/>
                <a:gd name="T88" fmla="*/ 512 w 1022"/>
                <a:gd name="T89" fmla="*/ 812 h 1460"/>
                <a:gd name="T90" fmla="*/ 422 w 1022"/>
                <a:gd name="T91" fmla="*/ 802 h 1460"/>
                <a:gd name="T92" fmla="*/ 329 w 1022"/>
                <a:gd name="T93" fmla="*/ 784 h 1460"/>
                <a:gd name="T94" fmla="*/ 239 w 1022"/>
                <a:gd name="T95" fmla="*/ 755 h 1460"/>
                <a:gd name="T96" fmla="*/ 161 w 1022"/>
                <a:gd name="T97" fmla="*/ 711 h 1460"/>
                <a:gd name="T98" fmla="*/ 100 w 1022"/>
                <a:gd name="T99" fmla="*/ 644 h 1460"/>
                <a:gd name="T100" fmla="*/ 63 w 1022"/>
                <a:gd name="T101" fmla="*/ 551 h 1460"/>
                <a:gd name="T102" fmla="*/ 59 w 1022"/>
                <a:gd name="T103" fmla="*/ 428 h 1460"/>
                <a:gd name="T104" fmla="*/ 99 w 1022"/>
                <a:gd name="T105" fmla="*/ 313 h 1460"/>
                <a:gd name="T106" fmla="*/ 184 w 1022"/>
                <a:gd name="T107" fmla="*/ 223 h 1460"/>
                <a:gd name="T108" fmla="*/ 309 w 1022"/>
                <a:gd name="T109" fmla="*/ 160 h 1460"/>
                <a:gd name="T110" fmla="*/ 414 w 1022"/>
                <a:gd name="T111" fmla="*/ 0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2" h="1460">
                  <a:moveTo>
                    <a:pt x="414" y="0"/>
                  </a:moveTo>
                  <a:lnTo>
                    <a:pt x="656" y="0"/>
                  </a:lnTo>
                  <a:lnTo>
                    <a:pt x="656" y="137"/>
                  </a:lnTo>
                  <a:lnTo>
                    <a:pt x="683" y="142"/>
                  </a:lnTo>
                  <a:lnTo>
                    <a:pt x="710" y="149"/>
                  </a:lnTo>
                  <a:lnTo>
                    <a:pt x="739" y="157"/>
                  </a:lnTo>
                  <a:lnTo>
                    <a:pt x="768" y="168"/>
                  </a:lnTo>
                  <a:lnTo>
                    <a:pt x="796" y="180"/>
                  </a:lnTo>
                  <a:lnTo>
                    <a:pt x="825" y="195"/>
                  </a:lnTo>
                  <a:lnTo>
                    <a:pt x="854" y="213"/>
                  </a:lnTo>
                  <a:lnTo>
                    <a:pt x="881" y="234"/>
                  </a:lnTo>
                  <a:lnTo>
                    <a:pt x="907" y="259"/>
                  </a:lnTo>
                  <a:lnTo>
                    <a:pt x="931" y="287"/>
                  </a:lnTo>
                  <a:lnTo>
                    <a:pt x="955" y="320"/>
                  </a:lnTo>
                  <a:lnTo>
                    <a:pt x="975" y="357"/>
                  </a:lnTo>
                  <a:lnTo>
                    <a:pt x="984" y="377"/>
                  </a:lnTo>
                  <a:lnTo>
                    <a:pt x="778" y="473"/>
                  </a:lnTo>
                  <a:lnTo>
                    <a:pt x="768" y="456"/>
                  </a:lnTo>
                  <a:lnTo>
                    <a:pt x="752" y="434"/>
                  </a:lnTo>
                  <a:lnTo>
                    <a:pt x="729" y="414"/>
                  </a:lnTo>
                  <a:lnTo>
                    <a:pt x="702" y="396"/>
                  </a:lnTo>
                  <a:lnTo>
                    <a:pt x="671" y="380"/>
                  </a:lnTo>
                  <a:lnTo>
                    <a:pt x="637" y="368"/>
                  </a:lnTo>
                  <a:lnTo>
                    <a:pt x="601" y="358"/>
                  </a:lnTo>
                  <a:lnTo>
                    <a:pt x="563" y="352"/>
                  </a:lnTo>
                  <a:lnTo>
                    <a:pt x="526" y="350"/>
                  </a:lnTo>
                  <a:lnTo>
                    <a:pt x="510" y="350"/>
                  </a:lnTo>
                  <a:lnTo>
                    <a:pt x="492" y="351"/>
                  </a:lnTo>
                  <a:lnTo>
                    <a:pt x="473" y="352"/>
                  </a:lnTo>
                  <a:lnTo>
                    <a:pt x="453" y="354"/>
                  </a:lnTo>
                  <a:lnTo>
                    <a:pt x="432" y="358"/>
                  </a:lnTo>
                  <a:lnTo>
                    <a:pt x="410" y="362"/>
                  </a:lnTo>
                  <a:lnTo>
                    <a:pt x="389" y="369"/>
                  </a:lnTo>
                  <a:lnTo>
                    <a:pt x="370" y="377"/>
                  </a:lnTo>
                  <a:lnTo>
                    <a:pt x="352" y="387"/>
                  </a:lnTo>
                  <a:lnTo>
                    <a:pt x="336" y="400"/>
                  </a:lnTo>
                  <a:lnTo>
                    <a:pt x="322" y="413"/>
                  </a:lnTo>
                  <a:lnTo>
                    <a:pt x="313" y="430"/>
                  </a:lnTo>
                  <a:lnTo>
                    <a:pt x="305" y="449"/>
                  </a:lnTo>
                  <a:lnTo>
                    <a:pt x="303" y="471"/>
                  </a:lnTo>
                  <a:lnTo>
                    <a:pt x="306" y="492"/>
                  </a:lnTo>
                  <a:lnTo>
                    <a:pt x="313" y="509"/>
                  </a:lnTo>
                  <a:lnTo>
                    <a:pt x="324" y="524"/>
                  </a:lnTo>
                  <a:lnTo>
                    <a:pt x="340" y="536"/>
                  </a:lnTo>
                  <a:lnTo>
                    <a:pt x="359" y="548"/>
                  </a:lnTo>
                  <a:lnTo>
                    <a:pt x="382" y="556"/>
                  </a:lnTo>
                  <a:lnTo>
                    <a:pt x="407" y="564"/>
                  </a:lnTo>
                  <a:lnTo>
                    <a:pt x="436" y="570"/>
                  </a:lnTo>
                  <a:lnTo>
                    <a:pt x="467" y="575"/>
                  </a:lnTo>
                  <a:lnTo>
                    <a:pt x="500" y="580"/>
                  </a:lnTo>
                  <a:lnTo>
                    <a:pt x="535" y="585"/>
                  </a:lnTo>
                  <a:lnTo>
                    <a:pt x="567" y="588"/>
                  </a:lnTo>
                  <a:lnTo>
                    <a:pt x="599" y="592"/>
                  </a:lnTo>
                  <a:lnTo>
                    <a:pt x="632" y="597"/>
                  </a:lnTo>
                  <a:lnTo>
                    <a:pt x="664" y="603"/>
                  </a:lnTo>
                  <a:lnTo>
                    <a:pt x="697" y="609"/>
                  </a:lnTo>
                  <a:lnTo>
                    <a:pt x="730" y="616"/>
                  </a:lnTo>
                  <a:lnTo>
                    <a:pt x="763" y="625"/>
                  </a:lnTo>
                  <a:lnTo>
                    <a:pt x="795" y="635"/>
                  </a:lnTo>
                  <a:lnTo>
                    <a:pt x="826" y="647"/>
                  </a:lnTo>
                  <a:lnTo>
                    <a:pt x="856" y="661"/>
                  </a:lnTo>
                  <a:lnTo>
                    <a:pt x="883" y="677"/>
                  </a:lnTo>
                  <a:lnTo>
                    <a:pt x="910" y="696"/>
                  </a:lnTo>
                  <a:lnTo>
                    <a:pt x="933" y="716"/>
                  </a:lnTo>
                  <a:lnTo>
                    <a:pt x="956" y="739"/>
                  </a:lnTo>
                  <a:lnTo>
                    <a:pt x="975" y="766"/>
                  </a:lnTo>
                  <a:lnTo>
                    <a:pt x="991" y="794"/>
                  </a:lnTo>
                  <a:lnTo>
                    <a:pt x="1004" y="827"/>
                  </a:lnTo>
                  <a:lnTo>
                    <a:pt x="1013" y="863"/>
                  </a:lnTo>
                  <a:lnTo>
                    <a:pt x="1019" y="902"/>
                  </a:lnTo>
                  <a:lnTo>
                    <a:pt x="1022" y="946"/>
                  </a:lnTo>
                  <a:lnTo>
                    <a:pt x="1019" y="988"/>
                  </a:lnTo>
                  <a:lnTo>
                    <a:pt x="1012" y="1028"/>
                  </a:lnTo>
                  <a:lnTo>
                    <a:pt x="1001" y="1065"/>
                  </a:lnTo>
                  <a:lnTo>
                    <a:pt x="987" y="1100"/>
                  </a:lnTo>
                  <a:lnTo>
                    <a:pt x="968" y="1132"/>
                  </a:lnTo>
                  <a:lnTo>
                    <a:pt x="946" y="1161"/>
                  </a:lnTo>
                  <a:lnTo>
                    <a:pt x="922" y="1188"/>
                  </a:lnTo>
                  <a:lnTo>
                    <a:pt x="894" y="1211"/>
                  </a:lnTo>
                  <a:lnTo>
                    <a:pt x="864" y="1232"/>
                  </a:lnTo>
                  <a:lnTo>
                    <a:pt x="833" y="1251"/>
                  </a:lnTo>
                  <a:lnTo>
                    <a:pt x="799" y="1267"/>
                  </a:lnTo>
                  <a:lnTo>
                    <a:pt x="765" y="1280"/>
                  </a:lnTo>
                  <a:lnTo>
                    <a:pt x="729" y="1291"/>
                  </a:lnTo>
                  <a:lnTo>
                    <a:pt x="692" y="1299"/>
                  </a:lnTo>
                  <a:lnTo>
                    <a:pt x="656" y="1304"/>
                  </a:lnTo>
                  <a:lnTo>
                    <a:pt x="656" y="1460"/>
                  </a:lnTo>
                  <a:lnTo>
                    <a:pt x="414" y="1460"/>
                  </a:lnTo>
                  <a:lnTo>
                    <a:pt x="414" y="1312"/>
                  </a:lnTo>
                  <a:lnTo>
                    <a:pt x="357" y="1302"/>
                  </a:lnTo>
                  <a:lnTo>
                    <a:pt x="303" y="1289"/>
                  </a:lnTo>
                  <a:lnTo>
                    <a:pt x="253" y="1271"/>
                  </a:lnTo>
                  <a:lnTo>
                    <a:pt x="206" y="1249"/>
                  </a:lnTo>
                  <a:lnTo>
                    <a:pt x="164" y="1224"/>
                  </a:lnTo>
                  <a:lnTo>
                    <a:pt x="125" y="1194"/>
                  </a:lnTo>
                  <a:lnTo>
                    <a:pt x="89" y="1160"/>
                  </a:lnTo>
                  <a:lnTo>
                    <a:pt x="59" y="1123"/>
                  </a:lnTo>
                  <a:lnTo>
                    <a:pt x="32" y="1082"/>
                  </a:lnTo>
                  <a:lnTo>
                    <a:pt x="10" y="1038"/>
                  </a:lnTo>
                  <a:lnTo>
                    <a:pt x="0" y="1016"/>
                  </a:lnTo>
                  <a:lnTo>
                    <a:pt x="224" y="922"/>
                  </a:lnTo>
                  <a:lnTo>
                    <a:pt x="234" y="942"/>
                  </a:lnTo>
                  <a:lnTo>
                    <a:pt x="249" y="970"/>
                  </a:lnTo>
                  <a:lnTo>
                    <a:pt x="269" y="995"/>
                  </a:lnTo>
                  <a:lnTo>
                    <a:pt x="296" y="1019"/>
                  </a:lnTo>
                  <a:lnTo>
                    <a:pt x="325" y="1039"/>
                  </a:lnTo>
                  <a:lnTo>
                    <a:pt x="359" y="1057"/>
                  </a:lnTo>
                  <a:lnTo>
                    <a:pt x="397" y="1070"/>
                  </a:lnTo>
                  <a:lnTo>
                    <a:pt x="437" y="1081"/>
                  </a:lnTo>
                  <a:lnTo>
                    <a:pt x="477" y="1088"/>
                  </a:lnTo>
                  <a:lnTo>
                    <a:pt x="520" y="1091"/>
                  </a:lnTo>
                  <a:lnTo>
                    <a:pt x="534" y="1091"/>
                  </a:lnTo>
                  <a:lnTo>
                    <a:pt x="550" y="1089"/>
                  </a:lnTo>
                  <a:lnTo>
                    <a:pt x="568" y="1088"/>
                  </a:lnTo>
                  <a:lnTo>
                    <a:pt x="588" y="1086"/>
                  </a:lnTo>
                  <a:lnTo>
                    <a:pt x="609" y="1083"/>
                  </a:lnTo>
                  <a:lnTo>
                    <a:pt x="632" y="1078"/>
                  </a:lnTo>
                  <a:lnTo>
                    <a:pt x="653" y="1071"/>
                  </a:lnTo>
                  <a:lnTo>
                    <a:pt x="675" y="1064"/>
                  </a:lnTo>
                  <a:lnTo>
                    <a:pt x="695" y="1055"/>
                  </a:lnTo>
                  <a:lnTo>
                    <a:pt x="714" y="1043"/>
                  </a:lnTo>
                  <a:lnTo>
                    <a:pt x="730" y="1028"/>
                  </a:lnTo>
                  <a:lnTo>
                    <a:pt x="745" y="1012"/>
                  </a:lnTo>
                  <a:lnTo>
                    <a:pt x="756" y="993"/>
                  </a:lnTo>
                  <a:lnTo>
                    <a:pt x="762" y="971"/>
                  </a:lnTo>
                  <a:lnTo>
                    <a:pt x="764" y="946"/>
                  </a:lnTo>
                  <a:lnTo>
                    <a:pt x="761" y="922"/>
                  </a:lnTo>
                  <a:lnTo>
                    <a:pt x="753" y="902"/>
                  </a:lnTo>
                  <a:lnTo>
                    <a:pt x="738" y="884"/>
                  </a:lnTo>
                  <a:lnTo>
                    <a:pt x="717" y="867"/>
                  </a:lnTo>
                  <a:lnTo>
                    <a:pt x="689" y="852"/>
                  </a:lnTo>
                  <a:lnTo>
                    <a:pt x="655" y="840"/>
                  </a:lnTo>
                  <a:lnTo>
                    <a:pt x="613" y="829"/>
                  </a:lnTo>
                  <a:lnTo>
                    <a:pt x="567" y="820"/>
                  </a:lnTo>
                  <a:lnTo>
                    <a:pt x="512" y="812"/>
                  </a:lnTo>
                  <a:lnTo>
                    <a:pt x="484" y="809"/>
                  </a:lnTo>
                  <a:lnTo>
                    <a:pt x="453" y="805"/>
                  </a:lnTo>
                  <a:lnTo>
                    <a:pt x="422" y="802"/>
                  </a:lnTo>
                  <a:lnTo>
                    <a:pt x="391" y="796"/>
                  </a:lnTo>
                  <a:lnTo>
                    <a:pt x="360" y="791"/>
                  </a:lnTo>
                  <a:lnTo>
                    <a:pt x="329" y="784"/>
                  </a:lnTo>
                  <a:lnTo>
                    <a:pt x="299" y="776"/>
                  </a:lnTo>
                  <a:lnTo>
                    <a:pt x="269" y="767"/>
                  </a:lnTo>
                  <a:lnTo>
                    <a:pt x="239" y="755"/>
                  </a:lnTo>
                  <a:lnTo>
                    <a:pt x="212" y="742"/>
                  </a:lnTo>
                  <a:lnTo>
                    <a:pt x="185" y="728"/>
                  </a:lnTo>
                  <a:lnTo>
                    <a:pt x="161" y="711"/>
                  </a:lnTo>
                  <a:lnTo>
                    <a:pt x="138" y="691"/>
                  </a:lnTo>
                  <a:lnTo>
                    <a:pt x="118" y="669"/>
                  </a:lnTo>
                  <a:lnTo>
                    <a:pt x="100" y="644"/>
                  </a:lnTo>
                  <a:lnTo>
                    <a:pt x="84" y="616"/>
                  </a:lnTo>
                  <a:lnTo>
                    <a:pt x="72" y="586"/>
                  </a:lnTo>
                  <a:lnTo>
                    <a:pt x="63" y="551"/>
                  </a:lnTo>
                  <a:lnTo>
                    <a:pt x="58" y="513"/>
                  </a:lnTo>
                  <a:lnTo>
                    <a:pt x="55" y="471"/>
                  </a:lnTo>
                  <a:lnTo>
                    <a:pt x="59" y="428"/>
                  </a:lnTo>
                  <a:lnTo>
                    <a:pt x="66" y="387"/>
                  </a:lnTo>
                  <a:lnTo>
                    <a:pt x="80" y="349"/>
                  </a:lnTo>
                  <a:lnTo>
                    <a:pt x="99" y="313"/>
                  </a:lnTo>
                  <a:lnTo>
                    <a:pt x="122" y="280"/>
                  </a:lnTo>
                  <a:lnTo>
                    <a:pt x="150" y="249"/>
                  </a:lnTo>
                  <a:lnTo>
                    <a:pt x="184" y="223"/>
                  </a:lnTo>
                  <a:lnTo>
                    <a:pt x="221" y="198"/>
                  </a:lnTo>
                  <a:lnTo>
                    <a:pt x="263" y="177"/>
                  </a:lnTo>
                  <a:lnTo>
                    <a:pt x="309" y="160"/>
                  </a:lnTo>
                  <a:lnTo>
                    <a:pt x="359" y="147"/>
                  </a:lnTo>
                  <a:lnTo>
                    <a:pt x="414" y="136"/>
                  </a:lnTo>
                  <a:lnTo>
                    <a:pt x="414"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smtClean="0">
                <a:ln>
                  <a:noFill/>
                </a:ln>
                <a:solidFill>
                  <a:srgbClr val="575757"/>
                </a:solidFill>
                <a:effectLst/>
                <a:uLnTx/>
                <a:uFillTx/>
                <a:cs typeface="+mn-ea"/>
                <a:sym typeface="+mn-lt"/>
              </a:endParaRPr>
            </a:p>
          </p:txBody>
        </p:sp>
      </p:grpSp>
      <p:sp>
        <p:nvSpPr>
          <p:cNvPr id="43" name="íṩļîdé"/>
          <p:cNvSpPr/>
          <p:nvPr/>
        </p:nvSpPr>
        <p:spPr>
          <a:xfrm rot="8100000">
            <a:off x="8683776" y="2514609"/>
            <a:ext cx="1228758" cy="1228758"/>
          </a:xfrm>
          <a:prstGeom prst="teardrop">
            <a:avLst/>
          </a:prstGeom>
          <a:solidFill>
            <a:srgbClr val="FE5817"/>
          </a:solidFill>
          <a:ln w="76200" cap="flat" cmpd="sng" algn="ctr">
            <a:noFill/>
            <a:prstDash val="solid"/>
          </a:ln>
          <a:effectLst/>
        </p:spPr>
        <p:txBody>
          <a:bodyPr anchor="ctr"/>
          <a:lstStyle/>
          <a:p>
            <a:pPr algn="ctr"/>
            <a:endParaRPr sz="2000" kern="0">
              <a:solidFill>
                <a:prstClr val="white"/>
              </a:solidFill>
              <a:cs typeface="+mn-ea"/>
              <a:sym typeface="+mn-lt"/>
            </a:endParaRPr>
          </a:p>
        </p:txBody>
      </p:sp>
      <p:sp>
        <p:nvSpPr>
          <p:cNvPr id="45" name="Freeform 44"/>
          <p:cNvSpPr>
            <a:spLocks noEditPoints="1"/>
          </p:cNvSpPr>
          <p:nvPr/>
        </p:nvSpPr>
        <p:spPr bwMode="auto">
          <a:xfrm>
            <a:off x="9050404" y="2758690"/>
            <a:ext cx="501063" cy="618064"/>
          </a:xfrm>
          <a:custGeom>
            <a:avLst/>
            <a:gdLst>
              <a:gd name="T0" fmla="*/ 2174 w 2759"/>
              <a:gd name="T1" fmla="*/ 2981 h 3402"/>
              <a:gd name="T2" fmla="*/ 2455 w 2759"/>
              <a:gd name="T3" fmla="*/ 2700 h 3402"/>
              <a:gd name="T4" fmla="*/ 304 w 2759"/>
              <a:gd name="T5" fmla="*/ 2700 h 3402"/>
              <a:gd name="T6" fmla="*/ 585 w 2759"/>
              <a:gd name="T7" fmla="*/ 2981 h 3402"/>
              <a:gd name="T8" fmla="*/ 304 w 2759"/>
              <a:gd name="T9" fmla="*/ 2700 h 3402"/>
              <a:gd name="T10" fmla="*/ 1091 w 2759"/>
              <a:gd name="T11" fmla="*/ 2892 h 3402"/>
              <a:gd name="T12" fmla="*/ 1668 w 2759"/>
              <a:gd name="T13" fmla="*/ 2610 h 3402"/>
              <a:gd name="T14" fmla="*/ 2174 w 2759"/>
              <a:gd name="T15" fmla="*/ 2194 h 3402"/>
              <a:gd name="T16" fmla="*/ 2455 w 2759"/>
              <a:gd name="T17" fmla="*/ 2474 h 3402"/>
              <a:gd name="T18" fmla="*/ 2174 w 2759"/>
              <a:gd name="T19" fmla="*/ 2194 h 3402"/>
              <a:gd name="T20" fmla="*/ 304 w 2759"/>
              <a:gd name="T21" fmla="*/ 2474 h 3402"/>
              <a:gd name="T22" fmla="*/ 585 w 2759"/>
              <a:gd name="T23" fmla="*/ 2194 h 3402"/>
              <a:gd name="T24" fmla="*/ 1091 w 2759"/>
              <a:gd name="T25" fmla="*/ 1973 h 3402"/>
              <a:gd name="T26" fmla="*/ 1668 w 2759"/>
              <a:gd name="T27" fmla="*/ 2256 h 3402"/>
              <a:gd name="T28" fmla="*/ 1091 w 2759"/>
              <a:gd name="T29" fmla="*/ 1973 h 3402"/>
              <a:gd name="T30" fmla="*/ 2174 w 2759"/>
              <a:gd name="T31" fmla="*/ 1967 h 3402"/>
              <a:gd name="T32" fmla="*/ 2455 w 2759"/>
              <a:gd name="T33" fmla="*/ 1686 h 3402"/>
              <a:gd name="T34" fmla="*/ 304 w 2759"/>
              <a:gd name="T35" fmla="*/ 1686 h 3402"/>
              <a:gd name="T36" fmla="*/ 585 w 2759"/>
              <a:gd name="T37" fmla="*/ 1967 h 3402"/>
              <a:gd name="T38" fmla="*/ 304 w 2759"/>
              <a:gd name="T39" fmla="*/ 1686 h 3402"/>
              <a:gd name="T40" fmla="*/ 1091 w 2759"/>
              <a:gd name="T41" fmla="*/ 1619 h 3402"/>
              <a:gd name="T42" fmla="*/ 1668 w 2759"/>
              <a:gd name="T43" fmla="*/ 1337 h 3402"/>
              <a:gd name="T44" fmla="*/ 2174 w 2759"/>
              <a:gd name="T45" fmla="*/ 1179 h 3402"/>
              <a:gd name="T46" fmla="*/ 2455 w 2759"/>
              <a:gd name="T47" fmla="*/ 1461 h 3402"/>
              <a:gd name="T48" fmla="*/ 2174 w 2759"/>
              <a:gd name="T49" fmla="*/ 1179 h 3402"/>
              <a:gd name="T50" fmla="*/ 304 w 2759"/>
              <a:gd name="T51" fmla="*/ 1461 h 3402"/>
              <a:gd name="T52" fmla="*/ 585 w 2759"/>
              <a:gd name="T53" fmla="*/ 1179 h 3402"/>
              <a:gd name="T54" fmla="*/ 1091 w 2759"/>
              <a:gd name="T55" fmla="*/ 701 h 3402"/>
              <a:gd name="T56" fmla="*/ 1668 w 2759"/>
              <a:gd name="T57" fmla="*/ 982 h 3402"/>
              <a:gd name="T58" fmla="*/ 1091 w 2759"/>
              <a:gd name="T59" fmla="*/ 701 h 3402"/>
              <a:gd name="T60" fmla="*/ 1412 w 2759"/>
              <a:gd name="T61" fmla="*/ 0 h 3402"/>
              <a:gd name="T62" fmla="*/ 1437 w 2759"/>
              <a:gd name="T63" fmla="*/ 47 h 3402"/>
              <a:gd name="T64" fmla="*/ 1487 w 2759"/>
              <a:gd name="T65" fmla="*/ 46 h 3402"/>
              <a:gd name="T66" fmla="*/ 1534 w 2759"/>
              <a:gd name="T67" fmla="*/ 33 h 3402"/>
              <a:gd name="T68" fmla="*/ 1581 w 2759"/>
              <a:gd name="T69" fmla="*/ 17 h 3402"/>
              <a:gd name="T70" fmla="*/ 1629 w 2759"/>
              <a:gd name="T71" fmla="*/ 4 h 3402"/>
              <a:gd name="T72" fmla="*/ 1678 w 2759"/>
              <a:gd name="T73" fmla="*/ 5 h 3402"/>
              <a:gd name="T74" fmla="*/ 1731 w 2759"/>
              <a:gd name="T75" fmla="*/ 25 h 3402"/>
              <a:gd name="T76" fmla="*/ 1704 w 2759"/>
              <a:gd name="T77" fmla="*/ 235 h 3402"/>
              <a:gd name="T78" fmla="*/ 1653 w 2759"/>
              <a:gd name="T79" fmla="*/ 226 h 3402"/>
              <a:gd name="T80" fmla="*/ 1605 w 2759"/>
              <a:gd name="T81" fmla="*/ 232 h 3402"/>
              <a:gd name="T82" fmla="*/ 1557 w 2759"/>
              <a:gd name="T83" fmla="*/ 247 h 3402"/>
              <a:gd name="T84" fmla="*/ 1511 w 2759"/>
              <a:gd name="T85" fmla="*/ 263 h 3402"/>
              <a:gd name="T86" fmla="*/ 1462 w 2759"/>
              <a:gd name="T87" fmla="*/ 270 h 3402"/>
              <a:gd name="T88" fmla="*/ 1412 w 2759"/>
              <a:gd name="T89" fmla="*/ 263 h 3402"/>
              <a:gd name="T90" fmla="*/ 1887 w 2759"/>
              <a:gd name="T91" fmla="*/ 492 h 3402"/>
              <a:gd name="T92" fmla="*/ 2028 w 2759"/>
              <a:gd name="T93" fmla="*/ 3122 h 3402"/>
              <a:gd name="T94" fmla="*/ 2626 w 2759"/>
              <a:gd name="T95" fmla="*/ 916 h 3402"/>
              <a:gd name="T96" fmla="*/ 2759 w 2759"/>
              <a:gd name="T97" fmla="*/ 3122 h 3402"/>
              <a:gd name="T98" fmla="*/ 0 w 2759"/>
              <a:gd name="T99" fmla="*/ 3402 h 3402"/>
              <a:gd name="T100" fmla="*/ 133 w 2759"/>
              <a:gd name="T101" fmla="*/ 3122 h 3402"/>
              <a:gd name="T102" fmla="*/ 731 w 2759"/>
              <a:gd name="T103" fmla="*/ 916 h 3402"/>
              <a:gd name="T104" fmla="*/ 872 w 2759"/>
              <a:gd name="T105" fmla="*/ 3122 h 3402"/>
              <a:gd name="T106" fmla="*/ 1347 w 2759"/>
              <a:gd name="T107" fmla="*/ 492 h 3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59" h="3402">
                <a:moveTo>
                  <a:pt x="2174" y="2700"/>
                </a:moveTo>
                <a:lnTo>
                  <a:pt x="2174" y="2981"/>
                </a:lnTo>
                <a:lnTo>
                  <a:pt x="2455" y="2981"/>
                </a:lnTo>
                <a:lnTo>
                  <a:pt x="2455" y="2700"/>
                </a:lnTo>
                <a:lnTo>
                  <a:pt x="2174" y="2700"/>
                </a:lnTo>
                <a:close/>
                <a:moveTo>
                  <a:pt x="304" y="2700"/>
                </a:moveTo>
                <a:lnTo>
                  <a:pt x="304" y="2981"/>
                </a:lnTo>
                <a:lnTo>
                  <a:pt x="585" y="2981"/>
                </a:lnTo>
                <a:lnTo>
                  <a:pt x="585" y="2700"/>
                </a:lnTo>
                <a:lnTo>
                  <a:pt x="304" y="2700"/>
                </a:lnTo>
                <a:close/>
                <a:moveTo>
                  <a:pt x="1091" y="2610"/>
                </a:moveTo>
                <a:lnTo>
                  <a:pt x="1091" y="2892"/>
                </a:lnTo>
                <a:lnTo>
                  <a:pt x="1668" y="2892"/>
                </a:lnTo>
                <a:lnTo>
                  <a:pt x="1668" y="2610"/>
                </a:lnTo>
                <a:lnTo>
                  <a:pt x="1091" y="2610"/>
                </a:lnTo>
                <a:close/>
                <a:moveTo>
                  <a:pt x="2174" y="2194"/>
                </a:moveTo>
                <a:lnTo>
                  <a:pt x="2174" y="2474"/>
                </a:lnTo>
                <a:lnTo>
                  <a:pt x="2455" y="2474"/>
                </a:lnTo>
                <a:lnTo>
                  <a:pt x="2455" y="2194"/>
                </a:lnTo>
                <a:lnTo>
                  <a:pt x="2174" y="2194"/>
                </a:lnTo>
                <a:close/>
                <a:moveTo>
                  <a:pt x="304" y="2194"/>
                </a:moveTo>
                <a:lnTo>
                  <a:pt x="304" y="2474"/>
                </a:lnTo>
                <a:lnTo>
                  <a:pt x="585" y="2474"/>
                </a:lnTo>
                <a:lnTo>
                  <a:pt x="585" y="2194"/>
                </a:lnTo>
                <a:lnTo>
                  <a:pt x="304" y="2194"/>
                </a:lnTo>
                <a:close/>
                <a:moveTo>
                  <a:pt x="1091" y="1973"/>
                </a:moveTo>
                <a:lnTo>
                  <a:pt x="1091" y="2256"/>
                </a:lnTo>
                <a:lnTo>
                  <a:pt x="1668" y="2256"/>
                </a:lnTo>
                <a:lnTo>
                  <a:pt x="1668" y="1973"/>
                </a:lnTo>
                <a:lnTo>
                  <a:pt x="1091" y="1973"/>
                </a:lnTo>
                <a:close/>
                <a:moveTo>
                  <a:pt x="2174" y="1686"/>
                </a:moveTo>
                <a:lnTo>
                  <a:pt x="2174" y="1967"/>
                </a:lnTo>
                <a:lnTo>
                  <a:pt x="2455" y="1967"/>
                </a:lnTo>
                <a:lnTo>
                  <a:pt x="2455" y="1686"/>
                </a:lnTo>
                <a:lnTo>
                  <a:pt x="2174" y="1686"/>
                </a:lnTo>
                <a:close/>
                <a:moveTo>
                  <a:pt x="304" y="1686"/>
                </a:moveTo>
                <a:lnTo>
                  <a:pt x="304" y="1967"/>
                </a:lnTo>
                <a:lnTo>
                  <a:pt x="585" y="1967"/>
                </a:lnTo>
                <a:lnTo>
                  <a:pt x="585" y="1686"/>
                </a:lnTo>
                <a:lnTo>
                  <a:pt x="304" y="1686"/>
                </a:lnTo>
                <a:close/>
                <a:moveTo>
                  <a:pt x="1091" y="1337"/>
                </a:moveTo>
                <a:lnTo>
                  <a:pt x="1091" y="1619"/>
                </a:lnTo>
                <a:lnTo>
                  <a:pt x="1668" y="1619"/>
                </a:lnTo>
                <a:lnTo>
                  <a:pt x="1668" y="1337"/>
                </a:lnTo>
                <a:lnTo>
                  <a:pt x="1091" y="1337"/>
                </a:lnTo>
                <a:close/>
                <a:moveTo>
                  <a:pt x="2174" y="1179"/>
                </a:moveTo>
                <a:lnTo>
                  <a:pt x="2174" y="1461"/>
                </a:lnTo>
                <a:lnTo>
                  <a:pt x="2455" y="1461"/>
                </a:lnTo>
                <a:lnTo>
                  <a:pt x="2455" y="1179"/>
                </a:lnTo>
                <a:lnTo>
                  <a:pt x="2174" y="1179"/>
                </a:lnTo>
                <a:close/>
                <a:moveTo>
                  <a:pt x="304" y="1179"/>
                </a:moveTo>
                <a:lnTo>
                  <a:pt x="304" y="1461"/>
                </a:lnTo>
                <a:lnTo>
                  <a:pt x="585" y="1461"/>
                </a:lnTo>
                <a:lnTo>
                  <a:pt x="585" y="1179"/>
                </a:lnTo>
                <a:lnTo>
                  <a:pt x="304" y="1179"/>
                </a:lnTo>
                <a:close/>
                <a:moveTo>
                  <a:pt x="1091" y="701"/>
                </a:moveTo>
                <a:lnTo>
                  <a:pt x="1091" y="982"/>
                </a:lnTo>
                <a:lnTo>
                  <a:pt x="1668" y="982"/>
                </a:lnTo>
                <a:lnTo>
                  <a:pt x="1668" y="701"/>
                </a:lnTo>
                <a:lnTo>
                  <a:pt x="1091" y="701"/>
                </a:lnTo>
                <a:close/>
                <a:moveTo>
                  <a:pt x="1347" y="0"/>
                </a:moveTo>
                <a:lnTo>
                  <a:pt x="1412" y="0"/>
                </a:lnTo>
                <a:lnTo>
                  <a:pt x="1412" y="40"/>
                </a:lnTo>
                <a:lnTo>
                  <a:pt x="1437" y="47"/>
                </a:lnTo>
                <a:lnTo>
                  <a:pt x="1462" y="48"/>
                </a:lnTo>
                <a:lnTo>
                  <a:pt x="1487" y="46"/>
                </a:lnTo>
                <a:lnTo>
                  <a:pt x="1511" y="40"/>
                </a:lnTo>
                <a:lnTo>
                  <a:pt x="1534" y="33"/>
                </a:lnTo>
                <a:lnTo>
                  <a:pt x="1557" y="25"/>
                </a:lnTo>
                <a:lnTo>
                  <a:pt x="1581" y="17"/>
                </a:lnTo>
                <a:lnTo>
                  <a:pt x="1605" y="9"/>
                </a:lnTo>
                <a:lnTo>
                  <a:pt x="1629" y="4"/>
                </a:lnTo>
                <a:lnTo>
                  <a:pt x="1653" y="2"/>
                </a:lnTo>
                <a:lnTo>
                  <a:pt x="1678" y="5"/>
                </a:lnTo>
                <a:lnTo>
                  <a:pt x="1704" y="12"/>
                </a:lnTo>
                <a:lnTo>
                  <a:pt x="1731" y="25"/>
                </a:lnTo>
                <a:lnTo>
                  <a:pt x="1731" y="249"/>
                </a:lnTo>
                <a:lnTo>
                  <a:pt x="1704" y="235"/>
                </a:lnTo>
                <a:lnTo>
                  <a:pt x="1678" y="228"/>
                </a:lnTo>
                <a:lnTo>
                  <a:pt x="1653" y="226"/>
                </a:lnTo>
                <a:lnTo>
                  <a:pt x="1629" y="228"/>
                </a:lnTo>
                <a:lnTo>
                  <a:pt x="1605" y="232"/>
                </a:lnTo>
                <a:lnTo>
                  <a:pt x="1581" y="239"/>
                </a:lnTo>
                <a:lnTo>
                  <a:pt x="1557" y="247"/>
                </a:lnTo>
                <a:lnTo>
                  <a:pt x="1534" y="256"/>
                </a:lnTo>
                <a:lnTo>
                  <a:pt x="1511" y="263"/>
                </a:lnTo>
                <a:lnTo>
                  <a:pt x="1487" y="268"/>
                </a:lnTo>
                <a:lnTo>
                  <a:pt x="1462" y="270"/>
                </a:lnTo>
                <a:lnTo>
                  <a:pt x="1437" y="269"/>
                </a:lnTo>
                <a:lnTo>
                  <a:pt x="1412" y="263"/>
                </a:lnTo>
                <a:lnTo>
                  <a:pt x="1412" y="492"/>
                </a:lnTo>
                <a:lnTo>
                  <a:pt x="1887" y="492"/>
                </a:lnTo>
                <a:lnTo>
                  <a:pt x="1887" y="3122"/>
                </a:lnTo>
                <a:lnTo>
                  <a:pt x="2028" y="3122"/>
                </a:lnTo>
                <a:lnTo>
                  <a:pt x="2028" y="916"/>
                </a:lnTo>
                <a:lnTo>
                  <a:pt x="2626" y="916"/>
                </a:lnTo>
                <a:lnTo>
                  <a:pt x="2626" y="3122"/>
                </a:lnTo>
                <a:lnTo>
                  <a:pt x="2759" y="3122"/>
                </a:lnTo>
                <a:lnTo>
                  <a:pt x="2759" y="3402"/>
                </a:lnTo>
                <a:lnTo>
                  <a:pt x="0" y="3402"/>
                </a:lnTo>
                <a:lnTo>
                  <a:pt x="0" y="3122"/>
                </a:lnTo>
                <a:lnTo>
                  <a:pt x="133" y="3122"/>
                </a:lnTo>
                <a:lnTo>
                  <a:pt x="133" y="916"/>
                </a:lnTo>
                <a:lnTo>
                  <a:pt x="731" y="916"/>
                </a:lnTo>
                <a:lnTo>
                  <a:pt x="731" y="3122"/>
                </a:lnTo>
                <a:lnTo>
                  <a:pt x="872" y="3122"/>
                </a:lnTo>
                <a:lnTo>
                  <a:pt x="872" y="492"/>
                </a:lnTo>
                <a:lnTo>
                  <a:pt x="1347" y="492"/>
                </a:lnTo>
                <a:lnTo>
                  <a:pt x="1347" y="0"/>
                </a:lnTo>
                <a:close/>
              </a:path>
            </a:pathLst>
          </a:custGeom>
          <a:solidFill>
            <a:srgbClr val="FFFFFF"/>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smtClean="0">
              <a:ln>
                <a:noFill/>
              </a:ln>
              <a:solidFill>
                <a:srgbClr val="575757"/>
              </a:solidFill>
              <a:effectLst/>
              <a:uLnTx/>
              <a:uFillTx/>
              <a:cs typeface="+mn-ea"/>
              <a:sym typeface="+mn-lt"/>
            </a:endParaRPr>
          </a:p>
        </p:txBody>
      </p:sp>
      <p:sp>
        <p:nvSpPr>
          <p:cNvPr id="46" name="矩形 45"/>
          <p:cNvSpPr/>
          <p:nvPr/>
        </p:nvSpPr>
        <p:spPr>
          <a:xfrm>
            <a:off x="2652710" y="4752703"/>
            <a:ext cx="2546418" cy="363590"/>
          </a:xfrm>
          <a:prstGeom prst="rect">
            <a:avLst/>
          </a:prstGeom>
          <a:noFill/>
          <a:ln w="38100" cap="flat" cmpd="sng" algn="ctr">
            <a:noFill/>
            <a:prstDash val="solid"/>
          </a:ln>
          <a:effectLst/>
          <a:extLst>
            <a:ext uri="{909E8E84-426E-40DD-AFC4-6F175D3DCCD1}">
              <a14:hiddenFill xmlns:a14="http://schemas.microsoft.com/office/drawing/2010/main">
                <a:solidFill>
                  <a:srgbClr val="EAF5FC"/>
                </a:solidFill>
              </a14:hiddenFill>
            </a:ext>
          </a:extLst>
        </p:spPr>
        <p:txBody>
          <a:bodyPr lIns="36000" tIns="0" rIns="36000" bIns="0" rtlCol="0" anchor="ctr"/>
          <a:lstStyle/>
          <a:p>
            <a:pPr marR="0" lvl="0" algn="ctr" defTabSz="914400" eaLnBrk="1" fontAlgn="auto" latinLnBrk="0" hangingPunct="1">
              <a:lnSpc>
                <a:spcPct val="100000"/>
              </a:lnSpc>
              <a:spcBef>
                <a:spcPts val="0"/>
              </a:spcBef>
              <a:buClrTx/>
              <a:buSzTx/>
              <a:defRPr/>
            </a:pPr>
            <a:r>
              <a:rPr lang="en-US" altLang="zh-CN" sz="1200" kern="0" smtClean="0">
                <a:cs typeface="+mn-ea"/>
                <a:sym typeface="+mn-lt"/>
              </a:rPr>
              <a:t>XXX</a:t>
            </a:r>
            <a:endParaRPr kumimoji="0" lang="zh-CN" altLang="en-US" sz="1200" i="0" u="none" strike="noStrike" kern="0" cap="none" spc="0" normalizeH="0" baseline="0" noProof="0" dirty="0" smtClean="0">
              <a:ln>
                <a:noFill/>
              </a:ln>
              <a:effectLst/>
              <a:uLnTx/>
              <a:uFillTx/>
              <a:cs typeface="+mn-ea"/>
              <a:sym typeface="+mn-lt"/>
            </a:endParaRPr>
          </a:p>
        </p:txBody>
      </p:sp>
      <p:sp>
        <p:nvSpPr>
          <p:cNvPr id="47" name="矩形 46"/>
          <p:cNvSpPr/>
          <p:nvPr/>
        </p:nvSpPr>
        <p:spPr>
          <a:xfrm>
            <a:off x="8024946" y="4752703"/>
            <a:ext cx="2546418" cy="363590"/>
          </a:xfrm>
          <a:prstGeom prst="rect">
            <a:avLst/>
          </a:prstGeom>
          <a:noFill/>
          <a:ln w="38100" cap="flat" cmpd="sng" algn="ctr">
            <a:noFill/>
            <a:prstDash val="solid"/>
          </a:ln>
          <a:effectLst/>
          <a:extLst>
            <a:ext uri="{909E8E84-426E-40DD-AFC4-6F175D3DCCD1}">
              <a14:hiddenFill xmlns:a14="http://schemas.microsoft.com/office/drawing/2010/main">
                <a:solidFill>
                  <a:srgbClr val="EAF5FC"/>
                </a:solidFill>
              </a14:hiddenFill>
            </a:ext>
          </a:extLst>
        </p:spPr>
        <p:txBody>
          <a:bodyPr lIns="36000" tIns="0" rIns="3600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200" kern="0" smtClean="0">
                <a:cs typeface="+mn-ea"/>
                <a:sym typeface="+mn-lt"/>
              </a:rPr>
              <a:t>XXX</a:t>
            </a:r>
            <a:endParaRPr kumimoji="0" lang="zh-CN" altLang="en-US" sz="1200" i="0" u="none" strike="noStrike" kern="0" cap="none" spc="0" normalizeH="0" baseline="0" noProof="0" dirty="0" smtClean="0">
              <a:ln>
                <a:noFill/>
              </a:ln>
              <a:effectLst/>
              <a:uLnTx/>
              <a:uFillTx/>
              <a:cs typeface="+mn-ea"/>
              <a:sym typeface="+mn-lt"/>
            </a:endParaRPr>
          </a:p>
        </p:txBody>
      </p:sp>
      <p:sp>
        <p:nvSpPr>
          <p:cNvPr id="48" name="矩形 47"/>
          <p:cNvSpPr/>
          <p:nvPr/>
        </p:nvSpPr>
        <p:spPr>
          <a:xfrm>
            <a:off x="5338828" y="4752703"/>
            <a:ext cx="2546418" cy="363590"/>
          </a:xfrm>
          <a:prstGeom prst="rect">
            <a:avLst/>
          </a:prstGeom>
          <a:noFill/>
          <a:ln w="38100" cap="flat" cmpd="sng" algn="ctr">
            <a:noFill/>
            <a:prstDash val="solid"/>
          </a:ln>
          <a:effectLst/>
          <a:extLst>
            <a:ext uri="{909E8E84-426E-40DD-AFC4-6F175D3DCCD1}">
              <a14:hiddenFill xmlns:a14="http://schemas.microsoft.com/office/drawing/2010/main">
                <a:solidFill>
                  <a:srgbClr val="EAF5FC"/>
                </a:solidFill>
              </a14:hiddenFill>
            </a:ext>
          </a:extLst>
        </p:spPr>
        <p:txBody>
          <a:bodyPr lIns="36000" tIns="0" rIns="3600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200" kern="0" smtClean="0">
                <a:cs typeface="+mn-ea"/>
                <a:sym typeface="+mn-lt"/>
              </a:rPr>
              <a:t>XXX</a:t>
            </a:r>
            <a:endParaRPr kumimoji="0" lang="zh-CN" altLang="en-US" sz="1200" i="0" u="none" strike="noStrike" kern="0" cap="none" spc="0" normalizeH="0" baseline="0" noProof="0" dirty="0" smtClean="0">
              <a:ln>
                <a:noFill/>
              </a:ln>
              <a:effectLst/>
              <a:uLnTx/>
              <a:uFillTx/>
              <a:cs typeface="+mn-ea"/>
              <a:sym typeface="+mn-lt"/>
            </a:endParaRPr>
          </a:p>
        </p:txBody>
      </p:sp>
      <p:sp>
        <p:nvSpPr>
          <p:cNvPr id="50" name="矩形 49"/>
          <p:cNvSpPr/>
          <p:nvPr/>
        </p:nvSpPr>
        <p:spPr>
          <a:xfrm>
            <a:off x="400607" y="5225149"/>
            <a:ext cx="1179051" cy="582050"/>
          </a:xfrm>
          <a:prstGeom prst="rect">
            <a:avLst/>
          </a:prstGeom>
          <a:noFill/>
          <a:ln w="38100" cap="flat" cmpd="sng" algn="ctr">
            <a:noFill/>
            <a:prstDash val="solid"/>
          </a:ln>
          <a:effectLst/>
        </p:spPr>
        <p:txBody>
          <a:bodyPr lIns="68570" tIns="34286" rIns="68570" bIns="34286"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000" b="1" i="0" u="none" strike="noStrike" kern="0" cap="none" spc="0" normalizeH="0" noProof="0" dirty="0" smtClean="0">
                <a:ln>
                  <a:noFill/>
                </a:ln>
                <a:effectLst/>
                <a:uLnTx/>
                <a:uFillTx/>
                <a:cs typeface="+mn-ea"/>
                <a:sym typeface="+mn-lt"/>
              </a:rPr>
              <a:t>XXX</a:t>
            </a:r>
            <a:endParaRPr kumimoji="0" lang="en-US" altLang="zh-CN" sz="2000" b="1" i="0" u="none" strike="noStrike" kern="0" cap="none" spc="0" normalizeH="0" noProof="0" dirty="0" smtClean="0">
              <a:ln>
                <a:noFill/>
              </a:ln>
              <a:effectLst/>
              <a:uLnTx/>
              <a:uFillTx/>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noProof="0" dirty="0" smtClean="0">
                <a:ln>
                  <a:noFill/>
                </a:ln>
                <a:effectLst/>
                <a:uLnTx/>
                <a:uFillTx/>
                <a:cs typeface="+mn-ea"/>
                <a:sym typeface="+mn-lt"/>
              </a:rPr>
              <a:t>平台</a:t>
            </a:r>
            <a:endParaRPr kumimoji="0" lang="zh-CN" altLang="en-US" sz="2000" b="1" i="0" u="none" strike="noStrike" kern="0" cap="none" spc="0" normalizeH="0" noProof="0" dirty="0" smtClean="0">
              <a:ln>
                <a:noFill/>
              </a:ln>
              <a:effectLst/>
              <a:uLnTx/>
              <a:uFillTx/>
              <a:cs typeface="+mn-ea"/>
              <a:sym typeface="+mn-lt"/>
            </a:endParaRPr>
          </a:p>
        </p:txBody>
      </p:sp>
      <p:sp>
        <p:nvSpPr>
          <p:cNvPr id="59" name="矩形 58"/>
          <p:cNvSpPr/>
          <p:nvPr/>
        </p:nvSpPr>
        <p:spPr>
          <a:xfrm>
            <a:off x="459331" y="3472550"/>
            <a:ext cx="1023888" cy="582050"/>
          </a:xfrm>
          <a:prstGeom prst="rect">
            <a:avLst/>
          </a:prstGeom>
          <a:noFill/>
          <a:ln w="38100" cap="flat" cmpd="sng" algn="ctr">
            <a:noFill/>
            <a:prstDash val="solid"/>
          </a:ln>
          <a:effectLst/>
        </p:spPr>
        <p:txBody>
          <a:bodyPr lIns="68570" tIns="34286" rIns="68570" bIns="34286" rtlCol="0" anchor="ctr"/>
          <a:lstStyle/>
          <a:p>
            <a:pPr lvl="0" algn="ctr">
              <a:defRPr/>
            </a:pPr>
            <a:r>
              <a:rPr lang="en-US" altLang="zh-CN" sz="2000" b="1" kern="0" smtClean="0">
                <a:cs typeface="+mn-ea"/>
                <a:sym typeface="+mn-lt"/>
              </a:rPr>
              <a:t>XXX</a:t>
            </a:r>
            <a:endParaRPr lang="zh-CN" altLang="en-US" sz="2000" b="1" kern="0" dirty="0">
              <a:cs typeface="+mn-ea"/>
              <a:sym typeface="+mn-lt"/>
            </a:endParaRPr>
          </a:p>
        </p:txBody>
      </p:sp>
      <p:sp>
        <p:nvSpPr>
          <p:cNvPr id="60" name="文本框 59"/>
          <p:cNvSpPr txBox="1"/>
          <p:nvPr/>
        </p:nvSpPr>
        <p:spPr>
          <a:xfrm>
            <a:off x="489856" y="1034143"/>
            <a:ext cx="11255829" cy="677211"/>
          </a:xfrm>
          <a:prstGeom prst="rect">
            <a:avLst/>
          </a:prstGeom>
          <a:solidFill>
            <a:srgbClr val="FFF5EF"/>
          </a:solidFill>
          <a:ln w="19050">
            <a:solidFill>
              <a:schemeClr val="accent1">
                <a:lumMod val="75000"/>
              </a:schemeClr>
            </a:solidFill>
          </a:ln>
          <a:effectLst/>
        </p:spPr>
        <p:txBody>
          <a:bodyPr wrap="none" lIns="108000" rIns="108000" rtlCol="0" anchor="ctr">
            <a:noAutofit/>
          </a:bodyPr>
          <a:lstStyle/>
          <a:p>
            <a:pPr>
              <a:spcBef>
                <a:spcPts val="300"/>
              </a:spcBef>
            </a:pPr>
            <a:r>
              <a:rPr lang="en-US" altLang="zh-CN" sz="2000" b="1" smtClean="0">
                <a:cs typeface="+mn-ea"/>
                <a:sym typeface="+mn-lt"/>
              </a:rPr>
              <a:t>XXX</a:t>
            </a:r>
            <a:endParaRPr lang="zh-CN" altLang="en-US" sz="2000" dirty="0">
              <a:cs typeface="+mn-ea"/>
              <a:sym typeface="+mn-lt"/>
            </a:endParaRPr>
          </a:p>
        </p:txBody>
      </p:sp>
      <p:sp>
        <p:nvSpPr>
          <p:cNvPr id="61" name="矩形 60"/>
          <p:cNvSpPr/>
          <p:nvPr/>
        </p:nvSpPr>
        <p:spPr>
          <a:xfrm>
            <a:off x="5615069" y="1885536"/>
            <a:ext cx="1005403" cy="461665"/>
          </a:xfrm>
          <a:prstGeom prst="rect">
            <a:avLst/>
          </a:prstGeom>
          <a:solidFill>
            <a:schemeClr val="bg1"/>
          </a:solidFill>
        </p:spPr>
        <p:txBody>
          <a:bodyPr wrap="none">
            <a:spAutoFit/>
          </a:bodyPr>
          <a:lstStyle/>
          <a:p>
            <a:pPr algn="ctr"/>
            <a:r>
              <a:rPr lang="en-US" altLang="zh-CN" sz="2400" b="1" smtClean="0">
                <a:cs typeface="+mn-ea"/>
                <a:sym typeface="+mn-lt"/>
              </a:rPr>
              <a:t>XXXX</a:t>
            </a:r>
            <a:endParaRPr lang="zh-CN" altLang="en-US" sz="2400" b="1" dirty="0">
              <a:cs typeface="+mn-ea"/>
              <a:sym typeface="+mn-lt"/>
            </a:endParaRPr>
          </a:p>
        </p:txBody>
      </p:sp>
      <p:sp>
        <p:nvSpPr>
          <p:cNvPr id="62" name="椭圆 61"/>
          <p:cNvSpPr/>
          <p:nvPr/>
        </p:nvSpPr>
        <p:spPr>
          <a:xfrm>
            <a:off x="3751747" y="2329548"/>
            <a:ext cx="348344" cy="348344"/>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b="1" dirty="0" smtClean="0">
                <a:solidFill>
                  <a:schemeClr val="bg1"/>
                </a:solidFill>
                <a:cs typeface="+mn-ea"/>
                <a:sym typeface="+mn-lt"/>
              </a:rPr>
              <a:t>A</a:t>
            </a:r>
            <a:endParaRPr lang="zh-CN" altLang="en-US" sz="1600" b="1" dirty="0" smtClean="0">
              <a:solidFill>
                <a:schemeClr val="bg1"/>
              </a:solidFill>
              <a:cs typeface="+mn-ea"/>
              <a:sym typeface="+mn-lt"/>
            </a:endParaRPr>
          </a:p>
        </p:txBody>
      </p:sp>
      <p:sp>
        <p:nvSpPr>
          <p:cNvPr id="63" name="椭圆 62"/>
          <p:cNvSpPr/>
          <p:nvPr/>
        </p:nvSpPr>
        <p:spPr>
          <a:xfrm>
            <a:off x="6429633" y="2525491"/>
            <a:ext cx="348344" cy="348344"/>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b="1" dirty="0" smtClean="0">
                <a:solidFill>
                  <a:schemeClr val="bg1"/>
                </a:solidFill>
                <a:cs typeface="+mn-ea"/>
                <a:sym typeface="+mn-lt"/>
              </a:rPr>
              <a:t>B</a:t>
            </a:r>
            <a:endParaRPr lang="zh-CN" altLang="en-US" sz="1600" b="1" dirty="0" smtClean="0">
              <a:solidFill>
                <a:schemeClr val="bg1"/>
              </a:solidFill>
              <a:cs typeface="+mn-ea"/>
              <a:sym typeface="+mn-lt"/>
            </a:endParaRPr>
          </a:p>
        </p:txBody>
      </p:sp>
      <p:sp>
        <p:nvSpPr>
          <p:cNvPr id="64" name="椭圆 63"/>
          <p:cNvSpPr/>
          <p:nvPr/>
        </p:nvSpPr>
        <p:spPr>
          <a:xfrm>
            <a:off x="9118404" y="2329548"/>
            <a:ext cx="348344" cy="348344"/>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b="1" dirty="0" smtClean="0">
                <a:solidFill>
                  <a:schemeClr val="bg1"/>
                </a:solidFill>
                <a:cs typeface="+mn-ea"/>
                <a:sym typeface="+mn-lt"/>
              </a:rPr>
              <a:t>C</a:t>
            </a:r>
            <a:endParaRPr lang="zh-CN" altLang="en-US" sz="1600" b="1" dirty="0" smtClean="0">
              <a:solidFill>
                <a:schemeClr val="bg1"/>
              </a:solidFill>
              <a:cs typeface="+mn-ea"/>
              <a:sym typeface="+mn-lt"/>
            </a:endParaRPr>
          </a:p>
        </p:txBody>
      </p:sp>
      <p:sp>
        <p:nvSpPr>
          <p:cNvPr id="65" name="椭圆 64"/>
          <p:cNvSpPr/>
          <p:nvPr/>
        </p:nvSpPr>
        <p:spPr>
          <a:xfrm>
            <a:off x="4746579" y="5394656"/>
            <a:ext cx="348344" cy="348344"/>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b="1" dirty="0" smtClean="0">
                <a:solidFill>
                  <a:schemeClr val="bg1"/>
                </a:solidFill>
                <a:cs typeface="+mn-ea"/>
                <a:sym typeface="+mn-lt"/>
              </a:rPr>
              <a:t>D</a:t>
            </a:r>
            <a:endParaRPr lang="zh-CN" altLang="en-US" sz="1600" b="1" dirty="0" smtClean="0">
              <a:solidFill>
                <a:schemeClr val="bg1"/>
              </a:solidFill>
              <a:cs typeface="+mn-ea"/>
              <a:sym typeface="+mn-lt"/>
            </a:endParaRPr>
          </a:p>
        </p:txBody>
      </p:sp>
      <p:sp>
        <p:nvSpPr>
          <p:cNvPr id="4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smtClean="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34" name="图片 3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257" name="think-cell Slide" r:id="rId2" imgW="12700" imgH="12700" progId="TCLayout.ActiveDocument.1">
                  <p:embed/>
                </p:oleObj>
              </mc:Choice>
              <mc:Fallback>
                <p:oleObj name="think-cell Slide" r:id="rId2" imgW="12700" imgH="12700" progId="TCLayout.ActiveDocument.1">
                  <p:embed/>
                  <p:pic>
                    <p:nvPicPr>
                      <p:cNvPr id="0" name="对象 1" hidden="1"/>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28" name="组合 27"/>
          <p:cNvGrpSpPr/>
          <p:nvPr/>
        </p:nvGrpSpPr>
        <p:grpSpPr>
          <a:xfrm>
            <a:off x="1432456" y="977153"/>
            <a:ext cx="9327089" cy="5298141"/>
            <a:chOff x="1432456" y="1202578"/>
            <a:chExt cx="9327089" cy="4947210"/>
          </a:xfrm>
        </p:grpSpPr>
        <p:sp>
          <p:nvSpPr>
            <p:cNvPr id="5" name="Freeform: Shape 23"/>
            <p:cNvSpPr/>
            <p:nvPr/>
          </p:nvSpPr>
          <p:spPr>
            <a:xfrm>
              <a:off x="5932292" y="3676185"/>
              <a:ext cx="2567966" cy="2473603"/>
            </a:xfrm>
            <a:custGeom>
              <a:avLst/>
              <a:gdLst/>
              <a:ahLst/>
              <a:cxnLst/>
              <a:rect l="l" t="t" r="r" b="b"/>
              <a:pathLst>
                <a:path w="2154443" h="2124329">
                  <a:moveTo>
                    <a:pt x="0" y="0"/>
                  </a:moveTo>
                  <a:lnTo>
                    <a:pt x="264483" y="0"/>
                  </a:lnTo>
                  <a:lnTo>
                    <a:pt x="264483" y="1047108"/>
                  </a:lnTo>
                  <a:lnTo>
                    <a:pt x="264039" y="1047108"/>
                  </a:lnTo>
                  <a:lnTo>
                    <a:pt x="264039" y="1068175"/>
                  </a:lnTo>
                  <a:lnTo>
                    <a:pt x="265444" y="1089242"/>
                  </a:lnTo>
                  <a:lnTo>
                    <a:pt x="266146" y="1110309"/>
                  </a:lnTo>
                  <a:lnTo>
                    <a:pt x="268955" y="1129971"/>
                  </a:lnTo>
                  <a:lnTo>
                    <a:pt x="271062" y="1150336"/>
                  </a:lnTo>
                  <a:lnTo>
                    <a:pt x="273871" y="1170701"/>
                  </a:lnTo>
                  <a:lnTo>
                    <a:pt x="276680" y="1191065"/>
                  </a:lnTo>
                  <a:lnTo>
                    <a:pt x="280893" y="1210728"/>
                  </a:lnTo>
                  <a:lnTo>
                    <a:pt x="285106" y="1230390"/>
                  </a:lnTo>
                  <a:lnTo>
                    <a:pt x="289320" y="1250053"/>
                  </a:lnTo>
                  <a:lnTo>
                    <a:pt x="294938" y="1269715"/>
                  </a:lnTo>
                  <a:lnTo>
                    <a:pt x="300555" y="1288675"/>
                  </a:lnTo>
                  <a:lnTo>
                    <a:pt x="306875" y="1307636"/>
                  </a:lnTo>
                  <a:lnTo>
                    <a:pt x="313898" y="1326596"/>
                  </a:lnTo>
                  <a:lnTo>
                    <a:pt x="320218" y="1344854"/>
                  </a:lnTo>
                  <a:lnTo>
                    <a:pt x="327942" y="1363814"/>
                  </a:lnTo>
                  <a:lnTo>
                    <a:pt x="336369" y="1382072"/>
                  </a:lnTo>
                  <a:lnTo>
                    <a:pt x="344094" y="1399628"/>
                  </a:lnTo>
                  <a:lnTo>
                    <a:pt x="353223" y="1417183"/>
                  </a:lnTo>
                  <a:lnTo>
                    <a:pt x="362352" y="1434037"/>
                  </a:lnTo>
                  <a:lnTo>
                    <a:pt x="372183" y="1451593"/>
                  </a:lnTo>
                  <a:lnTo>
                    <a:pt x="382014" y="1468446"/>
                  </a:lnTo>
                  <a:lnTo>
                    <a:pt x="391845" y="1485300"/>
                  </a:lnTo>
                  <a:lnTo>
                    <a:pt x="403081" y="1501451"/>
                  </a:lnTo>
                  <a:lnTo>
                    <a:pt x="413614" y="1516900"/>
                  </a:lnTo>
                  <a:lnTo>
                    <a:pt x="425552" y="1533754"/>
                  </a:lnTo>
                  <a:lnTo>
                    <a:pt x="437490" y="1548501"/>
                  </a:lnTo>
                  <a:lnTo>
                    <a:pt x="450130" y="1564652"/>
                  </a:lnTo>
                  <a:lnTo>
                    <a:pt x="462771" y="1578696"/>
                  </a:lnTo>
                  <a:lnTo>
                    <a:pt x="475411" y="1593443"/>
                  </a:lnTo>
                  <a:lnTo>
                    <a:pt x="488753" y="1607488"/>
                  </a:lnTo>
                  <a:lnTo>
                    <a:pt x="502095" y="1622235"/>
                  </a:lnTo>
                  <a:lnTo>
                    <a:pt x="516140" y="1635577"/>
                  </a:lnTo>
                  <a:lnTo>
                    <a:pt x="530887" y="1648919"/>
                  </a:lnTo>
                  <a:lnTo>
                    <a:pt x="544931" y="1661560"/>
                  </a:lnTo>
                  <a:lnTo>
                    <a:pt x="559678" y="1674200"/>
                  </a:lnTo>
                  <a:lnTo>
                    <a:pt x="575127" y="1686138"/>
                  </a:lnTo>
                  <a:lnTo>
                    <a:pt x="590576" y="1698076"/>
                  </a:lnTo>
                  <a:lnTo>
                    <a:pt x="606025" y="1709311"/>
                  </a:lnTo>
                  <a:lnTo>
                    <a:pt x="622879" y="1720547"/>
                  </a:lnTo>
                  <a:lnTo>
                    <a:pt x="639030" y="1731783"/>
                  </a:lnTo>
                  <a:lnTo>
                    <a:pt x="655884" y="1741614"/>
                  </a:lnTo>
                  <a:lnTo>
                    <a:pt x="672035" y="1752147"/>
                  </a:lnTo>
                  <a:lnTo>
                    <a:pt x="689591" y="1761978"/>
                  </a:lnTo>
                  <a:lnTo>
                    <a:pt x="706444" y="1771107"/>
                  </a:lnTo>
                  <a:lnTo>
                    <a:pt x="724702" y="1780236"/>
                  </a:lnTo>
                  <a:lnTo>
                    <a:pt x="742258" y="1787961"/>
                  </a:lnTo>
                  <a:lnTo>
                    <a:pt x="760516" y="1795686"/>
                  </a:lnTo>
                  <a:lnTo>
                    <a:pt x="779476" y="1803410"/>
                  </a:lnTo>
                  <a:lnTo>
                    <a:pt x="797032" y="1810432"/>
                  </a:lnTo>
                  <a:lnTo>
                    <a:pt x="816695" y="1817455"/>
                  </a:lnTo>
                  <a:lnTo>
                    <a:pt x="835655" y="1823072"/>
                  </a:lnTo>
                  <a:lnTo>
                    <a:pt x="854615" y="1828690"/>
                  </a:lnTo>
                  <a:lnTo>
                    <a:pt x="873575" y="1833606"/>
                  </a:lnTo>
                  <a:lnTo>
                    <a:pt x="893940" y="1839224"/>
                  </a:lnTo>
                  <a:lnTo>
                    <a:pt x="912900" y="1843437"/>
                  </a:lnTo>
                  <a:lnTo>
                    <a:pt x="933265" y="1847651"/>
                  </a:lnTo>
                  <a:lnTo>
                    <a:pt x="952927" y="1850459"/>
                  </a:lnTo>
                  <a:lnTo>
                    <a:pt x="973292" y="1853268"/>
                  </a:lnTo>
                  <a:lnTo>
                    <a:pt x="994359" y="1855375"/>
                  </a:lnTo>
                  <a:lnTo>
                    <a:pt x="1014021" y="1856780"/>
                  </a:lnTo>
                  <a:lnTo>
                    <a:pt x="1035088" y="1858886"/>
                  </a:lnTo>
                  <a:lnTo>
                    <a:pt x="1056155" y="1859588"/>
                  </a:lnTo>
                  <a:lnTo>
                    <a:pt x="1077222" y="1860291"/>
                  </a:lnTo>
                  <a:lnTo>
                    <a:pt x="1098289" y="1859588"/>
                  </a:lnTo>
                  <a:lnTo>
                    <a:pt x="1119356" y="1858886"/>
                  </a:lnTo>
                  <a:lnTo>
                    <a:pt x="1139018" y="1856780"/>
                  </a:lnTo>
                  <a:lnTo>
                    <a:pt x="1160085" y="1855375"/>
                  </a:lnTo>
                  <a:lnTo>
                    <a:pt x="1180450" y="1853268"/>
                  </a:lnTo>
                  <a:lnTo>
                    <a:pt x="1200814" y="1850459"/>
                  </a:lnTo>
                  <a:lnTo>
                    <a:pt x="1221179" y="1847651"/>
                  </a:lnTo>
                  <a:lnTo>
                    <a:pt x="1240139" y="1843437"/>
                  </a:lnTo>
                  <a:lnTo>
                    <a:pt x="1260504" y="1839224"/>
                  </a:lnTo>
                  <a:lnTo>
                    <a:pt x="1280166" y="1833606"/>
                  </a:lnTo>
                  <a:lnTo>
                    <a:pt x="1299829" y="1828690"/>
                  </a:lnTo>
                  <a:lnTo>
                    <a:pt x="1318789" y="1823072"/>
                  </a:lnTo>
                  <a:lnTo>
                    <a:pt x="1337749" y="1817455"/>
                  </a:lnTo>
                  <a:lnTo>
                    <a:pt x="1356709" y="1810432"/>
                  </a:lnTo>
                  <a:lnTo>
                    <a:pt x="1374967" y="1803410"/>
                  </a:lnTo>
                  <a:lnTo>
                    <a:pt x="1393225" y="1795686"/>
                  </a:lnTo>
                  <a:lnTo>
                    <a:pt x="1410781" y="1787961"/>
                  </a:lnTo>
                  <a:lnTo>
                    <a:pt x="1429039" y="1780236"/>
                  </a:lnTo>
                  <a:lnTo>
                    <a:pt x="1447297" y="1771107"/>
                  </a:lnTo>
                  <a:lnTo>
                    <a:pt x="1464151" y="1761978"/>
                  </a:lnTo>
                  <a:lnTo>
                    <a:pt x="1481706" y="1752147"/>
                  </a:lnTo>
                  <a:lnTo>
                    <a:pt x="1498560" y="1741614"/>
                  </a:lnTo>
                  <a:lnTo>
                    <a:pt x="1515413" y="1731783"/>
                  </a:lnTo>
                  <a:lnTo>
                    <a:pt x="1531565" y="1720547"/>
                  </a:lnTo>
                  <a:lnTo>
                    <a:pt x="1547014" y="1709311"/>
                  </a:lnTo>
                  <a:lnTo>
                    <a:pt x="1563165" y="1698076"/>
                  </a:lnTo>
                  <a:lnTo>
                    <a:pt x="1578614" y="1686138"/>
                  </a:lnTo>
                  <a:lnTo>
                    <a:pt x="1594063" y="1674200"/>
                  </a:lnTo>
                  <a:lnTo>
                    <a:pt x="1608810" y="1661560"/>
                  </a:lnTo>
                  <a:lnTo>
                    <a:pt x="1623557" y="1648919"/>
                  </a:lnTo>
                  <a:lnTo>
                    <a:pt x="1637601" y="1635577"/>
                  </a:lnTo>
                  <a:lnTo>
                    <a:pt x="1651646" y="1622235"/>
                  </a:lnTo>
                  <a:lnTo>
                    <a:pt x="1665691" y="1607488"/>
                  </a:lnTo>
                  <a:lnTo>
                    <a:pt x="1678331" y="1593443"/>
                  </a:lnTo>
                  <a:lnTo>
                    <a:pt x="1691673" y="1578696"/>
                  </a:lnTo>
                  <a:lnTo>
                    <a:pt x="1703611" y="1564652"/>
                  </a:lnTo>
                  <a:lnTo>
                    <a:pt x="1716251" y="1548501"/>
                  </a:lnTo>
                  <a:lnTo>
                    <a:pt x="1728189" y="1533754"/>
                  </a:lnTo>
                  <a:lnTo>
                    <a:pt x="1739425" y="1516900"/>
                  </a:lnTo>
                  <a:lnTo>
                    <a:pt x="1750660" y="1501451"/>
                  </a:lnTo>
                  <a:lnTo>
                    <a:pt x="1761194" y="1485300"/>
                  </a:lnTo>
                  <a:lnTo>
                    <a:pt x="1771727" y="1468446"/>
                  </a:lnTo>
                  <a:lnTo>
                    <a:pt x="1781559" y="1451593"/>
                  </a:lnTo>
                  <a:lnTo>
                    <a:pt x="1791390" y="1434037"/>
                  </a:lnTo>
                  <a:lnTo>
                    <a:pt x="1801221" y="1417183"/>
                  </a:lnTo>
                  <a:lnTo>
                    <a:pt x="1809648" y="1399628"/>
                  </a:lnTo>
                  <a:lnTo>
                    <a:pt x="1817372" y="1382072"/>
                  </a:lnTo>
                  <a:lnTo>
                    <a:pt x="1825799" y="1363814"/>
                  </a:lnTo>
                  <a:lnTo>
                    <a:pt x="1833524" y="1344854"/>
                  </a:lnTo>
                  <a:lnTo>
                    <a:pt x="1839844" y="1326596"/>
                  </a:lnTo>
                  <a:lnTo>
                    <a:pt x="1846866" y="1307636"/>
                  </a:lnTo>
                  <a:lnTo>
                    <a:pt x="1852484" y="1288675"/>
                  </a:lnTo>
                  <a:lnTo>
                    <a:pt x="1858804" y="1269715"/>
                  </a:lnTo>
                  <a:lnTo>
                    <a:pt x="1863720" y="1250053"/>
                  </a:lnTo>
                  <a:lnTo>
                    <a:pt x="1868635" y="1230390"/>
                  </a:lnTo>
                  <a:lnTo>
                    <a:pt x="1872848" y="1210728"/>
                  </a:lnTo>
                  <a:lnTo>
                    <a:pt x="1876360" y="1191065"/>
                  </a:lnTo>
                  <a:lnTo>
                    <a:pt x="1880573" y="1170701"/>
                  </a:lnTo>
                  <a:lnTo>
                    <a:pt x="1883382" y="1150336"/>
                  </a:lnTo>
                  <a:lnTo>
                    <a:pt x="1885489" y="1129971"/>
                  </a:lnTo>
                  <a:lnTo>
                    <a:pt x="1886893" y="1110309"/>
                  </a:lnTo>
                  <a:lnTo>
                    <a:pt x="1889000" y="1089242"/>
                  </a:lnTo>
                  <a:lnTo>
                    <a:pt x="1889702" y="1068175"/>
                  </a:lnTo>
                  <a:lnTo>
                    <a:pt x="1889702" y="1047108"/>
                  </a:lnTo>
                  <a:lnTo>
                    <a:pt x="1889960" y="1047108"/>
                  </a:lnTo>
                  <a:lnTo>
                    <a:pt x="1889960" y="0"/>
                  </a:lnTo>
                  <a:lnTo>
                    <a:pt x="2154443" y="0"/>
                  </a:lnTo>
                  <a:lnTo>
                    <a:pt x="2154443" y="1047108"/>
                  </a:lnTo>
                  <a:lnTo>
                    <a:pt x="2153741" y="1074495"/>
                  </a:lnTo>
                  <a:lnTo>
                    <a:pt x="2153039" y="1102584"/>
                  </a:lnTo>
                  <a:lnTo>
                    <a:pt x="2151634" y="1129971"/>
                  </a:lnTo>
                  <a:lnTo>
                    <a:pt x="2148123" y="1157358"/>
                  </a:lnTo>
                  <a:lnTo>
                    <a:pt x="2145314" y="1184043"/>
                  </a:lnTo>
                  <a:lnTo>
                    <a:pt x="2141803" y="1210728"/>
                  </a:lnTo>
                  <a:lnTo>
                    <a:pt x="2136887" y="1238115"/>
                  </a:lnTo>
                  <a:lnTo>
                    <a:pt x="2132674" y="1264097"/>
                  </a:lnTo>
                  <a:lnTo>
                    <a:pt x="2127056" y="1290080"/>
                  </a:lnTo>
                  <a:lnTo>
                    <a:pt x="2120034" y="1316765"/>
                  </a:lnTo>
                  <a:lnTo>
                    <a:pt x="2113012" y="1342045"/>
                  </a:lnTo>
                  <a:lnTo>
                    <a:pt x="2105989" y="1367325"/>
                  </a:lnTo>
                  <a:lnTo>
                    <a:pt x="2097562" y="1393308"/>
                  </a:lnTo>
                  <a:lnTo>
                    <a:pt x="2088434" y="1417886"/>
                  </a:lnTo>
                  <a:lnTo>
                    <a:pt x="2079305" y="1442464"/>
                  </a:lnTo>
                  <a:lnTo>
                    <a:pt x="2070176" y="1466340"/>
                  </a:lnTo>
                  <a:lnTo>
                    <a:pt x="2059642" y="1490215"/>
                  </a:lnTo>
                  <a:lnTo>
                    <a:pt x="2048406" y="1514091"/>
                  </a:lnTo>
                  <a:lnTo>
                    <a:pt x="2036468" y="1537265"/>
                  </a:lnTo>
                  <a:lnTo>
                    <a:pt x="2024531" y="1560438"/>
                  </a:lnTo>
                  <a:lnTo>
                    <a:pt x="2011188" y="1582910"/>
                  </a:lnTo>
                  <a:lnTo>
                    <a:pt x="1997846" y="1605381"/>
                  </a:lnTo>
                  <a:lnTo>
                    <a:pt x="1984503" y="1627853"/>
                  </a:lnTo>
                  <a:lnTo>
                    <a:pt x="1970459" y="1649622"/>
                  </a:lnTo>
                  <a:lnTo>
                    <a:pt x="1955010" y="1670689"/>
                  </a:lnTo>
                  <a:lnTo>
                    <a:pt x="1940263" y="1691755"/>
                  </a:lnTo>
                  <a:lnTo>
                    <a:pt x="1924814" y="1712120"/>
                  </a:lnTo>
                  <a:lnTo>
                    <a:pt x="1907960" y="1731783"/>
                  </a:lnTo>
                  <a:lnTo>
                    <a:pt x="1891809" y="1752147"/>
                  </a:lnTo>
                  <a:lnTo>
                    <a:pt x="1874253" y="1771810"/>
                  </a:lnTo>
                  <a:lnTo>
                    <a:pt x="1856697" y="1790770"/>
                  </a:lnTo>
                  <a:lnTo>
                    <a:pt x="1838439" y="1809028"/>
                  </a:lnTo>
                  <a:lnTo>
                    <a:pt x="1820883" y="1827286"/>
                  </a:lnTo>
                  <a:lnTo>
                    <a:pt x="1801221" y="1844139"/>
                  </a:lnTo>
                  <a:lnTo>
                    <a:pt x="1781559" y="1861695"/>
                  </a:lnTo>
                  <a:lnTo>
                    <a:pt x="1761896" y="1877846"/>
                  </a:lnTo>
                  <a:lnTo>
                    <a:pt x="1742234" y="1894700"/>
                  </a:lnTo>
                  <a:lnTo>
                    <a:pt x="1721869" y="1910149"/>
                  </a:lnTo>
                  <a:lnTo>
                    <a:pt x="1700802" y="1926300"/>
                  </a:lnTo>
                  <a:lnTo>
                    <a:pt x="1679033" y="1940345"/>
                  </a:lnTo>
                  <a:lnTo>
                    <a:pt x="1657264" y="1954390"/>
                  </a:lnTo>
                  <a:lnTo>
                    <a:pt x="1635495" y="1968434"/>
                  </a:lnTo>
                  <a:lnTo>
                    <a:pt x="1613023" y="1981074"/>
                  </a:lnTo>
                  <a:lnTo>
                    <a:pt x="1590552" y="1994417"/>
                  </a:lnTo>
                  <a:lnTo>
                    <a:pt x="1567378" y="2007057"/>
                  </a:lnTo>
                  <a:lnTo>
                    <a:pt x="1544205" y="2018292"/>
                  </a:lnTo>
                  <a:lnTo>
                    <a:pt x="1520329" y="2029528"/>
                  </a:lnTo>
                  <a:lnTo>
                    <a:pt x="1496453" y="2040062"/>
                  </a:lnTo>
                  <a:lnTo>
                    <a:pt x="1471875" y="2049191"/>
                  </a:lnTo>
                  <a:lnTo>
                    <a:pt x="1447999" y="2059022"/>
                  </a:lnTo>
                  <a:lnTo>
                    <a:pt x="1422017" y="2067449"/>
                  </a:lnTo>
                  <a:lnTo>
                    <a:pt x="1397439" y="2075875"/>
                  </a:lnTo>
                  <a:lnTo>
                    <a:pt x="1372159" y="2082898"/>
                  </a:lnTo>
                  <a:lnTo>
                    <a:pt x="1346176" y="2090622"/>
                  </a:lnTo>
                  <a:lnTo>
                    <a:pt x="1320194" y="2096942"/>
                  </a:lnTo>
                  <a:lnTo>
                    <a:pt x="1294211" y="2102560"/>
                  </a:lnTo>
                  <a:lnTo>
                    <a:pt x="1267526" y="2108178"/>
                  </a:lnTo>
                  <a:lnTo>
                    <a:pt x="1240842" y="2111689"/>
                  </a:lnTo>
                  <a:lnTo>
                    <a:pt x="1214157" y="2115902"/>
                  </a:lnTo>
                  <a:lnTo>
                    <a:pt x="1187472" y="2119414"/>
                  </a:lnTo>
                  <a:lnTo>
                    <a:pt x="1159383" y="2121520"/>
                  </a:lnTo>
                  <a:lnTo>
                    <a:pt x="1132698" y="2122925"/>
                  </a:lnTo>
                  <a:lnTo>
                    <a:pt x="1104609" y="2124329"/>
                  </a:lnTo>
                  <a:lnTo>
                    <a:pt x="1077222" y="2124329"/>
                  </a:lnTo>
                  <a:lnTo>
                    <a:pt x="1049133" y="2124329"/>
                  </a:lnTo>
                  <a:lnTo>
                    <a:pt x="1021746" y="2122925"/>
                  </a:lnTo>
                  <a:lnTo>
                    <a:pt x="994359" y="2121520"/>
                  </a:lnTo>
                  <a:lnTo>
                    <a:pt x="966972" y="2119414"/>
                  </a:lnTo>
                  <a:lnTo>
                    <a:pt x="939585" y="2115902"/>
                  </a:lnTo>
                  <a:lnTo>
                    <a:pt x="912900" y="2111689"/>
                  </a:lnTo>
                  <a:lnTo>
                    <a:pt x="886215" y="2108178"/>
                  </a:lnTo>
                  <a:lnTo>
                    <a:pt x="860233" y="2102560"/>
                  </a:lnTo>
                  <a:lnTo>
                    <a:pt x="833548" y="2096942"/>
                  </a:lnTo>
                  <a:lnTo>
                    <a:pt x="807566" y="2090622"/>
                  </a:lnTo>
                  <a:lnTo>
                    <a:pt x="782285" y="2082898"/>
                  </a:lnTo>
                  <a:lnTo>
                    <a:pt x="757005" y="2075875"/>
                  </a:lnTo>
                  <a:lnTo>
                    <a:pt x="731022" y="2067449"/>
                  </a:lnTo>
                  <a:lnTo>
                    <a:pt x="706444" y="2059022"/>
                  </a:lnTo>
                  <a:lnTo>
                    <a:pt x="681866" y="2049191"/>
                  </a:lnTo>
                  <a:lnTo>
                    <a:pt x="657991" y="2040062"/>
                  </a:lnTo>
                  <a:lnTo>
                    <a:pt x="633412" y="2029528"/>
                  </a:lnTo>
                  <a:lnTo>
                    <a:pt x="610239" y="2018292"/>
                  </a:lnTo>
                  <a:lnTo>
                    <a:pt x="587065" y="2007057"/>
                  </a:lnTo>
                  <a:lnTo>
                    <a:pt x="563892" y="1994417"/>
                  </a:lnTo>
                  <a:lnTo>
                    <a:pt x="540718" y="1981074"/>
                  </a:lnTo>
                  <a:lnTo>
                    <a:pt x="518247" y="1968434"/>
                  </a:lnTo>
                  <a:lnTo>
                    <a:pt x="496478" y="1954390"/>
                  </a:lnTo>
                  <a:lnTo>
                    <a:pt x="474708" y="1940345"/>
                  </a:lnTo>
                  <a:lnTo>
                    <a:pt x="453642" y="1926300"/>
                  </a:lnTo>
                  <a:lnTo>
                    <a:pt x="432575" y="1910149"/>
                  </a:lnTo>
                  <a:lnTo>
                    <a:pt x="411508" y="1894700"/>
                  </a:lnTo>
                  <a:lnTo>
                    <a:pt x="391143" y="1877846"/>
                  </a:lnTo>
                  <a:lnTo>
                    <a:pt x="372183" y="1861695"/>
                  </a:lnTo>
                  <a:lnTo>
                    <a:pt x="352520" y="1844139"/>
                  </a:lnTo>
                  <a:lnTo>
                    <a:pt x="333560" y="1827286"/>
                  </a:lnTo>
                  <a:lnTo>
                    <a:pt x="315302" y="1809028"/>
                  </a:lnTo>
                  <a:lnTo>
                    <a:pt x="297044" y="1790770"/>
                  </a:lnTo>
                  <a:lnTo>
                    <a:pt x="278786" y="1771810"/>
                  </a:lnTo>
                  <a:lnTo>
                    <a:pt x="262635" y="1752147"/>
                  </a:lnTo>
                  <a:lnTo>
                    <a:pt x="245781" y="1731783"/>
                  </a:lnTo>
                  <a:lnTo>
                    <a:pt x="229630" y="1712120"/>
                  </a:lnTo>
                  <a:lnTo>
                    <a:pt x="214181" y="1691755"/>
                  </a:lnTo>
                  <a:lnTo>
                    <a:pt x="198030" y="1670689"/>
                  </a:lnTo>
                  <a:lnTo>
                    <a:pt x="183283" y="1649622"/>
                  </a:lnTo>
                  <a:lnTo>
                    <a:pt x="169238" y="1627853"/>
                  </a:lnTo>
                  <a:lnTo>
                    <a:pt x="155896" y="1605381"/>
                  </a:lnTo>
                  <a:lnTo>
                    <a:pt x="141851" y="1582910"/>
                  </a:lnTo>
                  <a:lnTo>
                    <a:pt x="129211" y="1560438"/>
                  </a:lnTo>
                  <a:lnTo>
                    <a:pt x="117273" y="1537265"/>
                  </a:lnTo>
                  <a:lnTo>
                    <a:pt x="106038" y="1514091"/>
                  </a:lnTo>
                  <a:lnTo>
                    <a:pt x="94802" y="1490215"/>
                  </a:lnTo>
                  <a:lnTo>
                    <a:pt x="84269" y="1466340"/>
                  </a:lnTo>
                  <a:lnTo>
                    <a:pt x="73735" y="1442464"/>
                  </a:lnTo>
                  <a:lnTo>
                    <a:pt x="65308" y="1417886"/>
                  </a:lnTo>
                  <a:lnTo>
                    <a:pt x="56179" y="1393308"/>
                  </a:lnTo>
                  <a:lnTo>
                    <a:pt x="47753" y="1367325"/>
                  </a:lnTo>
                  <a:lnTo>
                    <a:pt x="40028" y="1342045"/>
                  </a:lnTo>
                  <a:lnTo>
                    <a:pt x="33708" y="1316765"/>
                  </a:lnTo>
                  <a:lnTo>
                    <a:pt x="26686" y="1290080"/>
                  </a:lnTo>
                  <a:lnTo>
                    <a:pt x="21770" y="1264097"/>
                  </a:lnTo>
                  <a:lnTo>
                    <a:pt x="16152" y="1238115"/>
                  </a:lnTo>
                  <a:lnTo>
                    <a:pt x="11939" y="1210728"/>
                  </a:lnTo>
                  <a:lnTo>
                    <a:pt x="8428" y="1184043"/>
                  </a:lnTo>
                  <a:lnTo>
                    <a:pt x="4917" y="1157358"/>
                  </a:lnTo>
                  <a:lnTo>
                    <a:pt x="2810" y="1129971"/>
                  </a:lnTo>
                  <a:lnTo>
                    <a:pt x="703" y="1102584"/>
                  </a:lnTo>
                  <a:lnTo>
                    <a:pt x="1" y="1074495"/>
                  </a:lnTo>
                  <a:lnTo>
                    <a:pt x="1" y="1047108"/>
                  </a:lnTo>
                  <a:lnTo>
                    <a:pt x="0" y="1047108"/>
                  </a:lnTo>
                  <a:close/>
                </a:path>
              </a:pathLst>
            </a:custGeom>
            <a:solidFill>
              <a:srgbClr val="E0E0E0"/>
            </a:solidFill>
            <a:ln w="12700">
              <a:noFill/>
              <a:prstDash val="solid"/>
              <a:round/>
            </a:ln>
          </p:spPr>
          <p:txBody>
            <a:bodyPr vert="horz" wrap="square" lIns="360000" tIns="360000" rIns="360000" bIns="60960" anchor="t" anchorCtr="1" compatLnSpc="1">
              <a:normAutofit/>
            </a:bodyPr>
            <a:lstStyle/>
            <a:p>
              <a:pPr algn="ctr">
                <a:lnSpc>
                  <a:spcPct val="120000"/>
                </a:lnSpc>
                <a:defRPr/>
              </a:pPr>
              <a:endParaRPr lang="zh-CN" altLang="en-US" sz="900" dirty="0">
                <a:solidFill>
                  <a:schemeClr val="bg1">
                    <a:lumMod val="50000"/>
                  </a:schemeClr>
                </a:solidFill>
              </a:endParaRPr>
            </a:p>
          </p:txBody>
        </p:sp>
        <p:sp>
          <p:nvSpPr>
            <p:cNvPr id="6" name="Freeform: Shape 1"/>
            <p:cNvSpPr/>
            <p:nvPr/>
          </p:nvSpPr>
          <p:spPr>
            <a:xfrm flipH="1" flipV="1">
              <a:off x="8191579" y="1202581"/>
              <a:ext cx="2567966" cy="2473603"/>
            </a:xfrm>
            <a:custGeom>
              <a:avLst/>
              <a:gdLst/>
              <a:ahLst/>
              <a:cxnLst/>
              <a:rect l="l" t="t" r="r" b="b"/>
              <a:pathLst>
                <a:path w="2154443" h="2124329">
                  <a:moveTo>
                    <a:pt x="0" y="0"/>
                  </a:moveTo>
                  <a:lnTo>
                    <a:pt x="264483" y="0"/>
                  </a:lnTo>
                  <a:lnTo>
                    <a:pt x="264483" y="1047108"/>
                  </a:lnTo>
                  <a:lnTo>
                    <a:pt x="264039" y="1047108"/>
                  </a:lnTo>
                  <a:lnTo>
                    <a:pt x="264039" y="1068175"/>
                  </a:lnTo>
                  <a:lnTo>
                    <a:pt x="265444" y="1089242"/>
                  </a:lnTo>
                  <a:lnTo>
                    <a:pt x="266146" y="1110309"/>
                  </a:lnTo>
                  <a:lnTo>
                    <a:pt x="268955" y="1129971"/>
                  </a:lnTo>
                  <a:lnTo>
                    <a:pt x="271062" y="1150336"/>
                  </a:lnTo>
                  <a:lnTo>
                    <a:pt x="273871" y="1170701"/>
                  </a:lnTo>
                  <a:lnTo>
                    <a:pt x="276680" y="1191065"/>
                  </a:lnTo>
                  <a:lnTo>
                    <a:pt x="280893" y="1210728"/>
                  </a:lnTo>
                  <a:lnTo>
                    <a:pt x="285106" y="1230390"/>
                  </a:lnTo>
                  <a:lnTo>
                    <a:pt x="289320" y="1250053"/>
                  </a:lnTo>
                  <a:lnTo>
                    <a:pt x="294938" y="1269715"/>
                  </a:lnTo>
                  <a:lnTo>
                    <a:pt x="300555" y="1288675"/>
                  </a:lnTo>
                  <a:lnTo>
                    <a:pt x="306875" y="1307636"/>
                  </a:lnTo>
                  <a:lnTo>
                    <a:pt x="313898" y="1326596"/>
                  </a:lnTo>
                  <a:lnTo>
                    <a:pt x="320218" y="1344854"/>
                  </a:lnTo>
                  <a:lnTo>
                    <a:pt x="327942" y="1363814"/>
                  </a:lnTo>
                  <a:lnTo>
                    <a:pt x="336369" y="1382072"/>
                  </a:lnTo>
                  <a:lnTo>
                    <a:pt x="344094" y="1399628"/>
                  </a:lnTo>
                  <a:lnTo>
                    <a:pt x="353223" y="1417183"/>
                  </a:lnTo>
                  <a:lnTo>
                    <a:pt x="362352" y="1434037"/>
                  </a:lnTo>
                  <a:lnTo>
                    <a:pt x="372183" y="1451593"/>
                  </a:lnTo>
                  <a:lnTo>
                    <a:pt x="382014" y="1468446"/>
                  </a:lnTo>
                  <a:lnTo>
                    <a:pt x="391845" y="1485300"/>
                  </a:lnTo>
                  <a:lnTo>
                    <a:pt x="403081" y="1501451"/>
                  </a:lnTo>
                  <a:lnTo>
                    <a:pt x="413614" y="1516900"/>
                  </a:lnTo>
                  <a:lnTo>
                    <a:pt x="425552" y="1533754"/>
                  </a:lnTo>
                  <a:lnTo>
                    <a:pt x="437490" y="1548501"/>
                  </a:lnTo>
                  <a:lnTo>
                    <a:pt x="450130" y="1564652"/>
                  </a:lnTo>
                  <a:lnTo>
                    <a:pt x="462771" y="1578696"/>
                  </a:lnTo>
                  <a:lnTo>
                    <a:pt x="475411" y="1593443"/>
                  </a:lnTo>
                  <a:lnTo>
                    <a:pt x="488753" y="1607488"/>
                  </a:lnTo>
                  <a:lnTo>
                    <a:pt x="502095" y="1622235"/>
                  </a:lnTo>
                  <a:lnTo>
                    <a:pt x="516140" y="1635577"/>
                  </a:lnTo>
                  <a:lnTo>
                    <a:pt x="530887" y="1648919"/>
                  </a:lnTo>
                  <a:lnTo>
                    <a:pt x="544931" y="1661560"/>
                  </a:lnTo>
                  <a:lnTo>
                    <a:pt x="559678" y="1674200"/>
                  </a:lnTo>
                  <a:lnTo>
                    <a:pt x="575127" y="1686138"/>
                  </a:lnTo>
                  <a:lnTo>
                    <a:pt x="590576" y="1698076"/>
                  </a:lnTo>
                  <a:lnTo>
                    <a:pt x="606025" y="1709311"/>
                  </a:lnTo>
                  <a:lnTo>
                    <a:pt x="622879" y="1720547"/>
                  </a:lnTo>
                  <a:lnTo>
                    <a:pt x="639030" y="1731783"/>
                  </a:lnTo>
                  <a:lnTo>
                    <a:pt x="655884" y="1741614"/>
                  </a:lnTo>
                  <a:lnTo>
                    <a:pt x="672035" y="1752147"/>
                  </a:lnTo>
                  <a:lnTo>
                    <a:pt x="689591" y="1761978"/>
                  </a:lnTo>
                  <a:lnTo>
                    <a:pt x="706444" y="1771107"/>
                  </a:lnTo>
                  <a:lnTo>
                    <a:pt x="724702" y="1780236"/>
                  </a:lnTo>
                  <a:lnTo>
                    <a:pt x="742258" y="1787961"/>
                  </a:lnTo>
                  <a:lnTo>
                    <a:pt x="760516" y="1795686"/>
                  </a:lnTo>
                  <a:lnTo>
                    <a:pt x="779476" y="1803410"/>
                  </a:lnTo>
                  <a:lnTo>
                    <a:pt x="797032" y="1810432"/>
                  </a:lnTo>
                  <a:lnTo>
                    <a:pt x="816695" y="1817455"/>
                  </a:lnTo>
                  <a:lnTo>
                    <a:pt x="835655" y="1823072"/>
                  </a:lnTo>
                  <a:lnTo>
                    <a:pt x="854615" y="1828690"/>
                  </a:lnTo>
                  <a:lnTo>
                    <a:pt x="873575" y="1833606"/>
                  </a:lnTo>
                  <a:lnTo>
                    <a:pt x="893940" y="1839224"/>
                  </a:lnTo>
                  <a:lnTo>
                    <a:pt x="912900" y="1843437"/>
                  </a:lnTo>
                  <a:lnTo>
                    <a:pt x="933265" y="1847651"/>
                  </a:lnTo>
                  <a:lnTo>
                    <a:pt x="952927" y="1850459"/>
                  </a:lnTo>
                  <a:lnTo>
                    <a:pt x="973292" y="1853268"/>
                  </a:lnTo>
                  <a:lnTo>
                    <a:pt x="994359" y="1855375"/>
                  </a:lnTo>
                  <a:lnTo>
                    <a:pt x="1014021" y="1856780"/>
                  </a:lnTo>
                  <a:lnTo>
                    <a:pt x="1035088" y="1858886"/>
                  </a:lnTo>
                  <a:lnTo>
                    <a:pt x="1056155" y="1859588"/>
                  </a:lnTo>
                  <a:lnTo>
                    <a:pt x="1077222" y="1860291"/>
                  </a:lnTo>
                  <a:lnTo>
                    <a:pt x="1098289" y="1859588"/>
                  </a:lnTo>
                  <a:lnTo>
                    <a:pt x="1119356" y="1858886"/>
                  </a:lnTo>
                  <a:lnTo>
                    <a:pt x="1139018" y="1856780"/>
                  </a:lnTo>
                  <a:lnTo>
                    <a:pt x="1160085" y="1855375"/>
                  </a:lnTo>
                  <a:lnTo>
                    <a:pt x="1180450" y="1853268"/>
                  </a:lnTo>
                  <a:lnTo>
                    <a:pt x="1200814" y="1850459"/>
                  </a:lnTo>
                  <a:lnTo>
                    <a:pt x="1221179" y="1847651"/>
                  </a:lnTo>
                  <a:lnTo>
                    <a:pt x="1240139" y="1843437"/>
                  </a:lnTo>
                  <a:lnTo>
                    <a:pt x="1260504" y="1839224"/>
                  </a:lnTo>
                  <a:lnTo>
                    <a:pt x="1280166" y="1833606"/>
                  </a:lnTo>
                  <a:lnTo>
                    <a:pt x="1299829" y="1828690"/>
                  </a:lnTo>
                  <a:lnTo>
                    <a:pt x="1318789" y="1823072"/>
                  </a:lnTo>
                  <a:lnTo>
                    <a:pt x="1337749" y="1817455"/>
                  </a:lnTo>
                  <a:lnTo>
                    <a:pt x="1356709" y="1810432"/>
                  </a:lnTo>
                  <a:lnTo>
                    <a:pt x="1374967" y="1803410"/>
                  </a:lnTo>
                  <a:lnTo>
                    <a:pt x="1393225" y="1795686"/>
                  </a:lnTo>
                  <a:lnTo>
                    <a:pt x="1410781" y="1787961"/>
                  </a:lnTo>
                  <a:lnTo>
                    <a:pt x="1429039" y="1780236"/>
                  </a:lnTo>
                  <a:lnTo>
                    <a:pt x="1447297" y="1771107"/>
                  </a:lnTo>
                  <a:lnTo>
                    <a:pt x="1464151" y="1761978"/>
                  </a:lnTo>
                  <a:lnTo>
                    <a:pt x="1481706" y="1752147"/>
                  </a:lnTo>
                  <a:lnTo>
                    <a:pt x="1498560" y="1741614"/>
                  </a:lnTo>
                  <a:lnTo>
                    <a:pt x="1515413" y="1731783"/>
                  </a:lnTo>
                  <a:lnTo>
                    <a:pt x="1531565" y="1720547"/>
                  </a:lnTo>
                  <a:lnTo>
                    <a:pt x="1547014" y="1709311"/>
                  </a:lnTo>
                  <a:lnTo>
                    <a:pt x="1563165" y="1698076"/>
                  </a:lnTo>
                  <a:lnTo>
                    <a:pt x="1578614" y="1686138"/>
                  </a:lnTo>
                  <a:lnTo>
                    <a:pt x="1594063" y="1674200"/>
                  </a:lnTo>
                  <a:lnTo>
                    <a:pt x="1608810" y="1661560"/>
                  </a:lnTo>
                  <a:lnTo>
                    <a:pt x="1623557" y="1648919"/>
                  </a:lnTo>
                  <a:lnTo>
                    <a:pt x="1637601" y="1635577"/>
                  </a:lnTo>
                  <a:lnTo>
                    <a:pt x="1651646" y="1622235"/>
                  </a:lnTo>
                  <a:lnTo>
                    <a:pt x="1665691" y="1607488"/>
                  </a:lnTo>
                  <a:lnTo>
                    <a:pt x="1678331" y="1593443"/>
                  </a:lnTo>
                  <a:lnTo>
                    <a:pt x="1691673" y="1578696"/>
                  </a:lnTo>
                  <a:lnTo>
                    <a:pt x="1703611" y="1564652"/>
                  </a:lnTo>
                  <a:lnTo>
                    <a:pt x="1716251" y="1548501"/>
                  </a:lnTo>
                  <a:lnTo>
                    <a:pt x="1728189" y="1533754"/>
                  </a:lnTo>
                  <a:lnTo>
                    <a:pt x="1739425" y="1516900"/>
                  </a:lnTo>
                  <a:lnTo>
                    <a:pt x="1750660" y="1501451"/>
                  </a:lnTo>
                  <a:lnTo>
                    <a:pt x="1761194" y="1485300"/>
                  </a:lnTo>
                  <a:lnTo>
                    <a:pt x="1771727" y="1468446"/>
                  </a:lnTo>
                  <a:lnTo>
                    <a:pt x="1781559" y="1451593"/>
                  </a:lnTo>
                  <a:lnTo>
                    <a:pt x="1791390" y="1434037"/>
                  </a:lnTo>
                  <a:lnTo>
                    <a:pt x="1801221" y="1417183"/>
                  </a:lnTo>
                  <a:lnTo>
                    <a:pt x="1809648" y="1399628"/>
                  </a:lnTo>
                  <a:lnTo>
                    <a:pt x="1817372" y="1382072"/>
                  </a:lnTo>
                  <a:lnTo>
                    <a:pt x="1825799" y="1363814"/>
                  </a:lnTo>
                  <a:lnTo>
                    <a:pt x="1833524" y="1344854"/>
                  </a:lnTo>
                  <a:lnTo>
                    <a:pt x="1839844" y="1326596"/>
                  </a:lnTo>
                  <a:lnTo>
                    <a:pt x="1846866" y="1307636"/>
                  </a:lnTo>
                  <a:lnTo>
                    <a:pt x="1852484" y="1288675"/>
                  </a:lnTo>
                  <a:lnTo>
                    <a:pt x="1858804" y="1269715"/>
                  </a:lnTo>
                  <a:lnTo>
                    <a:pt x="1863720" y="1250053"/>
                  </a:lnTo>
                  <a:lnTo>
                    <a:pt x="1868635" y="1230390"/>
                  </a:lnTo>
                  <a:lnTo>
                    <a:pt x="1872848" y="1210728"/>
                  </a:lnTo>
                  <a:lnTo>
                    <a:pt x="1876360" y="1191065"/>
                  </a:lnTo>
                  <a:lnTo>
                    <a:pt x="1880573" y="1170701"/>
                  </a:lnTo>
                  <a:lnTo>
                    <a:pt x="1883382" y="1150336"/>
                  </a:lnTo>
                  <a:lnTo>
                    <a:pt x="1885489" y="1129971"/>
                  </a:lnTo>
                  <a:lnTo>
                    <a:pt x="1886893" y="1110309"/>
                  </a:lnTo>
                  <a:lnTo>
                    <a:pt x="1889000" y="1089242"/>
                  </a:lnTo>
                  <a:lnTo>
                    <a:pt x="1889702" y="1068175"/>
                  </a:lnTo>
                  <a:lnTo>
                    <a:pt x="1889702" y="1047108"/>
                  </a:lnTo>
                  <a:lnTo>
                    <a:pt x="1889960" y="1047108"/>
                  </a:lnTo>
                  <a:lnTo>
                    <a:pt x="1889960" y="0"/>
                  </a:lnTo>
                  <a:lnTo>
                    <a:pt x="2154443" y="0"/>
                  </a:lnTo>
                  <a:lnTo>
                    <a:pt x="2154443" y="1047108"/>
                  </a:lnTo>
                  <a:lnTo>
                    <a:pt x="2153741" y="1074495"/>
                  </a:lnTo>
                  <a:lnTo>
                    <a:pt x="2153039" y="1102584"/>
                  </a:lnTo>
                  <a:lnTo>
                    <a:pt x="2151634" y="1129971"/>
                  </a:lnTo>
                  <a:lnTo>
                    <a:pt x="2148123" y="1157358"/>
                  </a:lnTo>
                  <a:lnTo>
                    <a:pt x="2145314" y="1184043"/>
                  </a:lnTo>
                  <a:lnTo>
                    <a:pt x="2141803" y="1210728"/>
                  </a:lnTo>
                  <a:lnTo>
                    <a:pt x="2136887" y="1238115"/>
                  </a:lnTo>
                  <a:lnTo>
                    <a:pt x="2132674" y="1264097"/>
                  </a:lnTo>
                  <a:lnTo>
                    <a:pt x="2127056" y="1290080"/>
                  </a:lnTo>
                  <a:lnTo>
                    <a:pt x="2120034" y="1316765"/>
                  </a:lnTo>
                  <a:lnTo>
                    <a:pt x="2113012" y="1342045"/>
                  </a:lnTo>
                  <a:lnTo>
                    <a:pt x="2105989" y="1367325"/>
                  </a:lnTo>
                  <a:lnTo>
                    <a:pt x="2097562" y="1393308"/>
                  </a:lnTo>
                  <a:lnTo>
                    <a:pt x="2088434" y="1417886"/>
                  </a:lnTo>
                  <a:lnTo>
                    <a:pt x="2079305" y="1442464"/>
                  </a:lnTo>
                  <a:lnTo>
                    <a:pt x="2070176" y="1466340"/>
                  </a:lnTo>
                  <a:lnTo>
                    <a:pt x="2059642" y="1490215"/>
                  </a:lnTo>
                  <a:lnTo>
                    <a:pt x="2048406" y="1514091"/>
                  </a:lnTo>
                  <a:lnTo>
                    <a:pt x="2036468" y="1537265"/>
                  </a:lnTo>
                  <a:lnTo>
                    <a:pt x="2024531" y="1560438"/>
                  </a:lnTo>
                  <a:lnTo>
                    <a:pt x="2011188" y="1582910"/>
                  </a:lnTo>
                  <a:lnTo>
                    <a:pt x="1997846" y="1605381"/>
                  </a:lnTo>
                  <a:lnTo>
                    <a:pt x="1984503" y="1627853"/>
                  </a:lnTo>
                  <a:lnTo>
                    <a:pt x="1970459" y="1649622"/>
                  </a:lnTo>
                  <a:lnTo>
                    <a:pt x="1955010" y="1670689"/>
                  </a:lnTo>
                  <a:lnTo>
                    <a:pt x="1940263" y="1691755"/>
                  </a:lnTo>
                  <a:lnTo>
                    <a:pt x="1924814" y="1712120"/>
                  </a:lnTo>
                  <a:lnTo>
                    <a:pt x="1907960" y="1731783"/>
                  </a:lnTo>
                  <a:lnTo>
                    <a:pt x="1891809" y="1752147"/>
                  </a:lnTo>
                  <a:lnTo>
                    <a:pt x="1874253" y="1771810"/>
                  </a:lnTo>
                  <a:lnTo>
                    <a:pt x="1856697" y="1790770"/>
                  </a:lnTo>
                  <a:lnTo>
                    <a:pt x="1838439" y="1809028"/>
                  </a:lnTo>
                  <a:lnTo>
                    <a:pt x="1820883" y="1827286"/>
                  </a:lnTo>
                  <a:lnTo>
                    <a:pt x="1801221" y="1844139"/>
                  </a:lnTo>
                  <a:lnTo>
                    <a:pt x="1781559" y="1861695"/>
                  </a:lnTo>
                  <a:lnTo>
                    <a:pt x="1761896" y="1877846"/>
                  </a:lnTo>
                  <a:lnTo>
                    <a:pt x="1742234" y="1894700"/>
                  </a:lnTo>
                  <a:lnTo>
                    <a:pt x="1721869" y="1910149"/>
                  </a:lnTo>
                  <a:lnTo>
                    <a:pt x="1700802" y="1926300"/>
                  </a:lnTo>
                  <a:lnTo>
                    <a:pt x="1679033" y="1940345"/>
                  </a:lnTo>
                  <a:lnTo>
                    <a:pt x="1657264" y="1954390"/>
                  </a:lnTo>
                  <a:lnTo>
                    <a:pt x="1635495" y="1968434"/>
                  </a:lnTo>
                  <a:lnTo>
                    <a:pt x="1613023" y="1981074"/>
                  </a:lnTo>
                  <a:lnTo>
                    <a:pt x="1590552" y="1994417"/>
                  </a:lnTo>
                  <a:lnTo>
                    <a:pt x="1567378" y="2007057"/>
                  </a:lnTo>
                  <a:lnTo>
                    <a:pt x="1544205" y="2018292"/>
                  </a:lnTo>
                  <a:lnTo>
                    <a:pt x="1520329" y="2029528"/>
                  </a:lnTo>
                  <a:lnTo>
                    <a:pt x="1496453" y="2040062"/>
                  </a:lnTo>
                  <a:lnTo>
                    <a:pt x="1471875" y="2049191"/>
                  </a:lnTo>
                  <a:lnTo>
                    <a:pt x="1447999" y="2059022"/>
                  </a:lnTo>
                  <a:lnTo>
                    <a:pt x="1422017" y="2067449"/>
                  </a:lnTo>
                  <a:lnTo>
                    <a:pt x="1397439" y="2075875"/>
                  </a:lnTo>
                  <a:lnTo>
                    <a:pt x="1372159" y="2082898"/>
                  </a:lnTo>
                  <a:lnTo>
                    <a:pt x="1346176" y="2090622"/>
                  </a:lnTo>
                  <a:lnTo>
                    <a:pt x="1320194" y="2096942"/>
                  </a:lnTo>
                  <a:lnTo>
                    <a:pt x="1294211" y="2102560"/>
                  </a:lnTo>
                  <a:lnTo>
                    <a:pt x="1267526" y="2108178"/>
                  </a:lnTo>
                  <a:lnTo>
                    <a:pt x="1240842" y="2111689"/>
                  </a:lnTo>
                  <a:lnTo>
                    <a:pt x="1214157" y="2115902"/>
                  </a:lnTo>
                  <a:lnTo>
                    <a:pt x="1187472" y="2119414"/>
                  </a:lnTo>
                  <a:lnTo>
                    <a:pt x="1159383" y="2121520"/>
                  </a:lnTo>
                  <a:lnTo>
                    <a:pt x="1132698" y="2122925"/>
                  </a:lnTo>
                  <a:lnTo>
                    <a:pt x="1104609" y="2124329"/>
                  </a:lnTo>
                  <a:lnTo>
                    <a:pt x="1077222" y="2124329"/>
                  </a:lnTo>
                  <a:lnTo>
                    <a:pt x="1049133" y="2124329"/>
                  </a:lnTo>
                  <a:lnTo>
                    <a:pt x="1021746" y="2122925"/>
                  </a:lnTo>
                  <a:lnTo>
                    <a:pt x="994359" y="2121520"/>
                  </a:lnTo>
                  <a:lnTo>
                    <a:pt x="966972" y="2119414"/>
                  </a:lnTo>
                  <a:lnTo>
                    <a:pt x="939585" y="2115902"/>
                  </a:lnTo>
                  <a:lnTo>
                    <a:pt x="912900" y="2111689"/>
                  </a:lnTo>
                  <a:lnTo>
                    <a:pt x="886215" y="2108178"/>
                  </a:lnTo>
                  <a:lnTo>
                    <a:pt x="860233" y="2102560"/>
                  </a:lnTo>
                  <a:lnTo>
                    <a:pt x="833548" y="2096942"/>
                  </a:lnTo>
                  <a:lnTo>
                    <a:pt x="807566" y="2090622"/>
                  </a:lnTo>
                  <a:lnTo>
                    <a:pt x="782285" y="2082898"/>
                  </a:lnTo>
                  <a:lnTo>
                    <a:pt x="757005" y="2075875"/>
                  </a:lnTo>
                  <a:lnTo>
                    <a:pt x="731022" y="2067449"/>
                  </a:lnTo>
                  <a:lnTo>
                    <a:pt x="706444" y="2059022"/>
                  </a:lnTo>
                  <a:lnTo>
                    <a:pt x="681866" y="2049191"/>
                  </a:lnTo>
                  <a:lnTo>
                    <a:pt x="657991" y="2040062"/>
                  </a:lnTo>
                  <a:lnTo>
                    <a:pt x="633412" y="2029528"/>
                  </a:lnTo>
                  <a:lnTo>
                    <a:pt x="610239" y="2018292"/>
                  </a:lnTo>
                  <a:lnTo>
                    <a:pt x="587065" y="2007057"/>
                  </a:lnTo>
                  <a:lnTo>
                    <a:pt x="563892" y="1994417"/>
                  </a:lnTo>
                  <a:lnTo>
                    <a:pt x="540718" y="1981074"/>
                  </a:lnTo>
                  <a:lnTo>
                    <a:pt x="518247" y="1968434"/>
                  </a:lnTo>
                  <a:lnTo>
                    <a:pt x="496478" y="1954390"/>
                  </a:lnTo>
                  <a:lnTo>
                    <a:pt x="474708" y="1940345"/>
                  </a:lnTo>
                  <a:lnTo>
                    <a:pt x="453642" y="1926300"/>
                  </a:lnTo>
                  <a:lnTo>
                    <a:pt x="432575" y="1910149"/>
                  </a:lnTo>
                  <a:lnTo>
                    <a:pt x="411508" y="1894700"/>
                  </a:lnTo>
                  <a:lnTo>
                    <a:pt x="391143" y="1877846"/>
                  </a:lnTo>
                  <a:lnTo>
                    <a:pt x="372183" y="1861695"/>
                  </a:lnTo>
                  <a:lnTo>
                    <a:pt x="352520" y="1844139"/>
                  </a:lnTo>
                  <a:lnTo>
                    <a:pt x="333560" y="1827286"/>
                  </a:lnTo>
                  <a:lnTo>
                    <a:pt x="315302" y="1809028"/>
                  </a:lnTo>
                  <a:lnTo>
                    <a:pt x="297044" y="1790770"/>
                  </a:lnTo>
                  <a:lnTo>
                    <a:pt x="278786" y="1771810"/>
                  </a:lnTo>
                  <a:lnTo>
                    <a:pt x="262635" y="1752147"/>
                  </a:lnTo>
                  <a:lnTo>
                    <a:pt x="245781" y="1731783"/>
                  </a:lnTo>
                  <a:lnTo>
                    <a:pt x="229630" y="1712120"/>
                  </a:lnTo>
                  <a:lnTo>
                    <a:pt x="214181" y="1691755"/>
                  </a:lnTo>
                  <a:lnTo>
                    <a:pt x="198030" y="1670689"/>
                  </a:lnTo>
                  <a:lnTo>
                    <a:pt x="183283" y="1649622"/>
                  </a:lnTo>
                  <a:lnTo>
                    <a:pt x="169238" y="1627853"/>
                  </a:lnTo>
                  <a:lnTo>
                    <a:pt x="155896" y="1605381"/>
                  </a:lnTo>
                  <a:lnTo>
                    <a:pt x="141851" y="1582910"/>
                  </a:lnTo>
                  <a:lnTo>
                    <a:pt x="129211" y="1560438"/>
                  </a:lnTo>
                  <a:lnTo>
                    <a:pt x="117273" y="1537265"/>
                  </a:lnTo>
                  <a:lnTo>
                    <a:pt x="106038" y="1514091"/>
                  </a:lnTo>
                  <a:lnTo>
                    <a:pt x="94802" y="1490215"/>
                  </a:lnTo>
                  <a:lnTo>
                    <a:pt x="84269" y="1466340"/>
                  </a:lnTo>
                  <a:lnTo>
                    <a:pt x="73735" y="1442464"/>
                  </a:lnTo>
                  <a:lnTo>
                    <a:pt x="65308" y="1417886"/>
                  </a:lnTo>
                  <a:lnTo>
                    <a:pt x="56179" y="1393308"/>
                  </a:lnTo>
                  <a:lnTo>
                    <a:pt x="47753" y="1367325"/>
                  </a:lnTo>
                  <a:lnTo>
                    <a:pt x="40028" y="1342045"/>
                  </a:lnTo>
                  <a:lnTo>
                    <a:pt x="33708" y="1316765"/>
                  </a:lnTo>
                  <a:lnTo>
                    <a:pt x="26686" y="1290080"/>
                  </a:lnTo>
                  <a:lnTo>
                    <a:pt x="21770" y="1264097"/>
                  </a:lnTo>
                  <a:lnTo>
                    <a:pt x="16152" y="1238115"/>
                  </a:lnTo>
                  <a:lnTo>
                    <a:pt x="11939" y="1210728"/>
                  </a:lnTo>
                  <a:lnTo>
                    <a:pt x="8428" y="1184043"/>
                  </a:lnTo>
                  <a:lnTo>
                    <a:pt x="4917" y="1157358"/>
                  </a:lnTo>
                  <a:lnTo>
                    <a:pt x="2810" y="1129971"/>
                  </a:lnTo>
                  <a:lnTo>
                    <a:pt x="703" y="1102584"/>
                  </a:lnTo>
                  <a:lnTo>
                    <a:pt x="1" y="1074495"/>
                  </a:lnTo>
                  <a:lnTo>
                    <a:pt x="1" y="1047108"/>
                  </a:lnTo>
                  <a:lnTo>
                    <a:pt x="0" y="1047108"/>
                  </a:lnTo>
                  <a:close/>
                </a:path>
              </a:pathLst>
            </a:custGeom>
            <a:solidFill>
              <a:srgbClr val="E0E0E0"/>
            </a:solidFill>
            <a:ln w="12700">
              <a:noFill/>
              <a:prstDash val="solid"/>
              <a:round/>
            </a:ln>
          </p:spPr>
          <p:txBody>
            <a:bodyPr anchor="ctr"/>
            <a:lstStyle/>
            <a:p>
              <a:pPr algn="ctr"/>
              <a:endParaRPr sz="1100">
                <a:solidFill>
                  <a:schemeClr val="bg1">
                    <a:lumMod val="50000"/>
                  </a:schemeClr>
                </a:solidFill>
              </a:endParaRPr>
            </a:p>
          </p:txBody>
        </p:sp>
        <p:sp>
          <p:nvSpPr>
            <p:cNvPr id="7" name="Freeform: Shape 3"/>
            <p:cNvSpPr/>
            <p:nvPr/>
          </p:nvSpPr>
          <p:spPr>
            <a:xfrm flipH="1" flipV="1">
              <a:off x="3685704" y="1202581"/>
              <a:ext cx="2567966" cy="2473603"/>
            </a:xfrm>
            <a:custGeom>
              <a:avLst/>
              <a:gdLst/>
              <a:ahLst/>
              <a:cxnLst/>
              <a:rect l="l" t="t" r="r" b="b"/>
              <a:pathLst>
                <a:path w="2154443" h="2124329">
                  <a:moveTo>
                    <a:pt x="0" y="0"/>
                  </a:moveTo>
                  <a:lnTo>
                    <a:pt x="264483" y="0"/>
                  </a:lnTo>
                  <a:lnTo>
                    <a:pt x="264483" y="1047108"/>
                  </a:lnTo>
                  <a:lnTo>
                    <a:pt x="264039" y="1047108"/>
                  </a:lnTo>
                  <a:lnTo>
                    <a:pt x="264039" y="1068175"/>
                  </a:lnTo>
                  <a:lnTo>
                    <a:pt x="265444" y="1089242"/>
                  </a:lnTo>
                  <a:lnTo>
                    <a:pt x="266146" y="1110309"/>
                  </a:lnTo>
                  <a:lnTo>
                    <a:pt x="268955" y="1129971"/>
                  </a:lnTo>
                  <a:lnTo>
                    <a:pt x="271062" y="1150336"/>
                  </a:lnTo>
                  <a:lnTo>
                    <a:pt x="273871" y="1170701"/>
                  </a:lnTo>
                  <a:lnTo>
                    <a:pt x="276680" y="1191065"/>
                  </a:lnTo>
                  <a:lnTo>
                    <a:pt x="280893" y="1210728"/>
                  </a:lnTo>
                  <a:lnTo>
                    <a:pt x="285106" y="1230390"/>
                  </a:lnTo>
                  <a:lnTo>
                    <a:pt x="289320" y="1250053"/>
                  </a:lnTo>
                  <a:lnTo>
                    <a:pt x="294938" y="1269715"/>
                  </a:lnTo>
                  <a:lnTo>
                    <a:pt x="300555" y="1288675"/>
                  </a:lnTo>
                  <a:lnTo>
                    <a:pt x="306875" y="1307636"/>
                  </a:lnTo>
                  <a:lnTo>
                    <a:pt x="313898" y="1326596"/>
                  </a:lnTo>
                  <a:lnTo>
                    <a:pt x="320218" y="1344854"/>
                  </a:lnTo>
                  <a:lnTo>
                    <a:pt x="327942" y="1363814"/>
                  </a:lnTo>
                  <a:lnTo>
                    <a:pt x="336369" y="1382072"/>
                  </a:lnTo>
                  <a:lnTo>
                    <a:pt x="344094" y="1399628"/>
                  </a:lnTo>
                  <a:lnTo>
                    <a:pt x="353223" y="1417183"/>
                  </a:lnTo>
                  <a:lnTo>
                    <a:pt x="362352" y="1434037"/>
                  </a:lnTo>
                  <a:lnTo>
                    <a:pt x="372183" y="1451593"/>
                  </a:lnTo>
                  <a:lnTo>
                    <a:pt x="382014" y="1468446"/>
                  </a:lnTo>
                  <a:lnTo>
                    <a:pt x="391845" y="1485300"/>
                  </a:lnTo>
                  <a:lnTo>
                    <a:pt x="403081" y="1501451"/>
                  </a:lnTo>
                  <a:lnTo>
                    <a:pt x="413614" y="1516900"/>
                  </a:lnTo>
                  <a:lnTo>
                    <a:pt x="425552" y="1533754"/>
                  </a:lnTo>
                  <a:lnTo>
                    <a:pt x="437490" y="1548501"/>
                  </a:lnTo>
                  <a:lnTo>
                    <a:pt x="450130" y="1564652"/>
                  </a:lnTo>
                  <a:lnTo>
                    <a:pt x="462771" y="1578696"/>
                  </a:lnTo>
                  <a:lnTo>
                    <a:pt x="475411" y="1593443"/>
                  </a:lnTo>
                  <a:lnTo>
                    <a:pt x="488753" y="1607488"/>
                  </a:lnTo>
                  <a:lnTo>
                    <a:pt x="502095" y="1622235"/>
                  </a:lnTo>
                  <a:lnTo>
                    <a:pt x="516140" y="1635577"/>
                  </a:lnTo>
                  <a:lnTo>
                    <a:pt x="530887" y="1648919"/>
                  </a:lnTo>
                  <a:lnTo>
                    <a:pt x="544931" y="1661560"/>
                  </a:lnTo>
                  <a:lnTo>
                    <a:pt x="559678" y="1674200"/>
                  </a:lnTo>
                  <a:lnTo>
                    <a:pt x="575127" y="1686138"/>
                  </a:lnTo>
                  <a:lnTo>
                    <a:pt x="590576" y="1698076"/>
                  </a:lnTo>
                  <a:lnTo>
                    <a:pt x="606025" y="1709311"/>
                  </a:lnTo>
                  <a:lnTo>
                    <a:pt x="622879" y="1720547"/>
                  </a:lnTo>
                  <a:lnTo>
                    <a:pt x="639030" y="1731783"/>
                  </a:lnTo>
                  <a:lnTo>
                    <a:pt x="655884" y="1741614"/>
                  </a:lnTo>
                  <a:lnTo>
                    <a:pt x="672035" y="1752147"/>
                  </a:lnTo>
                  <a:lnTo>
                    <a:pt x="689591" y="1761978"/>
                  </a:lnTo>
                  <a:lnTo>
                    <a:pt x="706444" y="1771107"/>
                  </a:lnTo>
                  <a:lnTo>
                    <a:pt x="724702" y="1780236"/>
                  </a:lnTo>
                  <a:lnTo>
                    <a:pt x="742258" y="1787961"/>
                  </a:lnTo>
                  <a:lnTo>
                    <a:pt x="760516" y="1795686"/>
                  </a:lnTo>
                  <a:lnTo>
                    <a:pt x="779476" y="1803410"/>
                  </a:lnTo>
                  <a:lnTo>
                    <a:pt x="797032" y="1810432"/>
                  </a:lnTo>
                  <a:lnTo>
                    <a:pt x="816695" y="1817455"/>
                  </a:lnTo>
                  <a:lnTo>
                    <a:pt x="835655" y="1823072"/>
                  </a:lnTo>
                  <a:lnTo>
                    <a:pt x="854615" y="1828690"/>
                  </a:lnTo>
                  <a:lnTo>
                    <a:pt x="873575" y="1833606"/>
                  </a:lnTo>
                  <a:lnTo>
                    <a:pt x="893940" y="1839224"/>
                  </a:lnTo>
                  <a:lnTo>
                    <a:pt x="912900" y="1843437"/>
                  </a:lnTo>
                  <a:lnTo>
                    <a:pt x="933265" y="1847651"/>
                  </a:lnTo>
                  <a:lnTo>
                    <a:pt x="952927" y="1850459"/>
                  </a:lnTo>
                  <a:lnTo>
                    <a:pt x="973292" y="1853268"/>
                  </a:lnTo>
                  <a:lnTo>
                    <a:pt x="994359" y="1855375"/>
                  </a:lnTo>
                  <a:lnTo>
                    <a:pt x="1014021" y="1856780"/>
                  </a:lnTo>
                  <a:lnTo>
                    <a:pt x="1035088" y="1858886"/>
                  </a:lnTo>
                  <a:lnTo>
                    <a:pt x="1056155" y="1859588"/>
                  </a:lnTo>
                  <a:lnTo>
                    <a:pt x="1077222" y="1860291"/>
                  </a:lnTo>
                  <a:lnTo>
                    <a:pt x="1098289" y="1859588"/>
                  </a:lnTo>
                  <a:lnTo>
                    <a:pt x="1119356" y="1858886"/>
                  </a:lnTo>
                  <a:lnTo>
                    <a:pt x="1139018" y="1856780"/>
                  </a:lnTo>
                  <a:lnTo>
                    <a:pt x="1160085" y="1855375"/>
                  </a:lnTo>
                  <a:lnTo>
                    <a:pt x="1180450" y="1853268"/>
                  </a:lnTo>
                  <a:lnTo>
                    <a:pt x="1200814" y="1850459"/>
                  </a:lnTo>
                  <a:lnTo>
                    <a:pt x="1221179" y="1847651"/>
                  </a:lnTo>
                  <a:lnTo>
                    <a:pt x="1240139" y="1843437"/>
                  </a:lnTo>
                  <a:lnTo>
                    <a:pt x="1260504" y="1839224"/>
                  </a:lnTo>
                  <a:lnTo>
                    <a:pt x="1280166" y="1833606"/>
                  </a:lnTo>
                  <a:lnTo>
                    <a:pt x="1299829" y="1828690"/>
                  </a:lnTo>
                  <a:lnTo>
                    <a:pt x="1318789" y="1823072"/>
                  </a:lnTo>
                  <a:lnTo>
                    <a:pt x="1337749" y="1817455"/>
                  </a:lnTo>
                  <a:lnTo>
                    <a:pt x="1356709" y="1810432"/>
                  </a:lnTo>
                  <a:lnTo>
                    <a:pt x="1374967" y="1803410"/>
                  </a:lnTo>
                  <a:lnTo>
                    <a:pt x="1393225" y="1795686"/>
                  </a:lnTo>
                  <a:lnTo>
                    <a:pt x="1410781" y="1787961"/>
                  </a:lnTo>
                  <a:lnTo>
                    <a:pt x="1429039" y="1780236"/>
                  </a:lnTo>
                  <a:lnTo>
                    <a:pt x="1447297" y="1771107"/>
                  </a:lnTo>
                  <a:lnTo>
                    <a:pt x="1464151" y="1761978"/>
                  </a:lnTo>
                  <a:lnTo>
                    <a:pt x="1481706" y="1752147"/>
                  </a:lnTo>
                  <a:lnTo>
                    <a:pt x="1498560" y="1741614"/>
                  </a:lnTo>
                  <a:lnTo>
                    <a:pt x="1515413" y="1731783"/>
                  </a:lnTo>
                  <a:lnTo>
                    <a:pt x="1531565" y="1720547"/>
                  </a:lnTo>
                  <a:lnTo>
                    <a:pt x="1547014" y="1709311"/>
                  </a:lnTo>
                  <a:lnTo>
                    <a:pt x="1563165" y="1698076"/>
                  </a:lnTo>
                  <a:lnTo>
                    <a:pt x="1578614" y="1686138"/>
                  </a:lnTo>
                  <a:lnTo>
                    <a:pt x="1594063" y="1674200"/>
                  </a:lnTo>
                  <a:lnTo>
                    <a:pt x="1608810" y="1661560"/>
                  </a:lnTo>
                  <a:lnTo>
                    <a:pt x="1623557" y="1648919"/>
                  </a:lnTo>
                  <a:lnTo>
                    <a:pt x="1637601" y="1635577"/>
                  </a:lnTo>
                  <a:lnTo>
                    <a:pt x="1651646" y="1622235"/>
                  </a:lnTo>
                  <a:lnTo>
                    <a:pt x="1665691" y="1607488"/>
                  </a:lnTo>
                  <a:lnTo>
                    <a:pt x="1678331" y="1593443"/>
                  </a:lnTo>
                  <a:lnTo>
                    <a:pt x="1691673" y="1578696"/>
                  </a:lnTo>
                  <a:lnTo>
                    <a:pt x="1703611" y="1564652"/>
                  </a:lnTo>
                  <a:lnTo>
                    <a:pt x="1716251" y="1548501"/>
                  </a:lnTo>
                  <a:lnTo>
                    <a:pt x="1728189" y="1533754"/>
                  </a:lnTo>
                  <a:lnTo>
                    <a:pt x="1739425" y="1516900"/>
                  </a:lnTo>
                  <a:lnTo>
                    <a:pt x="1750660" y="1501451"/>
                  </a:lnTo>
                  <a:lnTo>
                    <a:pt x="1761194" y="1485300"/>
                  </a:lnTo>
                  <a:lnTo>
                    <a:pt x="1771727" y="1468446"/>
                  </a:lnTo>
                  <a:lnTo>
                    <a:pt x="1781559" y="1451593"/>
                  </a:lnTo>
                  <a:lnTo>
                    <a:pt x="1791390" y="1434037"/>
                  </a:lnTo>
                  <a:lnTo>
                    <a:pt x="1801221" y="1417183"/>
                  </a:lnTo>
                  <a:lnTo>
                    <a:pt x="1809648" y="1399628"/>
                  </a:lnTo>
                  <a:lnTo>
                    <a:pt x="1817372" y="1382072"/>
                  </a:lnTo>
                  <a:lnTo>
                    <a:pt x="1825799" y="1363814"/>
                  </a:lnTo>
                  <a:lnTo>
                    <a:pt x="1833524" y="1344854"/>
                  </a:lnTo>
                  <a:lnTo>
                    <a:pt x="1839844" y="1326596"/>
                  </a:lnTo>
                  <a:lnTo>
                    <a:pt x="1846866" y="1307636"/>
                  </a:lnTo>
                  <a:lnTo>
                    <a:pt x="1852484" y="1288675"/>
                  </a:lnTo>
                  <a:lnTo>
                    <a:pt x="1858804" y="1269715"/>
                  </a:lnTo>
                  <a:lnTo>
                    <a:pt x="1863720" y="1250053"/>
                  </a:lnTo>
                  <a:lnTo>
                    <a:pt x="1868635" y="1230390"/>
                  </a:lnTo>
                  <a:lnTo>
                    <a:pt x="1872848" y="1210728"/>
                  </a:lnTo>
                  <a:lnTo>
                    <a:pt x="1876360" y="1191065"/>
                  </a:lnTo>
                  <a:lnTo>
                    <a:pt x="1880573" y="1170701"/>
                  </a:lnTo>
                  <a:lnTo>
                    <a:pt x="1883382" y="1150336"/>
                  </a:lnTo>
                  <a:lnTo>
                    <a:pt x="1885489" y="1129971"/>
                  </a:lnTo>
                  <a:lnTo>
                    <a:pt x="1886893" y="1110309"/>
                  </a:lnTo>
                  <a:lnTo>
                    <a:pt x="1889000" y="1089242"/>
                  </a:lnTo>
                  <a:lnTo>
                    <a:pt x="1889702" y="1068175"/>
                  </a:lnTo>
                  <a:lnTo>
                    <a:pt x="1889702" y="1047108"/>
                  </a:lnTo>
                  <a:lnTo>
                    <a:pt x="1889960" y="1047108"/>
                  </a:lnTo>
                  <a:lnTo>
                    <a:pt x="1889960" y="0"/>
                  </a:lnTo>
                  <a:lnTo>
                    <a:pt x="2154443" y="0"/>
                  </a:lnTo>
                  <a:lnTo>
                    <a:pt x="2154443" y="1047108"/>
                  </a:lnTo>
                  <a:lnTo>
                    <a:pt x="2153741" y="1074495"/>
                  </a:lnTo>
                  <a:lnTo>
                    <a:pt x="2153039" y="1102584"/>
                  </a:lnTo>
                  <a:lnTo>
                    <a:pt x="2151634" y="1129971"/>
                  </a:lnTo>
                  <a:lnTo>
                    <a:pt x="2148123" y="1157358"/>
                  </a:lnTo>
                  <a:lnTo>
                    <a:pt x="2145314" y="1184043"/>
                  </a:lnTo>
                  <a:lnTo>
                    <a:pt x="2141803" y="1210728"/>
                  </a:lnTo>
                  <a:lnTo>
                    <a:pt x="2136887" y="1238115"/>
                  </a:lnTo>
                  <a:lnTo>
                    <a:pt x="2132674" y="1264097"/>
                  </a:lnTo>
                  <a:lnTo>
                    <a:pt x="2127056" y="1290080"/>
                  </a:lnTo>
                  <a:lnTo>
                    <a:pt x="2120034" y="1316765"/>
                  </a:lnTo>
                  <a:lnTo>
                    <a:pt x="2113012" y="1342045"/>
                  </a:lnTo>
                  <a:lnTo>
                    <a:pt x="2105989" y="1367325"/>
                  </a:lnTo>
                  <a:lnTo>
                    <a:pt x="2097562" y="1393308"/>
                  </a:lnTo>
                  <a:lnTo>
                    <a:pt x="2088434" y="1417886"/>
                  </a:lnTo>
                  <a:lnTo>
                    <a:pt x="2079305" y="1442464"/>
                  </a:lnTo>
                  <a:lnTo>
                    <a:pt x="2070176" y="1466340"/>
                  </a:lnTo>
                  <a:lnTo>
                    <a:pt x="2059642" y="1490215"/>
                  </a:lnTo>
                  <a:lnTo>
                    <a:pt x="2048406" y="1514091"/>
                  </a:lnTo>
                  <a:lnTo>
                    <a:pt x="2036468" y="1537265"/>
                  </a:lnTo>
                  <a:lnTo>
                    <a:pt x="2024531" y="1560438"/>
                  </a:lnTo>
                  <a:lnTo>
                    <a:pt x="2011188" y="1582910"/>
                  </a:lnTo>
                  <a:lnTo>
                    <a:pt x="1997846" y="1605381"/>
                  </a:lnTo>
                  <a:lnTo>
                    <a:pt x="1984503" y="1627853"/>
                  </a:lnTo>
                  <a:lnTo>
                    <a:pt x="1970459" y="1649622"/>
                  </a:lnTo>
                  <a:lnTo>
                    <a:pt x="1955010" y="1670689"/>
                  </a:lnTo>
                  <a:lnTo>
                    <a:pt x="1940263" y="1691755"/>
                  </a:lnTo>
                  <a:lnTo>
                    <a:pt x="1924814" y="1712120"/>
                  </a:lnTo>
                  <a:lnTo>
                    <a:pt x="1907960" y="1731783"/>
                  </a:lnTo>
                  <a:lnTo>
                    <a:pt x="1891809" y="1752147"/>
                  </a:lnTo>
                  <a:lnTo>
                    <a:pt x="1874253" y="1771810"/>
                  </a:lnTo>
                  <a:lnTo>
                    <a:pt x="1856697" y="1790770"/>
                  </a:lnTo>
                  <a:lnTo>
                    <a:pt x="1838439" y="1809028"/>
                  </a:lnTo>
                  <a:lnTo>
                    <a:pt x="1820883" y="1827286"/>
                  </a:lnTo>
                  <a:lnTo>
                    <a:pt x="1801221" y="1844139"/>
                  </a:lnTo>
                  <a:lnTo>
                    <a:pt x="1781559" y="1861695"/>
                  </a:lnTo>
                  <a:lnTo>
                    <a:pt x="1761896" y="1877846"/>
                  </a:lnTo>
                  <a:lnTo>
                    <a:pt x="1742234" y="1894700"/>
                  </a:lnTo>
                  <a:lnTo>
                    <a:pt x="1721869" y="1910149"/>
                  </a:lnTo>
                  <a:lnTo>
                    <a:pt x="1700802" y="1926300"/>
                  </a:lnTo>
                  <a:lnTo>
                    <a:pt x="1679033" y="1940345"/>
                  </a:lnTo>
                  <a:lnTo>
                    <a:pt x="1657264" y="1954390"/>
                  </a:lnTo>
                  <a:lnTo>
                    <a:pt x="1635495" y="1968434"/>
                  </a:lnTo>
                  <a:lnTo>
                    <a:pt x="1613023" y="1981074"/>
                  </a:lnTo>
                  <a:lnTo>
                    <a:pt x="1590552" y="1994417"/>
                  </a:lnTo>
                  <a:lnTo>
                    <a:pt x="1567378" y="2007057"/>
                  </a:lnTo>
                  <a:lnTo>
                    <a:pt x="1544205" y="2018292"/>
                  </a:lnTo>
                  <a:lnTo>
                    <a:pt x="1520329" y="2029528"/>
                  </a:lnTo>
                  <a:lnTo>
                    <a:pt x="1496453" y="2040062"/>
                  </a:lnTo>
                  <a:lnTo>
                    <a:pt x="1471875" y="2049191"/>
                  </a:lnTo>
                  <a:lnTo>
                    <a:pt x="1447999" y="2059022"/>
                  </a:lnTo>
                  <a:lnTo>
                    <a:pt x="1422017" y="2067449"/>
                  </a:lnTo>
                  <a:lnTo>
                    <a:pt x="1397439" y="2075875"/>
                  </a:lnTo>
                  <a:lnTo>
                    <a:pt x="1372159" y="2082898"/>
                  </a:lnTo>
                  <a:lnTo>
                    <a:pt x="1346176" y="2090622"/>
                  </a:lnTo>
                  <a:lnTo>
                    <a:pt x="1320194" y="2096942"/>
                  </a:lnTo>
                  <a:lnTo>
                    <a:pt x="1294211" y="2102560"/>
                  </a:lnTo>
                  <a:lnTo>
                    <a:pt x="1267526" y="2108178"/>
                  </a:lnTo>
                  <a:lnTo>
                    <a:pt x="1240842" y="2111689"/>
                  </a:lnTo>
                  <a:lnTo>
                    <a:pt x="1214157" y="2115902"/>
                  </a:lnTo>
                  <a:lnTo>
                    <a:pt x="1187472" y="2119414"/>
                  </a:lnTo>
                  <a:lnTo>
                    <a:pt x="1159383" y="2121520"/>
                  </a:lnTo>
                  <a:lnTo>
                    <a:pt x="1132698" y="2122925"/>
                  </a:lnTo>
                  <a:lnTo>
                    <a:pt x="1104609" y="2124329"/>
                  </a:lnTo>
                  <a:lnTo>
                    <a:pt x="1077222" y="2124329"/>
                  </a:lnTo>
                  <a:lnTo>
                    <a:pt x="1049133" y="2124329"/>
                  </a:lnTo>
                  <a:lnTo>
                    <a:pt x="1021746" y="2122925"/>
                  </a:lnTo>
                  <a:lnTo>
                    <a:pt x="994359" y="2121520"/>
                  </a:lnTo>
                  <a:lnTo>
                    <a:pt x="966972" y="2119414"/>
                  </a:lnTo>
                  <a:lnTo>
                    <a:pt x="939585" y="2115902"/>
                  </a:lnTo>
                  <a:lnTo>
                    <a:pt x="912900" y="2111689"/>
                  </a:lnTo>
                  <a:lnTo>
                    <a:pt x="886215" y="2108178"/>
                  </a:lnTo>
                  <a:lnTo>
                    <a:pt x="860233" y="2102560"/>
                  </a:lnTo>
                  <a:lnTo>
                    <a:pt x="833548" y="2096942"/>
                  </a:lnTo>
                  <a:lnTo>
                    <a:pt x="807566" y="2090622"/>
                  </a:lnTo>
                  <a:lnTo>
                    <a:pt x="782285" y="2082898"/>
                  </a:lnTo>
                  <a:lnTo>
                    <a:pt x="757005" y="2075875"/>
                  </a:lnTo>
                  <a:lnTo>
                    <a:pt x="731022" y="2067449"/>
                  </a:lnTo>
                  <a:lnTo>
                    <a:pt x="706444" y="2059022"/>
                  </a:lnTo>
                  <a:lnTo>
                    <a:pt x="681866" y="2049191"/>
                  </a:lnTo>
                  <a:lnTo>
                    <a:pt x="657991" y="2040062"/>
                  </a:lnTo>
                  <a:lnTo>
                    <a:pt x="633412" y="2029528"/>
                  </a:lnTo>
                  <a:lnTo>
                    <a:pt x="610239" y="2018292"/>
                  </a:lnTo>
                  <a:lnTo>
                    <a:pt x="587065" y="2007057"/>
                  </a:lnTo>
                  <a:lnTo>
                    <a:pt x="563892" y="1994417"/>
                  </a:lnTo>
                  <a:lnTo>
                    <a:pt x="540718" y="1981074"/>
                  </a:lnTo>
                  <a:lnTo>
                    <a:pt x="518247" y="1968434"/>
                  </a:lnTo>
                  <a:lnTo>
                    <a:pt x="496478" y="1954390"/>
                  </a:lnTo>
                  <a:lnTo>
                    <a:pt x="474708" y="1940345"/>
                  </a:lnTo>
                  <a:lnTo>
                    <a:pt x="453642" y="1926300"/>
                  </a:lnTo>
                  <a:lnTo>
                    <a:pt x="432575" y="1910149"/>
                  </a:lnTo>
                  <a:lnTo>
                    <a:pt x="411508" y="1894700"/>
                  </a:lnTo>
                  <a:lnTo>
                    <a:pt x="391143" y="1877846"/>
                  </a:lnTo>
                  <a:lnTo>
                    <a:pt x="372183" y="1861695"/>
                  </a:lnTo>
                  <a:lnTo>
                    <a:pt x="352520" y="1844139"/>
                  </a:lnTo>
                  <a:lnTo>
                    <a:pt x="333560" y="1827286"/>
                  </a:lnTo>
                  <a:lnTo>
                    <a:pt x="315302" y="1809028"/>
                  </a:lnTo>
                  <a:lnTo>
                    <a:pt x="297044" y="1790770"/>
                  </a:lnTo>
                  <a:lnTo>
                    <a:pt x="278786" y="1771810"/>
                  </a:lnTo>
                  <a:lnTo>
                    <a:pt x="262635" y="1752147"/>
                  </a:lnTo>
                  <a:lnTo>
                    <a:pt x="245781" y="1731783"/>
                  </a:lnTo>
                  <a:lnTo>
                    <a:pt x="229630" y="1712120"/>
                  </a:lnTo>
                  <a:lnTo>
                    <a:pt x="214181" y="1691755"/>
                  </a:lnTo>
                  <a:lnTo>
                    <a:pt x="198030" y="1670689"/>
                  </a:lnTo>
                  <a:lnTo>
                    <a:pt x="183283" y="1649622"/>
                  </a:lnTo>
                  <a:lnTo>
                    <a:pt x="169238" y="1627853"/>
                  </a:lnTo>
                  <a:lnTo>
                    <a:pt x="155896" y="1605381"/>
                  </a:lnTo>
                  <a:lnTo>
                    <a:pt x="141851" y="1582910"/>
                  </a:lnTo>
                  <a:lnTo>
                    <a:pt x="129211" y="1560438"/>
                  </a:lnTo>
                  <a:lnTo>
                    <a:pt x="117273" y="1537265"/>
                  </a:lnTo>
                  <a:lnTo>
                    <a:pt x="106038" y="1514091"/>
                  </a:lnTo>
                  <a:lnTo>
                    <a:pt x="94802" y="1490215"/>
                  </a:lnTo>
                  <a:lnTo>
                    <a:pt x="84269" y="1466340"/>
                  </a:lnTo>
                  <a:lnTo>
                    <a:pt x="73735" y="1442464"/>
                  </a:lnTo>
                  <a:lnTo>
                    <a:pt x="65308" y="1417886"/>
                  </a:lnTo>
                  <a:lnTo>
                    <a:pt x="56179" y="1393308"/>
                  </a:lnTo>
                  <a:lnTo>
                    <a:pt x="47753" y="1367325"/>
                  </a:lnTo>
                  <a:lnTo>
                    <a:pt x="40028" y="1342045"/>
                  </a:lnTo>
                  <a:lnTo>
                    <a:pt x="33708" y="1316765"/>
                  </a:lnTo>
                  <a:lnTo>
                    <a:pt x="26686" y="1290080"/>
                  </a:lnTo>
                  <a:lnTo>
                    <a:pt x="21770" y="1264097"/>
                  </a:lnTo>
                  <a:lnTo>
                    <a:pt x="16152" y="1238115"/>
                  </a:lnTo>
                  <a:lnTo>
                    <a:pt x="11939" y="1210728"/>
                  </a:lnTo>
                  <a:lnTo>
                    <a:pt x="8428" y="1184043"/>
                  </a:lnTo>
                  <a:lnTo>
                    <a:pt x="4917" y="1157358"/>
                  </a:lnTo>
                  <a:lnTo>
                    <a:pt x="2810" y="1129971"/>
                  </a:lnTo>
                  <a:lnTo>
                    <a:pt x="703" y="1102584"/>
                  </a:lnTo>
                  <a:lnTo>
                    <a:pt x="1" y="1074495"/>
                  </a:lnTo>
                  <a:lnTo>
                    <a:pt x="1" y="1047108"/>
                  </a:lnTo>
                  <a:lnTo>
                    <a:pt x="0" y="1047108"/>
                  </a:lnTo>
                  <a:close/>
                </a:path>
              </a:pathLst>
            </a:custGeom>
            <a:solidFill>
              <a:srgbClr val="E0E0E0"/>
            </a:solidFill>
            <a:ln w="12700">
              <a:noFill/>
              <a:prstDash val="solid"/>
              <a:round/>
            </a:ln>
          </p:spPr>
          <p:txBody>
            <a:bodyPr anchor="ctr"/>
            <a:lstStyle/>
            <a:p>
              <a:pPr algn="ctr"/>
              <a:endParaRPr sz="1100">
                <a:solidFill>
                  <a:schemeClr val="bg1">
                    <a:lumMod val="50000"/>
                  </a:schemeClr>
                </a:solidFill>
              </a:endParaRPr>
            </a:p>
          </p:txBody>
        </p:sp>
        <p:sp>
          <p:nvSpPr>
            <p:cNvPr id="8" name="Freeform: Shape 4"/>
            <p:cNvSpPr/>
            <p:nvPr/>
          </p:nvSpPr>
          <p:spPr>
            <a:xfrm>
              <a:off x="1432456" y="3676185"/>
              <a:ext cx="2567966" cy="2473603"/>
            </a:xfrm>
            <a:custGeom>
              <a:avLst/>
              <a:gdLst/>
              <a:ahLst/>
              <a:cxnLst/>
              <a:rect l="l" t="t" r="r" b="b"/>
              <a:pathLst>
                <a:path w="2154443" h="2124329">
                  <a:moveTo>
                    <a:pt x="0" y="0"/>
                  </a:moveTo>
                  <a:lnTo>
                    <a:pt x="264483" y="0"/>
                  </a:lnTo>
                  <a:lnTo>
                    <a:pt x="264483" y="1047108"/>
                  </a:lnTo>
                  <a:lnTo>
                    <a:pt x="264039" y="1047108"/>
                  </a:lnTo>
                  <a:lnTo>
                    <a:pt x="264039" y="1068175"/>
                  </a:lnTo>
                  <a:lnTo>
                    <a:pt x="265444" y="1089242"/>
                  </a:lnTo>
                  <a:lnTo>
                    <a:pt x="266146" y="1110309"/>
                  </a:lnTo>
                  <a:lnTo>
                    <a:pt x="268955" y="1129971"/>
                  </a:lnTo>
                  <a:lnTo>
                    <a:pt x="271062" y="1150336"/>
                  </a:lnTo>
                  <a:lnTo>
                    <a:pt x="273871" y="1170701"/>
                  </a:lnTo>
                  <a:lnTo>
                    <a:pt x="276680" y="1191065"/>
                  </a:lnTo>
                  <a:lnTo>
                    <a:pt x="280893" y="1210728"/>
                  </a:lnTo>
                  <a:lnTo>
                    <a:pt x="285106" y="1230390"/>
                  </a:lnTo>
                  <a:lnTo>
                    <a:pt x="289320" y="1250053"/>
                  </a:lnTo>
                  <a:lnTo>
                    <a:pt x="294938" y="1269715"/>
                  </a:lnTo>
                  <a:lnTo>
                    <a:pt x="300555" y="1288675"/>
                  </a:lnTo>
                  <a:lnTo>
                    <a:pt x="306875" y="1307636"/>
                  </a:lnTo>
                  <a:lnTo>
                    <a:pt x="313898" y="1326596"/>
                  </a:lnTo>
                  <a:lnTo>
                    <a:pt x="320218" y="1344854"/>
                  </a:lnTo>
                  <a:lnTo>
                    <a:pt x="327942" y="1363814"/>
                  </a:lnTo>
                  <a:lnTo>
                    <a:pt x="336369" y="1382072"/>
                  </a:lnTo>
                  <a:lnTo>
                    <a:pt x="344094" y="1399628"/>
                  </a:lnTo>
                  <a:lnTo>
                    <a:pt x="353223" y="1417183"/>
                  </a:lnTo>
                  <a:lnTo>
                    <a:pt x="362352" y="1434037"/>
                  </a:lnTo>
                  <a:lnTo>
                    <a:pt x="372183" y="1451593"/>
                  </a:lnTo>
                  <a:lnTo>
                    <a:pt x="382014" y="1468446"/>
                  </a:lnTo>
                  <a:lnTo>
                    <a:pt x="391845" y="1485300"/>
                  </a:lnTo>
                  <a:lnTo>
                    <a:pt x="403081" y="1501451"/>
                  </a:lnTo>
                  <a:lnTo>
                    <a:pt x="413614" y="1516900"/>
                  </a:lnTo>
                  <a:lnTo>
                    <a:pt x="425552" y="1533754"/>
                  </a:lnTo>
                  <a:lnTo>
                    <a:pt x="437490" y="1548501"/>
                  </a:lnTo>
                  <a:lnTo>
                    <a:pt x="450130" y="1564652"/>
                  </a:lnTo>
                  <a:lnTo>
                    <a:pt x="462771" y="1578696"/>
                  </a:lnTo>
                  <a:lnTo>
                    <a:pt x="475411" y="1593443"/>
                  </a:lnTo>
                  <a:lnTo>
                    <a:pt x="488753" y="1607488"/>
                  </a:lnTo>
                  <a:lnTo>
                    <a:pt x="502095" y="1622235"/>
                  </a:lnTo>
                  <a:lnTo>
                    <a:pt x="516140" y="1635577"/>
                  </a:lnTo>
                  <a:lnTo>
                    <a:pt x="530887" y="1648919"/>
                  </a:lnTo>
                  <a:lnTo>
                    <a:pt x="544931" y="1661560"/>
                  </a:lnTo>
                  <a:lnTo>
                    <a:pt x="559678" y="1674200"/>
                  </a:lnTo>
                  <a:lnTo>
                    <a:pt x="575127" y="1686138"/>
                  </a:lnTo>
                  <a:lnTo>
                    <a:pt x="590576" y="1698076"/>
                  </a:lnTo>
                  <a:lnTo>
                    <a:pt x="606025" y="1709311"/>
                  </a:lnTo>
                  <a:lnTo>
                    <a:pt x="622879" y="1720547"/>
                  </a:lnTo>
                  <a:lnTo>
                    <a:pt x="639030" y="1731783"/>
                  </a:lnTo>
                  <a:lnTo>
                    <a:pt x="655884" y="1741614"/>
                  </a:lnTo>
                  <a:lnTo>
                    <a:pt x="672035" y="1752147"/>
                  </a:lnTo>
                  <a:lnTo>
                    <a:pt x="689591" y="1761978"/>
                  </a:lnTo>
                  <a:lnTo>
                    <a:pt x="706444" y="1771107"/>
                  </a:lnTo>
                  <a:lnTo>
                    <a:pt x="724702" y="1780236"/>
                  </a:lnTo>
                  <a:lnTo>
                    <a:pt x="742258" y="1787961"/>
                  </a:lnTo>
                  <a:lnTo>
                    <a:pt x="760516" y="1795686"/>
                  </a:lnTo>
                  <a:lnTo>
                    <a:pt x="779476" y="1803410"/>
                  </a:lnTo>
                  <a:lnTo>
                    <a:pt x="797032" y="1810432"/>
                  </a:lnTo>
                  <a:lnTo>
                    <a:pt x="816695" y="1817455"/>
                  </a:lnTo>
                  <a:lnTo>
                    <a:pt x="835655" y="1823072"/>
                  </a:lnTo>
                  <a:lnTo>
                    <a:pt x="854615" y="1828690"/>
                  </a:lnTo>
                  <a:lnTo>
                    <a:pt x="873575" y="1833606"/>
                  </a:lnTo>
                  <a:lnTo>
                    <a:pt x="893940" y="1839224"/>
                  </a:lnTo>
                  <a:lnTo>
                    <a:pt x="912900" y="1843437"/>
                  </a:lnTo>
                  <a:lnTo>
                    <a:pt x="933265" y="1847651"/>
                  </a:lnTo>
                  <a:lnTo>
                    <a:pt x="952927" y="1850459"/>
                  </a:lnTo>
                  <a:lnTo>
                    <a:pt x="973292" y="1853268"/>
                  </a:lnTo>
                  <a:lnTo>
                    <a:pt x="994359" y="1855375"/>
                  </a:lnTo>
                  <a:lnTo>
                    <a:pt x="1014021" y="1856780"/>
                  </a:lnTo>
                  <a:lnTo>
                    <a:pt x="1035088" y="1858886"/>
                  </a:lnTo>
                  <a:lnTo>
                    <a:pt x="1056155" y="1859588"/>
                  </a:lnTo>
                  <a:lnTo>
                    <a:pt x="1077222" y="1860291"/>
                  </a:lnTo>
                  <a:lnTo>
                    <a:pt x="1098289" y="1859588"/>
                  </a:lnTo>
                  <a:lnTo>
                    <a:pt x="1119356" y="1858886"/>
                  </a:lnTo>
                  <a:lnTo>
                    <a:pt x="1139018" y="1856780"/>
                  </a:lnTo>
                  <a:lnTo>
                    <a:pt x="1160085" y="1855375"/>
                  </a:lnTo>
                  <a:lnTo>
                    <a:pt x="1180450" y="1853268"/>
                  </a:lnTo>
                  <a:lnTo>
                    <a:pt x="1200814" y="1850459"/>
                  </a:lnTo>
                  <a:lnTo>
                    <a:pt x="1221179" y="1847651"/>
                  </a:lnTo>
                  <a:lnTo>
                    <a:pt x="1240139" y="1843437"/>
                  </a:lnTo>
                  <a:lnTo>
                    <a:pt x="1260504" y="1839224"/>
                  </a:lnTo>
                  <a:lnTo>
                    <a:pt x="1280166" y="1833606"/>
                  </a:lnTo>
                  <a:lnTo>
                    <a:pt x="1299829" y="1828690"/>
                  </a:lnTo>
                  <a:lnTo>
                    <a:pt x="1318789" y="1823072"/>
                  </a:lnTo>
                  <a:lnTo>
                    <a:pt x="1337749" y="1817455"/>
                  </a:lnTo>
                  <a:lnTo>
                    <a:pt x="1356709" y="1810432"/>
                  </a:lnTo>
                  <a:lnTo>
                    <a:pt x="1374967" y="1803410"/>
                  </a:lnTo>
                  <a:lnTo>
                    <a:pt x="1393225" y="1795686"/>
                  </a:lnTo>
                  <a:lnTo>
                    <a:pt x="1410781" y="1787961"/>
                  </a:lnTo>
                  <a:lnTo>
                    <a:pt x="1429039" y="1780236"/>
                  </a:lnTo>
                  <a:lnTo>
                    <a:pt x="1447297" y="1771107"/>
                  </a:lnTo>
                  <a:lnTo>
                    <a:pt x="1464151" y="1761978"/>
                  </a:lnTo>
                  <a:lnTo>
                    <a:pt x="1481706" y="1752147"/>
                  </a:lnTo>
                  <a:lnTo>
                    <a:pt x="1498560" y="1741614"/>
                  </a:lnTo>
                  <a:lnTo>
                    <a:pt x="1515413" y="1731783"/>
                  </a:lnTo>
                  <a:lnTo>
                    <a:pt x="1531565" y="1720547"/>
                  </a:lnTo>
                  <a:lnTo>
                    <a:pt x="1547014" y="1709311"/>
                  </a:lnTo>
                  <a:lnTo>
                    <a:pt x="1563165" y="1698076"/>
                  </a:lnTo>
                  <a:lnTo>
                    <a:pt x="1578614" y="1686138"/>
                  </a:lnTo>
                  <a:lnTo>
                    <a:pt x="1594063" y="1674200"/>
                  </a:lnTo>
                  <a:lnTo>
                    <a:pt x="1608810" y="1661560"/>
                  </a:lnTo>
                  <a:lnTo>
                    <a:pt x="1623557" y="1648919"/>
                  </a:lnTo>
                  <a:lnTo>
                    <a:pt x="1637601" y="1635577"/>
                  </a:lnTo>
                  <a:lnTo>
                    <a:pt x="1651646" y="1622235"/>
                  </a:lnTo>
                  <a:lnTo>
                    <a:pt x="1665691" y="1607488"/>
                  </a:lnTo>
                  <a:lnTo>
                    <a:pt x="1678331" y="1593443"/>
                  </a:lnTo>
                  <a:lnTo>
                    <a:pt x="1691673" y="1578696"/>
                  </a:lnTo>
                  <a:lnTo>
                    <a:pt x="1703611" y="1564652"/>
                  </a:lnTo>
                  <a:lnTo>
                    <a:pt x="1716251" y="1548501"/>
                  </a:lnTo>
                  <a:lnTo>
                    <a:pt x="1728189" y="1533754"/>
                  </a:lnTo>
                  <a:lnTo>
                    <a:pt x="1739425" y="1516900"/>
                  </a:lnTo>
                  <a:lnTo>
                    <a:pt x="1750660" y="1501451"/>
                  </a:lnTo>
                  <a:lnTo>
                    <a:pt x="1761194" y="1485300"/>
                  </a:lnTo>
                  <a:lnTo>
                    <a:pt x="1771727" y="1468446"/>
                  </a:lnTo>
                  <a:lnTo>
                    <a:pt x="1781559" y="1451593"/>
                  </a:lnTo>
                  <a:lnTo>
                    <a:pt x="1791390" y="1434037"/>
                  </a:lnTo>
                  <a:lnTo>
                    <a:pt x="1801221" y="1417183"/>
                  </a:lnTo>
                  <a:lnTo>
                    <a:pt x="1809648" y="1399628"/>
                  </a:lnTo>
                  <a:lnTo>
                    <a:pt x="1817372" y="1382072"/>
                  </a:lnTo>
                  <a:lnTo>
                    <a:pt x="1825799" y="1363814"/>
                  </a:lnTo>
                  <a:lnTo>
                    <a:pt x="1833524" y="1344854"/>
                  </a:lnTo>
                  <a:lnTo>
                    <a:pt x="1839844" y="1326596"/>
                  </a:lnTo>
                  <a:lnTo>
                    <a:pt x="1846866" y="1307636"/>
                  </a:lnTo>
                  <a:lnTo>
                    <a:pt x="1852484" y="1288675"/>
                  </a:lnTo>
                  <a:lnTo>
                    <a:pt x="1858804" y="1269715"/>
                  </a:lnTo>
                  <a:lnTo>
                    <a:pt x="1863720" y="1250053"/>
                  </a:lnTo>
                  <a:lnTo>
                    <a:pt x="1868635" y="1230390"/>
                  </a:lnTo>
                  <a:lnTo>
                    <a:pt x="1872848" y="1210728"/>
                  </a:lnTo>
                  <a:lnTo>
                    <a:pt x="1876360" y="1191065"/>
                  </a:lnTo>
                  <a:lnTo>
                    <a:pt x="1880573" y="1170701"/>
                  </a:lnTo>
                  <a:lnTo>
                    <a:pt x="1883382" y="1150336"/>
                  </a:lnTo>
                  <a:lnTo>
                    <a:pt x="1885489" y="1129971"/>
                  </a:lnTo>
                  <a:lnTo>
                    <a:pt x="1886893" y="1110309"/>
                  </a:lnTo>
                  <a:lnTo>
                    <a:pt x="1889000" y="1089242"/>
                  </a:lnTo>
                  <a:lnTo>
                    <a:pt x="1889702" y="1068175"/>
                  </a:lnTo>
                  <a:lnTo>
                    <a:pt x="1889702" y="1047108"/>
                  </a:lnTo>
                  <a:lnTo>
                    <a:pt x="1889960" y="1047108"/>
                  </a:lnTo>
                  <a:lnTo>
                    <a:pt x="1889960" y="0"/>
                  </a:lnTo>
                  <a:lnTo>
                    <a:pt x="2154443" y="0"/>
                  </a:lnTo>
                  <a:lnTo>
                    <a:pt x="2154443" y="1047108"/>
                  </a:lnTo>
                  <a:lnTo>
                    <a:pt x="2153741" y="1074495"/>
                  </a:lnTo>
                  <a:lnTo>
                    <a:pt x="2153039" y="1102584"/>
                  </a:lnTo>
                  <a:lnTo>
                    <a:pt x="2151634" y="1129971"/>
                  </a:lnTo>
                  <a:lnTo>
                    <a:pt x="2148123" y="1157358"/>
                  </a:lnTo>
                  <a:lnTo>
                    <a:pt x="2145314" y="1184043"/>
                  </a:lnTo>
                  <a:lnTo>
                    <a:pt x="2141803" y="1210728"/>
                  </a:lnTo>
                  <a:lnTo>
                    <a:pt x="2136887" y="1238115"/>
                  </a:lnTo>
                  <a:lnTo>
                    <a:pt x="2132674" y="1264097"/>
                  </a:lnTo>
                  <a:lnTo>
                    <a:pt x="2127056" y="1290080"/>
                  </a:lnTo>
                  <a:lnTo>
                    <a:pt x="2120034" y="1316765"/>
                  </a:lnTo>
                  <a:lnTo>
                    <a:pt x="2113012" y="1342045"/>
                  </a:lnTo>
                  <a:lnTo>
                    <a:pt x="2105989" y="1367325"/>
                  </a:lnTo>
                  <a:lnTo>
                    <a:pt x="2097562" y="1393308"/>
                  </a:lnTo>
                  <a:lnTo>
                    <a:pt x="2088434" y="1417886"/>
                  </a:lnTo>
                  <a:lnTo>
                    <a:pt x="2079305" y="1442464"/>
                  </a:lnTo>
                  <a:lnTo>
                    <a:pt x="2070176" y="1466340"/>
                  </a:lnTo>
                  <a:lnTo>
                    <a:pt x="2059642" y="1490215"/>
                  </a:lnTo>
                  <a:lnTo>
                    <a:pt x="2048406" y="1514091"/>
                  </a:lnTo>
                  <a:lnTo>
                    <a:pt x="2036468" y="1537265"/>
                  </a:lnTo>
                  <a:lnTo>
                    <a:pt x="2024531" y="1560438"/>
                  </a:lnTo>
                  <a:lnTo>
                    <a:pt x="2011188" y="1582910"/>
                  </a:lnTo>
                  <a:lnTo>
                    <a:pt x="1997846" y="1605381"/>
                  </a:lnTo>
                  <a:lnTo>
                    <a:pt x="1984503" y="1627853"/>
                  </a:lnTo>
                  <a:lnTo>
                    <a:pt x="1970459" y="1649622"/>
                  </a:lnTo>
                  <a:lnTo>
                    <a:pt x="1955010" y="1670689"/>
                  </a:lnTo>
                  <a:lnTo>
                    <a:pt x="1940263" y="1691755"/>
                  </a:lnTo>
                  <a:lnTo>
                    <a:pt x="1924814" y="1712120"/>
                  </a:lnTo>
                  <a:lnTo>
                    <a:pt x="1907960" y="1731783"/>
                  </a:lnTo>
                  <a:lnTo>
                    <a:pt x="1891809" y="1752147"/>
                  </a:lnTo>
                  <a:lnTo>
                    <a:pt x="1874253" y="1771810"/>
                  </a:lnTo>
                  <a:lnTo>
                    <a:pt x="1856697" y="1790770"/>
                  </a:lnTo>
                  <a:lnTo>
                    <a:pt x="1838439" y="1809028"/>
                  </a:lnTo>
                  <a:lnTo>
                    <a:pt x="1820883" y="1827286"/>
                  </a:lnTo>
                  <a:lnTo>
                    <a:pt x="1801221" y="1844139"/>
                  </a:lnTo>
                  <a:lnTo>
                    <a:pt x="1781559" y="1861695"/>
                  </a:lnTo>
                  <a:lnTo>
                    <a:pt x="1761896" y="1877846"/>
                  </a:lnTo>
                  <a:lnTo>
                    <a:pt x="1742234" y="1894700"/>
                  </a:lnTo>
                  <a:lnTo>
                    <a:pt x="1721869" y="1910149"/>
                  </a:lnTo>
                  <a:lnTo>
                    <a:pt x="1700802" y="1926300"/>
                  </a:lnTo>
                  <a:lnTo>
                    <a:pt x="1679033" y="1940345"/>
                  </a:lnTo>
                  <a:lnTo>
                    <a:pt x="1657264" y="1954390"/>
                  </a:lnTo>
                  <a:lnTo>
                    <a:pt x="1635495" y="1968434"/>
                  </a:lnTo>
                  <a:lnTo>
                    <a:pt x="1613023" y="1981074"/>
                  </a:lnTo>
                  <a:lnTo>
                    <a:pt x="1590552" y="1994417"/>
                  </a:lnTo>
                  <a:lnTo>
                    <a:pt x="1567378" y="2007057"/>
                  </a:lnTo>
                  <a:lnTo>
                    <a:pt x="1544205" y="2018292"/>
                  </a:lnTo>
                  <a:lnTo>
                    <a:pt x="1520329" y="2029528"/>
                  </a:lnTo>
                  <a:lnTo>
                    <a:pt x="1496453" y="2040062"/>
                  </a:lnTo>
                  <a:lnTo>
                    <a:pt x="1471875" y="2049191"/>
                  </a:lnTo>
                  <a:lnTo>
                    <a:pt x="1447999" y="2059022"/>
                  </a:lnTo>
                  <a:lnTo>
                    <a:pt x="1422017" y="2067449"/>
                  </a:lnTo>
                  <a:lnTo>
                    <a:pt x="1397439" y="2075875"/>
                  </a:lnTo>
                  <a:lnTo>
                    <a:pt x="1372159" y="2082898"/>
                  </a:lnTo>
                  <a:lnTo>
                    <a:pt x="1346176" y="2090622"/>
                  </a:lnTo>
                  <a:lnTo>
                    <a:pt x="1320194" y="2096942"/>
                  </a:lnTo>
                  <a:lnTo>
                    <a:pt x="1294211" y="2102560"/>
                  </a:lnTo>
                  <a:lnTo>
                    <a:pt x="1267526" y="2108178"/>
                  </a:lnTo>
                  <a:lnTo>
                    <a:pt x="1240842" y="2111689"/>
                  </a:lnTo>
                  <a:lnTo>
                    <a:pt x="1214157" y="2115902"/>
                  </a:lnTo>
                  <a:lnTo>
                    <a:pt x="1187472" y="2119414"/>
                  </a:lnTo>
                  <a:lnTo>
                    <a:pt x="1159383" y="2121520"/>
                  </a:lnTo>
                  <a:lnTo>
                    <a:pt x="1132698" y="2122925"/>
                  </a:lnTo>
                  <a:lnTo>
                    <a:pt x="1104609" y="2124329"/>
                  </a:lnTo>
                  <a:lnTo>
                    <a:pt x="1077222" y="2124329"/>
                  </a:lnTo>
                  <a:lnTo>
                    <a:pt x="1049133" y="2124329"/>
                  </a:lnTo>
                  <a:lnTo>
                    <a:pt x="1021746" y="2122925"/>
                  </a:lnTo>
                  <a:lnTo>
                    <a:pt x="994359" y="2121520"/>
                  </a:lnTo>
                  <a:lnTo>
                    <a:pt x="966972" y="2119414"/>
                  </a:lnTo>
                  <a:lnTo>
                    <a:pt x="939585" y="2115902"/>
                  </a:lnTo>
                  <a:lnTo>
                    <a:pt x="912900" y="2111689"/>
                  </a:lnTo>
                  <a:lnTo>
                    <a:pt x="886215" y="2108178"/>
                  </a:lnTo>
                  <a:lnTo>
                    <a:pt x="860233" y="2102560"/>
                  </a:lnTo>
                  <a:lnTo>
                    <a:pt x="833548" y="2096942"/>
                  </a:lnTo>
                  <a:lnTo>
                    <a:pt x="807566" y="2090622"/>
                  </a:lnTo>
                  <a:lnTo>
                    <a:pt x="782285" y="2082898"/>
                  </a:lnTo>
                  <a:lnTo>
                    <a:pt x="757005" y="2075875"/>
                  </a:lnTo>
                  <a:lnTo>
                    <a:pt x="731022" y="2067449"/>
                  </a:lnTo>
                  <a:lnTo>
                    <a:pt x="706444" y="2059022"/>
                  </a:lnTo>
                  <a:lnTo>
                    <a:pt x="681866" y="2049191"/>
                  </a:lnTo>
                  <a:lnTo>
                    <a:pt x="657991" y="2040062"/>
                  </a:lnTo>
                  <a:lnTo>
                    <a:pt x="633412" y="2029528"/>
                  </a:lnTo>
                  <a:lnTo>
                    <a:pt x="610239" y="2018292"/>
                  </a:lnTo>
                  <a:lnTo>
                    <a:pt x="587065" y="2007057"/>
                  </a:lnTo>
                  <a:lnTo>
                    <a:pt x="563892" y="1994417"/>
                  </a:lnTo>
                  <a:lnTo>
                    <a:pt x="540718" y="1981074"/>
                  </a:lnTo>
                  <a:lnTo>
                    <a:pt x="518247" y="1968434"/>
                  </a:lnTo>
                  <a:lnTo>
                    <a:pt x="496478" y="1954390"/>
                  </a:lnTo>
                  <a:lnTo>
                    <a:pt x="474708" y="1940345"/>
                  </a:lnTo>
                  <a:lnTo>
                    <a:pt x="453642" y="1926300"/>
                  </a:lnTo>
                  <a:lnTo>
                    <a:pt x="432575" y="1910149"/>
                  </a:lnTo>
                  <a:lnTo>
                    <a:pt x="411508" y="1894700"/>
                  </a:lnTo>
                  <a:lnTo>
                    <a:pt x="391143" y="1877846"/>
                  </a:lnTo>
                  <a:lnTo>
                    <a:pt x="372183" y="1861695"/>
                  </a:lnTo>
                  <a:lnTo>
                    <a:pt x="352520" y="1844139"/>
                  </a:lnTo>
                  <a:lnTo>
                    <a:pt x="333560" y="1827286"/>
                  </a:lnTo>
                  <a:lnTo>
                    <a:pt x="315302" y="1809028"/>
                  </a:lnTo>
                  <a:lnTo>
                    <a:pt x="297044" y="1790770"/>
                  </a:lnTo>
                  <a:lnTo>
                    <a:pt x="278786" y="1771810"/>
                  </a:lnTo>
                  <a:lnTo>
                    <a:pt x="262635" y="1752147"/>
                  </a:lnTo>
                  <a:lnTo>
                    <a:pt x="245781" y="1731783"/>
                  </a:lnTo>
                  <a:lnTo>
                    <a:pt x="229630" y="1712120"/>
                  </a:lnTo>
                  <a:lnTo>
                    <a:pt x="214181" y="1691755"/>
                  </a:lnTo>
                  <a:lnTo>
                    <a:pt x="198030" y="1670689"/>
                  </a:lnTo>
                  <a:lnTo>
                    <a:pt x="183283" y="1649622"/>
                  </a:lnTo>
                  <a:lnTo>
                    <a:pt x="169238" y="1627853"/>
                  </a:lnTo>
                  <a:lnTo>
                    <a:pt x="155896" y="1605381"/>
                  </a:lnTo>
                  <a:lnTo>
                    <a:pt x="141851" y="1582910"/>
                  </a:lnTo>
                  <a:lnTo>
                    <a:pt x="129211" y="1560438"/>
                  </a:lnTo>
                  <a:lnTo>
                    <a:pt x="117273" y="1537265"/>
                  </a:lnTo>
                  <a:lnTo>
                    <a:pt x="106038" y="1514091"/>
                  </a:lnTo>
                  <a:lnTo>
                    <a:pt x="94802" y="1490215"/>
                  </a:lnTo>
                  <a:lnTo>
                    <a:pt x="84269" y="1466340"/>
                  </a:lnTo>
                  <a:lnTo>
                    <a:pt x="73735" y="1442464"/>
                  </a:lnTo>
                  <a:lnTo>
                    <a:pt x="65308" y="1417886"/>
                  </a:lnTo>
                  <a:lnTo>
                    <a:pt x="56179" y="1393308"/>
                  </a:lnTo>
                  <a:lnTo>
                    <a:pt x="47753" y="1367325"/>
                  </a:lnTo>
                  <a:lnTo>
                    <a:pt x="40028" y="1342045"/>
                  </a:lnTo>
                  <a:lnTo>
                    <a:pt x="33708" y="1316765"/>
                  </a:lnTo>
                  <a:lnTo>
                    <a:pt x="26686" y="1290080"/>
                  </a:lnTo>
                  <a:lnTo>
                    <a:pt x="21770" y="1264097"/>
                  </a:lnTo>
                  <a:lnTo>
                    <a:pt x="16152" y="1238115"/>
                  </a:lnTo>
                  <a:lnTo>
                    <a:pt x="11939" y="1210728"/>
                  </a:lnTo>
                  <a:lnTo>
                    <a:pt x="8428" y="1184043"/>
                  </a:lnTo>
                  <a:lnTo>
                    <a:pt x="4917" y="1157358"/>
                  </a:lnTo>
                  <a:lnTo>
                    <a:pt x="2810" y="1129971"/>
                  </a:lnTo>
                  <a:lnTo>
                    <a:pt x="703" y="1102584"/>
                  </a:lnTo>
                  <a:lnTo>
                    <a:pt x="1" y="1074495"/>
                  </a:lnTo>
                  <a:lnTo>
                    <a:pt x="1" y="1047108"/>
                  </a:lnTo>
                  <a:lnTo>
                    <a:pt x="0" y="1047108"/>
                  </a:lnTo>
                  <a:close/>
                </a:path>
              </a:pathLst>
            </a:custGeom>
            <a:solidFill>
              <a:srgbClr val="E0E0E0"/>
            </a:solidFill>
            <a:ln w="12700">
              <a:noFill/>
              <a:prstDash val="solid"/>
              <a:round/>
            </a:ln>
          </p:spPr>
          <p:txBody>
            <a:bodyPr vert="horz" wrap="square" lIns="360000" tIns="360000" rIns="360000" bIns="60960" anchor="t" anchorCtr="1" compatLnSpc="1">
              <a:normAutofit/>
            </a:bodyPr>
            <a:lstStyle/>
            <a:p>
              <a:pPr algn="ctr">
                <a:lnSpc>
                  <a:spcPct val="120000"/>
                </a:lnSpc>
                <a:defRPr/>
              </a:pPr>
              <a:endParaRPr lang="zh-CN" altLang="en-US" sz="900" dirty="0">
                <a:solidFill>
                  <a:schemeClr val="bg1">
                    <a:lumMod val="50000"/>
                  </a:schemeClr>
                </a:solidFill>
              </a:endParaRPr>
            </a:p>
          </p:txBody>
        </p:sp>
        <p:sp>
          <p:nvSpPr>
            <p:cNvPr id="9" name="Freeform: Shape 5"/>
            <p:cNvSpPr/>
            <p:nvPr/>
          </p:nvSpPr>
          <p:spPr bwMode="auto">
            <a:xfrm>
              <a:off x="1432460" y="2421853"/>
              <a:ext cx="2568803" cy="1254335"/>
            </a:xfrm>
            <a:custGeom>
              <a:avLst/>
              <a:gdLst>
                <a:gd name="T0" fmla="*/ 1624 w 3069"/>
                <a:gd name="T1" fmla="*/ 381 h 1534"/>
                <a:gd name="T2" fmla="*/ 1768 w 3069"/>
                <a:gd name="T3" fmla="*/ 400 h 1534"/>
                <a:gd name="T4" fmla="*/ 1906 w 3069"/>
                <a:gd name="T5" fmla="*/ 437 h 1534"/>
                <a:gd name="T6" fmla="*/ 2036 w 3069"/>
                <a:gd name="T7" fmla="*/ 490 h 1534"/>
                <a:gd name="T8" fmla="*/ 2159 w 3069"/>
                <a:gd name="T9" fmla="*/ 559 h 1534"/>
                <a:gd name="T10" fmla="*/ 2271 w 3069"/>
                <a:gd name="T11" fmla="*/ 641 h 1534"/>
                <a:gd name="T12" fmla="*/ 2372 w 3069"/>
                <a:gd name="T13" fmla="*/ 736 h 1534"/>
                <a:gd name="T14" fmla="*/ 2462 w 3069"/>
                <a:gd name="T15" fmla="*/ 841 h 1534"/>
                <a:gd name="T16" fmla="*/ 2538 w 3069"/>
                <a:gd name="T17" fmla="*/ 958 h 1534"/>
                <a:gd name="T18" fmla="*/ 2601 w 3069"/>
                <a:gd name="T19" fmla="*/ 1083 h 1534"/>
                <a:gd name="T20" fmla="*/ 2648 w 3069"/>
                <a:gd name="T21" fmla="*/ 1217 h 1534"/>
                <a:gd name="T22" fmla="*/ 2679 w 3069"/>
                <a:gd name="T23" fmla="*/ 1358 h 1534"/>
                <a:gd name="T24" fmla="*/ 2692 w 3069"/>
                <a:gd name="T25" fmla="*/ 1504 h 1534"/>
                <a:gd name="T26" fmla="*/ 3067 w 3069"/>
                <a:gd name="T27" fmla="*/ 1455 h 1534"/>
                <a:gd name="T28" fmla="*/ 3045 w 3069"/>
                <a:gd name="T29" fmla="*/ 1262 h 1534"/>
                <a:gd name="T30" fmla="*/ 3000 w 3069"/>
                <a:gd name="T31" fmla="*/ 1078 h 1534"/>
                <a:gd name="T32" fmla="*/ 2933 w 3069"/>
                <a:gd name="T33" fmla="*/ 903 h 1534"/>
                <a:gd name="T34" fmla="*/ 2846 w 3069"/>
                <a:gd name="T35" fmla="*/ 739 h 1534"/>
                <a:gd name="T36" fmla="*/ 2742 w 3069"/>
                <a:gd name="T37" fmla="*/ 587 h 1534"/>
                <a:gd name="T38" fmla="*/ 2619 w 3069"/>
                <a:gd name="T39" fmla="*/ 449 h 1534"/>
                <a:gd name="T40" fmla="*/ 2482 w 3069"/>
                <a:gd name="T41" fmla="*/ 327 h 1534"/>
                <a:gd name="T42" fmla="*/ 2330 w 3069"/>
                <a:gd name="T43" fmla="*/ 222 h 1534"/>
                <a:gd name="T44" fmla="*/ 2166 w 3069"/>
                <a:gd name="T45" fmla="*/ 135 h 1534"/>
                <a:gd name="T46" fmla="*/ 1990 w 3069"/>
                <a:gd name="T47" fmla="*/ 69 h 1534"/>
                <a:gd name="T48" fmla="*/ 1806 w 3069"/>
                <a:gd name="T49" fmla="*/ 23 h 1534"/>
                <a:gd name="T50" fmla="*/ 1614 w 3069"/>
                <a:gd name="T51" fmla="*/ 2 h 1534"/>
                <a:gd name="T52" fmla="*/ 1455 w 3069"/>
                <a:gd name="T53" fmla="*/ 2 h 1534"/>
                <a:gd name="T54" fmla="*/ 1263 w 3069"/>
                <a:gd name="T55" fmla="*/ 23 h 1534"/>
                <a:gd name="T56" fmla="*/ 1079 w 3069"/>
                <a:gd name="T57" fmla="*/ 69 h 1534"/>
                <a:gd name="T58" fmla="*/ 903 w 3069"/>
                <a:gd name="T59" fmla="*/ 135 h 1534"/>
                <a:gd name="T60" fmla="*/ 739 w 3069"/>
                <a:gd name="T61" fmla="*/ 222 h 1534"/>
                <a:gd name="T62" fmla="*/ 587 w 3069"/>
                <a:gd name="T63" fmla="*/ 327 h 1534"/>
                <a:gd name="T64" fmla="*/ 450 w 3069"/>
                <a:gd name="T65" fmla="*/ 449 h 1534"/>
                <a:gd name="T66" fmla="*/ 327 w 3069"/>
                <a:gd name="T67" fmla="*/ 587 h 1534"/>
                <a:gd name="T68" fmla="*/ 223 w 3069"/>
                <a:gd name="T69" fmla="*/ 739 h 1534"/>
                <a:gd name="T70" fmla="*/ 135 w 3069"/>
                <a:gd name="T71" fmla="*/ 903 h 1534"/>
                <a:gd name="T72" fmla="*/ 69 w 3069"/>
                <a:gd name="T73" fmla="*/ 1078 h 1534"/>
                <a:gd name="T74" fmla="*/ 25 w 3069"/>
                <a:gd name="T75" fmla="*/ 1262 h 1534"/>
                <a:gd name="T76" fmla="*/ 2 w 3069"/>
                <a:gd name="T77" fmla="*/ 1455 h 1534"/>
                <a:gd name="T78" fmla="*/ 377 w 3069"/>
                <a:gd name="T79" fmla="*/ 1504 h 1534"/>
                <a:gd name="T80" fmla="*/ 390 w 3069"/>
                <a:gd name="T81" fmla="*/ 1358 h 1534"/>
                <a:gd name="T82" fmla="*/ 421 w 3069"/>
                <a:gd name="T83" fmla="*/ 1217 h 1534"/>
                <a:gd name="T84" fmla="*/ 468 w 3069"/>
                <a:gd name="T85" fmla="*/ 1083 h 1534"/>
                <a:gd name="T86" fmla="*/ 531 w 3069"/>
                <a:gd name="T87" fmla="*/ 958 h 1534"/>
                <a:gd name="T88" fmla="*/ 608 w 3069"/>
                <a:gd name="T89" fmla="*/ 841 h 1534"/>
                <a:gd name="T90" fmla="*/ 697 w 3069"/>
                <a:gd name="T91" fmla="*/ 736 h 1534"/>
                <a:gd name="T92" fmla="*/ 798 w 3069"/>
                <a:gd name="T93" fmla="*/ 641 h 1534"/>
                <a:gd name="T94" fmla="*/ 910 w 3069"/>
                <a:gd name="T95" fmla="*/ 559 h 1534"/>
                <a:gd name="T96" fmla="*/ 1033 w 3069"/>
                <a:gd name="T97" fmla="*/ 490 h 1534"/>
                <a:gd name="T98" fmla="*/ 1163 w 3069"/>
                <a:gd name="T99" fmla="*/ 437 h 1534"/>
                <a:gd name="T100" fmla="*/ 1302 w 3069"/>
                <a:gd name="T101" fmla="*/ 400 h 1534"/>
                <a:gd name="T102" fmla="*/ 1446 w 3069"/>
                <a:gd name="T103" fmla="*/ 381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69" h="1534">
                  <a:moveTo>
                    <a:pt x="1534" y="376"/>
                  </a:moveTo>
                  <a:lnTo>
                    <a:pt x="1534" y="376"/>
                  </a:lnTo>
                  <a:lnTo>
                    <a:pt x="1564" y="377"/>
                  </a:lnTo>
                  <a:lnTo>
                    <a:pt x="1594" y="378"/>
                  </a:lnTo>
                  <a:lnTo>
                    <a:pt x="1624" y="381"/>
                  </a:lnTo>
                  <a:lnTo>
                    <a:pt x="1652" y="383"/>
                  </a:lnTo>
                  <a:lnTo>
                    <a:pt x="1682" y="386"/>
                  </a:lnTo>
                  <a:lnTo>
                    <a:pt x="1711" y="390"/>
                  </a:lnTo>
                  <a:lnTo>
                    <a:pt x="1740" y="394"/>
                  </a:lnTo>
                  <a:lnTo>
                    <a:pt x="1768" y="400"/>
                  </a:lnTo>
                  <a:lnTo>
                    <a:pt x="1796" y="406"/>
                  </a:lnTo>
                  <a:lnTo>
                    <a:pt x="1824" y="414"/>
                  </a:lnTo>
                  <a:lnTo>
                    <a:pt x="1852" y="421"/>
                  </a:lnTo>
                  <a:lnTo>
                    <a:pt x="1878" y="429"/>
                  </a:lnTo>
                  <a:lnTo>
                    <a:pt x="1906" y="437"/>
                  </a:lnTo>
                  <a:lnTo>
                    <a:pt x="1933" y="447"/>
                  </a:lnTo>
                  <a:lnTo>
                    <a:pt x="1958" y="457"/>
                  </a:lnTo>
                  <a:lnTo>
                    <a:pt x="1985" y="468"/>
                  </a:lnTo>
                  <a:lnTo>
                    <a:pt x="2011" y="479"/>
                  </a:lnTo>
                  <a:lnTo>
                    <a:pt x="2036" y="490"/>
                  </a:lnTo>
                  <a:lnTo>
                    <a:pt x="2062" y="503"/>
                  </a:lnTo>
                  <a:lnTo>
                    <a:pt x="2086" y="516"/>
                  </a:lnTo>
                  <a:lnTo>
                    <a:pt x="2111" y="530"/>
                  </a:lnTo>
                  <a:lnTo>
                    <a:pt x="2134" y="545"/>
                  </a:lnTo>
                  <a:lnTo>
                    <a:pt x="2159" y="559"/>
                  </a:lnTo>
                  <a:lnTo>
                    <a:pt x="2181" y="575"/>
                  </a:lnTo>
                  <a:lnTo>
                    <a:pt x="2205" y="591"/>
                  </a:lnTo>
                  <a:lnTo>
                    <a:pt x="2227" y="607"/>
                  </a:lnTo>
                  <a:lnTo>
                    <a:pt x="2249" y="624"/>
                  </a:lnTo>
                  <a:lnTo>
                    <a:pt x="2271" y="641"/>
                  </a:lnTo>
                  <a:lnTo>
                    <a:pt x="2292" y="659"/>
                  </a:lnTo>
                  <a:lnTo>
                    <a:pt x="2312" y="677"/>
                  </a:lnTo>
                  <a:lnTo>
                    <a:pt x="2333" y="696"/>
                  </a:lnTo>
                  <a:lnTo>
                    <a:pt x="2353" y="715"/>
                  </a:lnTo>
                  <a:lnTo>
                    <a:pt x="2372" y="736"/>
                  </a:lnTo>
                  <a:lnTo>
                    <a:pt x="2391" y="756"/>
                  </a:lnTo>
                  <a:lnTo>
                    <a:pt x="2409" y="777"/>
                  </a:lnTo>
                  <a:lnTo>
                    <a:pt x="2427" y="797"/>
                  </a:lnTo>
                  <a:lnTo>
                    <a:pt x="2445" y="820"/>
                  </a:lnTo>
                  <a:lnTo>
                    <a:pt x="2462" y="841"/>
                  </a:lnTo>
                  <a:lnTo>
                    <a:pt x="2479" y="865"/>
                  </a:lnTo>
                  <a:lnTo>
                    <a:pt x="2495" y="887"/>
                  </a:lnTo>
                  <a:lnTo>
                    <a:pt x="2510" y="910"/>
                  </a:lnTo>
                  <a:lnTo>
                    <a:pt x="2524" y="934"/>
                  </a:lnTo>
                  <a:lnTo>
                    <a:pt x="2538" y="958"/>
                  </a:lnTo>
                  <a:lnTo>
                    <a:pt x="2552" y="983"/>
                  </a:lnTo>
                  <a:lnTo>
                    <a:pt x="2565" y="1007"/>
                  </a:lnTo>
                  <a:lnTo>
                    <a:pt x="2578" y="1032"/>
                  </a:lnTo>
                  <a:lnTo>
                    <a:pt x="2589" y="1057"/>
                  </a:lnTo>
                  <a:lnTo>
                    <a:pt x="2601" y="1083"/>
                  </a:lnTo>
                  <a:lnTo>
                    <a:pt x="2612" y="1110"/>
                  </a:lnTo>
                  <a:lnTo>
                    <a:pt x="2621" y="1136"/>
                  </a:lnTo>
                  <a:lnTo>
                    <a:pt x="2631" y="1163"/>
                  </a:lnTo>
                  <a:lnTo>
                    <a:pt x="2640" y="1190"/>
                  </a:lnTo>
                  <a:lnTo>
                    <a:pt x="2648" y="1217"/>
                  </a:lnTo>
                  <a:lnTo>
                    <a:pt x="2656" y="1245"/>
                  </a:lnTo>
                  <a:lnTo>
                    <a:pt x="2662" y="1273"/>
                  </a:lnTo>
                  <a:lnTo>
                    <a:pt x="2668" y="1301"/>
                  </a:lnTo>
                  <a:lnTo>
                    <a:pt x="2674" y="1329"/>
                  </a:lnTo>
                  <a:lnTo>
                    <a:pt x="2679" y="1358"/>
                  </a:lnTo>
                  <a:lnTo>
                    <a:pt x="2682" y="1387"/>
                  </a:lnTo>
                  <a:lnTo>
                    <a:pt x="2685" y="1416"/>
                  </a:lnTo>
                  <a:lnTo>
                    <a:pt x="2689" y="1444"/>
                  </a:lnTo>
                  <a:lnTo>
                    <a:pt x="2691" y="1474"/>
                  </a:lnTo>
                  <a:lnTo>
                    <a:pt x="2692" y="1504"/>
                  </a:lnTo>
                  <a:lnTo>
                    <a:pt x="2692" y="1534"/>
                  </a:lnTo>
                  <a:lnTo>
                    <a:pt x="3069" y="1534"/>
                  </a:lnTo>
                  <a:lnTo>
                    <a:pt x="3069" y="1534"/>
                  </a:lnTo>
                  <a:lnTo>
                    <a:pt x="3068" y="1495"/>
                  </a:lnTo>
                  <a:lnTo>
                    <a:pt x="3067" y="1455"/>
                  </a:lnTo>
                  <a:lnTo>
                    <a:pt x="3064" y="1416"/>
                  </a:lnTo>
                  <a:lnTo>
                    <a:pt x="3061" y="1377"/>
                  </a:lnTo>
                  <a:lnTo>
                    <a:pt x="3056" y="1339"/>
                  </a:lnTo>
                  <a:lnTo>
                    <a:pt x="3051" y="1301"/>
                  </a:lnTo>
                  <a:lnTo>
                    <a:pt x="3045" y="1262"/>
                  </a:lnTo>
                  <a:lnTo>
                    <a:pt x="3037" y="1225"/>
                  </a:lnTo>
                  <a:lnTo>
                    <a:pt x="3030" y="1188"/>
                  </a:lnTo>
                  <a:lnTo>
                    <a:pt x="3020" y="1150"/>
                  </a:lnTo>
                  <a:lnTo>
                    <a:pt x="3011" y="1114"/>
                  </a:lnTo>
                  <a:lnTo>
                    <a:pt x="3000" y="1078"/>
                  </a:lnTo>
                  <a:lnTo>
                    <a:pt x="2988" y="1041"/>
                  </a:lnTo>
                  <a:lnTo>
                    <a:pt x="2975" y="1006"/>
                  </a:lnTo>
                  <a:lnTo>
                    <a:pt x="2963" y="971"/>
                  </a:lnTo>
                  <a:lnTo>
                    <a:pt x="2948" y="937"/>
                  </a:lnTo>
                  <a:lnTo>
                    <a:pt x="2933" y="903"/>
                  </a:lnTo>
                  <a:lnTo>
                    <a:pt x="2918" y="869"/>
                  </a:lnTo>
                  <a:lnTo>
                    <a:pt x="2901" y="836"/>
                  </a:lnTo>
                  <a:lnTo>
                    <a:pt x="2884" y="803"/>
                  </a:lnTo>
                  <a:lnTo>
                    <a:pt x="2866" y="771"/>
                  </a:lnTo>
                  <a:lnTo>
                    <a:pt x="2846" y="739"/>
                  </a:lnTo>
                  <a:lnTo>
                    <a:pt x="2827" y="707"/>
                  </a:lnTo>
                  <a:lnTo>
                    <a:pt x="2807" y="676"/>
                  </a:lnTo>
                  <a:lnTo>
                    <a:pt x="2786" y="646"/>
                  </a:lnTo>
                  <a:lnTo>
                    <a:pt x="2764" y="616"/>
                  </a:lnTo>
                  <a:lnTo>
                    <a:pt x="2742" y="587"/>
                  </a:lnTo>
                  <a:lnTo>
                    <a:pt x="2718" y="559"/>
                  </a:lnTo>
                  <a:lnTo>
                    <a:pt x="2695" y="530"/>
                  </a:lnTo>
                  <a:lnTo>
                    <a:pt x="2671" y="502"/>
                  </a:lnTo>
                  <a:lnTo>
                    <a:pt x="2645" y="475"/>
                  </a:lnTo>
                  <a:lnTo>
                    <a:pt x="2619" y="449"/>
                  </a:lnTo>
                  <a:lnTo>
                    <a:pt x="2593" y="423"/>
                  </a:lnTo>
                  <a:lnTo>
                    <a:pt x="2566" y="399"/>
                  </a:lnTo>
                  <a:lnTo>
                    <a:pt x="2538" y="374"/>
                  </a:lnTo>
                  <a:lnTo>
                    <a:pt x="2511" y="351"/>
                  </a:lnTo>
                  <a:lnTo>
                    <a:pt x="2482" y="327"/>
                  </a:lnTo>
                  <a:lnTo>
                    <a:pt x="2452" y="305"/>
                  </a:lnTo>
                  <a:lnTo>
                    <a:pt x="2423" y="282"/>
                  </a:lnTo>
                  <a:lnTo>
                    <a:pt x="2392" y="262"/>
                  </a:lnTo>
                  <a:lnTo>
                    <a:pt x="2361" y="242"/>
                  </a:lnTo>
                  <a:lnTo>
                    <a:pt x="2330" y="222"/>
                  </a:lnTo>
                  <a:lnTo>
                    <a:pt x="2298" y="204"/>
                  </a:lnTo>
                  <a:lnTo>
                    <a:pt x="2265" y="185"/>
                  </a:lnTo>
                  <a:lnTo>
                    <a:pt x="2233" y="167"/>
                  </a:lnTo>
                  <a:lnTo>
                    <a:pt x="2199" y="151"/>
                  </a:lnTo>
                  <a:lnTo>
                    <a:pt x="2166" y="135"/>
                  </a:lnTo>
                  <a:lnTo>
                    <a:pt x="2132" y="120"/>
                  </a:lnTo>
                  <a:lnTo>
                    <a:pt x="2097" y="107"/>
                  </a:lnTo>
                  <a:lnTo>
                    <a:pt x="2062" y="93"/>
                  </a:lnTo>
                  <a:lnTo>
                    <a:pt x="2027" y="81"/>
                  </a:lnTo>
                  <a:lnTo>
                    <a:pt x="1990" y="69"/>
                  </a:lnTo>
                  <a:lnTo>
                    <a:pt x="1954" y="59"/>
                  </a:lnTo>
                  <a:lnTo>
                    <a:pt x="1918" y="48"/>
                  </a:lnTo>
                  <a:lnTo>
                    <a:pt x="1881" y="39"/>
                  </a:lnTo>
                  <a:lnTo>
                    <a:pt x="1843" y="31"/>
                  </a:lnTo>
                  <a:lnTo>
                    <a:pt x="1806" y="23"/>
                  </a:lnTo>
                  <a:lnTo>
                    <a:pt x="1769" y="18"/>
                  </a:lnTo>
                  <a:lnTo>
                    <a:pt x="1730" y="12"/>
                  </a:lnTo>
                  <a:lnTo>
                    <a:pt x="1692" y="7"/>
                  </a:lnTo>
                  <a:lnTo>
                    <a:pt x="1652" y="4"/>
                  </a:lnTo>
                  <a:lnTo>
                    <a:pt x="1614" y="2"/>
                  </a:lnTo>
                  <a:lnTo>
                    <a:pt x="1575" y="0"/>
                  </a:lnTo>
                  <a:lnTo>
                    <a:pt x="1534" y="0"/>
                  </a:lnTo>
                  <a:lnTo>
                    <a:pt x="1534" y="0"/>
                  </a:lnTo>
                  <a:lnTo>
                    <a:pt x="1495" y="0"/>
                  </a:lnTo>
                  <a:lnTo>
                    <a:pt x="1455" y="2"/>
                  </a:lnTo>
                  <a:lnTo>
                    <a:pt x="1417" y="4"/>
                  </a:lnTo>
                  <a:lnTo>
                    <a:pt x="1377" y="7"/>
                  </a:lnTo>
                  <a:lnTo>
                    <a:pt x="1339" y="12"/>
                  </a:lnTo>
                  <a:lnTo>
                    <a:pt x="1301" y="18"/>
                  </a:lnTo>
                  <a:lnTo>
                    <a:pt x="1263" y="23"/>
                  </a:lnTo>
                  <a:lnTo>
                    <a:pt x="1225" y="31"/>
                  </a:lnTo>
                  <a:lnTo>
                    <a:pt x="1188" y="39"/>
                  </a:lnTo>
                  <a:lnTo>
                    <a:pt x="1151" y="48"/>
                  </a:lnTo>
                  <a:lnTo>
                    <a:pt x="1114" y="59"/>
                  </a:lnTo>
                  <a:lnTo>
                    <a:pt x="1079" y="69"/>
                  </a:lnTo>
                  <a:lnTo>
                    <a:pt x="1043" y="81"/>
                  </a:lnTo>
                  <a:lnTo>
                    <a:pt x="1007" y="93"/>
                  </a:lnTo>
                  <a:lnTo>
                    <a:pt x="972" y="107"/>
                  </a:lnTo>
                  <a:lnTo>
                    <a:pt x="937" y="120"/>
                  </a:lnTo>
                  <a:lnTo>
                    <a:pt x="903" y="135"/>
                  </a:lnTo>
                  <a:lnTo>
                    <a:pt x="870" y="151"/>
                  </a:lnTo>
                  <a:lnTo>
                    <a:pt x="836" y="167"/>
                  </a:lnTo>
                  <a:lnTo>
                    <a:pt x="803" y="185"/>
                  </a:lnTo>
                  <a:lnTo>
                    <a:pt x="771" y="204"/>
                  </a:lnTo>
                  <a:lnTo>
                    <a:pt x="739" y="222"/>
                  </a:lnTo>
                  <a:lnTo>
                    <a:pt x="708" y="242"/>
                  </a:lnTo>
                  <a:lnTo>
                    <a:pt x="677" y="262"/>
                  </a:lnTo>
                  <a:lnTo>
                    <a:pt x="646" y="282"/>
                  </a:lnTo>
                  <a:lnTo>
                    <a:pt x="616" y="305"/>
                  </a:lnTo>
                  <a:lnTo>
                    <a:pt x="587" y="327"/>
                  </a:lnTo>
                  <a:lnTo>
                    <a:pt x="559" y="351"/>
                  </a:lnTo>
                  <a:lnTo>
                    <a:pt x="531" y="374"/>
                  </a:lnTo>
                  <a:lnTo>
                    <a:pt x="503" y="399"/>
                  </a:lnTo>
                  <a:lnTo>
                    <a:pt x="477" y="423"/>
                  </a:lnTo>
                  <a:lnTo>
                    <a:pt x="450" y="449"/>
                  </a:lnTo>
                  <a:lnTo>
                    <a:pt x="424" y="475"/>
                  </a:lnTo>
                  <a:lnTo>
                    <a:pt x="399" y="502"/>
                  </a:lnTo>
                  <a:lnTo>
                    <a:pt x="374" y="530"/>
                  </a:lnTo>
                  <a:lnTo>
                    <a:pt x="351" y="559"/>
                  </a:lnTo>
                  <a:lnTo>
                    <a:pt x="327" y="587"/>
                  </a:lnTo>
                  <a:lnTo>
                    <a:pt x="305" y="616"/>
                  </a:lnTo>
                  <a:lnTo>
                    <a:pt x="284" y="646"/>
                  </a:lnTo>
                  <a:lnTo>
                    <a:pt x="262" y="676"/>
                  </a:lnTo>
                  <a:lnTo>
                    <a:pt x="242" y="707"/>
                  </a:lnTo>
                  <a:lnTo>
                    <a:pt x="223" y="739"/>
                  </a:lnTo>
                  <a:lnTo>
                    <a:pt x="204" y="771"/>
                  </a:lnTo>
                  <a:lnTo>
                    <a:pt x="185" y="803"/>
                  </a:lnTo>
                  <a:lnTo>
                    <a:pt x="168" y="836"/>
                  </a:lnTo>
                  <a:lnTo>
                    <a:pt x="151" y="869"/>
                  </a:lnTo>
                  <a:lnTo>
                    <a:pt x="135" y="903"/>
                  </a:lnTo>
                  <a:lnTo>
                    <a:pt x="120" y="937"/>
                  </a:lnTo>
                  <a:lnTo>
                    <a:pt x="107" y="971"/>
                  </a:lnTo>
                  <a:lnTo>
                    <a:pt x="94" y="1006"/>
                  </a:lnTo>
                  <a:lnTo>
                    <a:pt x="81" y="1041"/>
                  </a:lnTo>
                  <a:lnTo>
                    <a:pt x="69" y="1078"/>
                  </a:lnTo>
                  <a:lnTo>
                    <a:pt x="59" y="1114"/>
                  </a:lnTo>
                  <a:lnTo>
                    <a:pt x="49" y="1150"/>
                  </a:lnTo>
                  <a:lnTo>
                    <a:pt x="39" y="1188"/>
                  </a:lnTo>
                  <a:lnTo>
                    <a:pt x="32" y="1225"/>
                  </a:lnTo>
                  <a:lnTo>
                    <a:pt x="25" y="1262"/>
                  </a:lnTo>
                  <a:lnTo>
                    <a:pt x="18" y="1301"/>
                  </a:lnTo>
                  <a:lnTo>
                    <a:pt x="13" y="1339"/>
                  </a:lnTo>
                  <a:lnTo>
                    <a:pt x="9" y="1377"/>
                  </a:lnTo>
                  <a:lnTo>
                    <a:pt x="5" y="1416"/>
                  </a:lnTo>
                  <a:lnTo>
                    <a:pt x="2" y="1455"/>
                  </a:lnTo>
                  <a:lnTo>
                    <a:pt x="1" y="1495"/>
                  </a:lnTo>
                  <a:lnTo>
                    <a:pt x="0" y="1534"/>
                  </a:lnTo>
                  <a:lnTo>
                    <a:pt x="377" y="1534"/>
                  </a:lnTo>
                  <a:lnTo>
                    <a:pt x="377" y="1534"/>
                  </a:lnTo>
                  <a:lnTo>
                    <a:pt x="377" y="1504"/>
                  </a:lnTo>
                  <a:lnTo>
                    <a:pt x="378" y="1474"/>
                  </a:lnTo>
                  <a:lnTo>
                    <a:pt x="381" y="1444"/>
                  </a:lnTo>
                  <a:lnTo>
                    <a:pt x="383" y="1416"/>
                  </a:lnTo>
                  <a:lnTo>
                    <a:pt x="387" y="1387"/>
                  </a:lnTo>
                  <a:lnTo>
                    <a:pt x="390" y="1358"/>
                  </a:lnTo>
                  <a:lnTo>
                    <a:pt x="396" y="1329"/>
                  </a:lnTo>
                  <a:lnTo>
                    <a:pt x="401" y="1301"/>
                  </a:lnTo>
                  <a:lnTo>
                    <a:pt x="407" y="1273"/>
                  </a:lnTo>
                  <a:lnTo>
                    <a:pt x="414" y="1245"/>
                  </a:lnTo>
                  <a:lnTo>
                    <a:pt x="421" y="1217"/>
                  </a:lnTo>
                  <a:lnTo>
                    <a:pt x="430" y="1190"/>
                  </a:lnTo>
                  <a:lnTo>
                    <a:pt x="438" y="1163"/>
                  </a:lnTo>
                  <a:lnTo>
                    <a:pt x="448" y="1136"/>
                  </a:lnTo>
                  <a:lnTo>
                    <a:pt x="457" y="1110"/>
                  </a:lnTo>
                  <a:lnTo>
                    <a:pt x="468" y="1083"/>
                  </a:lnTo>
                  <a:lnTo>
                    <a:pt x="480" y="1057"/>
                  </a:lnTo>
                  <a:lnTo>
                    <a:pt x="491" y="1032"/>
                  </a:lnTo>
                  <a:lnTo>
                    <a:pt x="504" y="1007"/>
                  </a:lnTo>
                  <a:lnTo>
                    <a:pt x="517" y="983"/>
                  </a:lnTo>
                  <a:lnTo>
                    <a:pt x="531" y="958"/>
                  </a:lnTo>
                  <a:lnTo>
                    <a:pt x="545" y="934"/>
                  </a:lnTo>
                  <a:lnTo>
                    <a:pt x="560" y="910"/>
                  </a:lnTo>
                  <a:lnTo>
                    <a:pt x="575" y="887"/>
                  </a:lnTo>
                  <a:lnTo>
                    <a:pt x="591" y="865"/>
                  </a:lnTo>
                  <a:lnTo>
                    <a:pt x="608" y="841"/>
                  </a:lnTo>
                  <a:lnTo>
                    <a:pt x="624" y="820"/>
                  </a:lnTo>
                  <a:lnTo>
                    <a:pt x="642" y="797"/>
                  </a:lnTo>
                  <a:lnTo>
                    <a:pt x="660" y="777"/>
                  </a:lnTo>
                  <a:lnTo>
                    <a:pt x="678" y="756"/>
                  </a:lnTo>
                  <a:lnTo>
                    <a:pt x="697" y="736"/>
                  </a:lnTo>
                  <a:lnTo>
                    <a:pt x="716" y="715"/>
                  </a:lnTo>
                  <a:lnTo>
                    <a:pt x="736" y="696"/>
                  </a:lnTo>
                  <a:lnTo>
                    <a:pt x="757" y="677"/>
                  </a:lnTo>
                  <a:lnTo>
                    <a:pt x="777" y="659"/>
                  </a:lnTo>
                  <a:lnTo>
                    <a:pt x="798" y="641"/>
                  </a:lnTo>
                  <a:lnTo>
                    <a:pt x="820" y="624"/>
                  </a:lnTo>
                  <a:lnTo>
                    <a:pt x="842" y="607"/>
                  </a:lnTo>
                  <a:lnTo>
                    <a:pt x="865" y="591"/>
                  </a:lnTo>
                  <a:lnTo>
                    <a:pt x="887" y="575"/>
                  </a:lnTo>
                  <a:lnTo>
                    <a:pt x="910" y="559"/>
                  </a:lnTo>
                  <a:lnTo>
                    <a:pt x="935" y="545"/>
                  </a:lnTo>
                  <a:lnTo>
                    <a:pt x="958" y="530"/>
                  </a:lnTo>
                  <a:lnTo>
                    <a:pt x="983" y="516"/>
                  </a:lnTo>
                  <a:lnTo>
                    <a:pt x="1007" y="503"/>
                  </a:lnTo>
                  <a:lnTo>
                    <a:pt x="1033" y="490"/>
                  </a:lnTo>
                  <a:lnTo>
                    <a:pt x="1059" y="479"/>
                  </a:lnTo>
                  <a:lnTo>
                    <a:pt x="1084" y="468"/>
                  </a:lnTo>
                  <a:lnTo>
                    <a:pt x="1110" y="457"/>
                  </a:lnTo>
                  <a:lnTo>
                    <a:pt x="1136" y="447"/>
                  </a:lnTo>
                  <a:lnTo>
                    <a:pt x="1163" y="437"/>
                  </a:lnTo>
                  <a:lnTo>
                    <a:pt x="1191" y="429"/>
                  </a:lnTo>
                  <a:lnTo>
                    <a:pt x="1217" y="421"/>
                  </a:lnTo>
                  <a:lnTo>
                    <a:pt x="1245" y="414"/>
                  </a:lnTo>
                  <a:lnTo>
                    <a:pt x="1273" y="406"/>
                  </a:lnTo>
                  <a:lnTo>
                    <a:pt x="1302" y="400"/>
                  </a:lnTo>
                  <a:lnTo>
                    <a:pt x="1329" y="394"/>
                  </a:lnTo>
                  <a:lnTo>
                    <a:pt x="1358" y="390"/>
                  </a:lnTo>
                  <a:lnTo>
                    <a:pt x="1387" y="386"/>
                  </a:lnTo>
                  <a:lnTo>
                    <a:pt x="1416" y="383"/>
                  </a:lnTo>
                  <a:lnTo>
                    <a:pt x="1446" y="381"/>
                  </a:lnTo>
                  <a:lnTo>
                    <a:pt x="1475" y="378"/>
                  </a:lnTo>
                  <a:lnTo>
                    <a:pt x="1504" y="377"/>
                  </a:lnTo>
                  <a:lnTo>
                    <a:pt x="1534" y="376"/>
                  </a:lnTo>
                  <a:lnTo>
                    <a:pt x="1534" y="376"/>
                  </a:lnTo>
                  <a:close/>
                </a:path>
              </a:pathLst>
            </a:custGeom>
            <a:solidFill>
              <a:srgbClr val="FE5817"/>
            </a:solidFill>
            <a:ln>
              <a:noFill/>
            </a:ln>
          </p:spPr>
          <p:txBody>
            <a:bodyPr anchor="ctr"/>
            <a:lstStyle/>
            <a:p>
              <a:pPr algn="ctr"/>
              <a:endParaRPr sz="1100">
                <a:solidFill>
                  <a:schemeClr val="bg1">
                    <a:lumMod val="50000"/>
                  </a:schemeClr>
                </a:solidFill>
              </a:endParaRPr>
            </a:p>
          </p:txBody>
        </p:sp>
        <p:sp>
          <p:nvSpPr>
            <p:cNvPr id="10" name="Freeform: Shape 6"/>
            <p:cNvSpPr/>
            <p:nvPr/>
          </p:nvSpPr>
          <p:spPr bwMode="auto">
            <a:xfrm>
              <a:off x="8191579" y="3676188"/>
              <a:ext cx="2567966" cy="1254335"/>
            </a:xfrm>
            <a:custGeom>
              <a:avLst/>
              <a:gdLst>
                <a:gd name="T0" fmla="*/ 1444 w 3068"/>
                <a:gd name="T1" fmla="*/ 1153 h 1534"/>
                <a:gd name="T2" fmla="*/ 1300 w 3068"/>
                <a:gd name="T3" fmla="*/ 1134 h 1534"/>
                <a:gd name="T4" fmla="*/ 1163 w 3068"/>
                <a:gd name="T5" fmla="*/ 1097 h 1534"/>
                <a:gd name="T6" fmla="*/ 1032 w 3068"/>
                <a:gd name="T7" fmla="*/ 1044 h 1534"/>
                <a:gd name="T8" fmla="*/ 910 w 3068"/>
                <a:gd name="T9" fmla="*/ 975 h 1534"/>
                <a:gd name="T10" fmla="*/ 797 w 3068"/>
                <a:gd name="T11" fmla="*/ 893 h 1534"/>
                <a:gd name="T12" fmla="*/ 696 w 3068"/>
                <a:gd name="T13" fmla="*/ 798 h 1534"/>
                <a:gd name="T14" fmla="*/ 606 w 3068"/>
                <a:gd name="T15" fmla="*/ 693 h 1534"/>
                <a:gd name="T16" fmla="*/ 530 w 3068"/>
                <a:gd name="T17" fmla="*/ 576 h 1534"/>
                <a:gd name="T18" fmla="*/ 467 w 3068"/>
                <a:gd name="T19" fmla="*/ 451 h 1534"/>
                <a:gd name="T20" fmla="*/ 420 w 3068"/>
                <a:gd name="T21" fmla="*/ 317 h 1534"/>
                <a:gd name="T22" fmla="*/ 390 w 3068"/>
                <a:gd name="T23" fmla="*/ 176 h 1534"/>
                <a:gd name="T24" fmla="*/ 376 w 3068"/>
                <a:gd name="T25" fmla="*/ 30 h 1534"/>
                <a:gd name="T26" fmla="*/ 1 w 3068"/>
                <a:gd name="T27" fmla="*/ 79 h 1534"/>
                <a:gd name="T28" fmla="*/ 23 w 3068"/>
                <a:gd name="T29" fmla="*/ 272 h 1534"/>
                <a:gd name="T30" fmla="*/ 68 w 3068"/>
                <a:gd name="T31" fmla="*/ 456 h 1534"/>
                <a:gd name="T32" fmla="*/ 135 w 3068"/>
                <a:gd name="T33" fmla="*/ 631 h 1534"/>
                <a:gd name="T34" fmla="*/ 222 w 3068"/>
                <a:gd name="T35" fmla="*/ 795 h 1534"/>
                <a:gd name="T36" fmla="*/ 327 w 3068"/>
                <a:gd name="T37" fmla="*/ 947 h 1534"/>
                <a:gd name="T38" fmla="*/ 449 w 3068"/>
                <a:gd name="T39" fmla="*/ 1085 h 1534"/>
                <a:gd name="T40" fmla="*/ 586 w 3068"/>
                <a:gd name="T41" fmla="*/ 1207 h 1534"/>
                <a:gd name="T42" fmla="*/ 738 w 3068"/>
                <a:gd name="T43" fmla="*/ 1312 h 1534"/>
                <a:gd name="T44" fmla="*/ 902 w 3068"/>
                <a:gd name="T45" fmla="*/ 1399 h 1534"/>
                <a:gd name="T46" fmla="*/ 1078 w 3068"/>
                <a:gd name="T47" fmla="*/ 1465 h 1534"/>
                <a:gd name="T48" fmla="*/ 1262 w 3068"/>
                <a:gd name="T49" fmla="*/ 1511 h 1534"/>
                <a:gd name="T50" fmla="*/ 1455 w 3068"/>
                <a:gd name="T51" fmla="*/ 1532 h 1534"/>
                <a:gd name="T52" fmla="*/ 1613 w 3068"/>
                <a:gd name="T53" fmla="*/ 1532 h 1534"/>
                <a:gd name="T54" fmla="*/ 1805 w 3068"/>
                <a:gd name="T55" fmla="*/ 1511 h 1534"/>
                <a:gd name="T56" fmla="*/ 1990 w 3068"/>
                <a:gd name="T57" fmla="*/ 1465 h 1534"/>
                <a:gd name="T58" fmla="*/ 2165 w 3068"/>
                <a:gd name="T59" fmla="*/ 1399 h 1534"/>
                <a:gd name="T60" fmla="*/ 2329 w 3068"/>
                <a:gd name="T61" fmla="*/ 1312 h 1534"/>
                <a:gd name="T62" fmla="*/ 2481 w 3068"/>
                <a:gd name="T63" fmla="*/ 1207 h 1534"/>
                <a:gd name="T64" fmla="*/ 2618 w 3068"/>
                <a:gd name="T65" fmla="*/ 1085 h 1534"/>
                <a:gd name="T66" fmla="*/ 2741 w 3068"/>
                <a:gd name="T67" fmla="*/ 947 h 1534"/>
                <a:gd name="T68" fmla="*/ 2845 w 3068"/>
                <a:gd name="T69" fmla="*/ 795 h 1534"/>
                <a:gd name="T70" fmla="*/ 2933 w 3068"/>
                <a:gd name="T71" fmla="*/ 631 h 1534"/>
                <a:gd name="T72" fmla="*/ 2999 w 3068"/>
                <a:gd name="T73" fmla="*/ 456 h 1534"/>
                <a:gd name="T74" fmla="*/ 3043 w 3068"/>
                <a:gd name="T75" fmla="*/ 272 h 1534"/>
                <a:gd name="T76" fmla="*/ 3066 w 3068"/>
                <a:gd name="T77" fmla="*/ 79 h 1534"/>
                <a:gd name="T78" fmla="*/ 2691 w 3068"/>
                <a:gd name="T79" fmla="*/ 30 h 1534"/>
                <a:gd name="T80" fmla="*/ 2678 w 3068"/>
                <a:gd name="T81" fmla="*/ 176 h 1534"/>
                <a:gd name="T82" fmla="*/ 2647 w 3068"/>
                <a:gd name="T83" fmla="*/ 317 h 1534"/>
                <a:gd name="T84" fmla="*/ 2600 w 3068"/>
                <a:gd name="T85" fmla="*/ 451 h 1534"/>
                <a:gd name="T86" fmla="*/ 2537 w 3068"/>
                <a:gd name="T87" fmla="*/ 576 h 1534"/>
                <a:gd name="T88" fmla="*/ 2461 w 3068"/>
                <a:gd name="T89" fmla="*/ 693 h 1534"/>
                <a:gd name="T90" fmla="*/ 2372 w 3068"/>
                <a:gd name="T91" fmla="*/ 798 h 1534"/>
                <a:gd name="T92" fmla="*/ 2270 w 3068"/>
                <a:gd name="T93" fmla="*/ 893 h 1534"/>
                <a:gd name="T94" fmla="*/ 2158 w 3068"/>
                <a:gd name="T95" fmla="*/ 975 h 1534"/>
                <a:gd name="T96" fmla="*/ 2035 w 3068"/>
                <a:gd name="T97" fmla="*/ 1044 h 1534"/>
                <a:gd name="T98" fmla="*/ 1905 w 3068"/>
                <a:gd name="T99" fmla="*/ 1097 h 1534"/>
                <a:gd name="T100" fmla="*/ 1766 w 3068"/>
                <a:gd name="T101" fmla="*/ 1134 h 1534"/>
                <a:gd name="T102" fmla="*/ 1622 w 3068"/>
                <a:gd name="T103" fmla="*/ 1153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68" h="1534">
                  <a:moveTo>
                    <a:pt x="1534" y="1158"/>
                  </a:moveTo>
                  <a:lnTo>
                    <a:pt x="1534" y="1158"/>
                  </a:lnTo>
                  <a:lnTo>
                    <a:pt x="1504" y="1157"/>
                  </a:lnTo>
                  <a:lnTo>
                    <a:pt x="1474" y="1156"/>
                  </a:lnTo>
                  <a:lnTo>
                    <a:pt x="1444" y="1153"/>
                  </a:lnTo>
                  <a:lnTo>
                    <a:pt x="1416" y="1151"/>
                  </a:lnTo>
                  <a:lnTo>
                    <a:pt x="1386" y="1148"/>
                  </a:lnTo>
                  <a:lnTo>
                    <a:pt x="1357" y="1144"/>
                  </a:lnTo>
                  <a:lnTo>
                    <a:pt x="1329" y="1140"/>
                  </a:lnTo>
                  <a:lnTo>
                    <a:pt x="1300" y="1134"/>
                  </a:lnTo>
                  <a:lnTo>
                    <a:pt x="1273" y="1128"/>
                  </a:lnTo>
                  <a:lnTo>
                    <a:pt x="1244" y="1120"/>
                  </a:lnTo>
                  <a:lnTo>
                    <a:pt x="1217" y="1113"/>
                  </a:lnTo>
                  <a:lnTo>
                    <a:pt x="1190" y="1105"/>
                  </a:lnTo>
                  <a:lnTo>
                    <a:pt x="1163" y="1097"/>
                  </a:lnTo>
                  <a:lnTo>
                    <a:pt x="1135" y="1087"/>
                  </a:lnTo>
                  <a:lnTo>
                    <a:pt x="1110" y="1077"/>
                  </a:lnTo>
                  <a:lnTo>
                    <a:pt x="1083" y="1066"/>
                  </a:lnTo>
                  <a:lnTo>
                    <a:pt x="1057" y="1055"/>
                  </a:lnTo>
                  <a:lnTo>
                    <a:pt x="1032" y="1044"/>
                  </a:lnTo>
                  <a:lnTo>
                    <a:pt x="1006" y="1031"/>
                  </a:lnTo>
                  <a:lnTo>
                    <a:pt x="982" y="1018"/>
                  </a:lnTo>
                  <a:lnTo>
                    <a:pt x="957" y="1004"/>
                  </a:lnTo>
                  <a:lnTo>
                    <a:pt x="934" y="989"/>
                  </a:lnTo>
                  <a:lnTo>
                    <a:pt x="910" y="975"/>
                  </a:lnTo>
                  <a:lnTo>
                    <a:pt x="887" y="959"/>
                  </a:lnTo>
                  <a:lnTo>
                    <a:pt x="863" y="943"/>
                  </a:lnTo>
                  <a:lnTo>
                    <a:pt x="841" y="927"/>
                  </a:lnTo>
                  <a:lnTo>
                    <a:pt x="819" y="910"/>
                  </a:lnTo>
                  <a:lnTo>
                    <a:pt x="797" y="893"/>
                  </a:lnTo>
                  <a:lnTo>
                    <a:pt x="776" y="875"/>
                  </a:lnTo>
                  <a:lnTo>
                    <a:pt x="756" y="857"/>
                  </a:lnTo>
                  <a:lnTo>
                    <a:pt x="735" y="838"/>
                  </a:lnTo>
                  <a:lnTo>
                    <a:pt x="715" y="819"/>
                  </a:lnTo>
                  <a:lnTo>
                    <a:pt x="696" y="798"/>
                  </a:lnTo>
                  <a:lnTo>
                    <a:pt x="677" y="778"/>
                  </a:lnTo>
                  <a:lnTo>
                    <a:pt x="659" y="757"/>
                  </a:lnTo>
                  <a:lnTo>
                    <a:pt x="641" y="737"/>
                  </a:lnTo>
                  <a:lnTo>
                    <a:pt x="623" y="714"/>
                  </a:lnTo>
                  <a:lnTo>
                    <a:pt x="606" y="693"/>
                  </a:lnTo>
                  <a:lnTo>
                    <a:pt x="589" y="669"/>
                  </a:lnTo>
                  <a:lnTo>
                    <a:pt x="574" y="647"/>
                  </a:lnTo>
                  <a:lnTo>
                    <a:pt x="558" y="624"/>
                  </a:lnTo>
                  <a:lnTo>
                    <a:pt x="544" y="600"/>
                  </a:lnTo>
                  <a:lnTo>
                    <a:pt x="530" y="576"/>
                  </a:lnTo>
                  <a:lnTo>
                    <a:pt x="516" y="551"/>
                  </a:lnTo>
                  <a:lnTo>
                    <a:pt x="503" y="527"/>
                  </a:lnTo>
                  <a:lnTo>
                    <a:pt x="490" y="502"/>
                  </a:lnTo>
                  <a:lnTo>
                    <a:pt x="479" y="477"/>
                  </a:lnTo>
                  <a:lnTo>
                    <a:pt x="467" y="451"/>
                  </a:lnTo>
                  <a:lnTo>
                    <a:pt x="456" y="424"/>
                  </a:lnTo>
                  <a:lnTo>
                    <a:pt x="447" y="398"/>
                  </a:lnTo>
                  <a:lnTo>
                    <a:pt x="437" y="371"/>
                  </a:lnTo>
                  <a:lnTo>
                    <a:pt x="428" y="344"/>
                  </a:lnTo>
                  <a:lnTo>
                    <a:pt x="420" y="317"/>
                  </a:lnTo>
                  <a:lnTo>
                    <a:pt x="412" y="289"/>
                  </a:lnTo>
                  <a:lnTo>
                    <a:pt x="406" y="261"/>
                  </a:lnTo>
                  <a:lnTo>
                    <a:pt x="400" y="233"/>
                  </a:lnTo>
                  <a:lnTo>
                    <a:pt x="394" y="205"/>
                  </a:lnTo>
                  <a:lnTo>
                    <a:pt x="390" y="176"/>
                  </a:lnTo>
                  <a:lnTo>
                    <a:pt x="386" y="147"/>
                  </a:lnTo>
                  <a:lnTo>
                    <a:pt x="383" y="118"/>
                  </a:lnTo>
                  <a:lnTo>
                    <a:pt x="379" y="90"/>
                  </a:lnTo>
                  <a:lnTo>
                    <a:pt x="378" y="60"/>
                  </a:lnTo>
                  <a:lnTo>
                    <a:pt x="376" y="30"/>
                  </a:lnTo>
                  <a:lnTo>
                    <a:pt x="376" y="0"/>
                  </a:lnTo>
                  <a:lnTo>
                    <a:pt x="0" y="0"/>
                  </a:lnTo>
                  <a:lnTo>
                    <a:pt x="0" y="0"/>
                  </a:lnTo>
                  <a:lnTo>
                    <a:pt x="0" y="39"/>
                  </a:lnTo>
                  <a:lnTo>
                    <a:pt x="1" y="79"/>
                  </a:lnTo>
                  <a:lnTo>
                    <a:pt x="4" y="118"/>
                  </a:lnTo>
                  <a:lnTo>
                    <a:pt x="7" y="157"/>
                  </a:lnTo>
                  <a:lnTo>
                    <a:pt x="12" y="195"/>
                  </a:lnTo>
                  <a:lnTo>
                    <a:pt x="17" y="233"/>
                  </a:lnTo>
                  <a:lnTo>
                    <a:pt x="23" y="272"/>
                  </a:lnTo>
                  <a:lnTo>
                    <a:pt x="31" y="309"/>
                  </a:lnTo>
                  <a:lnTo>
                    <a:pt x="38" y="346"/>
                  </a:lnTo>
                  <a:lnTo>
                    <a:pt x="48" y="384"/>
                  </a:lnTo>
                  <a:lnTo>
                    <a:pt x="57" y="420"/>
                  </a:lnTo>
                  <a:lnTo>
                    <a:pt x="68" y="456"/>
                  </a:lnTo>
                  <a:lnTo>
                    <a:pt x="80" y="493"/>
                  </a:lnTo>
                  <a:lnTo>
                    <a:pt x="93" y="528"/>
                  </a:lnTo>
                  <a:lnTo>
                    <a:pt x="105" y="563"/>
                  </a:lnTo>
                  <a:lnTo>
                    <a:pt x="120" y="597"/>
                  </a:lnTo>
                  <a:lnTo>
                    <a:pt x="135" y="631"/>
                  </a:lnTo>
                  <a:lnTo>
                    <a:pt x="151" y="665"/>
                  </a:lnTo>
                  <a:lnTo>
                    <a:pt x="167" y="698"/>
                  </a:lnTo>
                  <a:lnTo>
                    <a:pt x="184" y="731"/>
                  </a:lnTo>
                  <a:lnTo>
                    <a:pt x="202" y="763"/>
                  </a:lnTo>
                  <a:lnTo>
                    <a:pt x="222" y="795"/>
                  </a:lnTo>
                  <a:lnTo>
                    <a:pt x="241" y="827"/>
                  </a:lnTo>
                  <a:lnTo>
                    <a:pt x="261" y="858"/>
                  </a:lnTo>
                  <a:lnTo>
                    <a:pt x="282" y="888"/>
                  </a:lnTo>
                  <a:lnTo>
                    <a:pt x="305" y="918"/>
                  </a:lnTo>
                  <a:lnTo>
                    <a:pt x="327" y="947"/>
                  </a:lnTo>
                  <a:lnTo>
                    <a:pt x="350" y="975"/>
                  </a:lnTo>
                  <a:lnTo>
                    <a:pt x="374" y="1004"/>
                  </a:lnTo>
                  <a:lnTo>
                    <a:pt x="397" y="1032"/>
                  </a:lnTo>
                  <a:lnTo>
                    <a:pt x="423" y="1059"/>
                  </a:lnTo>
                  <a:lnTo>
                    <a:pt x="449" y="1085"/>
                  </a:lnTo>
                  <a:lnTo>
                    <a:pt x="475" y="1111"/>
                  </a:lnTo>
                  <a:lnTo>
                    <a:pt x="502" y="1135"/>
                  </a:lnTo>
                  <a:lnTo>
                    <a:pt x="530" y="1160"/>
                  </a:lnTo>
                  <a:lnTo>
                    <a:pt x="557" y="1183"/>
                  </a:lnTo>
                  <a:lnTo>
                    <a:pt x="586" y="1207"/>
                  </a:lnTo>
                  <a:lnTo>
                    <a:pt x="616" y="1229"/>
                  </a:lnTo>
                  <a:lnTo>
                    <a:pt x="646" y="1252"/>
                  </a:lnTo>
                  <a:lnTo>
                    <a:pt x="676" y="1272"/>
                  </a:lnTo>
                  <a:lnTo>
                    <a:pt x="707" y="1292"/>
                  </a:lnTo>
                  <a:lnTo>
                    <a:pt x="738" y="1312"/>
                  </a:lnTo>
                  <a:lnTo>
                    <a:pt x="770" y="1330"/>
                  </a:lnTo>
                  <a:lnTo>
                    <a:pt x="803" y="1349"/>
                  </a:lnTo>
                  <a:lnTo>
                    <a:pt x="836" y="1367"/>
                  </a:lnTo>
                  <a:lnTo>
                    <a:pt x="869" y="1383"/>
                  </a:lnTo>
                  <a:lnTo>
                    <a:pt x="902" y="1399"/>
                  </a:lnTo>
                  <a:lnTo>
                    <a:pt x="937" y="1414"/>
                  </a:lnTo>
                  <a:lnTo>
                    <a:pt x="971" y="1427"/>
                  </a:lnTo>
                  <a:lnTo>
                    <a:pt x="1006" y="1441"/>
                  </a:lnTo>
                  <a:lnTo>
                    <a:pt x="1041" y="1453"/>
                  </a:lnTo>
                  <a:lnTo>
                    <a:pt x="1078" y="1465"/>
                  </a:lnTo>
                  <a:lnTo>
                    <a:pt x="1114" y="1475"/>
                  </a:lnTo>
                  <a:lnTo>
                    <a:pt x="1150" y="1486"/>
                  </a:lnTo>
                  <a:lnTo>
                    <a:pt x="1187" y="1495"/>
                  </a:lnTo>
                  <a:lnTo>
                    <a:pt x="1225" y="1503"/>
                  </a:lnTo>
                  <a:lnTo>
                    <a:pt x="1262" y="1511"/>
                  </a:lnTo>
                  <a:lnTo>
                    <a:pt x="1300" y="1516"/>
                  </a:lnTo>
                  <a:lnTo>
                    <a:pt x="1338" y="1522"/>
                  </a:lnTo>
                  <a:lnTo>
                    <a:pt x="1377" y="1527"/>
                  </a:lnTo>
                  <a:lnTo>
                    <a:pt x="1416" y="1530"/>
                  </a:lnTo>
                  <a:lnTo>
                    <a:pt x="1455" y="1532"/>
                  </a:lnTo>
                  <a:lnTo>
                    <a:pt x="1494" y="1534"/>
                  </a:lnTo>
                  <a:lnTo>
                    <a:pt x="1534" y="1534"/>
                  </a:lnTo>
                  <a:lnTo>
                    <a:pt x="1534" y="1534"/>
                  </a:lnTo>
                  <a:lnTo>
                    <a:pt x="1573" y="1534"/>
                  </a:lnTo>
                  <a:lnTo>
                    <a:pt x="1613" y="1532"/>
                  </a:lnTo>
                  <a:lnTo>
                    <a:pt x="1651" y="1530"/>
                  </a:lnTo>
                  <a:lnTo>
                    <a:pt x="1691" y="1527"/>
                  </a:lnTo>
                  <a:lnTo>
                    <a:pt x="1729" y="1522"/>
                  </a:lnTo>
                  <a:lnTo>
                    <a:pt x="1767" y="1516"/>
                  </a:lnTo>
                  <a:lnTo>
                    <a:pt x="1805" y="1511"/>
                  </a:lnTo>
                  <a:lnTo>
                    <a:pt x="1843" y="1503"/>
                  </a:lnTo>
                  <a:lnTo>
                    <a:pt x="1880" y="1495"/>
                  </a:lnTo>
                  <a:lnTo>
                    <a:pt x="1917" y="1486"/>
                  </a:lnTo>
                  <a:lnTo>
                    <a:pt x="1954" y="1475"/>
                  </a:lnTo>
                  <a:lnTo>
                    <a:pt x="1990" y="1465"/>
                  </a:lnTo>
                  <a:lnTo>
                    <a:pt x="2025" y="1453"/>
                  </a:lnTo>
                  <a:lnTo>
                    <a:pt x="2062" y="1441"/>
                  </a:lnTo>
                  <a:lnTo>
                    <a:pt x="2096" y="1427"/>
                  </a:lnTo>
                  <a:lnTo>
                    <a:pt x="2131" y="1414"/>
                  </a:lnTo>
                  <a:lnTo>
                    <a:pt x="2165" y="1399"/>
                  </a:lnTo>
                  <a:lnTo>
                    <a:pt x="2199" y="1383"/>
                  </a:lnTo>
                  <a:lnTo>
                    <a:pt x="2232" y="1367"/>
                  </a:lnTo>
                  <a:lnTo>
                    <a:pt x="2265" y="1349"/>
                  </a:lnTo>
                  <a:lnTo>
                    <a:pt x="2297" y="1330"/>
                  </a:lnTo>
                  <a:lnTo>
                    <a:pt x="2329" y="1312"/>
                  </a:lnTo>
                  <a:lnTo>
                    <a:pt x="2360" y="1292"/>
                  </a:lnTo>
                  <a:lnTo>
                    <a:pt x="2391" y="1272"/>
                  </a:lnTo>
                  <a:lnTo>
                    <a:pt x="2422" y="1252"/>
                  </a:lnTo>
                  <a:lnTo>
                    <a:pt x="2452" y="1229"/>
                  </a:lnTo>
                  <a:lnTo>
                    <a:pt x="2481" y="1207"/>
                  </a:lnTo>
                  <a:lnTo>
                    <a:pt x="2509" y="1183"/>
                  </a:lnTo>
                  <a:lnTo>
                    <a:pt x="2537" y="1160"/>
                  </a:lnTo>
                  <a:lnTo>
                    <a:pt x="2565" y="1135"/>
                  </a:lnTo>
                  <a:lnTo>
                    <a:pt x="2593" y="1111"/>
                  </a:lnTo>
                  <a:lnTo>
                    <a:pt x="2618" y="1085"/>
                  </a:lnTo>
                  <a:lnTo>
                    <a:pt x="2644" y="1059"/>
                  </a:lnTo>
                  <a:lnTo>
                    <a:pt x="2669" y="1032"/>
                  </a:lnTo>
                  <a:lnTo>
                    <a:pt x="2694" y="1004"/>
                  </a:lnTo>
                  <a:lnTo>
                    <a:pt x="2717" y="975"/>
                  </a:lnTo>
                  <a:lnTo>
                    <a:pt x="2741" y="947"/>
                  </a:lnTo>
                  <a:lnTo>
                    <a:pt x="2763" y="918"/>
                  </a:lnTo>
                  <a:lnTo>
                    <a:pt x="2784" y="888"/>
                  </a:lnTo>
                  <a:lnTo>
                    <a:pt x="2806" y="858"/>
                  </a:lnTo>
                  <a:lnTo>
                    <a:pt x="2826" y="827"/>
                  </a:lnTo>
                  <a:lnTo>
                    <a:pt x="2845" y="795"/>
                  </a:lnTo>
                  <a:lnTo>
                    <a:pt x="2864" y="763"/>
                  </a:lnTo>
                  <a:lnTo>
                    <a:pt x="2883" y="731"/>
                  </a:lnTo>
                  <a:lnTo>
                    <a:pt x="2900" y="698"/>
                  </a:lnTo>
                  <a:lnTo>
                    <a:pt x="2917" y="665"/>
                  </a:lnTo>
                  <a:lnTo>
                    <a:pt x="2933" y="631"/>
                  </a:lnTo>
                  <a:lnTo>
                    <a:pt x="2948" y="597"/>
                  </a:lnTo>
                  <a:lnTo>
                    <a:pt x="2961" y="563"/>
                  </a:lnTo>
                  <a:lnTo>
                    <a:pt x="2974" y="528"/>
                  </a:lnTo>
                  <a:lnTo>
                    <a:pt x="2987" y="493"/>
                  </a:lnTo>
                  <a:lnTo>
                    <a:pt x="2999" y="456"/>
                  </a:lnTo>
                  <a:lnTo>
                    <a:pt x="3009" y="420"/>
                  </a:lnTo>
                  <a:lnTo>
                    <a:pt x="3019" y="384"/>
                  </a:lnTo>
                  <a:lnTo>
                    <a:pt x="3029" y="346"/>
                  </a:lnTo>
                  <a:lnTo>
                    <a:pt x="3037" y="309"/>
                  </a:lnTo>
                  <a:lnTo>
                    <a:pt x="3043" y="272"/>
                  </a:lnTo>
                  <a:lnTo>
                    <a:pt x="3050" y="233"/>
                  </a:lnTo>
                  <a:lnTo>
                    <a:pt x="3055" y="195"/>
                  </a:lnTo>
                  <a:lnTo>
                    <a:pt x="3059" y="157"/>
                  </a:lnTo>
                  <a:lnTo>
                    <a:pt x="3064" y="118"/>
                  </a:lnTo>
                  <a:lnTo>
                    <a:pt x="3066" y="79"/>
                  </a:lnTo>
                  <a:lnTo>
                    <a:pt x="3067" y="39"/>
                  </a:lnTo>
                  <a:lnTo>
                    <a:pt x="3068" y="0"/>
                  </a:lnTo>
                  <a:lnTo>
                    <a:pt x="2691" y="0"/>
                  </a:lnTo>
                  <a:lnTo>
                    <a:pt x="2691" y="0"/>
                  </a:lnTo>
                  <a:lnTo>
                    <a:pt x="2691" y="30"/>
                  </a:lnTo>
                  <a:lnTo>
                    <a:pt x="2690" y="60"/>
                  </a:lnTo>
                  <a:lnTo>
                    <a:pt x="2687" y="90"/>
                  </a:lnTo>
                  <a:lnTo>
                    <a:pt x="2685" y="118"/>
                  </a:lnTo>
                  <a:lnTo>
                    <a:pt x="2682" y="147"/>
                  </a:lnTo>
                  <a:lnTo>
                    <a:pt x="2678" y="176"/>
                  </a:lnTo>
                  <a:lnTo>
                    <a:pt x="2672" y="205"/>
                  </a:lnTo>
                  <a:lnTo>
                    <a:pt x="2667" y="233"/>
                  </a:lnTo>
                  <a:lnTo>
                    <a:pt x="2661" y="261"/>
                  </a:lnTo>
                  <a:lnTo>
                    <a:pt x="2654" y="289"/>
                  </a:lnTo>
                  <a:lnTo>
                    <a:pt x="2647" y="317"/>
                  </a:lnTo>
                  <a:lnTo>
                    <a:pt x="2638" y="344"/>
                  </a:lnTo>
                  <a:lnTo>
                    <a:pt x="2630" y="371"/>
                  </a:lnTo>
                  <a:lnTo>
                    <a:pt x="2620" y="398"/>
                  </a:lnTo>
                  <a:lnTo>
                    <a:pt x="2611" y="424"/>
                  </a:lnTo>
                  <a:lnTo>
                    <a:pt x="2600" y="451"/>
                  </a:lnTo>
                  <a:lnTo>
                    <a:pt x="2588" y="477"/>
                  </a:lnTo>
                  <a:lnTo>
                    <a:pt x="2577" y="502"/>
                  </a:lnTo>
                  <a:lnTo>
                    <a:pt x="2565" y="527"/>
                  </a:lnTo>
                  <a:lnTo>
                    <a:pt x="2551" y="551"/>
                  </a:lnTo>
                  <a:lnTo>
                    <a:pt x="2537" y="576"/>
                  </a:lnTo>
                  <a:lnTo>
                    <a:pt x="2523" y="600"/>
                  </a:lnTo>
                  <a:lnTo>
                    <a:pt x="2508" y="624"/>
                  </a:lnTo>
                  <a:lnTo>
                    <a:pt x="2493" y="647"/>
                  </a:lnTo>
                  <a:lnTo>
                    <a:pt x="2477" y="669"/>
                  </a:lnTo>
                  <a:lnTo>
                    <a:pt x="2461" y="693"/>
                  </a:lnTo>
                  <a:lnTo>
                    <a:pt x="2444" y="714"/>
                  </a:lnTo>
                  <a:lnTo>
                    <a:pt x="2426" y="737"/>
                  </a:lnTo>
                  <a:lnTo>
                    <a:pt x="2409" y="757"/>
                  </a:lnTo>
                  <a:lnTo>
                    <a:pt x="2390" y="778"/>
                  </a:lnTo>
                  <a:lnTo>
                    <a:pt x="2372" y="798"/>
                  </a:lnTo>
                  <a:lnTo>
                    <a:pt x="2352" y="819"/>
                  </a:lnTo>
                  <a:lnTo>
                    <a:pt x="2332" y="838"/>
                  </a:lnTo>
                  <a:lnTo>
                    <a:pt x="2312" y="857"/>
                  </a:lnTo>
                  <a:lnTo>
                    <a:pt x="2291" y="875"/>
                  </a:lnTo>
                  <a:lnTo>
                    <a:pt x="2270" y="893"/>
                  </a:lnTo>
                  <a:lnTo>
                    <a:pt x="2248" y="910"/>
                  </a:lnTo>
                  <a:lnTo>
                    <a:pt x="2226" y="927"/>
                  </a:lnTo>
                  <a:lnTo>
                    <a:pt x="2203" y="943"/>
                  </a:lnTo>
                  <a:lnTo>
                    <a:pt x="2181" y="959"/>
                  </a:lnTo>
                  <a:lnTo>
                    <a:pt x="2158" y="975"/>
                  </a:lnTo>
                  <a:lnTo>
                    <a:pt x="2134" y="989"/>
                  </a:lnTo>
                  <a:lnTo>
                    <a:pt x="2110" y="1004"/>
                  </a:lnTo>
                  <a:lnTo>
                    <a:pt x="2085" y="1018"/>
                  </a:lnTo>
                  <a:lnTo>
                    <a:pt x="2061" y="1031"/>
                  </a:lnTo>
                  <a:lnTo>
                    <a:pt x="2035" y="1044"/>
                  </a:lnTo>
                  <a:lnTo>
                    <a:pt x="2009" y="1055"/>
                  </a:lnTo>
                  <a:lnTo>
                    <a:pt x="1984" y="1066"/>
                  </a:lnTo>
                  <a:lnTo>
                    <a:pt x="1958" y="1077"/>
                  </a:lnTo>
                  <a:lnTo>
                    <a:pt x="1932" y="1087"/>
                  </a:lnTo>
                  <a:lnTo>
                    <a:pt x="1905" y="1097"/>
                  </a:lnTo>
                  <a:lnTo>
                    <a:pt x="1878" y="1105"/>
                  </a:lnTo>
                  <a:lnTo>
                    <a:pt x="1851" y="1113"/>
                  </a:lnTo>
                  <a:lnTo>
                    <a:pt x="1823" y="1120"/>
                  </a:lnTo>
                  <a:lnTo>
                    <a:pt x="1795" y="1128"/>
                  </a:lnTo>
                  <a:lnTo>
                    <a:pt x="1766" y="1134"/>
                  </a:lnTo>
                  <a:lnTo>
                    <a:pt x="1739" y="1140"/>
                  </a:lnTo>
                  <a:lnTo>
                    <a:pt x="1710" y="1144"/>
                  </a:lnTo>
                  <a:lnTo>
                    <a:pt x="1681" y="1148"/>
                  </a:lnTo>
                  <a:lnTo>
                    <a:pt x="1652" y="1151"/>
                  </a:lnTo>
                  <a:lnTo>
                    <a:pt x="1622" y="1153"/>
                  </a:lnTo>
                  <a:lnTo>
                    <a:pt x="1594" y="1156"/>
                  </a:lnTo>
                  <a:lnTo>
                    <a:pt x="1564" y="1157"/>
                  </a:lnTo>
                  <a:lnTo>
                    <a:pt x="1534" y="1158"/>
                  </a:lnTo>
                  <a:lnTo>
                    <a:pt x="1534" y="1158"/>
                  </a:lnTo>
                  <a:close/>
                </a:path>
              </a:pathLst>
            </a:custGeom>
            <a:solidFill>
              <a:schemeClr val="accent1">
                <a:lumMod val="40000"/>
                <a:lumOff val="60000"/>
              </a:schemeClr>
            </a:solidFill>
            <a:ln>
              <a:noFill/>
            </a:ln>
          </p:spPr>
          <p:txBody>
            <a:bodyPr anchor="ctr"/>
            <a:lstStyle/>
            <a:p>
              <a:pPr algn="ctr"/>
              <a:endParaRPr sz="1100">
                <a:solidFill>
                  <a:schemeClr val="bg1">
                    <a:lumMod val="50000"/>
                  </a:schemeClr>
                </a:solidFill>
              </a:endParaRPr>
            </a:p>
          </p:txBody>
        </p:sp>
        <p:sp>
          <p:nvSpPr>
            <p:cNvPr id="11" name="Freeform: Shape 7"/>
            <p:cNvSpPr/>
            <p:nvPr/>
          </p:nvSpPr>
          <p:spPr bwMode="auto">
            <a:xfrm>
              <a:off x="5938332" y="2421853"/>
              <a:ext cx="2568802" cy="1254335"/>
            </a:xfrm>
            <a:custGeom>
              <a:avLst/>
              <a:gdLst>
                <a:gd name="T0" fmla="*/ 1624 w 3069"/>
                <a:gd name="T1" fmla="*/ 381 h 1534"/>
                <a:gd name="T2" fmla="*/ 1768 w 3069"/>
                <a:gd name="T3" fmla="*/ 400 h 1534"/>
                <a:gd name="T4" fmla="*/ 1906 w 3069"/>
                <a:gd name="T5" fmla="*/ 437 h 1534"/>
                <a:gd name="T6" fmla="*/ 2036 w 3069"/>
                <a:gd name="T7" fmla="*/ 490 h 1534"/>
                <a:gd name="T8" fmla="*/ 2159 w 3069"/>
                <a:gd name="T9" fmla="*/ 559 h 1534"/>
                <a:gd name="T10" fmla="*/ 2271 w 3069"/>
                <a:gd name="T11" fmla="*/ 641 h 1534"/>
                <a:gd name="T12" fmla="*/ 2372 w 3069"/>
                <a:gd name="T13" fmla="*/ 736 h 1534"/>
                <a:gd name="T14" fmla="*/ 2462 w 3069"/>
                <a:gd name="T15" fmla="*/ 841 h 1534"/>
                <a:gd name="T16" fmla="*/ 2538 w 3069"/>
                <a:gd name="T17" fmla="*/ 958 h 1534"/>
                <a:gd name="T18" fmla="*/ 2601 w 3069"/>
                <a:gd name="T19" fmla="*/ 1083 h 1534"/>
                <a:gd name="T20" fmla="*/ 2648 w 3069"/>
                <a:gd name="T21" fmla="*/ 1217 h 1534"/>
                <a:gd name="T22" fmla="*/ 2679 w 3069"/>
                <a:gd name="T23" fmla="*/ 1358 h 1534"/>
                <a:gd name="T24" fmla="*/ 2692 w 3069"/>
                <a:gd name="T25" fmla="*/ 1504 h 1534"/>
                <a:gd name="T26" fmla="*/ 3067 w 3069"/>
                <a:gd name="T27" fmla="*/ 1455 h 1534"/>
                <a:gd name="T28" fmla="*/ 3045 w 3069"/>
                <a:gd name="T29" fmla="*/ 1262 h 1534"/>
                <a:gd name="T30" fmla="*/ 3000 w 3069"/>
                <a:gd name="T31" fmla="*/ 1078 h 1534"/>
                <a:gd name="T32" fmla="*/ 2933 w 3069"/>
                <a:gd name="T33" fmla="*/ 903 h 1534"/>
                <a:gd name="T34" fmla="*/ 2846 w 3069"/>
                <a:gd name="T35" fmla="*/ 739 h 1534"/>
                <a:gd name="T36" fmla="*/ 2742 w 3069"/>
                <a:gd name="T37" fmla="*/ 587 h 1534"/>
                <a:gd name="T38" fmla="*/ 2619 w 3069"/>
                <a:gd name="T39" fmla="*/ 449 h 1534"/>
                <a:gd name="T40" fmla="*/ 2482 w 3069"/>
                <a:gd name="T41" fmla="*/ 327 h 1534"/>
                <a:gd name="T42" fmla="*/ 2330 w 3069"/>
                <a:gd name="T43" fmla="*/ 222 h 1534"/>
                <a:gd name="T44" fmla="*/ 2166 w 3069"/>
                <a:gd name="T45" fmla="*/ 135 h 1534"/>
                <a:gd name="T46" fmla="*/ 1990 w 3069"/>
                <a:gd name="T47" fmla="*/ 69 h 1534"/>
                <a:gd name="T48" fmla="*/ 1806 w 3069"/>
                <a:gd name="T49" fmla="*/ 23 h 1534"/>
                <a:gd name="T50" fmla="*/ 1614 w 3069"/>
                <a:gd name="T51" fmla="*/ 2 h 1534"/>
                <a:gd name="T52" fmla="*/ 1455 w 3069"/>
                <a:gd name="T53" fmla="*/ 2 h 1534"/>
                <a:gd name="T54" fmla="*/ 1263 w 3069"/>
                <a:gd name="T55" fmla="*/ 23 h 1534"/>
                <a:gd name="T56" fmla="*/ 1079 w 3069"/>
                <a:gd name="T57" fmla="*/ 69 h 1534"/>
                <a:gd name="T58" fmla="*/ 903 w 3069"/>
                <a:gd name="T59" fmla="*/ 135 h 1534"/>
                <a:gd name="T60" fmla="*/ 739 w 3069"/>
                <a:gd name="T61" fmla="*/ 222 h 1534"/>
                <a:gd name="T62" fmla="*/ 587 w 3069"/>
                <a:gd name="T63" fmla="*/ 327 h 1534"/>
                <a:gd name="T64" fmla="*/ 450 w 3069"/>
                <a:gd name="T65" fmla="*/ 449 h 1534"/>
                <a:gd name="T66" fmla="*/ 327 w 3069"/>
                <a:gd name="T67" fmla="*/ 587 h 1534"/>
                <a:gd name="T68" fmla="*/ 223 w 3069"/>
                <a:gd name="T69" fmla="*/ 739 h 1534"/>
                <a:gd name="T70" fmla="*/ 135 w 3069"/>
                <a:gd name="T71" fmla="*/ 903 h 1534"/>
                <a:gd name="T72" fmla="*/ 69 w 3069"/>
                <a:gd name="T73" fmla="*/ 1078 h 1534"/>
                <a:gd name="T74" fmla="*/ 25 w 3069"/>
                <a:gd name="T75" fmla="*/ 1262 h 1534"/>
                <a:gd name="T76" fmla="*/ 2 w 3069"/>
                <a:gd name="T77" fmla="*/ 1455 h 1534"/>
                <a:gd name="T78" fmla="*/ 377 w 3069"/>
                <a:gd name="T79" fmla="*/ 1504 h 1534"/>
                <a:gd name="T80" fmla="*/ 390 w 3069"/>
                <a:gd name="T81" fmla="*/ 1358 h 1534"/>
                <a:gd name="T82" fmla="*/ 421 w 3069"/>
                <a:gd name="T83" fmla="*/ 1217 h 1534"/>
                <a:gd name="T84" fmla="*/ 468 w 3069"/>
                <a:gd name="T85" fmla="*/ 1083 h 1534"/>
                <a:gd name="T86" fmla="*/ 531 w 3069"/>
                <a:gd name="T87" fmla="*/ 958 h 1534"/>
                <a:gd name="T88" fmla="*/ 608 w 3069"/>
                <a:gd name="T89" fmla="*/ 841 h 1534"/>
                <a:gd name="T90" fmla="*/ 697 w 3069"/>
                <a:gd name="T91" fmla="*/ 736 h 1534"/>
                <a:gd name="T92" fmla="*/ 798 w 3069"/>
                <a:gd name="T93" fmla="*/ 641 h 1534"/>
                <a:gd name="T94" fmla="*/ 910 w 3069"/>
                <a:gd name="T95" fmla="*/ 559 h 1534"/>
                <a:gd name="T96" fmla="*/ 1033 w 3069"/>
                <a:gd name="T97" fmla="*/ 490 h 1534"/>
                <a:gd name="T98" fmla="*/ 1163 w 3069"/>
                <a:gd name="T99" fmla="*/ 437 h 1534"/>
                <a:gd name="T100" fmla="*/ 1302 w 3069"/>
                <a:gd name="T101" fmla="*/ 400 h 1534"/>
                <a:gd name="T102" fmla="*/ 1446 w 3069"/>
                <a:gd name="T103" fmla="*/ 381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69" h="1534">
                  <a:moveTo>
                    <a:pt x="1534" y="376"/>
                  </a:moveTo>
                  <a:lnTo>
                    <a:pt x="1534" y="376"/>
                  </a:lnTo>
                  <a:lnTo>
                    <a:pt x="1564" y="377"/>
                  </a:lnTo>
                  <a:lnTo>
                    <a:pt x="1594" y="378"/>
                  </a:lnTo>
                  <a:lnTo>
                    <a:pt x="1624" y="381"/>
                  </a:lnTo>
                  <a:lnTo>
                    <a:pt x="1652" y="383"/>
                  </a:lnTo>
                  <a:lnTo>
                    <a:pt x="1682" y="386"/>
                  </a:lnTo>
                  <a:lnTo>
                    <a:pt x="1711" y="390"/>
                  </a:lnTo>
                  <a:lnTo>
                    <a:pt x="1740" y="394"/>
                  </a:lnTo>
                  <a:lnTo>
                    <a:pt x="1768" y="400"/>
                  </a:lnTo>
                  <a:lnTo>
                    <a:pt x="1796" y="406"/>
                  </a:lnTo>
                  <a:lnTo>
                    <a:pt x="1824" y="414"/>
                  </a:lnTo>
                  <a:lnTo>
                    <a:pt x="1852" y="421"/>
                  </a:lnTo>
                  <a:lnTo>
                    <a:pt x="1878" y="429"/>
                  </a:lnTo>
                  <a:lnTo>
                    <a:pt x="1906" y="437"/>
                  </a:lnTo>
                  <a:lnTo>
                    <a:pt x="1933" y="447"/>
                  </a:lnTo>
                  <a:lnTo>
                    <a:pt x="1958" y="457"/>
                  </a:lnTo>
                  <a:lnTo>
                    <a:pt x="1985" y="468"/>
                  </a:lnTo>
                  <a:lnTo>
                    <a:pt x="2011" y="479"/>
                  </a:lnTo>
                  <a:lnTo>
                    <a:pt x="2036" y="490"/>
                  </a:lnTo>
                  <a:lnTo>
                    <a:pt x="2062" y="503"/>
                  </a:lnTo>
                  <a:lnTo>
                    <a:pt x="2086" y="516"/>
                  </a:lnTo>
                  <a:lnTo>
                    <a:pt x="2111" y="530"/>
                  </a:lnTo>
                  <a:lnTo>
                    <a:pt x="2134" y="545"/>
                  </a:lnTo>
                  <a:lnTo>
                    <a:pt x="2159" y="559"/>
                  </a:lnTo>
                  <a:lnTo>
                    <a:pt x="2181" y="575"/>
                  </a:lnTo>
                  <a:lnTo>
                    <a:pt x="2205" y="591"/>
                  </a:lnTo>
                  <a:lnTo>
                    <a:pt x="2227" y="607"/>
                  </a:lnTo>
                  <a:lnTo>
                    <a:pt x="2249" y="624"/>
                  </a:lnTo>
                  <a:lnTo>
                    <a:pt x="2271" y="641"/>
                  </a:lnTo>
                  <a:lnTo>
                    <a:pt x="2292" y="659"/>
                  </a:lnTo>
                  <a:lnTo>
                    <a:pt x="2312" y="677"/>
                  </a:lnTo>
                  <a:lnTo>
                    <a:pt x="2333" y="696"/>
                  </a:lnTo>
                  <a:lnTo>
                    <a:pt x="2353" y="715"/>
                  </a:lnTo>
                  <a:lnTo>
                    <a:pt x="2372" y="736"/>
                  </a:lnTo>
                  <a:lnTo>
                    <a:pt x="2391" y="756"/>
                  </a:lnTo>
                  <a:lnTo>
                    <a:pt x="2409" y="777"/>
                  </a:lnTo>
                  <a:lnTo>
                    <a:pt x="2427" y="797"/>
                  </a:lnTo>
                  <a:lnTo>
                    <a:pt x="2445" y="820"/>
                  </a:lnTo>
                  <a:lnTo>
                    <a:pt x="2462" y="841"/>
                  </a:lnTo>
                  <a:lnTo>
                    <a:pt x="2479" y="865"/>
                  </a:lnTo>
                  <a:lnTo>
                    <a:pt x="2495" y="887"/>
                  </a:lnTo>
                  <a:lnTo>
                    <a:pt x="2510" y="910"/>
                  </a:lnTo>
                  <a:lnTo>
                    <a:pt x="2524" y="934"/>
                  </a:lnTo>
                  <a:lnTo>
                    <a:pt x="2538" y="958"/>
                  </a:lnTo>
                  <a:lnTo>
                    <a:pt x="2552" y="983"/>
                  </a:lnTo>
                  <a:lnTo>
                    <a:pt x="2565" y="1007"/>
                  </a:lnTo>
                  <a:lnTo>
                    <a:pt x="2578" y="1032"/>
                  </a:lnTo>
                  <a:lnTo>
                    <a:pt x="2589" y="1057"/>
                  </a:lnTo>
                  <a:lnTo>
                    <a:pt x="2601" y="1083"/>
                  </a:lnTo>
                  <a:lnTo>
                    <a:pt x="2612" y="1110"/>
                  </a:lnTo>
                  <a:lnTo>
                    <a:pt x="2621" y="1136"/>
                  </a:lnTo>
                  <a:lnTo>
                    <a:pt x="2631" y="1163"/>
                  </a:lnTo>
                  <a:lnTo>
                    <a:pt x="2640" y="1190"/>
                  </a:lnTo>
                  <a:lnTo>
                    <a:pt x="2648" y="1217"/>
                  </a:lnTo>
                  <a:lnTo>
                    <a:pt x="2656" y="1245"/>
                  </a:lnTo>
                  <a:lnTo>
                    <a:pt x="2662" y="1273"/>
                  </a:lnTo>
                  <a:lnTo>
                    <a:pt x="2668" y="1301"/>
                  </a:lnTo>
                  <a:lnTo>
                    <a:pt x="2674" y="1329"/>
                  </a:lnTo>
                  <a:lnTo>
                    <a:pt x="2679" y="1358"/>
                  </a:lnTo>
                  <a:lnTo>
                    <a:pt x="2682" y="1387"/>
                  </a:lnTo>
                  <a:lnTo>
                    <a:pt x="2685" y="1416"/>
                  </a:lnTo>
                  <a:lnTo>
                    <a:pt x="2689" y="1444"/>
                  </a:lnTo>
                  <a:lnTo>
                    <a:pt x="2691" y="1474"/>
                  </a:lnTo>
                  <a:lnTo>
                    <a:pt x="2692" y="1504"/>
                  </a:lnTo>
                  <a:lnTo>
                    <a:pt x="2692" y="1534"/>
                  </a:lnTo>
                  <a:lnTo>
                    <a:pt x="3069" y="1534"/>
                  </a:lnTo>
                  <a:lnTo>
                    <a:pt x="3069" y="1534"/>
                  </a:lnTo>
                  <a:lnTo>
                    <a:pt x="3068" y="1495"/>
                  </a:lnTo>
                  <a:lnTo>
                    <a:pt x="3067" y="1455"/>
                  </a:lnTo>
                  <a:lnTo>
                    <a:pt x="3064" y="1416"/>
                  </a:lnTo>
                  <a:lnTo>
                    <a:pt x="3061" y="1377"/>
                  </a:lnTo>
                  <a:lnTo>
                    <a:pt x="3056" y="1339"/>
                  </a:lnTo>
                  <a:lnTo>
                    <a:pt x="3051" y="1301"/>
                  </a:lnTo>
                  <a:lnTo>
                    <a:pt x="3045" y="1262"/>
                  </a:lnTo>
                  <a:lnTo>
                    <a:pt x="3037" y="1225"/>
                  </a:lnTo>
                  <a:lnTo>
                    <a:pt x="3030" y="1188"/>
                  </a:lnTo>
                  <a:lnTo>
                    <a:pt x="3020" y="1150"/>
                  </a:lnTo>
                  <a:lnTo>
                    <a:pt x="3011" y="1114"/>
                  </a:lnTo>
                  <a:lnTo>
                    <a:pt x="3000" y="1078"/>
                  </a:lnTo>
                  <a:lnTo>
                    <a:pt x="2988" y="1041"/>
                  </a:lnTo>
                  <a:lnTo>
                    <a:pt x="2975" y="1006"/>
                  </a:lnTo>
                  <a:lnTo>
                    <a:pt x="2963" y="971"/>
                  </a:lnTo>
                  <a:lnTo>
                    <a:pt x="2948" y="937"/>
                  </a:lnTo>
                  <a:lnTo>
                    <a:pt x="2933" y="903"/>
                  </a:lnTo>
                  <a:lnTo>
                    <a:pt x="2918" y="869"/>
                  </a:lnTo>
                  <a:lnTo>
                    <a:pt x="2901" y="836"/>
                  </a:lnTo>
                  <a:lnTo>
                    <a:pt x="2884" y="803"/>
                  </a:lnTo>
                  <a:lnTo>
                    <a:pt x="2866" y="771"/>
                  </a:lnTo>
                  <a:lnTo>
                    <a:pt x="2846" y="739"/>
                  </a:lnTo>
                  <a:lnTo>
                    <a:pt x="2827" y="707"/>
                  </a:lnTo>
                  <a:lnTo>
                    <a:pt x="2807" y="676"/>
                  </a:lnTo>
                  <a:lnTo>
                    <a:pt x="2786" y="646"/>
                  </a:lnTo>
                  <a:lnTo>
                    <a:pt x="2764" y="616"/>
                  </a:lnTo>
                  <a:lnTo>
                    <a:pt x="2742" y="587"/>
                  </a:lnTo>
                  <a:lnTo>
                    <a:pt x="2718" y="559"/>
                  </a:lnTo>
                  <a:lnTo>
                    <a:pt x="2695" y="530"/>
                  </a:lnTo>
                  <a:lnTo>
                    <a:pt x="2671" y="502"/>
                  </a:lnTo>
                  <a:lnTo>
                    <a:pt x="2645" y="475"/>
                  </a:lnTo>
                  <a:lnTo>
                    <a:pt x="2619" y="449"/>
                  </a:lnTo>
                  <a:lnTo>
                    <a:pt x="2593" y="423"/>
                  </a:lnTo>
                  <a:lnTo>
                    <a:pt x="2566" y="399"/>
                  </a:lnTo>
                  <a:lnTo>
                    <a:pt x="2538" y="374"/>
                  </a:lnTo>
                  <a:lnTo>
                    <a:pt x="2511" y="351"/>
                  </a:lnTo>
                  <a:lnTo>
                    <a:pt x="2482" y="327"/>
                  </a:lnTo>
                  <a:lnTo>
                    <a:pt x="2452" y="305"/>
                  </a:lnTo>
                  <a:lnTo>
                    <a:pt x="2423" y="282"/>
                  </a:lnTo>
                  <a:lnTo>
                    <a:pt x="2392" y="262"/>
                  </a:lnTo>
                  <a:lnTo>
                    <a:pt x="2361" y="242"/>
                  </a:lnTo>
                  <a:lnTo>
                    <a:pt x="2330" y="222"/>
                  </a:lnTo>
                  <a:lnTo>
                    <a:pt x="2298" y="204"/>
                  </a:lnTo>
                  <a:lnTo>
                    <a:pt x="2265" y="185"/>
                  </a:lnTo>
                  <a:lnTo>
                    <a:pt x="2233" y="167"/>
                  </a:lnTo>
                  <a:lnTo>
                    <a:pt x="2199" y="151"/>
                  </a:lnTo>
                  <a:lnTo>
                    <a:pt x="2166" y="135"/>
                  </a:lnTo>
                  <a:lnTo>
                    <a:pt x="2132" y="120"/>
                  </a:lnTo>
                  <a:lnTo>
                    <a:pt x="2097" y="107"/>
                  </a:lnTo>
                  <a:lnTo>
                    <a:pt x="2062" y="93"/>
                  </a:lnTo>
                  <a:lnTo>
                    <a:pt x="2027" y="81"/>
                  </a:lnTo>
                  <a:lnTo>
                    <a:pt x="1990" y="69"/>
                  </a:lnTo>
                  <a:lnTo>
                    <a:pt x="1954" y="59"/>
                  </a:lnTo>
                  <a:lnTo>
                    <a:pt x="1918" y="48"/>
                  </a:lnTo>
                  <a:lnTo>
                    <a:pt x="1881" y="39"/>
                  </a:lnTo>
                  <a:lnTo>
                    <a:pt x="1843" y="31"/>
                  </a:lnTo>
                  <a:lnTo>
                    <a:pt x="1806" y="23"/>
                  </a:lnTo>
                  <a:lnTo>
                    <a:pt x="1769" y="18"/>
                  </a:lnTo>
                  <a:lnTo>
                    <a:pt x="1730" y="12"/>
                  </a:lnTo>
                  <a:lnTo>
                    <a:pt x="1692" y="7"/>
                  </a:lnTo>
                  <a:lnTo>
                    <a:pt x="1652" y="4"/>
                  </a:lnTo>
                  <a:lnTo>
                    <a:pt x="1614" y="2"/>
                  </a:lnTo>
                  <a:lnTo>
                    <a:pt x="1575" y="0"/>
                  </a:lnTo>
                  <a:lnTo>
                    <a:pt x="1534" y="0"/>
                  </a:lnTo>
                  <a:lnTo>
                    <a:pt x="1534" y="0"/>
                  </a:lnTo>
                  <a:lnTo>
                    <a:pt x="1495" y="0"/>
                  </a:lnTo>
                  <a:lnTo>
                    <a:pt x="1455" y="2"/>
                  </a:lnTo>
                  <a:lnTo>
                    <a:pt x="1417" y="4"/>
                  </a:lnTo>
                  <a:lnTo>
                    <a:pt x="1377" y="7"/>
                  </a:lnTo>
                  <a:lnTo>
                    <a:pt x="1339" y="12"/>
                  </a:lnTo>
                  <a:lnTo>
                    <a:pt x="1301" y="18"/>
                  </a:lnTo>
                  <a:lnTo>
                    <a:pt x="1263" y="23"/>
                  </a:lnTo>
                  <a:lnTo>
                    <a:pt x="1225" y="31"/>
                  </a:lnTo>
                  <a:lnTo>
                    <a:pt x="1188" y="39"/>
                  </a:lnTo>
                  <a:lnTo>
                    <a:pt x="1151" y="48"/>
                  </a:lnTo>
                  <a:lnTo>
                    <a:pt x="1114" y="59"/>
                  </a:lnTo>
                  <a:lnTo>
                    <a:pt x="1079" y="69"/>
                  </a:lnTo>
                  <a:lnTo>
                    <a:pt x="1043" y="81"/>
                  </a:lnTo>
                  <a:lnTo>
                    <a:pt x="1007" y="93"/>
                  </a:lnTo>
                  <a:lnTo>
                    <a:pt x="972" y="107"/>
                  </a:lnTo>
                  <a:lnTo>
                    <a:pt x="937" y="120"/>
                  </a:lnTo>
                  <a:lnTo>
                    <a:pt x="903" y="135"/>
                  </a:lnTo>
                  <a:lnTo>
                    <a:pt x="870" y="151"/>
                  </a:lnTo>
                  <a:lnTo>
                    <a:pt x="836" y="167"/>
                  </a:lnTo>
                  <a:lnTo>
                    <a:pt x="803" y="185"/>
                  </a:lnTo>
                  <a:lnTo>
                    <a:pt x="771" y="204"/>
                  </a:lnTo>
                  <a:lnTo>
                    <a:pt x="739" y="222"/>
                  </a:lnTo>
                  <a:lnTo>
                    <a:pt x="708" y="242"/>
                  </a:lnTo>
                  <a:lnTo>
                    <a:pt x="677" y="262"/>
                  </a:lnTo>
                  <a:lnTo>
                    <a:pt x="646" y="282"/>
                  </a:lnTo>
                  <a:lnTo>
                    <a:pt x="616" y="305"/>
                  </a:lnTo>
                  <a:lnTo>
                    <a:pt x="587" y="327"/>
                  </a:lnTo>
                  <a:lnTo>
                    <a:pt x="559" y="351"/>
                  </a:lnTo>
                  <a:lnTo>
                    <a:pt x="531" y="374"/>
                  </a:lnTo>
                  <a:lnTo>
                    <a:pt x="503" y="399"/>
                  </a:lnTo>
                  <a:lnTo>
                    <a:pt x="477" y="423"/>
                  </a:lnTo>
                  <a:lnTo>
                    <a:pt x="450" y="449"/>
                  </a:lnTo>
                  <a:lnTo>
                    <a:pt x="424" y="475"/>
                  </a:lnTo>
                  <a:lnTo>
                    <a:pt x="399" y="502"/>
                  </a:lnTo>
                  <a:lnTo>
                    <a:pt x="374" y="530"/>
                  </a:lnTo>
                  <a:lnTo>
                    <a:pt x="351" y="559"/>
                  </a:lnTo>
                  <a:lnTo>
                    <a:pt x="327" y="587"/>
                  </a:lnTo>
                  <a:lnTo>
                    <a:pt x="305" y="616"/>
                  </a:lnTo>
                  <a:lnTo>
                    <a:pt x="284" y="646"/>
                  </a:lnTo>
                  <a:lnTo>
                    <a:pt x="262" y="676"/>
                  </a:lnTo>
                  <a:lnTo>
                    <a:pt x="242" y="707"/>
                  </a:lnTo>
                  <a:lnTo>
                    <a:pt x="223" y="739"/>
                  </a:lnTo>
                  <a:lnTo>
                    <a:pt x="204" y="771"/>
                  </a:lnTo>
                  <a:lnTo>
                    <a:pt x="185" y="803"/>
                  </a:lnTo>
                  <a:lnTo>
                    <a:pt x="168" y="836"/>
                  </a:lnTo>
                  <a:lnTo>
                    <a:pt x="151" y="869"/>
                  </a:lnTo>
                  <a:lnTo>
                    <a:pt x="135" y="903"/>
                  </a:lnTo>
                  <a:lnTo>
                    <a:pt x="120" y="937"/>
                  </a:lnTo>
                  <a:lnTo>
                    <a:pt x="107" y="971"/>
                  </a:lnTo>
                  <a:lnTo>
                    <a:pt x="94" y="1006"/>
                  </a:lnTo>
                  <a:lnTo>
                    <a:pt x="81" y="1041"/>
                  </a:lnTo>
                  <a:lnTo>
                    <a:pt x="69" y="1078"/>
                  </a:lnTo>
                  <a:lnTo>
                    <a:pt x="59" y="1114"/>
                  </a:lnTo>
                  <a:lnTo>
                    <a:pt x="49" y="1150"/>
                  </a:lnTo>
                  <a:lnTo>
                    <a:pt x="39" y="1188"/>
                  </a:lnTo>
                  <a:lnTo>
                    <a:pt x="32" y="1225"/>
                  </a:lnTo>
                  <a:lnTo>
                    <a:pt x="25" y="1262"/>
                  </a:lnTo>
                  <a:lnTo>
                    <a:pt x="18" y="1301"/>
                  </a:lnTo>
                  <a:lnTo>
                    <a:pt x="13" y="1339"/>
                  </a:lnTo>
                  <a:lnTo>
                    <a:pt x="9" y="1377"/>
                  </a:lnTo>
                  <a:lnTo>
                    <a:pt x="5" y="1416"/>
                  </a:lnTo>
                  <a:lnTo>
                    <a:pt x="2" y="1455"/>
                  </a:lnTo>
                  <a:lnTo>
                    <a:pt x="1" y="1495"/>
                  </a:lnTo>
                  <a:lnTo>
                    <a:pt x="0" y="1534"/>
                  </a:lnTo>
                  <a:lnTo>
                    <a:pt x="377" y="1534"/>
                  </a:lnTo>
                  <a:lnTo>
                    <a:pt x="377" y="1534"/>
                  </a:lnTo>
                  <a:lnTo>
                    <a:pt x="377" y="1504"/>
                  </a:lnTo>
                  <a:lnTo>
                    <a:pt x="378" y="1474"/>
                  </a:lnTo>
                  <a:lnTo>
                    <a:pt x="381" y="1444"/>
                  </a:lnTo>
                  <a:lnTo>
                    <a:pt x="383" y="1416"/>
                  </a:lnTo>
                  <a:lnTo>
                    <a:pt x="387" y="1387"/>
                  </a:lnTo>
                  <a:lnTo>
                    <a:pt x="390" y="1358"/>
                  </a:lnTo>
                  <a:lnTo>
                    <a:pt x="396" y="1329"/>
                  </a:lnTo>
                  <a:lnTo>
                    <a:pt x="401" y="1301"/>
                  </a:lnTo>
                  <a:lnTo>
                    <a:pt x="407" y="1273"/>
                  </a:lnTo>
                  <a:lnTo>
                    <a:pt x="414" y="1245"/>
                  </a:lnTo>
                  <a:lnTo>
                    <a:pt x="421" y="1217"/>
                  </a:lnTo>
                  <a:lnTo>
                    <a:pt x="430" y="1190"/>
                  </a:lnTo>
                  <a:lnTo>
                    <a:pt x="438" y="1163"/>
                  </a:lnTo>
                  <a:lnTo>
                    <a:pt x="448" y="1136"/>
                  </a:lnTo>
                  <a:lnTo>
                    <a:pt x="457" y="1110"/>
                  </a:lnTo>
                  <a:lnTo>
                    <a:pt x="468" y="1083"/>
                  </a:lnTo>
                  <a:lnTo>
                    <a:pt x="480" y="1057"/>
                  </a:lnTo>
                  <a:lnTo>
                    <a:pt x="491" y="1032"/>
                  </a:lnTo>
                  <a:lnTo>
                    <a:pt x="504" y="1007"/>
                  </a:lnTo>
                  <a:lnTo>
                    <a:pt x="517" y="983"/>
                  </a:lnTo>
                  <a:lnTo>
                    <a:pt x="531" y="958"/>
                  </a:lnTo>
                  <a:lnTo>
                    <a:pt x="545" y="934"/>
                  </a:lnTo>
                  <a:lnTo>
                    <a:pt x="560" y="910"/>
                  </a:lnTo>
                  <a:lnTo>
                    <a:pt x="575" y="887"/>
                  </a:lnTo>
                  <a:lnTo>
                    <a:pt x="591" y="865"/>
                  </a:lnTo>
                  <a:lnTo>
                    <a:pt x="608" y="841"/>
                  </a:lnTo>
                  <a:lnTo>
                    <a:pt x="624" y="820"/>
                  </a:lnTo>
                  <a:lnTo>
                    <a:pt x="642" y="797"/>
                  </a:lnTo>
                  <a:lnTo>
                    <a:pt x="660" y="777"/>
                  </a:lnTo>
                  <a:lnTo>
                    <a:pt x="678" y="756"/>
                  </a:lnTo>
                  <a:lnTo>
                    <a:pt x="697" y="736"/>
                  </a:lnTo>
                  <a:lnTo>
                    <a:pt x="716" y="715"/>
                  </a:lnTo>
                  <a:lnTo>
                    <a:pt x="736" y="696"/>
                  </a:lnTo>
                  <a:lnTo>
                    <a:pt x="757" y="677"/>
                  </a:lnTo>
                  <a:lnTo>
                    <a:pt x="777" y="659"/>
                  </a:lnTo>
                  <a:lnTo>
                    <a:pt x="798" y="641"/>
                  </a:lnTo>
                  <a:lnTo>
                    <a:pt x="820" y="624"/>
                  </a:lnTo>
                  <a:lnTo>
                    <a:pt x="842" y="607"/>
                  </a:lnTo>
                  <a:lnTo>
                    <a:pt x="865" y="591"/>
                  </a:lnTo>
                  <a:lnTo>
                    <a:pt x="887" y="575"/>
                  </a:lnTo>
                  <a:lnTo>
                    <a:pt x="910" y="559"/>
                  </a:lnTo>
                  <a:lnTo>
                    <a:pt x="935" y="545"/>
                  </a:lnTo>
                  <a:lnTo>
                    <a:pt x="958" y="530"/>
                  </a:lnTo>
                  <a:lnTo>
                    <a:pt x="983" y="516"/>
                  </a:lnTo>
                  <a:lnTo>
                    <a:pt x="1007" y="503"/>
                  </a:lnTo>
                  <a:lnTo>
                    <a:pt x="1033" y="490"/>
                  </a:lnTo>
                  <a:lnTo>
                    <a:pt x="1059" y="479"/>
                  </a:lnTo>
                  <a:lnTo>
                    <a:pt x="1084" y="468"/>
                  </a:lnTo>
                  <a:lnTo>
                    <a:pt x="1110" y="457"/>
                  </a:lnTo>
                  <a:lnTo>
                    <a:pt x="1136" y="447"/>
                  </a:lnTo>
                  <a:lnTo>
                    <a:pt x="1163" y="437"/>
                  </a:lnTo>
                  <a:lnTo>
                    <a:pt x="1191" y="429"/>
                  </a:lnTo>
                  <a:lnTo>
                    <a:pt x="1217" y="421"/>
                  </a:lnTo>
                  <a:lnTo>
                    <a:pt x="1245" y="414"/>
                  </a:lnTo>
                  <a:lnTo>
                    <a:pt x="1273" y="406"/>
                  </a:lnTo>
                  <a:lnTo>
                    <a:pt x="1302" y="400"/>
                  </a:lnTo>
                  <a:lnTo>
                    <a:pt x="1329" y="394"/>
                  </a:lnTo>
                  <a:lnTo>
                    <a:pt x="1358" y="390"/>
                  </a:lnTo>
                  <a:lnTo>
                    <a:pt x="1387" y="386"/>
                  </a:lnTo>
                  <a:lnTo>
                    <a:pt x="1416" y="383"/>
                  </a:lnTo>
                  <a:lnTo>
                    <a:pt x="1446" y="381"/>
                  </a:lnTo>
                  <a:lnTo>
                    <a:pt x="1475" y="378"/>
                  </a:lnTo>
                  <a:lnTo>
                    <a:pt x="1504" y="377"/>
                  </a:lnTo>
                  <a:lnTo>
                    <a:pt x="1534" y="376"/>
                  </a:lnTo>
                  <a:lnTo>
                    <a:pt x="1534" y="376"/>
                  </a:lnTo>
                  <a:close/>
                </a:path>
              </a:pathLst>
            </a:custGeom>
            <a:solidFill>
              <a:srgbClr val="FE5817"/>
            </a:solidFill>
            <a:ln>
              <a:noFill/>
            </a:ln>
          </p:spPr>
          <p:txBody>
            <a:bodyPr anchor="ctr"/>
            <a:lstStyle/>
            <a:p>
              <a:pPr algn="ctr"/>
              <a:endParaRPr sz="1100">
                <a:solidFill>
                  <a:schemeClr val="bg1">
                    <a:lumMod val="50000"/>
                  </a:schemeClr>
                </a:solidFill>
              </a:endParaRPr>
            </a:p>
          </p:txBody>
        </p:sp>
        <p:sp>
          <p:nvSpPr>
            <p:cNvPr id="12" name="TextBox 9"/>
            <p:cNvSpPr txBox="1"/>
            <p:nvPr/>
          </p:nvSpPr>
          <p:spPr bwMode="auto">
            <a:xfrm>
              <a:off x="1953427" y="3730776"/>
              <a:ext cx="1537883" cy="312306"/>
            </a:xfrm>
            <a:prstGeom prst="rect">
              <a:avLst/>
            </a:prstGeom>
            <a:noFill/>
            <a:ln w="9525">
              <a:noFill/>
              <a:miter lim="800000"/>
            </a:ln>
          </p:spPr>
          <p:txBody>
            <a:bodyPr wrap="none" lIns="0" tIns="0" rIns="0" bIns="0" anchor="ctr" anchorCtr="0">
              <a:noAutofit/>
              <a:scene3d>
                <a:camera prst="orthographicFront"/>
                <a:lightRig rig="threePt" dir="t"/>
              </a:scene3d>
              <a:sp3d>
                <a:bevelT w="0" h="0"/>
              </a:sp3d>
            </a:bodyPr>
            <a:lstStyle/>
            <a:p>
              <a:pPr marL="0" lvl="1" algn="ctr"/>
              <a:r>
                <a:rPr lang="zh-CN" altLang="en-US" b="1" dirty="0">
                  <a:solidFill>
                    <a:schemeClr val="bg1">
                      <a:lumMod val="50000"/>
                    </a:schemeClr>
                  </a:solidFill>
                </a:rPr>
                <a:t>标题文本预设</a:t>
              </a:r>
              <a:endParaRPr lang="zh-CN" altLang="en-US" b="1" dirty="0">
                <a:solidFill>
                  <a:schemeClr val="bg1">
                    <a:lumMod val="50000"/>
                  </a:schemeClr>
                </a:solidFill>
              </a:endParaRPr>
            </a:p>
          </p:txBody>
        </p:sp>
        <p:sp>
          <p:nvSpPr>
            <p:cNvPr id="13" name="TextBox 36"/>
            <p:cNvSpPr txBox="1"/>
            <p:nvPr/>
          </p:nvSpPr>
          <p:spPr bwMode="auto">
            <a:xfrm>
              <a:off x="3685703" y="1202578"/>
              <a:ext cx="2567967" cy="2473603"/>
            </a:xfrm>
            <a:prstGeom prst="rect">
              <a:avLst/>
            </a:prstGeom>
            <a:noFill/>
            <a:ln w="9525">
              <a:noFill/>
              <a:miter lim="800000"/>
            </a:ln>
          </p:spPr>
          <p:txBody>
            <a:bodyPr wrap="square" lIns="360000" tIns="0" rIns="360000" bIns="540000" anchor="b" anchorCtr="1">
              <a:normAutofit/>
              <a:scene3d>
                <a:camera prst="orthographicFront"/>
                <a:lightRig rig="threePt" dir="t"/>
              </a:scene3d>
              <a:sp3d>
                <a:bevelT w="0" h="0"/>
              </a:sp3d>
            </a:bodyPr>
            <a:lstStyle/>
            <a:p>
              <a:pPr algn="ctr">
                <a:lnSpc>
                  <a:spcPct val="120000"/>
                </a:lnSpc>
                <a:defRPr/>
              </a:pPr>
              <a:endParaRPr lang="zh-CN" altLang="en-US" sz="900" dirty="0">
                <a:solidFill>
                  <a:schemeClr val="bg1">
                    <a:lumMod val="50000"/>
                  </a:schemeClr>
                </a:solidFill>
              </a:endParaRPr>
            </a:p>
          </p:txBody>
        </p:sp>
        <p:sp>
          <p:nvSpPr>
            <p:cNvPr id="14" name="TextBox 13"/>
            <p:cNvSpPr txBox="1"/>
            <p:nvPr/>
          </p:nvSpPr>
          <p:spPr bwMode="auto">
            <a:xfrm>
              <a:off x="6456701" y="3730771"/>
              <a:ext cx="1537883" cy="240985"/>
            </a:xfrm>
            <a:prstGeom prst="rect">
              <a:avLst/>
            </a:prstGeom>
            <a:noFill/>
            <a:ln w="9525">
              <a:noFill/>
              <a:miter lim="800000"/>
            </a:ln>
          </p:spPr>
          <p:txBody>
            <a:bodyPr wrap="none" lIns="0" tIns="0" rIns="0" bIns="0" anchor="t" anchorCtr="0">
              <a:noAutofit/>
              <a:scene3d>
                <a:camera prst="orthographicFront"/>
                <a:lightRig rig="threePt" dir="t"/>
              </a:scene3d>
              <a:sp3d>
                <a:bevelT w="0" h="0"/>
              </a:sp3d>
            </a:bodyPr>
            <a:lstStyle/>
            <a:p>
              <a:pPr marL="0" lvl="1" algn="ctr"/>
              <a:r>
                <a:rPr lang="zh-CN" altLang="en-US" b="1" dirty="0">
                  <a:solidFill>
                    <a:schemeClr val="bg1">
                      <a:lumMod val="50000"/>
                    </a:schemeClr>
                  </a:solidFill>
                </a:rPr>
                <a:t>标题文本预设</a:t>
              </a:r>
              <a:endParaRPr lang="zh-CN" altLang="en-US" b="1" dirty="0">
                <a:solidFill>
                  <a:schemeClr val="bg1">
                    <a:lumMod val="50000"/>
                  </a:schemeClr>
                </a:solidFill>
              </a:endParaRPr>
            </a:p>
          </p:txBody>
        </p:sp>
        <p:sp>
          <p:nvSpPr>
            <p:cNvPr id="15" name="Freeform: Shape 24"/>
            <p:cNvSpPr/>
            <p:nvPr/>
          </p:nvSpPr>
          <p:spPr bwMode="auto">
            <a:xfrm>
              <a:off x="3685707" y="3676188"/>
              <a:ext cx="2567965" cy="1254335"/>
            </a:xfrm>
            <a:custGeom>
              <a:avLst/>
              <a:gdLst>
                <a:gd name="T0" fmla="*/ 1444 w 3068"/>
                <a:gd name="T1" fmla="*/ 1153 h 1534"/>
                <a:gd name="T2" fmla="*/ 1300 w 3068"/>
                <a:gd name="T3" fmla="*/ 1134 h 1534"/>
                <a:gd name="T4" fmla="*/ 1163 w 3068"/>
                <a:gd name="T5" fmla="*/ 1097 h 1534"/>
                <a:gd name="T6" fmla="*/ 1032 w 3068"/>
                <a:gd name="T7" fmla="*/ 1044 h 1534"/>
                <a:gd name="T8" fmla="*/ 910 w 3068"/>
                <a:gd name="T9" fmla="*/ 975 h 1534"/>
                <a:gd name="T10" fmla="*/ 797 w 3068"/>
                <a:gd name="T11" fmla="*/ 893 h 1534"/>
                <a:gd name="T12" fmla="*/ 696 w 3068"/>
                <a:gd name="T13" fmla="*/ 798 h 1534"/>
                <a:gd name="T14" fmla="*/ 606 w 3068"/>
                <a:gd name="T15" fmla="*/ 693 h 1534"/>
                <a:gd name="T16" fmla="*/ 530 w 3068"/>
                <a:gd name="T17" fmla="*/ 576 h 1534"/>
                <a:gd name="T18" fmla="*/ 467 w 3068"/>
                <a:gd name="T19" fmla="*/ 451 h 1534"/>
                <a:gd name="T20" fmla="*/ 420 w 3068"/>
                <a:gd name="T21" fmla="*/ 317 h 1534"/>
                <a:gd name="T22" fmla="*/ 390 w 3068"/>
                <a:gd name="T23" fmla="*/ 176 h 1534"/>
                <a:gd name="T24" fmla="*/ 376 w 3068"/>
                <a:gd name="T25" fmla="*/ 30 h 1534"/>
                <a:gd name="T26" fmla="*/ 1 w 3068"/>
                <a:gd name="T27" fmla="*/ 79 h 1534"/>
                <a:gd name="T28" fmla="*/ 23 w 3068"/>
                <a:gd name="T29" fmla="*/ 272 h 1534"/>
                <a:gd name="T30" fmla="*/ 68 w 3068"/>
                <a:gd name="T31" fmla="*/ 456 h 1534"/>
                <a:gd name="T32" fmla="*/ 135 w 3068"/>
                <a:gd name="T33" fmla="*/ 631 h 1534"/>
                <a:gd name="T34" fmla="*/ 222 w 3068"/>
                <a:gd name="T35" fmla="*/ 795 h 1534"/>
                <a:gd name="T36" fmla="*/ 327 w 3068"/>
                <a:gd name="T37" fmla="*/ 947 h 1534"/>
                <a:gd name="T38" fmla="*/ 449 w 3068"/>
                <a:gd name="T39" fmla="*/ 1085 h 1534"/>
                <a:gd name="T40" fmla="*/ 586 w 3068"/>
                <a:gd name="T41" fmla="*/ 1207 h 1534"/>
                <a:gd name="T42" fmla="*/ 738 w 3068"/>
                <a:gd name="T43" fmla="*/ 1312 h 1534"/>
                <a:gd name="T44" fmla="*/ 902 w 3068"/>
                <a:gd name="T45" fmla="*/ 1399 h 1534"/>
                <a:gd name="T46" fmla="*/ 1078 w 3068"/>
                <a:gd name="T47" fmla="*/ 1465 h 1534"/>
                <a:gd name="T48" fmla="*/ 1262 w 3068"/>
                <a:gd name="T49" fmla="*/ 1511 h 1534"/>
                <a:gd name="T50" fmla="*/ 1455 w 3068"/>
                <a:gd name="T51" fmla="*/ 1532 h 1534"/>
                <a:gd name="T52" fmla="*/ 1613 w 3068"/>
                <a:gd name="T53" fmla="*/ 1532 h 1534"/>
                <a:gd name="T54" fmla="*/ 1805 w 3068"/>
                <a:gd name="T55" fmla="*/ 1511 h 1534"/>
                <a:gd name="T56" fmla="*/ 1990 w 3068"/>
                <a:gd name="T57" fmla="*/ 1465 h 1534"/>
                <a:gd name="T58" fmla="*/ 2165 w 3068"/>
                <a:gd name="T59" fmla="*/ 1399 h 1534"/>
                <a:gd name="T60" fmla="*/ 2329 w 3068"/>
                <a:gd name="T61" fmla="*/ 1312 h 1534"/>
                <a:gd name="T62" fmla="*/ 2481 w 3068"/>
                <a:gd name="T63" fmla="*/ 1207 h 1534"/>
                <a:gd name="T64" fmla="*/ 2618 w 3068"/>
                <a:gd name="T65" fmla="*/ 1085 h 1534"/>
                <a:gd name="T66" fmla="*/ 2741 w 3068"/>
                <a:gd name="T67" fmla="*/ 947 h 1534"/>
                <a:gd name="T68" fmla="*/ 2845 w 3068"/>
                <a:gd name="T69" fmla="*/ 795 h 1534"/>
                <a:gd name="T70" fmla="*/ 2933 w 3068"/>
                <a:gd name="T71" fmla="*/ 631 h 1534"/>
                <a:gd name="T72" fmla="*/ 2999 w 3068"/>
                <a:gd name="T73" fmla="*/ 456 h 1534"/>
                <a:gd name="T74" fmla="*/ 3043 w 3068"/>
                <a:gd name="T75" fmla="*/ 272 h 1534"/>
                <a:gd name="T76" fmla="*/ 3066 w 3068"/>
                <a:gd name="T77" fmla="*/ 79 h 1534"/>
                <a:gd name="T78" fmla="*/ 2691 w 3068"/>
                <a:gd name="T79" fmla="*/ 30 h 1534"/>
                <a:gd name="T80" fmla="*/ 2678 w 3068"/>
                <a:gd name="T81" fmla="*/ 176 h 1534"/>
                <a:gd name="T82" fmla="*/ 2647 w 3068"/>
                <a:gd name="T83" fmla="*/ 317 h 1534"/>
                <a:gd name="T84" fmla="*/ 2600 w 3068"/>
                <a:gd name="T85" fmla="*/ 451 h 1534"/>
                <a:gd name="T86" fmla="*/ 2537 w 3068"/>
                <a:gd name="T87" fmla="*/ 576 h 1534"/>
                <a:gd name="T88" fmla="*/ 2461 w 3068"/>
                <a:gd name="T89" fmla="*/ 693 h 1534"/>
                <a:gd name="T90" fmla="*/ 2372 w 3068"/>
                <a:gd name="T91" fmla="*/ 798 h 1534"/>
                <a:gd name="T92" fmla="*/ 2270 w 3068"/>
                <a:gd name="T93" fmla="*/ 893 h 1534"/>
                <a:gd name="T94" fmla="*/ 2158 w 3068"/>
                <a:gd name="T95" fmla="*/ 975 h 1534"/>
                <a:gd name="T96" fmla="*/ 2035 w 3068"/>
                <a:gd name="T97" fmla="*/ 1044 h 1534"/>
                <a:gd name="T98" fmla="*/ 1905 w 3068"/>
                <a:gd name="T99" fmla="*/ 1097 h 1534"/>
                <a:gd name="T100" fmla="*/ 1766 w 3068"/>
                <a:gd name="T101" fmla="*/ 1134 h 1534"/>
                <a:gd name="T102" fmla="*/ 1622 w 3068"/>
                <a:gd name="T103" fmla="*/ 1153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68" h="1534">
                  <a:moveTo>
                    <a:pt x="1534" y="1158"/>
                  </a:moveTo>
                  <a:lnTo>
                    <a:pt x="1534" y="1158"/>
                  </a:lnTo>
                  <a:lnTo>
                    <a:pt x="1504" y="1157"/>
                  </a:lnTo>
                  <a:lnTo>
                    <a:pt x="1474" y="1156"/>
                  </a:lnTo>
                  <a:lnTo>
                    <a:pt x="1444" y="1153"/>
                  </a:lnTo>
                  <a:lnTo>
                    <a:pt x="1416" y="1151"/>
                  </a:lnTo>
                  <a:lnTo>
                    <a:pt x="1386" y="1148"/>
                  </a:lnTo>
                  <a:lnTo>
                    <a:pt x="1357" y="1144"/>
                  </a:lnTo>
                  <a:lnTo>
                    <a:pt x="1329" y="1140"/>
                  </a:lnTo>
                  <a:lnTo>
                    <a:pt x="1300" y="1134"/>
                  </a:lnTo>
                  <a:lnTo>
                    <a:pt x="1273" y="1128"/>
                  </a:lnTo>
                  <a:lnTo>
                    <a:pt x="1244" y="1120"/>
                  </a:lnTo>
                  <a:lnTo>
                    <a:pt x="1217" y="1113"/>
                  </a:lnTo>
                  <a:lnTo>
                    <a:pt x="1190" y="1105"/>
                  </a:lnTo>
                  <a:lnTo>
                    <a:pt x="1163" y="1097"/>
                  </a:lnTo>
                  <a:lnTo>
                    <a:pt x="1135" y="1087"/>
                  </a:lnTo>
                  <a:lnTo>
                    <a:pt x="1110" y="1077"/>
                  </a:lnTo>
                  <a:lnTo>
                    <a:pt x="1083" y="1066"/>
                  </a:lnTo>
                  <a:lnTo>
                    <a:pt x="1057" y="1055"/>
                  </a:lnTo>
                  <a:lnTo>
                    <a:pt x="1032" y="1044"/>
                  </a:lnTo>
                  <a:lnTo>
                    <a:pt x="1006" y="1031"/>
                  </a:lnTo>
                  <a:lnTo>
                    <a:pt x="982" y="1018"/>
                  </a:lnTo>
                  <a:lnTo>
                    <a:pt x="957" y="1004"/>
                  </a:lnTo>
                  <a:lnTo>
                    <a:pt x="934" y="989"/>
                  </a:lnTo>
                  <a:lnTo>
                    <a:pt x="910" y="975"/>
                  </a:lnTo>
                  <a:lnTo>
                    <a:pt x="887" y="959"/>
                  </a:lnTo>
                  <a:lnTo>
                    <a:pt x="863" y="943"/>
                  </a:lnTo>
                  <a:lnTo>
                    <a:pt x="841" y="927"/>
                  </a:lnTo>
                  <a:lnTo>
                    <a:pt x="819" y="910"/>
                  </a:lnTo>
                  <a:lnTo>
                    <a:pt x="797" y="893"/>
                  </a:lnTo>
                  <a:lnTo>
                    <a:pt x="776" y="875"/>
                  </a:lnTo>
                  <a:lnTo>
                    <a:pt x="756" y="857"/>
                  </a:lnTo>
                  <a:lnTo>
                    <a:pt x="735" y="838"/>
                  </a:lnTo>
                  <a:lnTo>
                    <a:pt x="715" y="819"/>
                  </a:lnTo>
                  <a:lnTo>
                    <a:pt x="696" y="798"/>
                  </a:lnTo>
                  <a:lnTo>
                    <a:pt x="677" y="778"/>
                  </a:lnTo>
                  <a:lnTo>
                    <a:pt x="659" y="757"/>
                  </a:lnTo>
                  <a:lnTo>
                    <a:pt x="641" y="737"/>
                  </a:lnTo>
                  <a:lnTo>
                    <a:pt x="623" y="714"/>
                  </a:lnTo>
                  <a:lnTo>
                    <a:pt x="606" y="693"/>
                  </a:lnTo>
                  <a:lnTo>
                    <a:pt x="589" y="669"/>
                  </a:lnTo>
                  <a:lnTo>
                    <a:pt x="574" y="647"/>
                  </a:lnTo>
                  <a:lnTo>
                    <a:pt x="558" y="624"/>
                  </a:lnTo>
                  <a:lnTo>
                    <a:pt x="544" y="600"/>
                  </a:lnTo>
                  <a:lnTo>
                    <a:pt x="530" y="576"/>
                  </a:lnTo>
                  <a:lnTo>
                    <a:pt x="516" y="551"/>
                  </a:lnTo>
                  <a:lnTo>
                    <a:pt x="503" y="527"/>
                  </a:lnTo>
                  <a:lnTo>
                    <a:pt x="490" y="502"/>
                  </a:lnTo>
                  <a:lnTo>
                    <a:pt x="479" y="477"/>
                  </a:lnTo>
                  <a:lnTo>
                    <a:pt x="467" y="451"/>
                  </a:lnTo>
                  <a:lnTo>
                    <a:pt x="456" y="424"/>
                  </a:lnTo>
                  <a:lnTo>
                    <a:pt x="447" y="398"/>
                  </a:lnTo>
                  <a:lnTo>
                    <a:pt x="437" y="371"/>
                  </a:lnTo>
                  <a:lnTo>
                    <a:pt x="428" y="344"/>
                  </a:lnTo>
                  <a:lnTo>
                    <a:pt x="420" y="317"/>
                  </a:lnTo>
                  <a:lnTo>
                    <a:pt x="412" y="289"/>
                  </a:lnTo>
                  <a:lnTo>
                    <a:pt x="406" y="261"/>
                  </a:lnTo>
                  <a:lnTo>
                    <a:pt x="400" y="233"/>
                  </a:lnTo>
                  <a:lnTo>
                    <a:pt x="394" y="205"/>
                  </a:lnTo>
                  <a:lnTo>
                    <a:pt x="390" y="176"/>
                  </a:lnTo>
                  <a:lnTo>
                    <a:pt x="386" y="147"/>
                  </a:lnTo>
                  <a:lnTo>
                    <a:pt x="383" y="118"/>
                  </a:lnTo>
                  <a:lnTo>
                    <a:pt x="379" y="90"/>
                  </a:lnTo>
                  <a:lnTo>
                    <a:pt x="378" y="60"/>
                  </a:lnTo>
                  <a:lnTo>
                    <a:pt x="376" y="30"/>
                  </a:lnTo>
                  <a:lnTo>
                    <a:pt x="376" y="0"/>
                  </a:lnTo>
                  <a:lnTo>
                    <a:pt x="0" y="0"/>
                  </a:lnTo>
                  <a:lnTo>
                    <a:pt x="0" y="0"/>
                  </a:lnTo>
                  <a:lnTo>
                    <a:pt x="0" y="39"/>
                  </a:lnTo>
                  <a:lnTo>
                    <a:pt x="1" y="79"/>
                  </a:lnTo>
                  <a:lnTo>
                    <a:pt x="4" y="118"/>
                  </a:lnTo>
                  <a:lnTo>
                    <a:pt x="7" y="157"/>
                  </a:lnTo>
                  <a:lnTo>
                    <a:pt x="12" y="195"/>
                  </a:lnTo>
                  <a:lnTo>
                    <a:pt x="17" y="233"/>
                  </a:lnTo>
                  <a:lnTo>
                    <a:pt x="23" y="272"/>
                  </a:lnTo>
                  <a:lnTo>
                    <a:pt x="31" y="309"/>
                  </a:lnTo>
                  <a:lnTo>
                    <a:pt x="38" y="346"/>
                  </a:lnTo>
                  <a:lnTo>
                    <a:pt x="48" y="384"/>
                  </a:lnTo>
                  <a:lnTo>
                    <a:pt x="57" y="420"/>
                  </a:lnTo>
                  <a:lnTo>
                    <a:pt x="68" y="456"/>
                  </a:lnTo>
                  <a:lnTo>
                    <a:pt x="80" y="493"/>
                  </a:lnTo>
                  <a:lnTo>
                    <a:pt x="93" y="528"/>
                  </a:lnTo>
                  <a:lnTo>
                    <a:pt x="105" y="563"/>
                  </a:lnTo>
                  <a:lnTo>
                    <a:pt x="120" y="597"/>
                  </a:lnTo>
                  <a:lnTo>
                    <a:pt x="135" y="631"/>
                  </a:lnTo>
                  <a:lnTo>
                    <a:pt x="151" y="665"/>
                  </a:lnTo>
                  <a:lnTo>
                    <a:pt x="167" y="698"/>
                  </a:lnTo>
                  <a:lnTo>
                    <a:pt x="184" y="731"/>
                  </a:lnTo>
                  <a:lnTo>
                    <a:pt x="202" y="763"/>
                  </a:lnTo>
                  <a:lnTo>
                    <a:pt x="222" y="795"/>
                  </a:lnTo>
                  <a:lnTo>
                    <a:pt x="241" y="827"/>
                  </a:lnTo>
                  <a:lnTo>
                    <a:pt x="261" y="858"/>
                  </a:lnTo>
                  <a:lnTo>
                    <a:pt x="282" y="888"/>
                  </a:lnTo>
                  <a:lnTo>
                    <a:pt x="305" y="918"/>
                  </a:lnTo>
                  <a:lnTo>
                    <a:pt x="327" y="947"/>
                  </a:lnTo>
                  <a:lnTo>
                    <a:pt x="350" y="975"/>
                  </a:lnTo>
                  <a:lnTo>
                    <a:pt x="374" y="1004"/>
                  </a:lnTo>
                  <a:lnTo>
                    <a:pt x="397" y="1032"/>
                  </a:lnTo>
                  <a:lnTo>
                    <a:pt x="423" y="1059"/>
                  </a:lnTo>
                  <a:lnTo>
                    <a:pt x="449" y="1085"/>
                  </a:lnTo>
                  <a:lnTo>
                    <a:pt x="475" y="1111"/>
                  </a:lnTo>
                  <a:lnTo>
                    <a:pt x="502" y="1135"/>
                  </a:lnTo>
                  <a:lnTo>
                    <a:pt x="530" y="1160"/>
                  </a:lnTo>
                  <a:lnTo>
                    <a:pt x="557" y="1183"/>
                  </a:lnTo>
                  <a:lnTo>
                    <a:pt x="586" y="1207"/>
                  </a:lnTo>
                  <a:lnTo>
                    <a:pt x="616" y="1229"/>
                  </a:lnTo>
                  <a:lnTo>
                    <a:pt x="646" y="1252"/>
                  </a:lnTo>
                  <a:lnTo>
                    <a:pt x="676" y="1272"/>
                  </a:lnTo>
                  <a:lnTo>
                    <a:pt x="707" y="1292"/>
                  </a:lnTo>
                  <a:lnTo>
                    <a:pt x="738" y="1312"/>
                  </a:lnTo>
                  <a:lnTo>
                    <a:pt x="770" y="1330"/>
                  </a:lnTo>
                  <a:lnTo>
                    <a:pt x="803" y="1349"/>
                  </a:lnTo>
                  <a:lnTo>
                    <a:pt x="836" y="1367"/>
                  </a:lnTo>
                  <a:lnTo>
                    <a:pt x="869" y="1383"/>
                  </a:lnTo>
                  <a:lnTo>
                    <a:pt x="902" y="1399"/>
                  </a:lnTo>
                  <a:lnTo>
                    <a:pt x="937" y="1414"/>
                  </a:lnTo>
                  <a:lnTo>
                    <a:pt x="971" y="1427"/>
                  </a:lnTo>
                  <a:lnTo>
                    <a:pt x="1006" y="1441"/>
                  </a:lnTo>
                  <a:lnTo>
                    <a:pt x="1041" y="1453"/>
                  </a:lnTo>
                  <a:lnTo>
                    <a:pt x="1078" y="1465"/>
                  </a:lnTo>
                  <a:lnTo>
                    <a:pt x="1114" y="1475"/>
                  </a:lnTo>
                  <a:lnTo>
                    <a:pt x="1150" y="1486"/>
                  </a:lnTo>
                  <a:lnTo>
                    <a:pt x="1187" y="1495"/>
                  </a:lnTo>
                  <a:lnTo>
                    <a:pt x="1225" y="1503"/>
                  </a:lnTo>
                  <a:lnTo>
                    <a:pt x="1262" y="1511"/>
                  </a:lnTo>
                  <a:lnTo>
                    <a:pt x="1300" y="1516"/>
                  </a:lnTo>
                  <a:lnTo>
                    <a:pt x="1338" y="1522"/>
                  </a:lnTo>
                  <a:lnTo>
                    <a:pt x="1377" y="1527"/>
                  </a:lnTo>
                  <a:lnTo>
                    <a:pt x="1416" y="1530"/>
                  </a:lnTo>
                  <a:lnTo>
                    <a:pt x="1455" y="1532"/>
                  </a:lnTo>
                  <a:lnTo>
                    <a:pt x="1494" y="1534"/>
                  </a:lnTo>
                  <a:lnTo>
                    <a:pt x="1534" y="1534"/>
                  </a:lnTo>
                  <a:lnTo>
                    <a:pt x="1534" y="1534"/>
                  </a:lnTo>
                  <a:lnTo>
                    <a:pt x="1573" y="1534"/>
                  </a:lnTo>
                  <a:lnTo>
                    <a:pt x="1613" y="1532"/>
                  </a:lnTo>
                  <a:lnTo>
                    <a:pt x="1651" y="1530"/>
                  </a:lnTo>
                  <a:lnTo>
                    <a:pt x="1691" y="1527"/>
                  </a:lnTo>
                  <a:lnTo>
                    <a:pt x="1729" y="1522"/>
                  </a:lnTo>
                  <a:lnTo>
                    <a:pt x="1767" y="1516"/>
                  </a:lnTo>
                  <a:lnTo>
                    <a:pt x="1805" y="1511"/>
                  </a:lnTo>
                  <a:lnTo>
                    <a:pt x="1843" y="1503"/>
                  </a:lnTo>
                  <a:lnTo>
                    <a:pt x="1880" y="1495"/>
                  </a:lnTo>
                  <a:lnTo>
                    <a:pt x="1917" y="1486"/>
                  </a:lnTo>
                  <a:lnTo>
                    <a:pt x="1954" y="1475"/>
                  </a:lnTo>
                  <a:lnTo>
                    <a:pt x="1990" y="1465"/>
                  </a:lnTo>
                  <a:lnTo>
                    <a:pt x="2025" y="1453"/>
                  </a:lnTo>
                  <a:lnTo>
                    <a:pt x="2062" y="1441"/>
                  </a:lnTo>
                  <a:lnTo>
                    <a:pt x="2096" y="1427"/>
                  </a:lnTo>
                  <a:lnTo>
                    <a:pt x="2131" y="1414"/>
                  </a:lnTo>
                  <a:lnTo>
                    <a:pt x="2165" y="1399"/>
                  </a:lnTo>
                  <a:lnTo>
                    <a:pt x="2199" y="1383"/>
                  </a:lnTo>
                  <a:lnTo>
                    <a:pt x="2232" y="1367"/>
                  </a:lnTo>
                  <a:lnTo>
                    <a:pt x="2265" y="1349"/>
                  </a:lnTo>
                  <a:lnTo>
                    <a:pt x="2297" y="1330"/>
                  </a:lnTo>
                  <a:lnTo>
                    <a:pt x="2329" y="1312"/>
                  </a:lnTo>
                  <a:lnTo>
                    <a:pt x="2360" y="1292"/>
                  </a:lnTo>
                  <a:lnTo>
                    <a:pt x="2391" y="1272"/>
                  </a:lnTo>
                  <a:lnTo>
                    <a:pt x="2422" y="1252"/>
                  </a:lnTo>
                  <a:lnTo>
                    <a:pt x="2452" y="1229"/>
                  </a:lnTo>
                  <a:lnTo>
                    <a:pt x="2481" y="1207"/>
                  </a:lnTo>
                  <a:lnTo>
                    <a:pt x="2509" y="1183"/>
                  </a:lnTo>
                  <a:lnTo>
                    <a:pt x="2537" y="1160"/>
                  </a:lnTo>
                  <a:lnTo>
                    <a:pt x="2565" y="1135"/>
                  </a:lnTo>
                  <a:lnTo>
                    <a:pt x="2593" y="1111"/>
                  </a:lnTo>
                  <a:lnTo>
                    <a:pt x="2618" y="1085"/>
                  </a:lnTo>
                  <a:lnTo>
                    <a:pt x="2644" y="1059"/>
                  </a:lnTo>
                  <a:lnTo>
                    <a:pt x="2669" y="1032"/>
                  </a:lnTo>
                  <a:lnTo>
                    <a:pt x="2694" y="1004"/>
                  </a:lnTo>
                  <a:lnTo>
                    <a:pt x="2717" y="975"/>
                  </a:lnTo>
                  <a:lnTo>
                    <a:pt x="2741" y="947"/>
                  </a:lnTo>
                  <a:lnTo>
                    <a:pt x="2763" y="918"/>
                  </a:lnTo>
                  <a:lnTo>
                    <a:pt x="2784" y="888"/>
                  </a:lnTo>
                  <a:lnTo>
                    <a:pt x="2806" y="858"/>
                  </a:lnTo>
                  <a:lnTo>
                    <a:pt x="2826" y="827"/>
                  </a:lnTo>
                  <a:lnTo>
                    <a:pt x="2845" y="795"/>
                  </a:lnTo>
                  <a:lnTo>
                    <a:pt x="2864" y="763"/>
                  </a:lnTo>
                  <a:lnTo>
                    <a:pt x="2883" y="731"/>
                  </a:lnTo>
                  <a:lnTo>
                    <a:pt x="2900" y="698"/>
                  </a:lnTo>
                  <a:lnTo>
                    <a:pt x="2917" y="665"/>
                  </a:lnTo>
                  <a:lnTo>
                    <a:pt x="2933" y="631"/>
                  </a:lnTo>
                  <a:lnTo>
                    <a:pt x="2948" y="597"/>
                  </a:lnTo>
                  <a:lnTo>
                    <a:pt x="2961" y="563"/>
                  </a:lnTo>
                  <a:lnTo>
                    <a:pt x="2974" y="528"/>
                  </a:lnTo>
                  <a:lnTo>
                    <a:pt x="2987" y="493"/>
                  </a:lnTo>
                  <a:lnTo>
                    <a:pt x="2999" y="456"/>
                  </a:lnTo>
                  <a:lnTo>
                    <a:pt x="3009" y="420"/>
                  </a:lnTo>
                  <a:lnTo>
                    <a:pt x="3019" y="384"/>
                  </a:lnTo>
                  <a:lnTo>
                    <a:pt x="3029" y="346"/>
                  </a:lnTo>
                  <a:lnTo>
                    <a:pt x="3037" y="309"/>
                  </a:lnTo>
                  <a:lnTo>
                    <a:pt x="3043" y="272"/>
                  </a:lnTo>
                  <a:lnTo>
                    <a:pt x="3050" y="233"/>
                  </a:lnTo>
                  <a:lnTo>
                    <a:pt x="3055" y="195"/>
                  </a:lnTo>
                  <a:lnTo>
                    <a:pt x="3059" y="157"/>
                  </a:lnTo>
                  <a:lnTo>
                    <a:pt x="3064" y="118"/>
                  </a:lnTo>
                  <a:lnTo>
                    <a:pt x="3066" y="79"/>
                  </a:lnTo>
                  <a:lnTo>
                    <a:pt x="3067" y="39"/>
                  </a:lnTo>
                  <a:lnTo>
                    <a:pt x="3068" y="0"/>
                  </a:lnTo>
                  <a:lnTo>
                    <a:pt x="2691" y="0"/>
                  </a:lnTo>
                  <a:lnTo>
                    <a:pt x="2691" y="0"/>
                  </a:lnTo>
                  <a:lnTo>
                    <a:pt x="2691" y="30"/>
                  </a:lnTo>
                  <a:lnTo>
                    <a:pt x="2690" y="60"/>
                  </a:lnTo>
                  <a:lnTo>
                    <a:pt x="2687" y="90"/>
                  </a:lnTo>
                  <a:lnTo>
                    <a:pt x="2685" y="118"/>
                  </a:lnTo>
                  <a:lnTo>
                    <a:pt x="2682" y="147"/>
                  </a:lnTo>
                  <a:lnTo>
                    <a:pt x="2678" y="176"/>
                  </a:lnTo>
                  <a:lnTo>
                    <a:pt x="2672" y="205"/>
                  </a:lnTo>
                  <a:lnTo>
                    <a:pt x="2667" y="233"/>
                  </a:lnTo>
                  <a:lnTo>
                    <a:pt x="2661" y="261"/>
                  </a:lnTo>
                  <a:lnTo>
                    <a:pt x="2654" y="289"/>
                  </a:lnTo>
                  <a:lnTo>
                    <a:pt x="2647" y="317"/>
                  </a:lnTo>
                  <a:lnTo>
                    <a:pt x="2638" y="344"/>
                  </a:lnTo>
                  <a:lnTo>
                    <a:pt x="2630" y="371"/>
                  </a:lnTo>
                  <a:lnTo>
                    <a:pt x="2620" y="398"/>
                  </a:lnTo>
                  <a:lnTo>
                    <a:pt x="2611" y="424"/>
                  </a:lnTo>
                  <a:lnTo>
                    <a:pt x="2600" y="451"/>
                  </a:lnTo>
                  <a:lnTo>
                    <a:pt x="2588" y="477"/>
                  </a:lnTo>
                  <a:lnTo>
                    <a:pt x="2577" y="502"/>
                  </a:lnTo>
                  <a:lnTo>
                    <a:pt x="2565" y="527"/>
                  </a:lnTo>
                  <a:lnTo>
                    <a:pt x="2551" y="551"/>
                  </a:lnTo>
                  <a:lnTo>
                    <a:pt x="2537" y="576"/>
                  </a:lnTo>
                  <a:lnTo>
                    <a:pt x="2523" y="600"/>
                  </a:lnTo>
                  <a:lnTo>
                    <a:pt x="2508" y="624"/>
                  </a:lnTo>
                  <a:lnTo>
                    <a:pt x="2493" y="647"/>
                  </a:lnTo>
                  <a:lnTo>
                    <a:pt x="2477" y="669"/>
                  </a:lnTo>
                  <a:lnTo>
                    <a:pt x="2461" y="693"/>
                  </a:lnTo>
                  <a:lnTo>
                    <a:pt x="2444" y="714"/>
                  </a:lnTo>
                  <a:lnTo>
                    <a:pt x="2426" y="737"/>
                  </a:lnTo>
                  <a:lnTo>
                    <a:pt x="2409" y="757"/>
                  </a:lnTo>
                  <a:lnTo>
                    <a:pt x="2390" y="778"/>
                  </a:lnTo>
                  <a:lnTo>
                    <a:pt x="2372" y="798"/>
                  </a:lnTo>
                  <a:lnTo>
                    <a:pt x="2352" y="819"/>
                  </a:lnTo>
                  <a:lnTo>
                    <a:pt x="2332" y="838"/>
                  </a:lnTo>
                  <a:lnTo>
                    <a:pt x="2312" y="857"/>
                  </a:lnTo>
                  <a:lnTo>
                    <a:pt x="2291" y="875"/>
                  </a:lnTo>
                  <a:lnTo>
                    <a:pt x="2270" y="893"/>
                  </a:lnTo>
                  <a:lnTo>
                    <a:pt x="2248" y="910"/>
                  </a:lnTo>
                  <a:lnTo>
                    <a:pt x="2226" y="927"/>
                  </a:lnTo>
                  <a:lnTo>
                    <a:pt x="2203" y="943"/>
                  </a:lnTo>
                  <a:lnTo>
                    <a:pt x="2181" y="959"/>
                  </a:lnTo>
                  <a:lnTo>
                    <a:pt x="2158" y="975"/>
                  </a:lnTo>
                  <a:lnTo>
                    <a:pt x="2134" y="989"/>
                  </a:lnTo>
                  <a:lnTo>
                    <a:pt x="2110" y="1004"/>
                  </a:lnTo>
                  <a:lnTo>
                    <a:pt x="2085" y="1018"/>
                  </a:lnTo>
                  <a:lnTo>
                    <a:pt x="2061" y="1031"/>
                  </a:lnTo>
                  <a:lnTo>
                    <a:pt x="2035" y="1044"/>
                  </a:lnTo>
                  <a:lnTo>
                    <a:pt x="2009" y="1055"/>
                  </a:lnTo>
                  <a:lnTo>
                    <a:pt x="1984" y="1066"/>
                  </a:lnTo>
                  <a:lnTo>
                    <a:pt x="1958" y="1077"/>
                  </a:lnTo>
                  <a:lnTo>
                    <a:pt x="1932" y="1087"/>
                  </a:lnTo>
                  <a:lnTo>
                    <a:pt x="1905" y="1097"/>
                  </a:lnTo>
                  <a:lnTo>
                    <a:pt x="1878" y="1105"/>
                  </a:lnTo>
                  <a:lnTo>
                    <a:pt x="1851" y="1113"/>
                  </a:lnTo>
                  <a:lnTo>
                    <a:pt x="1823" y="1120"/>
                  </a:lnTo>
                  <a:lnTo>
                    <a:pt x="1795" y="1128"/>
                  </a:lnTo>
                  <a:lnTo>
                    <a:pt x="1766" y="1134"/>
                  </a:lnTo>
                  <a:lnTo>
                    <a:pt x="1739" y="1140"/>
                  </a:lnTo>
                  <a:lnTo>
                    <a:pt x="1710" y="1144"/>
                  </a:lnTo>
                  <a:lnTo>
                    <a:pt x="1681" y="1148"/>
                  </a:lnTo>
                  <a:lnTo>
                    <a:pt x="1652" y="1151"/>
                  </a:lnTo>
                  <a:lnTo>
                    <a:pt x="1622" y="1153"/>
                  </a:lnTo>
                  <a:lnTo>
                    <a:pt x="1594" y="1156"/>
                  </a:lnTo>
                  <a:lnTo>
                    <a:pt x="1564" y="1157"/>
                  </a:lnTo>
                  <a:lnTo>
                    <a:pt x="1534" y="1158"/>
                  </a:lnTo>
                  <a:lnTo>
                    <a:pt x="1534" y="1158"/>
                  </a:lnTo>
                  <a:close/>
                </a:path>
              </a:pathLst>
            </a:custGeom>
            <a:solidFill>
              <a:schemeClr val="accent1">
                <a:lumMod val="40000"/>
                <a:lumOff val="60000"/>
              </a:schemeClr>
            </a:solidFill>
            <a:ln>
              <a:noFill/>
            </a:ln>
          </p:spPr>
          <p:txBody>
            <a:bodyPr anchor="ctr"/>
            <a:lstStyle/>
            <a:p>
              <a:pPr algn="ctr"/>
              <a:endParaRPr sz="1100">
                <a:solidFill>
                  <a:schemeClr val="bg1">
                    <a:lumMod val="50000"/>
                  </a:schemeClr>
                </a:solidFill>
              </a:endParaRPr>
            </a:p>
          </p:txBody>
        </p:sp>
        <p:sp>
          <p:nvSpPr>
            <p:cNvPr id="16" name="Freeform: Shape 30"/>
            <p:cNvSpPr/>
            <p:nvPr/>
          </p:nvSpPr>
          <p:spPr bwMode="auto">
            <a:xfrm>
              <a:off x="9214317" y="3810961"/>
              <a:ext cx="522489" cy="510424"/>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124 w 236"/>
                <a:gd name="T11" fmla="*/ 56 h 236"/>
                <a:gd name="T12" fmla="*/ 144 w 236"/>
                <a:gd name="T13" fmla="*/ 46 h 236"/>
                <a:gd name="T14" fmla="*/ 137 w 236"/>
                <a:gd name="T15" fmla="*/ 67 h 236"/>
                <a:gd name="T16" fmla="*/ 117 w 236"/>
                <a:gd name="T17" fmla="*/ 77 h 236"/>
                <a:gd name="T18" fmla="*/ 124 w 236"/>
                <a:gd name="T19" fmla="*/ 56 h 236"/>
                <a:gd name="T20" fmla="*/ 162 w 236"/>
                <a:gd name="T21" fmla="*/ 164 h 236"/>
                <a:gd name="T22" fmla="*/ 142 w 236"/>
                <a:gd name="T23" fmla="*/ 181 h 236"/>
                <a:gd name="T24" fmla="*/ 119 w 236"/>
                <a:gd name="T25" fmla="*/ 175 h 236"/>
                <a:gd name="T26" fmla="*/ 97 w 236"/>
                <a:gd name="T27" fmla="*/ 181 h 236"/>
                <a:gd name="T28" fmla="*/ 76 w 236"/>
                <a:gd name="T29" fmla="*/ 164 h 236"/>
                <a:gd name="T30" fmla="*/ 67 w 236"/>
                <a:gd name="T31" fmla="*/ 96 h 236"/>
                <a:gd name="T32" fmla="*/ 95 w 236"/>
                <a:gd name="T33" fmla="*/ 79 h 236"/>
                <a:gd name="T34" fmla="*/ 118 w 236"/>
                <a:gd name="T35" fmla="*/ 85 h 236"/>
                <a:gd name="T36" fmla="*/ 143 w 236"/>
                <a:gd name="T37" fmla="*/ 79 h 236"/>
                <a:gd name="T38" fmla="*/ 168 w 236"/>
                <a:gd name="T39" fmla="*/ 92 h 236"/>
                <a:gd name="T40" fmla="*/ 154 w 236"/>
                <a:gd name="T41" fmla="*/ 118 h 236"/>
                <a:gd name="T42" fmla="*/ 172 w 236"/>
                <a:gd name="T43" fmla="*/ 145 h 236"/>
                <a:gd name="T44" fmla="*/ 162 w 236"/>
                <a:gd name="T45" fmla="*/ 16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6" h="236">
                  <a:moveTo>
                    <a:pt x="118" y="0"/>
                  </a:moveTo>
                  <a:cubicBezTo>
                    <a:pt x="53" y="0"/>
                    <a:pt x="0" y="53"/>
                    <a:pt x="0" y="118"/>
                  </a:cubicBezTo>
                  <a:cubicBezTo>
                    <a:pt x="0" y="183"/>
                    <a:pt x="53" y="236"/>
                    <a:pt x="118" y="236"/>
                  </a:cubicBezTo>
                  <a:cubicBezTo>
                    <a:pt x="183" y="236"/>
                    <a:pt x="236" y="183"/>
                    <a:pt x="236" y="118"/>
                  </a:cubicBezTo>
                  <a:cubicBezTo>
                    <a:pt x="236" y="53"/>
                    <a:pt x="183" y="0"/>
                    <a:pt x="118" y="0"/>
                  </a:cubicBezTo>
                  <a:close/>
                  <a:moveTo>
                    <a:pt x="124" y="56"/>
                  </a:moveTo>
                  <a:cubicBezTo>
                    <a:pt x="129" y="50"/>
                    <a:pt x="137" y="46"/>
                    <a:pt x="144" y="46"/>
                  </a:cubicBezTo>
                  <a:cubicBezTo>
                    <a:pt x="144" y="54"/>
                    <a:pt x="141" y="62"/>
                    <a:pt x="137" y="67"/>
                  </a:cubicBezTo>
                  <a:cubicBezTo>
                    <a:pt x="132" y="73"/>
                    <a:pt x="124" y="78"/>
                    <a:pt x="117" y="77"/>
                  </a:cubicBezTo>
                  <a:cubicBezTo>
                    <a:pt x="115" y="69"/>
                    <a:pt x="119" y="61"/>
                    <a:pt x="124" y="56"/>
                  </a:cubicBezTo>
                  <a:close/>
                  <a:moveTo>
                    <a:pt x="162" y="164"/>
                  </a:moveTo>
                  <a:cubicBezTo>
                    <a:pt x="157" y="172"/>
                    <a:pt x="151" y="180"/>
                    <a:pt x="142" y="181"/>
                  </a:cubicBezTo>
                  <a:cubicBezTo>
                    <a:pt x="133" y="181"/>
                    <a:pt x="130" y="175"/>
                    <a:pt x="119" y="175"/>
                  </a:cubicBezTo>
                  <a:cubicBezTo>
                    <a:pt x="109" y="175"/>
                    <a:pt x="106" y="180"/>
                    <a:pt x="97" y="181"/>
                  </a:cubicBezTo>
                  <a:cubicBezTo>
                    <a:pt x="88" y="181"/>
                    <a:pt x="82" y="172"/>
                    <a:pt x="76" y="164"/>
                  </a:cubicBezTo>
                  <a:cubicBezTo>
                    <a:pt x="64" y="147"/>
                    <a:pt x="55" y="116"/>
                    <a:pt x="67" y="96"/>
                  </a:cubicBezTo>
                  <a:cubicBezTo>
                    <a:pt x="73" y="85"/>
                    <a:pt x="84" y="79"/>
                    <a:pt x="95" y="79"/>
                  </a:cubicBezTo>
                  <a:cubicBezTo>
                    <a:pt x="104" y="79"/>
                    <a:pt x="112" y="85"/>
                    <a:pt x="118" y="85"/>
                  </a:cubicBezTo>
                  <a:cubicBezTo>
                    <a:pt x="123" y="85"/>
                    <a:pt x="133" y="77"/>
                    <a:pt x="143" y="79"/>
                  </a:cubicBezTo>
                  <a:cubicBezTo>
                    <a:pt x="148" y="79"/>
                    <a:pt x="160" y="80"/>
                    <a:pt x="168" y="92"/>
                  </a:cubicBezTo>
                  <a:cubicBezTo>
                    <a:pt x="167" y="92"/>
                    <a:pt x="153" y="100"/>
                    <a:pt x="154" y="118"/>
                  </a:cubicBezTo>
                  <a:cubicBezTo>
                    <a:pt x="154" y="138"/>
                    <a:pt x="171" y="145"/>
                    <a:pt x="172" y="145"/>
                  </a:cubicBezTo>
                  <a:cubicBezTo>
                    <a:pt x="171" y="145"/>
                    <a:pt x="169" y="155"/>
                    <a:pt x="162" y="164"/>
                  </a:cubicBezTo>
                  <a:close/>
                </a:path>
              </a:pathLst>
            </a:custGeom>
            <a:solidFill>
              <a:srgbClr val="FFC3AB"/>
            </a:solidFill>
            <a:ln>
              <a:noFill/>
            </a:ln>
          </p:spPr>
          <p:txBody>
            <a:bodyPr anchor="ctr"/>
            <a:lstStyle/>
            <a:p>
              <a:pPr algn="ctr"/>
              <a:endParaRPr sz="1100">
                <a:solidFill>
                  <a:schemeClr val="bg1">
                    <a:lumMod val="50000"/>
                  </a:schemeClr>
                </a:solidFill>
              </a:endParaRPr>
            </a:p>
          </p:txBody>
        </p:sp>
        <p:sp>
          <p:nvSpPr>
            <p:cNvPr id="17" name="Freeform: Shape 31"/>
            <p:cNvSpPr/>
            <p:nvPr/>
          </p:nvSpPr>
          <p:spPr bwMode="auto">
            <a:xfrm>
              <a:off x="6955031" y="2951150"/>
              <a:ext cx="522489" cy="510424"/>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106 w 236"/>
                <a:gd name="T11" fmla="*/ 171 h 236"/>
                <a:gd name="T12" fmla="*/ 54 w 236"/>
                <a:gd name="T13" fmla="*/ 163 h 236"/>
                <a:gd name="T14" fmla="*/ 54 w 236"/>
                <a:gd name="T15" fmla="*/ 121 h 236"/>
                <a:gd name="T16" fmla="*/ 106 w 236"/>
                <a:gd name="T17" fmla="*/ 121 h 236"/>
                <a:gd name="T18" fmla="*/ 106 w 236"/>
                <a:gd name="T19" fmla="*/ 171 h 236"/>
                <a:gd name="T20" fmla="*/ 106 w 236"/>
                <a:gd name="T21" fmla="*/ 114 h 236"/>
                <a:gd name="T22" fmla="*/ 54 w 236"/>
                <a:gd name="T23" fmla="*/ 114 h 236"/>
                <a:gd name="T24" fmla="*/ 54 w 236"/>
                <a:gd name="T25" fmla="*/ 72 h 236"/>
                <a:gd name="T26" fmla="*/ 106 w 236"/>
                <a:gd name="T27" fmla="*/ 64 h 236"/>
                <a:gd name="T28" fmla="*/ 106 w 236"/>
                <a:gd name="T29" fmla="*/ 114 h 236"/>
                <a:gd name="T30" fmla="*/ 182 w 236"/>
                <a:gd name="T31" fmla="*/ 182 h 236"/>
                <a:gd name="T32" fmla="*/ 113 w 236"/>
                <a:gd name="T33" fmla="*/ 172 h 236"/>
                <a:gd name="T34" fmla="*/ 113 w 236"/>
                <a:gd name="T35" fmla="*/ 121 h 236"/>
                <a:gd name="T36" fmla="*/ 182 w 236"/>
                <a:gd name="T37" fmla="*/ 121 h 236"/>
                <a:gd name="T38" fmla="*/ 182 w 236"/>
                <a:gd name="T39" fmla="*/ 182 h 236"/>
                <a:gd name="T40" fmla="*/ 182 w 236"/>
                <a:gd name="T41" fmla="*/ 114 h 236"/>
                <a:gd name="T42" fmla="*/ 113 w 236"/>
                <a:gd name="T43" fmla="*/ 114 h 236"/>
                <a:gd name="T44" fmla="*/ 113 w 236"/>
                <a:gd name="T45" fmla="*/ 63 h 236"/>
                <a:gd name="T46" fmla="*/ 182 w 236"/>
                <a:gd name="T47" fmla="*/ 53 h 236"/>
                <a:gd name="T48" fmla="*/ 182 w 236"/>
                <a:gd name="T49" fmla="*/ 1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6" h="236">
                  <a:moveTo>
                    <a:pt x="118" y="0"/>
                  </a:moveTo>
                  <a:cubicBezTo>
                    <a:pt x="53" y="0"/>
                    <a:pt x="0" y="53"/>
                    <a:pt x="0" y="118"/>
                  </a:cubicBezTo>
                  <a:cubicBezTo>
                    <a:pt x="0" y="183"/>
                    <a:pt x="53" y="236"/>
                    <a:pt x="118" y="236"/>
                  </a:cubicBezTo>
                  <a:cubicBezTo>
                    <a:pt x="183" y="236"/>
                    <a:pt x="236" y="183"/>
                    <a:pt x="236" y="118"/>
                  </a:cubicBezTo>
                  <a:cubicBezTo>
                    <a:pt x="236" y="53"/>
                    <a:pt x="183" y="0"/>
                    <a:pt x="118" y="0"/>
                  </a:cubicBezTo>
                  <a:close/>
                  <a:moveTo>
                    <a:pt x="106" y="171"/>
                  </a:moveTo>
                  <a:cubicBezTo>
                    <a:pt x="54" y="163"/>
                    <a:pt x="54" y="163"/>
                    <a:pt x="54" y="163"/>
                  </a:cubicBezTo>
                  <a:cubicBezTo>
                    <a:pt x="54" y="121"/>
                    <a:pt x="54" y="121"/>
                    <a:pt x="54" y="121"/>
                  </a:cubicBezTo>
                  <a:cubicBezTo>
                    <a:pt x="106" y="121"/>
                    <a:pt x="106" y="121"/>
                    <a:pt x="106" y="121"/>
                  </a:cubicBezTo>
                  <a:lnTo>
                    <a:pt x="106" y="171"/>
                  </a:lnTo>
                  <a:close/>
                  <a:moveTo>
                    <a:pt x="106" y="114"/>
                  </a:moveTo>
                  <a:cubicBezTo>
                    <a:pt x="54" y="114"/>
                    <a:pt x="54" y="114"/>
                    <a:pt x="54" y="114"/>
                  </a:cubicBezTo>
                  <a:cubicBezTo>
                    <a:pt x="54" y="72"/>
                    <a:pt x="54" y="72"/>
                    <a:pt x="54" y="72"/>
                  </a:cubicBezTo>
                  <a:cubicBezTo>
                    <a:pt x="106" y="64"/>
                    <a:pt x="106" y="64"/>
                    <a:pt x="106" y="64"/>
                  </a:cubicBezTo>
                  <a:lnTo>
                    <a:pt x="106" y="114"/>
                  </a:lnTo>
                  <a:close/>
                  <a:moveTo>
                    <a:pt x="182" y="182"/>
                  </a:moveTo>
                  <a:cubicBezTo>
                    <a:pt x="113" y="172"/>
                    <a:pt x="113" y="172"/>
                    <a:pt x="113" y="172"/>
                  </a:cubicBezTo>
                  <a:cubicBezTo>
                    <a:pt x="113" y="121"/>
                    <a:pt x="113" y="121"/>
                    <a:pt x="113" y="121"/>
                  </a:cubicBezTo>
                  <a:cubicBezTo>
                    <a:pt x="182" y="121"/>
                    <a:pt x="182" y="121"/>
                    <a:pt x="182" y="121"/>
                  </a:cubicBezTo>
                  <a:lnTo>
                    <a:pt x="182" y="182"/>
                  </a:lnTo>
                  <a:close/>
                  <a:moveTo>
                    <a:pt x="182" y="114"/>
                  </a:moveTo>
                  <a:cubicBezTo>
                    <a:pt x="113" y="114"/>
                    <a:pt x="113" y="114"/>
                    <a:pt x="113" y="114"/>
                  </a:cubicBezTo>
                  <a:cubicBezTo>
                    <a:pt x="113" y="63"/>
                    <a:pt x="113" y="63"/>
                    <a:pt x="113" y="63"/>
                  </a:cubicBezTo>
                  <a:cubicBezTo>
                    <a:pt x="182" y="53"/>
                    <a:pt x="182" y="53"/>
                    <a:pt x="182" y="53"/>
                  </a:cubicBezTo>
                  <a:lnTo>
                    <a:pt x="182" y="114"/>
                  </a:lnTo>
                  <a:close/>
                </a:path>
              </a:pathLst>
            </a:custGeom>
            <a:solidFill>
              <a:srgbClr val="FE5817"/>
            </a:solidFill>
            <a:ln>
              <a:noFill/>
            </a:ln>
          </p:spPr>
          <p:txBody>
            <a:bodyPr anchor="ctr"/>
            <a:lstStyle/>
            <a:p>
              <a:pPr algn="ctr"/>
              <a:endParaRPr sz="1100">
                <a:solidFill>
                  <a:schemeClr val="bg1">
                    <a:lumMod val="50000"/>
                  </a:schemeClr>
                </a:solidFill>
              </a:endParaRPr>
            </a:p>
          </p:txBody>
        </p:sp>
        <p:sp>
          <p:nvSpPr>
            <p:cNvPr id="18" name="Freeform: Shape 32"/>
            <p:cNvSpPr/>
            <p:nvPr/>
          </p:nvSpPr>
          <p:spPr bwMode="auto">
            <a:xfrm>
              <a:off x="2480402" y="2951150"/>
              <a:ext cx="522489" cy="510424"/>
            </a:xfrm>
            <a:custGeom>
              <a:avLst/>
              <a:gdLst>
                <a:gd name="T0" fmla="*/ 223 w 228"/>
                <a:gd name="T1" fmla="*/ 95 h 228"/>
                <a:gd name="T2" fmla="*/ 196 w 228"/>
                <a:gd name="T3" fmla="*/ 90 h 228"/>
                <a:gd name="T4" fmla="*/ 189 w 228"/>
                <a:gd name="T5" fmla="*/ 74 h 228"/>
                <a:gd name="T6" fmla="*/ 205 w 228"/>
                <a:gd name="T7" fmla="*/ 50 h 228"/>
                <a:gd name="T8" fmla="*/ 205 w 228"/>
                <a:gd name="T9" fmla="*/ 43 h 228"/>
                <a:gd name="T10" fmla="*/ 185 w 228"/>
                <a:gd name="T11" fmla="*/ 24 h 228"/>
                <a:gd name="T12" fmla="*/ 178 w 228"/>
                <a:gd name="T13" fmla="*/ 23 h 228"/>
                <a:gd name="T14" fmla="*/ 155 w 228"/>
                <a:gd name="T15" fmla="*/ 39 h 228"/>
                <a:gd name="T16" fmla="*/ 138 w 228"/>
                <a:gd name="T17" fmla="*/ 32 h 228"/>
                <a:gd name="T18" fmla="*/ 133 w 228"/>
                <a:gd name="T19" fmla="*/ 5 h 228"/>
                <a:gd name="T20" fmla="*/ 127 w 228"/>
                <a:gd name="T21" fmla="*/ 0 h 228"/>
                <a:gd name="T22" fmla="*/ 100 w 228"/>
                <a:gd name="T23" fmla="*/ 0 h 228"/>
                <a:gd name="T24" fmla="*/ 94 w 228"/>
                <a:gd name="T25" fmla="*/ 5 h 228"/>
                <a:gd name="T26" fmla="*/ 89 w 228"/>
                <a:gd name="T27" fmla="*/ 32 h 228"/>
                <a:gd name="T28" fmla="*/ 73 w 228"/>
                <a:gd name="T29" fmla="*/ 39 h 228"/>
                <a:gd name="T30" fmla="*/ 50 w 228"/>
                <a:gd name="T31" fmla="*/ 23 h 228"/>
                <a:gd name="T32" fmla="*/ 43 w 228"/>
                <a:gd name="T33" fmla="*/ 24 h 228"/>
                <a:gd name="T34" fmla="*/ 23 w 228"/>
                <a:gd name="T35" fmla="*/ 43 h 228"/>
                <a:gd name="T36" fmla="*/ 23 w 228"/>
                <a:gd name="T37" fmla="*/ 51 h 228"/>
                <a:gd name="T38" fmla="*/ 39 w 228"/>
                <a:gd name="T39" fmla="*/ 74 h 228"/>
                <a:gd name="T40" fmla="*/ 32 w 228"/>
                <a:gd name="T41" fmla="*/ 90 h 228"/>
                <a:gd name="T42" fmla="*/ 5 w 228"/>
                <a:gd name="T43" fmla="*/ 95 h 228"/>
                <a:gd name="T44" fmla="*/ 0 w 228"/>
                <a:gd name="T45" fmla="*/ 100 h 228"/>
                <a:gd name="T46" fmla="*/ 0 w 228"/>
                <a:gd name="T47" fmla="*/ 128 h 228"/>
                <a:gd name="T48" fmla="*/ 5 w 228"/>
                <a:gd name="T49" fmla="*/ 134 h 228"/>
                <a:gd name="T50" fmla="*/ 32 w 228"/>
                <a:gd name="T51" fmla="*/ 139 h 228"/>
                <a:gd name="T52" fmla="*/ 39 w 228"/>
                <a:gd name="T53" fmla="*/ 155 h 228"/>
                <a:gd name="T54" fmla="*/ 23 w 228"/>
                <a:gd name="T55" fmla="*/ 178 h 228"/>
                <a:gd name="T56" fmla="*/ 24 w 228"/>
                <a:gd name="T57" fmla="*/ 185 h 228"/>
                <a:gd name="T58" fmla="*/ 43 w 228"/>
                <a:gd name="T59" fmla="*/ 204 h 228"/>
                <a:gd name="T60" fmla="*/ 51 w 228"/>
                <a:gd name="T61" fmla="*/ 205 h 228"/>
                <a:gd name="T62" fmla="*/ 73 w 228"/>
                <a:gd name="T63" fmla="*/ 189 h 228"/>
                <a:gd name="T64" fmla="*/ 89 w 228"/>
                <a:gd name="T65" fmla="*/ 196 h 228"/>
                <a:gd name="T66" fmla="*/ 94 w 228"/>
                <a:gd name="T67" fmla="*/ 223 h 228"/>
                <a:gd name="T68" fmla="*/ 100 w 228"/>
                <a:gd name="T69" fmla="*/ 228 h 228"/>
                <a:gd name="T70" fmla="*/ 127 w 228"/>
                <a:gd name="T71" fmla="*/ 228 h 228"/>
                <a:gd name="T72" fmla="*/ 133 w 228"/>
                <a:gd name="T73" fmla="*/ 223 h 228"/>
                <a:gd name="T74" fmla="*/ 138 w 228"/>
                <a:gd name="T75" fmla="*/ 196 h 228"/>
                <a:gd name="T76" fmla="*/ 154 w 228"/>
                <a:gd name="T77" fmla="*/ 190 h 228"/>
                <a:gd name="T78" fmla="*/ 177 w 228"/>
                <a:gd name="T79" fmla="*/ 205 h 228"/>
                <a:gd name="T80" fmla="*/ 185 w 228"/>
                <a:gd name="T81" fmla="*/ 205 h 228"/>
                <a:gd name="T82" fmla="*/ 204 w 228"/>
                <a:gd name="T83" fmla="*/ 185 h 228"/>
                <a:gd name="T84" fmla="*/ 205 w 228"/>
                <a:gd name="T85" fmla="*/ 178 h 228"/>
                <a:gd name="T86" fmla="*/ 189 w 228"/>
                <a:gd name="T87" fmla="*/ 155 h 228"/>
                <a:gd name="T88" fmla="*/ 196 w 228"/>
                <a:gd name="T89" fmla="*/ 139 h 228"/>
                <a:gd name="T90" fmla="*/ 223 w 228"/>
                <a:gd name="T91" fmla="*/ 134 h 228"/>
                <a:gd name="T92" fmla="*/ 228 w 228"/>
                <a:gd name="T93" fmla="*/ 128 h 228"/>
                <a:gd name="T94" fmla="*/ 228 w 228"/>
                <a:gd name="T95" fmla="*/ 100 h 228"/>
                <a:gd name="T96" fmla="*/ 223 w 228"/>
                <a:gd name="T97" fmla="*/ 95 h 228"/>
                <a:gd name="T98" fmla="*/ 114 w 228"/>
                <a:gd name="T99" fmla="*/ 149 h 228"/>
                <a:gd name="T100" fmla="*/ 79 w 228"/>
                <a:gd name="T101" fmla="*/ 114 h 228"/>
                <a:gd name="T102" fmla="*/ 114 w 228"/>
                <a:gd name="T103" fmla="*/ 79 h 228"/>
                <a:gd name="T104" fmla="*/ 149 w 228"/>
                <a:gd name="T105" fmla="*/ 114 h 228"/>
                <a:gd name="T106" fmla="*/ 114 w 228"/>
                <a:gd name="T107" fmla="*/ 14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8" h="228">
                  <a:moveTo>
                    <a:pt x="223" y="95"/>
                  </a:moveTo>
                  <a:cubicBezTo>
                    <a:pt x="196" y="90"/>
                    <a:pt x="196" y="90"/>
                    <a:pt x="196" y="90"/>
                  </a:cubicBezTo>
                  <a:cubicBezTo>
                    <a:pt x="194" y="84"/>
                    <a:pt x="192" y="79"/>
                    <a:pt x="189" y="74"/>
                  </a:cubicBezTo>
                  <a:cubicBezTo>
                    <a:pt x="205" y="50"/>
                    <a:pt x="205" y="50"/>
                    <a:pt x="205" y="50"/>
                  </a:cubicBezTo>
                  <a:cubicBezTo>
                    <a:pt x="207" y="48"/>
                    <a:pt x="206" y="45"/>
                    <a:pt x="205" y="43"/>
                  </a:cubicBezTo>
                  <a:cubicBezTo>
                    <a:pt x="185" y="24"/>
                    <a:pt x="185" y="24"/>
                    <a:pt x="185" y="24"/>
                  </a:cubicBezTo>
                  <a:cubicBezTo>
                    <a:pt x="183" y="22"/>
                    <a:pt x="180" y="21"/>
                    <a:pt x="178" y="23"/>
                  </a:cubicBezTo>
                  <a:cubicBezTo>
                    <a:pt x="155" y="39"/>
                    <a:pt x="155" y="39"/>
                    <a:pt x="155" y="39"/>
                  </a:cubicBezTo>
                  <a:cubicBezTo>
                    <a:pt x="149" y="36"/>
                    <a:pt x="144" y="34"/>
                    <a:pt x="138" y="32"/>
                  </a:cubicBezTo>
                  <a:cubicBezTo>
                    <a:pt x="133" y="5"/>
                    <a:pt x="133" y="5"/>
                    <a:pt x="133" y="5"/>
                  </a:cubicBezTo>
                  <a:cubicBezTo>
                    <a:pt x="133" y="2"/>
                    <a:pt x="130" y="0"/>
                    <a:pt x="127" y="0"/>
                  </a:cubicBezTo>
                  <a:cubicBezTo>
                    <a:pt x="100" y="0"/>
                    <a:pt x="100" y="0"/>
                    <a:pt x="100" y="0"/>
                  </a:cubicBezTo>
                  <a:cubicBezTo>
                    <a:pt x="97" y="0"/>
                    <a:pt x="95" y="2"/>
                    <a:pt x="94" y="5"/>
                  </a:cubicBezTo>
                  <a:cubicBezTo>
                    <a:pt x="89" y="32"/>
                    <a:pt x="89" y="32"/>
                    <a:pt x="89" y="32"/>
                  </a:cubicBezTo>
                  <a:cubicBezTo>
                    <a:pt x="83" y="34"/>
                    <a:pt x="78" y="36"/>
                    <a:pt x="73" y="39"/>
                  </a:cubicBezTo>
                  <a:cubicBezTo>
                    <a:pt x="50" y="23"/>
                    <a:pt x="50" y="23"/>
                    <a:pt x="50" y="23"/>
                  </a:cubicBezTo>
                  <a:cubicBezTo>
                    <a:pt x="48" y="22"/>
                    <a:pt x="45" y="22"/>
                    <a:pt x="43" y="24"/>
                  </a:cubicBezTo>
                  <a:cubicBezTo>
                    <a:pt x="23" y="43"/>
                    <a:pt x="23" y="43"/>
                    <a:pt x="23" y="43"/>
                  </a:cubicBezTo>
                  <a:cubicBezTo>
                    <a:pt x="22" y="45"/>
                    <a:pt x="21" y="49"/>
                    <a:pt x="23" y="51"/>
                  </a:cubicBezTo>
                  <a:cubicBezTo>
                    <a:pt x="39" y="74"/>
                    <a:pt x="39" y="74"/>
                    <a:pt x="39" y="74"/>
                  </a:cubicBezTo>
                  <a:cubicBezTo>
                    <a:pt x="36" y="79"/>
                    <a:pt x="34" y="84"/>
                    <a:pt x="32" y="90"/>
                  </a:cubicBezTo>
                  <a:cubicBezTo>
                    <a:pt x="5" y="95"/>
                    <a:pt x="5" y="95"/>
                    <a:pt x="5" y="95"/>
                  </a:cubicBezTo>
                  <a:cubicBezTo>
                    <a:pt x="2" y="95"/>
                    <a:pt x="0" y="98"/>
                    <a:pt x="0" y="100"/>
                  </a:cubicBezTo>
                  <a:cubicBezTo>
                    <a:pt x="0" y="128"/>
                    <a:pt x="0" y="128"/>
                    <a:pt x="0" y="128"/>
                  </a:cubicBezTo>
                  <a:cubicBezTo>
                    <a:pt x="0" y="131"/>
                    <a:pt x="2" y="133"/>
                    <a:pt x="5" y="134"/>
                  </a:cubicBezTo>
                  <a:cubicBezTo>
                    <a:pt x="32" y="139"/>
                    <a:pt x="32" y="139"/>
                    <a:pt x="32" y="139"/>
                  </a:cubicBezTo>
                  <a:cubicBezTo>
                    <a:pt x="34" y="144"/>
                    <a:pt x="36" y="150"/>
                    <a:pt x="39" y="155"/>
                  </a:cubicBezTo>
                  <a:cubicBezTo>
                    <a:pt x="23" y="178"/>
                    <a:pt x="23" y="178"/>
                    <a:pt x="23" y="178"/>
                  </a:cubicBezTo>
                  <a:cubicBezTo>
                    <a:pt x="22" y="180"/>
                    <a:pt x="22" y="183"/>
                    <a:pt x="24" y="185"/>
                  </a:cubicBezTo>
                  <a:cubicBezTo>
                    <a:pt x="43" y="204"/>
                    <a:pt x="43" y="204"/>
                    <a:pt x="43" y="204"/>
                  </a:cubicBezTo>
                  <a:cubicBezTo>
                    <a:pt x="45" y="206"/>
                    <a:pt x="48" y="207"/>
                    <a:pt x="51" y="205"/>
                  </a:cubicBezTo>
                  <a:cubicBezTo>
                    <a:pt x="73" y="189"/>
                    <a:pt x="73" y="189"/>
                    <a:pt x="73" y="189"/>
                  </a:cubicBezTo>
                  <a:cubicBezTo>
                    <a:pt x="78" y="192"/>
                    <a:pt x="84" y="194"/>
                    <a:pt x="89" y="196"/>
                  </a:cubicBezTo>
                  <a:cubicBezTo>
                    <a:pt x="94" y="223"/>
                    <a:pt x="94" y="223"/>
                    <a:pt x="94" y="223"/>
                  </a:cubicBezTo>
                  <a:cubicBezTo>
                    <a:pt x="95" y="226"/>
                    <a:pt x="97" y="228"/>
                    <a:pt x="100" y="228"/>
                  </a:cubicBezTo>
                  <a:cubicBezTo>
                    <a:pt x="127" y="228"/>
                    <a:pt x="127" y="228"/>
                    <a:pt x="127" y="228"/>
                  </a:cubicBezTo>
                  <a:cubicBezTo>
                    <a:pt x="130" y="228"/>
                    <a:pt x="133" y="226"/>
                    <a:pt x="133" y="223"/>
                  </a:cubicBezTo>
                  <a:cubicBezTo>
                    <a:pt x="138" y="196"/>
                    <a:pt x="138" y="196"/>
                    <a:pt x="138" y="196"/>
                  </a:cubicBezTo>
                  <a:cubicBezTo>
                    <a:pt x="144" y="194"/>
                    <a:pt x="149" y="192"/>
                    <a:pt x="154" y="190"/>
                  </a:cubicBezTo>
                  <a:cubicBezTo>
                    <a:pt x="177" y="205"/>
                    <a:pt x="177" y="205"/>
                    <a:pt x="177" y="205"/>
                  </a:cubicBezTo>
                  <a:cubicBezTo>
                    <a:pt x="180" y="207"/>
                    <a:pt x="183" y="207"/>
                    <a:pt x="185" y="205"/>
                  </a:cubicBezTo>
                  <a:cubicBezTo>
                    <a:pt x="204" y="185"/>
                    <a:pt x="204" y="185"/>
                    <a:pt x="204" y="185"/>
                  </a:cubicBezTo>
                  <a:cubicBezTo>
                    <a:pt x="206" y="183"/>
                    <a:pt x="206" y="180"/>
                    <a:pt x="205" y="178"/>
                  </a:cubicBezTo>
                  <a:cubicBezTo>
                    <a:pt x="189" y="155"/>
                    <a:pt x="189" y="155"/>
                    <a:pt x="189" y="155"/>
                  </a:cubicBezTo>
                  <a:cubicBezTo>
                    <a:pt x="192" y="150"/>
                    <a:pt x="194" y="144"/>
                    <a:pt x="196" y="139"/>
                  </a:cubicBezTo>
                  <a:cubicBezTo>
                    <a:pt x="223" y="134"/>
                    <a:pt x="223" y="134"/>
                    <a:pt x="223" y="134"/>
                  </a:cubicBezTo>
                  <a:cubicBezTo>
                    <a:pt x="226" y="133"/>
                    <a:pt x="228" y="131"/>
                    <a:pt x="228" y="128"/>
                  </a:cubicBezTo>
                  <a:cubicBezTo>
                    <a:pt x="228" y="100"/>
                    <a:pt x="228" y="100"/>
                    <a:pt x="228" y="100"/>
                  </a:cubicBezTo>
                  <a:cubicBezTo>
                    <a:pt x="228" y="98"/>
                    <a:pt x="226" y="95"/>
                    <a:pt x="223" y="95"/>
                  </a:cubicBezTo>
                  <a:close/>
                  <a:moveTo>
                    <a:pt x="114" y="149"/>
                  </a:moveTo>
                  <a:cubicBezTo>
                    <a:pt x="95" y="149"/>
                    <a:pt x="79" y="133"/>
                    <a:pt x="79" y="114"/>
                  </a:cubicBezTo>
                  <a:cubicBezTo>
                    <a:pt x="79" y="95"/>
                    <a:pt x="95" y="79"/>
                    <a:pt x="114" y="79"/>
                  </a:cubicBezTo>
                  <a:cubicBezTo>
                    <a:pt x="133" y="79"/>
                    <a:pt x="149" y="95"/>
                    <a:pt x="149" y="114"/>
                  </a:cubicBezTo>
                  <a:cubicBezTo>
                    <a:pt x="149" y="133"/>
                    <a:pt x="133" y="149"/>
                    <a:pt x="114" y="149"/>
                  </a:cubicBezTo>
                  <a:close/>
                </a:path>
              </a:pathLst>
            </a:custGeom>
            <a:solidFill>
              <a:srgbClr val="FE5817"/>
            </a:solidFill>
            <a:ln>
              <a:noFill/>
            </a:ln>
          </p:spPr>
          <p:txBody>
            <a:bodyPr anchor="ctr"/>
            <a:lstStyle/>
            <a:p>
              <a:pPr algn="ctr"/>
              <a:endParaRPr sz="1100">
                <a:solidFill>
                  <a:schemeClr val="bg1">
                    <a:lumMod val="50000"/>
                  </a:schemeClr>
                </a:solidFill>
              </a:endParaRPr>
            </a:p>
          </p:txBody>
        </p:sp>
        <p:sp>
          <p:nvSpPr>
            <p:cNvPr id="19" name="Freeform: Shape 33"/>
            <p:cNvSpPr/>
            <p:nvPr/>
          </p:nvSpPr>
          <p:spPr bwMode="auto">
            <a:xfrm>
              <a:off x="4707605" y="3807474"/>
              <a:ext cx="522489" cy="510424"/>
            </a:xfrm>
            <a:custGeom>
              <a:avLst/>
              <a:gdLst>
                <a:gd name="T0" fmla="*/ 130 w 236"/>
                <a:gd name="T1" fmla="*/ 1 h 236"/>
                <a:gd name="T2" fmla="*/ 118 w 236"/>
                <a:gd name="T3" fmla="*/ 0 h 236"/>
                <a:gd name="T4" fmla="*/ 30 w 236"/>
                <a:gd name="T5" fmla="*/ 40 h 236"/>
                <a:gd name="T6" fmla="*/ 68 w 236"/>
                <a:gd name="T7" fmla="*/ 105 h 236"/>
                <a:gd name="T8" fmla="*/ 130 w 236"/>
                <a:gd name="T9" fmla="*/ 1 h 236"/>
                <a:gd name="T10" fmla="*/ 20 w 236"/>
                <a:gd name="T11" fmla="*/ 52 h 236"/>
                <a:gd name="T12" fmla="*/ 0 w 236"/>
                <a:gd name="T13" fmla="*/ 118 h 236"/>
                <a:gd name="T14" fmla="*/ 5 w 236"/>
                <a:gd name="T15" fmla="*/ 153 h 236"/>
                <a:gd name="T16" fmla="*/ 81 w 236"/>
                <a:gd name="T17" fmla="*/ 153 h 236"/>
                <a:gd name="T18" fmla="*/ 20 w 236"/>
                <a:gd name="T19" fmla="*/ 52 h 236"/>
                <a:gd name="T20" fmla="*/ 225 w 236"/>
                <a:gd name="T21" fmla="*/ 68 h 236"/>
                <a:gd name="T22" fmla="*/ 145 w 236"/>
                <a:gd name="T23" fmla="*/ 3 h 236"/>
                <a:gd name="T24" fmla="*/ 106 w 236"/>
                <a:gd name="T25" fmla="*/ 68 h 236"/>
                <a:gd name="T26" fmla="*/ 225 w 236"/>
                <a:gd name="T27" fmla="*/ 68 h 236"/>
                <a:gd name="T28" fmla="*/ 130 w 236"/>
                <a:gd name="T29" fmla="*/ 167 h 236"/>
                <a:gd name="T30" fmla="*/ 11 w 236"/>
                <a:gd name="T31" fmla="*/ 167 h 236"/>
                <a:gd name="T32" fmla="*/ 96 w 236"/>
                <a:gd name="T33" fmla="*/ 234 h 236"/>
                <a:gd name="T34" fmla="*/ 93 w 236"/>
                <a:gd name="T35" fmla="*/ 232 h 236"/>
                <a:gd name="T36" fmla="*/ 130 w 236"/>
                <a:gd name="T37" fmla="*/ 167 h 236"/>
                <a:gd name="T38" fmla="*/ 230 w 236"/>
                <a:gd name="T39" fmla="*/ 82 h 236"/>
                <a:gd name="T40" fmla="*/ 155 w 236"/>
                <a:gd name="T41" fmla="*/ 82 h 236"/>
                <a:gd name="T42" fmla="*/ 215 w 236"/>
                <a:gd name="T43" fmla="*/ 186 h 236"/>
                <a:gd name="T44" fmla="*/ 236 w 236"/>
                <a:gd name="T45" fmla="*/ 118 h 236"/>
                <a:gd name="T46" fmla="*/ 230 w 236"/>
                <a:gd name="T47" fmla="*/ 82 h 236"/>
                <a:gd name="T48" fmla="*/ 108 w 236"/>
                <a:gd name="T49" fmla="*/ 236 h 236"/>
                <a:gd name="T50" fmla="*/ 118 w 236"/>
                <a:gd name="T51" fmla="*/ 236 h 236"/>
                <a:gd name="T52" fmla="*/ 205 w 236"/>
                <a:gd name="T53" fmla="*/ 198 h 236"/>
                <a:gd name="T54" fmla="*/ 167 w 236"/>
                <a:gd name="T55" fmla="*/ 132 h 236"/>
                <a:gd name="T56" fmla="*/ 108 w 236"/>
                <a:gd name="T57"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6" h="236">
                  <a:moveTo>
                    <a:pt x="130" y="1"/>
                  </a:moveTo>
                  <a:cubicBezTo>
                    <a:pt x="126" y="0"/>
                    <a:pt x="122" y="0"/>
                    <a:pt x="118" y="0"/>
                  </a:cubicBezTo>
                  <a:cubicBezTo>
                    <a:pt x="83" y="0"/>
                    <a:pt x="51" y="16"/>
                    <a:pt x="30" y="40"/>
                  </a:cubicBezTo>
                  <a:cubicBezTo>
                    <a:pt x="68" y="105"/>
                    <a:pt x="68" y="105"/>
                    <a:pt x="68" y="105"/>
                  </a:cubicBezTo>
                  <a:lnTo>
                    <a:pt x="130" y="1"/>
                  </a:lnTo>
                  <a:close/>
                  <a:moveTo>
                    <a:pt x="20" y="52"/>
                  </a:moveTo>
                  <a:cubicBezTo>
                    <a:pt x="7" y="71"/>
                    <a:pt x="0" y="94"/>
                    <a:pt x="0" y="118"/>
                  </a:cubicBezTo>
                  <a:cubicBezTo>
                    <a:pt x="0" y="130"/>
                    <a:pt x="2" y="142"/>
                    <a:pt x="5" y="153"/>
                  </a:cubicBezTo>
                  <a:cubicBezTo>
                    <a:pt x="81" y="153"/>
                    <a:pt x="81" y="153"/>
                    <a:pt x="81" y="153"/>
                  </a:cubicBezTo>
                  <a:lnTo>
                    <a:pt x="20" y="52"/>
                  </a:lnTo>
                  <a:close/>
                  <a:moveTo>
                    <a:pt x="225" y="68"/>
                  </a:moveTo>
                  <a:cubicBezTo>
                    <a:pt x="210" y="36"/>
                    <a:pt x="180" y="11"/>
                    <a:pt x="145" y="3"/>
                  </a:cubicBezTo>
                  <a:cubicBezTo>
                    <a:pt x="106" y="68"/>
                    <a:pt x="106" y="68"/>
                    <a:pt x="106" y="68"/>
                  </a:cubicBezTo>
                  <a:lnTo>
                    <a:pt x="225" y="68"/>
                  </a:lnTo>
                  <a:close/>
                  <a:moveTo>
                    <a:pt x="130" y="167"/>
                  </a:moveTo>
                  <a:cubicBezTo>
                    <a:pt x="11" y="167"/>
                    <a:pt x="11" y="167"/>
                    <a:pt x="11" y="167"/>
                  </a:cubicBezTo>
                  <a:cubicBezTo>
                    <a:pt x="26" y="201"/>
                    <a:pt x="58" y="227"/>
                    <a:pt x="96" y="234"/>
                  </a:cubicBezTo>
                  <a:cubicBezTo>
                    <a:pt x="93" y="232"/>
                    <a:pt x="93" y="232"/>
                    <a:pt x="93" y="232"/>
                  </a:cubicBezTo>
                  <a:lnTo>
                    <a:pt x="130" y="167"/>
                  </a:lnTo>
                  <a:close/>
                  <a:moveTo>
                    <a:pt x="230" y="82"/>
                  </a:moveTo>
                  <a:cubicBezTo>
                    <a:pt x="155" y="82"/>
                    <a:pt x="155" y="82"/>
                    <a:pt x="155" y="82"/>
                  </a:cubicBezTo>
                  <a:cubicBezTo>
                    <a:pt x="215" y="186"/>
                    <a:pt x="215" y="186"/>
                    <a:pt x="215" y="186"/>
                  </a:cubicBezTo>
                  <a:cubicBezTo>
                    <a:pt x="228" y="167"/>
                    <a:pt x="236" y="143"/>
                    <a:pt x="236" y="118"/>
                  </a:cubicBezTo>
                  <a:cubicBezTo>
                    <a:pt x="236" y="106"/>
                    <a:pt x="234" y="94"/>
                    <a:pt x="230" y="82"/>
                  </a:cubicBezTo>
                  <a:close/>
                  <a:moveTo>
                    <a:pt x="108" y="236"/>
                  </a:moveTo>
                  <a:cubicBezTo>
                    <a:pt x="111" y="236"/>
                    <a:pt x="115" y="236"/>
                    <a:pt x="118" y="236"/>
                  </a:cubicBezTo>
                  <a:cubicBezTo>
                    <a:pt x="152" y="236"/>
                    <a:pt x="183" y="221"/>
                    <a:pt x="205" y="198"/>
                  </a:cubicBezTo>
                  <a:cubicBezTo>
                    <a:pt x="167" y="132"/>
                    <a:pt x="167" y="132"/>
                    <a:pt x="167" y="132"/>
                  </a:cubicBezTo>
                  <a:lnTo>
                    <a:pt x="108" y="236"/>
                  </a:lnTo>
                  <a:close/>
                </a:path>
              </a:pathLst>
            </a:custGeom>
            <a:solidFill>
              <a:srgbClr val="FFC3AB"/>
            </a:solidFill>
            <a:ln>
              <a:noFill/>
            </a:ln>
          </p:spPr>
          <p:txBody>
            <a:bodyPr anchor="ctr"/>
            <a:lstStyle/>
            <a:p>
              <a:pPr algn="ctr"/>
              <a:endParaRPr sz="1100">
                <a:solidFill>
                  <a:schemeClr val="bg1">
                    <a:lumMod val="50000"/>
                  </a:schemeClr>
                </a:solidFill>
              </a:endParaRPr>
            </a:p>
          </p:txBody>
        </p:sp>
        <p:sp>
          <p:nvSpPr>
            <p:cNvPr id="20" name="TextBox 37"/>
            <p:cNvSpPr txBox="1"/>
            <p:nvPr/>
          </p:nvSpPr>
          <p:spPr bwMode="auto">
            <a:xfrm>
              <a:off x="4201273" y="3333353"/>
              <a:ext cx="1537883" cy="240985"/>
            </a:xfrm>
            <a:prstGeom prst="rect">
              <a:avLst/>
            </a:prstGeom>
            <a:noFill/>
            <a:ln w="9525">
              <a:noFill/>
              <a:miter lim="800000"/>
            </a:ln>
          </p:spPr>
          <p:txBody>
            <a:bodyPr wrap="none" lIns="0" tIns="0" rIns="0" bIns="0" anchor="t" anchorCtr="0">
              <a:noAutofit/>
              <a:scene3d>
                <a:camera prst="orthographicFront"/>
                <a:lightRig rig="threePt" dir="t"/>
              </a:scene3d>
              <a:sp3d>
                <a:bevelT w="0" h="0"/>
              </a:sp3d>
            </a:bodyPr>
            <a:lstStyle/>
            <a:p>
              <a:pPr marL="0" lvl="1" algn="ctr"/>
              <a:r>
                <a:rPr lang="zh-CN" altLang="en-US" b="1" dirty="0">
                  <a:solidFill>
                    <a:schemeClr val="bg1">
                      <a:lumMod val="50000"/>
                    </a:schemeClr>
                  </a:solidFill>
                </a:rPr>
                <a:t>标题文本预设</a:t>
              </a:r>
              <a:endParaRPr lang="zh-CN" altLang="en-US" b="1" dirty="0">
                <a:solidFill>
                  <a:schemeClr val="bg1">
                    <a:lumMod val="50000"/>
                  </a:schemeClr>
                </a:solidFill>
              </a:endParaRPr>
            </a:p>
          </p:txBody>
        </p:sp>
        <p:sp>
          <p:nvSpPr>
            <p:cNvPr id="21" name="TextBox 25"/>
            <p:cNvSpPr txBox="1"/>
            <p:nvPr/>
          </p:nvSpPr>
          <p:spPr bwMode="auto">
            <a:xfrm>
              <a:off x="8178881" y="1202578"/>
              <a:ext cx="2567967" cy="2473603"/>
            </a:xfrm>
            <a:prstGeom prst="rect">
              <a:avLst/>
            </a:prstGeom>
            <a:noFill/>
            <a:ln w="9525">
              <a:noFill/>
              <a:miter lim="800000"/>
            </a:ln>
          </p:spPr>
          <p:txBody>
            <a:bodyPr wrap="square" lIns="360000" tIns="0" rIns="360000" bIns="540000" anchor="b" anchorCtr="1">
              <a:normAutofit/>
              <a:scene3d>
                <a:camera prst="orthographicFront"/>
                <a:lightRig rig="threePt" dir="t"/>
              </a:scene3d>
              <a:sp3d>
                <a:bevelT w="0" h="0"/>
              </a:sp3d>
            </a:bodyPr>
            <a:lstStyle/>
            <a:p>
              <a:pPr algn="ctr">
                <a:lnSpc>
                  <a:spcPct val="120000"/>
                </a:lnSpc>
                <a:defRPr/>
              </a:pPr>
              <a:endParaRPr lang="zh-CN" altLang="en-US" sz="900" dirty="0">
                <a:solidFill>
                  <a:schemeClr val="bg1">
                    <a:lumMod val="50000"/>
                  </a:schemeClr>
                </a:solidFill>
              </a:endParaRPr>
            </a:p>
          </p:txBody>
        </p:sp>
        <p:sp>
          <p:nvSpPr>
            <p:cNvPr id="22" name="TextBox 21"/>
            <p:cNvSpPr txBox="1"/>
            <p:nvPr/>
          </p:nvSpPr>
          <p:spPr bwMode="auto">
            <a:xfrm>
              <a:off x="8699851" y="3330943"/>
              <a:ext cx="1537883" cy="240985"/>
            </a:xfrm>
            <a:prstGeom prst="rect">
              <a:avLst/>
            </a:prstGeom>
            <a:noFill/>
            <a:ln w="9525">
              <a:noFill/>
              <a:miter lim="800000"/>
            </a:ln>
          </p:spPr>
          <p:txBody>
            <a:bodyPr wrap="none" lIns="0" tIns="0" rIns="0" bIns="0" anchor="t" anchorCtr="0">
              <a:noAutofit/>
              <a:scene3d>
                <a:camera prst="orthographicFront"/>
                <a:lightRig rig="threePt" dir="t"/>
              </a:scene3d>
              <a:sp3d>
                <a:bevelT w="0" h="0"/>
              </a:sp3d>
            </a:bodyPr>
            <a:lstStyle/>
            <a:p>
              <a:pPr marL="0" lvl="1" algn="ctr"/>
              <a:r>
                <a:rPr lang="zh-CN" altLang="en-US" b="1" dirty="0">
                  <a:solidFill>
                    <a:schemeClr val="bg1">
                      <a:lumMod val="50000"/>
                    </a:schemeClr>
                  </a:solidFill>
                </a:rPr>
                <a:t>标题文本预设</a:t>
              </a:r>
              <a:endParaRPr lang="zh-CN" altLang="en-US" b="1" dirty="0">
                <a:solidFill>
                  <a:schemeClr val="bg1">
                    <a:lumMod val="50000"/>
                  </a:schemeClr>
                </a:solidFill>
              </a:endParaRPr>
            </a:p>
          </p:txBody>
        </p:sp>
        <p:sp>
          <p:nvSpPr>
            <p:cNvPr id="23" name="矩形 22"/>
            <p:cNvSpPr/>
            <p:nvPr/>
          </p:nvSpPr>
          <p:spPr>
            <a:xfrm>
              <a:off x="1822178" y="4104140"/>
              <a:ext cx="1772670" cy="775597"/>
            </a:xfrm>
            <a:prstGeom prst="rect">
              <a:avLst/>
            </a:prstGeom>
          </p:spPr>
          <p:txBody>
            <a:bodyPr wrap="square" lIns="0" tIns="0" rIns="0" bIns="0">
              <a:spAutoFit/>
            </a:bodyPr>
            <a:lstStyle/>
            <a:p>
              <a:pPr algn="ctr">
                <a:lnSpc>
                  <a:spcPct val="120000"/>
                </a:lnSpc>
                <a:defRPr/>
              </a:pPr>
              <a:r>
                <a:rPr lang="zh-CN" altLang="en-US" sz="1400" dirty="0">
                  <a:solidFill>
                    <a:schemeClr val="bg1">
                      <a:lumMod val="50000"/>
                    </a:schemeClr>
                  </a:solidFill>
                </a:rPr>
                <a:t>此部分内容作为文字排版占位显示 （建议使用主题字体）</a:t>
              </a:r>
              <a:endParaRPr lang="zh-CN" altLang="en-US" sz="1400" dirty="0">
                <a:solidFill>
                  <a:schemeClr val="bg1">
                    <a:lumMod val="50000"/>
                  </a:schemeClr>
                </a:solidFill>
              </a:endParaRPr>
            </a:p>
          </p:txBody>
        </p:sp>
        <p:sp>
          <p:nvSpPr>
            <p:cNvPr id="24" name="矩形 23"/>
            <p:cNvSpPr/>
            <p:nvPr/>
          </p:nvSpPr>
          <p:spPr>
            <a:xfrm>
              <a:off x="4081284" y="2418774"/>
              <a:ext cx="1772670" cy="775597"/>
            </a:xfrm>
            <a:prstGeom prst="rect">
              <a:avLst/>
            </a:prstGeom>
          </p:spPr>
          <p:txBody>
            <a:bodyPr wrap="square" lIns="0" tIns="0" rIns="0" bIns="0">
              <a:spAutoFit/>
            </a:bodyPr>
            <a:lstStyle/>
            <a:p>
              <a:pPr algn="ctr">
                <a:lnSpc>
                  <a:spcPct val="120000"/>
                </a:lnSpc>
                <a:defRPr/>
              </a:pPr>
              <a:r>
                <a:rPr lang="zh-CN" altLang="en-US" sz="1400" dirty="0">
                  <a:solidFill>
                    <a:schemeClr val="bg1">
                      <a:lumMod val="50000"/>
                    </a:schemeClr>
                  </a:solidFill>
                </a:rPr>
                <a:t>此部分内容作为文字排版占位显示 （建议使用主题字体）</a:t>
              </a:r>
              <a:endParaRPr lang="zh-CN" altLang="en-US" sz="1400" dirty="0">
                <a:solidFill>
                  <a:schemeClr val="bg1">
                    <a:lumMod val="50000"/>
                  </a:schemeClr>
                </a:solidFill>
              </a:endParaRPr>
            </a:p>
          </p:txBody>
        </p:sp>
        <p:sp>
          <p:nvSpPr>
            <p:cNvPr id="26" name="矩形 25"/>
            <p:cNvSpPr/>
            <p:nvPr/>
          </p:nvSpPr>
          <p:spPr>
            <a:xfrm>
              <a:off x="6331425" y="4104140"/>
              <a:ext cx="1772670" cy="775597"/>
            </a:xfrm>
            <a:prstGeom prst="rect">
              <a:avLst/>
            </a:prstGeom>
          </p:spPr>
          <p:txBody>
            <a:bodyPr wrap="square" lIns="0" tIns="0" rIns="0" bIns="0">
              <a:spAutoFit/>
            </a:bodyPr>
            <a:lstStyle/>
            <a:p>
              <a:pPr algn="ctr">
                <a:lnSpc>
                  <a:spcPct val="120000"/>
                </a:lnSpc>
                <a:defRPr/>
              </a:pPr>
              <a:r>
                <a:rPr lang="zh-CN" altLang="en-US" sz="1400" dirty="0">
                  <a:solidFill>
                    <a:schemeClr val="bg1">
                      <a:lumMod val="50000"/>
                    </a:schemeClr>
                  </a:solidFill>
                </a:rPr>
                <a:t>此部分内容作为文字排版占位显示 （建议使用主题字体）</a:t>
              </a:r>
              <a:endParaRPr lang="zh-CN" altLang="en-US" sz="1400" dirty="0">
                <a:solidFill>
                  <a:schemeClr val="bg1">
                    <a:lumMod val="50000"/>
                  </a:schemeClr>
                </a:solidFill>
              </a:endParaRPr>
            </a:p>
          </p:txBody>
        </p:sp>
        <p:sp>
          <p:nvSpPr>
            <p:cNvPr id="27" name="矩形 26"/>
            <p:cNvSpPr/>
            <p:nvPr/>
          </p:nvSpPr>
          <p:spPr>
            <a:xfrm>
              <a:off x="8590531" y="2418774"/>
              <a:ext cx="1772670" cy="775597"/>
            </a:xfrm>
            <a:prstGeom prst="rect">
              <a:avLst/>
            </a:prstGeom>
          </p:spPr>
          <p:txBody>
            <a:bodyPr wrap="square" lIns="0" tIns="0" rIns="0" bIns="0">
              <a:spAutoFit/>
            </a:bodyPr>
            <a:lstStyle/>
            <a:p>
              <a:pPr algn="ctr">
                <a:lnSpc>
                  <a:spcPct val="120000"/>
                </a:lnSpc>
                <a:defRPr/>
              </a:pPr>
              <a:r>
                <a:rPr lang="zh-CN" altLang="en-US" sz="1400" dirty="0">
                  <a:solidFill>
                    <a:schemeClr val="bg1">
                      <a:lumMod val="50000"/>
                    </a:schemeClr>
                  </a:solidFill>
                </a:rPr>
                <a:t>此部分内容作为文字排版占位显示 （建议使用主题字体）</a:t>
              </a:r>
              <a:endParaRPr lang="zh-CN" altLang="en-US" sz="1400" dirty="0">
                <a:solidFill>
                  <a:schemeClr val="bg1">
                    <a:lumMod val="50000"/>
                  </a:schemeClr>
                </a:solidFill>
              </a:endParaRPr>
            </a:p>
          </p:txBody>
        </p:sp>
      </p:grpSp>
      <p:sp>
        <p:nvSpPr>
          <p:cNvPr id="33"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32" name="图片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282" name="think-cell Slide" r:id="rId2" imgW="12700" imgH="12700" progId="TCLayout.ActiveDocument.1">
                  <p:embed/>
                </p:oleObj>
              </mc:Choice>
              <mc:Fallback>
                <p:oleObj name="think-cell Slide" r:id="rId2" imgW="12700" imgH="12700" progId="TCLayout.ActiveDocument.1">
                  <p:embed/>
                  <p:pic>
                    <p:nvPicPr>
                      <p:cNvPr id="0" name="对象 1"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 name="圆角矩形 3"/>
          <p:cNvSpPr/>
          <p:nvPr/>
        </p:nvSpPr>
        <p:spPr>
          <a:xfrm rot="2700000">
            <a:off x="1932975" y="2966137"/>
            <a:ext cx="1387321" cy="1387321"/>
          </a:xfrm>
          <a:prstGeom prst="roundRect">
            <a:avLst>
              <a:gd name="adj" fmla="val 6319"/>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sp>
        <p:nvSpPr>
          <p:cNvPr id="5" name="圆角矩形 4"/>
          <p:cNvSpPr/>
          <p:nvPr/>
        </p:nvSpPr>
        <p:spPr>
          <a:xfrm rot="2700000">
            <a:off x="4224377" y="2966136"/>
            <a:ext cx="1387321" cy="1387321"/>
          </a:xfrm>
          <a:prstGeom prst="roundRect">
            <a:avLst>
              <a:gd name="adj" fmla="val 6319"/>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cs typeface="+mn-ea"/>
              <a:sym typeface="+mn-lt"/>
            </a:endParaRPr>
          </a:p>
        </p:txBody>
      </p:sp>
      <p:sp>
        <p:nvSpPr>
          <p:cNvPr id="6" name="圆角矩形 5"/>
          <p:cNvSpPr/>
          <p:nvPr/>
        </p:nvSpPr>
        <p:spPr>
          <a:xfrm rot="2700000">
            <a:off x="6515780" y="2943935"/>
            <a:ext cx="1387321" cy="1387321"/>
          </a:xfrm>
          <a:prstGeom prst="roundRect">
            <a:avLst>
              <a:gd name="adj" fmla="val 6319"/>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sp>
        <p:nvSpPr>
          <p:cNvPr id="7" name="圆角矩形 6"/>
          <p:cNvSpPr/>
          <p:nvPr/>
        </p:nvSpPr>
        <p:spPr>
          <a:xfrm rot="2700000">
            <a:off x="8807182" y="2943934"/>
            <a:ext cx="1387321" cy="1387321"/>
          </a:xfrm>
          <a:prstGeom prst="roundRect">
            <a:avLst>
              <a:gd name="adj" fmla="val 6319"/>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cs typeface="+mn-ea"/>
              <a:sym typeface="+mn-lt"/>
            </a:endParaRPr>
          </a:p>
        </p:txBody>
      </p:sp>
      <p:grpSp>
        <p:nvGrpSpPr>
          <p:cNvPr id="8" name="组合 7"/>
          <p:cNvGrpSpPr/>
          <p:nvPr/>
        </p:nvGrpSpPr>
        <p:grpSpPr>
          <a:xfrm>
            <a:off x="2386144" y="3309230"/>
            <a:ext cx="480983" cy="701134"/>
            <a:chOff x="4081166" y="4301728"/>
            <a:chExt cx="239316" cy="348854"/>
          </a:xfrm>
          <a:solidFill>
            <a:schemeClr val="bg1"/>
          </a:solidFill>
        </p:grpSpPr>
        <p:sp>
          <p:nvSpPr>
            <p:cNvPr id="9" name="AutoShape 97"/>
            <p:cNvSpPr/>
            <p:nvPr/>
          </p:nvSpPr>
          <p:spPr bwMode="auto">
            <a:xfrm>
              <a:off x="4081166" y="4301728"/>
              <a:ext cx="239316" cy="3488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10" name="AutoShape 98"/>
            <p:cNvSpPr/>
            <p:nvPr/>
          </p:nvSpPr>
          <p:spPr bwMode="auto">
            <a:xfrm>
              <a:off x="4178797" y="4334470"/>
              <a:ext cx="44053" cy="1071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11" name="AutoShape 99"/>
            <p:cNvSpPr/>
            <p:nvPr/>
          </p:nvSpPr>
          <p:spPr bwMode="auto">
            <a:xfrm>
              <a:off x="4190108" y="4607123"/>
              <a:ext cx="21431" cy="1071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grpSp>
      <p:grpSp>
        <p:nvGrpSpPr>
          <p:cNvPr id="12" name="组合 11"/>
          <p:cNvGrpSpPr/>
          <p:nvPr/>
        </p:nvGrpSpPr>
        <p:grpSpPr>
          <a:xfrm>
            <a:off x="4580170" y="3321929"/>
            <a:ext cx="675737" cy="675737"/>
            <a:chOff x="6162378" y="2904530"/>
            <a:chExt cx="348258" cy="348258"/>
          </a:xfrm>
          <a:solidFill>
            <a:schemeClr val="bg1"/>
          </a:solidFill>
        </p:grpSpPr>
        <p:sp>
          <p:nvSpPr>
            <p:cNvPr id="13" name="AutoShape 52"/>
            <p:cNvSpPr/>
            <p:nvPr/>
          </p:nvSpPr>
          <p:spPr bwMode="auto">
            <a:xfrm>
              <a:off x="6162378" y="2904530"/>
              <a:ext cx="348258" cy="348258"/>
            </a:xfrm>
            <a:custGeom>
              <a:avLst/>
              <a:gdLst>
                <a:gd name="T0" fmla="+- 0 10800 87"/>
                <a:gd name="T1" fmla="*/ T0 w 21426"/>
                <a:gd name="T2" fmla="+- 0 10799 73"/>
                <a:gd name="T3" fmla="*/ 10799 h 21453"/>
                <a:gd name="T4" fmla="+- 0 10800 87"/>
                <a:gd name="T5" fmla="*/ T4 w 21426"/>
                <a:gd name="T6" fmla="+- 0 10799 73"/>
                <a:gd name="T7" fmla="*/ 10799 h 21453"/>
                <a:gd name="T8" fmla="+- 0 10800 87"/>
                <a:gd name="T9" fmla="*/ T8 w 21426"/>
                <a:gd name="T10" fmla="+- 0 10799 73"/>
                <a:gd name="T11" fmla="*/ 10799 h 21453"/>
                <a:gd name="T12" fmla="+- 0 10800 87"/>
                <a:gd name="T13" fmla="*/ T12 w 21426"/>
                <a:gd name="T14" fmla="+- 0 10799 73"/>
                <a:gd name="T15" fmla="*/ 10799 h 21453"/>
              </a:gdLst>
              <a:ahLst/>
              <a:cxnLst>
                <a:cxn ang="0">
                  <a:pos x="T1" y="T3"/>
                </a:cxn>
                <a:cxn ang="0">
                  <a:pos x="T5" y="T7"/>
                </a:cxn>
                <a:cxn ang="0">
                  <a:pos x="T9" y="T11"/>
                </a:cxn>
                <a:cxn ang="0">
                  <a:pos x="T13" y="T15"/>
                </a:cxn>
              </a:cxnLst>
              <a:rect l="0" t="0" r="r" b="b"/>
              <a:pathLst>
                <a:path w="21426" h="21453">
                  <a:moveTo>
                    <a:pt x="8034" y="20112"/>
                  </a:moveTo>
                  <a:cubicBezTo>
                    <a:pt x="5816" y="17892"/>
                    <a:pt x="3556" y="15628"/>
                    <a:pt x="1338" y="13408"/>
                  </a:cubicBezTo>
                  <a:cubicBezTo>
                    <a:pt x="3241" y="7240"/>
                    <a:pt x="11488" y="7509"/>
                    <a:pt x="13391" y="1341"/>
                  </a:cubicBezTo>
                  <a:cubicBezTo>
                    <a:pt x="15609" y="3560"/>
                    <a:pt x="17869" y="5825"/>
                    <a:pt x="20087" y="8045"/>
                  </a:cubicBezTo>
                  <a:cubicBezTo>
                    <a:pt x="18184" y="14212"/>
                    <a:pt x="9937" y="13944"/>
                    <a:pt x="8034" y="20112"/>
                  </a:cubicBezTo>
                  <a:moveTo>
                    <a:pt x="21034" y="7097"/>
                  </a:moveTo>
                  <a:lnTo>
                    <a:pt x="14338" y="393"/>
                  </a:lnTo>
                  <a:cubicBezTo>
                    <a:pt x="14006" y="60"/>
                    <a:pt x="13525" y="-73"/>
                    <a:pt x="13069" y="39"/>
                  </a:cubicBezTo>
                  <a:cubicBezTo>
                    <a:pt x="12828" y="98"/>
                    <a:pt x="12614" y="222"/>
                    <a:pt x="12444" y="393"/>
                  </a:cubicBezTo>
                  <a:cubicBezTo>
                    <a:pt x="12292" y="545"/>
                    <a:pt x="12177" y="733"/>
                    <a:pt x="12112" y="944"/>
                  </a:cubicBezTo>
                  <a:cubicBezTo>
                    <a:pt x="11808" y="1929"/>
                    <a:pt x="11283" y="2785"/>
                    <a:pt x="10507" y="3562"/>
                  </a:cubicBezTo>
                  <a:cubicBezTo>
                    <a:pt x="9471" y="4598"/>
                    <a:pt x="8121" y="5384"/>
                    <a:pt x="6693" y="6214"/>
                  </a:cubicBezTo>
                  <a:cubicBezTo>
                    <a:pt x="5177" y="7094"/>
                    <a:pt x="3611" y="8006"/>
                    <a:pt x="2328" y="9290"/>
                  </a:cubicBezTo>
                  <a:cubicBezTo>
                    <a:pt x="1237" y="10383"/>
                    <a:pt x="493" y="11600"/>
                    <a:pt x="59" y="13011"/>
                  </a:cubicBezTo>
                  <a:cubicBezTo>
                    <a:pt x="-87" y="13488"/>
                    <a:pt x="40" y="14004"/>
                    <a:pt x="391" y="14356"/>
                  </a:cubicBezTo>
                  <a:lnTo>
                    <a:pt x="7087" y="21060"/>
                  </a:lnTo>
                  <a:cubicBezTo>
                    <a:pt x="7419" y="21393"/>
                    <a:pt x="7900" y="21526"/>
                    <a:pt x="8356" y="21414"/>
                  </a:cubicBezTo>
                  <a:cubicBezTo>
                    <a:pt x="8597" y="21354"/>
                    <a:pt x="8811" y="21231"/>
                    <a:pt x="8981" y="21060"/>
                  </a:cubicBezTo>
                  <a:cubicBezTo>
                    <a:pt x="9133" y="20908"/>
                    <a:pt x="9248" y="20720"/>
                    <a:pt x="9314" y="20508"/>
                  </a:cubicBezTo>
                  <a:cubicBezTo>
                    <a:pt x="9617" y="19523"/>
                    <a:pt x="10142" y="18667"/>
                    <a:pt x="10918" y="17890"/>
                  </a:cubicBezTo>
                  <a:cubicBezTo>
                    <a:pt x="11954" y="16853"/>
                    <a:pt x="13304" y="16069"/>
                    <a:pt x="14733" y="15239"/>
                  </a:cubicBezTo>
                  <a:cubicBezTo>
                    <a:pt x="16248" y="14357"/>
                    <a:pt x="17814" y="13446"/>
                    <a:pt x="19097" y="12162"/>
                  </a:cubicBezTo>
                  <a:cubicBezTo>
                    <a:pt x="20188" y="11070"/>
                    <a:pt x="20932" y="9852"/>
                    <a:pt x="21366" y="8440"/>
                  </a:cubicBezTo>
                  <a:cubicBezTo>
                    <a:pt x="21512" y="7965"/>
                    <a:pt x="21385" y="7448"/>
                    <a:pt x="21034" y="7097"/>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14" name="AutoShape 53"/>
            <p:cNvSpPr/>
            <p:nvPr/>
          </p:nvSpPr>
          <p:spPr bwMode="auto">
            <a:xfrm>
              <a:off x="6293347" y="3024187"/>
              <a:ext cx="94060" cy="97631"/>
            </a:xfrm>
            <a:custGeom>
              <a:avLst/>
              <a:gdLst>
                <a:gd name="T0" fmla="+- 0 10801 59"/>
                <a:gd name="T1" fmla="*/ T0 w 21484"/>
                <a:gd name="T2" fmla="+- 0 10799 41"/>
                <a:gd name="T3" fmla="*/ 10799 h 21516"/>
                <a:gd name="T4" fmla="+- 0 10801 59"/>
                <a:gd name="T5" fmla="*/ T4 w 21484"/>
                <a:gd name="T6" fmla="+- 0 10799 41"/>
                <a:gd name="T7" fmla="*/ 10799 h 21516"/>
                <a:gd name="T8" fmla="+- 0 10801 59"/>
                <a:gd name="T9" fmla="*/ T8 w 21484"/>
                <a:gd name="T10" fmla="+- 0 10799 41"/>
                <a:gd name="T11" fmla="*/ 10799 h 21516"/>
                <a:gd name="T12" fmla="+- 0 10801 59"/>
                <a:gd name="T13" fmla="*/ T12 w 21484"/>
                <a:gd name="T14" fmla="+- 0 10799 41"/>
                <a:gd name="T15" fmla="*/ 10799 h 21516"/>
              </a:gdLst>
              <a:ahLst/>
              <a:cxnLst>
                <a:cxn ang="0">
                  <a:pos x="T1" y="T3"/>
                </a:cxn>
                <a:cxn ang="0">
                  <a:pos x="T5" y="T7"/>
                </a:cxn>
                <a:cxn ang="0">
                  <a:pos x="T9" y="T11"/>
                </a:cxn>
                <a:cxn ang="0">
                  <a:pos x="T13" y="T15"/>
                </a:cxn>
              </a:cxnLst>
              <a:rect l="0" t="0" r="r" b="b"/>
              <a:pathLst>
                <a:path w="21484" h="21516">
                  <a:moveTo>
                    <a:pt x="17511" y="14987"/>
                  </a:moveTo>
                  <a:cubicBezTo>
                    <a:pt x="17287" y="15384"/>
                    <a:pt x="17032" y="15740"/>
                    <a:pt x="16731" y="16049"/>
                  </a:cubicBezTo>
                  <a:cubicBezTo>
                    <a:pt x="15340" y="14692"/>
                    <a:pt x="13947" y="13205"/>
                    <a:pt x="12559" y="11675"/>
                  </a:cubicBezTo>
                  <a:cubicBezTo>
                    <a:pt x="12912" y="11521"/>
                    <a:pt x="13287" y="11362"/>
                    <a:pt x="13689" y="11198"/>
                  </a:cubicBezTo>
                  <a:cubicBezTo>
                    <a:pt x="14092" y="11034"/>
                    <a:pt x="14494" y="10927"/>
                    <a:pt x="14895" y="10861"/>
                  </a:cubicBezTo>
                  <a:cubicBezTo>
                    <a:pt x="15308" y="10801"/>
                    <a:pt x="15715" y="10819"/>
                    <a:pt x="16122" y="10913"/>
                  </a:cubicBezTo>
                  <a:cubicBezTo>
                    <a:pt x="16527" y="11011"/>
                    <a:pt x="16909" y="11222"/>
                    <a:pt x="17262" y="11554"/>
                  </a:cubicBezTo>
                  <a:cubicBezTo>
                    <a:pt x="17612" y="11890"/>
                    <a:pt x="17835" y="12244"/>
                    <a:pt x="17923" y="12620"/>
                  </a:cubicBezTo>
                  <a:cubicBezTo>
                    <a:pt x="18020" y="13004"/>
                    <a:pt x="18025" y="13392"/>
                    <a:pt x="17958" y="13789"/>
                  </a:cubicBezTo>
                  <a:cubicBezTo>
                    <a:pt x="17883" y="14187"/>
                    <a:pt x="17738" y="14585"/>
                    <a:pt x="17511" y="14987"/>
                  </a:cubicBezTo>
                  <a:moveTo>
                    <a:pt x="5799" y="10193"/>
                  </a:moveTo>
                  <a:cubicBezTo>
                    <a:pt x="5096" y="10221"/>
                    <a:pt x="4482" y="9996"/>
                    <a:pt x="3946" y="9496"/>
                  </a:cubicBezTo>
                  <a:cubicBezTo>
                    <a:pt x="3717" y="9285"/>
                    <a:pt x="3558" y="9028"/>
                    <a:pt x="3461" y="8724"/>
                  </a:cubicBezTo>
                  <a:cubicBezTo>
                    <a:pt x="3359" y="8420"/>
                    <a:pt x="3326" y="8088"/>
                    <a:pt x="3366" y="7723"/>
                  </a:cubicBezTo>
                  <a:cubicBezTo>
                    <a:pt x="3397" y="7363"/>
                    <a:pt x="3509" y="6989"/>
                    <a:pt x="3703" y="6610"/>
                  </a:cubicBezTo>
                  <a:cubicBezTo>
                    <a:pt x="3889" y="6231"/>
                    <a:pt x="4160" y="5852"/>
                    <a:pt x="4510" y="5487"/>
                  </a:cubicBezTo>
                  <a:cubicBezTo>
                    <a:pt x="5768" y="6694"/>
                    <a:pt x="7022" y="8018"/>
                    <a:pt x="8282" y="9388"/>
                  </a:cubicBezTo>
                  <a:cubicBezTo>
                    <a:pt x="7330" y="9893"/>
                    <a:pt x="6501" y="10164"/>
                    <a:pt x="5799" y="10193"/>
                  </a:cubicBezTo>
                  <a:moveTo>
                    <a:pt x="19678" y="8570"/>
                  </a:moveTo>
                  <a:cubicBezTo>
                    <a:pt x="18868" y="7915"/>
                    <a:pt x="18055" y="7470"/>
                    <a:pt x="17235" y="7250"/>
                  </a:cubicBezTo>
                  <a:cubicBezTo>
                    <a:pt x="16421" y="7031"/>
                    <a:pt x="15603" y="6942"/>
                    <a:pt x="14779" y="6998"/>
                  </a:cubicBezTo>
                  <a:cubicBezTo>
                    <a:pt x="13964" y="7059"/>
                    <a:pt x="13130" y="7236"/>
                    <a:pt x="12296" y="7545"/>
                  </a:cubicBezTo>
                  <a:cubicBezTo>
                    <a:pt x="11462" y="7859"/>
                    <a:pt x="10625" y="8200"/>
                    <a:pt x="9782" y="8593"/>
                  </a:cubicBezTo>
                  <a:cubicBezTo>
                    <a:pt x="8448" y="7115"/>
                    <a:pt x="7114" y="5658"/>
                    <a:pt x="5778" y="4299"/>
                  </a:cubicBezTo>
                  <a:cubicBezTo>
                    <a:pt x="6382" y="3775"/>
                    <a:pt x="6963" y="3509"/>
                    <a:pt x="7526" y="3490"/>
                  </a:cubicBezTo>
                  <a:cubicBezTo>
                    <a:pt x="8088" y="3467"/>
                    <a:pt x="8631" y="3523"/>
                    <a:pt x="9145" y="3649"/>
                  </a:cubicBezTo>
                  <a:cubicBezTo>
                    <a:pt x="9669" y="3775"/>
                    <a:pt x="10149" y="3883"/>
                    <a:pt x="10590" y="3967"/>
                  </a:cubicBezTo>
                  <a:cubicBezTo>
                    <a:pt x="11038" y="4051"/>
                    <a:pt x="11424" y="3958"/>
                    <a:pt x="11765" y="3682"/>
                  </a:cubicBezTo>
                  <a:cubicBezTo>
                    <a:pt x="12123" y="3382"/>
                    <a:pt x="12321" y="2994"/>
                    <a:pt x="12351" y="2526"/>
                  </a:cubicBezTo>
                  <a:cubicBezTo>
                    <a:pt x="12376" y="2054"/>
                    <a:pt x="12189" y="1596"/>
                    <a:pt x="11782" y="1147"/>
                  </a:cubicBezTo>
                  <a:cubicBezTo>
                    <a:pt x="11258" y="569"/>
                    <a:pt x="10630" y="216"/>
                    <a:pt x="9872" y="85"/>
                  </a:cubicBezTo>
                  <a:cubicBezTo>
                    <a:pt x="9126" y="-41"/>
                    <a:pt x="8358" y="-30"/>
                    <a:pt x="7564" y="136"/>
                  </a:cubicBezTo>
                  <a:cubicBezTo>
                    <a:pt x="6780" y="309"/>
                    <a:pt x="6032" y="595"/>
                    <a:pt x="5324" y="997"/>
                  </a:cubicBezTo>
                  <a:cubicBezTo>
                    <a:pt x="4617" y="1399"/>
                    <a:pt x="4048" y="1811"/>
                    <a:pt x="3626" y="2213"/>
                  </a:cubicBezTo>
                  <a:cubicBezTo>
                    <a:pt x="3464" y="2066"/>
                    <a:pt x="3302" y="1918"/>
                    <a:pt x="3141" y="1773"/>
                  </a:cubicBezTo>
                  <a:cubicBezTo>
                    <a:pt x="2963" y="1614"/>
                    <a:pt x="2739" y="1530"/>
                    <a:pt x="2471" y="1535"/>
                  </a:cubicBezTo>
                  <a:cubicBezTo>
                    <a:pt x="2200" y="1535"/>
                    <a:pt x="1977" y="1647"/>
                    <a:pt x="1793" y="1853"/>
                  </a:cubicBezTo>
                  <a:cubicBezTo>
                    <a:pt x="1615" y="2054"/>
                    <a:pt x="1530" y="2288"/>
                    <a:pt x="1565" y="2536"/>
                  </a:cubicBezTo>
                  <a:cubicBezTo>
                    <a:pt x="1589" y="2793"/>
                    <a:pt x="1696" y="2989"/>
                    <a:pt x="1880" y="3139"/>
                  </a:cubicBezTo>
                  <a:cubicBezTo>
                    <a:pt x="2044" y="3270"/>
                    <a:pt x="2203" y="3401"/>
                    <a:pt x="2364" y="3537"/>
                  </a:cubicBezTo>
                  <a:cubicBezTo>
                    <a:pt x="1731" y="4276"/>
                    <a:pt x="1207" y="5094"/>
                    <a:pt x="795" y="5957"/>
                  </a:cubicBezTo>
                  <a:cubicBezTo>
                    <a:pt x="378" y="6820"/>
                    <a:pt x="130" y="7676"/>
                    <a:pt x="37" y="8509"/>
                  </a:cubicBezTo>
                  <a:cubicBezTo>
                    <a:pt x="-59" y="9346"/>
                    <a:pt x="33" y="10113"/>
                    <a:pt x="298" y="10824"/>
                  </a:cubicBezTo>
                  <a:cubicBezTo>
                    <a:pt x="566" y="11540"/>
                    <a:pt x="1056" y="12148"/>
                    <a:pt x="1774" y="12723"/>
                  </a:cubicBezTo>
                  <a:cubicBezTo>
                    <a:pt x="2942" y="13658"/>
                    <a:pt x="4321" y="14056"/>
                    <a:pt x="5915" y="13967"/>
                  </a:cubicBezTo>
                  <a:cubicBezTo>
                    <a:pt x="7507" y="13874"/>
                    <a:pt x="9223" y="13415"/>
                    <a:pt x="11064" y="12461"/>
                  </a:cubicBezTo>
                  <a:cubicBezTo>
                    <a:pt x="12532" y="14093"/>
                    <a:pt x="14002" y="15716"/>
                    <a:pt x="15470" y="17223"/>
                  </a:cubicBezTo>
                  <a:cubicBezTo>
                    <a:pt x="14849" y="17728"/>
                    <a:pt x="14305" y="18018"/>
                    <a:pt x="13826" y="18111"/>
                  </a:cubicBezTo>
                  <a:cubicBezTo>
                    <a:pt x="13344" y="18210"/>
                    <a:pt x="12917" y="18200"/>
                    <a:pt x="12530" y="18088"/>
                  </a:cubicBezTo>
                  <a:cubicBezTo>
                    <a:pt x="12142" y="17971"/>
                    <a:pt x="11782" y="17803"/>
                    <a:pt x="11455" y="17587"/>
                  </a:cubicBezTo>
                  <a:cubicBezTo>
                    <a:pt x="11125" y="17368"/>
                    <a:pt x="10799" y="17181"/>
                    <a:pt x="10474" y="17026"/>
                  </a:cubicBezTo>
                  <a:cubicBezTo>
                    <a:pt x="10154" y="16872"/>
                    <a:pt x="9823" y="16788"/>
                    <a:pt x="9486" y="16783"/>
                  </a:cubicBezTo>
                  <a:cubicBezTo>
                    <a:pt x="9145" y="16778"/>
                    <a:pt x="8785" y="16937"/>
                    <a:pt x="8388" y="17265"/>
                  </a:cubicBezTo>
                  <a:cubicBezTo>
                    <a:pt x="7981" y="17606"/>
                    <a:pt x="7777" y="18004"/>
                    <a:pt x="7777" y="18453"/>
                  </a:cubicBezTo>
                  <a:cubicBezTo>
                    <a:pt x="7777" y="18897"/>
                    <a:pt x="7991" y="19351"/>
                    <a:pt x="8408" y="19809"/>
                  </a:cubicBezTo>
                  <a:cubicBezTo>
                    <a:pt x="8830" y="20268"/>
                    <a:pt x="9379" y="20651"/>
                    <a:pt x="10042" y="20955"/>
                  </a:cubicBezTo>
                  <a:cubicBezTo>
                    <a:pt x="10708" y="21259"/>
                    <a:pt x="11455" y="21451"/>
                    <a:pt x="12279" y="21502"/>
                  </a:cubicBezTo>
                  <a:cubicBezTo>
                    <a:pt x="13103" y="21559"/>
                    <a:pt x="13970" y="21437"/>
                    <a:pt x="14886" y="21109"/>
                  </a:cubicBezTo>
                  <a:cubicBezTo>
                    <a:pt x="15807" y="20787"/>
                    <a:pt x="16721" y="20202"/>
                    <a:pt x="17617" y="19332"/>
                  </a:cubicBezTo>
                  <a:cubicBezTo>
                    <a:pt x="18051" y="19739"/>
                    <a:pt x="18489" y="20127"/>
                    <a:pt x="18921" y="20501"/>
                  </a:cubicBezTo>
                  <a:cubicBezTo>
                    <a:pt x="19107" y="20656"/>
                    <a:pt x="19328" y="20731"/>
                    <a:pt x="19601" y="20712"/>
                  </a:cubicBezTo>
                  <a:cubicBezTo>
                    <a:pt x="19861" y="20703"/>
                    <a:pt x="20090" y="20586"/>
                    <a:pt x="20269" y="20375"/>
                  </a:cubicBezTo>
                  <a:cubicBezTo>
                    <a:pt x="20455" y="20160"/>
                    <a:pt x="20532" y="19921"/>
                    <a:pt x="20503" y="19674"/>
                  </a:cubicBezTo>
                  <a:cubicBezTo>
                    <a:pt x="20477" y="19421"/>
                    <a:pt x="20371" y="19229"/>
                    <a:pt x="20192" y="19089"/>
                  </a:cubicBezTo>
                  <a:cubicBezTo>
                    <a:pt x="19755" y="18752"/>
                    <a:pt x="19321" y="18397"/>
                    <a:pt x="18884" y="18022"/>
                  </a:cubicBezTo>
                  <a:cubicBezTo>
                    <a:pt x="19626" y="17143"/>
                    <a:pt x="20221" y="16217"/>
                    <a:pt x="20664" y="15300"/>
                  </a:cubicBezTo>
                  <a:cubicBezTo>
                    <a:pt x="21103" y="14379"/>
                    <a:pt x="21367" y="13490"/>
                    <a:pt x="21453" y="12667"/>
                  </a:cubicBezTo>
                  <a:cubicBezTo>
                    <a:pt x="21540" y="11839"/>
                    <a:pt x="21439" y="11091"/>
                    <a:pt x="21159" y="10412"/>
                  </a:cubicBezTo>
                  <a:cubicBezTo>
                    <a:pt x="20880" y="9725"/>
                    <a:pt x="20386" y="9135"/>
                    <a:pt x="19678" y="8570"/>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15" name="AutoShape 54"/>
            <p:cNvSpPr/>
            <p:nvPr/>
          </p:nvSpPr>
          <p:spPr bwMode="auto">
            <a:xfrm>
              <a:off x="6282035" y="3143845"/>
              <a:ext cx="52983" cy="55364"/>
            </a:xfrm>
            <a:custGeom>
              <a:avLst/>
              <a:gdLst>
                <a:gd name="T0" fmla="+- 0 10791 197"/>
                <a:gd name="T1" fmla="*/ T0 w 21188"/>
                <a:gd name="T2" fmla="+- 0 10794 193"/>
                <a:gd name="T3" fmla="*/ 10794 h 21203"/>
                <a:gd name="T4" fmla="+- 0 10791 197"/>
                <a:gd name="T5" fmla="*/ T4 w 21188"/>
                <a:gd name="T6" fmla="+- 0 10794 193"/>
                <a:gd name="T7" fmla="*/ 10794 h 21203"/>
                <a:gd name="T8" fmla="+- 0 10791 197"/>
                <a:gd name="T9" fmla="*/ T8 w 21188"/>
                <a:gd name="T10" fmla="+- 0 10794 193"/>
                <a:gd name="T11" fmla="*/ 10794 h 21203"/>
                <a:gd name="T12" fmla="+- 0 10791 197"/>
                <a:gd name="T13" fmla="*/ T12 w 21188"/>
                <a:gd name="T14" fmla="+- 0 10794 193"/>
                <a:gd name="T15" fmla="*/ 10794 h 21203"/>
              </a:gdLst>
              <a:ahLst/>
              <a:cxnLst>
                <a:cxn ang="0">
                  <a:pos x="T1" y="T3"/>
                </a:cxn>
                <a:cxn ang="0">
                  <a:pos x="T5" y="T7"/>
                </a:cxn>
                <a:cxn ang="0">
                  <a:pos x="T9" y="T11"/>
                </a:cxn>
                <a:cxn ang="0">
                  <a:pos x="T13" y="T15"/>
                </a:cxn>
              </a:cxnLst>
              <a:rect l="0" t="0" r="r" b="b"/>
              <a:pathLst>
                <a:path w="21188" h="21203">
                  <a:moveTo>
                    <a:pt x="17615" y="468"/>
                  </a:moveTo>
                  <a:lnTo>
                    <a:pt x="17606" y="468"/>
                  </a:lnTo>
                  <a:cubicBezTo>
                    <a:pt x="14870" y="2476"/>
                    <a:pt x="12200" y="4590"/>
                    <a:pt x="9727" y="6958"/>
                  </a:cubicBezTo>
                  <a:cubicBezTo>
                    <a:pt x="7348" y="9227"/>
                    <a:pt x="5200" y="11619"/>
                    <a:pt x="3329" y="14060"/>
                  </a:cubicBezTo>
                  <a:lnTo>
                    <a:pt x="341" y="17962"/>
                  </a:lnTo>
                  <a:lnTo>
                    <a:pt x="350" y="17970"/>
                  </a:lnTo>
                  <a:cubicBezTo>
                    <a:pt x="-197" y="18786"/>
                    <a:pt x="-106" y="19880"/>
                    <a:pt x="638" y="20590"/>
                  </a:cubicBezTo>
                  <a:cubicBezTo>
                    <a:pt x="1491" y="21407"/>
                    <a:pt x="2889" y="21407"/>
                    <a:pt x="3746" y="20590"/>
                  </a:cubicBezTo>
                  <a:cubicBezTo>
                    <a:pt x="3877" y="20460"/>
                    <a:pt x="3984" y="20321"/>
                    <a:pt x="4069" y="20174"/>
                  </a:cubicBezTo>
                  <a:lnTo>
                    <a:pt x="6867" y="16517"/>
                  </a:lnTo>
                  <a:cubicBezTo>
                    <a:pt x="8601" y="14255"/>
                    <a:pt x="10606" y="12027"/>
                    <a:pt x="12824" y="9913"/>
                  </a:cubicBezTo>
                  <a:cubicBezTo>
                    <a:pt x="15281" y="7570"/>
                    <a:pt x="17557" y="5758"/>
                    <a:pt x="20329" y="3749"/>
                  </a:cubicBezTo>
                  <a:lnTo>
                    <a:pt x="20321" y="3741"/>
                  </a:lnTo>
                  <a:cubicBezTo>
                    <a:pt x="20400" y="3684"/>
                    <a:pt x="20473" y="3635"/>
                    <a:pt x="20543" y="3570"/>
                  </a:cubicBezTo>
                  <a:cubicBezTo>
                    <a:pt x="21402" y="2753"/>
                    <a:pt x="21402" y="1427"/>
                    <a:pt x="20543" y="606"/>
                  </a:cubicBezTo>
                  <a:cubicBezTo>
                    <a:pt x="19742" y="-161"/>
                    <a:pt x="18472" y="-193"/>
                    <a:pt x="17615" y="468"/>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16" name="AutoShape 55"/>
            <p:cNvSpPr/>
            <p:nvPr/>
          </p:nvSpPr>
          <p:spPr bwMode="auto">
            <a:xfrm>
              <a:off x="6336804" y="2958703"/>
              <a:ext cx="53578" cy="55960"/>
            </a:xfrm>
            <a:custGeom>
              <a:avLst/>
              <a:gdLst>
                <a:gd name="T0" fmla="+- 0 10803 213"/>
                <a:gd name="T1" fmla="*/ T0 w 21180"/>
                <a:gd name="T2" fmla="+- 0 10801 203"/>
                <a:gd name="T3" fmla="*/ 10801 h 21196"/>
                <a:gd name="T4" fmla="+- 0 10803 213"/>
                <a:gd name="T5" fmla="*/ T4 w 21180"/>
                <a:gd name="T6" fmla="+- 0 10801 203"/>
                <a:gd name="T7" fmla="*/ 10801 h 21196"/>
                <a:gd name="T8" fmla="+- 0 10803 213"/>
                <a:gd name="T9" fmla="*/ T8 w 21180"/>
                <a:gd name="T10" fmla="+- 0 10801 203"/>
                <a:gd name="T11" fmla="*/ 10801 h 21196"/>
                <a:gd name="T12" fmla="+- 0 10803 213"/>
                <a:gd name="T13" fmla="*/ T12 w 21180"/>
                <a:gd name="T14" fmla="+- 0 10801 203"/>
                <a:gd name="T15" fmla="*/ 10801 h 21196"/>
              </a:gdLst>
              <a:ahLst/>
              <a:cxnLst>
                <a:cxn ang="0">
                  <a:pos x="T1" y="T3"/>
                </a:cxn>
                <a:cxn ang="0">
                  <a:pos x="T5" y="T7"/>
                </a:cxn>
                <a:cxn ang="0">
                  <a:pos x="T9" y="T11"/>
                </a:cxn>
                <a:cxn ang="0">
                  <a:pos x="T13" y="T15"/>
                </a:cxn>
              </a:cxnLst>
              <a:rect l="0" t="0" r="r" b="b"/>
              <a:pathLst>
                <a:path w="21180" h="21196">
                  <a:moveTo>
                    <a:pt x="8372" y="11356"/>
                  </a:moveTo>
                  <a:cubicBezTo>
                    <a:pt x="6122" y="13508"/>
                    <a:pt x="3675" y="15444"/>
                    <a:pt x="1144" y="17292"/>
                  </a:cubicBezTo>
                  <a:cubicBezTo>
                    <a:pt x="963" y="17388"/>
                    <a:pt x="786" y="17493"/>
                    <a:pt x="637" y="17645"/>
                  </a:cubicBezTo>
                  <a:cubicBezTo>
                    <a:pt x="-213" y="18457"/>
                    <a:pt x="-213" y="19774"/>
                    <a:pt x="637" y="20585"/>
                  </a:cubicBezTo>
                  <a:cubicBezTo>
                    <a:pt x="1464" y="21380"/>
                    <a:pt x="2796" y="21397"/>
                    <a:pt x="3652" y="20641"/>
                  </a:cubicBezTo>
                  <a:lnTo>
                    <a:pt x="3665" y="20649"/>
                  </a:lnTo>
                  <a:cubicBezTo>
                    <a:pt x="6364" y="18673"/>
                    <a:pt x="8988" y="16581"/>
                    <a:pt x="11419" y="14263"/>
                  </a:cubicBezTo>
                  <a:cubicBezTo>
                    <a:pt x="13759" y="12030"/>
                    <a:pt x="15873" y="9685"/>
                    <a:pt x="17715" y="7283"/>
                  </a:cubicBezTo>
                  <a:lnTo>
                    <a:pt x="20663" y="3427"/>
                  </a:lnTo>
                  <a:lnTo>
                    <a:pt x="20654" y="3419"/>
                  </a:lnTo>
                  <a:cubicBezTo>
                    <a:pt x="21386" y="2600"/>
                    <a:pt x="21357" y="1379"/>
                    <a:pt x="20541" y="608"/>
                  </a:cubicBezTo>
                  <a:cubicBezTo>
                    <a:pt x="19697" y="-203"/>
                    <a:pt x="18323" y="-203"/>
                    <a:pt x="17468" y="608"/>
                  </a:cubicBezTo>
                  <a:cubicBezTo>
                    <a:pt x="17313" y="760"/>
                    <a:pt x="17197" y="937"/>
                    <a:pt x="17094" y="1114"/>
                  </a:cubicBezTo>
                  <a:lnTo>
                    <a:pt x="14228" y="4857"/>
                  </a:lnTo>
                  <a:cubicBezTo>
                    <a:pt x="12526" y="7090"/>
                    <a:pt x="10552" y="9275"/>
                    <a:pt x="8372" y="11356"/>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grpSp>
      <p:grpSp>
        <p:nvGrpSpPr>
          <p:cNvPr id="17" name="Group 58"/>
          <p:cNvGrpSpPr/>
          <p:nvPr/>
        </p:nvGrpSpPr>
        <p:grpSpPr>
          <a:xfrm>
            <a:off x="6924050" y="3369766"/>
            <a:ext cx="570783" cy="535658"/>
            <a:chOff x="10074275" y="1647825"/>
            <a:chExt cx="464344" cy="435769"/>
          </a:xfrm>
          <a:solidFill>
            <a:schemeClr val="bg1"/>
          </a:solidFill>
        </p:grpSpPr>
        <p:sp>
          <p:nvSpPr>
            <p:cNvPr id="18" name="AutoShape 69"/>
            <p:cNvSpPr/>
            <p:nvPr/>
          </p:nvSpPr>
          <p:spPr bwMode="auto">
            <a:xfrm>
              <a:off x="10074275" y="1647825"/>
              <a:ext cx="464344" cy="4357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223" y="5760"/>
                  </a:moveTo>
                  <a:lnTo>
                    <a:pt x="17548" y="5760"/>
                  </a:lnTo>
                  <a:cubicBezTo>
                    <a:pt x="16804" y="5760"/>
                    <a:pt x="16198" y="5114"/>
                    <a:pt x="16198" y="4320"/>
                  </a:cubicBezTo>
                  <a:lnTo>
                    <a:pt x="16200" y="4320"/>
                  </a:lnTo>
                  <a:lnTo>
                    <a:pt x="16200" y="1440"/>
                  </a:lnTo>
                  <a:lnTo>
                    <a:pt x="20250" y="5760"/>
                  </a:lnTo>
                  <a:cubicBezTo>
                    <a:pt x="20250" y="5760"/>
                    <a:pt x="18223" y="5760"/>
                    <a:pt x="18223" y="5760"/>
                  </a:cubicBezTo>
                  <a:close/>
                  <a:moveTo>
                    <a:pt x="20250" y="19440"/>
                  </a:moveTo>
                  <a:cubicBezTo>
                    <a:pt x="20250" y="19837"/>
                    <a:pt x="19948" y="20160"/>
                    <a:pt x="19575" y="20160"/>
                  </a:cubicBezTo>
                  <a:lnTo>
                    <a:pt x="2024" y="20160"/>
                  </a:lnTo>
                  <a:cubicBezTo>
                    <a:pt x="1651" y="20160"/>
                    <a:pt x="1349" y="19837"/>
                    <a:pt x="1349" y="19440"/>
                  </a:cubicBezTo>
                  <a:lnTo>
                    <a:pt x="1349" y="2160"/>
                  </a:lnTo>
                  <a:cubicBezTo>
                    <a:pt x="1349" y="1762"/>
                    <a:pt x="1651" y="1440"/>
                    <a:pt x="2024" y="1440"/>
                  </a:cubicBezTo>
                  <a:lnTo>
                    <a:pt x="15525" y="1440"/>
                  </a:lnTo>
                  <a:lnTo>
                    <a:pt x="15525" y="4320"/>
                  </a:lnTo>
                  <a:lnTo>
                    <a:pt x="15523" y="4320"/>
                  </a:lnTo>
                  <a:cubicBezTo>
                    <a:pt x="15523" y="5513"/>
                    <a:pt x="16430" y="6480"/>
                    <a:pt x="17548" y="6480"/>
                  </a:cubicBezTo>
                  <a:lnTo>
                    <a:pt x="18223" y="6480"/>
                  </a:lnTo>
                  <a:lnTo>
                    <a:pt x="20250" y="6480"/>
                  </a:lnTo>
                  <a:cubicBezTo>
                    <a:pt x="20250" y="6480"/>
                    <a:pt x="20250" y="19440"/>
                    <a:pt x="20250" y="19440"/>
                  </a:cubicBezTo>
                  <a:close/>
                  <a:moveTo>
                    <a:pt x="21204" y="4741"/>
                  </a:moveTo>
                  <a:lnTo>
                    <a:pt x="17154" y="421"/>
                  </a:lnTo>
                  <a:cubicBezTo>
                    <a:pt x="16901" y="151"/>
                    <a:pt x="16557" y="0"/>
                    <a:pt x="16200" y="0"/>
                  </a:cubicBezTo>
                  <a:lnTo>
                    <a:pt x="2024" y="0"/>
                  </a:lnTo>
                  <a:cubicBezTo>
                    <a:pt x="908" y="0"/>
                    <a:pt x="0" y="968"/>
                    <a:pt x="0" y="2160"/>
                  </a:cubicBezTo>
                  <a:lnTo>
                    <a:pt x="0" y="19440"/>
                  </a:lnTo>
                  <a:cubicBezTo>
                    <a:pt x="0" y="20631"/>
                    <a:pt x="908" y="21600"/>
                    <a:pt x="2024" y="21600"/>
                  </a:cubicBezTo>
                  <a:lnTo>
                    <a:pt x="19575" y="21600"/>
                  </a:lnTo>
                  <a:cubicBezTo>
                    <a:pt x="20691" y="21600"/>
                    <a:pt x="21599" y="20631"/>
                    <a:pt x="21599" y="19440"/>
                  </a:cubicBezTo>
                  <a:lnTo>
                    <a:pt x="21599" y="5760"/>
                  </a:lnTo>
                  <a:cubicBezTo>
                    <a:pt x="21599" y="5378"/>
                    <a:pt x="21457" y="5011"/>
                    <a:pt x="21204" y="4741"/>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19" name="AutoShape 70"/>
            <p:cNvSpPr/>
            <p:nvPr/>
          </p:nvSpPr>
          <p:spPr bwMode="auto">
            <a:xfrm>
              <a:off x="10291763" y="1734344"/>
              <a:ext cx="87313"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00" y="21599"/>
                  </a:moveTo>
                  <a:lnTo>
                    <a:pt x="19800" y="21599"/>
                  </a:lnTo>
                  <a:cubicBezTo>
                    <a:pt x="20791" y="21599"/>
                    <a:pt x="21600" y="16769"/>
                    <a:pt x="21600" y="10800"/>
                  </a:cubicBezTo>
                  <a:cubicBezTo>
                    <a:pt x="21600" y="4830"/>
                    <a:pt x="20791" y="0"/>
                    <a:pt x="19800" y="0"/>
                  </a:cubicBezTo>
                  <a:lnTo>
                    <a:pt x="1800" y="0"/>
                  </a:lnTo>
                  <a:cubicBezTo>
                    <a:pt x="801" y="0"/>
                    <a:pt x="0" y="4830"/>
                    <a:pt x="0" y="10800"/>
                  </a:cubicBezTo>
                  <a:cubicBezTo>
                    <a:pt x="0" y="16769"/>
                    <a:pt x="801" y="21599"/>
                    <a:pt x="1800" y="21599"/>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20" name="AutoShape 71"/>
            <p:cNvSpPr/>
            <p:nvPr/>
          </p:nvSpPr>
          <p:spPr bwMode="auto">
            <a:xfrm>
              <a:off x="10291763" y="1778000"/>
              <a:ext cx="87313"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00" y="21599"/>
                  </a:moveTo>
                  <a:lnTo>
                    <a:pt x="19800" y="21599"/>
                  </a:lnTo>
                  <a:cubicBezTo>
                    <a:pt x="20791" y="21599"/>
                    <a:pt x="21600" y="16769"/>
                    <a:pt x="21600" y="10800"/>
                  </a:cubicBezTo>
                  <a:cubicBezTo>
                    <a:pt x="21600" y="4830"/>
                    <a:pt x="20791" y="0"/>
                    <a:pt x="19800" y="0"/>
                  </a:cubicBezTo>
                  <a:lnTo>
                    <a:pt x="1800" y="0"/>
                  </a:lnTo>
                  <a:cubicBezTo>
                    <a:pt x="801" y="0"/>
                    <a:pt x="0" y="4830"/>
                    <a:pt x="0" y="10800"/>
                  </a:cubicBezTo>
                  <a:cubicBezTo>
                    <a:pt x="0" y="16769"/>
                    <a:pt x="801" y="21599"/>
                    <a:pt x="1800" y="21599"/>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21" name="AutoShape 72"/>
            <p:cNvSpPr/>
            <p:nvPr/>
          </p:nvSpPr>
          <p:spPr bwMode="auto">
            <a:xfrm>
              <a:off x="10291763" y="1821657"/>
              <a:ext cx="188913"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0800"/>
                  </a:moveTo>
                  <a:cubicBezTo>
                    <a:pt x="0" y="16769"/>
                    <a:pt x="369" y="21599"/>
                    <a:pt x="830" y="21599"/>
                  </a:cubicBezTo>
                  <a:lnTo>
                    <a:pt x="20769" y="21599"/>
                  </a:lnTo>
                  <a:cubicBezTo>
                    <a:pt x="21226" y="21599"/>
                    <a:pt x="21600" y="16769"/>
                    <a:pt x="21600" y="10800"/>
                  </a:cubicBezTo>
                  <a:cubicBezTo>
                    <a:pt x="21600" y="4830"/>
                    <a:pt x="21226" y="0"/>
                    <a:pt x="20769" y="0"/>
                  </a:cubicBezTo>
                  <a:lnTo>
                    <a:pt x="830" y="0"/>
                  </a:lnTo>
                  <a:cubicBezTo>
                    <a:pt x="369" y="0"/>
                    <a:pt x="0" y="4830"/>
                    <a:pt x="0" y="10800"/>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22" name="AutoShape 73"/>
            <p:cNvSpPr/>
            <p:nvPr/>
          </p:nvSpPr>
          <p:spPr bwMode="auto">
            <a:xfrm>
              <a:off x="10132219" y="1908969"/>
              <a:ext cx="348456"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23" name="AutoShape 74"/>
            <p:cNvSpPr/>
            <p:nvPr/>
          </p:nvSpPr>
          <p:spPr bwMode="auto">
            <a:xfrm>
              <a:off x="10132219" y="1952625"/>
              <a:ext cx="348456"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24" name="AutoShape 75"/>
            <p:cNvSpPr/>
            <p:nvPr/>
          </p:nvSpPr>
          <p:spPr bwMode="auto">
            <a:xfrm>
              <a:off x="10132219" y="1996282"/>
              <a:ext cx="348456"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25" name="AutoShape 76"/>
            <p:cNvSpPr/>
            <p:nvPr/>
          </p:nvSpPr>
          <p:spPr bwMode="auto">
            <a:xfrm>
              <a:off x="10132219" y="1865313"/>
              <a:ext cx="348456"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69"/>
                    <a:pt x="201" y="21599"/>
                    <a:pt x="449" y="21599"/>
                  </a:cubicBezTo>
                  <a:lnTo>
                    <a:pt x="21150" y="21599"/>
                  </a:lnTo>
                  <a:cubicBezTo>
                    <a:pt x="21397" y="21599"/>
                    <a:pt x="21599" y="16769"/>
                    <a:pt x="21599" y="10800"/>
                  </a:cubicBezTo>
                  <a:cubicBezTo>
                    <a:pt x="21599" y="4830"/>
                    <a:pt x="21397" y="0"/>
                    <a:pt x="21150" y="0"/>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26" name="AutoShape 77"/>
            <p:cNvSpPr/>
            <p:nvPr/>
          </p:nvSpPr>
          <p:spPr bwMode="auto">
            <a:xfrm>
              <a:off x="10132219" y="1720057"/>
              <a:ext cx="130969" cy="1166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4799" y="5400"/>
                  </a:moveTo>
                  <a:lnTo>
                    <a:pt x="16800" y="5400"/>
                  </a:lnTo>
                  <a:lnTo>
                    <a:pt x="16800" y="16200"/>
                  </a:lnTo>
                  <a:lnTo>
                    <a:pt x="4799" y="16200"/>
                  </a:lnTo>
                  <a:cubicBezTo>
                    <a:pt x="4799" y="16200"/>
                    <a:pt x="4799" y="5400"/>
                    <a:pt x="4799" y="5400"/>
                  </a:cubicBezTo>
                  <a:close/>
                  <a:moveTo>
                    <a:pt x="2399" y="21599"/>
                  </a:moveTo>
                  <a:lnTo>
                    <a:pt x="19200" y="21599"/>
                  </a:lnTo>
                  <a:cubicBezTo>
                    <a:pt x="20526" y="21599"/>
                    <a:pt x="21599" y="20392"/>
                    <a:pt x="21599" y="18900"/>
                  </a:cubicBezTo>
                  <a:lnTo>
                    <a:pt x="21599" y="2700"/>
                  </a:lnTo>
                  <a:cubicBezTo>
                    <a:pt x="21599" y="1207"/>
                    <a:pt x="20526" y="0"/>
                    <a:pt x="19200" y="0"/>
                  </a:cubicBezTo>
                  <a:lnTo>
                    <a:pt x="2399" y="0"/>
                  </a:lnTo>
                  <a:cubicBezTo>
                    <a:pt x="1073" y="0"/>
                    <a:pt x="0" y="1207"/>
                    <a:pt x="0" y="2700"/>
                  </a:cubicBezTo>
                  <a:lnTo>
                    <a:pt x="0" y="18900"/>
                  </a:lnTo>
                  <a:cubicBezTo>
                    <a:pt x="0" y="20392"/>
                    <a:pt x="1073" y="21599"/>
                    <a:pt x="2399" y="21599"/>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grpSp>
      <p:grpSp>
        <p:nvGrpSpPr>
          <p:cNvPr id="27" name="组合 26"/>
          <p:cNvGrpSpPr/>
          <p:nvPr/>
        </p:nvGrpSpPr>
        <p:grpSpPr>
          <a:xfrm>
            <a:off x="9178460" y="3354891"/>
            <a:ext cx="644767" cy="565409"/>
            <a:chOff x="1239739" y="2232422"/>
            <a:chExt cx="348258" cy="305396"/>
          </a:xfrm>
          <a:solidFill>
            <a:schemeClr val="bg1"/>
          </a:solidFill>
        </p:grpSpPr>
        <p:sp>
          <p:nvSpPr>
            <p:cNvPr id="28" name="AutoShape 147"/>
            <p:cNvSpPr/>
            <p:nvPr/>
          </p:nvSpPr>
          <p:spPr bwMode="auto">
            <a:xfrm>
              <a:off x="1239739" y="2232422"/>
              <a:ext cx="348258" cy="305396"/>
            </a:xfrm>
            <a:custGeom>
              <a:avLst/>
              <a:gdLst>
                <a:gd name="T0" fmla="+- 0 10800 597"/>
                <a:gd name="T1" fmla="*/ T0 w 20407"/>
                <a:gd name="T2" fmla="+- 0 11028 672"/>
                <a:gd name="T3" fmla="*/ 11028 h 20712"/>
                <a:gd name="T4" fmla="+- 0 10800 597"/>
                <a:gd name="T5" fmla="*/ T4 w 20407"/>
                <a:gd name="T6" fmla="+- 0 11028 672"/>
                <a:gd name="T7" fmla="*/ 11028 h 20712"/>
                <a:gd name="T8" fmla="+- 0 10800 597"/>
                <a:gd name="T9" fmla="*/ T8 w 20407"/>
                <a:gd name="T10" fmla="+- 0 11028 672"/>
                <a:gd name="T11" fmla="*/ 11028 h 20712"/>
                <a:gd name="T12" fmla="+- 0 10800 597"/>
                <a:gd name="T13" fmla="*/ T12 w 20407"/>
                <a:gd name="T14" fmla="+- 0 11028 672"/>
                <a:gd name="T15" fmla="*/ 11028 h 20712"/>
              </a:gdLst>
              <a:ahLst/>
              <a:cxnLst>
                <a:cxn ang="0">
                  <a:pos x="T1" y="T3"/>
                </a:cxn>
                <a:cxn ang="0">
                  <a:pos x="T5" y="T7"/>
                </a:cxn>
                <a:cxn ang="0">
                  <a:pos x="T9" y="T11"/>
                </a:cxn>
                <a:cxn ang="0">
                  <a:pos x="T13" y="T15"/>
                </a:cxn>
              </a:cxnLst>
              <a:rect l="0" t="0" r="r" b="b"/>
              <a:pathLst>
                <a:path w="20407" h="20712">
                  <a:moveTo>
                    <a:pt x="17706" y="10922"/>
                  </a:moveTo>
                  <a:lnTo>
                    <a:pt x="10657" y="19017"/>
                  </a:lnTo>
                  <a:cubicBezTo>
                    <a:pt x="10407" y="19305"/>
                    <a:pt x="9998" y="19305"/>
                    <a:pt x="9748" y="19017"/>
                  </a:cubicBezTo>
                  <a:lnTo>
                    <a:pt x="2699" y="10922"/>
                  </a:lnTo>
                  <a:cubicBezTo>
                    <a:pt x="817" y="8762"/>
                    <a:pt x="817" y="5247"/>
                    <a:pt x="2699" y="3087"/>
                  </a:cubicBezTo>
                  <a:cubicBezTo>
                    <a:pt x="4512" y="1004"/>
                    <a:pt x="7429" y="931"/>
                    <a:pt x="9338" y="2923"/>
                  </a:cubicBezTo>
                  <a:lnTo>
                    <a:pt x="10202" y="3825"/>
                  </a:lnTo>
                  <a:lnTo>
                    <a:pt x="11067" y="2923"/>
                  </a:lnTo>
                  <a:cubicBezTo>
                    <a:pt x="12976" y="931"/>
                    <a:pt x="15893" y="1004"/>
                    <a:pt x="17706" y="3087"/>
                  </a:cubicBezTo>
                  <a:cubicBezTo>
                    <a:pt x="19588" y="5247"/>
                    <a:pt x="19588" y="8762"/>
                    <a:pt x="17706" y="10922"/>
                  </a:cubicBezTo>
                  <a:moveTo>
                    <a:pt x="18616" y="2043"/>
                  </a:moveTo>
                  <a:cubicBezTo>
                    <a:pt x="16301" y="-617"/>
                    <a:pt x="12601" y="-672"/>
                    <a:pt x="10202" y="1830"/>
                  </a:cubicBezTo>
                  <a:cubicBezTo>
                    <a:pt x="7805" y="-672"/>
                    <a:pt x="4104" y="-617"/>
                    <a:pt x="1789" y="2043"/>
                  </a:cubicBezTo>
                  <a:cubicBezTo>
                    <a:pt x="-597" y="4783"/>
                    <a:pt x="-597" y="9226"/>
                    <a:pt x="1789" y="11967"/>
                  </a:cubicBezTo>
                  <a:cubicBezTo>
                    <a:pt x="2470" y="12750"/>
                    <a:pt x="8838" y="20061"/>
                    <a:pt x="8838" y="20061"/>
                  </a:cubicBezTo>
                  <a:cubicBezTo>
                    <a:pt x="9592" y="20928"/>
                    <a:pt x="10812" y="20928"/>
                    <a:pt x="11567" y="20061"/>
                  </a:cubicBezTo>
                  <a:cubicBezTo>
                    <a:pt x="11567" y="20061"/>
                    <a:pt x="18539" y="12056"/>
                    <a:pt x="18616" y="11967"/>
                  </a:cubicBezTo>
                  <a:cubicBezTo>
                    <a:pt x="21003" y="9226"/>
                    <a:pt x="21003" y="4783"/>
                    <a:pt x="18616" y="2043"/>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sp>
          <p:nvSpPr>
            <p:cNvPr id="29" name="AutoShape 148"/>
            <p:cNvSpPr/>
            <p:nvPr/>
          </p:nvSpPr>
          <p:spPr bwMode="auto">
            <a:xfrm>
              <a:off x="1293912" y="2287190"/>
              <a:ext cx="51792" cy="5179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326" y="0"/>
                  </a:moveTo>
                  <a:cubicBezTo>
                    <a:pt x="19317" y="0"/>
                    <a:pt x="19317" y="4"/>
                    <a:pt x="19308" y="4"/>
                  </a:cubicBezTo>
                  <a:cubicBezTo>
                    <a:pt x="8643" y="13"/>
                    <a:pt x="0" y="8659"/>
                    <a:pt x="0" y="19326"/>
                  </a:cubicBezTo>
                  <a:cubicBezTo>
                    <a:pt x="0" y="20580"/>
                    <a:pt x="1019" y="21600"/>
                    <a:pt x="2273" y="21600"/>
                  </a:cubicBezTo>
                  <a:cubicBezTo>
                    <a:pt x="3528" y="21600"/>
                    <a:pt x="4547" y="20580"/>
                    <a:pt x="4547" y="19326"/>
                  </a:cubicBezTo>
                  <a:lnTo>
                    <a:pt x="4547" y="19321"/>
                  </a:lnTo>
                  <a:cubicBezTo>
                    <a:pt x="4547" y="11164"/>
                    <a:pt x="11164" y="4547"/>
                    <a:pt x="19321" y="4547"/>
                  </a:cubicBezTo>
                  <a:lnTo>
                    <a:pt x="19326" y="4547"/>
                  </a:lnTo>
                  <a:cubicBezTo>
                    <a:pt x="20580" y="4547"/>
                    <a:pt x="21599" y="3528"/>
                    <a:pt x="21599" y="2273"/>
                  </a:cubicBezTo>
                  <a:cubicBezTo>
                    <a:pt x="21599" y="1019"/>
                    <a:pt x="20580" y="0"/>
                    <a:pt x="19326" y="0"/>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0815" fontAlgn="base" hangingPunct="0">
                <a:spcBef>
                  <a:spcPct val="0"/>
                </a:spcBef>
                <a:spcAft>
                  <a:spcPct val="0"/>
                </a:spcAft>
              </a:pPr>
              <a:endParaRPr lang="en-US" sz="1125">
                <a:solidFill>
                  <a:srgbClr val="FFFFFF"/>
                </a:solidFill>
                <a:effectLst>
                  <a:outerShdw blurRad="38100" dist="38100" dir="2700000" algn="tl">
                    <a:srgbClr val="000000"/>
                  </a:outerShdw>
                </a:effectLst>
                <a:cs typeface="+mn-ea"/>
                <a:sym typeface="+mn-lt"/>
              </a:endParaRPr>
            </a:p>
          </p:txBody>
        </p:sp>
      </p:grpSp>
      <p:sp>
        <p:nvSpPr>
          <p:cNvPr id="30" name="任意多边形 29"/>
          <p:cNvSpPr/>
          <p:nvPr/>
        </p:nvSpPr>
        <p:spPr>
          <a:xfrm>
            <a:off x="1712185" y="2039621"/>
            <a:ext cx="2157950" cy="1148310"/>
          </a:xfrm>
          <a:custGeom>
            <a:avLst/>
            <a:gdLst>
              <a:gd name="connsiteX0" fmla="*/ 0 w 1940313"/>
              <a:gd name="connsiteY0" fmla="*/ 791737 h 1148576"/>
              <a:gd name="connsiteX1" fmla="*/ 791737 w 1940313"/>
              <a:gd name="connsiteY1" fmla="*/ 0 h 1148576"/>
              <a:gd name="connsiteX2" fmla="*/ 1940313 w 1940313"/>
              <a:gd name="connsiteY2" fmla="*/ 1148576 h 1148576"/>
            </a:gdLst>
            <a:ahLst/>
            <a:cxnLst>
              <a:cxn ang="0">
                <a:pos x="connsiteX0" y="connsiteY0"/>
              </a:cxn>
              <a:cxn ang="0">
                <a:pos x="connsiteX1" y="connsiteY1"/>
              </a:cxn>
              <a:cxn ang="0">
                <a:pos x="connsiteX2" y="connsiteY2"/>
              </a:cxn>
            </a:cxnLst>
            <a:rect l="l" t="t" r="r" b="b"/>
            <a:pathLst>
              <a:path w="1940313" h="1148576">
                <a:moveTo>
                  <a:pt x="0" y="791737"/>
                </a:moveTo>
                <a:lnTo>
                  <a:pt x="791737" y="0"/>
                </a:lnTo>
                <a:lnTo>
                  <a:pt x="1940313" y="1148576"/>
                </a:lnTo>
              </a:path>
            </a:pathLst>
          </a:custGeom>
          <a:noFill/>
          <a:ln w="12700">
            <a:solidFill>
              <a:srgbClr val="8A8B8F"/>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sp>
        <p:nvSpPr>
          <p:cNvPr id="31" name="任意多边形 30"/>
          <p:cNvSpPr/>
          <p:nvPr/>
        </p:nvSpPr>
        <p:spPr>
          <a:xfrm flipV="1">
            <a:off x="4003684" y="4166962"/>
            <a:ext cx="2157950" cy="1148310"/>
          </a:xfrm>
          <a:custGeom>
            <a:avLst/>
            <a:gdLst>
              <a:gd name="connsiteX0" fmla="*/ 0 w 1940313"/>
              <a:gd name="connsiteY0" fmla="*/ 791737 h 1148576"/>
              <a:gd name="connsiteX1" fmla="*/ 791737 w 1940313"/>
              <a:gd name="connsiteY1" fmla="*/ 0 h 1148576"/>
              <a:gd name="connsiteX2" fmla="*/ 1940313 w 1940313"/>
              <a:gd name="connsiteY2" fmla="*/ 1148576 h 1148576"/>
            </a:gdLst>
            <a:ahLst/>
            <a:cxnLst>
              <a:cxn ang="0">
                <a:pos x="connsiteX0" y="connsiteY0"/>
              </a:cxn>
              <a:cxn ang="0">
                <a:pos x="connsiteX1" y="connsiteY1"/>
              </a:cxn>
              <a:cxn ang="0">
                <a:pos x="connsiteX2" y="connsiteY2"/>
              </a:cxn>
            </a:cxnLst>
            <a:rect l="l" t="t" r="r" b="b"/>
            <a:pathLst>
              <a:path w="1940313" h="1148576">
                <a:moveTo>
                  <a:pt x="0" y="791737"/>
                </a:moveTo>
                <a:lnTo>
                  <a:pt x="791737" y="0"/>
                </a:lnTo>
                <a:lnTo>
                  <a:pt x="1940313" y="1148576"/>
                </a:lnTo>
              </a:path>
            </a:pathLst>
          </a:custGeom>
          <a:noFill/>
          <a:ln w="12700">
            <a:solidFill>
              <a:srgbClr val="8A8B8F"/>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sp>
        <p:nvSpPr>
          <p:cNvPr id="32" name="任意多边形 31"/>
          <p:cNvSpPr/>
          <p:nvPr/>
        </p:nvSpPr>
        <p:spPr>
          <a:xfrm>
            <a:off x="6295277" y="2039621"/>
            <a:ext cx="2157950" cy="1148310"/>
          </a:xfrm>
          <a:custGeom>
            <a:avLst/>
            <a:gdLst>
              <a:gd name="connsiteX0" fmla="*/ 0 w 1940313"/>
              <a:gd name="connsiteY0" fmla="*/ 791737 h 1148576"/>
              <a:gd name="connsiteX1" fmla="*/ 791737 w 1940313"/>
              <a:gd name="connsiteY1" fmla="*/ 0 h 1148576"/>
              <a:gd name="connsiteX2" fmla="*/ 1940313 w 1940313"/>
              <a:gd name="connsiteY2" fmla="*/ 1148576 h 1148576"/>
            </a:gdLst>
            <a:ahLst/>
            <a:cxnLst>
              <a:cxn ang="0">
                <a:pos x="connsiteX0" y="connsiteY0"/>
              </a:cxn>
              <a:cxn ang="0">
                <a:pos x="connsiteX1" y="connsiteY1"/>
              </a:cxn>
              <a:cxn ang="0">
                <a:pos x="connsiteX2" y="connsiteY2"/>
              </a:cxn>
            </a:cxnLst>
            <a:rect l="l" t="t" r="r" b="b"/>
            <a:pathLst>
              <a:path w="1940313" h="1148576">
                <a:moveTo>
                  <a:pt x="0" y="791737"/>
                </a:moveTo>
                <a:lnTo>
                  <a:pt x="791737" y="0"/>
                </a:lnTo>
                <a:lnTo>
                  <a:pt x="1940313" y="1148576"/>
                </a:lnTo>
              </a:path>
            </a:pathLst>
          </a:custGeom>
          <a:noFill/>
          <a:ln w="12700">
            <a:solidFill>
              <a:srgbClr val="8A8B8F"/>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sp>
        <p:nvSpPr>
          <p:cNvPr id="33" name="任意多边形 32"/>
          <p:cNvSpPr/>
          <p:nvPr/>
        </p:nvSpPr>
        <p:spPr>
          <a:xfrm flipV="1">
            <a:off x="8564479" y="4166962"/>
            <a:ext cx="2157950" cy="1148310"/>
          </a:xfrm>
          <a:custGeom>
            <a:avLst/>
            <a:gdLst>
              <a:gd name="connsiteX0" fmla="*/ 0 w 1940313"/>
              <a:gd name="connsiteY0" fmla="*/ 791737 h 1148576"/>
              <a:gd name="connsiteX1" fmla="*/ 791737 w 1940313"/>
              <a:gd name="connsiteY1" fmla="*/ 0 h 1148576"/>
              <a:gd name="connsiteX2" fmla="*/ 1940313 w 1940313"/>
              <a:gd name="connsiteY2" fmla="*/ 1148576 h 1148576"/>
            </a:gdLst>
            <a:ahLst/>
            <a:cxnLst>
              <a:cxn ang="0">
                <a:pos x="connsiteX0" y="connsiteY0"/>
              </a:cxn>
              <a:cxn ang="0">
                <a:pos x="connsiteX1" y="connsiteY1"/>
              </a:cxn>
              <a:cxn ang="0">
                <a:pos x="connsiteX2" y="connsiteY2"/>
              </a:cxn>
            </a:cxnLst>
            <a:rect l="l" t="t" r="r" b="b"/>
            <a:pathLst>
              <a:path w="1940313" h="1148576">
                <a:moveTo>
                  <a:pt x="0" y="791737"/>
                </a:moveTo>
                <a:lnTo>
                  <a:pt x="791737" y="0"/>
                </a:lnTo>
                <a:lnTo>
                  <a:pt x="1940313" y="1148576"/>
                </a:lnTo>
              </a:path>
            </a:pathLst>
          </a:custGeom>
          <a:noFill/>
          <a:ln w="12700">
            <a:solidFill>
              <a:srgbClr val="8A8B8F"/>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sp>
        <p:nvSpPr>
          <p:cNvPr id="34" name="išľíďè"/>
          <p:cNvSpPr/>
          <p:nvPr/>
        </p:nvSpPr>
        <p:spPr bwMode="auto">
          <a:xfrm>
            <a:off x="1314045" y="5279973"/>
            <a:ext cx="253664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lvl="0" algn="ctr"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35" name="iSlíďè"/>
          <p:cNvSpPr txBox="1"/>
          <p:nvPr/>
        </p:nvSpPr>
        <p:spPr bwMode="auto">
          <a:xfrm>
            <a:off x="1755136" y="4945601"/>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l" defTabSz="913765" rtl="0" eaLnBrk="1" fontAlgn="auto" latinLnBrk="0" hangingPunct="1">
              <a:spcBef>
                <a:spcPct val="0"/>
              </a:spcBef>
              <a:spcAft>
                <a:spcPts val="0"/>
              </a:spcAft>
              <a:buClrTx/>
              <a:buSzTx/>
              <a:buFontTx/>
              <a:buNone/>
              <a:defRPr/>
            </a:pPr>
            <a:r>
              <a:rPr kumimoji="0" lang="zh-CN" altLang="en-US" sz="1800" b="1" i="0" u="none" strike="noStrike" kern="1200" cap="none" spc="0" normalizeH="0" baseline="0" noProof="0" dirty="0">
                <a:ln>
                  <a:noFill/>
                </a:ln>
                <a:solidFill>
                  <a:schemeClr val="bg2">
                    <a:lumMod val="10000"/>
                  </a:schemeClr>
                </a:solidFill>
                <a:effectLst/>
                <a:uLnTx/>
                <a:uFillTx/>
              </a:rPr>
              <a:t>标题文本预设</a:t>
            </a:r>
            <a:endParaRPr kumimoji="0" lang="zh-CN" altLang="en-US" sz="1800" b="1" i="0" u="none" strike="noStrike" kern="1200" cap="none" spc="0" normalizeH="0" baseline="0" noProof="0" dirty="0">
              <a:ln>
                <a:noFill/>
              </a:ln>
              <a:solidFill>
                <a:schemeClr val="bg2">
                  <a:lumMod val="10000"/>
                </a:schemeClr>
              </a:solidFill>
              <a:effectLst/>
              <a:uLnTx/>
              <a:uFillTx/>
            </a:endParaRPr>
          </a:p>
        </p:txBody>
      </p:sp>
      <p:sp>
        <p:nvSpPr>
          <p:cNvPr id="36" name="išľíďè"/>
          <p:cNvSpPr/>
          <p:nvPr/>
        </p:nvSpPr>
        <p:spPr bwMode="auto">
          <a:xfrm>
            <a:off x="3729608" y="1806610"/>
            <a:ext cx="253664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lvl="0" algn="ctr"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37" name="iSlíďè"/>
          <p:cNvSpPr txBox="1"/>
          <p:nvPr/>
        </p:nvSpPr>
        <p:spPr bwMode="auto">
          <a:xfrm>
            <a:off x="4170699" y="1472238"/>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l" defTabSz="913765" rtl="0" eaLnBrk="1" fontAlgn="auto" latinLnBrk="0" hangingPunct="1">
              <a:spcBef>
                <a:spcPct val="0"/>
              </a:spcBef>
              <a:spcAft>
                <a:spcPts val="0"/>
              </a:spcAft>
              <a:buClrTx/>
              <a:buSzTx/>
              <a:buFontTx/>
              <a:buNone/>
              <a:defRPr/>
            </a:pPr>
            <a:r>
              <a:rPr kumimoji="0" lang="zh-CN" altLang="en-US" sz="1800" b="1" i="0" u="none" strike="noStrike" kern="1200" cap="none" spc="0" normalizeH="0" baseline="0" noProof="0" dirty="0">
                <a:ln>
                  <a:noFill/>
                </a:ln>
                <a:solidFill>
                  <a:schemeClr val="bg2">
                    <a:lumMod val="10000"/>
                  </a:schemeClr>
                </a:solidFill>
                <a:effectLst/>
                <a:uLnTx/>
                <a:uFillTx/>
              </a:rPr>
              <a:t>标题文本预设</a:t>
            </a:r>
            <a:endParaRPr kumimoji="0" lang="zh-CN" altLang="en-US" sz="1800" b="1" i="0" u="none" strike="noStrike" kern="1200" cap="none" spc="0" normalizeH="0" baseline="0" noProof="0" dirty="0">
              <a:ln>
                <a:noFill/>
              </a:ln>
              <a:solidFill>
                <a:schemeClr val="bg2">
                  <a:lumMod val="10000"/>
                </a:schemeClr>
              </a:solidFill>
              <a:effectLst/>
              <a:uLnTx/>
              <a:uFillTx/>
            </a:endParaRPr>
          </a:p>
        </p:txBody>
      </p:sp>
      <p:sp>
        <p:nvSpPr>
          <p:cNvPr id="38" name="išľíďè"/>
          <p:cNvSpPr/>
          <p:nvPr/>
        </p:nvSpPr>
        <p:spPr bwMode="auto">
          <a:xfrm>
            <a:off x="5946088" y="5232452"/>
            <a:ext cx="253664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lvl="0" algn="ctr"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39" name="iSlíďè"/>
          <p:cNvSpPr txBox="1"/>
          <p:nvPr/>
        </p:nvSpPr>
        <p:spPr bwMode="auto">
          <a:xfrm>
            <a:off x="6387179" y="4898080"/>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l" defTabSz="913765" rtl="0" eaLnBrk="1" fontAlgn="auto" latinLnBrk="0" hangingPunct="1">
              <a:spcBef>
                <a:spcPct val="0"/>
              </a:spcBef>
              <a:spcAft>
                <a:spcPts val="0"/>
              </a:spcAft>
              <a:buClrTx/>
              <a:buSzTx/>
              <a:buFontTx/>
              <a:buNone/>
              <a:defRPr/>
            </a:pPr>
            <a:r>
              <a:rPr kumimoji="0" lang="zh-CN" altLang="en-US" sz="1800" b="1" i="0" u="none" strike="noStrike" kern="1200" cap="none" spc="0" normalizeH="0" baseline="0" noProof="0" dirty="0">
                <a:ln>
                  <a:noFill/>
                </a:ln>
                <a:solidFill>
                  <a:schemeClr val="bg2">
                    <a:lumMod val="10000"/>
                  </a:schemeClr>
                </a:solidFill>
                <a:effectLst/>
                <a:uLnTx/>
                <a:uFillTx/>
              </a:rPr>
              <a:t>标题文本预设</a:t>
            </a:r>
            <a:endParaRPr kumimoji="0" lang="zh-CN" altLang="en-US" sz="1800" b="1" i="0" u="none" strike="noStrike" kern="1200" cap="none" spc="0" normalizeH="0" baseline="0" noProof="0" dirty="0">
              <a:ln>
                <a:noFill/>
              </a:ln>
              <a:solidFill>
                <a:schemeClr val="bg2">
                  <a:lumMod val="10000"/>
                </a:schemeClr>
              </a:solidFill>
              <a:effectLst/>
              <a:uLnTx/>
              <a:uFillTx/>
            </a:endParaRPr>
          </a:p>
        </p:txBody>
      </p:sp>
      <p:sp>
        <p:nvSpPr>
          <p:cNvPr id="40" name="išľíďè"/>
          <p:cNvSpPr/>
          <p:nvPr/>
        </p:nvSpPr>
        <p:spPr bwMode="auto">
          <a:xfrm>
            <a:off x="8344184" y="1774481"/>
            <a:ext cx="253664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lvl="0" algn="ctr"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41" name="iSlíďè"/>
          <p:cNvSpPr txBox="1"/>
          <p:nvPr/>
        </p:nvSpPr>
        <p:spPr bwMode="auto">
          <a:xfrm>
            <a:off x="8785275" y="1440109"/>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l" defTabSz="913765" rtl="0" eaLnBrk="1" fontAlgn="auto" latinLnBrk="0" hangingPunct="1">
              <a:spcBef>
                <a:spcPct val="0"/>
              </a:spcBef>
              <a:spcAft>
                <a:spcPts val="0"/>
              </a:spcAft>
              <a:buClrTx/>
              <a:buSzTx/>
              <a:buFontTx/>
              <a:buNone/>
              <a:defRPr/>
            </a:pPr>
            <a:r>
              <a:rPr kumimoji="0" lang="zh-CN" altLang="en-US" sz="1800" b="1" i="0" u="none" strike="noStrike" kern="1200" cap="none" spc="0" normalizeH="0" baseline="0" noProof="0" dirty="0">
                <a:ln>
                  <a:noFill/>
                </a:ln>
                <a:solidFill>
                  <a:schemeClr val="bg2">
                    <a:lumMod val="10000"/>
                  </a:schemeClr>
                </a:solidFill>
                <a:effectLst/>
                <a:uLnTx/>
                <a:uFillTx/>
              </a:rPr>
              <a:t>标题文本预设</a:t>
            </a:r>
            <a:endParaRPr kumimoji="0" lang="zh-CN" altLang="en-US" sz="1800" b="1" i="0" u="none" strike="noStrike" kern="1200" cap="none" spc="0" normalizeH="0" baseline="0" noProof="0" dirty="0">
              <a:ln>
                <a:noFill/>
              </a:ln>
              <a:solidFill>
                <a:schemeClr val="bg2">
                  <a:lumMod val="10000"/>
                </a:schemeClr>
              </a:solidFill>
              <a:effectLst/>
              <a:uLnTx/>
              <a:uFillTx/>
            </a:endParaRPr>
          </a:p>
        </p:txBody>
      </p:sp>
      <p:sp>
        <p:nvSpPr>
          <p:cNvPr id="4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45" name="图片 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08" name="think-cell Slide" r:id="rId2" imgW="12700" imgH="12700" progId="TCLayout.ActiveDocument.1">
                  <p:embed/>
                </p:oleObj>
              </mc:Choice>
              <mc:Fallback>
                <p:oleObj name="think-cell Slide" r:id="rId2" imgW="12700" imgH="12700" progId="TCLayout.ActiveDocument.1">
                  <p:embed/>
                  <p:pic>
                    <p:nvPicPr>
                      <p:cNvPr id="0" name="对象 1" hidden="1"/>
                      <p:cNvPicPr/>
                      <p:nvPr/>
                    </p:nvPicPr>
                    <p:blipFill>
                      <a:blip r:embed="rId3"/>
                      <a:stretch>
                        <a:fillRect/>
                      </a:stretch>
                    </p:blipFill>
                    <p:spPr>
                      <a:xfrm>
                        <a:off x="1588" y="1588"/>
                        <a:ext cx="1587" cy="1587"/>
                      </a:xfrm>
                      <a:prstGeom prst="rect">
                        <a:avLst/>
                      </a:prstGeom>
                    </p:spPr>
                  </p:pic>
                </p:oleObj>
              </mc:Fallback>
            </mc:AlternateContent>
          </a:graphicData>
        </a:graphic>
      </p:graphicFrame>
      <p:cxnSp>
        <p:nvCxnSpPr>
          <p:cNvPr id="5" name="直接连接符 4"/>
          <p:cNvCxnSpPr>
            <a:stCxn id="21" idx="6"/>
          </p:cNvCxnSpPr>
          <p:nvPr/>
        </p:nvCxnSpPr>
        <p:spPr>
          <a:xfrm>
            <a:off x="2279593" y="1934152"/>
            <a:ext cx="113852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六边形 5"/>
          <p:cNvSpPr/>
          <p:nvPr/>
        </p:nvSpPr>
        <p:spPr>
          <a:xfrm>
            <a:off x="3408908" y="1363826"/>
            <a:ext cx="1326958" cy="1143932"/>
          </a:xfrm>
          <a:prstGeom prst="hexagon">
            <a:avLst/>
          </a:prstGeom>
          <a:solidFill>
            <a:schemeClr val="bg1"/>
          </a:solidFill>
          <a:ln w="12700">
            <a:solidFill>
              <a:schemeClr val="bg1">
                <a:lumMod val="75000"/>
              </a:schemeClr>
            </a:solidFill>
            <a:headEnd type="oval" w="med" len="med"/>
            <a:tailEnd type="oval" w="med" len="med"/>
          </a:ln>
          <a:effectLst/>
        </p:spPr>
        <p:style>
          <a:lnRef idx="1">
            <a:schemeClr val="accent1"/>
          </a:lnRef>
          <a:fillRef idx="0">
            <a:schemeClr val="accent1"/>
          </a:fillRef>
          <a:effectRef idx="0">
            <a:schemeClr val="accent1"/>
          </a:effectRef>
          <a:fontRef idx="minor">
            <a:schemeClr val="tx1"/>
          </a:fontRef>
        </p:style>
        <p:txBody>
          <a:bodyPr anchor="ctr"/>
          <a:lstStyle/>
          <a:p>
            <a:pPr algn="ctr"/>
          </a:p>
        </p:txBody>
      </p:sp>
      <p:sp>
        <p:nvSpPr>
          <p:cNvPr id="7" name="任意多边形 31"/>
          <p:cNvSpPr/>
          <p:nvPr/>
        </p:nvSpPr>
        <p:spPr bwMode="auto">
          <a:xfrm>
            <a:off x="3753052" y="1701269"/>
            <a:ext cx="561397" cy="453952"/>
          </a:xfrm>
          <a:custGeom>
            <a:avLst/>
            <a:gdLst>
              <a:gd name="connsiteX0" fmla="*/ 0 w 331788"/>
              <a:gd name="connsiteY0" fmla="*/ 255587 h 268287"/>
              <a:gd name="connsiteX1" fmla="*/ 331788 w 331788"/>
              <a:gd name="connsiteY1" fmla="*/ 255587 h 268287"/>
              <a:gd name="connsiteX2" fmla="*/ 331788 w 331788"/>
              <a:gd name="connsiteY2" fmla="*/ 268287 h 268287"/>
              <a:gd name="connsiteX3" fmla="*/ 0 w 331788"/>
              <a:gd name="connsiteY3" fmla="*/ 268287 h 268287"/>
              <a:gd name="connsiteX4" fmla="*/ 76201 w 331788"/>
              <a:gd name="connsiteY4" fmla="*/ 207962 h 268287"/>
              <a:gd name="connsiteX5" fmla="*/ 82551 w 331788"/>
              <a:gd name="connsiteY5" fmla="*/ 207962 h 268287"/>
              <a:gd name="connsiteX6" fmla="*/ 82551 w 331788"/>
              <a:gd name="connsiteY6" fmla="*/ 247650 h 268287"/>
              <a:gd name="connsiteX7" fmla="*/ 55563 w 331788"/>
              <a:gd name="connsiteY7" fmla="*/ 247650 h 268287"/>
              <a:gd name="connsiteX8" fmla="*/ 55563 w 331788"/>
              <a:gd name="connsiteY8" fmla="*/ 227012 h 268287"/>
              <a:gd name="connsiteX9" fmla="*/ 115888 w 331788"/>
              <a:gd name="connsiteY9" fmla="*/ 168275 h 268287"/>
              <a:gd name="connsiteX10" fmla="*/ 127168 w 331788"/>
              <a:gd name="connsiteY10" fmla="*/ 168275 h 268287"/>
              <a:gd name="connsiteX11" fmla="*/ 139701 w 331788"/>
              <a:gd name="connsiteY11" fmla="*/ 170835 h 268287"/>
              <a:gd name="connsiteX12" fmla="*/ 139701 w 331788"/>
              <a:gd name="connsiteY12" fmla="*/ 247650 h 268287"/>
              <a:gd name="connsiteX13" fmla="*/ 115888 w 331788"/>
              <a:gd name="connsiteY13" fmla="*/ 247650 h 268287"/>
              <a:gd name="connsiteX14" fmla="*/ 198438 w 331788"/>
              <a:gd name="connsiteY14" fmla="*/ 155575 h 268287"/>
              <a:gd name="connsiteX15" fmla="*/ 198438 w 331788"/>
              <a:gd name="connsiteY15" fmla="*/ 247650 h 268287"/>
              <a:gd name="connsiteX16" fmla="*/ 173038 w 331788"/>
              <a:gd name="connsiteY16" fmla="*/ 247650 h 268287"/>
              <a:gd name="connsiteX17" fmla="*/ 173038 w 331788"/>
              <a:gd name="connsiteY17" fmla="*/ 168363 h 268287"/>
              <a:gd name="connsiteX18" fmla="*/ 198438 w 331788"/>
              <a:gd name="connsiteY18" fmla="*/ 155575 h 268287"/>
              <a:gd name="connsiteX19" fmla="*/ 149226 w 331788"/>
              <a:gd name="connsiteY19" fmla="*/ 41376 h 268287"/>
              <a:gd name="connsiteX20" fmla="*/ 114947 w 331788"/>
              <a:gd name="connsiteY20" fmla="*/ 55968 h 268287"/>
              <a:gd name="connsiteX21" fmla="*/ 114947 w 331788"/>
              <a:gd name="connsiteY21" fmla="*/ 123418 h 268287"/>
              <a:gd name="connsiteX22" fmla="*/ 183504 w 331788"/>
              <a:gd name="connsiteY22" fmla="*/ 123418 h 268287"/>
              <a:gd name="connsiteX23" fmla="*/ 183504 w 331788"/>
              <a:gd name="connsiteY23" fmla="*/ 55968 h 268287"/>
              <a:gd name="connsiteX24" fmla="*/ 149226 w 331788"/>
              <a:gd name="connsiteY24" fmla="*/ 41376 h 268287"/>
              <a:gd name="connsiteX25" fmla="*/ 228600 w 331788"/>
              <a:gd name="connsiteY25" fmla="*/ 39687 h 268287"/>
              <a:gd name="connsiteX26" fmla="*/ 254000 w 331788"/>
              <a:gd name="connsiteY26" fmla="*/ 39687 h 268287"/>
              <a:gd name="connsiteX27" fmla="*/ 254000 w 331788"/>
              <a:gd name="connsiteY27" fmla="*/ 247650 h 268287"/>
              <a:gd name="connsiteX28" fmla="*/ 228600 w 331788"/>
              <a:gd name="connsiteY28" fmla="*/ 247650 h 268287"/>
              <a:gd name="connsiteX29" fmla="*/ 228600 w 331788"/>
              <a:gd name="connsiteY29" fmla="*/ 110730 h 268287"/>
              <a:gd name="connsiteX30" fmla="*/ 231140 w 331788"/>
              <a:gd name="connsiteY30" fmla="*/ 90063 h 268287"/>
              <a:gd name="connsiteX31" fmla="*/ 228600 w 331788"/>
              <a:gd name="connsiteY31" fmla="*/ 69396 h 268287"/>
              <a:gd name="connsiteX32" fmla="*/ 228600 w 331788"/>
              <a:gd name="connsiteY32" fmla="*/ 39687 h 268287"/>
              <a:gd name="connsiteX33" fmla="*/ 149707 w 331788"/>
              <a:gd name="connsiteY33" fmla="*/ 22312 h 268287"/>
              <a:gd name="connsiteX34" fmla="*/ 196764 w 331788"/>
              <a:gd name="connsiteY34" fmla="*/ 41623 h 268287"/>
              <a:gd name="connsiteX35" fmla="*/ 196764 w 331788"/>
              <a:gd name="connsiteY35" fmla="*/ 136893 h 268287"/>
              <a:gd name="connsiteX36" fmla="*/ 109096 w 331788"/>
              <a:gd name="connsiteY36" fmla="*/ 143330 h 268287"/>
              <a:gd name="connsiteX37" fmla="*/ 97492 w 331788"/>
              <a:gd name="connsiteY37" fmla="*/ 154917 h 268287"/>
              <a:gd name="connsiteX38" fmla="*/ 93625 w 331788"/>
              <a:gd name="connsiteY38" fmla="*/ 170366 h 268287"/>
              <a:gd name="connsiteX39" fmla="*/ 43344 w 331788"/>
              <a:gd name="connsiteY39" fmla="*/ 220576 h 268287"/>
              <a:gd name="connsiteX40" fmla="*/ 18848 w 331788"/>
              <a:gd name="connsiteY40" fmla="*/ 220576 h 268287"/>
              <a:gd name="connsiteX41" fmla="*/ 18848 w 331788"/>
              <a:gd name="connsiteY41" fmla="*/ 196115 h 268287"/>
              <a:gd name="connsiteX42" fmla="*/ 67840 w 331788"/>
              <a:gd name="connsiteY42" fmla="*/ 145905 h 268287"/>
              <a:gd name="connsiteX43" fmla="*/ 84600 w 331788"/>
              <a:gd name="connsiteY43" fmla="*/ 140755 h 268287"/>
              <a:gd name="connsiteX44" fmla="*/ 96203 w 331788"/>
              <a:gd name="connsiteY44" fmla="*/ 129168 h 268287"/>
              <a:gd name="connsiteX45" fmla="*/ 102649 w 331788"/>
              <a:gd name="connsiteY45" fmla="*/ 41623 h 268287"/>
              <a:gd name="connsiteX46" fmla="*/ 149707 w 331788"/>
              <a:gd name="connsiteY46" fmla="*/ 22312 h 268287"/>
              <a:gd name="connsiteX47" fmla="*/ 280988 w 331788"/>
              <a:gd name="connsiteY47" fmla="*/ 0 h 268287"/>
              <a:gd name="connsiteX48" fmla="*/ 306388 w 331788"/>
              <a:gd name="connsiteY48" fmla="*/ 0 h 268287"/>
              <a:gd name="connsiteX49" fmla="*/ 306388 w 331788"/>
              <a:gd name="connsiteY49" fmla="*/ 247650 h 268287"/>
              <a:gd name="connsiteX50" fmla="*/ 280988 w 331788"/>
              <a:gd name="connsiteY50" fmla="*/ 247650 h 26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31788" h="268287">
                <a:moveTo>
                  <a:pt x="0" y="255587"/>
                </a:moveTo>
                <a:lnTo>
                  <a:pt x="331788" y="255587"/>
                </a:lnTo>
                <a:lnTo>
                  <a:pt x="331788" y="268287"/>
                </a:lnTo>
                <a:lnTo>
                  <a:pt x="0" y="268287"/>
                </a:lnTo>
                <a:close/>
                <a:moveTo>
                  <a:pt x="76201" y="207962"/>
                </a:moveTo>
                <a:lnTo>
                  <a:pt x="82551" y="207962"/>
                </a:lnTo>
                <a:lnTo>
                  <a:pt x="82551" y="247650"/>
                </a:lnTo>
                <a:lnTo>
                  <a:pt x="55563" y="247650"/>
                </a:lnTo>
                <a:lnTo>
                  <a:pt x="55563" y="227012"/>
                </a:lnTo>
                <a:close/>
                <a:moveTo>
                  <a:pt x="115888" y="168275"/>
                </a:moveTo>
                <a:cubicBezTo>
                  <a:pt x="115888" y="168275"/>
                  <a:pt x="115888" y="168275"/>
                  <a:pt x="127168" y="168275"/>
                </a:cubicBezTo>
                <a:cubicBezTo>
                  <a:pt x="130928" y="169555"/>
                  <a:pt x="135941" y="170835"/>
                  <a:pt x="139701" y="170835"/>
                </a:cubicBezTo>
                <a:cubicBezTo>
                  <a:pt x="139701" y="170835"/>
                  <a:pt x="139701" y="170835"/>
                  <a:pt x="139701" y="247650"/>
                </a:cubicBezTo>
                <a:cubicBezTo>
                  <a:pt x="139701" y="247650"/>
                  <a:pt x="139701" y="247650"/>
                  <a:pt x="115888" y="247650"/>
                </a:cubicBezTo>
                <a:close/>
                <a:moveTo>
                  <a:pt x="198438" y="155575"/>
                </a:moveTo>
                <a:cubicBezTo>
                  <a:pt x="198438" y="155575"/>
                  <a:pt x="198438" y="155575"/>
                  <a:pt x="198438" y="247650"/>
                </a:cubicBezTo>
                <a:cubicBezTo>
                  <a:pt x="198438" y="247650"/>
                  <a:pt x="198438" y="247650"/>
                  <a:pt x="173038" y="247650"/>
                </a:cubicBezTo>
                <a:lnTo>
                  <a:pt x="173038" y="168363"/>
                </a:lnTo>
                <a:cubicBezTo>
                  <a:pt x="181928" y="165805"/>
                  <a:pt x="190818" y="161969"/>
                  <a:pt x="198438" y="155575"/>
                </a:cubicBezTo>
                <a:close/>
                <a:moveTo>
                  <a:pt x="149226" y="41376"/>
                </a:moveTo>
                <a:cubicBezTo>
                  <a:pt x="136937" y="41376"/>
                  <a:pt x="124649" y="46240"/>
                  <a:pt x="114947" y="55968"/>
                </a:cubicBezTo>
                <a:cubicBezTo>
                  <a:pt x="96838" y="74128"/>
                  <a:pt x="96838" y="105259"/>
                  <a:pt x="114947" y="123418"/>
                </a:cubicBezTo>
                <a:cubicBezTo>
                  <a:pt x="134350" y="142875"/>
                  <a:pt x="164101" y="142875"/>
                  <a:pt x="183504" y="123418"/>
                </a:cubicBezTo>
                <a:cubicBezTo>
                  <a:pt x="201613" y="105259"/>
                  <a:pt x="201613" y="74128"/>
                  <a:pt x="183504" y="55968"/>
                </a:cubicBezTo>
                <a:cubicBezTo>
                  <a:pt x="173803" y="46240"/>
                  <a:pt x="161514" y="41376"/>
                  <a:pt x="149226" y="41376"/>
                </a:cubicBezTo>
                <a:close/>
                <a:moveTo>
                  <a:pt x="228600" y="39687"/>
                </a:moveTo>
                <a:cubicBezTo>
                  <a:pt x="228600" y="39687"/>
                  <a:pt x="228600" y="39687"/>
                  <a:pt x="254000" y="39687"/>
                </a:cubicBezTo>
                <a:lnTo>
                  <a:pt x="254000" y="247650"/>
                </a:lnTo>
                <a:cubicBezTo>
                  <a:pt x="254000" y="247650"/>
                  <a:pt x="254000" y="247650"/>
                  <a:pt x="228600" y="247650"/>
                </a:cubicBezTo>
                <a:cubicBezTo>
                  <a:pt x="228600" y="247650"/>
                  <a:pt x="228600" y="247650"/>
                  <a:pt x="228600" y="110730"/>
                </a:cubicBezTo>
                <a:cubicBezTo>
                  <a:pt x="231140" y="104272"/>
                  <a:pt x="231140" y="96521"/>
                  <a:pt x="231140" y="90063"/>
                </a:cubicBezTo>
                <a:cubicBezTo>
                  <a:pt x="231140" y="83604"/>
                  <a:pt x="231140" y="75854"/>
                  <a:pt x="228600" y="69396"/>
                </a:cubicBezTo>
                <a:cubicBezTo>
                  <a:pt x="228600" y="69396"/>
                  <a:pt x="228600" y="69396"/>
                  <a:pt x="228600" y="39687"/>
                </a:cubicBezTo>
                <a:close/>
                <a:moveTo>
                  <a:pt x="149707" y="22312"/>
                </a:moveTo>
                <a:cubicBezTo>
                  <a:pt x="166789" y="22312"/>
                  <a:pt x="183872" y="28749"/>
                  <a:pt x="196764" y="41623"/>
                </a:cubicBezTo>
                <a:cubicBezTo>
                  <a:pt x="223838" y="68659"/>
                  <a:pt x="223838" y="111144"/>
                  <a:pt x="196764" y="136893"/>
                </a:cubicBezTo>
                <a:cubicBezTo>
                  <a:pt x="173558" y="161354"/>
                  <a:pt x="136170" y="162641"/>
                  <a:pt x="109096" y="143330"/>
                </a:cubicBezTo>
                <a:cubicBezTo>
                  <a:pt x="109096" y="143330"/>
                  <a:pt x="109096" y="143330"/>
                  <a:pt x="97492" y="154917"/>
                </a:cubicBezTo>
                <a:cubicBezTo>
                  <a:pt x="98782" y="160067"/>
                  <a:pt x="97492" y="166504"/>
                  <a:pt x="93625" y="170366"/>
                </a:cubicBezTo>
                <a:cubicBezTo>
                  <a:pt x="93625" y="170366"/>
                  <a:pt x="93625" y="170366"/>
                  <a:pt x="43344" y="220576"/>
                </a:cubicBezTo>
                <a:cubicBezTo>
                  <a:pt x="35608" y="227013"/>
                  <a:pt x="25295" y="227013"/>
                  <a:pt x="18848" y="220576"/>
                </a:cubicBezTo>
                <a:cubicBezTo>
                  <a:pt x="11113" y="214139"/>
                  <a:pt x="11113" y="202552"/>
                  <a:pt x="18848" y="196115"/>
                </a:cubicBezTo>
                <a:cubicBezTo>
                  <a:pt x="18848" y="196115"/>
                  <a:pt x="18848" y="196115"/>
                  <a:pt x="67840" y="145905"/>
                </a:cubicBezTo>
                <a:cubicBezTo>
                  <a:pt x="72997" y="142043"/>
                  <a:pt x="78154" y="140755"/>
                  <a:pt x="84600" y="140755"/>
                </a:cubicBezTo>
                <a:cubicBezTo>
                  <a:pt x="84600" y="140755"/>
                  <a:pt x="84600" y="140755"/>
                  <a:pt x="96203" y="129168"/>
                </a:cubicBezTo>
                <a:cubicBezTo>
                  <a:pt x="75575" y="103420"/>
                  <a:pt x="78154" y="66084"/>
                  <a:pt x="102649" y="41623"/>
                </a:cubicBezTo>
                <a:cubicBezTo>
                  <a:pt x="115542" y="28749"/>
                  <a:pt x="132624" y="22312"/>
                  <a:pt x="149707" y="22312"/>
                </a:cubicBezTo>
                <a:close/>
                <a:moveTo>
                  <a:pt x="280988" y="0"/>
                </a:moveTo>
                <a:lnTo>
                  <a:pt x="306388" y="0"/>
                </a:lnTo>
                <a:lnTo>
                  <a:pt x="306388" y="247650"/>
                </a:lnTo>
                <a:lnTo>
                  <a:pt x="280988" y="247650"/>
                </a:lnTo>
                <a:close/>
              </a:path>
            </a:pathLst>
          </a:custGeom>
          <a:solidFill>
            <a:srgbClr val="FE733C"/>
          </a:solidFill>
          <a:ln>
            <a:noFill/>
          </a:ln>
        </p:spPr>
        <p:txBody>
          <a:bodyPr anchor="ctr"/>
          <a:lstStyle/>
          <a:p>
            <a:pPr algn="ctr"/>
          </a:p>
        </p:txBody>
      </p:sp>
      <p:cxnSp>
        <p:nvCxnSpPr>
          <p:cNvPr id="9" name="直接连接符 8"/>
          <p:cNvCxnSpPr/>
          <p:nvPr/>
        </p:nvCxnSpPr>
        <p:spPr>
          <a:xfrm>
            <a:off x="3300117" y="3420713"/>
            <a:ext cx="159845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六边形 9"/>
          <p:cNvSpPr/>
          <p:nvPr/>
        </p:nvSpPr>
        <p:spPr>
          <a:xfrm>
            <a:off x="4882878" y="2848747"/>
            <a:ext cx="1326957" cy="1143932"/>
          </a:xfrm>
          <a:prstGeom prst="hexagon">
            <a:avLst/>
          </a:prstGeom>
          <a:solidFill>
            <a:schemeClr val="bg1"/>
          </a:solidFill>
          <a:ln w="12700">
            <a:solidFill>
              <a:schemeClr val="bg1">
                <a:lumMod val="75000"/>
              </a:schemeClr>
            </a:solidFill>
            <a:headEnd type="oval" w="med" len="med"/>
            <a:tailEnd type="oval" w="med" len="med"/>
          </a:ln>
          <a:effectLst/>
        </p:spPr>
        <p:style>
          <a:lnRef idx="1">
            <a:schemeClr val="accent1"/>
          </a:lnRef>
          <a:fillRef idx="0">
            <a:schemeClr val="accent1"/>
          </a:fillRef>
          <a:effectRef idx="0">
            <a:schemeClr val="accent1"/>
          </a:effectRef>
          <a:fontRef idx="minor">
            <a:schemeClr val="tx1"/>
          </a:fontRef>
        </p:style>
        <p:txBody>
          <a:bodyPr anchor="ctr"/>
          <a:lstStyle/>
          <a:p>
            <a:pPr algn="ctr"/>
          </a:p>
        </p:txBody>
      </p:sp>
      <p:sp>
        <p:nvSpPr>
          <p:cNvPr id="11" name="任意多边形 30"/>
          <p:cNvSpPr/>
          <p:nvPr/>
        </p:nvSpPr>
        <p:spPr bwMode="auto">
          <a:xfrm>
            <a:off x="5287985" y="3121865"/>
            <a:ext cx="622428" cy="603136"/>
          </a:xfrm>
          <a:custGeom>
            <a:avLst/>
            <a:gdLst>
              <a:gd name="connsiteX0" fmla="*/ 58918 w 323554"/>
              <a:gd name="connsiteY0" fmla="*/ 189699 h 313525"/>
              <a:gd name="connsiteX1" fmla="*/ 101421 w 323554"/>
              <a:gd name="connsiteY1" fmla="*/ 189699 h 313525"/>
              <a:gd name="connsiteX2" fmla="*/ 103997 w 323554"/>
              <a:gd name="connsiteY2" fmla="*/ 189699 h 313525"/>
              <a:gd name="connsiteX3" fmla="*/ 114301 w 323554"/>
              <a:gd name="connsiteY3" fmla="*/ 201731 h 313525"/>
              <a:gd name="connsiteX4" fmla="*/ 113013 w 323554"/>
              <a:gd name="connsiteY4" fmla="*/ 205741 h 313525"/>
              <a:gd name="connsiteX5" fmla="*/ 101421 w 323554"/>
              <a:gd name="connsiteY5" fmla="*/ 215099 h 313525"/>
              <a:gd name="connsiteX6" fmla="*/ 58918 w 323554"/>
              <a:gd name="connsiteY6" fmla="*/ 215099 h 313525"/>
              <a:gd name="connsiteX7" fmla="*/ 46038 w 323554"/>
              <a:gd name="connsiteY7" fmla="*/ 201731 h 313525"/>
              <a:gd name="connsiteX8" fmla="*/ 58918 w 323554"/>
              <a:gd name="connsiteY8" fmla="*/ 189699 h 313525"/>
              <a:gd name="connsiteX9" fmla="*/ 149225 w 323554"/>
              <a:gd name="connsiteY9" fmla="*/ 165887 h 313525"/>
              <a:gd name="connsiteX10" fmla="*/ 142875 w 323554"/>
              <a:gd name="connsiteY10" fmla="*/ 186525 h 313525"/>
              <a:gd name="connsiteX11" fmla="*/ 153988 w 323554"/>
              <a:gd name="connsiteY11" fmla="*/ 196050 h 313525"/>
              <a:gd name="connsiteX12" fmla="*/ 173038 w 323554"/>
              <a:gd name="connsiteY12" fmla="*/ 188112 h 313525"/>
              <a:gd name="connsiteX13" fmla="*/ 145188 w 323554"/>
              <a:gd name="connsiteY13" fmla="*/ 151599 h 313525"/>
              <a:gd name="connsiteX14" fmla="*/ 187326 w 323554"/>
              <a:gd name="connsiteY14" fmla="*/ 190104 h 313525"/>
              <a:gd name="connsiteX15" fmla="*/ 138803 w 323554"/>
              <a:gd name="connsiteY15" fmla="*/ 210640 h 313525"/>
              <a:gd name="connsiteX16" fmla="*/ 131142 w 323554"/>
              <a:gd name="connsiteY16" fmla="*/ 210640 h 313525"/>
              <a:gd name="connsiteX17" fmla="*/ 129865 w 323554"/>
              <a:gd name="connsiteY17" fmla="*/ 202939 h 313525"/>
              <a:gd name="connsiteX18" fmla="*/ 145188 w 323554"/>
              <a:gd name="connsiteY18" fmla="*/ 151599 h 313525"/>
              <a:gd name="connsiteX19" fmla="*/ 58982 w 323554"/>
              <a:gd name="connsiteY19" fmla="*/ 146837 h 313525"/>
              <a:gd name="connsiteX20" fmla="*/ 130176 w 323554"/>
              <a:gd name="connsiteY20" fmla="*/ 146837 h 313525"/>
              <a:gd name="connsiteX21" fmla="*/ 130176 w 323554"/>
              <a:gd name="connsiteY21" fmla="*/ 148186 h 313525"/>
              <a:gd name="connsiteX22" fmla="*/ 122409 w 323554"/>
              <a:gd name="connsiteY22" fmla="*/ 173825 h 313525"/>
              <a:gd name="connsiteX23" fmla="*/ 58982 w 323554"/>
              <a:gd name="connsiteY23" fmla="*/ 173825 h 313525"/>
              <a:gd name="connsiteX24" fmla="*/ 46038 w 323554"/>
              <a:gd name="connsiteY24" fmla="*/ 160331 h 313525"/>
              <a:gd name="connsiteX25" fmla="*/ 58982 w 323554"/>
              <a:gd name="connsiteY25" fmla="*/ 146837 h 313525"/>
              <a:gd name="connsiteX26" fmla="*/ 59011 w 323554"/>
              <a:gd name="connsiteY26" fmla="*/ 105562 h 313525"/>
              <a:gd name="connsiteX27" fmla="*/ 166688 w 323554"/>
              <a:gd name="connsiteY27" fmla="*/ 105562 h 313525"/>
              <a:gd name="connsiteX28" fmla="*/ 144634 w 323554"/>
              <a:gd name="connsiteY28" fmla="*/ 130962 h 313525"/>
              <a:gd name="connsiteX29" fmla="*/ 59011 w 323554"/>
              <a:gd name="connsiteY29" fmla="*/ 130962 h 313525"/>
              <a:gd name="connsiteX30" fmla="*/ 46038 w 323554"/>
              <a:gd name="connsiteY30" fmla="*/ 118930 h 313525"/>
              <a:gd name="connsiteX31" fmla="*/ 59011 w 323554"/>
              <a:gd name="connsiteY31" fmla="*/ 105562 h 313525"/>
              <a:gd name="connsiteX32" fmla="*/ 226883 w 323554"/>
              <a:gd name="connsiteY32" fmla="*/ 81749 h 313525"/>
              <a:gd name="connsiteX33" fmla="*/ 224292 w 323554"/>
              <a:gd name="connsiteY33" fmla="*/ 83037 h 313525"/>
              <a:gd name="connsiteX34" fmla="*/ 171159 w 323554"/>
              <a:gd name="connsiteY34" fmla="*/ 140996 h 313525"/>
              <a:gd name="connsiteX35" fmla="*/ 172455 w 323554"/>
              <a:gd name="connsiteY35" fmla="*/ 146148 h 313525"/>
              <a:gd name="connsiteX36" fmla="*/ 175047 w 323554"/>
              <a:gd name="connsiteY36" fmla="*/ 148724 h 313525"/>
              <a:gd name="connsiteX37" fmla="*/ 177639 w 323554"/>
              <a:gd name="connsiteY37" fmla="*/ 150012 h 313525"/>
              <a:gd name="connsiteX38" fmla="*/ 180230 w 323554"/>
              <a:gd name="connsiteY38" fmla="*/ 148724 h 313525"/>
              <a:gd name="connsiteX39" fmla="*/ 232067 w 323554"/>
              <a:gd name="connsiteY39" fmla="*/ 90765 h 313525"/>
              <a:gd name="connsiteX40" fmla="*/ 232067 w 323554"/>
              <a:gd name="connsiteY40" fmla="*/ 85613 h 313525"/>
              <a:gd name="connsiteX41" fmla="*/ 229475 w 323554"/>
              <a:gd name="connsiteY41" fmla="*/ 83037 h 313525"/>
              <a:gd name="connsiteX42" fmla="*/ 226883 w 323554"/>
              <a:gd name="connsiteY42" fmla="*/ 81749 h 313525"/>
              <a:gd name="connsiteX43" fmla="*/ 247254 w 323554"/>
              <a:gd name="connsiteY43" fmla="*/ 62303 h 313525"/>
              <a:gd name="connsiteX44" fmla="*/ 242491 w 323554"/>
              <a:gd name="connsiteY44" fmla="*/ 63493 h 313525"/>
              <a:gd name="connsiteX45" fmla="*/ 237729 w 323554"/>
              <a:gd name="connsiteY45" fmla="*/ 68256 h 313525"/>
              <a:gd name="connsiteX46" fmla="*/ 236538 w 323554"/>
              <a:gd name="connsiteY46" fmla="*/ 70637 h 313525"/>
              <a:gd name="connsiteX47" fmla="*/ 237729 w 323554"/>
              <a:gd name="connsiteY47" fmla="*/ 73019 h 313525"/>
              <a:gd name="connsiteX48" fmla="*/ 240110 w 323554"/>
              <a:gd name="connsiteY48" fmla="*/ 74209 h 313525"/>
              <a:gd name="connsiteX49" fmla="*/ 242491 w 323554"/>
              <a:gd name="connsiteY49" fmla="*/ 75400 h 313525"/>
              <a:gd name="connsiteX50" fmla="*/ 244873 w 323554"/>
              <a:gd name="connsiteY50" fmla="*/ 75400 h 313525"/>
              <a:gd name="connsiteX51" fmla="*/ 244873 w 323554"/>
              <a:gd name="connsiteY51" fmla="*/ 74209 h 313525"/>
              <a:gd name="connsiteX52" fmla="*/ 249635 w 323554"/>
              <a:gd name="connsiteY52" fmla="*/ 69447 h 313525"/>
              <a:gd name="connsiteX53" fmla="*/ 249635 w 323554"/>
              <a:gd name="connsiteY53" fmla="*/ 64684 h 313525"/>
              <a:gd name="connsiteX54" fmla="*/ 247254 w 323554"/>
              <a:gd name="connsiteY54" fmla="*/ 62303 h 313525"/>
              <a:gd name="connsiteX55" fmla="*/ 24647 w 323554"/>
              <a:gd name="connsiteY55" fmla="*/ 48412 h 313525"/>
              <a:gd name="connsiteX56" fmla="*/ 201069 w 323554"/>
              <a:gd name="connsiteY56" fmla="*/ 48412 h 313525"/>
              <a:gd name="connsiteX57" fmla="*/ 214041 w 323554"/>
              <a:gd name="connsiteY57" fmla="*/ 52292 h 313525"/>
              <a:gd name="connsiteX58" fmla="*/ 193285 w 323554"/>
              <a:gd name="connsiteY58" fmla="*/ 76863 h 313525"/>
              <a:gd name="connsiteX59" fmla="*/ 181610 w 323554"/>
              <a:gd name="connsiteY59" fmla="*/ 72983 h 313525"/>
              <a:gd name="connsiteX60" fmla="*/ 45403 w 323554"/>
              <a:gd name="connsiteY60" fmla="*/ 72983 h 313525"/>
              <a:gd name="connsiteX61" fmla="*/ 24647 w 323554"/>
              <a:gd name="connsiteY61" fmla="*/ 93675 h 313525"/>
              <a:gd name="connsiteX62" fmla="*/ 24647 w 323554"/>
              <a:gd name="connsiteY62" fmla="*/ 268262 h 313525"/>
              <a:gd name="connsiteX63" fmla="*/ 45403 w 323554"/>
              <a:gd name="connsiteY63" fmla="*/ 287660 h 313525"/>
              <a:gd name="connsiteX64" fmla="*/ 181610 w 323554"/>
              <a:gd name="connsiteY64" fmla="*/ 287660 h 313525"/>
              <a:gd name="connsiteX65" fmla="*/ 202366 w 323554"/>
              <a:gd name="connsiteY65" fmla="*/ 268262 h 313525"/>
              <a:gd name="connsiteX66" fmla="*/ 202366 w 323554"/>
              <a:gd name="connsiteY66" fmla="*/ 202307 h 313525"/>
              <a:gd name="connsiteX67" fmla="*/ 203663 w 323554"/>
              <a:gd name="connsiteY67" fmla="*/ 201014 h 313525"/>
              <a:gd name="connsiteX68" fmla="*/ 206258 w 323554"/>
              <a:gd name="connsiteY68" fmla="*/ 198427 h 313525"/>
              <a:gd name="connsiteX69" fmla="*/ 227013 w 323554"/>
              <a:gd name="connsiteY69" fmla="*/ 175149 h 313525"/>
              <a:gd name="connsiteX70" fmla="*/ 227013 w 323554"/>
              <a:gd name="connsiteY70" fmla="*/ 287660 h 313525"/>
              <a:gd name="connsiteX71" fmla="*/ 201069 w 323554"/>
              <a:gd name="connsiteY71" fmla="*/ 313525 h 313525"/>
              <a:gd name="connsiteX72" fmla="*/ 25944 w 323554"/>
              <a:gd name="connsiteY72" fmla="*/ 313525 h 313525"/>
              <a:gd name="connsiteX73" fmla="*/ 0 w 323554"/>
              <a:gd name="connsiteY73" fmla="*/ 287660 h 313525"/>
              <a:gd name="connsiteX74" fmla="*/ 0 w 323554"/>
              <a:gd name="connsiteY74" fmla="*/ 72983 h 313525"/>
              <a:gd name="connsiteX75" fmla="*/ 24647 w 323554"/>
              <a:gd name="connsiteY75" fmla="*/ 48412 h 313525"/>
              <a:gd name="connsiteX76" fmla="*/ 242888 w 323554"/>
              <a:gd name="connsiteY76" fmla="*/ 42062 h 313525"/>
              <a:gd name="connsiteX77" fmla="*/ 285751 w 323554"/>
              <a:gd name="connsiteY77" fmla="*/ 81750 h 313525"/>
              <a:gd name="connsiteX78" fmla="*/ 279401 w 323554"/>
              <a:gd name="connsiteY78" fmla="*/ 89687 h 313525"/>
              <a:gd name="connsiteX79" fmla="*/ 200026 w 323554"/>
              <a:gd name="connsiteY79" fmla="*/ 178587 h 313525"/>
              <a:gd name="connsiteX80" fmla="*/ 193676 w 323554"/>
              <a:gd name="connsiteY80" fmla="*/ 184937 h 313525"/>
              <a:gd name="connsiteX81" fmla="*/ 150813 w 323554"/>
              <a:gd name="connsiteY81" fmla="*/ 146837 h 313525"/>
              <a:gd name="connsiteX82" fmla="*/ 155576 w 323554"/>
              <a:gd name="connsiteY82" fmla="*/ 138899 h 313525"/>
              <a:gd name="connsiteX83" fmla="*/ 236538 w 323554"/>
              <a:gd name="connsiteY83" fmla="*/ 48412 h 313525"/>
              <a:gd name="connsiteX84" fmla="*/ 257175 w 323554"/>
              <a:gd name="connsiteY84" fmla="*/ 26187 h 313525"/>
              <a:gd name="connsiteX85" fmla="*/ 301625 w 323554"/>
              <a:gd name="connsiteY85" fmla="*/ 64287 h 313525"/>
              <a:gd name="connsiteX86" fmla="*/ 295275 w 323554"/>
              <a:gd name="connsiteY86" fmla="*/ 72225 h 313525"/>
              <a:gd name="connsiteX87" fmla="*/ 290513 w 323554"/>
              <a:gd name="connsiteY87" fmla="*/ 75400 h 313525"/>
              <a:gd name="connsiteX88" fmla="*/ 247650 w 323554"/>
              <a:gd name="connsiteY88" fmla="*/ 37300 h 313525"/>
              <a:gd name="connsiteX89" fmla="*/ 250825 w 323554"/>
              <a:gd name="connsiteY89" fmla="*/ 34125 h 313525"/>
              <a:gd name="connsiteX90" fmla="*/ 285750 w 323554"/>
              <a:gd name="connsiteY90" fmla="*/ 11899 h 313525"/>
              <a:gd name="connsiteX91" fmla="*/ 279400 w 323554"/>
              <a:gd name="connsiteY91" fmla="*/ 19837 h 313525"/>
              <a:gd name="connsiteX92" fmla="*/ 304800 w 323554"/>
              <a:gd name="connsiteY92" fmla="*/ 43649 h 313525"/>
              <a:gd name="connsiteX93" fmla="*/ 312738 w 323554"/>
              <a:gd name="connsiteY93" fmla="*/ 35712 h 313525"/>
              <a:gd name="connsiteX94" fmla="*/ 285265 w 323554"/>
              <a:gd name="connsiteY94" fmla="*/ 516 h 313525"/>
              <a:gd name="connsiteX95" fmla="*/ 294336 w 323554"/>
              <a:gd name="connsiteY95" fmla="*/ 3151 h 313525"/>
              <a:gd name="connsiteX96" fmla="*/ 318958 w 323554"/>
              <a:gd name="connsiteY96" fmla="*/ 25545 h 313525"/>
              <a:gd name="connsiteX97" fmla="*/ 320254 w 323554"/>
              <a:gd name="connsiteY97" fmla="*/ 43987 h 313525"/>
              <a:gd name="connsiteX98" fmla="*/ 305999 w 323554"/>
              <a:gd name="connsiteY98" fmla="*/ 61112 h 313525"/>
              <a:gd name="connsiteX99" fmla="*/ 261938 w 323554"/>
              <a:gd name="connsiteY99" fmla="*/ 20276 h 313525"/>
              <a:gd name="connsiteX100" fmla="*/ 276193 w 323554"/>
              <a:gd name="connsiteY100" fmla="*/ 4468 h 313525"/>
              <a:gd name="connsiteX101" fmla="*/ 285265 w 323554"/>
              <a:gd name="connsiteY101" fmla="*/ 516 h 31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23554" h="313525">
                <a:moveTo>
                  <a:pt x="58918" y="189699"/>
                </a:moveTo>
                <a:cubicBezTo>
                  <a:pt x="58918" y="189699"/>
                  <a:pt x="58918" y="189699"/>
                  <a:pt x="101421" y="189699"/>
                </a:cubicBezTo>
                <a:cubicBezTo>
                  <a:pt x="102709" y="189699"/>
                  <a:pt x="102709" y="189699"/>
                  <a:pt x="103997" y="189699"/>
                </a:cubicBezTo>
                <a:cubicBezTo>
                  <a:pt x="109149" y="189699"/>
                  <a:pt x="114301" y="195046"/>
                  <a:pt x="114301" y="201731"/>
                </a:cubicBezTo>
                <a:cubicBezTo>
                  <a:pt x="114301" y="203067"/>
                  <a:pt x="114301" y="204404"/>
                  <a:pt x="113013" y="205741"/>
                </a:cubicBezTo>
                <a:cubicBezTo>
                  <a:pt x="111725" y="211088"/>
                  <a:pt x="107861" y="215099"/>
                  <a:pt x="101421" y="215099"/>
                </a:cubicBezTo>
                <a:cubicBezTo>
                  <a:pt x="101421" y="215099"/>
                  <a:pt x="101421" y="215099"/>
                  <a:pt x="58918" y="215099"/>
                </a:cubicBezTo>
                <a:cubicBezTo>
                  <a:pt x="51190" y="215099"/>
                  <a:pt x="46038" y="209752"/>
                  <a:pt x="46038" y="201731"/>
                </a:cubicBezTo>
                <a:cubicBezTo>
                  <a:pt x="46038" y="195046"/>
                  <a:pt x="51190" y="189699"/>
                  <a:pt x="58918" y="189699"/>
                </a:cubicBezTo>
                <a:close/>
                <a:moveTo>
                  <a:pt x="149225" y="165887"/>
                </a:moveTo>
                <a:lnTo>
                  <a:pt x="142875" y="186525"/>
                </a:lnTo>
                <a:lnTo>
                  <a:pt x="153988" y="196050"/>
                </a:lnTo>
                <a:lnTo>
                  <a:pt x="173038" y="188112"/>
                </a:lnTo>
                <a:close/>
                <a:moveTo>
                  <a:pt x="145188" y="151599"/>
                </a:moveTo>
                <a:cubicBezTo>
                  <a:pt x="145188" y="151599"/>
                  <a:pt x="145188" y="151599"/>
                  <a:pt x="187326" y="190104"/>
                </a:cubicBezTo>
                <a:cubicBezTo>
                  <a:pt x="187326" y="190104"/>
                  <a:pt x="187326" y="190104"/>
                  <a:pt x="138803" y="210640"/>
                </a:cubicBezTo>
                <a:cubicBezTo>
                  <a:pt x="136249" y="211924"/>
                  <a:pt x="133696" y="211924"/>
                  <a:pt x="131142" y="210640"/>
                </a:cubicBezTo>
                <a:cubicBezTo>
                  <a:pt x="129865" y="208073"/>
                  <a:pt x="128588" y="205506"/>
                  <a:pt x="129865" y="202939"/>
                </a:cubicBezTo>
                <a:cubicBezTo>
                  <a:pt x="129865" y="202939"/>
                  <a:pt x="129865" y="202939"/>
                  <a:pt x="145188" y="151599"/>
                </a:cubicBezTo>
                <a:close/>
                <a:moveTo>
                  <a:pt x="58982" y="146837"/>
                </a:moveTo>
                <a:cubicBezTo>
                  <a:pt x="58982" y="146837"/>
                  <a:pt x="58982" y="146837"/>
                  <a:pt x="130176" y="146837"/>
                </a:cubicBezTo>
                <a:cubicBezTo>
                  <a:pt x="130176" y="148186"/>
                  <a:pt x="130176" y="148186"/>
                  <a:pt x="130176" y="148186"/>
                </a:cubicBezTo>
                <a:lnTo>
                  <a:pt x="122409" y="173825"/>
                </a:lnTo>
                <a:cubicBezTo>
                  <a:pt x="122409" y="173825"/>
                  <a:pt x="122409" y="173825"/>
                  <a:pt x="58982" y="173825"/>
                </a:cubicBezTo>
                <a:cubicBezTo>
                  <a:pt x="51216" y="173825"/>
                  <a:pt x="46038" y="167078"/>
                  <a:pt x="46038" y="160331"/>
                </a:cubicBezTo>
                <a:cubicBezTo>
                  <a:pt x="46038" y="153584"/>
                  <a:pt x="51216" y="146837"/>
                  <a:pt x="58982" y="146837"/>
                </a:cubicBezTo>
                <a:close/>
                <a:moveTo>
                  <a:pt x="59011" y="105562"/>
                </a:moveTo>
                <a:lnTo>
                  <a:pt x="166688" y="105562"/>
                </a:lnTo>
                <a:cubicBezTo>
                  <a:pt x="166688" y="105562"/>
                  <a:pt x="166688" y="105562"/>
                  <a:pt x="144634" y="130962"/>
                </a:cubicBezTo>
                <a:cubicBezTo>
                  <a:pt x="144634" y="130962"/>
                  <a:pt x="144634" y="130962"/>
                  <a:pt x="59011" y="130962"/>
                </a:cubicBezTo>
                <a:cubicBezTo>
                  <a:pt x="51227" y="130962"/>
                  <a:pt x="46038" y="125615"/>
                  <a:pt x="46038" y="118930"/>
                </a:cubicBezTo>
                <a:cubicBezTo>
                  <a:pt x="46038" y="110909"/>
                  <a:pt x="51227" y="105562"/>
                  <a:pt x="59011" y="105562"/>
                </a:cubicBezTo>
                <a:close/>
                <a:moveTo>
                  <a:pt x="226883" y="81749"/>
                </a:moveTo>
                <a:cubicBezTo>
                  <a:pt x="225587" y="81749"/>
                  <a:pt x="224292" y="83037"/>
                  <a:pt x="224292" y="83037"/>
                </a:cubicBezTo>
                <a:cubicBezTo>
                  <a:pt x="224292" y="83037"/>
                  <a:pt x="224292" y="83037"/>
                  <a:pt x="171159" y="140996"/>
                </a:cubicBezTo>
                <a:cubicBezTo>
                  <a:pt x="169863" y="142284"/>
                  <a:pt x="169863" y="144860"/>
                  <a:pt x="172455" y="146148"/>
                </a:cubicBezTo>
                <a:cubicBezTo>
                  <a:pt x="172455" y="146148"/>
                  <a:pt x="172455" y="146148"/>
                  <a:pt x="175047" y="148724"/>
                </a:cubicBezTo>
                <a:cubicBezTo>
                  <a:pt x="175047" y="148724"/>
                  <a:pt x="176343" y="150012"/>
                  <a:pt x="177639" y="150012"/>
                </a:cubicBezTo>
                <a:cubicBezTo>
                  <a:pt x="177639" y="150012"/>
                  <a:pt x="178934" y="148724"/>
                  <a:pt x="180230" y="148724"/>
                </a:cubicBezTo>
                <a:cubicBezTo>
                  <a:pt x="180230" y="148724"/>
                  <a:pt x="180230" y="148724"/>
                  <a:pt x="232067" y="90765"/>
                </a:cubicBezTo>
                <a:cubicBezTo>
                  <a:pt x="233363" y="89477"/>
                  <a:pt x="233363" y="86901"/>
                  <a:pt x="232067" y="85613"/>
                </a:cubicBezTo>
                <a:cubicBezTo>
                  <a:pt x="232067" y="85613"/>
                  <a:pt x="232067" y="85613"/>
                  <a:pt x="229475" y="83037"/>
                </a:cubicBezTo>
                <a:cubicBezTo>
                  <a:pt x="228179" y="81749"/>
                  <a:pt x="226883" y="81749"/>
                  <a:pt x="226883" y="81749"/>
                </a:cubicBezTo>
                <a:close/>
                <a:moveTo>
                  <a:pt x="247254" y="62303"/>
                </a:moveTo>
                <a:cubicBezTo>
                  <a:pt x="244873" y="61112"/>
                  <a:pt x="243682" y="62303"/>
                  <a:pt x="242491" y="63493"/>
                </a:cubicBezTo>
                <a:cubicBezTo>
                  <a:pt x="242491" y="63493"/>
                  <a:pt x="242491" y="63493"/>
                  <a:pt x="237729" y="68256"/>
                </a:cubicBezTo>
                <a:cubicBezTo>
                  <a:pt x="237729" y="68256"/>
                  <a:pt x="236538" y="69447"/>
                  <a:pt x="236538" y="70637"/>
                </a:cubicBezTo>
                <a:cubicBezTo>
                  <a:pt x="236538" y="70637"/>
                  <a:pt x="237729" y="71828"/>
                  <a:pt x="237729" y="73019"/>
                </a:cubicBezTo>
                <a:cubicBezTo>
                  <a:pt x="237729" y="73019"/>
                  <a:pt x="237729" y="73019"/>
                  <a:pt x="240110" y="74209"/>
                </a:cubicBezTo>
                <a:cubicBezTo>
                  <a:pt x="241301" y="75400"/>
                  <a:pt x="242491" y="75400"/>
                  <a:pt x="242491" y="75400"/>
                </a:cubicBezTo>
                <a:cubicBezTo>
                  <a:pt x="243682" y="75400"/>
                  <a:pt x="243682" y="75400"/>
                  <a:pt x="244873" y="75400"/>
                </a:cubicBezTo>
                <a:cubicBezTo>
                  <a:pt x="244873" y="74209"/>
                  <a:pt x="244873" y="74209"/>
                  <a:pt x="244873" y="74209"/>
                </a:cubicBezTo>
                <a:cubicBezTo>
                  <a:pt x="244873" y="74209"/>
                  <a:pt x="244873" y="74209"/>
                  <a:pt x="249635" y="69447"/>
                </a:cubicBezTo>
                <a:cubicBezTo>
                  <a:pt x="250826" y="68256"/>
                  <a:pt x="250826" y="65875"/>
                  <a:pt x="249635" y="64684"/>
                </a:cubicBezTo>
                <a:cubicBezTo>
                  <a:pt x="249635" y="64684"/>
                  <a:pt x="249635" y="64684"/>
                  <a:pt x="247254" y="62303"/>
                </a:cubicBezTo>
                <a:close/>
                <a:moveTo>
                  <a:pt x="24647" y="48412"/>
                </a:moveTo>
                <a:cubicBezTo>
                  <a:pt x="24647" y="48412"/>
                  <a:pt x="24647" y="48412"/>
                  <a:pt x="201069" y="48412"/>
                </a:cubicBezTo>
                <a:cubicBezTo>
                  <a:pt x="206258" y="48412"/>
                  <a:pt x="210149" y="49705"/>
                  <a:pt x="214041" y="52292"/>
                </a:cubicBezTo>
                <a:cubicBezTo>
                  <a:pt x="214041" y="52292"/>
                  <a:pt x="214041" y="52292"/>
                  <a:pt x="193285" y="76863"/>
                </a:cubicBezTo>
                <a:cubicBezTo>
                  <a:pt x="189394" y="74277"/>
                  <a:pt x="185502" y="72983"/>
                  <a:pt x="181610" y="72983"/>
                </a:cubicBezTo>
                <a:cubicBezTo>
                  <a:pt x="181610" y="72983"/>
                  <a:pt x="181610" y="72983"/>
                  <a:pt x="45403" y="72983"/>
                </a:cubicBezTo>
                <a:cubicBezTo>
                  <a:pt x="33728" y="72983"/>
                  <a:pt x="24647" y="82036"/>
                  <a:pt x="24647" y="93675"/>
                </a:cubicBezTo>
                <a:cubicBezTo>
                  <a:pt x="24647" y="93675"/>
                  <a:pt x="24647" y="93675"/>
                  <a:pt x="24647" y="268262"/>
                </a:cubicBezTo>
                <a:cubicBezTo>
                  <a:pt x="24647" y="278608"/>
                  <a:pt x="33728" y="287660"/>
                  <a:pt x="45403" y="287660"/>
                </a:cubicBezTo>
                <a:cubicBezTo>
                  <a:pt x="45403" y="287660"/>
                  <a:pt x="45403" y="287660"/>
                  <a:pt x="181610" y="287660"/>
                </a:cubicBezTo>
                <a:cubicBezTo>
                  <a:pt x="193285" y="287660"/>
                  <a:pt x="202366" y="278608"/>
                  <a:pt x="202366" y="268262"/>
                </a:cubicBezTo>
                <a:cubicBezTo>
                  <a:pt x="202366" y="268262"/>
                  <a:pt x="202366" y="268262"/>
                  <a:pt x="202366" y="202307"/>
                </a:cubicBezTo>
                <a:cubicBezTo>
                  <a:pt x="202366" y="202307"/>
                  <a:pt x="202366" y="201014"/>
                  <a:pt x="203663" y="201014"/>
                </a:cubicBezTo>
                <a:cubicBezTo>
                  <a:pt x="203663" y="199720"/>
                  <a:pt x="204960" y="199720"/>
                  <a:pt x="206258" y="198427"/>
                </a:cubicBezTo>
                <a:cubicBezTo>
                  <a:pt x="206258" y="198427"/>
                  <a:pt x="206258" y="198427"/>
                  <a:pt x="227013" y="175149"/>
                </a:cubicBezTo>
                <a:cubicBezTo>
                  <a:pt x="227013" y="175149"/>
                  <a:pt x="227013" y="175149"/>
                  <a:pt x="227013" y="287660"/>
                </a:cubicBezTo>
                <a:cubicBezTo>
                  <a:pt x="227013" y="301886"/>
                  <a:pt x="215338" y="313525"/>
                  <a:pt x="201069" y="313525"/>
                </a:cubicBezTo>
                <a:cubicBezTo>
                  <a:pt x="201069" y="313525"/>
                  <a:pt x="201069" y="313525"/>
                  <a:pt x="25944" y="313525"/>
                </a:cubicBezTo>
                <a:cubicBezTo>
                  <a:pt x="11675" y="313525"/>
                  <a:pt x="0" y="301886"/>
                  <a:pt x="0" y="287660"/>
                </a:cubicBezTo>
                <a:cubicBezTo>
                  <a:pt x="0" y="287660"/>
                  <a:pt x="0" y="287660"/>
                  <a:pt x="0" y="72983"/>
                </a:cubicBezTo>
                <a:cubicBezTo>
                  <a:pt x="0" y="60051"/>
                  <a:pt x="10378" y="48412"/>
                  <a:pt x="24647" y="48412"/>
                </a:cubicBezTo>
                <a:close/>
                <a:moveTo>
                  <a:pt x="242888" y="42062"/>
                </a:moveTo>
                <a:lnTo>
                  <a:pt x="285751" y="81750"/>
                </a:lnTo>
                <a:lnTo>
                  <a:pt x="279401" y="89687"/>
                </a:lnTo>
                <a:lnTo>
                  <a:pt x="200026" y="178587"/>
                </a:lnTo>
                <a:lnTo>
                  <a:pt x="193676" y="184937"/>
                </a:lnTo>
                <a:lnTo>
                  <a:pt x="150813" y="146837"/>
                </a:lnTo>
                <a:lnTo>
                  <a:pt x="155576" y="138899"/>
                </a:lnTo>
                <a:lnTo>
                  <a:pt x="236538" y="48412"/>
                </a:lnTo>
                <a:close/>
                <a:moveTo>
                  <a:pt x="257175" y="26187"/>
                </a:moveTo>
                <a:lnTo>
                  <a:pt x="301625" y="64287"/>
                </a:lnTo>
                <a:lnTo>
                  <a:pt x="295275" y="72225"/>
                </a:lnTo>
                <a:lnTo>
                  <a:pt x="290513" y="75400"/>
                </a:lnTo>
                <a:lnTo>
                  <a:pt x="247650" y="37300"/>
                </a:lnTo>
                <a:lnTo>
                  <a:pt x="250825" y="34125"/>
                </a:lnTo>
                <a:close/>
                <a:moveTo>
                  <a:pt x="285750" y="11899"/>
                </a:moveTo>
                <a:lnTo>
                  <a:pt x="279400" y="19837"/>
                </a:lnTo>
                <a:lnTo>
                  <a:pt x="304800" y="43649"/>
                </a:lnTo>
                <a:lnTo>
                  <a:pt x="312738" y="35712"/>
                </a:lnTo>
                <a:close/>
                <a:moveTo>
                  <a:pt x="285265" y="516"/>
                </a:moveTo>
                <a:cubicBezTo>
                  <a:pt x="289152" y="-801"/>
                  <a:pt x="291744" y="516"/>
                  <a:pt x="294336" y="3151"/>
                </a:cubicBezTo>
                <a:cubicBezTo>
                  <a:pt x="294336" y="3151"/>
                  <a:pt x="294336" y="3151"/>
                  <a:pt x="318958" y="25545"/>
                </a:cubicBezTo>
                <a:cubicBezTo>
                  <a:pt x="324142" y="30814"/>
                  <a:pt x="325438" y="38718"/>
                  <a:pt x="320254" y="43987"/>
                </a:cubicBezTo>
                <a:cubicBezTo>
                  <a:pt x="320254" y="43987"/>
                  <a:pt x="320254" y="43987"/>
                  <a:pt x="305999" y="61112"/>
                </a:cubicBezTo>
                <a:cubicBezTo>
                  <a:pt x="305999" y="61112"/>
                  <a:pt x="305999" y="61112"/>
                  <a:pt x="261938" y="20276"/>
                </a:cubicBezTo>
                <a:cubicBezTo>
                  <a:pt x="261938" y="20276"/>
                  <a:pt x="261938" y="20276"/>
                  <a:pt x="276193" y="4468"/>
                </a:cubicBezTo>
                <a:cubicBezTo>
                  <a:pt x="278785" y="1834"/>
                  <a:pt x="281377" y="516"/>
                  <a:pt x="285265" y="516"/>
                </a:cubicBezTo>
                <a:close/>
              </a:path>
            </a:pathLst>
          </a:custGeom>
          <a:solidFill>
            <a:srgbClr val="FE733C"/>
          </a:solidFill>
          <a:ln>
            <a:noFill/>
          </a:ln>
        </p:spPr>
        <p:txBody>
          <a:bodyPr anchor="ctr"/>
          <a:lstStyle/>
          <a:p>
            <a:pPr algn="ctr"/>
          </a:p>
        </p:txBody>
      </p:sp>
      <p:cxnSp>
        <p:nvCxnSpPr>
          <p:cNvPr id="13" name="直接连接符 12"/>
          <p:cNvCxnSpPr/>
          <p:nvPr/>
        </p:nvCxnSpPr>
        <p:spPr>
          <a:xfrm>
            <a:off x="2275218" y="4914435"/>
            <a:ext cx="14422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3" name="组合 32"/>
          <p:cNvGrpSpPr/>
          <p:nvPr/>
        </p:nvGrpSpPr>
        <p:grpSpPr>
          <a:xfrm>
            <a:off x="3543845" y="4342468"/>
            <a:ext cx="1326958" cy="1143932"/>
            <a:chOff x="4147917" y="4217209"/>
            <a:chExt cx="1011444" cy="871935"/>
          </a:xfrm>
        </p:grpSpPr>
        <p:sp>
          <p:nvSpPr>
            <p:cNvPr id="14" name="六边形 13"/>
            <p:cNvSpPr/>
            <p:nvPr/>
          </p:nvSpPr>
          <p:spPr>
            <a:xfrm>
              <a:off x="4147917" y="4217209"/>
              <a:ext cx="1011444" cy="871935"/>
            </a:xfrm>
            <a:prstGeom prst="hexagon">
              <a:avLst/>
            </a:prstGeom>
            <a:solidFill>
              <a:schemeClr val="bg1"/>
            </a:solidFill>
            <a:ln w="12700">
              <a:solidFill>
                <a:schemeClr val="bg1">
                  <a:lumMod val="75000"/>
                </a:schemeClr>
              </a:solidFill>
              <a:headEnd type="oval" w="med" len="med"/>
              <a:tailEnd type="oval" w="med" len="med"/>
            </a:ln>
            <a:effectLst/>
          </p:spPr>
          <p:style>
            <a:lnRef idx="1">
              <a:schemeClr val="accent1"/>
            </a:lnRef>
            <a:fillRef idx="0">
              <a:schemeClr val="accent1"/>
            </a:fillRef>
            <a:effectRef idx="0">
              <a:schemeClr val="accent1"/>
            </a:effectRef>
            <a:fontRef idx="minor">
              <a:schemeClr val="tx1"/>
            </a:fontRef>
          </p:style>
          <p:txBody>
            <a:bodyPr anchor="ctr"/>
            <a:lstStyle/>
            <a:p>
              <a:pPr algn="ctr"/>
            </a:p>
          </p:txBody>
        </p:sp>
        <p:sp>
          <p:nvSpPr>
            <p:cNvPr id="15" name="任意多边形 32"/>
            <p:cNvSpPr/>
            <p:nvPr/>
          </p:nvSpPr>
          <p:spPr bwMode="auto">
            <a:xfrm>
              <a:off x="4436686" y="4495096"/>
              <a:ext cx="426220" cy="316163"/>
            </a:xfrm>
            <a:custGeom>
              <a:avLst/>
              <a:gdLst>
                <a:gd name="connsiteX0" fmla="*/ 9246 w 338138"/>
                <a:gd name="connsiteY0" fmla="*/ 217487 h 250825"/>
                <a:gd name="connsiteX1" fmla="*/ 328892 w 338138"/>
                <a:gd name="connsiteY1" fmla="*/ 217487 h 250825"/>
                <a:gd name="connsiteX2" fmla="*/ 338138 w 338138"/>
                <a:gd name="connsiteY2" fmla="*/ 226822 h 250825"/>
                <a:gd name="connsiteX3" fmla="*/ 314363 w 338138"/>
                <a:gd name="connsiteY3" fmla="*/ 250825 h 250825"/>
                <a:gd name="connsiteX4" fmla="*/ 23775 w 338138"/>
                <a:gd name="connsiteY4" fmla="*/ 250825 h 250825"/>
                <a:gd name="connsiteX5" fmla="*/ 0 w 338138"/>
                <a:gd name="connsiteY5" fmla="*/ 226822 h 250825"/>
                <a:gd name="connsiteX6" fmla="*/ 9246 w 338138"/>
                <a:gd name="connsiteY6" fmla="*/ 217487 h 250825"/>
                <a:gd name="connsiteX7" fmla="*/ 100182 w 338138"/>
                <a:gd name="connsiteY7" fmla="*/ 100012 h 250825"/>
                <a:gd name="connsiteX8" fmla="*/ 123655 w 338138"/>
                <a:gd name="connsiteY8" fmla="*/ 100012 h 250825"/>
                <a:gd name="connsiteX9" fmla="*/ 130175 w 338138"/>
                <a:gd name="connsiteY9" fmla="*/ 106705 h 250825"/>
                <a:gd name="connsiteX10" fmla="*/ 130175 w 338138"/>
                <a:gd name="connsiteY10" fmla="*/ 161583 h 250825"/>
                <a:gd name="connsiteX11" fmla="*/ 123655 w 338138"/>
                <a:gd name="connsiteY11" fmla="*/ 168275 h 250825"/>
                <a:gd name="connsiteX12" fmla="*/ 100182 w 338138"/>
                <a:gd name="connsiteY12" fmla="*/ 168275 h 250825"/>
                <a:gd name="connsiteX13" fmla="*/ 93662 w 338138"/>
                <a:gd name="connsiteY13" fmla="*/ 161583 h 250825"/>
                <a:gd name="connsiteX14" fmla="*/ 93662 w 338138"/>
                <a:gd name="connsiteY14" fmla="*/ 106705 h 250825"/>
                <a:gd name="connsiteX15" fmla="*/ 100182 w 338138"/>
                <a:gd name="connsiteY15" fmla="*/ 100012 h 250825"/>
                <a:gd name="connsiteX16" fmla="*/ 157332 w 338138"/>
                <a:gd name="connsiteY16" fmla="*/ 77787 h 250825"/>
                <a:gd name="connsiteX17" fmla="*/ 180805 w 338138"/>
                <a:gd name="connsiteY17" fmla="*/ 77787 h 250825"/>
                <a:gd name="connsiteX18" fmla="*/ 187325 w 338138"/>
                <a:gd name="connsiteY18" fmla="*/ 84441 h 250825"/>
                <a:gd name="connsiteX19" fmla="*/ 187325 w 338138"/>
                <a:gd name="connsiteY19" fmla="*/ 161622 h 250825"/>
                <a:gd name="connsiteX20" fmla="*/ 180805 w 338138"/>
                <a:gd name="connsiteY20" fmla="*/ 168275 h 250825"/>
                <a:gd name="connsiteX21" fmla="*/ 157332 w 338138"/>
                <a:gd name="connsiteY21" fmla="*/ 168275 h 250825"/>
                <a:gd name="connsiteX22" fmla="*/ 150812 w 338138"/>
                <a:gd name="connsiteY22" fmla="*/ 161622 h 250825"/>
                <a:gd name="connsiteX23" fmla="*/ 150812 w 338138"/>
                <a:gd name="connsiteY23" fmla="*/ 84441 h 250825"/>
                <a:gd name="connsiteX24" fmla="*/ 157332 w 338138"/>
                <a:gd name="connsiteY24" fmla="*/ 77787 h 250825"/>
                <a:gd name="connsiteX25" fmla="*/ 216070 w 338138"/>
                <a:gd name="connsiteY25" fmla="*/ 49212 h 250825"/>
                <a:gd name="connsiteX26" fmla="*/ 239543 w 338138"/>
                <a:gd name="connsiteY26" fmla="*/ 49212 h 250825"/>
                <a:gd name="connsiteX27" fmla="*/ 246063 w 338138"/>
                <a:gd name="connsiteY27" fmla="*/ 55827 h 250825"/>
                <a:gd name="connsiteX28" fmla="*/ 246063 w 338138"/>
                <a:gd name="connsiteY28" fmla="*/ 161661 h 250825"/>
                <a:gd name="connsiteX29" fmla="*/ 239543 w 338138"/>
                <a:gd name="connsiteY29" fmla="*/ 168275 h 250825"/>
                <a:gd name="connsiteX30" fmla="*/ 216070 w 338138"/>
                <a:gd name="connsiteY30" fmla="*/ 168275 h 250825"/>
                <a:gd name="connsiteX31" fmla="*/ 209550 w 338138"/>
                <a:gd name="connsiteY31" fmla="*/ 161661 h 250825"/>
                <a:gd name="connsiteX32" fmla="*/ 209550 w 338138"/>
                <a:gd name="connsiteY32" fmla="*/ 55827 h 250825"/>
                <a:gd name="connsiteX33" fmla="*/ 216070 w 338138"/>
                <a:gd name="connsiteY33" fmla="*/ 49212 h 250825"/>
                <a:gd name="connsiteX34" fmla="*/ 53428 w 338138"/>
                <a:gd name="connsiteY34" fmla="*/ 22225 h 250825"/>
                <a:gd name="connsiteX35" fmla="*/ 50800 w 338138"/>
                <a:gd name="connsiteY35" fmla="*/ 24858 h 250825"/>
                <a:gd name="connsiteX36" fmla="*/ 50800 w 338138"/>
                <a:gd name="connsiteY36" fmla="*/ 182834 h 250825"/>
                <a:gd name="connsiteX37" fmla="*/ 53428 w 338138"/>
                <a:gd name="connsiteY37" fmla="*/ 184150 h 250825"/>
                <a:gd name="connsiteX38" fmla="*/ 284710 w 338138"/>
                <a:gd name="connsiteY38" fmla="*/ 184150 h 250825"/>
                <a:gd name="connsiteX39" fmla="*/ 287338 w 338138"/>
                <a:gd name="connsiteY39" fmla="*/ 182834 h 250825"/>
                <a:gd name="connsiteX40" fmla="*/ 287338 w 338138"/>
                <a:gd name="connsiteY40" fmla="*/ 24858 h 250825"/>
                <a:gd name="connsiteX41" fmla="*/ 284710 w 338138"/>
                <a:gd name="connsiteY41" fmla="*/ 22225 h 250825"/>
                <a:gd name="connsiteX42" fmla="*/ 53428 w 338138"/>
                <a:gd name="connsiteY42" fmla="*/ 22225 h 250825"/>
                <a:gd name="connsiteX43" fmla="*/ 53663 w 338138"/>
                <a:gd name="connsiteY43" fmla="*/ 0 h 250825"/>
                <a:gd name="connsiteX44" fmla="*/ 286062 w 338138"/>
                <a:gd name="connsiteY44" fmla="*/ 0 h 250825"/>
                <a:gd name="connsiteX45" fmla="*/ 311150 w 338138"/>
                <a:gd name="connsiteY45" fmla="*/ 25008 h 250825"/>
                <a:gd name="connsiteX46" fmla="*/ 311150 w 338138"/>
                <a:gd name="connsiteY46" fmla="*/ 182955 h 250825"/>
                <a:gd name="connsiteX47" fmla="*/ 286062 w 338138"/>
                <a:gd name="connsiteY47" fmla="*/ 207963 h 250825"/>
                <a:gd name="connsiteX48" fmla="*/ 53663 w 338138"/>
                <a:gd name="connsiteY48" fmla="*/ 207963 h 250825"/>
                <a:gd name="connsiteX49" fmla="*/ 28575 w 338138"/>
                <a:gd name="connsiteY49" fmla="*/ 182955 h 250825"/>
                <a:gd name="connsiteX50" fmla="*/ 28575 w 338138"/>
                <a:gd name="connsiteY50" fmla="*/ 25008 h 250825"/>
                <a:gd name="connsiteX51" fmla="*/ 53663 w 338138"/>
                <a:gd name="connsiteY51" fmla="*/ 0 h 25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38138" h="250825">
                  <a:moveTo>
                    <a:pt x="9246" y="217487"/>
                  </a:moveTo>
                  <a:cubicBezTo>
                    <a:pt x="9246" y="217487"/>
                    <a:pt x="9246" y="217487"/>
                    <a:pt x="328892" y="217487"/>
                  </a:cubicBezTo>
                  <a:cubicBezTo>
                    <a:pt x="334176" y="217487"/>
                    <a:pt x="338138" y="221488"/>
                    <a:pt x="338138" y="226822"/>
                  </a:cubicBezTo>
                  <a:cubicBezTo>
                    <a:pt x="338138" y="240157"/>
                    <a:pt x="327571" y="250825"/>
                    <a:pt x="314363" y="250825"/>
                  </a:cubicBezTo>
                  <a:cubicBezTo>
                    <a:pt x="314363" y="250825"/>
                    <a:pt x="314363" y="250825"/>
                    <a:pt x="23775" y="250825"/>
                  </a:cubicBezTo>
                  <a:cubicBezTo>
                    <a:pt x="10567" y="250825"/>
                    <a:pt x="0" y="240157"/>
                    <a:pt x="0" y="226822"/>
                  </a:cubicBezTo>
                  <a:cubicBezTo>
                    <a:pt x="0" y="221488"/>
                    <a:pt x="3962" y="217487"/>
                    <a:pt x="9246" y="217487"/>
                  </a:cubicBezTo>
                  <a:close/>
                  <a:moveTo>
                    <a:pt x="100182" y="100012"/>
                  </a:moveTo>
                  <a:cubicBezTo>
                    <a:pt x="100182" y="100012"/>
                    <a:pt x="100182" y="100012"/>
                    <a:pt x="123655" y="100012"/>
                  </a:cubicBezTo>
                  <a:cubicBezTo>
                    <a:pt x="127567" y="100012"/>
                    <a:pt x="130175" y="102689"/>
                    <a:pt x="130175" y="106705"/>
                  </a:cubicBezTo>
                  <a:cubicBezTo>
                    <a:pt x="130175" y="106705"/>
                    <a:pt x="130175" y="106705"/>
                    <a:pt x="130175" y="161583"/>
                  </a:cubicBezTo>
                  <a:cubicBezTo>
                    <a:pt x="130175" y="165598"/>
                    <a:pt x="127567" y="168275"/>
                    <a:pt x="123655" y="168275"/>
                  </a:cubicBezTo>
                  <a:cubicBezTo>
                    <a:pt x="123655" y="168275"/>
                    <a:pt x="123655" y="168275"/>
                    <a:pt x="100182" y="168275"/>
                  </a:cubicBezTo>
                  <a:cubicBezTo>
                    <a:pt x="96270" y="168275"/>
                    <a:pt x="93662" y="165598"/>
                    <a:pt x="93662" y="161583"/>
                  </a:cubicBezTo>
                  <a:cubicBezTo>
                    <a:pt x="93662" y="161583"/>
                    <a:pt x="93662" y="161583"/>
                    <a:pt x="93662" y="106705"/>
                  </a:cubicBezTo>
                  <a:cubicBezTo>
                    <a:pt x="93662" y="102689"/>
                    <a:pt x="96270" y="100012"/>
                    <a:pt x="100182" y="100012"/>
                  </a:cubicBezTo>
                  <a:close/>
                  <a:moveTo>
                    <a:pt x="157332" y="77787"/>
                  </a:moveTo>
                  <a:cubicBezTo>
                    <a:pt x="157332" y="77787"/>
                    <a:pt x="157332" y="77787"/>
                    <a:pt x="180805" y="77787"/>
                  </a:cubicBezTo>
                  <a:cubicBezTo>
                    <a:pt x="184717" y="77787"/>
                    <a:pt x="187325" y="81779"/>
                    <a:pt x="187325" y="84441"/>
                  </a:cubicBezTo>
                  <a:cubicBezTo>
                    <a:pt x="187325" y="84441"/>
                    <a:pt x="187325" y="84441"/>
                    <a:pt x="187325" y="161622"/>
                  </a:cubicBezTo>
                  <a:cubicBezTo>
                    <a:pt x="187325" y="165614"/>
                    <a:pt x="184717" y="168275"/>
                    <a:pt x="180805" y="168275"/>
                  </a:cubicBezTo>
                  <a:cubicBezTo>
                    <a:pt x="180805" y="168275"/>
                    <a:pt x="180805" y="168275"/>
                    <a:pt x="157332" y="168275"/>
                  </a:cubicBezTo>
                  <a:cubicBezTo>
                    <a:pt x="153420" y="168275"/>
                    <a:pt x="150812" y="165614"/>
                    <a:pt x="150812" y="161622"/>
                  </a:cubicBezTo>
                  <a:cubicBezTo>
                    <a:pt x="150812" y="161622"/>
                    <a:pt x="150812" y="161622"/>
                    <a:pt x="150812" y="84441"/>
                  </a:cubicBezTo>
                  <a:cubicBezTo>
                    <a:pt x="150812" y="81779"/>
                    <a:pt x="153420" y="77787"/>
                    <a:pt x="157332" y="77787"/>
                  </a:cubicBezTo>
                  <a:close/>
                  <a:moveTo>
                    <a:pt x="216070" y="49212"/>
                  </a:moveTo>
                  <a:cubicBezTo>
                    <a:pt x="216070" y="49212"/>
                    <a:pt x="216070" y="49212"/>
                    <a:pt x="239543" y="49212"/>
                  </a:cubicBezTo>
                  <a:cubicBezTo>
                    <a:pt x="243455" y="49212"/>
                    <a:pt x="246063" y="51858"/>
                    <a:pt x="246063" y="55827"/>
                  </a:cubicBezTo>
                  <a:cubicBezTo>
                    <a:pt x="246063" y="55827"/>
                    <a:pt x="246063" y="55827"/>
                    <a:pt x="246063" y="161661"/>
                  </a:cubicBezTo>
                  <a:cubicBezTo>
                    <a:pt x="246063" y="165629"/>
                    <a:pt x="243455" y="168275"/>
                    <a:pt x="239543" y="168275"/>
                  </a:cubicBezTo>
                  <a:cubicBezTo>
                    <a:pt x="239543" y="168275"/>
                    <a:pt x="239543" y="168275"/>
                    <a:pt x="216070" y="168275"/>
                  </a:cubicBezTo>
                  <a:cubicBezTo>
                    <a:pt x="212158" y="168275"/>
                    <a:pt x="209550" y="165629"/>
                    <a:pt x="209550" y="161661"/>
                  </a:cubicBezTo>
                  <a:cubicBezTo>
                    <a:pt x="209550" y="161661"/>
                    <a:pt x="209550" y="161661"/>
                    <a:pt x="209550" y="55827"/>
                  </a:cubicBezTo>
                  <a:cubicBezTo>
                    <a:pt x="209550" y="51858"/>
                    <a:pt x="212158" y="49212"/>
                    <a:pt x="216070" y="49212"/>
                  </a:cubicBezTo>
                  <a:close/>
                  <a:moveTo>
                    <a:pt x="53428" y="22225"/>
                  </a:moveTo>
                  <a:cubicBezTo>
                    <a:pt x="52114" y="22225"/>
                    <a:pt x="50800" y="23541"/>
                    <a:pt x="50800" y="24858"/>
                  </a:cubicBezTo>
                  <a:lnTo>
                    <a:pt x="50800" y="182834"/>
                  </a:lnTo>
                  <a:cubicBezTo>
                    <a:pt x="50800" y="184150"/>
                    <a:pt x="52114" y="184150"/>
                    <a:pt x="53428" y="184150"/>
                  </a:cubicBezTo>
                  <a:cubicBezTo>
                    <a:pt x="53428" y="184150"/>
                    <a:pt x="53428" y="184150"/>
                    <a:pt x="284710" y="184150"/>
                  </a:cubicBezTo>
                  <a:cubicBezTo>
                    <a:pt x="286024" y="184150"/>
                    <a:pt x="287338" y="184150"/>
                    <a:pt x="287338" y="182834"/>
                  </a:cubicBezTo>
                  <a:cubicBezTo>
                    <a:pt x="287338" y="182834"/>
                    <a:pt x="287338" y="182834"/>
                    <a:pt x="287338" y="24858"/>
                  </a:cubicBezTo>
                  <a:cubicBezTo>
                    <a:pt x="287338" y="23541"/>
                    <a:pt x="286024" y="22225"/>
                    <a:pt x="284710" y="22225"/>
                  </a:cubicBezTo>
                  <a:cubicBezTo>
                    <a:pt x="284710" y="22225"/>
                    <a:pt x="284710" y="22225"/>
                    <a:pt x="53428" y="22225"/>
                  </a:cubicBezTo>
                  <a:close/>
                  <a:moveTo>
                    <a:pt x="53663" y="0"/>
                  </a:moveTo>
                  <a:cubicBezTo>
                    <a:pt x="53663" y="0"/>
                    <a:pt x="53663" y="0"/>
                    <a:pt x="286062" y="0"/>
                  </a:cubicBezTo>
                  <a:cubicBezTo>
                    <a:pt x="300587" y="0"/>
                    <a:pt x="311150" y="10530"/>
                    <a:pt x="311150" y="25008"/>
                  </a:cubicBezTo>
                  <a:cubicBezTo>
                    <a:pt x="311150" y="25008"/>
                    <a:pt x="311150" y="25008"/>
                    <a:pt x="311150" y="182955"/>
                  </a:cubicBezTo>
                  <a:cubicBezTo>
                    <a:pt x="311150" y="196117"/>
                    <a:pt x="300587" y="207963"/>
                    <a:pt x="286062" y="207963"/>
                  </a:cubicBezTo>
                  <a:cubicBezTo>
                    <a:pt x="286062" y="207963"/>
                    <a:pt x="286062" y="207963"/>
                    <a:pt x="53663" y="207963"/>
                  </a:cubicBezTo>
                  <a:cubicBezTo>
                    <a:pt x="39138" y="207963"/>
                    <a:pt x="28575" y="196117"/>
                    <a:pt x="28575" y="182955"/>
                  </a:cubicBezTo>
                  <a:cubicBezTo>
                    <a:pt x="28575" y="182955"/>
                    <a:pt x="28575" y="182955"/>
                    <a:pt x="28575" y="25008"/>
                  </a:cubicBezTo>
                  <a:cubicBezTo>
                    <a:pt x="28575" y="10530"/>
                    <a:pt x="39138" y="0"/>
                    <a:pt x="53663" y="0"/>
                  </a:cubicBezTo>
                  <a:close/>
                </a:path>
              </a:pathLst>
            </a:custGeom>
            <a:solidFill>
              <a:srgbClr val="FE733C"/>
            </a:solidFill>
            <a:ln>
              <a:noFill/>
            </a:ln>
          </p:spPr>
          <p:txBody>
            <a:bodyPr anchor="ctr"/>
            <a:lstStyle/>
            <a:p>
              <a:pPr algn="ctr"/>
            </a:p>
          </p:txBody>
        </p:sp>
      </p:grpSp>
      <p:sp>
        <p:nvSpPr>
          <p:cNvPr id="17" name="椭圆 16"/>
          <p:cNvSpPr/>
          <p:nvPr/>
        </p:nvSpPr>
        <p:spPr>
          <a:xfrm>
            <a:off x="359916" y="2294827"/>
            <a:ext cx="2339845" cy="2339842"/>
          </a:xfrm>
          <a:prstGeom prst="ellipse">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8" name="文本框 3"/>
          <p:cNvSpPr txBox="1"/>
          <p:nvPr/>
        </p:nvSpPr>
        <p:spPr>
          <a:xfrm>
            <a:off x="600706" y="3768042"/>
            <a:ext cx="1901802" cy="412072"/>
          </a:xfrm>
          <a:prstGeom prst="rect">
            <a:avLst/>
          </a:prstGeom>
          <a:noFill/>
          <a:extLst>
            <a:ext uri="{909E8E84-426E-40DD-AFC4-6F175D3DCCD1}">
              <a14:hiddenFill xmlns:a14="http://schemas.microsoft.com/office/drawing/2010/main">
                <a:solidFill>
                  <a:schemeClr val="accent1"/>
                </a:solidFill>
              </a14:hiddenFill>
            </a:ext>
          </a:extLst>
        </p:spPr>
        <p:txBody>
          <a:bodyPr wrap="none" lIns="0" tIns="0" rIns="0" bIns="0" anchor="t" anchorCtr="0">
            <a:noAutofit/>
          </a:bodyPr>
          <a:lstStyle/>
          <a:p>
            <a:pPr lvl="0" algn="ctr" defTabSz="914400">
              <a:spcBef>
                <a:spcPct val="0"/>
              </a:spcBef>
              <a:defRPr/>
            </a:pPr>
            <a:r>
              <a:rPr lang="zh-CN" altLang="en-US" sz="2400" b="1" dirty="0">
                <a:solidFill>
                  <a:schemeClr val="bg1"/>
                </a:solidFill>
              </a:rPr>
              <a:t>输入标题文本</a:t>
            </a:r>
            <a:endParaRPr lang="zh-CN" altLang="en-US" sz="2400" b="1" dirty="0">
              <a:solidFill>
                <a:schemeClr val="bg1"/>
              </a:solidFill>
            </a:endParaRPr>
          </a:p>
        </p:txBody>
      </p:sp>
      <p:sp>
        <p:nvSpPr>
          <p:cNvPr id="19" name="任意多边形 24"/>
          <p:cNvSpPr/>
          <p:nvPr/>
        </p:nvSpPr>
        <p:spPr bwMode="auto">
          <a:xfrm>
            <a:off x="1053053" y="2782013"/>
            <a:ext cx="861755" cy="806711"/>
          </a:xfrm>
          <a:custGeom>
            <a:avLst/>
            <a:gdLst>
              <a:gd name="connsiteX0" fmla="*/ 241311 w 331352"/>
              <a:gd name="connsiteY0" fmla="*/ 265737 h 310187"/>
              <a:gd name="connsiteX1" fmla="*/ 227023 w 331352"/>
              <a:gd name="connsiteY1" fmla="*/ 280025 h 310187"/>
              <a:gd name="connsiteX2" fmla="*/ 241311 w 331352"/>
              <a:gd name="connsiteY2" fmla="*/ 294313 h 310187"/>
              <a:gd name="connsiteX3" fmla="*/ 255599 w 331352"/>
              <a:gd name="connsiteY3" fmla="*/ 280025 h 310187"/>
              <a:gd name="connsiteX4" fmla="*/ 241311 w 331352"/>
              <a:gd name="connsiteY4" fmla="*/ 265737 h 310187"/>
              <a:gd name="connsiteX5" fmla="*/ 125424 w 331352"/>
              <a:gd name="connsiteY5" fmla="*/ 265737 h 310187"/>
              <a:gd name="connsiteX6" fmla="*/ 111136 w 331352"/>
              <a:gd name="connsiteY6" fmla="*/ 280025 h 310187"/>
              <a:gd name="connsiteX7" fmla="*/ 125424 w 331352"/>
              <a:gd name="connsiteY7" fmla="*/ 294313 h 310187"/>
              <a:gd name="connsiteX8" fmla="*/ 139712 w 331352"/>
              <a:gd name="connsiteY8" fmla="*/ 280025 h 310187"/>
              <a:gd name="connsiteX9" fmla="*/ 125424 w 331352"/>
              <a:gd name="connsiteY9" fmla="*/ 265737 h 310187"/>
              <a:gd name="connsiteX10" fmla="*/ 242898 w 331352"/>
              <a:gd name="connsiteY10" fmla="*/ 168899 h 310187"/>
              <a:gd name="connsiteX11" fmla="*/ 242898 w 331352"/>
              <a:gd name="connsiteY11" fmla="*/ 192712 h 310187"/>
              <a:gd name="connsiteX12" fmla="*/ 268298 w 331352"/>
              <a:gd name="connsiteY12" fmla="*/ 192712 h 310187"/>
              <a:gd name="connsiteX13" fmla="*/ 276236 w 331352"/>
              <a:gd name="connsiteY13" fmla="*/ 168899 h 310187"/>
              <a:gd name="connsiteX14" fmla="*/ 173048 w 331352"/>
              <a:gd name="connsiteY14" fmla="*/ 168899 h 310187"/>
              <a:gd name="connsiteX15" fmla="*/ 173048 w 331352"/>
              <a:gd name="connsiteY15" fmla="*/ 192712 h 310187"/>
              <a:gd name="connsiteX16" fmla="*/ 222261 w 331352"/>
              <a:gd name="connsiteY16" fmla="*/ 192712 h 310187"/>
              <a:gd name="connsiteX17" fmla="*/ 222261 w 331352"/>
              <a:gd name="connsiteY17" fmla="*/ 168899 h 310187"/>
              <a:gd name="connsiteX18" fmla="*/ 120661 w 331352"/>
              <a:gd name="connsiteY18" fmla="*/ 168899 h 310187"/>
              <a:gd name="connsiteX19" fmla="*/ 128598 w 331352"/>
              <a:gd name="connsiteY19" fmla="*/ 192712 h 310187"/>
              <a:gd name="connsiteX20" fmla="*/ 152411 w 331352"/>
              <a:gd name="connsiteY20" fmla="*/ 192712 h 310187"/>
              <a:gd name="connsiteX21" fmla="*/ 152411 w 331352"/>
              <a:gd name="connsiteY21" fmla="*/ 168899 h 310187"/>
              <a:gd name="connsiteX22" fmla="*/ 242898 w 331352"/>
              <a:gd name="connsiteY22" fmla="*/ 119687 h 310187"/>
              <a:gd name="connsiteX23" fmla="*/ 242898 w 331352"/>
              <a:gd name="connsiteY23" fmla="*/ 148262 h 310187"/>
              <a:gd name="connsiteX24" fmla="*/ 282586 w 331352"/>
              <a:gd name="connsiteY24" fmla="*/ 148262 h 310187"/>
              <a:gd name="connsiteX25" fmla="*/ 290523 w 331352"/>
              <a:gd name="connsiteY25" fmla="*/ 119687 h 310187"/>
              <a:gd name="connsiteX26" fmla="*/ 173048 w 331352"/>
              <a:gd name="connsiteY26" fmla="*/ 119687 h 310187"/>
              <a:gd name="connsiteX27" fmla="*/ 173048 w 331352"/>
              <a:gd name="connsiteY27" fmla="*/ 148262 h 310187"/>
              <a:gd name="connsiteX28" fmla="*/ 222261 w 331352"/>
              <a:gd name="connsiteY28" fmla="*/ 148262 h 310187"/>
              <a:gd name="connsiteX29" fmla="*/ 222261 w 331352"/>
              <a:gd name="connsiteY29" fmla="*/ 119687 h 310187"/>
              <a:gd name="connsiteX30" fmla="*/ 103198 w 331352"/>
              <a:gd name="connsiteY30" fmla="*/ 119687 h 310187"/>
              <a:gd name="connsiteX31" fmla="*/ 112723 w 331352"/>
              <a:gd name="connsiteY31" fmla="*/ 148262 h 310187"/>
              <a:gd name="connsiteX32" fmla="*/ 152411 w 331352"/>
              <a:gd name="connsiteY32" fmla="*/ 148262 h 310187"/>
              <a:gd name="connsiteX33" fmla="*/ 152411 w 331352"/>
              <a:gd name="connsiteY33" fmla="*/ 119687 h 310187"/>
              <a:gd name="connsiteX34" fmla="*/ 242898 w 331352"/>
              <a:gd name="connsiteY34" fmla="*/ 75237 h 310187"/>
              <a:gd name="connsiteX35" fmla="*/ 242898 w 331352"/>
              <a:gd name="connsiteY35" fmla="*/ 99050 h 310187"/>
              <a:gd name="connsiteX36" fmla="*/ 296873 w 331352"/>
              <a:gd name="connsiteY36" fmla="*/ 99050 h 310187"/>
              <a:gd name="connsiteX37" fmla="*/ 304811 w 331352"/>
              <a:gd name="connsiteY37" fmla="*/ 75237 h 310187"/>
              <a:gd name="connsiteX38" fmla="*/ 173048 w 331352"/>
              <a:gd name="connsiteY38" fmla="*/ 75237 h 310187"/>
              <a:gd name="connsiteX39" fmla="*/ 173048 w 331352"/>
              <a:gd name="connsiteY39" fmla="*/ 99050 h 310187"/>
              <a:gd name="connsiteX40" fmla="*/ 222261 w 331352"/>
              <a:gd name="connsiteY40" fmla="*/ 99050 h 310187"/>
              <a:gd name="connsiteX41" fmla="*/ 222261 w 331352"/>
              <a:gd name="connsiteY41" fmla="*/ 75237 h 310187"/>
              <a:gd name="connsiteX42" fmla="*/ 87323 w 331352"/>
              <a:gd name="connsiteY42" fmla="*/ 75237 h 310187"/>
              <a:gd name="connsiteX43" fmla="*/ 95261 w 331352"/>
              <a:gd name="connsiteY43" fmla="*/ 99050 h 310187"/>
              <a:gd name="connsiteX44" fmla="*/ 152411 w 331352"/>
              <a:gd name="connsiteY44" fmla="*/ 99050 h 310187"/>
              <a:gd name="connsiteX45" fmla="*/ 152411 w 331352"/>
              <a:gd name="connsiteY45" fmla="*/ 75237 h 310187"/>
              <a:gd name="connsiteX46" fmla="*/ 13989 w 331352"/>
              <a:gd name="connsiteY46" fmla="*/ 328 h 310187"/>
              <a:gd name="connsiteX47" fmla="*/ 64579 w 331352"/>
              <a:gd name="connsiteY47" fmla="*/ 19694 h 310187"/>
              <a:gd name="connsiteX48" fmla="*/ 69768 w 331352"/>
              <a:gd name="connsiteY48" fmla="*/ 26149 h 310187"/>
              <a:gd name="connsiteX49" fmla="*/ 80145 w 331352"/>
              <a:gd name="connsiteY49" fmla="*/ 54553 h 310187"/>
              <a:gd name="connsiteX50" fmla="*/ 81442 w 331352"/>
              <a:gd name="connsiteY50" fmla="*/ 54553 h 310187"/>
              <a:gd name="connsiteX51" fmla="*/ 321421 w 331352"/>
              <a:gd name="connsiteY51" fmla="*/ 54553 h 310187"/>
              <a:gd name="connsiteX52" fmla="*/ 329204 w 331352"/>
              <a:gd name="connsiteY52" fmla="*/ 58426 h 310187"/>
              <a:gd name="connsiteX53" fmla="*/ 330501 w 331352"/>
              <a:gd name="connsiteY53" fmla="*/ 68755 h 310187"/>
              <a:gd name="connsiteX54" fmla="*/ 286397 w 331352"/>
              <a:gd name="connsiteY54" fmla="*/ 205610 h 310187"/>
              <a:gd name="connsiteX55" fmla="*/ 276019 w 331352"/>
              <a:gd name="connsiteY55" fmla="*/ 213356 h 310187"/>
              <a:gd name="connsiteX56" fmla="*/ 120358 w 331352"/>
              <a:gd name="connsiteY56" fmla="*/ 213356 h 310187"/>
              <a:gd name="connsiteX57" fmla="*/ 116466 w 331352"/>
              <a:gd name="connsiteY57" fmla="*/ 212065 h 310187"/>
              <a:gd name="connsiteX58" fmla="*/ 106089 w 331352"/>
              <a:gd name="connsiteY58" fmla="*/ 240469 h 310187"/>
              <a:gd name="connsiteX59" fmla="*/ 276019 w 331352"/>
              <a:gd name="connsiteY59" fmla="*/ 240469 h 310187"/>
              <a:gd name="connsiteX60" fmla="*/ 285100 w 331352"/>
              <a:gd name="connsiteY60" fmla="*/ 248215 h 310187"/>
              <a:gd name="connsiteX61" fmla="*/ 276019 w 331352"/>
              <a:gd name="connsiteY61" fmla="*/ 257253 h 310187"/>
              <a:gd name="connsiteX62" fmla="*/ 266939 w 331352"/>
              <a:gd name="connsiteY62" fmla="*/ 257253 h 310187"/>
              <a:gd name="connsiteX63" fmla="*/ 274722 w 331352"/>
              <a:gd name="connsiteY63" fmla="*/ 279201 h 310187"/>
              <a:gd name="connsiteX64" fmla="*/ 242293 w 331352"/>
              <a:gd name="connsiteY64" fmla="*/ 310187 h 310187"/>
              <a:gd name="connsiteX65" fmla="*/ 211160 w 331352"/>
              <a:gd name="connsiteY65" fmla="*/ 279201 h 310187"/>
              <a:gd name="connsiteX66" fmla="*/ 218943 w 331352"/>
              <a:gd name="connsiteY66" fmla="*/ 257253 h 310187"/>
              <a:gd name="connsiteX67" fmla="*/ 148896 w 331352"/>
              <a:gd name="connsiteY67" fmla="*/ 257253 h 310187"/>
              <a:gd name="connsiteX68" fmla="*/ 157976 w 331352"/>
              <a:gd name="connsiteY68" fmla="*/ 279201 h 310187"/>
              <a:gd name="connsiteX69" fmla="*/ 125547 w 331352"/>
              <a:gd name="connsiteY69" fmla="*/ 310187 h 310187"/>
              <a:gd name="connsiteX70" fmla="*/ 93117 w 331352"/>
              <a:gd name="connsiteY70" fmla="*/ 279201 h 310187"/>
              <a:gd name="connsiteX71" fmla="*/ 102197 w 331352"/>
              <a:gd name="connsiteY71" fmla="*/ 257253 h 310187"/>
              <a:gd name="connsiteX72" fmla="*/ 93117 w 331352"/>
              <a:gd name="connsiteY72" fmla="*/ 257253 h 310187"/>
              <a:gd name="connsiteX73" fmla="*/ 86631 w 331352"/>
              <a:gd name="connsiteY73" fmla="*/ 253380 h 310187"/>
              <a:gd name="connsiteX74" fmla="*/ 85334 w 331352"/>
              <a:gd name="connsiteY74" fmla="*/ 245633 h 310187"/>
              <a:gd name="connsiteX75" fmla="*/ 100900 w 331352"/>
              <a:gd name="connsiteY75" fmla="*/ 201737 h 310187"/>
              <a:gd name="connsiteX76" fmla="*/ 107386 w 331352"/>
              <a:gd name="connsiteY76" fmla="*/ 196572 h 310187"/>
              <a:gd name="connsiteX77" fmla="*/ 51607 w 331352"/>
              <a:gd name="connsiteY77" fmla="*/ 37769 h 310187"/>
              <a:gd name="connsiteX78" fmla="*/ 6206 w 331352"/>
              <a:gd name="connsiteY78" fmla="*/ 19694 h 310187"/>
              <a:gd name="connsiteX79" fmla="*/ 1017 w 331352"/>
              <a:gd name="connsiteY79" fmla="*/ 6783 h 310187"/>
              <a:gd name="connsiteX80" fmla="*/ 13989 w 331352"/>
              <a:gd name="connsiteY80" fmla="*/ 328 h 31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31352" h="310187">
                <a:moveTo>
                  <a:pt x="241311" y="265737"/>
                </a:moveTo>
                <a:cubicBezTo>
                  <a:pt x="233420" y="265737"/>
                  <a:pt x="227023" y="272134"/>
                  <a:pt x="227023" y="280025"/>
                </a:cubicBezTo>
                <a:cubicBezTo>
                  <a:pt x="227023" y="287916"/>
                  <a:pt x="233420" y="294313"/>
                  <a:pt x="241311" y="294313"/>
                </a:cubicBezTo>
                <a:cubicBezTo>
                  <a:pt x="249202" y="294313"/>
                  <a:pt x="255599" y="287916"/>
                  <a:pt x="255599" y="280025"/>
                </a:cubicBezTo>
                <a:cubicBezTo>
                  <a:pt x="255599" y="272134"/>
                  <a:pt x="249202" y="265737"/>
                  <a:pt x="241311" y="265737"/>
                </a:cubicBezTo>
                <a:close/>
                <a:moveTo>
                  <a:pt x="125424" y="265737"/>
                </a:moveTo>
                <a:cubicBezTo>
                  <a:pt x="117533" y="265737"/>
                  <a:pt x="111136" y="272134"/>
                  <a:pt x="111136" y="280025"/>
                </a:cubicBezTo>
                <a:cubicBezTo>
                  <a:pt x="111136" y="287916"/>
                  <a:pt x="117533" y="294313"/>
                  <a:pt x="125424" y="294313"/>
                </a:cubicBezTo>
                <a:cubicBezTo>
                  <a:pt x="133315" y="294313"/>
                  <a:pt x="139712" y="287916"/>
                  <a:pt x="139712" y="280025"/>
                </a:cubicBezTo>
                <a:cubicBezTo>
                  <a:pt x="139712" y="272134"/>
                  <a:pt x="133315" y="265737"/>
                  <a:pt x="125424" y="265737"/>
                </a:cubicBezTo>
                <a:close/>
                <a:moveTo>
                  <a:pt x="242898" y="168899"/>
                </a:moveTo>
                <a:lnTo>
                  <a:pt x="242898" y="192712"/>
                </a:lnTo>
                <a:lnTo>
                  <a:pt x="268298" y="192712"/>
                </a:lnTo>
                <a:lnTo>
                  <a:pt x="276236" y="168899"/>
                </a:lnTo>
                <a:close/>
                <a:moveTo>
                  <a:pt x="173048" y="168899"/>
                </a:moveTo>
                <a:lnTo>
                  <a:pt x="173048" y="192712"/>
                </a:lnTo>
                <a:lnTo>
                  <a:pt x="222261" y="192712"/>
                </a:lnTo>
                <a:lnTo>
                  <a:pt x="222261" y="168899"/>
                </a:lnTo>
                <a:close/>
                <a:moveTo>
                  <a:pt x="120661" y="168899"/>
                </a:moveTo>
                <a:lnTo>
                  <a:pt x="128598" y="192712"/>
                </a:lnTo>
                <a:lnTo>
                  <a:pt x="152411" y="192712"/>
                </a:lnTo>
                <a:lnTo>
                  <a:pt x="152411" y="168899"/>
                </a:lnTo>
                <a:close/>
                <a:moveTo>
                  <a:pt x="242898" y="119687"/>
                </a:moveTo>
                <a:lnTo>
                  <a:pt x="242898" y="148262"/>
                </a:lnTo>
                <a:lnTo>
                  <a:pt x="282586" y="148262"/>
                </a:lnTo>
                <a:lnTo>
                  <a:pt x="290523" y="119687"/>
                </a:lnTo>
                <a:close/>
                <a:moveTo>
                  <a:pt x="173048" y="119687"/>
                </a:moveTo>
                <a:lnTo>
                  <a:pt x="173048" y="148262"/>
                </a:lnTo>
                <a:lnTo>
                  <a:pt x="222261" y="148262"/>
                </a:lnTo>
                <a:lnTo>
                  <a:pt x="222261" y="119687"/>
                </a:lnTo>
                <a:close/>
                <a:moveTo>
                  <a:pt x="103198" y="119687"/>
                </a:moveTo>
                <a:lnTo>
                  <a:pt x="112723" y="148262"/>
                </a:lnTo>
                <a:lnTo>
                  <a:pt x="152411" y="148262"/>
                </a:lnTo>
                <a:lnTo>
                  <a:pt x="152411" y="119687"/>
                </a:lnTo>
                <a:close/>
                <a:moveTo>
                  <a:pt x="242898" y="75237"/>
                </a:moveTo>
                <a:lnTo>
                  <a:pt x="242898" y="99050"/>
                </a:lnTo>
                <a:lnTo>
                  <a:pt x="296873" y="99050"/>
                </a:lnTo>
                <a:lnTo>
                  <a:pt x="304811" y="75237"/>
                </a:lnTo>
                <a:close/>
                <a:moveTo>
                  <a:pt x="173048" y="75237"/>
                </a:moveTo>
                <a:lnTo>
                  <a:pt x="173048" y="99050"/>
                </a:lnTo>
                <a:lnTo>
                  <a:pt x="222261" y="99050"/>
                </a:lnTo>
                <a:lnTo>
                  <a:pt x="222261" y="75237"/>
                </a:lnTo>
                <a:close/>
                <a:moveTo>
                  <a:pt x="87323" y="75237"/>
                </a:moveTo>
                <a:lnTo>
                  <a:pt x="95261" y="99050"/>
                </a:lnTo>
                <a:lnTo>
                  <a:pt x="152411" y="99050"/>
                </a:lnTo>
                <a:lnTo>
                  <a:pt x="152411" y="75237"/>
                </a:lnTo>
                <a:close/>
                <a:moveTo>
                  <a:pt x="13989" y="328"/>
                </a:moveTo>
                <a:cubicBezTo>
                  <a:pt x="13989" y="328"/>
                  <a:pt x="13989" y="328"/>
                  <a:pt x="64579" y="19694"/>
                </a:cubicBezTo>
                <a:cubicBezTo>
                  <a:pt x="67173" y="20985"/>
                  <a:pt x="68471" y="23567"/>
                  <a:pt x="69768" y="26149"/>
                </a:cubicBezTo>
                <a:cubicBezTo>
                  <a:pt x="69768" y="26149"/>
                  <a:pt x="69768" y="26149"/>
                  <a:pt x="80145" y="54553"/>
                </a:cubicBezTo>
                <a:cubicBezTo>
                  <a:pt x="80145" y="54553"/>
                  <a:pt x="81442" y="54553"/>
                  <a:pt x="81442" y="54553"/>
                </a:cubicBezTo>
                <a:cubicBezTo>
                  <a:pt x="81442" y="54553"/>
                  <a:pt x="81442" y="54553"/>
                  <a:pt x="321421" y="54553"/>
                </a:cubicBezTo>
                <a:cubicBezTo>
                  <a:pt x="324015" y="54553"/>
                  <a:pt x="327907" y="55844"/>
                  <a:pt x="329204" y="58426"/>
                </a:cubicBezTo>
                <a:cubicBezTo>
                  <a:pt x="331798" y="62300"/>
                  <a:pt x="331798" y="64882"/>
                  <a:pt x="330501" y="68755"/>
                </a:cubicBezTo>
                <a:cubicBezTo>
                  <a:pt x="330501" y="68755"/>
                  <a:pt x="330501" y="68755"/>
                  <a:pt x="286397" y="205610"/>
                </a:cubicBezTo>
                <a:cubicBezTo>
                  <a:pt x="285100" y="210774"/>
                  <a:pt x="281208" y="213356"/>
                  <a:pt x="276019" y="213356"/>
                </a:cubicBezTo>
                <a:cubicBezTo>
                  <a:pt x="276019" y="213356"/>
                  <a:pt x="276019" y="213356"/>
                  <a:pt x="120358" y="213356"/>
                </a:cubicBezTo>
                <a:cubicBezTo>
                  <a:pt x="119061" y="213356"/>
                  <a:pt x="117763" y="213356"/>
                  <a:pt x="116466" y="212065"/>
                </a:cubicBezTo>
                <a:cubicBezTo>
                  <a:pt x="116466" y="212065"/>
                  <a:pt x="116466" y="212065"/>
                  <a:pt x="106089" y="240469"/>
                </a:cubicBezTo>
                <a:cubicBezTo>
                  <a:pt x="106089" y="240469"/>
                  <a:pt x="106089" y="240469"/>
                  <a:pt x="276019" y="240469"/>
                </a:cubicBezTo>
                <a:cubicBezTo>
                  <a:pt x="281208" y="240469"/>
                  <a:pt x="285100" y="244342"/>
                  <a:pt x="285100" y="248215"/>
                </a:cubicBezTo>
                <a:cubicBezTo>
                  <a:pt x="285100" y="253380"/>
                  <a:pt x="281208" y="257253"/>
                  <a:pt x="276019" y="257253"/>
                </a:cubicBezTo>
                <a:cubicBezTo>
                  <a:pt x="276019" y="257253"/>
                  <a:pt x="276019" y="257253"/>
                  <a:pt x="266939" y="257253"/>
                </a:cubicBezTo>
                <a:cubicBezTo>
                  <a:pt x="272128" y="263708"/>
                  <a:pt x="274722" y="270164"/>
                  <a:pt x="274722" y="279201"/>
                </a:cubicBezTo>
                <a:cubicBezTo>
                  <a:pt x="274722" y="295985"/>
                  <a:pt x="260453" y="310187"/>
                  <a:pt x="242293" y="310187"/>
                </a:cubicBezTo>
                <a:cubicBezTo>
                  <a:pt x="225429" y="310187"/>
                  <a:pt x="211160" y="295985"/>
                  <a:pt x="211160" y="279201"/>
                </a:cubicBezTo>
                <a:cubicBezTo>
                  <a:pt x="211160" y="270164"/>
                  <a:pt x="213755" y="263708"/>
                  <a:pt x="218943" y="257253"/>
                </a:cubicBezTo>
                <a:cubicBezTo>
                  <a:pt x="218943" y="257253"/>
                  <a:pt x="218943" y="257253"/>
                  <a:pt x="148896" y="257253"/>
                </a:cubicBezTo>
                <a:cubicBezTo>
                  <a:pt x="154084" y="263708"/>
                  <a:pt x="157976" y="270164"/>
                  <a:pt x="157976" y="279201"/>
                </a:cubicBezTo>
                <a:cubicBezTo>
                  <a:pt x="157976" y="295985"/>
                  <a:pt x="143707" y="310187"/>
                  <a:pt x="125547" y="310187"/>
                </a:cubicBezTo>
                <a:cubicBezTo>
                  <a:pt x="108683" y="310187"/>
                  <a:pt x="93117" y="295985"/>
                  <a:pt x="93117" y="279201"/>
                </a:cubicBezTo>
                <a:cubicBezTo>
                  <a:pt x="93117" y="270164"/>
                  <a:pt x="97009" y="263708"/>
                  <a:pt x="102197" y="257253"/>
                </a:cubicBezTo>
                <a:cubicBezTo>
                  <a:pt x="102197" y="257253"/>
                  <a:pt x="102197" y="257253"/>
                  <a:pt x="93117" y="257253"/>
                </a:cubicBezTo>
                <a:cubicBezTo>
                  <a:pt x="90523" y="257253"/>
                  <a:pt x="87928" y="255962"/>
                  <a:pt x="86631" y="253380"/>
                </a:cubicBezTo>
                <a:cubicBezTo>
                  <a:pt x="85334" y="252089"/>
                  <a:pt x="84037" y="248215"/>
                  <a:pt x="85334" y="245633"/>
                </a:cubicBezTo>
                <a:cubicBezTo>
                  <a:pt x="85334" y="245633"/>
                  <a:pt x="85334" y="245633"/>
                  <a:pt x="100900" y="201737"/>
                </a:cubicBezTo>
                <a:cubicBezTo>
                  <a:pt x="102197" y="199154"/>
                  <a:pt x="104792" y="196572"/>
                  <a:pt x="107386" y="196572"/>
                </a:cubicBezTo>
                <a:cubicBezTo>
                  <a:pt x="107386" y="196572"/>
                  <a:pt x="107386" y="196572"/>
                  <a:pt x="51607" y="37769"/>
                </a:cubicBezTo>
                <a:cubicBezTo>
                  <a:pt x="51607" y="37769"/>
                  <a:pt x="51607" y="37769"/>
                  <a:pt x="6206" y="19694"/>
                </a:cubicBezTo>
                <a:cubicBezTo>
                  <a:pt x="1017" y="18403"/>
                  <a:pt x="-1577" y="11948"/>
                  <a:pt x="1017" y="6783"/>
                </a:cubicBezTo>
                <a:cubicBezTo>
                  <a:pt x="2315" y="1619"/>
                  <a:pt x="8800" y="-963"/>
                  <a:pt x="13989" y="328"/>
                </a:cubicBezTo>
                <a:close/>
              </a:path>
            </a:pathLst>
          </a:custGeom>
          <a:solidFill>
            <a:schemeClr val="bg1"/>
          </a:solidFill>
          <a:ln w="9525">
            <a:noFill/>
            <a:round/>
          </a:ln>
        </p:spPr>
        <p:txBody>
          <a:bodyPr anchor="ctr"/>
          <a:lstStyle/>
          <a:p>
            <a:pPr algn="ctr"/>
          </a:p>
        </p:txBody>
      </p:sp>
      <p:sp>
        <p:nvSpPr>
          <p:cNvPr id="20" name="弧形 19"/>
          <p:cNvSpPr/>
          <p:nvPr/>
        </p:nvSpPr>
        <p:spPr>
          <a:xfrm>
            <a:off x="-57122" y="1812473"/>
            <a:ext cx="3217464" cy="3217464"/>
          </a:xfrm>
          <a:prstGeom prst="arc">
            <a:avLst>
              <a:gd name="adj1" fmla="val 16200000"/>
              <a:gd name="adj2" fmla="val 5380469"/>
            </a:avLst>
          </a:prstGeom>
          <a:noFill/>
          <a:ln w="57150">
            <a:gradFill>
              <a:gsLst>
                <a:gs pos="0">
                  <a:srgbClr val="FE5817"/>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anchor="ctr"/>
          <a:lstStyle/>
          <a:p>
            <a:pPr algn="ctr"/>
          </a:p>
        </p:txBody>
      </p:sp>
      <p:sp>
        <p:nvSpPr>
          <p:cNvPr id="21" name="椭圆 20"/>
          <p:cNvSpPr/>
          <p:nvPr/>
        </p:nvSpPr>
        <p:spPr>
          <a:xfrm>
            <a:off x="2065862" y="1827286"/>
            <a:ext cx="213731" cy="213731"/>
          </a:xfrm>
          <a:prstGeom prst="ellipse">
            <a:avLst/>
          </a:prstGeom>
          <a:solidFill>
            <a:schemeClr val="bg1"/>
          </a:solidFill>
          <a:ln>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a:p>
        </p:txBody>
      </p:sp>
      <p:sp>
        <p:nvSpPr>
          <p:cNvPr id="22" name="椭圆 21"/>
          <p:cNvSpPr/>
          <p:nvPr/>
        </p:nvSpPr>
        <p:spPr>
          <a:xfrm>
            <a:off x="3087957" y="3313847"/>
            <a:ext cx="213731" cy="213731"/>
          </a:xfrm>
          <a:prstGeom prst="ellipse">
            <a:avLst/>
          </a:prstGeom>
          <a:solidFill>
            <a:schemeClr val="bg1"/>
          </a:solidFill>
          <a:ln>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a:p>
        </p:txBody>
      </p:sp>
      <p:sp>
        <p:nvSpPr>
          <p:cNvPr id="23" name="椭圆 22"/>
          <p:cNvSpPr/>
          <p:nvPr/>
        </p:nvSpPr>
        <p:spPr>
          <a:xfrm>
            <a:off x="2065862" y="4789523"/>
            <a:ext cx="213731" cy="213731"/>
          </a:xfrm>
          <a:prstGeom prst="ellipse">
            <a:avLst/>
          </a:prstGeom>
          <a:solidFill>
            <a:schemeClr val="bg1"/>
          </a:solidFill>
          <a:ln>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a:p>
        </p:txBody>
      </p:sp>
      <p:sp>
        <p:nvSpPr>
          <p:cNvPr id="24" name="椭圆 23"/>
          <p:cNvSpPr/>
          <p:nvPr/>
        </p:nvSpPr>
        <p:spPr>
          <a:xfrm>
            <a:off x="1444742" y="1719943"/>
            <a:ext cx="213731" cy="213731"/>
          </a:xfrm>
          <a:prstGeom prst="ellipse">
            <a:avLst/>
          </a:prstGeom>
          <a:solidFill>
            <a:srgbClr val="FE5817"/>
          </a:solidFill>
          <a:ln>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a:p>
        </p:txBody>
      </p:sp>
      <p:sp>
        <p:nvSpPr>
          <p:cNvPr id="25" name="椭圆 24"/>
          <p:cNvSpPr/>
          <p:nvPr/>
        </p:nvSpPr>
        <p:spPr>
          <a:xfrm>
            <a:off x="1444742" y="4928747"/>
            <a:ext cx="213731" cy="213731"/>
          </a:xfrm>
          <a:prstGeom prst="ellipse">
            <a:avLst/>
          </a:prstGeom>
          <a:solidFill>
            <a:schemeClr val="accent1">
              <a:lumMod val="40000"/>
              <a:lumOff val="60000"/>
            </a:schemeClr>
          </a:solidFill>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p>
        </p:txBody>
      </p:sp>
      <p:sp>
        <p:nvSpPr>
          <p:cNvPr id="26" name="išľíďè"/>
          <p:cNvSpPr/>
          <p:nvPr/>
        </p:nvSpPr>
        <p:spPr bwMode="auto">
          <a:xfrm>
            <a:off x="4800111" y="1812566"/>
            <a:ext cx="4997031" cy="593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lvl="0" defTabSz="913765">
              <a:lnSpc>
                <a:spcPct val="120000"/>
              </a:lnSpc>
              <a:spcBef>
                <a:spcPct val="0"/>
              </a:spcBef>
              <a:defRPr/>
            </a:pPr>
            <a:r>
              <a:rPr lang="zh-CN" altLang="en-US" sz="1600" dirty="0">
                <a:solidFill>
                  <a:schemeClr val="bg2">
                    <a:lumMod val="10000"/>
                  </a:schemeClr>
                </a:solidFill>
              </a:rPr>
              <a:t>输入替换内容输入替换内容输入替换内容输入替换内容输入替换内容</a:t>
            </a:r>
            <a:endParaRPr lang="zh-CN" altLang="en-US" sz="1600" dirty="0">
              <a:solidFill>
                <a:schemeClr val="bg2">
                  <a:lumMod val="10000"/>
                </a:schemeClr>
              </a:solidFill>
            </a:endParaRPr>
          </a:p>
        </p:txBody>
      </p:sp>
      <p:sp>
        <p:nvSpPr>
          <p:cNvPr id="27" name="iSlíďè"/>
          <p:cNvSpPr txBox="1"/>
          <p:nvPr/>
        </p:nvSpPr>
        <p:spPr bwMode="auto">
          <a:xfrm>
            <a:off x="4822161" y="1449465"/>
            <a:ext cx="2339476" cy="374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fontScale="92500" lnSpcReduction="20000"/>
          </a:bodyPr>
          <a:lstStyle/>
          <a:p>
            <a:pPr marL="0" marR="0" lvl="0" indent="0" algn="l" defTabSz="913765" rtl="0" eaLnBrk="1" fontAlgn="auto" latinLnBrk="0" hangingPunct="1">
              <a:spcBef>
                <a:spcPct val="0"/>
              </a:spcBef>
              <a:spcAft>
                <a:spcPts val="0"/>
              </a:spcAft>
              <a:buClrTx/>
              <a:buSzTx/>
              <a:buFontTx/>
              <a:buNone/>
              <a:defRPr/>
            </a:pPr>
            <a:r>
              <a:rPr kumimoji="0" lang="zh-CN" altLang="en-US" sz="2400" b="1" i="0" u="none" strike="noStrike" kern="1200" cap="none" spc="0" normalizeH="0" noProof="0" dirty="0">
                <a:ln>
                  <a:noFill/>
                </a:ln>
                <a:solidFill>
                  <a:schemeClr val="bg2">
                    <a:lumMod val="10000"/>
                  </a:schemeClr>
                </a:solidFill>
                <a:effectLst/>
                <a:uLnTx/>
                <a:uFillTx/>
              </a:rPr>
              <a:t>标题文本预设</a:t>
            </a:r>
            <a:endParaRPr kumimoji="0" lang="zh-CN" altLang="en-US" sz="2400" b="1" i="0" u="none" strike="noStrike" kern="1200" cap="none" spc="0" normalizeH="0" noProof="0" dirty="0">
              <a:ln>
                <a:noFill/>
              </a:ln>
              <a:solidFill>
                <a:schemeClr val="bg2">
                  <a:lumMod val="10000"/>
                </a:schemeClr>
              </a:solidFill>
              <a:effectLst/>
              <a:uLnTx/>
              <a:uFillTx/>
            </a:endParaRPr>
          </a:p>
        </p:txBody>
      </p:sp>
      <p:sp>
        <p:nvSpPr>
          <p:cNvPr id="28" name="išľíďè"/>
          <p:cNvSpPr/>
          <p:nvPr/>
        </p:nvSpPr>
        <p:spPr bwMode="auto">
          <a:xfrm>
            <a:off x="6415297" y="3310980"/>
            <a:ext cx="5199759" cy="593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lvl="0" defTabSz="913765">
              <a:lnSpc>
                <a:spcPct val="120000"/>
              </a:lnSpc>
              <a:spcBef>
                <a:spcPct val="0"/>
              </a:spcBef>
              <a:defRPr/>
            </a:pPr>
            <a:r>
              <a:rPr kumimoji="0" lang="zh-CN" altLang="en-US" sz="1600" b="0" i="0" u="none" strike="noStrike" kern="1200" cap="none" spc="0" normalizeH="0" noProof="0" dirty="0">
                <a:ln>
                  <a:noFill/>
                </a:ln>
                <a:solidFill>
                  <a:schemeClr val="bg2">
                    <a:lumMod val="10000"/>
                  </a:schemeClr>
                </a:solidFill>
                <a:effectLst/>
                <a:uLnTx/>
                <a:uFillTx/>
              </a:rPr>
              <a:t>输入替换</a:t>
            </a:r>
            <a:r>
              <a:rPr lang="zh-CN" altLang="en-US" sz="1600" dirty="0" smtClean="0">
                <a:solidFill>
                  <a:schemeClr val="bg2">
                    <a:lumMod val="10000"/>
                  </a:schemeClr>
                </a:solidFill>
              </a:rPr>
              <a:t>内容</a:t>
            </a:r>
            <a:r>
              <a:rPr lang="zh-CN" altLang="en-US" sz="1600" dirty="0">
                <a:solidFill>
                  <a:schemeClr val="bg2">
                    <a:lumMod val="10000"/>
                  </a:schemeClr>
                </a:solidFill>
              </a:rPr>
              <a:t>输入替换</a:t>
            </a:r>
            <a:r>
              <a:rPr lang="zh-CN" altLang="en-US" sz="1600" dirty="0" smtClean="0">
                <a:solidFill>
                  <a:schemeClr val="bg2">
                    <a:lumMod val="10000"/>
                  </a:schemeClr>
                </a:solidFill>
              </a:rPr>
              <a:t>内容</a:t>
            </a:r>
            <a:r>
              <a:rPr lang="zh-CN" altLang="en-US" sz="1600" dirty="0">
                <a:solidFill>
                  <a:schemeClr val="bg2">
                    <a:lumMod val="10000"/>
                  </a:schemeClr>
                </a:solidFill>
              </a:rPr>
              <a:t>输入替换</a:t>
            </a:r>
            <a:r>
              <a:rPr lang="zh-CN" altLang="en-US" sz="1600" dirty="0" smtClean="0">
                <a:solidFill>
                  <a:schemeClr val="bg2">
                    <a:lumMod val="10000"/>
                  </a:schemeClr>
                </a:solidFill>
              </a:rPr>
              <a:t>内容</a:t>
            </a:r>
            <a:r>
              <a:rPr lang="zh-CN" altLang="en-US" sz="1600" dirty="0">
                <a:solidFill>
                  <a:schemeClr val="bg2">
                    <a:lumMod val="10000"/>
                  </a:schemeClr>
                </a:solidFill>
              </a:rPr>
              <a:t>输入替换</a:t>
            </a:r>
            <a:r>
              <a:rPr lang="zh-CN" altLang="en-US" sz="1600" dirty="0" smtClean="0">
                <a:solidFill>
                  <a:schemeClr val="bg2">
                    <a:lumMod val="10000"/>
                  </a:schemeClr>
                </a:solidFill>
              </a:rPr>
              <a:t>内容</a:t>
            </a:r>
            <a:r>
              <a:rPr lang="zh-CN" altLang="en-US" sz="1600" dirty="0">
                <a:solidFill>
                  <a:schemeClr val="bg2">
                    <a:lumMod val="10000"/>
                  </a:schemeClr>
                </a:solidFill>
              </a:rPr>
              <a:t>输入替换</a:t>
            </a:r>
            <a:r>
              <a:rPr lang="zh-CN" altLang="en-US" sz="1600" dirty="0" smtClean="0">
                <a:solidFill>
                  <a:schemeClr val="bg2">
                    <a:lumMod val="10000"/>
                  </a:schemeClr>
                </a:solidFill>
              </a:rPr>
              <a:t>内容</a:t>
            </a:r>
            <a:endParaRPr kumimoji="0" lang="zh-CN" altLang="en-US" sz="1600" b="0" i="0" u="none" strike="noStrike" kern="1200" cap="none" spc="0" normalizeH="0" noProof="0" dirty="0">
              <a:ln>
                <a:noFill/>
              </a:ln>
              <a:solidFill>
                <a:schemeClr val="bg2">
                  <a:lumMod val="10000"/>
                </a:schemeClr>
              </a:solidFill>
              <a:effectLst/>
              <a:uLnTx/>
              <a:uFillTx/>
            </a:endParaRPr>
          </a:p>
        </p:txBody>
      </p:sp>
      <p:sp>
        <p:nvSpPr>
          <p:cNvPr id="29" name="iSlíďè"/>
          <p:cNvSpPr txBox="1"/>
          <p:nvPr/>
        </p:nvSpPr>
        <p:spPr bwMode="auto">
          <a:xfrm>
            <a:off x="6437346" y="2947880"/>
            <a:ext cx="2339476" cy="374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fontScale="92500" lnSpcReduction="20000"/>
          </a:bodyPr>
          <a:lstStyle/>
          <a:p>
            <a:pPr marL="0" marR="0" lvl="0" indent="0" algn="l" defTabSz="913765" rtl="0" eaLnBrk="1" fontAlgn="auto" latinLnBrk="0" hangingPunct="1">
              <a:spcBef>
                <a:spcPct val="0"/>
              </a:spcBef>
              <a:spcAft>
                <a:spcPts val="0"/>
              </a:spcAft>
              <a:buClrTx/>
              <a:buSzTx/>
              <a:buFontTx/>
              <a:buNone/>
              <a:defRPr/>
            </a:pPr>
            <a:r>
              <a:rPr kumimoji="0" lang="zh-CN" altLang="en-US" sz="2400" b="1" i="0" u="none" strike="noStrike" kern="1200" cap="none" spc="0" normalizeH="0" noProof="0" dirty="0">
                <a:ln>
                  <a:noFill/>
                </a:ln>
                <a:solidFill>
                  <a:schemeClr val="bg2">
                    <a:lumMod val="10000"/>
                  </a:schemeClr>
                </a:solidFill>
                <a:effectLst/>
                <a:uLnTx/>
                <a:uFillTx/>
              </a:rPr>
              <a:t>标题文本预设</a:t>
            </a:r>
            <a:endParaRPr kumimoji="0" lang="zh-CN" altLang="en-US" sz="2400" b="1" i="0" u="none" strike="noStrike" kern="1200" cap="none" spc="0" normalizeH="0" noProof="0" dirty="0">
              <a:ln>
                <a:noFill/>
              </a:ln>
              <a:solidFill>
                <a:schemeClr val="bg2">
                  <a:lumMod val="10000"/>
                </a:schemeClr>
              </a:solidFill>
              <a:effectLst/>
              <a:uLnTx/>
              <a:uFillTx/>
            </a:endParaRPr>
          </a:p>
        </p:txBody>
      </p:sp>
      <p:sp>
        <p:nvSpPr>
          <p:cNvPr id="30" name="išľíďè"/>
          <p:cNvSpPr/>
          <p:nvPr/>
        </p:nvSpPr>
        <p:spPr bwMode="auto">
          <a:xfrm>
            <a:off x="4974111" y="4847469"/>
            <a:ext cx="5421745" cy="593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lvl="0" defTabSz="913765">
              <a:lnSpc>
                <a:spcPct val="120000"/>
              </a:lnSpc>
              <a:spcBef>
                <a:spcPct val="0"/>
              </a:spcBef>
              <a:defRPr/>
            </a:pPr>
            <a:r>
              <a:rPr lang="zh-CN" altLang="en-US" sz="1600" dirty="0">
                <a:solidFill>
                  <a:schemeClr val="bg2">
                    <a:lumMod val="10000"/>
                  </a:schemeClr>
                </a:solidFill>
              </a:rPr>
              <a:t>输入替换内容输入替换内容输入替换内容输入替换内容输入替换内容</a:t>
            </a:r>
            <a:endParaRPr lang="zh-CN" altLang="en-US" sz="1600" dirty="0">
              <a:solidFill>
                <a:schemeClr val="bg2">
                  <a:lumMod val="10000"/>
                </a:schemeClr>
              </a:solidFill>
            </a:endParaRPr>
          </a:p>
        </p:txBody>
      </p:sp>
      <p:sp>
        <p:nvSpPr>
          <p:cNvPr id="31" name="iSlíďè"/>
          <p:cNvSpPr txBox="1"/>
          <p:nvPr/>
        </p:nvSpPr>
        <p:spPr bwMode="auto">
          <a:xfrm>
            <a:off x="4996161" y="4484369"/>
            <a:ext cx="2339476" cy="374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fontScale="92500" lnSpcReduction="20000"/>
          </a:bodyPr>
          <a:lstStyle/>
          <a:p>
            <a:pPr marL="0" marR="0" lvl="0" indent="0" algn="l" defTabSz="913765" rtl="0" eaLnBrk="1" fontAlgn="auto" latinLnBrk="0" hangingPunct="1">
              <a:spcBef>
                <a:spcPct val="0"/>
              </a:spcBef>
              <a:spcAft>
                <a:spcPts val="0"/>
              </a:spcAft>
              <a:buClrTx/>
              <a:buSzTx/>
              <a:buFontTx/>
              <a:buNone/>
              <a:defRPr/>
            </a:pPr>
            <a:r>
              <a:rPr kumimoji="0" lang="zh-CN" altLang="en-US" sz="2400" b="1" i="0" u="none" strike="noStrike" kern="1200" cap="none" spc="0" normalizeH="0" noProof="0" dirty="0">
                <a:ln>
                  <a:noFill/>
                </a:ln>
                <a:solidFill>
                  <a:schemeClr val="bg2">
                    <a:lumMod val="10000"/>
                  </a:schemeClr>
                </a:solidFill>
                <a:effectLst/>
                <a:uLnTx/>
                <a:uFillTx/>
              </a:rPr>
              <a:t>标题文本预设</a:t>
            </a:r>
            <a:endParaRPr kumimoji="0" lang="zh-CN" altLang="en-US" sz="2400" b="1" i="0" u="none" strike="noStrike" kern="1200" cap="none" spc="0" normalizeH="0" noProof="0" dirty="0">
              <a:ln>
                <a:noFill/>
              </a:ln>
              <a:solidFill>
                <a:schemeClr val="bg2">
                  <a:lumMod val="10000"/>
                </a:schemeClr>
              </a:solidFill>
              <a:effectLst/>
              <a:uLnTx/>
              <a:uFillTx/>
            </a:endParaRPr>
          </a:p>
        </p:txBody>
      </p:sp>
      <p:sp>
        <p:nvSpPr>
          <p:cNvPr id="36"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32" name="图片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6" name="对象 985" hidden="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328" name="think-cell Slide" r:id="rId2" imgW="12700" imgH="12700" progId="TCLayout.ActiveDocument.1">
                  <p:embed/>
                </p:oleObj>
              </mc:Choice>
              <mc:Fallback>
                <p:oleObj name="think-cell Slide" r:id="rId2" imgW="12700" imgH="12700" progId="TCLayout.ActiveDocument.1">
                  <p:embed/>
                  <p:pic>
                    <p:nvPicPr>
                      <p:cNvPr id="0" name="对象 985" hidden="1"/>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660" name="ïşḻíḓè"/>
          <p:cNvGrpSpPr>
            <a:grpSpLocks noChangeAspect="1"/>
          </p:cNvGrpSpPr>
          <p:nvPr/>
        </p:nvGrpSpPr>
        <p:grpSpPr bwMode="auto">
          <a:xfrm>
            <a:off x="377681" y="921712"/>
            <a:ext cx="4828064" cy="4626438"/>
            <a:chOff x="3344" y="1687"/>
            <a:chExt cx="983" cy="942"/>
          </a:xfrm>
          <a:solidFill>
            <a:srgbClr val="FFFFFF">
              <a:lumMod val="85000"/>
            </a:srgbClr>
          </a:solidFill>
        </p:grpSpPr>
        <p:sp>
          <p:nvSpPr>
            <p:cNvPr id="661" name="íṡliḍè"/>
            <p:cNvSpPr/>
            <p:nvPr/>
          </p:nvSpPr>
          <p:spPr bwMode="auto">
            <a:xfrm>
              <a:off x="4105" y="1856"/>
              <a:ext cx="31" cy="40"/>
            </a:xfrm>
            <a:custGeom>
              <a:avLst/>
              <a:gdLst>
                <a:gd name="T0" fmla="*/ 5 w 13"/>
                <a:gd name="T1" fmla="*/ 16 h 17"/>
                <a:gd name="T2" fmla="*/ 6 w 13"/>
                <a:gd name="T3" fmla="*/ 15 h 17"/>
                <a:gd name="T4" fmla="*/ 6 w 13"/>
                <a:gd name="T5" fmla="*/ 16 h 17"/>
                <a:gd name="T6" fmla="*/ 4 w 13"/>
                <a:gd name="T7" fmla="*/ 16 h 17"/>
                <a:gd name="T8" fmla="*/ 4 w 13"/>
                <a:gd name="T9" fmla="*/ 15 h 17"/>
                <a:gd name="T10" fmla="*/ 4 w 13"/>
                <a:gd name="T11" fmla="*/ 14 h 17"/>
                <a:gd name="T12" fmla="*/ 4 w 13"/>
                <a:gd name="T13" fmla="*/ 16 h 17"/>
                <a:gd name="T14" fmla="*/ 7 w 13"/>
                <a:gd name="T15" fmla="*/ 15 h 17"/>
                <a:gd name="T16" fmla="*/ 8 w 13"/>
                <a:gd name="T17" fmla="*/ 14 h 17"/>
                <a:gd name="T18" fmla="*/ 8 w 13"/>
                <a:gd name="T19" fmla="*/ 16 h 17"/>
                <a:gd name="T20" fmla="*/ 8 w 13"/>
                <a:gd name="T21" fmla="*/ 16 h 17"/>
                <a:gd name="T22" fmla="*/ 3 w 13"/>
                <a:gd name="T23" fmla="*/ 15 h 17"/>
                <a:gd name="T24" fmla="*/ 3 w 13"/>
                <a:gd name="T25" fmla="*/ 13 h 17"/>
                <a:gd name="T26" fmla="*/ 3 w 13"/>
                <a:gd name="T27" fmla="*/ 15 h 17"/>
                <a:gd name="T28" fmla="*/ 9 w 13"/>
                <a:gd name="T29" fmla="*/ 14 h 17"/>
                <a:gd name="T30" fmla="*/ 9 w 13"/>
                <a:gd name="T31" fmla="*/ 14 h 17"/>
                <a:gd name="T32" fmla="*/ 9 w 13"/>
                <a:gd name="T33" fmla="*/ 15 h 17"/>
                <a:gd name="T34" fmla="*/ 2 w 13"/>
                <a:gd name="T35" fmla="*/ 13 h 17"/>
                <a:gd name="T36" fmla="*/ 2 w 13"/>
                <a:gd name="T37" fmla="*/ 13 h 17"/>
                <a:gd name="T38" fmla="*/ 11 w 13"/>
                <a:gd name="T39" fmla="*/ 13 h 17"/>
                <a:gd name="T40" fmla="*/ 11 w 13"/>
                <a:gd name="T41" fmla="*/ 12 h 17"/>
                <a:gd name="T42" fmla="*/ 11 w 13"/>
                <a:gd name="T43" fmla="*/ 12 h 17"/>
                <a:gd name="T44" fmla="*/ 2 w 13"/>
                <a:gd name="T45" fmla="*/ 12 h 17"/>
                <a:gd name="T46" fmla="*/ 2 w 13"/>
                <a:gd name="T47" fmla="*/ 12 h 17"/>
                <a:gd name="T48" fmla="*/ 6 w 13"/>
                <a:gd name="T49" fmla="*/ 14 h 17"/>
                <a:gd name="T50" fmla="*/ 2 w 13"/>
                <a:gd name="T51" fmla="*/ 6 h 17"/>
                <a:gd name="T52" fmla="*/ 7 w 13"/>
                <a:gd name="T53" fmla="*/ 1 h 17"/>
                <a:gd name="T54" fmla="*/ 11 w 13"/>
                <a:gd name="T55" fmla="*/ 3 h 17"/>
                <a:gd name="T56" fmla="*/ 8 w 13"/>
                <a:gd name="T57" fmla="*/ 13 h 17"/>
                <a:gd name="T58" fmla="*/ 7 w 13"/>
                <a:gd name="T59" fmla="*/ 0 h 17"/>
                <a:gd name="T60" fmla="*/ 1 w 13"/>
                <a:gd name="T61" fmla="*/ 6 h 17"/>
                <a:gd name="T62" fmla="*/ 1 w 13"/>
                <a:gd name="T63" fmla="*/ 9 h 17"/>
                <a:gd name="T64" fmla="*/ 1 w 13"/>
                <a:gd name="T65" fmla="*/ 14 h 17"/>
                <a:gd name="T66" fmla="*/ 6 w 13"/>
                <a:gd name="T67" fmla="*/ 17 h 17"/>
                <a:gd name="T68" fmla="*/ 6 w 13"/>
                <a:gd name="T69" fmla="*/ 17 h 17"/>
                <a:gd name="T70" fmla="*/ 6 w 13"/>
                <a:gd name="T71" fmla="*/ 17 h 17"/>
                <a:gd name="T72" fmla="*/ 12 w 13"/>
                <a:gd name="T73" fmla="*/ 13 h 17"/>
                <a:gd name="T74" fmla="*/ 12 w 13"/>
                <a:gd name="T75" fmla="*/ 6 h 17"/>
                <a:gd name="T76" fmla="*/ 11 w 13"/>
                <a:gd name="T7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 h="17">
                  <a:moveTo>
                    <a:pt x="6" y="16"/>
                  </a:moveTo>
                  <a:cubicBezTo>
                    <a:pt x="5" y="16"/>
                    <a:pt x="5" y="16"/>
                    <a:pt x="5" y="16"/>
                  </a:cubicBezTo>
                  <a:cubicBezTo>
                    <a:pt x="5" y="15"/>
                    <a:pt x="5" y="15"/>
                    <a:pt x="6" y="14"/>
                  </a:cubicBezTo>
                  <a:cubicBezTo>
                    <a:pt x="6" y="15"/>
                    <a:pt x="6" y="15"/>
                    <a:pt x="6" y="15"/>
                  </a:cubicBezTo>
                  <a:cubicBezTo>
                    <a:pt x="7" y="15"/>
                    <a:pt x="7" y="15"/>
                    <a:pt x="7" y="15"/>
                  </a:cubicBezTo>
                  <a:cubicBezTo>
                    <a:pt x="6" y="16"/>
                    <a:pt x="6" y="16"/>
                    <a:pt x="6" y="16"/>
                  </a:cubicBezTo>
                  <a:cubicBezTo>
                    <a:pt x="6" y="16"/>
                    <a:pt x="6" y="16"/>
                    <a:pt x="6" y="16"/>
                  </a:cubicBezTo>
                  <a:moveTo>
                    <a:pt x="4" y="16"/>
                  </a:moveTo>
                  <a:cubicBezTo>
                    <a:pt x="4" y="15"/>
                    <a:pt x="4" y="15"/>
                    <a:pt x="4" y="15"/>
                  </a:cubicBezTo>
                  <a:cubicBezTo>
                    <a:pt x="4" y="15"/>
                    <a:pt x="4" y="15"/>
                    <a:pt x="4" y="15"/>
                  </a:cubicBezTo>
                  <a:cubicBezTo>
                    <a:pt x="4" y="15"/>
                    <a:pt x="4" y="15"/>
                    <a:pt x="4" y="15"/>
                  </a:cubicBezTo>
                  <a:cubicBezTo>
                    <a:pt x="4" y="14"/>
                    <a:pt x="4" y="14"/>
                    <a:pt x="4" y="14"/>
                  </a:cubicBezTo>
                  <a:cubicBezTo>
                    <a:pt x="5" y="14"/>
                    <a:pt x="5" y="14"/>
                    <a:pt x="5" y="14"/>
                  </a:cubicBezTo>
                  <a:cubicBezTo>
                    <a:pt x="5" y="15"/>
                    <a:pt x="4" y="15"/>
                    <a:pt x="4" y="16"/>
                  </a:cubicBezTo>
                  <a:moveTo>
                    <a:pt x="7" y="16"/>
                  </a:moveTo>
                  <a:cubicBezTo>
                    <a:pt x="7" y="15"/>
                    <a:pt x="7" y="15"/>
                    <a:pt x="7" y="15"/>
                  </a:cubicBezTo>
                  <a:cubicBezTo>
                    <a:pt x="7" y="14"/>
                    <a:pt x="7" y="14"/>
                    <a:pt x="7" y="14"/>
                  </a:cubicBezTo>
                  <a:cubicBezTo>
                    <a:pt x="8" y="14"/>
                    <a:pt x="8" y="14"/>
                    <a:pt x="8" y="14"/>
                  </a:cubicBezTo>
                  <a:cubicBezTo>
                    <a:pt x="8" y="14"/>
                    <a:pt x="8" y="14"/>
                    <a:pt x="8" y="14"/>
                  </a:cubicBezTo>
                  <a:cubicBezTo>
                    <a:pt x="8" y="16"/>
                    <a:pt x="8" y="16"/>
                    <a:pt x="8" y="16"/>
                  </a:cubicBezTo>
                  <a:cubicBezTo>
                    <a:pt x="8" y="16"/>
                    <a:pt x="8" y="16"/>
                    <a:pt x="8" y="16"/>
                  </a:cubicBezTo>
                  <a:cubicBezTo>
                    <a:pt x="8" y="16"/>
                    <a:pt x="8" y="16"/>
                    <a:pt x="8" y="16"/>
                  </a:cubicBezTo>
                  <a:cubicBezTo>
                    <a:pt x="7" y="16"/>
                    <a:pt x="7" y="16"/>
                    <a:pt x="7" y="16"/>
                  </a:cubicBezTo>
                  <a:moveTo>
                    <a:pt x="3" y="15"/>
                  </a:moveTo>
                  <a:cubicBezTo>
                    <a:pt x="3" y="15"/>
                    <a:pt x="3" y="15"/>
                    <a:pt x="3" y="15"/>
                  </a:cubicBezTo>
                  <a:cubicBezTo>
                    <a:pt x="3" y="13"/>
                    <a:pt x="3" y="13"/>
                    <a:pt x="3" y="13"/>
                  </a:cubicBezTo>
                  <a:cubicBezTo>
                    <a:pt x="4" y="14"/>
                    <a:pt x="4" y="14"/>
                    <a:pt x="4" y="14"/>
                  </a:cubicBezTo>
                  <a:cubicBezTo>
                    <a:pt x="3" y="15"/>
                    <a:pt x="3" y="15"/>
                    <a:pt x="3" y="15"/>
                  </a:cubicBezTo>
                  <a:moveTo>
                    <a:pt x="9" y="15"/>
                  </a:moveTo>
                  <a:cubicBezTo>
                    <a:pt x="9" y="14"/>
                    <a:pt x="9" y="14"/>
                    <a:pt x="9" y="14"/>
                  </a:cubicBezTo>
                  <a:cubicBezTo>
                    <a:pt x="10" y="13"/>
                    <a:pt x="10" y="13"/>
                    <a:pt x="10" y="13"/>
                  </a:cubicBezTo>
                  <a:cubicBezTo>
                    <a:pt x="9" y="14"/>
                    <a:pt x="9" y="14"/>
                    <a:pt x="9" y="14"/>
                  </a:cubicBezTo>
                  <a:cubicBezTo>
                    <a:pt x="9" y="14"/>
                    <a:pt x="9" y="14"/>
                    <a:pt x="9" y="14"/>
                  </a:cubicBezTo>
                  <a:cubicBezTo>
                    <a:pt x="9" y="15"/>
                    <a:pt x="9" y="15"/>
                    <a:pt x="9" y="15"/>
                  </a:cubicBezTo>
                  <a:moveTo>
                    <a:pt x="2" y="14"/>
                  </a:moveTo>
                  <a:cubicBezTo>
                    <a:pt x="2" y="13"/>
                    <a:pt x="2" y="13"/>
                    <a:pt x="2" y="13"/>
                  </a:cubicBezTo>
                  <a:cubicBezTo>
                    <a:pt x="2" y="12"/>
                    <a:pt x="2" y="12"/>
                    <a:pt x="2" y="12"/>
                  </a:cubicBezTo>
                  <a:cubicBezTo>
                    <a:pt x="2" y="13"/>
                    <a:pt x="2" y="13"/>
                    <a:pt x="2" y="13"/>
                  </a:cubicBezTo>
                  <a:cubicBezTo>
                    <a:pt x="2" y="14"/>
                    <a:pt x="2" y="14"/>
                    <a:pt x="2" y="14"/>
                  </a:cubicBezTo>
                  <a:moveTo>
                    <a:pt x="11" y="13"/>
                  </a:moveTo>
                  <a:cubicBezTo>
                    <a:pt x="11" y="12"/>
                    <a:pt x="11" y="12"/>
                    <a:pt x="11" y="12"/>
                  </a:cubicBezTo>
                  <a:cubicBezTo>
                    <a:pt x="11" y="12"/>
                    <a:pt x="11" y="12"/>
                    <a:pt x="11" y="12"/>
                  </a:cubicBezTo>
                  <a:cubicBezTo>
                    <a:pt x="11" y="12"/>
                    <a:pt x="11" y="12"/>
                    <a:pt x="11" y="12"/>
                  </a:cubicBezTo>
                  <a:cubicBezTo>
                    <a:pt x="11" y="12"/>
                    <a:pt x="11" y="12"/>
                    <a:pt x="11" y="12"/>
                  </a:cubicBezTo>
                  <a:cubicBezTo>
                    <a:pt x="11" y="13"/>
                    <a:pt x="11" y="13"/>
                    <a:pt x="11" y="13"/>
                  </a:cubicBezTo>
                  <a:moveTo>
                    <a:pt x="2" y="12"/>
                  </a:moveTo>
                  <a:cubicBezTo>
                    <a:pt x="2" y="12"/>
                    <a:pt x="2" y="12"/>
                    <a:pt x="2" y="12"/>
                  </a:cubicBezTo>
                  <a:cubicBezTo>
                    <a:pt x="2" y="12"/>
                    <a:pt x="2" y="12"/>
                    <a:pt x="2" y="12"/>
                  </a:cubicBezTo>
                  <a:cubicBezTo>
                    <a:pt x="2" y="12"/>
                    <a:pt x="2" y="12"/>
                    <a:pt x="2" y="12"/>
                  </a:cubicBezTo>
                  <a:moveTo>
                    <a:pt x="6" y="14"/>
                  </a:moveTo>
                  <a:cubicBezTo>
                    <a:pt x="5" y="14"/>
                    <a:pt x="4" y="13"/>
                    <a:pt x="3" y="12"/>
                  </a:cubicBezTo>
                  <a:cubicBezTo>
                    <a:pt x="1" y="11"/>
                    <a:pt x="2" y="8"/>
                    <a:pt x="2" y="6"/>
                  </a:cubicBezTo>
                  <a:cubicBezTo>
                    <a:pt x="3" y="5"/>
                    <a:pt x="4" y="3"/>
                    <a:pt x="5" y="2"/>
                  </a:cubicBezTo>
                  <a:cubicBezTo>
                    <a:pt x="6" y="1"/>
                    <a:pt x="7" y="1"/>
                    <a:pt x="7" y="1"/>
                  </a:cubicBezTo>
                  <a:cubicBezTo>
                    <a:pt x="8" y="1"/>
                    <a:pt x="9" y="2"/>
                    <a:pt x="10" y="2"/>
                  </a:cubicBezTo>
                  <a:cubicBezTo>
                    <a:pt x="10" y="3"/>
                    <a:pt x="10" y="3"/>
                    <a:pt x="11" y="3"/>
                  </a:cubicBezTo>
                  <a:cubicBezTo>
                    <a:pt x="12" y="5"/>
                    <a:pt x="12" y="8"/>
                    <a:pt x="11" y="10"/>
                  </a:cubicBezTo>
                  <a:cubicBezTo>
                    <a:pt x="10" y="12"/>
                    <a:pt x="9" y="13"/>
                    <a:pt x="8" y="13"/>
                  </a:cubicBezTo>
                  <a:cubicBezTo>
                    <a:pt x="7" y="14"/>
                    <a:pt x="7" y="14"/>
                    <a:pt x="6" y="14"/>
                  </a:cubicBezTo>
                  <a:moveTo>
                    <a:pt x="7" y="0"/>
                  </a:moveTo>
                  <a:cubicBezTo>
                    <a:pt x="7" y="0"/>
                    <a:pt x="6" y="1"/>
                    <a:pt x="5" y="1"/>
                  </a:cubicBezTo>
                  <a:cubicBezTo>
                    <a:pt x="3" y="2"/>
                    <a:pt x="2" y="4"/>
                    <a:pt x="1" y="6"/>
                  </a:cubicBezTo>
                  <a:cubicBezTo>
                    <a:pt x="1" y="6"/>
                    <a:pt x="1" y="7"/>
                    <a:pt x="1" y="8"/>
                  </a:cubicBezTo>
                  <a:cubicBezTo>
                    <a:pt x="1" y="9"/>
                    <a:pt x="1" y="9"/>
                    <a:pt x="1" y="9"/>
                  </a:cubicBezTo>
                  <a:cubicBezTo>
                    <a:pt x="1" y="10"/>
                    <a:pt x="0" y="12"/>
                    <a:pt x="1" y="14"/>
                  </a:cubicBezTo>
                  <a:cubicBezTo>
                    <a:pt x="1" y="14"/>
                    <a:pt x="1" y="14"/>
                    <a:pt x="1" y="14"/>
                  </a:cubicBezTo>
                  <a:cubicBezTo>
                    <a:pt x="2" y="15"/>
                    <a:pt x="2" y="15"/>
                    <a:pt x="2" y="15"/>
                  </a:cubicBezTo>
                  <a:cubicBezTo>
                    <a:pt x="3" y="16"/>
                    <a:pt x="4" y="17"/>
                    <a:pt x="6" y="17"/>
                  </a:cubicBezTo>
                  <a:cubicBezTo>
                    <a:pt x="6" y="17"/>
                    <a:pt x="6" y="17"/>
                    <a:pt x="6" y="17"/>
                  </a:cubicBezTo>
                  <a:cubicBezTo>
                    <a:pt x="6" y="17"/>
                    <a:pt x="6" y="17"/>
                    <a:pt x="6" y="17"/>
                  </a:cubicBezTo>
                  <a:cubicBezTo>
                    <a:pt x="6" y="17"/>
                    <a:pt x="6" y="17"/>
                    <a:pt x="6" y="17"/>
                  </a:cubicBezTo>
                  <a:cubicBezTo>
                    <a:pt x="6" y="17"/>
                    <a:pt x="6" y="17"/>
                    <a:pt x="6" y="17"/>
                  </a:cubicBezTo>
                  <a:cubicBezTo>
                    <a:pt x="7" y="17"/>
                    <a:pt x="7" y="17"/>
                    <a:pt x="8" y="17"/>
                  </a:cubicBezTo>
                  <a:cubicBezTo>
                    <a:pt x="10" y="16"/>
                    <a:pt x="11" y="15"/>
                    <a:pt x="12" y="13"/>
                  </a:cubicBezTo>
                  <a:cubicBezTo>
                    <a:pt x="12" y="11"/>
                    <a:pt x="13" y="9"/>
                    <a:pt x="13" y="7"/>
                  </a:cubicBezTo>
                  <a:cubicBezTo>
                    <a:pt x="12" y="6"/>
                    <a:pt x="12" y="6"/>
                    <a:pt x="12" y="6"/>
                  </a:cubicBezTo>
                  <a:cubicBezTo>
                    <a:pt x="12" y="5"/>
                    <a:pt x="12" y="4"/>
                    <a:pt x="12" y="3"/>
                  </a:cubicBezTo>
                  <a:cubicBezTo>
                    <a:pt x="11" y="2"/>
                    <a:pt x="11" y="2"/>
                    <a:pt x="11" y="2"/>
                  </a:cubicBezTo>
                  <a:cubicBezTo>
                    <a:pt x="10" y="1"/>
                    <a:pt x="9" y="0"/>
                    <a:pt x="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62" name="isḷiḑé"/>
            <p:cNvSpPr/>
            <p:nvPr/>
          </p:nvSpPr>
          <p:spPr bwMode="auto">
            <a:xfrm>
              <a:off x="3422" y="1996"/>
              <a:ext cx="69" cy="67"/>
            </a:xfrm>
            <a:custGeom>
              <a:avLst/>
              <a:gdLst>
                <a:gd name="T0" fmla="*/ 14 w 29"/>
                <a:gd name="T1" fmla="*/ 27 h 28"/>
                <a:gd name="T2" fmla="*/ 1 w 29"/>
                <a:gd name="T3" fmla="*/ 14 h 28"/>
                <a:gd name="T4" fmla="*/ 14 w 29"/>
                <a:gd name="T5" fmla="*/ 1 h 28"/>
                <a:gd name="T6" fmla="*/ 23 w 29"/>
                <a:gd name="T7" fmla="*/ 4 h 28"/>
                <a:gd name="T8" fmla="*/ 28 w 29"/>
                <a:gd name="T9" fmla="*/ 14 h 28"/>
                <a:gd name="T10" fmla="*/ 14 w 29"/>
                <a:gd name="T11" fmla="*/ 27 h 28"/>
                <a:gd name="T12" fmla="*/ 14 w 29"/>
                <a:gd name="T13" fmla="*/ 0 h 28"/>
                <a:gd name="T14" fmla="*/ 0 w 29"/>
                <a:gd name="T15" fmla="*/ 14 h 28"/>
                <a:gd name="T16" fmla="*/ 14 w 29"/>
                <a:gd name="T17" fmla="*/ 28 h 28"/>
                <a:gd name="T18" fmla="*/ 29 w 29"/>
                <a:gd name="T19" fmla="*/ 14 h 28"/>
                <a:gd name="T20" fmla="*/ 14 w 29"/>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8">
                  <a:moveTo>
                    <a:pt x="14" y="27"/>
                  </a:moveTo>
                  <a:cubicBezTo>
                    <a:pt x="8" y="27"/>
                    <a:pt x="1" y="23"/>
                    <a:pt x="1" y="14"/>
                  </a:cubicBezTo>
                  <a:cubicBezTo>
                    <a:pt x="1" y="5"/>
                    <a:pt x="8" y="1"/>
                    <a:pt x="14" y="1"/>
                  </a:cubicBezTo>
                  <a:cubicBezTo>
                    <a:pt x="18" y="1"/>
                    <a:pt x="21" y="2"/>
                    <a:pt x="23" y="4"/>
                  </a:cubicBezTo>
                  <a:cubicBezTo>
                    <a:pt x="26" y="7"/>
                    <a:pt x="28" y="10"/>
                    <a:pt x="28" y="14"/>
                  </a:cubicBezTo>
                  <a:cubicBezTo>
                    <a:pt x="28" y="23"/>
                    <a:pt x="21" y="27"/>
                    <a:pt x="14" y="27"/>
                  </a:cubicBezTo>
                  <a:moveTo>
                    <a:pt x="14" y="0"/>
                  </a:moveTo>
                  <a:cubicBezTo>
                    <a:pt x="7" y="0"/>
                    <a:pt x="0" y="5"/>
                    <a:pt x="0" y="14"/>
                  </a:cubicBezTo>
                  <a:cubicBezTo>
                    <a:pt x="0" y="23"/>
                    <a:pt x="7" y="28"/>
                    <a:pt x="14" y="28"/>
                  </a:cubicBezTo>
                  <a:cubicBezTo>
                    <a:pt x="21" y="28"/>
                    <a:pt x="29" y="23"/>
                    <a:pt x="29" y="14"/>
                  </a:cubicBezTo>
                  <a:cubicBezTo>
                    <a:pt x="29" y="5"/>
                    <a:pt x="21" y="0"/>
                    <a:pt x="1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63" name="îṣľïḍé"/>
            <p:cNvSpPr/>
            <p:nvPr/>
          </p:nvSpPr>
          <p:spPr bwMode="auto">
            <a:xfrm>
              <a:off x="3413" y="1987"/>
              <a:ext cx="86" cy="85"/>
            </a:xfrm>
            <a:custGeom>
              <a:avLst/>
              <a:gdLst>
                <a:gd name="T0" fmla="*/ 18 w 36"/>
                <a:gd name="T1" fmla="*/ 35 h 36"/>
                <a:gd name="T2" fmla="*/ 1 w 36"/>
                <a:gd name="T3" fmla="*/ 18 h 36"/>
                <a:gd name="T4" fmla="*/ 18 w 36"/>
                <a:gd name="T5" fmla="*/ 1 h 36"/>
                <a:gd name="T6" fmla="*/ 35 w 36"/>
                <a:gd name="T7" fmla="*/ 18 h 36"/>
                <a:gd name="T8" fmla="*/ 18 w 36"/>
                <a:gd name="T9" fmla="*/ 35 h 36"/>
                <a:gd name="T10" fmla="*/ 18 w 36"/>
                <a:gd name="T11" fmla="*/ 0 h 36"/>
                <a:gd name="T12" fmla="*/ 6 w 36"/>
                <a:gd name="T13" fmla="*/ 5 h 36"/>
                <a:gd name="T14" fmla="*/ 0 w 36"/>
                <a:gd name="T15" fmla="*/ 18 h 36"/>
                <a:gd name="T16" fmla="*/ 6 w 36"/>
                <a:gd name="T17" fmla="*/ 31 h 36"/>
                <a:gd name="T18" fmla="*/ 18 w 36"/>
                <a:gd name="T19" fmla="*/ 36 h 36"/>
                <a:gd name="T20" fmla="*/ 31 w 36"/>
                <a:gd name="T21" fmla="*/ 31 h 36"/>
                <a:gd name="T22" fmla="*/ 36 w 36"/>
                <a:gd name="T23" fmla="*/ 18 h 36"/>
                <a:gd name="T24" fmla="*/ 31 w 36"/>
                <a:gd name="T25" fmla="*/ 5 h 36"/>
                <a:gd name="T26" fmla="*/ 18 w 36"/>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6">
                  <a:moveTo>
                    <a:pt x="18" y="35"/>
                  </a:moveTo>
                  <a:cubicBezTo>
                    <a:pt x="10" y="35"/>
                    <a:pt x="1" y="29"/>
                    <a:pt x="1" y="18"/>
                  </a:cubicBezTo>
                  <a:cubicBezTo>
                    <a:pt x="1" y="7"/>
                    <a:pt x="10" y="1"/>
                    <a:pt x="18" y="1"/>
                  </a:cubicBezTo>
                  <a:cubicBezTo>
                    <a:pt x="27" y="1"/>
                    <a:pt x="35" y="7"/>
                    <a:pt x="35" y="18"/>
                  </a:cubicBezTo>
                  <a:cubicBezTo>
                    <a:pt x="35" y="29"/>
                    <a:pt x="27" y="35"/>
                    <a:pt x="18" y="35"/>
                  </a:cubicBezTo>
                  <a:moveTo>
                    <a:pt x="18" y="0"/>
                  </a:moveTo>
                  <a:cubicBezTo>
                    <a:pt x="13" y="0"/>
                    <a:pt x="9" y="2"/>
                    <a:pt x="6" y="5"/>
                  </a:cubicBezTo>
                  <a:cubicBezTo>
                    <a:pt x="2" y="8"/>
                    <a:pt x="0" y="12"/>
                    <a:pt x="0" y="18"/>
                  </a:cubicBezTo>
                  <a:cubicBezTo>
                    <a:pt x="0" y="23"/>
                    <a:pt x="2" y="28"/>
                    <a:pt x="6" y="31"/>
                  </a:cubicBezTo>
                  <a:cubicBezTo>
                    <a:pt x="9" y="34"/>
                    <a:pt x="13" y="36"/>
                    <a:pt x="18" y="36"/>
                  </a:cubicBezTo>
                  <a:cubicBezTo>
                    <a:pt x="23" y="36"/>
                    <a:pt x="27" y="34"/>
                    <a:pt x="31" y="31"/>
                  </a:cubicBezTo>
                  <a:cubicBezTo>
                    <a:pt x="34" y="28"/>
                    <a:pt x="36" y="23"/>
                    <a:pt x="36" y="18"/>
                  </a:cubicBezTo>
                  <a:cubicBezTo>
                    <a:pt x="36" y="12"/>
                    <a:pt x="34" y="8"/>
                    <a:pt x="31" y="5"/>
                  </a:cubicBezTo>
                  <a:cubicBezTo>
                    <a:pt x="27" y="2"/>
                    <a:pt x="23" y="0"/>
                    <a:pt x="18"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64" name="ïṣļîḑe"/>
            <p:cNvSpPr/>
            <p:nvPr/>
          </p:nvSpPr>
          <p:spPr bwMode="auto">
            <a:xfrm>
              <a:off x="3453" y="2001"/>
              <a:ext cx="3" cy="7"/>
            </a:xfrm>
            <a:custGeom>
              <a:avLst/>
              <a:gdLst>
                <a:gd name="T0" fmla="*/ 1 w 1"/>
                <a:gd name="T1" fmla="*/ 0 h 3"/>
                <a:gd name="T2" fmla="*/ 0 w 1"/>
                <a:gd name="T3" fmla="*/ 0 h 3"/>
                <a:gd name="T4" fmla="*/ 0 w 1"/>
                <a:gd name="T5" fmla="*/ 3 h 3"/>
                <a:gd name="T6" fmla="*/ 1 w 1"/>
                <a:gd name="T7" fmla="*/ 3 h 3"/>
                <a:gd name="T8" fmla="*/ 1 w 1"/>
                <a:gd name="T9" fmla="*/ 3 h 3"/>
                <a:gd name="T10" fmla="*/ 1 w 1"/>
                <a:gd name="T11" fmla="*/ 3 h 3"/>
                <a:gd name="T12" fmla="*/ 1 w 1"/>
                <a:gd name="T13" fmla="*/ 1 h 3"/>
                <a:gd name="T14" fmla="*/ 1 w 1"/>
                <a:gd name="T15" fmla="*/ 0 h 3"/>
                <a:gd name="T16" fmla="*/ 1 w 1"/>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0"/>
                  </a:moveTo>
                  <a:cubicBezTo>
                    <a:pt x="0" y="0"/>
                    <a:pt x="0" y="0"/>
                    <a:pt x="0" y="0"/>
                  </a:cubicBezTo>
                  <a:cubicBezTo>
                    <a:pt x="0" y="1"/>
                    <a:pt x="0" y="2"/>
                    <a:pt x="0" y="3"/>
                  </a:cubicBezTo>
                  <a:cubicBezTo>
                    <a:pt x="1" y="3"/>
                    <a:pt x="1" y="3"/>
                    <a:pt x="1" y="3"/>
                  </a:cubicBezTo>
                  <a:cubicBezTo>
                    <a:pt x="1" y="3"/>
                    <a:pt x="1" y="3"/>
                    <a:pt x="1" y="3"/>
                  </a:cubicBezTo>
                  <a:cubicBezTo>
                    <a:pt x="1" y="3"/>
                    <a:pt x="1" y="3"/>
                    <a:pt x="1" y="3"/>
                  </a:cubicBezTo>
                  <a:cubicBezTo>
                    <a:pt x="1" y="2"/>
                    <a:pt x="1" y="2"/>
                    <a:pt x="1" y="1"/>
                  </a:cubicBezTo>
                  <a:cubicBezTo>
                    <a:pt x="1" y="0"/>
                    <a:pt x="1" y="0"/>
                    <a:pt x="1" y="0"/>
                  </a:cubicBezTo>
                  <a:cubicBezTo>
                    <a:pt x="1" y="0"/>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65" name="íṩliḑê"/>
            <p:cNvSpPr/>
            <p:nvPr/>
          </p:nvSpPr>
          <p:spPr bwMode="auto">
            <a:xfrm>
              <a:off x="3453" y="2048"/>
              <a:ext cx="5" cy="10"/>
            </a:xfrm>
            <a:custGeom>
              <a:avLst/>
              <a:gdLst>
                <a:gd name="T0" fmla="*/ 1 w 2"/>
                <a:gd name="T1" fmla="*/ 0 h 4"/>
                <a:gd name="T2" fmla="*/ 0 w 2"/>
                <a:gd name="T3" fmla="*/ 0 h 4"/>
                <a:gd name="T4" fmla="*/ 0 w 2"/>
                <a:gd name="T5" fmla="*/ 3 h 4"/>
                <a:gd name="T6" fmla="*/ 0 w 2"/>
                <a:gd name="T7" fmla="*/ 4 h 4"/>
                <a:gd name="T8" fmla="*/ 1 w 2"/>
                <a:gd name="T9" fmla="*/ 4 h 4"/>
                <a:gd name="T10" fmla="*/ 1 w 2"/>
                <a:gd name="T11" fmla="*/ 4 h 4"/>
                <a:gd name="T12" fmla="*/ 1 w 2"/>
                <a:gd name="T13" fmla="*/ 0 h 4"/>
                <a:gd name="T14" fmla="*/ 1 w 2"/>
                <a:gd name="T15" fmla="*/ 0 h 4"/>
                <a:gd name="T16" fmla="*/ 1 w 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1" y="0"/>
                  </a:moveTo>
                  <a:cubicBezTo>
                    <a:pt x="0" y="0"/>
                    <a:pt x="0" y="0"/>
                    <a:pt x="0" y="0"/>
                  </a:cubicBezTo>
                  <a:cubicBezTo>
                    <a:pt x="0" y="1"/>
                    <a:pt x="0" y="3"/>
                    <a:pt x="0" y="3"/>
                  </a:cubicBezTo>
                  <a:cubicBezTo>
                    <a:pt x="0" y="4"/>
                    <a:pt x="0" y="4"/>
                    <a:pt x="0" y="4"/>
                  </a:cubicBezTo>
                  <a:cubicBezTo>
                    <a:pt x="1" y="4"/>
                    <a:pt x="1" y="4"/>
                    <a:pt x="1" y="4"/>
                  </a:cubicBezTo>
                  <a:cubicBezTo>
                    <a:pt x="1" y="4"/>
                    <a:pt x="1" y="4"/>
                    <a:pt x="1" y="4"/>
                  </a:cubicBezTo>
                  <a:cubicBezTo>
                    <a:pt x="2" y="3"/>
                    <a:pt x="1" y="1"/>
                    <a:pt x="1" y="0"/>
                  </a:cubicBezTo>
                  <a:cubicBezTo>
                    <a:pt x="1" y="0"/>
                    <a:pt x="1" y="0"/>
                    <a:pt x="1" y="0"/>
                  </a:cubicBezTo>
                  <a:cubicBezTo>
                    <a:pt x="1" y="0"/>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66" name="íṩľíďê"/>
            <p:cNvSpPr/>
            <p:nvPr/>
          </p:nvSpPr>
          <p:spPr bwMode="auto">
            <a:xfrm>
              <a:off x="3427" y="2027"/>
              <a:ext cx="10" cy="5"/>
            </a:xfrm>
            <a:custGeom>
              <a:avLst/>
              <a:gdLst>
                <a:gd name="T0" fmla="*/ 2 w 4"/>
                <a:gd name="T1" fmla="*/ 0 h 2"/>
                <a:gd name="T2" fmla="*/ 1 w 4"/>
                <a:gd name="T3" fmla="*/ 0 h 2"/>
                <a:gd name="T4" fmla="*/ 0 w 4"/>
                <a:gd name="T5" fmla="*/ 1 h 2"/>
                <a:gd name="T6" fmla="*/ 0 w 4"/>
                <a:gd name="T7" fmla="*/ 2 h 2"/>
                <a:gd name="T8" fmla="*/ 2 w 4"/>
                <a:gd name="T9" fmla="*/ 2 h 2"/>
                <a:gd name="T10" fmla="*/ 4 w 4"/>
                <a:gd name="T11" fmla="*/ 1 h 2"/>
                <a:gd name="T12" fmla="*/ 4 w 4"/>
                <a:gd name="T13" fmla="*/ 1 h 2"/>
                <a:gd name="T14" fmla="*/ 4 w 4"/>
                <a:gd name="T15" fmla="*/ 1 h 2"/>
                <a:gd name="T16" fmla="*/ 3 w 4"/>
                <a:gd name="T17" fmla="*/ 0 h 2"/>
                <a:gd name="T18" fmla="*/ 2 w 4"/>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2" y="0"/>
                  </a:moveTo>
                  <a:cubicBezTo>
                    <a:pt x="1" y="0"/>
                    <a:pt x="1" y="0"/>
                    <a:pt x="1" y="0"/>
                  </a:cubicBezTo>
                  <a:cubicBezTo>
                    <a:pt x="0" y="1"/>
                    <a:pt x="0" y="1"/>
                    <a:pt x="0" y="1"/>
                  </a:cubicBezTo>
                  <a:cubicBezTo>
                    <a:pt x="0" y="2"/>
                    <a:pt x="0" y="2"/>
                    <a:pt x="0" y="2"/>
                  </a:cubicBezTo>
                  <a:cubicBezTo>
                    <a:pt x="0" y="2"/>
                    <a:pt x="0" y="2"/>
                    <a:pt x="2" y="2"/>
                  </a:cubicBezTo>
                  <a:cubicBezTo>
                    <a:pt x="2" y="2"/>
                    <a:pt x="3" y="2"/>
                    <a:pt x="4" y="1"/>
                  </a:cubicBezTo>
                  <a:cubicBezTo>
                    <a:pt x="4" y="1"/>
                    <a:pt x="4" y="1"/>
                    <a:pt x="4" y="1"/>
                  </a:cubicBezTo>
                  <a:cubicBezTo>
                    <a:pt x="4" y="1"/>
                    <a:pt x="4" y="1"/>
                    <a:pt x="4" y="1"/>
                  </a:cubicBezTo>
                  <a:cubicBezTo>
                    <a:pt x="3" y="0"/>
                    <a:pt x="3" y="0"/>
                    <a:pt x="3" y="0"/>
                  </a:cubicBezTo>
                  <a:cubicBezTo>
                    <a:pt x="3" y="0"/>
                    <a:pt x="2" y="0"/>
                    <a:pt x="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67" name="îṩḷïḋe"/>
            <p:cNvSpPr/>
            <p:nvPr/>
          </p:nvSpPr>
          <p:spPr bwMode="auto">
            <a:xfrm>
              <a:off x="3472" y="2027"/>
              <a:ext cx="10" cy="5"/>
            </a:xfrm>
            <a:custGeom>
              <a:avLst/>
              <a:gdLst>
                <a:gd name="T0" fmla="*/ 3 w 4"/>
                <a:gd name="T1" fmla="*/ 0 h 2"/>
                <a:gd name="T2" fmla="*/ 1 w 4"/>
                <a:gd name="T3" fmla="*/ 1 h 2"/>
                <a:gd name="T4" fmla="*/ 0 w 4"/>
                <a:gd name="T5" fmla="*/ 1 h 2"/>
                <a:gd name="T6" fmla="*/ 0 w 4"/>
                <a:gd name="T7" fmla="*/ 1 h 2"/>
                <a:gd name="T8" fmla="*/ 1 w 4"/>
                <a:gd name="T9" fmla="*/ 2 h 2"/>
                <a:gd name="T10" fmla="*/ 2 w 4"/>
                <a:gd name="T11" fmla="*/ 2 h 2"/>
                <a:gd name="T12" fmla="*/ 4 w 4"/>
                <a:gd name="T13" fmla="*/ 2 h 2"/>
                <a:gd name="T14" fmla="*/ 4 w 4"/>
                <a:gd name="T15" fmla="*/ 1 h 2"/>
                <a:gd name="T16" fmla="*/ 4 w 4"/>
                <a:gd name="T17" fmla="*/ 1 h 2"/>
                <a:gd name="T18" fmla="*/ 3 w 4"/>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3" y="0"/>
                  </a:moveTo>
                  <a:cubicBezTo>
                    <a:pt x="2" y="0"/>
                    <a:pt x="1" y="0"/>
                    <a:pt x="1" y="1"/>
                  </a:cubicBezTo>
                  <a:cubicBezTo>
                    <a:pt x="0" y="1"/>
                    <a:pt x="0" y="1"/>
                    <a:pt x="0" y="1"/>
                  </a:cubicBezTo>
                  <a:cubicBezTo>
                    <a:pt x="0" y="1"/>
                    <a:pt x="0" y="1"/>
                    <a:pt x="0" y="1"/>
                  </a:cubicBezTo>
                  <a:cubicBezTo>
                    <a:pt x="1" y="2"/>
                    <a:pt x="1" y="2"/>
                    <a:pt x="1" y="2"/>
                  </a:cubicBezTo>
                  <a:cubicBezTo>
                    <a:pt x="1" y="2"/>
                    <a:pt x="2" y="2"/>
                    <a:pt x="2" y="2"/>
                  </a:cubicBezTo>
                  <a:cubicBezTo>
                    <a:pt x="3" y="2"/>
                    <a:pt x="3" y="2"/>
                    <a:pt x="4" y="2"/>
                  </a:cubicBezTo>
                  <a:cubicBezTo>
                    <a:pt x="4" y="1"/>
                    <a:pt x="4" y="1"/>
                    <a:pt x="4" y="1"/>
                  </a:cubicBezTo>
                  <a:cubicBezTo>
                    <a:pt x="4" y="1"/>
                    <a:pt x="4" y="1"/>
                    <a:pt x="4" y="1"/>
                  </a:cubicBezTo>
                  <a:cubicBezTo>
                    <a:pt x="4"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68" name="íṣḷïḓê"/>
            <p:cNvSpPr/>
            <p:nvPr/>
          </p:nvSpPr>
          <p:spPr bwMode="auto">
            <a:xfrm>
              <a:off x="3432" y="2041"/>
              <a:ext cx="5" cy="3"/>
            </a:xfrm>
            <a:custGeom>
              <a:avLst/>
              <a:gdLst>
                <a:gd name="T0" fmla="*/ 2 w 2"/>
                <a:gd name="T1" fmla="*/ 0 h 1"/>
                <a:gd name="T2" fmla="*/ 1 w 2"/>
                <a:gd name="T3" fmla="*/ 0 h 1"/>
                <a:gd name="T4" fmla="*/ 0 w 2"/>
                <a:gd name="T5" fmla="*/ 1 h 1"/>
                <a:gd name="T6" fmla="*/ 0 w 2"/>
                <a:gd name="T7" fmla="*/ 1 h 1"/>
                <a:gd name="T8" fmla="*/ 0 w 2"/>
                <a:gd name="T9" fmla="*/ 1 h 1"/>
                <a:gd name="T10" fmla="*/ 0 w 2"/>
                <a:gd name="T11" fmla="*/ 1 h 1"/>
                <a:gd name="T12" fmla="*/ 2 w 2"/>
                <a:gd name="T13" fmla="*/ 0 h 1"/>
                <a:gd name="T14" fmla="*/ 2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2" y="0"/>
                  </a:moveTo>
                  <a:cubicBezTo>
                    <a:pt x="1" y="0"/>
                    <a:pt x="1" y="0"/>
                    <a:pt x="1" y="0"/>
                  </a:cubicBezTo>
                  <a:cubicBezTo>
                    <a:pt x="1" y="0"/>
                    <a:pt x="0" y="0"/>
                    <a:pt x="0" y="1"/>
                  </a:cubicBezTo>
                  <a:cubicBezTo>
                    <a:pt x="0" y="1"/>
                    <a:pt x="0" y="1"/>
                    <a:pt x="0" y="1"/>
                  </a:cubicBezTo>
                  <a:cubicBezTo>
                    <a:pt x="0" y="1"/>
                    <a:pt x="0" y="1"/>
                    <a:pt x="0" y="1"/>
                  </a:cubicBezTo>
                  <a:cubicBezTo>
                    <a:pt x="0" y="1"/>
                    <a:pt x="0" y="1"/>
                    <a:pt x="0" y="1"/>
                  </a:cubicBezTo>
                  <a:cubicBezTo>
                    <a:pt x="1" y="1"/>
                    <a:pt x="1" y="1"/>
                    <a:pt x="2" y="0"/>
                  </a:cubicBezTo>
                  <a:cubicBezTo>
                    <a:pt x="2" y="0"/>
                    <a:pt x="2" y="0"/>
                    <a:pt x="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69" name="i$ļïdê"/>
            <p:cNvSpPr/>
            <p:nvPr/>
          </p:nvSpPr>
          <p:spPr bwMode="auto">
            <a:xfrm>
              <a:off x="3441" y="2048"/>
              <a:ext cx="5" cy="5"/>
            </a:xfrm>
            <a:custGeom>
              <a:avLst/>
              <a:gdLst>
                <a:gd name="T0" fmla="*/ 5 w 5"/>
                <a:gd name="T1" fmla="*/ 0 h 5"/>
                <a:gd name="T2" fmla="*/ 3 w 5"/>
                <a:gd name="T3" fmla="*/ 0 h 5"/>
                <a:gd name="T4" fmla="*/ 3 w 5"/>
                <a:gd name="T5" fmla="*/ 3 h 5"/>
                <a:gd name="T6" fmla="*/ 0 w 5"/>
                <a:gd name="T7" fmla="*/ 3 h 5"/>
                <a:gd name="T8" fmla="*/ 0 w 5"/>
                <a:gd name="T9" fmla="*/ 5 h 5"/>
                <a:gd name="T10" fmla="*/ 3 w 5"/>
                <a:gd name="T11" fmla="*/ 5 h 5"/>
                <a:gd name="T12" fmla="*/ 3 w 5"/>
                <a:gd name="T13" fmla="*/ 5 h 5"/>
                <a:gd name="T14" fmla="*/ 3 w 5"/>
                <a:gd name="T15" fmla="*/ 3 h 5"/>
                <a:gd name="T16" fmla="*/ 5 w 5"/>
                <a:gd name="T17" fmla="*/ 3 h 5"/>
                <a:gd name="T18" fmla="*/ 5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0"/>
                  </a:moveTo>
                  <a:lnTo>
                    <a:pt x="3" y="0"/>
                  </a:lnTo>
                  <a:lnTo>
                    <a:pt x="3" y="3"/>
                  </a:lnTo>
                  <a:lnTo>
                    <a:pt x="0" y="3"/>
                  </a:lnTo>
                  <a:lnTo>
                    <a:pt x="0" y="5"/>
                  </a:lnTo>
                  <a:lnTo>
                    <a:pt x="3" y="5"/>
                  </a:lnTo>
                  <a:lnTo>
                    <a:pt x="3" y="5"/>
                  </a:lnTo>
                  <a:lnTo>
                    <a:pt x="3" y="3"/>
                  </a:lnTo>
                  <a:lnTo>
                    <a:pt x="5" y="3"/>
                  </a:lnTo>
                  <a:lnTo>
                    <a:pt x="5"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70" name="íşḻïḑê"/>
            <p:cNvSpPr/>
            <p:nvPr/>
          </p:nvSpPr>
          <p:spPr bwMode="auto">
            <a:xfrm>
              <a:off x="3441" y="2048"/>
              <a:ext cx="5" cy="5"/>
            </a:xfrm>
            <a:custGeom>
              <a:avLst/>
              <a:gdLst>
                <a:gd name="T0" fmla="*/ 5 w 5"/>
                <a:gd name="T1" fmla="*/ 0 h 5"/>
                <a:gd name="T2" fmla="*/ 3 w 5"/>
                <a:gd name="T3" fmla="*/ 0 h 5"/>
                <a:gd name="T4" fmla="*/ 3 w 5"/>
                <a:gd name="T5" fmla="*/ 3 h 5"/>
                <a:gd name="T6" fmla="*/ 0 w 5"/>
                <a:gd name="T7" fmla="*/ 3 h 5"/>
                <a:gd name="T8" fmla="*/ 0 w 5"/>
                <a:gd name="T9" fmla="*/ 5 h 5"/>
                <a:gd name="T10" fmla="*/ 3 w 5"/>
                <a:gd name="T11" fmla="*/ 5 h 5"/>
                <a:gd name="T12" fmla="*/ 3 w 5"/>
                <a:gd name="T13" fmla="*/ 5 h 5"/>
                <a:gd name="T14" fmla="*/ 3 w 5"/>
                <a:gd name="T15" fmla="*/ 3 h 5"/>
                <a:gd name="T16" fmla="*/ 5 w 5"/>
                <a:gd name="T17" fmla="*/ 3 h 5"/>
                <a:gd name="T18" fmla="*/ 5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0"/>
                  </a:moveTo>
                  <a:lnTo>
                    <a:pt x="3" y="0"/>
                  </a:lnTo>
                  <a:lnTo>
                    <a:pt x="3" y="3"/>
                  </a:lnTo>
                  <a:lnTo>
                    <a:pt x="0" y="3"/>
                  </a:lnTo>
                  <a:lnTo>
                    <a:pt x="0" y="5"/>
                  </a:lnTo>
                  <a:lnTo>
                    <a:pt x="3" y="5"/>
                  </a:lnTo>
                  <a:lnTo>
                    <a:pt x="3" y="5"/>
                  </a:lnTo>
                  <a:lnTo>
                    <a:pt x="3" y="3"/>
                  </a:lnTo>
                  <a:lnTo>
                    <a:pt x="5" y="3"/>
                  </a:lnTo>
                  <a:lnTo>
                    <a:pt x="5"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71" name="i$ľîḓe"/>
            <p:cNvSpPr/>
            <p:nvPr/>
          </p:nvSpPr>
          <p:spPr bwMode="auto">
            <a:xfrm>
              <a:off x="3465" y="2048"/>
              <a:ext cx="5" cy="5"/>
            </a:xfrm>
            <a:custGeom>
              <a:avLst/>
              <a:gdLst>
                <a:gd name="T0" fmla="*/ 0 w 2"/>
                <a:gd name="T1" fmla="*/ 0 h 2"/>
                <a:gd name="T2" fmla="*/ 0 w 2"/>
                <a:gd name="T3" fmla="*/ 1 h 2"/>
                <a:gd name="T4" fmla="*/ 0 w 2"/>
                <a:gd name="T5" fmla="*/ 1 h 2"/>
                <a:gd name="T6" fmla="*/ 1 w 2"/>
                <a:gd name="T7" fmla="*/ 2 h 2"/>
                <a:gd name="T8" fmla="*/ 1 w 2"/>
                <a:gd name="T9" fmla="*/ 2 h 2"/>
                <a:gd name="T10" fmla="*/ 2 w 2"/>
                <a:gd name="T11" fmla="*/ 2 h 2"/>
                <a:gd name="T12" fmla="*/ 1 w 2"/>
                <a:gd name="T13" fmla="*/ 1 h 2"/>
                <a:gd name="T14" fmla="*/ 1 w 2"/>
                <a:gd name="T15" fmla="*/ 1 h 2"/>
                <a:gd name="T16" fmla="*/ 1 w 2"/>
                <a:gd name="T17" fmla="*/ 0 h 2"/>
                <a:gd name="T18" fmla="*/ 0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0" y="0"/>
                  </a:moveTo>
                  <a:cubicBezTo>
                    <a:pt x="0" y="1"/>
                    <a:pt x="0" y="1"/>
                    <a:pt x="0" y="1"/>
                  </a:cubicBezTo>
                  <a:cubicBezTo>
                    <a:pt x="0" y="1"/>
                    <a:pt x="0" y="1"/>
                    <a:pt x="0" y="1"/>
                  </a:cubicBezTo>
                  <a:cubicBezTo>
                    <a:pt x="1" y="1"/>
                    <a:pt x="1" y="1"/>
                    <a:pt x="1" y="2"/>
                  </a:cubicBezTo>
                  <a:cubicBezTo>
                    <a:pt x="1" y="2"/>
                    <a:pt x="1" y="2"/>
                    <a:pt x="1" y="2"/>
                  </a:cubicBezTo>
                  <a:cubicBezTo>
                    <a:pt x="2" y="2"/>
                    <a:pt x="2" y="2"/>
                    <a:pt x="2" y="2"/>
                  </a:cubicBezTo>
                  <a:cubicBezTo>
                    <a:pt x="1" y="1"/>
                    <a:pt x="1" y="1"/>
                    <a:pt x="1" y="1"/>
                  </a:cubicBezTo>
                  <a:cubicBezTo>
                    <a:pt x="1" y="1"/>
                    <a:pt x="1" y="1"/>
                    <a:pt x="1" y="1"/>
                  </a:cubicBezTo>
                  <a:cubicBezTo>
                    <a:pt x="1" y="0"/>
                    <a:pt x="1" y="0"/>
                    <a:pt x="1" y="0"/>
                  </a:cubicBezTo>
                  <a:cubicBezTo>
                    <a:pt x="0" y="0"/>
                    <a:pt x="0" y="0"/>
                    <a:pt x="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72" name="ísļíde"/>
            <p:cNvSpPr/>
            <p:nvPr/>
          </p:nvSpPr>
          <p:spPr bwMode="auto">
            <a:xfrm>
              <a:off x="3475" y="2041"/>
              <a:ext cx="5" cy="3"/>
            </a:xfrm>
            <a:custGeom>
              <a:avLst/>
              <a:gdLst>
                <a:gd name="T0" fmla="*/ 1 w 2"/>
                <a:gd name="T1" fmla="*/ 0 h 1"/>
                <a:gd name="T2" fmla="*/ 0 w 2"/>
                <a:gd name="T3" fmla="*/ 0 h 1"/>
                <a:gd name="T4" fmla="*/ 0 w 2"/>
                <a:gd name="T5" fmla="*/ 0 h 1"/>
                <a:gd name="T6" fmla="*/ 1 w 2"/>
                <a:gd name="T7" fmla="*/ 1 h 1"/>
                <a:gd name="T8" fmla="*/ 2 w 2"/>
                <a:gd name="T9" fmla="*/ 1 h 1"/>
                <a:gd name="T10" fmla="*/ 2 w 2"/>
                <a:gd name="T11" fmla="*/ 1 h 1"/>
                <a:gd name="T12" fmla="*/ 2 w 2"/>
                <a:gd name="T13" fmla="*/ 1 h 1"/>
                <a:gd name="T14" fmla="*/ 2 w 2"/>
                <a:gd name="T15" fmla="*/ 0 h 1"/>
                <a:gd name="T16" fmla="*/ 1 w 2"/>
                <a:gd name="T17" fmla="*/ 0 h 1"/>
                <a:gd name="T18" fmla="*/ 1 w 2"/>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1" y="0"/>
                  </a:moveTo>
                  <a:cubicBezTo>
                    <a:pt x="0" y="0"/>
                    <a:pt x="0" y="0"/>
                    <a:pt x="0" y="0"/>
                  </a:cubicBezTo>
                  <a:cubicBezTo>
                    <a:pt x="0" y="0"/>
                    <a:pt x="0" y="0"/>
                    <a:pt x="0" y="0"/>
                  </a:cubicBezTo>
                  <a:cubicBezTo>
                    <a:pt x="1" y="0"/>
                    <a:pt x="1" y="0"/>
                    <a:pt x="1" y="1"/>
                  </a:cubicBezTo>
                  <a:cubicBezTo>
                    <a:pt x="1" y="1"/>
                    <a:pt x="1" y="1"/>
                    <a:pt x="2" y="1"/>
                  </a:cubicBezTo>
                  <a:cubicBezTo>
                    <a:pt x="2" y="1"/>
                    <a:pt x="2" y="1"/>
                    <a:pt x="2" y="1"/>
                  </a:cubicBezTo>
                  <a:cubicBezTo>
                    <a:pt x="2" y="1"/>
                    <a:pt x="2" y="1"/>
                    <a:pt x="2" y="1"/>
                  </a:cubicBezTo>
                  <a:cubicBezTo>
                    <a:pt x="2" y="0"/>
                    <a:pt x="2" y="0"/>
                    <a:pt x="2" y="0"/>
                  </a:cubicBezTo>
                  <a:cubicBezTo>
                    <a:pt x="1" y="0"/>
                    <a:pt x="1" y="0"/>
                    <a:pt x="1" y="0"/>
                  </a:cubicBezTo>
                  <a:cubicBezTo>
                    <a:pt x="1" y="0"/>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73" name="ïsľíḋê"/>
            <p:cNvSpPr/>
            <p:nvPr/>
          </p:nvSpPr>
          <p:spPr bwMode="auto">
            <a:xfrm>
              <a:off x="3430" y="2015"/>
              <a:ext cx="4" cy="5"/>
            </a:xfrm>
            <a:custGeom>
              <a:avLst/>
              <a:gdLst>
                <a:gd name="T0" fmla="*/ 2 w 4"/>
                <a:gd name="T1" fmla="*/ 0 h 5"/>
                <a:gd name="T2" fmla="*/ 0 w 4"/>
                <a:gd name="T3" fmla="*/ 0 h 5"/>
                <a:gd name="T4" fmla="*/ 0 w 4"/>
                <a:gd name="T5" fmla="*/ 2 h 5"/>
                <a:gd name="T6" fmla="*/ 2 w 4"/>
                <a:gd name="T7" fmla="*/ 5 h 5"/>
                <a:gd name="T8" fmla="*/ 4 w 4"/>
                <a:gd name="T9" fmla="*/ 5 h 5"/>
                <a:gd name="T10" fmla="*/ 4 w 4"/>
                <a:gd name="T11" fmla="*/ 5 h 5"/>
                <a:gd name="T12" fmla="*/ 4 w 4"/>
                <a:gd name="T13" fmla="*/ 5 h 5"/>
                <a:gd name="T14" fmla="*/ 4 w 4"/>
                <a:gd name="T15" fmla="*/ 2 h 5"/>
                <a:gd name="T16" fmla="*/ 2 w 4"/>
                <a:gd name="T17" fmla="*/ 2 h 5"/>
                <a:gd name="T18" fmla="*/ 2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2" y="0"/>
                  </a:moveTo>
                  <a:lnTo>
                    <a:pt x="0" y="0"/>
                  </a:lnTo>
                  <a:lnTo>
                    <a:pt x="0" y="2"/>
                  </a:lnTo>
                  <a:lnTo>
                    <a:pt x="2" y="5"/>
                  </a:lnTo>
                  <a:lnTo>
                    <a:pt x="4" y="5"/>
                  </a:lnTo>
                  <a:lnTo>
                    <a:pt x="4" y="5"/>
                  </a:lnTo>
                  <a:lnTo>
                    <a:pt x="4" y="5"/>
                  </a:lnTo>
                  <a:lnTo>
                    <a:pt x="4" y="2"/>
                  </a:lnTo>
                  <a:lnTo>
                    <a:pt x="2" y="2"/>
                  </a:lnTo>
                  <a:lnTo>
                    <a:pt x="2"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74" name="îṣḷíďè"/>
            <p:cNvSpPr/>
            <p:nvPr/>
          </p:nvSpPr>
          <p:spPr bwMode="auto">
            <a:xfrm>
              <a:off x="3430" y="2015"/>
              <a:ext cx="4" cy="5"/>
            </a:xfrm>
            <a:custGeom>
              <a:avLst/>
              <a:gdLst>
                <a:gd name="T0" fmla="*/ 2 w 4"/>
                <a:gd name="T1" fmla="*/ 0 h 5"/>
                <a:gd name="T2" fmla="*/ 0 w 4"/>
                <a:gd name="T3" fmla="*/ 0 h 5"/>
                <a:gd name="T4" fmla="*/ 0 w 4"/>
                <a:gd name="T5" fmla="*/ 2 h 5"/>
                <a:gd name="T6" fmla="*/ 2 w 4"/>
                <a:gd name="T7" fmla="*/ 5 h 5"/>
                <a:gd name="T8" fmla="*/ 4 w 4"/>
                <a:gd name="T9" fmla="*/ 5 h 5"/>
                <a:gd name="T10" fmla="*/ 4 w 4"/>
                <a:gd name="T11" fmla="*/ 5 h 5"/>
                <a:gd name="T12" fmla="*/ 4 w 4"/>
                <a:gd name="T13" fmla="*/ 5 h 5"/>
                <a:gd name="T14" fmla="*/ 4 w 4"/>
                <a:gd name="T15" fmla="*/ 2 h 5"/>
                <a:gd name="T16" fmla="*/ 2 w 4"/>
                <a:gd name="T17" fmla="*/ 2 h 5"/>
                <a:gd name="T18" fmla="*/ 2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2" y="0"/>
                  </a:moveTo>
                  <a:lnTo>
                    <a:pt x="0" y="0"/>
                  </a:lnTo>
                  <a:lnTo>
                    <a:pt x="0" y="2"/>
                  </a:lnTo>
                  <a:lnTo>
                    <a:pt x="2" y="5"/>
                  </a:lnTo>
                  <a:lnTo>
                    <a:pt x="4" y="5"/>
                  </a:lnTo>
                  <a:lnTo>
                    <a:pt x="4" y="5"/>
                  </a:lnTo>
                  <a:lnTo>
                    <a:pt x="4" y="5"/>
                  </a:lnTo>
                  <a:lnTo>
                    <a:pt x="4" y="2"/>
                  </a:lnTo>
                  <a:lnTo>
                    <a:pt x="2" y="2"/>
                  </a:lnTo>
                  <a:lnTo>
                    <a:pt x="2"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75" name="íŝľîḋe"/>
            <p:cNvSpPr/>
            <p:nvPr/>
          </p:nvSpPr>
          <p:spPr bwMode="auto">
            <a:xfrm>
              <a:off x="3465" y="2003"/>
              <a:ext cx="5" cy="5"/>
            </a:xfrm>
            <a:custGeom>
              <a:avLst/>
              <a:gdLst>
                <a:gd name="T0" fmla="*/ 2 w 2"/>
                <a:gd name="T1" fmla="*/ 0 h 2"/>
                <a:gd name="T2" fmla="*/ 1 w 2"/>
                <a:gd name="T3" fmla="*/ 0 h 2"/>
                <a:gd name="T4" fmla="*/ 1 w 2"/>
                <a:gd name="T5" fmla="*/ 1 h 2"/>
                <a:gd name="T6" fmla="*/ 0 w 2"/>
                <a:gd name="T7" fmla="*/ 2 h 2"/>
                <a:gd name="T8" fmla="*/ 0 w 2"/>
                <a:gd name="T9" fmla="*/ 2 h 2"/>
                <a:gd name="T10" fmla="*/ 0 w 2"/>
                <a:gd name="T11" fmla="*/ 2 h 2"/>
                <a:gd name="T12" fmla="*/ 1 w 2"/>
                <a:gd name="T13" fmla="*/ 2 h 2"/>
                <a:gd name="T14" fmla="*/ 1 w 2"/>
                <a:gd name="T15" fmla="*/ 1 h 2"/>
                <a:gd name="T16" fmla="*/ 2 w 2"/>
                <a:gd name="T17" fmla="*/ 1 h 2"/>
                <a:gd name="T18" fmla="*/ 2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0"/>
                  </a:moveTo>
                  <a:cubicBezTo>
                    <a:pt x="1" y="0"/>
                    <a:pt x="1" y="0"/>
                    <a:pt x="1" y="0"/>
                  </a:cubicBezTo>
                  <a:cubicBezTo>
                    <a:pt x="1" y="1"/>
                    <a:pt x="1" y="1"/>
                    <a:pt x="1" y="1"/>
                  </a:cubicBezTo>
                  <a:cubicBezTo>
                    <a:pt x="0" y="1"/>
                    <a:pt x="0" y="1"/>
                    <a:pt x="0" y="2"/>
                  </a:cubicBezTo>
                  <a:cubicBezTo>
                    <a:pt x="0" y="2"/>
                    <a:pt x="0" y="2"/>
                    <a:pt x="0" y="2"/>
                  </a:cubicBezTo>
                  <a:cubicBezTo>
                    <a:pt x="0" y="2"/>
                    <a:pt x="0" y="2"/>
                    <a:pt x="0" y="2"/>
                  </a:cubicBezTo>
                  <a:cubicBezTo>
                    <a:pt x="1" y="2"/>
                    <a:pt x="1" y="2"/>
                    <a:pt x="1" y="2"/>
                  </a:cubicBezTo>
                  <a:cubicBezTo>
                    <a:pt x="1" y="1"/>
                    <a:pt x="1" y="1"/>
                    <a:pt x="1" y="1"/>
                  </a:cubicBezTo>
                  <a:cubicBezTo>
                    <a:pt x="1" y="1"/>
                    <a:pt x="1" y="1"/>
                    <a:pt x="2" y="1"/>
                  </a:cubicBezTo>
                  <a:cubicBezTo>
                    <a:pt x="2" y="0"/>
                    <a:pt x="2" y="0"/>
                    <a:pt x="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76" name="iŝḷïḓe"/>
            <p:cNvSpPr/>
            <p:nvPr/>
          </p:nvSpPr>
          <p:spPr bwMode="auto">
            <a:xfrm>
              <a:off x="3475" y="2010"/>
              <a:ext cx="5" cy="5"/>
            </a:xfrm>
            <a:custGeom>
              <a:avLst/>
              <a:gdLst>
                <a:gd name="T0" fmla="*/ 2 w 2"/>
                <a:gd name="T1" fmla="*/ 0 h 2"/>
                <a:gd name="T2" fmla="*/ 1 w 2"/>
                <a:gd name="T3" fmla="*/ 1 h 2"/>
                <a:gd name="T4" fmla="*/ 0 w 2"/>
                <a:gd name="T5" fmla="*/ 1 h 2"/>
                <a:gd name="T6" fmla="*/ 0 w 2"/>
                <a:gd name="T7" fmla="*/ 2 h 2"/>
                <a:gd name="T8" fmla="*/ 0 w 2"/>
                <a:gd name="T9" fmla="*/ 2 h 2"/>
                <a:gd name="T10" fmla="*/ 1 w 2"/>
                <a:gd name="T11" fmla="*/ 2 h 2"/>
                <a:gd name="T12" fmla="*/ 2 w 2"/>
                <a:gd name="T13" fmla="*/ 1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cubicBezTo>
                    <a:pt x="1" y="1"/>
                    <a:pt x="1" y="1"/>
                    <a:pt x="1" y="1"/>
                  </a:cubicBezTo>
                  <a:cubicBezTo>
                    <a:pt x="0" y="1"/>
                    <a:pt x="0" y="1"/>
                    <a:pt x="0" y="1"/>
                  </a:cubicBezTo>
                  <a:cubicBezTo>
                    <a:pt x="0" y="2"/>
                    <a:pt x="0" y="2"/>
                    <a:pt x="0" y="2"/>
                  </a:cubicBezTo>
                  <a:cubicBezTo>
                    <a:pt x="0" y="2"/>
                    <a:pt x="0" y="2"/>
                    <a:pt x="0" y="2"/>
                  </a:cubicBezTo>
                  <a:cubicBezTo>
                    <a:pt x="1" y="2"/>
                    <a:pt x="1" y="2"/>
                    <a:pt x="1" y="2"/>
                  </a:cubicBezTo>
                  <a:cubicBezTo>
                    <a:pt x="1" y="2"/>
                    <a:pt x="2" y="1"/>
                    <a:pt x="2" y="1"/>
                  </a:cubicBezTo>
                  <a:cubicBezTo>
                    <a:pt x="2" y="0"/>
                    <a:pt x="2" y="0"/>
                    <a:pt x="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77" name="ïṣḻîḍé"/>
            <p:cNvSpPr/>
            <p:nvPr/>
          </p:nvSpPr>
          <p:spPr bwMode="auto">
            <a:xfrm>
              <a:off x="3822" y="1799"/>
              <a:ext cx="83" cy="80"/>
            </a:xfrm>
            <a:custGeom>
              <a:avLst/>
              <a:gdLst>
                <a:gd name="T0" fmla="*/ 22 w 35"/>
                <a:gd name="T1" fmla="*/ 25 h 34"/>
                <a:gd name="T2" fmla="*/ 19 w 35"/>
                <a:gd name="T3" fmla="*/ 32 h 34"/>
                <a:gd name="T4" fmla="*/ 22 w 35"/>
                <a:gd name="T5" fmla="*/ 25 h 34"/>
                <a:gd name="T6" fmla="*/ 18 w 35"/>
                <a:gd name="T7" fmla="*/ 24 h 34"/>
                <a:gd name="T8" fmla="*/ 16 w 35"/>
                <a:gd name="T9" fmla="*/ 22 h 34"/>
                <a:gd name="T10" fmla="*/ 13 w 35"/>
                <a:gd name="T11" fmla="*/ 18 h 34"/>
                <a:gd name="T12" fmla="*/ 13 w 35"/>
                <a:gd name="T13" fmla="*/ 18 h 34"/>
                <a:gd name="T14" fmla="*/ 15 w 35"/>
                <a:gd name="T15" fmla="*/ 22 h 34"/>
                <a:gd name="T16" fmla="*/ 14 w 35"/>
                <a:gd name="T17" fmla="*/ 22 h 34"/>
                <a:gd name="T18" fmla="*/ 13 w 35"/>
                <a:gd name="T19" fmla="*/ 19 h 34"/>
                <a:gd name="T20" fmla="*/ 31 w 35"/>
                <a:gd name="T21" fmla="*/ 20 h 34"/>
                <a:gd name="T22" fmla="*/ 31 w 35"/>
                <a:gd name="T23" fmla="*/ 20 h 34"/>
                <a:gd name="T24" fmla="*/ 31 w 35"/>
                <a:gd name="T25" fmla="*/ 14 h 34"/>
                <a:gd name="T26" fmla="*/ 31 w 35"/>
                <a:gd name="T27" fmla="*/ 14 h 34"/>
                <a:gd name="T28" fmla="*/ 30 w 35"/>
                <a:gd name="T29" fmla="*/ 20 h 34"/>
                <a:gd name="T30" fmla="*/ 21 w 35"/>
                <a:gd name="T31" fmla="*/ 9 h 34"/>
                <a:gd name="T32" fmla="*/ 8 w 35"/>
                <a:gd name="T33" fmla="*/ 18 h 34"/>
                <a:gd name="T34" fmla="*/ 11 w 35"/>
                <a:gd name="T35" fmla="*/ 18 h 34"/>
                <a:gd name="T36" fmla="*/ 30 w 35"/>
                <a:gd name="T37" fmla="*/ 9 h 34"/>
                <a:gd name="T38" fmla="*/ 12 w 35"/>
                <a:gd name="T39" fmla="*/ 8 h 34"/>
                <a:gd name="T40" fmla="*/ 18 w 35"/>
                <a:gd name="T41" fmla="*/ 8 h 34"/>
                <a:gd name="T42" fmla="*/ 14 w 35"/>
                <a:gd name="T43" fmla="*/ 8 h 34"/>
                <a:gd name="T44" fmla="*/ 15 w 35"/>
                <a:gd name="T45" fmla="*/ 9 h 34"/>
                <a:gd name="T46" fmla="*/ 12 w 35"/>
                <a:gd name="T47" fmla="*/ 16 h 34"/>
                <a:gd name="T48" fmla="*/ 6 w 35"/>
                <a:gd name="T49" fmla="*/ 11 h 34"/>
                <a:gd name="T50" fmla="*/ 7 w 35"/>
                <a:gd name="T51" fmla="*/ 15 h 34"/>
                <a:gd name="T52" fmla="*/ 13 w 35"/>
                <a:gd name="T53" fmla="*/ 5 h 34"/>
                <a:gd name="T54" fmla="*/ 9 w 35"/>
                <a:gd name="T55" fmla="*/ 12 h 34"/>
                <a:gd name="T56" fmla="*/ 29 w 35"/>
                <a:gd name="T57" fmla="*/ 6 h 34"/>
                <a:gd name="T58" fmla="*/ 20 w 35"/>
                <a:gd name="T59" fmla="*/ 4 h 34"/>
                <a:gd name="T60" fmla="*/ 20 w 35"/>
                <a:gd name="T61" fmla="*/ 4 h 34"/>
                <a:gd name="T62" fmla="*/ 24 w 35"/>
                <a:gd name="T63" fmla="*/ 5 h 34"/>
                <a:gd name="T64" fmla="*/ 27 w 35"/>
                <a:gd name="T65" fmla="*/ 7 h 34"/>
                <a:gd name="T66" fmla="*/ 29 w 35"/>
                <a:gd name="T67" fmla="*/ 11 h 34"/>
                <a:gd name="T68" fmla="*/ 33 w 35"/>
                <a:gd name="T69" fmla="*/ 12 h 34"/>
                <a:gd name="T70" fmla="*/ 28 w 35"/>
                <a:gd name="T71" fmla="*/ 15 h 34"/>
                <a:gd name="T72" fmla="*/ 32 w 35"/>
                <a:gd name="T73" fmla="*/ 21 h 34"/>
                <a:gd name="T74" fmla="*/ 27 w 35"/>
                <a:gd name="T75" fmla="*/ 27 h 34"/>
                <a:gd name="T76" fmla="*/ 22 w 35"/>
                <a:gd name="T77" fmla="*/ 24 h 34"/>
                <a:gd name="T78" fmla="*/ 14 w 35"/>
                <a:gd name="T79" fmla="*/ 19 h 34"/>
                <a:gd name="T80" fmla="*/ 18 w 35"/>
                <a:gd name="T81" fmla="*/ 13 h 34"/>
                <a:gd name="T82" fmla="*/ 22 w 35"/>
                <a:gd name="T83" fmla="*/ 10 h 34"/>
                <a:gd name="T84" fmla="*/ 18 w 35"/>
                <a:gd name="T85" fmla="*/ 6 h 34"/>
                <a:gd name="T86" fmla="*/ 14 w 35"/>
                <a:gd name="T87" fmla="*/ 5 h 34"/>
                <a:gd name="T88" fmla="*/ 5 w 35"/>
                <a:gd name="T89" fmla="*/ 10 h 34"/>
                <a:gd name="T90" fmla="*/ 6 w 35"/>
                <a:gd name="T91" fmla="*/ 16 h 34"/>
                <a:gd name="T92" fmla="*/ 6 w 35"/>
                <a:gd name="T93" fmla="*/ 17 h 34"/>
                <a:gd name="T94" fmla="*/ 13 w 35"/>
                <a:gd name="T95" fmla="*/ 23 h 34"/>
                <a:gd name="T96" fmla="*/ 13 w 35"/>
                <a:gd name="T97" fmla="*/ 29 h 34"/>
                <a:gd name="T98" fmla="*/ 15 w 35"/>
                <a:gd name="T99" fmla="*/ 30 h 34"/>
                <a:gd name="T100" fmla="*/ 7 w 35"/>
                <a:gd name="T101" fmla="*/ 4 h 34"/>
                <a:gd name="T102" fmla="*/ 23 w 35"/>
                <a:gd name="T103" fmla="*/ 2 h 34"/>
                <a:gd name="T104" fmla="*/ 11 w 35"/>
                <a:gd name="T105" fmla="*/ 2 h 34"/>
                <a:gd name="T106" fmla="*/ 21 w 35"/>
                <a:gd name="T107" fmla="*/ 3 h 34"/>
                <a:gd name="T108" fmla="*/ 12 w 35"/>
                <a:gd name="T109" fmla="*/ 2 h 34"/>
                <a:gd name="T110" fmla="*/ 18 w 35"/>
                <a:gd name="T111" fmla="*/ 2 h 34"/>
                <a:gd name="T112" fmla="*/ 15 w 35"/>
                <a:gd name="T113" fmla="*/ 1 h 34"/>
                <a:gd name="T114" fmla="*/ 17 w 35"/>
                <a:gd name="T115" fmla="*/ 0 h 34"/>
                <a:gd name="T116" fmla="*/ 0 w 35"/>
                <a:gd name="T117" fmla="*/ 17 h 34"/>
                <a:gd name="T118" fmla="*/ 34 w 35"/>
                <a:gd name="T119" fmla="*/ 22 h 34"/>
                <a:gd name="T120" fmla="*/ 29 w 35"/>
                <a:gd name="T121"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 h="34">
                  <a:moveTo>
                    <a:pt x="22" y="32"/>
                  </a:moveTo>
                  <a:cubicBezTo>
                    <a:pt x="25" y="25"/>
                    <a:pt x="25" y="25"/>
                    <a:pt x="25" y="25"/>
                  </a:cubicBezTo>
                  <a:cubicBezTo>
                    <a:pt x="27" y="27"/>
                    <a:pt x="23" y="31"/>
                    <a:pt x="22" y="32"/>
                  </a:cubicBezTo>
                  <a:cubicBezTo>
                    <a:pt x="22" y="32"/>
                    <a:pt x="22" y="32"/>
                    <a:pt x="22" y="32"/>
                  </a:cubicBezTo>
                  <a:moveTo>
                    <a:pt x="19" y="32"/>
                  </a:moveTo>
                  <a:cubicBezTo>
                    <a:pt x="22" y="25"/>
                    <a:pt x="22" y="25"/>
                    <a:pt x="22" y="25"/>
                  </a:cubicBezTo>
                  <a:cubicBezTo>
                    <a:pt x="23" y="25"/>
                    <a:pt x="24" y="25"/>
                    <a:pt x="24" y="25"/>
                  </a:cubicBezTo>
                  <a:cubicBezTo>
                    <a:pt x="24" y="25"/>
                    <a:pt x="24" y="25"/>
                    <a:pt x="24" y="25"/>
                  </a:cubicBezTo>
                  <a:cubicBezTo>
                    <a:pt x="21" y="32"/>
                    <a:pt x="21" y="32"/>
                    <a:pt x="21" y="32"/>
                  </a:cubicBezTo>
                  <a:cubicBezTo>
                    <a:pt x="21" y="32"/>
                    <a:pt x="21" y="32"/>
                    <a:pt x="21" y="32"/>
                  </a:cubicBezTo>
                  <a:cubicBezTo>
                    <a:pt x="21" y="32"/>
                    <a:pt x="21" y="32"/>
                    <a:pt x="21" y="32"/>
                  </a:cubicBezTo>
                  <a:cubicBezTo>
                    <a:pt x="20" y="32"/>
                    <a:pt x="20" y="32"/>
                    <a:pt x="19" y="32"/>
                  </a:cubicBezTo>
                  <a:moveTo>
                    <a:pt x="17" y="33"/>
                  </a:moveTo>
                  <a:cubicBezTo>
                    <a:pt x="16" y="33"/>
                    <a:pt x="16" y="33"/>
                    <a:pt x="16" y="33"/>
                  </a:cubicBezTo>
                  <a:cubicBezTo>
                    <a:pt x="20" y="24"/>
                    <a:pt x="20" y="24"/>
                    <a:pt x="20" y="24"/>
                  </a:cubicBezTo>
                  <a:cubicBezTo>
                    <a:pt x="21" y="24"/>
                    <a:pt x="21" y="24"/>
                    <a:pt x="20" y="25"/>
                  </a:cubicBezTo>
                  <a:cubicBezTo>
                    <a:pt x="21" y="25"/>
                    <a:pt x="21" y="25"/>
                    <a:pt x="21" y="25"/>
                  </a:cubicBezTo>
                  <a:cubicBezTo>
                    <a:pt x="22" y="25"/>
                    <a:pt x="22" y="25"/>
                    <a:pt x="22" y="25"/>
                  </a:cubicBezTo>
                  <a:cubicBezTo>
                    <a:pt x="19" y="32"/>
                    <a:pt x="19" y="32"/>
                    <a:pt x="19" y="32"/>
                  </a:cubicBezTo>
                  <a:cubicBezTo>
                    <a:pt x="18" y="32"/>
                    <a:pt x="18" y="33"/>
                    <a:pt x="17" y="33"/>
                  </a:cubicBezTo>
                  <a:moveTo>
                    <a:pt x="16" y="32"/>
                  </a:moveTo>
                  <a:cubicBezTo>
                    <a:pt x="15" y="32"/>
                    <a:pt x="15" y="32"/>
                    <a:pt x="15" y="32"/>
                  </a:cubicBezTo>
                  <a:cubicBezTo>
                    <a:pt x="16" y="31"/>
                    <a:pt x="17" y="29"/>
                    <a:pt x="15" y="28"/>
                  </a:cubicBezTo>
                  <a:cubicBezTo>
                    <a:pt x="16" y="27"/>
                    <a:pt x="17" y="25"/>
                    <a:pt x="18" y="24"/>
                  </a:cubicBezTo>
                  <a:cubicBezTo>
                    <a:pt x="18" y="24"/>
                    <a:pt x="19" y="23"/>
                    <a:pt x="19" y="23"/>
                  </a:cubicBezTo>
                  <a:cubicBezTo>
                    <a:pt x="20" y="23"/>
                    <a:pt x="20" y="23"/>
                    <a:pt x="20" y="23"/>
                  </a:cubicBezTo>
                  <a:cubicBezTo>
                    <a:pt x="16" y="32"/>
                    <a:pt x="16" y="32"/>
                    <a:pt x="16" y="32"/>
                  </a:cubicBezTo>
                  <a:moveTo>
                    <a:pt x="15" y="28"/>
                  </a:moveTo>
                  <a:cubicBezTo>
                    <a:pt x="15" y="28"/>
                    <a:pt x="14" y="27"/>
                    <a:pt x="14" y="27"/>
                  </a:cubicBezTo>
                  <a:cubicBezTo>
                    <a:pt x="16" y="22"/>
                    <a:pt x="16" y="22"/>
                    <a:pt x="16" y="22"/>
                  </a:cubicBezTo>
                  <a:cubicBezTo>
                    <a:pt x="16" y="22"/>
                    <a:pt x="16" y="22"/>
                    <a:pt x="16" y="22"/>
                  </a:cubicBezTo>
                  <a:cubicBezTo>
                    <a:pt x="16" y="22"/>
                    <a:pt x="16" y="22"/>
                    <a:pt x="16" y="22"/>
                  </a:cubicBezTo>
                  <a:cubicBezTo>
                    <a:pt x="17" y="22"/>
                    <a:pt x="18" y="22"/>
                    <a:pt x="19" y="22"/>
                  </a:cubicBezTo>
                  <a:cubicBezTo>
                    <a:pt x="18" y="23"/>
                    <a:pt x="18" y="23"/>
                    <a:pt x="18" y="24"/>
                  </a:cubicBezTo>
                  <a:cubicBezTo>
                    <a:pt x="17" y="25"/>
                    <a:pt x="16" y="27"/>
                    <a:pt x="15" y="28"/>
                  </a:cubicBezTo>
                  <a:moveTo>
                    <a:pt x="13" y="18"/>
                  </a:moveTo>
                  <a:cubicBezTo>
                    <a:pt x="13" y="18"/>
                    <a:pt x="13" y="18"/>
                    <a:pt x="13" y="18"/>
                  </a:cubicBezTo>
                  <a:cubicBezTo>
                    <a:pt x="13" y="18"/>
                    <a:pt x="13" y="18"/>
                    <a:pt x="13" y="18"/>
                  </a:cubicBezTo>
                  <a:moveTo>
                    <a:pt x="12" y="18"/>
                  </a:moveTo>
                  <a:cubicBezTo>
                    <a:pt x="12" y="18"/>
                    <a:pt x="12" y="18"/>
                    <a:pt x="12" y="18"/>
                  </a:cubicBezTo>
                  <a:cubicBezTo>
                    <a:pt x="13" y="18"/>
                    <a:pt x="13" y="18"/>
                    <a:pt x="13" y="18"/>
                  </a:cubicBezTo>
                  <a:cubicBezTo>
                    <a:pt x="13" y="18"/>
                    <a:pt x="13" y="18"/>
                    <a:pt x="13" y="18"/>
                  </a:cubicBezTo>
                  <a:cubicBezTo>
                    <a:pt x="13" y="18"/>
                    <a:pt x="13" y="18"/>
                    <a:pt x="13" y="18"/>
                  </a:cubicBezTo>
                  <a:cubicBezTo>
                    <a:pt x="13" y="18"/>
                    <a:pt x="13" y="18"/>
                    <a:pt x="13" y="18"/>
                  </a:cubicBezTo>
                  <a:cubicBezTo>
                    <a:pt x="13" y="19"/>
                    <a:pt x="14" y="19"/>
                    <a:pt x="13" y="20"/>
                  </a:cubicBezTo>
                  <a:cubicBezTo>
                    <a:pt x="13" y="20"/>
                    <a:pt x="14" y="21"/>
                    <a:pt x="14" y="21"/>
                  </a:cubicBezTo>
                  <a:cubicBezTo>
                    <a:pt x="15" y="21"/>
                    <a:pt x="15" y="21"/>
                    <a:pt x="15" y="21"/>
                  </a:cubicBezTo>
                  <a:cubicBezTo>
                    <a:pt x="15" y="22"/>
                    <a:pt x="15" y="22"/>
                    <a:pt x="15" y="22"/>
                  </a:cubicBezTo>
                  <a:cubicBezTo>
                    <a:pt x="15" y="22"/>
                    <a:pt x="15" y="22"/>
                    <a:pt x="15" y="22"/>
                  </a:cubicBezTo>
                  <a:cubicBezTo>
                    <a:pt x="16" y="22"/>
                    <a:pt x="16" y="22"/>
                    <a:pt x="16" y="22"/>
                  </a:cubicBezTo>
                  <a:cubicBezTo>
                    <a:pt x="14" y="26"/>
                    <a:pt x="14" y="26"/>
                    <a:pt x="14" y="26"/>
                  </a:cubicBezTo>
                  <a:cubicBezTo>
                    <a:pt x="14" y="26"/>
                    <a:pt x="14" y="25"/>
                    <a:pt x="14" y="24"/>
                  </a:cubicBezTo>
                  <a:cubicBezTo>
                    <a:pt x="14" y="23"/>
                    <a:pt x="14" y="23"/>
                    <a:pt x="15" y="22"/>
                  </a:cubicBezTo>
                  <a:cubicBezTo>
                    <a:pt x="14" y="22"/>
                    <a:pt x="14" y="22"/>
                    <a:pt x="14" y="22"/>
                  </a:cubicBezTo>
                  <a:cubicBezTo>
                    <a:pt x="14" y="22"/>
                    <a:pt x="14" y="22"/>
                    <a:pt x="14" y="22"/>
                  </a:cubicBezTo>
                  <a:cubicBezTo>
                    <a:pt x="14" y="21"/>
                    <a:pt x="14" y="21"/>
                    <a:pt x="14" y="21"/>
                  </a:cubicBezTo>
                  <a:cubicBezTo>
                    <a:pt x="13" y="20"/>
                    <a:pt x="13" y="20"/>
                    <a:pt x="13" y="20"/>
                  </a:cubicBezTo>
                  <a:cubicBezTo>
                    <a:pt x="13" y="19"/>
                    <a:pt x="13" y="19"/>
                    <a:pt x="13" y="19"/>
                  </a:cubicBezTo>
                  <a:cubicBezTo>
                    <a:pt x="13" y="19"/>
                    <a:pt x="13" y="19"/>
                    <a:pt x="13" y="19"/>
                  </a:cubicBezTo>
                  <a:cubicBezTo>
                    <a:pt x="13" y="19"/>
                    <a:pt x="13" y="19"/>
                    <a:pt x="13" y="19"/>
                  </a:cubicBezTo>
                  <a:cubicBezTo>
                    <a:pt x="12" y="20"/>
                    <a:pt x="12" y="20"/>
                    <a:pt x="12" y="20"/>
                  </a:cubicBezTo>
                  <a:cubicBezTo>
                    <a:pt x="12" y="20"/>
                    <a:pt x="11" y="20"/>
                    <a:pt x="11" y="20"/>
                  </a:cubicBezTo>
                  <a:cubicBezTo>
                    <a:pt x="11" y="19"/>
                    <a:pt x="12" y="19"/>
                    <a:pt x="12" y="18"/>
                  </a:cubicBezTo>
                  <a:cubicBezTo>
                    <a:pt x="12" y="18"/>
                    <a:pt x="12" y="18"/>
                    <a:pt x="12" y="18"/>
                  </a:cubicBezTo>
                  <a:moveTo>
                    <a:pt x="31" y="20"/>
                  </a:moveTo>
                  <a:cubicBezTo>
                    <a:pt x="31" y="20"/>
                    <a:pt x="31" y="20"/>
                    <a:pt x="31" y="20"/>
                  </a:cubicBezTo>
                  <a:cubicBezTo>
                    <a:pt x="33" y="15"/>
                    <a:pt x="33" y="15"/>
                    <a:pt x="33" y="15"/>
                  </a:cubicBezTo>
                  <a:cubicBezTo>
                    <a:pt x="33" y="16"/>
                    <a:pt x="33" y="16"/>
                    <a:pt x="33" y="17"/>
                  </a:cubicBezTo>
                  <a:cubicBezTo>
                    <a:pt x="33" y="18"/>
                    <a:pt x="33" y="19"/>
                    <a:pt x="33" y="20"/>
                  </a:cubicBezTo>
                  <a:cubicBezTo>
                    <a:pt x="33" y="21"/>
                    <a:pt x="33" y="21"/>
                    <a:pt x="33" y="21"/>
                  </a:cubicBezTo>
                  <a:cubicBezTo>
                    <a:pt x="33" y="21"/>
                    <a:pt x="33" y="20"/>
                    <a:pt x="32" y="20"/>
                  </a:cubicBezTo>
                  <a:cubicBezTo>
                    <a:pt x="32" y="20"/>
                    <a:pt x="32" y="20"/>
                    <a:pt x="31" y="20"/>
                  </a:cubicBezTo>
                  <a:cubicBezTo>
                    <a:pt x="31" y="20"/>
                    <a:pt x="31" y="20"/>
                    <a:pt x="31" y="20"/>
                  </a:cubicBezTo>
                  <a:moveTo>
                    <a:pt x="29" y="19"/>
                  </a:moveTo>
                  <a:cubicBezTo>
                    <a:pt x="29" y="18"/>
                    <a:pt x="29" y="16"/>
                    <a:pt x="29" y="16"/>
                  </a:cubicBezTo>
                  <a:cubicBezTo>
                    <a:pt x="30" y="14"/>
                    <a:pt x="30" y="14"/>
                    <a:pt x="31" y="14"/>
                  </a:cubicBezTo>
                  <a:cubicBezTo>
                    <a:pt x="31" y="14"/>
                    <a:pt x="31" y="14"/>
                    <a:pt x="31" y="14"/>
                  </a:cubicBezTo>
                  <a:cubicBezTo>
                    <a:pt x="31" y="14"/>
                    <a:pt x="31" y="14"/>
                    <a:pt x="31" y="14"/>
                  </a:cubicBezTo>
                  <a:cubicBezTo>
                    <a:pt x="30" y="15"/>
                    <a:pt x="30" y="17"/>
                    <a:pt x="29" y="19"/>
                  </a:cubicBezTo>
                  <a:moveTo>
                    <a:pt x="30" y="20"/>
                  </a:moveTo>
                  <a:cubicBezTo>
                    <a:pt x="29" y="20"/>
                    <a:pt x="29" y="20"/>
                    <a:pt x="29" y="20"/>
                  </a:cubicBezTo>
                  <a:cubicBezTo>
                    <a:pt x="29" y="20"/>
                    <a:pt x="29" y="20"/>
                    <a:pt x="29" y="20"/>
                  </a:cubicBezTo>
                  <a:cubicBezTo>
                    <a:pt x="30" y="18"/>
                    <a:pt x="31" y="16"/>
                    <a:pt x="32" y="14"/>
                  </a:cubicBezTo>
                  <a:cubicBezTo>
                    <a:pt x="31" y="14"/>
                    <a:pt x="31" y="14"/>
                    <a:pt x="31" y="14"/>
                  </a:cubicBezTo>
                  <a:cubicBezTo>
                    <a:pt x="32" y="14"/>
                    <a:pt x="32" y="14"/>
                    <a:pt x="32" y="14"/>
                  </a:cubicBezTo>
                  <a:cubicBezTo>
                    <a:pt x="32" y="14"/>
                    <a:pt x="32" y="14"/>
                    <a:pt x="32" y="14"/>
                  </a:cubicBezTo>
                  <a:cubicBezTo>
                    <a:pt x="32" y="14"/>
                    <a:pt x="32" y="14"/>
                    <a:pt x="32" y="14"/>
                  </a:cubicBezTo>
                  <a:cubicBezTo>
                    <a:pt x="33" y="15"/>
                    <a:pt x="33" y="15"/>
                    <a:pt x="33" y="15"/>
                  </a:cubicBezTo>
                  <a:cubicBezTo>
                    <a:pt x="30" y="20"/>
                    <a:pt x="30" y="20"/>
                    <a:pt x="30" y="20"/>
                  </a:cubicBezTo>
                  <a:cubicBezTo>
                    <a:pt x="30" y="20"/>
                    <a:pt x="30" y="20"/>
                    <a:pt x="30" y="20"/>
                  </a:cubicBezTo>
                  <a:cubicBezTo>
                    <a:pt x="30" y="20"/>
                    <a:pt x="30" y="20"/>
                    <a:pt x="30" y="20"/>
                  </a:cubicBezTo>
                  <a:moveTo>
                    <a:pt x="18" y="12"/>
                  </a:moveTo>
                  <a:cubicBezTo>
                    <a:pt x="19" y="11"/>
                    <a:pt x="19" y="10"/>
                    <a:pt x="20" y="9"/>
                  </a:cubicBezTo>
                  <a:cubicBezTo>
                    <a:pt x="20" y="9"/>
                    <a:pt x="20" y="9"/>
                    <a:pt x="20" y="9"/>
                  </a:cubicBezTo>
                  <a:cubicBezTo>
                    <a:pt x="20" y="9"/>
                    <a:pt x="20" y="9"/>
                    <a:pt x="20" y="9"/>
                  </a:cubicBezTo>
                  <a:cubicBezTo>
                    <a:pt x="21" y="9"/>
                    <a:pt x="21" y="9"/>
                    <a:pt x="21" y="9"/>
                  </a:cubicBezTo>
                  <a:cubicBezTo>
                    <a:pt x="20" y="12"/>
                    <a:pt x="20" y="12"/>
                    <a:pt x="20" y="12"/>
                  </a:cubicBezTo>
                  <a:cubicBezTo>
                    <a:pt x="20" y="12"/>
                    <a:pt x="19" y="12"/>
                    <a:pt x="18" y="12"/>
                  </a:cubicBezTo>
                  <a:cubicBezTo>
                    <a:pt x="18" y="12"/>
                    <a:pt x="18" y="12"/>
                    <a:pt x="18" y="12"/>
                  </a:cubicBezTo>
                  <a:moveTo>
                    <a:pt x="11" y="20"/>
                  </a:moveTo>
                  <a:cubicBezTo>
                    <a:pt x="10" y="19"/>
                    <a:pt x="10" y="19"/>
                    <a:pt x="9" y="19"/>
                  </a:cubicBezTo>
                  <a:cubicBezTo>
                    <a:pt x="9" y="19"/>
                    <a:pt x="8" y="18"/>
                    <a:pt x="8" y="18"/>
                  </a:cubicBezTo>
                  <a:cubicBezTo>
                    <a:pt x="10" y="14"/>
                    <a:pt x="11" y="11"/>
                    <a:pt x="13" y="9"/>
                  </a:cubicBezTo>
                  <a:cubicBezTo>
                    <a:pt x="13" y="8"/>
                    <a:pt x="13" y="8"/>
                    <a:pt x="13" y="8"/>
                  </a:cubicBezTo>
                  <a:cubicBezTo>
                    <a:pt x="14" y="9"/>
                    <a:pt x="14" y="9"/>
                    <a:pt x="15" y="9"/>
                  </a:cubicBezTo>
                  <a:cubicBezTo>
                    <a:pt x="13" y="11"/>
                    <a:pt x="12" y="14"/>
                    <a:pt x="11" y="16"/>
                  </a:cubicBezTo>
                  <a:cubicBezTo>
                    <a:pt x="11" y="16"/>
                    <a:pt x="11" y="16"/>
                    <a:pt x="11" y="16"/>
                  </a:cubicBezTo>
                  <a:cubicBezTo>
                    <a:pt x="10" y="17"/>
                    <a:pt x="11" y="17"/>
                    <a:pt x="11" y="18"/>
                  </a:cubicBezTo>
                  <a:cubicBezTo>
                    <a:pt x="11" y="18"/>
                    <a:pt x="11" y="19"/>
                    <a:pt x="11" y="20"/>
                  </a:cubicBezTo>
                  <a:moveTo>
                    <a:pt x="30" y="9"/>
                  </a:moveTo>
                  <a:cubicBezTo>
                    <a:pt x="30" y="9"/>
                    <a:pt x="30" y="8"/>
                    <a:pt x="30" y="8"/>
                  </a:cubicBezTo>
                  <a:cubicBezTo>
                    <a:pt x="31" y="8"/>
                    <a:pt x="31" y="9"/>
                    <a:pt x="31" y="9"/>
                  </a:cubicBezTo>
                  <a:cubicBezTo>
                    <a:pt x="30" y="9"/>
                    <a:pt x="30" y="9"/>
                    <a:pt x="30" y="9"/>
                  </a:cubicBezTo>
                  <a:cubicBezTo>
                    <a:pt x="30" y="9"/>
                    <a:pt x="30" y="9"/>
                    <a:pt x="30" y="9"/>
                  </a:cubicBezTo>
                  <a:cubicBezTo>
                    <a:pt x="30" y="9"/>
                    <a:pt x="30" y="9"/>
                    <a:pt x="30" y="9"/>
                  </a:cubicBezTo>
                  <a:moveTo>
                    <a:pt x="8" y="17"/>
                  </a:moveTo>
                  <a:cubicBezTo>
                    <a:pt x="7" y="17"/>
                    <a:pt x="7" y="16"/>
                    <a:pt x="7" y="16"/>
                  </a:cubicBezTo>
                  <a:cubicBezTo>
                    <a:pt x="7" y="14"/>
                    <a:pt x="8" y="13"/>
                    <a:pt x="9" y="12"/>
                  </a:cubicBezTo>
                  <a:cubicBezTo>
                    <a:pt x="10" y="11"/>
                    <a:pt x="11" y="9"/>
                    <a:pt x="12" y="8"/>
                  </a:cubicBezTo>
                  <a:cubicBezTo>
                    <a:pt x="12" y="8"/>
                    <a:pt x="12" y="8"/>
                    <a:pt x="12" y="8"/>
                  </a:cubicBezTo>
                  <a:cubicBezTo>
                    <a:pt x="12" y="8"/>
                    <a:pt x="13" y="8"/>
                    <a:pt x="13" y="8"/>
                  </a:cubicBezTo>
                  <a:cubicBezTo>
                    <a:pt x="11" y="11"/>
                    <a:pt x="9" y="14"/>
                    <a:pt x="8" y="17"/>
                  </a:cubicBezTo>
                  <a:moveTo>
                    <a:pt x="14" y="17"/>
                  </a:moveTo>
                  <a:cubicBezTo>
                    <a:pt x="14" y="16"/>
                    <a:pt x="14" y="16"/>
                    <a:pt x="14" y="16"/>
                  </a:cubicBezTo>
                  <a:cubicBezTo>
                    <a:pt x="15" y="13"/>
                    <a:pt x="16" y="10"/>
                    <a:pt x="18" y="8"/>
                  </a:cubicBezTo>
                  <a:cubicBezTo>
                    <a:pt x="18" y="8"/>
                    <a:pt x="18" y="8"/>
                    <a:pt x="18" y="8"/>
                  </a:cubicBezTo>
                  <a:cubicBezTo>
                    <a:pt x="19" y="8"/>
                    <a:pt x="19" y="8"/>
                    <a:pt x="20" y="8"/>
                  </a:cubicBezTo>
                  <a:cubicBezTo>
                    <a:pt x="19" y="9"/>
                    <a:pt x="18" y="11"/>
                    <a:pt x="17" y="12"/>
                  </a:cubicBezTo>
                  <a:cubicBezTo>
                    <a:pt x="17" y="12"/>
                    <a:pt x="17" y="12"/>
                    <a:pt x="17" y="12"/>
                  </a:cubicBezTo>
                  <a:cubicBezTo>
                    <a:pt x="14" y="17"/>
                    <a:pt x="14" y="17"/>
                    <a:pt x="14" y="17"/>
                  </a:cubicBezTo>
                  <a:moveTo>
                    <a:pt x="15" y="8"/>
                  </a:moveTo>
                  <a:cubicBezTo>
                    <a:pt x="14" y="8"/>
                    <a:pt x="14" y="8"/>
                    <a:pt x="14" y="8"/>
                  </a:cubicBezTo>
                  <a:cubicBezTo>
                    <a:pt x="14" y="7"/>
                    <a:pt x="14" y="7"/>
                    <a:pt x="14" y="7"/>
                  </a:cubicBezTo>
                  <a:cubicBezTo>
                    <a:pt x="15" y="7"/>
                    <a:pt x="15" y="7"/>
                    <a:pt x="15" y="7"/>
                  </a:cubicBezTo>
                  <a:cubicBezTo>
                    <a:pt x="15" y="8"/>
                    <a:pt x="15" y="8"/>
                    <a:pt x="15" y="8"/>
                  </a:cubicBezTo>
                  <a:moveTo>
                    <a:pt x="12" y="16"/>
                  </a:moveTo>
                  <a:cubicBezTo>
                    <a:pt x="12" y="16"/>
                    <a:pt x="12" y="16"/>
                    <a:pt x="12" y="16"/>
                  </a:cubicBezTo>
                  <a:cubicBezTo>
                    <a:pt x="13" y="14"/>
                    <a:pt x="14" y="11"/>
                    <a:pt x="15" y="9"/>
                  </a:cubicBezTo>
                  <a:cubicBezTo>
                    <a:pt x="16" y="9"/>
                    <a:pt x="16" y="9"/>
                    <a:pt x="16" y="8"/>
                  </a:cubicBezTo>
                  <a:cubicBezTo>
                    <a:pt x="16" y="7"/>
                    <a:pt x="16" y="7"/>
                    <a:pt x="16" y="7"/>
                  </a:cubicBezTo>
                  <a:cubicBezTo>
                    <a:pt x="16" y="7"/>
                    <a:pt x="17" y="7"/>
                    <a:pt x="17" y="7"/>
                  </a:cubicBezTo>
                  <a:cubicBezTo>
                    <a:pt x="16" y="10"/>
                    <a:pt x="14" y="13"/>
                    <a:pt x="13" y="16"/>
                  </a:cubicBezTo>
                  <a:cubicBezTo>
                    <a:pt x="13" y="16"/>
                    <a:pt x="13" y="16"/>
                    <a:pt x="13" y="16"/>
                  </a:cubicBezTo>
                  <a:cubicBezTo>
                    <a:pt x="12" y="16"/>
                    <a:pt x="12" y="16"/>
                    <a:pt x="12" y="16"/>
                  </a:cubicBezTo>
                  <a:cubicBezTo>
                    <a:pt x="12" y="16"/>
                    <a:pt x="12" y="16"/>
                    <a:pt x="12" y="16"/>
                  </a:cubicBezTo>
                  <a:moveTo>
                    <a:pt x="6" y="11"/>
                  </a:moveTo>
                  <a:cubicBezTo>
                    <a:pt x="6" y="11"/>
                    <a:pt x="6" y="10"/>
                    <a:pt x="6" y="10"/>
                  </a:cubicBezTo>
                  <a:cubicBezTo>
                    <a:pt x="6" y="9"/>
                    <a:pt x="8" y="6"/>
                    <a:pt x="9" y="6"/>
                  </a:cubicBezTo>
                  <a:cubicBezTo>
                    <a:pt x="9" y="6"/>
                    <a:pt x="9" y="6"/>
                    <a:pt x="9" y="6"/>
                  </a:cubicBezTo>
                  <a:cubicBezTo>
                    <a:pt x="6" y="11"/>
                    <a:pt x="6" y="11"/>
                    <a:pt x="6" y="11"/>
                  </a:cubicBezTo>
                  <a:moveTo>
                    <a:pt x="29" y="10"/>
                  </a:moveTo>
                  <a:cubicBezTo>
                    <a:pt x="29" y="9"/>
                    <a:pt x="29" y="9"/>
                    <a:pt x="29" y="9"/>
                  </a:cubicBezTo>
                  <a:cubicBezTo>
                    <a:pt x="29" y="8"/>
                    <a:pt x="29" y="7"/>
                    <a:pt x="29" y="6"/>
                  </a:cubicBezTo>
                  <a:cubicBezTo>
                    <a:pt x="29" y="6"/>
                    <a:pt x="30" y="7"/>
                    <a:pt x="30" y="7"/>
                  </a:cubicBezTo>
                  <a:cubicBezTo>
                    <a:pt x="30" y="8"/>
                    <a:pt x="30" y="9"/>
                    <a:pt x="29" y="10"/>
                  </a:cubicBezTo>
                  <a:moveTo>
                    <a:pt x="7" y="15"/>
                  </a:moveTo>
                  <a:cubicBezTo>
                    <a:pt x="6" y="14"/>
                    <a:pt x="6" y="14"/>
                    <a:pt x="6" y="13"/>
                  </a:cubicBezTo>
                  <a:cubicBezTo>
                    <a:pt x="6" y="13"/>
                    <a:pt x="6" y="13"/>
                    <a:pt x="6" y="12"/>
                  </a:cubicBezTo>
                  <a:cubicBezTo>
                    <a:pt x="10" y="7"/>
                    <a:pt x="10" y="7"/>
                    <a:pt x="10" y="7"/>
                  </a:cubicBezTo>
                  <a:cubicBezTo>
                    <a:pt x="10" y="6"/>
                    <a:pt x="10" y="6"/>
                    <a:pt x="10" y="6"/>
                  </a:cubicBezTo>
                  <a:cubicBezTo>
                    <a:pt x="11" y="6"/>
                    <a:pt x="12" y="5"/>
                    <a:pt x="13" y="5"/>
                  </a:cubicBezTo>
                  <a:cubicBezTo>
                    <a:pt x="13" y="5"/>
                    <a:pt x="13" y="5"/>
                    <a:pt x="13" y="5"/>
                  </a:cubicBezTo>
                  <a:cubicBezTo>
                    <a:pt x="14" y="6"/>
                    <a:pt x="14" y="6"/>
                    <a:pt x="14" y="6"/>
                  </a:cubicBezTo>
                  <a:cubicBezTo>
                    <a:pt x="14" y="6"/>
                    <a:pt x="12" y="7"/>
                    <a:pt x="12" y="7"/>
                  </a:cubicBezTo>
                  <a:cubicBezTo>
                    <a:pt x="12" y="7"/>
                    <a:pt x="12" y="7"/>
                    <a:pt x="12" y="7"/>
                  </a:cubicBezTo>
                  <a:cubicBezTo>
                    <a:pt x="12" y="7"/>
                    <a:pt x="12" y="7"/>
                    <a:pt x="12" y="7"/>
                  </a:cubicBezTo>
                  <a:cubicBezTo>
                    <a:pt x="11" y="7"/>
                    <a:pt x="11" y="7"/>
                    <a:pt x="11" y="7"/>
                  </a:cubicBezTo>
                  <a:cubicBezTo>
                    <a:pt x="11" y="9"/>
                    <a:pt x="10" y="10"/>
                    <a:pt x="9" y="12"/>
                  </a:cubicBezTo>
                  <a:cubicBezTo>
                    <a:pt x="8" y="13"/>
                    <a:pt x="7" y="14"/>
                    <a:pt x="7" y="15"/>
                  </a:cubicBezTo>
                  <a:moveTo>
                    <a:pt x="28" y="8"/>
                  </a:moveTo>
                  <a:cubicBezTo>
                    <a:pt x="28" y="8"/>
                    <a:pt x="28" y="8"/>
                    <a:pt x="28" y="8"/>
                  </a:cubicBezTo>
                  <a:cubicBezTo>
                    <a:pt x="28" y="7"/>
                    <a:pt x="28" y="7"/>
                    <a:pt x="28" y="7"/>
                  </a:cubicBezTo>
                  <a:cubicBezTo>
                    <a:pt x="28" y="6"/>
                    <a:pt x="28" y="5"/>
                    <a:pt x="28" y="5"/>
                  </a:cubicBezTo>
                  <a:cubicBezTo>
                    <a:pt x="28" y="5"/>
                    <a:pt x="29" y="5"/>
                    <a:pt x="29" y="6"/>
                  </a:cubicBezTo>
                  <a:cubicBezTo>
                    <a:pt x="29" y="6"/>
                    <a:pt x="29" y="6"/>
                    <a:pt x="29" y="6"/>
                  </a:cubicBezTo>
                  <a:cubicBezTo>
                    <a:pt x="29" y="6"/>
                    <a:pt x="28" y="7"/>
                    <a:pt x="28" y="8"/>
                  </a:cubicBezTo>
                  <a:moveTo>
                    <a:pt x="9" y="5"/>
                  </a:moveTo>
                  <a:cubicBezTo>
                    <a:pt x="10" y="5"/>
                    <a:pt x="11" y="5"/>
                    <a:pt x="11" y="4"/>
                  </a:cubicBezTo>
                  <a:cubicBezTo>
                    <a:pt x="13" y="3"/>
                    <a:pt x="14" y="3"/>
                    <a:pt x="16" y="3"/>
                  </a:cubicBezTo>
                  <a:cubicBezTo>
                    <a:pt x="17" y="3"/>
                    <a:pt x="18" y="3"/>
                    <a:pt x="20" y="4"/>
                  </a:cubicBezTo>
                  <a:cubicBezTo>
                    <a:pt x="19" y="4"/>
                    <a:pt x="19" y="4"/>
                    <a:pt x="19"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1" y="4"/>
                    <a:pt x="21" y="4"/>
                    <a:pt x="22" y="5"/>
                  </a:cubicBezTo>
                  <a:cubicBezTo>
                    <a:pt x="22" y="5"/>
                    <a:pt x="23" y="5"/>
                    <a:pt x="23" y="5"/>
                  </a:cubicBezTo>
                  <a:cubicBezTo>
                    <a:pt x="23" y="6"/>
                    <a:pt x="23" y="6"/>
                    <a:pt x="23" y="6"/>
                  </a:cubicBezTo>
                  <a:cubicBezTo>
                    <a:pt x="24" y="6"/>
                    <a:pt x="24" y="6"/>
                    <a:pt x="24" y="6"/>
                  </a:cubicBezTo>
                  <a:cubicBezTo>
                    <a:pt x="24" y="5"/>
                    <a:pt x="24" y="5"/>
                    <a:pt x="24" y="5"/>
                  </a:cubicBezTo>
                  <a:cubicBezTo>
                    <a:pt x="24" y="5"/>
                    <a:pt x="25" y="4"/>
                    <a:pt x="26" y="4"/>
                  </a:cubicBezTo>
                  <a:cubicBezTo>
                    <a:pt x="26" y="4"/>
                    <a:pt x="26" y="4"/>
                    <a:pt x="26" y="4"/>
                  </a:cubicBezTo>
                  <a:cubicBezTo>
                    <a:pt x="27" y="4"/>
                    <a:pt x="27" y="4"/>
                    <a:pt x="27" y="4"/>
                  </a:cubicBezTo>
                  <a:cubicBezTo>
                    <a:pt x="27" y="5"/>
                    <a:pt x="27" y="5"/>
                    <a:pt x="27" y="5"/>
                  </a:cubicBezTo>
                  <a:cubicBezTo>
                    <a:pt x="27" y="5"/>
                    <a:pt x="27" y="6"/>
                    <a:pt x="27" y="7"/>
                  </a:cubicBezTo>
                  <a:cubicBezTo>
                    <a:pt x="27" y="7"/>
                    <a:pt x="27" y="7"/>
                    <a:pt x="27" y="7"/>
                  </a:cubicBezTo>
                  <a:cubicBezTo>
                    <a:pt x="27" y="7"/>
                    <a:pt x="27" y="8"/>
                    <a:pt x="27" y="8"/>
                  </a:cubicBezTo>
                  <a:cubicBezTo>
                    <a:pt x="28" y="9"/>
                    <a:pt x="28" y="10"/>
                    <a:pt x="29" y="11"/>
                  </a:cubicBezTo>
                  <a:cubicBezTo>
                    <a:pt x="29" y="11"/>
                    <a:pt x="29" y="11"/>
                    <a:pt x="29" y="11"/>
                  </a:cubicBezTo>
                  <a:cubicBezTo>
                    <a:pt x="29" y="11"/>
                    <a:pt x="29" y="11"/>
                    <a:pt x="29" y="11"/>
                  </a:cubicBezTo>
                  <a:cubicBezTo>
                    <a:pt x="29" y="11"/>
                    <a:pt x="29" y="11"/>
                    <a:pt x="29" y="11"/>
                  </a:cubicBezTo>
                  <a:cubicBezTo>
                    <a:pt x="29" y="11"/>
                    <a:pt x="29" y="11"/>
                    <a:pt x="29" y="11"/>
                  </a:cubicBezTo>
                  <a:cubicBezTo>
                    <a:pt x="30" y="11"/>
                    <a:pt x="30" y="11"/>
                    <a:pt x="30" y="11"/>
                  </a:cubicBezTo>
                  <a:cubicBezTo>
                    <a:pt x="30" y="11"/>
                    <a:pt x="30" y="11"/>
                    <a:pt x="31" y="10"/>
                  </a:cubicBezTo>
                  <a:cubicBezTo>
                    <a:pt x="31" y="10"/>
                    <a:pt x="31" y="10"/>
                    <a:pt x="31" y="10"/>
                  </a:cubicBezTo>
                  <a:cubicBezTo>
                    <a:pt x="31" y="10"/>
                    <a:pt x="32" y="11"/>
                    <a:pt x="32" y="11"/>
                  </a:cubicBezTo>
                  <a:cubicBezTo>
                    <a:pt x="32" y="12"/>
                    <a:pt x="32" y="12"/>
                    <a:pt x="32" y="12"/>
                  </a:cubicBezTo>
                  <a:cubicBezTo>
                    <a:pt x="33" y="12"/>
                    <a:pt x="33" y="12"/>
                    <a:pt x="33" y="12"/>
                  </a:cubicBezTo>
                  <a:cubicBezTo>
                    <a:pt x="33" y="12"/>
                    <a:pt x="33" y="12"/>
                    <a:pt x="33" y="13"/>
                  </a:cubicBezTo>
                  <a:cubicBezTo>
                    <a:pt x="33" y="13"/>
                    <a:pt x="32" y="13"/>
                    <a:pt x="32" y="13"/>
                  </a:cubicBezTo>
                  <a:cubicBezTo>
                    <a:pt x="32" y="13"/>
                    <a:pt x="32" y="13"/>
                    <a:pt x="32" y="13"/>
                  </a:cubicBezTo>
                  <a:cubicBezTo>
                    <a:pt x="31" y="13"/>
                    <a:pt x="31" y="13"/>
                    <a:pt x="31" y="13"/>
                  </a:cubicBezTo>
                  <a:cubicBezTo>
                    <a:pt x="31" y="13"/>
                    <a:pt x="31" y="13"/>
                    <a:pt x="31" y="13"/>
                  </a:cubicBezTo>
                  <a:cubicBezTo>
                    <a:pt x="30" y="13"/>
                    <a:pt x="29" y="14"/>
                    <a:pt x="28" y="15"/>
                  </a:cubicBezTo>
                  <a:cubicBezTo>
                    <a:pt x="28" y="16"/>
                    <a:pt x="27" y="19"/>
                    <a:pt x="28" y="21"/>
                  </a:cubicBezTo>
                  <a:cubicBezTo>
                    <a:pt x="29" y="21"/>
                    <a:pt x="29" y="21"/>
                    <a:pt x="30" y="21"/>
                  </a:cubicBezTo>
                  <a:cubicBezTo>
                    <a:pt x="30" y="21"/>
                    <a:pt x="30" y="21"/>
                    <a:pt x="30" y="21"/>
                  </a:cubicBezTo>
                  <a:cubicBezTo>
                    <a:pt x="31" y="21"/>
                    <a:pt x="31" y="21"/>
                    <a:pt x="31" y="21"/>
                  </a:cubicBezTo>
                  <a:cubicBezTo>
                    <a:pt x="31" y="21"/>
                    <a:pt x="31" y="21"/>
                    <a:pt x="31" y="21"/>
                  </a:cubicBezTo>
                  <a:cubicBezTo>
                    <a:pt x="32" y="21"/>
                    <a:pt x="32" y="21"/>
                    <a:pt x="32" y="21"/>
                  </a:cubicBezTo>
                  <a:cubicBezTo>
                    <a:pt x="32" y="21"/>
                    <a:pt x="32" y="22"/>
                    <a:pt x="31" y="25"/>
                  </a:cubicBezTo>
                  <a:cubicBezTo>
                    <a:pt x="31" y="25"/>
                    <a:pt x="31" y="25"/>
                    <a:pt x="31" y="25"/>
                  </a:cubicBezTo>
                  <a:cubicBezTo>
                    <a:pt x="31" y="25"/>
                    <a:pt x="31" y="25"/>
                    <a:pt x="31" y="25"/>
                  </a:cubicBezTo>
                  <a:cubicBezTo>
                    <a:pt x="31" y="25"/>
                    <a:pt x="31" y="25"/>
                    <a:pt x="31" y="25"/>
                  </a:cubicBezTo>
                  <a:cubicBezTo>
                    <a:pt x="30" y="28"/>
                    <a:pt x="27" y="30"/>
                    <a:pt x="25" y="31"/>
                  </a:cubicBezTo>
                  <a:cubicBezTo>
                    <a:pt x="26" y="30"/>
                    <a:pt x="27" y="28"/>
                    <a:pt x="27" y="27"/>
                  </a:cubicBezTo>
                  <a:cubicBezTo>
                    <a:pt x="27" y="26"/>
                    <a:pt x="26" y="25"/>
                    <a:pt x="26" y="24"/>
                  </a:cubicBezTo>
                  <a:cubicBezTo>
                    <a:pt x="25" y="24"/>
                    <a:pt x="25" y="24"/>
                    <a:pt x="25" y="24"/>
                  </a:cubicBezTo>
                  <a:cubicBezTo>
                    <a:pt x="25" y="24"/>
                    <a:pt x="25" y="24"/>
                    <a:pt x="25" y="24"/>
                  </a:cubicBezTo>
                  <a:cubicBezTo>
                    <a:pt x="24" y="24"/>
                    <a:pt x="24" y="24"/>
                    <a:pt x="24" y="24"/>
                  </a:cubicBezTo>
                  <a:cubicBezTo>
                    <a:pt x="24" y="24"/>
                    <a:pt x="23" y="24"/>
                    <a:pt x="23" y="24"/>
                  </a:cubicBezTo>
                  <a:cubicBezTo>
                    <a:pt x="22" y="24"/>
                    <a:pt x="22" y="24"/>
                    <a:pt x="22" y="24"/>
                  </a:cubicBezTo>
                  <a:cubicBezTo>
                    <a:pt x="21" y="22"/>
                    <a:pt x="18" y="21"/>
                    <a:pt x="16" y="21"/>
                  </a:cubicBezTo>
                  <a:cubicBezTo>
                    <a:pt x="16" y="21"/>
                    <a:pt x="16" y="21"/>
                    <a:pt x="16" y="21"/>
                  </a:cubicBezTo>
                  <a:cubicBezTo>
                    <a:pt x="16" y="20"/>
                    <a:pt x="16" y="20"/>
                    <a:pt x="15" y="20"/>
                  </a:cubicBezTo>
                  <a:cubicBezTo>
                    <a:pt x="15" y="20"/>
                    <a:pt x="15" y="20"/>
                    <a:pt x="15" y="20"/>
                  </a:cubicBezTo>
                  <a:cubicBezTo>
                    <a:pt x="15" y="20"/>
                    <a:pt x="15" y="20"/>
                    <a:pt x="15" y="20"/>
                  </a:cubicBezTo>
                  <a:cubicBezTo>
                    <a:pt x="14" y="19"/>
                    <a:pt x="14" y="19"/>
                    <a:pt x="14" y="19"/>
                  </a:cubicBezTo>
                  <a:cubicBezTo>
                    <a:pt x="14" y="19"/>
                    <a:pt x="14" y="18"/>
                    <a:pt x="14" y="18"/>
                  </a:cubicBezTo>
                  <a:cubicBezTo>
                    <a:pt x="14" y="18"/>
                    <a:pt x="14" y="18"/>
                    <a:pt x="14" y="18"/>
                  </a:cubicBezTo>
                  <a:cubicBezTo>
                    <a:pt x="15" y="18"/>
                    <a:pt x="15" y="18"/>
                    <a:pt x="15" y="17"/>
                  </a:cubicBezTo>
                  <a:cubicBezTo>
                    <a:pt x="16" y="17"/>
                    <a:pt x="16" y="15"/>
                    <a:pt x="17" y="15"/>
                  </a:cubicBezTo>
                  <a:cubicBezTo>
                    <a:pt x="17" y="14"/>
                    <a:pt x="18" y="13"/>
                    <a:pt x="18" y="13"/>
                  </a:cubicBezTo>
                  <a:cubicBezTo>
                    <a:pt x="18" y="13"/>
                    <a:pt x="18" y="13"/>
                    <a:pt x="18" y="13"/>
                  </a:cubicBezTo>
                  <a:cubicBezTo>
                    <a:pt x="19" y="13"/>
                    <a:pt x="20" y="13"/>
                    <a:pt x="20" y="13"/>
                  </a:cubicBezTo>
                  <a:cubicBezTo>
                    <a:pt x="20" y="13"/>
                    <a:pt x="20" y="13"/>
                    <a:pt x="20" y="13"/>
                  </a:cubicBezTo>
                  <a:cubicBezTo>
                    <a:pt x="21" y="13"/>
                    <a:pt x="21" y="13"/>
                    <a:pt x="21" y="12"/>
                  </a:cubicBezTo>
                  <a:cubicBezTo>
                    <a:pt x="21" y="12"/>
                    <a:pt x="21" y="12"/>
                    <a:pt x="21" y="12"/>
                  </a:cubicBezTo>
                  <a:cubicBezTo>
                    <a:pt x="21" y="11"/>
                    <a:pt x="21" y="11"/>
                    <a:pt x="22" y="10"/>
                  </a:cubicBezTo>
                  <a:cubicBezTo>
                    <a:pt x="22" y="10"/>
                    <a:pt x="22" y="10"/>
                    <a:pt x="22" y="10"/>
                  </a:cubicBezTo>
                  <a:cubicBezTo>
                    <a:pt x="22" y="10"/>
                    <a:pt x="22" y="9"/>
                    <a:pt x="22" y="9"/>
                  </a:cubicBezTo>
                  <a:cubicBezTo>
                    <a:pt x="21" y="8"/>
                    <a:pt x="21" y="8"/>
                    <a:pt x="21" y="8"/>
                  </a:cubicBezTo>
                  <a:cubicBezTo>
                    <a:pt x="21" y="8"/>
                    <a:pt x="21" y="8"/>
                    <a:pt x="21" y="8"/>
                  </a:cubicBezTo>
                  <a:cubicBezTo>
                    <a:pt x="21" y="8"/>
                    <a:pt x="21" y="8"/>
                    <a:pt x="21" y="8"/>
                  </a:cubicBezTo>
                  <a:cubicBezTo>
                    <a:pt x="20" y="7"/>
                    <a:pt x="19" y="7"/>
                    <a:pt x="18" y="7"/>
                  </a:cubicBezTo>
                  <a:cubicBezTo>
                    <a:pt x="18" y="6"/>
                    <a:pt x="18" y="6"/>
                    <a:pt x="18" y="6"/>
                  </a:cubicBezTo>
                  <a:cubicBezTo>
                    <a:pt x="17" y="6"/>
                    <a:pt x="17" y="6"/>
                    <a:pt x="17" y="6"/>
                  </a:cubicBezTo>
                  <a:cubicBezTo>
                    <a:pt x="17" y="6"/>
                    <a:pt x="16" y="6"/>
                    <a:pt x="16" y="6"/>
                  </a:cubicBezTo>
                  <a:cubicBezTo>
                    <a:pt x="15" y="6"/>
                    <a:pt x="15" y="6"/>
                    <a:pt x="15" y="6"/>
                  </a:cubicBezTo>
                  <a:cubicBezTo>
                    <a:pt x="15" y="6"/>
                    <a:pt x="15" y="6"/>
                    <a:pt x="15" y="6"/>
                  </a:cubicBezTo>
                  <a:cubicBezTo>
                    <a:pt x="15" y="5"/>
                    <a:pt x="15" y="5"/>
                    <a:pt x="15" y="5"/>
                  </a:cubicBezTo>
                  <a:cubicBezTo>
                    <a:pt x="14" y="5"/>
                    <a:pt x="14" y="5"/>
                    <a:pt x="14" y="5"/>
                  </a:cubicBezTo>
                  <a:cubicBezTo>
                    <a:pt x="14" y="4"/>
                    <a:pt x="14" y="4"/>
                    <a:pt x="14" y="4"/>
                  </a:cubicBezTo>
                  <a:cubicBezTo>
                    <a:pt x="13" y="4"/>
                    <a:pt x="13" y="4"/>
                    <a:pt x="13" y="4"/>
                  </a:cubicBezTo>
                  <a:cubicBezTo>
                    <a:pt x="12" y="4"/>
                    <a:pt x="12" y="4"/>
                    <a:pt x="12" y="4"/>
                  </a:cubicBezTo>
                  <a:cubicBezTo>
                    <a:pt x="12" y="5"/>
                    <a:pt x="10" y="5"/>
                    <a:pt x="9" y="5"/>
                  </a:cubicBezTo>
                  <a:cubicBezTo>
                    <a:pt x="8" y="5"/>
                    <a:pt x="6" y="7"/>
                    <a:pt x="5" y="10"/>
                  </a:cubicBezTo>
                  <a:cubicBezTo>
                    <a:pt x="5" y="10"/>
                    <a:pt x="5" y="10"/>
                    <a:pt x="5" y="10"/>
                  </a:cubicBezTo>
                  <a:cubicBezTo>
                    <a:pt x="4" y="11"/>
                    <a:pt x="5" y="11"/>
                    <a:pt x="5" y="12"/>
                  </a:cubicBezTo>
                  <a:cubicBezTo>
                    <a:pt x="5" y="13"/>
                    <a:pt x="5" y="13"/>
                    <a:pt x="5" y="13"/>
                  </a:cubicBezTo>
                  <a:cubicBezTo>
                    <a:pt x="5" y="13"/>
                    <a:pt x="5" y="13"/>
                    <a:pt x="5" y="13"/>
                  </a:cubicBezTo>
                  <a:cubicBezTo>
                    <a:pt x="5" y="13"/>
                    <a:pt x="5" y="13"/>
                    <a:pt x="5" y="13"/>
                  </a:cubicBezTo>
                  <a:cubicBezTo>
                    <a:pt x="5" y="13"/>
                    <a:pt x="5" y="13"/>
                    <a:pt x="5" y="13"/>
                  </a:cubicBezTo>
                  <a:cubicBezTo>
                    <a:pt x="5" y="14"/>
                    <a:pt x="5" y="15"/>
                    <a:pt x="6" y="16"/>
                  </a:cubicBezTo>
                  <a:cubicBezTo>
                    <a:pt x="6" y="17"/>
                    <a:pt x="6" y="17"/>
                    <a:pt x="6" y="17"/>
                  </a:cubicBezTo>
                  <a:cubicBezTo>
                    <a:pt x="6" y="17"/>
                    <a:pt x="6" y="17"/>
                    <a:pt x="6" y="17"/>
                  </a:cubicBezTo>
                  <a:cubicBezTo>
                    <a:pt x="6" y="17"/>
                    <a:pt x="6" y="17"/>
                    <a:pt x="6" y="17"/>
                  </a:cubicBezTo>
                  <a:cubicBezTo>
                    <a:pt x="6" y="17"/>
                    <a:pt x="6" y="17"/>
                    <a:pt x="6" y="17"/>
                  </a:cubicBezTo>
                  <a:cubicBezTo>
                    <a:pt x="6" y="17"/>
                    <a:pt x="6" y="17"/>
                    <a:pt x="6" y="17"/>
                  </a:cubicBezTo>
                  <a:cubicBezTo>
                    <a:pt x="6" y="17"/>
                    <a:pt x="6" y="17"/>
                    <a:pt x="6" y="17"/>
                  </a:cubicBezTo>
                  <a:cubicBezTo>
                    <a:pt x="7" y="17"/>
                    <a:pt x="8" y="19"/>
                    <a:pt x="9" y="20"/>
                  </a:cubicBezTo>
                  <a:cubicBezTo>
                    <a:pt x="9" y="20"/>
                    <a:pt x="11" y="21"/>
                    <a:pt x="12" y="21"/>
                  </a:cubicBezTo>
                  <a:cubicBezTo>
                    <a:pt x="12" y="21"/>
                    <a:pt x="12" y="21"/>
                    <a:pt x="12" y="21"/>
                  </a:cubicBezTo>
                  <a:cubicBezTo>
                    <a:pt x="13" y="22"/>
                    <a:pt x="13" y="22"/>
                    <a:pt x="13" y="22"/>
                  </a:cubicBezTo>
                  <a:cubicBezTo>
                    <a:pt x="13" y="22"/>
                    <a:pt x="13" y="22"/>
                    <a:pt x="13" y="22"/>
                  </a:cubicBezTo>
                  <a:cubicBezTo>
                    <a:pt x="13" y="23"/>
                    <a:pt x="13" y="23"/>
                    <a:pt x="13" y="23"/>
                  </a:cubicBezTo>
                  <a:cubicBezTo>
                    <a:pt x="13" y="24"/>
                    <a:pt x="13" y="24"/>
                    <a:pt x="13" y="24"/>
                  </a:cubicBezTo>
                  <a:cubicBezTo>
                    <a:pt x="13" y="24"/>
                    <a:pt x="13" y="24"/>
                    <a:pt x="13" y="24"/>
                  </a:cubicBezTo>
                  <a:cubicBezTo>
                    <a:pt x="13" y="25"/>
                    <a:pt x="12" y="26"/>
                    <a:pt x="13" y="28"/>
                  </a:cubicBezTo>
                  <a:cubicBezTo>
                    <a:pt x="13" y="28"/>
                    <a:pt x="13" y="28"/>
                    <a:pt x="13" y="28"/>
                  </a:cubicBezTo>
                  <a:cubicBezTo>
                    <a:pt x="13" y="28"/>
                    <a:pt x="13" y="29"/>
                    <a:pt x="13" y="29"/>
                  </a:cubicBezTo>
                  <a:cubicBezTo>
                    <a:pt x="13" y="29"/>
                    <a:pt x="13" y="29"/>
                    <a:pt x="13" y="29"/>
                  </a:cubicBezTo>
                  <a:cubicBezTo>
                    <a:pt x="14" y="29"/>
                    <a:pt x="14" y="29"/>
                    <a:pt x="14" y="29"/>
                  </a:cubicBezTo>
                  <a:cubicBezTo>
                    <a:pt x="14" y="28"/>
                    <a:pt x="14" y="28"/>
                    <a:pt x="14" y="28"/>
                  </a:cubicBezTo>
                  <a:cubicBezTo>
                    <a:pt x="15" y="29"/>
                    <a:pt x="15" y="29"/>
                    <a:pt x="15" y="29"/>
                  </a:cubicBezTo>
                  <a:cubicBezTo>
                    <a:pt x="14" y="29"/>
                    <a:pt x="14" y="29"/>
                    <a:pt x="14" y="29"/>
                  </a:cubicBezTo>
                  <a:cubicBezTo>
                    <a:pt x="14" y="30"/>
                    <a:pt x="14" y="30"/>
                    <a:pt x="14" y="30"/>
                  </a:cubicBezTo>
                  <a:cubicBezTo>
                    <a:pt x="15" y="30"/>
                    <a:pt x="15" y="30"/>
                    <a:pt x="15" y="30"/>
                  </a:cubicBezTo>
                  <a:cubicBezTo>
                    <a:pt x="15" y="30"/>
                    <a:pt x="15" y="30"/>
                    <a:pt x="15" y="30"/>
                  </a:cubicBezTo>
                  <a:cubicBezTo>
                    <a:pt x="15" y="30"/>
                    <a:pt x="15" y="30"/>
                    <a:pt x="15" y="30"/>
                  </a:cubicBezTo>
                  <a:cubicBezTo>
                    <a:pt x="15" y="30"/>
                    <a:pt x="15" y="30"/>
                    <a:pt x="15" y="31"/>
                  </a:cubicBezTo>
                  <a:cubicBezTo>
                    <a:pt x="15" y="32"/>
                    <a:pt x="14" y="32"/>
                    <a:pt x="14" y="32"/>
                  </a:cubicBezTo>
                  <a:cubicBezTo>
                    <a:pt x="7" y="31"/>
                    <a:pt x="1" y="26"/>
                    <a:pt x="1" y="17"/>
                  </a:cubicBezTo>
                  <a:cubicBezTo>
                    <a:pt x="1" y="11"/>
                    <a:pt x="3" y="7"/>
                    <a:pt x="7" y="4"/>
                  </a:cubicBezTo>
                  <a:cubicBezTo>
                    <a:pt x="8" y="5"/>
                    <a:pt x="8" y="5"/>
                    <a:pt x="8" y="5"/>
                  </a:cubicBezTo>
                  <a:cubicBezTo>
                    <a:pt x="8" y="5"/>
                    <a:pt x="8" y="5"/>
                    <a:pt x="8" y="5"/>
                  </a:cubicBezTo>
                  <a:cubicBezTo>
                    <a:pt x="9" y="5"/>
                    <a:pt x="9" y="5"/>
                    <a:pt x="9" y="5"/>
                  </a:cubicBezTo>
                  <a:moveTo>
                    <a:pt x="23" y="4"/>
                  </a:moveTo>
                  <a:cubicBezTo>
                    <a:pt x="22" y="4"/>
                    <a:pt x="22" y="4"/>
                    <a:pt x="22" y="4"/>
                  </a:cubicBezTo>
                  <a:cubicBezTo>
                    <a:pt x="23" y="3"/>
                    <a:pt x="23" y="3"/>
                    <a:pt x="23" y="2"/>
                  </a:cubicBezTo>
                  <a:cubicBezTo>
                    <a:pt x="24" y="3"/>
                    <a:pt x="24" y="3"/>
                    <a:pt x="25" y="3"/>
                  </a:cubicBezTo>
                  <a:cubicBezTo>
                    <a:pt x="24" y="3"/>
                    <a:pt x="24" y="4"/>
                    <a:pt x="23" y="4"/>
                  </a:cubicBezTo>
                  <a:moveTo>
                    <a:pt x="9" y="4"/>
                  </a:moveTo>
                  <a:cubicBezTo>
                    <a:pt x="9" y="4"/>
                    <a:pt x="9" y="4"/>
                    <a:pt x="9" y="4"/>
                  </a:cubicBezTo>
                  <a:cubicBezTo>
                    <a:pt x="8" y="4"/>
                    <a:pt x="8" y="4"/>
                    <a:pt x="8" y="4"/>
                  </a:cubicBezTo>
                  <a:cubicBezTo>
                    <a:pt x="9" y="3"/>
                    <a:pt x="10" y="3"/>
                    <a:pt x="11" y="2"/>
                  </a:cubicBezTo>
                  <a:cubicBezTo>
                    <a:pt x="11" y="3"/>
                    <a:pt x="11" y="3"/>
                    <a:pt x="11" y="3"/>
                  </a:cubicBezTo>
                  <a:cubicBezTo>
                    <a:pt x="11" y="3"/>
                    <a:pt x="11" y="3"/>
                    <a:pt x="11" y="3"/>
                  </a:cubicBezTo>
                  <a:cubicBezTo>
                    <a:pt x="10" y="4"/>
                    <a:pt x="10" y="4"/>
                    <a:pt x="9" y="4"/>
                  </a:cubicBezTo>
                  <a:moveTo>
                    <a:pt x="22" y="4"/>
                  </a:moveTo>
                  <a:cubicBezTo>
                    <a:pt x="21" y="3"/>
                    <a:pt x="21" y="3"/>
                    <a:pt x="21" y="3"/>
                  </a:cubicBezTo>
                  <a:cubicBezTo>
                    <a:pt x="21" y="3"/>
                    <a:pt x="21" y="3"/>
                    <a:pt x="21" y="3"/>
                  </a:cubicBezTo>
                  <a:cubicBezTo>
                    <a:pt x="21" y="3"/>
                    <a:pt x="21" y="3"/>
                    <a:pt x="21" y="3"/>
                  </a:cubicBezTo>
                  <a:cubicBezTo>
                    <a:pt x="21" y="2"/>
                    <a:pt x="21" y="2"/>
                    <a:pt x="21" y="2"/>
                  </a:cubicBezTo>
                  <a:cubicBezTo>
                    <a:pt x="22" y="2"/>
                    <a:pt x="22" y="2"/>
                    <a:pt x="23" y="2"/>
                  </a:cubicBezTo>
                  <a:cubicBezTo>
                    <a:pt x="22" y="3"/>
                    <a:pt x="22" y="3"/>
                    <a:pt x="22" y="4"/>
                  </a:cubicBezTo>
                  <a:moveTo>
                    <a:pt x="12" y="3"/>
                  </a:moveTo>
                  <a:cubicBezTo>
                    <a:pt x="12" y="2"/>
                    <a:pt x="12" y="2"/>
                    <a:pt x="12" y="2"/>
                  </a:cubicBezTo>
                  <a:cubicBezTo>
                    <a:pt x="12" y="2"/>
                    <a:pt x="13" y="2"/>
                    <a:pt x="14" y="1"/>
                  </a:cubicBezTo>
                  <a:cubicBezTo>
                    <a:pt x="14" y="2"/>
                    <a:pt x="14" y="2"/>
                    <a:pt x="14" y="2"/>
                  </a:cubicBezTo>
                  <a:cubicBezTo>
                    <a:pt x="14" y="2"/>
                    <a:pt x="14" y="2"/>
                    <a:pt x="14" y="2"/>
                  </a:cubicBezTo>
                  <a:cubicBezTo>
                    <a:pt x="13" y="2"/>
                    <a:pt x="12" y="2"/>
                    <a:pt x="12" y="3"/>
                  </a:cubicBezTo>
                  <a:moveTo>
                    <a:pt x="20" y="3"/>
                  </a:moveTo>
                  <a:cubicBezTo>
                    <a:pt x="19" y="2"/>
                    <a:pt x="19" y="2"/>
                    <a:pt x="18" y="2"/>
                  </a:cubicBezTo>
                  <a:cubicBezTo>
                    <a:pt x="18" y="1"/>
                    <a:pt x="18" y="1"/>
                    <a:pt x="18" y="1"/>
                  </a:cubicBezTo>
                  <a:cubicBezTo>
                    <a:pt x="19" y="1"/>
                    <a:pt x="20" y="1"/>
                    <a:pt x="20" y="2"/>
                  </a:cubicBezTo>
                  <a:cubicBezTo>
                    <a:pt x="21" y="2"/>
                    <a:pt x="21" y="2"/>
                    <a:pt x="21" y="2"/>
                  </a:cubicBezTo>
                  <a:cubicBezTo>
                    <a:pt x="20" y="3"/>
                    <a:pt x="20" y="3"/>
                    <a:pt x="20" y="3"/>
                  </a:cubicBezTo>
                  <a:moveTo>
                    <a:pt x="15" y="2"/>
                  </a:moveTo>
                  <a:cubicBezTo>
                    <a:pt x="15" y="1"/>
                    <a:pt x="15" y="1"/>
                    <a:pt x="15" y="1"/>
                  </a:cubicBezTo>
                  <a:cubicBezTo>
                    <a:pt x="15" y="1"/>
                    <a:pt x="16" y="1"/>
                    <a:pt x="17" y="1"/>
                  </a:cubicBezTo>
                  <a:cubicBezTo>
                    <a:pt x="17" y="1"/>
                    <a:pt x="17" y="1"/>
                    <a:pt x="18" y="1"/>
                  </a:cubicBezTo>
                  <a:cubicBezTo>
                    <a:pt x="17" y="2"/>
                    <a:pt x="17" y="2"/>
                    <a:pt x="17" y="2"/>
                  </a:cubicBezTo>
                  <a:cubicBezTo>
                    <a:pt x="17" y="2"/>
                    <a:pt x="16" y="2"/>
                    <a:pt x="16" y="2"/>
                  </a:cubicBezTo>
                  <a:cubicBezTo>
                    <a:pt x="15" y="2"/>
                    <a:pt x="15" y="2"/>
                    <a:pt x="15" y="2"/>
                  </a:cubicBezTo>
                  <a:moveTo>
                    <a:pt x="17" y="0"/>
                  </a:moveTo>
                  <a:cubicBezTo>
                    <a:pt x="17" y="0"/>
                    <a:pt x="17" y="0"/>
                    <a:pt x="17" y="0"/>
                  </a:cubicBezTo>
                  <a:cubicBezTo>
                    <a:pt x="17" y="0"/>
                    <a:pt x="17" y="0"/>
                    <a:pt x="17" y="0"/>
                  </a:cubicBezTo>
                  <a:cubicBezTo>
                    <a:pt x="13" y="0"/>
                    <a:pt x="10" y="1"/>
                    <a:pt x="6" y="3"/>
                  </a:cubicBezTo>
                  <a:cubicBezTo>
                    <a:pt x="6" y="4"/>
                    <a:pt x="6" y="4"/>
                    <a:pt x="6" y="4"/>
                  </a:cubicBezTo>
                  <a:cubicBezTo>
                    <a:pt x="5" y="4"/>
                    <a:pt x="5" y="4"/>
                    <a:pt x="5" y="4"/>
                  </a:cubicBezTo>
                  <a:cubicBezTo>
                    <a:pt x="2" y="7"/>
                    <a:pt x="0" y="12"/>
                    <a:pt x="0" y="17"/>
                  </a:cubicBezTo>
                  <a:cubicBezTo>
                    <a:pt x="0" y="27"/>
                    <a:pt x="7" y="33"/>
                    <a:pt x="15" y="33"/>
                  </a:cubicBezTo>
                  <a:cubicBezTo>
                    <a:pt x="15" y="34"/>
                    <a:pt x="15" y="34"/>
                    <a:pt x="15" y="34"/>
                  </a:cubicBezTo>
                  <a:cubicBezTo>
                    <a:pt x="15" y="34"/>
                    <a:pt x="16" y="34"/>
                    <a:pt x="17" y="34"/>
                  </a:cubicBezTo>
                  <a:cubicBezTo>
                    <a:pt x="21" y="34"/>
                    <a:pt x="22" y="33"/>
                    <a:pt x="22" y="33"/>
                  </a:cubicBezTo>
                  <a:cubicBezTo>
                    <a:pt x="25" y="32"/>
                    <a:pt x="27" y="31"/>
                    <a:pt x="29" y="29"/>
                  </a:cubicBezTo>
                  <a:cubicBezTo>
                    <a:pt x="31" y="27"/>
                    <a:pt x="33" y="25"/>
                    <a:pt x="34" y="22"/>
                  </a:cubicBezTo>
                  <a:cubicBezTo>
                    <a:pt x="34" y="21"/>
                    <a:pt x="34" y="21"/>
                    <a:pt x="34" y="21"/>
                  </a:cubicBezTo>
                  <a:cubicBezTo>
                    <a:pt x="34" y="21"/>
                    <a:pt x="34" y="21"/>
                    <a:pt x="34" y="20"/>
                  </a:cubicBezTo>
                  <a:cubicBezTo>
                    <a:pt x="34" y="19"/>
                    <a:pt x="35" y="18"/>
                    <a:pt x="34" y="17"/>
                  </a:cubicBezTo>
                  <a:cubicBezTo>
                    <a:pt x="34" y="17"/>
                    <a:pt x="34" y="17"/>
                    <a:pt x="34" y="17"/>
                  </a:cubicBezTo>
                  <a:cubicBezTo>
                    <a:pt x="34" y="12"/>
                    <a:pt x="33" y="8"/>
                    <a:pt x="30" y="5"/>
                  </a:cubicBezTo>
                  <a:cubicBezTo>
                    <a:pt x="29" y="4"/>
                    <a:pt x="29" y="4"/>
                    <a:pt x="29" y="4"/>
                  </a:cubicBezTo>
                  <a:cubicBezTo>
                    <a:pt x="29" y="4"/>
                    <a:pt x="29" y="4"/>
                    <a:pt x="29" y="4"/>
                  </a:cubicBezTo>
                  <a:cubicBezTo>
                    <a:pt x="29" y="4"/>
                    <a:pt x="29" y="4"/>
                    <a:pt x="29" y="4"/>
                  </a:cubicBezTo>
                  <a:cubicBezTo>
                    <a:pt x="28" y="4"/>
                    <a:pt x="28" y="4"/>
                    <a:pt x="28" y="4"/>
                  </a:cubicBezTo>
                  <a:cubicBezTo>
                    <a:pt x="25" y="1"/>
                    <a:pt x="21" y="0"/>
                    <a:pt x="1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78" name="iṣ1îďê"/>
            <p:cNvSpPr/>
            <p:nvPr/>
          </p:nvSpPr>
          <p:spPr bwMode="auto">
            <a:xfrm>
              <a:off x="3706" y="1963"/>
              <a:ext cx="38" cy="38"/>
            </a:xfrm>
            <a:custGeom>
              <a:avLst/>
              <a:gdLst>
                <a:gd name="T0" fmla="*/ 8 w 16"/>
                <a:gd name="T1" fmla="*/ 15 h 16"/>
                <a:gd name="T2" fmla="*/ 2 w 16"/>
                <a:gd name="T3" fmla="*/ 6 h 16"/>
                <a:gd name="T4" fmla="*/ 8 w 16"/>
                <a:gd name="T5" fmla="*/ 1 h 16"/>
                <a:gd name="T6" fmla="*/ 14 w 16"/>
                <a:gd name="T7" fmla="*/ 10 h 16"/>
                <a:gd name="T8" fmla="*/ 8 w 16"/>
                <a:gd name="T9" fmla="*/ 15 h 16"/>
                <a:gd name="T10" fmla="*/ 8 w 16"/>
                <a:gd name="T11" fmla="*/ 0 h 16"/>
                <a:gd name="T12" fmla="*/ 1 w 16"/>
                <a:gd name="T13" fmla="*/ 6 h 16"/>
                <a:gd name="T14" fmla="*/ 2 w 16"/>
                <a:gd name="T15" fmla="*/ 12 h 16"/>
                <a:gd name="T16" fmla="*/ 8 w 16"/>
                <a:gd name="T17" fmla="*/ 16 h 16"/>
                <a:gd name="T18" fmla="*/ 15 w 16"/>
                <a:gd name="T19" fmla="*/ 10 h 16"/>
                <a:gd name="T20" fmla="*/ 14 w 16"/>
                <a:gd name="T21" fmla="*/ 4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8" y="15"/>
                  </a:moveTo>
                  <a:cubicBezTo>
                    <a:pt x="4" y="15"/>
                    <a:pt x="0" y="11"/>
                    <a:pt x="2" y="6"/>
                  </a:cubicBezTo>
                  <a:cubicBezTo>
                    <a:pt x="3" y="3"/>
                    <a:pt x="5" y="1"/>
                    <a:pt x="8" y="1"/>
                  </a:cubicBezTo>
                  <a:cubicBezTo>
                    <a:pt x="12" y="1"/>
                    <a:pt x="16" y="5"/>
                    <a:pt x="14" y="10"/>
                  </a:cubicBezTo>
                  <a:cubicBezTo>
                    <a:pt x="13" y="13"/>
                    <a:pt x="11" y="15"/>
                    <a:pt x="8" y="15"/>
                  </a:cubicBezTo>
                  <a:moveTo>
                    <a:pt x="8" y="0"/>
                  </a:moveTo>
                  <a:cubicBezTo>
                    <a:pt x="4" y="0"/>
                    <a:pt x="2" y="2"/>
                    <a:pt x="1" y="6"/>
                  </a:cubicBezTo>
                  <a:cubicBezTo>
                    <a:pt x="0" y="8"/>
                    <a:pt x="0" y="11"/>
                    <a:pt x="2" y="12"/>
                  </a:cubicBezTo>
                  <a:cubicBezTo>
                    <a:pt x="3" y="14"/>
                    <a:pt x="5" y="16"/>
                    <a:pt x="8" y="16"/>
                  </a:cubicBezTo>
                  <a:cubicBezTo>
                    <a:pt x="11" y="16"/>
                    <a:pt x="14" y="14"/>
                    <a:pt x="15" y="10"/>
                  </a:cubicBezTo>
                  <a:cubicBezTo>
                    <a:pt x="16" y="8"/>
                    <a:pt x="15" y="6"/>
                    <a:pt x="14" y="4"/>
                  </a:cubicBezTo>
                  <a:cubicBezTo>
                    <a:pt x="13" y="2"/>
                    <a:pt x="10" y="0"/>
                    <a:pt x="8"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79" name="íşḷïḍê"/>
            <p:cNvSpPr/>
            <p:nvPr/>
          </p:nvSpPr>
          <p:spPr bwMode="auto">
            <a:xfrm>
              <a:off x="3694" y="1958"/>
              <a:ext cx="57" cy="76"/>
            </a:xfrm>
            <a:custGeom>
              <a:avLst/>
              <a:gdLst>
                <a:gd name="T0" fmla="*/ 1 w 24"/>
                <a:gd name="T1" fmla="*/ 30 h 32"/>
                <a:gd name="T2" fmla="*/ 2 w 24"/>
                <a:gd name="T3" fmla="*/ 30 h 32"/>
                <a:gd name="T4" fmla="*/ 0 w 24"/>
                <a:gd name="T5" fmla="*/ 29 h 32"/>
                <a:gd name="T6" fmla="*/ 1 w 24"/>
                <a:gd name="T7" fmla="*/ 29 h 32"/>
                <a:gd name="T8" fmla="*/ 1 w 24"/>
                <a:gd name="T9" fmla="*/ 29 h 32"/>
                <a:gd name="T10" fmla="*/ 5 w 24"/>
                <a:gd name="T11" fmla="*/ 22 h 32"/>
                <a:gd name="T12" fmla="*/ 6 w 24"/>
                <a:gd name="T13" fmla="*/ 23 h 32"/>
                <a:gd name="T14" fmla="*/ 6 w 24"/>
                <a:gd name="T15" fmla="*/ 23 h 32"/>
                <a:gd name="T16" fmla="*/ 7 w 24"/>
                <a:gd name="T17" fmla="*/ 23 h 32"/>
                <a:gd name="T18" fmla="*/ 7 w 24"/>
                <a:gd name="T19" fmla="*/ 24 h 32"/>
                <a:gd name="T20" fmla="*/ 5 w 24"/>
                <a:gd name="T21" fmla="*/ 24 h 32"/>
                <a:gd name="T22" fmla="*/ 7 w 24"/>
                <a:gd name="T23" fmla="*/ 24 h 32"/>
                <a:gd name="T24" fmla="*/ 7 w 24"/>
                <a:gd name="T25" fmla="*/ 25 h 32"/>
                <a:gd name="T26" fmla="*/ 5 w 24"/>
                <a:gd name="T27" fmla="*/ 26 h 32"/>
                <a:gd name="T28" fmla="*/ 6 w 24"/>
                <a:gd name="T29" fmla="*/ 26 h 32"/>
                <a:gd name="T30" fmla="*/ 4 w 24"/>
                <a:gd name="T31" fmla="*/ 26 h 32"/>
                <a:gd name="T32" fmla="*/ 6 w 24"/>
                <a:gd name="T33" fmla="*/ 26 h 32"/>
                <a:gd name="T34" fmla="*/ 5 w 24"/>
                <a:gd name="T35" fmla="*/ 27 h 32"/>
                <a:gd name="T36" fmla="*/ 4 w 24"/>
                <a:gd name="T37" fmla="*/ 28 h 32"/>
                <a:gd name="T38" fmla="*/ 5 w 24"/>
                <a:gd name="T39" fmla="*/ 28 h 32"/>
                <a:gd name="T40" fmla="*/ 3 w 24"/>
                <a:gd name="T41" fmla="*/ 29 h 32"/>
                <a:gd name="T42" fmla="*/ 5 w 24"/>
                <a:gd name="T43" fmla="*/ 29 h 32"/>
                <a:gd name="T44" fmla="*/ 4 w 24"/>
                <a:gd name="T45" fmla="*/ 29 h 32"/>
                <a:gd name="T46" fmla="*/ 3 w 24"/>
                <a:gd name="T47" fmla="*/ 30 h 32"/>
                <a:gd name="T48" fmla="*/ 3 w 24"/>
                <a:gd name="T49" fmla="*/ 31 h 32"/>
                <a:gd name="T50" fmla="*/ 3 w 24"/>
                <a:gd name="T51" fmla="*/ 30 h 32"/>
                <a:gd name="T52" fmla="*/ 1 w 24"/>
                <a:gd name="T53" fmla="*/ 30 h 32"/>
                <a:gd name="T54" fmla="*/ 1 w 24"/>
                <a:gd name="T55" fmla="*/ 30 h 32"/>
                <a:gd name="T56" fmla="*/ 1 w 24"/>
                <a:gd name="T57" fmla="*/ 29 h 32"/>
                <a:gd name="T58" fmla="*/ 7 w 24"/>
                <a:gd name="T59" fmla="*/ 22 h 32"/>
                <a:gd name="T60" fmla="*/ 6 w 24"/>
                <a:gd name="T61" fmla="*/ 22 h 32"/>
                <a:gd name="T62" fmla="*/ 9 w 24"/>
                <a:gd name="T63" fmla="*/ 19 h 32"/>
                <a:gd name="T64" fmla="*/ 13 w 24"/>
                <a:gd name="T65" fmla="*/ 19 h 32"/>
                <a:gd name="T66" fmla="*/ 13 w 24"/>
                <a:gd name="T67" fmla="*/ 1 h 32"/>
                <a:gd name="T68" fmla="*/ 13 w 24"/>
                <a:gd name="T69" fmla="*/ 19 h 32"/>
                <a:gd name="T70" fmla="*/ 4 w 24"/>
                <a:gd name="T71" fmla="*/ 6 h 32"/>
                <a:gd name="T72" fmla="*/ 7 w 24"/>
                <a:gd name="T73" fmla="*/ 18 h 32"/>
                <a:gd name="T74" fmla="*/ 4 w 24"/>
                <a:gd name="T75" fmla="*/ 22 h 32"/>
                <a:gd name="T76" fmla="*/ 4 w 24"/>
                <a:gd name="T77" fmla="*/ 22 h 32"/>
                <a:gd name="T78" fmla="*/ 4 w 24"/>
                <a:gd name="T79" fmla="*/ 22 h 32"/>
                <a:gd name="T80" fmla="*/ 0 w 24"/>
                <a:gd name="T81" fmla="*/ 29 h 32"/>
                <a:gd name="T82" fmla="*/ 0 w 24"/>
                <a:gd name="T83" fmla="*/ 30 h 32"/>
                <a:gd name="T84" fmla="*/ 4 w 24"/>
                <a:gd name="T85" fmla="*/ 32 h 32"/>
                <a:gd name="T86" fmla="*/ 8 w 24"/>
                <a:gd name="T87" fmla="*/ 24 h 32"/>
                <a:gd name="T88" fmla="*/ 8 w 24"/>
                <a:gd name="T89" fmla="*/ 24 h 32"/>
                <a:gd name="T90" fmla="*/ 8 w 24"/>
                <a:gd name="T91" fmla="*/ 24 h 32"/>
                <a:gd name="T92" fmla="*/ 10 w 24"/>
                <a:gd name="T93" fmla="*/ 20 h 32"/>
                <a:gd name="T94" fmla="*/ 22 w 24"/>
                <a:gd name="T95" fmla="*/ 14 h 32"/>
                <a:gd name="T96" fmla="*/ 13 w 24"/>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 h="32">
                  <a:moveTo>
                    <a:pt x="3" y="31"/>
                  </a:moveTo>
                  <a:cubicBezTo>
                    <a:pt x="2" y="31"/>
                    <a:pt x="2" y="31"/>
                    <a:pt x="1" y="30"/>
                  </a:cubicBezTo>
                  <a:cubicBezTo>
                    <a:pt x="2" y="30"/>
                    <a:pt x="2" y="30"/>
                    <a:pt x="2" y="30"/>
                  </a:cubicBezTo>
                  <a:cubicBezTo>
                    <a:pt x="2" y="30"/>
                    <a:pt x="2" y="30"/>
                    <a:pt x="2" y="30"/>
                  </a:cubicBezTo>
                  <a:cubicBezTo>
                    <a:pt x="3" y="31"/>
                    <a:pt x="3" y="31"/>
                    <a:pt x="3" y="31"/>
                  </a:cubicBezTo>
                  <a:moveTo>
                    <a:pt x="0" y="29"/>
                  </a:moveTo>
                  <a:cubicBezTo>
                    <a:pt x="0" y="29"/>
                    <a:pt x="0" y="29"/>
                    <a:pt x="0" y="29"/>
                  </a:cubicBezTo>
                  <a:cubicBezTo>
                    <a:pt x="1" y="29"/>
                    <a:pt x="1" y="29"/>
                    <a:pt x="1" y="29"/>
                  </a:cubicBezTo>
                  <a:cubicBezTo>
                    <a:pt x="0" y="29"/>
                    <a:pt x="0" y="29"/>
                    <a:pt x="0" y="29"/>
                  </a:cubicBezTo>
                  <a:moveTo>
                    <a:pt x="1" y="29"/>
                  </a:moveTo>
                  <a:cubicBezTo>
                    <a:pt x="1" y="28"/>
                    <a:pt x="1" y="28"/>
                    <a:pt x="1" y="28"/>
                  </a:cubicBezTo>
                  <a:cubicBezTo>
                    <a:pt x="3" y="26"/>
                    <a:pt x="3" y="25"/>
                    <a:pt x="5" y="22"/>
                  </a:cubicBezTo>
                  <a:cubicBezTo>
                    <a:pt x="5" y="22"/>
                    <a:pt x="5" y="22"/>
                    <a:pt x="5" y="22"/>
                  </a:cubicBezTo>
                  <a:cubicBezTo>
                    <a:pt x="5" y="22"/>
                    <a:pt x="5" y="23"/>
                    <a:pt x="6" y="23"/>
                  </a:cubicBezTo>
                  <a:cubicBezTo>
                    <a:pt x="6" y="23"/>
                    <a:pt x="6" y="23"/>
                    <a:pt x="6" y="23"/>
                  </a:cubicBezTo>
                  <a:cubicBezTo>
                    <a:pt x="6" y="23"/>
                    <a:pt x="6" y="23"/>
                    <a:pt x="6" y="23"/>
                  </a:cubicBezTo>
                  <a:cubicBezTo>
                    <a:pt x="6" y="24"/>
                    <a:pt x="6" y="24"/>
                    <a:pt x="6" y="24"/>
                  </a:cubicBezTo>
                  <a:cubicBezTo>
                    <a:pt x="7" y="23"/>
                    <a:pt x="7" y="23"/>
                    <a:pt x="7" y="23"/>
                  </a:cubicBezTo>
                  <a:cubicBezTo>
                    <a:pt x="7" y="24"/>
                    <a:pt x="7" y="24"/>
                    <a:pt x="7" y="24"/>
                  </a:cubicBezTo>
                  <a:cubicBezTo>
                    <a:pt x="7" y="24"/>
                    <a:pt x="7" y="24"/>
                    <a:pt x="7" y="24"/>
                  </a:cubicBezTo>
                  <a:cubicBezTo>
                    <a:pt x="7" y="24"/>
                    <a:pt x="7" y="24"/>
                    <a:pt x="7" y="24"/>
                  </a:cubicBezTo>
                  <a:cubicBezTo>
                    <a:pt x="7" y="24"/>
                    <a:pt x="6" y="24"/>
                    <a:pt x="5" y="24"/>
                  </a:cubicBezTo>
                  <a:cubicBezTo>
                    <a:pt x="6" y="25"/>
                    <a:pt x="6" y="25"/>
                    <a:pt x="6" y="25"/>
                  </a:cubicBezTo>
                  <a:cubicBezTo>
                    <a:pt x="6" y="25"/>
                    <a:pt x="6" y="24"/>
                    <a:pt x="7" y="24"/>
                  </a:cubicBezTo>
                  <a:cubicBezTo>
                    <a:pt x="7" y="25"/>
                    <a:pt x="7" y="25"/>
                    <a:pt x="7" y="25"/>
                  </a:cubicBezTo>
                  <a:cubicBezTo>
                    <a:pt x="7" y="25"/>
                    <a:pt x="7" y="25"/>
                    <a:pt x="7" y="25"/>
                  </a:cubicBezTo>
                  <a:cubicBezTo>
                    <a:pt x="5" y="25"/>
                    <a:pt x="5" y="25"/>
                    <a:pt x="5" y="25"/>
                  </a:cubicBezTo>
                  <a:cubicBezTo>
                    <a:pt x="5" y="26"/>
                    <a:pt x="5" y="26"/>
                    <a:pt x="5" y="26"/>
                  </a:cubicBezTo>
                  <a:cubicBezTo>
                    <a:pt x="6" y="25"/>
                    <a:pt x="6" y="25"/>
                    <a:pt x="6" y="25"/>
                  </a:cubicBezTo>
                  <a:cubicBezTo>
                    <a:pt x="6" y="26"/>
                    <a:pt x="6" y="26"/>
                    <a:pt x="6" y="26"/>
                  </a:cubicBezTo>
                  <a:cubicBezTo>
                    <a:pt x="6" y="26"/>
                    <a:pt x="6" y="26"/>
                    <a:pt x="6" y="26"/>
                  </a:cubicBezTo>
                  <a:cubicBezTo>
                    <a:pt x="5" y="26"/>
                    <a:pt x="5" y="26"/>
                    <a:pt x="4" y="26"/>
                  </a:cubicBezTo>
                  <a:cubicBezTo>
                    <a:pt x="4" y="27"/>
                    <a:pt x="4" y="27"/>
                    <a:pt x="4" y="27"/>
                  </a:cubicBezTo>
                  <a:cubicBezTo>
                    <a:pt x="5" y="27"/>
                    <a:pt x="5" y="26"/>
                    <a:pt x="6" y="26"/>
                  </a:cubicBezTo>
                  <a:cubicBezTo>
                    <a:pt x="6" y="27"/>
                    <a:pt x="6" y="27"/>
                    <a:pt x="6" y="27"/>
                  </a:cubicBezTo>
                  <a:cubicBezTo>
                    <a:pt x="5" y="27"/>
                    <a:pt x="5" y="27"/>
                    <a:pt x="5" y="27"/>
                  </a:cubicBezTo>
                  <a:cubicBezTo>
                    <a:pt x="5" y="27"/>
                    <a:pt x="4" y="27"/>
                    <a:pt x="4" y="28"/>
                  </a:cubicBezTo>
                  <a:cubicBezTo>
                    <a:pt x="4" y="28"/>
                    <a:pt x="4" y="28"/>
                    <a:pt x="4" y="28"/>
                  </a:cubicBezTo>
                  <a:cubicBezTo>
                    <a:pt x="4" y="28"/>
                    <a:pt x="5" y="27"/>
                    <a:pt x="5" y="27"/>
                  </a:cubicBezTo>
                  <a:cubicBezTo>
                    <a:pt x="5" y="28"/>
                    <a:pt x="5" y="28"/>
                    <a:pt x="5" y="28"/>
                  </a:cubicBezTo>
                  <a:cubicBezTo>
                    <a:pt x="5" y="28"/>
                    <a:pt x="5" y="28"/>
                    <a:pt x="5" y="28"/>
                  </a:cubicBezTo>
                  <a:cubicBezTo>
                    <a:pt x="3" y="29"/>
                    <a:pt x="3" y="29"/>
                    <a:pt x="3" y="29"/>
                  </a:cubicBezTo>
                  <a:cubicBezTo>
                    <a:pt x="4" y="29"/>
                    <a:pt x="4" y="29"/>
                    <a:pt x="4" y="29"/>
                  </a:cubicBezTo>
                  <a:cubicBezTo>
                    <a:pt x="5" y="29"/>
                    <a:pt x="5" y="29"/>
                    <a:pt x="5" y="29"/>
                  </a:cubicBezTo>
                  <a:cubicBezTo>
                    <a:pt x="4" y="29"/>
                    <a:pt x="4" y="29"/>
                    <a:pt x="4" y="29"/>
                  </a:cubicBezTo>
                  <a:cubicBezTo>
                    <a:pt x="4" y="29"/>
                    <a:pt x="4" y="29"/>
                    <a:pt x="4" y="29"/>
                  </a:cubicBezTo>
                  <a:cubicBezTo>
                    <a:pt x="4" y="29"/>
                    <a:pt x="3" y="29"/>
                    <a:pt x="3" y="30"/>
                  </a:cubicBezTo>
                  <a:cubicBezTo>
                    <a:pt x="3" y="30"/>
                    <a:pt x="3" y="30"/>
                    <a:pt x="3" y="30"/>
                  </a:cubicBezTo>
                  <a:cubicBezTo>
                    <a:pt x="3" y="30"/>
                    <a:pt x="4" y="30"/>
                    <a:pt x="4" y="30"/>
                  </a:cubicBezTo>
                  <a:cubicBezTo>
                    <a:pt x="4" y="30"/>
                    <a:pt x="4" y="31"/>
                    <a:pt x="3" y="31"/>
                  </a:cubicBezTo>
                  <a:cubicBezTo>
                    <a:pt x="3" y="31"/>
                    <a:pt x="3" y="31"/>
                    <a:pt x="3" y="31"/>
                  </a:cubicBezTo>
                  <a:cubicBezTo>
                    <a:pt x="3" y="30"/>
                    <a:pt x="3" y="30"/>
                    <a:pt x="3" y="30"/>
                  </a:cubicBezTo>
                  <a:cubicBezTo>
                    <a:pt x="2" y="30"/>
                    <a:pt x="2" y="30"/>
                    <a:pt x="2" y="30"/>
                  </a:cubicBezTo>
                  <a:cubicBezTo>
                    <a:pt x="1" y="30"/>
                    <a:pt x="1" y="30"/>
                    <a:pt x="1" y="30"/>
                  </a:cubicBezTo>
                  <a:cubicBezTo>
                    <a:pt x="1" y="30"/>
                    <a:pt x="1" y="30"/>
                    <a:pt x="1" y="30"/>
                  </a:cubicBezTo>
                  <a:cubicBezTo>
                    <a:pt x="1" y="30"/>
                    <a:pt x="1" y="30"/>
                    <a:pt x="1" y="30"/>
                  </a:cubicBezTo>
                  <a:cubicBezTo>
                    <a:pt x="0" y="30"/>
                    <a:pt x="0" y="30"/>
                    <a:pt x="0" y="30"/>
                  </a:cubicBezTo>
                  <a:cubicBezTo>
                    <a:pt x="1" y="29"/>
                    <a:pt x="1" y="29"/>
                    <a:pt x="1" y="29"/>
                  </a:cubicBezTo>
                  <a:cubicBezTo>
                    <a:pt x="1" y="29"/>
                    <a:pt x="1" y="29"/>
                    <a:pt x="1" y="29"/>
                  </a:cubicBezTo>
                  <a:moveTo>
                    <a:pt x="7" y="22"/>
                  </a:moveTo>
                  <a:cubicBezTo>
                    <a:pt x="7" y="22"/>
                    <a:pt x="6" y="22"/>
                    <a:pt x="6" y="22"/>
                  </a:cubicBezTo>
                  <a:cubicBezTo>
                    <a:pt x="6" y="22"/>
                    <a:pt x="6" y="22"/>
                    <a:pt x="6" y="22"/>
                  </a:cubicBezTo>
                  <a:cubicBezTo>
                    <a:pt x="6" y="21"/>
                    <a:pt x="7" y="19"/>
                    <a:pt x="7" y="18"/>
                  </a:cubicBezTo>
                  <a:cubicBezTo>
                    <a:pt x="8" y="19"/>
                    <a:pt x="8" y="19"/>
                    <a:pt x="9" y="19"/>
                  </a:cubicBezTo>
                  <a:cubicBezTo>
                    <a:pt x="8" y="20"/>
                    <a:pt x="8" y="21"/>
                    <a:pt x="7" y="22"/>
                  </a:cubicBezTo>
                  <a:moveTo>
                    <a:pt x="13" y="19"/>
                  </a:moveTo>
                  <a:cubicBezTo>
                    <a:pt x="7" y="19"/>
                    <a:pt x="1" y="13"/>
                    <a:pt x="5" y="6"/>
                  </a:cubicBezTo>
                  <a:cubicBezTo>
                    <a:pt x="7" y="3"/>
                    <a:pt x="10" y="1"/>
                    <a:pt x="13" y="1"/>
                  </a:cubicBezTo>
                  <a:cubicBezTo>
                    <a:pt x="18" y="1"/>
                    <a:pt x="24" y="7"/>
                    <a:pt x="21" y="14"/>
                  </a:cubicBezTo>
                  <a:cubicBezTo>
                    <a:pt x="19" y="18"/>
                    <a:pt x="16" y="19"/>
                    <a:pt x="13" y="19"/>
                  </a:cubicBezTo>
                  <a:moveTo>
                    <a:pt x="13" y="0"/>
                  </a:moveTo>
                  <a:cubicBezTo>
                    <a:pt x="9" y="0"/>
                    <a:pt x="6" y="2"/>
                    <a:pt x="4" y="6"/>
                  </a:cubicBezTo>
                  <a:cubicBezTo>
                    <a:pt x="2" y="9"/>
                    <a:pt x="2" y="12"/>
                    <a:pt x="4" y="15"/>
                  </a:cubicBezTo>
                  <a:cubicBezTo>
                    <a:pt x="5" y="16"/>
                    <a:pt x="6" y="17"/>
                    <a:pt x="7" y="18"/>
                  </a:cubicBezTo>
                  <a:cubicBezTo>
                    <a:pt x="6" y="18"/>
                    <a:pt x="5" y="20"/>
                    <a:pt x="5" y="21"/>
                  </a:cubicBezTo>
                  <a:cubicBezTo>
                    <a:pt x="4" y="22"/>
                    <a:pt x="4" y="22"/>
                    <a:pt x="4" y="22"/>
                  </a:cubicBezTo>
                  <a:cubicBezTo>
                    <a:pt x="4" y="22"/>
                    <a:pt x="4" y="22"/>
                    <a:pt x="4" y="22"/>
                  </a:cubicBezTo>
                  <a:cubicBezTo>
                    <a:pt x="4" y="22"/>
                    <a:pt x="4" y="22"/>
                    <a:pt x="4" y="22"/>
                  </a:cubicBezTo>
                  <a:cubicBezTo>
                    <a:pt x="4" y="22"/>
                    <a:pt x="4" y="22"/>
                    <a:pt x="4" y="22"/>
                  </a:cubicBezTo>
                  <a:cubicBezTo>
                    <a:pt x="4" y="22"/>
                    <a:pt x="4" y="22"/>
                    <a:pt x="4" y="22"/>
                  </a:cubicBezTo>
                  <a:cubicBezTo>
                    <a:pt x="3" y="24"/>
                    <a:pt x="2" y="26"/>
                    <a:pt x="1" y="28"/>
                  </a:cubicBezTo>
                  <a:cubicBezTo>
                    <a:pt x="0" y="29"/>
                    <a:pt x="0" y="29"/>
                    <a:pt x="0" y="29"/>
                  </a:cubicBezTo>
                  <a:cubicBezTo>
                    <a:pt x="0" y="29"/>
                    <a:pt x="0" y="29"/>
                    <a:pt x="0" y="29"/>
                  </a:cubicBezTo>
                  <a:cubicBezTo>
                    <a:pt x="0" y="30"/>
                    <a:pt x="0" y="30"/>
                    <a:pt x="0" y="30"/>
                  </a:cubicBezTo>
                  <a:cubicBezTo>
                    <a:pt x="0" y="31"/>
                    <a:pt x="2" y="32"/>
                    <a:pt x="3" y="32"/>
                  </a:cubicBezTo>
                  <a:cubicBezTo>
                    <a:pt x="4" y="32"/>
                    <a:pt x="4" y="32"/>
                    <a:pt x="4" y="32"/>
                  </a:cubicBezTo>
                  <a:cubicBezTo>
                    <a:pt x="4" y="31"/>
                    <a:pt x="5" y="30"/>
                    <a:pt x="7" y="27"/>
                  </a:cubicBezTo>
                  <a:cubicBezTo>
                    <a:pt x="7" y="26"/>
                    <a:pt x="8" y="24"/>
                    <a:pt x="8" y="24"/>
                  </a:cubicBezTo>
                  <a:cubicBezTo>
                    <a:pt x="8" y="24"/>
                    <a:pt x="8" y="24"/>
                    <a:pt x="8" y="24"/>
                  </a:cubicBezTo>
                  <a:cubicBezTo>
                    <a:pt x="8" y="24"/>
                    <a:pt x="8" y="24"/>
                    <a:pt x="8" y="24"/>
                  </a:cubicBezTo>
                  <a:cubicBezTo>
                    <a:pt x="8" y="24"/>
                    <a:pt x="8" y="24"/>
                    <a:pt x="8" y="24"/>
                  </a:cubicBezTo>
                  <a:cubicBezTo>
                    <a:pt x="8" y="24"/>
                    <a:pt x="8" y="24"/>
                    <a:pt x="8" y="24"/>
                  </a:cubicBezTo>
                  <a:cubicBezTo>
                    <a:pt x="8" y="23"/>
                    <a:pt x="8" y="23"/>
                    <a:pt x="8" y="23"/>
                  </a:cubicBezTo>
                  <a:cubicBezTo>
                    <a:pt x="9" y="22"/>
                    <a:pt x="9" y="21"/>
                    <a:pt x="10" y="20"/>
                  </a:cubicBezTo>
                  <a:cubicBezTo>
                    <a:pt x="11" y="20"/>
                    <a:pt x="12" y="20"/>
                    <a:pt x="13" y="20"/>
                  </a:cubicBezTo>
                  <a:cubicBezTo>
                    <a:pt x="17" y="20"/>
                    <a:pt x="20" y="18"/>
                    <a:pt x="22" y="14"/>
                  </a:cubicBezTo>
                  <a:cubicBezTo>
                    <a:pt x="23" y="11"/>
                    <a:pt x="23" y="8"/>
                    <a:pt x="21" y="5"/>
                  </a:cubicBezTo>
                  <a:cubicBezTo>
                    <a:pt x="20" y="2"/>
                    <a:pt x="16" y="0"/>
                    <a:pt x="1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80" name="iṣlïḋê"/>
            <p:cNvSpPr/>
            <p:nvPr/>
          </p:nvSpPr>
          <p:spPr bwMode="auto">
            <a:xfrm>
              <a:off x="3713" y="1970"/>
              <a:ext cx="16" cy="9"/>
            </a:xfrm>
            <a:custGeom>
              <a:avLst/>
              <a:gdLst>
                <a:gd name="T0" fmla="*/ 1 w 7"/>
                <a:gd name="T1" fmla="*/ 4 h 4"/>
                <a:gd name="T2" fmla="*/ 1 w 7"/>
                <a:gd name="T3" fmla="*/ 4 h 4"/>
                <a:gd name="T4" fmla="*/ 1 w 7"/>
                <a:gd name="T5" fmla="*/ 3 h 4"/>
                <a:gd name="T6" fmla="*/ 2 w 7"/>
                <a:gd name="T7" fmla="*/ 1 h 4"/>
                <a:gd name="T8" fmla="*/ 5 w 7"/>
                <a:gd name="T9" fmla="*/ 0 h 4"/>
                <a:gd name="T10" fmla="*/ 7 w 7"/>
                <a:gd name="T11" fmla="*/ 1 h 4"/>
                <a:gd name="T12" fmla="*/ 7 w 7"/>
                <a:gd name="T13" fmla="*/ 2 h 4"/>
                <a:gd name="T14" fmla="*/ 7 w 7"/>
                <a:gd name="T15" fmla="*/ 2 h 4"/>
                <a:gd name="T16" fmla="*/ 7 w 7"/>
                <a:gd name="T17" fmla="*/ 2 h 4"/>
                <a:gd name="T18" fmla="*/ 6 w 7"/>
                <a:gd name="T19" fmla="*/ 2 h 4"/>
                <a:gd name="T20" fmla="*/ 5 w 7"/>
                <a:gd name="T21" fmla="*/ 2 h 4"/>
                <a:gd name="T22" fmla="*/ 3 w 7"/>
                <a:gd name="T23" fmla="*/ 2 h 4"/>
                <a:gd name="T24" fmla="*/ 2 w 7"/>
                <a:gd name="T25" fmla="*/ 3 h 4"/>
                <a:gd name="T26" fmla="*/ 2 w 7"/>
                <a:gd name="T27" fmla="*/ 3 h 4"/>
                <a:gd name="T28" fmla="*/ 1 w 7"/>
                <a:gd name="T29" fmla="*/ 4 h 4"/>
                <a:gd name="T30" fmla="*/ 5 w 7"/>
                <a:gd name="T31" fmla="*/ 0 h 4"/>
                <a:gd name="T32" fmla="*/ 5 w 7"/>
                <a:gd name="T33" fmla="*/ 0 h 4"/>
                <a:gd name="T34" fmla="*/ 2 w 7"/>
                <a:gd name="T35" fmla="*/ 0 h 4"/>
                <a:gd name="T36" fmla="*/ 0 w 7"/>
                <a:gd name="T37" fmla="*/ 3 h 4"/>
                <a:gd name="T38" fmla="*/ 1 w 7"/>
                <a:gd name="T39" fmla="*/ 4 h 4"/>
                <a:gd name="T40" fmla="*/ 1 w 7"/>
                <a:gd name="T41" fmla="*/ 4 h 4"/>
                <a:gd name="T42" fmla="*/ 2 w 7"/>
                <a:gd name="T43" fmla="*/ 4 h 4"/>
                <a:gd name="T44" fmla="*/ 3 w 7"/>
                <a:gd name="T45" fmla="*/ 3 h 4"/>
                <a:gd name="T46" fmla="*/ 3 w 7"/>
                <a:gd name="T47" fmla="*/ 3 h 4"/>
                <a:gd name="T48" fmla="*/ 5 w 7"/>
                <a:gd name="T49" fmla="*/ 2 h 4"/>
                <a:gd name="T50" fmla="*/ 6 w 7"/>
                <a:gd name="T51" fmla="*/ 2 h 4"/>
                <a:gd name="T52" fmla="*/ 7 w 7"/>
                <a:gd name="T53" fmla="*/ 3 h 4"/>
                <a:gd name="T54" fmla="*/ 7 w 7"/>
                <a:gd name="T55" fmla="*/ 2 h 4"/>
                <a:gd name="T56" fmla="*/ 7 w 7"/>
                <a:gd name="T57" fmla="*/ 2 h 4"/>
                <a:gd name="T58" fmla="*/ 7 w 7"/>
                <a:gd name="T59" fmla="*/ 1 h 4"/>
                <a:gd name="T60" fmla="*/ 5 w 7"/>
                <a:gd name="T6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 h="4">
                  <a:moveTo>
                    <a:pt x="1" y="4"/>
                  </a:moveTo>
                  <a:cubicBezTo>
                    <a:pt x="1" y="4"/>
                    <a:pt x="1" y="4"/>
                    <a:pt x="1" y="4"/>
                  </a:cubicBezTo>
                  <a:cubicBezTo>
                    <a:pt x="1" y="3"/>
                    <a:pt x="1" y="3"/>
                    <a:pt x="1" y="3"/>
                  </a:cubicBezTo>
                  <a:cubicBezTo>
                    <a:pt x="1" y="2"/>
                    <a:pt x="2" y="1"/>
                    <a:pt x="2" y="1"/>
                  </a:cubicBezTo>
                  <a:cubicBezTo>
                    <a:pt x="3" y="1"/>
                    <a:pt x="4" y="0"/>
                    <a:pt x="5" y="0"/>
                  </a:cubicBezTo>
                  <a:cubicBezTo>
                    <a:pt x="5" y="0"/>
                    <a:pt x="6" y="1"/>
                    <a:pt x="7" y="1"/>
                  </a:cubicBezTo>
                  <a:cubicBezTo>
                    <a:pt x="7" y="2"/>
                    <a:pt x="7" y="2"/>
                    <a:pt x="7" y="2"/>
                  </a:cubicBezTo>
                  <a:cubicBezTo>
                    <a:pt x="7" y="2"/>
                    <a:pt x="7" y="2"/>
                    <a:pt x="7" y="2"/>
                  </a:cubicBezTo>
                  <a:cubicBezTo>
                    <a:pt x="7" y="2"/>
                    <a:pt x="7" y="2"/>
                    <a:pt x="7" y="2"/>
                  </a:cubicBezTo>
                  <a:cubicBezTo>
                    <a:pt x="6" y="2"/>
                    <a:pt x="6" y="2"/>
                    <a:pt x="6" y="2"/>
                  </a:cubicBezTo>
                  <a:cubicBezTo>
                    <a:pt x="6" y="2"/>
                    <a:pt x="6" y="2"/>
                    <a:pt x="5" y="2"/>
                  </a:cubicBezTo>
                  <a:cubicBezTo>
                    <a:pt x="4" y="2"/>
                    <a:pt x="3" y="2"/>
                    <a:pt x="3" y="2"/>
                  </a:cubicBezTo>
                  <a:cubicBezTo>
                    <a:pt x="2" y="3"/>
                    <a:pt x="2" y="3"/>
                    <a:pt x="2" y="3"/>
                  </a:cubicBezTo>
                  <a:cubicBezTo>
                    <a:pt x="2" y="3"/>
                    <a:pt x="2" y="3"/>
                    <a:pt x="2" y="3"/>
                  </a:cubicBezTo>
                  <a:cubicBezTo>
                    <a:pt x="2" y="4"/>
                    <a:pt x="1" y="4"/>
                    <a:pt x="1" y="4"/>
                  </a:cubicBezTo>
                  <a:moveTo>
                    <a:pt x="5" y="0"/>
                  </a:moveTo>
                  <a:cubicBezTo>
                    <a:pt x="5" y="0"/>
                    <a:pt x="5" y="0"/>
                    <a:pt x="5" y="0"/>
                  </a:cubicBezTo>
                  <a:cubicBezTo>
                    <a:pt x="4" y="0"/>
                    <a:pt x="3" y="0"/>
                    <a:pt x="2" y="0"/>
                  </a:cubicBezTo>
                  <a:cubicBezTo>
                    <a:pt x="2" y="1"/>
                    <a:pt x="0" y="2"/>
                    <a:pt x="0" y="3"/>
                  </a:cubicBezTo>
                  <a:cubicBezTo>
                    <a:pt x="0" y="3"/>
                    <a:pt x="0" y="4"/>
                    <a:pt x="1" y="4"/>
                  </a:cubicBezTo>
                  <a:cubicBezTo>
                    <a:pt x="1" y="4"/>
                    <a:pt x="1" y="4"/>
                    <a:pt x="1" y="4"/>
                  </a:cubicBezTo>
                  <a:cubicBezTo>
                    <a:pt x="2" y="4"/>
                    <a:pt x="2" y="4"/>
                    <a:pt x="2" y="4"/>
                  </a:cubicBezTo>
                  <a:cubicBezTo>
                    <a:pt x="3" y="3"/>
                    <a:pt x="3" y="3"/>
                    <a:pt x="3" y="3"/>
                  </a:cubicBezTo>
                  <a:cubicBezTo>
                    <a:pt x="3" y="3"/>
                    <a:pt x="3" y="3"/>
                    <a:pt x="3" y="3"/>
                  </a:cubicBezTo>
                  <a:cubicBezTo>
                    <a:pt x="4" y="2"/>
                    <a:pt x="4" y="2"/>
                    <a:pt x="5" y="2"/>
                  </a:cubicBezTo>
                  <a:cubicBezTo>
                    <a:pt x="5" y="2"/>
                    <a:pt x="6" y="2"/>
                    <a:pt x="6" y="2"/>
                  </a:cubicBezTo>
                  <a:cubicBezTo>
                    <a:pt x="7" y="3"/>
                    <a:pt x="7" y="3"/>
                    <a:pt x="7" y="3"/>
                  </a:cubicBezTo>
                  <a:cubicBezTo>
                    <a:pt x="7" y="2"/>
                    <a:pt x="7" y="2"/>
                    <a:pt x="7" y="2"/>
                  </a:cubicBezTo>
                  <a:cubicBezTo>
                    <a:pt x="7" y="2"/>
                    <a:pt x="7" y="2"/>
                    <a:pt x="7" y="2"/>
                  </a:cubicBezTo>
                  <a:cubicBezTo>
                    <a:pt x="7" y="1"/>
                    <a:pt x="7" y="1"/>
                    <a:pt x="7" y="1"/>
                  </a:cubicBezTo>
                  <a:cubicBezTo>
                    <a:pt x="6" y="0"/>
                    <a:pt x="6" y="0"/>
                    <a:pt x="5"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81" name="îṧḻîḍè"/>
            <p:cNvSpPr/>
            <p:nvPr/>
          </p:nvSpPr>
          <p:spPr bwMode="auto">
            <a:xfrm>
              <a:off x="3729" y="1975"/>
              <a:ext cx="8" cy="4"/>
            </a:xfrm>
            <a:custGeom>
              <a:avLst/>
              <a:gdLst>
                <a:gd name="T0" fmla="*/ 1 w 3"/>
                <a:gd name="T1" fmla="*/ 2 h 2"/>
                <a:gd name="T2" fmla="*/ 1 w 3"/>
                <a:gd name="T3" fmla="*/ 1 h 2"/>
                <a:gd name="T4" fmla="*/ 2 w 3"/>
                <a:gd name="T5" fmla="*/ 1 h 2"/>
                <a:gd name="T6" fmla="*/ 2 w 3"/>
                <a:gd name="T7" fmla="*/ 1 h 2"/>
                <a:gd name="T8" fmla="*/ 2 w 3"/>
                <a:gd name="T9" fmla="*/ 1 h 2"/>
                <a:gd name="T10" fmla="*/ 2 w 3"/>
                <a:gd name="T11" fmla="*/ 2 h 2"/>
                <a:gd name="T12" fmla="*/ 1 w 3"/>
                <a:gd name="T13" fmla="*/ 2 h 2"/>
                <a:gd name="T14" fmla="*/ 2 w 3"/>
                <a:gd name="T15" fmla="*/ 0 h 2"/>
                <a:gd name="T16" fmla="*/ 1 w 3"/>
                <a:gd name="T17" fmla="*/ 1 h 2"/>
                <a:gd name="T18" fmla="*/ 1 w 3"/>
                <a:gd name="T19" fmla="*/ 2 h 2"/>
                <a:gd name="T20" fmla="*/ 2 w 3"/>
                <a:gd name="T21" fmla="*/ 2 h 2"/>
                <a:gd name="T22" fmla="*/ 2 w 3"/>
                <a:gd name="T23" fmla="*/ 2 h 2"/>
                <a:gd name="T24" fmla="*/ 3 w 3"/>
                <a:gd name="T25" fmla="*/ 1 h 2"/>
                <a:gd name="T26" fmla="*/ 3 w 3"/>
                <a:gd name="T27" fmla="*/ 1 h 2"/>
                <a:gd name="T28" fmla="*/ 2 w 3"/>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
                  <a:moveTo>
                    <a:pt x="1" y="2"/>
                  </a:moveTo>
                  <a:cubicBezTo>
                    <a:pt x="1" y="1"/>
                    <a:pt x="1" y="1"/>
                    <a:pt x="1" y="1"/>
                  </a:cubicBezTo>
                  <a:cubicBezTo>
                    <a:pt x="2" y="1"/>
                    <a:pt x="2" y="1"/>
                    <a:pt x="2" y="1"/>
                  </a:cubicBezTo>
                  <a:cubicBezTo>
                    <a:pt x="2" y="1"/>
                    <a:pt x="2" y="1"/>
                    <a:pt x="2" y="1"/>
                  </a:cubicBezTo>
                  <a:cubicBezTo>
                    <a:pt x="2" y="1"/>
                    <a:pt x="2" y="1"/>
                    <a:pt x="2" y="1"/>
                  </a:cubicBezTo>
                  <a:cubicBezTo>
                    <a:pt x="2" y="2"/>
                    <a:pt x="2" y="2"/>
                    <a:pt x="2" y="2"/>
                  </a:cubicBezTo>
                  <a:cubicBezTo>
                    <a:pt x="1" y="2"/>
                    <a:pt x="1" y="2"/>
                    <a:pt x="1" y="2"/>
                  </a:cubicBezTo>
                  <a:moveTo>
                    <a:pt x="2" y="0"/>
                  </a:moveTo>
                  <a:cubicBezTo>
                    <a:pt x="1" y="0"/>
                    <a:pt x="1" y="0"/>
                    <a:pt x="1" y="1"/>
                  </a:cubicBezTo>
                  <a:cubicBezTo>
                    <a:pt x="0" y="1"/>
                    <a:pt x="1" y="2"/>
                    <a:pt x="1" y="2"/>
                  </a:cubicBezTo>
                  <a:cubicBezTo>
                    <a:pt x="2" y="2"/>
                    <a:pt x="2" y="2"/>
                    <a:pt x="2" y="2"/>
                  </a:cubicBezTo>
                  <a:cubicBezTo>
                    <a:pt x="2" y="2"/>
                    <a:pt x="2" y="2"/>
                    <a:pt x="2" y="2"/>
                  </a:cubicBezTo>
                  <a:cubicBezTo>
                    <a:pt x="3" y="1"/>
                    <a:pt x="3" y="1"/>
                    <a:pt x="3" y="1"/>
                  </a:cubicBezTo>
                  <a:cubicBezTo>
                    <a:pt x="3" y="1"/>
                    <a:pt x="3" y="1"/>
                    <a:pt x="3" y="1"/>
                  </a:cubicBezTo>
                  <a:cubicBezTo>
                    <a:pt x="2" y="0"/>
                    <a:pt x="2" y="0"/>
                    <a:pt x="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82" name="isľíḍé"/>
            <p:cNvSpPr/>
            <p:nvPr/>
          </p:nvSpPr>
          <p:spPr bwMode="auto">
            <a:xfrm>
              <a:off x="3820" y="2305"/>
              <a:ext cx="83" cy="55"/>
            </a:xfrm>
            <a:custGeom>
              <a:avLst/>
              <a:gdLst>
                <a:gd name="T0" fmla="*/ 3 w 35"/>
                <a:gd name="T1" fmla="*/ 23 h 23"/>
                <a:gd name="T2" fmla="*/ 3 w 35"/>
                <a:gd name="T3" fmla="*/ 22 h 23"/>
                <a:gd name="T4" fmla="*/ 1 w 35"/>
                <a:gd name="T5" fmla="*/ 20 h 23"/>
                <a:gd name="T6" fmla="*/ 1 w 35"/>
                <a:gd name="T7" fmla="*/ 3 h 23"/>
                <a:gd name="T8" fmla="*/ 26 w 35"/>
                <a:gd name="T9" fmla="*/ 2 h 23"/>
                <a:gd name="T10" fmla="*/ 27 w 35"/>
                <a:gd name="T11" fmla="*/ 2 h 23"/>
                <a:gd name="T12" fmla="*/ 34 w 35"/>
                <a:gd name="T13" fmla="*/ 3 h 23"/>
                <a:gd name="T14" fmla="*/ 34 w 35"/>
                <a:gd name="T15" fmla="*/ 19 h 23"/>
                <a:gd name="T16" fmla="*/ 31 w 35"/>
                <a:gd name="T17" fmla="*/ 22 h 23"/>
                <a:gd name="T18" fmla="*/ 3 w 35"/>
                <a:gd name="T19" fmla="*/ 22 h 23"/>
                <a:gd name="T20" fmla="*/ 3 w 35"/>
                <a:gd name="T21" fmla="*/ 23 h 23"/>
                <a:gd name="T22" fmla="*/ 27 w 35"/>
                <a:gd name="T23" fmla="*/ 0 h 23"/>
                <a:gd name="T24" fmla="*/ 26 w 35"/>
                <a:gd name="T25" fmla="*/ 0 h 23"/>
                <a:gd name="T26" fmla="*/ 0 w 35"/>
                <a:gd name="T27" fmla="*/ 2 h 23"/>
                <a:gd name="T28" fmla="*/ 0 w 35"/>
                <a:gd name="T29" fmla="*/ 3 h 23"/>
                <a:gd name="T30" fmla="*/ 0 w 35"/>
                <a:gd name="T31" fmla="*/ 20 h 23"/>
                <a:gd name="T32" fmla="*/ 3 w 35"/>
                <a:gd name="T33" fmla="*/ 23 h 23"/>
                <a:gd name="T34" fmla="*/ 31 w 35"/>
                <a:gd name="T35" fmla="*/ 23 h 23"/>
                <a:gd name="T36" fmla="*/ 35 w 35"/>
                <a:gd name="T37" fmla="*/ 19 h 23"/>
                <a:gd name="T38" fmla="*/ 35 w 35"/>
                <a:gd name="T39" fmla="*/ 2 h 23"/>
                <a:gd name="T40" fmla="*/ 34 w 35"/>
                <a:gd name="T41" fmla="*/ 2 h 23"/>
                <a:gd name="T42" fmla="*/ 27 w 35"/>
                <a:gd name="T4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3">
                  <a:moveTo>
                    <a:pt x="3" y="23"/>
                  </a:moveTo>
                  <a:cubicBezTo>
                    <a:pt x="3" y="22"/>
                    <a:pt x="3" y="22"/>
                    <a:pt x="3" y="22"/>
                  </a:cubicBezTo>
                  <a:cubicBezTo>
                    <a:pt x="2" y="22"/>
                    <a:pt x="1" y="21"/>
                    <a:pt x="1" y="20"/>
                  </a:cubicBezTo>
                  <a:cubicBezTo>
                    <a:pt x="1" y="15"/>
                    <a:pt x="1" y="9"/>
                    <a:pt x="1" y="3"/>
                  </a:cubicBezTo>
                  <a:cubicBezTo>
                    <a:pt x="9" y="2"/>
                    <a:pt x="18" y="2"/>
                    <a:pt x="26" y="2"/>
                  </a:cubicBezTo>
                  <a:cubicBezTo>
                    <a:pt x="27" y="2"/>
                    <a:pt x="27" y="2"/>
                    <a:pt x="27" y="2"/>
                  </a:cubicBezTo>
                  <a:cubicBezTo>
                    <a:pt x="29" y="2"/>
                    <a:pt x="31" y="2"/>
                    <a:pt x="34" y="3"/>
                  </a:cubicBezTo>
                  <a:cubicBezTo>
                    <a:pt x="34" y="8"/>
                    <a:pt x="34" y="14"/>
                    <a:pt x="34" y="19"/>
                  </a:cubicBezTo>
                  <a:cubicBezTo>
                    <a:pt x="33" y="21"/>
                    <a:pt x="32" y="22"/>
                    <a:pt x="31" y="22"/>
                  </a:cubicBezTo>
                  <a:cubicBezTo>
                    <a:pt x="22" y="22"/>
                    <a:pt x="12" y="22"/>
                    <a:pt x="3" y="22"/>
                  </a:cubicBezTo>
                  <a:cubicBezTo>
                    <a:pt x="3" y="23"/>
                    <a:pt x="3" y="23"/>
                    <a:pt x="3" y="23"/>
                  </a:cubicBezTo>
                  <a:moveTo>
                    <a:pt x="27" y="0"/>
                  </a:moveTo>
                  <a:cubicBezTo>
                    <a:pt x="26" y="0"/>
                    <a:pt x="26" y="0"/>
                    <a:pt x="26" y="0"/>
                  </a:cubicBezTo>
                  <a:cubicBezTo>
                    <a:pt x="17" y="0"/>
                    <a:pt x="9" y="1"/>
                    <a:pt x="0" y="2"/>
                  </a:cubicBezTo>
                  <a:cubicBezTo>
                    <a:pt x="0" y="3"/>
                    <a:pt x="0" y="3"/>
                    <a:pt x="0" y="3"/>
                  </a:cubicBezTo>
                  <a:cubicBezTo>
                    <a:pt x="0" y="8"/>
                    <a:pt x="0" y="14"/>
                    <a:pt x="0" y="20"/>
                  </a:cubicBezTo>
                  <a:cubicBezTo>
                    <a:pt x="0" y="22"/>
                    <a:pt x="1" y="23"/>
                    <a:pt x="3" y="23"/>
                  </a:cubicBezTo>
                  <a:cubicBezTo>
                    <a:pt x="12" y="23"/>
                    <a:pt x="22" y="23"/>
                    <a:pt x="31" y="23"/>
                  </a:cubicBezTo>
                  <a:cubicBezTo>
                    <a:pt x="33" y="23"/>
                    <a:pt x="34" y="21"/>
                    <a:pt x="35" y="19"/>
                  </a:cubicBezTo>
                  <a:cubicBezTo>
                    <a:pt x="35" y="14"/>
                    <a:pt x="35" y="8"/>
                    <a:pt x="35" y="2"/>
                  </a:cubicBezTo>
                  <a:cubicBezTo>
                    <a:pt x="34" y="2"/>
                    <a:pt x="34" y="2"/>
                    <a:pt x="34" y="2"/>
                  </a:cubicBezTo>
                  <a:cubicBezTo>
                    <a:pt x="32" y="1"/>
                    <a:pt x="29" y="0"/>
                    <a:pt x="2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83" name="ïşliḋè"/>
            <p:cNvSpPr/>
            <p:nvPr/>
          </p:nvSpPr>
          <p:spPr bwMode="auto">
            <a:xfrm>
              <a:off x="3822" y="2315"/>
              <a:ext cx="76" cy="40"/>
            </a:xfrm>
            <a:custGeom>
              <a:avLst/>
              <a:gdLst>
                <a:gd name="T0" fmla="*/ 30 w 32"/>
                <a:gd name="T1" fmla="*/ 0 h 17"/>
                <a:gd name="T2" fmla="*/ 19 w 32"/>
                <a:gd name="T3" fmla="*/ 9 h 17"/>
                <a:gd name="T4" fmla="*/ 19 w 32"/>
                <a:gd name="T5" fmla="*/ 9 h 17"/>
                <a:gd name="T6" fmla="*/ 18 w 32"/>
                <a:gd name="T7" fmla="*/ 10 h 17"/>
                <a:gd name="T8" fmla="*/ 17 w 32"/>
                <a:gd name="T9" fmla="*/ 10 h 17"/>
                <a:gd name="T10" fmla="*/ 13 w 32"/>
                <a:gd name="T11" fmla="*/ 8 h 17"/>
                <a:gd name="T12" fmla="*/ 1 w 32"/>
                <a:gd name="T13" fmla="*/ 0 h 17"/>
                <a:gd name="T14" fmla="*/ 0 w 32"/>
                <a:gd name="T15" fmla="*/ 1 h 17"/>
                <a:gd name="T16" fmla="*/ 1 w 32"/>
                <a:gd name="T17" fmla="*/ 1 h 17"/>
                <a:gd name="T18" fmla="*/ 10 w 32"/>
                <a:gd name="T19" fmla="*/ 7 h 17"/>
                <a:gd name="T20" fmla="*/ 3 w 32"/>
                <a:gd name="T21" fmla="*/ 14 h 17"/>
                <a:gd name="T22" fmla="*/ 1 w 32"/>
                <a:gd name="T23" fmla="*/ 16 h 17"/>
                <a:gd name="T24" fmla="*/ 1 w 32"/>
                <a:gd name="T25" fmla="*/ 16 h 17"/>
                <a:gd name="T26" fmla="*/ 2 w 32"/>
                <a:gd name="T27" fmla="*/ 17 h 17"/>
                <a:gd name="T28" fmla="*/ 2 w 32"/>
                <a:gd name="T29" fmla="*/ 16 h 17"/>
                <a:gd name="T30" fmla="*/ 4 w 32"/>
                <a:gd name="T31" fmla="*/ 15 h 17"/>
                <a:gd name="T32" fmla="*/ 11 w 32"/>
                <a:gd name="T33" fmla="*/ 8 h 17"/>
                <a:gd name="T34" fmla="*/ 13 w 32"/>
                <a:gd name="T35" fmla="*/ 9 h 17"/>
                <a:gd name="T36" fmla="*/ 17 w 32"/>
                <a:gd name="T37" fmla="*/ 11 h 17"/>
                <a:gd name="T38" fmla="*/ 18 w 32"/>
                <a:gd name="T39" fmla="*/ 11 h 17"/>
                <a:gd name="T40" fmla="*/ 20 w 32"/>
                <a:gd name="T41" fmla="*/ 10 h 17"/>
                <a:gd name="T42" fmla="*/ 20 w 32"/>
                <a:gd name="T43" fmla="*/ 10 h 17"/>
                <a:gd name="T44" fmla="*/ 22 w 32"/>
                <a:gd name="T45" fmla="*/ 8 h 17"/>
                <a:gd name="T46" fmla="*/ 31 w 32"/>
                <a:gd name="T47" fmla="*/ 16 h 17"/>
                <a:gd name="T48" fmla="*/ 31 w 32"/>
                <a:gd name="T49" fmla="*/ 16 h 17"/>
                <a:gd name="T50" fmla="*/ 32 w 32"/>
                <a:gd name="T51" fmla="*/ 16 h 17"/>
                <a:gd name="T52" fmla="*/ 32 w 32"/>
                <a:gd name="T53" fmla="*/ 15 h 17"/>
                <a:gd name="T54" fmla="*/ 23 w 32"/>
                <a:gd name="T55" fmla="*/ 7 h 17"/>
                <a:gd name="T56" fmla="*/ 31 w 32"/>
                <a:gd name="T57" fmla="*/ 1 h 17"/>
                <a:gd name="T58" fmla="*/ 31 w 32"/>
                <a:gd name="T59" fmla="*/ 0 h 17"/>
                <a:gd name="T60" fmla="*/ 30 w 32"/>
                <a:gd name="T6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17">
                  <a:moveTo>
                    <a:pt x="30" y="0"/>
                  </a:moveTo>
                  <a:cubicBezTo>
                    <a:pt x="26" y="2"/>
                    <a:pt x="23" y="5"/>
                    <a:pt x="19" y="9"/>
                  </a:cubicBezTo>
                  <a:cubicBezTo>
                    <a:pt x="19" y="9"/>
                    <a:pt x="19" y="9"/>
                    <a:pt x="19" y="9"/>
                  </a:cubicBezTo>
                  <a:cubicBezTo>
                    <a:pt x="19" y="9"/>
                    <a:pt x="19" y="10"/>
                    <a:pt x="18" y="10"/>
                  </a:cubicBezTo>
                  <a:cubicBezTo>
                    <a:pt x="18" y="10"/>
                    <a:pt x="17" y="10"/>
                    <a:pt x="17" y="10"/>
                  </a:cubicBezTo>
                  <a:cubicBezTo>
                    <a:pt x="16" y="10"/>
                    <a:pt x="15" y="9"/>
                    <a:pt x="13" y="8"/>
                  </a:cubicBezTo>
                  <a:cubicBezTo>
                    <a:pt x="10" y="5"/>
                    <a:pt x="5" y="2"/>
                    <a:pt x="1" y="0"/>
                  </a:cubicBezTo>
                  <a:cubicBezTo>
                    <a:pt x="0" y="1"/>
                    <a:pt x="0" y="1"/>
                    <a:pt x="0" y="1"/>
                  </a:cubicBezTo>
                  <a:cubicBezTo>
                    <a:pt x="1" y="1"/>
                    <a:pt x="1" y="1"/>
                    <a:pt x="1" y="1"/>
                  </a:cubicBezTo>
                  <a:cubicBezTo>
                    <a:pt x="4" y="3"/>
                    <a:pt x="7" y="5"/>
                    <a:pt x="10" y="7"/>
                  </a:cubicBezTo>
                  <a:cubicBezTo>
                    <a:pt x="8" y="9"/>
                    <a:pt x="5" y="12"/>
                    <a:pt x="3" y="14"/>
                  </a:cubicBezTo>
                  <a:cubicBezTo>
                    <a:pt x="2" y="15"/>
                    <a:pt x="2" y="15"/>
                    <a:pt x="1" y="16"/>
                  </a:cubicBezTo>
                  <a:cubicBezTo>
                    <a:pt x="1" y="16"/>
                    <a:pt x="1" y="16"/>
                    <a:pt x="1" y="16"/>
                  </a:cubicBezTo>
                  <a:cubicBezTo>
                    <a:pt x="2" y="17"/>
                    <a:pt x="2" y="17"/>
                    <a:pt x="2" y="17"/>
                  </a:cubicBezTo>
                  <a:cubicBezTo>
                    <a:pt x="2" y="16"/>
                    <a:pt x="2" y="16"/>
                    <a:pt x="2" y="16"/>
                  </a:cubicBezTo>
                  <a:cubicBezTo>
                    <a:pt x="3" y="16"/>
                    <a:pt x="3" y="15"/>
                    <a:pt x="4" y="15"/>
                  </a:cubicBezTo>
                  <a:cubicBezTo>
                    <a:pt x="6" y="12"/>
                    <a:pt x="9" y="10"/>
                    <a:pt x="11" y="8"/>
                  </a:cubicBezTo>
                  <a:cubicBezTo>
                    <a:pt x="12" y="8"/>
                    <a:pt x="12" y="9"/>
                    <a:pt x="13" y="9"/>
                  </a:cubicBezTo>
                  <a:cubicBezTo>
                    <a:pt x="14" y="10"/>
                    <a:pt x="15" y="11"/>
                    <a:pt x="17" y="11"/>
                  </a:cubicBezTo>
                  <a:cubicBezTo>
                    <a:pt x="18" y="11"/>
                    <a:pt x="18" y="11"/>
                    <a:pt x="18" y="11"/>
                  </a:cubicBezTo>
                  <a:cubicBezTo>
                    <a:pt x="19" y="11"/>
                    <a:pt x="20" y="10"/>
                    <a:pt x="20" y="10"/>
                  </a:cubicBezTo>
                  <a:cubicBezTo>
                    <a:pt x="20" y="10"/>
                    <a:pt x="20" y="10"/>
                    <a:pt x="20" y="10"/>
                  </a:cubicBezTo>
                  <a:cubicBezTo>
                    <a:pt x="21" y="9"/>
                    <a:pt x="22" y="8"/>
                    <a:pt x="22" y="8"/>
                  </a:cubicBezTo>
                  <a:cubicBezTo>
                    <a:pt x="31" y="16"/>
                    <a:pt x="31" y="16"/>
                    <a:pt x="31" y="16"/>
                  </a:cubicBezTo>
                  <a:cubicBezTo>
                    <a:pt x="31" y="16"/>
                    <a:pt x="31" y="16"/>
                    <a:pt x="31" y="16"/>
                  </a:cubicBezTo>
                  <a:cubicBezTo>
                    <a:pt x="32" y="16"/>
                    <a:pt x="32" y="16"/>
                    <a:pt x="32" y="16"/>
                  </a:cubicBezTo>
                  <a:cubicBezTo>
                    <a:pt x="32" y="15"/>
                    <a:pt x="32" y="15"/>
                    <a:pt x="32" y="15"/>
                  </a:cubicBezTo>
                  <a:cubicBezTo>
                    <a:pt x="23" y="7"/>
                    <a:pt x="23" y="7"/>
                    <a:pt x="23" y="7"/>
                  </a:cubicBezTo>
                  <a:cubicBezTo>
                    <a:pt x="25" y="5"/>
                    <a:pt x="28" y="3"/>
                    <a:pt x="31" y="1"/>
                  </a:cubicBezTo>
                  <a:cubicBezTo>
                    <a:pt x="31" y="0"/>
                    <a:pt x="31" y="0"/>
                    <a:pt x="31" y="0"/>
                  </a:cubicBezTo>
                  <a:cubicBezTo>
                    <a:pt x="30" y="0"/>
                    <a:pt x="30" y="0"/>
                    <a:pt x="3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84" name="íšḻíde"/>
            <p:cNvSpPr/>
            <p:nvPr/>
          </p:nvSpPr>
          <p:spPr bwMode="auto">
            <a:xfrm>
              <a:off x="4020" y="1806"/>
              <a:ext cx="73" cy="135"/>
            </a:xfrm>
            <a:custGeom>
              <a:avLst/>
              <a:gdLst>
                <a:gd name="T0" fmla="*/ 20 w 31"/>
                <a:gd name="T1" fmla="*/ 55 h 57"/>
                <a:gd name="T2" fmla="*/ 25 w 31"/>
                <a:gd name="T3" fmla="*/ 53 h 57"/>
                <a:gd name="T4" fmla="*/ 17 w 31"/>
                <a:gd name="T5" fmla="*/ 49 h 57"/>
                <a:gd name="T6" fmla="*/ 5 w 31"/>
                <a:gd name="T7" fmla="*/ 50 h 57"/>
                <a:gd name="T8" fmla="*/ 6 w 31"/>
                <a:gd name="T9" fmla="*/ 50 h 57"/>
                <a:gd name="T10" fmla="*/ 11 w 31"/>
                <a:gd name="T11" fmla="*/ 46 h 57"/>
                <a:gd name="T12" fmla="*/ 14 w 31"/>
                <a:gd name="T13" fmla="*/ 46 h 57"/>
                <a:gd name="T14" fmla="*/ 12 w 31"/>
                <a:gd name="T15" fmla="*/ 50 h 57"/>
                <a:gd name="T16" fmla="*/ 24 w 31"/>
                <a:gd name="T17" fmla="*/ 44 h 57"/>
                <a:gd name="T18" fmla="*/ 26 w 31"/>
                <a:gd name="T19" fmla="*/ 44 h 57"/>
                <a:gd name="T20" fmla="*/ 29 w 31"/>
                <a:gd name="T21" fmla="*/ 37 h 57"/>
                <a:gd name="T22" fmla="*/ 21 w 31"/>
                <a:gd name="T23" fmla="*/ 33 h 57"/>
                <a:gd name="T24" fmla="*/ 21 w 31"/>
                <a:gd name="T25" fmla="*/ 32 h 57"/>
                <a:gd name="T26" fmla="*/ 18 w 31"/>
                <a:gd name="T27" fmla="*/ 31 h 57"/>
                <a:gd name="T28" fmla="*/ 14 w 31"/>
                <a:gd name="T29" fmla="*/ 30 h 57"/>
                <a:gd name="T30" fmla="*/ 14 w 31"/>
                <a:gd name="T31" fmla="*/ 30 h 57"/>
                <a:gd name="T32" fmla="*/ 7 w 31"/>
                <a:gd name="T33" fmla="*/ 29 h 57"/>
                <a:gd name="T34" fmla="*/ 4 w 31"/>
                <a:gd name="T35" fmla="*/ 27 h 57"/>
                <a:gd name="T36" fmla="*/ 7 w 31"/>
                <a:gd name="T37" fmla="*/ 17 h 57"/>
                <a:gd name="T38" fmla="*/ 20 w 31"/>
                <a:gd name="T39" fmla="*/ 16 h 57"/>
                <a:gd name="T40" fmla="*/ 21 w 31"/>
                <a:gd name="T41" fmla="*/ 14 h 57"/>
                <a:gd name="T42" fmla="*/ 13 w 31"/>
                <a:gd name="T43" fmla="*/ 14 h 57"/>
                <a:gd name="T44" fmla="*/ 9 w 31"/>
                <a:gd name="T45" fmla="*/ 19 h 57"/>
                <a:gd name="T46" fmla="*/ 17 w 31"/>
                <a:gd name="T47" fmla="*/ 13 h 57"/>
                <a:gd name="T48" fmla="*/ 24 w 31"/>
                <a:gd name="T49" fmla="*/ 9 h 57"/>
                <a:gd name="T50" fmla="*/ 17 w 31"/>
                <a:gd name="T51" fmla="*/ 38 h 57"/>
                <a:gd name="T52" fmla="*/ 19 w 31"/>
                <a:gd name="T53" fmla="*/ 28 h 57"/>
                <a:gd name="T54" fmla="*/ 7 w 31"/>
                <a:gd name="T55" fmla="*/ 26 h 57"/>
                <a:gd name="T56" fmla="*/ 7 w 31"/>
                <a:gd name="T57" fmla="*/ 9 h 57"/>
                <a:gd name="T58" fmla="*/ 11 w 31"/>
                <a:gd name="T59" fmla="*/ 1 h 57"/>
                <a:gd name="T60" fmla="*/ 24 w 31"/>
                <a:gd name="T61" fmla="*/ 8 h 57"/>
                <a:gd name="T62" fmla="*/ 6 w 31"/>
                <a:gd name="T63" fmla="*/ 17 h 57"/>
                <a:gd name="T64" fmla="*/ 13 w 31"/>
                <a:gd name="T65" fmla="*/ 22 h 57"/>
                <a:gd name="T66" fmla="*/ 23 w 31"/>
                <a:gd name="T67" fmla="*/ 42 h 57"/>
                <a:gd name="T68" fmla="*/ 23 w 31"/>
                <a:gd name="T69" fmla="*/ 45 h 57"/>
                <a:gd name="T70" fmla="*/ 18 w 31"/>
                <a:gd name="T71" fmla="*/ 51 h 57"/>
                <a:gd name="T72" fmla="*/ 4 w 31"/>
                <a:gd name="T73" fmla="*/ 45 h 57"/>
                <a:gd name="T74" fmla="*/ 9 w 31"/>
                <a:gd name="T75" fmla="*/ 1 h 57"/>
                <a:gd name="T76" fmla="*/ 5 w 31"/>
                <a:gd name="T77" fmla="*/ 3 h 57"/>
                <a:gd name="T78" fmla="*/ 1 w 31"/>
                <a:gd name="T79" fmla="*/ 22 h 57"/>
                <a:gd name="T80" fmla="*/ 3 w 31"/>
                <a:gd name="T81" fmla="*/ 28 h 57"/>
                <a:gd name="T82" fmla="*/ 16 w 31"/>
                <a:gd name="T83" fmla="*/ 31 h 57"/>
                <a:gd name="T84" fmla="*/ 18 w 31"/>
                <a:gd name="T85" fmla="*/ 33 h 57"/>
                <a:gd name="T86" fmla="*/ 8 w 31"/>
                <a:gd name="T87" fmla="*/ 38 h 57"/>
                <a:gd name="T88" fmla="*/ 4 w 31"/>
                <a:gd name="T89" fmla="*/ 51 h 57"/>
                <a:gd name="T90" fmla="*/ 17 w 31"/>
                <a:gd name="T91" fmla="*/ 50 h 57"/>
                <a:gd name="T92" fmla="*/ 19 w 31"/>
                <a:gd name="T93" fmla="*/ 57 h 57"/>
                <a:gd name="T94" fmla="*/ 26 w 31"/>
                <a:gd name="T95" fmla="*/ 53 h 57"/>
                <a:gd name="T96" fmla="*/ 30 w 31"/>
                <a:gd name="T97" fmla="*/ 41 h 57"/>
                <a:gd name="T98" fmla="*/ 17 w 31"/>
                <a:gd name="T99" fmla="*/ 21 h 57"/>
                <a:gd name="T100" fmla="*/ 10 w 31"/>
                <a:gd name="T101" fmla="*/ 19 h 57"/>
                <a:gd name="T102" fmla="*/ 23 w 31"/>
                <a:gd name="T103" fmla="*/ 17 h 57"/>
                <a:gd name="T104" fmla="*/ 25 w 31"/>
                <a:gd name="T105" fmla="*/ 7 h 57"/>
                <a:gd name="T106" fmla="*/ 12 w 31"/>
                <a:gd name="T107" fmla="*/ 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 h="57">
                  <a:moveTo>
                    <a:pt x="19" y="54"/>
                  </a:moveTo>
                  <a:cubicBezTo>
                    <a:pt x="19" y="53"/>
                    <a:pt x="19" y="53"/>
                    <a:pt x="19" y="52"/>
                  </a:cubicBezTo>
                  <a:cubicBezTo>
                    <a:pt x="20" y="52"/>
                    <a:pt x="20" y="52"/>
                    <a:pt x="21" y="51"/>
                  </a:cubicBezTo>
                  <a:cubicBezTo>
                    <a:pt x="21" y="52"/>
                    <a:pt x="20" y="53"/>
                    <a:pt x="19" y="54"/>
                  </a:cubicBezTo>
                  <a:moveTo>
                    <a:pt x="20" y="55"/>
                  </a:moveTo>
                  <a:cubicBezTo>
                    <a:pt x="20" y="55"/>
                    <a:pt x="20" y="55"/>
                    <a:pt x="20" y="55"/>
                  </a:cubicBezTo>
                  <a:cubicBezTo>
                    <a:pt x="20" y="55"/>
                    <a:pt x="20" y="55"/>
                    <a:pt x="20" y="55"/>
                  </a:cubicBezTo>
                  <a:cubicBezTo>
                    <a:pt x="21" y="54"/>
                    <a:pt x="22" y="52"/>
                    <a:pt x="23" y="51"/>
                  </a:cubicBezTo>
                  <a:cubicBezTo>
                    <a:pt x="23" y="51"/>
                    <a:pt x="23" y="51"/>
                    <a:pt x="23" y="51"/>
                  </a:cubicBezTo>
                  <a:cubicBezTo>
                    <a:pt x="24" y="50"/>
                    <a:pt x="24" y="50"/>
                    <a:pt x="24" y="50"/>
                  </a:cubicBezTo>
                  <a:cubicBezTo>
                    <a:pt x="25" y="51"/>
                    <a:pt x="25" y="52"/>
                    <a:pt x="25" y="53"/>
                  </a:cubicBezTo>
                  <a:cubicBezTo>
                    <a:pt x="25" y="53"/>
                    <a:pt x="25" y="53"/>
                    <a:pt x="25" y="53"/>
                  </a:cubicBezTo>
                  <a:cubicBezTo>
                    <a:pt x="24" y="54"/>
                    <a:pt x="23" y="54"/>
                    <a:pt x="23" y="54"/>
                  </a:cubicBezTo>
                  <a:cubicBezTo>
                    <a:pt x="22" y="55"/>
                    <a:pt x="21" y="55"/>
                    <a:pt x="20" y="55"/>
                  </a:cubicBezTo>
                  <a:moveTo>
                    <a:pt x="15" y="49"/>
                  </a:moveTo>
                  <a:cubicBezTo>
                    <a:pt x="17" y="47"/>
                    <a:pt x="17" y="47"/>
                    <a:pt x="17" y="47"/>
                  </a:cubicBezTo>
                  <a:cubicBezTo>
                    <a:pt x="17" y="48"/>
                    <a:pt x="17" y="48"/>
                    <a:pt x="17" y="49"/>
                  </a:cubicBezTo>
                  <a:cubicBezTo>
                    <a:pt x="17" y="49"/>
                    <a:pt x="17" y="49"/>
                    <a:pt x="17" y="49"/>
                  </a:cubicBezTo>
                  <a:cubicBezTo>
                    <a:pt x="16" y="49"/>
                    <a:pt x="16" y="49"/>
                    <a:pt x="15" y="49"/>
                  </a:cubicBezTo>
                  <a:moveTo>
                    <a:pt x="4" y="48"/>
                  </a:moveTo>
                  <a:cubicBezTo>
                    <a:pt x="4" y="47"/>
                    <a:pt x="4" y="47"/>
                    <a:pt x="4" y="46"/>
                  </a:cubicBezTo>
                  <a:cubicBezTo>
                    <a:pt x="5" y="46"/>
                    <a:pt x="5" y="46"/>
                    <a:pt x="6" y="46"/>
                  </a:cubicBezTo>
                  <a:cubicBezTo>
                    <a:pt x="5" y="47"/>
                    <a:pt x="5" y="47"/>
                    <a:pt x="4" y="48"/>
                  </a:cubicBezTo>
                  <a:moveTo>
                    <a:pt x="5" y="50"/>
                  </a:moveTo>
                  <a:cubicBezTo>
                    <a:pt x="5" y="49"/>
                    <a:pt x="5" y="49"/>
                    <a:pt x="5" y="49"/>
                  </a:cubicBezTo>
                  <a:cubicBezTo>
                    <a:pt x="5" y="49"/>
                    <a:pt x="5" y="49"/>
                    <a:pt x="5" y="49"/>
                  </a:cubicBezTo>
                  <a:cubicBezTo>
                    <a:pt x="6" y="48"/>
                    <a:pt x="6" y="47"/>
                    <a:pt x="7" y="46"/>
                  </a:cubicBezTo>
                  <a:cubicBezTo>
                    <a:pt x="7" y="46"/>
                    <a:pt x="7" y="46"/>
                    <a:pt x="7" y="46"/>
                  </a:cubicBezTo>
                  <a:cubicBezTo>
                    <a:pt x="8" y="46"/>
                    <a:pt x="9" y="46"/>
                    <a:pt x="9" y="46"/>
                  </a:cubicBezTo>
                  <a:cubicBezTo>
                    <a:pt x="8" y="47"/>
                    <a:pt x="7" y="49"/>
                    <a:pt x="6" y="50"/>
                  </a:cubicBezTo>
                  <a:cubicBezTo>
                    <a:pt x="6" y="50"/>
                    <a:pt x="6" y="50"/>
                    <a:pt x="6" y="50"/>
                  </a:cubicBezTo>
                  <a:cubicBezTo>
                    <a:pt x="5" y="50"/>
                    <a:pt x="5" y="50"/>
                    <a:pt x="5" y="50"/>
                  </a:cubicBezTo>
                  <a:cubicBezTo>
                    <a:pt x="5" y="50"/>
                    <a:pt x="5" y="50"/>
                    <a:pt x="5" y="50"/>
                  </a:cubicBezTo>
                  <a:moveTo>
                    <a:pt x="8" y="50"/>
                  </a:moveTo>
                  <a:cubicBezTo>
                    <a:pt x="9" y="49"/>
                    <a:pt x="10" y="47"/>
                    <a:pt x="11" y="46"/>
                  </a:cubicBezTo>
                  <a:cubicBezTo>
                    <a:pt x="11" y="46"/>
                    <a:pt x="11" y="46"/>
                    <a:pt x="11" y="46"/>
                  </a:cubicBezTo>
                  <a:cubicBezTo>
                    <a:pt x="12" y="46"/>
                    <a:pt x="12" y="46"/>
                    <a:pt x="13" y="45"/>
                  </a:cubicBezTo>
                  <a:cubicBezTo>
                    <a:pt x="12" y="47"/>
                    <a:pt x="11" y="48"/>
                    <a:pt x="10" y="50"/>
                  </a:cubicBezTo>
                  <a:cubicBezTo>
                    <a:pt x="10" y="50"/>
                    <a:pt x="10" y="50"/>
                    <a:pt x="10" y="50"/>
                  </a:cubicBezTo>
                  <a:cubicBezTo>
                    <a:pt x="9" y="50"/>
                    <a:pt x="8" y="50"/>
                    <a:pt x="8" y="50"/>
                  </a:cubicBezTo>
                  <a:moveTo>
                    <a:pt x="12" y="50"/>
                  </a:moveTo>
                  <a:cubicBezTo>
                    <a:pt x="12" y="48"/>
                    <a:pt x="13" y="47"/>
                    <a:pt x="14" y="46"/>
                  </a:cubicBezTo>
                  <a:cubicBezTo>
                    <a:pt x="14" y="45"/>
                    <a:pt x="14" y="45"/>
                    <a:pt x="14" y="45"/>
                  </a:cubicBezTo>
                  <a:cubicBezTo>
                    <a:pt x="15" y="45"/>
                    <a:pt x="16" y="45"/>
                    <a:pt x="16" y="45"/>
                  </a:cubicBezTo>
                  <a:cubicBezTo>
                    <a:pt x="16" y="46"/>
                    <a:pt x="16" y="46"/>
                    <a:pt x="16" y="46"/>
                  </a:cubicBezTo>
                  <a:cubicBezTo>
                    <a:pt x="14" y="49"/>
                    <a:pt x="14" y="49"/>
                    <a:pt x="14" y="49"/>
                  </a:cubicBezTo>
                  <a:cubicBezTo>
                    <a:pt x="14" y="49"/>
                    <a:pt x="14" y="49"/>
                    <a:pt x="14" y="49"/>
                  </a:cubicBezTo>
                  <a:cubicBezTo>
                    <a:pt x="13" y="50"/>
                    <a:pt x="12" y="50"/>
                    <a:pt x="12" y="50"/>
                  </a:cubicBezTo>
                  <a:moveTo>
                    <a:pt x="23" y="43"/>
                  </a:moveTo>
                  <a:cubicBezTo>
                    <a:pt x="23" y="43"/>
                    <a:pt x="23" y="43"/>
                    <a:pt x="23" y="43"/>
                  </a:cubicBezTo>
                  <a:cubicBezTo>
                    <a:pt x="24" y="42"/>
                    <a:pt x="24" y="42"/>
                    <a:pt x="24" y="42"/>
                  </a:cubicBezTo>
                  <a:cubicBezTo>
                    <a:pt x="23" y="43"/>
                    <a:pt x="23" y="43"/>
                    <a:pt x="23" y="43"/>
                  </a:cubicBezTo>
                  <a:moveTo>
                    <a:pt x="24" y="46"/>
                  </a:moveTo>
                  <a:cubicBezTo>
                    <a:pt x="24" y="45"/>
                    <a:pt x="24" y="45"/>
                    <a:pt x="24" y="44"/>
                  </a:cubicBezTo>
                  <a:cubicBezTo>
                    <a:pt x="26" y="41"/>
                    <a:pt x="26" y="41"/>
                    <a:pt x="26" y="41"/>
                  </a:cubicBezTo>
                  <a:cubicBezTo>
                    <a:pt x="26" y="41"/>
                    <a:pt x="26" y="41"/>
                    <a:pt x="26" y="41"/>
                  </a:cubicBezTo>
                  <a:cubicBezTo>
                    <a:pt x="27" y="41"/>
                    <a:pt x="27" y="40"/>
                    <a:pt x="28" y="40"/>
                  </a:cubicBezTo>
                  <a:cubicBezTo>
                    <a:pt x="27" y="40"/>
                    <a:pt x="27" y="41"/>
                    <a:pt x="27" y="42"/>
                  </a:cubicBezTo>
                  <a:cubicBezTo>
                    <a:pt x="26" y="43"/>
                    <a:pt x="25" y="45"/>
                    <a:pt x="24" y="46"/>
                  </a:cubicBezTo>
                  <a:moveTo>
                    <a:pt x="26" y="44"/>
                  </a:moveTo>
                  <a:cubicBezTo>
                    <a:pt x="27" y="44"/>
                    <a:pt x="27" y="43"/>
                    <a:pt x="27" y="42"/>
                  </a:cubicBezTo>
                  <a:cubicBezTo>
                    <a:pt x="28" y="41"/>
                    <a:pt x="29" y="40"/>
                    <a:pt x="29" y="39"/>
                  </a:cubicBezTo>
                  <a:cubicBezTo>
                    <a:pt x="29" y="40"/>
                    <a:pt x="29" y="41"/>
                    <a:pt x="29" y="41"/>
                  </a:cubicBezTo>
                  <a:cubicBezTo>
                    <a:pt x="29" y="42"/>
                    <a:pt x="27" y="43"/>
                    <a:pt x="26" y="44"/>
                  </a:cubicBezTo>
                  <a:moveTo>
                    <a:pt x="29" y="38"/>
                  </a:moveTo>
                  <a:cubicBezTo>
                    <a:pt x="29" y="37"/>
                    <a:pt x="29" y="37"/>
                    <a:pt x="29" y="37"/>
                  </a:cubicBezTo>
                  <a:cubicBezTo>
                    <a:pt x="29" y="38"/>
                    <a:pt x="29" y="38"/>
                    <a:pt x="29" y="38"/>
                  </a:cubicBezTo>
                  <a:cubicBezTo>
                    <a:pt x="29" y="38"/>
                    <a:pt x="29" y="38"/>
                    <a:pt x="29" y="38"/>
                  </a:cubicBezTo>
                  <a:cubicBezTo>
                    <a:pt x="29" y="38"/>
                    <a:pt x="29" y="38"/>
                    <a:pt x="29" y="38"/>
                  </a:cubicBezTo>
                  <a:moveTo>
                    <a:pt x="20" y="35"/>
                  </a:moveTo>
                  <a:cubicBezTo>
                    <a:pt x="20" y="35"/>
                    <a:pt x="20" y="35"/>
                    <a:pt x="20" y="35"/>
                  </a:cubicBezTo>
                  <a:cubicBezTo>
                    <a:pt x="20" y="34"/>
                    <a:pt x="20" y="34"/>
                    <a:pt x="21" y="33"/>
                  </a:cubicBezTo>
                  <a:cubicBezTo>
                    <a:pt x="21" y="34"/>
                    <a:pt x="20" y="35"/>
                    <a:pt x="20" y="35"/>
                  </a:cubicBezTo>
                  <a:moveTo>
                    <a:pt x="20" y="33"/>
                  </a:moveTo>
                  <a:cubicBezTo>
                    <a:pt x="20" y="33"/>
                    <a:pt x="19" y="33"/>
                    <a:pt x="19" y="32"/>
                  </a:cubicBezTo>
                  <a:cubicBezTo>
                    <a:pt x="20" y="32"/>
                    <a:pt x="20" y="31"/>
                    <a:pt x="20" y="31"/>
                  </a:cubicBezTo>
                  <a:cubicBezTo>
                    <a:pt x="21" y="31"/>
                    <a:pt x="21" y="31"/>
                    <a:pt x="21" y="31"/>
                  </a:cubicBezTo>
                  <a:cubicBezTo>
                    <a:pt x="21" y="32"/>
                    <a:pt x="21" y="32"/>
                    <a:pt x="21" y="32"/>
                  </a:cubicBezTo>
                  <a:cubicBezTo>
                    <a:pt x="20" y="32"/>
                    <a:pt x="20" y="33"/>
                    <a:pt x="20" y="33"/>
                  </a:cubicBezTo>
                  <a:moveTo>
                    <a:pt x="18" y="31"/>
                  </a:moveTo>
                  <a:cubicBezTo>
                    <a:pt x="18" y="31"/>
                    <a:pt x="18" y="31"/>
                    <a:pt x="17" y="31"/>
                  </a:cubicBezTo>
                  <a:cubicBezTo>
                    <a:pt x="18" y="30"/>
                    <a:pt x="18" y="30"/>
                    <a:pt x="19" y="29"/>
                  </a:cubicBezTo>
                  <a:cubicBezTo>
                    <a:pt x="20" y="30"/>
                    <a:pt x="20" y="30"/>
                    <a:pt x="20" y="30"/>
                  </a:cubicBezTo>
                  <a:cubicBezTo>
                    <a:pt x="19" y="30"/>
                    <a:pt x="19" y="31"/>
                    <a:pt x="18" y="31"/>
                  </a:cubicBezTo>
                  <a:moveTo>
                    <a:pt x="16" y="30"/>
                  </a:moveTo>
                  <a:cubicBezTo>
                    <a:pt x="15" y="30"/>
                    <a:pt x="15" y="30"/>
                    <a:pt x="15" y="30"/>
                  </a:cubicBezTo>
                  <a:cubicBezTo>
                    <a:pt x="16" y="29"/>
                    <a:pt x="16" y="29"/>
                    <a:pt x="17" y="28"/>
                  </a:cubicBezTo>
                  <a:cubicBezTo>
                    <a:pt x="18" y="28"/>
                    <a:pt x="18" y="28"/>
                    <a:pt x="18" y="28"/>
                  </a:cubicBezTo>
                  <a:cubicBezTo>
                    <a:pt x="17" y="29"/>
                    <a:pt x="17" y="30"/>
                    <a:pt x="16" y="30"/>
                  </a:cubicBezTo>
                  <a:moveTo>
                    <a:pt x="14" y="30"/>
                  </a:moveTo>
                  <a:cubicBezTo>
                    <a:pt x="13" y="30"/>
                    <a:pt x="13" y="30"/>
                    <a:pt x="12" y="30"/>
                  </a:cubicBezTo>
                  <a:cubicBezTo>
                    <a:pt x="13" y="29"/>
                    <a:pt x="13" y="28"/>
                    <a:pt x="14" y="28"/>
                  </a:cubicBezTo>
                  <a:cubicBezTo>
                    <a:pt x="14" y="28"/>
                    <a:pt x="14" y="28"/>
                    <a:pt x="14" y="28"/>
                  </a:cubicBezTo>
                  <a:cubicBezTo>
                    <a:pt x="14" y="28"/>
                    <a:pt x="14" y="28"/>
                    <a:pt x="14" y="28"/>
                  </a:cubicBezTo>
                  <a:cubicBezTo>
                    <a:pt x="15" y="28"/>
                    <a:pt x="15" y="28"/>
                    <a:pt x="16" y="28"/>
                  </a:cubicBezTo>
                  <a:cubicBezTo>
                    <a:pt x="15" y="28"/>
                    <a:pt x="15" y="29"/>
                    <a:pt x="14" y="30"/>
                  </a:cubicBezTo>
                  <a:moveTo>
                    <a:pt x="11" y="30"/>
                  </a:moveTo>
                  <a:cubicBezTo>
                    <a:pt x="10" y="30"/>
                    <a:pt x="9" y="30"/>
                    <a:pt x="9" y="30"/>
                  </a:cubicBezTo>
                  <a:cubicBezTo>
                    <a:pt x="9" y="29"/>
                    <a:pt x="10" y="28"/>
                    <a:pt x="10" y="27"/>
                  </a:cubicBezTo>
                  <a:cubicBezTo>
                    <a:pt x="11" y="28"/>
                    <a:pt x="12" y="28"/>
                    <a:pt x="12" y="28"/>
                  </a:cubicBezTo>
                  <a:cubicBezTo>
                    <a:pt x="12" y="28"/>
                    <a:pt x="11" y="29"/>
                    <a:pt x="11" y="30"/>
                  </a:cubicBezTo>
                  <a:moveTo>
                    <a:pt x="7" y="29"/>
                  </a:moveTo>
                  <a:cubicBezTo>
                    <a:pt x="7" y="29"/>
                    <a:pt x="6" y="29"/>
                    <a:pt x="6" y="29"/>
                  </a:cubicBezTo>
                  <a:cubicBezTo>
                    <a:pt x="6" y="28"/>
                    <a:pt x="7" y="28"/>
                    <a:pt x="7" y="27"/>
                  </a:cubicBezTo>
                  <a:cubicBezTo>
                    <a:pt x="8" y="27"/>
                    <a:pt x="8" y="27"/>
                    <a:pt x="9" y="27"/>
                  </a:cubicBezTo>
                  <a:cubicBezTo>
                    <a:pt x="8" y="28"/>
                    <a:pt x="8" y="29"/>
                    <a:pt x="7" y="29"/>
                  </a:cubicBezTo>
                  <a:moveTo>
                    <a:pt x="5" y="28"/>
                  </a:moveTo>
                  <a:cubicBezTo>
                    <a:pt x="5" y="28"/>
                    <a:pt x="4" y="27"/>
                    <a:pt x="4" y="27"/>
                  </a:cubicBezTo>
                  <a:cubicBezTo>
                    <a:pt x="4" y="26"/>
                    <a:pt x="4" y="26"/>
                    <a:pt x="3" y="25"/>
                  </a:cubicBezTo>
                  <a:cubicBezTo>
                    <a:pt x="4" y="25"/>
                    <a:pt x="4" y="26"/>
                    <a:pt x="5" y="26"/>
                  </a:cubicBezTo>
                  <a:cubicBezTo>
                    <a:pt x="5" y="26"/>
                    <a:pt x="6" y="26"/>
                    <a:pt x="6" y="27"/>
                  </a:cubicBezTo>
                  <a:cubicBezTo>
                    <a:pt x="6" y="27"/>
                    <a:pt x="5" y="28"/>
                    <a:pt x="5" y="28"/>
                  </a:cubicBezTo>
                  <a:moveTo>
                    <a:pt x="8" y="19"/>
                  </a:moveTo>
                  <a:cubicBezTo>
                    <a:pt x="7" y="18"/>
                    <a:pt x="7" y="17"/>
                    <a:pt x="7" y="17"/>
                  </a:cubicBezTo>
                  <a:cubicBezTo>
                    <a:pt x="8" y="16"/>
                    <a:pt x="9" y="15"/>
                    <a:pt x="10" y="15"/>
                  </a:cubicBezTo>
                  <a:cubicBezTo>
                    <a:pt x="10" y="14"/>
                    <a:pt x="10" y="14"/>
                    <a:pt x="11" y="14"/>
                  </a:cubicBezTo>
                  <a:cubicBezTo>
                    <a:pt x="11" y="14"/>
                    <a:pt x="11" y="15"/>
                    <a:pt x="10" y="15"/>
                  </a:cubicBezTo>
                  <a:cubicBezTo>
                    <a:pt x="9" y="16"/>
                    <a:pt x="8" y="18"/>
                    <a:pt x="8" y="19"/>
                  </a:cubicBezTo>
                  <a:moveTo>
                    <a:pt x="22" y="16"/>
                  </a:moveTo>
                  <a:cubicBezTo>
                    <a:pt x="22" y="16"/>
                    <a:pt x="21" y="16"/>
                    <a:pt x="20" y="16"/>
                  </a:cubicBezTo>
                  <a:cubicBezTo>
                    <a:pt x="21" y="15"/>
                    <a:pt x="22" y="15"/>
                    <a:pt x="22" y="14"/>
                  </a:cubicBezTo>
                  <a:cubicBezTo>
                    <a:pt x="22" y="16"/>
                    <a:pt x="22" y="16"/>
                    <a:pt x="22" y="16"/>
                  </a:cubicBezTo>
                  <a:moveTo>
                    <a:pt x="19" y="16"/>
                  </a:moveTo>
                  <a:cubicBezTo>
                    <a:pt x="18" y="16"/>
                    <a:pt x="18" y="16"/>
                    <a:pt x="17" y="16"/>
                  </a:cubicBezTo>
                  <a:cubicBezTo>
                    <a:pt x="18" y="15"/>
                    <a:pt x="19" y="14"/>
                    <a:pt x="20" y="13"/>
                  </a:cubicBezTo>
                  <a:cubicBezTo>
                    <a:pt x="20" y="13"/>
                    <a:pt x="21" y="13"/>
                    <a:pt x="21" y="14"/>
                  </a:cubicBezTo>
                  <a:cubicBezTo>
                    <a:pt x="20" y="14"/>
                    <a:pt x="20" y="15"/>
                    <a:pt x="19" y="16"/>
                  </a:cubicBezTo>
                  <a:cubicBezTo>
                    <a:pt x="19" y="16"/>
                    <a:pt x="19" y="16"/>
                    <a:pt x="19" y="16"/>
                  </a:cubicBezTo>
                  <a:moveTo>
                    <a:pt x="9" y="20"/>
                  </a:moveTo>
                  <a:cubicBezTo>
                    <a:pt x="8" y="19"/>
                    <a:pt x="8" y="19"/>
                    <a:pt x="8" y="19"/>
                  </a:cubicBezTo>
                  <a:cubicBezTo>
                    <a:pt x="9" y="19"/>
                    <a:pt x="10" y="17"/>
                    <a:pt x="11" y="16"/>
                  </a:cubicBezTo>
                  <a:cubicBezTo>
                    <a:pt x="12" y="15"/>
                    <a:pt x="12" y="14"/>
                    <a:pt x="13" y="14"/>
                  </a:cubicBezTo>
                  <a:cubicBezTo>
                    <a:pt x="13" y="13"/>
                    <a:pt x="14" y="13"/>
                    <a:pt x="15" y="13"/>
                  </a:cubicBezTo>
                  <a:cubicBezTo>
                    <a:pt x="14" y="14"/>
                    <a:pt x="14" y="14"/>
                    <a:pt x="14" y="14"/>
                  </a:cubicBezTo>
                  <a:cubicBezTo>
                    <a:pt x="14" y="15"/>
                    <a:pt x="13" y="15"/>
                    <a:pt x="13" y="16"/>
                  </a:cubicBezTo>
                  <a:cubicBezTo>
                    <a:pt x="13" y="16"/>
                    <a:pt x="13" y="16"/>
                    <a:pt x="13" y="16"/>
                  </a:cubicBezTo>
                  <a:cubicBezTo>
                    <a:pt x="11" y="17"/>
                    <a:pt x="10" y="17"/>
                    <a:pt x="10" y="18"/>
                  </a:cubicBezTo>
                  <a:cubicBezTo>
                    <a:pt x="9" y="18"/>
                    <a:pt x="9" y="19"/>
                    <a:pt x="9" y="19"/>
                  </a:cubicBezTo>
                  <a:cubicBezTo>
                    <a:pt x="9" y="20"/>
                    <a:pt x="9" y="20"/>
                    <a:pt x="9" y="20"/>
                  </a:cubicBezTo>
                  <a:moveTo>
                    <a:pt x="14" y="16"/>
                  </a:moveTo>
                  <a:cubicBezTo>
                    <a:pt x="14" y="16"/>
                    <a:pt x="15" y="15"/>
                    <a:pt x="15" y="15"/>
                  </a:cubicBezTo>
                  <a:cubicBezTo>
                    <a:pt x="16" y="14"/>
                    <a:pt x="16" y="14"/>
                    <a:pt x="17" y="13"/>
                  </a:cubicBezTo>
                  <a:cubicBezTo>
                    <a:pt x="17" y="13"/>
                    <a:pt x="17" y="13"/>
                    <a:pt x="17" y="13"/>
                  </a:cubicBezTo>
                  <a:cubicBezTo>
                    <a:pt x="17" y="13"/>
                    <a:pt x="17" y="13"/>
                    <a:pt x="17" y="13"/>
                  </a:cubicBezTo>
                  <a:cubicBezTo>
                    <a:pt x="18" y="13"/>
                    <a:pt x="18" y="13"/>
                    <a:pt x="18" y="13"/>
                  </a:cubicBezTo>
                  <a:cubicBezTo>
                    <a:pt x="18" y="14"/>
                    <a:pt x="17" y="15"/>
                    <a:pt x="16" y="16"/>
                  </a:cubicBezTo>
                  <a:cubicBezTo>
                    <a:pt x="15" y="16"/>
                    <a:pt x="14" y="16"/>
                    <a:pt x="14" y="16"/>
                  </a:cubicBezTo>
                  <a:moveTo>
                    <a:pt x="23" y="15"/>
                  </a:moveTo>
                  <a:cubicBezTo>
                    <a:pt x="23" y="13"/>
                    <a:pt x="23" y="13"/>
                    <a:pt x="23" y="13"/>
                  </a:cubicBezTo>
                  <a:cubicBezTo>
                    <a:pt x="24" y="9"/>
                    <a:pt x="24" y="9"/>
                    <a:pt x="24" y="9"/>
                  </a:cubicBezTo>
                  <a:cubicBezTo>
                    <a:pt x="25" y="11"/>
                    <a:pt x="25" y="11"/>
                    <a:pt x="25" y="11"/>
                  </a:cubicBezTo>
                  <a:cubicBezTo>
                    <a:pt x="25" y="11"/>
                    <a:pt x="25" y="11"/>
                    <a:pt x="25" y="11"/>
                  </a:cubicBezTo>
                  <a:cubicBezTo>
                    <a:pt x="24" y="13"/>
                    <a:pt x="24" y="14"/>
                    <a:pt x="23" y="15"/>
                  </a:cubicBezTo>
                  <a:moveTo>
                    <a:pt x="17" y="38"/>
                  </a:moveTo>
                  <a:cubicBezTo>
                    <a:pt x="17" y="38"/>
                    <a:pt x="17" y="38"/>
                    <a:pt x="17" y="38"/>
                  </a:cubicBezTo>
                  <a:cubicBezTo>
                    <a:pt x="17" y="38"/>
                    <a:pt x="17" y="38"/>
                    <a:pt x="17" y="38"/>
                  </a:cubicBezTo>
                  <a:cubicBezTo>
                    <a:pt x="19" y="37"/>
                    <a:pt x="20" y="37"/>
                    <a:pt x="20" y="36"/>
                  </a:cubicBezTo>
                  <a:cubicBezTo>
                    <a:pt x="22" y="35"/>
                    <a:pt x="23" y="33"/>
                    <a:pt x="22" y="31"/>
                  </a:cubicBezTo>
                  <a:cubicBezTo>
                    <a:pt x="22" y="30"/>
                    <a:pt x="21" y="30"/>
                    <a:pt x="21" y="30"/>
                  </a:cubicBezTo>
                  <a:cubicBezTo>
                    <a:pt x="21" y="29"/>
                    <a:pt x="21" y="29"/>
                    <a:pt x="21" y="29"/>
                  </a:cubicBezTo>
                  <a:cubicBezTo>
                    <a:pt x="21" y="29"/>
                    <a:pt x="21" y="29"/>
                    <a:pt x="21" y="29"/>
                  </a:cubicBezTo>
                  <a:cubicBezTo>
                    <a:pt x="20" y="29"/>
                    <a:pt x="20" y="28"/>
                    <a:pt x="19" y="28"/>
                  </a:cubicBezTo>
                  <a:cubicBezTo>
                    <a:pt x="19" y="28"/>
                    <a:pt x="19" y="28"/>
                    <a:pt x="19" y="28"/>
                  </a:cubicBezTo>
                  <a:cubicBezTo>
                    <a:pt x="19" y="28"/>
                    <a:pt x="19" y="28"/>
                    <a:pt x="19" y="28"/>
                  </a:cubicBezTo>
                  <a:cubicBezTo>
                    <a:pt x="17" y="27"/>
                    <a:pt x="16" y="27"/>
                    <a:pt x="14" y="27"/>
                  </a:cubicBezTo>
                  <a:cubicBezTo>
                    <a:pt x="13" y="27"/>
                    <a:pt x="13" y="27"/>
                    <a:pt x="13" y="27"/>
                  </a:cubicBezTo>
                  <a:cubicBezTo>
                    <a:pt x="11" y="26"/>
                    <a:pt x="9" y="26"/>
                    <a:pt x="7" y="26"/>
                  </a:cubicBezTo>
                  <a:cubicBezTo>
                    <a:pt x="7" y="26"/>
                    <a:pt x="7" y="26"/>
                    <a:pt x="7" y="26"/>
                  </a:cubicBezTo>
                  <a:cubicBezTo>
                    <a:pt x="7" y="26"/>
                    <a:pt x="7" y="26"/>
                    <a:pt x="7" y="26"/>
                  </a:cubicBezTo>
                  <a:cubicBezTo>
                    <a:pt x="6" y="26"/>
                    <a:pt x="6" y="25"/>
                    <a:pt x="5" y="25"/>
                  </a:cubicBezTo>
                  <a:cubicBezTo>
                    <a:pt x="2" y="23"/>
                    <a:pt x="2" y="19"/>
                    <a:pt x="2" y="17"/>
                  </a:cubicBezTo>
                  <a:cubicBezTo>
                    <a:pt x="2" y="14"/>
                    <a:pt x="5" y="10"/>
                    <a:pt x="7" y="9"/>
                  </a:cubicBezTo>
                  <a:cubicBezTo>
                    <a:pt x="7" y="9"/>
                    <a:pt x="7" y="9"/>
                    <a:pt x="7" y="9"/>
                  </a:cubicBezTo>
                  <a:cubicBezTo>
                    <a:pt x="7" y="9"/>
                    <a:pt x="7" y="9"/>
                    <a:pt x="7" y="9"/>
                  </a:cubicBezTo>
                  <a:cubicBezTo>
                    <a:pt x="7" y="9"/>
                    <a:pt x="7" y="9"/>
                    <a:pt x="7" y="9"/>
                  </a:cubicBezTo>
                  <a:cubicBezTo>
                    <a:pt x="8" y="8"/>
                    <a:pt x="8" y="8"/>
                    <a:pt x="8" y="8"/>
                  </a:cubicBezTo>
                  <a:cubicBezTo>
                    <a:pt x="7" y="8"/>
                    <a:pt x="7" y="8"/>
                    <a:pt x="7" y="8"/>
                  </a:cubicBezTo>
                  <a:cubicBezTo>
                    <a:pt x="7" y="7"/>
                    <a:pt x="7" y="5"/>
                    <a:pt x="6" y="3"/>
                  </a:cubicBezTo>
                  <a:cubicBezTo>
                    <a:pt x="8" y="3"/>
                    <a:pt x="9" y="2"/>
                    <a:pt x="10" y="2"/>
                  </a:cubicBezTo>
                  <a:cubicBezTo>
                    <a:pt x="10" y="2"/>
                    <a:pt x="11" y="2"/>
                    <a:pt x="11" y="1"/>
                  </a:cubicBezTo>
                  <a:cubicBezTo>
                    <a:pt x="12" y="3"/>
                    <a:pt x="12" y="5"/>
                    <a:pt x="12" y="7"/>
                  </a:cubicBezTo>
                  <a:cubicBezTo>
                    <a:pt x="13" y="8"/>
                    <a:pt x="13" y="8"/>
                    <a:pt x="13" y="8"/>
                  </a:cubicBezTo>
                  <a:cubicBezTo>
                    <a:pt x="13" y="8"/>
                    <a:pt x="13" y="8"/>
                    <a:pt x="13" y="8"/>
                  </a:cubicBezTo>
                  <a:cubicBezTo>
                    <a:pt x="13" y="8"/>
                    <a:pt x="13" y="8"/>
                    <a:pt x="13" y="8"/>
                  </a:cubicBezTo>
                  <a:cubicBezTo>
                    <a:pt x="15" y="7"/>
                    <a:pt x="17" y="7"/>
                    <a:pt x="19" y="7"/>
                  </a:cubicBezTo>
                  <a:cubicBezTo>
                    <a:pt x="21" y="7"/>
                    <a:pt x="22" y="7"/>
                    <a:pt x="24" y="8"/>
                  </a:cubicBezTo>
                  <a:cubicBezTo>
                    <a:pt x="22" y="13"/>
                    <a:pt x="22" y="13"/>
                    <a:pt x="22" y="13"/>
                  </a:cubicBezTo>
                  <a:cubicBezTo>
                    <a:pt x="21" y="12"/>
                    <a:pt x="19" y="12"/>
                    <a:pt x="17" y="12"/>
                  </a:cubicBezTo>
                  <a:cubicBezTo>
                    <a:pt x="16" y="12"/>
                    <a:pt x="14" y="12"/>
                    <a:pt x="12" y="13"/>
                  </a:cubicBezTo>
                  <a:cubicBezTo>
                    <a:pt x="12" y="13"/>
                    <a:pt x="12" y="13"/>
                    <a:pt x="12" y="13"/>
                  </a:cubicBezTo>
                  <a:cubicBezTo>
                    <a:pt x="11" y="13"/>
                    <a:pt x="10" y="13"/>
                    <a:pt x="9" y="14"/>
                  </a:cubicBezTo>
                  <a:cubicBezTo>
                    <a:pt x="8" y="14"/>
                    <a:pt x="7" y="15"/>
                    <a:pt x="6" y="17"/>
                  </a:cubicBezTo>
                  <a:cubicBezTo>
                    <a:pt x="6" y="18"/>
                    <a:pt x="6" y="19"/>
                    <a:pt x="7" y="19"/>
                  </a:cubicBezTo>
                  <a:cubicBezTo>
                    <a:pt x="7" y="20"/>
                    <a:pt x="7" y="20"/>
                    <a:pt x="7" y="20"/>
                  </a:cubicBezTo>
                  <a:cubicBezTo>
                    <a:pt x="7" y="20"/>
                    <a:pt x="7" y="20"/>
                    <a:pt x="7" y="20"/>
                  </a:cubicBezTo>
                  <a:cubicBezTo>
                    <a:pt x="8" y="20"/>
                    <a:pt x="8" y="20"/>
                    <a:pt x="8" y="20"/>
                  </a:cubicBezTo>
                  <a:cubicBezTo>
                    <a:pt x="9" y="21"/>
                    <a:pt x="10" y="22"/>
                    <a:pt x="12" y="22"/>
                  </a:cubicBezTo>
                  <a:cubicBezTo>
                    <a:pt x="12" y="22"/>
                    <a:pt x="13" y="22"/>
                    <a:pt x="13" y="22"/>
                  </a:cubicBezTo>
                  <a:cubicBezTo>
                    <a:pt x="14" y="22"/>
                    <a:pt x="14" y="22"/>
                    <a:pt x="15" y="22"/>
                  </a:cubicBezTo>
                  <a:cubicBezTo>
                    <a:pt x="16" y="22"/>
                    <a:pt x="16" y="22"/>
                    <a:pt x="17" y="22"/>
                  </a:cubicBezTo>
                  <a:cubicBezTo>
                    <a:pt x="18" y="22"/>
                    <a:pt x="19" y="22"/>
                    <a:pt x="19" y="22"/>
                  </a:cubicBezTo>
                  <a:cubicBezTo>
                    <a:pt x="24" y="23"/>
                    <a:pt x="26" y="24"/>
                    <a:pt x="27" y="28"/>
                  </a:cubicBezTo>
                  <a:cubicBezTo>
                    <a:pt x="29" y="31"/>
                    <a:pt x="30" y="36"/>
                    <a:pt x="27" y="39"/>
                  </a:cubicBezTo>
                  <a:cubicBezTo>
                    <a:pt x="26" y="40"/>
                    <a:pt x="25" y="41"/>
                    <a:pt x="23" y="42"/>
                  </a:cubicBezTo>
                  <a:cubicBezTo>
                    <a:pt x="22" y="42"/>
                    <a:pt x="22" y="42"/>
                    <a:pt x="22" y="42"/>
                  </a:cubicBezTo>
                  <a:cubicBezTo>
                    <a:pt x="22" y="42"/>
                    <a:pt x="22" y="42"/>
                    <a:pt x="22" y="42"/>
                  </a:cubicBezTo>
                  <a:cubicBezTo>
                    <a:pt x="22" y="42"/>
                    <a:pt x="22" y="42"/>
                    <a:pt x="22" y="42"/>
                  </a:cubicBezTo>
                  <a:cubicBezTo>
                    <a:pt x="22" y="42"/>
                    <a:pt x="22" y="42"/>
                    <a:pt x="22" y="42"/>
                  </a:cubicBezTo>
                  <a:cubicBezTo>
                    <a:pt x="22" y="43"/>
                    <a:pt x="23" y="44"/>
                    <a:pt x="23" y="44"/>
                  </a:cubicBezTo>
                  <a:cubicBezTo>
                    <a:pt x="23" y="45"/>
                    <a:pt x="23" y="45"/>
                    <a:pt x="23" y="45"/>
                  </a:cubicBezTo>
                  <a:cubicBezTo>
                    <a:pt x="23" y="45"/>
                    <a:pt x="23" y="45"/>
                    <a:pt x="23" y="45"/>
                  </a:cubicBezTo>
                  <a:cubicBezTo>
                    <a:pt x="23" y="46"/>
                    <a:pt x="23" y="47"/>
                    <a:pt x="24" y="49"/>
                  </a:cubicBezTo>
                  <a:cubicBezTo>
                    <a:pt x="23" y="49"/>
                    <a:pt x="22" y="50"/>
                    <a:pt x="21" y="50"/>
                  </a:cubicBezTo>
                  <a:cubicBezTo>
                    <a:pt x="20" y="51"/>
                    <a:pt x="19" y="51"/>
                    <a:pt x="19" y="51"/>
                  </a:cubicBezTo>
                  <a:cubicBezTo>
                    <a:pt x="19" y="51"/>
                    <a:pt x="19" y="51"/>
                    <a:pt x="19" y="51"/>
                  </a:cubicBezTo>
                  <a:cubicBezTo>
                    <a:pt x="18" y="51"/>
                    <a:pt x="18" y="51"/>
                    <a:pt x="18" y="51"/>
                  </a:cubicBezTo>
                  <a:cubicBezTo>
                    <a:pt x="18" y="50"/>
                    <a:pt x="18" y="49"/>
                    <a:pt x="18" y="49"/>
                  </a:cubicBezTo>
                  <a:cubicBezTo>
                    <a:pt x="18" y="47"/>
                    <a:pt x="18" y="46"/>
                    <a:pt x="17" y="44"/>
                  </a:cubicBezTo>
                  <a:cubicBezTo>
                    <a:pt x="16" y="44"/>
                    <a:pt x="16" y="44"/>
                    <a:pt x="16" y="44"/>
                  </a:cubicBezTo>
                  <a:cubicBezTo>
                    <a:pt x="16" y="44"/>
                    <a:pt x="16" y="44"/>
                    <a:pt x="16" y="44"/>
                  </a:cubicBezTo>
                  <a:cubicBezTo>
                    <a:pt x="16" y="44"/>
                    <a:pt x="16" y="44"/>
                    <a:pt x="16" y="44"/>
                  </a:cubicBezTo>
                  <a:cubicBezTo>
                    <a:pt x="14" y="44"/>
                    <a:pt x="8" y="45"/>
                    <a:pt x="4" y="45"/>
                  </a:cubicBezTo>
                  <a:cubicBezTo>
                    <a:pt x="5" y="43"/>
                    <a:pt x="6" y="41"/>
                    <a:pt x="6" y="39"/>
                  </a:cubicBezTo>
                  <a:cubicBezTo>
                    <a:pt x="7" y="39"/>
                    <a:pt x="8" y="39"/>
                    <a:pt x="8" y="39"/>
                  </a:cubicBezTo>
                  <a:cubicBezTo>
                    <a:pt x="11" y="39"/>
                    <a:pt x="14" y="39"/>
                    <a:pt x="17" y="38"/>
                  </a:cubicBezTo>
                  <a:cubicBezTo>
                    <a:pt x="17" y="38"/>
                    <a:pt x="17" y="38"/>
                    <a:pt x="17" y="38"/>
                  </a:cubicBezTo>
                  <a:moveTo>
                    <a:pt x="11" y="0"/>
                  </a:moveTo>
                  <a:cubicBezTo>
                    <a:pt x="11" y="0"/>
                    <a:pt x="10" y="1"/>
                    <a:pt x="9" y="1"/>
                  </a:cubicBezTo>
                  <a:cubicBezTo>
                    <a:pt x="8" y="1"/>
                    <a:pt x="7" y="2"/>
                    <a:pt x="6" y="2"/>
                  </a:cubicBezTo>
                  <a:cubicBezTo>
                    <a:pt x="6" y="2"/>
                    <a:pt x="6" y="2"/>
                    <a:pt x="6" y="2"/>
                  </a:cubicBezTo>
                  <a:cubicBezTo>
                    <a:pt x="6" y="2"/>
                    <a:pt x="6" y="2"/>
                    <a:pt x="6" y="2"/>
                  </a:cubicBezTo>
                  <a:cubicBezTo>
                    <a:pt x="5" y="2"/>
                    <a:pt x="5" y="2"/>
                    <a:pt x="5" y="2"/>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6" y="4"/>
                    <a:pt x="6" y="7"/>
                    <a:pt x="6" y="8"/>
                  </a:cubicBezTo>
                  <a:cubicBezTo>
                    <a:pt x="4" y="10"/>
                    <a:pt x="1" y="14"/>
                    <a:pt x="0" y="17"/>
                  </a:cubicBezTo>
                  <a:cubicBezTo>
                    <a:pt x="0" y="18"/>
                    <a:pt x="1" y="20"/>
                    <a:pt x="1" y="22"/>
                  </a:cubicBezTo>
                  <a:cubicBezTo>
                    <a:pt x="1" y="22"/>
                    <a:pt x="1" y="22"/>
                    <a:pt x="1" y="22"/>
                  </a:cubicBezTo>
                  <a:cubicBezTo>
                    <a:pt x="2" y="24"/>
                    <a:pt x="2" y="25"/>
                    <a:pt x="3" y="27"/>
                  </a:cubicBezTo>
                  <a:cubicBezTo>
                    <a:pt x="3" y="27"/>
                    <a:pt x="3" y="27"/>
                    <a:pt x="3" y="27"/>
                  </a:cubicBezTo>
                  <a:cubicBezTo>
                    <a:pt x="3" y="27"/>
                    <a:pt x="3" y="27"/>
                    <a:pt x="3" y="27"/>
                  </a:cubicBezTo>
                  <a:cubicBezTo>
                    <a:pt x="3" y="28"/>
                    <a:pt x="3" y="28"/>
                    <a:pt x="3" y="28"/>
                  </a:cubicBezTo>
                  <a:cubicBezTo>
                    <a:pt x="3" y="28"/>
                    <a:pt x="3" y="28"/>
                    <a:pt x="3" y="28"/>
                  </a:cubicBezTo>
                  <a:cubicBezTo>
                    <a:pt x="4" y="28"/>
                    <a:pt x="4" y="29"/>
                    <a:pt x="4" y="29"/>
                  </a:cubicBezTo>
                  <a:cubicBezTo>
                    <a:pt x="5" y="30"/>
                    <a:pt x="5" y="30"/>
                    <a:pt x="5" y="30"/>
                  </a:cubicBezTo>
                  <a:cubicBezTo>
                    <a:pt x="5" y="30"/>
                    <a:pt x="5" y="30"/>
                    <a:pt x="5" y="30"/>
                  </a:cubicBezTo>
                  <a:cubicBezTo>
                    <a:pt x="5" y="30"/>
                    <a:pt x="5" y="30"/>
                    <a:pt x="5" y="30"/>
                  </a:cubicBezTo>
                  <a:cubicBezTo>
                    <a:pt x="7" y="31"/>
                    <a:pt x="9" y="31"/>
                    <a:pt x="11" y="31"/>
                  </a:cubicBezTo>
                  <a:cubicBezTo>
                    <a:pt x="13" y="31"/>
                    <a:pt x="15" y="31"/>
                    <a:pt x="16" y="31"/>
                  </a:cubicBezTo>
                  <a:cubicBezTo>
                    <a:pt x="16" y="31"/>
                    <a:pt x="16" y="31"/>
                    <a:pt x="16" y="31"/>
                  </a:cubicBezTo>
                  <a:cubicBezTo>
                    <a:pt x="16" y="32"/>
                    <a:pt x="16" y="32"/>
                    <a:pt x="16" y="32"/>
                  </a:cubicBezTo>
                  <a:cubicBezTo>
                    <a:pt x="16" y="32"/>
                    <a:pt x="16" y="32"/>
                    <a:pt x="16" y="32"/>
                  </a:cubicBezTo>
                  <a:cubicBezTo>
                    <a:pt x="17" y="32"/>
                    <a:pt x="17" y="32"/>
                    <a:pt x="18" y="32"/>
                  </a:cubicBezTo>
                  <a:cubicBezTo>
                    <a:pt x="18" y="33"/>
                    <a:pt x="18" y="33"/>
                    <a:pt x="18" y="33"/>
                  </a:cubicBezTo>
                  <a:cubicBezTo>
                    <a:pt x="18" y="33"/>
                    <a:pt x="18" y="33"/>
                    <a:pt x="18" y="33"/>
                  </a:cubicBezTo>
                  <a:cubicBezTo>
                    <a:pt x="19" y="33"/>
                    <a:pt x="19" y="34"/>
                    <a:pt x="19" y="34"/>
                  </a:cubicBezTo>
                  <a:cubicBezTo>
                    <a:pt x="19" y="34"/>
                    <a:pt x="19" y="34"/>
                    <a:pt x="19" y="34"/>
                  </a:cubicBezTo>
                  <a:cubicBezTo>
                    <a:pt x="19" y="34"/>
                    <a:pt x="19" y="34"/>
                    <a:pt x="19" y="34"/>
                  </a:cubicBezTo>
                  <a:cubicBezTo>
                    <a:pt x="19" y="35"/>
                    <a:pt x="19" y="35"/>
                    <a:pt x="19" y="35"/>
                  </a:cubicBezTo>
                  <a:cubicBezTo>
                    <a:pt x="18" y="36"/>
                    <a:pt x="18" y="36"/>
                    <a:pt x="17" y="37"/>
                  </a:cubicBezTo>
                  <a:cubicBezTo>
                    <a:pt x="15" y="37"/>
                    <a:pt x="11" y="38"/>
                    <a:pt x="8" y="38"/>
                  </a:cubicBezTo>
                  <a:cubicBezTo>
                    <a:pt x="7" y="38"/>
                    <a:pt x="7" y="38"/>
                    <a:pt x="6" y="38"/>
                  </a:cubicBezTo>
                  <a:cubicBezTo>
                    <a:pt x="5" y="38"/>
                    <a:pt x="5" y="38"/>
                    <a:pt x="5" y="38"/>
                  </a:cubicBezTo>
                  <a:cubicBezTo>
                    <a:pt x="5" y="41"/>
                    <a:pt x="4" y="43"/>
                    <a:pt x="3" y="45"/>
                  </a:cubicBezTo>
                  <a:cubicBezTo>
                    <a:pt x="3" y="46"/>
                    <a:pt x="3" y="46"/>
                    <a:pt x="3" y="46"/>
                  </a:cubicBezTo>
                  <a:cubicBezTo>
                    <a:pt x="3" y="47"/>
                    <a:pt x="4" y="49"/>
                    <a:pt x="4" y="51"/>
                  </a:cubicBezTo>
                  <a:cubicBezTo>
                    <a:pt x="4" y="51"/>
                    <a:pt x="4" y="51"/>
                    <a:pt x="4" y="51"/>
                  </a:cubicBezTo>
                  <a:cubicBezTo>
                    <a:pt x="4" y="51"/>
                    <a:pt x="4" y="51"/>
                    <a:pt x="4" y="51"/>
                  </a:cubicBezTo>
                  <a:cubicBezTo>
                    <a:pt x="4" y="51"/>
                    <a:pt x="4" y="51"/>
                    <a:pt x="4" y="51"/>
                  </a:cubicBezTo>
                  <a:cubicBezTo>
                    <a:pt x="5" y="51"/>
                    <a:pt x="5" y="51"/>
                    <a:pt x="5" y="51"/>
                  </a:cubicBezTo>
                  <a:cubicBezTo>
                    <a:pt x="5" y="51"/>
                    <a:pt x="5" y="51"/>
                    <a:pt x="5" y="51"/>
                  </a:cubicBezTo>
                  <a:cubicBezTo>
                    <a:pt x="5" y="51"/>
                    <a:pt x="5" y="51"/>
                    <a:pt x="6" y="51"/>
                  </a:cubicBezTo>
                  <a:cubicBezTo>
                    <a:pt x="8" y="51"/>
                    <a:pt x="14" y="51"/>
                    <a:pt x="17" y="50"/>
                  </a:cubicBezTo>
                  <a:cubicBezTo>
                    <a:pt x="17" y="51"/>
                    <a:pt x="17" y="51"/>
                    <a:pt x="18" y="52"/>
                  </a:cubicBezTo>
                  <a:cubicBezTo>
                    <a:pt x="18" y="52"/>
                    <a:pt x="18" y="52"/>
                    <a:pt x="18" y="52"/>
                  </a:cubicBezTo>
                  <a:cubicBezTo>
                    <a:pt x="18" y="54"/>
                    <a:pt x="18" y="55"/>
                    <a:pt x="19" y="56"/>
                  </a:cubicBezTo>
                  <a:cubicBezTo>
                    <a:pt x="19" y="56"/>
                    <a:pt x="19" y="56"/>
                    <a:pt x="19" y="56"/>
                  </a:cubicBezTo>
                  <a:cubicBezTo>
                    <a:pt x="19" y="56"/>
                    <a:pt x="19" y="56"/>
                    <a:pt x="19" y="56"/>
                  </a:cubicBezTo>
                  <a:cubicBezTo>
                    <a:pt x="19" y="57"/>
                    <a:pt x="19" y="57"/>
                    <a:pt x="19" y="57"/>
                  </a:cubicBezTo>
                  <a:cubicBezTo>
                    <a:pt x="20" y="57"/>
                    <a:pt x="20" y="57"/>
                    <a:pt x="20" y="57"/>
                  </a:cubicBezTo>
                  <a:cubicBezTo>
                    <a:pt x="21" y="56"/>
                    <a:pt x="22" y="56"/>
                    <a:pt x="23" y="55"/>
                  </a:cubicBezTo>
                  <a:cubicBezTo>
                    <a:pt x="24" y="55"/>
                    <a:pt x="25" y="55"/>
                    <a:pt x="26" y="54"/>
                  </a:cubicBezTo>
                  <a:cubicBezTo>
                    <a:pt x="26" y="54"/>
                    <a:pt x="26" y="54"/>
                    <a:pt x="26" y="54"/>
                  </a:cubicBezTo>
                  <a:cubicBezTo>
                    <a:pt x="26" y="53"/>
                    <a:pt x="26" y="53"/>
                    <a:pt x="26" y="53"/>
                  </a:cubicBezTo>
                  <a:cubicBezTo>
                    <a:pt x="26" y="53"/>
                    <a:pt x="26" y="53"/>
                    <a:pt x="26" y="53"/>
                  </a:cubicBezTo>
                  <a:cubicBezTo>
                    <a:pt x="26" y="52"/>
                    <a:pt x="26" y="51"/>
                    <a:pt x="25" y="50"/>
                  </a:cubicBezTo>
                  <a:cubicBezTo>
                    <a:pt x="25" y="50"/>
                    <a:pt x="25" y="50"/>
                    <a:pt x="25" y="50"/>
                  </a:cubicBezTo>
                  <a:cubicBezTo>
                    <a:pt x="25" y="49"/>
                    <a:pt x="25" y="49"/>
                    <a:pt x="25" y="49"/>
                  </a:cubicBezTo>
                  <a:cubicBezTo>
                    <a:pt x="25" y="48"/>
                    <a:pt x="25" y="47"/>
                    <a:pt x="25" y="47"/>
                  </a:cubicBezTo>
                  <a:cubicBezTo>
                    <a:pt x="27" y="46"/>
                    <a:pt x="29" y="44"/>
                    <a:pt x="30" y="41"/>
                  </a:cubicBezTo>
                  <a:cubicBezTo>
                    <a:pt x="30" y="41"/>
                    <a:pt x="30" y="41"/>
                    <a:pt x="30" y="41"/>
                  </a:cubicBezTo>
                  <a:cubicBezTo>
                    <a:pt x="30" y="41"/>
                    <a:pt x="30" y="41"/>
                    <a:pt x="30" y="41"/>
                  </a:cubicBezTo>
                  <a:cubicBezTo>
                    <a:pt x="30" y="41"/>
                    <a:pt x="31" y="38"/>
                    <a:pt x="30" y="32"/>
                  </a:cubicBezTo>
                  <a:cubicBezTo>
                    <a:pt x="30" y="32"/>
                    <a:pt x="30" y="32"/>
                    <a:pt x="30" y="32"/>
                  </a:cubicBezTo>
                  <a:cubicBezTo>
                    <a:pt x="29" y="30"/>
                    <a:pt x="29" y="29"/>
                    <a:pt x="28" y="28"/>
                  </a:cubicBezTo>
                  <a:cubicBezTo>
                    <a:pt x="27" y="23"/>
                    <a:pt x="24" y="22"/>
                    <a:pt x="20" y="21"/>
                  </a:cubicBezTo>
                  <a:cubicBezTo>
                    <a:pt x="19" y="21"/>
                    <a:pt x="18" y="21"/>
                    <a:pt x="17" y="21"/>
                  </a:cubicBezTo>
                  <a:cubicBezTo>
                    <a:pt x="16" y="21"/>
                    <a:pt x="16" y="21"/>
                    <a:pt x="15" y="21"/>
                  </a:cubicBezTo>
                  <a:cubicBezTo>
                    <a:pt x="14" y="21"/>
                    <a:pt x="14" y="21"/>
                    <a:pt x="13" y="21"/>
                  </a:cubicBezTo>
                  <a:cubicBezTo>
                    <a:pt x="13" y="21"/>
                    <a:pt x="12" y="21"/>
                    <a:pt x="12" y="21"/>
                  </a:cubicBezTo>
                  <a:cubicBezTo>
                    <a:pt x="11" y="21"/>
                    <a:pt x="11" y="21"/>
                    <a:pt x="11" y="21"/>
                  </a:cubicBezTo>
                  <a:cubicBezTo>
                    <a:pt x="11" y="21"/>
                    <a:pt x="11" y="21"/>
                    <a:pt x="11" y="21"/>
                  </a:cubicBezTo>
                  <a:cubicBezTo>
                    <a:pt x="11" y="20"/>
                    <a:pt x="10" y="20"/>
                    <a:pt x="10" y="19"/>
                  </a:cubicBezTo>
                  <a:cubicBezTo>
                    <a:pt x="11" y="18"/>
                    <a:pt x="11" y="18"/>
                    <a:pt x="11" y="18"/>
                  </a:cubicBezTo>
                  <a:cubicBezTo>
                    <a:pt x="11" y="18"/>
                    <a:pt x="13" y="17"/>
                    <a:pt x="17" y="17"/>
                  </a:cubicBezTo>
                  <a:cubicBezTo>
                    <a:pt x="19" y="17"/>
                    <a:pt x="20" y="17"/>
                    <a:pt x="23" y="17"/>
                  </a:cubicBezTo>
                  <a:cubicBezTo>
                    <a:pt x="23" y="17"/>
                    <a:pt x="23" y="17"/>
                    <a:pt x="23" y="17"/>
                  </a:cubicBezTo>
                  <a:cubicBezTo>
                    <a:pt x="23" y="17"/>
                    <a:pt x="23" y="17"/>
                    <a:pt x="23" y="17"/>
                  </a:cubicBezTo>
                  <a:cubicBezTo>
                    <a:pt x="23" y="17"/>
                    <a:pt x="23" y="17"/>
                    <a:pt x="23" y="17"/>
                  </a:cubicBezTo>
                  <a:cubicBezTo>
                    <a:pt x="23" y="18"/>
                    <a:pt x="23" y="18"/>
                    <a:pt x="23" y="18"/>
                  </a:cubicBezTo>
                  <a:cubicBezTo>
                    <a:pt x="24" y="17"/>
                    <a:pt x="24" y="17"/>
                    <a:pt x="24" y="17"/>
                  </a:cubicBezTo>
                  <a:cubicBezTo>
                    <a:pt x="25" y="15"/>
                    <a:pt x="25" y="13"/>
                    <a:pt x="26" y="12"/>
                  </a:cubicBezTo>
                  <a:cubicBezTo>
                    <a:pt x="26" y="11"/>
                    <a:pt x="26" y="11"/>
                    <a:pt x="26" y="11"/>
                  </a:cubicBezTo>
                  <a:cubicBezTo>
                    <a:pt x="26" y="11"/>
                    <a:pt x="26" y="11"/>
                    <a:pt x="26" y="11"/>
                  </a:cubicBezTo>
                  <a:cubicBezTo>
                    <a:pt x="25" y="7"/>
                    <a:pt x="25" y="7"/>
                    <a:pt x="25" y="7"/>
                  </a:cubicBezTo>
                  <a:cubicBezTo>
                    <a:pt x="24" y="6"/>
                    <a:pt x="24" y="6"/>
                    <a:pt x="24" y="6"/>
                  </a:cubicBezTo>
                  <a:cubicBezTo>
                    <a:pt x="24" y="7"/>
                    <a:pt x="24" y="7"/>
                    <a:pt x="24" y="7"/>
                  </a:cubicBezTo>
                  <a:cubicBezTo>
                    <a:pt x="24" y="7"/>
                    <a:pt x="24" y="7"/>
                    <a:pt x="24" y="7"/>
                  </a:cubicBezTo>
                  <a:cubicBezTo>
                    <a:pt x="23" y="6"/>
                    <a:pt x="21" y="6"/>
                    <a:pt x="19" y="6"/>
                  </a:cubicBezTo>
                  <a:cubicBezTo>
                    <a:pt x="17" y="6"/>
                    <a:pt x="15" y="6"/>
                    <a:pt x="13" y="7"/>
                  </a:cubicBezTo>
                  <a:cubicBezTo>
                    <a:pt x="13" y="5"/>
                    <a:pt x="13" y="3"/>
                    <a:pt x="12" y="1"/>
                  </a:cubicBezTo>
                  <a:cubicBezTo>
                    <a:pt x="12" y="1"/>
                    <a:pt x="12" y="1"/>
                    <a:pt x="12" y="1"/>
                  </a:cubicBezTo>
                  <a:cubicBezTo>
                    <a:pt x="12" y="1"/>
                    <a:pt x="12" y="1"/>
                    <a:pt x="12" y="1"/>
                  </a:cubicBezTo>
                  <a:cubicBezTo>
                    <a:pt x="11" y="0"/>
                    <a:pt x="11" y="0"/>
                    <a:pt x="1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85" name="íslïḑe"/>
            <p:cNvSpPr/>
            <p:nvPr/>
          </p:nvSpPr>
          <p:spPr bwMode="auto">
            <a:xfrm>
              <a:off x="3427" y="1891"/>
              <a:ext cx="100" cy="62"/>
            </a:xfrm>
            <a:custGeom>
              <a:avLst/>
              <a:gdLst>
                <a:gd name="T0" fmla="*/ 32 w 42"/>
                <a:gd name="T1" fmla="*/ 4 h 26"/>
                <a:gd name="T2" fmla="*/ 31 w 42"/>
                <a:gd name="T3" fmla="*/ 3 h 26"/>
                <a:gd name="T4" fmla="*/ 41 w 42"/>
                <a:gd name="T5" fmla="*/ 1 h 26"/>
                <a:gd name="T6" fmla="*/ 39 w 42"/>
                <a:gd name="T7" fmla="*/ 11 h 26"/>
                <a:gd name="T8" fmla="*/ 38 w 42"/>
                <a:gd name="T9" fmla="*/ 10 h 26"/>
                <a:gd name="T10" fmla="*/ 39 w 42"/>
                <a:gd name="T11" fmla="*/ 6 h 26"/>
                <a:gd name="T12" fmla="*/ 38 w 42"/>
                <a:gd name="T13" fmla="*/ 5 h 26"/>
                <a:gd name="T14" fmla="*/ 38 w 42"/>
                <a:gd name="T15" fmla="*/ 5 h 26"/>
                <a:gd name="T16" fmla="*/ 27 w 42"/>
                <a:gd name="T17" fmla="*/ 19 h 26"/>
                <a:gd name="T18" fmla="*/ 25 w 42"/>
                <a:gd name="T19" fmla="*/ 20 h 26"/>
                <a:gd name="T20" fmla="*/ 25 w 42"/>
                <a:gd name="T21" fmla="*/ 20 h 26"/>
                <a:gd name="T22" fmla="*/ 23 w 42"/>
                <a:gd name="T23" fmla="*/ 19 h 26"/>
                <a:gd name="T24" fmla="*/ 12 w 42"/>
                <a:gd name="T25" fmla="*/ 13 h 26"/>
                <a:gd name="T26" fmla="*/ 12 w 42"/>
                <a:gd name="T27" fmla="*/ 14 h 26"/>
                <a:gd name="T28" fmla="*/ 1 w 42"/>
                <a:gd name="T29" fmla="*/ 24 h 26"/>
                <a:gd name="T30" fmla="*/ 1 w 42"/>
                <a:gd name="T31" fmla="*/ 24 h 26"/>
                <a:gd name="T32" fmla="*/ 1 w 42"/>
                <a:gd name="T33" fmla="*/ 23 h 26"/>
                <a:gd name="T34" fmla="*/ 11 w 42"/>
                <a:gd name="T35" fmla="*/ 12 h 26"/>
                <a:gd name="T36" fmla="*/ 12 w 42"/>
                <a:gd name="T37" fmla="*/ 12 h 26"/>
                <a:gd name="T38" fmla="*/ 14 w 42"/>
                <a:gd name="T39" fmla="*/ 12 h 26"/>
                <a:gd name="T40" fmla="*/ 20 w 42"/>
                <a:gd name="T41" fmla="*/ 15 h 26"/>
                <a:gd name="T42" fmla="*/ 25 w 42"/>
                <a:gd name="T43" fmla="*/ 18 h 26"/>
                <a:gd name="T44" fmla="*/ 25 w 42"/>
                <a:gd name="T45" fmla="*/ 17 h 26"/>
                <a:gd name="T46" fmla="*/ 36 w 42"/>
                <a:gd name="T47" fmla="*/ 5 h 26"/>
                <a:gd name="T48" fmla="*/ 37 w 42"/>
                <a:gd name="T49" fmla="*/ 4 h 26"/>
                <a:gd name="T50" fmla="*/ 36 w 42"/>
                <a:gd name="T51" fmla="*/ 4 h 26"/>
                <a:gd name="T52" fmla="*/ 32 w 42"/>
                <a:gd name="T53" fmla="*/ 4 h 26"/>
                <a:gd name="T54" fmla="*/ 41 w 42"/>
                <a:gd name="T55" fmla="*/ 0 h 26"/>
                <a:gd name="T56" fmla="*/ 30 w 42"/>
                <a:gd name="T57" fmla="*/ 2 h 26"/>
                <a:gd name="T58" fmla="*/ 29 w 42"/>
                <a:gd name="T59" fmla="*/ 3 h 26"/>
                <a:gd name="T60" fmla="*/ 29 w 42"/>
                <a:gd name="T61" fmla="*/ 3 h 26"/>
                <a:gd name="T62" fmla="*/ 31 w 42"/>
                <a:gd name="T63" fmla="*/ 5 h 26"/>
                <a:gd name="T64" fmla="*/ 32 w 42"/>
                <a:gd name="T65" fmla="*/ 5 h 26"/>
                <a:gd name="T66" fmla="*/ 35 w 42"/>
                <a:gd name="T67" fmla="*/ 5 h 26"/>
                <a:gd name="T68" fmla="*/ 25 w 42"/>
                <a:gd name="T69" fmla="*/ 16 h 26"/>
                <a:gd name="T70" fmla="*/ 21 w 42"/>
                <a:gd name="T71" fmla="*/ 14 h 26"/>
                <a:gd name="T72" fmla="*/ 14 w 42"/>
                <a:gd name="T73" fmla="*/ 11 h 26"/>
                <a:gd name="T74" fmla="*/ 12 w 42"/>
                <a:gd name="T75" fmla="*/ 11 h 26"/>
                <a:gd name="T76" fmla="*/ 10 w 42"/>
                <a:gd name="T77" fmla="*/ 12 h 26"/>
                <a:gd name="T78" fmla="*/ 0 w 42"/>
                <a:gd name="T79" fmla="*/ 22 h 26"/>
                <a:gd name="T80" fmla="*/ 0 w 42"/>
                <a:gd name="T81" fmla="*/ 23 h 26"/>
                <a:gd name="T82" fmla="*/ 0 w 42"/>
                <a:gd name="T83" fmla="*/ 24 h 26"/>
                <a:gd name="T84" fmla="*/ 0 w 42"/>
                <a:gd name="T85" fmla="*/ 25 h 26"/>
                <a:gd name="T86" fmla="*/ 1 w 42"/>
                <a:gd name="T87" fmla="*/ 26 h 26"/>
                <a:gd name="T88" fmla="*/ 1 w 42"/>
                <a:gd name="T89" fmla="*/ 26 h 26"/>
                <a:gd name="T90" fmla="*/ 1 w 42"/>
                <a:gd name="T91" fmla="*/ 26 h 26"/>
                <a:gd name="T92" fmla="*/ 12 w 42"/>
                <a:gd name="T93" fmla="*/ 15 h 26"/>
                <a:gd name="T94" fmla="*/ 23 w 42"/>
                <a:gd name="T95" fmla="*/ 20 h 26"/>
                <a:gd name="T96" fmla="*/ 25 w 42"/>
                <a:gd name="T97" fmla="*/ 21 h 26"/>
                <a:gd name="T98" fmla="*/ 25 w 42"/>
                <a:gd name="T99" fmla="*/ 21 h 26"/>
                <a:gd name="T100" fmla="*/ 27 w 42"/>
                <a:gd name="T101" fmla="*/ 19 h 26"/>
                <a:gd name="T102" fmla="*/ 37 w 42"/>
                <a:gd name="T103" fmla="*/ 7 h 26"/>
                <a:gd name="T104" fmla="*/ 37 w 42"/>
                <a:gd name="T105" fmla="*/ 10 h 26"/>
                <a:gd name="T106" fmla="*/ 37 w 42"/>
                <a:gd name="T107" fmla="*/ 11 h 26"/>
                <a:gd name="T108" fmla="*/ 40 w 42"/>
                <a:gd name="T109" fmla="*/ 12 h 26"/>
                <a:gd name="T110" fmla="*/ 40 w 42"/>
                <a:gd name="T111" fmla="*/ 12 h 26"/>
                <a:gd name="T112" fmla="*/ 40 w 42"/>
                <a:gd name="T113" fmla="*/ 12 h 26"/>
                <a:gd name="T114" fmla="*/ 42 w 42"/>
                <a:gd name="T115" fmla="*/ 1 h 26"/>
                <a:gd name="T116" fmla="*/ 42 w 42"/>
                <a:gd name="T117" fmla="*/ 0 h 26"/>
                <a:gd name="T118" fmla="*/ 41 w 42"/>
                <a:gd name="T1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 h="26">
                  <a:moveTo>
                    <a:pt x="32" y="4"/>
                  </a:moveTo>
                  <a:cubicBezTo>
                    <a:pt x="32" y="4"/>
                    <a:pt x="31" y="4"/>
                    <a:pt x="31" y="3"/>
                  </a:cubicBezTo>
                  <a:cubicBezTo>
                    <a:pt x="34" y="2"/>
                    <a:pt x="39" y="2"/>
                    <a:pt x="41" y="1"/>
                  </a:cubicBezTo>
                  <a:cubicBezTo>
                    <a:pt x="41" y="3"/>
                    <a:pt x="40" y="8"/>
                    <a:pt x="39" y="11"/>
                  </a:cubicBezTo>
                  <a:cubicBezTo>
                    <a:pt x="39" y="11"/>
                    <a:pt x="39" y="10"/>
                    <a:pt x="38" y="10"/>
                  </a:cubicBezTo>
                  <a:cubicBezTo>
                    <a:pt x="39" y="6"/>
                    <a:pt x="39" y="6"/>
                    <a:pt x="39" y="6"/>
                  </a:cubicBezTo>
                  <a:cubicBezTo>
                    <a:pt x="38" y="5"/>
                    <a:pt x="38" y="5"/>
                    <a:pt x="38" y="5"/>
                  </a:cubicBezTo>
                  <a:cubicBezTo>
                    <a:pt x="38" y="5"/>
                    <a:pt x="38" y="5"/>
                    <a:pt x="38" y="5"/>
                  </a:cubicBezTo>
                  <a:cubicBezTo>
                    <a:pt x="38" y="5"/>
                    <a:pt x="31" y="14"/>
                    <a:pt x="27" y="19"/>
                  </a:cubicBezTo>
                  <a:cubicBezTo>
                    <a:pt x="26" y="19"/>
                    <a:pt x="26" y="20"/>
                    <a:pt x="25" y="20"/>
                  </a:cubicBezTo>
                  <a:cubicBezTo>
                    <a:pt x="25" y="20"/>
                    <a:pt x="25" y="20"/>
                    <a:pt x="25" y="20"/>
                  </a:cubicBezTo>
                  <a:cubicBezTo>
                    <a:pt x="24" y="20"/>
                    <a:pt x="24" y="19"/>
                    <a:pt x="23" y="19"/>
                  </a:cubicBezTo>
                  <a:cubicBezTo>
                    <a:pt x="12" y="13"/>
                    <a:pt x="12" y="13"/>
                    <a:pt x="12" y="13"/>
                  </a:cubicBezTo>
                  <a:cubicBezTo>
                    <a:pt x="12" y="14"/>
                    <a:pt x="12" y="14"/>
                    <a:pt x="12" y="14"/>
                  </a:cubicBezTo>
                  <a:cubicBezTo>
                    <a:pt x="1" y="24"/>
                    <a:pt x="1" y="24"/>
                    <a:pt x="1" y="24"/>
                  </a:cubicBezTo>
                  <a:cubicBezTo>
                    <a:pt x="1" y="24"/>
                    <a:pt x="1" y="24"/>
                    <a:pt x="1" y="24"/>
                  </a:cubicBezTo>
                  <a:cubicBezTo>
                    <a:pt x="1" y="23"/>
                    <a:pt x="1" y="23"/>
                    <a:pt x="1" y="23"/>
                  </a:cubicBezTo>
                  <a:cubicBezTo>
                    <a:pt x="11" y="12"/>
                    <a:pt x="11" y="12"/>
                    <a:pt x="11" y="12"/>
                  </a:cubicBezTo>
                  <a:cubicBezTo>
                    <a:pt x="11" y="12"/>
                    <a:pt x="12" y="12"/>
                    <a:pt x="12" y="12"/>
                  </a:cubicBezTo>
                  <a:cubicBezTo>
                    <a:pt x="13" y="12"/>
                    <a:pt x="13" y="12"/>
                    <a:pt x="14" y="12"/>
                  </a:cubicBezTo>
                  <a:cubicBezTo>
                    <a:pt x="15" y="13"/>
                    <a:pt x="18" y="14"/>
                    <a:pt x="20" y="15"/>
                  </a:cubicBezTo>
                  <a:cubicBezTo>
                    <a:pt x="22" y="16"/>
                    <a:pt x="24" y="17"/>
                    <a:pt x="25" y="18"/>
                  </a:cubicBezTo>
                  <a:cubicBezTo>
                    <a:pt x="25" y="17"/>
                    <a:pt x="25" y="17"/>
                    <a:pt x="25" y="17"/>
                  </a:cubicBezTo>
                  <a:cubicBezTo>
                    <a:pt x="29" y="12"/>
                    <a:pt x="36" y="5"/>
                    <a:pt x="36" y="5"/>
                  </a:cubicBezTo>
                  <a:cubicBezTo>
                    <a:pt x="37" y="4"/>
                    <a:pt x="37" y="4"/>
                    <a:pt x="37" y="4"/>
                  </a:cubicBezTo>
                  <a:cubicBezTo>
                    <a:pt x="36" y="4"/>
                    <a:pt x="36" y="4"/>
                    <a:pt x="36" y="4"/>
                  </a:cubicBezTo>
                  <a:cubicBezTo>
                    <a:pt x="32" y="4"/>
                    <a:pt x="32" y="4"/>
                    <a:pt x="32" y="4"/>
                  </a:cubicBezTo>
                  <a:moveTo>
                    <a:pt x="41" y="0"/>
                  </a:moveTo>
                  <a:cubicBezTo>
                    <a:pt x="41" y="0"/>
                    <a:pt x="34" y="1"/>
                    <a:pt x="30" y="2"/>
                  </a:cubicBezTo>
                  <a:cubicBezTo>
                    <a:pt x="29" y="3"/>
                    <a:pt x="29" y="3"/>
                    <a:pt x="29" y="3"/>
                  </a:cubicBezTo>
                  <a:cubicBezTo>
                    <a:pt x="29" y="3"/>
                    <a:pt x="29" y="3"/>
                    <a:pt x="29" y="3"/>
                  </a:cubicBezTo>
                  <a:cubicBezTo>
                    <a:pt x="30" y="4"/>
                    <a:pt x="31" y="5"/>
                    <a:pt x="31" y="5"/>
                  </a:cubicBezTo>
                  <a:cubicBezTo>
                    <a:pt x="32" y="5"/>
                    <a:pt x="32" y="5"/>
                    <a:pt x="32" y="5"/>
                  </a:cubicBezTo>
                  <a:cubicBezTo>
                    <a:pt x="35" y="5"/>
                    <a:pt x="35" y="5"/>
                    <a:pt x="35" y="5"/>
                  </a:cubicBezTo>
                  <a:cubicBezTo>
                    <a:pt x="33" y="7"/>
                    <a:pt x="28" y="12"/>
                    <a:pt x="25" y="16"/>
                  </a:cubicBezTo>
                  <a:cubicBezTo>
                    <a:pt x="24" y="16"/>
                    <a:pt x="22" y="15"/>
                    <a:pt x="21" y="14"/>
                  </a:cubicBezTo>
                  <a:cubicBezTo>
                    <a:pt x="18" y="13"/>
                    <a:pt x="16" y="12"/>
                    <a:pt x="14" y="11"/>
                  </a:cubicBezTo>
                  <a:cubicBezTo>
                    <a:pt x="14" y="11"/>
                    <a:pt x="13" y="11"/>
                    <a:pt x="12" y="11"/>
                  </a:cubicBezTo>
                  <a:cubicBezTo>
                    <a:pt x="11" y="11"/>
                    <a:pt x="10" y="11"/>
                    <a:pt x="10" y="12"/>
                  </a:cubicBezTo>
                  <a:cubicBezTo>
                    <a:pt x="0" y="22"/>
                    <a:pt x="0" y="22"/>
                    <a:pt x="0" y="22"/>
                  </a:cubicBezTo>
                  <a:cubicBezTo>
                    <a:pt x="0" y="23"/>
                    <a:pt x="0" y="23"/>
                    <a:pt x="0" y="23"/>
                  </a:cubicBezTo>
                  <a:cubicBezTo>
                    <a:pt x="0" y="23"/>
                    <a:pt x="0" y="24"/>
                    <a:pt x="0" y="24"/>
                  </a:cubicBezTo>
                  <a:cubicBezTo>
                    <a:pt x="0" y="25"/>
                    <a:pt x="0" y="25"/>
                    <a:pt x="0" y="25"/>
                  </a:cubicBezTo>
                  <a:cubicBezTo>
                    <a:pt x="1" y="26"/>
                    <a:pt x="1" y="26"/>
                    <a:pt x="1" y="26"/>
                  </a:cubicBezTo>
                  <a:cubicBezTo>
                    <a:pt x="1" y="26"/>
                    <a:pt x="1" y="26"/>
                    <a:pt x="1" y="26"/>
                  </a:cubicBezTo>
                  <a:cubicBezTo>
                    <a:pt x="1" y="26"/>
                    <a:pt x="1" y="26"/>
                    <a:pt x="1" y="26"/>
                  </a:cubicBezTo>
                  <a:cubicBezTo>
                    <a:pt x="12" y="15"/>
                    <a:pt x="12" y="15"/>
                    <a:pt x="12" y="15"/>
                  </a:cubicBezTo>
                  <a:cubicBezTo>
                    <a:pt x="23" y="20"/>
                    <a:pt x="23" y="20"/>
                    <a:pt x="23" y="20"/>
                  </a:cubicBezTo>
                  <a:cubicBezTo>
                    <a:pt x="23" y="20"/>
                    <a:pt x="24" y="21"/>
                    <a:pt x="25" y="21"/>
                  </a:cubicBezTo>
                  <a:cubicBezTo>
                    <a:pt x="25" y="21"/>
                    <a:pt x="25" y="21"/>
                    <a:pt x="25" y="21"/>
                  </a:cubicBezTo>
                  <a:cubicBezTo>
                    <a:pt x="26" y="21"/>
                    <a:pt x="27" y="20"/>
                    <a:pt x="27" y="19"/>
                  </a:cubicBezTo>
                  <a:cubicBezTo>
                    <a:pt x="31" y="16"/>
                    <a:pt x="35" y="10"/>
                    <a:pt x="37" y="7"/>
                  </a:cubicBezTo>
                  <a:cubicBezTo>
                    <a:pt x="37" y="10"/>
                    <a:pt x="37" y="10"/>
                    <a:pt x="37" y="10"/>
                  </a:cubicBezTo>
                  <a:cubicBezTo>
                    <a:pt x="37" y="11"/>
                    <a:pt x="37" y="11"/>
                    <a:pt x="37" y="11"/>
                  </a:cubicBezTo>
                  <a:cubicBezTo>
                    <a:pt x="37" y="11"/>
                    <a:pt x="39" y="12"/>
                    <a:pt x="40" y="12"/>
                  </a:cubicBezTo>
                  <a:cubicBezTo>
                    <a:pt x="40" y="12"/>
                    <a:pt x="40" y="12"/>
                    <a:pt x="40" y="12"/>
                  </a:cubicBezTo>
                  <a:cubicBezTo>
                    <a:pt x="40" y="12"/>
                    <a:pt x="40" y="12"/>
                    <a:pt x="40" y="12"/>
                  </a:cubicBezTo>
                  <a:cubicBezTo>
                    <a:pt x="41" y="9"/>
                    <a:pt x="42" y="1"/>
                    <a:pt x="42" y="1"/>
                  </a:cubicBezTo>
                  <a:cubicBezTo>
                    <a:pt x="42" y="0"/>
                    <a:pt x="42" y="0"/>
                    <a:pt x="42" y="0"/>
                  </a:cubicBezTo>
                  <a:cubicBezTo>
                    <a:pt x="41" y="0"/>
                    <a:pt x="41" y="0"/>
                    <a:pt x="4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86" name="îšľïďé"/>
            <p:cNvSpPr/>
            <p:nvPr/>
          </p:nvSpPr>
          <p:spPr bwMode="auto">
            <a:xfrm>
              <a:off x="3411" y="1889"/>
              <a:ext cx="119" cy="95"/>
            </a:xfrm>
            <a:custGeom>
              <a:avLst/>
              <a:gdLst>
                <a:gd name="T0" fmla="*/ 31 w 50"/>
                <a:gd name="T1" fmla="*/ 34 h 40"/>
                <a:gd name="T2" fmla="*/ 22 w 50"/>
                <a:gd name="T3" fmla="*/ 34 h 40"/>
                <a:gd name="T4" fmla="*/ 15 w 50"/>
                <a:gd name="T5" fmla="*/ 34 h 40"/>
                <a:gd name="T6" fmla="*/ 33 w 50"/>
                <a:gd name="T7" fmla="*/ 30 h 40"/>
                <a:gd name="T8" fmla="*/ 29 w 50"/>
                <a:gd name="T9" fmla="*/ 34 h 40"/>
                <a:gd name="T10" fmla="*/ 42 w 50"/>
                <a:gd name="T11" fmla="*/ 30 h 40"/>
                <a:gd name="T12" fmla="*/ 19 w 50"/>
                <a:gd name="T13" fmla="*/ 32 h 40"/>
                <a:gd name="T14" fmla="*/ 20 w 50"/>
                <a:gd name="T15" fmla="*/ 34 h 40"/>
                <a:gd name="T16" fmla="*/ 10 w 50"/>
                <a:gd name="T17" fmla="*/ 32 h 40"/>
                <a:gd name="T18" fmla="*/ 15 w 50"/>
                <a:gd name="T19" fmla="*/ 31 h 40"/>
                <a:gd name="T20" fmla="*/ 28 w 50"/>
                <a:gd name="T21" fmla="*/ 29 h 40"/>
                <a:gd name="T22" fmla="*/ 28 w 50"/>
                <a:gd name="T23" fmla="*/ 32 h 40"/>
                <a:gd name="T24" fmla="*/ 24 w 50"/>
                <a:gd name="T25" fmla="*/ 26 h 40"/>
                <a:gd name="T26" fmla="*/ 38 w 50"/>
                <a:gd name="T27" fmla="*/ 32 h 40"/>
                <a:gd name="T28" fmla="*/ 42 w 50"/>
                <a:gd name="T29" fmla="*/ 29 h 40"/>
                <a:gd name="T30" fmla="*/ 28 w 50"/>
                <a:gd name="T31" fmla="*/ 28 h 40"/>
                <a:gd name="T32" fmla="*/ 33 w 50"/>
                <a:gd name="T33" fmla="*/ 25 h 40"/>
                <a:gd name="T34" fmla="*/ 10 w 50"/>
                <a:gd name="T35" fmla="*/ 30 h 40"/>
                <a:gd name="T36" fmla="*/ 15 w 50"/>
                <a:gd name="T37" fmla="*/ 28 h 40"/>
                <a:gd name="T38" fmla="*/ 19 w 50"/>
                <a:gd name="T39" fmla="*/ 25 h 40"/>
                <a:gd name="T40" fmla="*/ 19 w 50"/>
                <a:gd name="T41" fmla="*/ 28 h 40"/>
                <a:gd name="T42" fmla="*/ 42 w 50"/>
                <a:gd name="T43" fmla="*/ 22 h 40"/>
                <a:gd name="T44" fmla="*/ 38 w 50"/>
                <a:gd name="T45" fmla="*/ 28 h 40"/>
                <a:gd name="T46" fmla="*/ 20 w 50"/>
                <a:gd name="T47" fmla="*/ 20 h 40"/>
                <a:gd name="T48" fmla="*/ 37 w 50"/>
                <a:gd name="T49" fmla="*/ 22 h 40"/>
                <a:gd name="T50" fmla="*/ 41 w 50"/>
                <a:gd name="T51" fmla="*/ 21 h 40"/>
                <a:gd name="T52" fmla="*/ 3 w 50"/>
                <a:gd name="T53" fmla="*/ 9 h 40"/>
                <a:gd name="T54" fmla="*/ 3 w 50"/>
                <a:gd name="T55" fmla="*/ 10 h 40"/>
                <a:gd name="T56" fmla="*/ 2 w 50"/>
                <a:gd name="T57" fmla="*/ 15 h 40"/>
                <a:gd name="T58" fmla="*/ 2 w 50"/>
                <a:gd name="T59" fmla="*/ 19 h 40"/>
                <a:gd name="T60" fmla="*/ 2 w 50"/>
                <a:gd name="T61" fmla="*/ 24 h 40"/>
                <a:gd name="T62" fmla="*/ 3 w 50"/>
                <a:gd name="T63" fmla="*/ 29 h 40"/>
                <a:gd name="T64" fmla="*/ 3 w 50"/>
                <a:gd name="T65" fmla="*/ 30 h 40"/>
                <a:gd name="T66" fmla="*/ 0 w 50"/>
                <a:gd name="T67" fmla="*/ 35 h 40"/>
                <a:gd name="T68" fmla="*/ 4 w 50"/>
                <a:gd name="T69" fmla="*/ 39 h 40"/>
                <a:gd name="T70" fmla="*/ 49 w 50"/>
                <a:gd name="T71" fmla="*/ 34 h 40"/>
                <a:gd name="T72" fmla="*/ 43 w 50"/>
                <a:gd name="T73" fmla="*/ 16 h 40"/>
                <a:gd name="T74" fmla="*/ 36 w 50"/>
                <a:gd name="T75" fmla="*/ 22 h 40"/>
                <a:gd name="T76" fmla="*/ 37 w 50"/>
                <a:gd name="T77" fmla="*/ 33 h 40"/>
                <a:gd name="T78" fmla="*/ 34 w 50"/>
                <a:gd name="T79" fmla="*/ 24 h 40"/>
                <a:gd name="T80" fmla="*/ 29 w 50"/>
                <a:gd name="T81" fmla="*/ 24 h 40"/>
                <a:gd name="T82" fmla="*/ 27 w 50"/>
                <a:gd name="T83" fmla="*/ 33 h 40"/>
                <a:gd name="T84" fmla="*/ 25 w 50"/>
                <a:gd name="T85" fmla="*/ 25 h 40"/>
                <a:gd name="T86" fmla="*/ 23 w 50"/>
                <a:gd name="T87" fmla="*/ 21 h 40"/>
                <a:gd name="T88" fmla="*/ 18 w 50"/>
                <a:gd name="T89" fmla="*/ 22 h 40"/>
                <a:gd name="T90" fmla="*/ 16 w 50"/>
                <a:gd name="T91" fmla="*/ 34 h 40"/>
                <a:gd name="T92" fmla="*/ 14 w 50"/>
                <a:gd name="T93" fmla="*/ 24 h 40"/>
                <a:gd name="T94" fmla="*/ 9 w 50"/>
                <a:gd name="T95"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40">
                  <a:moveTo>
                    <a:pt x="31" y="34"/>
                  </a:moveTo>
                  <a:cubicBezTo>
                    <a:pt x="33" y="33"/>
                    <a:pt x="33" y="33"/>
                    <a:pt x="33" y="33"/>
                  </a:cubicBezTo>
                  <a:cubicBezTo>
                    <a:pt x="33" y="34"/>
                    <a:pt x="33" y="34"/>
                    <a:pt x="33" y="34"/>
                  </a:cubicBezTo>
                  <a:cubicBezTo>
                    <a:pt x="31" y="34"/>
                    <a:pt x="31" y="34"/>
                    <a:pt x="31" y="34"/>
                  </a:cubicBezTo>
                  <a:moveTo>
                    <a:pt x="22" y="34"/>
                  </a:moveTo>
                  <a:cubicBezTo>
                    <a:pt x="23" y="34"/>
                    <a:pt x="23" y="33"/>
                    <a:pt x="24" y="33"/>
                  </a:cubicBezTo>
                  <a:cubicBezTo>
                    <a:pt x="24" y="33"/>
                    <a:pt x="24" y="34"/>
                    <a:pt x="24" y="34"/>
                  </a:cubicBezTo>
                  <a:cubicBezTo>
                    <a:pt x="22" y="34"/>
                    <a:pt x="22" y="34"/>
                    <a:pt x="22" y="34"/>
                  </a:cubicBezTo>
                  <a:moveTo>
                    <a:pt x="11" y="34"/>
                  </a:moveTo>
                  <a:cubicBezTo>
                    <a:pt x="12" y="34"/>
                    <a:pt x="12" y="33"/>
                    <a:pt x="13" y="33"/>
                  </a:cubicBezTo>
                  <a:cubicBezTo>
                    <a:pt x="13" y="33"/>
                    <a:pt x="14" y="33"/>
                    <a:pt x="15" y="32"/>
                  </a:cubicBezTo>
                  <a:cubicBezTo>
                    <a:pt x="15" y="33"/>
                    <a:pt x="15" y="33"/>
                    <a:pt x="15" y="34"/>
                  </a:cubicBezTo>
                  <a:cubicBezTo>
                    <a:pt x="11" y="34"/>
                    <a:pt x="11" y="34"/>
                    <a:pt x="11" y="34"/>
                  </a:cubicBezTo>
                  <a:moveTo>
                    <a:pt x="29" y="34"/>
                  </a:moveTo>
                  <a:cubicBezTo>
                    <a:pt x="29" y="33"/>
                    <a:pt x="29" y="33"/>
                    <a:pt x="29" y="33"/>
                  </a:cubicBezTo>
                  <a:cubicBezTo>
                    <a:pt x="30" y="32"/>
                    <a:pt x="31" y="31"/>
                    <a:pt x="33" y="30"/>
                  </a:cubicBezTo>
                  <a:cubicBezTo>
                    <a:pt x="33" y="31"/>
                    <a:pt x="33" y="31"/>
                    <a:pt x="33" y="32"/>
                  </a:cubicBezTo>
                  <a:cubicBezTo>
                    <a:pt x="30" y="34"/>
                    <a:pt x="30" y="34"/>
                    <a:pt x="30" y="34"/>
                  </a:cubicBezTo>
                  <a:cubicBezTo>
                    <a:pt x="29" y="34"/>
                    <a:pt x="29" y="34"/>
                    <a:pt x="29" y="34"/>
                  </a:cubicBezTo>
                  <a:cubicBezTo>
                    <a:pt x="29" y="34"/>
                    <a:pt x="29" y="34"/>
                    <a:pt x="29" y="34"/>
                  </a:cubicBezTo>
                  <a:moveTo>
                    <a:pt x="38" y="34"/>
                  </a:moveTo>
                  <a:cubicBezTo>
                    <a:pt x="38" y="34"/>
                    <a:pt x="38" y="33"/>
                    <a:pt x="38" y="33"/>
                  </a:cubicBezTo>
                  <a:cubicBezTo>
                    <a:pt x="39" y="32"/>
                    <a:pt x="39" y="32"/>
                    <a:pt x="40" y="31"/>
                  </a:cubicBezTo>
                  <a:cubicBezTo>
                    <a:pt x="41" y="31"/>
                    <a:pt x="41" y="30"/>
                    <a:pt x="42" y="30"/>
                  </a:cubicBezTo>
                  <a:cubicBezTo>
                    <a:pt x="42" y="31"/>
                    <a:pt x="42" y="33"/>
                    <a:pt x="42" y="34"/>
                  </a:cubicBezTo>
                  <a:cubicBezTo>
                    <a:pt x="38" y="34"/>
                    <a:pt x="38" y="34"/>
                    <a:pt x="38" y="34"/>
                  </a:cubicBezTo>
                  <a:moveTo>
                    <a:pt x="19" y="34"/>
                  </a:moveTo>
                  <a:cubicBezTo>
                    <a:pt x="19" y="33"/>
                    <a:pt x="19" y="33"/>
                    <a:pt x="19" y="32"/>
                  </a:cubicBezTo>
                  <a:cubicBezTo>
                    <a:pt x="20" y="32"/>
                    <a:pt x="21" y="31"/>
                    <a:pt x="22" y="31"/>
                  </a:cubicBezTo>
                  <a:cubicBezTo>
                    <a:pt x="22" y="31"/>
                    <a:pt x="23" y="30"/>
                    <a:pt x="24" y="30"/>
                  </a:cubicBezTo>
                  <a:cubicBezTo>
                    <a:pt x="24" y="30"/>
                    <a:pt x="24" y="31"/>
                    <a:pt x="24" y="32"/>
                  </a:cubicBezTo>
                  <a:cubicBezTo>
                    <a:pt x="23" y="32"/>
                    <a:pt x="21" y="33"/>
                    <a:pt x="20" y="34"/>
                  </a:cubicBezTo>
                  <a:cubicBezTo>
                    <a:pt x="20" y="34"/>
                    <a:pt x="20" y="34"/>
                    <a:pt x="20" y="34"/>
                  </a:cubicBezTo>
                  <a:cubicBezTo>
                    <a:pt x="19" y="34"/>
                    <a:pt x="19" y="34"/>
                    <a:pt x="19" y="34"/>
                  </a:cubicBezTo>
                  <a:moveTo>
                    <a:pt x="10" y="33"/>
                  </a:moveTo>
                  <a:cubicBezTo>
                    <a:pt x="10" y="33"/>
                    <a:pt x="10" y="32"/>
                    <a:pt x="10" y="32"/>
                  </a:cubicBezTo>
                  <a:cubicBezTo>
                    <a:pt x="10" y="32"/>
                    <a:pt x="10" y="32"/>
                    <a:pt x="10" y="32"/>
                  </a:cubicBezTo>
                  <a:cubicBezTo>
                    <a:pt x="10" y="32"/>
                    <a:pt x="10" y="32"/>
                    <a:pt x="10" y="32"/>
                  </a:cubicBezTo>
                  <a:cubicBezTo>
                    <a:pt x="12" y="31"/>
                    <a:pt x="13" y="30"/>
                    <a:pt x="15" y="29"/>
                  </a:cubicBezTo>
                  <a:cubicBezTo>
                    <a:pt x="15" y="30"/>
                    <a:pt x="15" y="30"/>
                    <a:pt x="15" y="31"/>
                  </a:cubicBezTo>
                  <a:cubicBezTo>
                    <a:pt x="14" y="31"/>
                    <a:pt x="13" y="32"/>
                    <a:pt x="12" y="32"/>
                  </a:cubicBezTo>
                  <a:cubicBezTo>
                    <a:pt x="12" y="33"/>
                    <a:pt x="11" y="33"/>
                    <a:pt x="10" y="33"/>
                  </a:cubicBezTo>
                  <a:moveTo>
                    <a:pt x="28" y="32"/>
                  </a:moveTo>
                  <a:cubicBezTo>
                    <a:pt x="28" y="29"/>
                    <a:pt x="28" y="29"/>
                    <a:pt x="28" y="29"/>
                  </a:cubicBezTo>
                  <a:cubicBezTo>
                    <a:pt x="29" y="29"/>
                    <a:pt x="30" y="28"/>
                    <a:pt x="31" y="28"/>
                  </a:cubicBezTo>
                  <a:cubicBezTo>
                    <a:pt x="32" y="28"/>
                    <a:pt x="32" y="27"/>
                    <a:pt x="33" y="27"/>
                  </a:cubicBezTo>
                  <a:cubicBezTo>
                    <a:pt x="33" y="28"/>
                    <a:pt x="33" y="29"/>
                    <a:pt x="33" y="29"/>
                  </a:cubicBezTo>
                  <a:cubicBezTo>
                    <a:pt x="31" y="30"/>
                    <a:pt x="30" y="31"/>
                    <a:pt x="28" y="32"/>
                  </a:cubicBezTo>
                  <a:moveTo>
                    <a:pt x="19" y="31"/>
                  </a:moveTo>
                  <a:cubicBezTo>
                    <a:pt x="19" y="30"/>
                    <a:pt x="19" y="30"/>
                    <a:pt x="19" y="29"/>
                  </a:cubicBezTo>
                  <a:cubicBezTo>
                    <a:pt x="19" y="29"/>
                    <a:pt x="19" y="29"/>
                    <a:pt x="19" y="29"/>
                  </a:cubicBezTo>
                  <a:cubicBezTo>
                    <a:pt x="24" y="26"/>
                    <a:pt x="24" y="26"/>
                    <a:pt x="24" y="26"/>
                  </a:cubicBezTo>
                  <a:cubicBezTo>
                    <a:pt x="24" y="27"/>
                    <a:pt x="24" y="28"/>
                    <a:pt x="24" y="29"/>
                  </a:cubicBezTo>
                  <a:cubicBezTo>
                    <a:pt x="23" y="29"/>
                    <a:pt x="22" y="30"/>
                    <a:pt x="21" y="30"/>
                  </a:cubicBezTo>
                  <a:cubicBezTo>
                    <a:pt x="21" y="30"/>
                    <a:pt x="20" y="31"/>
                    <a:pt x="19" y="31"/>
                  </a:cubicBezTo>
                  <a:moveTo>
                    <a:pt x="38" y="32"/>
                  </a:moveTo>
                  <a:cubicBezTo>
                    <a:pt x="38" y="31"/>
                    <a:pt x="38" y="30"/>
                    <a:pt x="38" y="29"/>
                  </a:cubicBezTo>
                  <a:cubicBezTo>
                    <a:pt x="38" y="29"/>
                    <a:pt x="38" y="29"/>
                    <a:pt x="38" y="29"/>
                  </a:cubicBezTo>
                  <a:cubicBezTo>
                    <a:pt x="40" y="28"/>
                    <a:pt x="41" y="27"/>
                    <a:pt x="42" y="26"/>
                  </a:cubicBezTo>
                  <a:cubicBezTo>
                    <a:pt x="42" y="27"/>
                    <a:pt x="42" y="28"/>
                    <a:pt x="42" y="29"/>
                  </a:cubicBezTo>
                  <a:cubicBezTo>
                    <a:pt x="42" y="29"/>
                    <a:pt x="42" y="29"/>
                    <a:pt x="42" y="29"/>
                  </a:cubicBezTo>
                  <a:cubicBezTo>
                    <a:pt x="41" y="29"/>
                    <a:pt x="40" y="30"/>
                    <a:pt x="39" y="30"/>
                  </a:cubicBezTo>
                  <a:cubicBezTo>
                    <a:pt x="39" y="31"/>
                    <a:pt x="38" y="31"/>
                    <a:pt x="38" y="32"/>
                  </a:cubicBezTo>
                  <a:moveTo>
                    <a:pt x="28" y="28"/>
                  </a:moveTo>
                  <a:cubicBezTo>
                    <a:pt x="28" y="25"/>
                    <a:pt x="28" y="25"/>
                    <a:pt x="28" y="25"/>
                  </a:cubicBezTo>
                  <a:cubicBezTo>
                    <a:pt x="29" y="25"/>
                    <a:pt x="29" y="25"/>
                    <a:pt x="29" y="25"/>
                  </a:cubicBezTo>
                  <a:cubicBezTo>
                    <a:pt x="30" y="26"/>
                    <a:pt x="31" y="26"/>
                    <a:pt x="31" y="26"/>
                  </a:cubicBezTo>
                  <a:cubicBezTo>
                    <a:pt x="32" y="26"/>
                    <a:pt x="33" y="26"/>
                    <a:pt x="33" y="25"/>
                  </a:cubicBezTo>
                  <a:cubicBezTo>
                    <a:pt x="33" y="26"/>
                    <a:pt x="33" y="26"/>
                    <a:pt x="33" y="26"/>
                  </a:cubicBezTo>
                  <a:cubicBezTo>
                    <a:pt x="32" y="26"/>
                    <a:pt x="31" y="27"/>
                    <a:pt x="30" y="27"/>
                  </a:cubicBezTo>
                  <a:cubicBezTo>
                    <a:pt x="30" y="27"/>
                    <a:pt x="29" y="28"/>
                    <a:pt x="28" y="28"/>
                  </a:cubicBezTo>
                  <a:moveTo>
                    <a:pt x="10" y="30"/>
                  </a:moveTo>
                  <a:cubicBezTo>
                    <a:pt x="10" y="30"/>
                    <a:pt x="10" y="30"/>
                    <a:pt x="10" y="29"/>
                  </a:cubicBezTo>
                  <a:cubicBezTo>
                    <a:pt x="12" y="28"/>
                    <a:pt x="13" y="26"/>
                    <a:pt x="15" y="25"/>
                  </a:cubicBezTo>
                  <a:cubicBezTo>
                    <a:pt x="15" y="25"/>
                    <a:pt x="15" y="25"/>
                    <a:pt x="15" y="25"/>
                  </a:cubicBezTo>
                  <a:cubicBezTo>
                    <a:pt x="15" y="26"/>
                    <a:pt x="15" y="27"/>
                    <a:pt x="15" y="28"/>
                  </a:cubicBezTo>
                  <a:cubicBezTo>
                    <a:pt x="14" y="28"/>
                    <a:pt x="13" y="29"/>
                    <a:pt x="12" y="29"/>
                  </a:cubicBezTo>
                  <a:cubicBezTo>
                    <a:pt x="12" y="30"/>
                    <a:pt x="11" y="30"/>
                    <a:pt x="10" y="30"/>
                  </a:cubicBezTo>
                  <a:moveTo>
                    <a:pt x="19" y="28"/>
                  </a:moveTo>
                  <a:cubicBezTo>
                    <a:pt x="19" y="27"/>
                    <a:pt x="19" y="26"/>
                    <a:pt x="19" y="25"/>
                  </a:cubicBezTo>
                  <a:cubicBezTo>
                    <a:pt x="20" y="24"/>
                    <a:pt x="21" y="24"/>
                    <a:pt x="23" y="23"/>
                  </a:cubicBezTo>
                  <a:cubicBezTo>
                    <a:pt x="24" y="23"/>
                    <a:pt x="24" y="23"/>
                    <a:pt x="24" y="23"/>
                  </a:cubicBezTo>
                  <a:cubicBezTo>
                    <a:pt x="24" y="24"/>
                    <a:pt x="24" y="24"/>
                    <a:pt x="24" y="25"/>
                  </a:cubicBezTo>
                  <a:cubicBezTo>
                    <a:pt x="19" y="28"/>
                    <a:pt x="19" y="28"/>
                    <a:pt x="19" y="28"/>
                  </a:cubicBezTo>
                  <a:moveTo>
                    <a:pt x="38" y="28"/>
                  </a:moveTo>
                  <a:cubicBezTo>
                    <a:pt x="38" y="27"/>
                    <a:pt x="37" y="26"/>
                    <a:pt x="37" y="26"/>
                  </a:cubicBezTo>
                  <a:cubicBezTo>
                    <a:pt x="37" y="26"/>
                    <a:pt x="37" y="26"/>
                    <a:pt x="37" y="26"/>
                  </a:cubicBezTo>
                  <a:cubicBezTo>
                    <a:pt x="40" y="24"/>
                    <a:pt x="41" y="23"/>
                    <a:pt x="42" y="22"/>
                  </a:cubicBezTo>
                  <a:cubicBezTo>
                    <a:pt x="42" y="23"/>
                    <a:pt x="42" y="24"/>
                    <a:pt x="42" y="25"/>
                  </a:cubicBezTo>
                  <a:cubicBezTo>
                    <a:pt x="42" y="25"/>
                    <a:pt x="42" y="25"/>
                    <a:pt x="42" y="25"/>
                  </a:cubicBezTo>
                  <a:cubicBezTo>
                    <a:pt x="40" y="26"/>
                    <a:pt x="39" y="27"/>
                    <a:pt x="38" y="28"/>
                  </a:cubicBezTo>
                  <a:cubicBezTo>
                    <a:pt x="38" y="28"/>
                    <a:pt x="38" y="28"/>
                    <a:pt x="38" y="28"/>
                  </a:cubicBezTo>
                  <a:moveTo>
                    <a:pt x="19" y="24"/>
                  </a:moveTo>
                  <a:cubicBezTo>
                    <a:pt x="19" y="23"/>
                    <a:pt x="19" y="23"/>
                    <a:pt x="19" y="22"/>
                  </a:cubicBezTo>
                  <a:cubicBezTo>
                    <a:pt x="19" y="22"/>
                    <a:pt x="19" y="22"/>
                    <a:pt x="19" y="22"/>
                  </a:cubicBezTo>
                  <a:cubicBezTo>
                    <a:pt x="20" y="20"/>
                    <a:pt x="20" y="20"/>
                    <a:pt x="20" y="20"/>
                  </a:cubicBezTo>
                  <a:cubicBezTo>
                    <a:pt x="21" y="21"/>
                    <a:pt x="21" y="21"/>
                    <a:pt x="22" y="22"/>
                  </a:cubicBezTo>
                  <a:cubicBezTo>
                    <a:pt x="21" y="23"/>
                    <a:pt x="20" y="23"/>
                    <a:pt x="19" y="24"/>
                  </a:cubicBezTo>
                  <a:moveTo>
                    <a:pt x="37" y="24"/>
                  </a:moveTo>
                  <a:cubicBezTo>
                    <a:pt x="37" y="24"/>
                    <a:pt x="37" y="23"/>
                    <a:pt x="37" y="22"/>
                  </a:cubicBezTo>
                  <a:cubicBezTo>
                    <a:pt x="38" y="22"/>
                    <a:pt x="38" y="21"/>
                    <a:pt x="39" y="20"/>
                  </a:cubicBezTo>
                  <a:cubicBezTo>
                    <a:pt x="40" y="20"/>
                    <a:pt x="41" y="18"/>
                    <a:pt x="42" y="18"/>
                  </a:cubicBezTo>
                  <a:cubicBezTo>
                    <a:pt x="42" y="18"/>
                    <a:pt x="42" y="19"/>
                    <a:pt x="42" y="20"/>
                  </a:cubicBezTo>
                  <a:cubicBezTo>
                    <a:pt x="41" y="21"/>
                    <a:pt x="41" y="21"/>
                    <a:pt x="41" y="21"/>
                  </a:cubicBezTo>
                  <a:cubicBezTo>
                    <a:pt x="40" y="22"/>
                    <a:pt x="39" y="23"/>
                    <a:pt x="37" y="24"/>
                  </a:cubicBezTo>
                  <a:moveTo>
                    <a:pt x="4" y="0"/>
                  </a:moveTo>
                  <a:cubicBezTo>
                    <a:pt x="3" y="1"/>
                    <a:pt x="3" y="1"/>
                    <a:pt x="3" y="1"/>
                  </a:cubicBezTo>
                  <a:cubicBezTo>
                    <a:pt x="3" y="9"/>
                    <a:pt x="3" y="9"/>
                    <a:pt x="3" y="9"/>
                  </a:cubicBezTo>
                  <a:cubicBezTo>
                    <a:pt x="2" y="9"/>
                    <a:pt x="2" y="9"/>
                    <a:pt x="2" y="9"/>
                  </a:cubicBezTo>
                  <a:cubicBezTo>
                    <a:pt x="2" y="9"/>
                    <a:pt x="2" y="9"/>
                    <a:pt x="2" y="9"/>
                  </a:cubicBezTo>
                  <a:cubicBezTo>
                    <a:pt x="2" y="10"/>
                    <a:pt x="2" y="10"/>
                    <a:pt x="2" y="10"/>
                  </a:cubicBezTo>
                  <a:cubicBezTo>
                    <a:pt x="3" y="10"/>
                    <a:pt x="3" y="10"/>
                    <a:pt x="3" y="10"/>
                  </a:cubicBezTo>
                  <a:cubicBezTo>
                    <a:pt x="3" y="14"/>
                    <a:pt x="3" y="14"/>
                    <a:pt x="3" y="14"/>
                  </a:cubicBezTo>
                  <a:cubicBezTo>
                    <a:pt x="2" y="14"/>
                    <a:pt x="2" y="14"/>
                    <a:pt x="2" y="14"/>
                  </a:cubicBezTo>
                  <a:cubicBezTo>
                    <a:pt x="2" y="14"/>
                    <a:pt x="2" y="14"/>
                    <a:pt x="2" y="14"/>
                  </a:cubicBezTo>
                  <a:cubicBezTo>
                    <a:pt x="2" y="15"/>
                    <a:pt x="2" y="15"/>
                    <a:pt x="2" y="15"/>
                  </a:cubicBezTo>
                  <a:cubicBezTo>
                    <a:pt x="3" y="15"/>
                    <a:pt x="3" y="15"/>
                    <a:pt x="3" y="15"/>
                  </a:cubicBezTo>
                  <a:cubicBezTo>
                    <a:pt x="3" y="19"/>
                    <a:pt x="3" y="19"/>
                    <a:pt x="3" y="19"/>
                  </a:cubicBezTo>
                  <a:cubicBezTo>
                    <a:pt x="2" y="19"/>
                    <a:pt x="2" y="19"/>
                    <a:pt x="2" y="19"/>
                  </a:cubicBezTo>
                  <a:cubicBezTo>
                    <a:pt x="2" y="19"/>
                    <a:pt x="2" y="19"/>
                    <a:pt x="2" y="19"/>
                  </a:cubicBezTo>
                  <a:cubicBezTo>
                    <a:pt x="2" y="20"/>
                    <a:pt x="2" y="20"/>
                    <a:pt x="2" y="20"/>
                  </a:cubicBezTo>
                  <a:cubicBezTo>
                    <a:pt x="3" y="20"/>
                    <a:pt x="3" y="20"/>
                    <a:pt x="3" y="20"/>
                  </a:cubicBezTo>
                  <a:cubicBezTo>
                    <a:pt x="3" y="24"/>
                    <a:pt x="3" y="24"/>
                    <a:pt x="3" y="24"/>
                  </a:cubicBezTo>
                  <a:cubicBezTo>
                    <a:pt x="2" y="24"/>
                    <a:pt x="2" y="24"/>
                    <a:pt x="2" y="24"/>
                  </a:cubicBezTo>
                  <a:cubicBezTo>
                    <a:pt x="2" y="25"/>
                    <a:pt x="2" y="25"/>
                    <a:pt x="2" y="25"/>
                  </a:cubicBezTo>
                  <a:cubicBezTo>
                    <a:pt x="2" y="25"/>
                    <a:pt x="2" y="25"/>
                    <a:pt x="2" y="25"/>
                  </a:cubicBezTo>
                  <a:cubicBezTo>
                    <a:pt x="3" y="25"/>
                    <a:pt x="3" y="25"/>
                    <a:pt x="3" y="25"/>
                  </a:cubicBezTo>
                  <a:cubicBezTo>
                    <a:pt x="3" y="29"/>
                    <a:pt x="3" y="29"/>
                    <a:pt x="3" y="29"/>
                  </a:cubicBezTo>
                  <a:cubicBezTo>
                    <a:pt x="2" y="29"/>
                    <a:pt x="2" y="29"/>
                    <a:pt x="2" y="29"/>
                  </a:cubicBezTo>
                  <a:cubicBezTo>
                    <a:pt x="2" y="30"/>
                    <a:pt x="2" y="30"/>
                    <a:pt x="2" y="30"/>
                  </a:cubicBezTo>
                  <a:cubicBezTo>
                    <a:pt x="2" y="30"/>
                    <a:pt x="2" y="30"/>
                    <a:pt x="2" y="30"/>
                  </a:cubicBezTo>
                  <a:cubicBezTo>
                    <a:pt x="3" y="30"/>
                    <a:pt x="3" y="30"/>
                    <a:pt x="3" y="30"/>
                  </a:cubicBezTo>
                  <a:cubicBezTo>
                    <a:pt x="3" y="34"/>
                    <a:pt x="3" y="34"/>
                    <a:pt x="3" y="34"/>
                  </a:cubicBezTo>
                  <a:cubicBezTo>
                    <a:pt x="0" y="34"/>
                    <a:pt x="0" y="34"/>
                    <a:pt x="0" y="34"/>
                  </a:cubicBezTo>
                  <a:cubicBezTo>
                    <a:pt x="0" y="35"/>
                    <a:pt x="0" y="35"/>
                    <a:pt x="0" y="35"/>
                  </a:cubicBezTo>
                  <a:cubicBezTo>
                    <a:pt x="0" y="35"/>
                    <a:pt x="0" y="35"/>
                    <a:pt x="0" y="35"/>
                  </a:cubicBezTo>
                  <a:cubicBezTo>
                    <a:pt x="3" y="35"/>
                    <a:pt x="3" y="35"/>
                    <a:pt x="3" y="35"/>
                  </a:cubicBezTo>
                  <a:cubicBezTo>
                    <a:pt x="3" y="39"/>
                    <a:pt x="3" y="39"/>
                    <a:pt x="3" y="39"/>
                  </a:cubicBezTo>
                  <a:cubicBezTo>
                    <a:pt x="4" y="40"/>
                    <a:pt x="4" y="40"/>
                    <a:pt x="4" y="40"/>
                  </a:cubicBezTo>
                  <a:cubicBezTo>
                    <a:pt x="4" y="39"/>
                    <a:pt x="4" y="39"/>
                    <a:pt x="4" y="39"/>
                  </a:cubicBezTo>
                  <a:cubicBezTo>
                    <a:pt x="4" y="35"/>
                    <a:pt x="4" y="35"/>
                    <a:pt x="4" y="35"/>
                  </a:cubicBezTo>
                  <a:cubicBezTo>
                    <a:pt x="49" y="35"/>
                    <a:pt x="49" y="35"/>
                    <a:pt x="49" y="35"/>
                  </a:cubicBezTo>
                  <a:cubicBezTo>
                    <a:pt x="50" y="35"/>
                    <a:pt x="50" y="35"/>
                    <a:pt x="50" y="35"/>
                  </a:cubicBezTo>
                  <a:cubicBezTo>
                    <a:pt x="49" y="34"/>
                    <a:pt x="49" y="34"/>
                    <a:pt x="49" y="34"/>
                  </a:cubicBezTo>
                  <a:cubicBezTo>
                    <a:pt x="43" y="34"/>
                    <a:pt x="43" y="34"/>
                    <a:pt x="43" y="34"/>
                  </a:cubicBezTo>
                  <a:cubicBezTo>
                    <a:pt x="43" y="30"/>
                    <a:pt x="43" y="25"/>
                    <a:pt x="43" y="20"/>
                  </a:cubicBezTo>
                  <a:cubicBezTo>
                    <a:pt x="43" y="20"/>
                    <a:pt x="43" y="20"/>
                    <a:pt x="43" y="20"/>
                  </a:cubicBezTo>
                  <a:cubicBezTo>
                    <a:pt x="43" y="19"/>
                    <a:pt x="43" y="17"/>
                    <a:pt x="43" y="16"/>
                  </a:cubicBezTo>
                  <a:cubicBezTo>
                    <a:pt x="43" y="16"/>
                    <a:pt x="43" y="16"/>
                    <a:pt x="43" y="16"/>
                  </a:cubicBezTo>
                  <a:cubicBezTo>
                    <a:pt x="42" y="16"/>
                    <a:pt x="42" y="16"/>
                    <a:pt x="42" y="16"/>
                  </a:cubicBezTo>
                  <a:cubicBezTo>
                    <a:pt x="41" y="17"/>
                    <a:pt x="40" y="18"/>
                    <a:pt x="38" y="20"/>
                  </a:cubicBezTo>
                  <a:cubicBezTo>
                    <a:pt x="37" y="21"/>
                    <a:pt x="37" y="21"/>
                    <a:pt x="36" y="22"/>
                  </a:cubicBezTo>
                  <a:cubicBezTo>
                    <a:pt x="36" y="22"/>
                    <a:pt x="36" y="22"/>
                    <a:pt x="36" y="22"/>
                  </a:cubicBezTo>
                  <a:cubicBezTo>
                    <a:pt x="36" y="24"/>
                    <a:pt x="36" y="26"/>
                    <a:pt x="36" y="28"/>
                  </a:cubicBezTo>
                  <a:cubicBezTo>
                    <a:pt x="37" y="30"/>
                    <a:pt x="37" y="31"/>
                    <a:pt x="37" y="32"/>
                  </a:cubicBezTo>
                  <a:cubicBezTo>
                    <a:pt x="37" y="33"/>
                    <a:pt x="37" y="33"/>
                    <a:pt x="37" y="33"/>
                  </a:cubicBezTo>
                  <a:cubicBezTo>
                    <a:pt x="37" y="33"/>
                    <a:pt x="37" y="34"/>
                    <a:pt x="37" y="34"/>
                  </a:cubicBezTo>
                  <a:cubicBezTo>
                    <a:pt x="34" y="34"/>
                    <a:pt x="34" y="34"/>
                    <a:pt x="34" y="34"/>
                  </a:cubicBezTo>
                  <a:cubicBezTo>
                    <a:pt x="34" y="31"/>
                    <a:pt x="34" y="28"/>
                    <a:pt x="34" y="24"/>
                  </a:cubicBezTo>
                  <a:cubicBezTo>
                    <a:pt x="34" y="24"/>
                    <a:pt x="34" y="24"/>
                    <a:pt x="34" y="24"/>
                  </a:cubicBezTo>
                  <a:cubicBezTo>
                    <a:pt x="33" y="24"/>
                    <a:pt x="33" y="24"/>
                    <a:pt x="33" y="24"/>
                  </a:cubicBezTo>
                  <a:cubicBezTo>
                    <a:pt x="33" y="24"/>
                    <a:pt x="33" y="24"/>
                    <a:pt x="33" y="24"/>
                  </a:cubicBezTo>
                  <a:cubicBezTo>
                    <a:pt x="32" y="25"/>
                    <a:pt x="32" y="25"/>
                    <a:pt x="31" y="25"/>
                  </a:cubicBezTo>
                  <a:cubicBezTo>
                    <a:pt x="31" y="25"/>
                    <a:pt x="30" y="24"/>
                    <a:pt x="29" y="24"/>
                  </a:cubicBezTo>
                  <a:cubicBezTo>
                    <a:pt x="28" y="24"/>
                    <a:pt x="28" y="24"/>
                    <a:pt x="28" y="24"/>
                  </a:cubicBezTo>
                  <a:cubicBezTo>
                    <a:pt x="27" y="24"/>
                    <a:pt x="27" y="24"/>
                    <a:pt x="27" y="24"/>
                  </a:cubicBezTo>
                  <a:cubicBezTo>
                    <a:pt x="27" y="24"/>
                    <a:pt x="27" y="24"/>
                    <a:pt x="27" y="24"/>
                  </a:cubicBezTo>
                  <a:cubicBezTo>
                    <a:pt x="27" y="33"/>
                    <a:pt x="27" y="33"/>
                    <a:pt x="27" y="33"/>
                  </a:cubicBezTo>
                  <a:cubicBezTo>
                    <a:pt x="27" y="33"/>
                    <a:pt x="27" y="33"/>
                    <a:pt x="27" y="33"/>
                  </a:cubicBezTo>
                  <a:cubicBezTo>
                    <a:pt x="27" y="34"/>
                    <a:pt x="27" y="34"/>
                    <a:pt x="27" y="34"/>
                  </a:cubicBezTo>
                  <a:cubicBezTo>
                    <a:pt x="25" y="34"/>
                    <a:pt x="25" y="34"/>
                    <a:pt x="25" y="34"/>
                  </a:cubicBezTo>
                  <a:cubicBezTo>
                    <a:pt x="25" y="32"/>
                    <a:pt x="25" y="29"/>
                    <a:pt x="25" y="25"/>
                  </a:cubicBezTo>
                  <a:cubicBezTo>
                    <a:pt x="25" y="25"/>
                    <a:pt x="25" y="25"/>
                    <a:pt x="25" y="25"/>
                  </a:cubicBezTo>
                  <a:cubicBezTo>
                    <a:pt x="25" y="25"/>
                    <a:pt x="25" y="24"/>
                    <a:pt x="25" y="23"/>
                  </a:cubicBezTo>
                  <a:cubicBezTo>
                    <a:pt x="25" y="23"/>
                    <a:pt x="25" y="23"/>
                    <a:pt x="25" y="23"/>
                  </a:cubicBezTo>
                  <a:cubicBezTo>
                    <a:pt x="24" y="22"/>
                    <a:pt x="24" y="22"/>
                    <a:pt x="23" y="21"/>
                  </a:cubicBezTo>
                  <a:cubicBezTo>
                    <a:pt x="22" y="21"/>
                    <a:pt x="21" y="20"/>
                    <a:pt x="20" y="19"/>
                  </a:cubicBezTo>
                  <a:cubicBezTo>
                    <a:pt x="20" y="19"/>
                    <a:pt x="20" y="19"/>
                    <a:pt x="20" y="19"/>
                  </a:cubicBezTo>
                  <a:cubicBezTo>
                    <a:pt x="19" y="19"/>
                    <a:pt x="19" y="20"/>
                    <a:pt x="18" y="21"/>
                  </a:cubicBezTo>
                  <a:cubicBezTo>
                    <a:pt x="18" y="22"/>
                    <a:pt x="18" y="22"/>
                    <a:pt x="18" y="22"/>
                  </a:cubicBezTo>
                  <a:cubicBezTo>
                    <a:pt x="18" y="22"/>
                    <a:pt x="18" y="22"/>
                    <a:pt x="18" y="22"/>
                  </a:cubicBezTo>
                  <a:cubicBezTo>
                    <a:pt x="18" y="24"/>
                    <a:pt x="18" y="26"/>
                    <a:pt x="18" y="28"/>
                  </a:cubicBezTo>
                  <a:cubicBezTo>
                    <a:pt x="18" y="30"/>
                    <a:pt x="18" y="32"/>
                    <a:pt x="18" y="34"/>
                  </a:cubicBezTo>
                  <a:cubicBezTo>
                    <a:pt x="16" y="34"/>
                    <a:pt x="16" y="34"/>
                    <a:pt x="16" y="34"/>
                  </a:cubicBezTo>
                  <a:cubicBezTo>
                    <a:pt x="16" y="31"/>
                    <a:pt x="16" y="27"/>
                    <a:pt x="16" y="23"/>
                  </a:cubicBezTo>
                  <a:cubicBezTo>
                    <a:pt x="15" y="23"/>
                    <a:pt x="15" y="23"/>
                    <a:pt x="15" y="23"/>
                  </a:cubicBezTo>
                  <a:cubicBezTo>
                    <a:pt x="15" y="23"/>
                    <a:pt x="15" y="23"/>
                    <a:pt x="15" y="23"/>
                  </a:cubicBezTo>
                  <a:cubicBezTo>
                    <a:pt x="15" y="23"/>
                    <a:pt x="14" y="24"/>
                    <a:pt x="14" y="24"/>
                  </a:cubicBezTo>
                  <a:cubicBezTo>
                    <a:pt x="12" y="26"/>
                    <a:pt x="11" y="27"/>
                    <a:pt x="9" y="28"/>
                  </a:cubicBezTo>
                  <a:cubicBezTo>
                    <a:pt x="9" y="29"/>
                    <a:pt x="9" y="29"/>
                    <a:pt x="9" y="29"/>
                  </a:cubicBezTo>
                  <a:cubicBezTo>
                    <a:pt x="9" y="30"/>
                    <a:pt x="9" y="31"/>
                    <a:pt x="9" y="32"/>
                  </a:cubicBezTo>
                  <a:cubicBezTo>
                    <a:pt x="9" y="33"/>
                    <a:pt x="9" y="33"/>
                    <a:pt x="9" y="34"/>
                  </a:cubicBezTo>
                  <a:cubicBezTo>
                    <a:pt x="4" y="34"/>
                    <a:pt x="4" y="34"/>
                    <a:pt x="4" y="34"/>
                  </a:cubicBezTo>
                  <a:cubicBezTo>
                    <a:pt x="4" y="1"/>
                    <a:pt x="4" y="1"/>
                    <a:pt x="4" y="1"/>
                  </a:cubicBezTo>
                  <a:cubicBezTo>
                    <a:pt x="4" y="0"/>
                    <a:pt x="4" y="0"/>
                    <a:pt x="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87" name="îṣlîḍê"/>
            <p:cNvSpPr/>
            <p:nvPr/>
          </p:nvSpPr>
          <p:spPr bwMode="auto">
            <a:xfrm>
              <a:off x="3537" y="1918"/>
              <a:ext cx="83" cy="90"/>
            </a:xfrm>
            <a:custGeom>
              <a:avLst/>
              <a:gdLst>
                <a:gd name="T0" fmla="*/ 18 w 35"/>
                <a:gd name="T1" fmla="*/ 38 h 38"/>
                <a:gd name="T2" fmla="*/ 18 w 35"/>
                <a:gd name="T3" fmla="*/ 38 h 38"/>
                <a:gd name="T4" fmla="*/ 15 w 35"/>
                <a:gd name="T5" fmla="*/ 37 h 38"/>
                <a:gd name="T6" fmla="*/ 19 w 35"/>
                <a:gd name="T7" fmla="*/ 35 h 38"/>
                <a:gd name="T8" fmla="*/ 15 w 35"/>
                <a:gd name="T9" fmla="*/ 35 h 38"/>
                <a:gd name="T10" fmla="*/ 15 w 35"/>
                <a:gd name="T11" fmla="*/ 35 h 38"/>
                <a:gd name="T12" fmla="*/ 21 w 35"/>
                <a:gd name="T13" fmla="*/ 32 h 38"/>
                <a:gd name="T14" fmla="*/ 14 w 35"/>
                <a:gd name="T15" fmla="*/ 32 h 38"/>
                <a:gd name="T16" fmla="*/ 7 w 35"/>
                <a:gd name="T17" fmla="*/ 34 h 38"/>
                <a:gd name="T18" fmla="*/ 21 w 35"/>
                <a:gd name="T19" fmla="*/ 34 h 38"/>
                <a:gd name="T20" fmla="*/ 12 w 35"/>
                <a:gd name="T21" fmla="*/ 34 h 38"/>
                <a:gd name="T22" fmla="*/ 26 w 35"/>
                <a:gd name="T23" fmla="*/ 33 h 38"/>
                <a:gd name="T24" fmla="*/ 28 w 35"/>
                <a:gd name="T25" fmla="*/ 32 h 38"/>
                <a:gd name="T26" fmla="*/ 6 w 35"/>
                <a:gd name="T27" fmla="*/ 31 h 38"/>
                <a:gd name="T28" fmla="*/ 12 w 35"/>
                <a:gd name="T29" fmla="*/ 31 h 38"/>
                <a:gd name="T30" fmla="*/ 23 w 35"/>
                <a:gd name="T31" fmla="*/ 34 h 38"/>
                <a:gd name="T32" fmla="*/ 9 w 35"/>
                <a:gd name="T33" fmla="*/ 31 h 38"/>
                <a:gd name="T34" fmla="*/ 11 w 35"/>
                <a:gd name="T35" fmla="*/ 31 h 38"/>
                <a:gd name="T36" fmla="*/ 6 w 35"/>
                <a:gd name="T37" fmla="*/ 31 h 38"/>
                <a:gd name="T38" fmla="*/ 24 w 35"/>
                <a:gd name="T39" fmla="*/ 33 h 38"/>
                <a:gd name="T40" fmla="*/ 10 w 35"/>
                <a:gd name="T41" fmla="*/ 30 h 38"/>
                <a:gd name="T42" fmla="*/ 6 w 35"/>
                <a:gd name="T43" fmla="*/ 30 h 38"/>
                <a:gd name="T44" fmla="*/ 29 w 35"/>
                <a:gd name="T45" fmla="*/ 33 h 38"/>
                <a:gd name="T46" fmla="*/ 30 w 35"/>
                <a:gd name="T47" fmla="*/ 32 h 38"/>
                <a:gd name="T48" fmla="*/ 4 w 35"/>
                <a:gd name="T49" fmla="*/ 29 h 38"/>
                <a:gd name="T50" fmla="*/ 5 w 35"/>
                <a:gd name="T51" fmla="*/ 26 h 38"/>
                <a:gd name="T52" fmla="*/ 30 w 35"/>
                <a:gd name="T53" fmla="*/ 26 h 38"/>
                <a:gd name="T54" fmla="*/ 31 w 35"/>
                <a:gd name="T55" fmla="*/ 25 h 38"/>
                <a:gd name="T56" fmla="*/ 4 w 35"/>
                <a:gd name="T57" fmla="*/ 23 h 38"/>
                <a:gd name="T58" fmla="*/ 2 w 35"/>
                <a:gd name="T59" fmla="*/ 23 h 38"/>
                <a:gd name="T60" fmla="*/ 32 w 35"/>
                <a:gd name="T61" fmla="*/ 23 h 38"/>
                <a:gd name="T62" fmla="*/ 32 w 35"/>
                <a:gd name="T63" fmla="*/ 23 h 38"/>
                <a:gd name="T64" fmla="*/ 33 w 35"/>
                <a:gd name="T65" fmla="*/ 23 h 38"/>
                <a:gd name="T66" fmla="*/ 1 w 35"/>
                <a:gd name="T67" fmla="*/ 23 h 38"/>
                <a:gd name="T68" fmla="*/ 5 w 35"/>
                <a:gd name="T69" fmla="*/ 11 h 38"/>
                <a:gd name="T70" fmla="*/ 4 w 35"/>
                <a:gd name="T71" fmla="*/ 10 h 38"/>
                <a:gd name="T72" fmla="*/ 31 w 35"/>
                <a:gd name="T73" fmla="*/ 9 h 38"/>
                <a:gd name="T74" fmla="*/ 4 w 35"/>
                <a:gd name="T75" fmla="*/ 9 h 38"/>
                <a:gd name="T76" fmla="*/ 15 w 35"/>
                <a:gd name="T77" fmla="*/ 1 h 38"/>
                <a:gd name="T78" fmla="*/ 26 w 35"/>
                <a:gd name="T79" fmla="*/ 6 h 38"/>
                <a:gd name="T80" fmla="*/ 29 w 35"/>
                <a:gd name="T81" fmla="*/ 10 h 38"/>
                <a:gd name="T82" fmla="*/ 30 w 35"/>
                <a:gd name="T83" fmla="*/ 23 h 38"/>
                <a:gd name="T84" fmla="*/ 25 w 35"/>
                <a:gd name="T85" fmla="*/ 29 h 38"/>
                <a:gd name="T86" fmla="*/ 15 w 35"/>
                <a:gd name="T87" fmla="*/ 32 h 38"/>
                <a:gd name="T88" fmla="*/ 8 w 35"/>
                <a:gd name="T89" fmla="*/ 31 h 38"/>
                <a:gd name="T90" fmla="*/ 1 w 35"/>
                <a:gd name="T91" fmla="*/ 20 h 38"/>
                <a:gd name="T92" fmla="*/ 4 w 35"/>
                <a:gd name="T93" fmla="*/ 8 h 38"/>
                <a:gd name="T94" fmla="*/ 14 w 35"/>
                <a:gd name="T95" fmla="*/ 1 h 38"/>
                <a:gd name="T96" fmla="*/ 4 w 35"/>
                <a:gd name="T97" fmla="*/ 8 h 38"/>
                <a:gd name="T98" fmla="*/ 3 w 35"/>
                <a:gd name="T99" fmla="*/ 11 h 38"/>
                <a:gd name="T100" fmla="*/ 0 w 35"/>
                <a:gd name="T101" fmla="*/ 15 h 38"/>
                <a:gd name="T102" fmla="*/ 0 w 35"/>
                <a:gd name="T103" fmla="*/ 24 h 38"/>
                <a:gd name="T104" fmla="*/ 4 w 35"/>
                <a:gd name="T105" fmla="*/ 26 h 38"/>
                <a:gd name="T106" fmla="*/ 3 w 35"/>
                <a:gd name="T107" fmla="*/ 31 h 38"/>
                <a:gd name="T108" fmla="*/ 8 w 35"/>
                <a:gd name="T109" fmla="*/ 35 h 38"/>
                <a:gd name="T110" fmla="*/ 17 w 35"/>
                <a:gd name="T111" fmla="*/ 38 h 38"/>
                <a:gd name="T112" fmla="*/ 27 w 35"/>
                <a:gd name="T113" fmla="*/ 35 h 38"/>
                <a:gd name="T114" fmla="*/ 32 w 35"/>
                <a:gd name="T115" fmla="*/ 27 h 38"/>
                <a:gd name="T116" fmla="*/ 35 w 35"/>
                <a:gd name="T117" fmla="*/ 24 h 38"/>
                <a:gd name="T118" fmla="*/ 31 w 35"/>
                <a:gd name="T119" fmla="*/ 12 h 38"/>
                <a:gd name="T120" fmla="*/ 32 w 35"/>
                <a:gd name="T121" fmla="*/ 8 h 38"/>
                <a:gd name="T122" fmla="*/ 21 w 35"/>
                <a:gd name="T123"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 h="38">
                  <a:moveTo>
                    <a:pt x="19" y="38"/>
                  </a:moveTo>
                  <a:cubicBezTo>
                    <a:pt x="20" y="37"/>
                    <a:pt x="20" y="36"/>
                    <a:pt x="20" y="36"/>
                  </a:cubicBezTo>
                  <a:cubicBezTo>
                    <a:pt x="20" y="36"/>
                    <a:pt x="20" y="36"/>
                    <a:pt x="20" y="36"/>
                  </a:cubicBezTo>
                  <a:cubicBezTo>
                    <a:pt x="20" y="37"/>
                    <a:pt x="20" y="37"/>
                    <a:pt x="20" y="37"/>
                  </a:cubicBezTo>
                  <a:cubicBezTo>
                    <a:pt x="19" y="38"/>
                    <a:pt x="19" y="38"/>
                    <a:pt x="19" y="38"/>
                  </a:cubicBezTo>
                  <a:moveTo>
                    <a:pt x="18" y="38"/>
                  </a:moveTo>
                  <a:cubicBezTo>
                    <a:pt x="17" y="38"/>
                    <a:pt x="17" y="38"/>
                    <a:pt x="17" y="38"/>
                  </a:cubicBezTo>
                  <a:cubicBezTo>
                    <a:pt x="17" y="37"/>
                    <a:pt x="17" y="36"/>
                    <a:pt x="18" y="35"/>
                  </a:cubicBezTo>
                  <a:cubicBezTo>
                    <a:pt x="19" y="35"/>
                    <a:pt x="19" y="35"/>
                    <a:pt x="19" y="35"/>
                  </a:cubicBezTo>
                  <a:cubicBezTo>
                    <a:pt x="18" y="36"/>
                    <a:pt x="18" y="37"/>
                    <a:pt x="18" y="38"/>
                  </a:cubicBezTo>
                  <a:cubicBezTo>
                    <a:pt x="18" y="38"/>
                    <a:pt x="18" y="38"/>
                    <a:pt x="18" y="38"/>
                  </a:cubicBezTo>
                  <a:cubicBezTo>
                    <a:pt x="18" y="38"/>
                    <a:pt x="18" y="38"/>
                    <a:pt x="18" y="38"/>
                  </a:cubicBezTo>
                  <a:moveTo>
                    <a:pt x="16" y="38"/>
                  </a:moveTo>
                  <a:cubicBezTo>
                    <a:pt x="16" y="38"/>
                    <a:pt x="16" y="38"/>
                    <a:pt x="16" y="38"/>
                  </a:cubicBezTo>
                  <a:cubicBezTo>
                    <a:pt x="16" y="37"/>
                    <a:pt x="16" y="36"/>
                    <a:pt x="17" y="35"/>
                  </a:cubicBezTo>
                  <a:cubicBezTo>
                    <a:pt x="17" y="35"/>
                    <a:pt x="17" y="35"/>
                    <a:pt x="17" y="35"/>
                  </a:cubicBezTo>
                  <a:cubicBezTo>
                    <a:pt x="17" y="36"/>
                    <a:pt x="17" y="37"/>
                    <a:pt x="16" y="38"/>
                  </a:cubicBezTo>
                  <a:moveTo>
                    <a:pt x="15" y="37"/>
                  </a:moveTo>
                  <a:cubicBezTo>
                    <a:pt x="15" y="37"/>
                    <a:pt x="15" y="36"/>
                    <a:pt x="15" y="36"/>
                  </a:cubicBezTo>
                  <a:cubicBezTo>
                    <a:pt x="15" y="35"/>
                    <a:pt x="15" y="35"/>
                    <a:pt x="15" y="35"/>
                  </a:cubicBezTo>
                  <a:cubicBezTo>
                    <a:pt x="16" y="35"/>
                    <a:pt x="16" y="35"/>
                    <a:pt x="16" y="35"/>
                  </a:cubicBezTo>
                  <a:cubicBezTo>
                    <a:pt x="16" y="36"/>
                    <a:pt x="16" y="37"/>
                    <a:pt x="15" y="37"/>
                  </a:cubicBezTo>
                  <a:moveTo>
                    <a:pt x="18" y="38"/>
                  </a:moveTo>
                  <a:cubicBezTo>
                    <a:pt x="18" y="37"/>
                    <a:pt x="19" y="36"/>
                    <a:pt x="19" y="35"/>
                  </a:cubicBezTo>
                  <a:cubicBezTo>
                    <a:pt x="20" y="35"/>
                    <a:pt x="20" y="35"/>
                    <a:pt x="20" y="35"/>
                  </a:cubicBezTo>
                  <a:cubicBezTo>
                    <a:pt x="20" y="35"/>
                    <a:pt x="20" y="35"/>
                    <a:pt x="20" y="35"/>
                  </a:cubicBezTo>
                  <a:cubicBezTo>
                    <a:pt x="20" y="36"/>
                    <a:pt x="19" y="37"/>
                    <a:pt x="19" y="38"/>
                  </a:cubicBezTo>
                  <a:cubicBezTo>
                    <a:pt x="18" y="38"/>
                    <a:pt x="18" y="38"/>
                    <a:pt x="18" y="38"/>
                  </a:cubicBezTo>
                  <a:moveTo>
                    <a:pt x="15" y="35"/>
                  </a:moveTo>
                  <a:cubicBezTo>
                    <a:pt x="15" y="35"/>
                    <a:pt x="15" y="35"/>
                    <a:pt x="15" y="35"/>
                  </a:cubicBezTo>
                  <a:cubicBezTo>
                    <a:pt x="14" y="35"/>
                    <a:pt x="14" y="35"/>
                    <a:pt x="14" y="35"/>
                  </a:cubicBezTo>
                  <a:cubicBezTo>
                    <a:pt x="14" y="34"/>
                    <a:pt x="14" y="34"/>
                    <a:pt x="13" y="34"/>
                  </a:cubicBezTo>
                  <a:cubicBezTo>
                    <a:pt x="14" y="33"/>
                    <a:pt x="14" y="33"/>
                    <a:pt x="14" y="33"/>
                  </a:cubicBezTo>
                  <a:cubicBezTo>
                    <a:pt x="14" y="35"/>
                    <a:pt x="14" y="35"/>
                    <a:pt x="14" y="35"/>
                  </a:cubicBezTo>
                  <a:cubicBezTo>
                    <a:pt x="15" y="35"/>
                    <a:pt x="15" y="35"/>
                    <a:pt x="15" y="35"/>
                  </a:cubicBezTo>
                  <a:cubicBezTo>
                    <a:pt x="15" y="35"/>
                    <a:pt x="15" y="35"/>
                    <a:pt x="15" y="35"/>
                  </a:cubicBezTo>
                  <a:moveTo>
                    <a:pt x="27" y="34"/>
                  </a:moveTo>
                  <a:cubicBezTo>
                    <a:pt x="27" y="33"/>
                    <a:pt x="27" y="33"/>
                    <a:pt x="27" y="33"/>
                  </a:cubicBezTo>
                  <a:cubicBezTo>
                    <a:pt x="27" y="32"/>
                    <a:pt x="27" y="32"/>
                    <a:pt x="27" y="32"/>
                  </a:cubicBezTo>
                  <a:cubicBezTo>
                    <a:pt x="27" y="33"/>
                    <a:pt x="27" y="33"/>
                    <a:pt x="27" y="34"/>
                  </a:cubicBezTo>
                  <a:moveTo>
                    <a:pt x="21" y="33"/>
                  </a:moveTo>
                  <a:cubicBezTo>
                    <a:pt x="21" y="32"/>
                    <a:pt x="21" y="32"/>
                    <a:pt x="21" y="32"/>
                  </a:cubicBezTo>
                  <a:cubicBezTo>
                    <a:pt x="21" y="32"/>
                    <a:pt x="21" y="32"/>
                    <a:pt x="21" y="32"/>
                  </a:cubicBezTo>
                  <a:cubicBezTo>
                    <a:pt x="21" y="33"/>
                    <a:pt x="21" y="33"/>
                    <a:pt x="21" y="33"/>
                  </a:cubicBezTo>
                  <a:moveTo>
                    <a:pt x="13" y="34"/>
                  </a:moveTo>
                  <a:cubicBezTo>
                    <a:pt x="12" y="34"/>
                    <a:pt x="12" y="34"/>
                    <a:pt x="12" y="34"/>
                  </a:cubicBezTo>
                  <a:cubicBezTo>
                    <a:pt x="13" y="33"/>
                    <a:pt x="13" y="32"/>
                    <a:pt x="14" y="32"/>
                  </a:cubicBezTo>
                  <a:cubicBezTo>
                    <a:pt x="14" y="32"/>
                    <a:pt x="14" y="32"/>
                    <a:pt x="14" y="32"/>
                  </a:cubicBezTo>
                  <a:cubicBezTo>
                    <a:pt x="13" y="34"/>
                    <a:pt x="13" y="34"/>
                    <a:pt x="13" y="34"/>
                  </a:cubicBezTo>
                  <a:moveTo>
                    <a:pt x="25" y="33"/>
                  </a:moveTo>
                  <a:cubicBezTo>
                    <a:pt x="25" y="32"/>
                    <a:pt x="25" y="32"/>
                    <a:pt x="25" y="32"/>
                  </a:cubicBezTo>
                  <a:cubicBezTo>
                    <a:pt x="25" y="33"/>
                    <a:pt x="25" y="33"/>
                    <a:pt x="25" y="33"/>
                  </a:cubicBezTo>
                  <a:cubicBezTo>
                    <a:pt x="25" y="33"/>
                    <a:pt x="25" y="33"/>
                    <a:pt x="25" y="33"/>
                  </a:cubicBezTo>
                  <a:moveTo>
                    <a:pt x="7" y="34"/>
                  </a:moveTo>
                  <a:cubicBezTo>
                    <a:pt x="6" y="33"/>
                    <a:pt x="6" y="33"/>
                    <a:pt x="6" y="33"/>
                  </a:cubicBezTo>
                  <a:cubicBezTo>
                    <a:pt x="7" y="32"/>
                    <a:pt x="7" y="32"/>
                    <a:pt x="7" y="32"/>
                  </a:cubicBezTo>
                  <a:cubicBezTo>
                    <a:pt x="7" y="32"/>
                    <a:pt x="7" y="32"/>
                    <a:pt x="7" y="32"/>
                  </a:cubicBezTo>
                  <a:cubicBezTo>
                    <a:pt x="7" y="33"/>
                    <a:pt x="7" y="33"/>
                    <a:pt x="7" y="33"/>
                  </a:cubicBezTo>
                  <a:cubicBezTo>
                    <a:pt x="7" y="33"/>
                    <a:pt x="7" y="34"/>
                    <a:pt x="7" y="34"/>
                  </a:cubicBezTo>
                  <a:moveTo>
                    <a:pt x="21" y="34"/>
                  </a:moveTo>
                  <a:cubicBezTo>
                    <a:pt x="21" y="34"/>
                    <a:pt x="21" y="34"/>
                    <a:pt x="21" y="34"/>
                  </a:cubicBezTo>
                  <a:cubicBezTo>
                    <a:pt x="22" y="32"/>
                    <a:pt x="22" y="32"/>
                    <a:pt x="22" y="32"/>
                  </a:cubicBezTo>
                  <a:cubicBezTo>
                    <a:pt x="23" y="32"/>
                    <a:pt x="23" y="32"/>
                    <a:pt x="23" y="32"/>
                  </a:cubicBezTo>
                  <a:cubicBezTo>
                    <a:pt x="22" y="32"/>
                    <a:pt x="22" y="33"/>
                    <a:pt x="21" y="34"/>
                  </a:cubicBezTo>
                  <a:cubicBezTo>
                    <a:pt x="21" y="34"/>
                    <a:pt x="21" y="34"/>
                    <a:pt x="21" y="34"/>
                  </a:cubicBezTo>
                  <a:moveTo>
                    <a:pt x="12" y="34"/>
                  </a:moveTo>
                  <a:cubicBezTo>
                    <a:pt x="11" y="33"/>
                    <a:pt x="11" y="33"/>
                    <a:pt x="11" y="33"/>
                  </a:cubicBezTo>
                  <a:cubicBezTo>
                    <a:pt x="12" y="33"/>
                    <a:pt x="12" y="32"/>
                    <a:pt x="13" y="32"/>
                  </a:cubicBezTo>
                  <a:cubicBezTo>
                    <a:pt x="13" y="32"/>
                    <a:pt x="13" y="32"/>
                    <a:pt x="13" y="32"/>
                  </a:cubicBezTo>
                  <a:cubicBezTo>
                    <a:pt x="13" y="32"/>
                    <a:pt x="12" y="33"/>
                    <a:pt x="12" y="34"/>
                  </a:cubicBezTo>
                  <a:moveTo>
                    <a:pt x="26" y="33"/>
                  </a:moveTo>
                  <a:cubicBezTo>
                    <a:pt x="26" y="33"/>
                    <a:pt x="26" y="33"/>
                    <a:pt x="26" y="33"/>
                  </a:cubicBezTo>
                  <a:cubicBezTo>
                    <a:pt x="26" y="32"/>
                    <a:pt x="26" y="32"/>
                    <a:pt x="27" y="31"/>
                  </a:cubicBezTo>
                  <a:cubicBezTo>
                    <a:pt x="27" y="32"/>
                    <a:pt x="27" y="32"/>
                    <a:pt x="27" y="32"/>
                  </a:cubicBezTo>
                  <a:cubicBezTo>
                    <a:pt x="27" y="32"/>
                    <a:pt x="27" y="32"/>
                    <a:pt x="27" y="32"/>
                  </a:cubicBezTo>
                  <a:cubicBezTo>
                    <a:pt x="26" y="33"/>
                    <a:pt x="26" y="33"/>
                    <a:pt x="26" y="33"/>
                  </a:cubicBezTo>
                  <a:moveTo>
                    <a:pt x="28" y="34"/>
                  </a:moveTo>
                  <a:cubicBezTo>
                    <a:pt x="28" y="33"/>
                    <a:pt x="28" y="33"/>
                    <a:pt x="28" y="32"/>
                  </a:cubicBezTo>
                  <a:cubicBezTo>
                    <a:pt x="29" y="31"/>
                    <a:pt x="29" y="31"/>
                    <a:pt x="29" y="31"/>
                  </a:cubicBezTo>
                  <a:cubicBezTo>
                    <a:pt x="28" y="34"/>
                    <a:pt x="28" y="34"/>
                    <a:pt x="28" y="34"/>
                  </a:cubicBezTo>
                  <a:cubicBezTo>
                    <a:pt x="28" y="34"/>
                    <a:pt x="28" y="34"/>
                    <a:pt x="28" y="34"/>
                  </a:cubicBezTo>
                  <a:moveTo>
                    <a:pt x="6" y="33"/>
                  </a:moveTo>
                  <a:cubicBezTo>
                    <a:pt x="6" y="33"/>
                    <a:pt x="6" y="33"/>
                    <a:pt x="6" y="33"/>
                  </a:cubicBezTo>
                  <a:cubicBezTo>
                    <a:pt x="6" y="32"/>
                    <a:pt x="6" y="32"/>
                    <a:pt x="6" y="31"/>
                  </a:cubicBezTo>
                  <a:cubicBezTo>
                    <a:pt x="7" y="32"/>
                    <a:pt x="7" y="32"/>
                    <a:pt x="7" y="32"/>
                  </a:cubicBezTo>
                  <a:cubicBezTo>
                    <a:pt x="6" y="33"/>
                    <a:pt x="6" y="33"/>
                    <a:pt x="6" y="33"/>
                  </a:cubicBezTo>
                  <a:moveTo>
                    <a:pt x="11" y="33"/>
                  </a:moveTo>
                  <a:cubicBezTo>
                    <a:pt x="10" y="33"/>
                    <a:pt x="10" y="33"/>
                    <a:pt x="10" y="33"/>
                  </a:cubicBezTo>
                  <a:cubicBezTo>
                    <a:pt x="12" y="31"/>
                    <a:pt x="12" y="31"/>
                    <a:pt x="12" y="31"/>
                  </a:cubicBezTo>
                  <a:cubicBezTo>
                    <a:pt x="12" y="31"/>
                    <a:pt x="12" y="31"/>
                    <a:pt x="12" y="31"/>
                  </a:cubicBezTo>
                  <a:cubicBezTo>
                    <a:pt x="12" y="31"/>
                    <a:pt x="12" y="31"/>
                    <a:pt x="12" y="31"/>
                  </a:cubicBezTo>
                  <a:cubicBezTo>
                    <a:pt x="12" y="32"/>
                    <a:pt x="11" y="33"/>
                    <a:pt x="11" y="33"/>
                  </a:cubicBezTo>
                  <a:moveTo>
                    <a:pt x="22" y="34"/>
                  </a:moveTo>
                  <a:cubicBezTo>
                    <a:pt x="22" y="33"/>
                    <a:pt x="23" y="32"/>
                    <a:pt x="23" y="31"/>
                  </a:cubicBezTo>
                  <a:cubicBezTo>
                    <a:pt x="24" y="31"/>
                    <a:pt x="24" y="31"/>
                    <a:pt x="24" y="31"/>
                  </a:cubicBezTo>
                  <a:cubicBezTo>
                    <a:pt x="23" y="34"/>
                    <a:pt x="23" y="34"/>
                    <a:pt x="23" y="34"/>
                  </a:cubicBezTo>
                  <a:cubicBezTo>
                    <a:pt x="23" y="34"/>
                    <a:pt x="22" y="34"/>
                    <a:pt x="22" y="34"/>
                  </a:cubicBezTo>
                  <a:moveTo>
                    <a:pt x="8" y="34"/>
                  </a:moveTo>
                  <a:cubicBezTo>
                    <a:pt x="8" y="33"/>
                    <a:pt x="8" y="33"/>
                    <a:pt x="8" y="33"/>
                  </a:cubicBezTo>
                  <a:cubicBezTo>
                    <a:pt x="8" y="32"/>
                    <a:pt x="8" y="32"/>
                    <a:pt x="8" y="32"/>
                  </a:cubicBezTo>
                  <a:cubicBezTo>
                    <a:pt x="8" y="32"/>
                    <a:pt x="8" y="32"/>
                    <a:pt x="8" y="32"/>
                  </a:cubicBezTo>
                  <a:cubicBezTo>
                    <a:pt x="9" y="31"/>
                    <a:pt x="9" y="31"/>
                    <a:pt x="9" y="31"/>
                  </a:cubicBezTo>
                  <a:cubicBezTo>
                    <a:pt x="9" y="31"/>
                    <a:pt x="9" y="32"/>
                    <a:pt x="9" y="33"/>
                  </a:cubicBezTo>
                  <a:cubicBezTo>
                    <a:pt x="8" y="34"/>
                    <a:pt x="8" y="34"/>
                    <a:pt x="8" y="34"/>
                  </a:cubicBezTo>
                  <a:moveTo>
                    <a:pt x="10" y="33"/>
                  </a:moveTo>
                  <a:cubicBezTo>
                    <a:pt x="10" y="33"/>
                    <a:pt x="10" y="33"/>
                    <a:pt x="10" y="33"/>
                  </a:cubicBezTo>
                  <a:cubicBezTo>
                    <a:pt x="10" y="32"/>
                    <a:pt x="10" y="32"/>
                    <a:pt x="10" y="32"/>
                  </a:cubicBezTo>
                  <a:cubicBezTo>
                    <a:pt x="11" y="31"/>
                    <a:pt x="11" y="31"/>
                    <a:pt x="11" y="31"/>
                  </a:cubicBezTo>
                  <a:cubicBezTo>
                    <a:pt x="11" y="31"/>
                    <a:pt x="11" y="31"/>
                    <a:pt x="11" y="31"/>
                  </a:cubicBezTo>
                  <a:cubicBezTo>
                    <a:pt x="10" y="33"/>
                    <a:pt x="10" y="33"/>
                    <a:pt x="10" y="33"/>
                  </a:cubicBezTo>
                  <a:moveTo>
                    <a:pt x="5" y="32"/>
                  </a:moveTo>
                  <a:cubicBezTo>
                    <a:pt x="5" y="32"/>
                    <a:pt x="5" y="32"/>
                    <a:pt x="5" y="32"/>
                  </a:cubicBezTo>
                  <a:cubicBezTo>
                    <a:pt x="6" y="31"/>
                    <a:pt x="6" y="31"/>
                    <a:pt x="6" y="31"/>
                  </a:cubicBezTo>
                  <a:cubicBezTo>
                    <a:pt x="6" y="31"/>
                    <a:pt x="6" y="31"/>
                    <a:pt x="6" y="31"/>
                  </a:cubicBezTo>
                  <a:cubicBezTo>
                    <a:pt x="6" y="31"/>
                    <a:pt x="6" y="32"/>
                    <a:pt x="5" y="32"/>
                  </a:cubicBezTo>
                  <a:moveTo>
                    <a:pt x="26" y="32"/>
                  </a:moveTo>
                  <a:cubicBezTo>
                    <a:pt x="26" y="32"/>
                    <a:pt x="26" y="31"/>
                    <a:pt x="26" y="31"/>
                  </a:cubicBezTo>
                  <a:cubicBezTo>
                    <a:pt x="26" y="31"/>
                    <a:pt x="26" y="31"/>
                    <a:pt x="26" y="31"/>
                  </a:cubicBezTo>
                  <a:cubicBezTo>
                    <a:pt x="26" y="31"/>
                    <a:pt x="26" y="32"/>
                    <a:pt x="26" y="32"/>
                  </a:cubicBezTo>
                  <a:moveTo>
                    <a:pt x="24" y="33"/>
                  </a:moveTo>
                  <a:cubicBezTo>
                    <a:pt x="25" y="31"/>
                    <a:pt x="25" y="31"/>
                    <a:pt x="25" y="31"/>
                  </a:cubicBezTo>
                  <a:cubicBezTo>
                    <a:pt x="25" y="30"/>
                    <a:pt x="25" y="30"/>
                    <a:pt x="25" y="30"/>
                  </a:cubicBezTo>
                  <a:cubicBezTo>
                    <a:pt x="24" y="33"/>
                    <a:pt x="24" y="33"/>
                    <a:pt x="24" y="33"/>
                  </a:cubicBezTo>
                  <a:cubicBezTo>
                    <a:pt x="24" y="33"/>
                    <a:pt x="24" y="33"/>
                    <a:pt x="24" y="33"/>
                  </a:cubicBezTo>
                  <a:moveTo>
                    <a:pt x="10" y="31"/>
                  </a:moveTo>
                  <a:cubicBezTo>
                    <a:pt x="10" y="30"/>
                    <a:pt x="10" y="30"/>
                    <a:pt x="10" y="30"/>
                  </a:cubicBezTo>
                  <a:cubicBezTo>
                    <a:pt x="10" y="31"/>
                    <a:pt x="10" y="31"/>
                    <a:pt x="10" y="31"/>
                  </a:cubicBezTo>
                  <a:cubicBezTo>
                    <a:pt x="10" y="31"/>
                    <a:pt x="10" y="31"/>
                    <a:pt x="10" y="31"/>
                  </a:cubicBezTo>
                  <a:moveTo>
                    <a:pt x="5" y="32"/>
                  </a:moveTo>
                  <a:cubicBezTo>
                    <a:pt x="4" y="31"/>
                    <a:pt x="4" y="31"/>
                    <a:pt x="4" y="31"/>
                  </a:cubicBezTo>
                  <a:cubicBezTo>
                    <a:pt x="5" y="30"/>
                    <a:pt x="5" y="30"/>
                    <a:pt x="5" y="30"/>
                  </a:cubicBezTo>
                  <a:cubicBezTo>
                    <a:pt x="6" y="30"/>
                    <a:pt x="6" y="30"/>
                    <a:pt x="6" y="30"/>
                  </a:cubicBezTo>
                  <a:cubicBezTo>
                    <a:pt x="5" y="32"/>
                    <a:pt x="5" y="32"/>
                    <a:pt x="5" y="32"/>
                  </a:cubicBezTo>
                  <a:moveTo>
                    <a:pt x="29" y="33"/>
                  </a:moveTo>
                  <a:cubicBezTo>
                    <a:pt x="29" y="31"/>
                    <a:pt x="29" y="31"/>
                    <a:pt x="29" y="31"/>
                  </a:cubicBezTo>
                  <a:cubicBezTo>
                    <a:pt x="30" y="30"/>
                    <a:pt x="30" y="30"/>
                    <a:pt x="30" y="30"/>
                  </a:cubicBezTo>
                  <a:cubicBezTo>
                    <a:pt x="30" y="31"/>
                    <a:pt x="30" y="32"/>
                    <a:pt x="29" y="32"/>
                  </a:cubicBezTo>
                  <a:cubicBezTo>
                    <a:pt x="29" y="33"/>
                    <a:pt x="29" y="33"/>
                    <a:pt x="29" y="33"/>
                  </a:cubicBezTo>
                  <a:moveTo>
                    <a:pt x="4" y="31"/>
                  </a:moveTo>
                  <a:cubicBezTo>
                    <a:pt x="4" y="31"/>
                    <a:pt x="4" y="31"/>
                    <a:pt x="4" y="31"/>
                  </a:cubicBezTo>
                  <a:cubicBezTo>
                    <a:pt x="5" y="29"/>
                    <a:pt x="5" y="29"/>
                    <a:pt x="5" y="29"/>
                  </a:cubicBezTo>
                  <a:cubicBezTo>
                    <a:pt x="5" y="30"/>
                    <a:pt x="5" y="30"/>
                    <a:pt x="5" y="30"/>
                  </a:cubicBezTo>
                  <a:cubicBezTo>
                    <a:pt x="4" y="31"/>
                    <a:pt x="4" y="31"/>
                    <a:pt x="4" y="31"/>
                  </a:cubicBezTo>
                  <a:moveTo>
                    <a:pt x="30" y="32"/>
                  </a:moveTo>
                  <a:cubicBezTo>
                    <a:pt x="30" y="31"/>
                    <a:pt x="31" y="30"/>
                    <a:pt x="31" y="29"/>
                  </a:cubicBezTo>
                  <a:cubicBezTo>
                    <a:pt x="31" y="29"/>
                    <a:pt x="31" y="29"/>
                    <a:pt x="31" y="29"/>
                  </a:cubicBezTo>
                  <a:cubicBezTo>
                    <a:pt x="31" y="30"/>
                    <a:pt x="31" y="30"/>
                    <a:pt x="31" y="31"/>
                  </a:cubicBezTo>
                  <a:cubicBezTo>
                    <a:pt x="30" y="32"/>
                    <a:pt x="30" y="32"/>
                    <a:pt x="30" y="32"/>
                  </a:cubicBezTo>
                  <a:moveTo>
                    <a:pt x="4" y="30"/>
                  </a:moveTo>
                  <a:cubicBezTo>
                    <a:pt x="4" y="30"/>
                    <a:pt x="4" y="29"/>
                    <a:pt x="4" y="29"/>
                  </a:cubicBezTo>
                  <a:cubicBezTo>
                    <a:pt x="4" y="29"/>
                    <a:pt x="4" y="29"/>
                    <a:pt x="4" y="29"/>
                  </a:cubicBezTo>
                  <a:cubicBezTo>
                    <a:pt x="4" y="30"/>
                    <a:pt x="4" y="30"/>
                    <a:pt x="4" y="30"/>
                  </a:cubicBezTo>
                  <a:moveTo>
                    <a:pt x="5" y="26"/>
                  </a:moveTo>
                  <a:cubicBezTo>
                    <a:pt x="5" y="25"/>
                    <a:pt x="5" y="25"/>
                    <a:pt x="5" y="25"/>
                  </a:cubicBezTo>
                  <a:cubicBezTo>
                    <a:pt x="5" y="26"/>
                    <a:pt x="5" y="26"/>
                    <a:pt x="5" y="26"/>
                  </a:cubicBezTo>
                  <a:cubicBezTo>
                    <a:pt x="5" y="26"/>
                    <a:pt x="5" y="26"/>
                    <a:pt x="5" y="26"/>
                  </a:cubicBezTo>
                  <a:moveTo>
                    <a:pt x="4" y="26"/>
                  </a:moveTo>
                  <a:cubicBezTo>
                    <a:pt x="4" y="25"/>
                    <a:pt x="4" y="25"/>
                    <a:pt x="4" y="25"/>
                  </a:cubicBezTo>
                  <a:cubicBezTo>
                    <a:pt x="4" y="24"/>
                    <a:pt x="4" y="24"/>
                    <a:pt x="4" y="24"/>
                  </a:cubicBezTo>
                  <a:cubicBezTo>
                    <a:pt x="5" y="25"/>
                    <a:pt x="5" y="25"/>
                    <a:pt x="5" y="25"/>
                  </a:cubicBezTo>
                  <a:cubicBezTo>
                    <a:pt x="4" y="26"/>
                    <a:pt x="4" y="26"/>
                    <a:pt x="4" y="26"/>
                  </a:cubicBezTo>
                  <a:moveTo>
                    <a:pt x="30" y="26"/>
                  </a:moveTo>
                  <a:cubicBezTo>
                    <a:pt x="30" y="26"/>
                    <a:pt x="30" y="26"/>
                    <a:pt x="30" y="26"/>
                  </a:cubicBezTo>
                  <a:cubicBezTo>
                    <a:pt x="31" y="25"/>
                    <a:pt x="31" y="24"/>
                    <a:pt x="31" y="23"/>
                  </a:cubicBezTo>
                  <a:cubicBezTo>
                    <a:pt x="31" y="23"/>
                    <a:pt x="31" y="23"/>
                    <a:pt x="31" y="23"/>
                  </a:cubicBezTo>
                  <a:cubicBezTo>
                    <a:pt x="31" y="23"/>
                    <a:pt x="31" y="24"/>
                    <a:pt x="31" y="24"/>
                  </a:cubicBezTo>
                  <a:cubicBezTo>
                    <a:pt x="31" y="24"/>
                    <a:pt x="31" y="24"/>
                    <a:pt x="31" y="24"/>
                  </a:cubicBezTo>
                  <a:cubicBezTo>
                    <a:pt x="31" y="25"/>
                    <a:pt x="31" y="25"/>
                    <a:pt x="31" y="25"/>
                  </a:cubicBezTo>
                  <a:cubicBezTo>
                    <a:pt x="31" y="25"/>
                    <a:pt x="31" y="25"/>
                    <a:pt x="30" y="26"/>
                  </a:cubicBezTo>
                  <a:moveTo>
                    <a:pt x="4" y="24"/>
                  </a:moveTo>
                  <a:cubicBezTo>
                    <a:pt x="4" y="24"/>
                    <a:pt x="4" y="24"/>
                    <a:pt x="4" y="24"/>
                  </a:cubicBezTo>
                  <a:cubicBezTo>
                    <a:pt x="4" y="24"/>
                    <a:pt x="4" y="24"/>
                    <a:pt x="4" y="24"/>
                  </a:cubicBezTo>
                  <a:cubicBezTo>
                    <a:pt x="4" y="23"/>
                    <a:pt x="4" y="23"/>
                    <a:pt x="4" y="23"/>
                  </a:cubicBezTo>
                  <a:cubicBezTo>
                    <a:pt x="4" y="23"/>
                    <a:pt x="4" y="23"/>
                    <a:pt x="4" y="23"/>
                  </a:cubicBezTo>
                  <a:cubicBezTo>
                    <a:pt x="4" y="24"/>
                    <a:pt x="4" y="24"/>
                    <a:pt x="4" y="24"/>
                  </a:cubicBezTo>
                  <a:moveTo>
                    <a:pt x="32" y="22"/>
                  </a:moveTo>
                  <a:cubicBezTo>
                    <a:pt x="32" y="21"/>
                    <a:pt x="32" y="21"/>
                    <a:pt x="32" y="21"/>
                  </a:cubicBezTo>
                  <a:cubicBezTo>
                    <a:pt x="32" y="21"/>
                    <a:pt x="32" y="21"/>
                    <a:pt x="32" y="21"/>
                  </a:cubicBezTo>
                  <a:cubicBezTo>
                    <a:pt x="32" y="22"/>
                    <a:pt x="32" y="22"/>
                    <a:pt x="32" y="22"/>
                  </a:cubicBezTo>
                  <a:moveTo>
                    <a:pt x="2" y="23"/>
                  </a:moveTo>
                  <a:cubicBezTo>
                    <a:pt x="2" y="23"/>
                    <a:pt x="3" y="22"/>
                    <a:pt x="3" y="21"/>
                  </a:cubicBezTo>
                  <a:cubicBezTo>
                    <a:pt x="3" y="21"/>
                    <a:pt x="3" y="22"/>
                    <a:pt x="3" y="22"/>
                  </a:cubicBezTo>
                  <a:cubicBezTo>
                    <a:pt x="3" y="23"/>
                    <a:pt x="3" y="23"/>
                    <a:pt x="3" y="23"/>
                  </a:cubicBezTo>
                  <a:cubicBezTo>
                    <a:pt x="2" y="23"/>
                    <a:pt x="2" y="23"/>
                    <a:pt x="2" y="23"/>
                  </a:cubicBezTo>
                  <a:moveTo>
                    <a:pt x="32" y="23"/>
                  </a:moveTo>
                  <a:cubicBezTo>
                    <a:pt x="32" y="23"/>
                    <a:pt x="32" y="23"/>
                    <a:pt x="32" y="23"/>
                  </a:cubicBezTo>
                  <a:cubicBezTo>
                    <a:pt x="32" y="23"/>
                    <a:pt x="32" y="23"/>
                    <a:pt x="32" y="23"/>
                  </a:cubicBezTo>
                  <a:cubicBezTo>
                    <a:pt x="32" y="22"/>
                    <a:pt x="33" y="22"/>
                    <a:pt x="33" y="21"/>
                  </a:cubicBezTo>
                  <a:cubicBezTo>
                    <a:pt x="33" y="21"/>
                    <a:pt x="33" y="21"/>
                    <a:pt x="33" y="21"/>
                  </a:cubicBezTo>
                  <a:cubicBezTo>
                    <a:pt x="33" y="22"/>
                    <a:pt x="33" y="23"/>
                    <a:pt x="33" y="23"/>
                  </a:cubicBezTo>
                  <a:cubicBezTo>
                    <a:pt x="33" y="23"/>
                    <a:pt x="33" y="23"/>
                    <a:pt x="33" y="23"/>
                  </a:cubicBezTo>
                  <a:cubicBezTo>
                    <a:pt x="32" y="23"/>
                    <a:pt x="32" y="23"/>
                    <a:pt x="32" y="23"/>
                  </a:cubicBezTo>
                  <a:moveTo>
                    <a:pt x="33" y="23"/>
                  </a:moveTo>
                  <a:cubicBezTo>
                    <a:pt x="33" y="23"/>
                    <a:pt x="34" y="22"/>
                    <a:pt x="34" y="21"/>
                  </a:cubicBezTo>
                  <a:cubicBezTo>
                    <a:pt x="34" y="21"/>
                    <a:pt x="34" y="21"/>
                    <a:pt x="34" y="21"/>
                  </a:cubicBezTo>
                  <a:cubicBezTo>
                    <a:pt x="34" y="22"/>
                    <a:pt x="34" y="23"/>
                    <a:pt x="34" y="23"/>
                  </a:cubicBezTo>
                  <a:cubicBezTo>
                    <a:pt x="34" y="23"/>
                    <a:pt x="34" y="23"/>
                    <a:pt x="33" y="23"/>
                  </a:cubicBezTo>
                  <a:cubicBezTo>
                    <a:pt x="33" y="23"/>
                    <a:pt x="33" y="23"/>
                    <a:pt x="33" y="23"/>
                  </a:cubicBezTo>
                  <a:moveTo>
                    <a:pt x="1" y="23"/>
                  </a:moveTo>
                  <a:cubicBezTo>
                    <a:pt x="1" y="23"/>
                    <a:pt x="1" y="23"/>
                    <a:pt x="1" y="23"/>
                  </a:cubicBezTo>
                  <a:cubicBezTo>
                    <a:pt x="2" y="21"/>
                    <a:pt x="2" y="21"/>
                    <a:pt x="2" y="21"/>
                  </a:cubicBezTo>
                  <a:cubicBezTo>
                    <a:pt x="3" y="21"/>
                    <a:pt x="3" y="21"/>
                    <a:pt x="3" y="21"/>
                  </a:cubicBezTo>
                  <a:cubicBezTo>
                    <a:pt x="2" y="22"/>
                    <a:pt x="2" y="23"/>
                    <a:pt x="2" y="23"/>
                  </a:cubicBezTo>
                  <a:cubicBezTo>
                    <a:pt x="1" y="23"/>
                    <a:pt x="1" y="23"/>
                    <a:pt x="1" y="23"/>
                  </a:cubicBezTo>
                  <a:moveTo>
                    <a:pt x="1" y="22"/>
                  </a:moveTo>
                  <a:cubicBezTo>
                    <a:pt x="1" y="22"/>
                    <a:pt x="1" y="21"/>
                    <a:pt x="1" y="21"/>
                  </a:cubicBezTo>
                  <a:cubicBezTo>
                    <a:pt x="1" y="21"/>
                    <a:pt x="1" y="21"/>
                    <a:pt x="1" y="21"/>
                  </a:cubicBezTo>
                  <a:cubicBezTo>
                    <a:pt x="1" y="21"/>
                    <a:pt x="1" y="21"/>
                    <a:pt x="1" y="21"/>
                  </a:cubicBezTo>
                  <a:cubicBezTo>
                    <a:pt x="1" y="22"/>
                    <a:pt x="1" y="22"/>
                    <a:pt x="1" y="22"/>
                  </a:cubicBezTo>
                  <a:moveTo>
                    <a:pt x="5" y="11"/>
                  </a:moveTo>
                  <a:cubicBezTo>
                    <a:pt x="4" y="11"/>
                    <a:pt x="4" y="11"/>
                    <a:pt x="4" y="11"/>
                  </a:cubicBezTo>
                  <a:cubicBezTo>
                    <a:pt x="5" y="10"/>
                    <a:pt x="5" y="10"/>
                    <a:pt x="5" y="10"/>
                  </a:cubicBezTo>
                  <a:cubicBezTo>
                    <a:pt x="5" y="10"/>
                    <a:pt x="5" y="10"/>
                    <a:pt x="5" y="10"/>
                  </a:cubicBezTo>
                  <a:cubicBezTo>
                    <a:pt x="5" y="10"/>
                    <a:pt x="5" y="11"/>
                    <a:pt x="5" y="11"/>
                  </a:cubicBezTo>
                  <a:moveTo>
                    <a:pt x="4" y="11"/>
                  </a:moveTo>
                  <a:cubicBezTo>
                    <a:pt x="4" y="10"/>
                    <a:pt x="4" y="10"/>
                    <a:pt x="4" y="10"/>
                  </a:cubicBezTo>
                  <a:cubicBezTo>
                    <a:pt x="5" y="9"/>
                    <a:pt x="5" y="9"/>
                    <a:pt x="5" y="9"/>
                  </a:cubicBezTo>
                  <a:cubicBezTo>
                    <a:pt x="5" y="10"/>
                    <a:pt x="5" y="10"/>
                    <a:pt x="5" y="10"/>
                  </a:cubicBezTo>
                  <a:cubicBezTo>
                    <a:pt x="4" y="11"/>
                    <a:pt x="4" y="11"/>
                    <a:pt x="4" y="11"/>
                  </a:cubicBezTo>
                  <a:moveTo>
                    <a:pt x="31" y="11"/>
                  </a:moveTo>
                  <a:cubicBezTo>
                    <a:pt x="30" y="10"/>
                    <a:pt x="30" y="10"/>
                    <a:pt x="30" y="10"/>
                  </a:cubicBezTo>
                  <a:cubicBezTo>
                    <a:pt x="31" y="9"/>
                    <a:pt x="31" y="9"/>
                    <a:pt x="31" y="9"/>
                  </a:cubicBezTo>
                  <a:cubicBezTo>
                    <a:pt x="31" y="9"/>
                    <a:pt x="31" y="10"/>
                    <a:pt x="31" y="10"/>
                  </a:cubicBezTo>
                  <a:cubicBezTo>
                    <a:pt x="31" y="10"/>
                    <a:pt x="31" y="10"/>
                    <a:pt x="31" y="10"/>
                  </a:cubicBezTo>
                  <a:cubicBezTo>
                    <a:pt x="31" y="11"/>
                    <a:pt x="31" y="11"/>
                    <a:pt x="31" y="11"/>
                  </a:cubicBezTo>
                  <a:moveTo>
                    <a:pt x="4" y="9"/>
                  </a:moveTo>
                  <a:cubicBezTo>
                    <a:pt x="4" y="9"/>
                    <a:pt x="4" y="9"/>
                    <a:pt x="4" y="9"/>
                  </a:cubicBezTo>
                  <a:cubicBezTo>
                    <a:pt x="4" y="9"/>
                    <a:pt x="4" y="9"/>
                    <a:pt x="4" y="9"/>
                  </a:cubicBezTo>
                  <a:cubicBezTo>
                    <a:pt x="4" y="9"/>
                    <a:pt x="4" y="9"/>
                    <a:pt x="4" y="9"/>
                  </a:cubicBezTo>
                  <a:cubicBezTo>
                    <a:pt x="4" y="9"/>
                    <a:pt x="4" y="9"/>
                    <a:pt x="4" y="9"/>
                  </a:cubicBezTo>
                  <a:moveTo>
                    <a:pt x="10" y="6"/>
                  </a:moveTo>
                  <a:cubicBezTo>
                    <a:pt x="12" y="5"/>
                    <a:pt x="13" y="5"/>
                    <a:pt x="15" y="4"/>
                  </a:cubicBezTo>
                  <a:cubicBezTo>
                    <a:pt x="15" y="4"/>
                    <a:pt x="15" y="4"/>
                    <a:pt x="15" y="4"/>
                  </a:cubicBezTo>
                  <a:cubicBezTo>
                    <a:pt x="15" y="1"/>
                    <a:pt x="15" y="1"/>
                    <a:pt x="15" y="1"/>
                  </a:cubicBezTo>
                  <a:cubicBezTo>
                    <a:pt x="16" y="1"/>
                    <a:pt x="17" y="1"/>
                    <a:pt x="18" y="1"/>
                  </a:cubicBezTo>
                  <a:cubicBezTo>
                    <a:pt x="18" y="1"/>
                    <a:pt x="19" y="1"/>
                    <a:pt x="20" y="1"/>
                  </a:cubicBezTo>
                  <a:cubicBezTo>
                    <a:pt x="20" y="4"/>
                    <a:pt x="20" y="4"/>
                    <a:pt x="20" y="4"/>
                  </a:cubicBezTo>
                  <a:cubicBezTo>
                    <a:pt x="20" y="4"/>
                    <a:pt x="20" y="4"/>
                    <a:pt x="20" y="4"/>
                  </a:cubicBezTo>
                  <a:cubicBezTo>
                    <a:pt x="22" y="5"/>
                    <a:pt x="24" y="5"/>
                    <a:pt x="25" y="6"/>
                  </a:cubicBezTo>
                  <a:cubicBezTo>
                    <a:pt x="26" y="6"/>
                    <a:pt x="26" y="6"/>
                    <a:pt x="26" y="6"/>
                  </a:cubicBezTo>
                  <a:cubicBezTo>
                    <a:pt x="28" y="4"/>
                    <a:pt x="28" y="4"/>
                    <a:pt x="28" y="4"/>
                  </a:cubicBezTo>
                  <a:cubicBezTo>
                    <a:pt x="28" y="5"/>
                    <a:pt x="30" y="7"/>
                    <a:pt x="30" y="7"/>
                  </a:cubicBezTo>
                  <a:cubicBezTo>
                    <a:pt x="31" y="8"/>
                    <a:pt x="31" y="8"/>
                    <a:pt x="31" y="8"/>
                  </a:cubicBezTo>
                  <a:cubicBezTo>
                    <a:pt x="31" y="8"/>
                    <a:pt x="31" y="8"/>
                    <a:pt x="31" y="8"/>
                  </a:cubicBezTo>
                  <a:cubicBezTo>
                    <a:pt x="29" y="10"/>
                    <a:pt x="29" y="10"/>
                    <a:pt x="29" y="10"/>
                  </a:cubicBezTo>
                  <a:cubicBezTo>
                    <a:pt x="29" y="10"/>
                    <a:pt x="29" y="10"/>
                    <a:pt x="29" y="10"/>
                  </a:cubicBezTo>
                  <a:cubicBezTo>
                    <a:pt x="30" y="12"/>
                    <a:pt x="31" y="13"/>
                    <a:pt x="31" y="15"/>
                  </a:cubicBezTo>
                  <a:cubicBezTo>
                    <a:pt x="32" y="15"/>
                    <a:pt x="32" y="15"/>
                    <a:pt x="32" y="15"/>
                  </a:cubicBezTo>
                  <a:cubicBezTo>
                    <a:pt x="34" y="15"/>
                    <a:pt x="34" y="15"/>
                    <a:pt x="34" y="15"/>
                  </a:cubicBezTo>
                  <a:cubicBezTo>
                    <a:pt x="34" y="17"/>
                    <a:pt x="34" y="19"/>
                    <a:pt x="34" y="20"/>
                  </a:cubicBezTo>
                  <a:cubicBezTo>
                    <a:pt x="34" y="20"/>
                    <a:pt x="34" y="20"/>
                    <a:pt x="34" y="20"/>
                  </a:cubicBezTo>
                  <a:cubicBezTo>
                    <a:pt x="31" y="20"/>
                    <a:pt x="31" y="21"/>
                    <a:pt x="30" y="23"/>
                  </a:cubicBezTo>
                  <a:cubicBezTo>
                    <a:pt x="30" y="24"/>
                    <a:pt x="30" y="24"/>
                    <a:pt x="29" y="25"/>
                  </a:cubicBezTo>
                  <a:cubicBezTo>
                    <a:pt x="29" y="26"/>
                    <a:pt x="29" y="26"/>
                    <a:pt x="29" y="26"/>
                  </a:cubicBezTo>
                  <a:cubicBezTo>
                    <a:pt x="31" y="28"/>
                    <a:pt x="31" y="28"/>
                    <a:pt x="31" y="28"/>
                  </a:cubicBezTo>
                  <a:cubicBezTo>
                    <a:pt x="30" y="29"/>
                    <a:pt x="29" y="30"/>
                    <a:pt x="28" y="31"/>
                  </a:cubicBezTo>
                  <a:cubicBezTo>
                    <a:pt x="26" y="29"/>
                    <a:pt x="26" y="29"/>
                    <a:pt x="26" y="29"/>
                  </a:cubicBezTo>
                  <a:cubicBezTo>
                    <a:pt x="25" y="29"/>
                    <a:pt x="25" y="29"/>
                    <a:pt x="25" y="29"/>
                  </a:cubicBezTo>
                  <a:cubicBezTo>
                    <a:pt x="24" y="30"/>
                    <a:pt x="22" y="31"/>
                    <a:pt x="20" y="31"/>
                  </a:cubicBezTo>
                  <a:cubicBezTo>
                    <a:pt x="20" y="32"/>
                    <a:pt x="20" y="32"/>
                    <a:pt x="20" y="32"/>
                  </a:cubicBezTo>
                  <a:cubicBezTo>
                    <a:pt x="20" y="34"/>
                    <a:pt x="20" y="34"/>
                    <a:pt x="20" y="34"/>
                  </a:cubicBezTo>
                  <a:cubicBezTo>
                    <a:pt x="19" y="34"/>
                    <a:pt x="18" y="34"/>
                    <a:pt x="18" y="34"/>
                  </a:cubicBezTo>
                  <a:cubicBezTo>
                    <a:pt x="17" y="34"/>
                    <a:pt x="16" y="34"/>
                    <a:pt x="15" y="34"/>
                  </a:cubicBezTo>
                  <a:cubicBezTo>
                    <a:pt x="15" y="32"/>
                    <a:pt x="15" y="32"/>
                    <a:pt x="15" y="32"/>
                  </a:cubicBezTo>
                  <a:cubicBezTo>
                    <a:pt x="15" y="31"/>
                    <a:pt x="15" y="31"/>
                    <a:pt x="15" y="31"/>
                  </a:cubicBezTo>
                  <a:cubicBezTo>
                    <a:pt x="13" y="31"/>
                    <a:pt x="12" y="30"/>
                    <a:pt x="10" y="29"/>
                  </a:cubicBezTo>
                  <a:cubicBezTo>
                    <a:pt x="9" y="29"/>
                    <a:pt x="9" y="29"/>
                    <a:pt x="9" y="29"/>
                  </a:cubicBezTo>
                  <a:cubicBezTo>
                    <a:pt x="8" y="31"/>
                    <a:pt x="8" y="31"/>
                    <a:pt x="8" y="31"/>
                  </a:cubicBezTo>
                  <a:cubicBezTo>
                    <a:pt x="8" y="31"/>
                    <a:pt x="8" y="31"/>
                    <a:pt x="8" y="31"/>
                  </a:cubicBezTo>
                  <a:cubicBezTo>
                    <a:pt x="8" y="31"/>
                    <a:pt x="8" y="31"/>
                    <a:pt x="8" y="31"/>
                  </a:cubicBezTo>
                  <a:cubicBezTo>
                    <a:pt x="6" y="30"/>
                    <a:pt x="5" y="29"/>
                    <a:pt x="4" y="28"/>
                  </a:cubicBezTo>
                  <a:cubicBezTo>
                    <a:pt x="6" y="26"/>
                    <a:pt x="6" y="26"/>
                    <a:pt x="6" y="26"/>
                  </a:cubicBezTo>
                  <a:cubicBezTo>
                    <a:pt x="6" y="25"/>
                    <a:pt x="6" y="25"/>
                    <a:pt x="6" y="25"/>
                  </a:cubicBezTo>
                  <a:cubicBezTo>
                    <a:pt x="5" y="24"/>
                    <a:pt x="4" y="22"/>
                    <a:pt x="4" y="20"/>
                  </a:cubicBezTo>
                  <a:cubicBezTo>
                    <a:pt x="4" y="20"/>
                    <a:pt x="4" y="20"/>
                    <a:pt x="4" y="20"/>
                  </a:cubicBezTo>
                  <a:cubicBezTo>
                    <a:pt x="1" y="20"/>
                    <a:pt x="1" y="20"/>
                    <a:pt x="1" y="20"/>
                  </a:cubicBezTo>
                  <a:cubicBezTo>
                    <a:pt x="1" y="19"/>
                    <a:pt x="1" y="17"/>
                    <a:pt x="1" y="15"/>
                  </a:cubicBezTo>
                  <a:cubicBezTo>
                    <a:pt x="4" y="15"/>
                    <a:pt x="4" y="15"/>
                    <a:pt x="4" y="15"/>
                  </a:cubicBezTo>
                  <a:cubicBezTo>
                    <a:pt x="4" y="15"/>
                    <a:pt x="4" y="15"/>
                    <a:pt x="4" y="15"/>
                  </a:cubicBezTo>
                  <a:cubicBezTo>
                    <a:pt x="4" y="13"/>
                    <a:pt x="5" y="12"/>
                    <a:pt x="6" y="10"/>
                  </a:cubicBezTo>
                  <a:cubicBezTo>
                    <a:pt x="6" y="10"/>
                    <a:pt x="6" y="10"/>
                    <a:pt x="6" y="10"/>
                  </a:cubicBezTo>
                  <a:cubicBezTo>
                    <a:pt x="4" y="8"/>
                    <a:pt x="4" y="8"/>
                    <a:pt x="4" y="8"/>
                  </a:cubicBezTo>
                  <a:cubicBezTo>
                    <a:pt x="5" y="6"/>
                    <a:pt x="6" y="5"/>
                    <a:pt x="8" y="4"/>
                  </a:cubicBezTo>
                  <a:cubicBezTo>
                    <a:pt x="10" y="6"/>
                    <a:pt x="10" y="6"/>
                    <a:pt x="10" y="6"/>
                  </a:cubicBezTo>
                  <a:cubicBezTo>
                    <a:pt x="10" y="6"/>
                    <a:pt x="10" y="6"/>
                    <a:pt x="10" y="6"/>
                  </a:cubicBezTo>
                  <a:moveTo>
                    <a:pt x="18" y="0"/>
                  </a:moveTo>
                  <a:cubicBezTo>
                    <a:pt x="17" y="0"/>
                    <a:pt x="16" y="0"/>
                    <a:pt x="15" y="1"/>
                  </a:cubicBezTo>
                  <a:cubicBezTo>
                    <a:pt x="14" y="1"/>
                    <a:pt x="14" y="1"/>
                    <a:pt x="14" y="1"/>
                  </a:cubicBezTo>
                  <a:cubicBezTo>
                    <a:pt x="14" y="3"/>
                    <a:pt x="14" y="3"/>
                    <a:pt x="14" y="3"/>
                  </a:cubicBezTo>
                  <a:cubicBezTo>
                    <a:pt x="13" y="4"/>
                    <a:pt x="11" y="4"/>
                    <a:pt x="10" y="5"/>
                  </a:cubicBezTo>
                  <a:cubicBezTo>
                    <a:pt x="8" y="4"/>
                    <a:pt x="8" y="4"/>
                    <a:pt x="8" y="4"/>
                  </a:cubicBezTo>
                  <a:cubicBezTo>
                    <a:pt x="8" y="4"/>
                    <a:pt x="8" y="4"/>
                    <a:pt x="8" y="4"/>
                  </a:cubicBezTo>
                  <a:cubicBezTo>
                    <a:pt x="6" y="5"/>
                    <a:pt x="5" y="6"/>
                    <a:pt x="3" y="8"/>
                  </a:cubicBezTo>
                  <a:cubicBezTo>
                    <a:pt x="4" y="8"/>
                    <a:pt x="4" y="8"/>
                    <a:pt x="4" y="8"/>
                  </a:cubicBezTo>
                  <a:cubicBezTo>
                    <a:pt x="3" y="8"/>
                    <a:pt x="3" y="8"/>
                    <a:pt x="3" y="8"/>
                  </a:cubicBezTo>
                  <a:cubicBezTo>
                    <a:pt x="3" y="9"/>
                    <a:pt x="3" y="9"/>
                    <a:pt x="3" y="9"/>
                  </a:cubicBezTo>
                  <a:cubicBezTo>
                    <a:pt x="3" y="9"/>
                    <a:pt x="3" y="10"/>
                    <a:pt x="3" y="10"/>
                  </a:cubicBezTo>
                  <a:cubicBezTo>
                    <a:pt x="3" y="10"/>
                    <a:pt x="3" y="10"/>
                    <a:pt x="3" y="10"/>
                  </a:cubicBezTo>
                  <a:cubicBezTo>
                    <a:pt x="3" y="11"/>
                    <a:pt x="3" y="11"/>
                    <a:pt x="3" y="11"/>
                  </a:cubicBezTo>
                  <a:cubicBezTo>
                    <a:pt x="3" y="11"/>
                    <a:pt x="3" y="11"/>
                    <a:pt x="3" y="11"/>
                  </a:cubicBezTo>
                  <a:cubicBezTo>
                    <a:pt x="3" y="11"/>
                    <a:pt x="3" y="11"/>
                    <a:pt x="3" y="11"/>
                  </a:cubicBezTo>
                  <a:cubicBezTo>
                    <a:pt x="3" y="11"/>
                    <a:pt x="3" y="11"/>
                    <a:pt x="3" y="11"/>
                  </a:cubicBezTo>
                  <a:cubicBezTo>
                    <a:pt x="4" y="12"/>
                    <a:pt x="4" y="12"/>
                    <a:pt x="4" y="12"/>
                  </a:cubicBezTo>
                  <a:cubicBezTo>
                    <a:pt x="4" y="13"/>
                    <a:pt x="4" y="14"/>
                    <a:pt x="3" y="15"/>
                  </a:cubicBezTo>
                  <a:cubicBezTo>
                    <a:pt x="1" y="15"/>
                    <a:pt x="1" y="15"/>
                    <a:pt x="1" y="15"/>
                  </a:cubicBezTo>
                  <a:cubicBezTo>
                    <a:pt x="0" y="15"/>
                    <a:pt x="0" y="15"/>
                    <a:pt x="0" y="15"/>
                  </a:cubicBezTo>
                  <a:cubicBezTo>
                    <a:pt x="0" y="15"/>
                    <a:pt x="0" y="15"/>
                    <a:pt x="0" y="15"/>
                  </a:cubicBezTo>
                  <a:cubicBezTo>
                    <a:pt x="0" y="16"/>
                    <a:pt x="0" y="16"/>
                    <a:pt x="0" y="16"/>
                  </a:cubicBezTo>
                  <a:cubicBezTo>
                    <a:pt x="0" y="17"/>
                    <a:pt x="0" y="22"/>
                    <a:pt x="0" y="24"/>
                  </a:cubicBezTo>
                  <a:cubicBezTo>
                    <a:pt x="0" y="24"/>
                    <a:pt x="0" y="24"/>
                    <a:pt x="0" y="24"/>
                  </a:cubicBezTo>
                  <a:cubicBezTo>
                    <a:pt x="0" y="24"/>
                    <a:pt x="0" y="24"/>
                    <a:pt x="0" y="24"/>
                  </a:cubicBezTo>
                  <a:cubicBezTo>
                    <a:pt x="0" y="24"/>
                    <a:pt x="0" y="24"/>
                    <a:pt x="0" y="24"/>
                  </a:cubicBezTo>
                  <a:cubicBezTo>
                    <a:pt x="0" y="24"/>
                    <a:pt x="0" y="24"/>
                    <a:pt x="0" y="24"/>
                  </a:cubicBezTo>
                  <a:cubicBezTo>
                    <a:pt x="0" y="24"/>
                    <a:pt x="0" y="24"/>
                    <a:pt x="0" y="24"/>
                  </a:cubicBezTo>
                  <a:cubicBezTo>
                    <a:pt x="3" y="24"/>
                    <a:pt x="3" y="24"/>
                    <a:pt x="3" y="24"/>
                  </a:cubicBezTo>
                  <a:cubicBezTo>
                    <a:pt x="3" y="25"/>
                    <a:pt x="3" y="25"/>
                    <a:pt x="4" y="26"/>
                  </a:cubicBezTo>
                  <a:cubicBezTo>
                    <a:pt x="4" y="26"/>
                    <a:pt x="4" y="26"/>
                    <a:pt x="4" y="26"/>
                  </a:cubicBezTo>
                  <a:cubicBezTo>
                    <a:pt x="4" y="26"/>
                    <a:pt x="4" y="26"/>
                    <a:pt x="4" y="26"/>
                  </a:cubicBezTo>
                  <a:cubicBezTo>
                    <a:pt x="4" y="27"/>
                    <a:pt x="4" y="27"/>
                    <a:pt x="4" y="27"/>
                  </a:cubicBezTo>
                  <a:cubicBezTo>
                    <a:pt x="3" y="27"/>
                    <a:pt x="3" y="27"/>
                    <a:pt x="3" y="27"/>
                  </a:cubicBezTo>
                  <a:cubicBezTo>
                    <a:pt x="3" y="28"/>
                    <a:pt x="3" y="28"/>
                    <a:pt x="3" y="28"/>
                  </a:cubicBezTo>
                  <a:cubicBezTo>
                    <a:pt x="3" y="29"/>
                    <a:pt x="3" y="30"/>
                    <a:pt x="3" y="31"/>
                  </a:cubicBezTo>
                  <a:cubicBezTo>
                    <a:pt x="3" y="31"/>
                    <a:pt x="3" y="31"/>
                    <a:pt x="3" y="31"/>
                  </a:cubicBezTo>
                  <a:cubicBezTo>
                    <a:pt x="3" y="31"/>
                    <a:pt x="3" y="31"/>
                    <a:pt x="3" y="31"/>
                  </a:cubicBezTo>
                  <a:cubicBezTo>
                    <a:pt x="4" y="33"/>
                    <a:pt x="6" y="34"/>
                    <a:pt x="7" y="35"/>
                  </a:cubicBezTo>
                  <a:cubicBezTo>
                    <a:pt x="7" y="35"/>
                    <a:pt x="7" y="35"/>
                    <a:pt x="7" y="35"/>
                  </a:cubicBezTo>
                  <a:cubicBezTo>
                    <a:pt x="7" y="35"/>
                    <a:pt x="7" y="35"/>
                    <a:pt x="7" y="35"/>
                  </a:cubicBezTo>
                  <a:cubicBezTo>
                    <a:pt x="7" y="35"/>
                    <a:pt x="7" y="35"/>
                    <a:pt x="7" y="35"/>
                  </a:cubicBezTo>
                  <a:cubicBezTo>
                    <a:pt x="7" y="35"/>
                    <a:pt x="7" y="35"/>
                    <a:pt x="7" y="35"/>
                  </a:cubicBezTo>
                  <a:cubicBezTo>
                    <a:pt x="8" y="35"/>
                    <a:pt x="8" y="35"/>
                    <a:pt x="8" y="35"/>
                  </a:cubicBezTo>
                  <a:cubicBezTo>
                    <a:pt x="9" y="33"/>
                    <a:pt x="9" y="33"/>
                    <a:pt x="9" y="33"/>
                  </a:cubicBezTo>
                  <a:cubicBezTo>
                    <a:pt x="11" y="34"/>
                    <a:pt x="12" y="35"/>
                    <a:pt x="14" y="35"/>
                  </a:cubicBezTo>
                  <a:cubicBezTo>
                    <a:pt x="14" y="36"/>
                    <a:pt x="14" y="36"/>
                    <a:pt x="14" y="36"/>
                  </a:cubicBezTo>
                  <a:cubicBezTo>
                    <a:pt x="14" y="36"/>
                    <a:pt x="14" y="37"/>
                    <a:pt x="14" y="38"/>
                  </a:cubicBezTo>
                  <a:cubicBezTo>
                    <a:pt x="14" y="38"/>
                    <a:pt x="14" y="38"/>
                    <a:pt x="14" y="38"/>
                  </a:cubicBezTo>
                  <a:cubicBezTo>
                    <a:pt x="15" y="38"/>
                    <a:pt x="16" y="38"/>
                    <a:pt x="17" y="38"/>
                  </a:cubicBezTo>
                  <a:cubicBezTo>
                    <a:pt x="18" y="38"/>
                    <a:pt x="19" y="38"/>
                    <a:pt x="20" y="38"/>
                  </a:cubicBezTo>
                  <a:cubicBezTo>
                    <a:pt x="21" y="38"/>
                    <a:pt x="21" y="38"/>
                    <a:pt x="21" y="38"/>
                  </a:cubicBezTo>
                  <a:cubicBezTo>
                    <a:pt x="21" y="37"/>
                    <a:pt x="21" y="37"/>
                    <a:pt x="21" y="37"/>
                  </a:cubicBezTo>
                  <a:cubicBezTo>
                    <a:pt x="21" y="36"/>
                    <a:pt x="21" y="36"/>
                    <a:pt x="21" y="35"/>
                  </a:cubicBezTo>
                  <a:cubicBezTo>
                    <a:pt x="23" y="35"/>
                    <a:pt x="24" y="34"/>
                    <a:pt x="25" y="33"/>
                  </a:cubicBezTo>
                  <a:cubicBezTo>
                    <a:pt x="27" y="35"/>
                    <a:pt x="27" y="35"/>
                    <a:pt x="27" y="35"/>
                  </a:cubicBezTo>
                  <a:cubicBezTo>
                    <a:pt x="28" y="35"/>
                    <a:pt x="28" y="35"/>
                    <a:pt x="28" y="35"/>
                  </a:cubicBezTo>
                  <a:cubicBezTo>
                    <a:pt x="29" y="34"/>
                    <a:pt x="31" y="33"/>
                    <a:pt x="32" y="31"/>
                  </a:cubicBezTo>
                  <a:cubicBezTo>
                    <a:pt x="32" y="31"/>
                    <a:pt x="32" y="31"/>
                    <a:pt x="32" y="31"/>
                  </a:cubicBezTo>
                  <a:cubicBezTo>
                    <a:pt x="32" y="30"/>
                    <a:pt x="32" y="30"/>
                    <a:pt x="32" y="29"/>
                  </a:cubicBezTo>
                  <a:cubicBezTo>
                    <a:pt x="32" y="29"/>
                    <a:pt x="32" y="28"/>
                    <a:pt x="32" y="28"/>
                  </a:cubicBezTo>
                  <a:cubicBezTo>
                    <a:pt x="32" y="27"/>
                    <a:pt x="32" y="27"/>
                    <a:pt x="32" y="27"/>
                  </a:cubicBezTo>
                  <a:cubicBezTo>
                    <a:pt x="32" y="27"/>
                    <a:pt x="32" y="27"/>
                    <a:pt x="32" y="27"/>
                  </a:cubicBezTo>
                  <a:cubicBezTo>
                    <a:pt x="31" y="26"/>
                    <a:pt x="31" y="26"/>
                    <a:pt x="31" y="26"/>
                  </a:cubicBezTo>
                  <a:cubicBezTo>
                    <a:pt x="31" y="26"/>
                    <a:pt x="31" y="26"/>
                    <a:pt x="32" y="25"/>
                  </a:cubicBezTo>
                  <a:cubicBezTo>
                    <a:pt x="32" y="24"/>
                    <a:pt x="32" y="24"/>
                    <a:pt x="33" y="24"/>
                  </a:cubicBezTo>
                  <a:cubicBezTo>
                    <a:pt x="33" y="24"/>
                    <a:pt x="34" y="24"/>
                    <a:pt x="34" y="24"/>
                  </a:cubicBezTo>
                  <a:cubicBezTo>
                    <a:pt x="35" y="24"/>
                    <a:pt x="35" y="24"/>
                    <a:pt x="35" y="24"/>
                  </a:cubicBezTo>
                  <a:cubicBezTo>
                    <a:pt x="35" y="23"/>
                    <a:pt x="35" y="22"/>
                    <a:pt x="35" y="21"/>
                  </a:cubicBezTo>
                  <a:cubicBezTo>
                    <a:pt x="35" y="21"/>
                    <a:pt x="35" y="21"/>
                    <a:pt x="35" y="21"/>
                  </a:cubicBezTo>
                  <a:cubicBezTo>
                    <a:pt x="35" y="19"/>
                    <a:pt x="35" y="17"/>
                    <a:pt x="35" y="15"/>
                  </a:cubicBezTo>
                  <a:cubicBezTo>
                    <a:pt x="35" y="15"/>
                    <a:pt x="35" y="15"/>
                    <a:pt x="35" y="15"/>
                  </a:cubicBezTo>
                  <a:cubicBezTo>
                    <a:pt x="32" y="15"/>
                    <a:pt x="32" y="15"/>
                    <a:pt x="32" y="15"/>
                  </a:cubicBezTo>
                  <a:cubicBezTo>
                    <a:pt x="32" y="14"/>
                    <a:pt x="31" y="13"/>
                    <a:pt x="31" y="12"/>
                  </a:cubicBezTo>
                  <a:cubicBezTo>
                    <a:pt x="32" y="11"/>
                    <a:pt x="32" y="11"/>
                    <a:pt x="32" y="11"/>
                  </a:cubicBezTo>
                  <a:cubicBezTo>
                    <a:pt x="32" y="11"/>
                    <a:pt x="32" y="11"/>
                    <a:pt x="32" y="11"/>
                  </a:cubicBezTo>
                  <a:cubicBezTo>
                    <a:pt x="32" y="10"/>
                    <a:pt x="32" y="9"/>
                    <a:pt x="32" y="8"/>
                  </a:cubicBezTo>
                  <a:cubicBezTo>
                    <a:pt x="32" y="8"/>
                    <a:pt x="32" y="8"/>
                    <a:pt x="32" y="8"/>
                  </a:cubicBezTo>
                  <a:cubicBezTo>
                    <a:pt x="32" y="8"/>
                    <a:pt x="32" y="8"/>
                    <a:pt x="32" y="8"/>
                  </a:cubicBezTo>
                  <a:cubicBezTo>
                    <a:pt x="32" y="8"/>
                    <a:pt x="32" y="8"/>
                    <a:pt x="32" y="8"/>
                  </a:cubicBezTo>
                  <a:cubicBezTo>
                    <a:pt x="32" y="7"/>
                    <a:pt x="32" y="7"/>
                    <a:pt x="32" y="7"/>
                  </a:cubicBezTo>
                  <a:cubicBezTo>
                    <a:pt x="31" y="6"/>
                    <a:pt x="31" y="6"/>
                    <a:pt x="31" y="6"/>
                  </a:cubicBezTo>
                  <a:cubicBezTo>
                    <a:pt x="31" y="6"/>
                    <a:pt x="28" y="3"/>
                    <a:pt x="28" y="3"/>
                  </a:cubicBezTo>
                  <a:cubicBezTo>
                    <a:pt x="27" y="4"/>
                    <a:pt x="27" y="4"/>
                    <a:pt x="27" y="4"/>
                  </a:cubicBezTo>
                  <a:cubicBezTo>
                    <a:pt x="25" y="5"/>
                    <a:pt x="25" y="5"/>
                    <a:pt x="25" y="5"/>
                  </a:cubicBezTo>
                  <a:cubicBezTo>
                    <a:pt x="24" y="4"/>
                    <a:pt x="23" y="4"/>
                    <a:pt x="21" y="3"/>
                  </a:cubicBezTo>
                  <a:cubicBezTo>
                    <a:pt x="21" y="1"/>
                    <a:pt x="21" y="1"/>
                    <a:pt x="21" y="1"/>
                  </a:cubicBezTo>
                  <a:cubicBezTo>
                    <a:pt x="21" y="1"/>
                    <a:pt x="21" y="1"/>
                    <a:pt x="21" y="1"/>
                  </a:cubicBezTo>
                  <a:cubicBezTo>
                    <a:pt x="20" y="0"/>
                    <a:pt x="19" y="0"/>
                    <a:pt x="18"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88" name="îsľiďé"/>
            <p:cNvSpPr/>
            <p:nvPr/>
          </p:nvSpPr>
          <p:spPr bwMode="auto">
            <a:xfrm>
              <a:off x="3549" y="1934"/>
              <a:ext cx="59" cy="53"/>
            </a:xfrm>
            <a:custGeom>
              <a:avLst/>
              <a:gdLst>
                <a:gd name="T0" fmla="*/ 22 w 25"/>
                <a:gd name="T1" fmla="*/ 10 h 22"/>
                <a:gd name="T2" fmla="*/ 22 w 25"/>
                <a:gd name="T3" fmla="*/ 9 h 22"/>
                <a:gd name="T4" fmla="*/ 22 w 25"/>
                <a:gd name="T5" fmla="*/ 9 h 22"/>
                <a:gd name="T6" fmla="*/ 22 w 25"/>
                <a:gd name="T7" fmla="*/ 9 h 22"/>
                <a:gd name="T8" fmla="*/ 22 w 25"/>
                <a:gd name="T9" fmla="*/ 7 h 22"/>
                <a:gd name="T10" fmla="*/ 21 w 25"/>
                <a:gd name="T11" fmla="*/ 8 h 22"/>
                <a:gd name="T12" fmla="*/ 22 w 25"/>
                <a:gd name="T13" fmla="*/ 7 h 22"/>
                <a:gd name="T14" fmla="*/ 20 w 25"/>
                <a:gd name="T15" fmla="*/ 6 h 22"/>
                <a:gd name="T16" fmla="*/ 20 w 25"/>
                <a:gd name="T17" fmla="*/ 7 h 22"/>
                <a:gd name="T18" fmla="*/ 20 w 25"/>
                <a:gd name="T19" fmla="*/ 5 h 22"/>
                <a:gd name="T20" fmla="*/ 13 w 25"/>
                <a:gd name="T21" fmla="*/ 21 h 22"/>
                <a:gd name="T22" fmla="*/ 3 w 25"/>
                <a:gd name="T23" fmla="*/ 11 h 22"/>
                <a:gd name="T24" fmla="*/ 15 w 25"/>
                <a:gd name="T25" fmla="*/ 4 h 22"/>
                <a:gd name="T26" fmla="*/ 20 w 25"/>
                <a:gd name="T27" fmla="*/ 18 h 22"/>
                <a:gd name="T28" fmla="*/ 13 w 25"/>
                <a:gd name="T29" fmla="*/ 21 h 22"/>
                <a:gd name="T30" fmla="*/ 19 w 25"/>
                <a:gd name="T31" fmla="*/ 4 h 22"/>
                <a:gd name="T32" fmla="*/ 19 w 25"/>
                <a:gd name="T33" fmla="*/ 5 h 22"/>
                <a:gd name="T34" fmla="*/ 3 w 25"/>
                <a:gd name="T35" fmla="*/ 8 h 22"/>
                <a:gd name="T36" fmla="*/ 6 w 25"/>
                <a:gd name="T37" fmla="*/ 3 h 22"/>
                <a:gd name="T38" fmla="*/ 3 w 25"/>
                <a:gd name="T39" fmla="*/ 9 h 22"/>
                <a:gd name="T40" fmla="*/ 18 w 25"/>
                <a:gd name="T41" fmla="*/ 3 h 22"/>
                <a:gd name="T42" fmla="*/ 16 w 25"/>
                <a:gd name="T43" fmla="*/ 4 h 22"/>
                <a:gd name="T44" fmla="*/ 17 w 25"/>
                <a:gd name="T45" fmla="*/ 2 h 22"/>
                <a:gd name="T46" fmla="*/ 16 w 25"/>
                <a:gd name="T47" fmla="*/ 4 h 22"/>
                <a:gd name="T48" fmla="*/ 16 w 25"/>
                <a:gd name="T49" fmla="*/ 1 h 22"/>
                <a:gd name="T50" fmla="*/ 15 w 25"/>
                <a:gd name="T51" fmla="*/ 4 h 22"/>
                <a:gd name="T52" fmla="*/ 7 w 25"/>
                <a:gd name="T53" fmla="*/ 2 h 22"/>
                <a:gd name="T54" fmla="*/ 6 w 25"/>
                <a:gd name="T55" fmla="*/ 5 h 22"/>
                <a:gd name="T56" fmla="*/ 13 w 25"/>
                <a:gd name="T57" fmla="*/ 3 h 22"/>
                <a:gd name="T58" fmla="*/ 16 w 25"/>
                <a:gd name="T59" fmla="*/ 1 h 22"/>
                <a:gd name="T60" fmla="*/ 9 w 25"/>
                <a:gd name="T61" fmla="*/ 1 h 22"/>
                <a:gd name="T62" fmla="*/ 8 w 25"/>
                <a:gd name="T63" fmla="*/ 4 h 22"/>
                <a:gd name="T64" fmla="*/ 13 w 25"/>
                <a:gd name="T65" fmla="*/ 1 h 22"/>
                <a:gd name="T66" fmla="*/ 13 w 25"/>
                <a:gd name="T67" fmla="*/ 3 h 22"/>
                <a:gd name="T68" fmla="*/ 8 w 25"/>
                <a:gd name="T69" fmla="*/ 4 h 22"/>
                <a:gd name="T70" fmla="*/ 9 w 25"/>
                <a:gd name="T71" fmla="*/ 3 h 22"/>
                <a:gd name="T72" fmla="*/ 12 w 25"/>
                <a:gd name="T73" fmla="*/ 1 h 22"/>
                <a:gd name="T74" fmla="*/ 11 w 25"/>
                <a:gd name="T75" fmla="*/ 3 h 22"/>
                <a:gd name="T76" fmla="*/ 5 w 25"/>
                <a:gd name="T77" fmla="*/ 3 h 22"/>
                <a:gd name="T78" fmla="*/ 20 w 25"/>
                <a:gd name="T79" fmla="*/ 19 h 22"/>
                <a:gd name="T80" fmla="*/ 20 w 25"/>
                <a:gd name="T81" fmla="*/ 19 h 22"/>
                <a:gd name="T82" fmla="*/ 21 w 25"/>
                <a:gd name="T83" fmla="*/ 18 h 22"/>
                <a:gd name="T84" fmla="*/ 22 w 25"/>
                <a:gd name="T85"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22">
                  <a:moveTo>
                    <a:pt x="23" y="11"/>
                  </a:moveTo>
                  <a:cubicBezTo>
                    <a:pt x="23" y="11"/>
                    <a:pt x="22" y="10"/>
                    <a:pt x="22" y="10"/>
                  </a:cubicBezTo>
                  <a:cubicBezTo>
                    <a:pt x="22" y="10"/>
                    <a:pt x="22" y="10"/>
                    <a:pt x="22" y="10"/>
                  </a:cubicBezTo>
                  <a:cubicBezTo>
                    <a:pt x="23" y="9"/>
                    <a:pt x="23" y="9"/>
                    <a:pt x="23" y="9"/>
                  </a:cubicBezTo>
                  <a:cubicBezTo>
                    <a:pt x="23" y="10"/>
                    <a:pt x="23" y="11"/>
                    <a:pt x="23" y="11"/>
                  </a:cubicBezTo>
                  <a:moveTo>
                    <a:pt x="22" y="9"/>
                  </a:moveTo>
                  <a:cubicBezTo>
                    <a:pt x="22" y="9"/>
                    <a:pt x="22" y="9"/>
                    <a:pt x="22" y="9"/>
                  </a:cubicBezTo>
                  <a:cubicBezTo>
                    <a:pt x="22" y="8"/>
                    <a:pt x="22" y="8"/>
                    <a:pt x="22" y="8"/>
                  </a:cubicBezTo>
                  <a:cubicBezTo>
                    <a:pt x="22" y="9"/>
                    <a:pt x="22" y="9"/>
                    <a:pt x="22" y="9"/>
                  </a:cubicBezTo>
                  <a:cubicBezTo>
                    <a:pt x="22" y="9"/>
                    <a:pt x="22" y="9"/>
                    <a:pt x="22" y="9"/>
                  </a:cubicBezTo>
                  <a:cubicBezTo>
                    <a:pt x="22" y="9"/>
                    <a:pt x="22" y="9"/>
                    <a:pt x="22" y="9"/>
                  </a:cubicBezTo>
                  <a:cubicBezTo>
                    <a:pt x="22" y="9"/>
                    <a:pt x="22" y="9"/>
                    <a:pt x="22" y="9"/>
                  </a:cubicBezTo>
                  <a:moveTo>
                    <a:pt x="21" y="8"/>
                  </a:moveTo>
                  <a:cubicBezTo>
                    <a:pt x="21" y="8"/>
                    <a:pt x="21" y="8"/>
                    <a:pt x="21" y="8"/>
                  </a:cubicBezTo>
                  <a:cubicBezTo>
                    <a:pt x="22" y="7"/>
                    <a:pt x="22" y="7"/>
                    <a:pt x="22" y="7"/>
                  </a:cubicBezTo>
                  <a:cubicBezTo>
                    <a:pt x="22" y="8"/>
                    <a:pt x="22" y="8"/>
                    <a:pt x="22" y="8"/>
                  </a:cubicBezTo>
                  <a:cubicBezTo>
                    <a:pt x="21" y="8"/>
                    <a:pt x="21" y="8"/>
                    <a:pt x="21" y="8"/>
                  </a:cubicBezTo>
                  <a:moveTo>
                    <a:pt x="21" y="8"/>
                  </a:moveTo>
                  <a:cubicBezTo>
                    <a:pt x="20" y="7"/>
                    <a:pt x="20" y="7"/>
                    <a:pt x="20" y="7"/>
                  </a:cubicBezTo>
                  <a:cubicBezTo>
                    <a:pt x="21" y="6"/>
                    <a:pt x="21" y="6"/>
                    <a:pt x="21" y="6"/>
                  </a:cubicBezTo>
                  <a:cubicBezTo>
                    <a:pt x="22" y="7"/>
                    <a:pt x="22" y="7"/>
                    <a:pt x="22" y="7"/>
                  </a:cubicBezTo>
                  <a:cubicBezTo>
                    <a:pt x="21" y="8"/>
                    <a:pt x="21" y="8"/>
                    <a:pt x="21" y="8"/>
                  </a:cubicBezTo>
                  <a:moveTo>
                    <a:pt x="20" y="7"/>
                  </a:moveTo>
                  <a:cubicBezTo>
                    <a:pt x="20" y="6"/>
                    <a:pt x="20" y="6"/>
                    <a:pt x="20" y="6"/>
                  </a:cubicBezTo>
                  <a:cubicBezTo>
                    <a:pt x="20" y="6"/>
                    <a:pt x="21" y="6"/>
                    <a:pt x="21" y="6"/>
                  </a:cubicBezTo>
                  <a:cubicBezTo>
                    <a:pt x="21" y="6"/>
                    <a:pt x="21" y="6"/>
                    <a:pt x="21" y="6"/>
                  </a:cubicBezTo>
                  <a:cubicBezTo>
                    <a:pt x="21" y="6"/>
                    <a:pt x="20" y="6"/>
                    <a:pt x="20" y="7"/>
                  </a:cubicBezTo>
                  <a:moveTo>
                    <a:pt x="20" y="6"/>
                  </a:moveTo>
                  <a:cubicBezTo>
                    <a:pt x="19" y="6"/>
                    <a:pt x="19" y="6"/>
                    <a:pt x="19" y="6"/>
                  </a:cubicBezTo>
                  <a:cubicBezTo>
                    <a:pt x="20" y="5"/>
                    <a:pt x="20" y="5"/>
                    <a:pt x="20" y="5"/>
                  </a:cubicBezTo>
                  <a:cubicBezTo>
                    <a:pt x="21" y="5"/>
                    <a:pt x="21" y="5"/>
                    <a:pt x="21" y="5"/>
                  </a:cubicBezTo>
                  <a:cubicBezTo>
                    <a:pt x="20" y="5"/>
                    <a:pt x="20" y="6"/>
                    <a:pt x="20" y="6"/>
                  </a:cubicBezTo>
                  <a:moveTo>
                    <a:pt x="13" y="21"/>
                  </a:moveTo>
                  <a:cubicBezTo>
                    <a:pt x="10" y="21"/>
                    <a:pt x="8" y="20"/>
                    <a:pt x="6" y="18"/>
                  </a:cubicBezTo>
                  <a:cubicBezTo>
                    <a:pt x="4" y="16"/>
                    <a:pt x="3" y="13"/>
                    <a:pt x="3" y="11"/>
                  </a:cubicBezTo>
                  <a:cubicBezTo>
                    <a:pt x="3" y="11"/>
                    <a:pt x="3" y="11"/>
                    <a:pt x="3" y="11"/>
                  </a:cubicBezTo>
                  <a:cubicBezTo>
                    <a:pt x="3" y="9"/>
                    <a:pt x="4" y="8"/>
                    <a:pt x="5" y="7"/>
                  </a:cubicBezTo>
                  <a:cubicBezTo>
                    <a:pt x="8" y="4"/>
                    <a:pt x="10" y="4"/>
                    <a:pt x="12" y="4"/>
                  </a:cubicBezTo>
                  <a:cubicBezTo>
                    <a:pt x="13" y="4"/>
                    <a:pt x="14" y="4"/>
                    <a:pt x="15" y="4"/>
                  </a:cubicBezTo>
                  <a:cubicBezTo>
                    <a:pt x="19" y="6"/>
                    <a:pt x="22" y="10"/>
                    <a:pt x="22" y="14"/>
                  </a:cubicBezTo>
                  <a:cubicBezTo>
                    <a:pt x="22" y="14"/>
                    <a:pt x="22" y="14"/>
                    <a:pt x="22" y="14"/>
                  </a:cubicBezTo>
                  <a:cubicBezTo>
                    <a:pt x="22" y="15"/>
                    <a:pt x="21" y="16"/>
                    <a:pt x="20" y="18"/>
                  </a:cubicBezTo>
                  <a:cubicBezTo>
                    <a:pt x="20" y="18"/>
                    <a:pt x="20" y="18"/>
                    <a:pt x="20" y="18"/>
                  </a:cubicBezTo>
                  <a:cubicBezTo>
                    <a:pt x="20" y="18"/>
                    <a:pt x="20" y="18"/>
                    <a:pt x="20" y="18"/>
                  </a:cubicBezTo>
                  <a:cubicBezTo>
                    <a:pt x="18" y="20"/>
                    <a:pt x="15" y="21"/>
                    <a:pt x="13" y="21"/>
                  </a:cubicBezTo>
                  <a:moveTo>
                    <a:pt x="19" y="5"/>
                  </a:moveTo>
                  <a:cubicBezTo>
                    <a:pt x="18" y="5"/>
                    <a:pt x="18" y="5"/>
                    <a:pt x="18" y="5"/>
                  </a:cubicBezTo>
                  <a:cubicBezTo>
                    <a:pt x="18" y="5"/>
                    <a:pt x="19" y="4"/>
                    <a:pt x="19" y="4"/>
                  </a:cubicBezTo>
                  <a:cubicBezTo>
                    <a:pt x="20" y="4"/>
                    <a:pt x="20" y="4"/>
                    <a:pt x="20" y="4"/>
                  </a:cubicBezTo>
                  <a:cubicBezTo>
                    <a:pt x="20" y="4"/>
                    <a:pt x="20" y="4"/>
                    <a:pt x="20" y="4"/>
                  </a:cubicBezTo>
                  <a:cubicBezTo>
                    <a:pt x="19" y="5"/>
                    <a:pt x="19" y="5"/>
                    <a:pt x="19" y="5"/>
                  </a:cubicBezTo>
                  <a:moveTo>
                    <a:pt x="3" y="9"/>
                  </a:moveTo>
                  <a:cubicBezTo>
                    <a:pt x="3" y="8"/>
                    <a:pt x="3" y="8"/>
                    <a:pt x="3" y="8"/>
                  </a:cubicBezTo>
                  <a:cubicBezTo>
                    <a:pt x="3" y="8"/>
                    <a:pt x="3" y="8"/>
                    <a:pt x="3" y="8"/>
                  </a:cubicBezTo>
                  <a:cubicBezTo>
                    <a:pt x="4" y="7"/>
                    <a:pt x="4" y="6"/>
                    <a:pt x="5" y="4"/>
                  </a:cubicBezTo>
                  <a:cubicBezTo>
                    <a:pt x="6" y="3"/>
                    <a:pt x="6" y="3"/>
                    <a:pt x="6" y="3"/>
                  </a:cubicBezTo>
                  <a:cubicBezTo>
                    <a:pt x="6" y="3"/>
                    <a:pt x="6" y="3"/>
                    <a:pt x="6" y="3"/>
                  </a:cubicBezTo>
                  <a:cubicBezTo>
                    <a:pt x="6" y="4"/>
                    <a:pt x="5" y="6"/>
                    <a:pt x="4" y="7"/>
                  </a:cubicBezTo>
                  <a:cubicBezTo>
                    <a:pt x="4" y="7"/>
                    <a:pt x="4" y="7"/>
                    <a:pt x="4" y="7"/>
                  </a:cubicBezTo>
                  <a:cubicBezTo>
                    <a:pt x="4" y="8"/>
                    <a:pt x="3" y="8"/>
                    <a:pt x="3" y="9"/>
                  </a:cubicBezTo>
                  <a:moveTo>
                    <a:pt x="18" y="5"/>
                  </a:moveTo>
                  <a:cubicBezTo>
                    <a:pt x="17" y="4"/>
                    <a:pt x="17" y="4"/>
                    <a:pt x="17" y="4"/>
                  </a:cubicBezTo>
                  <a:cubicBezTo>
                    <a:pt x="18" y="3"/>
                    <a:pt x="18" y="3"/>
                    <a:pt x="18" y="3"/>
                  </a:cubicBezTo>
                  <a:cubicBezTo>
                    <a:pt x="19" y="3"/>
                    <a:pt x="19" y="3"/>
                    <a:pt x="19" y="3"/>
                  </a:cubicBezTo>
                  <a:cubicBezTo>
                    <a:pt x="19" y="4"/>
                    <a:pt x="18" y="4"/>
                    <a:pt x="18" y="5"/>
                  </a:cubicBezTo>
                  <a:moveTo>
                    <a:pt x="16" y="4"/>
                  </a:moveTo>
                  <a:cubicBezTo>
                    <a:pt x="15" y="4"/>
                    <a:pt x="15" y="4"/>
                    <a:pt x="15" y="4"/>
                  </a:cubicBezTo>
                  <a:cubicBezTo>
                    <a:pt x="15" y="4"/>
                    <a:pt x="15" y="4"/>
                    <a:pt x="15" y="4"/>
                  </a:cubicBezTo>
                  <a:cubicBezTo>
                    <a:pt x="17" y="2"/>
                    <a:pt x="17" y="2"/>
                    <a:pt x="17" y="2"/>
                  </a:cubicBezTo>
                  <a:cubicBezTo>
                    <a:pt x="17" y="2"/>
                    <a:pt x="17" y="2"/>
                    <a:pt x="17" y="2"/>
                  </a:cubicBezTo>
                  <a:cubicBezTo>
                    <a:pt x="18" y="3"/>
                    <a:pt x="18" y="3"/>
                    <a:pt x="18" y="3"/>
                  </a:cubicBezTo>
                  <a:cubicBezTo>
                    <a:pt x="16" y="4"/>
                    <a:pt x="16" y="4"/>
                    <a:pt x="16" y="4"/>
                  </a:cubicBezTo>
                  <a:moveTo>
                    <a:pt x="15" y="4"/>
                  </a:moveTo>
                  <a:cubicBezTo>
                    <a:pt x="14" y="3"/>
                    <a:pt x="14" y="3"/>
                    <a:pt x="14" y="3"/>
                  </a:cubicBezTo>
                  <a:cubicBezTo>
                    <a:pt x="15" y="3"/>
                    <a:pt x="16" y="2"/>
                    <a:pt x="16" y="1"/>
                  </a:cubicBezTo>
                  <a:cubicBezTo>
                    <a:pt x="17" y="2"/>
                    <a:pt x="17" y="2"/>
                    <a:pt x="17" y="2"/>
                  </a:cubicBezTo>
                  <a:cubicBezTo>
                    <a:pt x="17" y="2"/>
                    <a:pt x="17" y="2"/>
                    <a:pt x="17" y="2"/>
                  </a:cubicBezTo>
                  <a:cubicBezTo>
                    <a:pt x="15" y="4"/>
                    <a:pt x="15" y="4"/>
                    <a:pt x="15" y="4"/>
                  </a:cubicBezTo>
                  <a:cubicBezTo>
                    <a:pt x="15" y="4"/>
                    <a:pt x="15" y="4"/>
                    <a:pt x="15" y="4"/>
                  </a:cubicBezTo>
                  <a:moveTo>
                    <a:pt x="5" y="6"/>
                  </a:moveTo>
                  <a:cubicBezTo>
                    <a:pt x="6" y="5"/>
                    <a:pt x="7" y="3"/>
                    <a:pt x="7" y="2"/>
                  </a:cubicBezTo>
                  <a:cubicBezTo>
                    <a:pt x="8" y="2"/>
                    <a:pt x="8" y="2"/>
                    <a:pt x="9" y="1"/>
                  </a:cubicBezTo>
                  <a:cubicBezTo>
                    <a:pt x="6" y="5"/>
                    <a:pt x="6" y="5"/>
                    <a:pt x="6" y="5"/>
                  </a:cubicBezTo>
                  <a:cubicBezTo>
                    <a:pt x="6" y="5"/>
                    <a:pt x="6" y="5"/>
                    <a:pt x="6" y="5"/>
                  </a:cubicBezTo>
                  <a:cubicBezTo>
                    <a:pt x="6" y="5"/>
                    <a:pt x="5" y="6"/>
                    <a:pt x="5" y="6"/>
                  </a:cubicBezTo>
                  <a:moveTo>
                    <a:pt x="14" y="3"/>
                  </a:moveTo>
                  <a:cubicBezTo>
                    <a:pt x="13" y="3"/>
                    <a:pt x="13" y="3"/>
                    <a:pt x="13" y="3"/>
                  </a:cubicBezTo>
                  <a:cubicBezTo>
                    <a:pt x="13" y="3"/>
                    <a:pt x="14" y="2"/>
                    <a:pt x="14" y="2"/>
                  </a:cubicBezTo>
                  <a:cubicBezTo>
                    <a:pt x="15" y="1"/>
                    <a:pt x="15" y="1"/>
                    <a:pt x="15" y="1"/>
                  </a:cubicBezTo>
                  <a:cubicBezTo>
                    <a:pt x="16" y="1"/>
                    <a:pt x="16" y="1"/>
                    <a:pt x="16" y="1"/>
                  </a:cubicBezTo>
                  <a:cubicBezTo>
                    <a:pt x="15" y="2"/>
                    <a:pt x="15" y="3"/>
                    <a:pt x="14" y="3"/>
                  </a:cubicBezTo>
                  <a:moveTo>
                    <a:pt x="7" y="4"/>
                  </a:moveTo>
                  <a:cubicBezTo>
                    <a:pt x="9" y="1"/>
                    <a:pt x="9" y="1"/>
                    <a:pt x="9" y="1"/>
                  </a:cubicBezTo>
                  <a:cubicBezTo>
                    <a:pt x="10" y="1"/>
                    <a:pt x="10" y="1"/>
                    <a:pt x="10" y="1"/>
                  </a:cubicBezTo>
                  <a:cubicBezTo>
                    <a:pt x="9" y="2"/>
                    <a:pt x="9" y="3"/>
                    <a:pt x="8" y="4"/>
                  </a:cubicBezTo>
                  <a:cubicBezTo>
                    <a:pt x="8" y="4"/>
                    <a:pt x="8" y="4"/>
                    <a:pt x="8" y="4"/>
                  </a:cubicBezTo>
                  <a:cubicBezTo>
                    <a:pt x="7" y="4"/>
                    <a:pt x="7" y="4"/>
                    <a:pt x="7" y="4"/>
                  </a:cubicBezTo>
                  <a:moveTo>
                    <a:pt x="12" y="3"/>
                  </a:moveTo>
                  <a:cubicBezTo>
                    <a:pt x="12" y="2"/>
                    <a:pt x="13" y="2"/>
                    <a:pt x="13" y="1"/>
                  </a:cubicBezTo>
                  <a:cubicBezTo>
                    <a:pt x="14" y="1"/>
                    <a:pt x="14" y="1"/>
                    <a:pt x="14" y="1"/>
                  </a:cubicBezTo>
                  <a:cubicBezTo>
                    <a:pt x="14" y="1"/>
                    <a:pt x="14" y="1"/>
                    <a:pt x="14" y="1"/>
                  </a:cubicBezTo>
                  <a:cubicBezTo>
                    <a:pt x="13" y="2"/>
                    <a:pt x="13" y="2"/>
                    <a:pt x="13" y="3"/>
                  </a:cubicBezTo>
                  <a:cubicBezTo>
                    <a:pt x="13" y="3"/>
                    <a:pt x="13" y="3"/>
                    <a:pt x="13" y="3"/>
                  </a:cubicBezTo>
                  <a:cubicBezTo>
                    <a:pt x="12" y="3"/>
                    <a:pt x="12" y="3"/>
                    <a:pt x="12" y="3"/>
                  </a:cubicBezTo>
                  <a:moveTo>
                    <a:pt x="8" y="4"/>
                  </a:moveTo>
                  <a:cubicBezTo>
                    <a:pt x="9" y="3"/>
                    <a:pt x="10" y="2"/>
                    <a:pt x="11" y="1"/>
                  </a:cubicBezTo>
                  <a:cubicBezTo>
                    <a:pt x="11" y="1"/>
                    <a:pt x="11" y="1"/>
                    <a:pt x="11" y="1"/>
                  </a:cubicBezTo>
                  <a:cubicBezTo>
                    <a:pt x="11" y="2"/>
                    <a:pt x="10" y="2"/>
                    <a:pt x="9" y="3"/>
                  </a:cubicBezTo>
                  <a:cubicBezTo>
                    <a:pt x="8" y="4"/>
                    <a:pt x="8" y="4"/>
                    <a:pt x="8" y="4"/>
                  </a:cubicBezTo>
                  <a:moveTo>
                    <a:pt x="10" y="3"/>
                  </a:moveTo>
                  <a:cubicBezTo>
                    <a:pt x="11" y="2"/>
                    <a:pt x="11" y="2"/>
                    <a:pt x="12" y="1"/>
                  </a:cubicBezTo>
                  <a:cubicBezTo>
                    <a:pt x="12" y="1"/>
                    <a:pt x="12" y="1"/>
                    <a:pt x="12" y="1"/>
                  </a:cubicBezTo>
                  <a:cubicBezTo>
                    <a:pt x="13" y="1"/>
                    <a:pt x="13" y="1"/>
                    <a:pt x="13" y="1"/>
                  </a:cubicBezTo>
                  <a:cubicBezTo>
                    <a:pt x="12" y="2"/>
                    <a:pt x="12" y="2"/>
                    <a:pt x="11" y="3"/>
                  </a:cubicBezTo>
                  <a:cubicBezTo>
                    <a:pt x="11" y="3"/>
                    <a:pt x="10" y="3"/>
                    <a:pt x="10" y="3"/>
                  </a:cubicBezTo>
                  <a:moveTo>
                    <a:pt x="12" y="0"/>
                  </a:moveTo>
                  <a:cubicBezTo>
                    <a:pt x="10" y="0"/>
                    <a:pt x="7" y="1"/>
                    <a:pt x="5" y="3"/>
                  </a:cubicBezTo>
                  <a:cubicBezTo>
                    <a:pt x="0" y="8"/>
                    <a:pt x="1" y="15"/>
                    <a:pt x="5" y="18"/>
                  </a:cubicBezTo>
                  <a:cubicBezTo>
                    <a:pt x="7" y="20"/>
                    <a:pt x="10" y="22"/>
                    <a:pt x="13" y="22"/>
                  </a:cubicBezTo>
                  <a:cubicBezTo>
                    <a:pt x="15" y="22"/>
                    <a:pt x="18" y="21"/>
                    <a:pt x="20" y="19"/>
                  </a:cubicBezTo>
                  <a:cubicBezTo>
                    <a:pt x="20" y="19"/>
                    <a:pt x="20" y="19"/>
                    <a:pt x="20" y="19"/>
                  </a:cubicBezTo>
                  <a:cubicBezTo>
                    <a:pt x="20" y="19"/>
                    <a:pt x="20" y="19"/>
                    <a:pt x="20" y="19"/>
                  </a:cubicBezTo>
                  <a:cubicBezTo>
                    <a:pt x="20" y="19"/>
                    <a:pt x="20" y="19"/>
                    <a:pt x="20" y="19"/>
                  </a:cubicBezTo>
                  <a:cubicBezTo>
                    <a:pt x="21" y="18"/>
                    <a:pt x="21" y="18"/>
                    <a:pt x="21" y="18"/>
                  </a:cubicBezTo>
                  <a:cubicBezTo>
                    <a:pt x="21" y="18"/>
                    <a:pt x="21" y="18"/>
                    <a:pt x="21" y="18"/>
                  </a:cubicBezTo>
                  <a:cubicBezTo>
                    <a:pt x="21" y="18"/>
                    <a:pt x="21" y="18"/>
                    <a:pt x="21" y="18"/>
                  </a:cubicBezTo>
                  <a:cubicBezTo>
                    <a:pt x="25" y="14"/>
                    <a:pt x="24" y="9"/>
                    <a:pt x="22" y="5"/>
                  </a:cubicBezTo>
                  <a:cubicBezTo>
                    <a:pt x="22" y="5"/>
                    <a:pt x="22" y="5"/>
                    <a:pt x="22" y="5"/>
                  </a:cubicBezTo>
                  <a:cubicBezTo>
                    <a:pt x="22" y="5"/>
                    <a:pt x="22" y="5"/>
                    <a:pt x="22" y="5"/>
                  </a:cubicBezTo>
                  <a:cubicBezTo>
                    <a:pt x="21" y="5"/>
                    <a:pt x="21" y="4"/>
                    <a:pt x="20" y="3"/>
                  </a:cubicBezTo>
                  <a:cubicBezTo>
                    <a:pt x="18" y="1"/>
                    <a:pt x="15" y="0"/>
                    <a:pt x="1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89" name="ïsľiḑè"/>
            <p:cNvSpPr/>
            <p:nvPr/>
          </p:nvSpPr>
          <p:spPr bwMode="auto">
            <a:xfrm>
              <a:off x="3615" y="1894"/>
              <a:ext cx="62" cy="66"/>
            </a:xfrm>
            <a:custGeom>
              <a:avLst/>
              <a:gdLst>
                <a:gd name="T0" fmla="*/ 12 w 26"/>
                <a:gd name="T1" fmla="*/ 27 h 28"/>
                <a:gd name="T2" fmla="*/ 11 w 26"/>
                <a:gd name="T3" fmla="*/ 27 h 28"/>
                <a:gd name="T4" fmla="*/ 10 w 26"/>
                <a:gd name="T5" fmla="*/ 27 h 28"/>
                <a:gd name="T6" fmla="*/ 9 w 26"/>
                <a:gd name="T7" fmla="*/ 26 h 28"/>
                <a:gd name="T8" fmla="*/ 18 w 26"/>
                <a:gd name="T9" fmla="*/ 25 h 28"/>
                <a:gd name="T10" fmla="*/ 19 w 26"/>
                <a:gd name="T11" fmla="*/ 24 h 28"/>
                <a:gd name="T12" fmla="*/ 14 w 26"/>
                <a:gd name="T13" fmla="*/ 24 h 28"/>
                <a:gd name="T14" fmla="*/ 15 w 26"/>
                <a:gd name="T15" fmla="*/ 23 h 28"/>
                <a:gd name="T16" fmla="*/ 20 w 26"/>
                <a:gd name="T17" fmla="*/ 23 h 28"/>
                <a:gd name="T18" fmla="*/ 16 w 26"/>
                <a:gd name="T19" fmla="*/ 23 h 28"/>
                <a:gd name="T20" fmla="*/ 18 w 26"/>
                <a:gd name="T21" fmla="*/ 23 h 28"/>
                <a:gd name="T22" fmla="*/ 8 w 26"/>
                <a:gd name="T23" fmla="*/ 24 h 28"/>
                <a:gd name="T24" fmla="*/ 17 w 26"/>
                <a:gd name="T25" fmla="*/ 23 h 28"/>
                <a:gd name="T26" fmla="*/ 21 w 26"/>
                <a:gd name="T27" fmla="*/ 23 h 28"/>
                <a:gd name="T28" fmla="*/ 8 w 26"/>
                <a:gd name="T29" fmla="*/ 22 h 28"/>
                <a:gd name="T30" fmla="*/ 8 w 26"/>
                <a:gd name="T31" fmla="*/ 22 h 28"/>
                <a:gd name="T32" fmla="*/ 4 w 26"/>
                <a:gd name="T33" fmla="*/ 22 h 28"/>
                <a:gd name="T34" fmla="*/ 7 w 26"/>
                <a:gd name="T35" fmla="*/ 22 h 28"/>
                <a:gd name="T36" fmla="*/ 7 w 26"/>
                <a:gd name="T37" fmla="*/ 21 h 28"/>
                <a:gd name="T38" fmla="*/ 4 w 26"/>
                <a:gd name="T39" fmla="*/ 22 h 28"/>
                <a:gd name="T40" fmla="*/ 3 w 26"/>
                <a:gd name="T41" fmla="*/ 22 h 28"/>
                <a:gd name="T42" fmla="*/ 6 w 26"/>
                <a:gd name="T43" fmla="*/ 21 h 28"/>
                <a:gd name="T44" fmla="*/ 3 w 26"/>
                <a:gd name="T45" fmla="*/ 21 h 28"/>
                <a:gd name="T46" fmla="*/ 3 w 26"/>
                <a:gd name="T47" fmla="*/ 20 h 28"/>
                <a:gd name="T48" fmla="*/ 2 w 26"/>
                <a:gd name="T49" fmla="*/ 19 h 28"/>
                <a:gd name="T50" fmla="*/ 22 w 26"/>
                <a:gd name="T51" fmla="*/ 19 h 28"/>
                <a:gd name="T52" fmla="*/ 24 w 26"/>
                <a:gd name="T53" fmla="*/ 19 h 28"/>
                <a:gd name="T54" fmla="*/ 23 w 26"/>
                <a:gd name="T55" fmla="*/ 18 h 28"/>
                <a:gd name="T56" fmla="*/ 23 w 26"/>
                <a:gd name="T57" fmla="*/ 18 h 28"/>
                <a:gd name="T58" fmla="*/ 3 w 26"/>
                <a:gd name="T59" fmla="*/ 17 h 28"/>
                <a:gd name="T60" fmla="*/ 2 w 26"/>
                <a:gd name="T61" fmla="*/ 15 h 28"/>
                <a:gd name="T62" fmla="*/ 2 w 26"/>
                <a:gd name="T63" fmla="*/ 15 h 28"/>
                <a:gd name="T64" fmla="*/ 1 w 26"/>
                <a:gd name="T65" fmla="*/ 15 h 28"/>
                <a:gd name="T66" fmla="*/ 1 w 26"/>
                <a:gd name="T67" fmla="*/ 15 h 28"/>
                <a:gd name="T68" fmla="*/ 23 w 26"/>
                <a:gd name="T69" fmla="*/ 9 h 28"/>
                <a:gd name="T70" fmla="*/ 4 w 26"/>
                <a:gd name="T71" fmla="*/ 6 h 28"/>
                <a:gd name="T72" fmla="*/ 4 w 26"/>
                <a:gd name="T73" fmla="*/ 5 h 28"/>
                <a:gd name="T74" fmla="*/ 13 w 26"/>
                <a:gd name="T75" fmla="*/ 3 h 28"/>
                <a:gd name="T76" fmla="*/ 17 w 26"/>
                <a:gd name="T77" fmla="*/ 3 h 28"/>
                <a:gd name="T78" fmla="*/ 24 w 26"/>
                <a:gd name="T79" fmla="*/ 7 h 28"/>
                <a:gd name="T80" fmla="*/ 25 w 26"/>
                <a:gd name="T81" fmla="*/ 13 h 28"/>
                <a:gd name="T82" fmla="*/ 20 w 26"/>
                <a:gd name="T83" fmla="*/ 20 h 28"/>
                <a:gd name="T84" fmla="*/ 13 w 26"/>
                <a:gd name="T85" fmla="*/ 23 h 28"/>
                <a:gd name="T86" fmla="*/ 10 w 26"/>
                <a:gd name="T87" fmla="*/ 22 h 28"/>
                <a:gd name="T88" fmla="*/ 4 w 26"/>
                <a:gd name="T89" fmla="*/ 17 h 28"/>
                <a:gd name="T90" fmla="*/ 2 w 26"/>
                <a:gd name="T91" fmla="*/ 9 h 28"/>
                <a:gd name="T92" fmla="*/ 5 w 26"/>
                <a:gd name="T93" fmla="*/ 4 h 28"/>
                <a:gd name="T94" fmla="*/ 13 w 26"/>
                <a:gd name="T95" fmla="*/ 0 h 28"/>
                <a:gd name="T96" fmla="*/ 4 w 26"/>
                <a:gd name="T97" fmla="*/ 3 h 28"/>
                <a:gd name="T98" fmla="*/ 3 w 26"/>
                <a:gd name="T99" fmla="*/ 6 h 28"/>
                <a:gd name="T100" fmla="*/ 1 w 26"/>
                <a:gd name="T101" fmla="*/ 9 h 28"/>
                <a:gd name="T102" fmla="*/ 0 w 26"/>
                <a:gd name="T103" fmla="*/ 15 h 28"/>
                <a:gd name="T104" fmla="*/ 1 w 26"/>
                <a:gd name="T105" fmla="*/ 18 h 28"/>
                <a:gd name="T106" fmla="*/ 3 w 26"/>
                <a:gd name="T107" fmla="*/ 24 h 28"/>
                <a:gd name="T108" fmla="*/ 4 w 26"/>
                <a:gd name="T109" fmla="*/ 24 h 28"/>
                <a:gd name="T110" fmla="*/ 8 w 26"/>
                <a:gd name="T111" fmla="*/ 27 h 28"/>
                <a:gd name="T112" fmla="*/ 17 w 26"/>
                <a:gd name="T113" fmla="*/ 25 h 28"/>
                <a:gd name="T114" fmla="*/ 22 w 26"/>
                <a:gd name="T115" fmla="*/ 22 h 28"/>
                <a:gd name="T116" fmla="*/ 22 w 26"/>
                <a:gd name="T117" fmla="*/ 20 h 28"/>
                <a:gd name="T118" fmla="*/ 25 w 26"/>
                <a:gd name="T119" fmla="*/ 17 h 28"/>
                <a:gd name="T120" fmla="*/ 24 w 26"/>
                <a:gd name="T121" fmla="*/ 10 h 28"/>
                <a:gd name="T122" fmla="*/ 25 w 26"/>
                <a:gd name="T123" fmla="*/ 7 h 28"/>
                <a:gd name="T124" fmla="*/ 17 w 26"/>
                <a:gd name="T125"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 h="28">
                  <a:moveTo>
                    <a:pt x="12" y="27"/>
                  </a:moveTo>
                  <a:cubicBezTo>
                    <a:pt x="12" y="27"/>
                    <a:pt x="12" y="27"/>
                    <a:pt x="12" y="27"/>
                  </a:cubicBezTo>
                  <a:cubicBezTo>
                    <a:pt x="12" y="27"/>
                    <a:pt x="12" y="27"/>
                    <a:pt x="12" y="27"/>
                  </a:cubicBezTo>
                  <a:cubicBezTo>
                    <a:pt x="12" y="27"/>
                    <a:pt x="12" y="27"/>
                    <a:pt x="12" y="27"/>
                  </a:cubicBezTo>
                  <a:moveTo>
                    <a:pt x="12" y="27"/>
                  </a:moveTo>
                  <a:cubicBezTo>
                    <a:pt x="11" y="27"/>
                    <a:pt x="11" y="27"/>
                    <a:pt x="11" y="27"/>
                  </a:cubicBezTo>
                  <a:cubicBezTo>
                    <a:pt x="11" y="26"/>
                    <a:pt x="12" y="26"/>
                    <a:pt x="12" y="26"/>
                  </a:cubicBezTo>
                  <a:cubicBezTo>
                    <a:pt x="12" y="26"/>
                    <a:pt x="12" y="26"/>
                    <a:pt x="12" y="26"/>
                  </a:cubicBezTo>
                  <a:cubicBezTo>
                    <a:pt x="12" y="26"/>
                    <a:pt x="12" y="27"/>
                    <a:pt x="12" y="27"/>
                  </a:cubicBezTo>
                  <a:moveTo>
                    <a:pt x="11" y="27"/>
                  </a:moveTo>
                  <a:cubicBezTo>
                    <a:pt x="10" y="27"/>
                    <a:pt x="10" y="27"/>
                    <a:pt x="10" y="27"/>
                  </a:cubicBezTo>
                  <a:cubicBezTo>
                    <a:pt x="10" y="26"/>
                    <a:pt x="11" y="26"/>
                    <a:pt x="11" y="25"/>
                  </a:cubicBezTo>
                  <a:cubicBezTo>
                    <a:pt x="12" y="25"/>
                    <a:pt x="12" y="25"/>
                    <a:pt x="12" y="25"/>
                  </a:cubicBezTo>
                  <a:cubicBezTo>
                    <a:pt x="11" y="26"/>
                    <a:pt x="11" y="26"/>
                    <a:pt x="11" y="27"/>
                  </a:cubicBezTo>
                  <a:moveTo>
                    <a:pt x="10" y="27"/>
                  </a:moveTo>
                  <a:cubicBezTo>
                    <a:pt x="9" y="27"/>
                    <a:pt x="9" y="27"/>
                    <a:pt x="9" y="27"/>
                  </a:cubicBezTo>
                  <a:cubicBezTo>
                    <a:pt x="10" y="26"/>
                    <a:pt x="10" y="26"/>
                    <a:pt x="10" y="25"/>
                  </a:cubicBezTo>
                  <a:cubicBezTo>
                    <a:pt x="11" y="25"/>
                    <a:pt x="11" y="25"/>
                    <a:pt x="11" y="25"/>
                  </a:cubicBezTo>
                  <a:cubicBezTo>
                    <a:pt x="10" y="26"/>
                    <a:pt x="10" y="26"/>
                    <a:pt x="10" y="27"/>
                  </a:cubicBezTo>
                  <a:moveTo>
                    <a:pt x="9" y="26"/>
                  </a:moveTo>
                  <a:cubicBezTo>
                    <a:pt x="9" y="26"/>
                    <a:pt x="9" y="26"/>
                    <a:pt x="9" y="26"/>
                  </a:cubicBezTo>
                  <a:cubicBezTo>
                    <a:pt x="9" y="25"/>
                    <a:pt x="9" y="25"/>
                    <a:pt x="9" y="25"/>
                  </a:cubicBezTo>
                  <a:cubicBezTo>
                    <a:pt x="10" y="25"/>
                    <a:pt x="10" y="25"/>
                    <a:pt x="10" y="25"/>
                  </a:cubicBezTo>
                  <a:cubicBezTo>
                    <a:pt x="9" y="26"/>
                    <a:pt x="9" y="26"/>
                    <a:pt x="9" y="26"/>
                  </a:cubicBezTo>
                  <a:moveTo>
                    <a:pt x="18" y="25"/>
                  </a:moveTo>
                  <a:cubicBezTo>
                    <a:pt x="18" y="25"/>
                    <a:pt x="18" y="25"/>
                    <a:pt x="18" y="25"/>
                  </a:cubicBezTo>
                  <a:cubicBezTo>
                    <a:pt x="18" y="24"/>
                    <a:pt x="18" y="24"/>
                    <a:pt x="18" y="24"/>
                  </a:cubicBezTo>
                  <a:cubicBezTo>
                    <a:pt x="18" y="24"/>
                    <a:pt x="18" y="25"/>
                    <a:pt x="18" y="25"/>
                  </a:cubicBezTo>
                  <a:moveTo>
                    <a:pt x="19" y="25"/>
                  </a:moveTo>
                  <a:cubicBezTo>
                    <a:pt x="19" y="25"/>
                    <a:pt x="19" y="25"/>
                    <a:pt x="19" y="24"/>
                  </a:cubicBezTo>
                  <a:cubicBezTo>
                    <a:pt x="19" y="24"/>
                    <a:pt x="19" y="24"/>
                    <a:pt x="19" y="24"/>
                  </a:cubicBezTo>
                  <a:cubicBezTo>
                    <a:pt x="19" y="25"/>
                    <a:pt x="19" y="25"/>
                    <a:pt x="19" y="25"/>
                  </a:cubicBezTo>
                  <a:moveTo>
                    <a:pt x="14" y="24"/>
                  </a:moveTo>
                  <a:cubicBezTo>
                    <a:pt x="14" y="24"/>
                    <a:pt x="14" y="24"/>
                    <a:pt x="14" y="24"/>
                  </a:cubicBezTo>
                  <a:cubicBezTo>
                    <a:pt x="14" y="24"/>
                    <a:pt x="14" y="24"/>
                    <a:pt x="14" y="24"/>
                  </a:cubicBezTo>
                  <a:cubicBezTo>
                    <a:pt x="14" y="24"/>
                    <a:pt x="14" y="24"/>
                    <a:pt x="14" y="24"/>
                  </a:cubicBezTo>
                  <a:moveTo>
                    <a:pt x="14" y="25"/>
                  </a:moveTo>
                  <a:cubicBezTo>
                    <a:pt x="14" y="24"/>
                    <a:pt x="14" y="24"/>
                    <a:pt x="14" y="24"/>
                  </a:cubicBezTo>
                  <a:cubicBezTo>
                    <a:pt x="14" y="23"/>
                    <a:pt x="14" y="23"/>
                    <a:pt x="14" y="23"/>
                  </a:cubicBezTo>
                  <a:cubicBezTo>
                    <a:pt x="15" y="23"/>
                    <a:pt x="15" y="23"/>
                    <a:pt x="15" y="23"/>
                  </a:cubicBezTo>
                  <a:cubicBezTo>
                    <a:pt x="14" y="24"/>
                    <a:pt x="14" y="24"/>
                    <a:pt x="14" y="25"/>
                  </a:cubicBezTo>
                  <a:cubicBezTo>
                    <a:pt x="14" y="25"/>
                    <a:pt x="14" y="25"/>
                    <a:pt x="14" y="25"/>
                  </a:cubicBezTo>
                  <a:moveTo>
                    <a:pt x="19" y="25"/>
                  </a:moveTo>
                  <a:cubicBezTo>
                    <a:pt x="20" y="24"/>
                    <a:pt x="20" y="24"/>
                    <a:pt x="20" y="24"/>
                  </a:cubicBezTo>
                  <a:cubicBezTo>
                    <a:pt x="20" y="23"/>
                    <a:pt x="20" y="23"/>
                    <a:pt x="20" y="23"/>
                  </a:cubicBezTo>
                  <a:cubicBezTo>
                    <a:pt x="20" y="24"/>
                    <a:pt x="20" y="24"/>
                    <a:pt x="20" y="25"/>
                  </a:cubicBezTo>
                  <a:cubicBezTo>
                    <a:pt x="19" y="25"/>
                    <a:pt x="19" y="25"/>
                    <a:pt x="19" y="25"/>
                  </a:cubicBezTo>
                  <a:moveTo>
                    <a:pt x="14" y="25"/>
                  </a:moveTo>
                  <a:cubicBezTo>
                    <a:pt x="15" y="24"/>
                    <a:pt x="15" y="24"/>
                    <a:pt x="15" y="23"/>
                  </a:cubicBezTo>
                  <a:cubicBezTo>
                    <a:pt x="16" y="23"/>
                    <a:pt x="16" y="23"/>
                    <a:pt x="16" y="23"/>
                  </a:cubicBezTo>
                  <a:cubicBezTo>
                    <a:pt x="15" y="25"/>
                    <a:pt x="15" y="25"/>
                    <a:pt x="15" y="25"/>
                  </a:cubicBezTo>
                  <a:cubicBezTo>
                    <a:pt x="14" y="25"/>
                    <a:pt x="14" y="25"/>
                    <a:pt x="14" y="25"/>
                  </a:cubicBezTo>
                  <a:moveTo>
                    <a:pt x="17" y="25"/>
                  </a:moveTo>
                  <a:cubicBezTo>
                    <a:pt x="17" y="24"/>
                    <a:pt x="17" y="24"/>
                    <a:pt x="17" y="24"/>
                  </a:cubicBezTo>
                  <a:cubicBezTo>
                    <a:pt x="17" y="24"/>
                    <a:pt x="17" y="24"/>
                    <a:pt x="18" y="23"/>
                  </a:cubicBezTo>
                  <a:cubicBezTo>
                    <a:pt x="18" y="24"/>
                    <a:pt x="18" y="24"/>
                    <a:pt x="18" y="24"/>
                  </a:cubicBezTo>
                  <a:cubicBezTo>
                    <a:pt x="17" y="25"/>
                    <a:pt x="17" y="25"/>
                    <a:pt x="17" y="25"/>
                  </a:cubicBezTo>
                  <a:moveTo>
                    <a:pt x="9" y="24"/>
                  </a:moveTo>
                  <a:cubicBezTo>
                    <a:pt x="9" y="24"/>
                    <a:pt x="9" y="24"/>
                    <a:pt x="9" y="24"/>
                  </a:cubicBezTo>
                  <a:cubicBezTo>
                    <a:pt x="8" y="24"/>
                    <a:pt x="8" y="24"/>
                    <a:pt x="8" y="24"/>
                  </a:cubicBezTo>
                  <a:cubicBezTo>
                    <a:pt x="9" y="23"/>
                    <a:pt x="9" y="23"/>
                    <a:pt x="9" y="23"/>
                  </a:cubicBezTo>
                  <a:cubicBezTo>
                    <a:pt x="9" y="24"/>
                    <a:pt x="9" y="24"/>
                    <a:pt x="9" y="24"/>
                  </a:cubicBezTo>
                  <a:moveTo>
                    <a:pt x="16" y="24"/>
                  </a:moveTo>
                  <a:cubicBezTo>
                    <a:pt x="16" y="23"/>
                    <a:pt x="16" y="23"/>
                    <a:pt x="16" y="23"/>
                  </a:cubicBezTo>
                  <a:cubicBezTo>
                    <a:pt x="17" y="23"/>
                    <a:pt x="17" y="23"/>
                    <a:pt x="17" y="23"/>
                  </a:cubicBezTo>
                  <a:cubicBezTo>
                    <a:pt x="17" y="23"/>
                    <a:pt x="17" y="24"/>
                    <a:pt x="16" y="24"/>
                  </a:cubicBezTo>
                  <a:cubicBezTo>
                    <a:pt x="16" y="24"/>
                    <a:pt x="16" y="24"/>
                    <a:pt x="16" y="24"/>
                  </a:cubicBezTo>
                  <a:moveTo>
                    <a:pt x="21" y="24"/>
                  </a:moveTo>
                  <a:cubicBezTo>
                    <a:pt x="21" y="24"/>
                    <a:pt x="21" y="23"/>
                    <a:pt x="21" y="23"/>
                  </a:cubicBezTo>
                  <a:cubicBezTo>
                    <a:pt x="21" y="23"/>
                    <a:pt x="21" y="23"/>
                    <a:pt x="21" y="23"/>
                  </a:cubicBezTo>
                  <a:cubicBezTo>
                    <a:pt x="21" y="24"/>
                    <a:pt x="21" y="24"/>
                    <a:pt x="21" y="24"/>
                  </a:cubicBezTo>
                  <a:cubicBezTo>
                    <a:pt x="21" y="24"/>
                    <a:pt x="21" y="24"/>
                    <a:pt x="21" y="24"/>
                  </a:cubicBezTo>
                  <a:moveTo>
                    <a:pt x="8" y="24"/>
                  </a:moveTo>
                  <a:cubicBezTo>
                    <a:pt x="7" y="24"/>
                    <a:pt x="7" y="24"/>
                    <a:pt x="7" y="24"/>
                  </a:cubicBezTo>
                  <a:cubicBezTo>
                    <a:pt x="8" y="23"/>
                    <a:pt x="8" y="23"/>
                    <a:pt x="8" y="22"/>
                  </a:cubicBezTo>
                  <a:cubicBezTo>
                    <a:pt x="9" y="23"/>
                    <a:pt x="9" y="23"/>
                    <a:pt x="9" y="23"/>
                  </a:cubicBezTo>
                  <a:cubicBezTo>
                    <a:pt x="8" y="24"/>
                    <a:pt x="8" y="24"/>
                    <a:pt x="8" y="24"/>
                  </a:cubicBezTo>
                  <a:moveTo>
                    <a:pt x="7" y="23"/>
                  </a:moveTo>
                  <a:cubicBezTo>
                    <a:pt x="7" y="23"/>
                    <a:pt x="7" y="23"/>
                    <a:pt x="7" y="23"/>
                  </a:cubicBezTo>
                  <a:cubicBezTo>
                    <a:pt x="7" y="23"/>
                    <a:pt x="7" y="22"/>
                    <a:pt x="8" y="22"/>
                  </a:cubicBezTo>
                  <a:cubicBezTo>
                    <a:pt x="8" y="22"/>
                    <a:pt x="8" y="22"/>
                    <a:pt x="8" y="22"/>
                  </a:cubicBezTo>
                  <a:cubicBezTo>
                    <a:pt x="8" y="23"/>
                    <a:pt x="7" y="23"/>
                    <a:pt x="7" y="23"/>
                  </a:cubicBezTo>
                  <a:moveTo>
                    <a:pt x="3" y="23"/>
                  </a:moveTo>
                  <a:cubicBezTo>
                    <a:pt x="3" y="23"/>
                    <a:pt x="3" y="23"/>
                    <a:pt x="3" y="23"/>
                  </a:cubicBezTo>
                  <a:cubicBezTo>
                    <a:pt x="4" y="22"/>
                    <a:pt x="4" y="22"/>
                    <a:pt x="4" y="22"/>
                  </a:cubicBezTo>
                  <a:cubicBezTo>
                    <a:pt x="3" y="22"/>
                    <a:pt x="3" y="22"/>
                    <a:pt x="3" y="22"/>
                  </a:cubicBezTo>
                  <a:cubicBezTo>
                    <a:pt x="3" y="23"/>
                    <a:pt x="3" y="23"/>
                    <a:pt x="3" y="23"/>
                  </a:cubicBezTo>
                  <a:moveTo>
                    <a:pt x="6" y="23"/>
                  </a:moveTo>
                  <a:cubicBezTo>
                    <a:pt x="6" y="23"/>
                    <a:pt x="6" y="23"/>
                    <a:pt x="6" y="23"/>
                  </a:cubicBezTo>
                  <a:cubicBezTo>
                    <a:pt x="7" y="22"/>
                    <a:pt x="7" y="22"/>
                    <a:pt x="7" y="22"/>
                  </a:cubicBezTo>
                  <a:cubicBezTo>
                    <a:pt x="7" y="22"/>
                    <a:pt x="7" y="22"/>
                    <a:pt x="7" y="22"/>
                  </a:cubicBezTo>
                  <a:cubicBezTo>
                    <a:pt x="7" y="22"/>
                    <a:pt x="7" y="22"/>
                    <a:pt x="6" y="23"/>
                  </a:cubicBezTo>
                  <a:moveTo>
                    <a:pt x="6" y="22"/>
                  </a:moveTo>
                  <a:cubicBezTo>
                    <a:pt x="6" y="22"/>
                    <a:pt x="6" y="22"/>
                    <a:pt x="6" y="22"/>
                  </a:cubicBezTo>
                  <a:cubicBezTo>
                    <a:pt x="7" y="21"/>
                    <a:pt x="7" y="21"/>
                    <a:pt x="7" y="21"/>
                  </a:cubicBezTo>
                  <a:cubicBezTo>
                    <a:pt x="7" y="21"/>
                    <a:pt x="7" y="21"/>
                    <a:pt x="7" y="21"/>
                  </a:cubicBezTo>
                  <a:cubicBezTo>
                    <a:pt x="6" y="22"/>
                    <a:pt x="6" y="22"/>
                    <a:pt x="6" y="22"/>
                  </a:cubicBezTo>
                  <a:moveTo>
                    <a:pt x="4" y="23"/>
                  </a:moveTo>
                  <a:cubicBezTo>
                    <a:pt x="4" y="23"/>
                    <a:pt x="4" y="23"/>
                    <a:pt x="4" y="23"/>
                  </a:cubicBezTo>
                  <a:cubicBezTo>
                    <a:pt x="4" y="22"/>
                    <a:pt x="4" y="22"/>
                    <a:pt x="4" y="22"/>
                  </a:cubicBezTo>
                  <a:cubicBezTo>
                    <a:pt x="5" y="21"/>
                    <a:pt x="5" y="21"/>
                    <a:pt x="5" y="21"/>
                  </a:cubicBezTo>
                  <a:cubicBezTo>
                    <a:pt x="5" y="22"/>
                    <a:pt x="5" y="22"/>
                    <a:pt x="5" y="22"/>
                  </a:cubicBezTo>
                  <a:cubicBezTo>
                    <a:pt x="4" y="23"/>
                    <a:pt x="4" y="23"/>
                    <a:pt x="4" y="23"/>
                  </a:cubicBezTo>
                  <a:moveTo>
                    <a:pt x="3" y="22"/>
                  </a:moveTo>
                  <a:cubicBezTo>
                    <a:pt x="3" y="22"/>
                    <a:pt x="3" y="22"/>
                    <a:pt x="3" y="22"/>
                  </a:cubicBezTo>
                  <a:cubicBezTo>
                    <a:pt x="3" y="21"/>
                    <a:pt x="3" y="21"/>
                    <a:pt x="3" y="21"/>
                  </a:cubicBezTo>
                  <a:cubicBezTo>
                    <a:pt x="4" y="21"/>
                    <a:pt x="4" y="21"/>
                    <a:pt x="4" y="21"/>
                  </a:cubicBezTo>
                  <a:cubicBezTo>
                    <a:pt x="3" y="22"/>
                    <a:pt x="3" y="22"/>
                    <a:pt x="3" y="22"/>
                  </a:cubicBezTo>
                  <a:moveTo>
                    <a:pt x="6" y="21"/>
                  </a:moveTo>
                  <a:cubicBezTo>
                    <a:pt x="6" y="21"/>
                    <a:pt x="6" y="21"/>
                    <a:pt x="6" y="21"/>
                  </a:cubicBezTo>
                  <a:cubicBezTo>
                    <a:pt x="6" y="21"/>
                    <a:pt x="6" y="21"/>
                    <a:pt x="6" y="21"/>
                  </a:cubicBezTo>
                  <a:cubicBezTo>
                    <a:pt x="6" y="21"/>
                    <a:pt x="6" y="21"/>
                    <a:pt x="6" y="21"/>
                  </a:cubicBezTo>
                  <a:moveTo>
                    <a:pt x="2" y="22"/>
                  </a:moveTo>
                  <a:cubicBezTo>
                    <a:pt x="2" y="21"/>
                    <a:pt x="2" y="21"/>
                    <a:pt x="2" y="21"/>
                  </a:cubicBezTo>
                  <a:cubicBezTo>
                    <a:pt x="3" y="21"/>
                    <a:pt x="3" y="21"/>
                    <a:pt x="3" y="21"/>
                  </a:cubicBezTo>
                  <a:cubicBezTo>
                    <a:pt x="3" y="21"/>
                    <a:pt x="3" y="21"/>
                    <a:pt x="3" y="21"/>
                  </a:cubicBezTo>
                  <a:cubicBezTo>
                    <a:pt x="2" y="22"/>
                    <a:pt x="2" y="22"/>
                    <a:pt x="2" y="22"/>
                  </a:cubicBezTo>
                  <a:moveTo>
                    <a:pt x="2" y="21"/>
                  </a:moveTo>
                  <a:cubicBezTo>
                    <a:pt x="2" y="21"/>
                    <a:pt x="2" y="21"/>
                    <a:pt x="2" y="21"/>
                  </a:cubicBezTo>
                  <a:cubicBezTo>
                    <a:pt x="3" y="20"/>
                    <a:pt x="3" y="20"/>
                    <a:pt x="3" y="20"/>
                  </a:cubicBezTo>
                  <a:cubicBezTo>
                    <a:pt x="3" y="20"/>
                    <a:pt x="3" y="20"/>
                    <a:pt x="3" y="20"/>
                  </a:cubicBezTo>
                  <a:cubicBezTo>
                    <a:pt x="2" y="21"/>
                    <a:pt x="2" y="21"/>
                    <a:pt x="2" y="21"/>
                  </a:cubicBezTo>
                  <a:moveTo>
                    <a:pt x="2" y="20"/>
                  </a:moveTo>
                  <a:cubicBezTo>
                    <a:pt x="2" y="20"/>
                    <a:pt x="2" y="20"/>
                    <a:pt x="2" y="20"/>
                  </a:cubicBezTo>
                  <a:cubicBezTo>
                    <a:pt x="2" y="20"/>
                    <a:pt x="2" y="20"/>
                    <a:pt x="2" y="19"/>
                  </a:cubicBezTo>
                  <a:cubicBezTo>
                    <a:pt x="2" y="20"/>
                    <a:pt x="2" y="20"/>
                    <a:pt x="2" y="20"/>
                  </a:cubicBezTo>
                  <a:cubicBezTo>
                    <a:pt x="2" y="20"/>
                    <a:pt x="2" y="20"/>
                    <a:pt x="2" y="20"/>
                  </a:cubicBezTo>
                  <a:moveTo>
                    <a:pt x="21" y="20"/>
                  </a:moveTo>
                  <a:cubicBezTo>
                    <a:pt x="21" y="20"/>
                    <a:pt x="21" y="20"/>
                    <a:pt x="21" y="20"/>
                  </a:cubicBezTo>
                  <a:cubicBezTo>
                    <a:pt x="22" y="19"/>
                    <a:pt x="22" y="19"/>
                    <a:pt x="22" y="19"/>
                  </a:cubicBezTo>
                  <a:cubicBezTo>
                    <a:pt x="22" y="19"/>
                    <a:pt x="22" y="19"/>
                    <a:pt x="22" y="19"/>
                  </a:cubicBezTo>
                  <a:cubicBezTo>
                    <a:pt x="22" y="19"/>
                    <a:pt x="22" y="19"/>
                    <a:pt x="22" y="19"/>
                  </a:cubicBezTo>
                  <a:cubicBezTo>
                    <a:pt x="22" y="19"/>
                    <a:pt x="22" y="19"/>
                    <a:pt x="22" y="19"/>
                  </a:cubicBezTo>
                  <a:cubicBezTo>
                    <a:pt x="21" y="20"/>
                    <a:pt x="21" y="20"/>
                    <a:pt x="21" y="20"/>
                  </a:cubicBezTo>
                  <a:moveTo>
                    <a:pt x="24" y="19"/>
                  </a:moveTo>
                  <a:cubicBezTo>
                    <a:pt x="24" y="18"/>
                    <a:pt x="24" y="18"/>
                    <a:pt x="24" y="18"/>
                  </a:cubicBezTo>
                  <a:cubicBezTo>
                    <a:pt x="24" y="18"/>
                    <a:pt x="24" y="18"/>
                    <a:pt x="24" y="17"/>
                  </a:cubicBezTo>
                  <a:cubicBezTo>
                    <a:pt x="24" y="17"/>
                    <a:pt x="24" y="17"/>
                    <a:pt x="24" y="17"/>
                  </a:cubicBezTo>
                  <a:cubicBezTo>
                    <a:pt x="24" y="18"/>
                    <a:pt x="24" y="18"/>
                    <a:pt x="24" y="19"/>
                  </a:cubicBezTo>
                  <a:moveTo>
                    <a:pt x="23" y="18"/>
                  </a:moveTo>
                  <a:cubicBezTo>
                    <a:pt x="23" y="18"/>
                    <a:pt x="23" y="18"/>
                    <a:pt x="23" y="18"/>
                  </a:cubicBezTo>
                  <a:cubicBezTo>
                    <a:pt x="24" y="17"/>
                    <a:pt x="24" y="17"/>
                    <a:pt x="24" y="17"/>
                  </a:cubicBezTo>
                  <a:cubicBezTo>
                    <a:pt x="24" y="17"/>
                    <a:pt x="24" y="17"/>
                    <a:pt x="24" y="17"/>
                  </a:cubicBezTo>
                  <a:cubicBezTo>
                    <a:pt x="24" y="17"/>
                    <a:pt x="23" y="18"/>
                    <a:pt x="23" y="18"/>
                  </a:cubicBezTo>
                  <a:cubicBezTo>
                    <a:pt x="23" y="18"/>
                    <a:pt x="23" y="18"/>
                    <a:pt x="23" y="18"/>
                  </a:cubicBezTo>
                  <a:moveTo>
                    <a:pt x="3" y="17"/>
                  </a:moveTo>
                  <a:cubicBezTo>
                    <a:pt x="3" y="17"/>
                    <a:pt x="3" y="17"/>
                    <a:pt x="3" y="17"/>
                  </a:cubicBezTo>
                  <a:cubicBezTo>
                    <a:pt x="3" y="17"/>
                    <a:pt x="3" y="17"/>
                    <a:pt x="3" y="17"/>
                  </a:cubicBezTo>
                  <a:cubicBezTo>
                    <a:pt x="3" y="17"/>
                    <a:pt x="3" y="17"/>
                    <a:pt x="3" y="17"/>
                  </a:cubicBezTo>
                  <a:moveTo>
                    <a:pt x="3" y="17"/>
                  </a:moveTo>
                  <a:cubicBezTo>
                    <a:pt x="3" y="16"/>
                    <a:pt x="3" y="16"/>
                    <a:pt x="3" y="16"/>
                  </a:cubicBezTo>
                  <a:cubicBezTo>
                    <a:pt x="3" y="16"/>
                    <a:pt x="3" y="16"/>
                    <a:pt x="3" y="16"/>
                  </a:cubicBezTo>
                  <a:cubicBezTo>
                    <a:pt x="3" y="16"/>
                    <a:pt x="3" y="16"/>
                    <a:pt x="3" y="16"/>
                  </a:cubicBezTo>
                  <a:cubicBezTo>
                    <a:pt x="3" y="17"/>
                    <a:pt x="3" y="17"/>
                    <a:pt x="3" y="17"/>
                  </a:cubicBezTo>
                  <a:moveTo>
                    <a:pt x="2" y="15"/>
                  </a:moveTo>
                  <a:cubicBezTo>
                    <a:pt x="2" y="15"/>
                    <a:pt x="2" y="15"/>
                    <a:pt x="2" y="15"/>
                  </a:cubicBezTo>
                  <a:cubicBezTo>
                    <a:pt x="3" y="15"/>
                    <a:pt x="3" y="15"/>
                    <a:pt x="3" y="15"/>
                  </a:cubicBezTo>
                  <a:cubicBezTo>
                    <a:pt x="3" y="15"/>
                    <a:pt x="3" y="15"/>
                    <a:pt x="3" y="15"/>
                  </a:cubicBezTo>
                  <a:cubicBezTo>
                    <a:pt x="2" y="15"/>
                    <a:pt x="2" y="15"/>
                    <a:pt x="2" y="15"/>
                  </a:cubicBezTo>
                  <a:moveTo>
                    <a:pt x="2" y="15"/>
                  </a:moveTo>
                  <a:cubicBezTo>
                    <a:pt x="1" y="15"/>
                    <a:pt x="1" y="15"/>
                    <a:pt x="1" y="15"/>
                  </a:cubicBezTo>
                  <a:cubicBezTo>
                    <a:pt x="2" y="14"/>
                    <a:pt x="2" y="14"/>
                    <a:pt x="2" y="14"/>
                  </a:cubicBezTo>
                  <a:cubicBezTo>
                    <a:pt x="2" y="14"/>
                    <a:pt x="2" y="14"/>
                    <a:pt x="2" y="14"/>
                  </a:cubicBezTo>
                  <a:cubicBezTo>
                    <a:pt x="2" y="15"/>
                    <a:pt x="2" y="15"/>
                    <a:pt x="2" y="15"/>
                  </a:cubicBezTo>
                  <a:moveTo>
                    <a:pt x="1" y="15"/>
                  </a:moveTo>
                  <a:cubicBezTo>
                    <a:pt x="0" y="15"/>
                    <a:pt x="0" y="15"/>
                    <a:pt x="0" y="15"/>
                  </a:cubicBezTo>
                  <a:cubicBezTo>
                    <a:pt x="0" y="14"/>
                    <a:pt x="0" y="14"/>
                    <a:pt x="0" y="14"/>
                  </a:cubicBezTo>
                  <a:cubicBezTo>
                    <a:pt x="1" y="13"/>
                    <a:pt x="1" y="13"/>
                    <a:pt x="1" y="13"/>
                  </a:cubicBezTo>
                  <a:cubicBezTo>
                    <a:pt x="2" y="13"/>
                    <a:pt x="2" y="13"/>
                    <a:pt x="2" y="13"/>
                  </a:cubicBezTo>
                  <a:cubicBezTo>
                    <a:pt x="1" y="14"/>
                    <a:pt x="1" y="14"/>
                    <a:pt x="1" y="15"/>
                  </a:cubicBezTo>
                  <a:moveTo>
                    <a:pt x="0" y="14"/>
                  </a:moveTo>
                  <a:cubicBezTo>
                    <a:pt x="1" y="13"/>
                    <a:pt x="1" y="13"/>
                    <a:pt x="1" y="13"/>
                  </a:cubicBezTo>
                  <a:cubicBezTo>
                    <a:pt x="1" y="13"/>
                    <a:pt x="1" y="13"/>
                    <a:pt x="1" y="13"/>
                  </a:cubicBezTo>
                  <a:cubicBezTo>
                    <a:pt x="0" y="14"/>
                    <a:pt x="0" y="14"/>
                    <a:pt x="0" y="14"/>
                  </a:cubicBezTo>
                  <a:moveTo>
                    <a:pt x="23" y="9"/>
                  </a:moveTo>
                  <a:cubicBezTo>
                    <a:pt x="23" y="9"/>
                    <a:pt x="23" y="9"/>
                    <a:pt x="23" y="9"/>
                  </a:cubicBezTo>
                  <a:cubicBezTo>
                    <a:pt x="24" y="8"/>
                    <a:pt x="24" y="8"/>
                    <a:pt x="24" y="8"/>
                  </a:cubicBezTo>
                  <a:cubicBezTo>
                    <a:pt x="24" y="9"/>
                    <a:pt x="24" y="9"/>
                    <a:pt x="24" y="9"/>
                  </a:cubicBezTo>
                  <a:cubicBezTo>
                    <a:pt x="23" y="9"/>
                    <a:pt x="23" y="9"/>
                    <a:pt x="23" y="9"/>
                  </a:cubicBezTo>
                  <a:moveTo>
                    <a:pt x="4" y="6"/>
                  </a:moveTo>
                  <a:cubicBezTo>
                    <a:pt x="4" y="6"/>
                    <a:pt x="4" y="6"/>
                    <a:pt x="4" y="6"/>
                  </a:cubicBezTo>
                  <a:cubicBezTo>
                    <a:pt x="5" y="6"/>
                    <a:pt x="5" y="6"/>
                    <a:pt x="5" y="6"/>
                  </a:cubicBezTo>
                  <a:cubicBezTo>
                    <a:pt x="4" y="6"/>
                    <a:pt x="4" y="6"/>
                    <a:pt x="4" y="6"/>
                  </a:cubicBezTo>
                  <a:moveTo>
                    <a:pt x="4" y="6"/>
                  </a:moveTo>
                  <a:cubicBezTo>
                    <a:pt x="4" y="5"/>
                    <a:pt x="4" y="5"/>
                    <a:pt x="4" y="5"/>
                  </a:cubicBezTo>
                  <a:cubicBezTo>
                    <a:pt x="5" y="5"/>
                    <a:pt x="5" y="5"/>
                    <a:pt x="5" y="5"/>
                  </a:cubicBezTo>
                  <a:cubicBezTo>
                    <a:pt x="5" y="5"/>
                    <a:pt x="5" y="5"/>
                    <a:pt x="5" y="5"/>
                  </a:cubicBezTo>
                  <a:cubicBezTo>
                    <a:pt x="4" y="6"/>
                    <a:pt x="4" y="6"/>
                    <a:pt x="4" y="6"/>
                  </a:cubicBezTo>
                  <a:moveTo>
                    <a:pt x="9" y="3"/>
                  </a:moveTo>
                  <a:cubicBezTo>
                    <a:pt x="10" y="3"/>
                    <a:pt x="12" y="3"/>
                    <a:pt x="13" y="3"/>
                  </a:cubicBezTo>
                  <a:cubicBezTo>
                    <a:pt x="13" y="2"/>
                    <a:pt x="13" y="2"/>
                    <a:pt x="13" y="2"/>
                  </a:cubicBezTo>
                  <a:cubicBezTo>
                    <a:pt x="14" y="1"/>
                    <a:pt x="14" y="1"/>
                    <a:pt x="14" y="1"/>
                  </a:cubicBezTo>
                  <a:cubicBezTo>
                    <a:pt x="15" y="1"/>
                    <a:pt x="16" y="1"/>
                    <a:pt x="17" y="1"/>
                  </a:cubicBezTo>
                  <a:cubicBezTo>
                    <a:pt x="16" y="3"/>
                    <a:pt x="16" y="3"/>
                    <a:pt x="16" y="3"/>
                  </a:cubicBezTo>
                  <a:cubicBezTo>
                    <a:pt x="17" y="3"/>
                    <a:pt x="17" y="3"/>
                    <a:pt x="17" y="3"/>
                  </a:cubicBezTo>
                  <a:cubicBezTo>
                    <a:pt x="18" y="4"/>
                    <a:pt x="19" y="4"/>
                    <a:pt x="20" y="5"/>
                  </a:cubicBezTo>
                  <a:cubicBezTo>
                    <a:pt x="20" y="5"/>
                    <a:pt x="20" y="5"/>
                    <a:pt x="20" y="5"/>
                  </a:cubicBezTo>
                  <a:cubicBezTo>
                    <a:pt x="22" y="4"/>
                    <a:pt x="22" y="4"/>
                    <a:pt x="22" y="4"/>
                  </a:cubicBezTo>
                  <a:cubicBezTo>
                    <a:pt x="22" y="5"/>
                    <a:pt x="23" y="6"/>
                    <a:pt x="24" y="6"/>
                  </a:cubicBezTo>
                  <a:cubicBezTo>
                    <a:pt x="24" y="7"/>
                    <a:pt x="24" y="7"/>
                    <a:pt x="24" y="7"/>
                  </a:cubicBezTo>
                  <a:cubicBezTo>
                    <a:pt x="22" y="8"/>
                    <a:pt x="22" y="8"/>
                    <a:pt x="22" y="8"/>
                  </a:cubicBezTo>
                  <a:cubicBezTo>
                    <a:pt x="22" y="9"/>
                    <a:pt x="22" y="9"/>
                    <a:pt x="22" y="9"/>
                  </a:cubicBezTo>
                  <a:cubicBezTo>
                    <a:pt x="23" y="10"/>
                    <a:pt x="23" y="11"/>
                    <a:pt x="23" y="12"/>
                  </a:cubicBezTo>
                  <a:cubicBezTo>
                    <a:pt x="24" y="13"/>
                    <a:pt x="24" y="13"/>
                    <a:pt x="24" y="13"/>
                  </a:cubicBezTo>
                  <a:cubicBezTo>
                    <a:pt x="25" y="13"/>
                    <a:pt x="25" y="13"/>
                    <a:pt x="25" y="13"/>
                  </a:cubicBezTo>
                  <a:cubicBezTo>
                    <a:pt x="25" y="14"/>
                    <a:pt x="25" y="15"/>
                    <a:pt x="25" y="16"/>
                  </a:cubicBezTo>
                  <a:cubicBezTo>
                    <a:pt x="24" y="16"/>
                    <a:pt x="24" y="16"/>
                    <a:pt x="24" y="16"/>
                  </a:cubicBezTo>
                  <a:cubicBezTo>
                    <a:pt x="23" y="16"/>
                    <a:pt x="22" y="17"/>
                    <a:pt x="22" y="18"/>
                  </a:cubicBezTo>
                  <a:cubicBezTo>
                    <a:pt x="21" y="18"/>
                    <a:pt x="21" y="19"/>
                    <a:pt x="20" y="20"/>
                  </a:cubicBezTo>
                  <a:cubicBezTo>
                    <a:pt x="20" y="20"/>
                    <a:pt x="20" y="20"/>
                    <a:pt x="20" y="20"/>
                  </a:cubicBezTo>
                  <a:cubicBezTo>
                    <a:pt x="21" y="22"/>
                    <a:pt x="21" y="22"/>
                    <a:pt x="21" y="22"/>
                  </a:cubicBezTo>
                  <a:cubicBezTo>
                    <a:pt x="21" y="22"/>
                    <a:pt x="20" y="23"/>
                    <a:pt x="19" y="23"/>
                  </a:cubicBezTo>
                  <a:cubicBezTo>
                    <a:pt x="18" y="22"/>
                    <a:pt x="18" y="22"/>
                    <a:pt x="18" y="22"/>
                  </a:cubicBezTo>
                  <a:cubicBezTo>
                    <a:pt x="17" y="22"/>
                    <a:pt x="17" y="22"/>
                    <a:pt x="17" y="22"/>
                  </a:cubicBezTo>
                  <a:cubicBezTo>
                    <a:pt x="16" y="22"/>
                    <a:pt x="15" y="23"/>
                    <a:pt x="13" y="23"/>
                  </a:cubicBezTo>
                  <a:cubicBezTo>
                    <a:pt x="13" y="23"/>
                    <a:pt x="13" y="23"/>
                    <a:pt x="13" y="23"/>
                  </a:cubicBezTo>
                  <a:cubicBezTo>
                    <a:pt x="13" y="25"/>
                    <a:pt x="13" y="25"/>
                    <a:pt x="13" y="25"/>
                  </a:cubicBezTo>
                  <a:cubicBezTo>
                    <a:pt x="12" y="25"/>
                    <a:pt x="11" y="25"/>
                    <a:pt x="9" y="24"/>
                  </a:cubicBezTo>
                  <a:cubicBezTo>
                    <a:pt x="10" y="23"/>
                    <a:pt x="10" y="23"/>
                    <a:pt x="10" y="23"/>
                  </a:cubicBezTo>
                  <a:cubicBezTo>
                    <a:pt x="10" y="22"/>
                    <a:pt x="10" y="22"/>
                    <a:pt x="10" y="22"/>
                  </a:cubicBezTo>
                  <a:cubicBezTo>
                    <a:pt x="8" y="22"/>
                    <a:pt x="7" y="21"/>
                    <a:pt x="6" y="20"/>
                  </a:cubicBezTo>
                  <a:cubicBezTo>
                    <a:pt x="6" y="20"/>
                    <a:pt x="6" y="20"/>
                    <a:pt x="6" y="20"/>
                  </a:cubicBezTo>
                  <a:cubicBezTo>
                    <a:pt x="4" y="21"/>
                    <a:pt x="4" y="21"/>
                    <a:pt x="4" y="21"/>
                  </a:cubicBezTo>
                  <a:cubicBezTo>
                    <a:pt x="3" y="20"/>
                    <a:pt x="3" y="19"/>
                    <a:pt x="2" y="18"/>
                  </a:cubicBezTo>
                  <a:cubicBezTo>
                    <a:pt x="4" y="17"/>
                    <a:pt x="4" y="17"/>
                    <a:pt x="4" y="17"/>
                  </a:cubicBezTo>
                  <a:cubicBezTo>
                    <a:pt x="4" y="17"/>
                    <a:pt x="4" y="17"/>
                    <a:pt x="4" y="17"/>
                  </a:cubicBezTo>
                  <a:cubicBezTo>
                    <a:pt x="3" y="16"/>
                    <a:pt x="3" y="14"/>
                    <a:pt x="3" y="13"/>
                  </a:cubicBezTo>
                  <a:cubicBezTo>
                    <a:pt x="3" y="13"/>
                    <a:pt x="3" y="13"/>
                    <a:pt x="3" y="13"/>
                  </a:cubicBezTo>
                  <a:cubicBezTo>
                    <a:pt x="1" y="12"/>
                    <a:pt x="1" y="12"/>
                    <a:pt x="1" y="12"/>
                  </a:cubicBezTo>
                  <a:cubicBezTo>
                    <a:pt x="1" y="11"/>
                    <a:pt x="1" y="10"/>
                    <a:pt x="2" y="9"/>
                  </a:cubicBezTo>
                  <a:cubicBezTo>
                    <a:pt x="3" y="9"/>
                    <a:pt x="3" y="9"/>
                    <a:pt x="3" y="9"/>
                  </a:cubicBezTo>
                  <a:cubicBezTo>
                    <a:pt x="4" y="9"/>
                    <a:pt x="4" y="9"/>
                    <a:pt x="4" y="9"/>
                  </a:cubicBezTo>
                  <a:cubicBezTo>
                    <a:pt x="4" y="8"/>
                    <a:pt x="5" y="7"/>
                    <a:pt x="6" y="6"/>
                  </a:cubicBezTo>
                  <a:cubicBezTo>
                    <a:pt x="6" y="5"/>
                    <a:pt x="6" y="5"/>
                    <a:pt x="6" y="5"/>
                  </a:cubicBezTo>
                  <a:cubicBezTo>
                    <a:pt x="5" y="4"/>
                    <a:pt x="5" y="4"/>
                    <a:pt x="5" y="4"/>
                  </a:cubicBezTo>
                  <a:cubicBezTo>
                    <a:pt x="6" y="3"/>
                    <a:pt x="7" y="2"/>
                    <a:pt x="8" y="2"/>
                  </a:cubicBezTo>
                  <a:cubicBezTo>
                    <a:pt x="9" y="3"/>
                    <a:pt x="9" y="3"/>
                    <a:pt x="9" y="3"/>
                  </a:cubicBezTo>
                  <a:cubicBezTo>
                    <a:pt x="9" y="3"/>
                    <a:pt x="9" y="3"/>
                    <a:pt x="9" y="3"/>
                  </a:cubicBezTo>
                  <a:moveTo>
                    <a:pt x="13" y="0"/>
                  </a:moveTo>
                  <a:cubicBezTo>
                    <a:pt x="13" y="0"/>
                    <a:pt x="13" y="0"/>
                    <a:pt x="13" y="0"/>
                  </a:cubicBezTo>
                  <a:cubicBezTo>
                    <a:pt x="12" y="2"/>
                    <a:pt x="12" y="2"/>
                    <a:pt x="12" y="2"/>
                  </a:cubicBezTo>
                  <a:cubicBezTo>
                    <a:pt x="11" y="2"/>
                    <a:pt x="10" y="2"/>
                    <a:pt x="9" y="3"/>
                  </a:cubicBezTo>
                  <a:cubicBezTo>
                    <a:pt x="8" y="1"/>
                    <a:pt x="8" y="1"/>
                    <a:pt x="8" y="1"/>
                  </a:cubicBezTo>
                  <a:cubicBezTo>
                    <a:pt x="8" y="1"/>
                    <a:pt x="8" y="1"/>
                    <a:pt x="8" y="1"/>
                  </a:cubicBezTo>
                  <a:cubicBezTo>
                    <a:pt x="6" y="2"/>
                    <a:pt x="5" y="2"/>
                    <a:pt x="4" y="3"/>
                  </a:cubicBezTo>
                  <a:cubicBezTo>
                    <a:pt x="4" y="4"/>
                    <a:pt x="4" y="4"/>
                    <a:pt x="4" y="4"/>
                  </a:cubicBezTo>
                  <a:cubicBezTo>
                    <a:pt x="4" y="4"/>
                    <a:pt x="4" y="4"/>
                    <a:pt x="4" y="4"/>
                  </a:cubicBezTo>
                  <a:cubicBezTo>
                    <a:pt x="4" y="4"/>
                    <a:pt x="4" y="4"/>
                    <a:pt x="4" y="4"/>
                  </a:cubicBezTo>
                  <a:cubicBezTo>
                    <a:pt x="4" y="5"/>
                    <a:pt x="4" y="5"/>
                    <a:pt x="3" y="6"/>
                  </a:cubicBezTo>
                  <a:cubicBezTo>
                    <a:pt x="3" y="6"/>
                    <a:pt x="3" y="6"/>
                    <a:pt x="3" y="6"/>
                  </a:cubicBezTo>
                  <a:cubicBezTo>
                    <a:pt x="4" y="7"/>
                    <a:pt x="4" y="7"/>
                    <a:pt x="4" y="7"/>
                  </a:cubicBezTo>
                  <a:cubicBezTo>
                    <a:pt x="4" y="7"/>
                    <a:pt x="3" y="8"/>
                    <a:pt x="3" y="8"/>
                  </a:cubicBezTo>
                  <a:cubicBezTo>
                    <a:pt x="1" y="8"/>
                    <a:pt x="1" y="8"/>
                    <a:pt x="1" y="8"/>
                  </a:cubicBezTo>
                  <a:cubicBezTo>
                    <a:pt x="1" y="8"/>
                    <a:pt x="1" y="8"/>
                    <a:pt x="1" y="8"/>
                  </a:cubicBezTo>
                  <a:cubicBezTo>
                    <a:pt x="1" y="9"/>
                    <a:pt x="1" y="9"/>
                    <a:pt x="1" y="9"/>
                  </a:cubicBezTo>
                  <a:cubicBezTo>
                    <a:pt x="1" y="9"/>
                    <a:pt x="1" y="9"/>
                    <a:pt x="1" y="9"/>
                  </a:cubicBezTo>
                  <a:cubicBezTo>
                    <a:pt x="0" y="10"/>
                    <a:pt x="0" y="13"/>
                    <a:pt x="0" y="15"/>
                  </a:cubicBezTo>
                  <a:cubicBezTo>
                    <a:pt x="0" y="15"/>
                    <a:pt x="0" y="15"/>
                    <a:pt x="0" y="15"/>
                  </a:cubicBezTo>
                  <a:cubicBezTo>
                    <a:pt x="0" y="15"/>
                    <a:pt x="0" y="15"/>
                    <a:pt x="0" y="15"/>
                  </a:cubicBezTo>
                  <a:cubicBezTo>
                    <a:pt x="0" y="15"/>
                    <a:pt x="0" y="15"/>
                    <a:pt x="0" y="15"/>
                  </a:cubicBezTo>
                  <a:cubicBezTo>
                    <a:pt x="0" y="15"/>
                    <a:pt x="0" y="15"/>
                    <a:pt x="0" y="15"/>
                  </a:cubicBezTo>
                  <a:cubicBezTo>
                    <a:pt x="2" y="16"/>
                    <a:pt x="2" y="16"/>
                    <a:pt x="2" y="16"/>
                  </a:cubicBezTo>
                  <a:cubicBezTo>
                    <a:pt x="2" y="16"/>
                    <a:pt x="2" y="17"/>
                    <a:pt x="2" y="18"/>
                  </a:cubicBezTo>
                  <a:cubicBezTo>
                    <a:pt x="2" y="18"/>
                    <a:pt x="2" y="18"/>
                    <a:pt x="2" y="18"/>
                  </a:cubicBezTo>
                  <a:cubicBezTo>
                    <a:pt x="1" y="18"/>
                    <a:pt x="1" y="18"/>
                    <a:pt x="1" y="18"/>
                  </a:cubicBezTo>
                  <a:cubicBezTo>
                    <a:pt x="1" y="19"/>
                    <a:pt x="1" y="20"/>
                    <a:pt x="1" y="20"/>
                  </a:cubicBezTo>
                  <a:cubicBezTo>
                    <a:pt x="1" y="21"/>
                    <a:pt x="1" y="21"/>
                    <a:pt x="1" y="21"/>
                  </a:cubicBezTo>
                  <a:cubicBezTo>
                    <a:pt x="1" y="21"/>
                    <a:pt x="1" y="21"/>
                    <a:pt x="1" y="21"/>
                  </a:cubicBezTo>
                  <a:cubicBezTo>
                    <a:pt x="2" y="22"/>
                    <a:pt x="2" y="23"/>
                    <a:pt x="3" y="24"/>
                  </a:cubicBezTo>
                  <a:cubicBezTo>
                    <a:pt x="3" y="24"/>
                    <a:pt x="3" y="24"/>
                    <a:pt x="3" y="24"/>
                  </a:cubicBezTo>
                  <a:cubicBezTo>
                    <a:pt x="3" y="24"/>
                    <a:pt x="3" y="24"/>
                    <a:pt x="3" y="24"/>
                  </a:cubicBezTo>
                  <a:cubicBezTo>
                    <a:pt x="3" y="24"/>
                    <a:pt x="3" y="24"/>
                    <a:pt x="3" y="24"/>
                  </a:cubicBezTo>
                  <a:cubicBezTo>
                    <a:pt x="3" y="24"/>
                    <a:pt x="3" y="24"/>
                    <a:pt x="3" y="24"/>
                  </a:cubicBezTo>
                  <a:cubicBezTo>
                    <a:pt x="4" y="24"/>
                    <a:pt x="4" y="24"/>
                    <a:pt x="4" y="24"/>
                  </a:cubicBezTo>
                  <a:cubicBezTo>
                    <a:pt x="4" y="24"/>
                    <a:pt x="4" y="24"/>
                    <a:pt x="4" y="24"/>
                  </a:cubicBezTo>
                  <a:cubicBezTo>
                    <a:pt x="5" y="23"/>
                    <a:pt x="5" y="23"/>
                    <a:pt x="5" y="23"/>
                  </a:cubicBezTo>
                  <a:cubicBezTo>
                    <a:pt x="6" y="24"/>
                    <a:pt x="7" y="24"/>
                    <a:pt x="8" y="25"/>
                  </a:cubicBezTo>
                  <a:cubicBezTo>
                    <a:pt x="8" y="25"/>
                    <a:pt x="8" y="25"/>
                    <a:pt x="8" y="25"/>
                  </a:cubicBezTo>
                  <a:cubicBezTo>
                    <a:pt x="8" y="26"/>
                    <a:pt x="8" y="26"/>
                    <a:pt x="8" y="27"/>
                  </a:cubicBezTo>
                  <a:cubicBezTo>
                    <a:pt x="8" y="27"/>
                    <a:pt x="8" y="27"/>
                    <a:pt x="8" y="27"/>
                  </a:cubicBezTo>
                  <a:cubicBezTo>
                    <a:pt x="10" y="28"/>
                    <a:pt x="11" y="28"/>
                    <a:pt x="12" y="28"/>
                  </a:cubicBezTo>
                  <a:cubicBezTo>
                    <a:pt x="13" y="28"/>
                    <a:pt x="13" y="28"/>
                    <a:pt x="13" y="28"/>
                  </a:cubicBezTo>
                  <a:cubicBezTo>
                    <a:pt x="13" y="27"/>
                    <a:pt x="13" y="27"/>
                    <a:pt x="13" y="27"/>
                  </a:cubicBezTo>
                  <a:cubicBezTo>
                    <a:pt x="13" y="26"/>
                    <a:pt x="13" y="26"/>
                    <a:pt x="13" y="26"/>
                  </a:cubicBezTo>
                  <a:cubicBezTo>
                    <a:pt x="15" y="26"/>
                    <a:pt x="16" y="25"/>
                    <a:pt x="17" y="25"/>
                  </a:cubicBezTo>
                  <a:cubicBezTo>
                    <a:pt x="18" y="26"/>
                    <a:pt x="18" y="26"/>
                    <a:pt x="18" y="26"/>
                  </a:cubicBezTo>
                  <a:cubicBezTo>
                    <a:pt x="18" y="27"/>
                    <a:pt x="18" y="27"/>
                    <a:pt x="18" y="27"/>
                  </a:cubicBezTo>
                  <a:cubicBezTo>
                    <a:pt x="19" y="26"/>
                    <a:pt x="21" y="25"/>
                    <a:pt x="22" y="24"/>
                  </a:cubicBezTo>
                  <a:cubicBezTo>
                    <a:pt x="22" y="24"/>
                    <a:pt x="22" y="24"/>
                    <a:pt x="22" y="24"/>
                  </a:cubicBezTo>
                  <a:cubicBezTo>
                    <a:pt x="22" y="23"/>
                    <a:pt x="22" y="23"/>
                    <a:pt x="22" y="22"/>
                  </a:cubicBezTo>
                  <a:cubicBezTo>
                    <a:pt x="22" y="22"/>
                    <a:pt x="22" y="22"/>
                    <a:pt x="22" y="22"/>
                  </a:cubicBezTo>
                  <a:cubicBezTo>
                    <a:pt x="22" y="21"/>
                    <a:pt x="22" y="21"/>
                    <a:pt x="22" y="21"/>
                  </a:cubicBezTo>
                  <a:cubicBezTo>
                    <a:pt x="22" y="21"/>
                    <a:pt x="22" y="21"/>
                    <a:pt x="22" y="21"/>
                  </a:cubicBezTo>
                  <a:cubicBezTo>
                    <a:pt x="22" y="21"/>
                    <a:pt x="22" y="21"/>
                    <a:pt x="22" y="21"/>
                  </a:cubicBezTo>
                  <a:cubicBezTo>
                    <a:pt x="22" y="20"/>
                    <a:pt x="22" y="20"/>
                    <a:pt x="22" y="20"/>
                  </a:cubicBezTo>
                  <a:cubicBezTo>
                    <a:pt x="23" y="19"/>
                    <a:pt x="23" y="19"/>
                    <a:pt x="23" y="19"/>
                  </a:cubicBezTo>
                  <a:cubicBezTo>
                    <a:pt x="23" y="19"/>
                    <a:pt x="24" y="19"/>
                    <a:pt x="24" y="19"/>
                  </a:cubicBezTo>
                  <a:cubicBezTo>
                    <a:pt x="25" y="19"/>
                    <a:pt x="25" y="19"/>
                    <a:pt x="25" y="19"/>
                  </a:cubicBezTo>
                  <a:cubicBezTo>
                    <a:pt x="25" y="18"/>
                    <a:pt x="25" y="18"/>
                    <a:pt x="25" y="17"/>
                  </a:cubicBezTo>
                  <a:cubicBezTo>
                    <a:pt x="25" y="17"/>
                    <a:pt x="25" y="17"/>
                    <a:pt x="25" y="17"/>
                  </a:cubicBezTo>
                  <a:cubicBezTo>
                    <a:pt x="26" y="15"/>
                    <a:pt x="26" y="14"/>
                    <a:pt x="26" y="13"/>
                  </a:cubicBezTo>
                  <a:cubicBezTo>
                    <a:pt x="26" y="12"/>
                    <a:pt x="26" y="12"/>
                    <a:pt x="26" y="12"/>
                  </a:cubicBezTo>
                  <a:cubicBezTo>
                    <a:pt x="24" y="12"/>
                    <a:pt x="24" y="12"/>
                    <a:pt x="24" y="12"/>
                  </a:cubicBezTo>
                  <a:cubicBezTo>
                    <a:pt x="24" y="11"/>
                    <a:pt x="24" y="11"/>
                    <a:pt x="24" y="10"/>
                  </a:cubicBezTo>
                  <a:cubicBezTo>
                    <a:pt x="24" y="10"/>
                    <a:pt x="24" y="10"/>
                    <a:pt x="24" y="10"/>
                  </a:cubicBezTo>
                  <a:cubicBezTo>
                    <a:pt x="24" y="9"/>
                    <a:pt x="24" y="9"/>
                    <a:pt x="24" y="9"/>
                  </a:cubicBezTo>
                  <a:cubicBezTo>
                    <a:pt x="24" y="9"/>
                    <a:pt x="25" y="8"/>
                    <a:pt x="25" y="8"/>
                  </a:cubicBezTo>
                  <a:cubicBezTo>
                    <a:pt x="25" y="7"/>
                    <a:pt x="25" y="7"/>
                    <a:pt x="25" y="7"/>
                  </a:cubicBezTo>
                  <a:cubicBezTo>
                    <a:pt x="25" y="7"/>
                    <a:pt x="25" y="7"/>
                    <a:pt x="25" y="7"/>
                  </a:cubicBezTo>
                  <a:cubicBezTo>
                    <a:pt x="25" y="7"/>
                    <a:pt x="25" y="7"/>
                    <a:pt x="25" y="7"/>
                  </a:cubicBezTo>
                  <a:cubicBezTo>
                    <a:pt x="24" y="6"/>
                    <a:pt x="24" y="6"/>
                    <a:pt x="24" y="6"/>
                  </a:cubicBezTo>
                  <a:cubicBezTo>
                    <a:pt x="24" y="6"/>
                    <a:pt x="23" y="4"/>
                    <a:pt x="22" y="3"/>
                  </a:cubicBezTo>
                  <a:cubicBezTo>
                    <a:pt x="22" y="3"/>
                    <a:pt x="22" y="3"/>
                    <a:pt x="22" y="3"/>
                  </a:cubicBezTo>
                  <a:cubicBezTo>
                    <a:pt x="20" y="5"/>
                    <a:pt x="20" y="5"/>
                    <a:pt x="20" y="5"/>
                  </a:cubicBezTo>
                  <a:cubicBezTo>
                    <a:pt x="19" y="4"/>
                    <a:pt x="18" y="3"/>
                    <a:pt x="17" y="3"/>
                  </a:cubicBezTo>
                  <a:cubicBezTo>
                    <a:pt x="18" y="1"/>
                    <a:pt x="18" y="1"/>
                    <a:pt x="18" y="1"/>
                  </a:cubicBezTo>
                  <a:cubicBezTo>
                    <a:pt x="17" y="0"/>
                    <a:pt x="17" y="0"/>
                    <a:pt x="17" y="0"/>
                  </a:cubicBezTo>
                  <a:cubicBezTo>
                    <a:pt x="16" y="0"/>
                    <a:pt x="15" y="0"/>
                    <a:pt x="1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90" name="iśļîḋè"/>
            <p:cNvSpPr/>
            <p:nvPr/>
          </p:nvSpPr>
          <p:spPr bwMode="auto">
            <a:xfrm>
              <a:off x="3625" y="1903"/>
              <a:ext cx="43" cy="41"/>
            </a:xfrm>
            <a:custGeom>
              <a:avLst/>
              <a:gdLst>
                <a:gd name="T0" fmla="*/ 16 w 18"/>
                <a:gd name="T1" fmla="*/ 9 h 17"/>
                <a:gd name="T2" fmla="*/ 16 w 18"/>
                <a:gd name="T3" fmla="*/ 9 h 17"/>
                <a:gd name="T4" fmla="*/ 16 w 18"/>
                <a:gd name="T5" fmla="*/ 9 h 17"/>
                <a:gd name="T6" fmla="*/ 16 w 18"/>
                <a:gd name="T7" fmla="*/ 8 h 17"/>
                <a:gd name="T8" fmla="*/ 16 w 18"/>
                <a:gd name="T9" fmla="*/ 9 h 17"/>
                <a:gd name="T10" fmla="*/ 16 w 18"/>
                <a:gd name="T11" fmla="*/ 8 h 17"/>
                <a:gd name="T12" fmla="*/ 16 w 18"/>
                <a:gd name="T13" fmla="*/ 8 h 17"/>
                <a:gd name="T14" fmla="*/ 16 w 18"/>
                <a:gd name="T15" fmla="*/ 7 h 17"/>
                <a:gd name="T16" fmla="*/ 16 w 18"/>
                <a:gd name="T17" fmla="*/ 7 h 17"/>
                <a:gd name="T18" fmla="*/ 16 w 18"/>
                <a:gd name="T19" fmla="*/ 7 h 17"/>
                <a:gd name="T20" fmla="*/ 15 w 18"/>
                <a:gd name="T21" fmla="*/ 6 h 17"/>
                <a:gd name="T22" fmla="*/ 16 w 18"/>
                <a:gd name="T23" fmla="*/ 6 h 17"/>
                <a:gd name="T24" fmla="*/ 15 w 18"/>
                <a:gd name="T25" fmla="*/ 6 h 17"/>
                <a:gd name="T26" fmla="*/ 15 w 18"/>
                <a:gd name="T27" fmla="*/ 5 h 17"/>
                <a:gd name="T28" fmla="*/ 15 w 18"/>
                <a:gd name="T29" fmla="*/ 6 h 17"/>
                <a:gd name="T30" fmla="*/ 14 w 18"/>
                <a:gd name="T31" fmla="*/ 5 h 17"/>
                <a:gd name="T32" fmla="*/ 15 w 18"/>
                <a:gd name="T33" fmla="*/ 5 h 17"/>
                <a:gd name="T34" fmla="*/ 14 w 18"/>
                <a:gd name="T35" fmla="*/ 5 h 17"/>
                <a:gd name="T36" fmla="*/ 13 w 18"/>
                <a:gd name="T37" fmla="*/ 4 h 17"/>
                <a:gd name="T38" fmla="*/ 15 w 18"/>
                <a:gd name="T39" fmla="*/ 4 h 17"/>
                <a:gd name="T40" fmla="*/ 9 w 18"/>
                <a:gd name="T41" fmla="*/ 16 h 17"/>
                <a:gd name="T42" fmla="*/ 2 w 18"/>
                <a:gd name="T43" fmla="*/ 7 h 17"/>
                <a:gd name="T44" fmla="*/ 4 w 18"/>
                <a:gd name="T45" fmla="*/ 5 h 17"/>
                <a:gd name="T46" fmla="*/ 12 w 18"/>
                <a:gd name="T47" fmla="*/ 4 h 17"/>
                <a:gd name="T48" fmla="*/ 16 w 18"/>
                <a:gd name="T49" fmla="*/ 12 h 17"/>
                <a:gd name="T50" fmla="*/ 13 w 18"/>
                <a:gd name="T51" fmla="*/ 15 h 17"/>
                <a:gd name="T52" fmla="*/ 9 w 18"/>
                <a:gd name="T53" fmla="*/ 16 h 17"/>
                <a:gd name="T54" fmla="*/ 12 w 18"/>
                <a:gd name="T55" fmla="*/ 4 h 17"/>
                <a:gd name="T56" fmla="*/ 14 w 18"/>
                <a:gd name="T57" fmla="*/ 3 h 17"/>
                <a:gd name="T58" fmla="*/ 12 w 18"/>
                <a:gd name="T59" fmla="*/ 4 h 17"/>
                <a:gd name="T60" fmla="*/ 13 w 18"/>
                <a:gd name="T61" fmla="*/ 3 h 17"/>
                <a:gd name="T62" fmla="*/ 12 w 18"/>
                <a:gd name="T63" fmla="*/ 4 h 17"/>
                <a:gd name="T64" fmla="*/ 3 w 18"/>
                <a:gd name="T65" fmla="*/ 5 h 17"/>
                <a:gd name="T66" fmla="*/ 5 w 18"/>
                <a:gd name="T67" fmla="*/ 3 h 17"/>
                <a:gd name="T68" fmla="*/ 3 w 18"/>
                <a:gd name="T69" fmla="*/ 5 h 17"/>
                <a:gd name="T70" fmla="*/ 11 w 18"/>
                <a:gd name="T71" fmla="*/ 3 h 17"/>
                <a:gd name="T72" fmla="*/ 11 w 18"/>
                <a:gd name="T73" fmla="*/ 2 h 17"/>
                <a:gd name="T74" fmla="*/ 12 w 18"/>
                <a:gd name="T75" fmla="*/ 2 h 17"/>
                <a:gd name="T76" fmla="*/ 10 w 18"/>
                <a:gd name="T77" fmla="*/ 3 h 17"/>
                <a:gd name="T78" fmla="*/ 11 w 18"/>
                <a:gd name="T79" fmla="*/ 2 h 17"/>
                <a:gd name="T80" fmla="*/ 11 w 18"/>
                <a:gd name="T81" fmla="*/ 2 h 17"/>
                <a:gd name="T82" fmla="*/ 5 w 18"/>
                <a:gd name="T83" fmla="*/ 4 h 17"/>
                <a:gd name="T84" fmla="*/ 7 w 18"/>
                <a:gd name="T85" fmla="*/ 2 h 17"/>
                <a:gd name="T86" fmla="*/ 5 w 18"/>
                <a:gd name="T87" fmla="*/ 4 h 17"/>
                <a:gd name="T88" fmla="*/ 6 w 18"/>
                <a:gd name="T89" fmla="*/ 3 h 17"/>
                <a:gd name="T90" fmla="*/ 8 w 18"/>
                <a:gd name="T91" fmla="*/ 1 h 17"/>
                <a:gd name="T92" fmla="*/ 6 w 18"/>
                <a:gd name="T93" fmla="*/ 3 h 17"/>
                <a:gd name="T94" fmla="*/ 9 w 18"/>
                <a:gd name="T95" fmla="*/ 3 h 17"/>
                <a:gd name="T96" fmla="*/ 10 w 18"/>
                <a:gd name="T97" fmla="*/ 1 h 17"/>
                <a:gd name="T98" fmla="*/ 9 w 18"/>
                <a:gd name="T99" fmla="*/ 3 h 17"/>
                <a:gd name="T100" fmla="*/ 9 w 18"/>
                <a:gd name="T101" fmla="*/ 1 h 17"/>
                <a:gd name="T102" fmla="*/ 9 w 18"/>
                <a:gd name="T103" fmla="*/ 1 h 17"/>
                <a:gd name="T104" fmla="*/ 7 w 18"/>
                <a:gd name="T105" fmla="*/ 3 h 17"/>
                <a:gd name="T106" fmla="*/ 4 w 18"/>
                <a:gd name="T107" fmla="*/ 2 h 17"/>
                <a:gd name="T108" fmla="*/ 9 w 18"/>
                <a:gd name="T109" fmla="*/ 17 h 17"/>
                <a:gd name="T110" fmla="*/ 13 w 18"/>
                <a:gd name="T111" fmla="*/ 16 h 17"/>
                <a:gd name="T112" fmla="*/ 14 w 18"/>
                <a:gd name="T113" fmla="*/ 15 h 17"/>
                <a:gd name="T114" fmla="*/ 14 w 18"/>
                <a:gd name="T115" fmla="*/ 15 h 17"/>
                <a:gd name="T116" fmla="*/ 16 w 18"/>
                <a:gd name="T11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 h="17">
                  <a:moveTo>
                    <a:pt x="16" y="10"/>
                  </a:moveTo>
                  <a:cubicBezTo>
                    <a:pt x="16" y="9"/>
                    <a:pt x="16" y="9"/>
                    <a:pt x="16" y="9"/>
                  </a:cubicBezTo>
                  <a:cubicBezTo>
                    <a:pt x="16" y="9"/>
                    <a:pt x="16" y="9"/>
                    <a:pt x="16" y="9"/>
                  </a:cubicBezTo>
                  <a:cubicBezTo>
                    <a:pt x="16" y="9"/>
                    <a:pt x="16" y="9"/>
                    <a:pt x="16" y="9"/>
                  </a:cubicBezTo>
                  <a:cubicBezTo>
                    <a:pt x="16" y="10"/>
                    <a:pt x="16" y="10"/>
                    <a:pt x="16" y="10"/>
                  </a:cubicBezTo>
                  <a:moveTo>
                    <a:pt x="16" y="9"/>
                  </a:moveTo>
                  <a:cubicBezTo>
                    <a:pt x="16" y="8"/>
                    <a:pt x="16" y="8"/>
                    <a:pt x="16" y="8"/>
                  </a:cubicBezTo>
                  <a:cubicBezTo>
                    <a:pt x="16" y="8"/>
                    <a:pt x="16" y="8"/>
                    <a:pt x="16" y="8"/>
                  </a:cubicBezTo>
                  <a:cubicBezTo>
                    <a:pt x="16" y="8"/>
                    <a:pt x="16" y="8"/>
                    <a:pt x="16" y="8"/>
                  </a:cubicBezTo>
                  <a:cubicBezTo>
                    <a:pt x="16" y="9"/>
                    <a:pt x="16" y="9"/>
                    <a:pt x="16" y="9"/>
                  </a:cubicBezTo>
                  <a:moveTo>
                    <a:pt x="16" y="8"/>
                  </a:moveTo>
                  <a:cubicBezTo>
                    <a:pt x="16" y="8"/>
                    <a:pt x="16" y="8"/>
                    <a:pt x="16" y="8"/>
                  </a:cubicBezTo>
                  <a:cubicBezTo>
                    <a:pt x="16" y="7"/>
                    <a:pt x="16" y="7"/>
                    <a:pt x="16" y="7"/>
                  </a:cubicBezTo>
                  <a:cubicBezTo>
                    <a:pt x="16" y="8"/>
                    <a:pt x="16" y="8"/>
                    <a:pt x="16" y="8"/>
                  </a:cubicBezTo>
                  <a:cubicBezTo>
                    <a:pt x="16" y="8"/>
                    <a:pt x="16" y="8"/>
                    <a:pt x="16" y="8"/>
                  </a:cubicBezTo>
                  <a:moveTo>
                    <a:pt x="16" y="7"/>
                  </a:moveTo>
                  <a:cubicBezTo>
                    <a:pt x="15" y="7"/>
                    <a:pt x="15" y="7"/>
                    <a:pt x="15" y="7"/>
                  </a:cubicBezTo>
                  <a:cubicBezTo>
                    <a:pt x="16" y="7"/>
                    <a:pt x="16" y="7"/>
                    <a:pt x="16" y="7"/>
                  </a:cubicBezTo>
                  <a:cubicBezTo>
                    <a:pt x="16" y="7"/>
                    <a:pt x="16" y="7"/>
                    <a:pt x="16" y="7"/>
                  </a:cubicBezTo>
                  <a:cubicBezTo>
                    <a:pt x="16" y="7"/>
                    <a:pt x="16" y="7"/>
                    <a:pt x="16" y="7"/>
                  </a:cubicBezTo>
                  <a:moveTo>
                    <a:pt x="15" y="7"/>
                  </a:moveTo>
                  <a:cubicBezTo>
                    <a:pt x="15" y="6"/>
                    <a:pt x="15" y="6"/>
                    <a:pt x="15" y="6"/>
                  </a:cubicBezTo>
                  <a:cubicBezTo>
                    <a:pt x="16" y="6"/>
                    <a:pt x="16" y="6"/>
                    <a:pt x="16" y="6"/>
                  </a:cubicBezTo>
                  <a:cubicBezTo>
                    <a:pt x="16" y="6"/>
                    <a:pt x="16" y="6"/>
                    <a:pt x="16" y="6"/>
                  </a:cubicBezTo>
                  <a:cubicBezTo>
                    <a:pt x="15" y="7"/>
                    <a:pt x="15" y="7"/>
                    <a:pt x="15" y="7"/>
                  </a:cubicBezTo>
                  <a:moveTo>
                    <a:pt x="15" y="6"/>
                  </a:moveTo>
                  <a:cubicBezTo>
                    <a:pt x="14" y="6"/>
                    <a:pt x="14" y="6"/>
                    <a:pt x="14" y="6"/>
                  </a:cubicBezTo>
                  <a:cubicBezTo>
                    <a:pt x="15" y="5"/>
                    <a:pt x="15" y="5"/>
                    <a:pt x="15" y="5"/>
                  </a:cubicBezTo>
                  <a:cubicBezTo>
                    <a:pt x="16" y="6"/>
                    <a:pt x="16" y="6"/>
                    <a:pt x="16" y="6"/>
                  </a:cubicBezTo>
                  <a:cubicBezTo>
                    <a:pt x="15" y="6"/>
                    <a:pt x="15" y="6"/>
                    <a:pt x="15" y="6"/>
                  </a:cubicBezTo>
                  <a:moveTo>
                    <a:pt x="14" y="5"/>
                  </a:moveTo>
                  <a:cubicBezTo>
                    <a:pt x="14" y="5"/>
                    <a:pt x="14" y="5"/>
                    <a:pt x="14" y="5"/>
                  </a:cubicBezTo>
                  <a:cubicBezTo>
                    <a:pt x="15" y="4"/>
                    <a:pt x="15" y="4"/>
                    <a:pt x="15" y="4"/>
                  </a:cubicBezTo>
                  <a:cubicBezTo>
                    <a:pt x="15" y="5"/>
                    <a:pt x="15" y="5"/>
                    <a:pt x="15" y="5"/>
                  </a:cubicBezTo>
                  <a:cubicBezTo>
                    <a:pt x="15" y="5"/>
                    <a:pt x="15" y="5"/>
                    <a:pt x="15" y="5"/>
                  </a:cubicBezTo>
                  <a:cubicBezTo>
                    <a:pt x="14" y="5"/>
                    <a:pt x="14" y="5"/>
                    <a:pt x="14" y="5"/>
                  </a:cubicBezTo>
                  <a:moveTo>
                    <a:pt x="13" y="5"/>
                  </a:moveTo>
                  <a:cubicBezTo>
                    <a:pt x="13" y="4"/>
                    <a:pt x="13" y="4"/>
                    <a:pt x="13" y="4"/>
                  </a:cubicBezTo>
                  <a:cubicBezTo>
                    <a:pt x="14" y="4"/>
                    <a:pt x="14" y="4"/>
                    <a:pt x="14" y="4"/>
                  </a:cubicBezTo>
                  <a:cubicBezTo>
                    <a:pt x="15" y="4"/>
                    <a:pt x="15" y="4"/>
                    <a:pt x="15" y="4"/>
                  </a:cubicBezTo>
                  <a:cubicBezTo>
                    <a:pt x="14" y="4"/>
                    <a:pt x="14" y="5"/>
                    <a:pt x="13" y="5"/>
                  </a:cubicBezTo>
                  <a:moveTo>
                    <a:pt x="9" y="16"/>
                  </a:moveTo>
                  <a:cubicBezTo>
                    <a:pt x="7" y="16"/>
                    <a:pt x="5" y="15"/>
                    <a:pt x="3" y="13"/>
                  </a:cubicBezTo>
                  <a:cubicBezTo>
                    <a:pt x="2" y="11"/>
                    <a:pt x="2" y="9"/>
                    <a:pt x="2" y="7"/>
                  </a:cubicBezTo>
                  <a:cubicBezTo>
                    <a:pt x="2" y="7"/>
                    <a:pt x="2" y="7"/>
                    <a:pt x="2" y="7"/>
                  </a:cubicBezTo>
                  <a:cubicBezTo>
                    <a:pt x="3" y="6"/>
                    <a:pt x="3" y="6"/>
                    <a:pt x="4" y="5"/>
                  </a:cubicBezTo>
                  <a:cubicBezTo>
                    <a:pt x="6" y="4"/>
                    <a:pt x="7" y="4"/>
                    <a:pt x="8" y="4"/>
                  </a:cubicBezTo>
                  <a:cubicBezTo>
                    <a:pt x="10" y="4"/>
                    <a:pt x="11" y="4"/>
                    <a:pt x="12" y="4"/>
                  </a:cubicBezTo>
                  <a:cubicBezTo>
                    <a:pt x="14" y="6"/>
                    <a:pt x="16" y="9"/>
                    <a:pt x="16" y="12"/>
                  </a:cubicBezTo>
                  <a:cubicBezTo>
                    <a:pt x="16" y="12"/>
                    <a:pt x="16" y="12"/>
                    <a:pt x="16" y="12"/>
                  </a:cubicBezTo>
                  <a:cubicBezTo>
                    <a:pt x="15" y="13"/>
                    <a:pt x="15" y="14"/>
                    <a:pt x="13" y="15"/>
                  </a:cubicBezTo>
                  <a:cubicBezTo>
                    <a:pt x="13" y="15"/>
                    <a:pt x="13" y="15"/>
                    <a:pt x="13" y="15"/>
                  </a:cubicBezTo>
                  <a:cubicBezTo>
                    <a:pt x="13" y="15"/>
                    <a:pt x="13" y="15"/>
                    <a:pt x="13" y="15"/>
                  </a:cubicBezTo>
                  <a:cubicBezTo>
                    <a:pt x="12" y="16"/>
                    <a:pt x="11" y="16"/>
                    <a:pt x="9" y="16"/>
                  </a:cubicBezTo>
                  <a:moveTo>
                    <a:pt x="13" y="4"/>
                  </a:moveTo>
                  <a:cubicBezTo>
                    <a:pt x="12" y="4"/>
                    <a:pt x="12" y="4"/>
                    <a:pt x="12" y="4"/>
                  </a:cubicBezTo>
                  <a:cubicBezTo>
                    <a:pt x="13" y="3"/>
                    <a:pt x="13" y="3"/>
                    <a:pt x="13" y="3"/>
                  </a:cubicBezTo>
                  <a:cubicBezTo>
                    <a:pt x="14" y="3"/>
                    <a:pt x="14" y="3"/>
                    <a:pt x="14" y="3"/>
                  </a:cubicBezTo>
                  <a:cubicBezTo>
                    <a:pt x="13" y="4"/>
                    <a:pt x="13" y="4"/>
                    <a:pt x="13" y="4"/>
                  </a:cubicBezTo>
                  <a:moveTo>
                    <a:pt x="12" y="4"/>
                  </a:moveTo>
                  <a:cubicBezTo>
                    <a:pt x="11" y="4"/>
                    <a:pt x="11" y="4"/>
                    <a:pt x="11" y="4"/>
                  </a:cubicBezTo>
                  <a:cubicBezTo>
                    <a:pt x="12" y="3"/>
                    <a:pt x="12" y="3"/>
                    <a:pt x="13" y="3"/>
                  </a:cubicBezTo>
                  <a:cubicBezTo>
                    <a:pt x="13" y="3"/>
                    <a:pt x="13" y="3"/>
                    <a:pt x="13" y="3"/>
                  </a:cubicBezTo>
                  <a:cubicBezTo>
                    <a:pt x="12" y="4"/>
                    <a:pt x="12" y="4"/>
                    <a:pt x="12" y="4"/>
                  </a:cubicBezTo>
                  <a:moveTo>
                    <a:pt x="3" y="5"/>
                  </a:moveTo>
                  <a:cubicBezTo>
                    <a:pt x="3" y="5"/>
                    <a:pt x="3" y="5"/>
                    <a:pt x="3" y="5"/>
                  </a:cubicBezTo>
                  <a:cubicBezTo>
                    <a:pt x="3" y="5"/>
                    <a:pt x="4" y="4"/>
                    <a:pt x="5" y="3"/>
                  </a:cubicBezTo>
                  <a:cubicBezTo>
                    <a:pt x="5" y="3"/>
                    <a:pt x="5" y="3"/>
                    <a:pt x="5" y="3"/>
                  </a:cubicBezTo>
                  <a:cubicBezTo>
                    <a:pt x="5" y="2"/>
                    <a:pt x="5" y="2"/>
                    <a:pt x="5" y="2"/>
                  </a:cubicBezTo>
                  <a:cubicBezTo>
                    <a:pt x="5" y="3"/>
                    <a:pt x="4" y="4"/>
                    <a:pt x="3" y="5"/>
                  </a:cubicBezTo>
                  <a:cubicBezTo>
                    <a:pt x="3" y="5"/>
                    <a:pt x="3" y="5"/>
                    <a:pt x="3" y="5"/>
                  </a:cubicBezTo>
                  <a:moveTo>
                    <a:pt x="11" y="3"/>
                  </a:moveTo>
                  <a:cubicBezTo>
                    <a:pt x="10" y="3"/>
                    <a:pt x="10" y="3"/>
                    <a:pt x="10" y="3"/>
                  </a:cubicBezTo>
                  <a:cubicBezTo>
                    <a:pt x="11" y="2"/>
                    <a:pt x="11" y="2"/>
                    <a:pt x="11" y="2"/>
                  </a:cubicBezTo>
                  <a:cubicBezTo>
                    <a:pt x="12" y="2"/>
                    <a:pt x="12" y="2"/>
                    <a:pt x="12" y="2"/>
                  </a:cubicBezTo>
                  <a:cubicBezTo>
                    <a:pt x="12" y="2"/>
                    <a:pt x="12" y="2"/>
                    <a:pt x="12" y="2"/>
                  </a:cubicBezTo>
                  <a:cubicBezTo>
                    <a:pt x="12" y="3"/>
                    <a:pt x="11" y="3"/>
                    <a:pt x="11" y="3"/>
                  </a:cubicBezTo>
                  <a:moveTo>
                    <a:pt x="10" y="3"/>
                  </a:moveTo>
                  <a:cubicBezTo>
                    <a:pt x="10" y="3"/>
                    <a:pt x="10" y="3"/>
                    <a:pt x="10" y="3"/>
                  </a:cubicBezTo>
                  <a:cubicBezTo>
                    <a:pt x="10" y="2"/>
                    <a:pt x="10" y="2"/>
                    <a:pt x="11" y="2"/>
                  </a:cubicBezTo>
                  <a:cubicBezTo>
                    <a:pt x="11" y="2"/>
                    <a:pt x="11" y="2"/>
                    <a:pt x="11" y="2"/>
                  </a:cubicBezTo>
                  <a:cubicBezTo>
                    <a:pt x="11" y="2"/>
                    <a:pt x="11" y="2"/>
                    <a:pt x="11" y="2"/>
                  </a:cubicBezTo>
                  <a:cubicBezTo>
                    <a:pt x="11" y="2"/>
                    <a:pt x="10" y="3"/>
                    <a:pt x="10" y="3"/>
                  </a:cubicBezTo>
                  <a:moveTo>
                    <a:pt x="5" y="4"/>
                  </a:moveTo>
                  <a:cubicBezTo>
                    <a:pt x="5" y="3"/>
                    <a:pt x="6" y="3"/>
                    <a:pt x="6" y="2"/>
                  </a:cubicBezTo>
                  <a:cubicBezTo>
                    <a:pt x="7" y="2"/>
                    <a:pt x="7" y="2"/>
                    <a:pt x="7" y="2"/>
                  </a:cubicBezTo>
                  <a:cubicBezTo>
                    <a:pt x="5" y="4"/>
                    <a:pt x="5" y="4"/>
                    <a:pt x="5" y="4"/>
                  </a:cubicBezTo>
                  <a:cubicBezTo>
                    <a:pt x="5" y="4"/>
                    <a:pt x="5" y="4"/>
                    <a:pt x="5" y="4"/>
                  </a:cubicBezTo>
                  <a:cubicBezTo>
                    <a:pt x="5" y="4"/>
                    <a:pt x="5" y="4"/>
                    <a:pt x="5" y="4"/>
                  </a:cubicBezTo>
                  <a:moveTo>
                    <a:pt x="6" y="3"/>
                  </a:moveTo>
                  <a:cubicBezTo>
                    <a:pt x="8" y="1"/>
                    <a:pt x="8" y="1"/>
                    <a:pt x="8" y="1"/>
                  </a:cubicBezTo>
                  <a:cubicBezTo>
                    <a:pt x="8" y="1"/>
                    <a:pt x="8" y="1"/>
                    <a:pt x="8" y="1"/>
                  </a:cubicBezTo>
                  <a:cubicBezTo>
                    <a:pt x="8" y="2"/>
                    <a:pt x="7" y="2"/>
                    <a:pt x="6" y="3"/>
                  </a:cubicBezTo>
                  <a:cubicBezTo>
                    <a:pt x="6" y="3"/>
                    <a:pt x="6" y="3"/>
                    <a:pt x="6" y="3"/>
                  </a:cubicBezTo>
                  <a:cubicBezTo>
                    <a:pt x="6" y="3"/>
                    <a:pt x="6" y="3"/>
                    <a:pt x="6" y="3"/>
                  </a:cubicBezTo>
                  <a:moveTo>
                    <a:pt x="9" y="3"/>
                  </a:moveTo>
                  <a:cubicBezTo>
                    <a:pt x="8" y="3"/>
                    <a:pt x="8" y="3"/>
                    <a:pt x="8" y="3"/>
                  </a:cubicBezTo>
                  <a:cubicBezTo>
                    <a:pt x="9" y="2"/>
                    <a:pt x="9" y="2"/>
                    <a:pt x="10" y="1"/>
                  </a:cubicBezTo>
                  <a:cubicBezTo>
                    <a:pt x="10" y="2"/>
                    <a:pt x="10" y="2"/>
                    <a:pt x="10" y="2"/>
                  </a:cubicBezTo>
                  <a:cubicBezTo>
                    <a:pt x="10" y="2"/>
                    <a:pt x="9" y="2"/>
                    <a:pt x="9" y="3"/>
                  </a:cubicBezTo>
                  <a:moveTo>
                    <a:pt x="7" y="3"/>
                  </a:moveTo>
                  <a:cubicBezTo>
                    <a:pt x="8" y="2"/>
                    <a:pt x="8" y="2"/>
                    <a:pt x="9" y="1"/>
                  </a:cubicBezTo>
                  <a:cubicBezTo>
                    <a:pt x="9" y="1"/>
                    <a:pt x="9" y="1"/>
                    <a:pt x="9" y="1"/>
                  </a:cubicBezTo>
                  <a:cubicBezTo>
                    <a:pt x="9" y="1"/>
                    <a:pt x="9" y="1"/>
                    <a:pt x="9" y="1"/>
                  </a:cubicBezTo>
                  <a:cubicBezTo>
                    <a:pt x="9" y="2"/>
                    <a:pt x="8" y="2"/>
                    <a:pt x="8" y="3"/>
                  </a:cubicBezTo>
                  <a:cubicBezTo>
                    <a:pt x="7" y="3"/>
                    <a:pt x="7" y="3"/>
                    <a:pt x="7" y="3"/>
                  </a:cubicBezTo>
                  <a:moveTo>
                    <a:pt x="9" y="0"/>
                  </a:moveTo>
                  <a:cubicBezTo>
                    <a:pt x="8" y="0"/>
                    <a:pt x="6" y="1"/>
                    <a:pt x="4" y="2"/>
                  </a:cubicBezTo>
                  <a:cubicBezTo>
                    <a:pt x="0" y="5"/>
                    <a:pt x="0" y="10"/>
                    <a:pt x="3" y="13"/>
                  </a:cubicBezTo>
                  <a:cubicBezTo>
                    <a:pt x="4" y="15"/>
                    <a:pt x="7" y="17"/>
                    <a:pt x="9" y="17"/>
                  </a:cubicBezTo>
                  <a:cubicBezTo>
                    <a:pt x="11" y="17"/>
                    <a:pt x="12" y="17"/>
                    <a:pt x="13" y="16"/>
                  </a:cubicBezTo>
                  <a:cubicBezTo>
                    <a:pt x="13" y="16"/>
                    <a:pt x="13" y="16"/>
                    <a:pt x="13" y="16"/>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8" y="12"/>
                    <a:pt x="18" y="7"/>
                    <a:pt x="16" y="4"/>
                  </a:cubicBezTo>
                  <a:cubicBezTo>
                    <a:pt x="14" y="2"/>
                    <a:pt x="12" y="0"/>
                    <a:pt x="9"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91" name="iṡľíḑé"/>
            <p:cNvSpPr/>
            <p:nvPr/>
          </p:nvSpPr>
          <p:spPr bwMode="auto">
            <a:xfrm>
              <a:off x="3625" y="1972"/>
              <a:ext cx="35" cy="31"/>
            </a:xfrm>
            <a:custGeom>
              <a:avLst/>
              <a:gdLst>
                <a:gd name="T0" fmla="*/ 14 w 15"/>
                <a:gd name="T1" fmla="*/ 7 h 13"/>
                <a:gd name="T2" fmla="*/ 14 w 15"/>
                <a:gd name="T3" fmla="*/ 7 h 13"/>
                <a:gd name="T4" fmla="*/ 13 w 15"/>
                <a:gd name="T5" fmla="*/ 7 h 13"/>
                <a:gd name="T6" fmla="*/ 14 w 15"/>
                <a:gd name="T7" fmla="*/ 7 h 13"/>
                <a:gd name="T8" fmla="*/ 13 w 15"/>
                <a:gd name="T9" fmla="*/ 6 h 13"/>
                <a:gd name="T10" fmla="*/ 14 w 15"/>
                <a:gd name="T11" fmla="*/ 6 h 13"/>
                <a:gd name="T12" fmla="*/ 13 w 15"/>
                <a:gd name="T13" fmla="*/ 6 h 13"/>
                <a:gd name="T14" fmla="*/ 13 w 15"/>
                <a:gd name="T15" fmla="*/ 5 h 13"/>
                <a:gd name="T16" fmla="*/ 14 w 15"/>
                <a:gd name="T17" fmla="*/ 6 h 13"/>
                <a:gd name="T18" fmla="*/ 13 w 15"/>
                <a:gd name="T19" fmla="*/ 5 h 13"/>
                <a:gd name="T20" fmla="*/ 13 w 15"/>
                <a:gd name="T21" fmla="*/ 4 h 13"/>
                <a:gd name="T22" fmla="*/ 13 w 15"/>
                <a:gd name="T23" fmla="*/ 4 h 13"/>
                <a:gd name="T24" fmla="*/ 8 w 15"/>
                <a:gd name="T25" fmla="*/ 13 h 13"/>
                <a:gd name="T26" fmla="*/ 2 w 15"/>
                <a:gd name="T27" fmla="*/ 5 h 13"/>
                <a:gd name="T28" fmla="*/ 4 w 15"/>
                <a:gd name="T29" fmla="*/ 3 h 13"/>
                <a:gd name="T30" fmla="*/ 10 w 15"/>
                <a:gd name="T31" fmla="*/ 3 h 13"/>
                <a:gd name="T32" fmla="*/ 11 w 15"/>
                <a:gd name="T33" fmla="*/ 12 h 13"/>
                <a:gd name="T34" fmla="*/ 11 w 15"/>
                <a:gd name="T35" fmla="*/ 12 h 13"/>
                <a:gd name="T36" fmla="*/ 12 w 15"/>
                <a:gd name="T37" fmla="*/ 4 h 13"/>
                <a:gd name="T38" fmla="*/ 12 w 15"/>
                <a:gd name="T39" fmla="*/ 2 h 13"/>
                <a:gd name="T40" fmla="*/ 12 w 15"/>
                <a:gd name="T41" fmla="*/ 4 h 13"/>
                <a:gd name="T42" fmla="*/ 5 w 15"/>
                <a:gd name="T43" fmla="*/ 1 h 13"/>
                <a:gd name="T44" fmla="*/ 3 w 15"/>
                <a:gd name="T45" fmla="*/ 3 h 13"/>
                <a:gd name="T46" fmla="*/ 10 w 15"/>
                <a:gd name="T47" fmla="*/ 3 h 13"/>
                <a:gd name="T48" fmla="*/ 10 w 15"/>
                <a:gd name="T49" fmla="*/ 1 h 13"/>
                <a:gd name="T50" fmla="*/ 11 w 15"/>
                <a:gd name="T51" fmla="*/ 2 h 13"/>
                <a:gd name="T52" fmla="*/ 5 w 15"/>
                <a:gd name="T53" fmla="*/ 2 h 13"/>
                <a:gd name="T54" fmla="*/ 6 w 15"/>
                <a:gd name="T55" fmla="*/ 1 h 13"/>
                <a:gd name="T56" fmla="*/ 5 w 15"/>
                <a:gd name="T57" fmla="*/ 2 h 13"/>
                <a:gd name="T58" fmla="*/ 8 w 15"/>
                <a:gd name="T59" fmla="*/ 2 h 13"/>
                <a:gd name="T60" fmla="*/ 10 w 15"/>
                <a:gd name="T61" fmla="*/ 1 h 13"/>
                <a:gd name="T62" fmla="*/ 9 w 15"/>
                <a:gd name="T63" fmla="*/ 2 h 13"/>
                <a:gd name="T64" fmla="*/ 7 w 15"/>
                <a:gd name="T65" fmla="*/ 1 h 13"/>
                <a:gd name="T66" fmla="*/ 8 w 15"/>
                <a:gd name="T67" fmla="*/ 1 h 13"/>
                <a:gd name="T68" fmla="*/ 6 w 15"/>
                <a:gd name="T69" fmla="*/ 2 h 13"/>
                <a:gd name="T70" fmla="*/ 4 w 15"/>
                <a:gd name="T71" fmla="*/ 1 h 13"/>
                <a:gd name="T72" fmla="*/ 8 w 15"/>
                <a:gd name="T73" fmla="*/ 13 h 13"/>
                <a:gd name="T74" fmla="*/ 11 w 15"/>
                <a:gd name="T75" fmla="*/ 13 h 13"/>
                <a:gd name="T76" fmla="*/ 12 w 15"/>
                <a:gd name="T77" fmla="*/ 12 h 13"/>
                <a:gd name="T78" fmla="*/ 13 w 15"/>
                <a:gd name="T79"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 h="13">
                  <a:moveTo>
                    <a:pt x="14" y="7"/>
                  </a:moveTo>
                  <a:cubicBezTo>
                    <a:pt x="14" y="7"/>
                    <a:pt x="14" y="7"/>
                    <a:pt x="14" y="7"/>
                  </a:cubicBezTo>
                  <a:cubicBezTo>
                    <a:pt x="14" y="7"/>
                    <a:pt x="14" y="7"/>
                    <a:pt x="14" y="7"/>
                  </a:cubicBezTo>
                  <a:cubicBezTo>
                    <a:pt x="14" y="7"/>
                    <a:pt x="14" y="7"/>
                    <a:pt x="14" y="7"/>
                  </a:cubicBezTo>
                  <a:moveTo>
                    <a:pt x="14" y="7"/>
                  </a:moveTo>
                  <a:cubicBezTo>
                    <a:pt x="13" y="7"/>
                    <a:pt x="13" y="7"/>
                    <a:pt x="13" y="7"/>
                  </a:cubicBezTo>
                  <a:cubicBezTo>
                    <a:pt x="14" y="7"/>
                    <a:pt x="14" y="7"/>
                    <a:pt x="14" y="7"/>
                  </a:cubicBezTo>
                  <a:cubicBezTo>
                    <a:pt x="14" y="7"/>
                    <a:pt x="14" y="7"/>
                    <a:pt x="14" y="7"/>
                  </a:cubicBezTo>
                  <a:cubicBezTo>
                    <a:pt x="14" y="7"/>
                    <a:pt x="14" y="7"/>
                    <a:pt x="14" y="7"/>
                  </a:cubicBezTo>
                  <a:moveTo>
                    <a:pt x="13" y="6"/>
                  </a:moveTo>
                  <a:cubicBezTo>
                    <a:pt x="13" y="6"/>
                    <a:pt x="13" y="6"/>
                    <a:pt x="13" y="6"/>
                  </a:cubicBezTo>
                  <a:cubicBezTo>
                    <a:pt x="14" y="6"/>
                    <a:pt x="14" y="6"/>
                    <a:pt x="14" y="6"/>
                  </a:cubicBezTo>
                  <a:cubicBezTo>
                    <a:pt x="14" y="6"/>
                    <a:pt x="14" y="6"/>
                    <a:pt x="14" y="6"/>
                  </a:cubicBezTo>
                  <a:cubicBezTo>
                    <a:pt x="13" y="6"/>
                    <a:pt x="13" y="6"/>
                    <a:pt x="13" y="6"/>
                  </a:cubicBezTo>
                  <a:moveTo>
                    <a:pt x="13" y="6"/>
                  </a:moveTo>
                  <a:cubicBezTo>
                    <a:pt x="13" y="5"/>
                    <a:pt x="13" y="5"/>
                    <a:pt x="13" y="5"/>
                  </a:cubicBezTo>
                  <a:cubicBezTo>
                    <a:pt x="13" y="5"/>
                    <a:pt x="13" y="5"/>
                    <a:pt x="13" y="5"/>
                  </a:cubicBezTo>
                  <a:cubicBezTo>
                    <a:pt x="14" y="6"/>
                    <a:pt x="14" y="6"/>
                    <a:pt x="14" y="6"/>
                  </a:cubicBezTo>
                  <a:cubicBezTo>
                    <a:pt x="13" y="6"/>
                    <a:pt x="13" y="6"/>
                    <a:pt x="13" y="6"/>
                  </a:cubicBezTo>
                  <a:moveTo>
                    <a:pt x="13" y="5"/>
                  </a:moveTo>
                  <a:cubicBezTo>
                    <a:pt x="12" y="4"/>
                    <a:pt x="12" y="4"/>
                    <a:pt x="12" y="4"/>
                  </a:cubicBezTo>
                  <a:cubicBezTo>
                    <a:pt x="13" y="4"/>
                    <a:pt x="13" y="4"/>
                    <a:pt x="13" y="4"/>
                  </a:cubicBezTo>
                  <a:cubicBezTo>
                    <a:pt x="13" y="4"/>
                    <a:pt x="13" y="4"/>
                    <a:pt x="13" y="4"/>
                  </a:cubicBezTo>
                  <a:cubicBezTo>
                    <a:pt x="13" y="4"/>
                    <a:pt x="13" y="4"/>
                    <a:pt x="13" y="4"/>
                  </a:cubicBezTo>
                  <a:cubicBezTo>
                    <a:pt x="13" y="5"/>
                    <a:pt x="13" y="5"/>
                    <a:pt x="13" y="5"/>
                  </a:cubicBezTo>
                  <a:moveTo>
                    <a:pt x="8" y="13"/>
                  </a:moveTo>
                  <a:cubicBezTo>
                    <a:pt x="6" y="13"/>
                    <a:pt x="4" y="11"/>
                    <a:pt x="3" y="10"/>
                  </a:cubicBezTo>
                  <a:cubicBezTo>
                    <a:pt x="2" y="8"/>
                    <a:pt x="2" y="7"/>
                    <a:pt x="2" y="5"/>
                  </a:cubicBezTo>
                  <a:cubicBezTo>
                    <a:pt x="2" y="5"/>
                    <a:pt x="2" y="5"/>
                    <a:pt x="2" y="5"/>
                  </a:cubicBezTo>
                  <a:cubicBezTo>
                    <a:pt x="3" y="4"/>
                    <a:pt x="3" y="4"/>
                    <a:pt x="4" y="3"/>
                  </a:cubicBezTo>
                  <a:cubicBezTo>
                    <a:pt x="5" y="3"/>
                    <a:pt x="6" y="2"/>
                    <a:pt x="7" y="2"/>
                  </a:cubicBezTo>
                  <a:cubicBezTo>
                    <a:pt x="8" y="2"/>
                    <a:pt x="9" y="3"/>
                    <a:pt x="10" y="3"/>
                  </a:cubicBezTo>
                  <a:cubicBezTo>
                    <a:pt x="12" y="5"/>
                    <a:pt x="13" y="7"/>
                    <a:pt x="13" y="10"/>
                  </a:cubicBezTo>
                  <a:cubicBezTo>
                    <a:pt x="13" y="10"/>
                    <a:pt x="12" y="11"/>
                    <a:pt x="11" y="12"/>
                  </a:cubicBezTo>
                  <a:cubicBezTo>
                    <a:pt x="11" y="12"/>
                    <a:pt x="11" y="12"/>
                    <a:pt x="11" y="12"/>
                  </a:cubicBezTo>
                  <a:cubicBezTo>
                    <a:pt x="11" y="12"/>
                    <a:pt x="11" y="12"/>
                    <a:pt x="11" y="12"/>
                  </a:cubicBezTo>
                  <a:cubicBezTo>
                    <a:pt x="10" y="12"/>
                    <a:pt x="9" y="13"/>
                    <a:pt x="8" y="13"/>
                  </a:cubicBezTo>
                  <a:moveTo>
                    <a:pt x="12" y="4"/>
                  </a:moveTo>
                  <a:cubicBezTo>
                    <a:pt x="11" y="3"/>
                    <a:pt x="11" y="3"/>
                    <a:pt x="11" y="3"/>
                  </a:cubicBezTo>
                  <a:cubicBezTo>
                    <a:pt x="12" y="2"/>
                    <a:pt x="12" y="2"/>
                    <a:pt x="12" y="2"/>
                  </a:cubicBezTo>
                  <a:cubicBezTo>
                    <a:pt x="12" y="3"/>
                    <a:pt x="12" y="3"/>
                    <a:pt x="12" y="3"/>
                  </a:cubicBezTo>
                  <a:cubicBezTo>
                    <a:pt x="12" y="4"/>
                    <a:pt x="12" y="4"/>
                    <a:pt x="12" y="4"/>
                  </a:cubicBezTo>
                  <a:moveTo>
                    <a:pt x="3" y="3"/>
                  </a:moveTo>
                  <a:cubicBezTo>
                    <a:pt x="3" y="3"/>
                    <a:pt x="4" y="2"/>
                    <a:pt x="5" y="1"/>
                  </a:cubicBezTo>
                  <a:cubicBezTo>
                    <a:pt x="5" y="1"/>
                    <a:pt x="5" y="1"/>
                    <a:pt x="5" y="1"/>
                  </a:cubicBezTo>
                  <a:cubicBezTo>
                    <a:pt x="4" y="2"/>
                    <a:pt x="4" y="2"/>
                    <a:pt x="3" y="3"/>
                  </a:cubicBezTo>
                  <a:cubicBezTo>
                    <a:pt x="3" y="3"/>
                    <a:pt x="3" y="3"/>
                    <a:pt x="3" y="3"/>
                  </a:cubicBezTo>
                  <a:moveTo>
                    <a:pt x="10" y="3"/>
                  </a:moveTo>
                  <a:cubicBezTo>
                    <a:pt x="9" y="2"/>
                    <a:pt x="9" y="2"/>
                    <a:pt x="9" y="2"/>
                  </a:cubicBezTo>
                  <a:cubicBezTo>
                    <a:pt x="10" y="1"/>
                    <a:pt x="10" y="1"/>
                    <a:pt x="10" y="1"/>
                  </a:cubicBezTo>
                  <a:cubicBezTo>
                    <a:pt x="10" y="1"/>
                    <a:pt x="10" y="1"/>
                    <a:pt x="10" y="1"/>
                  </a:cubicBezTo>
                  <a:cubicBezTo>
                    <a:pt x="11" y="2"/>
                    <a:pt x="11" y="2"/>
                    <a:pt x="11" y="2"/>
                  </a:cubicBezTo>
                  <a:cubicBezTo>
                    <a:pt x="10" y="3"/>
                    <a:pt x="10" y="3"/>
                    <a:pt x="10" y="3"/>
                  </a:cubicBezTo>
                  <a:moveTo>
                    <a:pt x="5" y="2"/>
                  </a:moveTo>
                  <a:cubicBezTo>
                    <a:pt x="5" y="2"/>
                    <a:pt x="5" y="1"/>
                    <a:pt x="6" y="1"/>
                  </a:cubicBezTo>
                  <a:cubicBezTo>
                    <a:pt x="6" y="1"/>
                    <a:pt x="6" y="1"/>
                    <a:pt x="6" y="1"/>
                  </a:cubicBezTo>
                  <a:cubicBezTo>
                    <a:pt x="5" y="2"/>
                    <a:pt x="5" y="2"/>
                    <a:pt x="5" y="2"/>
                  </a:cubicBezTo>
                  <a:cubicBezTo>
                    <a:pt x="5" y="2"/>
                    <a:pt x="5" y="2"/>
                    <a:pt x="5" y="2"/>
                  </a:cubicBezTo>
                  <a:moveTo>
                    <a:pt x="9" y="2"/>
                  </a:moveTo>
                  <a:cubicBezTo>
                    <a:pt x="8" y="2"/>
                    <a:pt x="8" y="2"/>
                    <a:pt x="8" y="2"/>
                  </a:cubicBezTo>
                  <a:cubicBezTo>
                    <a:pt x="8" y="1"/>
                    <a:pt x="8" y="1"/>
                    <a:pt x="9" y="1"/>
                  </a:cubicBezTo>
                  <a:cubicBezTo>
                    <a:pt x="9" y="1"/>
                    <a:pt x="10" y="1"/>
                    <a:pt x="10" y="1"/>
                  </a:cubicBezTo>
                  <a:cubicBezTo>
                    <a:pt x="10" y="1"/>
                    <a:pt x="10" y="1"/>
                    <a:pt x="10" y="1"/>
                  </a:cubicBezTo>
                  <a:cubicBezTo>
                    <a:pt x="9" y="2"/>
                    <a:pt x="9" y="2"/>
                    <a:pt x="9" y="2"/>
                  </a:cubicBezTo>
                  <a:moveTo>
                    <a:pt x="6" y="2"/>
                  </a:moveTo>
                  <a:cubicBezTo>
                    <a:pt x="7" y="1"/>
                    <a:pt x="7" y="1"/>
                    <a:pt x="7" y="1"/>
                  </a:cubicBezTo>
                  <a:cubicBezTo>
                    <a:pt x="8" y="1"/>
                    <a:pt x="8" y="1"/>
                    <a:pt x="8" y="1"/>
                  </a:cubicBezTo>
                  <a:cubicBezTo>
                    <a:pt x="8" y="1"/>
                    <a:pt x="8" y="1"/>
                    <a:pt x="8" y="1"/>
                  </a:cubicBezTo>
                  <a:cubicBezTo>
                    <a:pt x="8" y="1"/>
                    <a:pt x="7" y="1"/>
                    <a:pt x="7" y="2"/>
                  </a:cubicBezTo>
                  <a:cubicBezTo>
                    <a:pt x="7" y="2"/>
                    <a:pt x="6" y="2"/>
                    <a:pt x="6" y="2"/>
                  </a:cubicBezTo>
                  <a:moveTo>
                    <a:pt x="8" y="0"/>
                  </a:moveTo>
                  <a:cubicBezTo>
                    <a:pt x="7" y="0"/>
                    <a:pt x="5" y="0"/>
                    <a:pt x="4" y="1"/>
                  </a:cubicBezTo>
                  <a:cubicBezTo>
                    <a:pt x="0" y="3"/>
                    <a:pt x="0" y="7"/>
                    <a:pt x="2" y="10"/>
                  </a:cubicBezTo>
                  <a:cubicBezTo>
                    <a:pt x="3" y="12"/>
                    <a:pt x="5" y="13"/>
                    <a:pt x="8" y="13"/>
                  </a:cubicBezTo>
                  <a:cubicBezTo>
                    <a:pt x="9" y="13"/>
                    <a:pt x="10" y="13"/>
                    <a:pt x="11" y="13"/>
                  </a:cubicBezTo>
                  <a:cubicBezTo>
                    <a:pt x="11" y="13"/>
                    <a:pt x="11" y="13"/>
                    <a:pt x="11" y="13"/>
                  </a:cubicBezTo>
                  <a:cubicBezTo>
                    <a:pt x="11" y="12"/>
                    <a:pt x="11" y="12"/>
                    <a:pt x="11" y="12"/>
                  </a:cubicBezTo>
                  <a:cubicBezTo>
                    <a:pt x="12" y="12"/>
                    <a:pt x="12" y="12"/>
                    <a:pt x="12" y="12"/>
                  </a:cubicBezTo>
                  <a:cubicBezTo>
                    <a:pt x="12" y="12"/>
                    <a:pt x="12" y="12"/>
                    <a:pt x="12" y="12"/>
                  </a:cubicBezTo>
                  <a:cubicBezTo>
                    <a:pt x="15" y="10"/>
                    <a:pt x="15" y="6"/>
                    <a:pt x="13" y="3"/>
                  </a:cubicBezTo>
                  <a:cubicBezTo>
                    <a:pt x="12" y="1"/>
                    <a:pt x="10" y="0"/>
                    <a:pt x="8"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92" name="íş1íḋé"/>
            <p:cNvSpPr/>
            <p:nvPr/>
          </p:nvSpPr>
          <p:spPr bwMode="auto">
            <a:xfrm>
              <a:off x="3615" y="1963"/>
              <a:ext cx="55" cy="54"/>
            </a:xfrm>
            <a:custGeom>
              <a:avLst/>
              <a:gdLst>
                <a:gd name="T0" fmla="*/ 10 w 23"/>
                <a:gd name="T1" fmla="*/ 22 h 23"/>
                <a:gd name="T2" fmla="*/ 9 w 23"/>
                <a:gd name="T3" fmla="*/ 22 h 23"/>
                <a:gd name="T4" fmla="*/ 8 w 23"/>
                <a:gd name="T5" fmla="*/ 22 h 23"/>
                <a:gd name="T6" fmla="*/ 8 w 23"/>
                <a:gd name="T7" fmla="*/ 21 h 23"/>
                <a:gd name="T8" fmla="*/ 16 w 23"/>
                <a:gd name="T9" fmla="*/ 21 h 23"/>
                <a:gd name="T10" fmla="*/ 15 w 23"/>
                <a:gd name="T11" fmla="*/ 21 h 23"/>
                <a:gd name="T12" fmla="*/ 12 w 23"/>
                <a:gd name="T13" fmla="*/ 21 h 23"/>
                <a:gd name="T14" fmla="*/ 17 w 23"/>
                <a:gd name="T15" fmla="*/ 20 h 23"/>
                <a:gd name="T16" fmla="*/ 12 w 23"/>
                <a:gd name="T17" fmla="*/ 21 h 23"/>
                <a:gd name="T18" fmla="*/ 13 w 23"/>
                <a:gd name="T19" fmla="*/ 20 h 23"/>
                <a:gd name="T20" fmla="*/ 7 w 23"/>
                <a:gd name="T21" fmla="*/ 20 h 23"/>
                <a:gd name="T22" fmla="*/ 6 w 23"/>
                <a:gd name="T23" fmla="*/ 19 h 23"/>
                <a:gd name="T24" fmla="*/ 4 w 23"/>
                <a:gd name="T25" fmla="*/ 18 h 23"/>
                <a:gd name="T26" fmla="*/ 6 w 23"/>
                <a:gd name="T27" fmla="*/ 17 h 23"/>
                <a:gd name="T28" fmla="*/ 3 w 23"/>
                <a:gd name="T29" fmla="*/ 17 h 23"/>
                <a:gd name="T30" fmla="*/ 2 w 23"/>
                <a:gd name="T31" fmla="*/ 17 h 23"/>
                <a:gd name="T32" fmla="*/ 2 w 23"/>
                <a:gd name="T33" fmla="*/ 16 h 23"/>
                <a:gd name="T34" fmla="*/ 20 w 23"/>
                <a:gd name="T35" fmla="*/ 16 h 23"/>
                <a:gd name="T36" fmla="*/ 20 w 23"/>
                <a:gd name="T37" fmla="*/ 15 h 23"/>
                <a:gd name="T38" fmla="*/ 3 w 23"/>
                <a:gd name="T39" fmla="*/ 13 h 23"/>
                <a:gd name="T40" fmla="*/ 2 w 23"/>
                <a:gd name="T41" fmla="*/ 12 h 23"/>
                <a:gd name="T42" fmla="*/ 2 w 23"/>
                <a:gd name="T43" fmla="*/ 11 h 23"/>
                <a:gd name="T44" fmla="*/ 2 w 23"/>
                <a:gd name="T45" fmla="*/ 11 h 23"/>
                <a:gd name="T46" fmla="*/ 21 w 23"/>
                <a:gd name="T47" fmla="*/ 8 h 23"/>
                <a:gd name="T48" fmla="*/ 5 w 23"/>
                <a:gd name="T49" fmla="*/ 5 h 23"/>
                <a:gd name="T50" fmla="*/ 12 w 23"/>
                <a:gd name="T51" fmla="*/ 2 h 23"/>
                <a:gd name="T52" fmla="*/ 15 w 23"/>
                <a:gd name="T53" fmla="*/ 3 h 23"/>
                <a:gd name="T54" fmla="*/ 21 w 23"/>
                <a:gd name="T55" fmla="*/ 7 h 23"/>
                <a:gd name="T56" fmla="*/ 22 w 23"/>
                <a:gd name="T57" fmla="*/ 12 h 23"/>
                <a:gd name="T58" fmla="*/ 17 w 23"/>
                <a:gd name="T59" fmla="*/ 17 h 23"/>
                <a:gd name="T60" fmla="*/ 12 w 23"/>
                <a:gd name="T61" fmla="*/ 19 h 23"/>
                <a:gd name="T62" fmla="*/ 8 w 23"/>
                <a:gd name="T63" fmla="*/ 19 h 23"/>
                <a:gd name="T64" fmla="*/ 3 w 23"/>
                <a:gd name="T65" fmla="*/ 15 h 23"/>
                <a:gd name="T66" fmla="*/ 2 w 23"/>
                <a:gd name="T67" fmla="*/ 9 h 23"/>
                <a:gd name="T68" fmla="*/ 6 w 23"/>
                <a:gd name="T69" fmla="*/ 4 h 23"/>
                <a:gd name="T70" fmla="*/ 12 w 23"/>
                <a:gd name="T71" fmla="*/ 2 h 23"/>
                <a:gd name="T72" fmla="*/ 9 w 23"/>
                <a:gd name="T73" fmla="*/ 2 h 23"/>
                <a:gd name="T74" fmla="*/ 5 w 23"/>
                <a:gd name="T75" fmla="*/ 3 h 23"/>
                <a:gd name="T76" fmla="*/ 4 w 23"/>
                <a:gd name="T77" fmla="*/ 6 h 23"/>
                <a:gd name="T78" fmla="*/ 0 w 23"/>
                <a:gd name="T79" fmla="*/ 12 h 23"/>
                <a:gd name="T80" fmla="*/ 2 w 23"/>
                <a:gd name="T81" fmla="*/ 12 h 23"/>
                <a:gd name="T82" fmla="*/ 1 w 23"/>
                <a:gd name="T83" fmla="*/ 17 h 23"/>
                <a:gd name="T84" fmla="*/ 3 w 23"/>
                <a:gd name="T85" fmla="*/ 20 h 23"/>
                <a:gd name="T86" fmla="*/ 7 w 23"/>
                <a:gd name="T87" fmla="*/ 22 h 23"/>
                <a:gd name="T88" fmla="*/ 11 w 23"/>
                <a:gd name="T89" fmla="*/ 21 h 23"/>
                <a:gd name="T90" fmla="*/ 18 w 23"/>
                <a:gd name="T91" fmla="*/ 21 h 23"/>
                <a:gd name="T92" fmla="*/ 19 w 23"/>
                <a:gd name="T93" fmla="*/ 18 h 23"/>
                <a:gd name="T94" fmla="*/ 21 w 23"/>
                <a:gd name="T95" fmla="*/ 17 h 23"/>
                <a:gd name="T96" fmla="*/ 21 w 23"/>
                <a:gd name="T97" fmla="*/ 11 h 23"/>
                <a:gd name="T98" fmla="*/ 22 w 23"/>
                <a:gd name="T99" fmla="*/ 7 h 23"/>
                <a:gd name="T100" fmla="*/ 20 w 23"/>
                <a:gd name="T101" fmla="*/ 3 h 23"/>
                <a:gd name="T102" fmla="*/ 16 w 23"/>
                <a:gd name="T10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 h="23">
                  <a:moveTo>
                    <a:pt x="10" y="22"/>
                  </a:moveTo>
                  <a:cubicBezTo>
                    <a:pt x="9" y="22"/>
                    <a:pt x="9" y="22"/>
                    <a:pt x="9" y="22"/>
                  </a:cubicBezTo>
                  <a:cubicBezTo>
                    <a:pt x="10" y="21"/>
                    <a:pt x="10" y="21"/>
                    <a:pt x="10" y="21"/>
                  </a:cubicBezTo>
                  <a:cubicBezTo>
                    <a:pt x="10" y="21"/>
                    <a:pt x="10" y="21"/>
                    <a:pt x="10" y="21"/>
                  </a:cubicBezTo>
                  <a:cubicBezTo>
                    <a:pt x="10" y="22"/>
                    <a:pt x="10" y="22"/>
                    <a:pt x="10" y="22"/>
                  </a:cubicBezTo>
                  <a:moveTo>
                    <a:pt x="9" y="22"/>
                  </a:moveTo>
                  <a:cubicBezTo>
                    <a:pt x="9" y="22"/>
                    <a:pt x="9" y="22"/>
                    <a:pt x="9" y="22"/>
                  </a:cubicBezTo>
                  <a:cubicBezTo>
                    <a:pt x="9" y="21"/>
                    <a:pt x="9" y="21"/>
                    <a:pt x="9" y="21"/>
                  </a:cubicBezTo>
                  <a:cubicBezTo>
                    <a:pt x="10" y="21"/>
                    <a:pt x="10" y="21"/>
                    <a:pt x="10" y="21"/>
                  </a:cubicBezTo>
                  <a:cubicBezTo>
                    <a:pt x="9" y="22"/>
                    <a:pt x="9" y="22"/>
                    <a:pt x="9" y="22"/>
                  </a:cubicBezTo>
                  <a:moveTo>
                    <a:pt x="8" y="22"/>
                  </a:moveTo>
                  <a:cubicBezTo>
                    <a:pt x="8" y="22"/>
                    <a:pt x="8" y="22"/>
                    <a:pt x="8" y="22"/>
                  </a:cubicBezTo>
                  <a:cubicBezTo>
                    <a:pt x="9" y="21"/>
                    <a:pt x="9" y="21"/>
                    <a:pt x="9" y="21"/>
                  </a:cubicBezTo>
                  <a:cubicBezTo>
                    <a:pt x="9" y="21"/>
                    <a:pt x="9" y="21"/>
                    <a:pt x="9" y="21"/>
                  </a:cubicBezTo>
                  <a:cubicBezTo>
                    <a:pt x="8" y="22"/>
                    <a:pt x="8" y="22"/>
                    <a:pt x="8" y="22"/>
                  </a:cubicBezTo>
                  <a:moveTo>
                    <a:pt x="8" y="21"/>
                  </a:moveTo>
                  <a:cubicBezTo>
                    <a:pt x="8" y="21"/>
                    <a:pt x="8" y="21"/>
                    <a:pt x="8" y="21"/>
                  </a:cubicBezTo>
                  <a:cubicBezTo>
                    <a:pt x="8" y="21"/>
                    <a:pt x="8" y="21"/>
                    <a:pt x="8" y="21"/>
                  </a:cubicBezTo>
                  <a:cubicBezTo>
                    <a:pt x="8" y="21"/>
                    <a:pt x="8" y="21"/>
                    <a:pt x="8" y="21"/>
                  </a:cubicBezTo>
                  <a:cubicBezTo>
                    <a:pt x="8" y="21"/>
                    <a:pt x="8" y="21"/>
                    <a:pt x="8" y="21"/>
                  </a:cubicBezTo>
                  <a:moveTo>
                    <a:pt x="16" y="21"/>
                  </a:moveTo>
                  <a:cubicBezTo>
                    <a:pt x="16" y="21"/>
                    <a:pt x="16" y="21"/>
                    <a:pt x="16" y="21"/>
                  </a:cubicBezTo>
                  <a:cubicBezTo>
                    <a:pt x="17" y="20"/>
                    <a:pt x="17" y="20"/>
                    <a:pt x="17" y="20"/>
                  </a:cubicBezTo>
                  <a:cubicBezTo>
                    <a:pt x="16" y="21"/>
                    <a:pt x="16" y="21"/>
                    <a:pt x="16" y="21"/>
                  </a:cubicBezTo>
                  <a:cubicBezTo>
                    <a:pt x="16" y="21"/>
                    <a:pt x="16" y="21"/>
                    <a:pt x="16" y="21"/>
                  </a:cubicBezTo>
                  <a:moveTo>
                    <a:pt x="15" y="21"/>
                  </a:moveTo>
                  <a:cubicBezTo>
                    <a:pt x="15" y="21"/>
                    <a:pt x="15" y="21"/>
                    <a:pt x="15" y="21"/>
                  </a:cubicBezTo>
                  <a:cubicBezTo>
                    <a:pt x="15" y="20"/>
                    <a:pt x="15" y="20"/>
                    <a:pt x="15" y="20"/>
                  </a:cubicBezTo>
                  <a:cubicBezTo>
                    <a:pt x="15" y="20"/>
                    <a:pt x="15" y="20"/>
                    <a:pt x="15" y="20"/>
                  </a:cubicBezTo>
                  <a:cubicBezTo>
                    <a:pt x="15" y="21"/>
                    <a:pt x="15" y="21"/>
                    <a:pt x="15" y="21"/>
                  </a:cubicBezTo>
                  <a:moveTo>
                    <a:pt x="12" y="21"/>
                  </a:moveTo>
                  <a:cubicBezTo>
                    <a:pt x="12" y="20"/>
                    <a:pt x="12" y="20"/>
                    <a:pt x="12" y="20"/>
                  </a:cubicBezTo>
                  <a:cubicBezTo>
                    <a:pt x="12" y="20"/>
                    <a:pt x="12" y="20"/>
                    <a:pt x="12" y="20"/>
                  </a:cubicBezTo>
                  <a:cubicBezTo>
                    <a:pt x="12" y="21"/>
                    <a:pt x="12" y="21"/>
                    <a:pt x="12" y="21"/>
                  </a:cubicBezTo>
                  <a:cubicBezTo>
                    <a:pt x="12" y="21"/>
                    <a:pt x="12" y="21"/>
                    <a:pt x="12" y="21"/>
                  </a:cubicBezTo>
                  <a:moveTo>
                    <a:pt x="17" y="20"/>
                  </a:moveTo>
                  <a:cubicBezTo>
                    <a:pt x="17" y="20"/>
                    <a:pt x="17" y="20"/>
                    <a:pt x="17" y="20"/>
                  </a:cubicBezTo>
                  <a:cubicBezTo>
                    <a:pt x="18" y="20"/>
                    <a:pt x="18" y="20"/>
                    <a:pt x="18" y="20"/>
                  </a:cubicBezTo>
                  <a:cubicBezTo>
                    <a:pt x="18" y="20"/>
                    <a:pt x="18" y="20"/>
                    <a:pt x="18" y="20"/>
                  </a:cubicBezTo>
                  <a:cubicBezTo>
                    <a:pt x="17" y="20"/>
                    <a:pt x="17" y="20"/>
                    <a:pt x="17" y="20"/>
                  </a:cubicBezTo>
                  <a:moveTo>
                    <a:pt x="12" y="21"/>
                  </a:moveTo>
                  <a:cubicBezTo>
                    <a:pt x="13" y="20"/>
                    <a:pt x="13" y="20"/>
                    <a:pt x="13" y="20"/>
                  </a:cubicBezTo>
                  <a:cubicBezTo>
                    <a:pt x="13" y="20"/>
                    <a:pt x="13" y="20"/>
                    <a:pt x="13" y="20"/>
                  </a:cubicBezTo>
                  <a:cubicBezTo>
                    <a:pt x="13" y="21"/>
                    <a:pt x="13" y="21"/>
                    <a:pt x="13" y="21"/>
                  </a:cubicBezTo>
                  <a:cubicBezTo>
                    <a:pt x="12" y="21"/>
                    <a:pt x="12" y="21"/>
                    <a:pt x="12" y="21"/>
                  </a:cubicBezTo>
                  <a:moveTo>
                    <a:pt x="13" y="20"/>
                  </a:moveTo>
                  <a:cubicBezTo>
                    <a:pt x="14" y="19"/>
                    <a:pt x="14" y="19"/>
                    <a:pt x="14" y="19"/>
                  </a:cubicBezTo>
                  <a:cubicBezTo>
                    <a:pt x="14" y="19"/>
                    <a:pt x="14" y="19"/>
                    <a:pt x="14" y="19"/>
                  </a:cubicBezTo>
                  <a:cubicBezTo>
                    <a:pt x="14" y="20"/>
                    <a:pt x="14" y="20"/>
                    <a:pt x="14" y="20"/>
                  </a:cubicBezTo>
                  <a:cubicBezTo>
                    <a:pt x="13" y="20"/>
                    <a:pt x="13" y="20"/>
                    <a:pt x="13" y="20"/>
                  </a:cubicBezTo>
                  <a:moveTo>
                    <a:pt x="7" y="20"/>
                  </a:moveTo>
                  <a:cubicBezTo>
                    <a:pt x="6" y="19"/>
                    <a:pt x="6" y="19"/>
                    <a:pt x="6" y="19"/>
                  </a:cubicBezTo>
                  <a:cubicBezTo>
                    <a:pt x="7" y="19"/>
                    <a:pt x="7" y="19"/>
                    <a:pt x="7" y="19"/>
                  </a:cubicBezTo>
                  <a:cubicBezTo>
                    <a:pt x="8" y="19"/>
                    <a:pt x="8" y="19"/>
                    <a:pt x="8" y="19"/>
                  </a:cubicBezTo>
                  <a:cubicBezTo>
                    <a:pt x="7" y="20"/>
                    <a:pt x="7" y="20"/>
                    <a:pt x="7" y="20"/>
                  </a:cubicBezTo>
                  <a:moveTo>
                    <a:pt x="6" y="19"/>
                  </a:moveTo>
                  <a:cubicBezTo>
                    <a:pt x="6" y="19"/>
                    <a:pt x="6" y="19"/>
                    <a:pt x="6" y="19"/>
                  </a:cubicBezTo>
                  <a:cubicBezTo>
                    <a:pt x="7" y="18"/>
                    <a:pt x="7" y="18"/>
                    <a:pt x="7" y="18"/>
                  </a:cubicBezTo>
                  <a:cubicBezTo>
                    <a:pt x="7" y="18"/>
                    <a:pt x="7" y="18"/>
                    <a:pt x="7" y="18"/>
                  </a:cubicBezTo>
                  <a:cubicBezTo>
                    <a:pt x="6" y="19"/>
                    <a:pt x="6" y="19"/>
                    <a:pt x="6" y="19"/>
                  </a:cubicBezTo>
                  <a:moveTo>
                    <a:pt x="4" y="18"/>
                  </a:moveTo>
                  <a:cubicBezTo>
                    <a:pt x="4" y="18"/>
                    <a:pt x="4" y="18"/>
                    <a:pt x="4" y="18"/>
                  </a:cubicBezTo>
                  <a:cubicBezTo>
                    <a:pt x="4" y="18"/>
                    <a:pt x="4" y="18"/>
                    <a:pt x="4" y="18"/>
                  </a:cubicBezTo>
                  <a:cubicBezTo>
                    <a:pt x="5" y="17"/>
                    <a:pt x="5" y="17"/>
                    <a:pt x="5" y="17"/>
                  </a:cubicBezTo>
                  <a:cubicBezTo>
                    <a:pt x="4" y="18"/>
                    <a:pt x="4" y="18"/>
                    <a:pt x="4" y="18"/>
                  </a:cubicBezTo>
                  <a:cubicBezTo>
                    <a:pt x="4" y="18"/>
                    <a:pt x="4" y="18"/>
                    <a:pt x="4" y="18"/>
                  </a:cubicBezTo>
                  <a:moveTo>
                    <a:pt x="5" y="18"/>
                  </a:moveTo>
                  <a:cubicBezTo>
                    <a:pt x="5" y="18"/>
                    <a:pt x="5" y="18"/>
                    <a:pt x="5" y="18"/>
                  </a:cubicBezTo>
                  <a:cubicBezTo>
                    <a:pt x="5" y="18"/>
                    <a:pt x="5" y="18"/>
                    <a:pt x="5" y="18"/>
                  </a:cubicBezTo>
                  <a:cubicBezTo>
                    <a:pt x="6" y="17"/>
                    <a:pt x="6" y="17"/>
                    <a:pt x="6" y="17"/>
                  </a:cubicBezTo>
                  <a:cubicBezTo>
                    <a:pt x="6" y="18"/>
                    <a:pt x="6" y="18"/>
                    <a:pt x="6" y="18"/>
                  </a:cubicBezTo>
                  <a:cubicBezTo>
                    <a:pt x="5" y="18"/>
                    <a:pt x="5" y="18"/>
                    <a:pt x="5" y="18"/>
                  </a:cubicBezTo>
                  <a:moveTo>
                    <a:pt x="3" y="18"/>
                  </a:moveTo>
                  <a:cubicBezTo>
                    <a:pt x="3" y="18"/>
                    <a:pt x="3" y="18"/>
                    <a:pt x="3" y="18"/>
                  </a:cubicBezTo>
                  <a:cubicBezTo>
                    <a:pt x="3" y="17"/>
                    <a:pt x="3" y="17"/>
                    <a:pt x="3" y="17"/>
                  </a:cubicBezTo>
                  <a:cubicBezTo>
                    <a:pt x="3" y="17"/>
                    <a:pt x="3" y="17"/>
                    <a:pt x="3" y="17"/>
                  </a:cubicBezTo>
                  <a:cubicBezTo>
                    <a:pt x="3" y="18"/>
                    <a:pt x="3" y="18"/>
                    <a:pt x="3" y="18"/>
                  </a:cubicBezTo>
                  <a:cubicBezTo>
                    <a:pt x="3" y="18"/>
                    <a:pt x="3" y="18"/>
                    <a:pt x="3" y="18"/>
                  </a:cubicBezTo>
                  <a:moveTo>
                    <a:pt x="2" y="17"/>
                  </a:moveTo>
                  <a:cubicBezTo>
                    <a:pt x="2" y="17"/>
                    <a:pt x="2" y="17"/>
                    <a:pt x="2" y="17"/>
                  </a:cubicBezTo>
                  <a:cubicBezTo>
                    <a:pt x="3" y="16"/>
                    <a:pt x="3" y="16"/>
                    <a:pt x="3" y="16"/>
                  </a:cubicBezTo>
                  <a:cubicBezTo>
                    <a:pt x="3" y="17"/>
                    <a:pt x="3" y="17"/>
                    <a:pt x="3" y="17"/>
                  </a:cubicBezTo>
                  <a:cubicBezTo>
                    <a:pt x="2" y="17"/>
                    <a:pt x="2" y="17"/>
                    <a:pt x="2" y="17"/>
                  </a:cubicBezTo>
                  <a:moveTo>
                    <a:pt x="2" y="16"/>
                  </a:moveTo>
                  <a:cubicBezTo>
                    <a:pt x="2" y="16"/>
                    <a:pt x="2" y="16"/>
                    <a:pt x="2" y="16"/>
                  </a:cubicBezTo>
                  <a:cubicBezTo>
                    <a:pt x="2" y="15"/>
                    <a:pt x="2" y="15"/>
                    <a:pt x="2" y="15"/>
                  </a:cubicBezTo>
                  <a:cubicBezTo>
                    <a:pt x="2" y="16"/>
                    <a:pt x="2" y="16"/>
                    <a:pt x="2" y="16"/>
                  </a:cubicBezTo>
                  <a:cubicBezTo>
                    <a:pt x="2" y="16"/>
                    <a:pt x="2" y="16"/>
                    <a:pt x="2" y="16"/>
                  </a:cubicBezTo>
                  <a:moveTo>
                    <a:pt x="20" y="16"/>
                  </a:moveTo>
                  <a:cubicBezTo>
                    <a:pt x="20" y="16"/>
                    <a:pt x="20" y="16"/>
                    <a:pt x="20" y="16"/>
                  </a:cubicBezTo>
                  <a:cubicBezTo>
                    <a:pt x="21" y="15"/>
                    <a:pt x="21" y="15"/>
                    <a:pt x="21" y="15"/>
                  </a:cubicBezTo>
                  <a:cubicBezTo>
                    <a:pt x="20" y="16"/>
                    <a:pt x="20" y="16"/>
                    <a:pt x="20" y="16"/>
                  </a:cubicBezTo>
                  <a:moveTo>
                    <a:pt x="19" y="16"/>
                  </a:moveTo>
                  <a:cubicBezTo>
                    <a:pt x="19" y="16"/>
                    <a:pt x="19" y="16"/>
                    <a:pt x="19" y="16"/>
                  </a:cubicBezTo>
                  <a:cubicBezTo>
                    <a:pt x="20" y="15"/>
                    <a:pt x="20" y="15"/>
                    <a:pt x="20" y="15"/>
                  </a:cubicBezTo>
                  <a:cubicBezTo>
                    <a:pt x="20" y="15"/>
                    <a:pt x="20" y="15"/>
                    <a:pt x="20" y="15"/>
                  </a:cubicBezTo>
                  <a:cubicBezTo>
                    <a:pt x="20" y="16"/>
                    <a:pt x="20" y="16"/>
                    <a:pt x="20" y="16"/>
                  </a:cubicBezTo>
                  <a:cubicBezTo>
                    <a:pt x="20" y="16"/>
                    <a:pt x="20" y="16"/>
                    <a:pt x="20" y="16"/>
                  </a:cubicBezTo>
                  <a:cubicBezTo>
                    <a:pt x="19" y="16"/>
                    <a:pt x="19" y="16"/>
                    <a:pt x="19" y="16"/>
                  </a:cubicBezTo>
                  <a:moveTo>
                    <a:pt x="3" y="13"/>
                  </a:moveTo>
                  <a:cubicBezTo>
                    <a:pt x="3" y="13"/>
                    <a:pt x="3" y="13"/>
                    <a:pt x="3" y="13"/>
                  </a:cubicBezTo>
                  <a:cubicBezTo>
                    <a:pt x="3" y="13"/>
                    <a:pt x="3" y="13"/>
                    <a:pt x="3" y="13"/>
                  </a:cubicBezTo>
                  <a:cubicBezTo>
                    <a:pt x="3" y="13"/>
                    <a:pt x="3" y="13"/>
                    <a:pt x="3" y="13"/>
                  </a:cubicBezTo>
                  <a:cubicBezTo>
                    <a:pt x="3" y="13"/>
                    <a:pt x="3" y="13"/>
                    <a:pt x="3" y="13"/>
                  </a:cubicBezTo>
                  <a:moveTo>
                    <a:pt x="2" y="12"/>
                  </a:moveTo>
                  <a:cubicBezTo>
                    <a:pt x="2" y="12"/>
                    <a:pt x="2" y="12"/>
                    <a:pt x="2" y="12"/>
                  </a:cubicBezTo>
                  <a:cubicBezTo>
                    <a:pt x="2" y="11"/>
                    <a:pt x="2" y="11"/>
                    <a:pt x="2" y="11"/>
                  </a:cubicBezTo>
                  <a:cubicBezTo>
                    <a:pt x="2" y="11"/>
                    <a:pt x="2" y="11"/>
                    <a:pt x="2" y="11"/>
                  </a:cubicBezTo>
                  <a:cubicBezTo>
                    <a:pt x="2" y="12"/>
                    <a:pt x="2" y="12"/>
                    <a:pt x="2" y="12"/>
                  </a:cubicBezTo>
                  <a:moveTo>
                    <a:pt x="2" y="11"/>
                  </a:moveTo>
                  <a:cubicBezTo>
                    <a:pt x="1" y="11"/>
                    <a:pt x="1" y="11"/>
                    <a:pt x="1" y="11"/>
                  </a:cubicBezTo>
                  <a:cubicBezTo>
                    <a:pt x="1" y="11"/>
                    <a:pt x="1" y="11"/>
                    <a:pt x="1" y="11"/>
                  </a:cubicBezTo>
                  <a:cubicBezTo>
                    <a:pt x="2" y="10"/>
                    <a:pt x="2" y="10"/>
                    <a:pt x="2" y="10"/>
                  </a:cubicBezTo>
                  <a:cubicBezTo>
                    <a:pt x="2" y="10"/>
                    <a:pt x="2" y="10"/>
                    <a:pt x="2" y="10"/>
                  </a:cubicBezTo>
                  <a:cubicBezTo>
                    <a:pt x="2" y="11"/>
                    <a:pt x="2" y="11"/>
                    <a:pt x="2" y="11"/>
                  </a:cubicBezTo>
                  <a:moveTo>
                    <a:pt x="1" y="10"/>
                  </a:moveTo>
                  <a:cubicBezTo>
                    <a:pt x="1" y="10"/>
                    <a:pt x="1" y="10"/>
                    <a:pt x="1" y="10"/>
                  </a:cubicBezTo>
                  <a:cubicBezTo>
                    <a:pt x="1" y="10"/>
                    <a:pt x="1" y="10"/>
                    <a:pt x="1" y="10"/>
                  </a:cubicBezTo>
                  <a:cubicBezTo>
                    <a:pt x="1" y="10"/>
                    <a:pt x="1" y="10"/>
                    <a:pt x="1" y="10"/>
                  </a:cubicBezTo>
                  <a:moveTo>
                    <a:pt x="21" y="8"/>
                  </a:moveTo>
                  <a:cubicBezTo>
                    <a:pt x="20" y="8"/>
                    <a:pt x="20" y="8"/>
                    <a:pt x="20" y="8"/>
                  </a:cubicBezTo>
                  <a:cubicBezTo>
                    <a:pt x="21" y="8"/>
                    <a:pt x="21" y="8"/>
                    <a:pt x="21" y="8"/>
                  </a:cubicBezTo>
                  <a:cubicBezTo>
                    <a:pt x="21" y="8"/>
                    <a:pt x="21" y="8"/>
                    <a:pt x="21" y="8"/>
                  </a:cubicBezTo>
                  <a:cubicBezTo>
                    <a:pt x="21" y="8"/>
                    <a:pt x="21" y="8"/>
                    <a:pt x="21" y="8"/>
                  </a:cubicBezTo>
                  <a:moveTo>
                    <a:pt x="5" y="5"/>
                  </a:moveTo>
                  <a:cubicBezTo>
                    <a:pt x="5" y="5"/>
                    <a:pt x="5" y="5"/>
                    <a:pt x="5" y="5"/>
                  </a:cubicBezTo>
                  <a:cubicBezTo>
                    <a:pt x="5" y="4"/>
                    <a:pt x="5" y="4"/>
                    <a:pt x="5" y="4"/>
                  </a:cubicBezTo>
                  <a:cubicBezTo>
                    <a:pt x="5" y="4"/>
                    <a:pt x="5" y="4"/>
                    <a:pt x="5" y="4"/>
                  </a:cubicBezTo>
                  <a:cubicBezTo>
                    <a:pt x="5" y="5"/>
                    <a:pt x="5" y="5"/>
                    <a:pt x="5" y="5"/>
                  </a:cubicBezTo>
                  <a:moveTo>
                    <a:pt x="12" y="2"/>
                  </a:moveTo>
                  <a:cubicBezTo>
                    <a:pt x="13" y="2"/>
                    <a:pt x="13" y="2"/>
                    <a:pt x="13" y="2"/>
                  </a:cubicBezTo>
                  <a:cubicBezTo>
                    <a:pt x="13" y="1"/>
                    <a:pt x="13" y="1"/>
                    <a:pt x="13" y="1"/>
                  </a:cubicBezTo>
                  <a:cubicBezTo>
                    <a:pt x="14" y="1"/>
                    <a:pt x="15" y="1"/>
                    <a:pt x="15" y="1"/>
                  </a:cubicBezTo>
                  <a:cubicBezTo>
                    <a:pt x="15" y="3"/>
                    <a:pt x="15" y="3"/>
                    <a:pt x="15" y="3"/>
                  </a:cubicBezTo>
                  <a:cubicBezTo>
                    <a:pt x="15" y="3"/>
                    <a:pt x="15" y="3"/>
                    <a:pt x="15" y="3"/>
                  </a:cubicBezTo>
                  <a:cubicBezTo>
                    <a:pt x="16" y="4"/>
                    <a:pt x="17" y="4"/>
                    <a:pt x="18" y="5"/>
                  </a:cubicBezTo>
                  <a:cubicBezTo>
                    <a:pt x="18" y="5"/>
                    <a:pt x="18" y="5"/>
                    <a:pt x="18" y="5"/>
                  </a:cubicBezTo>
                  <a:cubicBezTo>
                    <a:pt x="20" y="4"/>
                    <a:pt x="20" y="4"/>
                    <a:pt x="20" y="4"/>
                  </a:cubicBezTo>
                  <a:cubicBezTo>
                    <a:pt x="20" y="5"/>
                    <a:pt x="21" y="6"/>
                    <a:pt x="21" y="6"/>
                  </a:cubicBezTo>
                  <a:cubicBezTo>
                    <a:pt x="21" y="7"/>
                    <a:pt x="21" y="7"/>
                    <a:pt x="21" y="7"/>
                  </a:cubicBezTo>
                  <a:cubicBezTo>
                    <a:pt x="20" y="7"/>
                    <a:pt x="20" y="7"/>
                    <a:pt x="20" y="7"/>
                  </a:cubicBezTo>
                  <a:cubicBezTo>
                    <a:pt x="20" y="8"/>
                    <a:pt x="20" y="8"/>
                    <a:pt x="20" y="8"/>
                  </a:cubicBezTo>
                  <a:cubicBezTo>
                    <a:pt x="20" y="9"/>
                    <a:pt x="20" y="10"/>
                    <a:pt x="20" y="11"/>
                  </a:cubicBezTo>
                  <a:cubicBezTo>
                    <a:pt x="20" y="11"/>
                    <a:pt x="20" y="11"/>
                    <a:pt x="20" y="11"/>
                  </a:cubicBezTo>
                  <a:cubicBezTo>
                    <a:pt x="22" y="12"/>
                    <a:pt x="22" y="12"/>
                    <a:pt x="22" y="12"/>
                  </a:cubicBezTo>
                  <a:cubicBezTo>
                    <a:pt x="22" y="13"/>
                    <a:pt x="21" y="13"/>
                    <a:pt x="21" y="14"/>
                  </a:cubicBezTo>
                  <a:cubicBezTo>
                    <a:pt x="21" y="14"/>
                    <a:pt x="21" y="14"/>
                    <a:pt x="20" y="14"/>
                  </a:cubicBezTo>
                  <a:cubicBezTo>
                    <a:pt x="19" y="14"/>
                    <a:pt x="19" y="15"/>
                    <a:pt x="18" y="15"/>
                  </a:cubicBezTo>
                  <a:cubicBezTo>
                    <a:pt x="18" y="16"/>
                    <a:pt x="18" y="16"/>
                    <a:pt x="17" y="17"/>
                  </a:cubicBezTo>
                  <a:cubicBezTo>
                    <a:pt x="17" y="17"/>
                    <a:pt x="17" y="17"/>
                    <a:pt x="17" y="17"/>
                  </a:cubicBezTo>
                  <a:cubicBezTo>
                    <a:pt x="18" y="18"/>
                    <a:pt x="18" y="18"/>
                    <a:pt x="18" y="18"/>
                  </a:cubicBezTo>
                  <a:cubicBezTo>
                    <a:pt x="17" y="19"/>
                    <a:pt x="17" y="19"/>
                    <a:pt x="16" y="20"/>
                  </a:cubicBezTo>
                  <a:cubicBezTo>
                    <a:pt x="15" y="19"/>
                    <a:pt x="15" y="19"/>
                    <a:pt x="15" y="19"/>
                  </a:cubicBezTo>
                  <a:cubicBezTo>
                    <a:pt x="15" y="18"/>
                    <a:pt x="15" y="18"/>
                    <a:pt x="15" y="18"/>
                  </a:cubicBezTo>
                  <a:cubicBezTo>
                    <a:pt x="14" y="19"/>
                    <a:pt x="13" y="19"/>
                    <a:pt x="12" y="19"/>
                  </a:cubicBezTo>
                  <a:cubicBezTo>
                    <a:pt x="12" y="19"/>
                    <a:pt x="12" y="19"/>
                    <a:pt x="11" y="19"/>
                  </a:cubicBezTo>
                  <a:cubicBezTo>
                    <a:pt x="11" y="19"/>
                    <a:pt x="11" y="19"/>
                    <a:pt x="11" y="19"/>
                  </a:cubicBezTo>
                  <a:cubicBezTo>
                    <a:pt x="11" y="21"/>
                    <a:pt x="11" y="21"/>
                    <a:pt x="11" y="21"/>
                  </a:cubicBezTo>
                  <a:cubicBezTo>
                    <a:pt x="10" y="20"/>
                    <a:pt x="9" y="20"/>
                    <a:pt x="8" y="20"/>
                  </a:cubicBezTo>
                  <a:cubicBezTo>
                    <a:pt x="8" y="19"/>
                    <a:pt x="8" y="19"/>
                    <a:pt x="8" y="19"/>
                  </a:cubicBezTo>
                  <a:cubicBezTo>
                    <a:pt x="8" y="18"/>
                    <a:pt x="8" y="18"/>
                    <a:pt x="8" y="18"/>
                  </a:cubicBezTo>
                  <a:cubicBezTo>
                    <a:pt x="7" y="18"/>
                    <a:pt x="6" y="17"/>
                    <a:pt x="6" y="16"/>
                  </a:cubicBezTo>
                  <a:cubicBezTo>
                    <a:pt x="5" y="16"/>
                    <a:pt x="5" y="16"/>
                    <a:pt x="5" y="16"/>
                  </a:cubicBezTo>
                  <a:cubicBezTo>
                    <a:pt x="4" y="17"/>
                    <a:pt x="4" y="17"/>
                    <a:pt x="4" y="17"/>
                  </a:cubicBezTo>
                  <a:cubicBezTo>
                    <a:pt x="3" y="16"/>
                    <a:pt x="3" y="15"/>
                    <a:pt x="3" y="15"/>
                  </a:cubicBezTo>
                  <a:cubicBezTo>
                    <a:pt x="4" y="14"/>
                    <a:pt x="4" y="14"/>
                    <a:pt x="4" y="14"/>
                  </a:cubicBezTo>
                  <a:cubicBezTo>
                    <a:pt x="4" y="13"/>
                    <a:pt x="4" y="13"/>
                    <a:pt x="4" y="13"/>
                  </a:cubicBezTo>
                  <a:cubicBezTo>
                    <a:pt x="4" y="12"/>
                    <a:pt x="3" y="11"/>
                    <a:pt x="4" y="10"/>
                  </a:cubicBezTo>
                  <a:cubicBezTo>
                    <a:pt x="3" y="10"/>
                    <a:pt x="3" y="10"/>
                    <a:pt x="3" y="10"/>
                  </a:cubicBezTo>
                  <a:cubicBezTo>
                    <a:pt x="2" y="9"/>
                    <a:pt x="2" y="9"/>
                    <a:pt x="2" y="9"/>
                  </a:cubicBezTo>
                  <a:cubicBezTo>
                    <a:pt x="2" y="9"/>
                    <a:pt x="2" y="8"/>
                    <a:pt x="2" y="7"/>
                  </a:cubicBezTo>
                  <a:cubicBezTo>
                    <a:pt x="4" y="7"/>
                    <a:pt x="4" y="7"/>
                    <a:pt x="4" y="7"/>
                  </a:cubicBezTo>
                  <a:cubicBezTo>
                    <a:pt x="4" y="7"/>
                    <a:pt x="4" y="7"/>
                    <a:pt x="4" y="7"/>
                  </a:cubicBezTo>
                  <a:cubicBezTo>
                    <a:pt x="5" y="6"/>
                    <a:pt x="5" y="5"/>
                    <a:pt x="6" y="5"/>
                  </a:cubicBezTo>
                  <a:cubicBezTo>
                    <a:pt x="6" y="4"/>
                    <a:pt x="6" y="4"/>
                    <a:pt x="6" y="4"/>
                  </a:cubicBezTo>
                  <a:cubicBezTo>
                    <a:pt x="6" y="3"/>
                    <a:pt x="6" y="3"/>
                    <a:pt x="6" y="3"/>
                  </a:cubicBezTo>
                  <a:cubicBezTo>
                    <a:pt x="6" y="2"/>
                    <a:pt x="7" y="2"/>
                    <a:pt x="8" y="1"/>
                  </a:cubicBezTo>
                  <a:cubicBezTo>
                    <a:pt x="9" y="3"/>
                    <a:pt x="9" y="3"/>
                    <a:pt x="9" y="3"/>
                  </a:cubicBezTo>
                  <a:cubicBezTo>
                    <a:pt x="9" y="3"/>
                    <a:pt x="9" y="3"/>
                    <a:pt x="9" y="3"/>
                  </a:cubicBezTo>
                  <a:cubicBezTo>
                    <a:pt x="10" y="3"/>
                    <a:pt x="11" y="2"/>
                    <a:pt x="12" y="2"/>
                  </a:cubicBezTo>
                  <a:cubicBezTo>
                    <a:pt x="12" y="2"/>
                    <a:pt x="12" y="2"/>
                    <a:pt x="12" y="2"/>
                  </a:cubicBezTo>
                  <a:moveTo>
                    <a:pt x="13" y="0"/>
                  </a:moveTo>
                  <a:cubicBezTo>
                    <a:pt x="12" y="0"/>
                    <a:pt x="12" y="0"/>
                    <a:pt x="12" y="0"/>
                  </a:cubicBezTo>
                  <a:cubicBezTo>
                    <a:pt x="12" y="2"/>
                    <a:pt x="12" y="2"/>
                    <a:pt x="12" y="2"/>
                  </a:cubicBezTo>
                  <a:cubicBezTo>
                    <a:pt x="11" y="2"/>
                    <a:pt x="10" y="2"/>
                    <a:pt x="9" y="2"/>
                  </a:cubicBezTo>
                  <a:cubicBezTo>
                    <a:pt x="8" y="1"/>
                    <a:pt x="8" y="1"/>
                    <a:pt x="8" y="1"/>
                  </a:cubicBezTo>
                  <a:cubicBezTo>
                    <a:pt x="8" y="1"/>
                    <a:pt x="8" y="1"/>
                    <a:pt x="8" y="1"/>
                  </a:cubicBezTo>
                  <a:cubicBezTo>
                    <a:pt x="7" y="1"/>
                    <a:pt x="6" y="2"/>
                    <a:pt x="5" y="2"/>
                  </a:cubicBezTo>
                  <a:cubicBezTo>
                    <a:pt x="5" y="3"/>
                    <a:pt x="5" y="3"/>
                    <a:pt x="5" y="3"/>
                  </a:cubicBezTo>
                  <a:cubicBezTo>
                    <a:pt x="5" y="3"/>
                    <a:pt x="5" y="3"/>
                    <a:pt x="5" y="3"/>
                  </a:cubicBezTo>
                  <a:cubicBezTo>
                    <a:pt x="4" y="3"/>
                    <a:pt x="4" y="3"/>
                    <a:pt x="4" y="3"/>
                  </a:cubicBezTo>
                  <a:cubicBezTo>
                    <a:pt x="4" y="4"/>
                    <a:pt x="4" y="4"/>
                    <a:pt x="4" y="4"/>
                  </a:cubicBezTo>
                  <a:cubicBezTo>
                    <a:pt x="4" y="5"/>
                    <a:pt x="4" y="5"/>
                    <a:pt x="4" y="5"/>
                  </a:cubicBezTo>
                  <a:cubicBezTo>
                    <a:pt x="4" y="5"/>
                    <a:pt x="4" y="5"/>
                    <a:pt x="4" y="5"/>
                  </a:cubicBezTo>
                  <a:cubicBezTo>
                    <a:pt x="4" y="6"/>
                    <a:pt x="4" y="6"/>
                    <a:pt x="4" y="6"/>
                  </a:cubicBezTo>
                  <a:cubicBezTo>
                    <a:pt x="2" y="6"/>
                    <a:pt x="2" y="6"/>
                    <a:pt x="2" y="6"/>
                  </a:cubicBezTo>
                  <a:cubicBezTo>
                    <a:pt x="2" y="6"/>
                    <a:pt x="2" y="6"/>
                    <a:pt x="2" y="6"/>
                  </a:cubicBezTo>
                  <a:cubicBezTo>
                    <a:pt x="2" y="7"/>
                    <a:pt x="2" y="7"/>
                    <a:pt x="2" y="7"/>
                  </a:cubicBezTo>
                  <a:cubicBezTo>
                    <a:pt x="2" y="7"/>
                    <a:pt x="2" y="7"/>
                    <a:pt x="2" y="7"/>
                  </a:cubicBezTo>
                  <a:cubicBezTo>
                    <a:pt x="1" y="8"/>
                    <a:pt x="0" y="10"/>
                    <a:pt x="0"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3"/>
                    <a:pt x="2" y="13"/>
                    <a:pt x="2" y="14"/>
                  </a:cubicBezTo>
                  <a:cubicBezTo>
                    <a:pt x="2" y="14"/>
                    <a:pt x="2" y="14"/>
                    <a:pt x="2" y="14"/>
                  </a:cubicBezTo>
                  <a:cubicBezTo>
                    <a:pt x="2" y="14"/>
                    <a:pt x="2" y="14"/>
                    <a:pt x="2" y="14"/>
                  </a:cubicBezTo>
                  <a:cubicBezTo>
                    <a:pt x="2" y="15"/>
                    <a:pt x="1" y="16"/>
                    <a:pt x="1" y="16"/>
                  </a:cubicBezTo>
                  <a:cubicBezTo>
                    <a:pt x="1" y="17"/>
                    <a:pt x="1" y="17"/>
                    <a:pt x="1" y="17"/>
                  </a:cubicBezTo>
                  <a:cubicBezTo>
                    <a:pt x="2" y="18"/>
                    <a:pt x="2" y="19"/>
                    <a:pt x="3" y="19"/>
                  </a:cubicBezTo>
                  <a:cubicBezTo>
                    <a:pt x="3" y="19"/>
                    <a:pt x="3" y="19"/>
                    <a:pt x="3" y="19"/>
                  </a:cubicBezTo>
                  <a:cubicBezTo>
                    <a:pt x="3" y="19"/>
                    <a:pt x="3" y="19"/>
                    <a:pt x="3" y="19"/>
                  </a:cubicBezTo>
                  <a:cubicBezTo>
                    <a:pt x="3" y="19"/>
                    <a:pt x="3" y="19"/>
                    <a:pt x="3" y="19"/>
                  </a:cubicBezTo>
                  <a:cubicBezTo>
                    <a:pt x="3" y="20"/>
                    <a:pt x="3" y="20"/>
                    <a:pt x="3" y="20"/>
                  </a:cubicBezTo>
                  <a:cubicBezTo>
                    <a:pt x="3" y="20"/>
                    <a:pt x="3" y="20"/>
                    <a:pt x="3" y="20"/>
                  </a:cubicBezTo>
                  <a:cubicBezTo>
                    <a:pt x="3" y="20"/>
                    <a:pt x="3" y="20"/>
                    <a:pt x="3" y="20"/>
                  </a:cubicBezTo>
                  <a:cubicBezTo>
                    <a:pt x="5" y="19"/>
                    <a:pt x="5" y="19"/>
                    <a:pt x="5" y="19"/>
                  </a:cubicBezTo>
                  <a:cubicBezTo>
                    <a:pt x="5" y="19"/>
                    <a:pt x="6" y="20"/>
                    <a:pt x="7" y="20"/>
                  </a:cubicBezTo>
                  <a:cubicBezTo>
                    <a:pt x="7" y="21"/>
                    <a:pt x="7" y="21"/>
                    <a:pt x="7" y="22"/>
                  </a:cubicBezTo>
                  <a:cubicBezTo>
                    <a:pt x="7" y="22"/>
                    <a:pt x="7" y="22"/>
                    <a:pt x="7" y="22"/>
                  </a:cubicBezTo>
                  <a:cubicBezTo>
                    <a:pt x="8" y="23"/>
                    <a:pt x="9" y="23"/>
                    <a:pt x="10" y="23"/>
                  </a:cubicBezTo>
                  <a:cubicBezTo>
                    <a:pt x="11" y="23"/>
                    <a:pt x="11" y="23"/>
                    <a:pt x="11" y="23"/>
                  </a:cubicBezTo>
                  <a:cubicBezTo>
                    <a:pt x="11" y="22"/>
                    <a:pt x="11" y="22"/>
                    <a:pt x="11" y="22"/>
                  </a:cubicBezTo>
                  <a:cubicBezTo>
                    <a:pt x="11" y="21"/>
                    <a:pt x="11" y="21"/>
                    <a:pt x="11" y="21"/>
                  </a:cubicBezTo>
                  <a:cubicBezTo>
                    <a:pt x="11" y="21"/>
                    <a:pt x="11" y="21"/>
                    <a:pt x="11" y="21"/>
                  </a:cubicBezTo>
                  <a:cubicBezTo>
                    <a:pt x="12" y="21"/>
                    <a:pt x="13" y="21"/>
                    <a:pt x="14" y="21"/>
                  </a:cubicBezTo>
                  <a:cubicBezTo>
                    <a:pt x="15" y="22"/>
                    <a:pt x="15" y="22"/>
                    <a:pt x="15" y="22"/>
                  </a:cubicBezTo>
                  <a:cubicBezTo>
                    <a:pt x="15" y="22"/>
                    <a:pt x="15" y="22"/>
                    <a:pt x="15" y="22"/>
                  </a:cubicBezTo>
                  <a:cubicBezTo>
                    <a:pt x="16" y="22"/>
                    <a:pt x="17" y="21"/>
                    <a:pt x="18" y="21"/>
                  </a:cubicBezTo>
                  <a:cubicBezTo>
                    <a:pt x="18" y="20"/>
                    <a:pt x="18" y="20"/>
                    <a:pt x="18" y="20"/>
                  </a:cubicBezTo>
                  <a:cubicBezTo>
                    <a:pt x="18" y="20"/>
                    <a:pt x="19" y="20"/>
                    <a:pt x="19" y="19"/>
                  </a:cubicBezTo>
                  <a:cubicBezTo>
                    <a:pt x="19" y="19"/>
                    <a:pt x="19" y="19"/>
                    <a:pt x="19" y="19"/>
                  </a:cubicBezTo>
                  <a:cubicBezTo>
                    <a:pt x="19" y="18"/>
                    <a:pt x="19" y="18"/>
                    <a:pt x="19" y="18"/>
                  </a:cubicBezTo>
                  <a:cubicBezTo>
                    <a:pt x="19" y="18"/>
                    <a:pt x="19" y="18"/>
                    <a:pt x="19" y="18"/>
                  </a:cubicBezTo>
                  <a:cubicBezTo>
                    <a:pt x="19" y="18"/>
                    <a:pt x="19" y="18"/>
                    <a:pt x="19" y="18"/>
                  </a:cubicBezTo>
                  <a:cubicBezTo>
                    <a:pt x="19" y="17"/>
                    <a:pt x="19" y="17"/>
                    <a:pt x="19" y="17"/>
                  </a:cubicBezTo>
                  <a:cubicBezTo>
                    <a:pt x="19" y="17"/>
                    <a:pt x="19" y="17"/>
                    <a:pt x="20" y="17"/>
                  </a:cubicBezTo>
                  <a:cubicBezTo>
                    <a:pt x="20" y="17"/>
                    <a:pt x="20" y="17"/>
                    <a:pt x="21" y="17"/>
                  </a:cubicBezTo>
                  <a:cubicBezTo>
                    <a:pt x="21" y="17"/>
                    <a:pt x="21" y="17"/>
                    <a:pt x="21" y="17"/>
                  </a:cubicBezTo>
                  <a:cubicBezTo>
                    <a:pt x="21" y="16"/>
                    <a:pt x="22" y="15"/>
                    <a:pt x="22" y="15"/>
                  </a:cubicBezTo>
                  <a:cubicBezTo>
                    <a:pt x="22" y="15"/>
                    <a:pt x="22" y="15"/>
                    <a:pt x="22" y="15"/>
                  </a:cubicBezTo>
                  <a:cubicBezTo>
                    <a:pt x="22" y="14"/>
                    <a:pt x="22" y="13"/>
                    <a:pt x="23" y="11"/>
                  </a:cubicBezTo>
                  <a:cubicBezTo>
                    <a:pt x="22" y="11"/>
                    <a:pt x="22" y="11"/>
                    <a:pt x="22" y="11"/>
                  </a:cubicBezTo>
                  <a:cubicBezTo>
                    <a:pt x="21" y="11"/>
                    <a:pt x="21" y="11"/>
                    <a:pt x="21" y="11"/>
                  </a:cubicBezTo>
                  <a:cubicBezTo>
                    <a:pt x="21" y="10"/>
                    <a:pt x="21" y="10"/>
                    <a:pt x="21" y="9"/>
                  </a:cubicBezTo>
                  <a:cubicBezTo>
                    <a:pt x="21" y="9"/>
                    <a:pt x="21" y="9"/>
                    <a:pt x="21" y="9"/>
                  </a:cubicBezTo>
                  <a:cubicBezTo>
                    <a:pt x="21" y="9"/>
                    <a:pt x="21" y="9"/>
                    <a:pt x="21" y="9"/>
                  </a:cubicBezTo>
                  <a:cubicBezTo>
                    <a:pt x="21" y="9"/>
                    <a:pt x="21" y="9"/>
                    <a:pt x="21" y="9"/>
                  </a:cubicBezTo>
                  <a:cubicBezTo>
                    <a:pt x="21" y="8"/>
                    <a:pt x="22" y="8"/>
                    <a:pt x="22" y="7"/>
                  </a:cubicBezTo>
                  <a:cubicBezTo>
                    <a:pt x="22" y="7"/>
                    <a:pt x="22" y="7"/>
                    <a:pt x="22" y="7"/>
                  </a:cubicBezTo>
                  <a:cubicBezTo>
                    <a:pt x="22" y="7"/>
                    <a:pt x="22" y="7"/>
                    <a:pt x="22" y="7"/>
                  </a:cubicBezTo>
                  <a:cubicBezTo>
                    <a:pt x="22" y="6"/>
                    <a:pt x="22" y="6"/>
                    <a:pt x="22" y="6"/>
                  </a:cubicBezTo>
                  <a:cubicBezTo>
                    <a:pt x="21" y="6"/>
                    <a:pt x="21" y="6"/>
                    <a:pt x="21" y="6"/>
                  </a:cubicBezTo>
                  <a:cubicBezTo>
                    <a:pt x="21" y="6"/>
                    <a:pt x="20" y="4"/>
                    <a:pt x="20" y="3"/>
                  </a:cubicBezTo>
                  <a:cubicBezTo>
                    <a:pt x="19" y="3"/>
                    <a:pt x="19" y="3"/>
                    <a:pt x="19" y="3"/>
                  </a:cubicBezTo>
                  <a:cubicBezTo>
                    <a:pt x="18" y="4"/>
                    <a:pt x="18" y="4"/>
                    <a:pt x="18" y="4"/>
                  </a:cubicBezTo>
                  <a:cubicBezTo>
                    <a:pt x="18" y="4"/>
                    <a:pt x="17" y="3"/>
                    <a:pt x="16" y="3"/>
                  </a:cubicBezTo>
                  <a:cubicBezTo>
                    <a:pt x="16" y="1"/>
                    <a:pt x="16" y="1"/>
                    <a:pt x="16" y="1"/>
                  </a:cubicBezTo>
                  <a:cubicBezTo>
                    <a:pt x="16" y="1"/>
                    <a:pt x="16" y="1"/>
                    <a:pt x="16" y="1"/>
                  </a:cubicBezTo>
                  <a:cubicBezTo>
                    <a:pt x="15" y="0"/>
                    <a:pt x="14" y="0"/>
                    <a:pt x="1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93" name="iŝľiďê"/>
            <p:cNvSpPr/>
            <p:nvPr/>
          </p:nvSpPr>
          <p:spPr bwMode="auto">
            <a:xfrm>
              <a:off x="3439" y="2008"/>
              <a:ext cx="38" cy="26"/>
            </a:xfrm>
            <a:custGeom>
              <a:avLst/>
              <a:gdLst>
                <a:gd name="T0" fmla="*/ 7 w 16"/>
                <a:gd name="T1" fmla="*/ 10 h 11"/>
                <a:gd name="T2" fmla="*/ 6 w 16"/>
                <a:gd name="T3" fmla="*/ 9 h 11"/>
                <a:gd name="T4" fmla="*/ 7 w 16"/>
                <a:gd name="T5" fmla="*/ 8 h 11"/>
                <a:gd name="T6" fmla="*/ 8 w 16"/>
                <a:gd name="T7" fmla="*/ 9 h 11"/>
                <a:gd name="T8" fmla="*/ 8 w 16"/>
                <a:gd name="T9" fmla="*/ 10 h 11"/>
                <a:gd name="T10" fmla="*/ 7 w 16"/>
                <a:gd name="T11" fmla="*/ 10 h 11"/>
                <a:gd name="T12" fmla="*/ 1 w 16"/>
                <a:gd name="T13" fmla="*/ 0 h 11"/>
                <a:gd name="T14" fmla="*/ 1 w 16"/>
                <a:gd name="T15" fmla="*/ 0 h 11"/>
                <a:gd name="T16" fmla="*/ 1 w 16"/>
                <a:gd name="T17" fmla="*/ 3 h 11"/>
                <a:gd name="T18" fmla="*/ 7 w 16"/>
                <a:gd name="T19" fmla="*/ 11 h 11"/>
                <a:gd name="T20" fmla="*/ 7 w 16"/>
                <a:gd name="T21" fmla="*/ 11 h 11"/>
                <a:gd name="T22" fmla="*/ 15 w 16"/>
                <a:gd name="T23" fmla="*/ 6 h 11"/>
                <a:gd name="T24" fmla="*/ 14 w 16"/>
                <a:gd name="T25" fmla="*/ 4 h 11"/>
                <a:gd name="T26" fmla="*/ 7 w 16"/>
                <a:gd name="T27" fmla="*/ 8 h 11"/>
                <a:gd name="T28" fmla="*/ 3 w 16"/>
                <a:gd name="T29" fmla="*/ 1 h 11"/>
                <a:gd name="T30" fmla="*/ 1 w 16"/>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1">
                  <a:moveTo>
                    <a:pt x="7" y="10"/>
                  </a:moveTo>
                  <a:cubicBezTo>
                    <a:pt x="7" y="10"/>
                    <a:pt x="6" y="10"/>
                    <a:pt x="6" y="9"/>
                  </a:cubicBezTo>
                  <a:cubicBezTo>
                    <a:pt x="6" y="9"/>
                    <a:pt x="6" y="8"/>
                    <a:pt x="7" y="8"/>
                  </a:cubicBezTo>
                  <a:cubicBezTo>
                    <a:pt x="8" y="9"/>
                    <a:pt x="8" y="9"/>
                    <a:pt x="8" y="9"/>
                  </a:cubicBezTo>
                  <a:cubicBezTo>
                    <a:pt x="8" y="10"/>
                    <a:pt x="8" y="10"/>
                    <a:pt x="8" y="10"/>
                  </a:cubicBezTo>
                  <a:cubicBezTo>
                    <a:pt x="7" y="10"/>
                    <a:pt x="7" y="10"/>
                    <a:pt x="7" y="10"/>
                  </a:cubicBezTo>
                  <a:moveTo>
                    <a:pt x="1" y="0"/>
                  </a:moveTo>
                  <a:cubicBezTo>
                    <a:pt x="1" y="0"/>
                    <a:pt x="1" y="0"/>
                    <a:pt x="1" y="0"/>
                  </a:cubicBezTo>
                  <a:cubicBezTo>
                    <a:pt x="0" y="0"/>
                    <a:pt x="1" y="3"/>
                    <a:pt x="1" y="3"/>
                  </a:cubicBezTo>
                  <a:cubicBezTo>
                    <a:pt x="3" y="5"/>
                    <a:pt x="6" y="10"/>
                    <a:pt x="7" y="11"/>
                  </a:cubicBezTo>
                  <a:cubicBezTo>
                    <a:pt x="7" y="11"/>
                    <a:pt x="7" y="11"/>
                    <a:pt x="7" y="11"/>
                  </a:cubicBezTo>
                  <a:cubicBezTo>
                    <a:pt x="8" y="11"/>
                    <a:pt x="15" y="6"/>
                    <a:pt x="15" y="6"/>
                  </a:cubicBezTo>
                  <a:cubicBezTo>
                    <a:pt x="16" y="5"/>
                    <a:pt x="14" y="4"/>
                    <a:pt x="14" y="4"/>
                  </a:cubicBezTo>
                  <a:cubicBezTo>
                    <a:pt x="14" y="4"/>
                    <a:pt x="9" y="7"/>
                    <a:pt x="7" y="8"/>
                  </a:cubicBezTo>
                  <a:cubicBezTo>
                    <a:pt x="7" y="7"/>
                    <a:pt x="4" y="3"/>
                    <a:pt x="3" y="1"/>
                  </a:cubicBezTo>
                  <a:cubicBezTo>
                    <a:pt x="3" y="1"/>
                    <a:pt x="2"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94" name="ïś1îdè"/>
            <p:cNvSpPr/>
            <p:nvPr/>
          </p:nvSpPr>
          <p:spPr bwMode="auto">
            <a:xfrm>
              <a:off x="3989" y="2270"/>
              <a:ext cx="133" cy="123"/>
            </a:xfrm>
            <a:custGeom>
              <a:avLst/>
              <a:gdLst>
                <a:gd name="T0" fmla="*/ 24 w 56"/>
                <a:gd name="T1" fmla="*/ 40 h 52"/>
                <a:gd name="T2" fmla="*/ 32 w 56"/>
                <a:gd name="T3" fmla="*/ 42 h 52"/>
                <a:gd name="T4" fmla="*/ 23 w 56"/>
                <a:gd name="T5" fmla="*/ 39 h 52"/>
                <a:gd name="T6" fmla="*/ 40 w 56"/>
                <a:gd name="T7" fmla="*/ 50 h 52"/>
                <a:gd name="T8" fmla="*/ 23 w 56"/>
                <a:gd name="T9" fmla="*/ 39 h 52"/>
                <a:gd name="T10" fmla="*/ 43 w 56"/>
                <a:gd name="T11" fmla="*/ 44 h 52"/>
                <a:gd name="T12" fmla="*/ 42 w 56"/>
                <a:gd name="T13" fmla="*/ 49 h 52"/>
                <a:gd name="T14" fmla="*/ 43 w 56"/>
                <a:gd name="T15" fmla="*/ 44 h 52"/>
                <a:gd name="T16" fmla="*/ 45 w 56"/>
                <a:gd name="T17" fmla="*/ 39 h 52"/>
                <a:gd name="T18" fmla="*/ 53 w 56"/>
                <a:gd name="T19" fmla="*/ 27 h 52"/>
                <a:gd name="T20" fmla="*/ 26 w 56"/>
                <a:gd name="T21" fmla="*/ 35 h 52"/>
                <a:gd name="T22" fmla="*/ 44 w 56"/>
                <a:gd name="T23" fmla="*/ 39 h 52"/>
                <a:gd name="T24" fmla="*/ 44 w 56"/>
                <a:gd name="T25" fmla="*/ 39 h 52"/>
                <a:gd name="T26" fmla="*/ 2 w 56"/>
                <a:gd name="T27" fmla="*/ 26 h 52"/>
                <a:gd name="T28" fmla="*/ 17 w 56"/>
                <a:gd name="T29" fmla="*/ 36 h 52"/>
                <a:gd name="T30" fmla="*/ 9 w 56"/>
                <a:gd name="T31" fmla="*/ 27 h 52"/>
                <a:gd name="T32" fmla="*/ 20 w 56"/>
                <a:gd name="T33" fmla="*/ 36 h 52"/>
                <a:gd name="T34" fmla="*/ 23 w 56"/>
                <a:gd name="T35" fmla="*/ 35 h 52"/>
                <a:gd name="T36" fmla="*/ 55 w 56"/>
                <a:gd name="T37" fmla="*/ 21 h 52"/>
                <a:gd name="T38" fmla="*/ 52 w 56"/>
                <a:gd name="T39" fmla="*/ 26 h 52"/>
                <a:gd name="T40" fmla="*/ 23 w 56"/>
                <a:gd name="T41" fmla="*/ 35 h 52"/>
                <a:gd name="T42" fmla="*/ 2 w 56"/>
                <a:gd name="T43" fmla="*/ 23 h 52"/>
                <a:gd name="T44" fmla="*/ 10 w 56"/>
                <a:gd name="T45" fmla="*/ 11 h 52"/>
                <a:gd name="T46" fmla="*/ 5 w 56"/>
                <a:gd name="T47" fmla="*/ 21 h 52"/>
                <a:gd name="T48" fmla="*/ 6 w 56"/>
                <a:gd name="T49" fmla="*/ 20 h 52"/>
                <a:gd name="T50" fmla="*/ 15 w 56"/>
                <a:gd name="T51" fmla="*/ 5 h 52"/>
                <a:gd name="T52" fmla="*/ 9 w 56"/>
                <a:gd name="T53" fmla="*/ 17 h 52"/>
                <a:gd name="T54" fmla="*/ 10 w 56"/>
                <a:gd name="T55" fmla="*/ 18 h 52"/>
                <a:gd name="T56" fmla="*/ 10 w 56"/>
                <a:gd name="T57" fmla="*/ 17 h 52"/>
                <a:gd name="T58" fmla="*/ 33 w 56"/>
                <a:gd name="T59" fmla="*/ 16 h 52"/>
                <a:gd name="T60" fmla="*/ 20 w 56"/>
                <a:gd name="T61" fmla="*/ 0 h 52"/>
                <a:gd name="T62" fmla="*/ 15 w 56"/>
                <a:gd name="T63" fmla="*/ 4 h 52"/>
                <a:gd name="T64" fmla="*/ 11 w 56"/>
                <a:gd name="T65" fmla="*/ 7 h 52"/>
                <a:gd name="T66" fmla="*/ 1 w 56"/>
                <a:gd name="T67" fmla="*/ 24 h 52"/>
                <a:gd name="T68" fmla="*/ 0 w 56"/>
                <a:gd name="T69" fmla="*/ 28 h 52"/>
                <a:gd name="T70" fmla="*/ 17 w 56"/>
                <a:gd name="T71" fmla="*/ 37 h 52"/>
                <a:gd name="T72" fmla="*/ 17 w 56"/>
                <a:gd name="T73" fmla="*/ 37 h 52"/>
                <a:gd name="T74" fmla="*/ 23 w 56"/>
                <a:gd name="T75" fmla="*/ 41 h 52"/>
                <a:gd name="T76" fmla="*/ 23 w 56"/>
                <a:gd name="T77" fmla="*/ 41 h 52"/>
                <a:gd name="T78" fmla="*/ 38 w 56"/>
                <a:gd name="T79" fmla="*/ 52 h 52"/>
                <a:gd name="T80" fmla="*/ 42 w 56"/>
                <a:gd name="T81" fmla="*/ 50 h 52"/>
                <a:gd name="T82" fmla="*/ 55 w 56"/>
                <a:gd name="T83" fmla="*/ 31 h 52"/>
                <a:gd name="T84" fmla="*/ 54 w 56"/>
                <a:gd name="T85" fmla="*/ 29 h 52"/>
                <a:gd name="T86" fmla="*/ 53 w 56"/>
                <a:gd name="T87" fmla="*/ 26 h 52"/>
                <a:gd name="T88" fmla="*/ 56 w 56"/>
                <a:gd name="T89" fmla="*/ 20 h 52"/>
                <a:gd name="T90" fmla="*/ 21 w 56"/>
                <a:gd name="T9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52">
                  <a:moveTo>
                    <a:pt x="39" y="51"/>
                  </a:moveTo>
                  <a:cubicBezTo>
                    <a:pt x="34" y="43"/>
                    <a:pt x="26" y="41"/>
                    <a:pt x="24" y="41"/>
                  </a:cubicBezTo>
                  <a:cubicBezTo>
                    <a:pt x="24" y="40"/>
                    <a:pt x="24" y="40"/>
                    <a:pt x="24" y="40"/>
                  </a:cubicBezTo>
                  <a:cubicBezTo>
                    <a:pt x="24" y="39"/>
                    <a:pt x="24" y="39"/>
                    <a:pt x="24" y="39"/>
                  </a:cubicBezTo>
                  <a:cubicBezTo>
                    <a:pt x="24" y="39"/>
                    <a:pt x="24" y="39"/>
                    <a:pt x="24" y="39"/>
                  </a:cubicBezTo>
                  <a:cubicBezTo>
                    <a:pt x="27" y="40"/>
                    <a:pt x="29" y="41"/>
                    <a:pt x="32" y="42"/>
                  </a:cubicBezTo>
                  <a:cubicBezTo>
                    <a:pt x="35" y="44"/>
                    <a:pt x="38" y="47"/>
                    <a:pt x="39" y="50"/>
                  </a:cubicBezTo>
                  <a:cubicBezTo>
                    <a:pt x="39" y="51"/>
                    <a:pt x="39" y="51"/>
                    <a:pt x="39" y="51"/>
                  </a:cubicBezTo>
                  <a:moveTo>
                    <a:pt x="23" y="39"/>
                  </a:moveTo>
                  <a:cubicBezTo>
                    <a:pt x="23" y="38"/>
                    <a:pt x="23" y="38"/>
                    <a:pt x="23" y="37"/>
                  </a:cubicBezTo>
                  <a:cubicBezTo>
                    <a:pt x="35" y="40"/>
                    <a:pt x="40" y="48"/>
                    <a:pt x="41" y="49"/>
                  </a:cubicBezTo>
                  <a:cubicBezTo>
                    <a:pt x="40" y="50"/>
                    <a:pt x="40" y="50"/>
                    <a:pt x="40" y="50"/>
                  </a:cubicBezTo>
                  <a:cubicBezTo>
                    <a:pt x="38" y="46"/>
                    <a:pt x="36" y="43"/>
                    <a:pt x="32" y="42"/>
                  </a:cubicBezTo>
                  <a:cubicBezTo>
                    <a:pt x="30" y="40"/>
                    <a:pt x="27" y="39"/>
                    <a:pt x="24" y="39"/>
                  </a:cubicBezTo>
                  <a:cubicBezTo>
                    <a:pt x="23" y="39"/>
                    <a:pt x="23" y="39"/>
                    <a:pt x="23" y="39"/>
                  </a:cubicBezTo>
                  <a:cubicBezTo>
                    <a:pt x="23" y="39"/>
                    <a:pt x="23" y="39"/>
                    <a:pt x="23" y="39"/>
                  </a:cubicBezTo>
                  <a:moveTo>
                    <a:pt x="43" y="44"/>
                  </a:moveTo>
                  <a:cubicBezTo>
                    <a:pt x="43" y="44"/>
                    <a:pt x="43" y="44"/>
                    <a:pt x="43" y="44"/>
                  </a:cubicBezTo>
                  <a:cubicBezTo>
                    <a:pt x="48" y="39"/>
                    <a:pt x="51" y="34"/>
                    <a:pt x="54" y="30"/>
                  </a:cubicBezTo>
                  <a:cubicBezTo>
                    <a:pt x="54" y="31"/>
                    <a:pt x="54" y="31"/>
                    <a:pt x="54" y="31"/>
                  </a:cubicBezTo>
                  <a:cubicBezTo>
                    <a:pt x="42" y="49"/>
                    <a:pt x="42" y="49"/>
                    <a:pt x="42" y="49"/>
                  </a:cubicBezTo>
                  <a:cubicBezTo>
                    <a:pt x="41" y="46"/>
                    <a:pt x="36" y="39"/>
                    <a:pt x="24" y="37"/>
                  </a:cubicBezTo>
                  <a:cubicBezTo>
                    <a:pt x="25" y="37"/>
                    <a:pt x="25" y="37"/>
                    <a:pt x="26" y="37"/>
                  </a:cubicBezTo>
                  <a:cubicBezTo>
                    <a:pt x="30" y="37"/>
                    <a:pt x="38" y="38"/>
                    <a:pt x="43" y="44"/>
                  </a:cubicBezTo>
                  <a:cubicBezTo>
                    <a:pt x="43" y="44"/>
                    <a:pt x="43" y="44"/>
                    <a:pt x="43" y="44"/>
                  </a:cubicBezTo>
                  <a:moveTo>
                    <a:pt x="44" y="39"/>
                  </a:moveTo>
                  <a:cubicBezTo>
                    <a:pt x="45" y="39"/>
                    <a:pt x="45" y="39"/>
                    <a:pt x="45" y="39"/>
                  </a:cubicBezTo>
                  <a:cubicBezTo>
                    <a:pt x="45" y="39"/>
                    <a:pt x="45" y="39"/>
                    <a:pt x="45" y="39"/>
                  </a:cubicBezTo>
                  <a:cubicBezTo>
                    <a:pt x="45" y="39"/>
                    <a:pt x="45" y="39"/>
                    <a:pt x="45" y="39"/>
                  </a:cubicBezTo>
                  <a:cubicBezTo>
                    <a:pt x="48" y="34"/>
                    <a:pt x="50" y="31"/>
                    <a:pt x="53" y="27"/>
                  </a:cubicBezTo>
                  <a:cubicBezTo>
                    <a:pt x="54" y="28"/>
                    <a:pt x="54" y="28"/>
                    <a:pt x="54" y="28"/>
                  </a:cubicBezTo>
                  <a:cubicBezTo>
                    <a:pt x="51" y="33"/>
                    <a:pt x="48" y="37"/>
                    <a:pt x="43" y="43"/>
                  </a:cubicBezTo>
                  <a:cubicBezTo>
                    <a:pt x="38" y="37"/>
                    <a:pt x="30" y="35"/>
                    <a:pt x="26" y="35"/>
                  </a:cubicBezTo>
                  <a:cubicBezTo>
                    <a:pt x="25" y="35"/>
                    <a:pt x="25" y="35"/>
                    <a:pt x="25" y="35"/>
                  </a:cubicBezTo>
                  <a:cubicBezTo>
                    <a:pt x="27" y="35"/>
                    <a:pt x="30" y="34"/>
                    <a:pt x="33" y="34"/>
                  </a:cubicBezTo>
                  <a:cubicBezTo>
                    <a:pt x="36" y="34"/>
                    <a:pt x="40" y="35"/>
                    <a:pt x="44" y="39"/>
                  </a:cubicBezTo>
                  <a:cubicBezTo>
                    <a:pt x="44" y="39"/>
                    <a:pt x="44" y="39"/>
                    <a:pt x="44" y="39"/>
                  </a:cubicBezTo>
                  <a:cubicBezTo>
                    <a:pt x="44" y="39"/>
                    <a:pt x="44" y="39"/>
                    <a:pt x="44" y="39"/>
                  </a:cubicBezTo>
                  <a:cubicBezTo>
                    <a:pt x="44" y="39"/>
                    <a:pt x="44" y="39"/>
                    <a:pt x="44" y="39"/>
                  </a:cubicBezTo>
                  <a:moveTo>
                    <a:pt x="17" y="36"/>
                  </a:moveTo>
                  <a:cubicBezTo>
                    <a:pt x="14" y="31"/>
                    <a:pt x="10" y="28"/>
                    <a:pt x="1" y="27"/>
                  </a:cubicBezTo>
                  <a:cubicBezTo>
                    <a:pt x="1" y="27"/>
                    <a:pt x="2" y="27"/>
                    <a:pt x="2" y="26"/>
                  </a:cubicBezTo>
                  <a:cubicBezTo>
                    <a:pt x="3" y="26"/>
                    <a:pt x="6" y="27"/>
                    <a:pt x="9" y="28"/>
                  </a:cubicBezTo>
                  <a:cubicBezTo>
                    <a:pt x="13" y="30"/>
                    <a:pt x="16" y="33"/>
                    <a:pt x="18" y="36"/>
                  </a:cubicBezTo>
                  <a:cubicBezTo>
                    <a:pt x="17" y="36"/>
                    <a:pt x="17" y="36"/>
                    <a:pt x="17" y="36"/>
                  </a:cubicBezTo>
                  <a:moveTo>
                    <a:pt x="18" y="36"/>
                  </a:moveTo>
                  <a:cubicBezTo>
                    <a:pt x="18" y="36"/>
                    <a:pt x="18" y="36"/>
                    <a:pt x="18" y="36"/>
                  </a:cubicBezTo>
                  <a:cubicBezTo>
                    <a:pt x="16" y="32"/>
                    <a:pt x="13" y="30"/>
                    <a:pt x="9" y="27"/>
                  </a:cubicBezTo>
                  <a:cubicBezTo>
                    <a:pt x="7" y="26"/>
                    <a:pt x="3" y="26"/>
                    <a:pt x="2" y="25"/>
                  </a:cubicBezTo>
                  <a:cubicBezTo>
                    <a:pt x="2" y="25"/>
                    <a:pt x="2" y="25"/>
                    <a:pt x="2" y="25"/>
                  </a:cubicBezTo>
                  <a:cubicBezTo>
                    <a:pt x="4" y="25"/>
                    <a:pt x="15" y="26"/>
                    <a:pt x="20" y="36"/>
                  </a:cubicBezTo>
                  <a:cubicBezTo>
                    <a:pt x="20" y="36"/>
                    <a:pt x="19" y="36"/>
                    <a:pt x="19" y="36"/>
                  </a:cubicBezTo>
                  <a:cubicBezTo>
                    <a:pt x="19" y="36"/>
                    <a:pt x="19" y="36"/>
                    <a:pt x="18" y="36"/>
                  </a:cubicBezTo>
                  <a:moveTo>
                    <a:pt x="23" y="35"/>
                  </a:moveTo>
                  <a:cubicBezTo>
                    <a:pt x="34" y="17"/>
                    <a:pt x="34" y="17"/>
                    <a:pt x="34" y="17"/>
                  </a:cubicBezTo>
                  <a:cubicBezTo>
                    <a:pt x="36" y="16"/>
                    <a:pt x="39" y="16"/>
                    <a:pt x="42" y="16"/>
                  </a:cubicBezTo>
                  <a:cubicBezTo>
                    <a:pt x="47" y="16"/>
                    <a:pt x="51" y="17"/>
                    <a:pt x="55" y="21"/>
                  </a:cubicBezTo>
                  <a:cubicBezTo>
                    <a:pt x="54" y="23"/>
                    <a:pt x="53" y="24"/>
                    <a:pt x="52" y="26"/>
                  </a:cubicBezTo>
                  <a:cubicBezTo>
                    <a:pt x="52" y="26"/>
                    <a:pt x="52" y="26"/>
                    <a:pt x="52" y="26"/>
                  </a:cubicBezTo>
                  <a:cubicBezTo>
                    <a:pt x="52" y="26"/>
                    <a:pt x="52" y="26"/>
                    <a:pt x="52" y="26"/>
                  </a:cubicBezTo>
                  <a:cubicBezTo>
                    <a:pt x="50" y="30"/>
                    <a:pt x="47" y="33"/>
                    <a:pt x="44" y="38"/>
                  </a:cubicBezTo>
                  <a:cubicBezTo>
                    <a:pt x="41" y="34"/>
                    <a:pt x="36" y="33"/>
                    <a:pt x="33" y="33"/>
                  </a:cubicBezTo>
                  <a:cubicBezTo>
                    <a:pt x="29" y="33"/>
                    <a:pt x="25" y="34"/>
                    <a:pt x="23" y="35"/>
                  </a:cubicBezTo>
                  <a:cubicBezTo>
                    <a:pt x="23" y="35"/>
                    <a:pt x="23" y="35"/>
                    <a:pt x="23" y="35"/>
                  </a:cubicBezTo>
                  <a:moveTo>
                    <a:pt x="19" y="32"/>
                  </a:moveTo>
                  <a:cubicBezTo>
                    <a:pt x="13" y="25"/>
                    <a:pt x="5" y="24"/>
                    <a:pt x="2" y="23"/>
                  </a:cubicBezTo>
                  <a:cubicBezTo>
                    <a:pt x="11" y="8"/>
                    <a:pt x="11" y="8"/>
                    <a:pt x="11" y="8"/>
                  </a:cubicBezTo>
                  <a:cubicBezTo>
                    <a:pt x="12" y="8"/>
                    <a:pt x="12" y="8"/>
                    <a:pt x="12" y="8"/>
                  </a:cubicBezTo>
                  <a:cubicBezTo>
                    <a:pt x="11" y="9"/>
                    <a:pt x="11" y="10"/>
                    <a:pt x="10" y="11"/>
                  </a:cubicBezTo>
                  <a:cubicBezTo>
                    <a:pt x="9" y="14"/>
                    <a:pt x="7" y="16"/>
                    <a:pt x="5" y="20"/>
                  </a:cubicBezTo>
                  <a:cubicBezTo>
                    <a:pt x="4" y="21"/>
                    <a:pt x="4" y="21"/>
                    <a:pt x="4" y="21"/>
                  </a:cubicBezTo>
                  <a:cubicBezTo>
                    <a:pt x="5" y="21"/>
                    <a:pt x="5" y="21"/>
                    <a:pt x="5" y="21"/>
                  </a:cubicBezTo>
                  <a:cubicBezTo>
                    <a:pt x="13" y="24"/>
                    <a:pt x="16" y="28"/>
                    <a:pt x="19" y="32"/>
                  </a:cubicBezTo>
                  <a:moveTo>
                    <a:pt x="21" y="34"/>
                  </a:moveTo>
                  <a:cubicBezTo>
                    <a:pt x="19" y="29"/>
                    <a:pt x="16" y="24"/>
                    <a:pt x="6" y="20"/>
                  </a:cubicBezTo>
                  <a:cubicBezTo>
                    <a:pt x="8" y="17"/>
                    <a:pt x="10" y="14"/>
                    <a:pt x="11" y="12"/>
                  </a:cubicBezTo>
                  <a:cubicBezTo>
                    <a:pt x="12" y="9"/>
                    <a:pt x="13" y="8"/>
                    <a:pt x="15" y="5"/>
                  </a:cubicBezTo>
                  <a:cubicBezTo>
                    <a:pt x="15" y="5"/>
                    <a:pt x="15" y="5"/>
                    <a:pt x="15" y="5"/>
                  </a:cubicBezTo>
                  <a:cubicBezTo>
                    <a:pt x="16" y="6"/>
                    <a:pt x="16" y="6"/>
                    <a:pt x="16" y="6"/>
                  </a:cubicBezTo>
                  <a:cubicBezTo>
                    <a:pt x="15" y="7"/>
                    <a:pt x="14" y="9"/>
                    <a:pt x="14" y="10"/>
                  </a:cubicBezTo>
                  <a:cubicBezTo>
                    <a:pt x="12" y="12"/>
                    <a:pt x="11" y="14"/>
                    <a:pt x="9" y="17"/>
                  </a:cubicBezTo>
                  <a:cubicBezTo>
                    <a:pt x="9" y="18"/>
                    <a:pt x="9" y="18"/>
                    <a:pt x="9" y="18"/>
                  </a:cubicBezTo>
                  <a:cubicBezTo>
                    <a:pt x="10" y="18"/>
                    <a:pt x="10" y="18"/>
                    <a:pt x="10" y="18"/>
                  </a:cubicBezTo>
                  <a:cubicBezTo>
                    <a:pt x="10" y="18"/>
                    <a:pt x="10" y="18"/>
                    <a:pt x="10" y="18"/>
                  </a:cubicBezTo>
                  <a:cubicBezTo>
                    <a:pt x="20" y="24"/>
                    <a:pt x="21" y="31"/>
                    <a:pt x="21" y="34"/>
                  </a:cubicBezTo>
                  <a:moveTo>
                    <a:pt x="22" y="34"/>
                  </a:moveTo>
                  <a:cubicBezTo>
                    <a:pt x="22" y="31"/>
                    <a:pt x="21" y="24"/>
                    <a:pt x="10" y="17"/>
                  </a:cubicBezTo>
                  <a:cubicBezTo>
                    <a:pt x="12" y="15"/>
                    <a:pt x="13" y="13"/>
                    <a:pt x="14" y="11"/>
                  </a:cubicBezTo>
                  <a:cubicBezTo>
                    <a:pt x="17" y="7"/>
                    <a:pt x="18" y="4"/>
                    <a:pt x="21" y="1"/>
                  </a:cubicBezTo>
                  <a:cubicBezTo>
                    <a:pt x="30" y="3"/>
                    <a:pt x="33" y="12"/>
                    <a:pt x="33" y="16"/>
                  </a:cubicBezTo>
                  <a:cubicBezTo>
                    <a:pt x="22" y="34"/>
                    <a:pt x="22" y="34"/>
                    <a:pt x="22" y="34"/>
                  </a:cubicBezTo>
                  <a:moveTo>
                    <a:pt x="21" y="0"/>
                  </a:moveTo>
                  <a:cubicBezTo>
                    <a:pt x="20" y="0"/>
                    <a:pt x="20" y="0"/>
                    <a:pt x="20" y="0"/>
                  </a:cubicBezTo>
                  <a:cubicBezTo>
                    <a:pt x="19" y="2"/>
                    <a:pt x="18" y="3"/>
                    <a:pt x="17" y="5"/>
                  </a:cubicBezTo>
                  <a:cubicBezTo>
                    <a:pt x="16" y="4"/>
                    <a:pt x="16" y="4"/>
                    <a:pt x="16" y="4"/>
                  </a:cubicBezTo>
                  <a:cubicBezTo>
                    <a:pt x="16" y="4"/>
                    <a:pt x="15" y="4"/>
                    <a:pt x="15" y="4"/>
                  </a:cubicBezTo>
                  <a:cubicBezTo>
                    <a:pt x="14" y="4"/>
                    <a:pt x="14" y="4"/>
                    <a:pt x="14" y="4"/>
                  </a:cubicBezTo>
                  <a:cubicBezTo>
                    <a:pt x="14" y="5"/>
                    <a:pt x="13" y="6"/>
                    <a:pt x="12" y="7"/>
                  </a:cubicBezTo>
                  <a:cubicBezTo>
                    <a:pt x="11" y="7"/>
                    <a:pt x="11" y="7"/>
                    <a:pt x="11" y="7"/>
                  </a:cubicBezTo>
                  <a:cubicBezTo>
                    <a:pt x="10" y="7"/>
                    <a:pt x="10" y="7"/>
                    <a:pt x="10" y="7"/>
                  </a:cubicBezTo>
                  <a:cubicBezTo>
                    <a:pt x="1" y="24"/>
                    <a:pt x="1" y="24"/>
                    <a:pt x="1" y="24"/>
                  </a:cubicBezTo>
                  <a:cubicBezTo>
                    <a:pt x="1" y="24"/>
                    <a:pt x="1" y="24"/>
                    <a:pt x="1" y="24"/>
                  </a:cubicBezTo>
                  <a:cubicBezTo>
                    <a:pt x="1" y="24"/>
                    <a:pt x="1" y="24"/>
                    <a:pt x="1" y="24"/>
                  </a:cubicBezTo>
                  <a:cubicBezTo>
                    <a:pt x="1" y="24"/>
                    <a:pt x="1" y="24"/>
                    <a:pt x="1" y="24"/>
                  </a:cubicBezTo>
                  <a:cubicBezTo>
                    <a:pt x="1" y="24"/>
                    <a:pt x="0" y="27"/>
                    <a:pt x="0" y="28"/>
                  </a:cubicBezTo>
                  <a:cubicBezTo>
                    <a:pt x="0" y="28"/>
                    <a:pt x="0" y="28"/>
                    <a:pt x="0" y="28"/>
                  </a:cubicBezTo>
                  <a:cubicBezTo>
                    <a:pt x="1" y="28"/>
                    <a:pt x="1" y="28"/>
                    <a:pt x="1" y="28"/>
                  </a:cubicBezTo>
                  <a:cubicBezTo>
                    <a:pt x="9" y="29"/>
                    <a:pt x="13" y="32"/>
                    <a:pt x="17" y="37"/>
                  </a:cubicBezTo>
                  <a:cubicBezTo>
                    <a:pt x="17" y="37"/>
                    <a:pt x="17" y="37"/>
                    <a:pt x="17" y="37"/>
                  </a:cubicBezTo>
                  <a:cubicBezTo>
                    <a:pt x="17" y="37"/>
                    <a:pt x="17" y="37"/>
                    <a:pt x="17" y="37"/>
                  </a:cubicBezTo>
                  <a:cubicBezTo>
                    <a:pt x="17" y="37"/>
                    <a:pt x="17" y="37"/>
                    <a:pt x="17" y="37"/>
                  </a:cubicBezTo>
                  <a:cubicBezTo>
                    <a:pt x="18" y="37"/>
                    <a:pt x="19" y="37"/>
                    <a:pt x="19" y="37"/>
                  </a:cubicBezTo>
                  <a:cubicBezTo>
                    <a:pt x="20" y="37"/>
                    <a:pt x="20" y="37"/>
                    <a:pt x="21" y="37"/>
                  </a:cubicBezTo>
                  <a:cubicBezTo>
                    <a:pt x="22" y="38"/>
                    <a:pt x="23" y="39"/>
                    <a:pt x="23" y="41"/>
                  </a:cubicBezTo>
                  <a:cubicBezTo>
                    <a:pt x="23" y="41"/>
                    <a:pt x="23" y="41"/>
                    <a:pt x="23" y="41"/>
                  </a:cubicBezTo>
                  <a:cubicBezTo>
                    <a:pt x="22" y="41"/>
                    <a:pt x="22" y="41"/>
                    <a:pt x="22" y="41"/>
                  </a:cubicBezTo>
                  <a:cubicBezTo>
                    <a:pt x="23" y="41"/>
                    <a:pt x="23" y="41"/>
                    <a:pt x="23" y="41"/>
                  </a:cubicBezTo>
                  <a:cubicBezTo>
                    <a:pt x="23" y="42"/>
                    <a:pt x="32" y="43"/>
                    <a:pt x="38" y="51"/>
                  </a:cubicBezTo>
                  <a:cubicBezTo>
                    <a:pt x="38" y="51"/>
                    <a:pt x="38" y="51"/>
                    <a:pt x="38" y="51"/>
                  </a:cubicBezTo>
                  <a:cubicBezTo>
                    <a:pt x="38" y="52"/>
                    <a:pt x="38" y="52"/>
                    <a:pt x="38" y="52"/>
                  </a:cubicBezTo>
                  <a:cubicBezTo>
                    <a:pt x="39" y="52"/>
                    <a:pt x="39" y="52"/>
                    <a:pt x="39" y="52"/>
                  </a:cubicBezTo>
                  <a:cubicBezTo>
                    <a:pt x="39" y="52"/>
                    <a:pt x="39" y="52"/>
                    <a:pt x="39" y="52"/>
                  </a:cubicBezTo>
                  <a:cubicBezTo>
                    <a:pt x="42" y="50"/>
                    <a:pt x="42" y="50"/>
                    <a:pt x="42" y="50"/>
                  </a:cubicBezTo>
                  <a:cubicBezTo>
                    <a:pt x="42" y="50"/>
                    <a:pt x="42" y="50"/>
                    <a:pt x="42" y="50"/>
                  </a:cubicBezTo>
                  <a:cubicBezTo>
                    <a:pt x="42" y="50"/>
                    <a:pt x="42" y="50"/>
                    <a:pt x="42" y="50"/>
                  </a:cubicBezTo>
                  <a:cubicBezTo>
                    <a:pt x="55" y="31"/>
                    <a:pt x="55" y="31"/>
                    <a:pt x="55" y="31"/>
                  </a:cubicBezTo>
                  <a:cubicBezTo>
                    <a:pt x="55" y="31"/>
                    <a:pt x="55" y="31"/>
                    <a:pt x="55" y="31"/>
                  </a:cubicBezTo>
                  <a:cubicBezTo>
                    <a:pt x="54" y="29"/>
                    <a:pt x="54" y="29"/>
                    <a:pt x="54" y="29"/>
                  </a:cubicBezTo>
                  <a:cubicBezTo>
                    <a:pt x="54" y="29"/>
                    <a:pt x="54" y="29"/>
                    <a:pt x="54" y="29"/>
                  </a:cubicBezTo>
                  <a:cubicBezTo>
                    <a:pt x="54" y="29"/>
                    <a:pt x="55" y="28"/>
                    <a:pt x="55" y="28"/>
                  </a:cubicBezTo>
                  <a:cubicBezTo>
                    <a:pt x="55" y="27"/>
                    <a:pt x="55" y="27"/>
                    <a:pt x="55" y="27"/>
                  </a:cubicBezTo>
                  <a:cubicBezTo>
                    <a:pt x="53" y="26"/>
                    <a:pt x="53" y="26"/>
                    <a:pt x="53" y="26"/>
                  </a:cubicBezTo>
                  <a:cubicBezTo>
                    <a:pt x="54" y="24"/>
                    <a:pt x="55" y="23"/>
                    <a:pt x="56" y="21"/>
                  </a:cubicBezTo>
                  <a:cubicBezTo>
                    <a:pt x="56" y="20"/>
                    <a:pt x="56" y="20"/>
                    <a:pt x="56" y="20"/>
                  </a:cubicBezTo>
                  <a:cubicBezTo>
                    <a:pt x="56" y="20"/>
                    <a:pt x="56" y="20"/>
                    <a:pt x="56" y="20"/>
                  </a:cubicBezTo>
                  <a:cubicBezTo>
                    <a:pt x="52" y="16"/>
                    <a:pt x="47" y="15"/>
                    <a:pt x="42" y="15"/>
                  </a:cubicBezTo>
                  <a:cubicBezTo>
                    <a:pt x="39" y="15"/>
                    <a:pt x="37" y="15"/>
                    <a:pt x="35" y="16"/>
                  </a:cubicBezTo>
                  <a:cubicBezTo>
                    <a:pt x="34" y="11"/>
                    <a:pt x="31" y="2"/>
                    <a:pt x="21" y="0"/>
                  </a:cubicBezTo>
                  <a:cubicBezTo>
                    <a:pt x="21" y="0"/>
                    <a:pt x="21" y="0"/>
                    <a:pt x="2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95" name="îṣľïďé"/>
            <p:cNvSpPr/>
            <p:nvPr/>
          </p:nvSpPr>
          <p:spPr bwMode="auto">
            <a:xfrm>
              <a:off x="4041" y="2284"/>
              <a:ext cx="21" cy="26"/>
            </a:xfrm>
            <a:custGeom>
              <a:avLst/>
              <a:gdLst>
                <a:gd name="T0" fmla="*/ 1 w 9"/>
                <a:gd name="T1" fmla="*/ 0 h 11"/>
                <a:gd name="T2" fmla="*/ 0 w 9"/>
                <a:gd name="T3" fmla="*/ 0 h 11"/>
                <a:gd name="T4" fmla="*/ 0 w 9"/>
                <a:gd name="T5" fmla="*/ 1 h 11"/>
                <a:gd name="T6" fmla="*/ 8 w 9"/>
                <a:gd name="T7" fmla="*/ 11 h 11"/>
                <a:gd name="T8" fmla="*/ 8 w 9"/>
                <a:gd name="T9" fmla="*/ 11 h 11"/>
                <a:gd name="T10" fmla="*/ 8 w 9"/>
                <a:gd name="T11" fmla="*/ 11 h 11"/>
                <a:gd name="T12" fmla="*/ 9 w 9"/>
                <a:gd name="T13" fmla="*/ 11 h 11"/>
                <a:gd name="T14" fmla="*/ 1 w 9"/>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1" y="0"/>
                  </a:moveTo>
                  <a:cubicBezTo>
                    <a:pt x="0" y="0"/>
                    <a:pt x="0" y="0"/>
                    <a:pt x="0" y="0"/>
                  </a:cubicBezTo>
                  <a:cubicBezTo>
                    <a:pt x="0" y="1"/>
                    <a:pt x="0" y="1"/>
                    <a:pt x="0" y="1"/>
                  </a:cubicBezTo>
                  <a:cubicBezTo>
                    <a:pt x="4" y="3"/>
                    <a:pt x="7" y="7"/>
                    <a:pt x="8" y="11"/>
                  </a:cubicBezTo>
                  <a:cubicBezTo>
                    <a:pt x="8" y="11"/>
                    <a:pt x="8" y="11"/>
                    <a:pt x="8" y="11"/>
                  </a:cubicBezTo>
                  <a:cubicBezTo>
                    <a:pt x="8" y="11"/>
                    <a:pt x="8" y="11"/>
                    <a:pt x="8" y="11"/>
                  </a:cubicBezTo>
                  <a:cubicBezTo>
                    <a:pt x="9" y="11"/>
                    <a:pt x="9" y="11"/>
                    <a:pt x="9" y="11"/>
                  </a:cubicBezTo>
                  <a:cubicBezTo>
                    <a:pt x="8" y="6"/>
                    <a:pt x="5" y="3"/>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96" name="iSľïḑe"/>
            <p:cNvSpPr/>
            <p:nvPr/>
          </p:nvSpPr>
          <p:spPr bwMode="auto">
            <a:xfrm>
              <a:off x="4036" y="2293"/>
              <a:ext cx="19" cy="24"/>
            </a:xfrm>
            <a:custGeom>
              <a:avLst/>
              <a:gdLst>
                <a:gd name="T0" fmla="*/ 1 w 8"/>
                <a:gd name="T1" fmla="*/ 0 h 10"/>
                <a:gd name="T2" fmla="*/ 0 w 8"/>
                <a:gd name="T3" fmla="*/ 0 h 10"/>
                <a:gd name="T4" fmla="*/ 0 w 8"/>
                <a:gd name="T5" fmla="*/ 1 h 10"/>
                <a:gd name="T6" fmla="*/ 7 w 8"/>
                <a:gd name="T7" fmla="*/ 10 h 10"/>
                <a:gd name="T8" fmla="*/ 8 w 8"/>
                <a:gd name="T9" fmla="*/ 10 h 10"/>
                <a:gd name="T10" fmla="*/ 8 w 8"/>
                <a:gd name="T11" fmla="*/ 10 h 10"/>
                <a:gd name="T12" fmla="*/ 8 w 8"/>
                <a:gd name="T13" fmla="*/ 10 h 10"/>
                <a:gd name="T14" fmla="*/ 1 w 8"/>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1" y="0"/>
                  </a:moveTo>
                  <a:cubicBezTo>
                    <a:pt x="0" y="0"/>
                    <a:pt x="0" y="0"/>
                    <a:pt x="0" y="0"/>
                  </a:cubicBezTo>
                  <a:cubicBezTo>
                    <a:pt x="0" y="1"/>
                    <a:pt x="0" y="1"/>
                    <a:pt x="0" y="1"/>
                  </a:cubicBezTo>
                  <a:cubicBezTo>
                    <a:pt x="4" y="3"/>
                    <a:pt x="6" y="6"/>
                    <a:pt x="7" y="10"/>
                  </a:cubicBezTo>
                  <a:cubicBezTo>
                    <a:pt x="8" y="10"/>
                    <a:pt x="8" y="10"/>
                    <a:pt x="8" y="10"/>
                  </a:cubicBezTo>
                  <a:cubicBezTo>
                    <a:pt x="8" y="10"/>
                    <a:pt x="8" y="10"/>
                    <a:pt x="8" y="10"/>
                  </a:cubicBezTo>
                  <a:cubicBezTo>
                    <a:pt x="8" y="10"/>
                    <a:pt x="8" y="10"/>
                    <a:pt x="8" y="10"/>
                  </a:cubicBezTo>
                  <a:cubicBezTo>
                    <a:pt x="7" y="6"/>
                    <a:pt x="5" y="2"/>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97" name="í$ľïďe"/>
            <p:cNvSpPr/>
            <p:nvPr/>
          </p:nvSpPr>
          <p:spPr bwMode="auto">
            <a:xfrm>
              <a:off x="4032" y="2301"/>
              <a:ext cx="19" cy="26"/>
            </a:xfrm>
            <a:custGeom>
              <a:avLst/>
              <a:gdLst>
                <a:gd name="T0" fmla="*/ 1 w 8"/>
                <a:gd name="T1" fmla="*/ 0 h 11"/>
                <a:gd name="T2" fmla="*/ 0 w 8"/>
                <a:gd name="T3" fmla="*/ 0 h 11"/>
                <a:gd name="T4" fmla="*/ 0 w 8"/>
                <a:gd name="T5" fmla="*/ 1 h 11"/>
                <a:gd name="T6" fmla="*/ 7 w 8"/>
                <a:gd name="T7" fmla="*/ 10 h 11"/>
                <a:gd name="T8" fmla="*/ 8 w 8"/>
                <a:gd name="T9" fmla="*/ 11 h 11"/>
                <a:gd name="T10" fmla="*/ 8 w 8"/>
                <a:gd name="T11" fmla="*/ 11 h 11"/>
                <a:gd name="T12" fmla="*/ 8 w 8"/>
                <a:gd name="T13" fmla="*/ 10 h 11"/>
                <a:gd name="T14" fmla="*/ 1 w 8"/>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1" y="0"/>
                  </a:moveTo>
                  <a:cubicBezTo>
                    <a:pt x="0" y="0"/>
                    <a:pt x="0" y="0"/>
                    <a:pt x="0" y="0"/>
                  </a:cubicBezTo>
                  <a:cubicBezTo>
                    <a:pt x="0" y="1"/>
                    <a:pt x="0" y="1"/>
                    <a:pt x="0" y="1"/>
                  </a:cubicBezTo>
                  <a:cubicBezTo>
                    <a:pt x="4" y="3"/>
                    <a:pt x="6" y="6"/>
                    <a:pt x="7" y="10"/>
                  </a:cubicBezTo>
                  <a:cubicBezTo>
                    <a:pt x="8" y="11"/>
                    <a:pt x="8" y="11"/>
                    <a:pt x="8" y="11"/>
                  </a:cubicBezTo>
                  <a:cubicBezTo>
                    <a:pt x="8" y="11"/>
                    <a:pt x="8" y="11"/>
                    <a:pt x="8" y="11"/>
                  </a:cubicBezTo>
                  <a:cubicBezTo>
                    <a:pt x="8" y="10"/>
                    <a:pt x="8" y="10"/>
                    <a:pt x="8" y="10"/>
                  </a:cubicBezTo>
                  <a:cubicBezTo>
                    <a:pt x="7" y="6"/>
                    <a:pt x="5" y="3"/>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98" name="íṡḻïďê"/>
            <p:cNvSpPr/>
            <p:nvPr/>
          </p:nvSpPr>
          <p:spPr bwMode="auto">
            <a:xfrm>
              <a:off x="4034" y="2315"/>
              <a:ext cx="12" cy="19"/>
            </a:xfrm>
            <a:custGeom>
              <a:avLst/>
              <a:gdLst>
                <a:gd name="T0" fmla="*/ 0 w 5"/>
                <a:gd name="T1" fmla="*/ 0 h 8"/>
                <a:gd name="T2" fmla="*/ 0 w 5"/>
                <a:gd name="T3" fmla="*/ 0 h 8"/>
                <a:gd name="T4" fmla="*/ 0 w 5"/>
                <a:gd name="T5" fmla="*/ 1 h 8"/>
                <a:gd name="T6" fmla="*/ 4 w 5"/>
                <a:gd name="T7" fmla="*/ 7 h 8"/>
                <a:gd name="T8" fmla="*/ 4 w 5"/>
                <a:gd name="T9" fmla="*/ 8 h 8"/>
                <a:gd name="T10" fmla="*/ 4 w 5"/>
                <a:gd name="T11" fmla="*/ 8 h 8"/>
                <a:gd name="T12" fmla="*/ 5 w 5"/>
                <a:gd name="T13" fmla="*/ 7 h 8"/>
                <a:gd name="T14" fmla="*/ 0 w 5"/>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0" y="0"/>
                  </a:moveTo>
                  <a:cubicBezTo>
                    <a:pt x="0" y="0"/>
                    <a:pt x="0" y="0"/>
                    <a:pt x="0" y="0"/>
                  </a:cubicBezTo>
                  <a:cubicBezTo>
                    <a:pt x="0" y="1"/>
                    <a:pt x="0" y="1"/>
                    <a:pt x="0" y="1"/>
                  </a:cubicBezTo>
                  <a:cubicBezTo>
                    <a:pt x="2" y="3"/>
                    <a:pt x="3" y="4"/>
                    <a:pt x="4" y="7"/>
                  </a:cubicBezTo>
                  <a:cubicBezTo>
                    <a:pt x="4" y="8"/>
                    <a:pt x="4" y="8"/>
                    <a:pt x="4" y="8"/>
                  </a:cubicBezTo>
                  <a:cubicBezTo>
                    <a:pt x="4" y="8"/>
                    <a:pt x="4" y="8"/>
                    <a:pt x="4" y="8"/>
                  </a:cubicBezTo>
                  <a:cubicBezTo>
                    <a:pt x="5" y="7"/>
                    <a:pt x="5" y="7"/>
                    <a:pt x="5" y="7"/>
                  </a:cubicBezTo>
                  <a:cubicBezTo>
                    <a:pt x="4" y="4"/>
                    <a:pt x="3" y="2"/>
                    <a:pt x="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699" name="ïSľîďê"/>
            <p:cNvSpPr/>
            <p:nvPr/>
          </p:nvSpPr>
          <p:spPr bwMode="auto">
            <a:xfrm>
              <a:off x="4074" y="2312"/>
              <a:ext cx="31" cy="10"/>
            </a:xfrm>
            <a:custGeom>
              <a:avLst/>
              <a:gdLst>
                <a:gd name="T0" fmla="*/ 4 w 13"/>
                <a:gd name="T1" fmla="*/ 0 h 4"/>
                <a:gd name="T2" fmla="*/ 0 w 13"/>
                <a:gd name="T3" fmla="*/ 1 h 4"/>
                <a:gd name="T4" fmla="*/ 0 w 13"/>
                <a:gd name="T5" fmla="*/ 1 h 4"/>
                <a:gd name="T6" fmla="*/ 0 w 13"/>
                <a:gd name="T7" fmla="*/ 2 h 4"/>
                <a:gd name="T8" fmla="*/ 4 w 13"/>
                <a:gd name="T9" fmla="*/ 1 h 4"/>
                <a:gd name="T10" fmla="*/ 12 w 13"/>
                <a:gd name="T11" fmla="*/ 4 h 4"/>
                <a:gd name="T12" fmla="*/ 13 w 13"/>
                <a:gd name="T13" fmla="*/ 4 h 4"/>
                <a:gd name="T14" fmla="*/ 13 w 13"/>
                <a:gd name="T15" fmla="*/ 4 h 4"/>
                <a:gd name="T16" fmla="*/ 13 w 13"/>
                <a:gd name="T17" fmla="*/ 3 h 4"/>
                <a:gd name="T18" fmla="*/ 4 w 1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4">
                  <a:moveTo>
                    <a:pt x="4" y="0"/>
                  </a:moveTo>
                  <a:cubicBezTo>
                    <a:pt x="3" y="0"/>
                    <a:pt x="1" y="0"/>
                    <a:pt x="0" y="1"/>
                  </a:cubicBezTo>
                  <a:cubicBezTo>
                    <a:pt x="0" y="1"/>
                    <a:pt x="0" y="1"/>
                    <a:pt x="0" y="1"/>
                  </a:cubicBezTo>
                  <a:cubicBezTo>
                    <a:pt x="0" y="2"/>
                    <a:pt x="0" y="2"/>
                    <a:pt x="0" y="2"/>
                  </a:cubicBezTo>
                  <a:cubicBezTo>
                    <a:pt x="2" y="2"/>
                    <a:pt x="3" y="1"/>
                    <a:pt x="4" y="1"/>
                  </a:cubicBezTo>
                  <a:cubicBezTo>
                    <a:pt x="7" y="1"/>
                    <a:pt x="10" y="2"/>
                    <a:pt x="12" y="4"/>
                  </a:cubicBezTo>
                  <a:cubicBezTo>
                    <a:pt x="13" y="4"/>
                    <a:pt x="13" y="4"/>
                    <a:pt x="13" y="4"/>
                  </a:cubicBezTo>
                  <a:cubicBezTo>
                    <a:pt x="13" y="4"/>
                    <a:pt x="13" y="4"/>
                    <a:pt x="13" y="4"/>
                  </a:cubicBezTo>
                  <a:cubicBezTo>
                    <a:pt x="13" y="3"/>
                    <a:pt x="13" y="3"/>
                    <a:pt x="13" y="3"/>
                  </a:cubicBezTo>
                  <a:cubicBezTo>
                    <a:pt x="10" y="1"/>
                    <a:pt x="7" y="0"/>
                    <a:pt x="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00" name="íṡlïḑê"/>
            <p:cNvSpPr/>
            <p:nvPr/>
          </p:nvSpPr>
          <p:spPr bwMode="auto">
            <a:xfrm>
              <a:off x="4070" y="2322"/>
              <a:ext cx="31" cy="7"/>
            </a:xfrm>
            <a:custGeom>
              <a:avLst/>
              <a:gdLst>
                <a:gd name="T0" fmla="*/ 4 w 13"/>
                <a:gd name="T1" fmla="*/ 0 h 3"/>
                <a:gd name="T2" fmla="*/ 1 w 13"/>
                <a:gd name="T3" fmla="*/ 0 h 3"/>
                <a:gd name="T4" fmla="*/ 0 w 13"/>
                <a:gd name="T5" fmla="*/ 1 h 3"/>
                <a:gd name="T6" fmla="*/ 1 w 13"/>
                <a:gd name="T7" fmla="*/ 1 h 3"/>
                <a:gd name="T8" fmla="*/ 4 w 13"/>
                <a:gd name="T9" fmla="*/ 1 h 3"/>
                <a:gd name="T10" fmla="*/ 12 w 13"/>
                <a:gd name="T11" fmla="*/ 3 h 3"/>
                <a:gd name="T12" fmla="*/ 13 w 13"/>
                <a:gd name="T13" fmla="*/ 3 h 3"/>
                <a:gd name="T14" fmla="*/ 13 w 13"/>
                <a:gd name="T15" fmla="*/ 3 h 3"/>
                <a:gd name="T16" fmla="*/ 13 w 13"/>
                <a:gd name="T17" fmla="*/ 2 h 3"/>
                <a:gd name="T18" fmla="*/ 4 w 1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3">
                  <a:moveTo>
                    <a:pt x="4" y="0"/>
                  </a:moveTo>
                  <a:cubicBezTo>
                    <a:pt x="3" y="0"/>
                    <a:pt x="2" y="0"/>
                    <a:pt x="1" y="0"/>
                  </a:cubicBezTo>
                  <a:cubicBezTo>
                    <a:pt x="0" y="1"/>
                    <a:pt x="0" y="1"/>
                    <a:pt x="0" y="1"/>
                  </a:cubicBezTo>
                  <a:cubicBezTo>
                    <a:pt x="1" y="1"/>
                    <a:pt x="1" y="1"/>
                    <a:pt x="1" y="1"/>
                  </a:cubicBezTo>
                  <a:cubicBezTo>
                    <a:pt x="2" y="1"/>
                    <a:pt x="3" y="1"/>
                    <a:pt x="4" y="1"/>
                  </a:cubicBezTo>
                  <a:cubicBezTo>
                    <a:pt x="7" y="1"/>
                    <a:pt x="10" y="2"/>
                    <a:pt x="12" y="3"/>
                  </a:cubicBezTo>
                  <a:cubicBezTo>
                    <a:pt x="13" y="3"/>
                    <a:pt x="13" y="3"/>
                    <a:pt x="13" y="3"/>
                  </a:cubicBezTo>
                  <a:cubicBezTo>
                    <a:pt x="13" y="3"/>
                    <a:pt x="13" y="3"/>
                    <a:pt x="13" y="3"/>
                  </a:cubicBezTo>
                  <a:cubicBezTo>
                    <a:pt x="13" y="2"/>
                    <a:pt x="13" y="2"/>
                    <a:pt x="13" y="2"/>
                  </a:cubicBezTo>
                  <a:cubicBezTo>
                    <a:pt x="10" y="1"/>
                    <a:pt x="7" y="0"/>
                    <a:pt x="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01" name="íṡ1îḍe"/>
            <p:cNvSpPr/>
            <p:nvPr/>
          </p:nvSpPr>
          <p:spPr bwMode="auto">
            <a:xfrm>
              <a:off x="4065" y="2329"/>
              <a:ext cx="31" cy="10"/>
            </a:xfrm>
            <a:custGeom>
              <a:avLst/>
              <a:gdLst>
                <a:gd name="T0" fmla="*/ 4 w 13"/>
                <a:gd name="T1" fmla="*/ 0 h 4"/>
                <a:gd name="T2" fmla="*/ 1 w 13"/>
                <a:gd name="T3" fmla="*/ 0 h 4"/>
                <a:gd name="T4" fmla="*/ 0 w 13"/>
                <a:gd name="T5" fmla="*/ 1 h 4"/>
                <a:gd name="T6" fmla="*/ 1 w 13"/>
                <a:gd name="T7" fmla="*/ 2 h 4"/>
                <a:gd name="T8" fmla="*/ 4 w 13"/>
                <a:gd name="T9" fmla="*/ 1 h 4"/>
                <a:gd name="T10" fmla="*/ 12 w 13"/>
                <a:gd name="T11" fmla="*/ 4 h 4"/>
                <a:gd name="T12" fmla="*/ 12 w 13"/>
                <a:gd name="T13" fmla="*/ 4 h 4"/>
                <a:gd name="T14" fmla="*/ 13 w 13"/>
                <a:gd name="T15" fmla="*/ 4 h 4"/>
                <a:gd name="T16" fmla="*/ 13 w 13"/>
                <a:gd name="T17" fmla="*/ 3 h 4"/>
                <a:gd name="T18" fmla="*/ 4 w 1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4">
                  <a:moveTo>
                    <a:pt x="4" y="0"/>
                  </a:moveTo>
                  <a:cubicBezTo>
                    <a:pt x="3" y="0"/>
                    <a:pt x="2" y="0"/>
                    <a:pt x="1" y="0"/>
                  </a:cubicBezTo>
                  <a:cubicBezTo>
                    <a:pt x="0" y="1"/>
                    <a:pt x="0" y="1"/>
                    <a:pt x="0" y="1"/>
                  </a:cubicBezTo>
                  <a:cubicBezTo>
                    <a:pt x="1" y="2"/>
                    <a:pt x="1" y="2"/>
                    <a:pt x="1" y="2"/>
                  </a:cubicBezTo>
                  <a:cubicBezTo>
                    <a:pt x="2" y="1"/>
                    <a:pt x="3" y="1"/>
                    <a:pt x="4" y="1"/>
                  </a:cubicBezTo>
                  <a:cubicBezTo>
                    <a:pt x="7" y="1"/>
                    <a:pt x="9" y="2"/>
                    <a:pt x="12" y="4"/>
                  </a:cubicBezTo>
                  <a:cubicBezTo>
                    <a:pt x="12" y="4"/>
                    <a:pt x="12" y="4"/>
                    <a:pt x="12" y="4"/>
                  </a:cubicBezTo>
                  <a:cubicBezTo>
                    <a:pt x="13" y="4"/>
                    <a:pt x="13" y="4"/>
                    <a:pt x="13" y="4"/>
                  </a:cubicBezTo>
                  <a:cubicBezTo>
                    <a:pt x="13" y="3"/>
                    <a:pt x="13" y="3"/>
                    <a:pt x="13" y="3"/>
                  </a:cubicBezTo>
                  <a:cubicBezTo>
                    <a:pt x="10" y="1"/>
                    <a:pt x="7" y="0"/>
                    <a:pt x="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02" name="i$1íḓé"/>
            <p:cNvSpPr/>
            <p:nvPr/>
          </p:nvSpPr>
          <p:spPr bwMode="auto">
            <a:xfrm>
              <a:off x="4060" y="2336"/>
              <a:ext cx="21" cy="5"/>
            </a:xfrm>
            <a:custGeom>
              <a:avLst/>
              <a:gdLst>
                <a:gd name="T0" fmla="*/ 4 w 9"/>
                <a:gd name="T1" fmla="*/ 0 h 2"/>
                <a:gd name="T2" fmla="*/ 1 w 9"/>
                <a:gd name="T3" fmla="*/ 1 h 2"/>
                <a:gd name="T4" fmla="*/ 0 w 9"/>
                <a:gd name="T5" fmla="*/ 1 h 2"/>
                <a:gd name="T6" fmla="*/ 1 w 9"/>
                <a:gd name="T7" fmla="*/ 2 h 2"/>
                <a:gd name="T8" fmla="*/ 4 w 9"/>
                <a:gd name="T9" fmla="*/ 1 h 2"/>
                <a:gd name="T10" fmla="*/ 8 w 9"/>
                <a:gd name="T11" fmla="*/ 2 h 2"/>
                <a:gd name="T12" fmla="*/ 8 w 9"/>
                <a:gd name="T13" fmla="*/ 2 h 2"/>
                <a:gd name="T14" fmla="*/ 9 w 9"/>
                <a:gd name="T15" fmla="*/ 2 h 2"/>
                <a:gd name="T16" fmla="*/ 8 w 9"/>
                <a:gd name="T17" fmla="*/ 1 h 2"/>
                <a:gd name="T18" fmla="*/ 4 w 9"/>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
                  <a:moveTo>
                    <a:pt x="4" y="0"/>
                  </a:moveTo>
                  <a:cubicBezTo>
                    <a:pt x="3" y="0"/>
                    <a:pt x="2" y="0"/>
                    <a:pt x="1" y="1"/>
                  </a:cubicBezTo>
                  <a:cubicBezTo>
                    <a:pt x="0" y="1"/>
                    <a:pt x="0" y="1"/>
                    <a:pt x="0" y="1"/>
                  </a:cubicBezTo>
                  <a:cubicBezTo>
                    <a:pt x="1" y="2"/>
                    <a:pt x="1" y="2"/>
                    <a:pt x="1" y="2"/>
                  </a:cubicBezTo>
                  <a:cubicBezTo>
                    <a:pt x="2" y="1"/>
                    <a:pt x="3" y="1"/>
                    <a:pt x="4" y="1"/>
                  </a:cubicBezTo>
                  <a:cubicBezTo>
                    <a:pt x="5" y="1"/>
                    <a:pt x="7" y="2"/>
                    <a:pt x="8" y="2"/>
                  </a:cubicBezTo>
                  <a:cubicBezTo>
                    <a:pt x="8" y="2"/>
                    <a:pt x="8" y="2"/>
                    <a:pt x="8" y="2"/>
                  </a:cubicBezTo>
                  <a:cubicBezTo>
                    <a:pt x="9" y="2"/>
                    <a:pt x="9" y="2"/>
                    <a:pt x="9" y="2"/>
                  </a:cubicBezTo>
                  <a:cubicBezTo>
                    <a:pt x="8" y="1"/>
                    <a:pt x="8" y="1"/>
                    <a:pt x="8" y="1"/>
                  </a:cubicBezTo>
                  <a:cubicBezTo>
                    <a:pt x="7" y="0"/>
                    <a:pt x="5" y="0"/>
                    <a:pt x="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03" name="îşľiḋé"/>
            <p:cNvSpPr/>
            <p:nvPr/>
          </p:nvSpPr>
          <p:spPr bwMode="auto">
            <a:xfrm>
              <a:off x="4067" y="1946"/>
              <a:ext cx="124" cy="126"/>
            </a:xfrm>
            <a:custGeom>
              <a:avLst/>
              <a:gdLst>
                <a:gd name="T0" fmla="*/ 34 w 52"/>
                <a:gd name="T1" fmla="*/ 48 h 53"/>
                <a:gd name="T2" fmla="*/ 22 w 52"/>
                <a:gd name="T3" fmla="*/ 51 h 53"/>
                <a:gd name="T4" fmla="*/ 28 w 52"/>
                <a:gd name="T5" fmla="*/ 51 h 53"/>
                <a:gd name="T6" fmla="*/ 31 w 52"/>
                <a:gd name="T7" fmla="*/ 46 h 53"/>
                <a:gd name="T8" fmla="*/ 14 w 52"/>
                <a:gd name="T9" fmla="*/ 49 h 53"/>
                <a:gd name="T10" fmla="*/ 34 w 52"/>
                <a:gd name="T11" fmla="*/ 45 h 53"/>
                <a:gd name="T12" fmla="*/ 38 w 52"/>
                <a:gd name="T13" fmla="*/ 44 h 53"/>
                <a:gd name="T14" fmla="*/ 13 w 52"/>
                <a:gd name="T15" fmla="*/ 48 h 53"/>
                <a:gd name="T16" fmla="*/ 10 w 52"/>
                <a:gd name="T17" fmla="*/ 47 h 53"/>
                <a:gd name="T18" fmla="*/ 42 w 52"/>
                <a:gd name="T19" fmla="*/ 41 h 53"/>
                <a:gd name="T20" fmla="*/ 34 w 52"/>
                <a:gd name="T21" fmla="*/ 41 h 53"/>
                <a:gd name="T22" fmla="*/ 7 w 52"/>
                <a:gd name="T23" fmla="*/ 44 h 53"/>
                <a:gd name="T24" fmla="*/ 43 w 52"/>
                <a:gd name="T25" fmla="*/ 45 h 53"/>
                <a:gd name="T26" fmla="*/ 32 w 52"/>
                <a:gd name="T27" fmla="*/ 43 h 53"/>
                <a:gd name="T28" fmla="*/ 5 w 52"/>
                <a:gd name="T29" fmla="*/ 37 h 53"/>
                <a:gd name="T30" fmla="*/ 44 w 52"/>
                <a:gd name="T31" fmla="*/ 43 h 53"/>
                <a:gd name="T32" fmla="*/ 3 w 52"/>
                <a:gd name="T33" fmla="*/ 35 h 53"/>
                <a:gd name="T34" fmla="*/ 30 w 52"/>
                <a:gd name="T35" fmla="*/ 35 h 53"/>
                <a:gd name="T36" fmla="*/ 47 w 52"/>
                <a:gd name="T37" fmla="*/ 34 h 53"/>
                <a:gd name="T38" fmla="*/ 28 w 52"/>
                <a:gd name="T39" fmla="*/ 33 h 53"/>
                <a:gd name="T40" fmla="*/ 45 w 52"/>
                <a:gd name="T41" fmla="*/ 32 h 53"/>
                <a:gd name="T42" fmla="*/ 43 w 52"/>
                <a:gd name="T43" fmla="*/ 33 h 53"/>
                <a:gd name="T44" fmla="*/ 40 w 52"/>
                <a:gd name="T45" fmla="*/ 30 h 53"/>
                <a:gd name="T46" fmla="*/ 37 w 52"/>
                <a:gd name="T47" fmla="*/ 30 h 53"/>
                <a:gd name="T48" fmla="*/ 49 w 52"/>
                <a:gd name="T49" fmla="*/ 37 h 53"/>
                <a:gd name="T50" fmla="*/ 27 w 52"/>
                <a:gd name="T51" fmla="*/ 30 h 53"/>
                <a:gd name="T52" fmla="*/ 36 w 52"/>
                <a:gd name="T53" fmla="*/ 43 h 53"/>
                <a:gd name="T54" fmla="*/ 38 w 52"/>
                <a:gd name="T55" fmla="*/ 32 h 53"/>
                <a:gd name="T56" fmla="*/ 47 w 52"/>
                <a:gd name="T57" fmla="*/ 35 h 53"/>
                <a:gd name="T58" fmla="*/ 30 w 52"/>
                <a:gd name="T59" fmla="*/ 27 h 53"/>
                <a:gd name="T60" fmla="*/ 29 w 52"/>
                <a:gd name="T61" fmla="*/ 26 h 53"/>
                <a:gd name="T62" fmla="*/ 27 w 52"/>
                <a:gd name="T63" fmla="*/ 24 h 53"/>
                <a:gd name="T64" fmla="*/ 31 w 52"/>
                <a:gd name="T65" fmla="*/ 23 h 53"/>
                <a:gd name="T66" fmla="*/ 48 w 52"/>
                <a:gd name="T67" fmla="*/ 32 h 53"/>
                <a:gd name="T68" fmla="*/ 31 w 52"/>
                <a:gd name="T69" fmla="*/ 26 h 53"/>
                <a:gd name="T70" fmla="*/ 34 w 52"/>
                <a:gd name="T71" fmla="*/ 19 h 53"/>
                <a:gd name="T72" fmla="*/ 36 w 52"/>
                <a:gd name="T73" fmla="*/ 21 h 53"/>
                <a:gd name="T74" fmla="*/ 42 w 52"/>
                <a:gd name="T75" fmla="*/ 18 h 53"/>
                <a:gd name="T76" fmla="*/ 47 w 52"/>
                <a:gd name="T77" fmla="*/ 12 h 53"/>
                <a:gd name="T78" fmla="*/ 47 w 52"/>
                <a:gd name="T79" fmla="*/ 16 h 53"/>
                <a:gd name="T80" fmla="*/ 1 w 52"/>
                <a:gd name="T81" fmla="*/ 25 h 53"/>
                <a:gd name="T82" fmla="*/ 26 w 52"/>
                <a:gd name="T83" fmla="*/ 31 h 53"/>
                <a:gd name="T84" fmla="*/ 31 w 52"/>
                <a:gd name="T85" fmla="*/ 45 h 53"/>
                <a:gd name="T86" fmla="*/ 27 w 52"/>
                <a:gd name="T87" fmla="*/ 21 h 53"/>
                <a:gd name="T88" fmla="*/ 29 w 52"/>
                <a:gd name="T89" fmla="*/ 20 h 53"/>
                <a:gd name="T90" fmla="*/ 26 w 52"/>
                <a:gd name="T91" fmla="*/ 24 h 53"/>
                <a:gd name="T92" fmla="*/ 26 w 52"/>
                <a:gd name="T93" fmla="*/ 2 h 53"/>
                <a:gd name="T94" fmla="*/ 1 w 52"/>
                <a:gd name="T95" fmla="*/ 34 h 53"/>
                <a:gd name="T96" fmla="*/ 3 w 52"/>
                <a:gd name="T97" fmla="*/ 40 h 53"/>
                <a:gd name="T98" fmla="*/ 6 w 52"/>
                <a:gd name="T99" fmla="*/ 44 h 53"/>
                <a:gd name="T100" fmla="*/ 16 w 52"/>
                <a:gd name="T101" fmla="*/ 52 h 53"/>
                <a:gd name="T102" fmla="*/ 22 w 52"/>
                <a:gd name="T103" fmla="*/ 52 h 53"/>
                <a:gd name="T104" fmla="*/ 29 w 52"/>
                <a:gd name="T105" fmla="*/ 52 h 53"/>
                <a:gd name="T106" fmla="*/ 35 w 52"/>
                <a:gd name="T107" fmla="*/ 51 h 53"/>
                <a:gd name="T108" fmla="*/ 41 w 52"/>
                <a:gd name="T109" fmla="*/ 48 h 53"/>
                <a:gd name="T110" fmla="*/ 52 w 52"/>
                <a:gd name="T111" fmla="*/ 28 h 53"/>
                <a:gd name="T112" fmla="*/ 48 w 52"/>
                <a:gd name="T113" fmla="*/ 1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53">
                  <a:moveTo>
                    <a:pt x="31" y="51"/>
                  </a:moveTo>
                  <a:cubicBezTo>
                    <a:pt x="31" y="50"/>
                    <a:pt x="31" y="50"/>
                    <a:pt x="31" y="50"/>
                  </a:cubicBezTo>
                  <a:cubicBezTo>
                    <a:pt x="31" y="51"/>
                    <a:pt x="31" y="51"/>
                    <a:pt x="31" y="51"/>
                  </a:cubicBezTo>
                  <a:cubicBezTo>
                    <a:pt x="31" y="51"/>
                    <a:pt x="31" y="51"/>
                    <a:pt x="31" y="51"/>
                  </a:cubicBezTo>
                  <a:cubicBezTo>
                    <a:pt x="31" y="51"/>
                    <a:pt x="31" y="51"/>
                    <a:pt x="31" y="51"/>
                  </a:cubicBezTo>
                  <a:moveTo>
                    <a:pt x="34" y="49"/>
                  </a:moveTo>
                  <a:cubicBezTo>
                    <a:pt x="34" y="49"/>
                    <a:pt x="34" y="49"/>
                    <a:pt x="34" y="49"/>
                  </a:cubicBezTo>
                  <a:cubicBezTo>
                    <a:pt x="34" y="48"/>
                    <a:pt x="34" y="48"/>
                    <a:pt x="34" y="48"/>
                  </a:cubicBezTo>
                  <a:cubicBezTo>
                    <a:pt x="34" y="48"/>
                    <a:pt x="34" y="49"/>
                    <a:pt x="34" y="49"/>
                  </a:cubicBezTo>
                  <a:moveTo>
                    <a:pt x="25" y="46"/>
                  </a:moveTo>
                  <a:cubicBezTo>
                    <a:pt x="26" y="46"/>
                    <a:pt x="26" y="46"/>
                    <a:pt x="27" y="46"/>
                  </a:cubicBezTo>
                  <a:cubicBezTo>
                    <a:pt x="25" y="51"/>
                    <a:pt x="25" y="51"/>
                    <a:pt x="25" y="51"/>
                  </a:cubicBezTo>
                  <a:cubicBezTo>
                    <a:pt x="24" y="51"/>
                    <a:pt x="24" y="51"/>
                    <a:pt x="23" y="51"/>
                  </a:cubicBezTo>
                  <a:cubicBezTo>
                    <a:pt x="25" y="46"/>
                    <a:pt x="25" y="46"/>
                    <a:pt x="25" y="46"/>
                  </a:cubicBezTo>
                  <a:cubicBezTo>
                    <a:pt x="25" y="46"/>
                    <a:pt x="25" y="46"/>
                    <a:pt x="25" y="46"/>
                  </a:cubicBezTo>
                  <a:moveTo>
                    <a:pt x="22" y="51"/>
                  </a:moveTo>
                  <a:cubicBezTo>
                    <a:pt x="21" y="51"/>
                    <a:pt x="21" y="51"/>
                    <a:pt x="20" y="51"/>
                  </a:cubicBezTo>
                  <a:cubicBezTo>
                    <a:pt x="21" y="49"/>
                    <a:pt x="21" y="48"/>
                    <a:pt x="22" y="46"/>
                  </a:cubicBezTo>
                  <a:cubicBezTo>
                    <a:pt x="23" y="46"/>
                    <a:pt x="23" y="46"/>
                    <a:pt x="24" y="46"/>
                  </a:cubicBezTo>
                  <a:cubicBezTo>
                    <a:pt x="22" y="51"/>
                    <a:pt x="22" y="51"/>
                    <a:pt x="22" y="51"/>
                  </a:cubicBezTo>
                  <a:moveTo>
                    <a:pt x="26" y="51"/>
                  </a:moveTo>
                  <a:cubicBezTo>
                    <a:pt x="28" y="46"/>
                    <a:pt x="28" y="46"/>
                    <a:pt x="28" y="46"/>
                  </a:cubicBezTo>
                  <a:cubicBezTo>
                    <a:pt x="29" y="46"/>
                    <a:pt x="29" y="46"/>
                    <a:pt x="30" y="46"/>
                  </a:cubicBezTo>
                  <a:cubicBezTo>
                    <a:pt x="29" y="48"/>
                    <a:pt x="28" y="49"/>
                    <a:pt x="28" y="51"/>
                  </a:cubicBezTo>
                  <a:cubicBezTo>
                    <a:pt x="27" y="51"/>
                    <a:pt x="27" y="51"/>
                    <a:pt x="26" y="51"/>
                  </a:cubicBezTo>
                  <a:moveTo>
                    <a:pt x="19" y="51"/>
                  </a:moveTo>
                  <a:cubicBezTo>
                    <a:pt x="18" y="51"/>
                    <a:pt x="18" y="50"/>
                    <a:pt x="17" y="50"/>
                  </a:cubicBezTo>
                  <a:cubicBezTo>
                    <a:pt x="18" y="49"/>
                    <a:pt x="19" y="47"/>
                    <a:pt x="19" y="46"/>
                  </a:cubicBezTo>
                  <a:cubicBezTo>
                    <a:pt x="20" y="46"/>
                    <a:pt x="20" y="46"/>
                    <a:pt x="21" y="46"/>
                  </a:cubicBezTo>
                  <a:cubicBezTo>
                    <a:pt x="20" y="47"/>
                    <a:pt x="20" y="49"/>
                    <a:pt x="19" y="51"/>
                  </a:cubicBezTo>
                  <a:moveTo>
                    <a:pt x="29" y="51"/>
                  </a:moveTo>
                  <a:cubicBezTo>
                    <a:pt x="30" y="49"/>
                    <a:pt x="30" y="47"/>
                    <a:pt x="31" y="46"/>
                  </a:cubicBezTo>
                  <a:cubicBezTo>
                    <a:pt x="31" y="46"/>
                    <a:pt x="31" y="46"/>
                    <a:pt x="31" y="46"/>
                  </a:cubicBezTo>
                  <a:cubicBezTo>
                    <a:pt x="31" y="46"/>
                    <a:pt x="31" y="47"/>
                    <a:pt x="31" y="47"/>
                  </a:cubicBezTo>
                  <a:cubicBezTo>
                    <a:pt x="31" y="47"/>
                    <a:pt x="31" y="47"/>
                    <a:pt x="31" y="47"/>
                  </a:cubicBezTo>
                  <a:cubicBezTo>
                    <a:pt x="30" y="51"/>
                    <a:pt x="30" y="51"/>
                    <a:pt x="30" y="51"/>
                  </a:cubicBezTo>
                  <a:cubicBezTo>
                    <a:pt x="29" y="51"/>
                    <a:pt x="29" y="51"/>
                    <a:pt x="29" y="51"/>
                  </a:cubicBezTo>
                  <a:moveTo>
                    <a:pt x="16" y="50"/>
                  </a:moveTo>
                  <a:cubicBezTo>
                    <a:pt x="15" y="50"/>
                    <a:pt x="14" y="49"/>
                    <a:pt x="14" y="49"/>
                  </a:cubicBezTo>
                  <a:cubicBezTo>
                    <a:pt x="14" y="49"/>
                    <a:pt x="14" y="49"/>
                    <a:pt x="14" y="49"/>
                  </a:cubicBezTo>
                  <a:cubicBezTo>
                    <a:pt x="16" y="45"/>
                    <a:pt x="16" y="45"/>
                    <a:pt x="16" y="45"/>
                  </a:cubicBezTo>
                  <a:cubicBezTo>
                    <a:pt x="17" y="45"/>
                    <a:pt x="18" y="45"/>
                    <a:pt x="18" y="45"/>
                  </a:cubicBezTo>
                  <a:cubicBezTo>
                    <a:pt x="17" y="47"/>
                    <a:pt x="17" y="48"/>
                    <a:pt x="16" y="50"/>
                  </a:cubicBezTo>
                  <a:moveTo>
                    <a:pt x="33" y="48"/>
                  </a:moveTo>
                  <a:cubicBezTo>
                    <a:pt x="33" y="47"/>
                    <a:pt x="33" y="47"/>
                    <a:pt x="33" y="47"/>
                  </a:cubicBezTo>
                  <a:cubicBezTo>
                    <a:pt x="33" y="47"/>
                    <a:pt x="33" y="47"/>
                    <a:pt x="33" y="47"/>
                  </a:cubicBezTo>
                  <a:cubicBezTo>
                    <a:pt x="33" y="46"/>
                    <a:pt x="34" y="46"/>
                    <a:pt x="34" y="45"/>
                  </a:cubicBezTo>
                  <a:cubicBezTo>
                    <a:pt x="34" y="45"/>
                    <a:pt x="34" y="45"/>
                    <a:pt x="34" y="45"/>
                  </a:cubicBezTo>
                  <a:cubicBezTo>
                    <a:pt x="35" y="44"/>
                    <a:pt x="35" y="44"/>
                    <a:pt x="35" y="44"/>
                  </a:cubicBezTo>
                  <a:cubicBezTo>
                    <a:pt x="35" y="44"/>
                    <a:pt x="35" y="45"/>
                    <a:pt x="35" y="46"/>
                  </a:cubicBezTo>
                  <a:cubicBezTo>
                    <a:pt x="34" y="46"/>
                    <a:pt x="34" y="46"/>
                    <a:pt x="34" y="46"/>
                  </a:cubicBezTo>
                  <a:cubicBezTo>
                    <a:pt x="33" y="48"/>
                    <a:pt x="33" y="48"/>
                    <a:pt x="33" y="48"/>
                  </a:cubicBezTo>
                  <a:moveTo>
                    <a:pt x="35" y="50"/>
                  </a:moveTo>
                  <a:cubicBezTo>
                    <a:pt x="35" y="49"/>
                    <a:pt x="35" y="48"/>
                    <a:pt x="35" y="48"/>
                  </a:cubicBezTo>
                  <a:cubicBezTo>
                    <a:pt x="36" y="46"/>
                    <a:pt x="36" y="45"/>
                    <a:pt x="36" y="45"/>
                  </a:cubicBezTo>
                  <a:cubicBezTo>
                    <a:pt x="36" y="44"/>
                    <a:pt x="37" y="44"/>
                    <a:pt x="38" y="44"/>
                  </a:cubicBezTo>
                  <a:cubicBezTo>
                    <a:pt x="36" y="49"/>
                    <a:pt x="36" y="49"/>
                    <a:pt x="36" y="49"/>
                  </a:cubicBezTo>
                  <a:cubicBezTo>
                    <a:pt x="36" y="49"/>
                    <a:pt x="36" y="49"/>
                    <a:pt x="36" y="49"/>
                  </a:cubicBezTo>
                  <a:cubicBezTo>
                    <a:pt x="35" y="50"/>
                    <a:pt x="35" y="50"/>
                    <a:pt x="35" y="50"/>
                  </a:cubicBezTo>
                  <a:moveTo>
                    <a:pt x="13" y="48"/>
                  </a:moveTo>
                  <a:cubicBezTo>
                    <a:pt x="12" y="48"/>
                    <a:pt x="11" y="48"/>
                    <a:pt x="11" y="47"/>
                  </a:cubicBezTo>
                  <a:cubicBezTo>
                    <a:pt x="11" y="46"/>
                    <a:pt x="12" y="45"/>
                    <a:pt x="13" y="43"/>
                  </a:cubicBezTo>
                  <a:cubicBezTo>
                    <a:pt x="14" y="44"/>
                    <a:pt x="14" y="44"/>
                    <a:pt x="15" y="44"/>
                  </a:cubicBezTo>
                  <a:cubicBezTo>
                    <a:pt x="13" y="48"/>
                    <a:pt x="13" y="48"/>
                    <a:pt x="13" y="48"/>
                  </a:cubicBezTo>
                  <a:cubicBezTo>
                    <a:pt x="13" y="48"/>
                    <a:pt x="13" y="48"/>
                    <a:pt x="13" y="48"/>
                  </a:cubicBezTo>
                  <a:moveTo>
                    <a:pt x="37" y="49"/>
                  </a:moveTo>
                  <a:cubicBezTo>
                    <a:pt x="39" y="43"/>
                    <a:pt x="39" y="43"/>
                    <a:pt x="39" y="43"/>
                  </a:cubicBezTo>
                  <a:cubicBezTo>
                    <a:pt x="39" y="43"/>
                    <a:pt x="39" y="43"/>
                    <a:pt x="39" y="43"/>
                  </a:cubicBezTo>
                  <a:cubicBezTo>
                    <a:pt x="40" y="43"/>
                    <a:pt x="40" y="43"/>
                    <a:pt x="40" y="43"/>
                  </a:cubicBezTo>
                  <a:cubicBezTo>
                    <a:pt x="39" y="45"/>
                    <a:pt x="38" y="47"/>
                    <a:pt x="38" y="48"/>
                  </a:cubicBezTo>
                  <a:cubicBezTo>
                    <a:pt x="37" y="49"/>
                    <a:pt x="37" y="49"/>
                    <a:pt x="37" y="49"/>
                  </a:cubicBezTo>
                  <a:moveTo>
                    <a:pt x="10" y="47"/>
                  </a:moveTo>
                  <a:cubicBezTo>
                    <a:pt x="9" y="46"/>
                    <a:pt x="9" y="46"/>
                    <a:pt x="9" y="45"/>
                  </a:cubicBezTo>
                  <a:cubicBezTo>
                    <a:pt x="9" y="44"/>
                    <a:pt x="10" y="43"/>
                    <a:pt x="10" y="42"/>
                  </a:cubicBezTo>
                  <a:cubicBezTo>
                    <a:pt x="11" y="42"/>
                    <a:pt x="11" y="43"/>
                    <a:pt x="12" y="43"/>
                  </a:cubicBezTo>
                  <a:cubicBezTo>
                    <a:pt x="11" y="44"/>
                    <a:pt x="11" y="45"/>
                    <a:pt x="10" y="47"/>
                  </a:cubicBezTo>
                  <a:moveTo>
                    <a:pt x="39" y="48"/>
                  </a:moveTo>
                  <a:cubicBezTo>
                    <a:pt x="40" y="46"/>
                    <a:pt x="40" y="44"/>
                    <a:pt x="41" y="42"/>
                  </a:cubicBezTo>
                  <a:cubicBezTo>
                    <a:pt x="41" y="42"/>
                    <a:pt x="41" y="42"/>
                    <a:pt x="41" y="42"/>
                  </a:cubicBezTo>
                  <a:cubicBezTo>
                    <a:pt x="42" y="41"/>
                    <a:pt x="42" y="41"/>
                    <a:pt x="42" y="41"/>
                  </a:cubicBezTo>
                  <a:cubicBezTo>
                    <a:pt x="41" y="43"/>
                    <a:pt x="41" y="45"/>
                    <a:pt x="40" y="47"/>
                  </a:cubicBezTo>
                  <a:cubicBezTo>
                    <a:pt x="39" y="48"/>
                    <a:pt x="39" y="48"/>
                    <a:pt x="39" y="48"/>
                  </a:cubicBezTo>
                  <a:moveTo>
                    <a:pt x="33" y="46"/>
                  </a:moveTo>
                  <a:cubicBezTo>
                    <a:pt x="33" y="45"/>
                    <a:pt x="33" y="45"/>
                    <a:pt x="33" y="45"/>
                  </a:cubicBezTo>
                  <a:cubicBezTo>
                    <a:pt x="32" y="44"/>
                    <a:pt x="32" y="44"/>
                    <a:pt x="32" y="44"/>
                  </a:cubicBezTo>
                  <a:cubicBezTo>
                    <a:pt x="32" y="44"/>
                    <a:pt x="32" y="44"/>
                    <a:pt x="32" y="44"/>
                  </a:cubicBezTo>
                  <a:cubicBezTo>
                    <a:pt x="32" y="44"/>
                    <a:pt x="32" y="44"/>
                    <a:pt x="32" y="44"/>
                  </a:cubicBezTo>
                  <a:cubicBezTo>
                    <a:pt x="33" y="43"/>
                    <a:pt x="33" y="42"/>
                    <a:pt x="34" y="41"/>
                  </a:cubicBezTo>
                  <a:cubicBezTo>
                    <a:pt x="34" y="42"/>
                    <a:pt x="34" y="42"/>
                    <a:pt x="34" y="42"/>
                  </a:cubicBezTo>
                  <a:cubicBezTo>
                    <a:pt x="34" y="43"/>
                    <a:pt x="34" y="43"/>
                    <a:pt x="34" y="43"/>
                  </a:cubicBezTo>
                  <a:cubicBezTo>
                    <a:pt x="34" y="43"/>
                    <a:pt x="34" y="43"/>
                    <a:pt x="33" y="44"/>
                  </a:cubicBezTo>
                  <a:cubicBezTo>
                    <a:pt x="33" y="44"/>
                    <a:pt x="33" y="44"/>
                    <a:pt x="33" y="44"/>
                  </a:cubicBezTo>
                  <a:cubicBezTo>
                    <a:pt x="33" y="45"/>
                    <a:pt x="33" y="45"/>
                    <a:pt x="33" y="46"/>
                  </a:cubicBezTo>
                  <a:moveTo>
                    <a:pt x="8" y="45"/>
                  </a:moveTo>
                  <a:cubicBezTo>
                    <a:pt x="7" y="44"/>
                    <a:pt x="7" y="44"/>
                    <a:pt x="7" y="44"/>
                  </a:cubicBezTo>
                  <a:cubicBezTo>
                    <a:pt x="7" y="44"/>
                    <a:pt x="7" y="44"/>
                    <a:pt x="7" y="44"/>
                  </a:cubicBezTo>
                  <a:cubicBezTo>
                    <a:pt x="8" y="40"/>
                    <a:pt x="8" y="40"/>
                    <a:pt x="8" y="40"/>
                  </a:cubicBezTo>
                  <a:cubicBezTo>
                    <a:pt x="9" y="41"/>
                    <a:pt x="9" y="41"/>
                    <a:pt x="9" y="41"/>
                  </a:cubicBezTo>
                  <a:cubicBezTo>
                    <a:pt x="9" y="42"/>
                    <a:pt x="8" y="43"/>
                    <a:pt x="8" y="45"/>
                  </a:cubicBezTo>
                  <a:moveTo>
                    <a:pt x="42" y="46"/>
                  </a:moveTo>
                  <a:cubicBezTo>
                    <a:pt x="42" y="44"/>
                    <a:pt x="43" y="42"/>
                    <a:pt x="43" y="41"/>
                  </a:cubicBezTo>
                  <a:cubicBezTo>
                    <a:pt x="43" y="41"/>
                    <a:pt x="43" y="41"/>
                    <a:pt x="43" y="41"/>
                  </a:cubicBezTo>
                  <a:cubicBezTo>
                    <a:pt x="44" y="40"/>
                    <a:pt x="44" y="40"/>
                    <a:pt x="44" y="40"/>
                  </a:cubicBezTo>
                  <a:cubicBezTo>
                    <a:pt x="44" y="42"/>
                    <a:pt x="43" y="43"/>
                    <a:pt x="43" y="45"/>
                  </a:cubicBezTo>
                  <a:cubicBezTo>
                    <a:pt x="43" y="45"/>
                    <a:pt x="43" y="45"/>
                    <a:pt x="43" y="45"/>
                  </a:cubicBezTo>
                  <a:cubicBezTo>
                    <a:pt x="42" y="45"/>
                    <a:pt x="42" y="46"/>
                    <a:pt x="42" y="46"/>
                  </a:cubicBezTo>
                  <a:moveTo>
                    <a:pt x="32" y="43"/>
                  </a:moveTo>
                  <a:cubicBezTo>
                    <a:pt x="31" y="42"/>
                    <a:pt x="31" y="42"/>
                    <a:pt x="31" y="41"/>
                  </a:cubicBezTo>
                  <a:cubicBezTo>
                    <a:pt x="31" y="41"/>
                    <a:pt x="31" y="41"/>
                    <a:pt x="31" y="41"/>
                  </a:cubicBezTo>
                  <a:cubicBezTo>
                    <a:pt x="31" y="41"/>
                    <a:pt x="32" y="40"/>
                    <a:pt x="32" y="39"/>
                  </a:cubicBezTo>
                  <a:cubicBezTo>
                    <a:pt x="33" y="39"/>
                    <a:pt x="33" y="40"/>
                    <a:pt x="33" y="40"/>
                  </a:cubicBezTo>
                  <a:cubicBezTo>
                    <a:pt x="32" y="41"/>
                    <a:pt x="32" y="42"/>
                    <a:pt x="32" y="43"/>
                  </a:cubicBezTo>
                  <a:moveTo>
                    <a:pt x="6" y="43"/>
                  </a:moveTo>
                  <a:cubicBezTo>
                    <a:pt x="6" y="42"/>
                    <a:pt x="5" y="42"/>
                    <a:pt x="5" y="41"/>
                  </a:cubicBezTo>
                  <a:cubicBezTo>
                    <a:pt x="5" y="40"/>
                    <a:pt x="6" y="40"/>
                    <a:pt x="6" y="39"/>
                  </a:cubicBezTo>
                  <a:cubicBezTo>
                    <a:pt x="7" y="40"/>
                    <a:pt x="7" y="40"/>
                    <a:pt x="7" y="40"/>
                  </a:cubicBezTo>
                  <a:cubicBezTo>
                    <a:pt x="6" y="43"/>
                    <a:pt x="6" y="43"/>
                    <a:pt x="6" y="43"/>
                  </a:cubicBezTo>
                  <a:moveTo>
                    <a:pt x="4" y="40"/>
                  </a:moveTo>
                  <a:cubicBezTo>
                    <a:pt x="4" y="39"/>
                    <a:pt x="4" y="39"/>
                    <a:pt x="4" y="39"/>
                  </a:cubicBezTo>
                  <a:cubicBezTo>
                    <a:pt x="5" y="37"/>
                    <a:pt x="5" y="37"/>
                    <a:pt x="5" y="37"/>
                  </a:cubicBezTo>
                  <a:cubicBezTo>
                    <a:pt x="5" y="38"/>
                    <a:pt x="5" y="38"/>
                    <a:pt x="5" y="38"/>
                  </a:cubicBezTo>
                  <a:cubicBezTo>
                    <a:pt x="5" y="39"/>
                    <a:pt x="5" y="39"/>
                    <a:pt x="4" y="40"/>
                  </a:cubicBezTo>
                  <a:moveTo>
                    <a:pt x="44" y="43"/>
                  </a:moveTo>
                  <a:cubicBezTo>
                    <a:pt x="45" y="42"/>
                    <a:pt x="45" y="40"/>
                    <a:pt x="46" y="38"/>
                  </a:cubicBezTo>
                  <a:cubicBezTo>
                    <a:pt x="47" y="37"/>
                    <a:pt x="47" y="37"/>
                    <a:pt x="47" y="37"/>
                  </a:cubicBezTo>
                  <a:cubicBezTo>
                    <a:pt x="47" y="38"/>
                    <a:pt x="46" y="40"/>
                    <a:pt x="46" y="40"/>
                  </a:cubicBezTo>
                  <a:cubicBezTo>
                    <a:pt x="46" y="40"/>
                    <a:pt x="46" y="40"/>
                    <a:pt x="46" y="40"/>
                  </a:cubicBezTo>
                  <a:cubicBezTo>
                    <a:pt x="46" y="41"/>
                    <a:pt x="45" y="42"/>
                    <a:pt x="44" y="43"/>
                  </a:cubicBezTo>
                  <a:moveTo>
                    <a:pt x="31" y="40"/>
                  </a:moveTo>
                  <a:cubicBezTo>
                    <a:pt x="30" y="40"/>
                    <a:pt x="30" y="39"/>
                    <a:pt x="30" y="39"/>
                  </a:cubicBezTo>
                  <a:cubicBezTo>
                    <a:pt x="31" y="37"/>
                    <a:pt x="31" y="37"/>
                    <a:pt x="31" y="37"/>
                  </a:cubicBezTo>
                  <a:cubicBezTo>
                    <a:pt x="31" y="37"/>
                    <a:pt x="31" y="37"/>
                    <a:pt x="32" y="38"/>
                  </a:cubicBezTo>
                  <a:cubicBezTo>
                    <a:pt x="31" y="39"/>
                    <a:pt x="31" y="39"/>
                    <a:pt x="31" y="40"/>
                  </a:cubicBezTo>
                  <a:moveTo>
                    <a:pt x="3" y="38"/>
                  </a:moveTo>
                  <a:cubicBezTo>
                    <a:pt x="3" y="38"/>
                    <a:pt x="3" y="37"/>
                    <a:pt x="3" y="37"/>
                  </a:cubicBezTo>
                  <a:cubicBezTo>
                    <a:pt x="3" y="36"/>
                    <a:pt x="3" y="36"/>
                    <a:pt x="3" y="35"/>
                  </a:cubicBezTo>
                  <a:cubicBezTo>
                    <a:pt x="4" y="36"/>
                    <a:pt x="4" y="36"/>
                    <a:pt x="4" y="36"/>
                  </a:cubicBezTo>
                  <a:cubicBezTo>
                    <a:pt x="4" y="37"/>
                    <a:pt x="4" y="37"/>
                    <a:pt x="4" y="37"/>
                  </a:cubicBezTo>
                  <a:cubicBezTo>
                    <a:pt x="3" y="38"/>
                    <a:pt x="3" y="38"/>
                    <a:pt x="3" y="38"/>
                  </a:cubicBezTo>
                  <a:moveTo>
                    <a:pt x="29" y="37"/>
                  </a:moveTo>
                  <a:cubicBezTo>
                    <a:pt x="29" y="37"/>
                    <a:pt x="29" y="36"/>
                    <a:pt x="29" y="36"/>
                  </a:cubicBezTo>
                  <a:cubicBezTo>
                    <a:pt x="29" y="36"/>
                    <a:pt x="29" y="36"/>
                    <a:pt x="29" y="36"/>
                  </a:cubicBezTo>
                  <a:cubicBezTo>
                    <a:pt x="30" y="34"/>
                    <a:pt x="30" y="34"/>
                    <a:pt x="30" y="34"/>
                  </a:cubicBezTo>
                  <a:cubicBezTo>
                    <a:pt x="30" y="35"/>
                    <a:pt x="30" y="35"/>
                    <a:pt x="30" y="35"/>
                  </a:cubicBezTo>
                  <a:cubicBezTo>
                    <a:pt x="29" y="37"/>
                    <a:pt x="29" y="37"/>
                    <a:pt x="29" y="37"/>
                  </a:cubicBezTo>
                  <a:moveTo>
                    <a:pt x="2" y="36"/>
                  </a:moveTo>
                  <a:cubicBezTo>
                    <a:pt x="2" y="35"/>
                    <a:pt x="2" y="35"/>
                    <a:pt x="2" y="34"/>
                  </a:cubicBezTo>
                  <a:cubicBezTo>
                    <a:pt x="2" y="33"/>
                    <a:pt x="2" y="33"/>
                    <a:pt x="2" y="33"/>
                  </a:cubicBezTo>
                  <a:cubicBezTo>
                    <a:pt x="2" y="34"/>
                    <a:pt x="3" y="34"/>
                    <a:pt x="3" y="34"/>
                  </a:cubicBezTo>
                  <a:cubicBezTo>
                    <a:pt x="3" y="34"/>
                    <a:pt x="3" y="34"/>
                    <a:pt x="3" y="34"/>
                  </a:cubicBezTo>
                  <a:cubicBezTo>
                    <a:pt x="3" y="35"/>
                    <a:pt x="2" y="35"/>
                    <a:pt x="2" y="36"/>
                  </a:cubicBezTo>
                  <a:moveTo>
                    <a:pt x="47" y="34"/>
                  </a:moveTo>
                  <a:cubicBezTo>
                    <a:pt x="46" y="34"/>
                    <a:pt x="46" y="34"/>
                    <a:pt x="46" y="34"/>
                  </a:cubicBezTo>
                  <a:cubicBezTo>
                    <a:pt x="47" y="34"/>
                    <a:pt x="47" y="33"/>
                    <a:pt x="47" y="33"/>
                  </a:cubicBezTo>
                  <a:cubicBezTo>
                    <a:pt x="48" y="33"/>
                    <a:pt x="48" y="33"/>
                    <a:pt x="48" y="33"/>
                  </a:cubicBezTo>
                  <a:cubicBezTo>
                    <a:pt x="48" y="33"/>
                    <a:pt x="48" y="33"/>
                    <a:pt x="48" y="33"/>
                  </a:cubicBezTo>
                  <a:cubicBezTo>
                    <a:pt x="48" y="33"/>
                    <a:pt x="48" y="33"/>
                    <a:pt x="48" y="33"/>
                  </a:cubicBezTo>
                  <a:cubicBezTo>
                    <a:pt x="48" y="34"/>
                    <a:pt x="47" y="34"/>
                    <a:pt x="47" y="34"/>
                  </a:cubicBezTo>
                  <a:moveTo>
                    <a:pt x="29" y="34"/>
                  </a:moveTo>
                  <a:cubicBezTo>
                    <a:pt x="28" y="33"/>
                    <a:pt x="28" y="33"/>
                    <a:pt x="28" y="33"/>
                  </a:cubicBezTo>
                  <a:cubicBezTo>
                    <a:pt x="28" y="33"/>
                    <a:pt x="28" y="33"/>
                    <a:pt x="28" y="33"/>
                  </a:cubicBezTo>
                  <a:cubicBezTo>
                    <a:pt x="29" y="32"/>
                    <a:pt x="29" y="32"/>
                    <a:pt x="29" y="32"/>
                  </a:cubicBezTo>
                  <a:cubicBezTo>
                    <a:pt x="29" y="33"/>
                    <a:pt x="29" y="33"/>
                    <a:pt x="29" y="33"/>
                  </a:cubicBezTo>
                  <a:cubicBezTo>
                    <a:pt x="29" y="34"/>
                    <a:pt x="29" y="34"/>
                    <a:pt x="29" y="34"/>
                  </a:cubicBezTo>
                  <a:moveTo>
                    <a:pt x="45" y="34"/>
                  </a:moveTo>
                  <a:cubicBezTo>
                    <a:pt x="45" y="33"/>
                    <a:pt x="45" y="33"/>
                    <a:pt x="44" y="33"/>
                  </a:cubicBezTo>
                  <a:cubicBezTo>
                    <a:pt x="44" y="33"/>
                    <a:pt x="45" y="32"/>
                    <a:pt x="45" y="32"/>
                  </a:cubicBezTo>
                  <a:cubicBezTo>
                    <a:pt x="45" y="32"/>
                    <a:pt x="45" y="32"/>
                    <a:pt x="45" y="32"/>
                  </a:cubicBezTo>
                  <a:cubicBezTo>
                    <a:pt x="45" y="32"/>
                    <a:pt x="46" y="32"/>
                    <a:pt x="46" y="32"/>
                  </a:cubicBezTo>
                  <a:cubicBezTo>
                    <a:pt x="46" y="33"/>
                    <a:pt x="46" y="33"/>
                    <a:pt x="45" y="34"/>
                  </a:cubicBezTo>
                  <a:moveTo>
                    <a:pt x="28" y="32"/>
                  </a:moveTo>
                  <a:cubicBezTo>
                    <a:pt x="28" y="31"/>
                    <a:pt x="28" y="31"/>
                    <a:pt x="28" y="31"/>
                  </a:cubicBezTo>
                  <a:cubicBezTo>
                    <a:pt x="28" y="31"/>
                    <a:pt x="28" y="31"/>
                    <a:pt x="28" y="31"/>
                  </a:cubicBezTo>
                  <a:cubicBezTo>
                    <a:pt x="28" y="31"/>
                    <a:pt x="28" y="31"/>
                    <a:pt x="28" y="31"/>
                  </a:cubicBezTo>
                  <a:cubicBezTo>
                    <a:pt x="28" y="32"/>
                    <a:pt x="28" y="32"/>
                    <a:pt x="28" y="32"/>
                  </a:cubicBezTo>
                  <a:moveTo>
                    <a:pt x="43" y="33"/>
                  </a:moveTo>
                  <a:cubicBezTo>
                    <a:pt x="42" y="32"/>
                    <a:pt x="42" y="32"/>
                    <a:pt x="41" y="32"/>
                  </a:cubicBezTo>
                  <a:cubicBezTo>
                    <a:pt x="41" y="31"/>
                    <a:pt x="42" y="31"/>
                    <a:pt x="42" y="31"/>
                  </a:cubicBezTo>
                  <a:cubicBezTo>
                    <a:pt x="42" y="31"/>
                    <a:pt x="43" y="31"/>
                    <a:pt x="43" y="31"/>
                  </a:cubicBezTo>
                  <a:cubicBezTo>
                    <a:pt x="44" y="31"/>
                    <a:pt x="44" y="31"/>
                    <a:pt x="44" y="31"/>
                  </a:cubicBezTo>
                  <a:cubicBezTo>
                    <a:pt x="44" y="32"/>
                    <a:pt x="43" y="32"/>
                    <a:pt x="43" y="33"/>
                  </a:cubicBezTo>
                  <a:moveTo>
                    <a:pt x="40" y="31"/>
                  </a:moveTo>
                  <a:cubicBezTo>
                    <a:pt x="39" y="31"/>
                    <a:pt x="39" y="31"/>
                    <a:pt x="39" y="31"/>
                  </a:cubicBezTo>
                  <a:cubicBezTo>
                    <a:pt x="40" y="30"/>
                    <a:pt x="40" y="30"/>
                    <a:pt x="40" y="30"/>
                  </a:cubicBezTo>
                  <a:cubicBezTo>
                    <a:pt x="41" y="30"/>
                    <a:pt x="41" y="30"/>
                    <a:pt x="41" y="30"/>
                  </a:cubicBezTo>
                  <a:cubicBezTo>
                    <a:pt x="40" y="31"/>
                    <a:pt x="40" y="31"/>
                    <a:pt x="40" y="31"/>
                  </a:cubicBezTo>
                  <a:moveTo>
                    <a:pt x="1" y="32"/>
                  </a:moveTo>
                  <a:cubicBezTo>
                    <a:pt x="1" y="32"/>
                    <a:pt x="1" y="31"/>
                    <a:pt x="1" y="30"/>
                  </a:cubicBezTo>
                  <a:cubicBezTo>
                    <a:pt x="1" y="31"/>
                    <a:pt x="1" y="31"/>
                    <a:pt x="2" y="32"/>
                  </a:cubicBezTo>
                  <a:cubicBezTo>
                    <a:pt x="1" y="32"/>
                    <a:pt x="1" y="32"/>
                    <a:pt x="1" y="32"/>
                  </a:cubicBezTo>
                  <a:moveTo>
                    <a:pt x="38" y="31"/>
                  </a:moveTo>
                  <a:cubicBezTo>
                    <a:pt x="38" y="30"/>
                    <a:pt x="37" y="30"/>
                    <a:pt x="37" y="30"/>
                  </a:cubicBezTo>
                  <a:cubicBezTo>
                    <a:pt x="37" y="29"/>
                    <a:pt x="37" y="29"/>
                    <a:pt x="37" y="29"/>
                  </a:cubicBezTo>
                  <a:cubicBezTo>
                    <a:pt x="38" y="29"/>
                    <a:pt x="38" y="29"/>
                    <a:pt x="39" y="30"/>
                  </a:cubicBezTo>
                  <a:cubicBezTo>
                    <a:pt x="38" y="31"/>
                    <a:pt x="38" y="31"/>
                    <a:pt x="38" y="31"/>
                  </a:cubicBezTo>
                  <a:moveTo>
                    <a:pt x="49" y="37"/>
                  </a:moveTo>
                  <a:cubicBezTo>
                    <a:pt x="49" y="33"/>
                    <a:pt x="49" y="33"/>
                    <a:pt x="49" y="33"/>
                  </a:cubicBezTo>
                  <a:cubicBezTo>
                    <a:pt x="49" y="33"/>
                    <a:pt x="49" y="33"/>
                    <a:pt x="49" y="33"/>
                  </a:cubicBezTo>
                  <a:cubicBezTo>
                    <a:pt x="50" y="31"/>
                    <a:pt x="50" y="30"/>
                    <a:pt x="50" y="29"/>
                  </a:cubicBezTo>
                  <a:cubicBezTo>
                    <a:pt x="50" y="32"/>
                    <a:pt x="50" y="35"/>
                    <a:pt x="49" y="37"/>
                  </a:cubicBezTo>
                  <a:moveTo>
                    <a:pt x="36" y="29"/>
                  </a:moveTo>
                  <a:cubicBezTo>
                    <a:pt x="35" y="29"/>
                    <a:pt x="35" y="29"/>
                    <a:pt x="35" y="29"/>
                  </a:cubicBezTo>
                  <a:cubicBezTo>
                    <a:pt x="35" y="28"/>
                    <a:pt x="35" y="28"/>
                    <a:pt x="35" y="28"/>
                  </a:cubicBezTo>
                  <a:cubicBezTo>
                    <a:pt x="35" y="28"/>
                    <a:pt x="36" y="29"/>
                    <a:pt x="36" y="29"/>
                  </a:cubicBezTo>
                  <a:cubicBezTo>
                    <a:pt x="36" y="29"/>
                    <a:pt x="36" y="29"/>
                    <a:pt x="36" y="29"/>
                  </a:cubicBezTo>
                  <a:moveTo>
                    <a:pt x="27" y="30"/>
                  </a:moveTo>
                  <a:cubicBezTo>
                    <a:pt x="27" y="29"/>
                    <a:pt x="27" y="29"/>
                    <a:pt x="26" y="28"/>
                  </a:cubicBezTo>
                  <a:cubicBezTo>
                    <a:pt x="27" y="29"/>
                    <a:pt x="27" y="29"/>
                    <a:pt x="27" y="30"/>
                  </a:cubicBezTo>
                  <a:cubicBezTo>
                    <a:pt x="27" y="30"/>
                    <a:pt x="27" y="30"/>
                    <a:pt x="27" y="30"/>
                  </a:cubicBezTo>
                  <a:cubicBezTo>
                    <a:pt x="27" y="30"/>
                    <a:pt x="27" y="30"/>
                    <a:pt x="27" y="30"/>
                  </a:cubicBezTo>
                  <a:moveTo>
                    <a:pt x="34" y="29"/>
                  </a:moveTo>
                  <a:cubicBezTo>
                    <a:pt x="33" y="28"/>
                    <a:pt x="33" y="28"/>
                    <a:pt x="32" y="28"/>
                  </a:cubicBezTo>
                  <a:cubicBezTo>
                    <a:pt x="32" y="27"/>
                    <a:pt x="32" y="27"/>
                    <a:pt x="32" y="27"/>
                  </a:cubicBezTo>
                  <a:cubicBezTo>
                    <a:pt x="33" y="28"/>
                    <a:pt x="33" y="28"/>
                    <a:pt x="34" y="28"/>
                  </a:cubicBezTo>
                  <a:cubicBezTo>
                    <a:pt x="34" y="29"/>
                    <a:pt x="34" y="29"/>
                    <a:pt x="34" y="29"/>
                  </a:cubicBezTo>
                  <a:moveTo>
                    <a:pt x="36" y="43"/>
                  </a:moveTo>
                  <a:cubicBezTo>
                    <a:pt x="36" y="43"/>
                    <a:pt x="35" y="42"/>
                    <a:pt x="34" y="40"/>
                  </a:cubicBezTo>
                  <a:cubicBezTo>
                    <a:pt x="34" y="40"/>
                    <a:pt x="34" y="40"/>
                    <a:pt x="34" y="40"/>
                  </a:cubicBezTo>
                  <a:cubicBezTo>
                    <a:pt x="33" y="39"/>
                    <a:pt x="33" y="37"/>
                    <a:pt x="32" y="36"/>
                  </a:cubicBezTo>
                  <a:cubicBezTo>
                    <a:pt x="31" y="34"/>
                    <a:pt x="30" y="32"/>
                    <a:pt x="29" y="31"/>
                  </a:cubicBezTo>
                  <a:cubicBezTo>
                    <a:pt x="29" y="31"/>
                    <a:pt x="29" y="31"/>
                    <a:pt x="29" y="31"/>
                  </a:cubicBezTo>
                  <a:cubicBezTo>
                    <a:pt x="28" y="29"/>
                    <a:pt x="28" y="28"/>
                    <a:pt x="27" y="27"/>
                  </a:cubicBezTo>
                  <a:cubicBezTo>
                    <a:pt x="30" y="28"/>
                    <a:pt x="34" y="30"/>
                    <a:pt x="38" y="32"/>
                  </a:cubicBezTo>
                  <a:cubicBezTo>
                    <a:pt x="38" y="32"/>
                    <a:pt x="38" y="32"/>
                    <a:pt x="38" y="32"/>
                  </a:cubicBezTo>
                  <a:cubicBezTo>
                    <a:pt x="39" y="32"/>
                    <a:pt x="39" y="32"/>
                    <a:pt x="39" y="32"/>
                  </a:cubicBezTo>
                  <a:cubicBezTo>
                    <a:pt x="39" y="32"/>
                    <a:pt x="39" y="32"/>
                    <a:pt x="39" y="32"/>
                  </a:cubicBezTo>
                  <a:cubicBezTo>
                    <a:pt x="40" y="33"/>
                    <a:pt x="42" y="33"/>
                    <a:pt x="44" y="34"/>
                  </a:cubicBezTo>
                  <a:cubicBezTo>
                    <a:pt x="44" y="34"/>
                    <a:pt x="45" y="35"/>
                    <a:pt x="45" y="35"/>
                  </a:cubicBezTo>
                  <a:cubicBezTo>
                    <a:pt x="46" y="35"/>
                    <a:pt x="46" y="35"/>
                    <a:pt x="46" y="35"/>
                  </a:cubicBezTo>
                  <a:cubicBezTo>
                    <a:pt x="46" y="35"/>
                    <a:pt x="46" y="35"/>
                    <a:pt x="46" y="35"/>
                  </a:cubicBezTo>
                  <a:cubicBezTo>
                    <a:pt x="46" y="35"/>
                    <a:pt x="46" y="35"/>
                    <a:pt x="46" y="35"/>
                  </a:cubicBezTo>
                  <a:cubicBezTo>
                    <a:pt x="47" y="35"/>
                    <a:pt x="47" y="35"/>
                    <a:pt x="47" y="35"/>
                  </a:cubicBezTo>
                  <a:cubicBezTo>
                    <a:pt x="46" y="35"/>
                    <a:pt x="46" y="35"/>
                    <a:pt x="46" y="35"/>
                  </a:cubicBezTo>
                  <a:cubicBezTo>
                    <a:pt x="47" y="36"/>
                    <a:pt x="47" y="36"/>
                    <a:pt x="47" y="36"/>
                  </a:cubicBezTo>
                  <a:cubicBezTo>
                    <a:pt x="46" y="36"/>
                    <a:pt x="46" y="37"/>
                    <a:pt x="45" y="38"/>
                  </a:cubicBezTo>
                  <a:cubicBezTo>
                    <a:pt x="45" y="38"/>
                    <a:pt x="45" y="38"/>
                    <a:pt x="45" y="38"/>
                  </a:cubicBezTo>
                  <a:cubicBezTo>
                    <a:pt x="43" y="40"/>
                    <a:pt x="40" y="42"/>
                    <a:pt x="36" y="43"/>
                  </a:cubicBezTo>
                  <a:moveTo>
                    <a:pt x="31" y="28"/>
                  </a:moveTo>
                  <a:cubicBezTo>
                    <a:pt x="30" y="27"/>
                    <a:pt x="30" y="27"/>
                    <a:pt x="30" y="27"/>
                  </a:cubicBezTo>
                  <a:cubicBezTo>
                    <a:pt x="30" y="27"/>
                    <a:pt x="30" y="27"/>
                    <a:pt x="30" y="27"/>
                  </a:cubicBezTo>
                  <a:cubicBezTo>
                    <a:pt x="30" y="27"/>
                    <a:pt x="30" y="27"/>
                    <a:pt x="30" y="27"/>
                  </a:cubicBezTo>
                  <a:cubicBezTo>
                    <a:pt x="31" y="27"/>
                    <a:pt x="31" y="27"/>
                    <a:pt x="31" y="27"/>
                  </a:cubicBezTo>
                  <a:cubicBezTo>
                    <a:pt x="31" y="28"/>
                    <a:pt x="31" y="28"/>
                    <a:pt x="31" y="28"/>
                  </a:cubicBezTo>
                  <a:moveTo>
                    <a:pt x="29" y="27"/>
                  </a:moveTo>
                  <a:cubicBezTo>
                    <a:pt x="28" y="26"/>
                    <a:pt x="27" y="26"/>
                    <a:pt x="27" y="26"/>
                  </a:cubicBezTo>
                  <a:cubicBezTo>
                    <a:pt x="27" y="25"/>
                    <a:pt x="27" y="25"/>
                    <a:pt x="27" y="25"/>
                  </a:cubicBezTo>
                  <a:cubicBezTo>
                    <a:pt x="27" y="25"/>
                    <a:pt x="27" y="25"/>
                    <a:pt x="27" y="25"/>
                  </a:cubicBezTo>
                  <a:cubicBezTo>
                    <a:pt x="27" y="26"/>
                    <a:pt x="28" y="26"/>
                    <a:pt x="29" y="26"/>
                  </a:cubicBezTo>
                  <a:cubicBezTo>
                    <a:pt x="29" y="27"/>
                    <a:pt x="29" y="27"/>
                    <a:pt x="29" y="27"/>
                  </a:cubicBezTo>
                  <a:moveTo>
                    <a:pt x="27" y="24"/>
                  </a:moveTo>
                  <a:cubicBezTo>
                    <a:pt x="27" y="24"/>
                    <a:pt x="27" y="24"/>
                    <a:pt x="27" y="24"/>
                  </a:cubicBezTo>
                  <a:cubicBezTo>
                    <a:pt x="27" y="23"/>
                    <a:pt x="27" y="23"/>
                    <a:pt x="27" y="23"/>
                  </a:cubicBezTo>
                  <a:cubicBezTo>
                    <a:pt x="27" y="23"/>
                    <a:pt x="28" y="22"/>
                    <a:pt x="29" y="22"/>
                  </a:cubicBezTo>
                  <a:cubicBezTo>
                    <a:pt x="29" y="22"/>
                    <a:pt x="29" y="23"/>
                    <a:pt x="28" y="24"/>
                  </a:cubicBezTo>
                  <a:cubicBezTo>
                    <a:pt x="28" y="24"/>
                    <a:pt x="27" y="24"/>
                    <a:pt x="27" y="24"/>
                  </a:cubicBezTo>
                  <a:cubicBezTo>
                    <a:pt x="27" y="24"/>
                    <a:pt x="27" y="24"/>
                    <a:pt x="27" y="24"/>
                  </a:cubicBezTo>
                  <a:cubicBezTo>
                    <a:pt x="27" y="24"/>
                    <a:pt x="27" y="24"/>
                    <a:pt x="27" y="24"/>
                  </a:cubicBezTo>
                  <a:cubicBezTo>
                    <a:pt x="27" y="24"/>
                    <a:pt x="27" y="24"/>
                    <a:pt x="27" y="24"/>
                  </a:cubicBezTo>
                  <a:moveTo>
                    <a:pt x="30" y="24"/>
                  </a:moveTo>
                  <a:cubicBezTo>
                    <a:pt x="30" y="23"/>
                    <a:pt x="30" y="22"/>
                    <a:pt x="31" y="21"/>
                  </a:cubicBezTo>
                  <a:cubicBezTo>
                    <a:pt x="31" y="21"/>
                    <a:pt x="31" y="21"/>
                    <a:pt x="31" y="21"/>
                  </a:cubicBezTo>
                  <a:cubicBezTo>
                    <a:pt x="31" y="20"/>
                    <a:pt x="32" y="20"/>
                    <a:pt x="33" y="20"/>
                  </a:cubicBezTo>
                  <a:cubicBezTo>
                    <a:pt x="32" y="21"/>
                    <a:pt x="32" y="22"/>
                    <a:pt x="31" y="23"/>
                  </a:cubicBezTo>
                  <a:cubicBezTo>
                    <a:pt x="31" y="23"/>
                    <a:pt x="31" y="23"/>
                    <a:pt x="31" y="23"/>
                  </a:cubicBezTo>
                  <a:cubicBezTo>
                    <a:pt x="30" y="23"/>
                    <a:pt x="30" y="23"/>
                    <a:pt x="30" y="23"/>
                  </a:cubicBezTo>
                  <a:cubicBezTo>
                    <a:pt x="30" y="24"/>
                    <a:pt x="30" y="24"/>
                    <a:pt x="30" y="24"/>
                  </a:cubicBezTo>
                  <a:moveTo>
                    <a:pt x="34" y="23"/>
                  </a:moveTo>
                  <a:cubicBezTo>
                    <a:pt x="34" y="23"/>
                    <a:pt x="34" y="23"/>
                    <a:pt x="34" y="23"/>
                  </a:cubicBezTo>
                  <a:cubicBezTo>
                    <a:pt x="35" y="23"/>
                    <a:pt x="36" y="23"/>
                    <a:pt x="37" y="22"/>
                  </a:cubicBezTo>
                  <a:cubicBezTo>
                    <a:pt x="41" y="21"/>
                    <a:pt x="46" y="19"/>
                    <a:pt x="49" y="18"/>
                  </a:cubicBezTo>
                  <a:cubicBezTo>
                    <a:pt x="50" y="23"/>
                    <a:pt x="50" y="28"/>
                    <a:pt x="49" y="32"/>
                  </a:cubicBezTo>
                  <a:cubicBezTo>
                    <a:pt x="48" y="32"/>
                    <a:pt x="48" y="32"/>
                    <a:pt x="48" y="32"/>
                  </a:cubicBezTo>
                  <a:cubicBezTo>
                    <a:pt x="47" y="31"/>
                    <a:pt x="45" y="31"/>
                    <a:pt x="43" y="30"/>
                  </a:cubicBezTo>
                  <a:cubicBezTo>
                    <a:pt x="43" y="30"/>
                    <a:pt x="42" y="30"/>
                    <a:pt x="42" y="30"/>
                  </a:cubicBezTo>
                  <a:cubicBezTo>
                    <a:pt x="42" y="29"/>
                    <a:pt x="42" y="29"/>
                    <a:pt x="42" y="29"/>
                  </a:cubicBezTo>
                  <a:cubicBezTo>
                    <a:pt x="41" y="29"/>
                    <a:pt x="41" y="29"/>
                    <a:pt x="41" y="29"/>
                  </a:cubicBezTo>
                  <a:cubicBezTo>
                    <a:pt x="38" y="28"/>
                    <a:pt x="35" y="27"/>
                    <a:pt x="33" y="26"/>
                  </a:cubicBezTo>
                  <a:cubicBezTo>
                    <a:pt x="32" y="26"/>
                    <a:pt x="32" y="26"/>
                    <a:pt x="32" y="26"/>
                  </a:cubicBezTo>
                  <a:cubicBezTo>
                    <a:pt x="32" y="26"/>
                    <a:pt x="32" y="26"/>
                    <a:pt x="32" y="26"/>
                  </a:cubicBezTo>
                  <a:cubicBezTo>
                    <a:pt x="31" y="26"/>
                    <a:pt x="31" y="26"/>
                    <a:pt x="31" y="26"/>
                  </a:cubicBezTo>
                  <a:cubicBezTo>
                    <a:pt x="31" y="26"/>
                    <a:pt x="31" y="26"/>
                    <a:pt x="31" y="26"/>
                  </a:cubicBezTo>
                  <a:cubicBezTo>
                    <a:pt x="30" y="25"/>
                    <a:pt x="30" y="25"/>
                    <a:pt x="30" y="25"/>
                  </a:cubicBezTo>
                  <a:cubicBezTo>
                    <a:pt x="30" y="25"/>
                    <a:pt x="29" y="25"/>
                    <a:pt x="29" y="25"/>
                  </a:cubicBezTo>
                  <a:cubicBezTo>
                    <a:pt x="30" y="25"/>
                    <a:pt x="32" y="24"/>
                    <a:pt x="34" y="23"/>
                  </a:cubicBezTo>
                  <a:cubicBezTo>
                    <a:pt x="34" y="23"/>
                    <a:pt x="34" y="23"/>
                    <a:pt x="34" y="23"/>
                  </a:cubicBezTo>
                  <a:moveTo>
                    <a:pt x="33" y="22"/>
                  </a:moveTo>
                  <a:cubicBezTo>
                    <a:pt x="33" y="21"/>
                    <a:pt x="34" y="20"/>
                    <a:pt x="34" y="19"/>
                  </a:cubicBezTo>
                  <a:cubicBezTo>
                    <a:pt x="34" y="19"/>
                    <a:pt x="34" y="19"/>
                    <a:pt x="34" y="19"/>
                  </a:cubicBezTo>
                  <a:cubicBezTo>
                    <a:pt x="34" y="18"/>
                    <a:pt x="35" y="18"/>
                    <a:pt x="35" y="18"/>
                  </a:cubicBezTo>
                  <a:cubicBezTo>
                    <a:pt x="35" y="19"/>
                    <a:pt x="34" y="20"/>
                    <a:pt x="34" y="22"/>
                  </a:cubicBezTo>
                  <a:cubicBezTo>
                    <a:pt x="33" y="22"/>
                    <a:pt x="33" y="22"/>
                    <a:pt x="33" y="22"/>
                  </a:cubicBezTo>
                  <a:moveTo>
                    <a:pt x="35" y="21"/>
                  </a:moveTo>
                  <a:cubicBezTo>
                    <a:pt x="36" y="20"/>
                    <a:pt x="36" y="19"/>
                    <a:pt x="37" y="18"/>
                  </a:cubicBezTo>
                  <a:cubicBezTo>
                    <a:pt x="37" y="17"/>
                    <a:pt x="37" y="17"/>
                    <a:pt x="37" y="17"/>
                  </a:cubicBezTo>
                  <a:cubicBezTo>
                    <a:pt x="37" y="17"/>
                    <a:pt x="38" y="17"/>
                    <a:pt x="38" y="16"/>
                  </a:cubicBezTo>
                  <a:cubicBezTo>
                    <a:pt x="36" y="21"/>
                    <a:pt x="36" y="21"/>
                    <a:pt x="36" y="21"/>
                  </a:cubicBezTo>
                  <a:cubicBezTo>
                    <a:pt x="36" y="21"/>
                    <a:pt x="36" y="21"/>
                    <a:pt x="35" y="21"/>
                  </a:cubicBezTo>
                  <a:moveTo>
                    <a:pt x="38" y="20"/>
                  </a:moveTo>
                  <a:cubicBezTo>
                    <a:pt x="40" y="16"/>
                    <a:pt x="40" y="16"/>
                    <a:pt x="40" y="16"/>
                  </a:cubicBezTo>
                  <a:cubicBezTo>
                    <a:pt x="40" y="15"/>
                    <a:pt x="40" y="15"/>
                    <a:pt x="40" y="15"/>
                  </a:cubicBezTo>
                  <a:cubicBezTo>
                    <a:pt x="40" y="15"/>
                    <a:pt x="41" y="15"/>
                    <a:pt x="42" y="14"/>
                  </a:cubicBezTo>
                  <a:cubicBezTo>
                    <a:pt x="41" y="16"/>
                    <a:pt x="41" y="17"/>
                    <a:pt x="40" y="19"/>
                  </a:cubicBezTo>
                  <a:cubicBezTo>
                    <a:pt x="39" y="19"/>
                    <a:pt x="39" y="20"/>
                    <a:pt x="38" y="20"/>
                  </a:cubicBezTo>
                  <a:moveTo>
                    <a:pt x="42" y="18"/>
                  </a:moveTo>
                  <a:cubicBezTo>
                    <a:pt x="42" y="17"/>
                    <a:pt x="43" y="15"/>
                    <a:pt x="43" y="14"/>
                  </a:cubicBezTo>
                  <a:cubicBezTo>
                    <a:pt x="44" y="13"/>
                    <a:pt x="44" y="13"/>
                    <a:pt x="45" y="13"/>
                  </a:cubicBezTo>
                  <a:cubicBezTo>
                    <a:pt x="44" y="14"/>
                    <a:pt x="43" y="16"/>
                    <a:pt x="43" y="17"/>
                  </a:cubicBezTo>
                  <a:cubicBezTo>
                    <a:pt x="43" y="18"/>
                    <a:pt x="43" y="18"/>
                    <a:pt x="43" y="18"/>
                  </a:cubicBezTo>
                  <a:cubicBezTo>
                    <a:pt x="42" y="18"/>
                    <a:pt x="42" y="18"/>
                    <a:pt x="42" y="18"/>
                  </a:cubicBezTo>
                  <a:moveTo>
                    <a:pt x="44" y="17"/>
                  </a:moveTo>
                  <a:cubicBezTo>
                    <a:pt x="45" y="15"/>
                    <a:pt x="45" y="14"/>
                    <a:pt x="46" y="12"/>
                  </a:cubicBezTo>
                  <a:cubicBezTo>
                    <a:pt x="47" y="12"/>
                    <a:pt x="47" y="12"/>
                    <a:pt x="47" y="12"/>
                  </a:cubicBezTo>
                  <a:cubicBezTo>
                    <a:pt x="46" y="13"/>
                    <a:pt x="46" y="15"/>
                    <a:pt x="45" y="16"/>
                  </a:cubicBezTo>
                  <a:cubicBezTo>
                    <a:pt x="44" y="17"/>
                    <a:pt x="44" y="17"/>
                    <a:pt x="44" y="17"/>
                  </a:cubicBezTo>
                  <a:cubicBezTo>
                    <a:pt x="44" y="17"/>
                    <a:pt x="44" y="17"/>
                    <a:pt x="44" y="17"/>
                  </a:cubicBezTo>
                  <a:moveTo>
                    <a:pt x="47" y="16"/>
                  </a:moveTo>
                  <a:cubicBezTo>
                    <a:pt x="47" y="14"/>
                    <a:pt x="48" y="13"/>
                    <a:pt x="48" y="12"/>
                  </a:cubicBezTo>
                  <a:cubicBezTo>
                    <a:pt x="48" y="12"/>
                    <a:pt x="48" y="12"/>
                    <a:pt x="48" y="12"/>
                  </a:cubicBezTo>
                  <a:cubicBezTo>
                    <a:pt x="48" y="13"/>
                    <a:pt x="47" y="14"/>
                    <a:pt x="47" y="16"/>
                  </a:cubicBezTo>
                  <a:cubicBezTo>
                    <a:pt x="47" y="16"/>
                    <a:pt x="47" y="16"/>
                    <a:pt x="47" y="16"/>
                  </a:cubicBezTo>
                  <a:moveTo>
                    <a:pt x="19" y="44"/>
                  </a:moveTo>
                  <a:cubicBezTo>
                    <a:pt x="17" y="44"/>
                    <a:pt x="15" y="43"/>
                    <a:pt x="13" y="42"/>
                  </a:cubicBezTo>
                  <a:cubicBezTo>
                    <a:pt x="13" y="42"/>
                    <a:pt x="13" y="42"/>
                    <a:pt x="13" y="42"/>
                  </a:cubicBezTo>
                  <a:cubicBezTo>
                    <a:pt x="13" y="42"/>
                    <a:pt x="13" y="42"/>
                    <a:pt x="13" y="42"/>
                  </a:cubicBezTo>
                  <a:cubicBezTo>
                    <a:pt x="11" y="41"/>
                    <a:pt x="10" y="40"/>
                    <a:pt x="8" y="39"/>
                  </a:cubicBezTo>
                  <a:cubicBezTo>
                    <a:pt x="6" y="37"/>
                    <a:pt x="4" y="35"/>
                    <a:pt x="3" y="32"/>
                  </a:cubicBezTo>
                  <a:cubicBezTo>
                    <a:pt x="3" y="31"/>
                    <a:pt x="3" y="31"/>
                    <a:pt x="3" y="31"/>
                  </a:cubicBezTo>
                  <a:cubicBezTo>
                    <a:pt x="2" y="29"/>
                    <a:pt x="1" y="27"/>
                    <a:pt x="1" y="25"/>
                  </a:cubicBezTo>
                  <a:cubicBezTo>
                    <a:pt x="2" y="24"/>
                    <a:pt x="2" y="24"/>
                    <a:pt x="2" y="24"/>
                  </a:cubicBezTo>
                  <a:cubicBezTo>
                    <a:pt x="1" y="24"/>
                    <a:pt x="1" y="24"/>
                    <a:pt x="1" y="24"/>
                  </a:cubicBezTo>
                  <a:cubicBezTo>
                    <a:pt x="1" y="20"/>
                    <a:pt x="2" y="17"/>
                    <a:pt x="5" y="13"/>
                  </a:cubicBezTo>
                  <a:cubicBezTo>
                    <a:pt x="9" y="7"/>
                    <a:pt x="16" y="3"/>
                    <a:pt x="25" y="3"/>
                  </a:cubicBezTo>
                  <a:cubicBezTo>
                    <a:pt x="24" y="7"/>
                    <a:pt x="24" y="22"/>
                    <a:pt x="24" y="25"/>
                  </a:cubicBezTo>
                  <a:cubicBezTo>
                    <a:pt x="25" y="25"/>
                    <a:pt x="25" y="25"/>
                    <a:pt x="25" y="25"/>
                  </a:cubicBezTo>
                  <a:cubicBezTo>
                    <a:pt x="25" y="26"/>
                    <a:pt x="25" y="26"/>
                    <a:pt x="25" y="26"/>
                  </a:cubicBezTo>
                  <a:cubicBezTo>
                    <a:pt x="25" y="26"/>
                    <a:pt x="25" y="29"/>
                    <a:pt x="26" y="31"/>
                  </a:cubicBezTo>
                  <a:cubicBezTo>
                    <a:pt x="26" y="32"/>
                    <a:pt x="26" y="32"/>
                    <a:pt x="26" y="32"/>
                  </a:cubicBezTo>
                  <a:cubicBezTo>
                    <a:pt x="27" y="32"/>
                    <a:pt x="27" y="32"/>
                    <a:pt x="27" y="32"/>
                  </a:cubicBezTo>
                  <a:cubicBezTo>
                    <a:pt x="27" y="32"/>
                    <a:pt x="27" y="32"/>
                    <a:pt x="27" y="32"/>
                  </a:cubicBezTo>
                  <a:cubicBezTo>
                    <a:pt x="27" y="34"/>
                    <a:pt x="28" y="37"/>
                    <a:pt x="29" y="39"/>
                  </a:cubicBezTo>
                  <a:cubicBezTo>
                    <a:pt x="29" y="39"/>
                    <a:pt x="29" y="39"/>
                    <a:pt x="29" y="39"/>
                  </a:cubicBezTo>
                  <a:cubicBezTo>
                    <a:pt x="30" y="41"/>
                    <a:pt x="30" y="43"/>
                    <a:pt x="31" y="44"/>
                  </a:cubicBezTo>
                  <a:cubicBezTo>
                    <a:pt x="31" y="45"/>
                    <a:pt x="31" y="45"/>
                    <a:pt x="31" y="45"/>
                  </a:cubicBezTo>
                  <a:cubicBezTo>
                    <a:pt x="31" y="45"/>
                    <a:pt x="31" y="45"/>
                    <a:pt x="31" y="45"/>
                  </a:cubicBezTo>
                  <a:cubicBezTo>
                    <a:pt x="29" y="45"/>
                    <a:pt x="27" y="45"/>
                    <a:pt x="25" y="45"/>
                  </a:cubicBezTo>
                  <a:cubicBezTo>
                    <a:pt x="25" y="45"/>
                    <a:pt x="25" y="45"/>
                    <a:pt x="25" y="45"/>
                  </a:cubicBezTo>
                  <a:cubicBezTo>
                    <a:pt x="25" y="45"/>
                    <a:pt x="25" y="45"/>
                    <a:pt x="25" y="45"/>
                  </a:cubicBezTo>
                  <a:cubicBezTo>
                    <a:pt x="24" y="45"/>
                    <a:pt x="24" y="45"/>
                    <a:pt x="24" y="45"/>
                  </a:cubicBezTo>
                  <a:cubicBezTo>
                    <a:pt x="23" y="45"/>
                    <a:pt x="21" y="45"/>
                    <a:pt x="20" y="44"/>
                  </a:cubicBezTo>
                  <a:cubicBezTo>
                    <a:pt x="19" y="44"/>
                    <a:pt x="19" y="44"/>
                    <a:pt x="19" y="44"/>
                  </a:cubicBezTo>
                  <a:cubicBezTo>
                    <a:pt x="19" y="44"/>
                    <a:pt x="19" y="44"/>
                    <a:pt x="19" y="44"/>
                  </a:cubicBezTo>
                  <a:moveTo>
                    <a:pt x="27" y="21"/>
                  </a:moveTo>
                  <a:cubicBezTo>
                    <a:pt x="28" y="16"/>
                    <a:pt x="28" y="13"/>
                    <a:pt x="29" y="8"/>
                  </a:cubicBezTo>
                  <a:cubicBezTo>
                    <a:pt x="29" y="6"/>
                    <a:pt x="29" y="4"/>
                    <a:pt x="30" y="1"/>
                  </a:cubicBezTo>
                  <a:cubicBezTo>
                    <a:pt x="31" y="1"/>
                    <a:pt x="31" y="1"/>
                    <a:pt x="32" y="1"/>
                  </a:cubicBezTo>
                  <a:cubicBezTo>
                    <a:pt x="39" y="2"/>
                    <a:pt x="44" y="4"/>
                    <a:pt x="47" y="8"/>
                  </a:cubicBezTo>
                  <a:cubicBezTo>
                    <a:pt x="47" y="8"/>
                    <a:pt x="48" y="9"/>
                    <a:pt x="48" y="10"/>
                  </a:cubicBezTo>
                  <a:cubicBezTo>
                    <a:pt x="47" y="10"/>
                    <a:pt x="47" y="11"/>
                    <a:pt x="46" y="11"/>
                  </a:cubicBezTo>
                  <a:cubicBezTo>
                    <a:pt x="45" y="11"/>
                    <a:pt x="45" y="11"/>
                    <a:pt x="45" y="11"/>
                  </a:cubicBezTo>
                  <a:cubicBezTo>
                    <a:pt x="40" y="14"/>
                    <a:pt x="33" y="18"/>
                    <a:pt x="29" y="20"/>
                  </a:cubicBezTo>
                  <a:cubicBezTo>
                    <a:pt x="28" y="21"/>
                    <a:pt x="28" y="21"/>
                    <a:pt x="27" y="21"/>
                  </a:cubicBezTo>
                  <a:moveTo>
                    <a:pt x="30" y="0"/>
                  </a:moveTo>
                  <a:cubicBezTo>
                    <a:pt x="29" y="0"/>
                    <a:pt x="29" y="0"/>
                    <a:pt x="29" y="0"/>
                  </a:cubicBezTo>
                  <a:cubicBezTo>
                    <a:pt x="29" y="0"/>
                    <a:pt x="29" y="0"/>
                    <a:pt x="29" y="0"/>
                  </a:cubicBezTo>
                  <a:cubicBezTo>
                    <a:pt x="28" y="3"/>
                    <a:pt x="28" y="6"/>
                    <a:pt x="28" y="8"/>
                  </a:cubicBezTo>
                  <a:cubicBezTo>
                    <a:pt x="27" y="12"/>
                    <a:pt x="27" y="16"/>
                    <a:pt x="26" y="22"/>
                  </a:cubicBezTo>
                  <a:cubicBezTo>
                    <a:pt x="26" y="22"/>
                    <a:pt x="26" y="22"/>
                    <a:pt x="26" y="22"/>
                  </a:cubicBezTo>
                  <a:cubicBezTo>
                    <a:pt x="26" y="22"/>
                    <a:pt x="26" y="23"/>
                    <a:pt x="26" y="24"/>
                  </a:cubicBezTo>
                  <a:cubicBezTo>
                    <a:pt x="26" y="24"/>
                    <a:pt x="26" y="25"/>
                    <a:pt x="26" y="25"/>
                  </a:cubicBezTo>
                  <a:cubicBezTo>
                    <a:pt x="26" y="25"/>
                    <a:pt x="26" y="25"/>
                    <a:pt x="26" y="25"/>
                  </a:cubicBezTo>
                  <a:cubicBezTo>
                    <a:pt x="26" y="25"/>
                    <a:pt x="26" y="25"/>
                    <a:pt x="26" y="25"/>
                  </a:cubicBezTo>
                  <a:cubicBezTo>
                    <a:pt x="25" y="22"/>
                    <a:pt x="25" y="4"/>
                    <a:pt x="26" y="2"/>
                  </a:cubicBezTo>
                  <a:cubicBezTo>
                    <a:pt x="26" y="2"/>
                    <a:pt x="26" y="2"/>
                    <a:pt x="26" y="2"/>
                  </a:cubicBezTo>
                  <a:cubicBezTo>
                    <a:pt x="26" y="2"/>
                    <a:pt x="26" y="2"/>
                    <a:pt x="26" y="2"/>
                  </a:cubicBezTo>
                  <a:cubicBezTo>
                    <a:pt x="26" y="2"/>
                    <a:pt x="26" y="2"/>
                    <a:pt x="26" y="2"/>
                  </a:cubicBezTo>
                  <a:cubicBezTo>
                    <a:pt x="26" y="2"/>
                    <a:pt x="26" y="2"/>
                    <a:pt x="26" y="2"/>
                  </a:cubicBezTo>
                  <a:cubicBezTo>
                    <a:pt x="26" y="2"/>
                    <a:pt x="26" y="2"/>
                    <a:pt x="26" y="2"/>
                  </a:cubicBezTo>
                  <a:cubicBezTo>
                    <a:pt x="25" y="2"/>
                    <a:pt x="25" y="2"/>
                    <a:pt x="25" y="2"/>
                  </a:cubicBezTo>
                  <a:cubicBezTo>
                    <a:pt x="25" y="2"/>
                    <a:pt x="25" y="2"/>
                    <a:pt x="25" y="2"/>
                  </a:cubicBezTo>
                  <a:cubicBezTo>
                    <a:pt x="25" y="2"/>
                    <a:pt x="25" y="2"/>
                    <a:pt x="25" y="2"/>
                  </a:cubicBezTo>
                  <a:cubicBezTo>
                    <a:pt x="16" y="2"/>
                    <a:pt x="8" y="6"/>
                    <a:pt x="4" y="13"/>
                  </a:cubicBezTo>
                  <a:cubicBezTo>
                    <a:pt x="1" y="16"/>
                    <a:pt x="0" y="21"/>
                    <a:pt x="0" y="25"/>
                  </a:cubicBezTo>
                  <a:cubicBezTo>
                    <a:pt x="0" y="28"/>
                    <a:pt x="0" y="31"/>
                    <a:pt x="1" y="34"/>
                  </a:cubicBezTo>
                  <a:cubicBezTo>
                    <a:pt x="1" y="34"/>
                    <a:pt x="1" y="34"/>
                    <a:pt x="1" y="34"/>
                  </a:cubicBezTo>
                  <a:cubicBezTo>
                    <a:pt x="1" y="35"/>
                    <a:pt x="1" y="35"/>
                    <a:pt x="1" y="35"/>
                  </a:cubicBezTo>
                  <a:cubicBezTo>
                    <a:pt x="1" y="35"/>
                    <a:pt x="1" y="35"/>
                    <a:pt x="1" y="35"/>
                  </a:cubicBezTo>
                  <a:cubicBezTo>
                    <a:pt x="1" y="35"/>
                    <a:pt x="1" y="36"/>
                    <a:pt x="1" y="37"/>
                  </a:cubicBezTo>
                  <a:cubicBezTo>
                    <a:pt x="2" y="37"/>
                    <a:pt x="2" y="37"/>
                    <a:pt x="2" y="37"/>
                  </a:cubicBezTo>
                  <a:cubicBezTo>
                    <a:pt x="2" y="37"/>
                    <a:pt x="2" y="37"/>
                    <a:pt x="2" y="37"/>
                  </a:cubicBezTo>
                  <a:cubicBezTo>
                    <a:pt x="2" y="38"/>
                    <a:pt x="2" y="39"/>
                    <a:pt x="3" y="39"/>
                  </a:cubicBezTo>
                  <a:cubicBezTo>
                    <a:pt x="3" y="39"/>
                    <a:pt x="3" y="39"/>
                    <a:pt x="3" y="39"/>
                  </a:cubicBezTo>
                  <a:cubicBezTo>
                    <a:pt x="3" y="40"/>
                    <a:pt x="3" y="40"/>
                    <a:pt x="3" y="40"/>
                  </a:cubicBezTo>
                  <a:cubicBezTo>
                    <a:pt x="3" y="40"/>
                    <a:pt x="3" y="40"/>
                    <a:pt x="3" y="40"/>
                  </a:cubicBezTo>
                  <a:cubicBezTo>
                    <a:pt x="3" y="41"/>
                    <a:pt x="3" y="41"/>
                    <a:pt x="4" y="41"/>
                  </a:cubicBezTo>
                  <a:cubicBezTo>
                    <a:pt x="4" y="42"/>
                    <a:pt x="4" y="42"/>
                    <a:pt x="4" y="42"/>
                  </a:cubicBezTo>
                  <a:cubicBezTo>
                    <a:pt x="4" y="42"/>
                    <a:pt x="4" y="42"/>
                    <a:pt x="4" y="42"/>
                  </a:cubicBezTo>
                  <a:cubicBezTo>
                    <a:pt x="5" y="43"/>
                    <a:pt x="5" y="43"/>
                    <a:pt x="5" y="44"/>
                  </a:cubicBezTo>
                  <a:cubicBezTo>
                    <a:pt x="6" y="44"/>
                    <a:pt x="6" y="44"/>
                    <a:pt x="6" y="44"/>
                  </a:cubicBezTo>
                  <a:cubicBezTo>
                    <a:pt x="6" y="44"/>
                    <a:pt x="6" y="44"/>
                    <a:pt x="6" y="44"/>
                  </a:cubicBezTo>
                  <a:cubicBezTo>
                    <a:pt x="6" y="44"/>
                    <a:pt x="6" y="44"/>
                    <a:pt x="6" y="44"/>
                  </a:cubicBezTo>
                  <a:cubicBezTo>
                    <a:pt x="7" y="45"/>
                    <a:pt x="7" y="45"/>
                    <a:pt x="7" y="45"/>
                  </a:cubicBezTo>
                  <a:cubicBezTo>
                    <a:pt x="8" y="47"/>
                    <a:pt x="10" y="48"/>
                    <a:pt x="13" y="50"/>
                  </a:cubicBezTo>
                  <a:cubicBezTo>
                    <a:pt x="13" y="50"/>
                    <a:pt x="13" y="50"/>
                    <a:pt x="13" y="50"/>
                  </a:cubicBezTo>
                  <a:cubicBezTo>
                    <a:pt x="13" y="50"/>
                    <a:pt x="13" y="50"/>
                    <a:pt x="13" y="50"/>
                  </a:cubicBezTo>
                  <a:cubicBezTo>
                    <a:pt x="13" y="50"/>
                    <a:pt x="13" y="50"/>
                    <a:pt x="13" y="50"/>
                  </a:cubicBezTo>
                  <a:cubicBezTo>
                    <a:pt x="13" y="50"/>
                    <a:pt x="13" y="50"/>
                    <a:pt x="13" y="50"/>
                  </a:cubicBezTo>
                  <a:cubicBezTo>
                    <a:pt x="14" y="50"/>
                    <a:pt x="15" y="51"/>
                    <a:pt x="16" y="51"/>
                  </a:cubicBezTo>
                  <a:cubicBezTo>
                    <a:pt x="16" y="52"/>
                    <a:pt x="16" y="52"/>
                    <a:pt x="16" y="52"/>
                  </a:cubicBezTo>
                  <a:cubicBezTo>
                    <a:pt x="16" y="52"/>
                    <a:pt x="16" y="52"/>
                    <a:pt x="16" y="52"/>
                  </a:cubicBezTo>
                  <a:cubicBezTo>
                    <a:pt x="17" y="51"/>
                    <a:pt x="17" y="51"/>
                    <a:pt x="17" y="51"/>
                  </a:cubicBezTo>
                  <a:cubicBezTo>
                    <a:pt x="17" y="51"/>
                    <a:pt x="18" y="52"/>
                    <a:pt x="19" y="52"/>
                  </a:cubicBezTo>
                  <a:cubicBezTo>
                    <a:pt x="19" y="52"/>
                    <a:pt x="19" y="52"/>
                    <a:pt x="19" y="52"/>
                  </a:cubicBezTo>
                  <a:cubicBezTo>
                    <a:pt x="19" y="52"/>
                    <a:pt x="19" y="52"/>
                    <a:pt x="19" y="52"/>
                  </a:cubicBezTo>
                  <a:cubicBezTo>
                    <a:pt x="20" y="52"/>
                    <a:pt x="20" y="52"/>
                    <a:pt x="20" y="52"/>
                  </a:cubicBezTo>
                  <a:cubicBezTo>
                    <a:pt x="20" y="52"/>
                    <a:pt x="20" y="52"/>
                    <a:pt x="20" y="52"/>
                  </a:cubicBezTo>
                  <a:cubicBezTo>
                    <a:pt x="20" y="52"/>
                    <a:pt x="21" y="52"/>
                    <a:pt x="22" y="52"/>
                  </a:cubicBezTo>
                  <a:cubicBezTo>
                    <a:pt x="22" y="53"/>
                    <a:pt x="22" y="53"/>
                    <a:pt x="22" y="53"/>
                  </a:cubicBezTo>
                  <a:cubicBezTo>
                    <a:pt x="22" y="53"/>
                    <a:pt x="22" y="53"/>
                    <a:pt x="22" y="53"/>
                  </a:cubicBezTo>
                  <a:cubicBezTo>
                    <a:pt x="22" y="52"/>
                    <a:pt x="22" y="52"/>
                    <a:pt x="22" y="52"/>
                  </a:cubicBezTo>
                  <a:cubicBezTo>
                    <a:pt x="23" y="52"/>
                    <a:pt x="24" y="52"/>
                    <a:pt x="25" y="52"/>
                  </a:cubicBezTo>
                  <a:cubicBezTo>
                    <a:pt x="26" y="52"/>
                    <a:pt x="27" y="52"/>
                    <a:pt x="28" y="52"/>
                  </a:cubicBezTo>
                  <a:cubicBezTo>
                    <a:pt x="28" y="53"/>
                    <a:pt x="28" y="53"/>
                    <a:pt x="28" y="53"/>
                  </a:cubicBezTo>
                  <a:cubicBezTo>
                    <a:pt x="28" y="53"/>
                    <a:pt x="28" y="53"/>
                    <a:pt x="28" y="53"/>
                  </a:cubicBezTo>
                  <a:cubicBezTo>
                    <a:pt x="29" y="52"/>
                    <a:pt x="29" y="52"/>
                    <a:pt x="29" y="52"/>
                  </a:cubicBezTo>
                  <a:cubicBezTo>
                    <a:pt x="29" y="52"/>
                    <a:pt x="29" y="52"/>
                    <a:pt x="29" y="52"/>
                  </a:cubicBezTo>
                  <a:cubicBezTo>
                    <a:pt x="30" y="52"/>
                    <a:pt x="31" y="52"/>
                    <a:pt x="32" y="52"/>
                  </a:cubicBezTo>
                  <a:cubicBezTo>
                    <a:pt x="32" y="51"/>
                    <a:pt x="32" y="51"/>
                    <a:pt x="32" y="51"/>
                  </a:cubicBezTo>
                  <a:cubicBezTo>
                    <a:pt x="32" y="51"/>
                    <a:pt x="32" y="51"/>
                    <a:pt x="32" y="51"/>
                  </a:cubicBezTo>
                  <a:cubicBezTo>
                    <a:pt x="32" y="50"/>
                    <a:pt x="32" y="49"/>
                    <a:pt x="32" y="48"/>
                  </a:cubicBezTo>
                  <a:cubicBezTo>
                    <a:pt x="33" y="49"/>
                    <a:pt x="33" y="49"/>
                    <a:pt x="33" y="49"/>
                  </a:cubicBezTo>
                  <a:cubicBezTo>
                    <a:pt x="33" y="50"/>
                    <a:pt x="34" y="50"/>
                    <a:pt x="34" y="51"/>
                  </a:cubicBezTo>
                  <a:cubicBezTo>
                    <a:pt x="35" y="51"/>
                    <a:pt x="35" y="51"/>
                    <a:pt x="35" y="51"/>
                  </a:cubicBezTo>
                  <a:cubicBezTo>
                    <a:pt x="35" y="51"/>
                    <a:pt x="35" y="51"/>
                    <a:pt x="35" y="51"/>
                  </a:cubicBezTo>
                  <a:cubicBezTo>
                    <a:pt x="35" y="51"/>
                    <a:pt x="35" y="51"/>
                    <a:pt x="35" y="51"/>
                  </a:cubicBezTo>
                  <a:cubicBezTo>
                    <a:pt x="35" y="51"/>
                    <a:pt x="35" y="51"/>
                    <a:pt x="35" y="51"/>
                  </a:cubicBezTo>
                  <a:cubicBezTo>
                    <a:pt x="35" y="51"/>
                    <a:pt x="35" y="51"/>
                    <a:pt x="35" y="51"/>
                  </a:cubicBezTo>
                  <a:cubicBezTo>
                    <a:pt x="35" y="51"/>
                    <a:pt x="35" y="51"/>
                    <a:pt x="35" y="51"/>
                  </a:cubicBezTo>
                  <a:cubicBezTo>
                    <a:pt x="37" y="50"/>
                    <a:pt x="39" y="49"/>
                    <a:pt x="41" y="48"/>
                  </a:cubicBezTo>
                  <a:cubicBezTo>
                    <a:pt x="41" y="48"/>
                    <a:pt x="41" y="48"/>
                    <a:pt x="41" y="48"/>
                  </a:cubicBezTo>
                  <a:cubicBezTo>
                    <a:pt x="41" y="48"/>
                    <a:pt x="41" y="48"/>
                    <a:pt x="41" y="48"/>
                  </a:cubicBezTo>
                  <a:cubicBezTo>
                    <a:pt x="41" y="48"/>
                    <a:pt x="41" y="48"/>
                    <a:pt x="41" y="48"/>
                  </a:cubicBezTo>
                  <a:cubicBezTo>
                    <a:pt x="44" y="46"/>
                    <a:pt x="46" y="44"/>
                    <a:pt x="47" y="41"/>
                  </a:cubicBezTo>
                  <a:cubicBezTo>
                    <a:pt x="47" y="41"/>
                    <a:pt x="47" y="41"/>
                    <a:pt x="48" y="38"/>
                  </a:cubicBezTo>
                  <a:cubicBezTo>
                    <a:pt x="48" y="38"/>
                    <a:pt x="48" y="38"/>
                    <a:pt x="48" y="38"/>
                  </a:cubicBezTo>
                  <a:cubicBezTo>
                    <a:pt x="48" y="39"/>
                    <a:pt x="48" y="39"/>
                    <a:pt x="48" y="39"/>
                  </a:cubicBezTo>
                  <a:cubicBezTo>
                    <a:pt x="49" y="39"/>
                    <a:pt x="49" y="39"/>
                    <a:pt x="49" y="39"/>
                  </a:cubicBezTo>
                  <a:cubicBezTo>
                    <a:pt x="49" y="39"/>
                    <a:pt x="49" y="39"/>
                    <a:pt x="49" y="39"/>
                  </a:cubicBezTo>
                  <a:cubicBezTo>
                    <a:pt x="51" y="36"/>
                    <a:pt x="52" y="32"/>
                    <a:pt x="52" y="28"/>
                  </a:cubicBezTo>
                  <a:cubicBezTo>
                    <a:pt x="52" y="24"/>
                    <a:pt x="51" y="21"/>
                    <a:pt x="50" y="17"/>
                  </a:cubicBezTo>
                  <a:cubicBezTo>
                    <a:pt x="50" y="17"/>
                    <a:pt x="50" y="17"/>
                    <a:pt x="50" y="17"/>
                  </a:cubicBezTo>
                  <a:cubicBezTo>
                    <a:pt x="49" y="17"/>
                    <a:pt x="49" y="17"/>
                    <a:pt x="49" y="17"/>
                  </a:cubicBezTo>
                  <a:cubicBezTo>
                    <a:pt x="49" y="17"/>
                    <a:pt x="49" y="17"/>
                    <a:pt x="49" y="17"/>
                  </a:cubicBezTo>
                  <a:cubicBezTo>
                    <a:pt x="47" y="17"/>
                    <a:pt x="45" y="18"/>
                    <a:pt x="42" y="19"/>
                  </a:cubicBezTo>
                  <a:cubicBezTo>
                    <a:pt x="43" y="19"/>
                    <a:pt x="44" y="18"/>
                    <a:pt x="45" y="18"/>
                  </a:cubicBezTo>
                  <a:cubicBezTo>
                    <a:pt x="48" y="16"/>
                    <a:pt x="48" y="16"/>
                    <a:pt x="48" y="16"/>
                  </a:cubicBezTo>
                  <a:cubicBezTo>
                    <a:pt x="48" y="16"/>
                    <a:pt x="48" y="16"/>
                    <a:pt x="48" y="16"/>
                  </a:cubicBezTo>
                  <a:cubicBezTo>
                    <a:pt x="48" y="15"/>
                    <a:pt x="49" y="13"/>
                    <a:pt x="49" y="12"/>
                  </a:cubicBezTo>
                  <a:cubicBezTo>
                    <a:pt x="49" y="11"/>
                    <a:pt x="49" y="11"/>
                    <a:pt x="49" y="11"/>
                  </a:cubicBezTo>
                  <a:cubicBezTo>
                    <a:pt x="50" y="10"/>
                    <a:pt x="50" y="10"/>
                    <a:pt x="50" y="10"/>
                  </a:cubicBezTo>
                  <a:cubicBezTo>
                    <a:pt x="49" y="9"/>
                    <a:pt x="49" y="8"/>
                    <a:pt x="48" y="7"/>
                  </a:cubicBezTo>
                  <a:cubicBezTo>
                    <a:pt x="45" y="3"/>
                    <a:pt x="39" y="1"/>
                    <a:pt x="32" y="0"/>
                  </a:cubicBezTo>
                  <a:cubicBezTo>
                    <a:pt x="31" y="0"/>
                    <a:pt x="31" y="0"/>
                    <a:pt x="3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04" name="îṧḷîďê"/>
            <p:cNvSpPr/>
            <p:nvPr/>
          </p:nvSpPr>
          <p:spPr bwMode="auto">
            <a:xfrm>
              <a:off x="4117" y="1856"/>
              <a:ext cx="50" cy="78"/>
            </a:xfrm>
            <a:custGeom>
              <a:avLst/>
              <a:gdLst>
                <a:gd name="T0" fmla="*/ 3 w 21"/>
                <a:gd name="T1" fmla="*/ 31 h 33"/>
                <a:gd name="T2" fmla="*/ 3 w 21"/>
                <a:gd name="T3" fmla="*/ 30 h 33"/>
                <a:gd name="T4" fmla="*/ 4 w 21"/>
                <a:gd name="T5" fmla="*/ 31 h 33"/>
                <a:gd name="T6" fmla="*/ 2 w 21"/>
                <a:gd name="T7" fmla="*/ 30 h 33"/>
                <a:gd name="T8" fmla="*/ 3 w 21"/>
                <a:gd name="T9" fmla="*/ 28 h 33"/>
                <a:gd name="T10" fmla="*/ 1 w 21"/>
                <a:gd name="T11" fmla="*/ 29 h 33"/>
                <a:gd name="T12" fmla="*/ 1 w 21"/>
                <a:gd name="T13" fmla="*/ 29 h 33"/>
                <a:gd name="T14" fmla="*/ 2 w 21"/>
                <a:gd name="T15" fmla="*/ 27 h 33"/>
                <a:gd name="T16" fmla="*/ 1 w 21"/>
                <a:gd name="T17" fmla="*/ 27 h 33"/>
                <a:gd name="T18" fmla="*/ 1 w 21"/>
                <a:gd name="T19" fmla="*/ 27 h 33"/>
                <a:gd name="T20" fmla="*/ 5 w 21"/>
                <a:gd name="T21" fmla="*/ 31 h 33"/>
                <a:gd name="T22" fmla="*/ 20 w 21"/>
                <a:gd name="T23" fmla="*/ 5 h 33"/>
                <a:gd name="T24" fmla="*/ 20 w 21"/>
                <a:gd name="T25" fmla="*/ 7 h 33"/>
                <a:gd name="T26" fmla="*/ 4 w 21"/>
                <a:gd name="T27" fmla="*/ 28 h 33"/>
                <a:gd name="T28" fmla="*/ 9 w 21"/>
                <a:gd name="T29" fmla="*/ 14 h 33"/>
                <a:gd name="T30" fmla="*/ 19 w 21"/>
                <a:gd name="T31" fmla="*/ 3 h 33"/>
                <a:gd name="T32" fmla="*/ 4 w 21"/>
                <a:gd name="T33" fmla="*/ 28 h 33"/>
                <a:gd name="T34" fmla="*/ 16 w 21"/>
                <a:gd name="T35" fmla="*/ 1 h 33"/>
                <a:gd name="T36" fmla="*/ 0 w 21"/>
                <a:gd name="T37" fmla="*/ 25 h 33"/>
                <a:gd name="T38" fmla="*/ 0 w 21"/>
                <a:gd name="T39" fmla="*/ 25 h 33"/>
                <a:gd name="T40" fmla="*/ 0 w 21"/>
                <a:gd name="T41" fmla="*/ 25 h 33"/>
                <a:gd name="T42" fmla="*/ 0 w 21"/>
                <a:gd name="T43" fmla="*/ 29 h 33"/>
                <a:gd name="T44" fmla="*/ 0 w 21"/>
                <a:gd name="T45" fmla="*/ 29 h 33"/>
                <a:gd name="T46" fmla="*/ 1 w 21"/>
                <a:gd name="T47" fmla="*/ 30 h 33"/>
                <a:gd name="T48" fmla="*/ 4 w 21"/>
                <a:gd name="T49" fmla="*/ 33 h 33"/>
                <a:gd name="T50" fmla="*/ 4 w 21"/>
                <a:gd name="T51" fmla="*/ 33 h 33"/>
                <a:gd name="T52" fmla="*/ 5 w 21"/>
                <a:gd name="T53" fmla="*/ 33 h 33"/>
                <a:gd name="T54" fmla="*/ 5 w 21"/>
                <a:gd name="T55" fmla="*/ 33 h 33"/>
                <a:gd name="T56" fmla="*/ 21 w 21"/>
                <a:gd name="T57" fmla="*/ 7 h 33"/>
                <a:gd name="T58" fmla="*/ 21 w 21"/>
                <a:gd name="T59" fmla="*/ 3 h 33"/>
                <a:gd name="T60" fmla="*/ 21 w 21"/>
                <a:gd name="T61" fmla="*/ 3 h 33"/>
                <a:gd name="T62" fmla="*/ 20 w 21"/>
                <a:gd name="T63" fmla="*/ 3 h 33"/>
                <a:gd name="T64" fmla="*/ 17 w 21"/>
                <a:gd name="T6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33">
                  <a:moveTo>
                    <a:pt x="4" y="31"/>
                  </a:moveTo>
                  <a:cubicBezTo>
                    <a:pt x="3" y="31"/>
                    <a:pt x="3" y="31"/>
                    <a:pt x="3" y="31"/>
                  </a:cubicBezTo>
                  <a:cubicBezTo>
                    <a:pt x="3" y="31"/>
                    <a:pt x="3" y="31"/>
                    <a:pt x="3" y="31"/>
                  </a:cubicBezTo>
                  <a:cubicBezTo>
                    <a:pt x="3" y="30"/>
                    <a:pt x="3" y="30"/>
                    <a:pt x="3" y="30"/>
                  </a:cubicBezTo>
                  <a:cubicBezTo>
                    <a:pt x="4" y="29"/>
                    <a:pt x="4" y="29"/>
                    <a:pt x="4" y="29"/>
                  </a:cubicBezTo>
                  <a:cubicBezTo>
                    <a:pt x="4" y="31"/>
                    <a:pt x="4" y="31"/>
                    <a:pt x="4" y="31"/>
                  </a:cubicBezTo>
                  <a:moveTo>
                    <a:pt x="3" y="30"/>
                  </a:moveTo>
                  <a:cubicBezTo>
                    <a:pt x="2" y="30"/>
                    <a:pt x="2" y="30"/>
                    <a:pt x="2" y="30"/>
                  </a:cubicBezTo>
                  <a:cubicBezTo>
                    <a:pt x="3" y="28"/>
                    <a:pt x="3" y="28"/>
                    <a:pt x="3" y="28"/>
                  </a:cubicBezTo>
                  <a:cubicBezTo>
                    <a:pt x="3" y="28"/>
                    <a:pt x="3" y="28"/>
                    <a:pt x="3" y="28"/>
                  </a:cubicBezTo>
                  <a:cubicBezTo>
                    <a:pt x="3" y="30"/>
                    <a:pt x="3" y="30"/>
                    <a:pt x="3" y="30"/>
                  </a:cubicBezTo>
                  <a:moveTo>
                    <a:pt x="1" y="29"/>
                  </a:moveTo>
                  <a:cubicBezTo>
                    <a:pt x="1" y="29"/>
                    <a:pt x="1" y="29"/>
                    <a:pt x="1" y="29"/>
                  </a:cubicBezTo>
                  <a:cubicBezTo>
                    <a:pt x="1" y="29"/>
                    <a:pt x="1" y="29"/>
                    <a:pt x="1" y="29"/>
                  </a:cubicBezTo>
                  <a:cubicBezTo>
                    <a:pt x="2" y="27"/>
                    <a:pt x="2" y="27"/>
                    <a:pt x="2" y="27"/>
                  </a:cubicBezTo>
                  <a:cubicBezTo>
                    <a:pt x="2" y="27"/>
                    <a:pt x="2" y="27"/>
                    <a:pt x="2" y="27"/>
                  </a:cubicBezTo>
                  <a:cubicBezTo>
                    <a:pt x="1" y="29"/>
                    <a:pt x="1" y="29"/>
                    <a:pt x="1" y="29"/>
                  </a:cubicBezTo>
                  <a:moveTo>
                    <a:pt x="1" y="27"/>
                  </a:moveTo>
                  <a:cubicBezTo>
                    <a:pt x="1" y="27"/>
                    <a:pt x="1" y="27"/>
                    <a:pt x="1" y="26"/>
                  </a:cubicBezTo>
                  <a:cubicBezTo>
                    <a:pt x="1" y="27"/>
                    <a:pt x="1" y="27"/>
                    <a:pt x="1" y="27"/>
                  </a:cubicBezTo>
                  <a:cubicBezTo>
                    <a:pt x="1" y="27"/>
                    <a:pt x="1" y="27"/>
                    <a:pt x="1" y="27"/>
                  </a:cubicBezTo>
                  <a:moveTo>
                    <a:pt x="5" y="31"/>
                  </a:moveTo>
                  <a:cubicBezTo>
                    <a:pt x="5" y="29"/>
                    <a:pt x="5" y="29"/>
                    <a:pt x="5" y="29"/>
                  </a:cubicBezTo>
                  <a:cubicBezTo>
                    <a:pt x="9" y="22"/>
                    <a:pt x="15" y="13"/>
                    <a:pt x="20" y="5"/>
                  </a:cubicBezTo>
                  <a:cubicBezTo>
                    <a:pt x="20" y="5"/>
                    <a:pt x="20" y="5"/>
                    <a:pt x="20" y="5"/>
                  </a:cubicBezTo>
                  <a:cubicBezTo>
                    <a:pt x="20" y="6"/>
                    <a:pt x="20" y="6"/>
                    <a:pt x="20" y="7"/>
                  </a:cubicBezTo>
                  <a:cubicBezTo>
                    <a:pt x="15" y="15"/>
                    <a:pt x="9" y="24"/>
                    <a:pt x="5" y="31"/>
                  </a:cubicBezTo>
                  <a:moveTo>
                    <a:pt x="4" y="28"/>
                  </a:moveTo>
                  <a:cubicBezTo>
                    <a:pt x="3" y="27"/>
                    <a:pt x="2" y="26"/>
                    <a:pt x="1" y="25"/>
                  </a:cubicBezTo>
                  <a:cubicBezTo>
                    <a:pt x="4" y="22"/>
                    <a:pt x="7" y="18"/>
                    <a:pt x="9" y="14"/>
                  </a:cubicBezTo>
                  <a:cubicBezTo>
                    <a:pt x="17" y="2"/>
                    <a:pt x="17" y="2"/>
                    <a:pt x="17" y="2"/>
                  </a:cubicBezTo>
                  <a:cubicBezTo>
                    <a:pt x="17" y="2"/>
                    <a:pt x="18" y="2"/>
                    <a:pt x="19" y="3"/>
                  </a:cubicBezTo>
                  <a:cubicBezTo>
                    <a:pt x="19" y="3"/>
                    <a:pt x="19" y="3"/>
                    <a:pt x="19" y="3"/>
                  </a:cubicBezTo>
                  <a:cubicBezTo>
                    <a:pt x="15" y="12"/>
                    <a:pt x="9" y="21"/>
                    <a:pt x="4" y="28"/>
                  </a:cubicBezTo>
                  <a:moveTo>
                    <a:pt x="17" y="0"/>
                  </a:moveTo>
                  <a:cubicBezTo>
                    <a:pt x="16" y="1"/>
                    <a:pt x="16" y="1"/>
                    <a:pt x="16" y="1"/>
                  </a:cubicBezTo>
                  <a:cubicBezTo>
                    <a:pt x="8" y="13"/>
                    <a:pt x="8" y="13"/>
                    <a:pt x="8" y="13"/>
                  </a:cubicBezTo>
                  <a:cubicBezTo>
                    <a:pt x="6" y="17"/>
                    <a:pt x="3" y="21"/>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6"/>
                    <a:pt x="0" y="27"/>
                    <a:pt x="0" y="29"/>
                  </a:cubicBezTo>
                  <a:cubicBezTo>
                    <a:pt x="0" y="29"/>
                    <a:pt x="0" y="29"/>
                    <a:pt x="0" y="29"/>
                  </a:cubicBezTo>
                  <a:cubicBezTo>
                    <a:pt x="0" y="29"/>
                    <a:pt x="0" y="29"/>
                    <a:pt x="0" y="29"/>
                  </a:cubicBezTo>
                  <a:cubicBezTo>
                    <a:pt x="0" y="30"/>
                    <a:pt x="0" y="30"/>
                    <a:pt x="0" y="30"/>
                  </a:cubicBezTo>
                  <a:cubicBezTo>
                    <a:pt x="1" y="30"/>
                    <a:pt x="1" y="30"/>
                    <a:pt x="1" y="30"/>
                  </a:cubicBezTo>
                  <a:cubicBezTo>
                    <a:pt x="1" y="30"/>
                    <a:pt x="1" y="30"/>
                    <a:pt x="1" y="30"/>
                  </a:cubicBezTo>
                  <a:cubicBezTo>
                    <a:pt x="2" y="31"/>
                    <a:pt x="3" y="32"/>
                    <a:pt x="4" y="33"/>
                  </a:cubicBezTo>
                  <a:cubicBezTo>
                    <a:pt x="4" y="33"/>
                    <a:pt x="4" y="33"/>
                    <a:pt x="4" y="33"/>
                  </a:cubicBezTo>
                  <a:cubicBezTo>
                    <a:pt x="4" y="33"/>
                    <a:pt x="4" y="33"/>
                    <a:pt x="4" y="33"/>
                  </a:cubicBezTo>
                  <a:cubicBezTo>
                    <a:pt x="4" y="33"/>
                    <a:pt x="4" y="33"/>
                    <a:pt x="4" y="33"/>
                  </a:cubicBezTo>
                  <a:cubicBezTo>
                    <a:pt x="5" y="33"/>
                    <a:pt x="5" y="33"/>
                    <a:pt x="5" y="33"/>
                  </a:cubicBezTo>
                  <a:cubicBezTo>
                    <a:pt x="5" y="33"/>
                    <a:pt x="5" y="33"/>
                    <a:pt x="5" y="33"/>
                  </a:cubicBezTo>
                  <a:cubicBezTo>
                    <a:pt x="5" y="33"/>
                    <a:pt x="5" y="33"/>
                    <a:pt x="5" y="33"/>
                  </a:cubicBezTo>
                  <a:cubicBezTo>
                    <a:pt x="10" y="25"/>
                    <a:pt x="16" y="16"/>
                    <a:pt x="21" y="7"/>
                  </a:cubicBezTo>
                  <a:cubicBezTo>
                    <a:pt x="21" y="7"/>
                    <a:pt x="21" y="7"/>
                    <a:pt x="21" y="7"/>
                  </a:cubicBezTo>
                  <a:cubicBezTo>
                    <a:pt x="21" y="6"/>
                    <a:pt x="21" y="6"/>
                    <a:pt x="21" y="5"/>
                  </a:cubicBezTo>
                  <a:cubicBezTo>
                    <a:pt x="21" y="5"/>
                    <a:pt x="21" y="4"/>
                    <a:pt x="21" y="3"/>
                  </a:cubicBezTo>
                  <a:cubicBezTo>
                    <a:pt x="21" y="3"/>
                    <a:pt x="21" y="3"/>
                    <a:pt x="21" y="3"/>
                  </a:cubicBezTo>
                  <a:cubicBezTo>
                    <a:pt x="21" y="3"/>
                    <a:pt x="21" y="3"/>
                    <a:pt x="21" y="3"/>
                  </a:cubicBezTo>
                  <a:cubicBezTo>
                    <a:pt x="20" y="3"/>
                    <a:pt x="20" y="3"/>
                    <a:pt x="20" y="3"/>
                  </a:cubicBezTo>
                  <a:cubicBezTo>
                    <a:pt x="20" y="3"/>
                    <a:pt x="20" y="3"/>
                    <a:pt x="20" y="3"/>
                  </a:cubicBezTo>
                  <a:cubicBezTo>
                    <a:pt x="20" y="2"/>
                    <a:pt x="19" y="2"/>
                    <a:pt x="19" y="2"/>
                  </a:cubicBezTo>
                  <a:cubicBezTo>
                    <a:pt x="18" y="1"/>
                    <a:pt x="18" y="1"/>
                    <a:pt x="1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05" name="iṡ1íḑe"/>
            <p:cNvSpPr/>
            <p:nvPr/>
          </p:nvSpPr>
          <p:spPr bwMode="auto">
            <a:xfrm>
              <a:off x="4115" y="1865"/>
              <a:ext cx="14" cy="17"/>
            </a:xfrm>
            <a:custGeom>
              <a:avLst/>
              <a:gdLst>
                <a:gd name="T0" fmla="*/ 2 w 6"/>
                <a:gd name="T1" fmla="*/ 6 h 7"/>
                <a:gd name="T2" fmla="*/ 2 w 6"/>
                <a:gd name="T3" fmla="*/ 6 h 7"/>
                <a:gd name="T4" fmla="*/ 1 w 6"/>
                <a:gd name="T5" fmla="*/ 5 h 7"/>
                <a:gd name="T6" fmla="*/ 1 w 6"/>
                <a:gd name="T7" fmla="*/ 5 h 7"/>
                <a:gd name="T8" fmla="*/ 2 w 6"/>
                <a:gd name="T9" fmla="*/ 3 h 7"/>
                <a:gd name="T10" fmla="*/ 3 w 6"/>
                <a:gd name="T11" fmla="*/ 3 h 7"/>
                <a:gd name="T12" fmla="*/ 4 w 6"/>
                <a:gd name="T13" fmla="*/ 3 h 7"/>
                <a:gd name="T14" fmla="*/ 4 w 6"/>
                <a:gd name="T15" fmla="*/ 3 h 7"/>
                <a:gd name="T16" fmla="*/ 4 w 6"/>
                <a:gd name="T17" fmla="*/ 4 h 7"/>
                <a:gd name="T18" fmla="*/ 4 w 6"/>
                <a:gd name="T19" fmla="*/ 5 h 7"/>
                <a:gd name="T20" fmla="*/ 2 w 6"/>
                <a:gd name="T21" fmla="*/ 6 h 7"/>
                <a:gd name="T22" fmla="*/ 5 w 6"/>
                <a:gd name="T23" fmla="*/ 2 h 7"/>
                <a:gd name="T24" fmla="*/ 4 w 6"/>
                <a:gd name="T25" fmla="*/ 2 h 7"/>
                <a:gd name="T26" fmla="*/ 5 w 6"/>
                <a:gd name="T27" fmla="*/ 2 h 7"/>
                <a:gd name="T28" fmla="*/ 5 w 6"/>
                <a:gd name="T29" fmla="*/ 2 h 7"/>
                <a:gd name="T30" fmla="*/ 5 w 6"/>
                <a:gd name="T31" fmla="*/ 2 h 7"/>
                <a:gd name="T32" fmla="*/ 1 w 6"/>
                <a:gd name="T33" fmla="*/ 3 h 7"/>
                <a:gd name="T34" fmla="*/ 1 w 6"/>
                <a:gd name="T35" fmla="*/ 3 h 7"/>
                <a:gd name="T36" fmla="*/ 2 w 6"/>
                <a:gd name="T37" fmla="*/ 2 h 7"/>
                <a:gd name="T38" fmla="*/ 1 w 6"/>
                <a:gd name="T39" fmla="*/ 3 h 7"/>
                <a:gd name="T40" fmla="*/ 1 w 6"/>
                <a:gd name="T41" fmla="*/ 3 h 7"/>
                <a:gd name="T42" fmla="*/ 2 w 6"/>
                <a:gd name="T43" fmla="*/ 2 h 7"/>
                <a:gd name="T44" fmla="*/ 3 w 6"/>
                <a:gd name="T45" fmla="*/ 1 h 7"/>
                <a:gd name="T46" fmla="*/ 3 w 6"/>
                <a:gd name="T47" fmla="*/ 1 h 7"/>
                <a:gd name="T48" fmla="*/ 2 w 6"/>
                <a:gd name="T49" fmla="*/ 2 h 7"/>
                <a:gd name="T50" fmla="*/ 2 w 6"/>
                <a:gd name="T51" fmla="*/ 2 h 7"/>
                <a:gd name="T52" fmla="*/ 4 w 6"/>
                <a:gd name="T53" fmla="*/ 2 h 7"/>
                <a:gd name="T54" fmla="*/ 3 w 6"/>
                <a:gd name="T55" fmla="*/ 2 h 7"/>
                <a:gd name="T56" fmla="*/ 4 w 6"/>
                <a:gd name="T57" fmla="*/ 1 h 7"/>
                <a:gd name="T58" fmla="*/ 4 w 6"/>
                <a:gd name="T59" fmla="*/ 1 h 7"/>
                <a:gd name="T60" fmla="*/ 4 w 6"/>
                <a:gd name="T61" fmla="*/ 2 h 7"/>
                <a:gd name="T62" fmla="*/ 3 w 6"/>
                <a:gd name="T63" fmla="*/ 0 h 7"/>
                <a:gd name="T64" fmla="*/ 2 w 6"/>
                <a:gd name="T65" fmla="*/ 0 h 7"/>
                <a:gd name="T66" fmla="*/ 0 w 6"/>
                <a:gd name="T67" fmla="*/ 3 h 7"/>
                <a:gd name="T68" fmla="*/ 1 w 6"/>
                <a:gd name="T69" fmla="*/ 7 h 7"/>
                <a:gd name="T70" fmla="*/ 2 w 6"/>
                <a:gd name="T71" fmla="*/ 7 h 7"/>
                <a:gd name="T72" fmla="*/ 5 w 6"/>
                <a:gd name="T73" fmla="*/ 6 h 7"/>
                <a:gd name="T74" fmla="*/ 6 w 6"/>
                <a:gd name="T75" fmla="*/ 2 h 7"/>
                <a:gd name="T76" fmla="*/ 5 w 6"/>
                <a:gd name="T77" fmla="*/ 1 h 7"/>
                <a:gd name="T78" fmla="*/ 3 w 6"/>
                <a:gd name="T7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 h="7">
                  <a:moveTo>
                    <a:pt x="2" y="6"/>
                  </a:moveTo>
                  <a:cubicBezTo>
                    <a:pt x="2" y="6"/>
                    <a:pt x="2" y="6"/>
                    <a:pt x="2" y="6"/>
                  </a:cubicBezTo>
                  <a:cubicBezTo>
                    <a:pt x="1" y="5"/>
                    <a:pt x="1" y="5"/>
                    <a:pt x="1" y="5"/>
                  </a:cubicBezTo>
                  <a:cubicBezTo>
                    <a:pt x="1" y="5"/>
                    <a:pt x="1" y="5"/>
                    <a:pt x="1" y="5"/>
                  </a:cubicBezTo>
                  <a:cubicBezTo>
                    <a:pt x="1" y="4"/>
                    <a:pt x="2" y="4"/>
                    <a:pt x="2" y="3"/>
                  </a:cubicBezTo>
                  <a:cubicBezTo>
                    <a:pt x="3" y="3"/>
                    <a:pt x="3" y="3"/>
                    <a:pt x="3" y="3"/>
                  </a:cubicBezTo>
                  <a:cubicBezTo>
                    <a:pt x="3" y="3"/>
                    <a:pt x="4" y="3"/>
                    <a:pt x="4" y="3"/>
                  </a:cubicBezTo>
                  <a:cubicBezTo>
                    <a:pt x="4" y="3"/>
                    <a:pt x="4" y="3"/>
                    <a:pt x="4" y="3"/>
                  </a:cubicBezTo>
                  <a:cubicBezTo>
                    <a:pt x="4" y="4"/>
                    <a:pt x="4" y="4"/>
                    <a:pt x="4" y="4"/>
                  </a:cubicBezTo>
                  <a:cubicBezTo>
                    <a:pt x="4" y="4"/>
                    <a:pt x="4" y="5"/>
                    <a:pt x="4" y="5"/>
                  </a:cubicBezTo>
                  <a:cubicBezTo>
                    <a:pt x="4" y="6"/>
                    <a:pt x="3" y="6"/>
                    <a:pt x="2" y="6"/>
                  </a:cubicBezTo>
                  <a:moveTo>
                    <a:pt x="5" y="2"/>
                  </a:moveTo>
                  <a:cubicBezTo>
                    <a:pt x="4" y="2"/>
                    <a:pt x="4" y="2"/>
                    <a:pt x="4" y="2"/>
                  </a:cubicBezTo>
                  <a:cubicBezTo>
                    <a:pt x="5" y="2"/>
                    <a:pt x="5" y="2"/>
                    <a:pt x="5" y="2"/>
                  </a:cubicBezTo>
                  <a:cubicBezTo>
                    <a:pt x="5" y="2"/>
                    <a:pt x="5" y="2"/>
                    <a:pt x="5" y="2"/>
                  </a:cubicBezTo>
                  <a:cubicBezTo>
                    <a:pt x="5" y="2"/>
                    <a:pt x="5" y="2"/>
                    <a:pt x="5" y="2"/>
                  </a:cubicBezTo>
                  <a:moveTo>
                    <a:pt x="1" y="3"/>
                  </a:moveTo>
                  <a:cubicBezTo>
                    <a:pt x="1" y="3"/>
                    <a:pt x="1" y="3"/>
                    <a:pt x="1" y="3"/>
                  </a:cubicBezTo>
                  <a:cubicBezTo>
                    <a:pt x="1" y="3"/>
                    <a:pt x="1" y="2"/>
                    <a:pt x="2" y="2"/>
                  </a:cubicBezTo>
                  <a:cubicBezTo>
                    <a:pt x="1" y="3"/>
                    <a:pt x="1" y="3"/>
                    <a:pt x="1" y="3"/>
                  </a:cubicBezTo>
                  <a:cubicBezTo>
                    <a:pt x="1" y="3"/>
                    <a:pt x="1" y="3"/>
                    <a:pt x="1" y="3"/>
                  </a:cubicBezTo>
                  <a:moveTo>
                    <a:pt x="2" y="2"/>
                  </a:moveTo>
                  <a:cubicBezTo>
                    <a:pt x="2" y="2"/>
                    <a:pt x="3" y="1"/>
                    <a:pt x="3" y="1"/>
                  </a:cubicBezTo>
                  <a:cubicBezTo>
                    <a:pt x="3" y="1"/>
                    <a:pt x="3" y="1"/>
                    <a:pt x="3" y="1"/>
                  </a:cubicBezTo>
                  <a:cubicBezTo>
                    <a:pt x="2" y="2"/>
                    <a:pt x="2" y="2"/>
                    <a:pt x="2" y="2"/>
                  </a:cubicBezTo>
                  <a:cubicBezTo>
                    <a:pt x="2" y="2"/>
                    <a:pt x="2" y="2"/>
                    <a:pt x="2" y="2"/>
                  </a:cubicBezTo>
                  <a:moveTo>
                    <a:pt x="4" y="2"/>
                  </a:moveTo>
                  <a:cubicBezTo>
                    <a:pt x="3" y="2"/>
                    <a:pt x="3" y="2"/>
                    <a:pt x="3" y="2"/>
                  </a:cubicBezTo>
                  <a:cubicBezTo>
                    <a:pt x="3" y="2"/>
                    <a:pt x="4" y="1"/>
                    <a:pt x="4" y="1"/>
                  </a:cubicBezTo>
                  <a:cubicBezTo>
                    <a:pt x="4" y="1"/>
                    <a:pt x="4" y="1"/>
                    <a:pt x="4" y="1"/>
                  </a:cubicBezTo>
                  <a:cubicBezTo>
                    <a:pt x="4" y="2"/>
                    <a:pt x="4" y="2"/>
                    <a:pt x="4" y="2"/>
                  </a:cubicBezTo>
                  <a:moveTo>
                    <a:pt x="3" y="0"/>
                  </a:moveTo>
                  <a:cubicBezTo>
                    <a:pt x="3" y="0"/>
                    <a:pt x="2" y="0"/>
                    <a:pt x="2" y="0"/>
                  </a:cubicBezTo>
                  <a:cubicBezTo>
                    <a:pt x="1" y="1"/>
                    <a:pt x="1" y="2"/>
                    <a:pt x="0" y="3"/>
                  </a:cubicBezTo>
                  <a:cubicBezTo>
                    <a:pt x="0" y="4"/>
                    <a:pt x="0" y="6"/>
                    <a:pt x="1" y="7"/>
                  </a:cubicBezTo>
                  <a:cubicBezTo>
                    <a:pt x="1" y="7"/>
                    <a:pt x="2" y="7"/>
                    <a:pt x="2" y="7"/>
                  </a:cubicBezTo>
                  <a:cubicBezTo>
                    <a:pt x="3" y="7"/>
                    <a:pt x="4" y="7"/>
                    <a:pt x="5" y="6"/>
                  </a:cubicBezTo>
                  <a:cubicBezTo>
                    <a:pt x="5" y="5"/>
                    <a:pt x="6" y="4"/>
                    <a:pt x="6" y="2"/>
                  </a:cubicBezTo>
                  <a:cubicBezTo>
                    <a:pt x="6" y="2"/>
                    <a:pt x="6" y="1"/>
                    <a:pt x="5" y="1"/>
                  </a:cubicBezTo>
                  <a:cubicBezTo>
                    <a:pt x="5"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06" name="ïṡļíḑé"/>
            <p:cNvSpPr/>
            <p:nvPr/>
          </p:nvSpPr>
          <p:spPr bwMode="auto">
            <a:xfrm>
              <a:off x="4158" y="1903"/>
              <a:ext cx="12" cy="17"/>
            </a:xfrm>
            <a:custGeom>
              <a:avLst/>
              <a:gdLst>
                <a:gd name="T0" fmla="*/ 2 w 5"/>
                <a:gd name="T1" fmla="*/ 6 h 7"/>
                <a:gd name="T2" fmla="*/ 1 w 5"/>
                <a:gd name="T3" fmla="*/ 6 h 7"/>
                <a:gd name="T4" fmla="*/ 1 w 5"/>
                <a:gd name="T5" fmla="*/ 5 h 7"/>
                <a:gd name="T6" fmla="*/ 1 w 5"/>
                <a:gd name="T7" fmla="*/ 5 h 7"/>
                <a:gd name="T8" fmla="*/ 2 w 5"/>
                <a:gd name="T9" fmla="*/ 3 h 7"/>
                <a:gd name="T10" fmla="*/ 3 w 5"/>
                <a:gd name="T11" fmla="*/ 3 h 7"/>
                <a:gd name="T12" fmla="*/ 4 w 5"/>
                <a:gd name="T13" fmla="*/ 3 h 7"/>
                <a:gd name="T14" fmla="*/ 4 w 5"/>
                <a:gd name="T15" fmla="*/ 4 h 7"/>
                <a:gd name="T16" fmla="*/ 4 w 5"/>
                <a:gd name="T17" fmla="*/ 4 h 7"/>
                <a:gd name="T18" fmla="*/ 4 w 5"/>
                <a:gd name="T19" fmla="*/ 5 h 7"/>
                <a:gd name="T20" fmla="*/ 2 w 5"/>
                <a:gd name="T21" fmla="*/ 6 h 7"/>
                <a:gd name="T22" fmla="*/ 4 w 5"/>
                <a:gd name="T23" fmla="*/ 2 h 7"/>
                <a:gd name="T24" fmla="*/ 4 w 5"/>
                <a:gd name="T25" fmla="*/ 2 h 7"/>
                <a:gd name="T26" fmla="*/ 4 w 5"/>
                <a:gd name="T27" fmla="*/ 2 h 7"/>
                <a:gd name="T28" fmla="*/ 4 w 5"/>
                <a:gd name="T29" fmla="*/ 2 h 7"/>
                <a:gd name="T30" fmla="*/ 4 w 5"/>
                <a:gd name="T31" fmla="*/ 2 h 7"/>
                <a:gd name="T32" fmla="*/ 1 w 5"/>
                <a:gd name="T33" fmla="*/ 3 h 7"/>
                <a:gd name="T34" fmla="*/ 1 w 5"/>
                <a:gd name="T35" fmla="*/ 3 h 7"/>
                <a:gd name="T36" fmla="*/ 2 w 5"/>
                <a:gd name="T37" fmla="*/ 2 h 7"/>
                <a:gd name="T38" fmla="*/ 1 w 5"/>
                <a:gd name="T39" fmla="*/ 3 h 7"/>
                <a:gd name="T40" fmla="*/ 1 w 5"/>
                <a:gd name="T41" fmla="*/ 3 h 7"/>
                <a:gd name="T42" fmla="*/ 2 w 5"/>
                <a:gd name="T43" fmla="*/ 2 h 7"/>
                <a:gd name="T44" fmla="*/ 3 w 5"/>
                <a:gd name="T45" fmla="*/ 1 h 7"/>
                <a:gd name="T46" fmla="*/ 3 w 5"/>
                <a:gd name="T47" fmla="*/ 1 h 7"/>
                <a:gd name="T48" fmla="*/ 2 w 5"/>
                <a:gd name="T49" fmla="*/ 2 h 7"/>
                <a:gd name="T50" fmla="*/ 2 w 5"/>
                <a:gd name="T51" fmla="*/ 2 h 7"/>
                <a:gd name="T52" fmla="*/ 4 w 5"/>
                <a:gd name="T53" fmla="*/ 2 h 7"/>
                <a:gd name="T54" fmla="*/ 3 w 5"/>
                <a:gd name="T55" fmla="*/ 2 h 7"/>
                <a:gd name="T56" fmla="*/ 4 w 5"/>
                <a:gd name="T57" fmla="*/ 1 h 7"/>
                <a:gd name="T58" fmla="*/ 4 w 5"/>
                <a:gd name="T59" fmla="*/ 1 h 7"/>
                <a:gd name="T60" fmla="*/ 4 w 5"/>
                <a:gd name="T61" fmla="*/ 2 h 7"/>
                <a:gd name="T62" fmla="*/ 3 w 5"/>
                <a:gd name="T63" fmla="*/ 0 h 7"/>
                <a:gd name="T64" fmla="*/ 2 w 5"/>
                <a:gd name="T65" fmla="*/ 0 h 7"/>
                <a:gd name="T66" fmla="*/ 0 w 5"/>
                <a:gd name="T67" fmla="*/ 3 h 7"/>
                <a:gd name="T68" fmla="*/ 1 w 5"/>
                <a:gd name="T69" fmla="*/ 7 h 7"/>
                <a:gd name="T70" fmla="*/ 2 w 5"/>
                <a:gd name="T71" fmla="*/ 7 h 7"/>
                <a:gd name="T72" fmla="*/ 5 w 5"/>
                <a:gd name="T73" fmla="*/ 6 h 7"/>
                <a:gd name="T74" fmla="*/ 5 w 5"/>
                <a:gd name="T75" fmla="*/ 2 h 7"/>
                <a:gd name="T76" fmla="*/ 5 w 5"/>
                <a:gd name="T77" fmla="*/ 1 h 7"/>
                <a:gd name="T78" fmla="*/ 3 w 5"/>
                <a:gd name="T7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 h="7">
                  <a:moveTo>
                    <a:pt x="2" y="6"/>
                  </a:moveTo>
                  <a:cubicBezTo>
                    <a:pt x="2" y="6"/>
                    <a:pt x="2" y="6"/>
                    <a:pt x="1" y="6"/>
                  </a:cubicBezTo>
                  <a:cubicBezTo>
                    <a:pt x="1" y="5"/>
                    <a:pt x="1" y="5"/>
                    <a:pt x="1" y="5"/>
                  </a:cubicBezTo>
                  <a:cubicBezTo>
                    <a:pt x="1" y="5"/>
                    <a:pt x="1" y="5"/>
                    <a:pt x="1" y="5"/>
                  </a:cubicBezTo>
                  <a:cubicBezTo>
                    <a:pt x="1" y="5"/>
                    <a:pt x="2" y="4"/>
                    <a:pt x="2" y="3"/>
                  </a:cubicBezTo>
                  <a:cubicBezTo>
                    <a:pt x="3" y="3"/>
                    <a:pt x="3" y="3"/>
                    <a:pt x="3" y="3"/>
                  </a:cubicBezTo>
                  <a:cubicBezTo>
                    <a:pt x="3" y="3"/>
                    <a:pt x="3" y="3"/>
                    <a:pt x="4" y="3"/>
                  </a:cubicBezTo>
                  <a:cubicBezTo>
                    <a:pt x="4" y="4"/>
                    <a:pt x="4" y="4"/>
                    <a:pt x="4" y="4"/>
                  </a:cubicBezTo>
                  <a:cubicBezTo>
                    <a:pt x="4" y="4"/>
                    <a:pt x="4" y="4"/>
                    <a:pt x="4" y="4"/>
                  </a:cubicBezTo>
                  <a:cubicBezTo>
                    <a:pt x="4" y="5"/>
                    <a:pt x="4" y="5"/>
                    <a:pt x="4" y="5"/>
                  </a:cubicBezTo>
                  <a:cubicBezTo>
                    <a:pt x="3" y="6"/>
                    <a:pt x="3" y="6"/>
                    <a:pt x="2" y="6"/>
                  </a:cubicBezTo>
                  <a:moveTo>
                    <a:pt x="4" y="2"/>
                  </a:moveTo>
                  <a:cubicBezTo>
                    <a:pt x="4" y="2"/>
                    <a:pt x="4" y="2"/>
                    <a:pt x="4" y="2"/>
                  </a:cubicBezTo>
                  <a:cubicBezTo>
                    <a:pt x="4" y="2"/>
                    <a:pt x="4" y="2"/>
                    <a:pt x="4" y="2"/>
                  </a:cubicBezTo>
                  <a:cubicBezTo>
                    <a:pt x="4" y="2"/>
                    <a:pt x="4" y="2"/>
                    <a:pt x="4" y="2"/>
                  </a:cubicBezTo>
                  <a:cubicBezTo>
                    <a:pt x="4" y="2"/>
                    <a:pt x="4" y="2"/>
                    <a:pt x="4" y="2"/>
                  </a:cubicBezTo>
                  <a:moveTo>
                    <a:pt x="1" y="3"/>
                  </a:moveTo>
                  <a:cubicBezTo>
                    <a:pt x="1" y="3"/>
                    <a:pt x="1" y="3"/>
                    <a:pt x="1" y="3"/>
                  </a:cubicBezTo>
                  <a:cubicBezTo>
                    <a:pt x="1" y="3"/>
                    <a:pt x="1" y="2"/>
                    <a:pt x="2" y="2"/>
                  </a:cubicBezTo>
                  <a:cubicBezTo>
                    <a:pt x="1" y="3"/>
                    <a:pt x="1" y="3"/>
                    <a:pt x="1" y="3"/>
                  </a:cubicBezTo>
                  <a:cubicBezTo>
                    <a:pt x="1" y="3"/>
                    <a:pt x="1" y="3"/>
                    <a:pt x="1" y="3"/>
                  </a:cubicBezTo>
                  <a:moveTo>
                    <a:pt x="2" y="2"/>
                  </a:moveTo>
                  <a:cubicBezTo>
                    <a:pt x="2" y="2"/>
                    <a:pt x="2" y="1"/>
                    <a:pt x="3" y="1"/>
                  </a:cubicBezTo>
                  <a:cubicBezTo>
                    <a:pt x="3" y="1"/>
                    <a:pt x="3" y="1"/>
                    <a:pt x="3" y="1"/>
                  </a:cubicBezTo>
                  <a:cubicBezTo>
                    <a:pt x="2" y="2"/>
                    <a:pt x="2" y="2"/>
                    <a:pt x="2" y="2"/>
                  </a:cubicBezTo>
                  <a:cubicBezTo>
                    <a:pt x="2" y="2"/>
                    <a:pt x="2" y="2"/>
                    <a:pt x="2" y="2"/>
                  </a:cubicBezTo>
                  <a:moveTo>
                    <a:pt x="4" y="2"/>
                  </a:moveTo>
                  <a:cubicBezTo>
                    <a:pt x="3" y="2"/>
                    <a:pt x="3" y="2"/>
                    <a:pt x="3" y="2"/>
                  </a:cubicBezTo>
                  <a:cubicBezTo>
                    <a:pt x="3" y="2"/>
                    <a:pt x="4" y="1"/>
                    <a:pt x="4" y="1"/>
                  </a:cubicBezTo>
                  <a:cubicBezTo>
                    <a:pt x="4" y="1"/>
                    <a:pt x="4" y="1"/>
                    <a:pt x="4" y="1"/>
                  </a:cubicBezTo>
                  <a:cubicBezTo>
                    <a:pt x="4" y="2"/>
                    <a:pt x="4" y="2"/>
                    <a:pt x="4" y="2"/>
                  </a:cubicBezTo>
                  <a:moveTo>
                    <a:pt x="3" y="0"/>
                  </a:moveTo>
                  <a:cubicBezTo>
                    <a:pt x="3" y="0"/>
                    <a:pt x="2" y="0"/>
                    <a:pt x="2" y="0"/>
                  </a:cubicBezTo>
                  <a:cubicBezTo>
                    <a:pt x="1" y="1"/>
                    <a:pt x="0" y="2"/>
                    <a:pt x="0" y="3"/>
                  </a:cubicBezTo>
                  <a:cubicBezTo>
                    <a:pt x="0" y="4"/>
                    <a:pt x="0" y="6"/>
                    <a:pt x="1" y="7"/>
                  </a:cubicBezTo>
                  <a:cubicBezTo>
                    <a:pt x="1" y="7"/>
                    <a:pt x="2" y="7"/>
                    <a:pt x="2" y="7"/>
                  </a:cubicBezTo>
                  <a:cubicBezTo>
                    <a:pt x="3" y="7"/>
                    <a:pt x="4" y="7"/>
                    <a:pt x="5" y="6"/>
                  </a:cubicBezTo>
                  <a:cubicBezTo>
                    <a:pt x="5" y="5"/>
                    <a:pt x="5" y="4"/>
                    <a:pt x="5" y="2"/>
                  </a:cubicBezTo>
                  <a:cubicBezTo>
                    <a:pt x="5" y="2"/>
                    <a:pt x="5" y="1"/>
                    <a:pt x="5" y="1"/>
                  </a:cubicBezTo>
                  <a:cubicBezTo>
                    <a:pt x="5"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07" name="ïşḻîḓé"/>
            <p:cNvSpPr/>
            <p:nvPr/>
          </p:nvSpPr>
          <p:spPr bwMode="auto">
            <a:xfrm>
              <a:off x="4148" y="1894"/>
              <a:ext cx="31" cy="40"/>
            </a:xfrm>
            <a:custGeom>
              <a:avLst/>
              <a:gdLst>
                <a:gd name="T0" fmla="*/ 5 w 13"/>
                <a:gd name="T1" fmla="*/ 16 h 17"/>
                <a:gd name="T2" fmla="*/ 6 w 13"/>
                <a:gd name="T3" fmla="*/ 15 h 17"/>
                <a:gd name="T4" fmla="*/ 6 w 13"/>
                <a:gd name="T5" fmla="*/ 16 h 17"/>
                <a:gd name="T6" fmla="*/ 4 w 13"/>
                <a:gd name="T7" fmla="*/ 16 h 17"/>
                <a:gd name="T8" fmla="*/ 4 w 13"/>
                <a:gd name="T9" fmla="*/ 15 h 17"/>
                <a:gd name="T10" fmla="*/ 4 w 13"/>
                <a:gd name="T11" fmla="*/ 14 h 17"/>
                <a:gd name="T12" fmla="*/ 4 w 13"/>
                <a:gd name="T13" fmla="*/ 16 h 17"/>
                <a:gd name="T14" fmla="*/ 7 w 13"/>
                <a:gd name="T15" fmla="*/ 15 h 17"/>
                <a:gd name="T16" fmla="*/ 8 w 13"/>
                <a:gd name="T17" fmla="*/ 14 h 17"/>
                <a:gd name="T18" fmla="*/ 8 w 13"/>
                <a:gd name="T19" fmla="*/ 16 h 17"/>
                <a:gd name="T20" fmla="*/ 8 w 13"/>
                <a:gd name="T21" fmla="*/ 16 h 17"/>
                <a:gd name="T22" fmla="*/ 3 w 13"/>
                <a:gd name="T23" fmla="*/ 15 h 17"/>
                <a:gd name="T24" fmla="*/ 3 w 13"/>
                <a:gd name="T25" fmla="*/ 13 h 17"/>
                <a:gd name="T26" fmla="*/ 3 w 13"/>
                <a:gd name="T27" fmla="*/ 15 h 17"/>
                <a:gd name="T28" fmla="*/ 9 w 13"/>
                <a:gd name="T29" fmla="*/ 14 h 17"/>
                <a:gd name="T30" fmla="*/ 9 w 13"/>
                <a:gd name="T31" fmla="*/ 14 h 17"/>
                <a:gd name="T32" fmla="*/ 9 w 13"/>
                <a:gd name="T33" fmla="*/ 15 h 17"/>
                <a:gd name="T34" fmla="*/ 2 w 13"/>
                <a:gd name="T35" fmla="*/ 14 h 17"/>
                <a:gd name="T36" fmla="*/ 2 w 13"/>
                <a:gd name="T37" fmla="*/ 13 h 17"/>
                <a:gd name="T38" fmla="*/ 10 w 13"/>
                <a:gd name="T39" fmla="*/ 13 h 17"/>
                <a:gd name="T40" fmla="*/ 11 w 13"/>
                <a:gd name="T41" fmla="*/ 12 h 17"/>
                <a:gd name="T42" fmla="*/ 11 w 13"/>
                <a:gd name="T43" fmla="*/ 12 h 17"/>
                <a:gd name="T44" fmla="*/ 1 w 13"/>
                <a:gd name="T45" fmla="*/ 12 h 17"/>
                <a:gd name="T46" fmla="*/ 1 w 13"/>
                <a:gd name="T47" fmla="*/ 12 h 17"/>
                <a:gd name="T48" fmla="*/ 6 w 13"/>
                <a:gd name="T49" fmla="*/ 14 h 17"/>
                <a:gd name="T50" fmla="*/ 2 w 13"/>
                <a:gd name="T51" fmla="*/ 6 h 17"/>
                <a:gd name="T52" fmla="*/ 7 w 13"/>
                <a:gd name="T53" fmla="*/ 1 h 17"/>
                <a:gd name="T54" fmla="*/ 11 w 13"/>
                <a:gd name="T55" fmla="*/ 3 h 17"/>
                <a:gd name="T56" fmla="*/ 8 w 13"/>
                <a:gd name="T57" fmla="*/ 13 h 17"/>
                <a:gd name="T58" fmla="*/ 7 w 13"/>
                <a:gd name="T59" fmla="*/ 0 h 17"/>
                <a:gd name="T60" fmla="*/ 1 w 13"/>
                <a:gd name="T61" fmla="*/ 6 h 17"/>
                <a:gd name="T62" fmla="*/ 1 w 13"/>
                <a:gd name="T63" fmla="*/ 9 h 17"/>
                <a:gd name="T64" fmla="*/ 1 w 13"/>
                <a:gd name="T65" fmla="*/ 14 h 17"/>
                <a:gd name="T66" fmla="*/ 6 w 13"/>
                <a:gd name="T67" fmla="*/ 17 h 17"/>
                <a:gd name="T68" fmla="*/ 6 w 13"/>
                <a:gd name="T69" fmla="*/ 17 h 17"/>
                <a:gd name="T70" fmla="*/ 6 w 13"/>
                <a:gd name="T71" fmla="*/ 17 h 17"/>
                <a:gd name="T72" fmla="*/ 12 w 13"/>
                <a:gd name="T73" fmla="*/ 13 h 17"/>
                <a:gd name="T74" fmla="*/ 12 w 13"/>
                <a:gd name="T75" fmla="*/ 7 h 17"/>
                <a:gd name="T76" fmla="*/ 10 w 13"/>
                <a:gd name="T7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 h="17">
                  <a:moveTo>
                    <a:pt x="6" y="16"/>
                  </a:moveTo>
                  <a:cubicBezTo>
                    <a:pt x="5" y="16"/>
                    <a:pt x="5" y="16"/>
                    <a:pt x="5" y="16"/>
                  </a:cubicBezTo>
                  <a:cubicBezTo>
                    <a:pt x="5" y="15"/>
                    <a:pt x="5" y="15"/>
                    <a:pt x="5" y="15"/>
                  </a:cubicBezTo>
                  <a:cubicBezTo>
                    <a:pt x="6" y="15"/>
                    <a:pt x="6" y="15"/>
                    <a:pt x="6" y="15"/>
                  </a:cubicBezTo>
                  <a:cubicBezTo>
                    <a:pt x="6" y="15"/>
                    <a:pt x="6" y="15"/>
                    <a:pt x="6" y="15"/>
                  </a:cubicBezTo>
                  <a:cubicBezTo>
                    <a:pt x="6" y="16"/>
                    <a:pt x="6" y="16"/>
                    <a:pt x="6" y="16"/>
                  </a:cubicBezTo>
                  <a:cubicBezTo>
                    <a:pt x="6" y="16"/>
                    <a:pt x="6" y="16"/>
                    <a:pt x="6" y="16"/>
                  </a:cubicBezTo>
                  <a:moveTo>
                    <a:pt x="4" y="16"/>
                  </a:moveTo>
                  <a:cubicBezTo>
                    <a:pt x="4" y="16"/>
                    <a:pt x="4" y="16"/>
                    <a:pt x="4" y="16"/>
                  </a:cubicBezTo>
                  <a:cubicBezTo>
                    <a:pt x="4" y="15"/>
                    <a:pt x="4" y="15"/>
                    <a:pt x="4" y="15"/>
                  </a:cubicBezTo>
                  <a:cubicBezTo>
                    <a:pt x="4" y="15"/>
                    <a:pt x="4" y="15"/>
                    <a:pt x="4" y="15"/>
                  </a:cubicBezTo>
                  <a:cubicBezTo>
                    <a:pt x="4" y="14"/>
                    <a:pt x="4" y="14"/>
                    <a:pt x="4" y="14"/>
                  </a:cubicBezTo>
                  <a:cubicBezTo>
                    <a:pt x="5" y="14"/>
                    <a:pt x="5" y="14"/>
                    <a:pt x="5" y="14"/>
                  </a:cubicBezTo>
                  <a:cubicBezTo>
                    <a:pt x="4" y="15"/>
                    <a:pt x="4" y="15"/>
                    <a:pt x="4" y="16"/>
                  </a:cubicBezTo>
                  <a:moveTo>
                    <a:pt x="7" y="16"/>
                  </a:moveTo>
                  <a:cubicBezTo>
                    <a:pt x="7" y="15"/>
                    <a:pt x="7" y="15"/>
                    <a:pt x="7" y="15"/>
                  </a:cubicBezTo>
                  <a:cubicBezTo>
                    <a:pt x="7" y="14"/>
                    <a:pt x="7" y="14"/>
                    <a:pt x="7" y="14"/>
                  </a:cubicBezTo>
                  <a:cubicBezTo>
                    <a:pt x="8" y="14"/>
                    <a:pt x="8" y="14"/>
                    <a:pt x="8" y="14"/>
                  </a:cubicBezTo>
                  <a:cubicBezTo>
                    <a:pt x="8" y="14"/>
                    <a:pt x="8" y="14"/>
                    <a:pt x="8" y="14"/>
                  </a:cubicBezTo>
                  <a:cubicBezTo>
                    <a:pt x="8" y="16"/>
                    <a:pt x="8" y="16"/>
                    <a:pt x="8" y="16"/>
                  </a:cubicBezTo>
                  <a:cubicBezTo>
                    <a:pt x="8" y="16"/>
                    <a:pt x="8" y="16"/>
                    <a:pt x="8" y="16"/>
                  </a:cubicBezTo>
                  <a:cubicBezTo>
                    <a:pt x="8" y="16"/>
                    <a:pt x="8" y="16"/>
                    <a:pt x="8" y="16"/>
                  </a:cubicBezTo>
                  <a:cubicBezTo>
                    <a:pt x="7" y="16"/>
                    <a:pt x="7" y="16"/>
                    <a:pt x="7" y="16"/>
                  </a:cubicBezTo>
                  <a:moveTo>
                    <a:pt x="3" y="15"/>
                  </a:moveTo>
                  <a:cubicBezTo>
                    <a:pt x="3" y="15"/>
                    <a:pt x="3" y="15"/>
                    <a:pt x="3" y="15"/>
                  </a:cubicBezTo>
                  <a:cubicBezTo>
                    <a:pt x="3" y="13"/>
                    <a:pt x="3" y="13"/>
                    <a:pt x="3" y="13"/>
                  </a:cubicBezTo>
                  <a:cubicBezTo>
                    <a:pt x="3" y="14"/>
                    <a:pt x="3" y="14"/>
                    <a:pt x="3" y="14"/>
                  </a:cubicBezTo>
                  <a:cubicBezTo>
                    <a:pt x="3" y="15"/>
                    <a:pt x="3" y="15"/>
                    <a:pt x="3" y="15"/>
                  </a:cubicBezTo>
                  <a:moveTo>
                    <a:pt x="9" y="15"/>
                  </a:moveTo>
                  <a:cubicBezTo>
                    <a:pt x="9" y="14"/>
                    <a:pt x="9" y="14"/>
                    <a:pt x="9" y="14"/>
                  </a:cubicBezTo>
                  <a:cubicBezTo>
                    <a:pt x="10" y="13"/>
                    <a:pt x="10" y="13"/>
                    <a:pt x="10" y="13"/>
                  </a:cubicBezTo>
                  <a:cubicBezTo>
                    <a:pt x="9" y="14"/>
                    <a:pt x="9" y="14"/>
                    <a:pt x="9" y="14"/>
                  </a:cubicBezTo>
                  <a:cubicBezTo>
                    <a:pt x="9" y="15"/>
                    <a:pt x="9" y="15"/>
                    <a:pt x="9" y="15"/>
                  </a:cubicBezTo>
                  <a:cubicBezTo>
                    <a:pt x="9" y="15"/>
                    <a:pt x="9" y="15"/>
                    <a:pt x="9" y="15"/>
                  </a:cubicBezTo>
                  <a:moveTo>
                    <a:pt x="2" y="14"/>
                  </a:moveTo>
                  <a:cubicBezTo>
                    <a:pt x="2" y="14"/>
                    <a:pt x="2" y="14"/>
                    <a:pt x="2" y="14"/>
                  </a:cubicBezTo>
                  <a:cubicBezTo>
                    <a:pt x="2" y="13"/>
                    <a:pt x="2" y="13"/>
                    <a:pt x="2" y="13"/>
                  </a:cubicBezTo>
                  <a:cubicBezTo>
                    <a:pt x="2" y="13"/>
                    <a:pt x="2" y="13"/>
                    <a:pt x="2" y="13"/>
                  </a:cubicBezTo>
                  <a:cubicBezTo>
                    <a:pt x="2" y="14"/>
                    <a:pt x="2" y="14"/>
                    <a:pt x="2" y="14"/>
                  </a:cubicBezTo>
                  <a:moveTo>
                    <a:pt x="10" y="13"/>
                  </a:moveTo>
                  <a:cubicBezTo>
                    <a:pt x="11" y="12"/>
                    <a:pt x="11" y="12"/>
                    <a:pt x="11" y="12"/>
                  </a:cubicBezTo>
                  <a:cubicBezTo>
                    <a:pt x="11" y="12"/>
                    <a:pt x="11" y="12"/>
                    <a:pt x="11" y="12"/>
                  </a:cubicBezTo>
                  <a:cubicBezTo>
                    <a:pt x="11" y="12"/>
                    <a:pt x="11" y="12"/>
                    <a:pt x="11" y="12"/>
                  </a:cubicBezTo>
                  <a:cubicBezTo>
                    <a:pt x="11" y="12"/>
                    <a:pt x="11" y="12"/>
                    <a:pt x="11" y="12"/>
                  </a:cubicBezTo>
                  <a:cubicBezTo>
                    <a:pt x="10" y="13"/>
                    <a:pt x="10" y="13"/>
                    <a:pt x="10" y="13"/>
                  </a:cubicBezTo>
                  <a:moveTo>
                    <a:pt x="1" y="12"/>
                  </a:moveTo>
                  <a:cubicBezTo>
                    <a:pt x="1" y="12"/>
                    <a:pt x="1" y="12"/>
                    <a:pt x="1" y="12"/>
                  </a:cubicBezTo>
                  <a:cubicBezTo>
                    <a:pt x="1" y="12"/>
                    <a:pt x="1" y="12"/>
                    <a:pt x="1" y="12"/>
                  </a:cubicBezTo>
                  <a:cubicBezTo>
                    <a:pt x="1" y="12"/>
                    <a:pt x="1" y="12"/>
                    <a:pt x="1" y="12"/>
                  </a:cubicBezTo>
                  <a:moveTo>
                    <a:pt x="6" y="14"/>
                  </a:moveTo>
                  <a:cubicBezTo>
                    <a:pt x="5" y="14"/>
                    <a:pt x="4" y="13"/>
                    <a:pt x="3" y="12"/>
                  </a:cubicBezTo>
                  <a:cubicBezTo>
                    <a:pt x="1" y="11"/>
                    <a:pt x="2" y="8"/>
                    <a:pt x="2" y="6"/>
                  </a:cubicBezTo>
                  <a:cubicBezTo>
                    <a:pt x="3" y="5"/>
                    <a:pt x="4" y="3"/>
                    <a:pt x="5" y="2"/>
                  </a:cubicBezTo>
                  <a:cubicBezTo>
                    <a:pt x="6" y="2"/>
                    <a:pt x="7" y="1"/>
                    <a:pt x="7" y="1"/>
                  </a:cubicBezTo>
                  <a:cubicBezTo>
                    <a:pt x="8" y="1"/>
                    <a:pt x="9" y="2"/>
                    <a:pt x="10" y="2"/>
                  </a:cubicBezTo>
                  <a:cubicBezTo>
                    <a:pt x="10" y="3"/>
                    <a:pt x="10" y="3"/>
                    <a:pt x="11" y="3"/>
                  </a:cubicBezTo>
                  <a:cubicBezTo>
                    <a:pt x="12" y="5"/>
                    <a:pt x="12" y="8"/>
                    <a:pt x="11" y="10"/>
                  </a:cubicBezTo>
                  <a:cubicBezTo>
                    <a:pt x="10" y="12"/>
                    <a:pt x="9" y="13"/>
                    <a:pt x="8" y="13"/>
                  </a:cubicBezTo>
                  <a:cubicBezTo>
                    <a:pt x="7" y="14"/>
                    <a:pt x="7" y="14"/>
                    <a:pt x="6" y="14"/>
                  </a:cubicBezTo>
                  <a:moveTo>
                    <a:pt x="7" y="0"/>
                  </a:moveTo>
                  <a:cubicBezTo>
                    <a:pt x="6" y="0"/>
                    <a:pt x="6" y="1"/>
                    <a:pt x="5" y="1"/>
                  </a:cubicBezTo>
                  <a:cubicBezTo>
                    <a:pt x="3" y="2"/>
                    <a:pt x="2" y="4"/>
                    <a:pt x="1" y="6"/>
                  </a:cubicBezTo>
                  <a:cubicBezTo>
                    <a:pt x="1" y="6"/>
                    <a:pt x="1" y="7"/>
                    <a:pt x="1" y="8"/>
                  </a:cubicBezTo>
                  <a:cubicBezTo>
                    <a:pt x="1" y="9"/>
                    <a:pt x="1" y="9"/>
                    <a:pt x="1" y="9"/>
                  </a:cubicBezTo>
                  <a:cubicBezTo>
                    <a:pt x="0" y="10"/>
                    <a:pt x="0" y="12"/>
                    <a:pt x="1" y="14"/>
                  </a:cubicBezTo>
                  <a:cubicBezTo>
                    <a:pt x="1" y="14"/>
                    <a:pt x="1" y="14"/>
                    <a:pt x="1" y="14"/>
                  </a:cubicBezTo>
                  <a:cubicBezTo>
                    <a:pt x="1" y="15"/>
                    <a:pt x="1" y="15"/>
                    <a:pt x="1" y="15"/>
                  </a:cubicBezTo>
                  <a:cubicBezTo>
                    <a:pt x="3" y="17"/>
                    <a:pt x="4" y="17"/>
                    <a:pt x="6" y="17"/>
                  </a:cubicBezTo>
                  <a:cubicBezTo>
                    <a:pt x="6" y="17"/>
                    <a:pt x="6" y="17"/>
                    <a:pt x="6" y="17"/>
                  </a:cubicBezTo>
                  <a:cubicBezTo>
                    <a:pt x="6" y="17"/>
                    <a:pt x="6" y="17"/>
                    <a:pt x="6" y="17"/>
                  </a:cubicBezTo>
                  <a:cubicBezTo>
                    <a:pt x="6" y="17"/>
                    <a:pt x="6" y="17"/>
                    <a:pt x="6" y="17"/>
                  </a:cubicBezTo>
                  <a:cubicBezTo>
                    <a:pt x="6" y="17"/>
                    <a:pt x="6" y="17"/>
                    <a:pt x="6" y="17"/>
                  </a:cubicBezTo>
                  <a:cubicBezTo>
                    <a:pt x="7" y="17"/>
                    <a:pt x="7" y="17"/>
                    <a:pt x="8" y="17"/>
                  </a:cubicBezTo>
                  <a:cubicBezTo>
                    <a:pt x="10" y="16"/>
                    <a:pt x="11" y="15"/>
                    <a:pt x="12" y="13"/>
                  </a:cubicBezTo>
                  <a:cubicBezTo>
                    <a:pt x="12" y="11"/>
                    <a:pt x="13" y="10"/>
                    <a:pt x="13" y="7"/>
                  </a:cubicBezTo>
                  <a:cubicBezTo>
                    <a:pt x="12" y="7"/>
                    <a:pt x="12" y="7"/>
                    <a:pt x="12" y="7"/>
                  </a:cubicBezTo>
                  <a:cubicBezTo>
                    <a:pt x="12" y="5"/>
                    <a:pt x="12" y="4"/>
                    <a:pt x="11" y="3"/>
                  </a:cubicBezTo>
                  <a:cubicBezTo>
                    <a:pt x="11" y="2"/>
                    <a:pt x="11" y="2"/>
                    <a:pt x="10" y="2"/>
                  </a:cubicBezTo>
                  <a:cubicBezTo>
                    <a:pt x="10" y="1"/>
                    <a:pt x="9" y="0"/>
                    <a:pt x="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08" name="îṣlïdê"/>
            <p:cNvSpPr/>
            <p:nvPr/>
          </p:nvSpPr>
          <p:spPr bwMode="auto">
            <a:xfrm>
              <a:off x="4236" y="2334"/>
              <a:ext cx="91" cy="133"/>
            </a:xfrm>
            <a:custGeom>
              <a:avLst/>
              <a:gdLst>
                <a:gd name="T0" fmla="*/ 4 w 38"/>
                <a:gd name="T1" fmla="*/ 48 h 56"/>
                <a:gd name="T2" fmla="*/ 8 w 38"/>
                <a:gd name="T3" fmla="*/ 49 h 56"/>
                <a:gd name="T4" fmla="*/ 9 w 38"/>
                <a:gd name="T5" fmla="*/ 49 h 56"/>
                <a:gd name="T6" fmla="*/ 7 w 38"/>
                <a:gd name="T7" fmla="*/ 55 h 56"/>
                <a:gd name="T8" fmla="*/ 13 w 38"/>
                <a:gd name="T9" fmla="*/ 48 h 56"/>
                <a:gd name="T10" fmla="*/ 8 w 38"/>
                <a:gd name="T11" fmla="*/ 55 h 56"/>
                <a:gd name="T12" fmla="*/ 18 w 38"/>
                <a:gd name="T13" fmla="*/ 47 h 56"/>
                <a:gd name="T14" fmla="*/ 15 w 38"/>
                <a:gd name="T15" fmla="*/ 53 h 56"/>
                <a:gd name="T16" fmla="*/ 18 w 38"/>
                <a:gd name="T17" fmla="*/ 52 h 56"/>
                <a:gd name="T18" fmla="*/ 22 w 38"/>
                <a:gd name="T19" fmla="*/ 46 h 56"/>
                <a:gd name="T20" fmla="*/ 21 w 38"/>
                <a:gd name="T21" fmla="*/ 51 h 56"/>
                <a:gd name="T22" fmla="*/ 28 w 38"/>
                <a:gd name="T23" fmla="*/ 44 h 56"/>
                <a:gd name="T24" fmla="*/ 26 w 38"/>
                <a:gd name="T25" fmla="*/ 44 h 56"/>
                <a:gd name="T26" fmla="*/ 24 w 38"/>
                <a:gd name="T27" fmla="*/ 49 h 56"/>
                <a:gd name="T28" fmla="*/ 4 w 38"/>
                <a:gd name="T29" fmla="*/ 43 h 56"/>
                <a:gd name="T30" fmla="*/ 3 w 38"/>
                <a:gd name="T31" fmla="*/ 47 h 56"/>
                <a:gd name="T32" fmla="*/ 6 w 38"/>
                <a:gd name="T33" fmla="*/ 39 h 56"/>
                <a:gd name="T34" fmla="*/ 5 w 38"/>
                <a:gd name="T35" fmla="*/ 39 h 56"/>
                <a:gd name="T36" fmla="*/ 6 w 38"/>
                <a:gd name="T37" fmla="*/ 38 h 56"/>
                <a:gd name="T38" fmla="*/ 7 w 38"/>
                <a:gd name="T39" fmla="*/ 35 h 56"/>
                <a:gd name="T40" fmla="*/ 17 w 38"/>
                <a:gd name="T41" fmla="*/ 31 h 56"/>
                <a:gd name="T42" fmla="*/ 15 w 38"/>
                <a:gd name="T43" fmla="*/ 32 h 56"/>
                <a:gd name="T44" fmla="*/ 19 w 38"/>
                <a:gd name="T45" fmla="*/ 27 h 56"/>
                <a:gd name="T46" fmla="*/ 19 w 38"/>
                <a:gd name="T47" fmla="*/ 24 h 56"/>
                <a:gd name="T48" fmla="*/ 19 w 38"/>
                <a:gd name="T49" fmla="*/ 26 h 56"/>
                <a:gd name="T50" fmla="*/ 21 w 38"/>
                <a:gd name="T51" fmla="*/ 20 h 56"/>
                <a:gd name="T52" fmla="*/ 19 w 38"/>
                <a:gd name="T53" fmla="*/ 20 h 56"/>
                <a:gd name="T54" fmla="*/ 21 w 38"/>
                <a:gd name="T55" fmla="*/ 19 h 56"/>
                <a:gd name="T56" fmla="*/ 20 w 38"/>
                <a:gd name="T57" fmla="*/ 15 h 56"/>
                <a:gd name="T58" fmla="*/ 20 w 38"/>
                <a:gd name="T59" fmla="*/ 14 h 56"/>
                <a:gd name="T60" fmla="*/ 20 w 38"/>
                <a:gd name="T61" fmla="*/ 14 h 56"/>
                <a:gd name="T62" fmla="*/ 21 w 38"/>
                <a:gd name="T63" fmla="*/ 10 h 56"/>
                <a:gd name="T64" fmla="*/ 20 w 38"/>
                <a:gd name="T65" fmla="*/ 7 h 56"/>
                <a:gd name="T66" fmla="*/ 18 w 38"/>
                <a:gd name="T67" fmla="*/ 6 h 56"/>
                <a:gd name="T68" fmla="*/ 19 w 38"/>
                <a:gd name="T69" fmla="*/ 7 h 56"/>
                <a:gd name="T70" fmla="*/ 18 w 38"/>
                <a:gd name="T71" fmla="*/ 2 h 56"/>
                <a:gd name="T72" fmla="*/ 24 w 38"/>
                <a:gd name="T73" fmla="*/ 1 h 56"/>
                <a:gd name="T74" fmla="*/ 25 w 38"/>
                <a:gd name="T75" fmla="*/ 40 h 56"/>
                <a:gd name="T76" fmla="*/ 6 w 38"/>
                <a:gd name="T77" fmla="*/ 44 h 56"/>
                <a:gd name="T78" fmla="*/ 13 w 38"/>
                <a:gd name="T79" fmla="*/ 34 h 56"/>
                <a:gd name="T80" fmla="*/ 16 w 38"/>
                <a:gd name="T81" fmla="*/ 35 h 56"/>
                <a:gd name="T82" fmla="*/ 24 w 38"/>
                <a:gd name="T83" fmla="*/ 0 h 56"/>
                <a:gd name="T84" fmla="*/ 18 w 38"/>
                <a:gd name="T85" fmla="*/ 0 h 56"/>
                <a:gd name="T86" fmla="*/ 17 w 38"/>
                <a:gd name="T87" fmla="*/ 3 h 56"/>
                <a:gd name="T88" fmla="*/ 16 w 38"/>
                <a:gd name="T89" fmla="*/ 4 h 56"/>
                <a:gd name="T90" fmla="*/ 18 w 38"/>
                <a:gd name="T91" fmla="*/ 8 h 56"/>
                <a:gd name="T92" fmla="*/ 7 w 38"/>
                <a:gd name="T93" fmla="*/ 30 h 56"/>
                <a:gd name="T94" fmla="*/ 7 w 38"/>
                <a:gd name="T95" fmla="*/ 31 h 56"/>
                <a:gd name="T96" fmla="*/ 4 w 38"/>
                <a:gd name="T97" fmla="*/ 39 h 56"/>
                <a:gd name="T98" fmla="*/ 1 w 38"/>
                <a:gd name="T99" fmla="*/ 55 h 56"/>
                <a:gd name="T100" fmla="*/ 0 w 38"/>
                <a:gd name="T101" fmla="*/ 56 h 56"/>
                <a:gd name="T102" fmla="*/ 2 w 38"/>
                <a:gd name="T103" fmla="*/ 56 h 56"/>
                <a:gd name="T104" fmla="*/ 7 w 38"/>
                <a:gd name="T105" fmla="*/ 56 h 56"/>
                <a:gd name="T106" fmla="*/ 11 w 38"/>
                <a:gd name="T107" fmla="*/ 55 h 56"/>
                <a:gd name="T108" fmla="*/ 31 w 38"/>
                <a:gd name="T109" fmla="*/ 41 h 56"/>
                <a:gd name="T110" fmla="*/ 25 w 38"/>
                <a:gd name="T11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 h="56">
                  <a:moveTo>
                    <a:pt x="2" y="55"/>
                  </a:moveTo>
                  <a:cubicBezTo>
                    <a:pt x="2" y="55"/>
                    <a:pt x="2" y="55"/>
                    <a:pt x="2" y="55"/>
                  </a:cubicBezTo>
                  <a:cubicBezTo>
                    <a:pt x="2" y="54"/>
                    <a:pt x="2" y="53"/>
                    <a:pt x="3" y="52"/>
                  </a:cubicBezTo>
                  <a:cubicBezTo>
                    <a:pt x="3" y="50"/>
                    <a:pt x="4" y="49"/>
                    <a:pt x="4" y="48"/>
                  </a:cubicBezTo>
                  <a:cubicBezTo>
                    <a:pt x="4" y="48"/>
                    <a:pt x="4" y="48"/>
                    <a:pt x="4" y="48"/>
                  </a:cubicBezTo>
                  <a:cubicBezTo>
                    <a:pt x="5" y="48"/>
                    <a:pt x="6" y="48"/>
                    <a:pt x="7" y="48"/>
                  </a:cubicBezTo>
                  <a:cubicBezTo>
                    <a:pt x="8" y="48"/>
                    <a:pt x="8" y="48"/>
                    <a:pt x="8" y="48"/>
                  </a:cubicBezTo>
                  <a:cubicBezTo>
                    <a:pt x="8" y="49"/>
                    <a:pt x="8" y="49"/>
                    <a:pt x="8" y="49"/>
                  </a:cubicBezTo>
                  <a:cubicBezTo>
                    <a:pt x="6" y="51"/>
                    <a:pt x="4" y="54"/>
                    <a:pt x="3" y="55"/>
                  </a:cubicBezTo>
                  <a:cubicBezTo>
                    <a:pt x="3" y="55"/>
                    <a:pt x="2" y="55"/>
                    <a:pt x="2" y="55"/>
                  </a:cubicBezTo>
                  <a:moveTo>
                    <a:pt x="4" y="55"/>
                  </a:moveTo>
                  <a:cubicBezTo>
                    <a:pt x="5" y="54"/>
                    <a:pt x="6" y="52"/>
                    <a:pt x="9" y="49"/>
                  </a:cubicBezTo>
                  <a:cubicBezTo>
                    <a:pt x="9" y="48"/>
                    <a:pt x="9" y="48"/>
                    <a:pt x="9" y="48"/>
                  </a:cubicBezTo>
                  <a:cubicBezTo>
                    <a:pt x="9" y="48"/>
                    <a:pt x="9" y="48"/>
                    <a:pt x="9" y="48"/>
                  </a:cubicBezTo>
                  <a:cubicBezTo>
                    <a:pt x="10" y="48"/>
                    <a:pt x="11" y="48"/>
                    <a:pt x="12" y="48"/>
                  </a:cubicBezTo>
                  <a:cubicBezTo>
                    <a:pt x="7" y="55"/>
                    <a:pt x="7" y="55"/>
                    <a:pt x="7" y="55"/>
                  </a:cubicBezTo>
                  <a:cubicBezTo>
                    <a:pt x="6" y="55"/>
                    <a:pt x="6" y="55"/>
                    <a:pt x="6" y="55"/>
                  </a:cubicBezTo>
                  <a:cubicBezTo>
                    <a:pt x="5" y="55"/>
                    <a:pt x="5" y="55"/>
                    <a:pt x="4" y="55"/>
                  </a:cubicBezTo>
                  <a:moveTo>
                    <a:pt x="8" y="55"/>
                  </a:moveTo>
                  <a:cubicBezTo>
                    <a:pt x="13" y="48"/>
                    <a:pt x="13" y="48"/>
                    <a:pt x="13" y="48"/>
                  </a:cubicBezTo>
                  <a:cubicBezTo>
                    <a:pt x="14" y="48"/>
                    <a:pt x="14" y="48"/>
                    <a:pt x="15" y="48"/>
                  </a:cubicBezTo>
                  <a:cubicBezTo>
                    <a:pt x="11" y="54"/>
                    <a:pt x="11" y="54"/>
                    <a:pt x="11" y="54"/>
                  </a:cubicBezTo>
                  <a:cubicBezTo>
                    <a:pt x="10" y="54"/>
                    <a:pt x="10" y="54"/>
                    <a:pt x="10" y="54"/>
                  </a:cubicBezTo>
                  <a:cubicBezTo>
                    <a:pt x="10" y="54"/>
                    <a:pt x="9" y="54"/>
                    <a:pt x="8" y="55"/>
                  </a:cubicBezTo>
                  <a:moveTo>
                    <a:pt x="12" y="54"/>
                  </a:moveTo>
                  <a:cubicBezTo>
                    <a:pt x="15" y="48"/>
                    <a:pt x="15" y="48"/>
                    <a:pt x="15" y="48"/>
                  </a:cubicBezTo>
                  <a:cubicBezTo>
                    <a:pt x="15" y="48"/>
                    <a:pt x="15" y="48"/>
                    <a:pt x="15" y="48"/>
                  </a:cubicBezTo>
                  <a:cubicBezTo>
                    <a:pt x="16" y="47"/>
                    <a:pt x="17" y="47"/>
                    <a:pt x="18" y="47"/>
                  </a:cubicBezTo>
                  <a:cubicBezTo>
                    <a:pt x="14" y="52"/>
                    <a:pt x="14" y="52"/>
                    <a:pt x="14" y="52"/>
                  </a:cubicBezTo>
                  <a:cubicBezTo>
                    <a:pt x="14" y="53"/>
                    <a:pt x="14" y="53"/>
                    <a:pt x="14" y="53"/>
                  </a:cubicBezTo>
                  <a:cubicBezTo>
                    <a:pt x="14" y="53"/>
                    <a:pt x="13" y="53"/>
                    <a:pt x="12" y="54"/>
                  </a:cubicBezTo>
                  <a:moveTo>
                    <a:pt x="15" y="53"/>
                  </a:moveTo>
                  <a:cubicBezTo>
                    <a:pt x="19" y="47"/>
                    <a:pt x="19" y="47"/>
                    <a:pt x="19" y="47"/>
                  </a:cubicBezTo>
                  <a:cubicBezTo>
                    <a:pt x="19" y="47"/>
                    <a:pt x="19" y="47"/>
                    <a:pt x="19" y="47"/>
                  </a:cubicBezTo>
                  <a:cubicBezTo>
                    <a:pt x="20" y="47"/>
                    <a:pt x="20" y="46"/>
                    <a:pt x="21" y="46"/>
                  </a:cubicBezTo>
                  <a:cubicBezTo>
                    <a:pt x="18" y="52"/>
                    <a:pt x="18" y="52"/>
                    <a:pt x="18" y="52"/>
                  </a:cubicBezTo>
                  <a:cubicBezTo>
                    <a:pt x="18" y="52"/>
                    <a:pt x="18" y="52"/>
                    <a:pt x="18" y="52"/>
                  </a:cubicBezTo>
                  <a:cubicBezTo>
                    <a:pt x="17" y="52"/>
                    <a:pt x="16" y="52"/>
                    <a:pt x="15" y="53"/>
                  </a:cubicBezTo>
                  <a:moveTo>
                    <a:pt x="19" y="51"/>
                  </a:moveTo>
                  <a:cubicBezTo>
                    <a:pt x="22" y="46"/>
                    <a:pt x="22" y="46"/>
                    <a:pt x="22" y="46"/>
                  </a:cubicBezTo>
                  <a:cubicBezTo>
                    <a:pt x="22" y="46"/>
                    <a:pt x="22" y="46"/>
                    <a:pt x="22" y="46"/>
                  </a:cubicBezTo>
                  <a:cubicBezTo>
                    <a:pt x="23" y="45"/>
                    <a:pt x="24" y="45"/>
                    <a:pt x="24" y="45"/>
                  </a:cubicBezTo>
                  <a:cubicBezTo>
                    <a:pt x="23" y="47"/>
                    <a:pt x="22" y="49"/>
                    <a:pt x="21" y="51"/>
                  </a:cubicBezTo>
                  <a:cubicBezTo>
                    <a:pt x="21" y="51"/>
                    <a:pt x="21" y="51"/>
                    <a:pt x="21" y="51"/>
                  </a:cubicBezTo>
                  <a:cubicBezTo>
                    <a:pt x="20" y="51"/>
                    <a:pt x="20" y="51"/>
                    <a:pt x="19" y="51"/>
                  </a:cubicBezTo>
                  <a:moveTo>
                    <a:pt x="25" y="49"/>
                  </a:moveTo>
                  <a:cubicBezTo>
                    <a:pt x="28" y="44"/>
                    <a:pt x="28" y="44"/>
                    <a:pt x="28" y="44"/>
                  </a:cubicBezTo>
                  <a:cubicBezTo>
                    <a:pt x="28" y="44"/>
                    <a:pt x="28" y="44"/>
                    <a:pt x="28" y="44"/>
                  </a:cubicBezTo>
                  <a:cubicBezTo>
                    <a:pt x="28" y="45"/>
                    <a:pt x="27" y="47"/>
                    <a:pt x="27" y="48"/>
                  </a:cubicBezTo>
                  <a:cubicBezTo>
                    <a:pt x="26" y="48"/>
                    <a:pt x="25" y="49"/>
                    <a:pt x="25" y="49"/>
                  </a:cubicBezTo>
                  <a:moveTo>
                    <a:pt x="22" y="50"/>
                  </a:moveTo>
                  <a:cubicBezTo>
                    <a:pt x="23" y="48"/>
                    <a:pt x="25" y="46"/>
                    <a:pt x="26" y="44"/>
                  </a:cubicBezTo>
                  <a:cubicBezTo>
                    <a:pt x="27" y="44"/>
                    <a:pt x="27" y="43"/>
                    <a:pt x="28" y="43"/>
                  </a:cubicBezTo>
                  <a:cubicBezTo>
                    <a:pt x="27" y="43"/>
                    <a:pt x="27" y="43"/>
                    <a:pt x="27" y="43"/>
                  </a:cubicBezTo>
                  <a:cubicBezTo>
                    <a:pt x="24" y="49"/>
                    <a:pt x="24" y="49"/>
                    <a:pt x="24" y="49"/>
                  </a:cubicBezTo>
                  <a:cubicBezTo>
                    <a:pt x="24" y="49"/>
                    <a:pt x="24" y="49"/>
                    <a:pt x="24" y="49"/>
                  </a:cubicBezTo>
                  <a:cubicBezTo>
                    <a:pt x="23" y="50"/>
                    <a:pt x="23" y="50"/>
                    <a:pt x="22" y="50"/>
                  </a:cubicBezTo>
                  <a:moveTo>
                    <a:pt x="3" y="48"/>
                  </a:moveTo>
                  <a:cubicBezTo>
                    <a:pt x="3" y="48"/>
                    <a:pt x="3" y="48"/>
                    <a:pt x="3" y="47"/>
                  </a:cubicBezTo>
                  <a:cubicBezTo>
                    <a:pt x="4" y="46"/>
                    <a:pt x="4" y="44"/>
                    <a:pt x="4" y="43"/>
                  </a:cubicBezTo>
                  <a:cubicBezTo>
                    <a:pt x="5" y="42"/>
                    <a:pt x="5" y="42"/>
                    <a:pt x="5" y="42"/>
                  </a:cubicBezTo>
                  <a:cubicBezTo>
                    <a:pt x="5" y="43"/>
                    <a:pt x="5" y="43"/>
                    <a:pt x="5" y="44"/>
                  </a:cubicBezTo>
                  <a:cubicBezTo>
                    <a:pt x="4" y="46"/>
                    <a:pt x="4" y="47"/>
                    <a:pt x="4" y="47"/>
                  </a:cubicBezTo>
                  <a:cubicBezTo>
                    <a:pt x="3" y="47"/>
                    <a:pt x="3" y="47"/>
                    <a:pt x="3" y="47"/>
                  </a:cubicBezTo>
                  <a:cubicBezTo>
                    <a:pt x="3" y="48"/>
                    <a:pt x="3" y="48"/>
                    <a:pt x="3" y="48"/>
                  </a:cubicBezTo>
                  <a:moveTo>
                    <a:pt x="4" y="42"/>
                  </a:moveTo>
                  <a:cubicBezTo>
                    <a:pt x="5" y="41"/>
                    <a:pt x="5" y="41"/>
                    <a:pt x="5" y="40"/>
                  </a:cubicBezTo>
                  <a:cubicBezTo>
                    <a:pt x="5" y="40"/>
                    <a:pt x="5" y="40"/>
                    <a:pt x="6" y="39"/>
                  </a:cubicBezTo>
                  <a:cubicBezTo>
                    <a:pt x="6" y="40"/>
                    <a:pt x="5" y="41"/>
                    <a:pt x="5" y="41"/>
                  </a:cubicBezTo>
                  <a:cubicBezTo>
                    <a:pt x="5" y="41"/>
                    <a:pt x="5" y="41"/>
                    <a:pt x="5" y="41"/>
                  </a:cubicBezTo>
                  <a:cubicBezTo>
                    <a:pt x="4" y="42"/>
                    <a:pt x="4" y="42"/>
                    <a:pt x="4" y="42"/>
                  </a:cubicBezTo>
                  <a:moveTo>
                    <a:pt x="5" y="39"/>
                  </a:moveTo>
                  <a:cubicBezTo>
                    <a:pt x="5" y="38"/>
                    <a:pt x="5" y="38"/>
                    <a:pt x="5" y="37"/>
                  </a:cubicBezTo>
                  <a:cubicBezTo>
                    <a:pt x="6" y="36"/>
                    <a:pt x="6" y="36"/>
                    <a:pt x="6" y="36"/>
                  </a:cubicBezTo>
                  <a:cubicBezTo>
                    <a:pt x="6" y="37"/>
                    <a:pt x="6" y="38"/>
                    <a:pt x="6" y="38"/>
                  </a:cubicBezTo>
                  <a:cubicBezTo>
                    <a:pt x="6" y="38"/>
                    <a:pt x="6" y="38"/>
                    <a:pt x="6" y="38"/>
                  </a:cubicBezTo>
                  <a:cubicBezTo>
                    <a:pt x="5" y="39"/>
                    <a:pt x="5" y="39"/>
                    <a:pt x="5" y="39"/>
                  </a:cubicBezTo>
                  <a:moveTo>
                    <a:pt x="6" y="36"/>
                  </a:moveTo>
                  <a:cubicBezTo>
                    <a:pt x="6" y="35"/>
                    <a:pt x="6" y="34"/>
                    <a:pt x="7" y="33"/>
                  </a:cubicBezTo>
                  <a:cubicBezTo>
                    <a:pt x="7" y="34"/>
                    <a:pt x="7" y="34"/>
                    <a:pt x="7" y="35"/>
                  </a:cubicBezTo>
                  <a:cubicBezTo>
                    <a:pt x="6" y="36"/>
                    <a:pt x="6" y="36"/>
                    <a:pt x="6" y="36"/>
                  </a:cubicBezTo>
                  <a:moveTo>
                    <a:pt x="15" y="32"/>
                  </a:moveTo>
                  <a:cubicBezTo>
                    <a:pt x="15" y="32"/>
                    <a:pt x="15" y="32"/>
                    <a:pt x="15" y="32"/>
                  </a:cubicBezTo>
                  <a:cubicBezTo>
                    <a:pt x="17" y="31"/>
                    <a:pt x="17" y="31"/>
                    <a:pt x="17" y="31"/>
                  </a:cubicBezTo>
                  <a:cubicBezTo>
                    <a:pt x="16" y="32"/>
                    <a:pt x="16" y="32"/>
                    <a:pt x="16" y="33"/>
                  </a:cubicBezTo>
                  <a:cubicBezTo>
                    <a:pt x="15" y="33"/>
                    <a:pt x="15" y="33"/>
                    <a:pt x="14" y="33"/>
                  </a:cubicBezTo>
                  <a:cubicBezTo>
                    <a:pt x="14" y="33"/>
                    <a:pt x="14" y="33"/>
                    <a:pt x="14" y="33"/>
                  </a:cubicBezTo>
                  <a:cubicBezTo>
                    <a:pt x="14" y="33"/>
                    <a:pt x="15" y="33"/>
                    <a:pt x="15" y="32"/>
                  </a:cubicBezTo>
                  <a:cubicBezTo>
                    <a:pt x="15" y="32"/>
                    <a:pt x="15" y="32"/>
                    <a:pt x="15" y="32"/>
                  </a:cubicBezTo>
                  <a:moveTo>
                    <a:pt x="16" y="31"/>
                  </a:moveTo>
                  <a:cubicBezTo>
                    <a:pt x="16" y="30"/>
                    <a:pt x="17" y="29"/>
                    <a:pt x="17" y="28"/>
                  </a:cubicBezTo>
                  <a:cubicBezTo>
                    <a:pt x="19" y="27"/>
                    <a:pt x="19" y="27"/>
                    <a:pt x="19" y="27"/>
                  </a:cubicBezTo>
                  <a:cubicBezTo>
                    <a:pt x="18" y="28"/>
                    <a:pt x="18" y="29"/>
                    <a:pt x="18" y="29"/>
                  </a:cubicBezTo>
                  <a:cubicBezTo>
                    <a:pt x="16" y="31"/>
                    <a:pt x="16" y="31"/>
                    <a:pt x="16" y="31"/>
                  </a:cubicBezTo>
                  <a:moveTo>
                    <a:pt x="18" y="27"/>
                  </a:moveTo>
                  <a:cubicBezTo>
                    <a:pt x="18" y="26"/>
                    <a:pt x="18" y="25"/>
                    <a:pt x="19" y="24"/>
                  </a:cubicBezTo>
                  <a:cubicBezTo>
                    <a:pt x="19" y="24"/>
                    <a:pt x="19" y="24"/>
                    <a:pt x="19" y="24"/>
                  </a:cubicBezTo>
                  <a:cubicBezTo>
                    <a:pt x="20" y="23"/>
                    <a:pt x="20" y="23"/>
                    <a:pt x="20" y="23"/>
                  </a:cubicBezTo>
                  <a:cubicBezTo>
                    <a:pt x="20" y="24"/>
                    <a:pt x="20" y="25"/>
                    <a:pt x="19" y="26"/>
                  </a:cubicBezTo>
                  <a:cubicBezTo>
                    <a:pt x="19" y="26"/>
                    <a:pt x="19" y="26"/>
                    <a:pt x="19" y="26"/>
                  </a:cubicBezTo>
                  <a:cubicBezTo>
                    <a:pt x="18" y="27"/>
                    <a:pt x="18" y="27"/>
                    <a:pt x="18" y="27"/>
                  </a:cubicBezTo>
                  <a:moveTo>
                    <a:pt x="19" y="23"/>
                  </a:moveTo>
                  <a:cubicBezTo>
                    <a:pt x="19" y="22"/>
                    <a:pt x="19" y="22"/>
                    <a:pt x="19" y="21"/>
                  </a:cubicBezTo>
                  <a:cubicBezTo>
                    <a:pt x="21" y="20"/>
                    <a:pt x="21" y="20"/>
                    <a:pt x="21" y="20"/>
                  </a:cubicBezTo>
                  <a:cubicBezTo>
                    <a:pt x="21" y="21"/>
                    <a:pt x="21" y="21"/>
                    <a:pt x="20" y="22"/>
                  </a:cubicBezTo>
                  <a:cubicBezTo>
                    <a:pt x="20" y="22"/>
                    <a:pt x="20" y="22"/>
                    <a:pt x="20" y="22"/>
                  </a:cubicBezTo>
                  <a:cubicBezTo>
                    <a:pt x="19" y="23"/>
                    <a:pt x="19" y="23"/>
                    <a:pt x="19" y="23"/>
                  </a:cubicBezTo>
                  <a:moveTo>
                    <a:pt x="19" y="20"/>
                  </a:moveTo>
                  <a:cubicBezTo>
                    <a:pt x="20" y="19"/>
                    <a:pt x="20" y="19"/>
                    <a:pt x="20" y="18"/>
                  </a:cubicBezTo>
                  <a:cubicBezTo>
                    <a:pt x="20" y="18"/>
                    <a:pt x="20" y="18"/>
                    <a:pt x="20" y="18"/>
                  </a:cubicBezTo>
                  <a:cubicBezTo>
                    <a:pt x="20" y="18"/>
                    <a:pt x="21" y="17"/>
                    <a:pt x="21" y="17"/>
                  </a:cubicBezTo>
                  <a:cubicBezTo>
                    <a:pt x="21" y="18"/>
                    <a:pt x="21" y="19"/>
                    <a:pt x="21" y="19"/>
                  </a:cubicBezTo>
                  <a:cubicBezTo>
                    <a:pt x="19" y="20"/>
                    <a:pt x="19" y="20"/>
                    <a:pt x="19" y="20"/>
                  </a:cubicBezTo>
                  <a:moveTo>
                    <a:pt x="20" y="17"/>
                  </a:moveTo>
                  <a:cubicBezTo>
                    <a:pt x="20" y="16"/>
                    <a:pt x="20" y="16"/>
                    <a:pt x="20" y="15"/>
                  </a:cubicBezTo>
                  <a:cubicBezTo>
                    <a:pt x="20" y="15"/>
                    <a:pt x="20" y="15"/>
                    <a:pt x="20" y="15"/>
                  </a:cubicBezTo>
                  <a:cubicBezTo>
                    <a:pt x="20" y="15"/>
                    <a:pt x="21" y="14"/>
                    <a:pt x="21" y="14"/>
                  </a:cubicBezTo>
                  <a:cubicBezTo>
                    <a:pt x="21" y="15"/>
                    <a:pt x="21" y="15"/>
                    <a:pt x="21" y="16"/>
                  </a:cubicBezTo>
                  <a:cubicBezTo>
                    <a:pt x="21" y="16"/>
                    <a:pt x="20" y="17"/>
                    <a:pt x="20" y="17"/>
                  </a:cubicBezTo>
                  <a:moveTo>
                    <a:pt x="20" y="14"/>
                  </a:moveTo>
                  <a:cubicBezTo>
                    <a:pt x="20" y="13"/>
                    <a:pt x="20" y="13"/>
                    <a:pt x="20" y="12"/>
                  </a:cubicBezTo>
                  <a:cubicBezTo>
                    <a:pt x="21" y="11"/>
                    <a:pt x="21" y="11"/>
                    <a:pt x="21" y="11"/>
                  </a:cubicBezTo>
                  <a:cubicBezTo>
                    <a:pt x="21" y="12"/>
                    <a:pt x="21" y="12"/>
                    <a:pt x="21" y="13"/>
                  </a:cubicBezTo>
                  <a:cubicBezTo>
                    <a:pt x="21" y="13"/>
                    <a:pt x="20" y="14"/>
                    <a:pt x="20" y="14"/>
                  </a:cubicBezTo>
                  <a:moveTo>
                    <a:pt x="20" y="11"/>
                  </a:moveTo>
                  <a:cubicBezTo>
                    <a:pt x="19" y="11"/>
                    <a:pt x="19" y="10"/>
                    <a:pt x="19" y="9"/>
                  </a:cubicBezTo>
                  <a:cubicBezTo>
                    <a:pt x="21" y="9"/>
                    <a:pt x="21" y="9"/>
                    <a:pt x="21" y="9"/>
                  </a:cubicBezTo>
                  <a:cubicBezTo>
                    <a:pt x="21" y="9"/>
                    <a:pt x="21" y="10"/>
                    <a:pt x="21" y="10"/>
                  </a:cubicBezTo>
                  <a:cubicBezTo>
                    <a:pt x="20" y="11"/>
                    <a:pt x="20" y="11"/>
                    <a:pt x="20" y="11"/>
                  </a:cubicBezTo>
                  <a:moveTo>
                    <a:pt x="19" y="9"/>
                  </a:moveTo>
                  <a:cubicBezTo>
                    <a:pt x="19" y="8"/>
                    <a:pt x="19" y="8"/>
                    <a:pt x="19" y="8"/>
                  </a:cubicBezTo>
                  <a:cubicBezTo>
                    <a:pt x="19" y="7"/>
                    <a:pt x="20" y="7"/>
                    <a:pt x="20" y="7"/>
                  </a:cubicBezTo>
                  <a:cubicBezTo>
                    <a:pt x="20" y="8"/>
                    <a:pt x="20" y="8"/>
                    <a:pt x="20" y="8"/>
                  </a:cubicBezTo>
                  <a:cubicBezTo>
                    <a:pt x="19" y="9"/>
                    <a:pt x="19" y="9"/>
                    <a:pt x="19" y="9"/>
                  </a:cubicBezTo>
                  <a:moveTo>
                    <a:pt x="19" y="7"/>
                  </a:moveTo>
                  <a:cubicBezTo>
                    <a:pt x="18" y="6"/>
                    <a:pt x="18" y="6"/>
                    <a:pt x="18" y="6"/>
                  </a:cubicBezTo>
                  <a:cubicBezTo>
                    <a:pt x="19" y="6"/>
                    <a:pt x="19" y="5"/>
                    <a:pt x="20" y="5"/>
                  </a:cubicBezTo>
                  <a:cubicBezTo>
                    <a:pt x="20" y="6"/>
                    <a:pt x="20" y="6"/>
                    <a:pt x="20" y="6"/>
                  </a:cubicBezTo>
                  <a:cubicBezTo>
                    <a:pt x="20" y="6"/>
                    <a:pt x="20" y="6"/>
                    <a:pt x="20" y="6"/>
                  </a:cubicBezTo>
                  <a:cubicBezTo>
                    <a:pt x="19" y="6"/>
                    <a:pt x="19" y="7"/>
                    <a:pt x="19" y="7"/>
                  </a:cubicBezTo>
                  <a:moveTo>
                    <a:pt x="18" y="5"/>
                  </a:moveTo>
                  <a:cubicBezTo>
                    <a:pt x="18" y="5"/>
                    <a:pt x="18" y="4"/>
                    <a:pt x="18" y="4"/>
                  </a:cubicBezTo>
                  <a:cubicBezTo>
                    <a:pt x="18" y="4"/>
                    <a:pt x="18" y="4"/>
                    <a:pt x="18" y="4"/>
                  </a:cubicBezTo>
                  <a:cubicBezTo>
                    <a:pt x="18" y="3"/>
                    <a:pt x="18" y="3"/>
                    <a:pt x="18" y="2"/>
                  </a:cubicBezTo>
                  <a:cubicBezTo>
                    <a:pt x="19" y="3"/>
                    <a:pt x="19" y="4"/>
                    <a:pt x="19" y="4"/>
                  </a:cubicBezTo>
                  <a:cubicBezTo>
                    <a:pt x="19" y="5"/>
                    <a:pt x="18" y="5"/>
                    <a:pt x="18" y="5"/>
                  </a:cubicBezTo>
                  <a:moveTo>
                    <a:pt x="20" y="2"/>
                  </a:moveTo>
                  <a:cubicBezTo>
                    <a:pt x="21" y="2"/>
                    <a:pt x="23" y="1"/>
                    <a:pt x="24" y="1"/>
                  </a:cubicBezTo>
                  <a:cubicBezTo>
                    <a:pt x="25" y="1"/>
                    <a:pt x="25" y="1"/>
                    <a:pt x="25" y="1"/>
                  </a:cubicBezTo>
                  <a:cubicBezTo>
                    <a:pt x="27" y="5"/>
                    <a:pt x="37" y="22"/>
                    <a:pt x="24" y="39"/>
                  </a:cubicBezTo>
                  <a:cubicBezTo>
                    <a:pt x="24" y="39"/>
                    <a:pt x="24" y="39"/>
                    <a:pt x="24" y="39"/>
                  </a:cubicBezTo>
                  <a:cubicBezTo>
                    <a:pt x="25" y="40"/>
                    <a:pt x="25" y="40"/>
                    <a:pt x="25" y="40"/>
                  </a:cubicBezTo>
                  <a:cubicBezTo>
                    <a:pt x="29" y="41"/>
                    <a:pt x="29" y="41"/>
                    <a:pt x="29" y="41"/>
                  </a:cubicBezTo>
                  <a:cubicBezTo>
                    <a:pt x="24" y="45"/>
                    <a:pt x="17" y="47"/>
                    <a:pt x="7" y="47"/>
                  </a:cubicBezTo>
                  <a:cubicBezTo>
                    <a:pt x="6" y="47"/>
                    <a:pt x="6" y="47"/>
                    <a:pt x="5" y="47"/>
                  </a:cubicBezTo>
                  <a:cubicBezTo>
                    <a:pt x="5" y="46"/>
                    <a:pt x="5" y="45"/>
                    <a:pt x="6" y="44"/>
                  </a:cubicBezTo>
                  <a:cubicBezTo>
                    <a:pt x="7" y="40"/>
                    <a:pt x="8" y="35"/>
                    <a:pt x="8" y="32"/>
                  </a:cubicBezTo>
                  <a:cubicBezTo>
                    <a:pt x="9" y="32"/>
                    <a:pt x="10" y="33"/>
                    <a:pt x="11" y="33"/>
                  </a:cubicBezTo>
                  <a:cubicBezTo>
                    <a:pt x="12" y="33"/>
                    <a:pt x="12" y="34"/>
                    <a:pt x="13" y="34"/>
                  </a:cubicBezTo>
                  <a:cubicBezTo>
                    <a:pt x="13" y="34"/>
                    <a:pt x="13" y="34"/>
                    <a:pt x="13" y="34"/>
                  </a:cubicBezTo>
                  <a:cubicBezTo>
                    <a:pt x="13" y="34"/>
                    <a:pt x="13" y="34"/>
                    <a:pt x="13" y="34"/>
                  </a:cubicBezTo>
                  <a:cubicBezTo>
                    <a:pt x="14" y="34"/>
                    <a:pt x="14" y="34"/>
                    <a:pt x="14" y="34"/>
                  </a:cubicBezTo>
                  <a:cubicBezTo>
                    <a:pt x="14" y="35"/>
                    <a:pt x="15" y="35"/>
                    <a:pt x="15" y="35"/>
                  </a:cubicBezTo>
                  <a:cubicBezTo>
                    <a:pt x="16" y="35"/>
                    <a:pt x="16" y="35"/>
                    <a:pt x="16" y="35"/>
                  </a:cubicBezTo>
                  <a:cubicBezTo>
                    <a:pt x="23" y="24"/>
                    <a:pt x="24" y="13"/>
                    <a:pt x="19" y="2"/>
                  </a:cubicBezTo>
                  <a:cubicBezTo>
                    <a:pt x="19" y="2"/>
                    <a:pt x="20" y="2"/>
                    <a:pt x="20" y="2"/>
                  </a:cubicBezTo>
                  <a:moveTo>
                    <a:pt x="25" y="0"/>
                  </a:moveTo>
                  <a:cubicBezTo>
                    <a:pt x="24" y="0"/>
                    <a:pt x="24" y="0"/>
                    <a:pt x="24" y="0"/>
                  </a:cubicBezTo>
                  <a:cubicBezTo>
                    <a:pt x="23" y="0"/>
                    <a:pt x="21" y="0"/>
                    <a:pt x="20" y="0"/>
                  </a:cubicBezTo>
                  <a:cubicBezTo>
                    <a:pt x="19" y="0"/>
                    <a:pt x="19" y="0"/>
                    <a:pt x="19" y="0"/>
                  </a:cubicBezTo>
                  <a:cubicBezTo>
                    <a:pt x="19" y="0"/>
                    <a:pt x="19" y="0"/>
                    <a:pt x="19" y="0"/>
                  </a:cubicBezTo>
                  <a:cubicBezTo>
                    <a:pt x="18" y="0"/>
                    <a:pt x="18" y="0"/>
                    <a:pt x="18" y="0"/>
                  </a:cubicBezTo>
                  <a:cubicBezTo>
                    <a:pt x="18" y="0"/>
                    <a:pt x="18" y="0"/>
                    <a:pt x="18" y="0"/>
                  </a:cubicBezTo>
                  <a:cubicBezTo>
                    <a:pt x="18" y="0"/>
                    <a:pt x="18" y="0"/>
                    <a:pt x="18" y="0"/>
                  </a:cubicBezTo>
                  <a:cubicBezTo>
                    <a:pt x="18" y="1"/>
                    <a:pt x="18" y="1"/>
                    <a:pt x="18" y="1"/>
                  </a:cubicBezTo>
                  <a:cubicBezTo>
                    <a:pt x="17" y="2"/>
                    <a:pt x="17" y="3"/>
                    <a:pt x="17" y="3"/>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7" y="5"/>
                    <a:pt x="17" y="6"/>
                    <a:pt x="18" y="8"/>
                  </a:cubicBezTo>
                  <a:cubicBezTo>
                    <a:pt x="18" y="8"/>
                    <a:pt x="18" y="8"/>
                    <a:pt x="18" y="8"/>
                  </a:cubicBezTo>
                  <a:cubicBezTo>
                    <a:pt x="18" y="8"/>
                    <a:pt x="18" y="8"/>
                    <a:pt x="18" y="8"/>
                  </a:cubicBezTo>
                  <a:cubicBezTo>
                    <a:pt x="19" y="13"/>
                    <a:pt x="20" y="22"/>
                    <a:pt x="13" y="33"/>
                  </a:cubicBezTo>
                  <a:cubicBezTo>
                    <a:pt x="13" y="33"/>
                    <a:pt x="12" y="32"/>
                    <a:pt x="11" y="32"/>
                  </a:cubicBezTo>
                  <a:cubicBezTo>
                    <a:pt x="10" y="31"/>
                    <a:pt x="8" y="31"/>
                    <a:pt x="7" y="30"/>
                  </a:cubicBezTo>
                  <a:cubicBezTo>
                    <a:pt x="7" y="30"/>
                    <a:pt x="7" y="30"/>
                    <a:pt x="7" y="30"/>
                  </a:cubicBezTo>
                  <a:cubicBezTo>
                    <a:pt x="7" y="30"/>
                    <a:pt x="7" y="30"/>
                    <a:pt x="7" y="30"/>
                  </a:cubicBezTo>
                  <a:cubicBezTo>
                    <a:pt x="7" y="30"/>
                    <a:pt x="7" y="30"/>
                    <a:pt x="7" y="30"/>
                  </a:cubicBezTo>
                  <a:cubicBezTo>
                    <a:pt x="7" y="30"/>
                    <a:pt x="7" y="30"/>
                    <a:pt x="7" y="30"/>
                  </a:cubicBezTo>
                  <a:cubicBezTo>
                    <a:pt x="7" y="31"/>
                    <a:pt x="7" y="31"/>
                    <a:pt x="7" y="31"/>
                  </a:cubicBezTo>
                  <a:cubicBezTo>
                    <a:pt x="7" y="31"/>
                    <a:pt x="7" y="31"/>
                    <a:pt x="7" y="31"/>
                  </a:cubicBezTo>
                  <a:cubicBezTo>
                    <a:pt x="6" y="33"/>
                    <a:pt x="5" y="35"/>
                    <a:pt x="4" y="38"/>
                  </a:cubicBezTo>
                  <a:cubicBezTo>
                    <a:pt x="4" y="39"/>
                    <a:pt x="4" y="39"/>
                    <a:pt x="4" y="39"/>
                  </a:cubicBezTo>
                  <a:cubicBezTo>
                    <a:pt x="4" y="39"/>
                    <a:pt x="4" y="39"/>
                    <a:pt x="4" y="39"/>
                  </a:cubicBezTo>
                  <a:cubicBezTo>
                    <a:pt x="4" y="41"/>
                    <a:pt x="3" y="44"/>
                    <a:pt x="2" y="47"/>
                  </a:cubicBezTo>
                  <a:cubicBezTo>
                    <a:pt x="2" y="50"/>
                    <a:pt x="1" y="52"/>
                    <a:pt x="1" y="53"/>
                  </a:cubicBezTo>
                  <a:cubicBezTo>
                    <a:pt x="1" y="53"/>
                    <a:pt x="1" y="53"/>
                    <a:pt x="1" y="53"/>
                  </a:cubicBezTo>
                  <a:cubicBezTo>
                    <a:pt x="1" y="53"/>
                    <a:pt x="1" y="54"/>
                    <a:pt x="1" y="55"/>
                  </a:cubicBezTo>
                  <a:cubicBezTo>
                    <a:pt x="0" y="55"/>
                    <a:pt x="0" y="55"/>
                    <a:pt x="0" y="55"/>
                  </a:cubicBezTo>
                  <a:cubicBezTo>
                    <a:pt x="0" y="56"/>
                    <a:pt x="0" y="56"/>
                    <a:pt x="0" y="56"/>
                  </a:cubicBezTo>
                  <a:cubicBezTo>
                    <a:pt x="0" y="56"/>
                    <a:pt x="0" y="56"/>
                    <a:pt x="0" y="56"/>
                  </a:cubicBezTo>
                  <a:cubicBezTo>
                    <a:pt x="0" y="56"/>
                    <a:pt x="0" y="56"/>
                    <a:pt x="0" y="56"/>
                  </a:cubicBezTo>
                  <a:cubicBezTo>
                    <a:pt x="0" y="56"/>
                    <a:pt x="0" y="56"/>
                    <a:pt x="0" y="56"/>
                  </a:cubicBezTo>
                  <a:cubicBezTo>
                    <a:pt x="1" y="56"/>
                    <a:pt x="1" y="56"/>
                    <a:pt x="1" y="56"/>
                  </a:cubicBezTo>
                  <a:cubicBezTo>
                    <a:pt x="1" y="56"/>
                    <a:pt x="1" y="56"/>
                    <a:pt x="1" y="56"/>
                  </a:cubicBezTo>
                  <a:cubicBezTo>
                    <a:pt x="2" y="56"/>
                    <a:pt x="2" y="56"/>
                    <a:pt x="2" y="56"/>
                  </a:cubicBezTo>
                  <a:cubicBezTo>
                    <a:pt x="3" y="56"/>
                    <a:pt x="5" y="56"/>
                    <a:pt x="6" y="56"/>
                  </a:cubicBezTo>
                  <a:cubicBezTo>
                    <a:pt x="7" y="56"/>
                    <a:pt x="7" y="56"/>
                    <a:pt x="7" y="56"/>
                  </a:cubicBezTo>
                  <a:cubicBezTo>
                    <a:pt x="7" y="56"/>
                    <a:pt x="7" y="56"/>
                    <a:pt x="7" y="56"/>
                  </a:cubicBezTo>
                  <a:cubicBezTo>
                    <a:pt x="7" y="56"/>
                    <a:pt x="7" y="56"/>
                    <a:pt x="7" y="56"/>
                  </a:cubicBezTo>
                  <a:cubicBezTo>
                    <a:pt x="8" y="56"/>
                    <a:pt x="9" y="55"/>
                    <a:pt x="10" y="55"/>
                  </a:cubicBezTo>
                  <a:cubicBezTo>
                    <a:pt x="10" y="55"/>
                    <a:pt x="10" y="55"/>
                    <a:pt x="10" y="55"/>
                  </a:cubicBezTo>
                  <a:cubicBezTo>
                    <a:pt x="10" y="55"/>
                    <a:pt x="10" y="55"/>
                    <a:pt x="10" y="55"/>
                  </a:cubicBezTo>
                  <a:cubicBezTo>
                    <a:pt x="11" y="55"/>
                    <a:pt x="11" y="55"/>
                    <a:pt x="11" y="55"/>
                  </a:cubicBezTo>
                  <a:cubicBezTo>
                    <a:pt x="11" y="55"/>
                    <a:pt x="11" y="55"/>
                    <a:pt x="11" y="55"/>
                  </a:cubicBezTo>
                  <a:cubicBezTo>
                    <a:pt x="17" y="54"/>
                    <a:pt x="23" y="51"/>
                    <a:pt x="27" y="49"/>
                  </a:cubicBezTo>
                  <a:cubicBezTo>
                    <a:pt x="27" y="49"/>
                    <a:pt x="27" y="49"/>
                    <a:pt x="27" y="49"/>
                  </a:cubicBezTo>
                  <a:cubicBezTo>
                    <a:pt x="29" y="46"/>
                    <a:pt x="30" y="43"/>
                    <a:pt x="31" y="41"/>
                  </a:cubicBezTo>
                  <a:cubicBezTo>
                    <a:pt x="30" y="40"/>
                    <a:pt x="30" y="40"/>
                    <a:pt x="30" y="40"/>
                  </a:cubicBezTo>
                  <a:cubicBezTo>
                    <a:pt x="30" y="40"/>
                    <a:pt x="30" y="40"/>
                    <a:pt x="30" y="40"/>
                  </a:cubicBezTo>
                  <a:cubicBezTo>
                    <a:pt x="26" y="39"/>
                    <a:pt x="26" y="39"/>
                    <a:pt x="26" y="39"/>
                  </a:cubicBezTo>
                  <a:cubicBezTo>
                    <a:pt x="38" y="21"/>
                    <a:pt x="28" y="3"/>
                    <a:pt x="25" y="0"/>
                  </a:cubicBezTo>
                  <a:cubicBezTo>
                    <a:pt x="25" y="0"/>
                    <a:pt x="25" y="0"/>
                    <a:pt x="25"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09" name="î$1îḋê"/>
            <p:cNvSpPr/>
            <p:nvPr/>
          </p:nvSpPr>
          <p:spPr bwMode="auto">
            <a:xfrm>
              <a:off x="4039" y="2391"/>
              <a:ext cx="107" cy="128"/>
            </a:xfrm>
            <a:custGeom>
              <a:avLst/>
              <a:gdLst>
                <a:gd name="T0" fmla="*/ 43 w 45"/>
                <a:gd name="T1" fmla="*/ 25 h 54"/>
                <a:gd name="T2" fmla="*/ 39 w 45"/>
                <a:gd name="T3" fmla="*/ 23 h 54"/>
                <a:gd name="T4" fmla="*/ 35 w 45"/>
                <a:gd name="T5" fmla="*/ 22 h 54"/>
                <a:gd name="T6" fmla="*/ 34 w 45"/>
                <a:gd name="T7" fmla="*/ 21 h 54"/>
                <a:gd name="T8" fmla="*/ 35 w 45"/>
                <a:gd name="T9" fmla="*/ 20 h 54"/>
                <a:gd name="T10" fmla="*/ 30 w 45"/>
                <a:gd name="T11" fmla="*/ 19 h 54"/>
                <a:gd name="T12" fmla="*/ 31 w 45"/>
                <a:gd name="T13" fmla="*/ 19 h 54"/>
                <a:gd name="T14" fmla="*/ 33 w 45"/>
                <a:gd name="T15" fmla="*/ 20 h 54"/>
                <a:gd name="T16" fmla="*/ 33 w 45"/>
                <a:gd name="T17" fmla="*/ 18 h 54"/>
                <a:gd name="T18" fmla="*/ 28 w 45"/>
                <a:gd name="T19" fmla="*/ 19 h 54"/>
                <a:gd name="T20" fmla="*/ 29 w 45"/>
                <a:gd name="T21" fmla="*/ 18 h 54"/>
                <a:gd name="T22" fmla="*/ 35 w 45"/>
                <a:gd name="T23" fmla="*/ 18 h 54"/>
                <a:gd name="T24" fmla="*/ 36 w 45"/>
                <a:gd name="T25" fmla="*/ 19 h 54"/>
                <a:gd name="T26" fmla="*/ 40 w 45"/>
                <a:gd name="T27" fmla="*/ 17 h 54"/>
                <a:gd name="T28" fmla="*/ 34 w 45"/>
                <a:gd name="T29" fmla="*/ 17 h 54"/>
                <a:gd name="T30" fmla="*/ 34 w 45"/>
                <a:gd name="T31" fmla="*/ 18 h 54"/>
                <a:gd name="T32" fmla="*/ 2 w 45"/>
                <a:gd name="T33" fmla="*/ 41 h 54"/>
                <a:gd name="T34" fmla="*/ 14 w 45"/>
                <a:gd name="T35" fmla="*/ 20 h 54"/>
                <a:gd name="T36" fmla="*/ 32 w 45"/>
                <a:gd name="T37" fmla="*/ 25 h 54"/>
                <a:gd name="T38" fmla="*/ 31 w 45"/>
                <a:gd name="T39" fmla="*/ 49 h 54"/>
                <a:gd name="T40" fmla="*/ 29 w 45"/>
                <a:gd name="T41" fmla="*/ 51 h 54"/>
                <a:gd name="T42" fmla="*/ 16 w 45"/>
                <a:gd name="T43" fmla="*/ 48 h 54"/>
                <a:gd name="T44" fmla="*/ 3 w 45"/>
                <a:gd name="T45" fmla="*/ 43 h 54"/>
                <a:gd name="T46" fmla="*/ 25 w 45"/>
                <a:gd name="T47" fmla="*/ 17 h 54"/>
                <a:gd name="T48" fmla="*/ 23 w 45"/>
                <a:gd name="T49" fmla="*/ 17 h 54"/>
                <a:gd name="T50" fmla="*/ 21 w 45"/>
                <a:gd name="T51" fmla="*/ 16 h 54"/>
                <a:gd name="T52" fmla="*/ 32 w 45"/>
                <a:gd name="T53" fmla="*/ 17 h 54"/>
                <a:gd name="T54" fmla="*/ 33 w 45"/>
                <a:gd name="T55" fmla="*/ 16 h 54"/>
                <a:gd name="T56" fmla="*/ 19 w 45"/>
                <a:gd name="T57" fmla="*/ 15 h 54"/>
                <a:gd name="T58" fmla="*/ 20 w 45"/>
                <a:gd name="T59" fmla="*/ 15 h 54"/>
                <a:gd name="T60" fmla="*/ 29 w 45"/>
                <a:gd name="T61" fmla="*/ 14 h 54"/>
                <a:gd name="T62" fmla="*/ 24 w 45"/>
                <a:gd name="T63" fmla="*/ 15 h 54"/>
                <a:gd name="T64" fmla="*/ 23 w 45"/>
                <a:gd name="T65" fmla="*/ 15 h 54"/>
                <a:gd name="T66" fmla="*/ 23 w 45"/>
                <a:gd name="T67" fmla="*/ 15 h 54"/>
                <a:gd name="T68" fmla="*/ 20 w 45"/>
                <a:gd name="T69" fmla="*/ 12 h 54"/>
                <a:gd name="T70" fmla="*/ 21 w 45"/>
                <a:gd name="T71" fmla="*/ 12 h 54"/>
                <a:gd name="T72" fmla="*/ 25 w 45"/>
                <a:gd name="T73" fmla="*/ 10 h 54"/>
                <a:gd name="T74" fmla="*/ 25 w 45"/>
                <a:gd name="T75" fmla="*/ 2 h 54"/>
                <a:gd name="T76" fmla="*/ 32 w 45"/>
                <a:gd name="T77" fmla="*/ 4 h 54"/>
                <a:gd name="T78" fmla="*/ 29 w 45"/>
                <a:gd name="T79" fmla="*/ 11 h 54"/>
                <a:gd name="T80" fmla="*/ 32 w 45"/>
                <a:gd name="T81" fmla="*/ 8 h 54"/>
                <a:gd name="T82" fmla="*/ 35 w 45"/>
                <a:gd name="T83" fmla="*/ 7 h 54"/>
                <a:gd name="T84" fmla="*/ 21 w 45"/>
                <a:gd name="T85" fmla="*/ 11 h 54"/>
                <a:gd name="T86" fmla="*/ 22 w 45"/>
                <a:gd name="T87" fmla="*/ 3 h 54"/>
                <a:gd name="T88" fmla="*/ 25 w 45"/>
                <a:gd name="T89" fmla="*/ 0 h 54"/>
                <a:gd name="T90" fmla="*/ 23 w 45"/>
                <a:gd name="T91" fmla="*/ 2 h 54"/>
                <a:gd name="T92" fmla="*/ 17 w 45"/>
                <a:gd name="T93" fmla="*/ 3 h 54"/>
                <a:gd name="T94" fmla="*/ 18 w 45"/>
                <a:gd name="T95" fmla="*/ 12 h 54"/>
                <a:gd name="T96" fmla="*/ 13 w 45"/>
                <a:gd name="T97" fmla="*/ 18 h 54"/>
                <a:gd name="T98" fmla="*/ 1 w 45"/>
                <a:gd name="T99" fmla="*/ 41 h 54"/>
                <a:gd name="T100" fmla="*/ 3 w 45"/>
                <a:gd name="T101" fmla="*/ 45 h 54"/>
                <a:gd name="T102" fmla="*/ 15 w 45"/>
                <a:gd name="T103" fmla="*/ 49 h 54"/>
                <a:gd name="T104" fmla="*/ 28 w 45"/>
                <a:gd name="T105" fmla="*/ 52 h 54"/>
                <a:gd name="T106" fmla="*/ 33 w 45"/>
                <a:gd name="T107" fmla="*/ 50 h 54"/>
                <a:gd name="T108" fmla="*/ 34 w 45"/>
                <a:gd name="T109" fmla="*/ 24 h 54"/>
                <a:gd name="T110" fmla="*/ 44 w 45"/>
                <a:gd name="T111" fmla="*/ 27 h 54"/>
                <a:gd name="T112" fmla="*/ 37 w 45"/>
                <a:gd name="T113" fmla="*/ 20 h 54"/>
                <a:gd name="T114" fmla="*/ 41 w 45"/>
                <a:gd name="T115" fmla="*/ 19 h 54"/>
                <a:gd name="T116" fmla="*/ 41 w 45"/>
                <a:gd name="T117" fmla="*/ 16 h 54"/>
                <a:gd name="T118" fmla="*/ 40 w 45"/>
                <a:gd name="T119" fmla="*/ 10 h 54"/>
                <a:gd name="T120" fmla="*/ 37 w 45"/>
                <a:gd name="T121" fmla="*/ 5 h 54"/>
                <a:gd name="T122" fmla="*/ 33 w 45"/>
                <a:gd name="T123" fmla="*/ 5 h 54"/>
                <a:gd name="T124" fmla="*/ 26 w 45"/>
                <a:gd name="T1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 h="54">
                  <a:moveTo>
                    <a:pt x="43" y="26"/>
                  </a:moveTo>
                  <a:cubicBezTo>
                    <a:pt x="42" y="26"/>
                    <a:pt x="41" y="26"/>
                    <a:pt x="40" y="25"/>
                  </a:cubicBezTo>
                  <a:cubicBezTo>
                    <a:pt x="42" y="24"/>
                    <a:pt x="42" y="24"/>
                    <a:pt x="42" y="24"/>
                  </a:cubicBezTo>
                  <a:cubicBezTo>
                    <a:pt x="42" y="24"/>
                    <a:pt x="43" y="24"/>
                    <a:pt x="43" y="25"/>
                  </a:cubicBezTo>
                  <a:cubicBezTo>
                    <a:pt x="43" y="25"/>
                    <a:pt x="43" y="25"/>
                    <a:pt x="43" y="26"/>
                  </a:cubicBezTo>
                  <a:moveTo>
                    <a:pt x="39" y="24"/>
                  </a:moveTo>
                  <a:cubicBezTo>
                    <a:pt x="39" y="24"/>
                    <a:pt x="38" y="24"/>
                    <a:pt x="38" y="24"/>
                  </a:cubicBezTo>
                  <a:cubicBezTo>
                    <a:pt x="39" y="23"/>
                    <a:pt x="39" y="23"/>
                    <a:pt x="39" y="23"/>
                  </a:cubicBezTo>
                  <a:cubicBezTo>
                    <a:pt x="40" y="23"/>
                    <a:pt x="40" y="23"/>
                    <a:pt x="41" y="23"/>
                  </a:cubicBezTo>
                  <a:cubicBezTo>
                    <a:pt x="39" y="24"/>
                    <a:pt x="39" y="24"/>
                    <a:pt x="39" y="24"/>
                  </a:cubicBezTo>
                  <a:moveTo>
                    <a:pt x="36" y="23"/>
                  </a:moveTo>
                  <a:cubicBezTo>
                    <a:pt x="36" y="23"/>
                    <a:pt x="36" y="22"/>
                    <a:pt x="35" y="22"/>
                  </a:cubicBezTo>
                  <a:cubicBezTo>
                    <a:pt x="37" y="21"/>
                    <a:pt x="37" y="21"/>
                    <a:pt x="37" y="21"/>
                  </a:cubicBezTo>
                  <a:cubicBezTo>
                    <a:pt x="37" y="21"/>
                    <a:pt x="37" y="22"/>
                    <a:pt x="38" y="22"/>
                  </a:cubicBezTo>
                  <a:cubicBezTo>
                    <a:pt x="36" y="23"/>
                    <a:pt x="36" y="23"/>
                    <a:pt x="36" y="23"/>
                  </a:cubicBezTo>
                  <a:moveTo>
                    <a:pt x="34" y="21"/>
                  </a:moveTo>
                  <a:cubicBezTo>
                    <a:pt x="33" y="21"/>
                    <a:pt x="33" y="21"/>
                    <a:pt x="33" y="21"/>
                  </a:cubicBezTo>
                  <a:cubicBezTo>
                    <a:pt x="34" y="20"/>
                    <a:pt x="34" y="20"/>
                    <a:pt x="35" y="20"/>
                  </a:cubicBezTo>
                  <a:cubicBezTo>
                    <a:pt x="35" y="20"/>
                    <a:pt x="35" y="20"/>
                    <a:pt x="35" y="20"/>
                  </a:cubicBezTo>
                  <a:cubicBezTo>
                    <a:pt x="35" y="20"/>
                    <a:pt x="35" y="20"/>
                    <a:pt x="35" y="20"/>
                  </a:cubicBezTo>
                  <a:cubicBezTo>
                    <a:pt x="34" y="21"/>
                    <a:pt x="34" y="21"/>
                    <a:pt x="34" y="21"/>
                  </a:cubicBezTo>
                  <a:moveTo>
                    <a:pt x="30" y="19"/>
                  </a:moveTo>
                  <a:cubicBezTo>
                    <a:pt x="30" y="19"/>
                    <a:pt x="30" y="19"/>
                    <a:pt x="30" y="19"/>
                  </a:cubicBezTo>
                  <a:cubicBezTo>
                    <a:pt x="30" y="19"/>
                    <a:pt x="30" y="19"/>
                    <a:pt x="30" y="19"/>
                  </a:cubicBezTo>
                  <a:cubicBezTo>
                    <a:pt x="31" y="18"/>
                    <a:pt x="31" y="18"/>
                    <a:pt x="31" y="18"/>
                  </a:cubicBezTo>
                  <a:cubicBezTo>
                    <a:pt x="31" y="18"/>
                    <a:pt x="31" y="18"/>
                    <a:pt x="31" y="18"/>
                  </a:cubicBezTo>
                  <a:cubicBezTo>
                    <a:pt x="31" y="19"/>
                    <a:pt x="31" y="19"/>
                    <a:pt x="31" y="19"/>
                  </a:cubicBezTo>
                  <a:cubicBezTo>
                    <a:pt x="31" y="19"/>
                    <a:pt x="31" y="19"/>
                    <a:pt x="31" y="19"/>
                  </a:cubicBezTo>
                  <a:cubicBezTo>
                    <a:pt x="31" y="19"/>
                    <a:pt x="31" y="19"/>
                    <a:pt x="31" y="19"/>
                  </a:cubicBezTo>
                  <a:cubicBezTo>
                    <a:pt x="30" y="19"/>
                    <a:pt x="30" y="19"/>
                    <a:pt x="30" y="19"/>
                  </a:cubicBezTo>
                  <a:cubicBezTo>
                    <a:pt x="30" y="19"/>
                    <a:pt x="30" y="19"/>
                    <a:pt x="30" y="19"/>
                  </a:cubicBezTo>
                  <a:moveTo>
                    <a:pt x="33" y="20"/>
                  </a:moveTo>
                  <a:cubicBezTo>
                    <a:pt x="32" y="20"/>
                    <a:pt x="32" y="20"/>
                    <a:pt x="32" y="20"/>
                  </a:cubicBezTo>
                  <a:cubicBezTo>
                    <a:pt x="33" y="19"/>
                    <a:pt x="33" y="19"/>
                    <a:pt x="33" y="19"/>
                  </a:cubicBezTo>
                  <a:cubicBezTo>
                    <a:pt x="33" y="18"/>
                    <a:pt x="33" y="18"/>
                    <a:pt x="33" y="18"/>
                  </a:cubicBezTo>
                  <a:cubicBezTo>
                    <a:pt x="33" y="18"/>
                    <a:pt x="33" y="18"/>
                    <a:pt x="33" y="18"/>
                  </a:cubicBezTo>
                  <a:cubicBezTo>
                    <a:pt x="33" y="18"/>
                    <a:pt x="33" y="18"/>
                    <a:pt x="33" y="18"/>
                  </a:cubicBezTo>
                  <a:cubicBezTo>
                    <a:pt x="34" y="19"/>
                    <a:pt x="34" y="19"/>
                    <a:pt x="34" y="19"/>
                  </a:cubicBezTo>
                  <a:cubicBezTo>
                    <a:pt x="33" y="19"/>
                    <a:pt x="33" y="19"/>
                    <a:pt x="33" y="20"/>
                  </a:cubicBezTo>
                  <a:moveTo>
                    <a:pt x="28" y="19"/>
                  </a:moveTo>
                  <a:cubicBezTo>
                    <a:pt x="28" y="19"/>
                    <a:pt x="28" y="18"/>
                    <a:pt x="27" y="18"/>
                  </a:cubicBezTo>
                  <a:cubicBezTo>
                    <a:pt x="28" y="18"/>
                    <a:pt x="28" y="18"/>
                    <a:pt x="28" y="18"/>
                  </a:cubicBezTo>
                  <a:cubicBezTo>
                    <a:pt x="28" y="17"/>
                    <a:pt x="28" y="17"/>
                    <a:pt x="28" y="17"/>
                  </a:cubicBezTo>
                  <a:cubicBezTo>
                    <a:pt x="29" y="18"/>
                    <a:pt x="29" y="18"/>
                    <a:pt x="29" y="18"/>
                  </a:cubicBezTo>
                  <a:cubicBezTo>
                    <a:pt x="28" y="19"/>
                    <a:pt x="28" y="19"/>
                    <a:pt x="28" y="19"/>
                  </a:cubicBezTo>
                  <a:cubicBezTo>
                    <a:pt x="28" y="19"/>
                    <a:pt x="28" y="19"/>
                    <a:pt x="28" y="19"/>
                  </a:cubicBezTo>
                  <a:moveTo>
                    <a:pt x="35" y="19"/>
                  </a:moveTo>
                  <a:cubicBezTo>
                    <a:pt x="35" y="18"/>
                    <a:pt x="35" y="18"/>
                    <a:pt x="35" y="18"/>
                  </a:cubicBezTo>
                  <a:cubicBezTo>
                    <a:pt x="35" y="18"/>
                    <a:pt x="35" y="18"/>
                    <a:pt x="36" y="17"/>
                  </a:cubicBezTo>
                  <a:cubicBezTo>
                    <a:pt x="36" y="17"/>
                    <a:pt x="36" y="17"/>
                    <a:pt x="37" y="17"/>
                  </a:cubicBezTo>
                  <a:cubicBezTo>
                    <a:pt x="37" y="17"/>
                    <a:pt x="37" y="17"/>
                    <a:pt x="37" y="17"/>
                  </a:cubicBezTo>
                  <a:cubicBezTo>
                    <a:pt x="36" y="19"/>
                    <a:pt x="36" y="19"/>
                    <a:pt x="36" y="19"/>
                  </a:cubicBezTo>
                  <a:cubicBezTo>
                    <a:pt x="36" y="19"/>
                    <a:pt x="36" y="19"/>
                    <a:pt x="35" y="19"/>
                  </a:cubicBezTo>
                  <a:moveTo>
                    <a:pt x="38" y="18"/>
                  </a:moveTo>
                  <a:cubicBezTo>
                    <a:pt x="38" y="17"/>
                    <a:pt x="38" y="17"/>
                    <a:pt x="38" y="17"/>
                  </a:cubicBezTo>
                  <a:cubicBezTo>
                    <a:pt x="39" y="17"/>
                    <a:pt x="40" y="17"/>
                    <a:pt x="40" y="17"/>
                  </a:cubicBezTo>
                  <a:cubicBezTo>
                    <a:pt x="40" y="18"/>
                    <a:pt x="40" y="18"/>
                    <a:pt x="40" y="18"/>
                  </a:cubicBezTo>
                  <a:cubicBezTo>
                    <a:pt x="39" y="18"/>
                    <a:pt x="39" y="18"/>
                    <a:pt x="38" y="18"/>
                  </a:cubicBezTo>
                  <a:moveTo>
                    <a:pt x="34" y="18"/>
                  </a:moveTo>
                  <a:cubicBezTo>
                    <a:pt x="34" y="17"/>
                    <a:pt x="34" y="17"/>
                    <a:pt x="34" y="17"/>
                  </a:cubicBezTo>
                  <a:cubicBezTo>
                    <a:pt x="34" y="17"/>
                    <a:pt x="34" y="17"/>
                    <a:pt x="34" y="17"/>
                  </a:cubicBezTo>
                  <a:cubicBezTo>
                    <a:pt x="34" y="17"/>
                    <a:pt x="34" y="17"/>
                    <a:pt x="34" y="17"/>
                  </a:cubicBezTo>
                  <a:cubicBezTo>
                    <a:pt x="34" y="17"/>
                    <a:pt x="34" y="17"/>
                    <a:pt x="34" y="17"/>
                  </a:cubicBezTo>
                  <a:cubicBezTo>
                    <a:pt x="34" y="18"/>
                    <a:pt x="34" y="18"/>
                    <a:pt x="34" y="18"/>
                  </a:cubicBezTo>
                  <a:moveTo>
                    <a:pt x="2" y="43"/>
                  </a:moveTo>
                  <a:cubicBezTo>
                    <a:pt x="2" y="43"/>
                    <a:pt x="1" y="43"/>
                    <a:pt x="1" y="43"/>
                  </a:cubicBezTo>
                  <a:cubicBezTo>
                    <a:pt x="2" y="42"/>
                    <a:pt x="2" y="42"/>
                    <a:pt x="2" y="42"/>
                  </a:cubicBezTo>
                  <a:cubicBezTo>
                    <a:pt x="2" y="42"/>
                    <a:pt x="2" y="41"/>
                    <a:pt x="2" y="41"/>
                  </a:cubicBezTo>
                  <a:cubicBezTo>
                    <a:pt x="2" y="40"/>
                    <a:pt x="2" y="39"/>
                    <a:pt x="2" y="39"/>
                  </a:cubicBezTo>
                  <a:cubicBezTo>
                    <a:pt x="2" y="36"/>
                    <a:pt x="2" y="34"/>
                    <a:pt x="3" y="31"/>
                  </a:cubicBezTo>
                  <a:cubicBezTo>
                    <a:pt x="5" y="27"/>
                    <a:pt x="7" y="23"/>
                    <a:pt x="10" y="21"/>
                  </a:cubicBezTo>
                  <a:cubicBezTo>
                    <a:pt x="11" y="21"/>
                    <a:pt x="12" y="20"/>
                    <a:pt x="14" y="20"/>
                  </a:cubicBezTo>
                  <a:cubicBezTo>
                    <a:pt x="15" y="19"/>
                    <a:pt x="17" y="19"/>
                    <a:pt x="19" y="17"/>
                  </a:cubicBezTo>
                  <a:cubicBezTo>
                    <a:pt x="19" y="17"/>
                    <a:pt x="20" y="17"/>
                    <a:pt x="20" y="18"/>
                  </a:cubicBezTo>
                  <a:cubicBezTo>
                    <a:pt x="24" y="19"/>
                    <a:pt x="27" y="20"/>
                    <a:pt x="30" y="20"/>
                  </a:cubicBezTo>
                  <a:cubicBezTo>
                    <a:pt x="30" y="21"/>
                    <a:pt x="31" y="23"/>
                    <a:pt x="32" y="25"/>
                  </a:cubicBezTo>
                  <a:cubicBezTo>
                    <a:pt x="34" y="28"/>
                    <a:pt x="36" y="31"/>
                    <a:pt x="37" y="34"/>
                  </a:cubicBezTo>
                  <a:cubicBezTo>
                    <a:pt x="38" y="37"/>
                    <a:pt x="37" y="42"/>
                    <a:pt x="35" y="45"/>
                  </a:cubicBezTo>
                  <a:cubicBezTo>
                    <a:pt x="34" y="45"/>
                    <a:pt x="34" y="46"/>
                    <a:pt x="33" y="46"/>
                  </a:cubicBezTo>
                  <a:cubicBezTo>
                    <a:pt x="33" y="47"/>
                    <a:pt x="32" y="48"/>
                    <a:pt x="31" y="49"/>
                  </a:cubicBezTo>
                  <a:cubicBezTo>
                    <a:pt x="31" y="50"/>
                    <a:pt x="31" y="50"/>
                    <a:pt x="31" y="51"/>
                  </a:cubicBezTo>
                  <a:cubicBezTo>
                    <a:pt x="31" y="52"/>
                    <a:pt x="31" y="53"/>
                    <a:pt x="31" y="53"/>
                  </a:cubicBezTo>
                  <a:cubicBezTo>
                    <a:pt x="31" y="53"/>
                    <a:pt x="31" y="53"/>
                    <a:pt x="31" y="53"/>
                  </a:cubicBezTo>
                  <a:cubicBezTo>
                    <a:pt x="30" y="53"/>
                    <a:pt x="30" y="52"/>
                    <a:pt x="29" y="51"/>
                  </a:cubicBezTo>
                  <a:cubicBezTo>
                    <a:pt x="28" y="51"/>
                    <a:pt x="28" y="51"/>
                    <a:pt x="28" y="51"/>
                  </a:cubicBezTo>
                  <a:cubicBezTo>
                    <a:pt x="27" y="51"/>
                    <a:pt x="26" y="50"/>
                    <a:pt x="25" y="50"/>
                  </a:cubicBezTo>
                  <a:cubicBezTo>
                    <a:pt x="24" y="50"/>
                    <a:pt x="23" y="50"/>
                    <a:pt x="22" y="50"/>
                  </a:cubicBezTo>
                  <a:cubicBezTo>
                    <a:pt x="20" y="49"/>
                    <a:pt x="18" y="48"/>
                    <a:pt x="16" y="48"/>
                  </a:cubicBezTo>
                  <a:cubicBezTo>
                    <a:pt x="14" y="47"/>
                    <a:pt x="11" y="46"/>
                    <a:pt x="9" y="45"/>
                  </a:cubicBezTo>
                  <a:cubicBezTo>
                    <a:pt x="9" y="45"/>
                    <a:pt x="9" y="45"/>
                    <a:pt x="9" y="45"/>
                  </a:cubicBezTo>
                  <a:cubicBezTo>
                    <a:pt x="7" y="44"/>
                    <a:pt x="6" y="43"/>
                    <a:pt x="4" y="43"/>
                  </a:cubicBezTo>
                  <a:cubicBezTo>
                    <a:pt x="3" y="43"/>
                    <a:pt x="3" y="43"/>
                    <a:pt x="3" y="43"/>
                  </a:cubicBezTo>
                  <a:cubicBezTo>
                    <a:pt x="2" y="43"/>
                    <a:pt x="2" y="43"/>
                    <a:pt x="2" y="43"/>
                  </a:cubicBezTo>
                  <a:moveTo>
                    <a:pt x="26" y="18"/>
                  </a:moveTo>
                  <a:cubicBezTo>
                    <a:pt x="25" y="18"/>
                    <a:pt x="25" y="18"/>
                    <a:pt x="24" y="17"/>
                  </a:cubicBezTo>
                  <a:cubicBezTo>
                    <a:pt x="25" y="17"/>
                    <a:pt x="25" y="17"/>
                    <a:pt x="25" y="17"/>
                  </a:cubicBezTo>
                  <a:cubicBezTo>
                    <a:pt x="25" y="17"/>
                    <a:pt x="26" y="17"/>
                    <a:pt x="27" y="17"/>
                  </a:cubicBezTo>
                  <a:cubicBezTo>
                    <a:pt x="26" y="18"/>
                    <a:pt x="26" y="18"/>
                    <a:pt x="26" y="18"/>
                  </a:cubicBezTo>
                  <a:cubicBezTo>
                    <a:pt x="26" y="18"/>
                    <a:pt x="26" y="18"/>
                    <a:pt x="26" y="18"/>
                  </a:cubicBezTo>
                  <a:moveTo>
                    <a:pt x="23" y="17"/>
                  </a:moveTo>
                  <a:cubicBezTo>
                    <a:pt x="22" y="17"/>
                    <a:pt x="22" y="17"/>
                    <a:pt x="21" y="16"/>
                  </a:cubicBezTo>
                  <a:cubicBezTo>
                    <a:pt x="21" y="16"/>
                    <a:pt x="21" y="16"/>
                    <a:pt x="21" y="16"/>
                  </a:cubicBezTo>
                  <a:cubicBezTo>
                    <a:pt x="21" y="16"/>
                    <a:pt x="21" y="16"/>
                    <a:pt x="21" y="16"/>
                  </a:cubicBezTo>
                  <a:cubicBezTo>
                    <a:pt x="21" y="16"/>
                    <a:pt x="21" y="16"/>
                    <a:pt x="21" y="16"/>
                  </a:cubicBezTo>
                  <a:cubicBezTo>
                    <a:pt x="22" y="16"/>
                    <a:pt x="23" y="16"/>
                    <a:pt x="23" y="16"/>
                  </a:cubicBezTo>
                  <a:cubicBezTo>
                    <a:pt x="23" y="17"/>
                    <a:pt x="23" y="17"/>
                    <a:pt x="23" y="17"/>
                  </a:cubicBezTo>
                  <a:cubicBezTo>
                    <a:pt x="23" y="17"/>
                    <a:pt x="23" y="17"/>
                    <a:pt x="23" y="17"/>
                  </a:cubicBezTo>
                  <a:moveTo>
                    <a:pt x="32" y="17"/>
                  </a:moveTo>
                  <a:cubicBezTo>
                    <a:pt x="32" y="17"/>
                    <a:pt x="31" y="17"/>
                    <a:pt x="31" y="17"/>
                  </a:cubicBezTo>
                  <a:cubicBezTo>
                    <a:pt x="32" y="15"/>
                    <a:pt x="32" y="15"/>
                    <a:pt x="32" y="15"/>
                  </a:cubicBezTo>
                  <a:cubicBezTo>
                    <a:pt x="33" y="16"/>
                    <a:pt x="33" y="16"/>
                    <a:pt x="33" y="16"/>
                  </a:cubicBezTo>
                  <a:cubicBezTo>
                    <a:pt x="33" y="16"/>
                    <a:pt x="33" y="16"/>
                    <a:pt x="33" y="16"/>
                  </a:cubicBezTo>
                  <a:cubicBezTo>
                    <a:pt x="32" y="17"/>
                    <a:pt x="32" y="17"/>
                    <a:pt x="32" y="17"/>
                  </a:cubicBezTo>
                  <a:moveTo>
                    <a:pt x="19" y="16"/>
                  </a:moveTo>
                  <a:cubicBezTo>
                    <a:pt x="19" y="16"/>
                    <a:pt x="19" y="15"/>
                    <a:pt x="19" y="15"/>
                  </a:cubicBezTo>
                  <a:cubicBezTo>
                    <a:pt x="19" y="15"/>
                    <a:pt x="19" y="15"/>
                    <a:pt x="19" y="15"/>
                  </a:cubicBezTo>
                  <a:cubicBezTo>
                    <a:pt x="19" y="15"/>
                    <a:pt x="19" y="15"/>
                    <a:pt x="19" y="15"/>
                  </a:cubicBezTo>
                  <a:cubicBezTo>
                    <a:pt x="19" y="15"/>
                    <a:pt x="19" y="15"/>
                    <a:pt x="19" y="15"/>
                  </a:cubicBezTo>
                  <a:cubicBezTo>
                    <a:pt x="20" y="15"/>
                    <a:pt x="20" y="15"/>
                    <a:pt x="20" y="15"/>
                  </a:cubicBezTo>
                  <a:cubicBezTo>
                    <a:pt x="20" y="15"/>
                    <a:pt x="20" y="15"/>
                    <a:pt x="20" y="15"/>
                  </a:cubicBezTo>
                  <a:cubicBezTo>
                    <a:pt x="19" y="16"/>
                    <a:pt x="19" y="16"/>
                    <a:pt x="19" y="16"/>
                  </a:cubicBezTo>
                  <a:moveTo>
                    <a:pt x="29" y="16"/>
                  </a:moveTo>
                  <a:cubicBezTo>
                    <a:pt x="29" y="16"/>
                    <a:pt x="28" y="16"/>
                    <a:pt x="28" y="16"/>
                  </a:cubicBezTo>
                  <a:cubicBezTo>
                    <a:pt x="29" y="14"/>
                    <a:pt x="29" y="14"/>
                    <a:pt x="29" y="14"/>
                  </a:cubicBezTo>
                  <a:cubicBezTo>
                    <a:pt x="30" y="15"/>
                    <a:pt x="30" y="15"/>
                    <a:pt x="31" y="15"/>
                  </a:cubicBezTo>
                  <a:cubicBezTo>
                    <a:pt x="29" y="16"/>
                    <a:pt x="29" y="16"/>
                    <a:pt x="29" y="16"/>
                  </a:cubicBezTo>
                  <a:moveTo>
                    <a:pt x="26" y="16"/>
                  </a:moveTo>
                  <a:cubicBezTo>
                    <a:pt x="26" y="16"/>
                    <a:pt x="25" y="15"/>
                    <a:pt x="24" y="15"/>
                  </a:cubicBezTo>
                  <a:cubicBezTo>
                    <a:pt x="26" y="14"/>
                    <a:pt x="26" y="14"/>
                    <a:pt x="26" y="14"/>
                  </a:cubicBezTo>
                  <a:cubicBezTo>
                    <a:pt x="27" y="14"/>
                    <a:pt x="27" y="14"/>
                    <a:pt x="28" y="14"/>
                  </a:cubicBezTo>
                  <a:cubicBezTo>
                    <a:pt x="26" y="16"/>
                    <a:pt x="26" y="16"/>
                    <a:pt x="26" y="16"/>
                  </a:cubicBezTo>
                  <a:moveTo>
                    <a:pt x="23" y="15"/>
                  </a:moveTo>
                  <a:cubicBezTo>
                    <a:pt x="22" y="15"/>
                    <a:pt x="22" y="15"/>
                    <a:pt x="21" y="14"/>
                  </a:cubicBezTo>
                  <a:cubicBezTo>
                    <a:pt x="22" y="14"/>
                    <a:pt x="22" y="13"/>
                    <a:pt x="22" y="13"/>
                  </a:cubicBezTo>
                  <a:cubicBezTo>
                    <a:pt x="23" y="13"/>
                    <a:pt x="24" y="13"/>
                    <a:pt x="25" y="13"/>
                  </a:cubicBezTo>
                  <a:cubicBezTo>
                    <a:pt x="23" y="15"/>
                    <a:pt x="23" y="15"/>
                    <a:pt x="23" y="15"/>
                  </a:cubicBezTo>
                  <a:cubicBezTo>
                    <a:pt x="23" y="15"/>
                    <a:pt x="23" y="15"/>
                    <a:pt x="23" y="15"/>
                  </a:cubicBezTo>
                  <a:moveTo>
                    <a:pt x="20" y="14"/>
                  </a:moveTo>
                  <a:cubicBezTo>
                    <a:pt x="19" y="14"/>
                    <a:pt x="19" y="13"/>
                    <a:pt x="19" y="13"/>
                  </a:cubicBezTo>
                  <a:cubicBezTo>
                    <a:pt x="19" y="12"/>
                    <a:pt x="20" y="12"/>
                    <a:pt x="20" y="12"/>
                  </a:cubicBezTo>
                  <a:cubicBezTo>
                    <a:pt x="20" y="12"/>
                    <a:pt x="20" y="12"/>
                    <a:pt x="20" y="12"/>
                  </a:cubicBezTo>
                  <a:cubicBezTo>
                    <a:pt x="20" y="12"/>
                    <a:pt x="20" y="12"/>
                    <a:pt x="20" y="12"/>
                  </a:cubicBezTo>
                  <a:cubicBezTo>
                    <a:pt x="21" y="12"/>
                    <a:pt x="21" y="12"/>
                    <a:pt x="21" y="12"/>
                  </a:cubicBezTo>
                  <a:cubicBezTo>
                    <a:pt x="21" y="12"/>
                    <a:pt x="21" y="12"/>
                    <a:pt x="21" y="12"/>
                  </a:cubicBezTo>
                  <a:cubicBezTo>
                    <a:pt x="21" y="13"/>
                    <a:pt x="20" y="13"/>
                    <a:pt x="20" y="14"/>
                  </a:cubicBezTo>
                  <a:cubicBezTo>
                    <a:pt x="20" y="14"/>
                    <a:pt x="20" y="14"/>
                    <a:pt x="20" y="14"/>
                  </a:cubicBezTo>
                  <a:moveTo>
                    <a:pt x="24" y="10"/>
                  </a:moveTo>
                  <a:cubicBezTo>
                    <a:pt x="25" y="10"/>
                    <a:pt x="25" y="10"/>
                    <a:pt x="25" y="10"/>
                  </a:cubicBezTo>
                  <a:cubicBezTo>
                    <a:pt x="26" y="9"/>
                    <a:pt x="25" y="9"/>
                    <a:pt x="25" y="8"/>
                  </a:cubicBezTo>
                  <a:cubicBezTo>
                    <a:pt x="25" y="7"/>
                    <a:pt x="25" y="6"/>
                    <a:pt x="25" y="5"/>
                  </a:cubicBezTo>
                  <a:cubicBezTo>
                    <a:pt x="25" y="4"/>
                    <a:pt x="25" y="3"/>
                    <a:pt x="25" y="2"/>
                  </a:cubicBezTo>
                  <a:cubicBezTo>
                    <a:pt x="25" y="2"/>
                    <a:pt x="25" y="2"/>
                    <a:pt x="25" y="2"/>
                  </a:cubicBezTo>
                  <a:cubicBezTo>
                    <a:pt x="25" y="2"/>
                    <a:pt x="25" y="2"/>
                    <a:pt x="25" y="2"/>
                  </a:cubicBezTo>
                  <a:cubicBezTo>
                    <a:pt x="27" y="2"/>
                    <a:pt x="28" y="3"/>
                    <a:pt x="29" y="3"/>
                  </a:cubicBezTo>
                  <a:cubicBezTo>
                    <a:pt x="30" y="3"/>
                    <a:pt x="31" y="4"/>
                    <a:pt x="32" y="4"/>
                  </a:cubicBezTo>
                  <a:cubicBezTo>
                    <a:pt x="32" y="4"/>
                    <a:pt x="32" y="4"/>
                    <a:pt x="32" y="4"/>
                  </a:cubicBezTo>
                  <a:cubicBezTo>
                    <a:pt x="32" y="4"/>
                    <a:pt x="32" y="4"/>
                    <a:pt x="32" y="4"/>
                  </a:cubicBezTo>
                  <a:cubicBezTo>
                    <a:pt x="31" y="5"/>
                    <a:pt x="31" y="5"/>
                    <a:pt x="30" y="6"/>
                  </a:cubicBezTo>
                  <a:cubicBezTo>
                    <a:pt x="29" y="7"/>
                    <a:pt x="28" y="9"/>
                    <a:pt x="29" y="10"/>
                  </a:cubicBezTo>
                  <a:cubicBezTo>
                    <a:pt x="29" y="11"/>
                    <a:pt x="29" y="11"/>
                    <a:pt x="29" y="11"/>
                  </a:cubicBezTo>
                  <a:cubicBezTo>
                    <a:pt x="29" y="11"/>
                    <a:pt x="29" y="11"/>
                    <a:pt x="29" y="11"/>
                  </a:cubicBezTo>
                  <a:cubicBezTo>
                    <a:pt x="30" y="11"/>
                    <a:pt x="30" y="11"/>
                    <a:pt x="30" y="11"/>
                  </a:cubicBezTo>
                  <a:cubicBezTo>
                    <a:pt x="30" y="10"/>
                    <a:pt x="31" y="9"/>
                    <a:pt x="31" y="9"/>
                  </a:cubicBezTo>
                  <a:cubicBezTo>
                    <a:pt x="32" y="8"/>
                    <a:pt x="32" y="8"/>
                    <a:pt x="32" y="8"/>
                  </a:cubicBezTo>
                  <a:cubicBezTo>
                    <a:pt x="32" y="7"/>
                    <a:pt x="33" y="7"/>
                    <a:pt x="34" y="6"/>
                  </a:cubicBezTo>
                  <a:cubicBezTo>
                    <a:pt x="34" y="6"/>
                    <a:pt x="34" y="6"/>
                    <a:pt x="34" y="6"/>
                  </a:cubicBezTo>
                  <a:cubicBezTo>
                    <a:pt x="34" y="6"/>
                    <a:pt x="35" y="6"/>
                    <a:pt x="35" y="6"/>
                  </a:cubicBezTo>
                  <a:cubicBezTo>
                    <a:pt x="35" y="7"/>
                    <a:pt x="35" y="7"/>
                    <a:pt x="35" y="7"/>
                  </a:cubicBezTo>
                  <a:cubicBezTo>
                    <a:pt x="36" y="7"/>
                    <a:pt x="38" y="8"/>
                    <a:pt x="38" y="9"/>
                  </a:cubicBezTo>
                  <a:cubicBezTo>
                    <a:pt x="36" y="10"/>
                    <a:pt x="33" y="12"/>
                    <a:pt x="32" y="14"/>
                  </a:cubicBezTo>
                  <a:cubicBezTo>
                    <a:pt x="32" y="14"/>
                    <a:pt x="32" y="14"/>
                    <a:pt x="32" y="14"/>
                  </a:cubicBezTo>
                  <a:cubicBezTo>
                    <a:pt x="30" y="13"/>
                    <a:pt x="24" y="12"/>
                    <a:pt x="21" y="11"/>
                  </a:cubicBezTo>
                  <a:cubicBezTo>
                    <a:pt x="21" y="10"/>
                    <a:pt x="21" y="10"/>
                    <a:pt x="21" y="10"/>
                  </a:cubicBezTo>
                  <a:cubicBezTo>
                    <a:pt x="22" y="8"/>
                    <a:pt x="21" y="5"/>
                    <a:pt x="19" y="3"/>
                  </a:cubicBezTo>
                  <a:cubicBezTo>
                    <a:pt x="20" y="3"/>
                    <a:pt x="20" y="3"/>
                    <a:pt x="21" y="3"/>
                  </a:cubicBezTo>
                  <a:cubicBezTo>
                    <a:pt x="21" y="3"/>
                    <a:pt x="22" y="3"/>
                    <a:pt x="22" y="3"/>
                  </a:cubicBezTo>
                  <a:cubicBezTo>
                    <a:pt x="22" y="3"/>
                    <a:pt x="22" y="4"/>
                    <a:pt x="22" y="5"/>
                  </a:cubicBezTo>
                  <a:cubicBezTo>
                    <a:pt x="23" y="6"/>
                    <a:pt x="23" y="7"/>
                    <a:pt x="23" y="8"/>
                  </a:cubicBezTo>
                  <a:cubicBezTo>
                    <a:pt x="23" y="9"/>
                    <a:pt x="24" y="10"/>
                    <a:pt x="24" y="10"/>
                  </a:cubicBezTo>
                  <a:moveTo>
                    <a:pt x="25" y="0"/>
                  </a:moveTo>
                  <a:cubicBezTo>
                    <a:pt x="25" y="0"/>
                    <a:pt x="24" y="0"/>
                    <a:pt x="24" y="1"/>
                  </a:cubicBezTo>
                  <a:cubicBezTo>
                    <a:pt x="24" y="1"/>
                    <a:pt x="23" y="1"/>
                    <a:pt x="23" y="2"/>
                  </a:cubicBezTo>
                  <a:cubicBezTo>
                    <a:pt x="23" y="2"/>
                    <a:pt x="23" y="2"/>
                    <a:pt x="23" y="2"/>
                  </a:cubicBezTo>
                  <a:cubicBezTo>
                    <a:pt x="23" y="2"/>
                    <a:pt x="23" y="2"/>
                    <a:pt x="23" y="2"/>
                  </a:cubicBezTo>
                  <a:cubicBezTo>
                    <a:pt x="23" y="2"/>
                    <a:pt x="23" y="2"/>
                    <a:pt x="23" y="2"/>
                  </a:cubicBezTo>
                  <a:cubicBezTo>
                    <a:pt x="22" y="1"/>
                    <a:pt x="22" y="1"/>
                    <a:pt x="21" y="1"/>
                  </a:cubicBezTo>
                  <a:cubicBezTo>
                    <a:pt x="20" y="1"/>
                    <a:pt x="19" y="2"/>
                    <a:pt x="18" y="2"/>
                  </a:cubicBezTo>
                  <a:cubicBezTo>
                    <a:pt x="17" y="3"/>
                    <a:pt x="17" y="3"/>
                    <a:pt x="17" y="3"/>
                  </a:cubicBezTo>
                  <a:cubicBezTo>
                    <a:pt x="18" y="4"/>
                    <a:pt x="18" y="4"/>
                    <a:pt x="18" y="4"/>
                  </a:cubicBezTo>
                  <a:cubicBezTo>
                    <a:pt x="20" y="6"/>
                    <a:pt x="20" y="8"/>
                    <a:pt x="20" y="10"/>
                  </a:cubicBezTo>
                  <a:cubicBezTo>
                    <a:pt x="20" y="11"/>
                    <a:pt x="20" y="11"/>
                    <a:pt x="20" y="11"/>
                  </a:cubicBezTo>
                  <a:cubicBezTo>
                    <a:pt x="19" y="11"/>
                    <a:pt x="18" y="12"/>
                    <a:pt x="18" y="12"/>
                  </a:cubicBezTo>
                  <a:cubicBezTo>
                    <a:pt x="18" y="13"/>
                    <a:pt x="18" y="13"/>
                    <a:pt x="18" y="14"/>
                  </a:cubicBezTo>
                  <a:cubicBezTo>
                    <a:pt x="17" y="14"/>
                    <a:pt x="17" y="14"/>
                    <a:pt x="17" y="14"/>
                  </a:cubicBezTo>
                  <a:cubicBezTo>
                    <a:pt x="17" y="15"/>
                    <a:pt x="17" y="16"/>
                    <a:pt x="18" y="16"/>
                  </a:cubicBezTo>
                  <a:cubicBezTo>
                    <a:pt x="16" y="17"/>
                    <a:pt x="15" y="18"/>
                    <a:pt x="13" y="18"/>
                  </a:cubicBezTo>
                  <a:cubicBezTo>
                    <a:pt x="12" y="19"/>
                    <a:pt x="11" y="19"/>
                    <a:pt x="9" y="20"/>
                  </a:cubicBezTo>
                  <a:cubicBezTo>
                    <a:pt x="6" y="22"/>
                    <a:pt x="3" y="26"/>
                    <a:pt x="2" y="30"/>
                  </a:cubicBezTo>
                  <a:cubicBezTo>
                    <a:pt x="1" y="33"/>
                    <a:pt x="1" y="36"/>
                    <a:pt x="1" y="39"/>
                  </a:cubicBezTo>
                  <a:cubicBezTo>
                    <a:pt x="1" y="39"/>
                    <a:pt x="1" y="40"/>
                    <a:pt x="1" y="41"/>
                  </a:cubicBezTo>
                  <a:cubicBezTo>
                    <a:pt x="0" y="42"/>
                    <a:pt x="0" y="42"/>
                    <a:pt x="0" y="42"/>
                  </a:cubicBezTo>
                  <a:cubicBezTo>
                    <a:pt x="0" y="43"/>
                    <a:pt x="0" y="43"/>
                    <a:pt x="0" y="44"/>
                  </a:cubicBezTo>
                  <a:cubicBezTo>
                    <a:pt x="0" y="45"/>
                    <a:pt x="1" y="45"/>
                    <a:pt x="2" y="45"/>
                  </a:cubicBezTo>
                  <a:cubicBezTo>
                    <a:pt x="2" y="45"/>
                    <a:pt x="3" y="45"/>
                    <a:pt x="3" y="45"/>
                  </a:cubicBezTo>
                  <a:cubicBezTo>
                    <a:pt x="3" y="45"/>
                    <a:pt x="3" y="45"/>
                    <a:pt x="4" y="45"/>
                  </a:cubicBezTo>
                  <a:cubicBezTo>
                    <a:pt x="5" y="45"/>
                    <a:pt x="7" y="45"/>
                    <a:pt x="8" y="46"/>
                  </a:cubicBezTo>
                  <a:cubicBezTo>
                    <a:pt x="9" y="46"/>
                    <a:pt x="9" y="46"/>
                    <a:pt x="9" y="46"/>
                  </a:cubicBezTo>
                  <a:cubicBezTo>
                    <a:pt x="11" y="47"/>
                    <a:pt x="13" y="48"/>
                    <a:pt x="15" y="49"/>
                  </a:cubicBezTo>
                  <a:cubicBezTo>
                    <a:pt x="17" y="50"/>
                    <a:pt x="20" y="50"/>
                    <a:pt x="22" y="51"/>
                  </a:cubicBezTo>
                  <a:cubicBezTo>
                    <a:pt x="23" y="51"/>
                    <a:pt x="24" y="52"/>
                    <a:pt x="25" y="52"/>
                  </a:cubicBezTo>
                  <a:cubicBezTo>
                    <a:pt x="25" y="52"/>
                    <a:pt x="26" y="52"/>
                    <a:pt x="27" y="52"/>
                  </a:cubicBezTo>
                  <a:cubicBezTo>
                    <a:pt x="28" y="52"/>
                    <a:pt x="28" y="52"/>
                    <a:pt x="28" y="52"/>
                  </a:cubicBezTo>
                  <a:cubicBezTo>
                    <a:pt x="28" y="53"/>
                    <a:pt x="29" y="54"/>
                    <a:pt x="31" y="54"/>
                  </a:cubicBezTo>
                  <a:cubicBezTo>
                    <a:pt x="31" y="54"/>
                    <a:pt x="31" y="54"/>
                    <a:pt x="31" y="54"/>
                  </a:cubicBezTo>
                  <a:cubicBezTo>
                    <a:pt x="32" y="54"/>
                    <a:pt x="32" y="52"/>
                    <a:pt x="33" y="51"/>
                  </a:cubicBezTo>
                  <a:cubicBezTo>
                    <a:pt x="33" y="51"/>
                    <a:pt x="33" y="50"/>
                    <a:pt x="33" y="50"/>
                  </a:cubicBezTo>
                  <a:cubicBezTo>
                    <a:pt x="33" y="49"/>
                    <a:pt x="34" y="48"/>
                    <a:pt x="34" y="47"/>
                  </a:cubicBezTo>
                  <a:cubicBezTo>
                    <a:pt x="35" y="47"/>
                    <a:pt x="35" y="46"/>
                    <a:pt x="36" y="46"/>
                  </a:cubicBezTo>
                  <a:cubicBezTo>
                    <a:pt x="38" y="42"/>
                    <a:pt x="39" y="38"/>
                    <a:pt x="38" y="33"/>
                  </a:cubicBezTo>
                  <a:cubicBezTo>
                    <a:pt x="37" y="30"/>
                    <a:pt x="35" y="27"/>
                    <a:pt x="34" y="24"/>
                  </a:cubicBezTo>
                  <a:cubicBezTo>
                    <a:pt x="33" y="23"/>
                    <a:pt x="32" y="21"/>
                    <a:pt x="31" y="20"/>
                  </a:cubicBezTo>
                  <a:cubicBezTo>
                    <a:pt x="34" y="23"/>
                    <a:pt x="39" y="27"/>
                    <a:pt x="43" y="27"/>
                  </a:cubicBezTo>
                  <a:cubicBezTo>
                    <a:pt x="43" y="27"/>
                    <a:pt x="43" y="27"/>
                    <a:pt x="43" y="27"/>
                  </a:cubicBezTo>
                  <a:cubicBezTo>
                    <a:pt x="44" y="27"/>
                    <a:pt x="44" y="27"/>
                    <a:pt x="44" y="27"/>
                  </a:cubicBezTo>
                  <a:cubicBezTo>
                    <a:pt x="44" y="26"/>
                    <a:pt x="44" y="25"/>
                    <a:pt x="45" y="25"/>
                  </a:cubicBezTo>
                  <a:cubicBezTo>
                    <a:pt x="45" y="24"/>
                    <a:pt x="45" y="24"/>
                    <a:pt x="45" y="24"/>
                  </a:cubicBezTo>
                  <a:cubicBezTo>
                    <a:pt x="45" y="24"/>
                    <a:pt x="45" y="24"/>
                    <a:pt x="45" y="24"/>
                  </a:cubicBezTo>
                  <a:cubicBezTo>
                    <a:pt x="42" y="23"/>
                    <a:pt x="39" y="21"/>
                    <a:pt x="37" y="20"/>
                  </a:cubicBezTo>
                  <a:cubicBezTo>
                    <a:pt x="37" y="20"/>
                    <a:pt x="37" y="20"/>
                    <a:pt x="37" y="20"/>
                  </a:cubicBezTo>
                  <a:cubicBezTo>
                    <a:pt x="37" y="20"/>
                    <a:pt x="37" y="20"/>
                    <a:pt x="37" y="20"/>
                  </a:cubicBezTo>
                  <a:cubicBezTo>
                    <a:pt x="38" y="20"/>
                    <a:pt x="39" y="19"/>
                    <a:pt x="41" y="19"/>
                  </a:cubicBezTo>
                  <a:cubicBezTo>
                    <a:pt x="41" y="19"/>
                    <a:pt x="41" y="19"/>
                    <a:pt x="41" y="19"/>
                  </a:cubicBezTo>
                  <a:cubicBezTo>
                    <a:pt x="41" y="18"/>
                    <a:pt x="41" y="18"/>
                    <a:pt x="41" y="18"/>
                  </a:cubicBezTo>
                  <a:cubicBezTo>
                    <a:pt x="41" y="18"/>
                    <a:pt x="41" y="17"/>
                    <a:pt x="41" y="16"/>
                  </a:cubicBezTo>
                  <a:cubicBezTo>
                    <a:pt x="41" y="16"/>
                    <a:pt x="41" y="16"/>
                    <a:pt x="41" y="16"/>
                  </a:cubicBezTo>
                  <a:cubicBezTo>
                    <a:pt x="41" y="16"/>
                    <a:pt x="41" y="16"/>
                    <a:pt x="41" y="16"/>
                  </a:cubicBezTo>
                  <a:cubicBezTo>
                    <a:pt x="39" y="16"/>
                    <a:pt x="38" y="16"/>
                    <a:pt x="36" y="16"/>
                  </a:cubicBezTo>
                  <a:cubicBezTo>
                    <a:pt x="36" y="16"/>
                    <a:pt x="35" y="16"/>
                    <a:pt x="34" y="16"/>
                  </a:cubicBezTo>
                  <a:cubicBezTo>
                    <a:pt x="34" y="15"/>
                    <a:pt x="34" y="15"/>
                    <a:pt x="33" y="15"/>
                  </a:cubicBezTo>
                  <a:cubicBezTo>
                    <a:pt x="34" y="13"/>
                    <a:pt x="37" y="11"/>
                    <a:pt x="40" y="10"/>
                  </a:cubicBezTo>
                  <a:cubicBezTo>
                    <a:pt x="40" y="10"/>
                    <a:pt x="40" y="10"/>
                    <a:pt x="40" y="10"/>
                  </a:cubicBezTo>
                  <a:cubicBezTo>
                    <a:pt x="40" y="9"/>
                    <a:pt x="40" y="9"/>
                    <a:pt x="40" y="9"/>
                  </a:cubicBezTo>
                  <a:cubicBezTo>
                    <a:pt x="39" y="8"/>
                    <a:pt x="38" y="7"/>
                    <a:pt x="37" y="6"/>
                  </a:cubicBezTo>
                  <a:cubicBezTo>
                    <a:pt x="37" y="5"/>
                    <a:pt x="37" y="5"/>
                    <a:pt x="37" y="5"/>
                  </a:cubicBezTo>
                  <a:cubicBezTo>
                    <a:pt x="36" y="5"/>
                    <a:pt x="36" y="5"/>
                    <a:pt x="36" y="5"/>
                  </a:cubicBezTo>
                  <a:cubicBezTo>
                    <a:pt x="36" y="5"/>
                    <a:pt x="36" y="5"/>
                    <a:pt x="36" y="5"/>
                  </a:cubicBezTo>
                  <a:cubicBezTo>
                    <a:pt x="35" y="5"/>
                    <a:pt x="35" y="5"/>
                    <a:pt x="34" y="5"/>
                  </a:cubicBezTo>
                  <a:cubicBezTo>
                    <a:pt x="34" y="5"/>
                    <a:pt x="34" y="5"/>
                    <a:pt x="33" y="5"/>
                  </a:cubicBezTo>
                  <a:cubicBezTo>
                    <a:pt x="33" y="4"/>
                    <a:pt x="33" y="4"/>
                    <a:pt x="33" y="4"/>
                  </a:cubicBezTo>
                  <a:cubicBezTo>
                    <a:pt x="33" y="3"/>
                    <a:pt x="33" y="3"/>
                    <a:pt x="32" y="3"/>
                  </a:cubicBezTo>
                  <a:cubicBezTo>
                    <a:pt x="31" y="2"/>
                    <a:pt x="30" y="2"/>
                    <a:pt x="29" y="2"/>
                  </a:cubicBezTo>
                  <a:cubicBezTo>
                    <a:pt x="28" y="1"/>
                    <a:pt x="27" y="1"/>
                    <a:pt x="26" y="0"/>
                  </a:cubicBezTo>
                  <a:cubicBezTo>
                    <a:pt x="26" y="0"/>
                    <a:pt x="25" y="0"/>
                    <a:pt x="25"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10" name="íŝľíḍe"/>
            <p:cNvSpPr/>
            <p:nvPr/>
          </p:nvSpPr>
          <p:spPr bwMode="auto">
            <a:xfrm>
              <a:off x="4084" y="2477"/>
              <a:ext cx="9" cy="14"/>
            </a:xfrm>
            <a:custGeom>
              <a:avLst/>
              <a:gdLst>
                <a:gd name="T0" fmla="*/ 1 w 4"/>
                <a:gd name="T1" fmla="*/ 5 h 6"/>
                <a:gd name="T2" fmla="*/ 1 w 4"/>
                <a:gd name="T3" fmla="*/ 5 h 6"/>
                <a:gd name="T4" fmla="*/ 2 w 4"/>
                <a:gd name="T5" fmla="*/ 2 h 6"/>
                <a:gd name="T6" fmla="*/ 2 w 4"/>
                <a:gd name="T7" fmla="*/ 3 h 6"/>
                <a:gd name="T8" fmla="*/ 2 w 4"/>
                <a:gd name="T9" fmla="*/ 4 h 6"/>
                <a:gd name="T10" fmla="*/ 1 w 4"/>
                <a:gd name="T11" fmla="*/ 5 h 6"/>
                <a:gd name="T12" fmla="*/ 1 w 4"/>
                <a:gd name="T13" fmla="*/ 0 h 6"/>
                <a:gd name="T14" fmla="*/ 1 w 4"/>
                <a:gd name="T15" fmla="*/ 0 h 6"/>
                <a:gd name="T16" fmla="*/ 0 w 4"/>
                <a:gd name="T17" fmla="*/ 5 h 6"/>
                <a:gd name="T18" fmla="*/ 0 w 4"/>
                <a:gd name="T19" fmla="*/ 6 h 6"/>
                <a:gd name="T20" fmla="*/ 0 w 4"/>
                <a:gd name="T21" fmla="*/ 6 h 6"/>
                <a:gd name="T22" fmla="*/ 1 w 4"/>
                <a:gd name="T23" fmla="*/ 6 h 6"/>
                <a:gd name="T24" fmla="*/ 1 w 4"/>
                <a:gd name="T25" fmla="*/ 6 h 6"/>
                <a:gd name="T26" fmla="*/ 3 w 4"/>
                <a:gd name="T27" fmla="*/ 5 h 6"/>
                <a:gd name="T28" fmla="*/ 3 w 4"/>
                <a:gd name="T29" fmla="*/ 2 h 6"/>
                <a:gd name="T30" fmla="*/ 2 w 4"/>
                <a:gd name="T31" fmla="*/ 0 h 6"/>
                <a:gd name="T32" fmla="*/ 1 w 4"/>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6">
                  <a:moveTo>
                    <a:pt x="1" y="5"/>
                  </a:moveTo>
                  <a:cubicBezTo>
                    <a:pt x="1" y="5"/>
                    <a:pt x="1" y="5"/>
                    <a:pt x="1" y="5"/>
                  </a:cubicBezTo>
                  <a:cubicBezTo>
                    <a:pt x="1" y="4"/>
                    <a:pt x="1" y="3"/>
                    <a:pt x="2" y="2"/>
                  </a:cubicBezTo>
                  <a:cubicBezTo>
                    <a:pt x="2" y="3"/>
                    <a:pt x="2" y="3"/>
                    <a:pt x="2" y="3"/>
                  </a:cubicBezTo>
                  <a:cubicBezTo>
                    <a:pt x="2" y="3"/>
                    <a:pt x="2" y="4"/>
                    <a:pt x="2" y="4"/>
                  </a:cubicBezTo>
                  <a:cubicBezTo>
                    <a:pt x="2" y="5"/>
                    <a:pt x="1" y="5"/>
                    <a:pt x="1" y="5"/>
                  </a:cubicBezTo>
                  <a:moveTo>
                    <a:pt x="1" y="0"/>
                  </a:moveTo>
                  <a:cubicBezTo>
                    <a:pt x="1" y="0"/>
                    <a:pt x="1" y="0"/>
                    <a:pt x="1" y="0"/>
                  </a:cubicBezTo>
                  <a:cubicBezTo>
                    <a:pt x="0" y="2"/>
                    <a:pt x="0" y="4"/>
                    <a:pt x="0" y="5"/>
                  </a:cubicBezTo>
                  <a:cubicBezTo>
                    <a:pt x="0" y="6"/>
                    <a:pt x="0" y="6"/>
                    <a:pt x="0" y="6"/>
                  </a:cubicBezTo>
                  <a:cubicBezTo>
                    <a:pt x="0" y="6"/>
                    <a:pt x="0" y="6"/>
                    <a:pt x="0" y="6"/>
                  </a:cubicBezTo>
                  <a:cubicBezTo>
                    <a:pt x="1" y="6"/>
                    <a:pt x="1" y="6"/>
                    <a:pt x="1" y="6"/>
                  </a:cubicBezTo>
                  <a:cubicBezTo>
                    <a:pt x="1" y="6"/>
                    <a:pt x="1" y="6"/>
                    <a:pt x="1" y="6"/>
                  </a:cubicBezTo>
                  <a:cubicBezTo>
                    <a:pt x="2" y="6"/>
                    <a:pt x="3" y="6"/>
                    <a:pt x="3" y="5"/>
                  </a:cubicBezTo>
                  <a:cubicBezTo>
                    <a:pt x="4" y="4"/>
                    <a:pt x="4" y="3"/>
                    <a:pt x="3" y="2"/>
                  </a:cubicBezTo>
                  <a:cubicBezTo>
                    <a:pt x="3" y="2"/>
                    <a:pt x="2" y="1"/>
                    <a:pt x="2" y="0"/>
                  </a:cubicBezTo>
                  <a:cubicBezTo>
                    <a:pt x="1" y="0"/>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11" name="iṧļïḑè"/>
            <p:cNvSpPr/>
            <p:nvPr/>
          </p:nvSpPr>
          <p:spPr bwMode="auto">
            <a:xfrm>
              <a:off x="4062" y="2448"/>
              <a:ext cx="46" cy="50"/>
            </a:xfrm>
            <a:custGeom>
              <a:avLst/>
              <a:gdLst>
                <a:gd name="T0" fmla="*/ 12 w 19"/>
                <a:gd name="T1" fmla="*/ 3 h 21"/>
                <a:gd name="T2" fmla="*/ 14 w 19"/>
                <a:gd name="T3" fmla="*/ 1 h 21"/>
                <a:gd name="T4" fmla="*/ 13 w 19"/>
                <a:gd name="T5" fmla="*/ 3 h 21"/>
                <a:gd name="T6" fmla="*/ 13 w 19"/>
                <a:gd name="T7" fmla="*/ 3 h 21"/>
                <a:gd name="T8" fmla="*/ 17 w 19"/>
                <a:gd name="T9" fmla="*/ 7 h 21"/>
                <a:gd name="T10" fmla="*/ 13 w 19"/>
                <a:gd name="T11" fmla="*/ 5 h 21"/>
                <a:gd name="T12" fmla="*/ 12 w 19"/>
                <a:gd name="T13" fmla="*/ 5 h 21"/>
                <a:gd name="T14" fmla="*/ 11 w 19"/>
                <a:gd name="T15" fmla="*/ 11 h 21"/>
                <a:gd name="T16" fmla="*/ 14 w 19"/>
                <a:gd name="T17" fmla="*/ 14 h 21"/>
                <a:gd name="T18" fmla="*/ 13 w 19"/>
                <a:gd name="T19" fmla="*/ 18 h 21"/>
                <a:gd name="T20" fmla="*/ 9 w 19"/>
                <a:gd name="T21" fmla="*/ 19 h 21"/>
                <a:gd name="T22" fmla="*/ 8 w 19"/>
                <a:gd name="T23" fmla="*/ 19 h 21"/>
                <a:gd name="T24" fmla="*/ 7 w 19"/>
                <a:gd name="T25" fmla="*/ 20 h 21"/>
                <a:gd name="T26" fmla="*/ 7 w 19"/>
                <a:gd name="T27" fmla="*/ 19 h 21"/>
                <a:gd name="T28" fmla="*/ 6 w 19"/>
                <a:gd name="T29" fmla="*/ 18 h 21"/>
                <a:gd name="T30" fmla="*/ 3 w 19"/>
                <a:gd name="T31" fmla="*/ 14 h 21"/>
                <a:gd name="T32" fmla="*/ 7 w 19"/>
                <a:gd name="T33" fmla="*/ 17 h 21"/>
                <a:gd name="T34" fmla="*/ 9 w 19"/>
                <a:gd name="T35" fmla="*/ 11 h 21"/>
                <a:gd name="T36" fmla="*/ 6 w 19"/>
                <a:gd name="T37" fmla="*/ 6 h 21"/>
                <a:gd name="T38" fmla="*/ 10 w 19"/>
                <a:gd name="T39" fmla="*/ 3 h 21"/>
                <a:gd name="T40" fmla="*/ 12 w 19"/>
                <a:gd name="T41" fmla="*/ 0 h 21"/>
                <a:gd name="T42" fmla="*/ 11 w 19"/>
                <a:gd name="T43" fmla="*/ 2 h 21"/>
                <a:gd name="T44" fmla="*/ 8 w 19"/>
                <a:gd name="T45" fmla="*/ 2 h 21"/>
                <a:gd name="T46" fmla="*/ 8 w 19"/>
                <a:gd name="T47" fmla="*/ 11 h 21"/>
                <a:gd name="T48" fmla="*/ 4 w 19"/>
                <a:gd name="T49" fmla="*/ 13 h 21"/>
                <a:gd name="T50" fmla="*/ 3 w 19"/>
                <a:gd name="T51" fmla="*/ 13 h 21"/>
                <a:gd name="T52" fmla="*/ 0 w 19"/>
                <a:gd name="T53" fmla="*/ 15 h 21"/>
                <a:gd name="T54" fmla="*/ 6 w 19"/>
                <a:gd name="T55" fmla="*/ 19 h 21"/>
                <a:gd name="T56" fmla="*/ 6 w 19"/>
                <a:gd name="T57" fmla="*/ 20 h 21"/>
                <a:gd name="T58" fmla="*/ 8 w 19"/>
                <a:gd name="T59" fmla="*/ 21 h 21"/>
                <a:gd name="T60" fmla="*/ 9 w 19"/>
                <a:gd name="T61" fmla="*/ 21 h 21"/>
                <a:gd name="T62" fmla="*/ 9 w 19"/>
                <a:gd name="T63" fmla="*/ 20 h 21"/>
                <a:gd name="T64" fmla="*/ 13 w 19"/>
                <a:gd name="T65" fmla="*/ 19 h 21"/>
                <a:gd name="T66" fmla="*/ 15 w 19"/>
                <a:gd name="T67" fmla="*/ 13 h 21"/>
                <a:gd name="T68" fmla="*/ 13 w 19"/>
                <a:gd name="T69" fmla="*/ 6 h 21"/>
                <a:gd name="T70" fmla="*/ 15 w 19"/>
                <a:gd name="T71" fmla="*/ 9 h 21"/>
                <a:gd name="T72" fmla="*/ 16 w 19"/>
                <a:gd name="T73" fmla="*/ 9 h 21"/>
                <a:gd name="T74" fmla="*/ 18 w 19"/>
                <a:gd name="T75" fmla="*/ 6 h 21"/>
                <a:gd name="T76" fmla="*/ 15 w 19"/>
                <a:gd name="T77" fmla="*/ 2 h 21"/>
                <a:gd name="T78" fmla="*/ 15 w 19"/>
                <a:gd name="T79" fmla="*/ 0 h 21"/>
                <a:gd name="T80" fmla="*/ 12 w 19"/>
                <a:gd name="T8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21">
                  <a:moveTo>
                    <a:pt x="11" y="3"/>
                  </a:moveTo>
                  <a:cubicBezTo>
                    <a:pt x="12" y="3"/>
                    <a:pt x="12" y="3"/>
                    <a:pt x="12" y="3"/>
                  </a:cubicBezTo>
                  <a:cubicBezTo>
                    <a:pt x="12" y="2"/>
                    <a:pt x="12" y="1"/>
                    <a:pt x="13" y="1"/>
                  </a:cubicBezTo>
                  <a:cubicBezTo>
                    <a:pt x="14" y="1"/>
                    <a:pt x="14" y="1"/>
                    <a:pt x="14" y="1"/>
                  </a:cubicBezTo>
                  <a:cubicBezTo>
                    <a:pt x="13" y="2"/>
                    <a:pt x="13" y="2"/>
                    <a:pt x="13" y="2"/>
                  </a:cubicBezTo>
                  <a:cubicBezTo>
                    <a:pt x="13" y="3"/>
                    <a:pt x="13" y="3"/>
                    <a:pt x="13" y="3"/>
                  </a:cubicBezTo>
                  <a:cubicBezTo>
                    <a:pt x="13" y="3"/>
                    <a:pt x="13" y="3"/>
                    <a:pt x="13" y="3"/>
                  </a:cubicBezTo>
                  <a:cubicBezTo>
                    <a:pt x="13" y="3"/>
                    <a:pt x="13" y="3"/>
                    <a:pt x="13" y="3"/>
                  </a:cubicBezTo>
                  <a:cubicBezTo>
                    <a:pt x="14" y="3"/>
                    <a:pt x="16" y="5"/>
                    <a:pt x="17" y="7"/>
                  </a:cubicBezTo>
                  <a:cubicBezTo>
                    <a:pt x="17" y="7"/>
                    <a:pt x="17" y="7"/>
                    <a:pt x="17" y="7"/>
                  </a:cubicBezTo>
                  <a:cubicBezTo>
                    <a:pt x="17" y="7"/>
                    <a:pt x="16" y="7"/>
                    <a:pt x="16" y="8"/>
                  </a:cubicBezTo>
                  <a:cubicBezTo>
                    <a:pt x="15" y="7"/>
                    <a:pt x="14" y="5"/>
                    <a:pt x="13" y="5"/>
                  </a:cubicBezTo>
                  <a:cubicBezTo>
                    <a:pt x="13" y="5"/>
                    <a:pt x="13" y="5"/>
                    <a:pt x="13" y="5"/>
                  </a:cubicBezTo>
                  <a:cubicBezTo>
                    <a:pt x="12" y="5"/>
                    <a:pt x="12" y="5"/>
                    <a:pt x="12" y="5"/>
                  </a:cubicBezTo>
                  <a:cubicBezTo>
                    <a:pt x="12" y="7"/>
                    <a:pt x="11" y="8"/>
                    <a:pt x="11" y="10"/>
                  </a:cubicBezTo>
                  <a:cubicBezTo>
                    <a:pt x="11" y="11"/>
                    <a:pt x="11" y="11"/>
                    <a:pt x="11" y="11"/>
                  </a:cubicBezTo>
                  <a:cubicBezTo>
                    <a:pt x="11" y="11"/>
                    <a:pt x="11" y="11"/>
                    <a:pt x="11" y="11"/>
                  </a:cubicBezTo>
                  <a:cubicBezTo>
                    <a:pt x="12" y="12"/>
                    <a:pt x="13" y="13"/>
                    <a:pt x="14" y="14"/>
                  </a:cubicBezTo>
                  <a:cubicBezTo>
                    <a:pt x="14" y="14"/>
                    <a:pt x="14" y="15"/>
                    <a:pt x="14" y="16"/>
                  </a:cubicBezTo>
                  <a:cubicBezTo>
                    <a:pt x="14" y="17"/>
                    <a:pt x="14" y="18"/>
                    <a:pt x="13" y="18"/>
                  </a:cubicBezTo>
                  <a:cubicBezTo>
                    <a:pt x="12" y="19"/>
                    <a:pt x="11" y="19"/>
                    <a:pt x="10" y="19"/>
                  </a:cubicBezTo>
                  <a:cubicBezTo>
                    <a:pt x="9" y="19"/>
                    <a:pt x="9" y="19"/>
                    <a:pt x="9" y="19"/>
                  </a:cubicBezTo>
                  <a:cubicBezTo>
                    <a:pt x="9" y="19"/>
                    <a:pt x="9" y="19"/>
                    <a:pt x="9" y="19"/>
                  </a:cubicBezTo>
                  <a:cubicBezTo>
                    <a:pt x="8" y="19"/>
                    <a:pt x="8" y="19"/>
                    <a:pt x="8" y="19"/>
                  </a:cubicBezTo>
                  <a:cubicBezTo>
                    <a:pt x="8" y="20"/>
                    <a:pt x="8" y="20"/>
                    <a:pt x="8" y="20"/>
                  </a:cubicBezTo>
                  <a:cubicBezTo>
                    <a:pt x="7" y="20"/>
                    <a:pt x="7" y="20"/>
                    <a:pt x="7" y="20"/>
                  </a:cubicBezTo>
                  <a:cubicBezTo>
                    <a:pt x="7" y="19"/>
                    <a:pt x="7" y="19"/>
                    <a:pt x="7" y="19"/>
                  </a:cubicBezTo>
                  <a:cubicBezTo>
                    <a:pt x="7" y="19"/>
                    <a:pt x="7" y="19"/>
                    <a:pt x="7" y="19"/>
                  </a:cubicBezTo>
                  <a:cubicBezTo>
                    <a:pt x="7" y="18"/>
                    <a:pt x="7" y="18"/>
                    <a:pt x="7" y="18"/>
                  </a:cubicBezTo>
                  <a:cubicBezTo>
                    <a:pt x="6" y="18"/>
                    <a:pt x="6" y="18"/>
                    <a:pt x="6" y="18"/>
                  </a:cubicBezTo>
                  <a:cubicBezTo>
                    <a:pt x="5" y="17"/>
                    <a:pt x="4" y="16"/>
                    <a:pt x="2" y="15"/>
                  </a:cubicBezTo>
                  <a:cubicBezTo>
                    <a:pt x="3" y="15"/>
                    <a:pt x="3" y="14"/>
                    <a:pt x="3" y="14"/>
                  </a:cubicBezTo>
                  <a:cubicBezTo>
                    <a:pt x="4" y="15"/>
                    <a:pt x="6" y="16"/>
                    <a:pt x="7" y="17"/>
                  </a:cubicBezTo>
                  <a:cubicBezTo>
                    <a:pt x="7" y="17"/>
                    <a:pt x="7" y="17"/>
                    <a:pt x="7" y="17"/>
                  </a:cubicBezTo>
                  <a:cubicBezTo>
                    <a:pt x="8" y="17"/>
                    <a:pt x="8" y="17"/>
                    <a:pt x="8" y="17"/>
                  </a:cubicBezTo>
                  <a:cubicBezTo>
                    <a:pt x="8" y="15"/>
                    <a:pt x="9" y="13"/>
                    <a:pt x="9" y="11"/>
                  </a:cubicBezTo>
                  <a:cubicBezTo>
                    <a:pt x="9" y="10"/>
                    <a:pt x="9" y="10"/>
                    <a:pt x="9" y="10"/>
                  </a:cubicBezTo>
                  <a:cubicBezTo>
                    <a:pt x="7" y="9"/>
                    <a:pt x="6" y="7"/>
                    <a:pt x="6" y="6"/>
                  </a:cubicBezTo>
                  <a:cubicBezTo>
                    <a:pt x="6" y="5"/>
                    <a:pt x="8" y="4"/>
                    <a:pt x="8" y="3"/>
                  </a:cubicBezTo>
                  <a:cubicBezTo>
                    <a:pt x="9" y="3"/>
                    <a:pt x="9" y="3"/>
                    <a:pt x="10" y="3"/>
                  </a:cubicBezTo>
                  <a:cubicBezTo>
                    <a:pt x="11" y="3"/>
                    <a:pt x="11" y="3"/>
                    <a:pt x="11" y="3"/>
                  </a:cubicBezTo>
                  <a:moveTo>
                    <a:pt x="12" y="0"/>
                  </a:moveTo>
                  <a:cubicBezTo>
                    <a:pt x="12" y="0"/>
                    <a:pt x="12" y="0"/>
                    <a:pt x="12" y="0"/>
                  </a:cubicBezTo>
                  <a:cubicBezTo>
                    <a:pt x="11" y="1"/>
                    <a:pt x="11" y="1"/>
                    <a:pt x="11" y="2"/>
                  </a:cubicBezTo>
                  <a:cubicBezTo>
                    <a:pt x="11" y="2"/>
                    <a:pt x="11" y="2"/>
                    <a:pt x="11" y="2"/>
                  </a:cubicBezTo>
                  <a:cubicBezTo>
                    <a:pt x="9" y="2"/>
                    <a:pt x="8" y="2"/>
                    <a:pt x="8" y="2"/>
                  </a:cubicBezTo>
                  <a:cubicBezTo>
                    <a:pt x="7" y="3"/>
                    <a:pt x="5" y="4"/>
                    <a:pt x="5" y="6"/>
                  </a:cubicBezTo>
                  <a:cubicBezTo>
                    <a:pt x="5" y="8"/>
                    <a:pt x="6" y="9"/>
                    <a:pt x="8" y="11"/>
                  </a:cubicBezTo>
                  <a:cubicBezTo>
                    <a:pt x="8" y="13"/>
                    <a:pt x="7" y="14"/>
                    <a:pt x="7" y="15"/>
                  </a:cubicBezTo>
                  <a:cubicBezTo>
                    <a:pt x="6" y="15"/>
                    <a:pt x="5" y="14"/>
                    <a:pt x="4" y="13"/>
                  </a:cubicBezTo>
                  <a:cubicBezTo>
                    <a:pt x="4" y="13"/>
                    <a:pt x="4" y="13"/>
                    <a:pt x="4" y="13"/>
                  </a:cubicBezTo>
                  <a:cubicBezTo>
                    <a:pt x="3" y="13"/>
                    <a:pt x="3" y="13"/>
                    <a:pt x="3" y="13"/>
                  </a:cubicBezTo>
                  <a:cubicBezTo>
                    <a:pt x="2" y="13"/>
                    <a:pt x="2" y="14"/>
                    <a:pt x="1" y="14"/>
                  </a:cubicBezTo>
                  <a:cubicBezTo>
                    <a:pt x="0" y="15"/>
                    <a:pt x="0" y="15"/>
                    <a:pt x="0" y="15"/>
                  </a:cubicBezTo>
                  <a:cubicBezTo>
                    <a:pt x="1" y="15"/>
                    <a:pt x="1" y="15"/>
                    <a:pt x="1" y="15"/>
                  </a:cubicBezTo>
                  <a:cubicBezTo>
                    <a:pt x="3" y="17"/>
                    <a:pt x="5" y="18"/>
                    <a:pt x="6" y="19"/>
                  </a:cubicBezTo>
                  <a:cubicBezTo>
                    <a:pt x="6" y="19"/>
                    <a:pt x="6" y="19"/>
                    <a:pt x="6" y="19"/>
                  </a:cubicBezTo>
                  <a:cubicBezTo>
                    <a:pt x="6" y="19"/>
                    <a:pt x="6" y="20"/>
                    <a:pt x="6" y="20"/>
                  </a:cubicBezTo>
                  <a:cubicBezTo>
                    <a:pt x="6" y="21"/>
                    <a:pt x="6" y="21"/>
                    <a:pt x="6" y="21"/>
                  </a:cubicBezTo>
                  <a:cubicBezTo>
                    <a:pt x="8" y="21"/>
                    <a:pt x="8" y="21"/>
                    <a:pt x="8" y="21"/>
                  </a:cubicBezTo>
                  <a:cubicBezTo>
                    <a:pt x="8" y="21"/>
                    <a:pt x="8" y="21"/>
                    <a:pt x="8" y="21"/>
                  </a:cubicBezTo>
                  <a:cubicBezTo>
                    <a:pt x="9" y="21"/>
                    <a:pt x="9" y="21"/>
                    <a:pt x="9" y="21"/>
                  </a:cubicBezTo>
                  <a:cubicBezTo>
                    <a:pt x="9" y="20"/>
                    <a:pt x="9" y="20"/>
                    <a:pt x="9" y="20"/>
                  </a:cubicBezTo>
                  <a:cubicBezTo>
                    <a:pt x="9" y="20"/>
                    <a:pt x="9" y="20"/>
                    <a:pt x="9" y="20"/>
                  </a:cubicBezTo>
                  <a:cubicBezTo>
                    <a:pt x="10" y="20"/>
                    <a:pt x="10" y="20"/>
                    <a:pt x="10" y="20"/>
                  </a:cubicBezTo>
                  <a:cubicBezTo>
                    <a:pt x="12" y="20"/>
                    <a:pt x="13" y="20"/>
                    <a:pt x="13" y="19"/>
                  </a:cubicBezTo>
                  <a:cubicBezTo>
                    <a:pt x="15" y="19"/>
                    <a:pt x="16" y="17"/>
                    <a:pt x="16" y="16"/>
                  </a:cubicBezTo>
                  <a:cubicBezTo>
                    <a:pt x="16" y="15"/>
                    <a:pt x="15" y="14"/>
                    <a:pt x="15" y="13"/>
                  </a:cubicBezTo>
                  <a:cubicBezTo>
                    <a:pt x="14" y="12"/>
                    <a:pt x="13" y="11"/>
                    <a:pt x="12" y="10"/>
                  </a:cubicBezTo>
                  <a:cubicBezTo>
                    <a:pt x="12" y="9"/>
                    <a:pt x="13" y="7"/>
                    <a:pt x="13" y="6"/>
                  </a:cubicBezTo>
                  <a:cubicBezTo>
                    <a:pt x="14" y="7"/>
                    <a:pt x="14" y="8"/>
                    <a:pt x="15" y="8"/>
                  </a:cubicBezTo>
                  <a:cubicBezTo>
                    <a:pt x="15" y="8"/>
                    <a:pt x="15" y="9"/>
                    <a:pt x="15" y="9"/>
                  </a:cubicBezTo>
                  <a:cubicBezTo>
                    <a:pt x="16" y="9"/>
                    <a:pt x="16" y="9"/>
                    <a:pt x="16" y="9"/>
                  </a:cubicBezTo>
                  <a:cubicBezTo>
                    <a:pt x="16" y="9"/>
                    <a:pt x="16" y="9"/>
                    <a:pt x="16" y="9"/>
                  </a:cubicBezTo>
                  <a:cubicBezTo>
                    <a:pt x="17" y="8"/>
                    <a:pt x="17" y="8"/>
                    <a:pt x="18" y="8"/>
                  </a:cubicBezTo>
                  <a:cubicBezTo>
                    <a:pt x="18" y="7"/>
                    <a:pt x="19" y="7"/>
                    <a:pt x="18" y="6"/>
                  </a:cubicBezTo>
                  <a:cubicBezTo>
                    <a:pt x="18" y="5"/>
                    <a:pt x="16" y="3"/>
                    <a:pt x="14" y="2"/>
                  </a:cubicBezTo>
                  <a:cubicBezTo>
                    <a:pt x="15" y="2"/>
                    <a:pt x="15" y="2"/>
                    <a:pt x="15" y="2"/>
                  </a:cubicBezTo>
                  <a:cubicBezTo>
                    <a:pt x="15" y="2"/>
                    <a:pt x="15" y="1"/>
                    <a:pt x="15" y="1"/>
                  </a:cubicBezTo>
                  <a:cubicBezTo>
                    <a:pt x="15" y="0"/>
                    <a:pt x="15" y="0"/>
                    <a:pt x="15" y="0"/>
                  </a:cubicBezTo>
                  <a:cubicBezTo>
                    <a:pt x="14" y="0"/>
                    <a:pt x="14" y="0"/>
                    <a:pt x="14" y="0"/>
                  </a:cubicBezTo>
                  <a:cubicBezTo>
                    <a:pt x="12" y="0"/>
                    <a:pt x="12" y="0"/>
                    <a:pt x="1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12" name="iSľïḋè"/>
            <p:cNvSpPr/>
            <p:nvPr/>
          </p:nvSpPr>
          <p:spPr bwMode="auto">
            <a:xfrm>
              <a:off x="4079" y="2458"/>
              <a:ext cx="10" cy="11"/>
            </a:xfrm>
            <a:custGeom>
              <a:avLst/>
              <a:gdLst>
                <a:gd name="T0" fmla="*/ 2 w 4"/>
                <a:gd name="T1" fmla="*/ 3 h 5"/>
                <a:gd name="T2" fmla="*/ 2 w 4"/>
                <a:gd name="T3" fmla="*/ 2 h 5"/>
                <a:gd name="T4" fmla="*/ 3 w 4"/>
                <a:gd name="T5" fmla="*/ 1 h 5"/>
                <a:gd name="T6" fmla="*/ 2 w 4"/>
                <a:gd name="T7" fmla="*/ 3 h 5"/>
                <a:gd name="T8" fmla="*/ 4 w 4"/>
                <a:gd name="T9" fmla="*/ 0 h 5"/>
                <a:gd name="T10" fmla="*/ 1 w 4"/>
                <a:gd name="T11" fmla="*/ 1 h 5"/>
                <a:gd name="T12" fmla="*/ 2 w 4"/>
                <a:gd name="T13" fmla="*/ 4 h 5"/>
                <a:gd name="T14" fmla="*/ 2 w 4"/>
                <a:gd name="T15" fmla="*/ 5 h 5"/>
                <a:gd name="T16" fmla="*/ 2 w 4"/>
                <a:gd name="T17" fmla="*/ 5 h 5"/>
                <a:gd name="T18" fmla="*/ 2 w 4"/>
                <a:gd name="T19" fmla="*/ 5 h 5"/>
                <a:gd name="T20" fmla="*/ 3 w 4"/>
                <a:gd name="T21" fmla="*/ 5 h 5"/>
                <a:gd name="T22" fmla="*/ 3 w 4"/>
                <a:gd name="T23" fmla="*/ 5 h 5"/>
                <a:gd name="T24" fmla="*/ 4 w 4"/>
                <a:gd name="T25" fmla="*/ 0 h 5"/>
                <a:gd name="T26" fmla="*/ 4 w 4"/>
                <a:gd name="T27" fmla="*/ 0 h 5"/>
                <a:gd name="T28" fmla="*/ 4 w 4"/>
                <a:gd name="T29" fmla="*/ 0 h 5"/>
                <a:gd name="T30" fmla="*/ 4 w 4"/>
                <a:gd name="T3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2" y="3"/>
                  </a:moveTo>
                  <a:cubicBezTo>
                    <a:pt x="2" y="3"/>
                    <a:pt x="2" y="2"/>
                    <a:pt x="2" y="2"/>
                  </a:cubicBezTo>
                  <a:cubicBezTo>
                    <a:pt x="2" y="1"/>
                    <a:pt x="2" y="1"/>
                    <a:pt x="3" y="1"/>
                  </a:cubicBezTo>
                  <a:cubicBezTo>
                    <a:pt x="3" y="2"/>
                    <a:pt x="2" y="2"/>
                    <a:pt x="2" y="3"/>
                  </a:cubicBezTo>
                  <a:moveTo>
                    <a:pt x="4" y="0"/>
                  </a:moveTo>
                  <a:cubicBezTo>
                    <a:pt x="3" y="0"/>
                    <a:pt x="1" y="0"/>
                    <a:pt x="1" y="1"/>
                  </a:cubicBezTo>
                  <a:cubicBezTo>
                    <a:pt x="0" y="3"/>
                    <a:pt x="1" y="4"/>
                    <a:pt x="2" y="4"/>
                  </a:cubicBezTo>
                  <a:cubicBezTo>
                    <a:pt x="2" y="5"/>
                    <a:pt x="2" y="5"/>
                    <a:pt x="2" y="5"/>
                  </a:cubicBezTo>
                  <a:cubicBezTo>
                    <a:pt x="2" y="5"/>
                    <a:pt x="2" y="5"/>
                    <a:pt x="2" y="5"/>
                  </a:cubicBezTo>
                  <a:cubicBezTo>
                    <a:pt x="2" y="5"/>
                    <a:pt x="2" y="5"/>
                    <a:pt x="2" y="5"/>
                  </a:cubicBezTo>
                  <a:cubicBezTo>
                    <a:pt x="3" y="5"/>
                    <a:pt x="3" y="5"/>
                    <a:pt x="3" y="5"/>
                  </a:cubicBezTo>
                  <a:cubicBezTo>
                    <a:pt x="3" y="5"/>
                    <a:pt x="3" y="5"/>
                    <a:pt x="3" y="5"/>
                  </a:cubicBezTo>
                  <a:cubicBezTo>
                    <a:pt x="3" y="3"/>
                    <a:pt x="4" y="2"/>
                    <a:pt x="4" y="0"/>
                  </a:cubicBezTo>
                  <a:cubicBezTo>
                    <a:pt x="4" y="0"/>
                    <a:pt x="4" y="0"/>
                    <a:pt x="4" y="0"/>
                  </a:cubicBezTo>
                  <a:cubicBezTo>
                    <a:pt x="4" y="0"/>
                    <a:pt x="4" y="0"/>
                    <a:pt x="4" y="0"/>
                  </a:cubicBezTo>
                  <a:cubicBezTo>
                    <a:pt x="4" y="0"/>
                    <a:pt x="4" y="0"/>
                    <a:pt x="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13" name="îş1ïďè"/>
            <p:cNvSpPr/>
            <p:nvPr/>
          </p:nvSpPr>
          <p:spPr bwMode="auto">
            <a:xfrm>
              <a:off x="3534" y="2367"/>
              <a:ext cx="55" cy="52"/>
            </a:xfrm>
            <a:custGeom>
              <a:avLst/>
              <a:gdLst>
                <a:gd name="T0" fmla="*/ 14 w 23"/>
                <a:gd name="T1" fmla="*/ 21 h 22"/>
                <a:gd name="T2" fmla="*/ 12 w 23"/>
                <a:gd name="T3" fmla="*/ 21 h 22"/>
                <a:gd name="T4" fmla="*/ 13 w 23"/>
                <a:gd name="T5" fmla="*/ 21 h 22"/>
                <a:gd name="T6" fmla="*/ 11 w 23"/>
                <a:gd name="T7" fmla="*/ 21 h 22"/>
                <a:gd name="T8" fmla="*/ 11 w 23"/>
                <a:gd name="T9" fmla="*/ 21 h 22"/>
                <a:gd name="T10" fmla="*/ 10 w 23"/>
                <a:gd name="T11" fmla="*/ 21 h 22"/>
                <a:gd name="T12" fmla="*/ 9 w 23"/>
                <a:gd name="T13" fmla="*/ 21 h 22"/>
                <a:gd name="T14" fmla="*/ 10 w 23"/>
                <a:gd name="T15" fmla="*/ 20 h 22"/>
                <a:gd name="T16" fmla="*/ 8 w 23"/>
                <a:gd name="T17" fmla="*/ 21 h 22"/>
                <a:gd name="T18" fmla="*/ 9 w 23"/>
                <a:gd name="T19" fmla="*/ 21 h 22"/>
                <a:gd name="T20" fmla="*/ 8 w 23"/>
                <a:gd name="T21" fmla="*/ 19 h 22"/>
                <a:gd name="T22" fmla="*/ 7 w 23"/>
                <a:gd name="T23" fmla="*/ 20 h 22"/>
                <a:gd name="T24" fmla="*/ 8 w 23"/>
                <a:gd name="T25" fmla="*/ 19 h 22"/>
                <a:gd name="T26" fmla="*/ 4 w 23"/>
                <a:gd name="T27" fmla="*/ 18 h 22"/>
                <a:gd name="T28" fmla="*/ 5 w 23"/>
                <a:gd name="T29" fmla="*/ 19 h 22"/>
                <a:gd name="T30" fmla="*/ 4 w 23"/>
                <a:gd name="T31" fmla="*/ 16 h 22"/>
                <a:gd name="T32" fmla="*/ 4 w 23"/>
                <a:gd name="T33" fmla="*/ 17 h 22"/>
                <a:gd name="T34" fmla="*/ 3 w 23"/>
                <a:gd name="T35" fmla="*/ 15 h 22"/>
                <a:gd name="T36" fmla="*/ 4 w 23"/>
                <a:gd name="T37" fmla="*/ 15 h 22"/>
                <a:gd name="T38" fmla="*/ 2 w 23"/>
                <a:gd name="T39" fmla="*/ 15 h 22"/>
                <a:gd name="T40" fmla="*/ 3 w 23"/>
                <a:gd name="T41" fmla="*/ 13 h 22"/>
                <a:gd name="T42" fmla="*/ 2 w 23"/>
                <a:gd name="T43" fmla="*/ 13 h 22"/>
                <a:gd name="T44" fmla="*/ 3 w 23"/>
                <a:gd name="T45" fmla="*/ 10 h 22"/>
                <a:gd name="T46" fmla="*/ 2 w 23"/>
                <a:gd name="T47" fmla="*/ 10 h 22"/>
                <a:gd name="T48" fmla="*/ 3 w 23"/>
                <a:gd name="T49" fmla="*/ 9 h 22"/>
                <a:gd name="T50" fmla="*/ 2 w 23"/>
                <a:gd name="T51" fmla="*/ 9 h 22"/>
                <a:gd name="T52" fmla="*/ 3 w 23"/>
                <a:gd name="T53" fmla="*/ 8 h 22"/>
                <a:gd name="T54" fmla="*/ 2 w 23"/>
                <a:gd name="T55" fmla="*/ 7 h 22"/>
                <a:gd name="T56" fmla="*/ 3 w 23"/>
                <a:gd name="T57" fmla="*/ 6 h 22"/>
                <a:gd name="T58" fmla="*/ 3 w 23"/>
                <a:gd name="T59" fmla="*/ 6 h 22"/>
                <a:gd name="T60" fmla="*/ 4 w 23"/>
                <a:gd name="T61" fmla="*/ 5 h 22"/>
                <a:gd name="T62" fmla="*/ 14 w 23"/>
                <a:gd name="T63" fmla="*/ 20 h 22"/>
                <a:gd name="T64" fmla="*/ 9 w 23"/>
                <a:gd name="T65" fmla="*/ 1 h 22"/>
                <a:gd name="T66" fmla="*/ 21 w 23"/>
                <a:gd name="T67" fmla="*/ 16 h 22"/>
                <a:gd name="T68" fmla="*/ 12 w 23"/>
                <a:gd name="T69" fmla="*/ 0 h 22"/>
                <a:gd name="T70" fmla="*/ 6 w 23"/>
                <a:gd name="T71" fmla="*/ 2 h 22"/>
                <a:gd name="T72" fmla="*/ 3 w 23"/>
                <a:gd name="T73" fmla="*/ 4 h 22"/>
                <a:gd name="T74" fmla="*/ 1 w 23"/>
                <a:gd name="T75" fmla="*/ 15 h 22"/>
                <a:gd name="T76" fmla="*/ 10 w 23"/>
                <a:gd name="T77" fmla="*/ 22 h 22"/>
                <a:gd name="T78" fmla="*/ 13 w 23"/>
                <a:gd name="T79" fmla="*/ 22 h 22"/>
                <a:gd name="T80" fmla="*/ 13 w 23"/>
                <a:gd name="T81" fmla="*/ 22 h 22"/>
                <a:gd name="T82" fmla="*/ 18 w 23"/>
                <a:gd name="T83" fmla="*/ 20 h 22"/>
                <a:gd name="T84" fmla="*/ 22 w 23"/>
                <a:gd name="T85"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 h="22">
                  <a:moveTo>
                    <a:pt x="13" y="21"/>
                  </a:moveTo>
                  <a:cubicBezTo>
                    <a:pt x="13" y="21"/>
                    <a:pt x="13" y="21"/>
                    <a:pt x="13" y="21"/>
                  </a:cubicBezTo>
                  <a:cubicBezTo>
                    <a:pt x="14" y="21"/>
                    <a:pt x="14" y="21"/>
                    <a:pt x="14" y="21"/>
                  </a:cubicBezTo>
                  <a:cubicBezTo>
                    <a:pt x="13" y="21"/>
                    <a:pt x="13" y="21"/>
                    <a:pt x="13" y="21"/>
                  </a:cubicBezTo>
                  <a:moveTo>
                    <a:pt x="12" y="21"/>
                  </a:moveTo>
                  <a:cubicBezTo>
                    <a:pt x="12" y="21"/>
                    <a:pt x="12" y="21"/>
                    <a:pt x="12" y="21"/>
                  </a:cubicBezTo>
                  <a:cubicBezTo>
                    <a:pt x="13" y="21"/>
                    <a:pt x="13" y="21"/>
                    <a:pt x="13" y="21"/>
                  </a:cubicBezTo>
                  <a:cubicBezTo>
                    <a:pt x="13" y="21"/>
                    <a:pt x="13" y="21"/>
                    <a:pt x="13" y="21"/>
                  </a:cubicBezTo>
                  <a:cubicBezTo>
                    <a:pt x="13" y="21"/>
                    <a:pt x="13" y="21"/>
                    <a:pt x="13" y="21"/>
                  </a:cubicBezTo>
                  <a:cubicBezTo>
                    <a:pt x="12" y="21"/>
                    <a:pt x="12" y="21"/>
                    <a:pt x="12" y="21"/>
                  </a:cubicBezTo>
                  <a:moveTo>
                    <a:pt x="11" y="21"/>
                  </a:moveTo>
                  <a:cubicBezTo>
                    <a:pt x="11" y="21"/>
                    <a:pt x="11" y="21"/>
                    <a:pt x="11" y="21"/>
                  </a:cubicBezTo>
                  <a:cubicBezTo>
                    <a:pt x="11" y="21"/>
                    <a:pt x="11" y="21"/>
                    <a:pt x="11" y="21"/>
                  </a:cubicBezTo>
                  <a:cubicBezTo>
                    <a:pt x="12" y="21"/>
                    <a:pt x="12" y="21"/>
                    <a:pt x="12" y="21"/>
                  </a:cubicBezTo>
                  <a:cubicBezTo>
                    <a:pt x="11" y="21"/>
                    <a:pt x="11" y="21"/>
                    <a:pt x="11" y="21"/>
                  </a:cubicBezTo>
                  <a:moveTo>
                    <a:pt x="10" y="21"/>
                  </a:moveTo>
                  <a:cubicBezTo>
                    <a:pt x="10" y="21"/>
                    <a:pt x="10" y="21"/>
                    <a:pt x="10" y="21"/>
                  </a:cubicBezTo>
                  <a:cubicBezTo>
                    <a:pt x="10" y="21"/>
                    <a:pt x="10" y="21"/>
                    <a:pt x="10" y="21"/>
                  </a:cubicBezTo>
                  <a:cubicBezTo>
                    <a:pt x="11" y="21"/>
                    <a:pt x="11" y="21"/>
                    <a:pt x="11" y="21"/>
                  </a:cubicBezTo>
                  <a:cubicBezTo>
                    <a:pt x="10" y="21"/>
                    <a:pt x="10" y="21"/>
                    <a:pt x="10" y="21"/>
                  </a:cubicBezTo>
                  <a:moveTo>
                    <a:pt x="9" y="21"/>
                  </a:moveTo>
                  <a:cubicBezTo>
                    <a:pt x="9" y="21"/>
                    <a:pt x="9" y="21"/>
                    <a:pt x="9" y="21"/>
                  </a:cubicBezTo>
                  <a:cubicBezTo>
                    <a:pt x="10" y="20"/>
                    <a:pt x="10" y="20"/>
                    <a:pt x="10" y="20"/>
                  </a:cubicBezTo>
                  <a:cubicBezTo>
                    <a:pt x="10" y="20"/>
                    <a:pt x="10" y="20"/>
                    <a:pt x="10" y="20"/>
                  </a:cubicBezTo>
                  <a:cubicBezTo>
                    <a:pt x="9" y="21"/>
                    <a:pt x="9" y="21"/>
                    <a:pt x="9" y="21"/>
                  </a:cubicBezTo>
                  <a:moveTo>
                    <a:pt x="9" y="21"/>
                  </a:moveTo>
                  <a:cubicBezTo>
                    <a:pt x="8" y="21"/>
                    <a:pt x="8" y="21"/>
                    <a:pt x="8" y="21"/>
                  </a:cubicBezTo>
                  <a:cubicBezTo>
                    <a:pt x="9" y="20"/>
                    <a:pt x="9" y="20"/>
                    <a:pt x="9" y="20"/>
                  </a:cubicBezTo>
                  <a:cubicBezTo>
                    <a:pt x="9" y="20"/>
                    <a:pt x="9" y="20"/>
                    <a:pt x="9" y="20"/>
                  </a:cubicBezTo>
                  <a:cubicBezTo>
                    <a:pt x="9" y="21"/>
                    <a:pt x="9" y="21"/>
                    <a:pt x="9" y="21"/>
                  </a:cubicBezTo>
                  <a:moveTo>
                    <a:pt x="7" y="21"/>
                  </a:moveTo>
                  <a:cubicBezTo>
                    <a:pt x="7" y="20"/>
                    <a:pt x="7" y="20"/>
                    <a:pt x="7" y="20"/>
                  </a:cubicBezTo>
                  <a:cubicBezTo>
                    <a:pt x="8" y="19"/>
                    <a:pt x="8" y="19"/>
                    <a:pt x="8" y="19"/>
                  </a:cubicBezTo>
                  <a:cubicBezTo>
                    <a:pt x="8" y="20"/>
                    <a:pt x="8" y="20"/>
                    <a:pt x="8" y="20"/>
                  </a:cubicBezTo>
                  <a:cubicBezTo>
                    <a:pt x="7" y="21"/>
                    <a:pt x="7" y="21"/>
                    <a:pt x="7" y="21"/>
                  </a:cubicBezTo>
                  <a:moveTo>
                    <a:pt x="7" y="20"/>
                  </a:moveTo>
                  <a:cubicBezTo>
                    <a:pt x="6" y="20"/>
                    <a:pt x="6" y="20"/>
                    <a:pt x="5" y="19"/>
                  </a:cubicBezTo>
                  <a:cubicBezTo>
                    <a:pt x="6" y="18"/>
                    <a:pt x="6" y="18"/>
                    <a:pt x="6" y="18"/>
                  </a:cubicBezTo>
                  <a:cubicBezTo>
                    <a:pt x="7" y="18"/>
                    <a:pt x="7" y="19"/>
                    <a:pt x="8" y="19"/>
                  </a:cubicBezTo>
                  <a:cubicBezTo>
                    <a:pt x="7" y="20"/>
                    <a:pt x="7" y="20"/>
                    <a:pt x="7" y="20"/>
                  </a:cubicBezTo>
                  <a:moveTo>
                    <a:pt x="5" y="19"/>
                  </a:moveTo>
                  <a:cubicBezTo>
                    <a:pt x="5" y="19"/>
                    <a:pt x="4" y="18"/>
                    <a:pt x="4" y="18"/>
                  </a:cubicBezTo>
                  <a:cubicBezTo>
                    <a:pt x="4" y="17"/>
                    <a:pt x="5" y="17"/>
                    <a:pt x="5" y="16"/>
                  </a:cubicBezTo>
                  <a:cubicBezTo>
                    <a:pt x="5" y="17"/>
                    <a:pt x="5" y="17"/>
                    <a:pt x="6" y="18"/>
                  </a:cubicBezTo>
                  <a:cubicBezTo>
                    <a:pt x="5" y="19"/>
                    <a:pt x="5" y="19"/>
                    <a:pt x="5" y="19"/>
                  </a:cubicBezTo>
                  <a:moveTo>
                    <a:pt x="4" y="17"/>
                  </a:moveTo>
                  <a:cubicBezTo>
                    <a:pt x="3" y="17"/>
                    <a:pt x="3" y="17"/>
                    <a:pt x="3" y="17"/>
                  </a:cubicBezTo>
                  <a:cubicBezTo>
                    <a:pt x="4" y="16"/>
                    <a:pt x="4" y="16"/>
                    <a:pt x="4" y="16"/>
                  </a:cubicBezTo>
                  <a:cubicBezTo>
                    <a:pt x="4" y="15"/>
                    <a:pt x="4" y="15"/>
                    <a:pt x="4" y="15"/>
                  </a:cubicBezTo>
                  <a:cubicBezTo>
                    <a:pt x="5" y="16"/>
                    <a:pt x="5" y="16"/>
                    <a:pt x="5" y="16"/>
                  </a:cubicBezTo>
                  <a:cubicBezTo>
                    <a:pt x="4" y="16"/>
                    <a:pt x="4" y="17"/>
                    <a:pt x="4" y="17"/>
                  </a:cubicBezTo>
                  <a:moveTo>
                    <a:pt x="3" y="16"/>
                  </a:moveTo>
                  <a:cubicBezTo>
                    <a:pt x="3" y="16"/>
                    <a:pt x="2" y="15"/>
                    <a:pt x="2" y="15"/>
                  </a:cubicBezTo>
                  <a:cubicBezTo>
                    <a:pt x="3" y="15"/>
                    <a:pt x="3" y="15"/>
                    <a:pt x="3" y="15"/>
                  </a:cubicBezTo>
                  <a:cubicBezTo>
                    <a:pt x="4" y="14"/>
                    <a:pt x="4" y="14"/>
                    <a:pt x="4" y="14"/>
                  </a:cubicBezTo>
                  <a:cubicBezTo>
                    <a:pt x="4" y="14"/>
                    <a:pt x="4" y="14"/>
                    <a:pt x="4" y="14"/>
                  </a:cubicBezTo>
                  <a:cubicBezTo>
                    <a:pt x="4" y="15"/>
                    <a:pt x="4" y="15"/>
                    <a:pt x="4" y="15"/>
                  </a:cubicBezTo>
                  <a:cubicBezTo>
                    <a:pt x="3" y="16"/>
                    <a:pt x="3" y="16"/>
                    <a:pt x="3" y="16"/>
                  </a:cubicBezTo>
                  <a:cubicBezTo>
                    <a:pt x="3" y="16"/>
                    <a:pt x="3" y="16"/>
                    <a:pt x="3" y="16"/>
                  </a:cubicBezTo>
                  <a:moveTo>
                    <a:pt x="2" y="15"/>
                  </a:moveTo>
                  <a:cubicBezTo>
                    <a:pt x="2" y="14"/>
                    <a:pt x="2" y="14"/>
                    <a:pt x="2" y="13"/>
                  </a:cubicBezTo>
                  <a:cubicBezTo>
                    <a:pt x="3" y="12"/>
                    <a:pt x="3" y="12"/>
                    <a:pt x="3" y="12"/>
                  </a:cubicBezTo>
                  <a:cubicBezTo>
                    <a:pt x="3" y="13"/>
                    <a:pt x="3" y="13"/>
                    <a:pt x="3" y="13"/>
                  </a:cubicBezTo>
                  <a:cubicBezTo>
                    <a:pt x="3" y="14"/>
                    <a:pt x="3" y="14"/>
                    <a:pt x="3" y="14"/>
                  </a:cubicBezTo>
                  <a:cubicBezTo>
                    <a:pt x="2" y="15"/>
                    <a:pt x="2" y="15"/>
                    <a:pt x="2" y="15"/>
                  </a:cubicBezTo>
                  <a:moveTo>
                    <a:pt x="2" y="13"/>
                  </a:moveTo>
                  <a:cubicBezTo>
                    <a:pt x="2" y="12"/>
                    <a:pt x="2" y="11"/>
                    <a:pt x="2" y="11"/>
                  </a:cubicBezTo>
                  <a:cubicBezTo>
                    <a:pt x="3" y="10"/>
                    <a:pt x="3" y="10"/>
                    <a:pt x="3" y="10"/>
                  </a:cubicBezTo>
                  <a:cubicBezTo>
                    <a:pt x="3" y="10"/>
                    <a:pt x="3" y="10"/>
                    <a:pt x="3" y="10"/>
                  </a:cubicBezTo>
                  <a:cubicBezTo>
                    <a:pt x="3" y="10"/>
                    <a:pt x="3" y="11"/>
                    <a:pt x="3" y="12"/>
                  </a:cubicBezTo>
                  <a:cubicBezTo>
                    <a:pt x="2" y="13"/>
                    <a:pt x="2" y="13"/>
                    <a:pt x="2" y="13"/>
                  </a:cubicBezTo>
                  <a:moveTo>
                    <a:pt x="2" y="10"/>
                  </a:moveTo>
                  <a:cubicBezTo>
                    <a:pt x="2" y="9"/>
                    <a:pt x="2" y="9"/>
                    <a:pt x="2" y="9"/>
                  </a:cubicBezTo>
                  <a:cubicBezTo>
                    <a:pt x="3" y="8"/>
                    <a:pt x="3" y="8"/>
                    <a:pt x="3" y="8"/>
                  </a:cubicBezTo>
                  <a:cubicBezTo>
                    <a:pt x="3" y="9"/>
                    <a:pt x="3" y="9"/>
                    <a:pt x="3" y="9"/>
                  </a:cubicBezTo>
                  <a:cubicBezTo>
                    <a:pt x="2" y="10"/>
                    <a:pt x="2" y="10"/>
                    <a:pt x="2" y="10"/>
                  </a:cubicBezTo>
                  <a:cubicBezTo>
                    <a:pt x="2" y="10"/>
                    <a:pt x="2" y="10"/>
                    <a:pt x="2" y="10"/>
                  </a:cubicBezTo>
                  <a:moveTo>
                    <a:pt x="2" y="9"/>
                  </a:moveTo>
                  <a:cubicBezTo>
                    <a:pt x="2" y="8"/>
                    <a:pt x="2" y="8"/>
                    <a:pt x="2" y="8"/>
                  </a:cubicBezTo>
                  <a:cubicBezTo>
                    <a:pt x="2" y="8"/>
                    <a:pt x="3" y="8"/>
                    <a:pt x="3" y="7"/>
                  </a:cubicBezTo>
                  <a:cubicBezTo>
                    <a:pt x="3" y="8"/>
                    <a:pt x="3" y="8"/>
                    <a:pt x="3" y="8"/>
                  </a:cubicBezTo>
                  <a:cubicBezTo>
                    <a:pt x="2" y="9"/>
                    <a:pt x="2" y="9"/>
                    <a:pt x="2" y="9"/>
                  </a:cubicBezTo>
                  <a:moveTo>
                    <a:pt x="2" y="7"/>
                  </a:moveTo>
                  <a:cubicBezTo>
                    <a:pt x="2" y="7"/>
                    <a:pt x="2" y="7"/>
                    <a:pt x="2" y="7"/>
                  </a:cubicBezTo>
                  <a:cubicBezTo>
                    <a:pt x="3" y="6"/>
                    <a:pt x="3" y="6"/>
                    <a:pt x="3" y="6"/>
                  </a:cubicBezTo>
                  <a:cubicBezTo>
                    <a:pt x="3" y="6"/>
                    <a:pt x="3" y="6"/>
                    <a:pt x="3" y="6"/>
                  </a:cubicBezTo>
                  <a:cubicBezTo>
                    <a:pt x="3" y="6"/>
                    <a:pt x="3" y="6"/>
                    <a:pt x="3" y="6"/>
                  </a:cubicBezTo>
                  <a:cubicBezTo>
                    <a:pt x="3" y="7"/>
                    <a:pt x="3" y="7"/>
                    <a:pt x="3" y="7"/>
                  </a:cubicBezTo>
                  <a:cubicBezTo>
                    <a:pt x="3" y="7"/>
                    <a:pt x="2" y="7"/>
                    <a:pt x="2" y="7"/>
                  </a:cubicBezTo>
                  <a:moveTo>
                    <a:pt x="3" y="6"/>
                  </a:moveTo>
                  <a:cubicBezTo>
                    <a:pt x="3" y="5"/>
                    <a:pt x="3" y="5"/>
                    <a:pt x="3" y="5"/>
                  </a:cubicBezTo>
                  <a:cubicBezTo>
                    <a:pt x="4" y="5"/>
                    <a:pt x="4" y="5"/>
                    <a:pt x="4" y="5"/>
                  </a:cubicBezTo>
                  <a:cubicBezTo>
                    <a:pt x="4" y="5"/>
                    <a:pt x="4" y="5"/>
                    <a:pt x="4" y="5"/>
                  </a:cubicBezTo>
                  <a:cubicBezTo>
                    <a:pt x="3" y="6"/>
                    <a:pt x="3" y="6"/>
                    <a:pt x="3" y="6"/>
                  </a:cubicBezTo>
                  <a:cubicBezTo>
                    <a:pt x="3" y="6"/>
                    <a:pt x="3" y="6"/>
                    <a:pt x="3" y="6"/>
                  </a:cubicBezTo>
                  <a:moveTo>
                    <a:pt x="14" y="20"/>
                  </a:moveTo>
                  <a:cubicBezTo>
                    <a:pt x="10" y="20"/>
                    <a:pt x="6" y="18"/>
                    <a:pt x="5" y="14"/>
                  </a:cubicBezTo>
                  <a:cubicBezTo>
                    <a:pt x="3" y="11"/>
                    <a:pt x="4" y="7"/>
                    <a:pt x="5" y="5"/>
                  </a:cubicBezTo>
                  <a:cubicBezTo>
                    <a:pt x="6" y="3"/>
                    <a:pt x="7" y="2"/>
                    <a:pt x="9" y="1"/>
                  </a:cubicBezTo>
                  <a:cubicBezTo>
                    <a:pt x="10" y="1"/>
                    <a:pt x="11" y="1"/>
                    <a:pt x="12" y="1"/>
                  </a:cubicBezTo>
                  <a:cubicBezTo>
                    <a:pt x="16" y="1"/>
                    <a:pt x="19" y="4"/>
                    <a:pt x="21" y="8"/>
                  </a:cubicBezTo>
                  <a:cubicBezTo>
                    <a:pt x="22" y="11"/>
                    <a:pt x="22" y="14"/>
                    <a:pt x="21" y="16"/>
                  </a:cubicBezTo>
                  <a:cubicBezTo>
                    <a:pt x="20" y="18"/>
                    <a:pt x="18" y="19"/>
                    <a:pt x="16" y="20"/>
                  </a:cubicBezTo>
                  <a:cubicBezTo>
                    <a:pt x="15" y="20"/>
                    <a:pt x="14" y="20"/>
                    <a:pt x="14" y="20"/>
                  </a:cubicBezTo>
                  <a:moveTo>
                    <a:pt x="12" y="0"/>
                  </a:moveTo>
                  <a:cubicBezTo>
                    <a:pt x="11" y="0"/>
                    <a:pt x="10" y="0"/>
                    <a:pt x="9" y="0"/>
                  </a:cubicBezTo>
                  <a:cubicBezTo>
                    <a:pt x="8" y="1"/>
                    <a:pt x="7" y="1"/>
                    <a:pt x="6" y="2"/>
                  </a:cubicBezTo>
                  <a:cubicBezTo>
                    <a:pt x="6" y="2"/>
                    <a:pt x="6" y="2"/>
                    <a:pt x="6" y="2"/>
                  </a:cubicBezTo>
                  <a:cubicBezTo>
                    <a:pt x="5" y="2"/>
                    <a:pt x="4" y="3"/>
                    <a:pt x="3" y="4"/>
                  </a:cubicBezTo>
                  <a:cubicBezTo>
                    <a:pt x="3" y="4"/>
                    <a:pt x="3" y="4"/>
                    <a:pt x="3" y="4"/>
                  </a:cubicBezTo>
                  <a:cubicBezTo>
                    <a:pt x="3" y="4"/>
                    <a:pt x="3" y="4"/>
                    <a:pt x="3" y="4"/>
                  </a:cubicBezTo>
                  <a:cubicBezTo>
                    <a:pt x="3" y="4"/>
                    <a:pt x="3" y="4"/>
                    <a:pt x="3" y="4"/>
                  </a:cubicBezTo>
                  <a:cubicBezTo>
                    <a:pt x="2" y="4"/>
                    <a:pt x="2" y="4"/>
                    <a:pt x="2" y="4"/>
                  </a:cubicBezTo>
                  <a:cubicBezTo>
                    <a:pt x="0" y="7"/>
                    <a:pt x="0" y="12"/>
                    <a:pt x="1" y="15"/>
                  </a:cubicBezTo>
                  <a:cubicBezTo>
                    <a:pt x="3" y="19"/>
                    <a:pt x="6" y="22"/>
                    <a:pt x="10" y="22"/>
                  </a:cubicBezTo>
                  <a:cubicBezTo>
                    <a:pt x="10" y="22"/>
                    <a:pt x="10" y="22"/>
                    <a:pt x="10" y="22"/>
                  </a:cubicBezTo>
                  <a:cubicBezTo>
                    <a:pt x="10" y="22"/>
                    <a:pt x="10" y="22"/>
                    <a:pt x="10" y="22"/>
                  </a:cubicBezTo>
                  <a:cubicBezTo>
                    <a:pt x="10" y="22"/>
                    <a:pt x="10" y="22"/>
                    <a:pt x="10" y="22"/>
                  </a:cubicBezTo>
                  <a:cubicBezTo>
                    <a:pt x="11" y="22"/>
                    <a:pt x="11" y="22"/>
                    <a:pt x="12" y="22"/>
                  </a:cubicBezTo>
                  <a:cubicBezTo>
                    <a:pt x="12" y="22"/>
                    <a:pt x="13" y="22"/>
                    <a:pt x="13" y="22"/>
                  </a:cubicBezTo>
                  <a:cubicBezTo>
                    <a:pt x="13" y="22"/>
                    <a:pt x="13" y="22"/>
                    <a:pt x="13" y="22"/>
                  </a:cubicBezTo>
                  <a:cubicBezTo>
                    <a:pt x="13" y="22"/>
                    <a:pt x="13" y="22"/>
                    <a:pt x="13" y="22"/>
                  </a:cubicBezTo>
                  <a:cubicBezTo>
                    <a:pt x="13" y="22"/>
                    <a:pt x="13" y="22"/>
                    <a:pt x="13" y="22"/>
                  </a:cubicBezTo>
                  <a:cubicBezTo>
                    <a:pt x="13" y="22"/>
                    <a:pt x="13" y="22"/>
                    <a:pt x="13" y="22"/>
                  </a:cubicBezTo>
                  <a:cubicBezTo>
                    <a:pt x="14" y="22"/>
                    <a:pt x="14" y="22"/>
                    <a:pt x="14" y="22"/>
                  </a:cubicBezTo>
                  <a:cubicBezTo>
                    <a:pt x="15" y="22"/>
                    <a:pt x="17" y="21"/>
                    <a:pt x="18" y="20"/>
                  </a:cubicBezTo>
                  <a:cubicBezTo>
                    <a:pt x="18" y="20"/>
                    <a:pt x="18" y="20"/>
                    <a:pt x="18" y="20"/>
                  </a:cubicBezTo>
                  <a:cubicBezTo>
                    <a:pt x="20" y="19"/>
                    <a:pt x="21" y="18"/>
                    <a:pt x="22" y="16"/>
                  </a:cubicBezTo>
                  <a:cubicBezTo>
                    <a:pt x="23" y="14"/>
                    <a:pt x="23" y="11"/>
                    <a:pt x="22" y="8"/>
                  </a:cubicBezTo>
                  <a:cubicBezTo>
                    <a:pt x="20" y="3"/>
                    <a:pt x="16" y="0"/>
                    <a:pt x="1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14" name="îṡliďè"/>
            <p:cNvSpPr/>
            <p:nvPr/>
          </p:nvSpPr>
          <p:spPr bwMode="auto">
            <a:xfrm>
              <a:off x="3544" y="2372"/>
              <a:ext cx="40" cy="40"/>
            </a:xfrm>
            <a:custGeom>
              <a:avLst/>
              <a:gdLst>
                <a:gd name="T0" fmla="*/ 16 w 17"/>
                <a:gd name="T1" fmla="*/ 10 h 17"/>
                <a:gd name="T2" fmla="*/ 16 w 17"/>
                <a:gd name="T3" fmla="*/ 11 h 17"/>
                <a:gd name="T4" fmla="*/ 16 w 17"/>
                <a:gd name="T5" fmla="*/ 9 h 17"/>
                <a:gd name="T6" fmla="*/ 16 w 17"/>
                <a:gd name="T7" fmla="*/ 10 h 17"/>
                <a:gd name="T8" fmla="*/ 16 w 17"/>
                <a:gd name="T9" fmla="*/ 8 h 17"/>
                <a:gd name="T10" fmla="*/ 16 w 17"/>
                <a:gd name="T11" fmla="*/ 7 h 17"/>
                <a:gd name="T12" fmla="*/ 16 w 17"/>
                <a:gd name="T13" fmla="*/ 8 h 17"/>
                <a:gd name="T14" fmla="*/ 15 w 17"/>
                <a:gd name="T15" fmla="*/ 7 h 17"/>
                <a:gd name="T16" fmla="*/ 15 w 17"/>
                <a:gd name="T17" fmla="*/ 6 h 17"/>
                <a:gd name="T18" fmla="*/ 15 w 17"/>
                <a:gd name="T19" fmla="*/ 7 h 17"/>
                <a:gd name="T20" fmla="*/ 14 w 17"/>
                <a:gd name="T21" fmla="*/ 5 h 17"/>
                <a:gd name="T22" fmla="*/ 15 w 17"/>
                <a:gd name="T23" fmla="*/ 5 h 17"/>
                <a:gd name="T24" fmla="*/ 14 w 17"/>
                <a:gd name="T25" fmla="*/ 4 h 17"/>
                <a:gd name="T26" fmla="*/ 13 w 17"/>
                <a:gd name="T27" fmla="*/ 3 h 17"/>
                <a:gd name="T28" fmla="*/ 14 w 17"/>
                <a:gd name="T29" fmla="*/ 4 h 17"/>
                <a:gd name="T30" fmla="*/ 12 w 17"/>
                <a:gd name="T31" fmla="*/ 2 h 17"/>
                <a:gd name="T32" fmla="*/ 13 w 17"/>
                <a:gd name="T33" fmla="*/ 3 h 17"/>
                <a:gd name="T34" fmla="*/ 10 w 17"/>
                <a:gd name="T35" fmla="*/ 16 h 17"/>
                <a:gd name="T36" fmla="*/ 2 w 17"/>
                <a:gd name="T37" fmla="*/ 4 h 17"/>
                <a:gd name="T38" fmla="*/ 4 w 17"/>
                <a:gd name="T39" fmla="*/ 2 h 17"/>
                <a:gd name="T40" fmla="*/ 7 w 17"/>
                <a:gd name="T41" fmla="*/ 2 h 17"/>
                <a:gd name="T42" fmla="*/ 12 w 17"/>
                <a:gd name="T43" fmla="*/ 4 h 17"/>
                <a:gd name="T44" fmla="*/ 12 w 17"/>
                <a:gd name="T45" fmla="*/ 4 h 17"/>
                <a:gd name="T46" fmla="*/ 13 w 17"/>
                <a:gd name="T47" fmla="*/ 15 h 17"/>
                <a:gd name="T48" fmla="*/ 11 w 17"/>
                <a:gd name="T49" fmla="*/ 16 h 17"/>
                <a:gd name="T50" fmla="*/ 11 w 17"/>
                <a:gd name="T51" fmla="*/ 2 h 17"/>
                <a:gd name="T52" fmla="*/ 11 w 17"/>
                <a:gd name="T53" fmla="*/ 2 h 17"/>
                <a:gd name="T54" fmla="*/ 11 w 17"/>
                <a:gd name="T55" fmla="*/ 2 h 17"/>
                <a:gd name="T56" fmla="*/ 10 w 17"/>
                <a:gd name="T57" fmla="*/ 1 h 17"/>
                <a:gd name="T58" fmla="*/ 10 w 17"/>
                <a:gd name="T59" fmla="*/ 1 h 17"/>
                <a:gd name="T60" fmla="*/ 6 w 17"/>
                <a:gd name="T61" fmla="*/ 0 h 17"/>
                <a:gd name="T62" fmla="*/ 1 w 17"/>
                <a:gd name="T63" fmla="*/ 12 h 17"/>
                <a:gd name="T64" fmla="*/ 11 w 17"/>
                <a:gd name="T65" fmla="*/ 17 h 17"/>
                <a:gd name="T66" fmla="*/ 16 w 17"/>
                <a:gd name="T67"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17">
                  <a:moveTo>
                    <a:pt x="16" y="11"/>
                  </a:moveTo>
                  <a:cubicBezTo>
                    <a:pt x="16" y="10"/>
                    <a:pt x="16" y="10"/>
                    <a:pt x="16" y="10"/>
                  </a:cubicBezTo>
                  <a:cubicBezTo>
                    <a:pt x="16" y="10"/>
                    <a:pt x="16" y="10"/>
                    <a:pt x="16" y="10"/>
                  </a:cubicBezTo>
                  <a:cubicBezTo>
                    <a:pt x="16" y="11"/>
                    <a:pt x="16" y="11"/>
                    <a:pt x="16" y="11"/>
                  </a:cubicBezTo>
                  <a:moveTo>
                    <a:pt x="16" y="10"/>
                  </a:moveTo>
                  <a:cubicBezTo>
                    <a:pt x="16" y="9"/>
                    <a:pt x="16" y="9"/>
                    <a:pt x="16" y="9"/>
                  </a:cubicBezTo>
                  <a:cubicBezTo>
                    <a:pt x="16" y="9"/>
                    <a:pt x="16" y="9"/>
                    <a:pt x="16" y="9"/>
                  </a:cubicBezTo>
                  <a:cubicBezTo>
                    <a:pt x="16" y="10"/>
                    <a:pt x="16" y="10"/>
                    <a:pt x="16" y="10"/>
                  </a:cubicBezTo>
                  <a:cubicBezTo>
                    <a:pt x="16" y="10"/>
                    <a:pt x="16" y="10"/>
                    <a:pt x="16" y="10"/>
                  </a:cubicBezTo>
                  <a:moveTo>
                    <a:pt x="16" y="8"/>
                  </a:moveTo>
                  <a:cubicBezTo>
                    <a:pt x="15" y="7"/>
                    <a:pt x="15" y="7"/>
                    <a:pt x="15" y="7"/>
                  </a:cubicBezTo>
                  <a:cubicBezTo>
                    <a:pt x="16" y="7"/>
                    <a:pt x="16" y="7"/>
                    <a:pt x="16" y="7"/>
                  </a:cubicBezTo>
                  <a:cubicBezTo>
                    <a:pt x="16" y="8"/>
                    <a:pt x="16" y="8"/>
                    <a:pt x="16" y="8"/>
                  </a:cubicBezTo>
                  <a:cubicBezTo>
                    <a:pt x="16" y="8"/>
                    <a:pt x="16" y="8"/>
                    <a:pt x="16" y="8"/>
                  </a:cubicBezTo>
                  <a:cubicBezTo>
                    <a:pt x="16" y="8"/>
                    <a:pt x="16" y="8"/>
                    <a:pt x="16" y="8"/>
                  </a:cubicBezTo>
                  <a:moveTo>
                    <a:pt x="15" y="7"/>
                  </a:moveTo>
                  <a:cubicBezTo>
                    <a:pt x="15" y="6"/>
                    <a:pt x="15" y="6"/>
                    <a:pt x="15" y="6"/>
                  </a:cubicBezTo>
                  <a:cubicBezTo>
                    <a:pt x="15" y="6"/>
                    <a:pt x="15" y="6"/>
                    <a:pt x="15" y="6"/>
                  </a:cubicBezTo>
                  <a:cubicBezTo>
                    <a:pt x="15" y="7"/>
                    <a:pt x="15" y="7"/>
                    <a:pt x="15" y="7"/>
                  </a:cubicBezTo>
                  <a:cubicBezTo>
                    <a:pt x="15" y="7"/>
                    <a:pt x="15" y="7"/>
                    <a:pt x="15" y="7"/>
                  </a:cubicBezTo>
                  <a:moveTo>
                    <a:pt x="15" y="6"/>
                  </a:moveTo>
                  <a:cubicBezTo>
                    <a:pt x="14" y="5"/>
                    <a:pt x="14" y="5"/>
                    <a:pt x="14" y="5"/>
                  </a:cubicBezTo>
                  <a:cubicBezTo>
                    <a:pt x="14" y="4"/>
                    <a:pt x="14" y="4"/>
                    <a:pt x="14" y="4"/>
                  </a:cubicBezTo>
                  <a:cubicBezTo>
                    <a:pt x="15" y="5"/>
                    <a:pt x="15" y="5"/>
                    <a:pt x="15" y="5"/>
                  </a:cubicBezTo>
                  <a:cubicBezTo>
                    <a:pt x="15" y="6"/>
                    <a:pt x="15" y="6"/>
                    <a:pt x="15" y="6"/>
                  </a:cubicBezTo>
                  <a:moveTo>
                    <a:pt x="14" y="4"/>
                  </a:moveTo>
                  <a:cubicBezTo>
                    <a:pt x="13" y="3"/>
                    <a:pt x="13" y="3"/>
                    <a:pt x="13" y="3"/>
                  </a:cubicBezTo>
                  <a:cubicBezTo>
                    <a:pt x="13" y="3"/>
                    <a:pt x="13" y="3"/>
                    <a:pt x="13" y="3"/>
                  </a:cubicBezTo>
                  <a:cubicBezTo>
                    <a:pt x="14" y="4"/>
                    <a:pt x="14" y="4"/>
                    <a:pt x="14" y="4"/>
                  </a:cubicBezTo>
                  <a:cubicBezTo>
                    <a:pt x="14" y="4"/>
                    <a:pt x="14" y="4"/>
                    <a:pt x="14" y="4"/>
                  </a:cubicBezTo>
                  <a:moveTo>
                    <a:pt x="13" y="3"/>
                  </a:moveTo>
                  <a:cubicBezTo>
                    <a:pt x="12" y="2"/>
                    <a:pt x="12" y="2"/>
                    <a:pt x="12" y="2"/>
                  </a:cubicBezTo>
                  <a:cubicBezTo>
                    <a:pt x="12" y="2"/>
                    <a:pt x="12" y="2"/>
                    <a:pt x="12" y="2"/>
                  </a:cubicBezTo>
                  <a:cubicBezTo>
                    <a:pt x="13" y="3"/>
                    <a:pt x="13" y="3"/>
                    <a:pt x="13" y="3"/>
                  </a:cubicBezTo>
                  <a:cubicBezTo>
                    <a:pt x="13" y="3"/>
                    <a:pt x="13" y="3"/>
                    <a:pt x="13" y="3"/>
                  </a:cubicBezTo>
                  <a:moveTo>
                    <a:pt x="10" y="16"/>
                  </a:moveTo>
                  <a:cubicBezTo>
                    <a:pt x="6" y="16"/>
                    <a:pt x="3" y="14"/>
                    <a:pt x="2" y="11"/>
                  </a:cubicBezTo>
                  <a:cubicBezTo>
                    <a:pt x="1" y="9"/>
                    <a:pt x="1" y="6"/>
                    <a:pt x="2" y="4"/>
                  </a:cubicBezTo>
                  <a:cubicBezTo>
                    <a:pt x="3" y="3"/>
                    <a:pt x="3" y="3"/>
                    <a:pt x="4" y="2"/>
                  </a:cubicBezTo>
                  <a:cubicBezTo>
                    <a:pt x="4" y="2"/>
                    <a:pt x="4" y="2"/>
                    <a:pt x="4" y="2"/>
                  </a:cubicBezTo>
                  <a:cubicBezTo>
                    <a:pt x="4" y="2"/>
                    <a:pt x="5" y="2"/>
                    <a:pt x="5" y="2"/>
                  </a:cubicBezTo>
                  <a:cubicBezTo>
                    <a:pt x="6" y="2"/>
                    <a:pt x="6" y="2"/>
                    <a:pt x="7" y="2"/>
                  </a:cubicBezTo>
                  <a:cubicBezTo>
                    <a:pt x="9" y="2"/>
                    <a:pt x="10" y="2"/>
                    <a:pt x="12" y="4"/>
                  </a:cubicBezTo>
                  <a:cubicBezTo>
                    <a:pt x="12" y="4"/>
                    <a:pt x="12" y="4"/>
                    <a:pt x="12" y="4"/>
                  </a:cubicBezTo>
                  <a:cubicBezTo>
                    <a:pt x="12" y="4"/>
                    <a:pt x="12" y="4"/>
                    <a:pt x="12" y="4"/>
                  </a:cubicBezTo>
                  <a:cubicBezTo>
                    <a:pt x="12" y="4"/>
                    <a:pt x="12" y="4"/>
                    <a:pt x="12" y="4"/>
                  </a:cubicBezTo>
                  <a:cubicBezTo>
                    <a:pt x="13" y="5"/>
                    <a:pt x="14" y="6"/>
                    <a:pt x="15" y="8"/>
                  </a:cubicBezTo>
                  <a:cubicBezTo>
                    <a:pt x="16" y="10"/>
                    <a:pt x="15" y="14"/>
                    <a:pt x="13" y="15"/>
                  </a:cubicBezTo>
                  <a:cubicBezTo>
                    <a:pt x="13" y="15"/>
                    <a:pt x="13" y="15"/>
                    <a:pt x="13" y="15"/>
                  </a:cubicBezTo>
                  <a:cubicBezTo>
                    <a:pt x="12" y="16"/>
                    <a:pt x="12" y="16"/>
                    <a:pt x="11" y="16"/>
                  </a:cubicBezTo>
                  <a:cubicBezTo>
                    <a:pt x="11" y="16"/>
                    <a:pt x="10" y="16"/>
                    <a:pt x="10" y="16"/>
                  </a:cubicBezTo>
                  <a:moveTo>
                    <a:pt x="11" y="2"/>
                  </a:moveTo>
                  <a:cubicBezTo>
                    <a:pt x="11" y="2"/>
                    <a:pt x="11" y="2"/>
                    <a:pt x="11" y="2"/>
                  </a:cubicBezTo>
                  <a:cubicBezTo>
                    <a:pt x="11" y="2"/>
                    <a:pt x="11" y="2"/>
                    <a:pt x="11" y="2"/>
                  </a:cubicBezTo>
                  <a:cubicBezTo>
                    <a:pt x="12" y="2"/>
                    <a:pt x="12" y="2"/>
                    <a:pt x="12" y="2"/>
                  </a:cubicBezTo>
                  <a:cubicBezTo>
                    <a:pt x="11" y="2"/>
                    <a:pt x="11" y="2"/>
                    <a:pt x="11" y="2"/>
                  </a:cubicBezTo>
                  <a:moveTo>
                    <a:pt x="10" y="1"/>
                  </a:moveTo>
                  <a:cubicBezTo>
                    <a:pt x="10" y="1"/>
                    <a:pt x="10" y="1"/>
                    <a:pt x="10" y="1"/>
                  </a:cubicBezTo>
                  <a:cubicBezTo>
                    <a:pt x="10" y="1"/>
                    <a:pt x="10" y="1"/>
                    <a:pt x="10" y="1"/>
                  </a:cubicBezTo>
                  <a:cubicBezTo>
                    <a:pt x="10" y="1"/>
                    <a:pt x="10" y="1"/>
                    <a:pt x="10" y="1"/>
                  </a:cubicBezTo>
                  <a:moveTo>
                    <a:pt x="8" y="0"/>
                  </a:moveTo>
                  <a:cubicBezTo>
                    <a:pt x="7" y="0"/>
                    <a:pt x="7" y="0"/>
                    <a:pt x="6" y="0"/>
                  </a:cubicBezTo>
                  <a:cubicBezTo>
                    <a:pt x="4" y="1"/>
                    <a:pt x="3" y="2"/>
                    <a:pt x="2" y="3"/>
                  </a:cubicBezTo>
                  <a:cubicBezTo>
                    <a:pt x="0" y="6"/>
                    <a:pt x="0" y="9"/>
                    <a:pt x="1" y="12"/>
                  </a:cubicBezTo>
                  <a:cubicBezTo>
                    <a:pt x="3" y="15"/>
                    <a:pt x="6" y="17"/>
                    <a:pt x="10" y="17"/>
                  </a:cubicBezTo>
                  <a:cubicBezTo>
                    <a:pt x="10" y="17"/>
                    <a:pt x="11" y="17"/>
                    <a:pt x="11" y="17"/>
                  </a:cubicBezTo>
                  <a:cubicBezTo>
                    <a:pt x="13" y="17"/>
                    <a:pt x="15" y="15"/>
                    <a:pt x="16" y="13"/>
                  </a:cubicBezTo>
                  <a:cubicBezTo>
                    <a:pt x="17" y="11"/>
                    <a:pt x="17" y="9"/>
                    <a:pt x="16" y="7"/>
                  </a:cubicBezTo>
                  <a:cubicBezTo>
                    <a:pt x="15" y="3"/>
                    <a:pt x="11" y="0"/>
                    <a:pt x="8"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15" name="is1ïḋê"/>
            <p:cNvSpPr/>
            <p:nvPr/>
          </p:nvSpPr>
          <p:spPr bwMode="auto">
            <a:xfrm>
              <a:off x="3553" y="2379"/>
              <a:ext cx="22" cy="29"/>
            </a:xfrm>
            <a:custGeom>
              <a:avLst/>
              <a:gdLst>
                <a:gd name="T0" fmla="*/ 1 w 9"/>
                <a:gd name="T1" fmla="*/ 6 h 12"/>
                <a:gd name="T2" fmla="*/ 1 w 9"/>
                <a:gd name="T3" fmla="*/ 3 h 12"/>
                <a:gd name="T4" fmla="*/ 2 w 9"/>
                <a:gd name="T5" fmla="*/ 2 h 12"/>
                <a:gd name="T6" fmla="*/ 1 w 9"/>
                <a:gd name="T7" fmla="*/ 1 h 12"/>
                <a:gd name="T8" fmla="*/ 2 w 9"/>
                <a:gd name="T9" fmla="*/ 1 h 12"/>
                <a:gd name="T10" fmla="*/ 2 w 9"/>
                <a:gd name="T11" fmla="*/ 1 h 12"/>
                <a:gd name="T12" fmla="*/ 3 w 9"/>
                <a:gd name="T13" fmla="*/ 2 h 12"/>
                <a:gd name="T14" fmla="*/ 5 w 9"/>
                <a:gd name="T15" fmla="*/ 2 h 12"/>
                <a:gd name="T16" fmla="*/ 4 w 9"/>
                <a:gd name="T17" fmla="*/ 3 h 12"/>
                <a:gd name="T18" fmla="*/ 2 w 9"/>
                <a:gd name="T19" fmla="*/ 5 h 12"/>
                <a:gd name="T20" fmla="*/ 4 w 9"/>
                <a:gd name="T21" fmla="*/ 6 h 12"/>
                <a:gd name="T22" fmla="*/ 7 w 9"/>
                <a:gd name="T23" fmla="*/ 6 h 12"/>
                <a:gd name="T24" fmla="*/ 7 w 9"/>
                <a:gd name="T25" fmla="*/ 9 h 12"/>
                <a:gd name="T26" fmla="*/ 8 w 9"/>
                <a:gd name="T27" fmla="*/ 11 h 12"/>
                <a:gd name="T28" fmla="*/ 7 w 9"/>
                <a:gd name="T29" fmla="*/ 11 h 12"/>
                <a:gd name="T30" fmla="*/ 6 w 9"/>
                <a:gd name="T31" fmla="*/ 10 h 12"/>
                <a:gd name="T32" fmla="*/ 6 w 9"/>
                <a:gd name="T33" fmla="*/ 10 h 12"/>
                <a:gd name="T34" fmla="*/ 4 w 9"/>
                <a:gd name="T35" fmla="*/ 9 h 12"/>
                <a:gd name="T36" fmla="*/ 5 w 9"/>
                <a:gd name="T37" fmla="*/ 9 h 12"/>
                <a:gd name="T38" fmla="*/ 7 w 9"/>
                <a:gd name="T39" fmla="*/ 8 h 12"/>
                <a:gd name="T40" fmla="*/ 6 w 9"/>
                <a:gd name="T41" fmla="*/ 6 h 12"/>
                <a:gd name="T42" fmla="*/ 3 w 9"/>
                <a:gd name="T43" fmla="*/ 6 h 12"/>
                <a:gd name="T44" fmla="*/ 1 w 9"/>
                <a:gd name="T45" fmla="*/ 0 h 12"/>
                <a:gd name="T46" fmla="*/ 0 w 9"/>
                <a:gd name="T47" fmla="*/ 1 h 12"/>
                <a:gd name="T48" fmla="*/ 0 w 9"/>
                <a:gd name="T49" fmla="*/ 2 h 12"/>
                <a:gd name="T50" fmla="*/ 0 w 9"/>
                <a:gd name="T51" fmla="*/ 4 h 12"/>
                <a:gd name="T52" fmla="*/ 3 w 9"/>
                <a:gd name="T53" fmla="*/ 7 h 12"/>
                <a:gd name="T54" fmla="*/ 5 w 9"/>
                <a:gd name="T55" fmla="*/ 7 h 12"/>
                <a:gd name="T56" fmla="*/ 6 w 9"/>
                <a:gd name="T57" fmla="*/ 7 h 12"/>
                <a:gd name="T58" fmla="*/ 6 w 9"/>
                <a:gd name="T59" fmla="*/ 8 h 12"/>
                <a:gd name="T60" fmla="*/ 4 w 9"/>
                <a:gd name="T61" fmla="*/ 8 h 12"/>
                <a:gd name="T62" fmla="*/ 3 w 9"/>
                <a:gd name="T63" fmla="*/ 9 h 12"/>
                <a:gd name="T64" fmla="*/ 5 w 9"/>
                <a:gd name="T65" fmla="*/ 11 h 12"/>
                <a:gd name="T66" fmla="*/ 7 w 9"/>
                <a:gd name="T67" fmla="*/ 12 h 12"/>
                <a:gd name="T68" fmla="*/ 7 w 9"/>
                <a:gd name="T69" fmla="*/ 12 h 12"/>
                <a:gd name="T70" fmla="*/ 8 w 9"/>
                <a:gd name="T71" fmla="*/ 12 h 12"/>
                <a:gd name="T72" fmla="*/ 9 w 9"/>
                <a:gd name="T73" fmla="*/ 11 h 12"/>
                <a:gd name="T74" fmla="*/ 9 w 9"/>
                <a:gd name="T75" fmla="*/ 7 h 12"/>
                <a:gd name="T76" fmla="*/ 5 w 9"/>
                <a:gd name="T77" fmla="*/ 5 h 12"/>
                <a:gd name="T78" fmla="*/ 3 w 9"/>
                <a:gd name="T79" fmla="*/ 5 h 12"/>
                <a:gd name="T80" fmla="*/ 3 w 9"/>
                <a:gd name="T81" fmla="*/ 4 h 12"/>
                <a:gd name="T82" fmla="*/ 4 w 9"/>
                <a:gd name="T83" fmla="*/ 4 h 12"/>
                <a:gd name="T84" fmla="*/ 5 w 9"/>
                <a:gd name="T85" fmla="*/ 4 h 12"/>
                <a:gd name="T86" fmla="*/ 6 w 9"/>
                <a:gd name="T87" fmla="*/ 2 h 12"/>
                <a:gd name="T88" fmla="*/ 3 w 9"/>
                <a:gd name="T89" fmla="*/ 1 h 12"/>
                <a:gd name="T90" fmla="*/ 2 w 9"/>
                <a:gd name="T9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 h="12">
                  <a:moveTo>
                    <a:pt x="3" y="6"/>
                  </a:moveTo>
                  <a:cubicBezTo>
                    <a:pt x="3" y="6"/>
                    <a:pt x="2" y="6"/>
                    <a:pt x="1" y="6"/>
                  </a:cubicBezTo>
                  <a:cubicBezTo>
                    <a:pt x="1" y="5"/>
                    <a:pt x="1" y="5"/>
                    <a:pt x="1" y="4"/>
                  </a:cubicBezTo>
                  <a:cubicBezTo>
                    <a:pt x="1" y="4"/>
                    <a:pt x="1" y="3"/>
                    <a:pt x="1" y="3"/>
                  </a:cubicBezTo>
                  <a:cubicBezTo>
                    <a:pt x="2" y="3"/>
                    <a:pt x="2" y="3"/>
                    <a:pt x="2" y="3"/>
                  </a:cubicBezTo>
                  <a:cubicBezTo>
                    <a:pt x="2" y="2"/>
                    <a:pt x="2" y="2"/>
                    <a:pt x="2" y="2"/>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2"/>
                    <a:pt x="2" y="2"/>
                    <a:pt x="2" y="2"/>
                  </a:cubicBezTo>
                  <a:cubicBezTo>
                    <a:pt x="3" y="2"/>
                    <a:pt x="3" y="2"/>
                    <a:pt x="3" y="2"/>
                  </a:cubicBezTo>
                  <a:cubicBezTo>
                    <a:pt x="3" y="2"/>
                    <a:pt x="3" y="2"/>
                    <a:pt x="4" y="2"/>
                  </a:cubicBezTo>
                  <a:cubicBezTo>
                    <a:pt x="4" y="2"/>
                    <a:pt x="5" y="2"/>
                    <a:pt x="5" y="2"/>
                  </a:cubicBezTo>
                  <a:cubicBezTo>
                    <a:pt x="5" y="3"/>
                    <a:pt x="5" y="3"/>
                    <a:pt x="5" y="3"/>
                  </a:cubicBezTo>
                  <a:cubicBezTo>
                    <a:pt x="5" y="3"/>
                    <a:pt x="4" y="3"/>
                    <a:pt x="4" y="3"/>
                  </a:cubicBezTo>
                  <a:cubicBezTo>
                    <a:pt x="3" y="3"/>
                    <a:pt x="3" y="3"/>
                    <a:pt x="2" y="3"/>
                  </a:cubicBezTo>
                  <a:cubicBezTo>
                    <a:pt x="2" y="4"/>
                    <a:pt x="1" y="4"/>
                    <a:pt x="2" y="5"/>
                  </a:cubicBezTo>
                  <a:cubicBezTo>
                    <a:pt x="2" y="5"/>
                    <a:pt x="2" y="6"/>
                    <a:pt x="3" y="6"/>
                  </a:cubicBezTo>
                  <a:cubicBezTo>
                    <a:pt x="4" y="6"/>
                    <a:pt x="4" y="6"/>
                    <a:pt x="4" y="6"/>
                  </a:cubicBezTo>
                  <a:cubicBezTo>
                    <a:pt x="5" y="6"/>
                    <a:pt x="5" y="6"/>
                    <a:pt x="5" y="6"/>
                  </a:cubicBezTo>
                  <a:cubicBezTo>
                    <a:pt x="6" y="6"/>
                    <a:pt x="7" y="6"/>
                    <a:pt x="7" y="6"/>
                  </a:cubicBezTo>
                  <a:cubicBezTo>
                    <a:pt x="8" y="6"/>
                    <a:pt x="8" y="7"/>
                    <a:pt x="8" y="7"/>
                  </a:cubicBezTo>
                  <a:cubicBezTo>
                    <a:pt x="8" y="8"/>
                    <a:pt x="8" y="9"/>
                    <a:pt x="7" y="9"/>
                  </a:cubicBezTo>
                  <a:cubicBezTo>
                    <a:pt x="7" y="10"/>
                    <a:pt x="7" y="10"/>
                    <a:pt x="7" y="10"/>
                  </a:cubicBezTo>
                  <a:cubicBezTo>
                    <a:pt x="8" y="11"/>
                    <a:pt x="8" y="11"/>
                    <a:pt x="8" y="11"/>
                  </a:cubicBezTo>
                  <a:cubicBezTo>
                    <a:pt x="8" y="11"/>
                    <a:pt x="8" y="11"/>
                    <a:pt x="8" y="11"/>
                  </a:cubicBezTo>
                  <a:cubicBezTo>
                    <a:pt x="7" y="11"/>
                    <a:pt x="7" y="11"/>
                    <a:pt x="7" y="11"/>
                  </a:cubicBezTo>
                  <a:cubicBezTo>
                    <a:pt x="7" y="10"/>
                    <a:pt x="7" y="10"/>
                    <a:pt x="7" y="10"/>
                  </a:cubicBezTo>
                  <a:cubicBezTo>
                    <a:pt x="6" y="10"/>
                    <a:pt x="6" y="10"/>
                    <a:pt x="6" y="10"/>
                  </a:cubicBezTo>
                  <a:cubicBezTo>
                    <a:pt x="6" y="10"/>
                    <a:pt x="6" y="10"/>
                    <a:pt x="6" y="10"/>
                  </a:cubicBezTo>
                  <a:cubicBezTo>
                    <a:pt x="6" y="10"/>
                    <a:pt x="6" y="10"/>
                    <a:pt x="6" y="10"/>
                  </a:cubicBezTo>
                  <a:cubicBezTo>
                    <a:pt x="6" y="10"/>
                    <a:pt x="5" y="10"/>
                    <a:pt x="5" y="10"/>
                  </a:cubicBezTo>
                  <a:cubicBezTo>
                    <a:pt x="5" y="10"/>
                    <a:pt x="4" y="10"/>
                    <a:pt x="4" y="9"/>
                  </a:cubicBezTo>
                  <a:cubicBezTo>
                    <a:pt x="4" y="9"/>
                    <a:pt x="4" y="9"/>
                    <a:pt x="4" y="9"/>
                  </a:cubicBezTo>
                  <a:cubicBezTo>
                    <a:pt x="4" y="9"/>
                    <a:pt x="5" y="9"/>
                    <a:pt x="5" y="9"/>
                  </a:cubicBezTo>
                  <a:cubicBezTo>
                    <a:pt x="6" y="9"/>
                    <a:pt x="6" y="9"/>
                    <a:pt x="6" y="9"/>
                  </a:cubicBezTo>
                  <a:cubicBezTo>
                    <a:pt x="7" y="9"/>
                    <a:pt x="7" y="8"/>
                    <a:pt x="7" y="8"/>
                  </a:cubicBezTo>
                  <a:cubicBezTo>
                    <a:pt x="7" y="7"/>
                    <a:pt x="7" y="7"/>
                    <a:pt x="7" y="6"/>
                  </a:cubicBezTo>
                  <a:cubicBezTo>
                    <a:pt x="6" y="6"/>
                    <a:pt x="6" y="6"/>
                    <a:pt x="6" y="6"/>
                  </a:cubicBezTo>
                  <a:cubicBezTo>
                    <a:pt x="5" y="6"/>
                    <a:pt x="5" y="6"/>
                    <a:pt x="5" y="6"/>
                  </a:cubicBezTo>
                  <a:cubicBezTo>
                    <a:pt x="3" y="6"/>
                    <a:pt x="3" y="6"/>
                    <a:pt x="3" y="6"/>
                  </a:cubicBezTo>
                  <a:moveTo>
                    <a:pt x="2" y="0"/>
                  </a:moveTo>
                  <a:cubicBezTo>
                    <a:pt x="1" y="0"/>
                    <a:pt x="1" y="0"/>
                    <a:pt x="1" y="0"/>
                  </a:cubicBezTo>
                  <a:cubicBezTo>
                    <a:pt x="1" y="1"/>
                    <a:pt x="1" y="1"/>
                    <a:pt x="1" y="1"/>
                  </a:cubicBezTo>
                  <a:cubicBezTo>
                    <a:pt x="0" y="1"/>
                    <a:pt x="0" y="1"/>
                    <a:pt x="0" y="1"/>
                  </a:cubicBezTo>
                  <a:cubicBezTo>
                    <a:pt x="0" y="1"/>
                    <a:pt x="0" y="1"/>
                    <a:pt x="0" y="1"/>
                  </a:cubicBezTo>
                  <a:cubicBezTo>
                    <a:pt x="0" y="2"/>
                    <a:pt x="0" y="2"/>
                    <a:pt x="0" y="2"/>
                  </a:cubicBezTo>
                  <a:cubicBezTo>
                    <a:pt x="1" y="2"/>
                    <a:pt x="1" y="2"/>
                    <a:pt x="1" y="2"/>
                  </a:cubicBezTo>
                  <a:cubicBezTo>
                    <a:pt x="0" y="3"/>
                    <a:pt x="0" y="3"/>
                    <a:pt x="0" y="4"/>
                  </a:cubicBezTo>
                  <a:cubicBezTo>
                    <a:pt x="0" y="5"/>
                    <a:pt x="0" y="6"/>
                    <a:pt x="0" y="6"/>
                  </a:cubicBezTo>
                  <a:cubicBezTo>
                    <a:pt x="1" y="7"/>
                    <a:pt x="3" y="7"/>
                    <a:pt x="3" y="7"/>
                  </a:cubicBezTo>
                  <a:cubicBezTo>
                    <a:pt x="3" y="7"/>
                    <a:pt x="3" y="7"/>
                    <a:pt x="3" y="7"/>
                  </a:cubicBezTo>
                  <a:cubicBezTo>
                    <a:pt x="5" y="7"/>
                    <a:pt x="5" y="7"/>
                    <a:pt x="5" y="7"/>
                  </a:cubicBezTo>
                  <a:cubicBezTo>
                    <a:pt x="5" y="7"/>
                    <a:pt x="5" y="7"/>
                    <a:pt x="6" y="7"/>
                  </a:cubicBezTo>
                  <a:cubicBezTo>
                    <a:pt x="6" y="7"/>
                    <a:pt x="6" y="7"/>
                    <a:pt x="6" y="7"/>
                  </a:cubicBezTo>
                  <a:cubicBezTo>
                    <a:pt x="6" y="7"/>
                    <a:pt x="6" y="7"/>
                    <a:pt x="6" y="7"/>
                  </a:cubicBezTo>
                  <a:cubicBezTo>
                    <a:pt x="6" y="8"/>
                    <a:pt x="6" y="8"/>
                    <a:pt x="6" y="8"/>
                  </a:cubicBezTo>
                  <a:cubicBezTo>
                    <a:pt x="6" y="8"/>
                    <a:pt x="5" y="8"/>
                    <a:pt x="5" y="8"/>
                  </a:cubicBezTo>
                  <a:cubicBezTo>
                    <a:pt x="5" y="8"/>
                    <a:pt x="5" y="8"/>
                    <a:pt x="4" y="8"/>
                  </a:cubicBezTo>
                  <a:cubicBezTo>
                    <a:pt x="4" y="8"/>
                    <a:pt x="4" y="8"/>
                    <a:pt x="4" y="8"/>
                  </a:cubicBezTo>
                  <a:cubicBezTo>
                    <a:pt x="3" y="8"/>
                    <a:pt x="3" y="9"/>
                    <a:pt x="3" y="9"/>
                  </a:cubicBezTo>
                  <a:cubicBezTo>
                    <a:pt x="3" y="10"/>
                    <a:pt x="3" y="10"/>
                    <a:pt x="3" y="10"/>
                  </a:cubicBezTo>
                  <a:cubicBezTo>
                    <a:pt x="3" y="10"/>
                    <a:pt x="4" y="11"/>
                    <a:pt x="5" y="11"/>
                  </a:cubicBezTo>
                  <a:cubicBezTo>
                    <a:pt x="5" y="11"/>
                    <a:pt x="6" y="11"/>
                    <a:pt x="6" y="11"/>
                  </a:cubicBezTo>
                  <a:cubicBezTo>
                    <a:pt x="7" y="12"/>
                    <a:pt x="7" y="12"/>
                    <a:pt x="7" y="12"/>
                  </a:cubicBezTo>
                  <a:cubicBezTo>
                    <a:pt x="7" y="12"/>
                    <a:pt x="7" y="12"/>
                    <a:pt x="7" y="12"/>
                  </a:cubicBezTo>
                  <a:cubicBezTo>
                    <a:pt x="7" y="12"/>
                    <a:pt x="7" y="12"/>
                    <a:pt x="7" y="12"/>
                  </a:cubicBezTo>
                  <a:cubicBezTo>
                    <a:pt x="8" y="12"/>
                    <a:pt x="8" y="12"/>
                    <a:pt x="8" y="12"/>
                  </a:cubicBezTo>
                  <a:cubicBezTo>
                    <a:pt x="8" y="12"/>
                    <a:pt x="8" y="12"/>
                    <a:pt x="8" y="12"/>
                  </a:cubicBezTo>
                  <a:cubicBezTo>
                    <a:pt x="9" y="11"/>
                    <a:pt x="9" y="11"/>
                    <a:pt x="9" y="11"/>
                  </a:cubicBezTo>
                  <a:cubicBezTo>
                    <a:pt x="9" y="11"/>
                    <a:pt x="9" y="11"/>
                    <a:pt x="9" y="11"/>
                  </a:cubicBezTo>
                  <a:cubicBezTo>
                    <a:pt x="9" y="11"/>
                    <a:pt x="9" y="11"/>
                    <a:pt x="8" y="10"/>
                  </a:cubicBezTo>
                  <a:cubicBezTo>
                    <a:pt x="8" y="9"/>
                    <a:pt x="9" y="8"/>
                    <a:pt x="9" y="7"/>
                  </a:cubicBezTo>
                  <a:cubicBezTo>
                    <a:pt x="9" y="7"/>
                    <a:pt x="8" y="6"/>
                    <a:pt x="8" y="5"/>
                  </a:cubicBezTo>
                  <a:cubicBezTo>
                    <a:pt x="7" y="5"/>
                    <a:pt x="6" y="5"/>
                    <a:pt x="5" y="5"/>
                  </a:cubicBezTo>
                  <a:cubicBezTo>
                    <a:pt x="5" y="5"/>
                    <a:pt x="5" y="5"/>
                    <a:pt x="4" y="5"/>
                  </a:cubicBezTo>
                  <a:cubicBezTo>
                    <a:pt x="4" y="5"/>
                    <a:pt x="4" y="5"/>
                    <a:pt x="3" y="5"/>
                  </a:cubicBezTo>
                  <a:cubicBezTo>
                    <a:pt x="3" y="5"/>
                    <a:pt x="2" y="5"/>
                    <a:pt x="2" y="5"/>
                  </a:cubicBezTo>
                  <a:cubicBezTo>
                    <a:pt x="2" y="4"/>
                    <a:pt x="3" y="4"/>
                    <a:pt x="3" y="4"/>
                  </a:cubicBezTo>
                  <a:cubicBezTo>
                    <a:pt x="3" y="4"/>
                    <a:pt x="4" y="3"/>
                    <a:pt x="4" y="3"/>
                  </a:cubicBezTo>
                  <a:cubicBezTo>
                    <a:pt x="4" y="3"/>
                    <a:pt x="4" y="3"/>
                    <a:pt x="4" y="4"/>
                  </a:cubicBezTo>
                  <a:cubicBezTo>
                    <a:pt x="5" y="4"/>
                    <a:pt x="5" y="4"/>
                    <a:pt x="5" y="4"/>
                  </a:cubicBezTo>
                  <a:cubicBezTo>
                    <a:pt x="5" y="4"/>
                    <a:pt x="5" y="4"/>
                    <a:pt x="5" y="4"/>
                  </a:cubicBezTo>
                  <a:cubicBezTo>
                    <a:pt x="6" y="3"/>
                    <a:pt x="6" y="3"/>
                    <a:pt x="6" y="3"/>
                  </a:cubicBezTo>
                  <a:cubicBezTo>
                    <a:pt x="6" y="2"/>
                    <a:pt x="6" y="2"/>
                    <a:pt x="6" y="2"/>
                  </a:cubicBezTo>
                  <a:cubicBezTo>
                    <a:pt x="6" y="1"/>
                    <a:pt x="5" y="1"/>
                    <a:pt x="4" y="1"/>
                  </a:cubicBezTo>
                  <a:cubicBezTo>
                    <a:pt x="3" y="1"/>
                    <a:pt x="3" y="1"/>
                    <a:pt x="3" y="1"/>
                  </a:cubicBezTo>
                  <a:cubicBezTo>
                    <a:pt x="3" y="1"/>
                    <a:pt x="3" y="1"/>
                    <a:pt x="3" y="1"/>
                  </a:cubicBezTo>
                  <a:cubicBezTo>
                    <a:pt x="2" y="0"/>
                    <a:pt x="2" y="0"/>
                    <a:pt x="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16" name="iṣļïḑê"/>
            <p:cNvSpPr/>
            <p:nvPr/>
          </p:nvSpPr>
          <p:spPr bwMode="auto">
            <a:xfrm>
              <a:off x="3589" y="2429"/>
              <a:ext cx="55" cy="55"/>
            </a:xfrm>
            <a:custGeom>
              <a:avLst/>
              <a:gdLst>
                <a:gd name="T0" fmla="*/ 6 w 23"/>
                <a:gd name="T1" fmla="*/ 20 h 23"/>
                <a:gd name="T2" fmla="*/ 6 w 23"/>
                <a:gd name="T3" fmla="*/ 20 h 23"/>
                <a:gd name="T4" fmla="*/ 5 w 23"/>
                <a:gd name="T5" fmla="*/ 19 h 23"/>
                <a:gd name="T6" fmla="*/ 5 w 23"/>
                <a:gd name="T7" fmla="*/ 19 h 23"/>
                <a:gd name="T8" fmla="*/ 5 w 23"/>
                <a:gd name="T9" fmla="*/ 19 h 23"/>
                <a:gd name="T10" fmla="*/ 4 w 23"/>
                <a:gd name="T11" fmla="*/ 18 h 23"/>
                <a:gd name="T12" fmla="*/ 5 w 23"/>
                <a:gd name="T13" fmla="*/ 18 h 23"/>
                <a:gd name="T14" fmla="*/ 4 w 23"/>
                <a:gd name="T15" fmla="*/ 18 h 23"/>
                <a:gd name="T16" fmla="*/ 4 w 23"/>
                <a:gd name="T17" fmla="*/ 17 h 23"/>
                <a:gd name="T18" fmla="*/ 4 w 23"/>
                <a:gd name="T19" fmla="*/ 18 h 23"/>
                <a:gd name="T20" fmla="*/ 3 w 23"/>
                <a:gd name="T21" fmla="*/ 17 h 23"/>
                <a:gd name="T22" fmla="*/ 4 w 23"/>
                <a:gd name="T23" fmla="*/ 17 h 23"/>
                <a:gd name="T24" fmla="*/ 3 w 23"/>
                <a:gd name="T25" fmla="*/ 16 h 23"/>
                <a:gd name="T26" fmla="*/ 3 w 23"/>
                <a:gd name="T27" fmla="*/ 15 h 23"/>
                <a:gd name="T28" fmla="*/ 3 w 23"/>
                <a:gd name="T29" fmla="*/ 16 h 23"/>
                <a:gd name="T30" fmla="*/ 2 w 23"/>
                <a:gd name="T31" fmla="*/ 15 h 23"/>
                <a:gd name="T32" fmla="*/ 3 w 23"/>
                <a:gd name="T33" fmla="*/ 15 h 23"/>
                <a:gd name="T34" fmla="*/ 2 w 23"/>
                <a:gd name="T35" fmla="*/ 14 h 23"/>
                <a:gd name="T36" fmla="*/ 3 w 23"/>
                <a:gd name="T37" fmla="*/ 12 h 23"/>
                <a:gd name="T38" fmla="*/ 2 w 23"/>
                <a:gd name="T39" fmla="*/ 14 h 23"/>
                <a:gd name="T40" fmla="*/ 2 w 23"/>
                <a:gd name="T41" fmla="*/ 11 h 23"/>
                <a:gd name="T42" fmla="*/ 3 w 23"/>
                <a:gd name="T43" fmla="*/ 12 h 23"/>
                <a:gd name="T44" fmla="*/ 2 w 23"/>
                <a:gd name="T45" fmla="*/ 10 h 23"/>
                <a:gd name="T46" fmla="*/ 3 w 23"/>
                <a:gd name="T47" fmla="*/ 9 h 23"/>
                <a:gd name="T48" fmla="*/ 3 w 23"/>
                <a:gd name="T49" fmla="*/ 10 h 23"/>
                <a:gd name="T50" fmla="*/ 2 w 23"/>
                <a:gd name="T51" fmla="*/ 9 h 23"/>
                <a:gd name="T52" fmla="*/ 3 w 23"/>
                <a:gd name="T53" fmla="*/ 8 h 23"/>
                <a:gd name="T54" fmla="*/ 4 w 23"/>
                <a:gd name="T55" fmla="*/ 8 h 23"/>
                <a:gd name="T56" fmla="*/ 3 w 23"/>
                <a:gd name="T57" fmla="*/ 9 h 23"/>
                <a:gd name="T58" fmla="*/ 3 w 23"/>
                <a:gd name="T59" fmla="*/ 7 h 23"/>
                <a:gd name="T60" fmla="*/ 5 w 23"/>
                <a:gd name="T61" fmla="*/ 6 h 23"/>
                <a:gd name="T62" fmla="*/ 3 w 23"/>
                <a:gd name="T63" fmla="*/ 7 h 23"/>
                <a:gd name="T64" fmla="*/ 5 w 23"/>
                <a:gd name="T65" fmla="*/ 6 h 23"/>
                <a:gd name="T66" fmla="*/ 5 w 23"/>
                <a:gd name="T67" fmla="*/ 4 h 23"/>
                <a:gd name="T68" fmla="*/ 7 w 23"/>
                <a:gd name="T69" fmla="*/ 4 h 23"/>
                <a:gd name="T70" fmla="*/ 7 w 23"/>
                <a:gd name="T71" fmla="*/ 4 h 23"/>
                <a:gd name="T72" fmla="*/ 6 w 23"/>
                <a:gd name="T73" fmla="*/ 4 h 23"/>
                <a:gd name="T74" fmla="*/ 8 w 23"/>
                <a:gd name="T75" fmla="*/ 3 h 23"/>
                <a:gd name="T76" fmla="*/ 8 w 23"/>
                <a:gd name="T77" fmla="*/ 3 h 23"/>
                <a:gd name="T78" fmla="*/ 7 w 23"/>
                <a:gd name="T79" fmla="*/ 2 h 23"/>
                <a:gd name="T80" fmla="*/ 8 w 23"/>
                <a:gd name="T81" fmla="*/ 3 h 23"/>
                <a:gd name="T82" fmla="*/ 8 w 23"/>
                <a:gd name="T83" fmla="*/ 21 h 23"/>
                <a:gd name="T84" fmla="*/ 14 w 23"/>
                <a:gd name="T85" fmla="*/ 2 h 23"/>
                <a:gd name="T86" fmla="*/ 20 w 23"/>
                <a:gd name="T87" fmla="*/ 17 h 23"/>
                <a:gd name="T88" fmla="*/ 9 w 23"/>
                <a:gd name="T89" fmla="*/ 2 h 23"/>
                <a:gd name="T90" fmla="*/ 9 w 23"/>
                <a:gd name="T91" fmla="*/ 2 h 23"/>
                <a:gd name="T92" fmla="*/ 10 w 23"/>
                <a:gd name="T93" fmla="*/ 2 h 23"/>
                <a:gd name="T94" fmla="*/ 9 w 23"/>
                <a:gd name="T95" fmla="*/ 2 h 23"/>
                <a:gd name="T96" fmla="*/ 10 w 23"/>
                <a:gd name="T97" fmla="*/ 1 h 23"/>
                <a:gd name="T98" fmla="*/ 10 w 23"/>
                <a:gd name="T99" fmla="*/ 1 h 23"/>
                <a:gd name="T100" fmla="*/ 11 w 23"/>
                <a:gd name="T101" fmla="*/ 2 h 23"/>
                <a:gd name="T102" fmla="*/ 11 w 23"/>
                <a:gd name="T103" fmla="*/ 0 h 23"/>
                <a:gd name="T104" fmla="*/ 10 w 23"/>
                <a:gd name="T105" fmla="*/ 0 h 23"/>
                <a:gd name="T106" fmla="*/ 3 w 23"/>
                <a:gd name="T107" fmla="*/ 18 h 23"/>
                <a:gd name="T108" fmla="*/ 3 w 23"/>
                <a:gd name="T109" fmla="*/ 18 h 23"/>
                <a:gd name="T110" fmla="*/ 5 w 23"/>
                <a:gd name="T111" fmla="*/ 21 h 23"/>
                <a:gd name="T112" fmla="*/ 5 w 23"/>
                <a:gd name="T113" fmla="*/ 21 h 23"/>
                <a:gd name="T114" fmla="*/ 10 w 23"/>
                <a:gd name="T115" fmla="*/ 22 h 23"/>
                <a:gd name="T116" fmla="*/ 10 w 23"/>
                <a:gd name="T117" fmla="*/ 22 h 23"/>
                <a:gd name="T118" fmla="*/ 21 w 23"/>
                <a:gd name="T119" fmla="*/ 17 h 23"/>
                <a:gd name="T120" fmla="*/ 15 w 23"/>
                <a:gd name="T121" fmla="*/ 1 h 23"/>
                <a:gd name="T122" fmla="*/ 11 w 23"/>
                <a:gd name="T1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 h="23">
                  <a:moveTo>
                    <a:pt x="6" y="20"/>
                  </a:moveTo>
                  <a:cubicBezTo>
                    <a:pt x="6" y="20"/>
                    <a:pt x="6" y="20"/>
                    <a:pt x="6" y="20"/>
                  </a:cubicBezTo>
                  <a:cubicBezTo>
                    <a:pt x="6" y="20"/>
                    <a:pt x="6" y="20"/>
                    <a:pt x="6" y="20"/>
                  </a:cubicBezTo>
                  <a:cubicBezTo>
                    <a:pt x="6" y="20"/>
                    <a:pt x="6" y="20"/>
                    <a:pt x="6" y="20"/>
                  </a:cubicBezTo>
                  <a:moveTo>
                    <a:pt x="5" y="19"/>
                  </a:moveTo>
                  <a:cubicBezTo>
                    <a:pt x="5" y="19"/>
                    <a:pt x="5" y="19"/>
                    <a:pt x="5" y="19"/>
                  </a:cubicBezTo>
                  <a:cubicBezTo>
                    <a:pt x="5" y="19"/>
                    <a:pt x="5" y="19"/>
                    <a:pt x="5" y="19"/>
                  </a:cubicBezTo>
                  <a:cubicBezTo>
                    <a:pt x="5" y="19"/>
                    <a:pt x="5" y="19"/>
                    <a:pt x="5" y="19"/>
                  </a:cubicBezTo>
                  <a:cubicBezTo>
                    <a:pt x="5" y="19"/>
                    <a:pt x="5" y="19"/>
                    <a:pt x="5" y="19"/>
                  </a:cubicBezTo>
                  <a:cubicBezTo>
                    <a:pt x="5" y="19"/>
                    <a:pt x="5" y="19"/>
                    <a:pt x="5" y="19"/>
                  </a:cubicBezTo>
                  <a:moveTo>
                    <a:pt x="4" y="19"/>
                  </a:moveTo>
                  <a:cubicBezTo>
                    <a:pt x="4" y="18"/>
                    <a:pt x="4" y="18"/>
                    <a:pt x="4" y="18"/>
                  </a:cubicBezTo>
                  <a:cubicBezTo>
                    <a:pt x="5" y="18"/>
                    <a:pt x="5" y="18"/>
                    <a:pt x="5" y="18"/>
                  </a:cubicBezTo>
                  <a:cubicBezTo>
                    <a:pt x="5" y="18"/>
                    <a:pt x="5" y="18"/>
                    <a:pt x="5" y="18"/>
                  </a:cubicBezTo>
                  <a:cubicBezTo>
                    <a:pt x="4" y="19"/>
                    <a:pt x="4" y="19"/>
                    <a:pt x="4" y="19"/>
                  </a:cubicBezTo>
                  <a:moveTo>
                    <a:pt x="4" y="18"/>
                  </a:moveTo>
                  <a:cubicBezTo>
                    <a:pt x="3" y="17"/>
                    <a:pt x="3" y="17"/>
                    <a:pt x="3" y="17"/>
                  </a:cubicBezTo>
                  <a:cubicBezTo>
                    <a:pt x="4" y="17"/>
                    <a:pt x="4" y="17"/>
                    <a:pt x="4" y="17"/>
                  </a:cubicBezTo>
                  <a:cubicBezTo>
                    <a:pt x="4" y="18"/>
                    <a:pt x="4" y="18"/>
                    <a:pt x="4" y="18"/>
                  </a:cubicBezTo>
                  <a:cubicBezTo>
                    <a:pt x="4" y="18"/>
                    <a:pt x="4" y="18"/>
                    <a:pt x="4" y="18"/>
                  </a:cubicBezTo>
                  <a:moveTo>
                    <a:pt x="3" y="17"/>
                  </a:moveTo>
                  <a:cubicBezTo>
                    <a:pt x="3" y="17"/>
                    <a:pt x="3" y="17"/>
                    <a:pt x="3" y="17"/>
                  </a:cubicBezTo>
                  <a:cubicBezTo>
                    <a:pt x="4" y="16"/>
                    <a:pt x="4" y="16"/>
                    <a:pt x="4" y="16"/>
                  </a:cubicBezTo>
                  <a:cubicBezTo>
                    <a:pt x="4" y="17"/>
                    <a:pt x="4" y="17"/>
                    <a:pt x="4" y="17"/>
                  </a:cubicBezTo>
                  <a:cubicBezTo>
                    <a:pt x="3" y="17"/>
                    <a:pt x="3" y="17"/>
                    <a:pt x="3" y="17"/>
                  </a:cubicBezTo>
                  <a:moveTo>
                    <a:pt x="3" y="16"/>
                  </a:moveTo>
                  <a:cubicBezTo>
                    <a:pt x="2" y="16"/>
                    <a:pt x="2" y="16"/>
                    <a:pt x="2" y="16"/>
                  </a:cubicBezTo>
                  <a:cubicBezTo>
                    <a:pt x="3" y="16"/>
                    <a:pt x="3" y="15"/>
                    <a:pt x="3" y="15"/>
                  </a:cubicBezTo>
                  <a:cubicBezTo>
                    <a:pt x="4" y="16"/>
                    <a:pt x="4" y="16"/>
                    <a:pt x="4" y="16"/>
                  </a:cubicBezTo>
                  <a:cubicBezTo>
                    <a:pt x="3" y="16"/>
                    <a:pt x="3" y="16"/>
                    <a:pt x="3" y="16"/>
                  </a:cubicBezTo>
                  <a:moveTo>
                    <a:pt x="2" y="15"/>
                  </a:moveTo>
                  <a:cubicBezTo>
                    <a:pt x="2" y="15"/>
                    <a:pt x="2" y="15"/>
                    <a:pt x="2" y="15"/>
                  </a:cubicBezTo>
                  <a:cubicBezTo>
                    <a:pt x="3" y="15"/>
                    <a:pt x="3" y="15"/>
                    <a:pt x="3" y="15"/>
                  </a:cubicBezTo>
                  <a:cubicBezTo>
                    <a:pt x="3" y="15"/>
                    <a:pt x="3" y="15"/>
                    <a:pt x="3" y="15"/>
                  </a:cubicBezTo>
                  <a:cubicBezTo>
                    <a:pt x="3" y="15"/>
                    <a:pt x="3" y="15"/>
                    <a:pt x="2" y="15"/>
                  </a:cubicBezTo>
                  <a:moveTo>
                    <a:pt x="2" y="14"/>
                  </a:moveTo>
                  <a:cubicBezTo>
                    <a:pt x="2" y="14"/>
                    <a:pt x="2" y="13"/>
                    <a:pt x="2" y="13"/>
                  </a:cubicBezTo>
                  <a:cubicBezTo>
                    <a:pt x="3" y="12"/>
                    <a:pt x="3" y="12"/>
                    <a:pt x="3" y="12"/>
                  </a:cubicBezTo>
                  <a:cubicBezTo>
                    <a:pt x="3" y="13"/>
                    <a:pt x="3" y="14"/>
                    <a:pt x="3" y="14"/>
                  </a:cubicBezTo>
                  <a:cubicBezTo>
                    <a:pt x="2" y="14"/>
                    <a:pt x="2" y="14"/>
                    <a:pt x="2" y="14"/>
                  </a:cubicBezTo>
                  <a:moveTo>
                    <a:pt x="2" y="12"/>
                  </a:moveTo>
                  <a:cubicBezTo>
                    <a:pt x="2" y="12"/>
                    <a:pt x="2" y="11"/>
                    <a:pt x="2" y="11"/>
                  </a:cubicBezTo>
                  <a:cubicBezTo>
                    <a:pt x="2" y="11"/>
                    <a:pt x="3" y="10"/>
                    <a:pt x="3" y="10"/>
                  </a:cubicBezTo>
                  <a:cubicBezTo>
                    <a:pt x="3" y="11"/>
                    <a:pt x="3" y="11"/>
                    <a:pt x="3" y="12"/>
                  </a:cubicBezTo>
                  <a:cubicBezTo>
                    <a:pt x="2" y="12"/>
                    <a:pt x="2" y="12"/>
                    <a:pt x="2" y="12"/>
                  </a:cubicBezTo>
                  <a:moveTo>
                    <a:pt x="2" y="10"/>
                  </a:moveTo>
                  <a:cubicBezTo>
                    <a:pt x="2" y="9"/>
                    <a:pt x="2" y="9"/>
                    <a:pt x="2" y="9"/>
                  </a:cubicBezTo>
                  <a:cubicBezTo>
                    <a:pt x="3" y="9"/>
                    <a:pt x="3" y="9"/>
                    <a:pt x="3" y="9"/>
                  </a:cubicBezTo>
                  <a:cubicBezTo>
                    <a:pt x="4" y="9"/>
                    <a:pt x="4" y="9"/>
                    <a:pt x="4" y="9"/>
                  </a:cubicBezTo>
                  <a:cubicBezTo>
                    <a:pt x="3" y="10"/>
                    <a:pt x="3" y="10"/>
                    <a:pt x="3" y="10"/>
                  </a:cubicBezTo>
                  <a:cubicBezTo>
                    <a:pt x="3" y="10"/>
                    <a:pt x="2" y="10"/>
                    <a:pt x="2" y="10"/>
                  </a:cubicBezTo>
                  <a:moveTo>
                    <a:pt x="2" y="9"/>
                  </a:moveTo>
                  <a:cubicBezTo>
                    <a:pt x="2" y="8"/>
                    <a:pt x="2" y="8"/>
                    <a:pt x="3" y="8"/>
                  </a:cubicBezTo>
                  <a:cubicBezTo>
                    <a:pt x="3" y="8"/>
                    <a:pt x="3" y="8"/>
                    <a:pt x="3" y="8"/>
                  </a:cubicBezTo>
                  <a:cubicBezTo>
                    <a:pt x="4" y="8"/>
                    <a:pt x="4" y="8"/>
                    <a:pt x="4" y="8"/>
                  </a:cubicBezTo>
                  <a:cubicBezTo>
                    <a:pt x="4" y="8"/>
                    <a:pt x="4" y="8"/>
                    <a:pt x="4" y="8"/>
                  </a:cubicBezTo>
                  <a:cubicBezTo>
                    <a:pt x="4" y="9"/>
                    <a:pt x="4" y="9"/>
                    <a:pt x="4" y="9"/>
                  </a:cubicBezTo>
                  <a:cubicBezTo>
                    <a:pt x="3" y="9"/>
                    <a:pt x="3" y="9"/>
                    <a:pt x="3" y="9"/>
                  </a:cubicBezTo>
                  <a:cubicBezTo>
                    <a:pt x="2" y="9"/>
                    <a:pt x="2" y="9"/>
                    <a:pt x="2" y="9"/>
                  </a:cubicBezTo>
                  <a:moveTo>
                    <a:pt x="3" y="7"/>
                  </a:moveTo>
                  <a:cubicBezTo>
                    <a:pt x="3" y="6"/>
                    <a:pt x="3" y="6"/>
                    <a:pt x="3" y="6"/>
                  </a:cubicBezTo>
                  <a:cubicBezTo>
                    <a:pt x="4" y="6"/>
                    <a:pt x="5" y="6"/>
                    <a:pt x="5" y="6"/>
                  </a:cubicBezTo>
                  <a:cubicBezTo>
                    <a:pt x="5" y="7"/>
                    <a:pt x="5" y="7"/>
                    <a:pt x="5" y="7"/>
                  </a:cubicBezTo>
                  <a:cubicBezTo>
                    <a:pt x="4" y="7"/>
                    <a:pt x="4" y="7"/>
                    <a:pt x="3" y="7"/>
                  </a:cubicBezTo>
                  <a:cubicBezTo>
                    <a:pt x="3" y="7"/>
                    <a:pt x="3" y="7"/>
                    <a:pt x="3" y="7"/>
                  </a:cubicBezTo>
                  <a:moveTo>
                    <a:pt x="5" y="6"/>
                  </a:moveTo>
                  <a:cubicBezTo>
                    <a:pt x="4" y="6"/>
                    <a:pt x="4" y="6"/>
                    <a:pt x="4" y="6"/>
                  </a:cubicBezTo>
                  <a:cubicBezTo>
                    <a:pt x="4" y="5"/>
                    <a:pt x="5" y="5"/>
                    <a:pt x="5" y="4"/>
                  </a:cubicBezTo>
                  <a:cubicBezTo>
                    <a:pt x="6" y="4"/>
                    <a:pt x="6" y="4"/>
                    <a:pt x="6" y="4"/>
                  </a:cubicBezTo>
                  <a:cubicBezTo>
                    <a:pt x="7" y="4"/>
                    <a:pt x="7" y="4"/>
                    <a:pt x="7" y="4"/>
                  </a:cubicBezTo>
                  <a:cubicBezTo>
                    <a:pt x="6" y="5"/>
                    <a:pt x="6" y="5"/>
                    <a:pt x="5" y="6"/>
                  </a:cubicBezTo>
                  <a:moveTo>
                    <a:pt x="7" y="4"/>
                  </a:moveTo>
                  <a:cubicBezTo>
                    <a:pt x="6" y="4"/>
                    <a:pt x="6" y="4"/>
                    <a:pt x="6" y="4"/>
                  </a:cubicBezTo>
                  <a:cubicBezTo>
                    <a:pt x="6" y="4"/>
                    <a:pt x="6" y="4"/>
                    <a:pt x="6" y="4"/>
                  </a:cubicBezTo>
                  <a:cubicBezTo>
                    <a:pt x="6" y="3"/>
                    <a:pt x="6" y="3"/>
                    <a:pt x="6" y="3"/>
                  </a:cubicBezTo>
                  <a:cubicBezTo>
                    <a:pt x="7" y="3"/>
                    <a:pt x="7" y="3"/>
                    <a:pt x="8" y="3"/>
                  </a:cubicBezTo>
                  <a:cubicBezTo>
                    <a:pt x="7" y="4"/>
                    <a:pt x="7" y="4"/>
                    <a:pt x="7" y="4"/>
                  </a:cubicBezTo>
                  <a:moveTo>
                    <a:pt x="8" y="3"/>
                  </a:moveTo>
                  <a:cubicBezTo>
                    <a:pt x="7" y="3"/>
                    <a:pt x="7" y="3"/>
                    <a:pt x="7" y="3"/>
                  </a:cubicBezTo>
                  <a:cubicBezTo>
                    <a:pt x="7" y="2"/>
                    <a:pt x="7" y="2"/>
                    <a:pt x="7" y="2"/>
                  </a:cubicBezTo>
                  <a:cubicBezTo>
                    <a:pt x="8" y="3"/>
                    <a:pt x="8" y="3"/>
                    <a:pt x="9" y="3"/>
                  </a:cubicBezTo>
                  <a:cubicBezTo>
                    <a:pt x="8" y="3"/>
                    <a:pt x="8" y="3"/>
                    <a:pt x="8" y="3"/>
                  </a:cubicBezTo>
                  <a:moveTo>
                    <a:pt x="12" y="22"/>
                  </a:moveTo>
                  <a:cubicBezTo>
                    <a:pt x="11" y="22"/>
                    <a:pt x="9" y="21"/>
                    <a:pt x="8" y="21"/>
                  </a:cubicBezTo>
                  <a:cubicBezTo>
                    <a:pt x="4" y="18"/>
                    <a:pt x="3" y="13"/>
                    <a:pt x="5" y="8"/>
                  </a:cubicBezTo>
                  <a:cubicBezTo>
                    <a:pt x="6" y="5"/>
                    <a:pt x="10" y="2"/>
                    <a:pt x="14" y="2"/>
                  </a:cubicBezTo>
                  <a:cubicBezTo>
                    <a:pt x="15" y="2"/>
                    <a:pt x="16" y="2"/>
                    <a:pt x="17" y="3"/>
                  </a:cubicBezTo>
                  <a:cubicBezTo>
                    <a:pt x="22" y="6"/>
                    <a:pt x="22" y="12"/>
                    <a:pt x="20" y="17"/>
                  </a:cubicBezTo>
                  <a:cubicBezTo>
                    <a:pt x="19" y="20"/>
                    <a:pt x="16" y="22"/>
                    <a:pt x="12" y="22"/>
                  </a:cubicBezTo>
                  <a:moveTo>
                    <a:pt x="9" y="2"/>
                  </a:moveTo>
                  <a:cubicBezTo>
                    <a:pt x="9" y="2"/>
                    <a:pt x="8" y="2"/>
                    <a:pt x="8" y="2"/>
                  </a:cubicBezTo>
                  <a:cubicBezTo>
                    <a:pt x="9" y="2"/>
                    <a:pt x="9" y="2"/>
                    <a:pt x="9" y="2"/>
                  </a:cubicBezTo>
                  <a:cubicBezTo>
                    <a:pt x="9" y="2"/>
                    <a:pt x="9" y="2"/>
                    <a:pt x="9" y="2"/>
                  </a:cubicBezTo>
                  <a:cubicBezTo>
                    <a:pt x="10" y="2"/>
                    <a:pt x="10" y="2"/>
                    <a:pt x="10" y="2"/>
                  </a:cubicBezTo>
                  <a:cubicBezTo>
                    <a:pt x="10" y="2"/>
                    <a:pt x="10" y="2"/>
                    <a:pt x="10" y="2"/>
                  </a:cubicBezTo>
                  <a:cubicBezTo>
                    <a:pt x="9" y="2"/>
                    <a:pt x="9" y="2"/>
                    <a:pt x="9" y="2"/>
                  </a:cubicBezTo>
                  <a:moveTo>
                    <a:pt x="11" y="2"/>
                  </a:moveTo>
                  <a:cubicBezTo>
                    <a:pt x="10" y="1"/>
                    <a:pt x="10" y="1"/>
                    <a:pt x="10" y="1"/>
                  </a:cubicBezTo>
                  <a:cubicBezTo>
                    <a:pt x="10" y="1"/>
                    <a:pt x="10" y="1"/>
                    <a:pt x="10" y="1"/>
                  </a:cubicBezTo>
                  <a:cubicBezTo>
                    <a:pt x="10" y="1"/>
                    <a:pt x="10" y="1"/>
                    <a:pt x="10" y="1"/>
                  </a:cubicBezTo>
                  <a:cubicBezTo>
                    <a:pt x="11" y="1"/>
                    <a:pt x="11" y="1"/>
                    <a:pt x="11" y="1"/>
                  </a:cubicBezTo>
                  <a:cubicBezTo>
                    <a:pt x="11" y="2"/>
                    <a:pt x="11" y="2"/>
                    <a:pt x="11" y="2"/>
                  </a:cubicBezTo>
                  <a:moveTo>
                    <a:pt x="11" y="0"/>
                  </a:moveTo>
                  <a:cubicBezTo>
                    <a:pt x="11" y="0"/>
                    <a:pt x="11" y="0"/>
                    <a:pt x="11" y="0"/>
                  </a:cubicBezTo>
                  <a:cubicBezTo>
                    <a:pt x="11" y="0"/>
                    <a:pt x="11" y="0"/>
                    <a:pt x="11" y="0"/>
                  </a:cubicBezTo>
                  <a:cubicBezTo>
                    <a:pt x="10" y="0"/>
                    <a:pt x="10" y="0"/>
                    <a:pt x="10" y="0"/>
                  </a:cubicBezTo>
                  <a:cubicBezTo>
                    <a:pt x="7" y="1"/>
                    <a:pt x="3" y="4"/>
                    <a:pt x="2" y="7"/>
                  </a:cubicBezTo>
                  <a:cubicBezTo>
                    <a:pt x="0" y="11"/>
                    <a:pt x="0" y="15"/>
                    <a:pt x="3" y="18"/>
                  </a:cubicBezTo>
                  <a:cubicBezTo>
                    <a:pt x="3" y="18"/>
                    <a:pt x="3" y="18"/>
                    <a:pt x="3" y="18"/>
                  </a:cubicBezTo>
                  <a:cubicBezTo>
                    <a:pt x="3" y="18"/>
                    <a:pt x="3" y="18"/>
                    <a:pt x="3" y="18"/>
                  </a:cubicBezTo>
                  <a:cubicBezTo>
                    <a:pt x="3" y="19"/>
                    <a:pt x="4" y="20"/>
                    <a:pt x="5" y="20"/>
                  </a:cubicBezTo>
                  <a:cubicBezTo>
                    <a:pt x="5" y="21"/>
                    <a:pt x="5" y="21"/>
                    <a:pt x="5" y="21"/>
                  </a:cubicBezTo>
                  <a:cubicBezTo>
                    <a:pt x="5" y="21"/>
                    <a:pt x="5" y="21"/>
                    <a:pt x="5" y="21"/>
                  </a:cubicBezTo>
                  <a:cubicBezTo>
                    <a:pt x="5" y="21"/>
                    <a:pt x="5" y="21"/>
                    <a:pt x="5" y="21"/>
                  </a:cubicBezTo>
                  <a:cubicBezTo>
                    <a:pt x="5" y="21"/>
                    <a:pt x="5" y="21"/>
                    <a:pt x="5" y="21"/>
                  </a:cubicBezTo>
                  <a:cubicBezTo>
                    <a:pt x="7" y="21"/>
                    <a:pt x="8" y="22"/>
                    <a:pt x="10" y="22"/>
                  </a:cubicBezTo>
                  <a:cubicBezTo>
                    <a:pt x="10" y="22"/>
                    <a:pt x="10" y="22"/>
                    <a:pt x="10" y="22"/>
                  </a:cubicBezTo>
                  <a:cubicBezTo>
                    <a:pt x="10" y="22"/>
                    <a:pt x="10" y="22"/>
                    <a:pt x="10" y="22"/>
                  </a:cubicBezTo>
                  <a:cubicBezTo>
                    <a:pt x="11" y="23"/>
                    <a:pt x="11" y="23"/>
                    <a:pt x="12" y="23"/>
                  </a:cubicBezTo>
                  <a:cubicBezTo>
                    <a:pt x="16" y="23"/>
                    <a:pt x="20" y="20"/>
                    <a:pt x="21" y="17"/>
                  </a:cubicBezTo>
                  <a:cubicBezTo>
                    <a:pt x="23" y="12"/>
                    <a:pt x="23" y="6"/>
                    <a:pt x="18" y="2"/>
                  </a:cubicBezTo>
                  <a:cubicBezTo>
                    <a:pt x="17" y="2"/>
                    <a:pt x="16" y="1"/>
                    <a:pt x="15" y="1"/>
                  </a:cubicBezTo>
                  <a:cubicBezTo>
                    <a:pt x="15" y="1"/>
                    <a:pt x="15" y="1"/>
                    <a:pt x="15" y="1"/>
                  </a:cubicBezTo>
                  <a:cubicBezTo>
                    <a:pt x="14" y="1"/>
                    <a:pt x="13" y="0"/>
                    <a:pt x="11" y="0"/>
                  </a:cubicBezTo>
                  <a:cubicBezTo>
                    <a:pt x="11" y="0"/>
                    <a:pt x="11" y="0"/>
                    <a:pt x="1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17" name="iŝḻïḓe"/>
            <p:cNvSpPr/>
            <p:nvPr/>
          </p:nvSpPr>
          <p:spPr bwMode="auto">
            <a:xfrm>
              <a:off x="3599" y="2436"/>
              <a:ext cx="42" cy="43"/>
            </a:xfrm>
            <a:custGeom>
              <a:avLst/>
              <a:gdLst>
                <a:gd name="T0" fmla="*/ 13 w 18"/>
                <a:gd name="T1" fmla="*/ 15 h 18"/>
                <a:gd name="T2" fmla="*/ 12 w 18"/>
                <a:gd name="T3" fmla="*/ 16 h 18"/>
                <a:gd name="T4" fmla="*/ 14 w 18"/>
                <a:gd name="T5" fmla="*/ 14 h 18"/>
                <a:gd name="T6" fmla="*/ 13 w 18"/>
                <a:gd name="T7" fmla="*/ 15 h 18"/>
                <a:gd name="T8" fmla="*/ 14 w 18"/>
                <a:gd name="T9" fmla="*/ 14 h 18"/>
                <a:gd name="T10" fmla="*/ 15 w 18"/>
                <a:gd name="T11" fmla="*/ 13 h 18"/>
                <a:gd name="T12" fmla="*/ 14 w 18"/>
                <a:gd name="T13" fmla="*/ 14 h 18"/>
                <a:gd name="T14" fmla="*/ 15 w 18"/>
                <a:gd name="T15" fmla="*/ 13 h 18"/>
                <a:gd name="T16" fmla="*/ 15 w 18"/>
                <a:gd name="T17" fmla="*/ 12 h 18"/>
                <a:gd name="T18" fmla="*/ 15 w 18"/>
                <a:gd name="T19" fmla="*/ 13 h 18"/>
                <a:gd name="T20" fmla="*/ 15 w 18"/>
                <a:gd name="T21" fmla="*/ 11 h 18"/>
                <a:gd name="T22" fmla="*/ 16 w 18"/>
                <a:gd name="T23" fmla="*/ 10 h 18"/>
                <a:gd name="T24" fmla="*/ 16 w 18"/>
                <a:gd name="T25" fmla="*/ 10 h 18"/>
                <a:gd name="T26" fmla="*/ 16 w 18"/>
                <a:gd name="T27" fmla="*/ 8 h 18"/>
                <a:gd name="T28" fmla="*/ 16 w 18"/>
                <a:gd name="T29" fmla="*/ 10 h 18"/>
                <a:gd name="T30" fmla="*/ 16 w 18"/>
                <a:gd name="T31" fmla="*/ 8 h 18"/>
                <a:gd name="T32" fmla="*/ 16 w 18"/>
                <a:gd name="T33" fmla="*/ 7 h 18"/>
                <a:gd name="T34" fmla="*/ 16 w 18"/>
                <a:gd name="T35" fmla="*/ 6 h 18"/>
                <a:gd name="T36" fmla="*/ 15 w 18"/>
                <a:gd name="T37" fmla="*/ 5 h 18"/>
                <a:gd name="T38" fmla="*/ 16 w 18"/>
                <a:gd name="T39" fmla="*/ 6 h 18"/>
                <a:gd name="T40" fmla="*/ 15 w 18"/>
                <a:gd name="T41" fmla="*/ 5 h 18"/>
                <a:gd name="T42" fmla="*/ 15 w 18"/>
                <a:gd name="T43" fmla="*/ 4 h 18"/>
                <a:gd name="T44" fmla="*/ 15 w 18"/>
                <a:gd name="T45" fmla="*/ 4 h 18"/>
                <a:gd name="T46" fmla="*/ 15 w 18"/>
                <a:gd name="T47" fmla="*/ 4 h 18"/>
                <a:gd name="T48" fmla="*/ 7 w 18"/>
                <a:gd name="T49" fmla="*/ 17 h 18"/>
                <a:gd name="T50" fmla="*/ 2 w 18"/>
                <a:gd name="T51" fmla="*/ 6 h 18"/>
                <a:gd name="T52" fmla="*/ 10 w 18"/>
                <a:gd name="T53" fmla="*/ 1 h 18"/>
                <a:gd name="T54" fmla="*/ 11 w 18"/>
                <a:gd name="T55" fmla="*/ 2 h 18"/>
                <a:gd name="T56" fmla="*/ 15 w 18"/>
                <a:gd name="T57" fmla="*/ 8 h 18"/>
                <a:gd name="T58" fmla="*/ 15 w 18"/>
                <a:gd name="T59" fmla="*/ 8 h 18"/>
                <a:gd name="T60" fmla="*/ 7 w 18"/>
                <a:gd name="T61" fmla="*/ 17 h 18"/>
                <a:gd name="T62" fmla="*/ 7 w 18"/>
                <a:gd name="T63" fmla="*/ 17 h 18"/>
                <a:gd name="T64" fmla="*/ 2 w 18"/>
                <a:gd name="T65" fmla="*/ 6 h 18"/>
                <a:gd name="T66" fmla="*/ 8 w 18"/>
                <a:gd name="T67" fmla="*/ 18 h 18"/>
                <a:gd name="T68" fmla="*/ 13 w 18"/>
                <a:gd name="T69"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8">
                  <a:moveTo>
                    <a:pt x="12" y="16"/>
                  </a:moveTo>
                  <a:cubicBezTo>
                    <a:pt x="13" y="15"/>
                    <a:pt x="13" y="15"/>
                    <a:pt x="13" y="15"/>
                  </a:cubicBezTo>
                  <a:cubicBezTo>
                    <a:pt x="13" y="15"/>
                    <a:pt x="13" y="15"/>
                    <a:pt x="13" y="15"/>
                  </a:cubicBezTo>
                  <a:cubicBezTo>
                    <a:pt x="12" y="16"/>
                    <a:pt x="12" y="16"/>
                    <a:pt x="12" y="16"/>
                  </a:cubicBezTo>
                  <a:moveTo>
                    <a:pt x="13" y="15"/>
                  </a:moveTo>
                  <a:cubicBezTo>
                    <a:pt x="14" y="14"/>
                    <a:pt x="14" y="14"/>
                    <a:pt x="14" y="14"/>
                  </a:cubicBezTo>
                  <a:cubicBezTo>
                    <a:pt x="14" y="14"/>
                    <a:pt x="14" y="14"/>
                    <a:pt x="14" y="14"/>
                  </a:cubicBezTo>
                  <a:cubicBezTo>
                    <a:pt x="13" y="15"/>
                    <a:pt x="13" y="15"/>
                    <a:pt x="13" y="15"/>
                  </a:cubicBezTo>
                  <a:cubicBezTo>
                    <a:pt x="13" y="15"/>
                    <a:pt x="13" y="15"/>
                    <a:pt x="13" y="15"/>
                  </a:cubicBezTo>
                  <a:moveTo>
                    <a:pt x="14" y="14"/>
                  </a:moveTo>
                  <a:cubicBezTo>
                    <a:pt x="14" y="13"/>
                    <a:pt x="14" y="13"/>
                    <a:pt x="14" y="13"/>
                  </a:cubicBezTo>
                  <a:cubicBezTo>
                    <a:pt x="15" y="13"/>
                    <a:pt x="15" y="13"/>
                    <a:pt x="15" y="13"/>
                  </a:cubicBezTo>
                  <a:cubicBezTo>
                    <a:pt x="14" y="14"/>
                    <a:pt x="14" y="14"/>
                    <a:pt x="14" y="14"/>
                  </a:cubicBezTo>
                  <a:cubicBezTo>
                    <a:pt x="14" y="14"/>
                    <a:pt x="14" y="14"/>
                    <a:pt x="14" y="14"/>
                  </a:cubicBezTo>
                  <a:cubicBezTo>
                    <a:pt x="14" y="14"/>
                    <a:pt x="14" y="14"/>
                    <a:pt x="14" y="14"/>
                  </a:cubicBezTo>
                  <a:moveTo>
                    <a:pt x="15" y="13"/>
                  </a:moveTo>
                  <a:cubicBezTo>
                    <a:pt x="15" y="13"/>
                    <a:pt x="15" y="13"/>
                    <a:pt x="15" y="13"/>
                  </a:cubicBezTo>
                  <a:cubicBezTo>
                    <a:pt x="15" y="12"/>
                    <a:pt x="15" y="12"/>
                    <a:pt x="15" y="12"/>
                  </a:cubicBezTo>
                  <a:cubicBezTo>
                    <a:pt x="15" y="12"/>
                    <a:pt x="15" y="12"/>
                    <a:pt x="15" y="12"/>
                  </a:cubicBezTo>
                  <a:cubicBezTo>
                    <a:pt x="15" y="13"/>
                    <a:pt x="15" y="13"/>
                    <a:pt x="15" y="13"/>
                  </a:cubicBezTo>
                  <a:moveTo>
                    <a:pt x="16" y="11"/>
                  </a:moveTo>
                  <a:cubicBezTo>
                    <a:pt x="15" y="11"/>
                    <a:pt x="15" y="11"/>
                    <a:pt x="15" y="11"/>
                  </a:cubicBezTo>
                  <a:cubicBezTo>
                    <a:pt x="15" y="10"/>
                    <a:pt x="15" y="10"/>
                    <a:pt x="15" y="10"/>
                  </a:cubicBezTo>
                  <a:cubicBezTo>
                    <a:pt x="16" y="10"/>
                    <a:pt x="16" y="10"/>
                    <a:pt x="16" y="10"/>
                  </a:cubicBezTo>
                  <a:cubicBezTo>
                    <a:pt x="16" y="11"/>
                    <a:pt x="16" y="11"/>
                    <a:pt x="16" y="11"/>
                  </a:cubicBezTo>
                  <a:moveTo>
                    <a:pt x="16" y="10"/>
                  </a:moveTo>
                  <a:cubicBezTo>
                    <a:pt x="16" y="10"/>
                    <a:pt x="16" y="10"/>
                    <a:pt x="16" y="10"/>
                  </a:cubicBezTo>
                  <a:cubicBezTo>
                    <a:pt x="16" y="9"/>
                    <a:pt x="16" y="9"/>
                    <a:pt x="16" y="8"/>
                  </a:cubicBezTo>
                  <a:cubicBezTo>
                    <a:pt x="16" y="8"/>
                    <a:pt x="16" y="8"/>
                    <a:pt x="16" y="8"/>
                  </a:cubicBezTo>
                  <a:cubicBezTo>
                    <a:pt x="16" y="9"/>
                    <a:pt x="16" y="9"/>
                    <a:pt x="16" y="10"/>
                  </a:cubicBezTo>
                  <a:moveTo>
                    <a:pt x="16" y="8"/>
                  </a:moveTo>
                  <a:cubicBezTo>
                    <a:pt x="16" y="8"/>
                    <a:pt x="16" y="8"/>
                    <a:pt x="16" y="8"/>
                  </a:cubicBezTo>
                  <a:cubicBezTo>
                    <a:pt x="16" y="7"/>
                    <a:pt x="16" y="7"/>
                    <a:pt x="16" y="7"/>
                  </a:cubicBezTo>
                  <a:cubicBezTo>
                    <a:pt x="16" y="7"/>
                    <a:pt x="16" y="7"/>
                    <a:pt x="16" y="7"/>
                  </a:cubicBezTo>
                  <a:cubicBezTo>
                    <a:pt x="16" y="8"/>
                    <a:pt x="16" y="8"/>
                    <a:pt x="16" y="8"/>
                  </a:cubicBezTo>
                  <a:moveTo>
                    <a:pt x="16" y="6"/>
                  </a:moveTo>
                  <a:cubicBezTo>
                    <a:pt x="15" y="6"/>
                    <a:pt x="15" y="6"/>
                    <a:pt x="15" y="6"/>
                  </a:cubicBezTo>
                  <a:cubicBezTo>
                    <a:pt x="15" y="5"/>
                    <a:pt x="15" y="5"/>
                    <a:pt x="15" y="5"/>
                  </a:cubicBezTo>
                  <a:cubicBezTo>
                    <a:pt x="15" y="5"/>
                    <a:pt x="15" y="5"/>
                    <a:pt x="15" y="5"/>
                  </a:cubicBezTo>
                  <a:cubicBezTo>
                    <a:pt x="16" y="6"/>
                    <a:pt x="16" y="6"/>
                    <a:pt x="16" y="6"/>
                  </a:cubicBezTo>
                  <a:moveTo>
                    <a:pt x="15" y="5"/>
                  </a:moveTo>
                  <a:cubicBezTo>
                    <a:pt x="15" y="5"/>
                    <a:pt x="15" y="5"/>
                    <a:pt x="15" y="5"/>
                  </a:cubicBezTo>
                  <a:cubicBezTo>
                    <a:pt x="15" y="4"/>
                    <a:pt x="15" y="4"/>
                    <a:pt x="15" y="4"/>
                  </a:cubicBezTo>
                  <a:cubicBezTo>
                    <a:pt x="15" y="4"/>
                    <a:pt x="15" y="4"/>
                    <a:pt x="15" y="4"/>
                  </a:cubicBezTo>
                  <a:cubicBezTo>
                    <a:pt x="15" y="5"/>
                    <a:pt x="15" y="5"/>
                    <a:pt x="15" y="5"/>
                  </a:cubicBezTo>
                  <a:moveTo>
                    <a:pt x="15" y="4"/>
                  </a:moveTo>
                  <a:cubicBezTo>
                    <a:pt x="15" y="4"/>
                    <a:pt x="15" y="4"/>
                    <a:pt x="15" y="4"/>
                  </a:cubicBezTo>
                  <a:cubicBezTo>
                    <a:pt x="15" y="4"/>
                    <a:pt x="15" y="4"/>
                    <a:pt x="15" y="4"/>
                  </a:cubicBezTo>
                  <a:cubicBezTo>
                    <a:pt x="15" y="4"/>
                    <a:pt x="15" y="4"/>
                    <a:pt x="15" y="4"/>
                  </a:cubicBezTo>
                  <a:moveTo>
                    <a:pt x="7" y="17"/>
                  </a:moveTo>
                  <a:cubicBezTo>
                    <a:pt x="6" y="16"/>
                    <a:pt x="6" y="16"/>
                    <a:pt x="5" y="16"/>
                  </a:cubicBezTo>
                  <a:cubicBezTo>
                    <a:pt x="2" y="14"/>
                    <a:pt x="1" y="10"/>
                    <a:pt x="2" y="6"/>
                  </a:cubicBezTo>
                  <a:cubicBezTo>
                    <a:pt x="4" y="4"/>
                    <a:pt x="6" y="1"/>
                    <a:pt x="10" y="1"/>
                  </a:cubicBezTo>
                  <a:cubicBezTo>
                    <a:pt x="10" y="1"/>
                    <a:pt x="10" y="1"/>
                    <a:pt x="10" y="1"/>
                  </a:cubicBezTo>
                  <a:cubicBezTo>
                    <a:pt x="10" y="1"/>
                    <a:pt x="10" y="1"/>
                    <a:pt x="10" y="1"/>
                  </a:cubicBezTo>
                  <a:cubicBezTo>
                    <a:pt x="11" y="2"/>
                    <a:pt x="11" y="2"/>
                    <a:pt x="11" y="2"/>
                  </a:cubicBezTo>
                  <a:cubicBezTo>
                    <a:pt x="14" y="3"/>
                    <a:pt x="15" y="5"/>
                    <a:pt x="15" y="8"/>
                  </a:cubicBezTo>
                  <a:cubicBezTo>
                    <a:pt x="15" y="8"/>
                    <a:pt x="15" y="8"/>
                    <a:pt x="15" y="8"/>
                  </a:cubicBezTo>
                  <a:cubicBezTo>
                    <a:pt x="15" y="8"/>
                    <a:pt x="15" y="8"/>
                    <a:pt x="15" y="8"/>
                  </a:cubicBezTo>
                  <a:cubicBezTo>
                    <a:pt x="15" y="8"/>
                    <a:pt x="15" y="8"/>
                    <a:pt x="15" y="8"/>
                  </a:cubicBezTo>
                  <a:cubicBezTo>
                    <a:pt x="15" y="10"/>
                    <a:pt x="14" y="11"/>
                    <a:pt x="14" y="12"/>
                  </a:cubicBezTo>
                  <a:cubicBezTo>
                    <a:pt x="13" y="15"/>
                    <a:pt x="10" y="17"/>
                    <a:pt x="7" y="17"/>
                  </a:cubicBezTo>
                  <a:cubicBezTo>
                    <a:pt x="7" y="17"/>
                    <a:pt x="7" y="17"/>
                    <a:pt x="7" y="17"/>
                  </a:cubicBezTo>
                  <a:cubicBezTo>
                    <a:pt x="7" y="17"/>
                    <a:pt x="7" y="17"/>
                    <a:pt x="7" y="17"/>
                  </a:cubicBezTo>
                  <a:moveTo>
                    <a:pt x="10" y="0"/>
                  </a:moveTo>
                  <a:cubicBezTo>
                    <a:pt x="6" y="0"/>
                    <a:pt x="3" y="3"/>
                    <a:pt x="2" y="6"/>
                  </a:cubicBezTo>
                  <a:cubicBezTo>
                    <a:pt x="0" y="10"/>
                    <a:pt x="1" y="15"/>
                    <a:pt x="5" y="17"/>
                  </a:cubicBezTo>
                  <a:cubicBezTo>
                    <a:pt x="6" y="17"/>
                    <a:pt x="7" y="18"/>
                    <a:pt x="8" y="18"/>
                  </a:cubicBezTo>
                  <a:cubicBezTo>
                    <a:pt x="11" y="18"/>
                    <a:pt x="15" y="16"/>
                    <a:pt x="16" y="13"/>
                  </a:cubicBezTo>
                  <a:cubicBezTo>
                    <a:pt x="18" y="9"/>
                    <a:pt x="17" y="4"/>
                    <a:pt x="13" y="1"/>
                  </a:cubicBezTo>
                  <a:cubicBezTo>
                    <a:pt x="12" y="0"/>
                    <a:pt x="11" y="0"/>
                    <a:pt x="1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18" name="îṣḻîďè"/>
            <p:cNvSpPr/>
            <p:nvPr/>
          </p:nvSpPr>
          <p:spPr bwMode="auto">
            <a:xfrm>
              <a:off x="3608" y="2441"/>
              <a:ext cx="21" cy="33"/>
            </a:xfrm>
            <a:custGeom>
              <a:avLst/>
              <a:gdLst>
                <a:gd name="T0" fmla="*/ 5 w 9"/>
                <a:gd name="T1" fmla="*/ 2 h 14"/>
                <a:gd name="T2" fmla="*/ 6 w 9"/>
                <a:gd name="T3" fmla="*/ 1 h 14"/>
                <a:gd name="T4" fmla="*/ 6 w 9"/>
                <a:gd name="T5" fmla="*/ 2 h 14"/>
                <a:gd name="T6" fmla="*/ 6 w 9"/>
                <a:gd name="T7" fmla="*/ 2 h 14"/>
                <a:gd name="T8" fmla="*/ 6 w 9"/>
                <a:gd name="T9" fmla="*/ 3 h 14"/>
                <a:gd name="T10" fmla="*/ 7 w 9"/>
                <a:gd name="T11" fmla="*/ 5 h 14"/>
                <a:gd name="T12" fmla="*/ 5 w 9"/>
                <a:gd name="T13" fmla="*/ 3 h 14"/>
                <a:gd name="T14" fmla="*/ 4 w 9"/>
                <a:gd name="T15" fmla="*/ 6 h 14"/>
                <a:gd name="T16" fmla="*/ 6 w 9"/>
                <a:gd name="T17" fmla="*/ 9 h 14"/>
                <a:gd name="T18" fmla="*/ 4 w 9"/>
                <a:gd name="T19" fmla="*/ 11 h 14"/>
                <a:gd name="T20" fmla="*/ 3 w 9"/>
                <a:gd name="T21" fmla="*/ 13 h 14"/>
                <a:gd name="T22" fmla="*/ 3 w 9"/>
                <a:gd name="T23" fmla="*/ 13 h 14"/>
                <a:gd name="T24" fmla="*/ 3 w 9"/>
                <a:gd name="T25" fmla="*/ 11 h 14"/>
                <a:gd name="T26" fmla="*/ 1 w 9"/>
                <a:gd name="T27" fmla="*/ 9 h 14"/>
                <a:gd name="T28" fmla="*/ 4 w 9"/>
                <a:gd name="T29" fmla="*/ 10 h 14"/>
                <a:gd name="T30" fmla="*/ 5 w 9"/>
                <a:gd name="T31" fmla="*/ 10 h 14"/>
                <a:gd name="T32" fmla="*/ 5 w 9"/>
                <a:gd name="T33" fmla="*/ 8 h 14"/>
                <a:gd name="T34" fmla="*/ 2 w 9"/>
                <a:gd name="T35" fmla="*/ 4 h 14"/>
                <a:gd name="T36" fmla="*/ 4 w 9"/>
                <a:gd name="T37" fmla="*/ 3 h 14"/>
                <a:gd name="T38" fmla="*/ 5 w 9"/>
                <a:gd name="T39" fmla="*/ 3 h 14"/>
                <a:gd name="T40" fmla="*/ 5 w 9"/>
                <a:gd name="T41" fmla="*/ 1 h 14"/>
                <a:gd name="T42" fmla="*/ 5 w 9"/>
                <a:gd name="T43" fmla="*/ 2 h 14"/>
                <a:gd name="T44" fmla="*/ 3 w 9"/>
                <a:gd name="T45" fmla="*/ 2 h 14"/>
                <a:gd name="T46" fmla="*/ 3 w 9"/>
                <a:gd name="T47" fmla="*/ 7 h 14"/>
                <a:gd name="T48" fmla="*/ 5 w 9"/>
                <a:gd name="T49" fmla="*/ 9 h 14"/>
                <a:gd name="T50" fmla="*/ 4 w 9"/>
                <a:gd name="T51" fmla="*/ 10 h 14"/>
                <a:gd name="T52" fmla="*/ 3 w 9"/>
                <a:gd name="T53" fmla="*/ 8 h 14"/>
                <a:gd name="T54" fmla="*/ 1 w 9"/>
                <a:gd name="T55" fmla="*/ 8 h 14"/>
                <a:gd name="T56" fmla="*/ 2 w 9"/>
                <a:gd name="T57" fmla="*/ 13 h 14"/>
                <a:gd name="T58" fmla="*/ 3 w 9"/>
                <a:gd name="T59" fmla="*/ 13 h 14"/>
                <a:gd name="T60" fmla="*/ 3 w 9"/>
                <a:gd name="T61" fmla="*/ 14 h 14"/>
                <a:gd name="T62" fmla="*/ 4 w 9"/>
                <a:gd name="T63" fmla="*/ 14 h 14"/>
                <a:gd name="T64" fmla="*/ 7 w 9"/>
                <a:gd name="T65" fmla="*/ 11 h 14"/>
                <a:gd name="T66" fmla="*/ 5 w 9"/>
                <a:gd name="T67" fmla="*/ 6 h 14"/>
                <a:gd name="T68" fmla="*/ 4 w 9"/>
                <a:gd name="T69" fmla="*/ 5 h 14"/>
                <a:gd name="T70" fmla="*/ 5 w 9"/>
                <a:gd name="T71" fmla="*/ 4 h 14"/>
                <a:gd name="T72" fmla="*/ 6 w 9"/>
                <a:gd name="T73" fmla="*/ 6 h 14"/>
                <a:gd name="T74" fmla="*/ 8 w 9"/>
                <a:gd name="T75" fmla="*/ 6 h 14"/>
                <a:gd name="T76" fmla="*/ 9 w 9"/>
                <a:gd name="T77" fmla="*/ 6 h 14"/>
                <a:gd name="T78" fmla="*/ 7 w 9"/>
                <a:gd name="T79" fmla="*/ 2 h 14"/>
                <a:gd name="T80" fmla="*/ 6 w 9"/>
                <a:gd name="T81" fmla="*/ 1 h 14"/>
                <a:gd name="T82" fmla="*/ 5 w 9"/>
                <a:gd name="T8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 h="14">
                  <a:moveTo>
                    <a:pt x="5" y="3"/>
                  </a:moveTo>
                  <a:cubicBezTo>
                    <a:pt x="5" y="2"/>
                    <a:pt x="5" y="2"/>
                    <a:pt x="5" y="2"/>
                  </a:cubicBezTo>
                  <a:cubicBezTo>
                    <a:pt x="6" y="2"/>
                    <a:pt x="6" y="2"/>
                    <a:pt x="6" y="2"/>
                  </a:cubicBezTo>
                  <a:cubicBezTo>
                    <a:pt x="6" y="1"/>
                    <a:pt x="6" y="1"/>
                    <a:pt x="6" y="1"/>
                  </a:cubicBezTo>
                  <a:cubicBezTo>
                    <a:pt x="6" y="1"/>
                    <a:pt x="6" y="1"/>
                    <a:pt x="6" y="1"/>
                  </a:cubicBezTo>
                  <a:cubicBezTo>
                    <a:pt x="6" y="2"/>
                    <a:pt x="6" y="2"/>
                    <a:pt x="6" y="2"/>
                  </a:cubicBezTo>
                  <a:cubicBezTo>
                    <a:pt x="6" y="2"/>
                    <a:pt x="6" y="2"/>
                    <a:pt x="6" y="2"/>
                  </a:cubicBezTo>
                  <a:cubicBezTo>
                    <a:pt x="6" y="2"/>
                    <a:pt x="6" y="2"/>
                    <a:pt x="6" y="2"/>
                  </a:cubicBezTo>
                  <a:cubicBezTo>
                    <a:pt x="6" y="3"/>
                    <a:pt x="6" y="3"/>
                    <a:pt x="6" y="3"/>
                  </a:cubicBezTo>
                  <a:cubicBezTo>
                    <a:pt x="6" y="3"/>
                    <a:pt x="6" y="3"/>
                    <a:pt x="6" y="3"/>
                  </a:cubicBezTo>
                  <a:cubicBezTo>
                    <a:pt x="7" y="3"/>
                    <a:pt x="8" y="4"/>
                    <a:pt x="8" y="5"/>
                  </a:cubicBezTo>
                  <a:cubicBezTo>
                    <a:pt x="7" y="5"/>
                    <a:pt x="7" y="5"/>
                    <a:pt x="7" y="5"/>
                  </a:cubicBezTo>
                  <a:cubicBezTo>
                    <a:pt x="7" y="4"/>
                    <a:pt x="6" y="4"/>
                    <a:pt x="5" y="4"/>
                  </a:cubicBezTo>
                  <a:cubicBezTo>
                    <a:pt x="5" y="3"/>
                    <a:pt x="5" y="3"/>
                    <a:pt x="5" y="3"/>
                  </a:cubicBezTo>
                  <a:cubicBezTo>
                    <a:pt x="4" y="3"/>
                    <a:pt x="3" y="4"/>
                    <a:pt x="3" y="4"/>
                  </a:cubicBezTo>
                  <a:cubicBezTo>
                    <a:pt x="3" y="5"/>
                    <a:pt x="3" y="5"/>
                    <a:pt x="4" y="6"/>
                  </a:cubicBezTo>
                  <a:cubicBezTo>
                    <a:pt x="5" y="7"/>
                    <a:pt x="5" y="7"/>
                    <a:pt x="5" y="7"/>
                  </a:cubicBezTo>
                  <a:cubicBezTo>
                    <a:pt x="5" y="7"/>
                    <a:pt x="6" y="8"/>
                    <a:pt x="6" y="9"/>
                  </a:cubicBezTo>
                  <a:cubicBezTo>
                    <a:pt x="7" y="9"/>
                    <a:pt x="6" y="10"/>
                    <a:pt x="6" y="11"/>
                  </a:cubicBezTo>
                  <a:cubicBezTo>
                    <a:pt x="6" y="11"/>
                    <a:pt x="5" y="11"/>
                    <a:pt x="4" y="11"/>
                  </a:cubicBezTo>
                  <a:cubicBezTo>
                    <a:pt x="4" y="12"/>
                    <a:pt x="4" y="12"/>
                    <a:pt x="4" y="12"/>
                  </a:cubicBezTo>
                  <a:cubicBezTo>
                    <a:pt x="4" y="12"/>
                    <a:pt x="3" y="12"/>
                    <a:pt x="3" y="13"/>
                  </a:cubicBezTo>
                  <a:cubicBezTo>
                    <a:pt x="3" y="13"/>
                    <a:pt x="3" y="13"/>
                    <a:pt x="3" y="13"/>
                  </a:cubicBezTo>
                  <a:cubicBezTo>
                    <a:pt x="3" y="13"/>
                    <a:pt x="3" y="13"/>
                    <a:pt x="3" y="13"/>
                  </a:cubicBezTo>
                  <a:cubicBezTo>
                    <a:pt x="3" y="12"/>
                    <a:pt x="3" y="12"/>
                    <a:pt x="3" y="12"/>
                  </a:cubicBezTo>
                  <a:cubicBezTo>
                    <a:pt x="3" y="11"/>
                    <a:pt x="3" y="11"/>
                    <a:pt x="3" y="11"/>
                  </a:cubicBezTo>
                  <a:cubicBezTo>
                    <a:pt x="3" y="11"/>
                    <a:pt x="3" y="11"/>
                    <a:pt x="3" y="11"/>
                  </a:cubicBezTo>
                  <a:cubicBezTo>
                    <a:pt x="2" y="10"/>
                    <a:pt x="1" y="10"/>
                    <a:pt x="1" y="9"/>
                  </a:cubicBezTo>
                  <a:cubicBezTo>
                    <a:pt x="2" y="9"/>
                    <a:pt x="2" y="9"/>
                    <a:pt x="2" y="9"/>
                  </a:cubicBezTo>
                  <a:cubicBezTo>
                    <a:pt x="2" y="10"/>
                    <a:pt x="3" y="10"/>
                    <a:pt x="4" y="10"/>
                  </a:cubicBezTo>
                  <a:cubicBezTo>
                    <a:pt x="4" y="11"/>
                    <a:pt x="4" y="11"/>
                    <a:pt x="4" y="11"/>
                  </a:cubicBezTo>
                  <a:cubicBezTo>
                    <a:pt x="5" y="11"/>
                    <a:pt x="5" y="10"/>
                    <a:pt x="5" y="10"/>
                  </a:cubicBezTo>
                  <a:cubicBezTo>
                    <a:pt x="6" y="9"/>
                    <a:pt x="6" y="9"/>
                    <a:pt x="6" y="9"/>
                  </a:cubicBezTo>
                  <a:cubicBezTo>
                    <a:pt x="6" y="8"/>
                    <a:pt x="5" y="8"/>
                    <a:pt x="5" y="8"/>
                  </a:cubicBezTo>
                  <a:cubicBezTo>
                    <a:pt x="3" y="6"/>
                    <a:pt x="3" y="6"/>
                    <a:pt x="3" y="6"/>
                  </a:cubicBezTo>
                  <a:cubicBezTo>
                    <a:pt x="3" y="6"/>
                    <a:pt x="2" y="5"/>
                    <a:pt x="2" y="4"/>
                  </a:cubicBezTo>
                  <a:cubicBezTo>
                    <a:pt x="2" y="4"/>
                    <a:pt x="3" y="3"/>
                    <a:pt x="3" y="3"/>
                  </a:cubicBezTo>
                  <a:cubicBezTo>
                    <a:pt x="4" y="3"/>
                    <a:pt x="4" y="3"/>
                    <a:pt x="4" y="3"/>
                  </a:cubicBezTo>
                  <a:cubicBezTo>
                    <a:pt x="4" y="3"/>
                    <a:pt x="5" y="3"/>
                    <a:pt x="5" y="3"/>
                  </a:cubicBezTo>
                  <a:cubicBezTo>
                    <a:pt x="5" y="3"/>
                    <a:pt x="5" y="3"/>
                    <a:pt x="5" y="3"/>
                  </a:cubicBezTo>
                  <a:moveTo>
                    <a:pt x="5" y="0"/>
                  </a:moveTo>
                  <a:cubicBezTo>
                    <a:pt x="5" y="1"/>
                    <a:pt x="5" y="1"/>
                    <a:pt x="5" y="1"/>
                  </a:cubicBezTo>
                  <a:cubicBezTo>
                    <a:pt x="5" y="1"/>
                    <a:pt x="5" y="1"/>
                    <a:pt x="5" y="1"/>
                  </a:cubicBezTo>
                  <a:cubicBezTo>
                    <a:pt x="5" y="2"/>
                    <a:pt x="5" y="2"/>
                    <a:pt x="5" y="2"/>
                  </a:cubicBezTo>
                  <a:cubicBezTo>
                    <a:pt x="4" y="2"/>
                    <a:pt x="4" y="2"/>
                    <a:pt x="4" y="2"/>
                  </a:cubicBezTo>
                  <a:cubicBezTo>
                    <a:pt x="4" y="2"/>
                    <a:pt x="3" y="2"/>
                    <a:pt x="3" y="2"/>
                  </a:cubicBezTo>
                  <a:cubicBezTo>
                    <a:pt x="2" y="3"/>
                    <a:pt x="2" y="4"/>
                    <a:pt x="2" y="4"/>
                  </a:cubicBezTo>
                  <a:cubicBezTo>
                    <a:pt x="2" y="6"/>
                    <a:pt x="3" y="7"/>
                    <a:pt x="3" y="7"/>
                  </a:cubicBezTo>
                  <a:cubicBezTo>
                    <a:pt x="4" y="8"/>
                    <a:pt x="4" y="8"/>
                    <a:pt x="4" y="8"/>
                  </a:cubicBezTo>
                  <a:cubicBezTo>
                    <a:pt x="5" y="9"/>
                    <a:pt x="5" y="9"/>
                    <a:pt x="5" y="9"/>
                  </a:cubicBezTo>
                  <a:cubicBezTo>
                    <a:pt x="5" y="9"/>
                    <a:pt x="5" y="9"/>
                    <a:pt x="5" y="9"/>
                  </a:cubicBezTo>
                  <a:cubicBezTo>
                    <a:pt x="4" y="10"/>
                    <a:pt x="4" y="10"/>
                    <a:pt x="4" y="10"/>
                  </a:cubicBezTo>
                  <a:cubicBezTo>
                    <a:pt x="3" y="9"/>
                    <a:pt x="3" y="9"/>
                    <a:pt x="3" y="8"/>
                  </a:cubicBezTo>
                  <a:cubicBezTo>
                    <a:pt x="3" y="8"/>
                    <a:pt x="3" y="8"/>
                    <a:pt x="3" y="8"/>
                  </a:cubicBezTo>
                  <a:cubicBezTo>
                    <a:pt x="2" y="8"/>
                    <a:pt x="2" y="8"/>
                    <a:pt x="1" y="8"/>
                  </a:cubicBezTo>
                  <a:cubicBezTo>
                    <a:pt x="1" y="8"/>
                    <a:pt x="1" y="8"/>
                    <a:pt x="1" y="8"/>
                  </a:cubicBezTo>
                  <a:cubicBezTo>
                    <a:pt x="0" y="9"/>
                    <a:pt x="1" y="11"/>
                    <a:pt x="2" y="12"/>
                  </a:cubicBezTo>
                  <a:cubicBezTo>
                    <a:pt x="2" y="13"/>
                    <a:pt x="2" y="13"/>
                    <a:pt x="2" y="13"/>
                  </a:cubicBezTo>
                  <a:cubicBezTo>
                    <a:pt x="2" y="13"/>
                    <a:pt x="2" y="13"/>
                    <a:pt x="2" y="13"/>
                  </a:cubicBezTo>
                  <a:cubicBezTo>
                    <a:pt x="3" y="13"/>
                    <a:pt x="3" y="13"/>
                    <a:pt x="3" y="13"/>
                  </a:cubicBezTo>
                  <a:cubicBezTo>
                    <a:pt x="3" y="14"/>
                    <a:pt x="3" y="14"/>
                    <a:pt x="3" y="14"/>
                  </a:cubicBezTo>
                  <a:cubicBezTo>
                    <a:pt x="3" y="14"/>
                    <a:pt x="3" y="14"/>
                    <a:pt x="3" y="14"/>
                  </a:cubicBezTo>
                  <a:cubicBezTo>
                    <a:pt x="4" y="14"/>
                    <a:pt x="4" y="14"/>
                    <a:pt x="4" y="14"/>
                  </a:cubicBezTo>
                  <a:cubicBezTo>
                    <a:pt x="4" y="14"/>
                    <a:pt x="4" y="14"/>
                    <a:pt x="4" y="14"/>
                  </a:cubicBezTo>
                  <a:cubicBezTo>
                    <a:pt x="4" y="14"/>
                    <a:pt x="4" y="13"/>
                    <a:pt x="4" y="12"/>
                  </a:cubicBezTo>
                  <a:cubicBezTo>
                    <a:pt x="5" y="12"/>
                    <a:pt x="6" y="12"/>
                    <a:pt x="7" y="11"/>
                  </a:cubicBezTo>
                  <a:cubicBezTo>
                    <a:pt x="7" y="11"/>
                    <a:pt x="8" y="10"/>
                    <a:pt x="7" y="9"/>
                  </a:cubicBezTo>
                  <a:cubicBezTo>
                    <a:pt x="7" y="7"/>
                    <a:pt x="6" y="7"/>
                    <a:pt x="5" y="6"/>
                  </a:cubicBezTo>
                  <a:cubicBezTo>
                    <a:pt x="5" y="5"/>
                    <a:pt x="5" y="5"/>
                    <a:pt x="5" y="5"/>
                  </a:cubicBezTo>
                  <a:cubicBezTo>
                    <a:pt x="4" y="5"/>
                    <a:pt x="4" y="5"/>
                    <a:pt x="4" y="5"/>
                  </a:cubicBezTo>
                  <a:cubicBezTo>
                    <a:pt x="5" y="4"/>
                    <a:pt x="5" y="4"/>
                    <a:pt x="5" y="4"/>
                  </a:cubicBezTo>
                  <a:cubicBezTo>
                    <a:pt x="5" y="4"/>
                    <a:pt x="5" y="4"/>
                    <a:pt x="5" y="4"/>
                  </a:cubicBezTo>
                  <a:cubicBezTo>
                    <a:pt x="5" y="5"/>
                    <a:pt x="6" y="5"/>
                    <a:pt x="6" y="5"/>
                  </a:cubicBezTo>
                  <a:cubicBezTo>
                    <a:pt x="6" y="6"/>
                    <a:pt x="6" y="6"/>
                    <a:pt x="6" y="6"/>
                  </a:cubicBezTo>
                  <a:cubicBezTo>
                    <a:pt x="7" y="6"/>
                    <a:pt x="7" y="6"/>
                    <a:pt x="7" y="6"/>
                  </a:cubicBezTo>
                  <a:cubicBezTo>
                    <a:pt x="7" y="6"/>
                    <a:pt x="7" y="6"/>
                    <a:pt x="8" y="6"/>
                  </a:cubicBezTo>
                  <a:cubicBezTo>
                    <a:pt x="8" y="6"/>
                    <a:pt x="8" y="6"/>
                    <a:pt x="8" y="6"/>
                  </a:cubicBezTo>
                  <a:cubicBezTo>
                    <a:pt x="9" y="6"/>
                    <a:pt x="9" y="6"/>
                    <a:pt x="9" y="6"/>
                  </a:cubicBezTo>
                  <a:cubicBezTo>
                    <a:pt x="9" y="4"/>
                    <a:pt x="8" y="3"/>
                    <a:pt x="7" y="2"/>
                  </a:cubicBezTo>
                  <a:cubicBezTo>
                    <a:pt x="7" y="2"/>
                    <a:pt x="7" y="2"/>
                    <a:pt x="7" y="2"/>
                  </a:cubicBezTo>
                  <a:cubicBezTo>
                    <a:pt x="7" y="1"/>
                    <a:pt x="7" y="1"/>
                    <a:pt x="7" y="1"/>
                  </a:cubicBezTo>
                  <a:cubicBezTo>
                    <a:pt x="6" y="1"/>
                    <a:pt x="6" y="1"/>
                    <a:pt x="6" y="1"/>
                  </a:cubicBezTo>
                  <a:cubicBezTo>
                    <a:pt x="6" y="1"/>
                    <a:pt x="6" y="1"/>
                    <a:pt x="6" y="1"/>
                  </a:cubicBezTo>
                  <a:cubicBezTo>
                    <a:pt x="5" y="0"/>
                    <a:pt x="5" y="0"/>
                    <a:pt x="5"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19" name="ïṡḷiḑe"/>
            <p:cNvSpPr/>
            <p:nvPr/>
          </p:nvSpPr>
          <p:spPr bwMode="auto">
            <a:xfrm>
              <a:off x="3577" y="2496"/>
              <a:ext cx="62" cy="35"/>
            </a:xfrm>
            <a:custGeom>
              <a:avLst/>
              <a:gdLst>
                <a:gd name="T0" fmla="*/ 13 w 26"/>
                <a:gd name="T1" fmla="*/ 11 h 15"/>
                <a:gd name="T2" fmla="*/ 12 w 26"/>
                <a:gd name="T3" fmla="*/ 14 h 15"/>
                <a:gd name="T4" fmla="*/ 10 w 26"/>
                <a:gd name="T5" fmla="*/ 11 h 15"/>
                <a:gd name="T6" fmla="*/ 14 w 26"/>
                <a:gd name="T7" fmla="*/ 14 h 15"/>
                <a:gd name="T8" fmla="*/ 15 w 26"/>
                <a:gd name="T9" fmla="*/ 11 h 15"/>
                <a:gd name="T10" fmla="*/ 15 w 26"/>
                <a:gd name="T11" fmla="*/ 14 h 15"/>
                <a:gd name="T12" fmla="*/ 15 w 26"/>
                <a:gd name="T13" fmla="*/ 11 h 15"/>
                <a:gd name="T14" fmla="*/ 15 w 26"/>
                <a:gd name="T15" fmla="*/ 14 h 15"/>
                <a:gd name="T16" fmla="*/ 8 w 26"/>
                <a:gd name="T17" fmla="*/ 11 h 15"/>
                <a:gd name="T18" fmla="*/ 10 w 26"/>
                <a:gd name="T19" fmla="*/ 14 h 15"/>
                <a:gd name="T20" fmla="*/ 16 w 26"/>
                <a:gd name="T21" fmla="*/ 11 h 15"/>
                <a:gd name="T22" fmla="*/ 16 w 26"/>
                <a:gd name="T23" fmla="*/ 13 h 15"/>
                <a:gd name="T24" fmla="*/ 18 w 26"/>
                <a:gd name="T25" fmla="*/ 10 h 15"/>
                <a:gd name="T26" fmla="*/ 17 w 26"/>
                <a:gd name="T27" fmla="*/ 13 h 15"/>
                <a:gd name="T28" fmla="*/ 6 w 26"/>
                <a:gd name="T29" fmla="*/ 10 h 15"/>
                <a:gd name="T30" fmla="*/ 18 w 26"/>
                <a:gd name="T31" fmla="*/ 13 h 15"/>
                <a:gd name="T32" fmla="*/ 18 w 26"/>
                <a:gd name="T33" fmla="*/ 10 h 15"/>
                <a:gd name="T34" fmla="*/ 18 w 26"/>
                <a:gd name="T35" fmla="*/ 13 h 15"/>
                <a:gd name="T36" fmla="*/ 21 w 26"/>
                <a:gd name="T37" fmla="*/ 10 h 15"/>
                <a:gd name="T38" fmla="*/ 6 w 26"/>
                <a:gd name="T39" fmla="*/ 13 h 15"/>
                <a:gd name="T40" fmla="*/ 6 w 26"/>
                <a:gd name="T41" fmla="*/ 10 h 15"/>
                <a:gd name="T42" fmla="*/ 21 w 26"/>
                <a:gd name="T43" fmla="*/ 10 h 15"/>
                <a:gd name="T44" fmla="*/ 21 w 26"/>
                <a:gd name="T45" fmla="*/ 12 h 15"/>
                <a:gd name="T46" fmla="*/ 3 w 26"/>
                <a:gd name="T47" fmla="*/ 9 h 15"/>
                <a:gd name="T48" fmla="*/ 3 w 26"/>
                <a:gd name="T49" fmla="*/ 12 h 15"/>
                <a:gd name="T50" fmla="*/ 24 w 26"/>
                <a:gd name="T51" fmla="*/ 8 h 15"/>
                <a:gd name="T52" fmla="*/ 2 w 26"/>
                <a:gd name="T53" fmla="*/ 11 h 15"/>
                <a:gd name="T54" fmla="*/ 2 w 26"/>
                <a:gd name="T55" fmla="*/ 8 h 15"/>
                <a:gd name="T56" fmla="*/ 2 w 26"/>
                <a:gd name="T57" fmla="*/ 9 h 15"/>
                <a:gd name="T58" fmla="*/ 2 w 26"/>
                <a:gd name="T59" fmla="*/ 8 h 15"/>
                <a:gd name="T60" fmla="*/ 24 w 26"/>
                <a:gd name="T61" fmla="*/ 8 h 15"/>
                <a:gd name="T62" fmla="*/ 25 w 26"/>
                <a:gd name="T63" fmla="*/ 9 h 15"/>
                <a:gd name="T64" fmla="*/ 3 w 26"/>
                <a:gd name="T65" fmla="*/ 7 h 15"/>
                <a:gd name="T66" fmla="*/ 14 w 26"/>
                <a:gd name="T67" fmla="*/ 1 h 15"/>
                <a:gd name="T68" fmla="*/ 25 w 26"/>
                <a:gd name="T69" fmla="*/ 6 h 15"/>
                <a:gd name="T70" fmla="*/ 3 w 26"/>
                <a:gd name="T71" fmla="*/ 2 h 15"/>
                <a:gd name="T72" fmla="*/ 1 w 26"/>
                <a:gd name="T73" fmla="*/ 6 h 15"/>
                <a:gd name="T74" fmla="*/ 2 w 26"/>
                <a:gd name="T75" fmla="*/ 12 h 15"/>
                <a:gd name="T76" fmla="*/ 22 w 26"/>
                <a:gd name="T77" fmla="*/ 13 h 15"/>
                <a:gd name="T78" fmla="*/ 24 w 26"/>
                <a:gd name="T79" fmla="*/ 12 h 15"/>
                <a:gd name="T80" fmla="*/ 24 w 26"/>
                <a:gd name="T81" fmla="*/ 12 h 15"/>
                <a:gd name="T82" fmla="*/ 26 w 26"/>
                <a:gd name="T83" fmla="*/ 9 h 15"/>
                <a:gd name="T84" fmla="*/ 25 w 26"/>
                <a:gd name="T85"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15">
                  <a:moveTo>
                    <a:pt x="12" y="14"/>
                  </a:moveTo>
                  <a:cubicBezTo>
                    <a:pt x="12" y="13"/>
                    <a:pt x="12" y="12"/>
                    <a:pt x="12" y="11"/>
                  </a:cubicBezTo>
                  <a:cubicBezTo>
                    <a:pt x="13" y="11"/>
                    <a:pt x="13" y="11"/>
                    <a:pt x="13" y="11"/>
                  </a:cubicBezTo>
                  <a:cubicBezTo>
                    <a:pt x="14" y="14"/>
                    <a:pt x="14" y="14"/>
                    <a:pt x="14" y="14"/>
                  </a:cubicBezTo>
                  <a:cubicBezTo>
                    <a:pt x="13" y="14"/>
                    <a:pt x="13" y="14"/>
                    <a:pt x="12" y="14"/>
                  </a:cubicBezTo>
                  <a:moveTo>
                    <a:pt x="12" y="14"/>
                  </a:moveTo>
                  <a:cubicBezTo>
                    <a:pt x="11" y="14"/>
                    <a:pt x="11" y="14"/>
                    <a:pt x="10" y="14"/>
                  </a:cubicBezTo>
                  <a:cubicBezTo>
                    <a:pt x="10" y="14"/>
                    <a:pt x="10" y="14"/>
                    <a:pt x="10" y="14"/>
                  </a:cubicBezTo>
                  <a:cubicBezTo>
                    <a:pt x="10" y="11"/>
                    <a:pt x="10" y="11"/>
                    <a:pt x="10" y="11"/>
                  </a:cubicBezTo>
                  <a:cubicBezTo>
                    <a:pt x="11" y="11"/>
                    <a:pt x="11" y="11"/>
                    <a:pt x="12" y="11"/>
                  </a:cubicBezTo>
                  <a:cubicBezTo>
                    <a:pt x="12" y="12"/>
                    <a:pt x="12" y="13"/>
                    <a:pt x="12" y="14"/>
                  </a:cubicBezTo>
                  <a:moveTo>
                    <a:pt x="14" y="14"/>
                  </a:moveTo>
                  <a:cubicBezTo>
                    <a:pt x="14" y="11"/>
                    <a:pt x="14" y="11"/>
                    <a:pt x="14" y="11"/>
                  </a:cubicBezTo>
                  <a:cubicBezTo>
                    <a:pt x="14" y="11"/>
                    <a:pt x="14" y="11"/>
                    <a:pt x="14" y="11"/>
                  </a:cubicBezTo>
                  <a:cubicBezTo>
                    <a:pt x="15" y="11"/>
                    <a:pt x="15" y="11"/>
                    <a:pt x="15" y="11"/>
                  </a:cubicBezTo>
                  <a:cubicBezTo>
                    <a:pt x="15" y="12"/>
                    <a:pt x="15" y="13"/>
                    <a:pt x="15" y="14"/>
                  </a:cubicBezTo>
                  <a:cubicBezTo>
                    <a:pt x="14" y="14"/>
                    <a:pt x="14" y="14"/>
                    <a:pt x="14" y="14"/>
                  </a:cubicBezTo>
                  <a:moveTo>
                    <a:pt x="15" y="14"/>
                  </a:moveTo>
                  <a:cubicBezTo>
                    <a:pt x="15" y="13"/>
                    <a:pt x="15" y="13"/>
                    <a:pt x="15" y="13"/>
                  </a:cubicBezTo>
                  <a:cubicBezTo>
                    <a:pt x="15" y="13"/>
                    <a:pt x="15" y="13"/>
                    <a:pt x="15" y="13"/>
                  </a:cubicBezTo>
                  <a:cubicBezTo>
                    <a:pt x="15" y="12"/>
                    <a:pt x="15" y="12"/>
                    <a:pt x="15" y="11"/>
                  </a:cubicBezTo>
                  <a:cubicBezTo>
                    <a:pt x="16" y="11"/>
                    <a:pt x="16" y="11"/>
                    <a:pt x="16" y="11"/>
                  </a:cubicBezTo>
                  <a:cubicBezTo>
                    <a:pt x="16" y="13"/>
                    <a:pt x="16" y="13"/>
                    <a:pt x="16" y="13"/>
                  </a:cubicBezTo>
                  <a:cubicBezTo>
                    <a:pt x="15" y="14"/>
                    <a:pt x="15" y="14"/>
                    <a:pt x="15" y="14"/>
                  </a:cubicBezTo>
                  <a:moveTo>
                    <a:pt x="10" y="14"/>
                  </a:moveTo>
                  <a:cubicBezTo>
                    <a:pt x="9" y="14"/>
                    <a:pt x="9" y="14"/>
                    <a:pt x="8" y="13"/>
                  </a:cubicBezTo>
                  <a:cubicBezTo>
                    <a:pt x="8" y="13"/>
                    <a:pt x="8" y="12"/>
                    <a:pt x="8" y="11"/>
                  </a:cubicBezTo>
                  <a:cubicBezTo>
                    <a:pt x="9" y="11"/>
                    <a:pt x="9" y="11"/>
                    <a:pt x="10" y="11"/>
                  </a:cubicBezTo>
                  <a:cubicBezTo>
                    <a:pt x="10" y="14"/>
                    <a:pt x="10" y="14"/>
                    <a:pt x="10" y="14"/>
                  </a:cubicBezTo>
                  <a:cubicBezTo>
                    <a:pt x="10" y="14"/>
                    <a:pt x="10" y="14"/>
                    <a:pt x="10" y="14"/>
                  </a:cubicBezTo>
                  <a:moveTo>
                    <a:pt x="16" y="13"/>
                  </a:moveTo>
                  <a:cubicBezTo>
                    <a:pt x="16" y="13"/>
                    <a:pt x="16" y="13"/>
                    <a:pt x="16" y="13"/>
                  </a:cubicBezTo>
                  <a:cubicBezTo>
                    <a:pt x="16" y="11"/>
                    <a:pt x="16" y="11"/>
                    <a:pt x="16" y="11"/>
                  </a:cubicBezTo>
                  <a:cubicBezTo>
                    <a:pt x="16" y="11"/>
                    <a:pt x="16" y="11"/>
                    <a:pt x="16" y="11"/>
                  </a:cubicBezTo>
                  <a:cubicBezTo>
                    <a:pt x="17" y="13"/>
                    <a:pt x="17" y="13"/>
                    <a:pt x="17" y="13"/>
                  </a:cubicBezTo>
                  <a:cubicBezTo>
                    <a:pt x="16" y="13"/>
                    <a:pt x="16" y="13"/>
                    <a:pt x="16" y="13"/>
                  </a:cubicBezTo>
                  <a:moveTo>
                    <a:pt x="17" y="13"/>
                  </a:moveTo>
                  <a:cubicBezTo>
                    <a:pt x="17" y="11"/>
                    <a:pt x="17" y="11"/>
                    <a:pt x="17" y="11"/>
                  </a:cubicBezTo>
                  <a:cubicBezTo>
                    <a:pt x="18" y="10"/>
                    <a:pt x="18" y="10"/>
                    <a:pt x="18" y="10"/>
                  </a:cubicBezTo>
                  <a:cubicBezTo>
                    <a:pt x="18" y="13"/>
                    <a:pt x="18" y="13"/>
                    <a:pt x="18" y="13"/>
                  </a:cubicBezTo>
                  <a:cubicBezTo>
                    <a:pt x="18" y="13"/>
                    <a:pt x="18" y="13"/>
                    <a:pt x="18" y="13"/>
                  </a:cubicBezTo>
                  <a:cubicBezTo>
                    <a:pt x="17" y="13"/>
                    <a:pt x="17" y="13"/>
                    <a:pt x="17" y="13"/>
                  </a:cubicBezTo>
                  <a:moveTo>
                    <a:pt x="8" y="13"/>
                  </a:moveTo>
                  <a:cubicBezTo>
                    <a:pt x="7" y="13"/>
                    <a:pt x="7" y="13"/>
                    <a:pt x="6" y="13"/>
                  </a:cubicBezTo>
                  <a:cubicBezTo>
                    <a:pt x="6" y="12"/>
                    <a:pt x="6" y="11"/>
                    <a:pt x="6" y="10"/>
                  </a:cubicBezTo>
                  <a:cubicBezTo>
                    <a:pt x="7" y="10"/>
                    <a:pt x="7" y="11"/>
                    <a:pt x="8" y="11"/>
                  </a:cubicBezTo>
                  <a:cubicBezTo>
                    <a:pt x="8" y="12"/>
                    <a:pt x="8" y="12"/>
                    <a:pt x="8" y="13"/>
                  </a:cubicBezTo>
                  <a:moveTo>
                    <a:pt x="18" y="13"/>
                  </a:moveTo>
                  <a:cubicBezTo>
                    <a:pt x="18" y="13"/>
                    <a:pt x="18" y="13"/>
                    <a:pt x="18" y="13"/>
                  </a:cubicBezTo>
                  <a:cubicBezTo>
                    <a:pt x="18" y="13"/>
                    <a:pt x="18" y="13"/>
                    <a:pt x="18" y="13"/>
                  </a:cubicBezTo>
                  <a:cubicBezTo>
                    <a:pt x="18" y="10"/>
                    <a:pt x="18" y="10"/>
                    <a:pt x="18" y="10"/>
                  </a:cubicBezTo>
                  <a:cubicBezTo>
                    <a:pt x="19" y="10"/>
                    <a:pt x="19" y="10"/>
                    <a:pt x="19" y="10"/>
                  </a:cubicBezTo>
                  <a:cubicBezTo>
                    <a:pt x="19" y="11"/>
                    <a:pt x="19" y="12"/>
                    <a:pt x="19" y="13"/>
                  </a:cubicBezTo>
                  <a:cubicBezTo>
                    <a:pt x="18" y="13"/>
                    <a:pt x="18" y="13"/>
                    <a:pt x="18" y="13"/>
                  </a:cubicBezTo>
                  <a:moveTo>
                    <a:pt x="20" y="13"/>
                  </a:moveTo>
                  <a:cubicBezTo>
                    <a:pt x="19" y="12"/>
                    <a:pt x="19" y="11"/>
                    <a:pt x="20" y="10"/>
                  </a:cubicBezTo>
                  <a:cubicBezTo>
                    <a:pt x="21" y="10"/>
                    <a:pt x="21" y="10"/>
                    <a:pt x="21" y="10"/>
                  </a:cubicBezTo>
                  <a:cubicBezTo>
                    <a:pt x="21" y="11"/>
                    <a:pt x="21" y="12"/>
                    <a:pt x="21" y="12"/>
                  </a:cubicBezTo>
                  <a:cubicBezTo>
                    <a:pt x="20" y="12"/>
                    <a:pt x="20" y="13"/>
                    <a:pt x="20" y="13"/>
                  </a:cubicBezTo>
                  <a:moveTo>
                    <a:pt x="6" y="13"/>
                  </a:moveTo>
                  <a:cubicBezTo>
                    <a:pt x="5" y="13"/>
                    <a:pt x="4" y="12"/>
                    <a:pt x="4" y="12"/>
                  </a:cubicBezTo>
                  <a:cubicBezTo>
                    <a:pt x="4" y="9"/>
                    <a:pt x="4" y="9"/>
                    <a:pt x="4" y="9"/>
                  </a:cubicBezTo>
                  <a:cubicBezTo>
                    <a:pt x="4" y="10"/>
                    <a:pt x="5" y="10"/>
                    <a:pt x="6" y="10"/>
                  </a:cubicBezTo>
                  <a:cubicBezTo>
                    <a:pt x="6" y="11"/>
                    <a:pt x="6" y="12"/>
                    <a:pt x="6" y="13"/>
                  </a:cubicBezTo>
                  <a:moveTo>
                    <a:pt x="21" y="12"/>
                  </a:moveTo>
                  <a:cubicBezTo>
                    <a:pt x="21" y="11"/>
                    <a:pt x="21" y="11"/>
                    <a:pt x="21" y="10"/>
                  </a:cubicBezTo>
                  <a:cubicBezTo>
                    <a:pt x="22" y="9"/>
                    <a:pt x="22" y="9"/>
                    <a:pt x="22" y="9"/>
                  </a:cubicBezTo>
                  <a:cubicBezTo>
                    <a:pt x="22" y="12"/>
                    <a:pt x="22" y="12"/>
                    <a:pt x="22" y="12"/>
                  </a:cubicBezTo>
                  <a:cubicBezTo>
                    <a:pt x="21" y="12"/>
                    <a:pt x="21" y="12"/>
                    <a:pt x="21" y="12"/>
                  </a:cubicBezTo>
                  <a:moveTo>
                    <a:pt x="3" y="12"/>
                  </a:moveTo>
                  <a:cubicBezTo>
                    <a:pt x="3" y="11"/>
                    <a:pt x="3" y="11"/>
                    <a:pt x="3" y="11"/>
                  </a:cubicBezTo>
                  <a:cubicBezTo>
                    <a:pt x="3" y="9"/>
                    <a:pt x="3" y="9"/>
                    <a:pt x="3" y="9"/>
                  </a:cubicBezTo>
                  <a:cubicBezTo>
                    <a:pt x="4" y="9"/>
                    <a:pt x="4" y="9"/>
                    <a:pt x="4" y="9"/>
                  </a:cubicBezTo>
                  <a:cubicBezTo>
                    <a:pt x="3" y="9"/>
                    <a:pt x="3" y="9"/>
                    <a:pt x="3" y="9"/>
                  </a:cubicBezTo>
                  <a:cubicBezTo>
                    <a:pt x="3" y="12"/>
                    <a:pt x="3" y="12"/>
                    <a:pt x="3" y="12"/>
                  </a:cubicBezTo>
                  <a:moveTo>
                    <a:pt x="22" y="12"/>
                  </a:moveTo>
                  <a:cubicBezTo>
                    <a:pt x="22" y="9"/>
                    <a:pt x="22" y="9"/>
                    <a:pt x="22" y="9"/>
                  </a:cubicBezTo>
                  <a:cubicBezTo>
                    <a:pt x="23" y="9"/>
                    <a:pt x="23" y="9"/>
                    <a:pt x="24" y="8"/>
                  </a:cubicBezTo>
                  <a:cubicBezTo>
                    <a:pt x="24" y="9"/>
                    <a:pt x="24" y="10"/>
                    <a:pt x="24" y="11"/>
                  </a:cubicBezTo>
                  <a:cubicBezTo>
                    <a:pt x="23" y="11"/>
                    <a:pt x="23" y="11"/>
                    <a:pt x="22" y="12"/>
                  </a:cubicBezTo>
                  <a:moveTo>
                    <a:pt x="2" y="11"/>
                  </a:moveTo>
                  <a:cubicBezTo>
                    <a:pt x="2" y="10"/>
                    <a:pt x="2" y="10"/>
                    <a:pt x="2" y="10"/>
                  </a:cubicBezTo>
                  <a:cubicBezTo>
                    <a:pt x="2" y="10"/>
                    <a:pt x="2" y="10"/>
                    <a:pt x="2" y="10"/>
                  </a:cubicBezTo>
                  <a:cubicBezTo>
                    <a:pt x="2" y="8"/>
                    <a:pt x="2" y="8"/>
                    <a:pt x="2" y="8"/>
                  </a:cubicBezTo>
                  <a:cubicBezTo>
                    <a:pt x="2" y="8"/>
                    <a:pt x="2" y="8"/>
                    <a:pt x="2" y="8"/>
                  </a:cubicBezTo>
                  <a:cubicBezTo>
                    <a:pt x="2" y="11"/>
                    <a:pt x="2" y="11"/>
                    <a:pt x="2" y="11"/>
                  </a:cubicBezTo>
                  <a:moveTo>
                    <a:pt x="2" y="9"/>
                  </a:moveTo>
                  <a:cubicBezTo>
                    <a:pt x="2" y="9"/>
                    <a:pt x="2" y="9"/>
                    <a:pt x="2" y="9"/>
                  </a:cubicBezTo>
                  <a:cubicBezTo>
                    <a:pt x="1" y="8"/>
                    <a:pt x="1" y="8"/>
                    <a:pt x="1" y="7"/>
                  </a:cubicBezTo>
                  <a:cubicBezTo>
                    <a:pt x="2" y="8"/>
                    <a:pt x="2" y="8"/>
                    <a:pt x="2" y="8"/>
                  </a:cubicBezTo>
                  <a:cubicBezTo>
                    <a:pt x="2" y="9"/>
                    <a:pt x="2" y="9"/>
                    <a:pt x="2" y="9"/>
                  </a:cubicBezTo>
                  <a:moveTo>
                    <a:pt x="24" y="10"/>
                  </a:moveTo>
                  <a:cubicBezTo>
                    <a:pt x="24" y="10"/>
                    <a:pt x="24" y="9"/>
                    <a:pt x="24" y="8"/>
                  </a:cubicBezTo>
                  <a:cubicBezTo>
                    <a:pt x="25" y="7"/>
                    <a:pt x="25" y="7"/>
                    <a:pt x="25" y="7"/>
                  </a:cubicBezTo>
                  <a:cubicBezTo>
                    <a:pt x="25" y="9"/>
                    <a:pt x="25" y="9"/>
                    <a:pt x="25" y="9"/>
                  </a:cubicBezTo>
                  <a:cubicBezTo>
                    <a:pt x="25" y="9"/>
                    <a:pt x="25" y="9"/>
                    <a:pt x="25" y="9"/>
                  </a:cubicBezTo>
                  <a:cubicBezTo>
                    <a:pt x="25" y="10"/>
                    <a:pt x="25" y="10"/>
                    <a:pt x="24" y="10"/>
                  </a:cubicBezTo>
                  <a:moveTo>
                    <a:pt x="12" y="10"/>
                  </a:moveTo>
                  <a:cubicBezTo>
                    <a:pt x="6" y="10"/>
                    <a:pt x="3" y="8"/>
                    <a:pt x="3" y="7"/>
                  </a:cubicBezTo>
                  <a:cubicBezTo>
                    <a:pt x="2" y="7"/>
                    <a:pt x="2" y="6"/>
                    <a:pt x="2" y="6"/>
                  </a:cubicBezTo>
                  <a:cubicBezTo>
                    <a:pt x="2" y="5"/>
                    <a:pt x="3" y="4"/>
                    <a:pt x="4" y="3"/>
                  </a:cubicBezTo>
                  <a:cubicBezTo>
                    <a:pt x="7" y="1"/>
                    <a:pt x="10" y="1"/>
                    <a:pt x="14" y="1"/>
                  </a:cubicBezTo>
                  <a:cubicBezTo>
                    <a:pt x="17" y="1"/>
                    <a:pt x="20" y="1"/>
                    <a:pt x="22" y="2"/>
                  </a:cubicBezTo>
                  <a:cubicBezTo>
                    <a:pt x="23" y="3"/>
                    <a:pt x="24" y="3"/>
                    <a:pt x="24" y="4"/>
                  </a:cubicBezTo>
                  <a:cubicBezTo>
                    <a:pt x="25" y="4"/>
                    <a:pt x="25" y="5"/>
                    <a:pt x="25" y="6"/>
                  </a:cubicBezTo>
                  <a:cubicBezTo>
                    <a:pt x="24" y="9"/>
                    <a:pt x="16" y="10"/>
                    <a:pt x="12" y="10"/>
                  </a:cubicBezTo>
                  <a:moveTo>
                    <a:pt x="14" y="0"/>
                  </a:moveTo>
                  <a:cubicBezTo>
                    <a:pt x="10" y="0"/>
                    <a:pt x="6" y="0"/>
                    <a:pt x="3" y="2"/>
                  </a:cubicBezTo>
                  <a:cubicBezTo>
                    <a:pt x="2" y="3"/>
                    <a:pt x="1" y="4"/>
                    <a:pt x="1" y="5"/>
                  </a:cubicBezTo>
                  <a:cubicBezTo>
                    <a:pt x="1" y="5"/>
                    <a:pt x="1" y="5"/>
                    <a:pt x="1" y="5"/>
                  </a:cubicBezTo>
                  <a:cubicBezTo>
                    <a:pt x="1" y="6"/>
                    <a:pt x="1" y="6"/>
                    <a:pt x="1" y="6"/>
                  </a:cubicBezTo>
                  <a:cubicBezTo>
                    <a:pt x="0" y="7"/>
                    <a:pt x="0" y="8"/>
                    <a:pt x="1" y="10"/>
                  </a:cubicBezTo>
                  <a:cubicBezTo>
                    <a:pt x="1" y="10"/>
                    <a:pt x="1" y="10"/>
                    <a:pt x="1" y="10"/>
                  </a:cubicBezTo>
                  <a:cubicBezTo>
                    <a:pt x="1" y="11"/>
                    <a:pt x="1" y="11"/>
                    <a:pt x="2" y="12"/>
                  </a:cubicBezTo>
                  <a:cubicBezTo>
                    <a:pt x="3" y="13"/>
                    <a:pt x="6" y="15"/>
                    <a:pt x="12" y="15"/>
                  </a:cubicBezTo>
                  <a:cubicBezTo>
                    <a:pt x="14" y="15"/>
                    <a:pt x="19" y="14"/>
                    <a:pt x="22" y="13"/>
                  </a:cubicBezTo>
                  <a:cubicBezTo>
                    <a:pt x="22" y="13"/>
                    <a:pt x="22" y="13"/>
                    <a:pt x="22" y="13"/>
                  </a:cubicBezTo>
                  <a:cubicBezTo>
                    <a:pt x="23" y="13"/>
                    <a:pt x="23" y="13"/>
                    <a:pt x="23" y="13"/>
                  </a:cubicBezTo>
                  <a:cubicBezTo>
                    <a:pt x="23" y="13"/>
                    <a:pt x="23" y="13"/>
                    <a:pt x="23" y="13"/>
                  </a:cubicBezTo>
                  <a:cubicBezTo>
                    <a:pt x="23" y="12"/>
                    <a:pt x="24" y="12"/>
                    <a:pt x="24" y="12"/>
                  </a:cubicBezTo>
                  <a:cubicBezTo>
                    <a:pt x="24" y="12"/>
                    <a:pt x="24" y="12"/>
                    <a:pt x="24" y="12"/>
                  </a:cubicBezTo>
                  <a:cubicBezTo>
                    <a:pt x="24" y="12"/>
                    <a:pt x="24" y="12"/>
                    <a:pt x="24" y="12"/>
                  </a:cubicBezTo>
                  <a:cubicBezTo>
                    <a:pt x="24" y="12"/>
                    <a:pt x="24" y="12"/>
                    <a:pt x="24" y="12"/>
                  </a:cubicBezTo>
                  <a:cubicBezTo>
                    <a:pt x="25" y="11"/>
                    <a:pt x="26" y="10"/>
                    <a:pt x="26" y="10"/>
                  </a:cubicBezTo>
                  <a:cubicBezTo>
                    <a:pt x="26" y="9"/>
                    <a:pt x="26" y="9"/>
                    <a:pt x="26" y="9"/>
                  </a:cubicBezTo>
                  <a:cubicBezTo>
                    <a:pt x="26" y="9"/>
                    <a:pt x="26" y="9"/>
                    <a:pt x="26" y="9"/>
                  </a:cubicBezTo>
                  <a:cubicBezTo>
                    <a:pt x="26" y="5"/>
                    <a:pt x="26" y="5"/>
                    <a:pt x="26" y="5"/>
                  </a:cubicBezTo>
                  <a:cubicBezTo>
                    <a:pt x="26" y="5"/>
                    <a:pt x="26" y="5"/>
                    <a:pt x="26" y="5"/>
                  </a:cubicBezTo>
                  <a:cubicBezTo>
                    <a:pt x="26" y="4"/>
                    <a:pt x="26" y="3"/>
                    <a:pt x="25" y="3"/>
                  </a:cubicBezTo>
                  <a:cubicBezTo>
                    <a:pt x="24" y="2"/>
                    <a:pt x="23" y="2"/>
                    <a:pt x="23" y="1"/>
                  </a:cubicBezTo>
                  <a:cubicBezTo>
                    <a:pt x="20" y="0"/>
                    <a:pt x="17" y="0"/>
                    <a:pt x="1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20" name="ïşḻíḓè"/>
            <p:cNvSpPr/>
            <p:nvPr/>
          </p:nvSpPr>
          <p:spPr bwMode="auto">
            <a:xfrm>
              <a:off x="3584" y="2498"/>
              <a:ext cx="50" cy="19"/>
            </a:xfrm>
            <a:custGeom>
              <a:avLst/>
              <a:gdLst>
                <a:gd name="T0" fmla="*/ 10 w 21"/>
                <a:gd name="T1" fmla="*/ 7 h 8"/>
                <a:gd name="T2" fmla="*/ 10 w 21"/>
                <a:gd name="T3" fmla="*/ 7 h 8"/>
                <a:gd name="T4" fmla="*/ 16 w 21"/>
                <a:gd name="T5" fmla="*/ 4 h 8"/>
                <a:gd name="T6" fmla="*/ 18 w 21"/>
                <a:gd name="T7" fmla="*/ 5 h 8"/>
                <a:gd name="T8" fmla="*/ 13 w 21"/>
                <a:gd name="T9" fmla="*/ 7 h 8"/>
                <a:gd name="T10" fmla="*/ 14 w 21"/>
                <a:gd name="T11" fmla="*/ 6 h 8"/>
                <a:gd name="T12" fmla="*/ 12 w 21"/>
                <a:gd name="T13" fmla="*/ 4 h 8"/>
                <a:gd name="T14" fmla="*/ 12 w 21"/>
                <a:gd name="T15" fmla="*/ 4 h 8"/>
                <a:gd name="T16" fmla="*/ 14 w 21"/>
                <a:gd name="T17" fmla="*/ 5 h 8"/>
                <a:gd name="T18" fmla="*/ 2 w 21"/>
                <a:gd name="T19" fmla="*/ 5 h 8"/>
                <a:gd name="T20" fmla="*/ 3 w 21"/>
                <a:gd name="T21" fmla="*/ 4 h 8"/>
                <a:gd name="T22" fmla="*/ 8 w 21"/>
                <a:gd name="T23" fmla="*/ 4 h 8"/>
                <a:gd name="T24" fmla="*/ 7 w 21"/>
                <a:gd name="T25" fmla="*/ 4 h 8"/>
                <a:gd name="T26" fmla="*/ 5 w 21"/>
                <a:gd name="T27" fmla="*/ 5 h 8"/>
                <a:gd name="T28" fmla="*/ 5 w 21"/>
                <a:gd name="T29" fmla="*/ 5 h 8"/>
                <a:gd name="T30" fmla="*/ 7 w 21"/>
                <a:gd name="T31" fmla="*/ 7 h 8"/>
                <a:gd name="T32" fmla="*/ 11 w 21"/>
                <a:gd name="T33" fmla="*/ 3 h 8"/>
                <a:gd name="T34" fmla="*/ 12 w 21"/>
                <a:gd name="T35" fmla="*/ 2 h 8"/>
                <a:gd name="T36" fmla="*/ 13 w 21"/>
                <a:gd name="T37" fmla="*/ 2 h 8"/>
                <a:gd name="T38" fmla="*/ 13 w 21"/>
                <a:gd name="T39" fmla="*/ 3 h 8"/>
                <a:gd name="T40" fmla="*/ 15 w 21"/>
                <a:gd name="T41" fmla="*/ 4 h 8"/>
                <a:gd name="T42" fmla="*/ 13 w 21"/>
                <a:gd name="T43" fmla="*/ 4 h 8"/>
                <a:gd name="T44" fmla="*/ 11 w 21"/>
                <a:gd name="T45" fmla="*/ 3 h 8"/>
                <a:gd name="T46" fmla="*/ 10 w 21"/>
                <a:gd name="T47" fmla="*/ 4 h 8"/>
                <a:gd name="T48" fmla="*/ 13 w 21"/>
                <a:gd name="T49" fmla="*/ 5 h 8"/>
                <a:gd name="T50" fmla="*/ 13 w 21"/>
                <a:gd name="T51" fmla="*/ 6 h 8"/>
                <a:gd name="T52" fmla="*/ 10 w 21"/>
                <a:gd name="T53" fmla="*/ 6 h 8"/>
                <a:gd name="T54" fmla="*/ 10 w 21"/>
                <a:gd name="T55" fmla="*/ 6 h 8"/>
                <a:gd name="T56" fmla="*/ 9 w 21"/>
                <a:gd name="T57" fmla="*/ 7 h 8"/>
                <a:gd name="T58" fmla="*/ 8 w 21"/>
                <a:gd name="T59" fmla="*/ 7 h 8"/>
                <a:gd name="T60" fmla="*/ 8 w 21"/>
                <a:gd name="T61" fmla="*/ 6 h 8"/>
                <a:gd name="T62" fmla="*/ 6 w 21"/>
                <a:gd name="T63" fmla="*/ 5 h 8"/>
                <a:gd name="T64" fmla="*/ 10 w 21"/>
                <a:gd name="T65" fmla="*/ 6 h 8"/>
                <a:gd name="T66" fmla="*/ 11 w 21"/>
                <a:gd name="T67" fmla="*/ 5 h 8"/>
                <a:gd name="T68" fmla="*/ 9 w 21"/>
                <a:gd name="T69" fmla="*/ 4 h 8"/>
                <a:gd name="T70" fmla="*/ 9 w 21"/>
                <a:gd name="T71" fmla="*/ 3 h 8"/>
                <a:gd name="T72" fmla="*/ 9 w 21"/>
                <a:gd name="T73" fmla="*/ 3 h 8"/>
                <a:gd name="T74" fmla="*/ 11 w 21"/>
                <a:gd name="T75" fmla="*/ 3 h 8"/>
                <a:gd name="T76" fmla="*/ 1 w 21"/>
                <a:gd name="T77" fmla="*/ 4 h 8"/>
                <a:gd name="T78" fmla="*/ 11 w 21"/>
                <a:gd name="T79" fmla="*/ 1 h 8"/>
                <a:gd name="T80" fmla="*/ 19 w 21"/>
                <a:gd name="T81" fmla="*/ 3 h 8"/>
                <a:gd name="T82" fmla="*/ 19 w 21"/>
                <a:gd name="T83" fmla="*/ 5 h 8"/>
                <a:gd name="T84" fmla="*/ 17 w 21"/>
                <a:gd name="T85" fmla="*/ 3 h 8"/>
                <a:gd name="T86" fmla="*/ 14 w 21"/>
                <a:gd name="T87" fmla="*/ 2 h 8"/>
                <a:gd name="T88" fmla="*/ 14 w 21"/>
                <a:gd name="T89" fmla="*/ 2 h 8"/>
                <a:gd name="T90" fmla="*/ 12 w 21"/>
                <a:gd name="T91" fmla="*/ 2 h 8"/>
                <a:gd name="T92" fmla="*/ 11 w 21"/>
                <a:gd name="T93" fmla="*/ 2 h 8"/>
                <a:gd name="T94" fmla="*/ 9 w 21"/>
                <a:gd name="T95" fmla="*/ 2 h 8"/>
                <a:gd name="T96" fmla="*/ 3 w 21"/>
                <a:gd name="T97" fmla="*/ 4 h 8"/>
                <a:gd name="T98" fmla="*/ 3 w 21"/>
                <a:gd name="T99" fmla="*/ 4 h 8"/>
                <a:gd name="T100" fmla="*/ 2 w 21"/>
                <a:gd name="T101" fmla="*/ 5 h 8"/>
                <a:gd name="T102" fmla="*/ 2 w 21"/>
                <a:gd name="T103" fmla="*/ 2 h 8"/>
                <a:gd name="T104" fmla="*/ 1 w 21"/>
                <a:gd name="T105" fmla="*/ 6 h 8"/>
                <a:gd name="T106" fmla="*/ 20 w 21"/>
                <a:gd name="T107" fmla="*/ 4 h 8"/>
                <a:gd name="T108" fmla="*/ 18 w 21"/>
                <a:gd name="T10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 h="8">
                  <a:moveTo>
                    <a:pt x="10" y="7"/>
                  </a:moveTo>
                  <a:cubicBezTo>
                    <a:pt x="10" y="7"/>
                    <a:pt x="10" y="7"/>
                    <a:pt x="10" y="7"/>
                  </a:cubicBezTo>
                  <a:cubicBezTo>
                    <a:pt x="10" y="7"/>
                    <a:pt x="10" y="7"/>
                    <a:pt x="10" y="7"/>
                  </a:cubicBezTo>
                  <a:cubicBezTo>
                    <a:pt x="10" y="7"/>
                    <a:pt x="10" y="7"/>
                    <a:pt x="10" y="7"/>
                  </a:cubicBezTo>
                  <a:moveTo>
                    <a:pt x="14" y="5"/>
                  </a:moveTo>
                  <a:cubicBezTo>
                    <a:pt x="14" y="5"/>
                    <a:pt x="16" y="4"/>
                    <a:pt x="16" y="4"/>
                  </a:cubicBezTo>
                  <a:cubicBezTo>
                    <a:pt x="16" y="4"/>
                    <a:pt x="16" y="4"/>
                    <a:pt x="16" y="4"/>
                  </a:cubicBezTo>
                  <a:cubicBezTo>
                    <a:pt x="17" y="4"/>
                    <a:pt x="17" y="4"/>
                    <a:pt x="18" y="5"/>
                  </a:cubicBezTo>
                  <a:cubicBezTo>
                    <a:pt x="18" y="5"/>
                    <a:pt x="18" y="5"/>
                    <a:pt x="18" y="5"/>
                  </a:cubicBezTo>
                  <a:cubicBezTo>
                    <a:pt x="17" y="6"/>
                    <a:pt x="15" y="7"/>
                    <a:pt x="13" y="7"/>
                  </a:cubicBezTo>
                  <a:cubicBezTo>
                    <a:pt x="13" y="7"/>
                    <a:pt x="13" y="7"/>
                    <a:pt x="13" y="7"/>
                  </a:cubicBezTo>
                  <a:cubicBezTo>
                    <a:pt x="14" y="6"/>
                    <a:pt x="14" y="6"/>
                    <a:pt x="14" y="6"/>
                  </a:cubicBezTo>
                  <a:cubicBezTo>
                    <a:pt x="14" y="5"/>
                    <a:pt x="13" y="5"/>
                    <a:pt x="13" y="5"/>
                  </a:cubicBezTo>
                  <a:cubicBezTo>
                    <a:pt x="12" y="4"/>
                    <a:pt x="12" y="4"/>
                    <a:pt x="12" y="4"/>
                  </a:cubicBezTo>
                  <a:cubicBezTo>
                    <a:pt x="11" y="4"/>
                    <a:pt x="11" y="4"/>
                    <a:pt x="11" y="4"/>
                  </a:cubicBezTo>
                  <a:cubicBezTo>
                    <a:pt x="12" y="4"/>
                    <a:pt x="12" y="4"/>
                    <a:pt x="12" y="4"/>
                  </a:cubicBezTo>
                  <a:cubicBezTo>
                    <a:pt x="12" y="4"/>
                    <a:pt x="13" y="4"/>
                    <a:pt x="13" y="4"/>
                  </a:cubicBezTo>
                  <a:cubicBezTo>
                    <a:pt x="14" y="4"/>
                    <a:pt x="14" y="4"/>
                    <a:pt x="14" y="5"/>
                  </a:cubicBezTo>
                  <a:moveTo>
                    <a:pt x="7" y="7"/>
                  </a:moveTo>
                  <a:cubicBezTo>
                    <a:pt x="4" y="7"/>
                    <a:pt x="3" y="6"/>
                    <a:pt x="2" y="5"/>
                  </a:cubicBezTo>
                  <a:cubicBezTo>
                    <a:pt x="2" y="5"/>
                    <a:pt x="2" y="5"/>
                    <a:pt x="2" y="5"/>
                  </a:cubicBezTo>
                  <a:cubicBezTo>
                    <a:pt x="2" y="5"/>
                    <a:pt x="3" y="5"/>
                    <a:pt x="3" y="4"/>
                  </a:cubicBezTo>
                  <a:cubicBezTo>
                    <a:pt x="4" y="4"/>
                    <a:pt x="6" y="3"/>
                    <a:pt x="8" y="3"/>
                  </a:cubicBezTo>
                  <a:cubicBezTo>
                    <a:pt x="8" y="4"/>
                    <a:pt x="8" y="4"/>
                    <a:pt x="8" y="4"/>
                  </a:cubicBezTo>
                  <a:cubicBezTo>
                    <a:pt x="8" y="5"/>
                    <a:pt x="8" y="5"/>
                    <a:pt x="8" y="5"/>
                  </a:cubicBezTo>
                  <a:cubicBezTo>
                    <a:pt x="8" y="4"/>
                    <a:pt x="8" y="4"/>
                    <a:pt x="7" y="4"/>
                  </a:cubicBezTo>
                  <a:cubicBezTo>
                    <a:pt x="7" y="4"/>
                    <a:pt x="7" y="4"/>
                    <a:pt x="7" y="4"/>
                  </a:cubicBezTo>
                  <a:cubicBezTo>
                    <a:pt x="7" y="4"/>
                    <a:pt x="5" y="5"/>
                    <a:pt x="5" y="5"/>
                  </a:cubicBezTo>
                  <a:cubicBezTo>
                    <a:pt x="5" y="5"/>
                    <a:pt x="5" y="5"/>
                    <a:pt x="5" y="5"/>
                  </a:cubicBezTo>
                  <a:cubicBezTo>
                    <a:pt x="5" y="5"/>
                    <a:pt x="5" y="5"/>
                    <a:pt x="5" y="5"/>
                  </a:cubicBezTo>
                  <a:cubicBezTo>
                    <a:pt x="5" y="6"/>
                    <a:pt x="6" y="6"/>
                    <a:pt x="7" y="6"/>
                  </a:cubicBezTo>
                  <a:cubicBezTo>
                    <a:pt x="7" y="7"/>
                    <a:pt x="7" y="7"/>
                    <a:pt x="7" y="7"/>
                  </a:cubicBezTo>
                  <a:cubicBezTo>
                    <a:pt x="7" y="7"/>
                    <a:pt x="7" y="7"/>
                    <a:pt x="7" y="7"/>
                  </a:cubicBezTo>
                  <a:moveTo>
                    <a:pt x="11" y="3"/>
                  </a:moveTo>
                  <a:cubicBezTo>
                    <a:pt x="12" y="2"/>
                    <a:pt x="12" y="2"/>
                    <a:pt x="12" y="2"/>
                  </a:cubicBezTo>
                  <a:cubicBezTo>
                    <a:pt x="12" y="2"/>
                    <a:pt x="12" y="2"/>
                    <a:pt x="12" y="2"/>
                  </a:cubicBezTo>
                  <a:cubicBezTo>
                    <a:pt x="12" y="2"/>
                    <a:pt x="12" y="2"/>
                    <a:pt x="12" y="2"/>
                  </a:cubicBezTo>
                  <a:cubicBezTo>
                    <a:pt x="13" y="2"/>
                    <a:pt x="13" y="2"/>
                    <a:pt x="13" y="2"/>
                  </a:cubicBezTo>
                  <a:cubicBezTo>
                    <a:pt x="13" y="2"/>
                    <a:pt x="13" y="2"/>
                    <a:pt x="13" y="2"/>
                  </a:cubicBezTo>
                  <a:cubicBezTo>
                    <a:pt x="13" y="3"/>
                    <a:pt x="13" y="3"/>
                    <a:pt x="13" y="3"/>
                  </a:cubicBezTo>
                  <a:cubicBezTo>
                    <a:pt x="13" y="3"/>
                    <a:pt x="13" y="3"/>
                    <a:pt x="13" y="3"/>
                  </a:cubicBezTo>
                  <a:cubicBezTo>
                    <a:pt x="13" y="3"/>
                    <a:pt x="14" y="3"/>
                    <a:pt x="15" y="4"/>
                  </a:cubicBezTo>
                  <a:cubicBezTo>
                    <a:pt x="14" y="4"/>
                    <a:pt x="14" y="4"/>
                    <a:pt x="14" y="4"/>
                  </a:cubicBezTo>
                  <a:cubicBezTo>
                    <a:pt x="13" y="4"/>
                    <a:pt x="13" y="4"/>
                    <a:pt x="13" y="4"/>
                  </a:cubicBezTo>
                  <a:cubicBezTo>
                    <a:pt x="13" y="3"/>
                    <a:pt x="12" y="3"/>
                    <a:pt x="12" y="3"/>
                  </a:cubicBezTo>
                  <a:cubicBezTo>
                    <a:pt x="11" y="3"/>
                    <a:pt x="11" y="3"/>
                    <a:pt x="11" y="3"/>
                  </a:cubicBezTo>
                  <a:cubicBezTo>
                    <a:pt x="11" y="3"/>
                    <a:pt x="11" y="3"/>
                    <a:pt x="10" y="4"/>
                  </a:cubicBezTo>
                  <a:cubicBezTo>
                    <a:pt x="10" y="4"/>
                    <a:pt x="10" y="4"/>
                    <a:pt x="10" y="4"/>
                  </a:cubicBezTo>
                  <a:cubicBezTo>
                    <a:pt x="10" y="4"/>
                    <a:pt x="11" y="4"/>
                    <a:pt x="12" y="5"/>
                  </a:cubicBezTo>
                  <a:cubicBezTo>
                    <a:pt x="13" y="5"/>
                    <a:pt x="13" y="5"/>
                    <a:pt x="13" y="5"/>
                  </a:cubicBezTo>
                  <a:cubicBezTo>
                    <a:pt x="13" y="6"/>
                    <a:pt x="13" y="6"/>
                    <a:pt x="13" y="6"/>
                  </a:cubicBezTo>
                  <a:cubicBezTo>
                    <a:pt x="13" y="6"/>
                    <a:pt x="13" y="6"/>
                    <a:pt x="13" y="6"/>
                  </a:cubicBezTo>
                  <a:cubicBezTo>
                    <a:pt x="13" y="6"/>
                    <a:pt x="12" y="6"/>
                    <a:pt x="11" y="6"/>
                  </a:cubicBezTo>
                  <a:cubicBezTo>
                    <a:pt x="10" y="6"/>
                    <a:pt x="10" y="6"/>
                    <a:pt x="10" y="6"/>
                  </a:cubicBezTo>
                  <a:cubicBezTo>
                    <a:pt x="10" y="6"/>
                    <a:pt x="10" y="6"/>
                    <a:pt x="10" y="6"/>
                  </a:cubicBezTo>
                  <a:cubicBezTo>
                    <a:pt x="10" y="6"/>
                    <a:pt x="10" y="6"/>
                    <a:pt x="10" y="6"/>
                  </a:cubicBezTo>
                  <a:cubicBezTo>
                    <a:pt x="9" y="7"/>
                    <a:pt x="9" y="7"/>
                    <a:pt x="9" y="7"/>
                  </a:cubicBezTo>
                  <a:cubicBezTo>
                    <a:pt x="9" y="7"/>
                    <a:pt x="9" y="7"/>
                    <a:pt x="9" y="7"/>
                  </a:cubicBezTo>
                  <a:cubicBezTo>
                    <a:pt x="9" y="7"/>
                    <a:pt x="9" y="7"/>
                    <a:pt x="8" y="7"/>
                  </a:cubicBezTo>
                  <a:cubicBezTo>
                    <a:pt x="8" y="7"/>
                    <a:pt x="8" y="7"/>
                    <a:pt x="8" y="7"/>
                  </a:cubicBezTo>
                  <a:cubicBezTo>
                    <a:pt x="8" y="7"/>
                    <a:pt x="8" y="6"/>
                    <a:pt x="8" y="6"/>
                  </a:cubicBezTo>
                  <a:cubicBezTo>
                    <a:pt x="8" y="6"/>
                    <a:pt x="8" y="6"/>
                    <a:pt x="8" y="6"/>
                  </a:cubicBezTo>
                  <a:cubicBezTo>
                    <a:pt x="8" y="6"/>
                    <a:pt x="8" y="6"/>
                    <a:pt x="8" y="6"/>
                  </a:cubicBezTo>
                  <a:cubicBezTo>
                    <a:pt x="7" y="6"/>
                    <a:pt x="6" y="6"/>
                    <a:pt x="6" y="5"/>
                  </a:cubicBezTo>
                  <a:cubicBezTo>
                    <a:pt x="6" y="5"/>
                    <a:pt x="7" y="5"/>
                    <a:pt x="7" y="5"/>
                  </a:cubicBezTo>
                  <a:cubicBezTo>
                    <a:pt x="8" y="5"/>
                    <a:pt x="10" y="6"/>
                    <a:pt x="10" y="6"/>
                  </a:cubicBezTo>
                  <a:cubicBezTo>
                    <a:pt x="11" y="5"/>
                    <a:pt x="11" y="5"/>
                    <a:pt x="11" y="5"/>
                  </a:cubicBezTo>
                  <a:cubicBezTo>
                    <a:pt x="11" y="5"/>
                    <a:pt x="11" y="5"/>
                    <a:pt x="11" y="5"/>
                  </a:cubicBezTo>
                  <a:cubicBezTo>
                    <a:pt x="10" y="4"/>
                    <a:pt x="10" y="4"/>
                    <a:pt x="9" y="4"/>
                  </a:cubicBezTo>
                  <a:cubicBezTo>
                    <a:pt x="9" y="4"/>
                    <a:pt x="9" y="4"/>
                    <a:pt x="9" y="4"/>
                  </a:cubicBezTo>
                  <a:cubicBezTo>
                    <a:pt x="8" y="4"/>
                    <a:pt x="8" y="4"/>
                    <a:pt x="8" y="4"/>
                  </a:cubicBezTo>
                  <a:cubicBezTo>
                    <a:pt x="9" y="3"/>
                    <a:pt x="9" y="3"/>
                    <a:pt x="9" y="3"/>
                  </a:cubicBezTo>
                  <a:cubicBezTo>
                    <a:pt x="9" y="3"/>
                    <a:pt x="9" y="3"/>
                    <a:pt x="9" y="3"/>
                  </a:cubicBezTo>
                  <a:cubicBezTo>
                    <a:pt x="9" y="3"/>
                    <a:pt x="9" y="3"/>
                    <a:pt x="9" y="3"/>
                  </a:cubicBezTo>
                  <a:cubicBezTo>
                    <a:pt x="10" y="3"/>
                    <a:pt x="10" y="3"/>
                    <a:pt x="11" y="3"/>
                  </a:cubicBezTo>
                  <a:cubicBezTo>
                    <a:pt x="11" y="3"/>
                    <a:pt x="11" y="3"/>
                    <a:pt x="11" y="3"/>
                  </a:cubicBezTo>
                  <a:moveTo>
                    <a:pt x="2" y="5"/>
                  </a:moveTo>
                  <a:cubicBezTo>
                    <a:pt x="1" y="4"/>
                    <a:pt x="1" y="4"/>
                    <a:pt x="1" y="4"/>
                  </a:cubicBezTo>
                  <a:cubicBezTo>
                    <a:pt x="2" y="4"/>
                    <a:pt x="2" y="3"/>
                    <a:pt x="2" y="3"/>
                  </a:cubicBezTo>
                  <a:cubicBezTo>
                    <a:pt x="5" y="2"/>
                    <a:pt x="8" y="1"/>
                    <a:pt x="11" y="1"/>
                  </a:cubicBezTo>
                  <a:cubicBezTo>
                    <a:pt x="13" y="1"/>
                    <a:pt x="15" y="1"/>
                    <a:pt x="17" y="2"/>
                  </a:cubicBezTo>
                  <a:cubicBezTo>
                    <a:pt x="18" y="2"/>
                    <a:pt x="18" y="2"/>
                    <a:pt x="19" y="3"/>
                  </a:cubicBezTo>
                  <a:cubicBezTo>
                    <a:pt x="19" y="3"/>
                    <a:pt x="20" y="4"/>
                    <a:pt x="19" y="4"/>
                  </a:cubicBezTo>
                  <a:cubicBezTo>
                    <a:pt x="19" y="5"/>
                    <a:pt x="19" y="5"/>
                    <a:pt x="19" y="5"/>
                  </a:cubicBezTo>
                  <a:cubicBezTo>
                    <a:pt x="18" y="4"/>
                    <a:pt x="18" y="4"/>
                    <a:pt x="18" y="4"/>
                  </a:cubicBezTo>
                  <a:cubicBezTo>
                    <a:pt x="18" y="3"/>
                    <a:pt x="17" y="3"/>
                    <a:pt x="17" y="3"/>
                  </a:cubicBezTo>
                  <a:cubicBezTo>
                    <a:pt x="16" y="3"/>
                    <a:pt x="14" y="2"/>
                    <a:pt x="14" y="2"/>
                  </a:cubicBezTo>
                  <a:cubicBezTo>
                    <a:pt x="14" y="2"/>
                    <a:pt x="14" y="2"/>
                    <a:pt x="14" y="2"/>
                  </a:cubicBezTo>
                  <a:cubicBezTo>
                    <a:pt x="14" y="2"/>
                    <a:pt x="14" y="2"/>
                    <a:pt x="14" y="2"/>
                  </a:cubicBezTo>
                  <a:cubicBezTo>
                    <a:pt x="14" y="2"/>
                    <a:pt x="14" y="2"/>
                    <a:pt x="14" y="2"/>
                  </a:cubicBezTo>
                  <a:cubicBezTo>
                    <a:pt x="13" y="2"/>
                    <a:pt x="13" y="1"/>
                    <a:pt x="12" y="1"/>
                  </a:cubicBezTo>
                  <a:cubicBezTo>
                    <a:pt x="12" y="2"/>
                    <a:pt x="12" y="2"/>
                    <a:pt x="12" y="2"/>
                  </a:cubicBezTo>
                  <a:cubicBezTo>
                    <a:pt x="12" y="2"/>
                    <a:pt x="12" y="2"/>
                    <a:pt x="12" y="2"/>
                  </a:cubicBezTo>
                  <a:cubicBezTo>
                    <a:pt x="11" y="2"/>
                    <a:pt x="11" y="2"/>
                    <a:pt x="11" y="2"/>
                  </a:cubicBezTo>
                  <a:cubicBezTo>
                    <a:pt x="11" y="2"/>
                    <a:pt x="11" y="2"/>
                    <a:pt x="11" y="2"/>
                  </a:cubicBezTo>
                  <a:cubicBezTo>
                    <a:pt x="10" y="2"/>
                    <a:pt x="10" y="2"/>
                    <a:pt x="9" y="2"/>
                  </a:cubicBezTo>
                  <a:cubicBezTo>
                    <a:pt x="9" y="2"/>
                    <a:pt x="9" y="2"/>
                    <a:pt x="9" y="2"/>
                  </a:cubicBezTo>
                  <a:cubicBezTo>
                    <a:pt x="7" y="2"/>
                    <a:pt x="5" y="2"/>
                    <a:pt x="3" y="4"/>
                  </a:cubicBezTo>
                  <a:cubicBezTo>
                    <a:pt x="3" y="4"/>
                    <a:pt x="3" y="4"/>
                    <a:pt x="3" y="4"/>
                  </a:cubicBezTo>
                  <a:cubicBezTo>
                    <a:pt x="3" y="4"/>
                    <a:pt x="3" y="4"/>
                    <a:pt x="3" y="4"/>
                  </a:cubicBezTo>
                  <a:cubicBezTo>
                    <a:pt x="3" y="4"/>
                    <a:pt x="3" y="4"/>
                    <a:pt x="3" y="4"/>
                  </a:cubicBezTo>
                  <a:cubicBezTo>
                    <a:pt x="2" y="4"/>
                    <a:pt x="2" y="4"/>
                    <a:pt x="2" y="5"/>
                  </a:cubicBezTo>
                  <a:moveTo>
                    <a:pt x="11" y="0"/>
                  </a:moveTo>
                  <a:cubicBezTo>
                    <a:pt x="8" y="0"/>
                    <a:pt x="5" y="1"/>
                    <a:pt x="2" y="2"/>
                  </a:cubicBezTo>
                  <a:cubicBezTo>
                    <a:pt x="1" y="3"/>
                    <a:pt x="1" y="3"/>
                    <a:pt x="1" y="4"/>
                  </a:cubicBezTo>
                  <a:cubicBezTo>
                    <a:pt x="0" y="5"/>
                    <a:pt x="1" y="5"/>
                    <a:pt x="1" y="6"/>
                  </a:cubicBezTo>
                  <a:cubicBezTo>
                    <a:pt x="2" y="7"/>
                    <a:pt x="4" y="8"/>
                    <a:pt x="9" y="8"/>
                  </a:cubicBezTo>
                  <a:cubicBezTo>
                    <a:pt x="12" y="8"/>
                    <a:pt x="19" y="7"/>
                    <a:pt x="20" y="4"/>
                  </a:cubicBezTo>
                  <a:cubicBezTo>
                    <a:pt x="21" y="4"/>
                    <a:pt x="20" y="3"/>
                    <a:pt x="20" y="2"/>
                  </a:cubicBezTo>
                  <a:cubicBezTo>
                    <a:pt x="19" y="2"/>
                    <a:pt x="18" y="1"/>
                    <a:pt x="18" y="1"/>
                  </a:cubicBezTo>
                  <a:cubicBezTo>
                    <a:pt x="15" y="0"/>
                    <a:pt x="13" y="0"/>
                    <a:pt x="1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21" name="íśḻíḓé"/>
            <p:cNvSpPr/>
            <p:nvPr/>
          </p:nvSpPr>
          <p:spPr bwMode="auto">
            <a:xfrm>
              <a:off x="3577" y="2522"/>
              <a:ext cx="62" cy="24"/>
            </a:xfrm>
            <a:custGeom>
              <a:avLst/>
              <a:gdLst>
                <a:gd name="T0" fmla="*/ 13 w 26"/>
                <a:gd name="T1" fmla="*/ 6 h 10"/>
                <a:gd name="T2" fmla="*/ 12 w 26"/>
                <a:gd name="T3" fmla="*/ 6 h 10"/>
                <a:gd name="T4" fmla="*/ 10 w 26"/>
                <a:gd name="T5" fmla="*/ 9 h 10"/>
                <a:gd name="T6" fmla="*/ 12 w 26"/>
                <a:gd name="T7" fmla="*/ 6 h 10"/>
                <a:gd name="T8" fmla="*/ 14 w 26"/>
                <a:gd name="T9" fmla="*/ 6 h 10"/>
                <a:gd name="T10" fmla="*/ 15 w 26"/>
                <a:gd name="T11" fmla="*/ 6 h 10"/>
                <a:gd name="T12" fmla="*/ 15 w 26"/>
                <a:gd name="T13" fmla="*/ 9 h 10"/>
                <a:gd name="T14" fmla="*/ 15 w 26"/>
                <a:gd name="T15" fmla="*/ 6 h 10"/>
                <a:gd name="T16" fmla="*/ 15 w 26"/>
                <a:gd name="T17" fmla="*/ 9 h 10"/>
                <a:gd name="T18" fmla="*/ 16 w 26"/>
                <a:gd name="T19" fmla="*/ 6 h 10"/>
                <a:gd name="T20" fmla="*/ 16 w 26"/>
                <a:gd name="T21" fmla="*/ 9 h 10"/>
                <a:gd name="T22" fmla="*/ 8 w 26"/>
                <a:gd name="T23" fmla="*/ 6 h 10"/>
                <a:gd name="T24" fmla="*/ 10 w 26"/>
                <a:gd name="T25" fmla="*/ 9 h 10"/>
                <a:gd name="T26" fmla="*/ 17 w 26"/>
                <a:gd name="T27" fmla="*/ 6 h 10"/>
                <a:gd name="T28" fmla="*/ 18 w 26"/>
                <a:gd name="T29" fmla="*/ 8 h 10"/>
                <a:gd name="T30" fmla="*/ 8 w 26"/>
                <a:gd name="T31" fmla="*/ 9 h 10"/>
                <a:gd name="T32" fmla="*/ 8 w 26"/>
                <a:gd name="T33" fmla="*/ 6 h 10"/>
                <a:gd name="T34" fmla="*/ 18 w 26"/>
                <a:gd name="T35" fmla="*/ 8 h 10"/>
                <a:gd name="T36" fmla="*/ 18 w 26"/>
                <a:gd name="T37" fmla="*/ 6 h 10"/>
                <a:gd name="T38" fmla="*/ 18 w 26"/>
                <a:gd name="T39" fmla="*/ 8 h 10"/>
                <a:gd name="T40" fmla="*/ 21 w 26"/>
                <a:gd name="T41" fmla="*/ 5 h 10"/>
                <a:gd name="T42" fmla="*/ 6 w 26"/>
                <a:gd name="T43" fmla="*/ 8 h 10"/>
                <a:gd name="T44" fmla="*/ 6 w 26"/>
                <a:gd name="T45" fmla="*/ 5 h 10"/>
                <a:gd name="T46" fmla="*/ 21 w 26"/>
                <a:gd name="T47" fmla="*/ 5 h 10"/>
                <a:gd name="T48" fmla="*/ 21 w 26"/>
                <a:gd name="T49" fmla="*/ 8 h 10"/>
                <a:gd name="T50" fmla="*/ 3 w 26"/>
                <a:gd name="T51" fmla="*/ 4 h 10"/>
                <a:gd name="T52" fmla="*/ 2 w 26"/>
                <a:gd name="T53" fmla="*/ 6 h 10"/>
                <a:gd name="T54" fmla="*/ 2 w 26"/>
                <a:gd name="T55" fmla="*/ 4 h 10"/>
                <a:gd name="T56" fmla="*/ 22 w 26"/>
                <a:gd name="T57" fmla="*/ 7 h 10"/>
                <a:gd name="T58" fmla="*/ 24 w 26"/>
                <a:gd name="T59" fmla="*/ 3 h 10"/>
                <a:gd name="T60" fmla="*/ 2 w 26"/>
                <a:gd name="T61" fmla="*/ 4 h 10"/>
                <a:gd name="T62" fmla="*/ 2 w 26"/>
                <a:gd name="T63" fmla="*/ 3 h 10"/>
                <a:gd name="T64" fmla="*/ 24 w 26"/>
                <a:gd name="T65" fmla="*/ 3 h 10"/>
                <a:gd name="T66" fmla="*/ 25 w 26"/>
                <a:gd name="T67" fmla="*/ 5 h 10"/>
                <a:gd name="T68" fmla="*/ 25 w 26"/>
                <a:gd name="T69" fmla="*/ 0 h 10"/>
                <a:gd name="T70" fmla="*/ 12 w 26"/>
                <a:gd name="T71" fmla="*/ 5 h 10"/>
                <a:gd name="T72" fmla="*/ 1 w 26"/>
                <a:gd name="T73" fmla="*/ 2 h 10"/>
                <a:gd name="T74" fmla="*/ 1 w 26"/>
                <a:gd name="T75" fmla="*/ 1 h 10"/>
                <a:gd name="T76" fmla="*/ 1 w 26"/>
                <a:gd name="T77" fmla="*/ 5 h 10"/>
                <a:gd name="T78" fmla="*/ 12 w 26"/>
                <a:gd name="T79" fmla="*/ 10 h 10"/>
                <a:gd name="T80" fmla="*/ 23 w 26"/>
                <a:gd name="T81" fmla="*/ 8 h 10"/>
                <a:gd name="T82" fmla="*/ 24 w 26"/>
                <a:gd name="T83" fmla="*/ 7 h 10"/>
                <a:gd name="T84" fmla="*/ 26 w 26"/>
                <a:gd name="T85" fmla="*/ 5 h 10"/>
                <a:gd name="T86" fmla="*/ 26 w 26"/>
                <a:gd name="T8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10">
                  <a:moveTo>
                    <a:pt x="12" y="6"/>
                  </a:moveTo>
                  <a:cubicBezTo>
                    <a:pt x="13" y="6"/>
                    <a:pt x="13" y="6"/>
                    <a:pt x="13" y="6"/>
                  </a:cubicBezTo>
                  <a:cubicBezTo>
                    <a:pt x="13" y="6"/>
                    <a:pt x="13" y="6"/>
                    <a:pt x="13" y="6"/>
                  </a:cubicBezTo>
                  <a:cubicBezTo>
                    <a:pt x="14" y="9"/>
                    <a:pt x="14" y="9"/>
                    <a:pt x="14" y="9"/>
                  </a:cubicBezTo>
                  <a:cubicBezTo>
                    <a:pt x="13" y="9"/>
                    <a:pt x="13" y="9"/>
                    <a:pt x="12" y="9"/>
                  </a:cubicBezTo>
                  <a:cubicBezTo>
                    <a:pt x="12" y="8"/>
                    <a:pt x="12" y="7"/>
                    <a:pt x="12" y="6"/>
                  </a:cubicBezTo>
                  <a:cubicBezTo>
                    <a:pt x="12" y="6"/>
                    <a:pt x="12" y="6"/>
                    <a:pt x="12" y="6"/>
                  </a:cubicBezTo>
                  <a:moveTo>
                    <a:pt x="12" y="9"/>
                  </a:moveTo>
                  <a:cubicBezTo>
                    <a:pt x="11" y="9"/>
                    <a:pt x="11" y="9"/>
                    <a:pt x="10" y="9"/>
                  </a:cubicBezTo>
                  <a:cubicBezTo>
                    <a:pt x="10" y="9"/>
                    <a:pt x="10" y="9"/>
                    <a:pt x="10" y="9"/>
                  </a:cubicBezTo>
                  <a:cubicBezTo>
                    <a:pt x="10" y="6"/>
                    <a:pt x="10" y="6"/>
                    <a:pt x="10" y="6"/>
                  </a:cubicBezTo>
                  <a:cubicBezTo>
                    <a:pt x="11" y="6"/>
                    <a:pt x="11" y="6"/>
                    <a:pt x="12" y="6"/>
                  </a:cubicBezTo>
                  <a:cubicBezTo>
                    <a:pt x="12" y="7"/>
                    <a:pt x="12" y="8"/>
                    <a:pt x="12" y="9"/>
                  </a:cubicBezTo>
                  <a:moveTo>
                    <a:pt x="14" y="9"/>
                  </a:moveTo>
                  <a:cubicBezTo>
                    <a:pt x="14" y="6"/>
                    <a:pt x="14" y="6"/>
                    <a:pt x="14" y="6"/>
                  </a:cubicBezTo>
                  <a:cubicBezTo>
                    <a:pt x="14" y="6"/>
                    <a:pt x="14" y="6"/>
                    <a:pt x="14" y="6"/>
                  </a:cubicBezTo>
                  <a:cubicBezTo>
                    <a:pt x="14" y="6"/>
                    <a:pt x="14" y="6"/>
                    <a:pt x="14" y="6"/>
                  </a:cubicBezTo>
                  <a:cubicBezTo>
                    <a:pt x="15" y="6"/>
                    <a:pt x="15" y="6"/>
                    <a:pt x="15" y="6"/>
                  </a:cubicBezTo>
                  <a:cubicBezTo>
                    <a:pt x="15" y="7"/>
                    <a:pt x="15" y="8"/>
                    <a:pt x="15" y="9"/>
                  </a:cubicBezTo>
                  <a:cubicBezTo>
                    <a:pt x="14" y="9"/>
                    <a:pt x="14" y="9"/>
                    <a:pt x="14" y="9"/>
                  </a:cubicBezTo>
                  <a:moveTo>
                    <a:pt x="15" y="9"/>
                  </a:moveTo>
                  <a:cubicBezTo>
                    <a:pt x="15" y="9"/>
                    <a:pt x="15" y="9"/>
                    <a:pt x="15" y="9"/>
                  </a:cubicBezTo>
                  <a:cubicBezTo>
                    <a:pt x="15" y="8"/>
                    <a:pt x="15" y="8"/>
                    <a:pt x="15" y="8"/>
                  </a:cubicBezTo>
                  <a:cubicBezTo>
                    <a:pt x="15" y="8"/>
                    <a:pt x="15" y="7"/>
                    <a:pt x="15" y="6"/>
                  </a:cubicBezTo>
                  <a:cubicBezTo>
                    <a:pt x="16" y="6"/>
                    <a:pt x="16" y="6"/>
                    <a:pt x="16" y="6"/>
                  </a:cubicBezTo>
                  <a:cubicBezTo>
                    <a:pt x="16" y="9"/>
                    <a:pt x="16" y="9"/>
                    <a:pt x="16" y="9"/>
                  </a:cubicBezTo>
                  <a:cubicBezTo>
                    <a:pt x="15" y="9"/>
                    <a:pt x="15" y="9"/>
                    <a:pt x="15" y="9"/>
                  </a:cubicBezTo>
                  <a:moveTo>
                    <a:pt x="16" y="9"/>
                  </a:moveTo>
                  <a:cubicBezTo>
                    <a:pt x="16" y="9"/>
                    <a:pt x="16" y="9"/>
                    <a:pt x="16" y="9"/>
                  </a:cubicBezTo>
                  <a:cubicBezTo>
                    <a:pt x="16" y="6"/>
                    <a:pt x="16" y="6"/>
                    <a:pt x="16" y="6"/>
                  </a:cubicBezTo>
                  <a:cubicBezTo>
                    <a:pt x="16" y="6"/>
                    <a:pt x="16" y="6"/>
                    <a:pt x="16" y="6"/>
                  </a:cubicBezTo>
                  <a:cubicBezTo>
                    <a:pt x="17" y="9"/>
                    <a:pt x="17" y="9"/>
                    <a:pt x="17" y="9"/>
                  </a:cubicBezTo>
                  <a:cubicBezTo>
                    <a:pt x="16" y="9"/>
                    <a:pt x="16" y="9"/>
                    <a:pt x="16" y="9"/>
                  </a:cubicBezTo>
                  <a:moveTo>
                    <a:pt x="10" y="9"/>
                  </a:moveTo>
                  <a:cubicBezTo>
                    <a:pt x="9" y="9"/>
                    <a:pt x="9" y="9"/>
                    <a:pt x="8" y="9"/>
                  </a:cubicBezTo>
                  <a:cubicBezTo>
                    <a:pt x="8" y="8"/>
                    <a:pt x="8" y="7"/>
                    <a:pt x="8" y="6"/>
                  </a:cubicBezTo>
                  <a:cubicBezTo>
                    <a:pt x="9" y="6"/>
                    <a:pt x="9" y="6"/>
                    <a:pt x="9" y="6"/>
                  </a:cubicBezTo>
                  <a:cubicBezTo>
                    <a:pt x="10" y="6"/>
                    <a:pt x="10" y="6"/>
                    <a:pt x="10" y="6"/>
                  </a:cubicBezTo>
                  <a:cubicBezTo>
                    <a:pt x="10" y="9"/>
                    <a:pt x="10" y="9"/>
                    <a:pt x="10" y="9"/>
                  </a:cubicBezTo>
                  <a:cubicBezTo>
                    <a:pt x="10" y="9"/>
                    <a:pt x="10" y="9"/>
                    <a:pt x="10" y="9"/>
                  </a:cubicBezTo>
                  <a:moveTo>
                    <a:pt x="17" y="9"/>
                  </a:moveTo>
                  <a:cubicBezTo>
                    <a:pt x="17" y="6"/>
                    <a:pt x="17" y="6"/>
                    <a:pt x="17" y="6"/>
                  </a:cubicBezTo>
                  <a:cubicBezTo>
                    <a:pt x="17" y="6"/>
                    <a:pt x="17" y="6"/>
                    <a:pt x="17" y="6"/>
                  </a:cubicBezTo>
                  <a:cubicBezTo>
                    <a:pt x="18" y="6"/>
                    <a:pt x="18" y="6"/>
                    <a:pt x="18" y="6"/>
                  </a:cubicBezTo>
                  <a:cubicBezTo>
                    <a:pt x="18" y="8"/>
                    <a:pt x="18" y="8"/>
                    <a:pt x="18" y="8"/>
                  </a:cubicBezTo>
                  <a:cubicBezTo>
                    <a:pt x="18" y="8"/>
                    <a:pt x="18" y="8"/>
                    <a:pt x="18" y="8"/>
                  </a:cubicBezTo>
                  <a:cubicBezTo>
                    <a:pt x="17" y="9"/>
                    <a:pt x="17" y="9"/>
                    <a:pt x="17" y="9"/>
                  </a:cubicBezTo>
                  <a:moveTo>
                    <a:pt x="8" y="9"/>
                  </a:moveTo>
                  <a:cubicBezTo>
                    <a:pt x="7" y="9"/>
                    <a:pt x="7" y="8"/>
                    <a:pt x="6" y="8"/>
                  </a:cubicBezTo>
                  <a:cubicBezTo>
                    <a:pt x="6" y="7"/>
                    <a:pt x="6" y="6"/>
                    <a:pt x="6" y="6"/>
                  </a:cubicBezTo>
                  <a:cubicBezTo>
                    <a:pt x="7" y="6"/>
                    <a:pt x="7" y="6"/>
                    <a:pt x="8" y="6"/>
                  </a:cubicBezTo>
                  <a:cubicBezTo>
                    <a:pt x="8" y="7"/>
                    <a:pt x="8" y="8"/>
                    <a:pt x="8" y="9"/>
                  </a:cubicBezTo>
                  <a:moveTo>
                    <a:pt x="18" y="8"/>
                  </a:moveTo>
                  <a:cubicBezTo>
                    <a:pt x="18" y="8"/>
                    <a:pt x="18" y="8"/>
                    <a:pt x="18" y="8"/>
                  </a:cubicBezTo>
                  <a:cubicBezTo>
                    <a:pt x="18" y="8"/>
                    <a:pt x="18" y="8"/>
                    <a:pt x="18" y="8"/>
                  </a:cubicBezTo>
                  <a:cubicBezTo>
                    <a:pt x="18" y="6"/>
                    <a:pt x="18" y="6"/>
                    <a:pt x="18" y="6"/>
                  </a:cubicBezTo>
                  <a:cubicBezTo>
                    <a:pt x="18" y="6"/>
                    <a:pt x="18" y="6"/>
                    <a:pt x="18" y="6"/>
                  </a:cubicBezTo>
                  <a:cubicBezTo>
                    <a:pt x="19" y="5"/>
                    <a:pt x="19" y="5"/>
                    <a:pt x="19" y="5"/>
                  </a:cubicBezTo>
                  <a:cubicBezTo>
                    <a:pt x="19" y="6"/>
                    <a:pt x="19" y="7"/>
                    <a:pt x="19" y="8"/>
                  </a:cubicBezTo>
                  <a:cubicBezTo>
                    <a:pt x="18" y="8"/>
                    <a:pt x="18" y="8"/>
                    <a:pt x="18" y="8"/>
                  </a:cubicBezTo>
                  <a:moveTo>
                    <a:pt x="20" y="8"/>
                  </a:moveTo>
                  <a:cubicBezTo>
                    <a:pt x="19" y="7"/>
                    <a:pt x="19" y="6"/>
                    <a:pt x="20" y="5"/>
                  </a:cubicBezTo>
                  <a:cubicBezTo>
                    <a:pt x="21" y="5"/>
                    <a:pt x="21" y="5"/>
                    <a:pt x="21" y="5"/>
                  </a:cubicBezTo>
                  <a:cubicBezTo>
                    <a:pt x="21" y="6"/>
                    <a:pt x="21" y="7"/>
                    <a:pt x="21" y="8"/>
                  </a:cubicBezTo>
                  <a:cubicBezTo>
                    <a:pt x="20" y="8"/>
                    <a:pt x="20" y="8"/>
                    <a:pt x="20" y="8"/>
                  </a:cubicBezTo>
                  <a:moveTo>
                    <a:pt x="6" y="8"/>
                  </a:moveTo>
                  <a:cubicBezTo>
                    <a:pt x="5" y="8"/>
                    <a:pt x="4" y="8"/>
                    <a:pt x="4" y="7"/>
                  </a:cubicBezTo>
                  <a:cubicBezTo>
                    <a:pt x="4" y="5"/>
                    <a:pt x="4" y="5"/>
                    <a:pt x="4" y="5"/>
                  </a:cubicBezTo>
                  <a:cubicBezTo>
                    <a:pt x="4" y="5"/>
                    <a:pt x="5" y="5"/>
                    <a:pt x="6" y="5"/>
                  </a:cubicBezTo>
                  <a:cubicBezTo>
                    <a:pt x="6" y="6"/>
                    <a:pt x="6" y="7"/>
                    <a:pt x="6" y="8"/>
                  </a:cubicBezTo>
                  <a:moveTo>
                    <a:pt x="21" y="8"/>
                  </a:moveTo>
                  <a:cubicBezTo>
                    <a:pt x="21" y="7"/>
                    <a:pt x="21" y="6"/>
                    <a:pt x="21" y="5"/>
                  </a:cubicBezTo>
                  <a:cubicBezTo>
                    <a:pt x="22" y="4"/>
                    <a:pt x="22" y="4"/>
                    <a:pt x="22" y="4"/>
                  </a:cubicBezTo>
                  <a:cubicBezTo>
                    <a:pt x="22" y="7"/>
                    <a:pt x="22" y="7"/>
                    <a:pt x="22" y="7"/>
                  </a:cubicBezTo>
                  <a:cubicBezTo>
                    <a:pt x="21" y="8"/>
                    <a:pt x="21" y="8"/>
                    <a:pt x="21" y="8"/>
                  </a:cubicBezTo>
                  <a:moveTo>
                    <a:pt x="3" y="7"/>
                  </a:moveTo>
                  <a:cubicBezTo>
                    <a:pt x="3" y="7"/>
                    <a:pt x="3" y="7"/>
                    <a:pt x="3" y="7"/>
                  </a:cubicBezTo>
                  <a:cubicBezTo>
                    <a:pt x="3" y="4"/>
                    <a:pt x="3" y="4"/>
                    <a:pt x="3" y="4"/>
                  </a:cubicBezTo>
                  <a:cubicBezTo>
                    <a:pt x="3" y="5"/>
                    <a:pt x="3" y="5"/>
                    <a:pt x="3" y="5"/>
                  </a:cubicBezTo>
                  <a:cubicBezTo>
                    <a:pt x="3" y="7"/>
                    <a:pt x="3" y="7"/>
                    <a:pt x="3" y="7"/>
                  </a:cubicBezTo>
                  <a:moveTo>
                    <a:pt x="2" y="6"/>
                  </a:moveTo>
                  <a:cubicBezTo>
                    <a:pt x="2" y="6"/>
                    <a:pt x="2" y="6"/>
                    <a:pt x="2" y="6"/>
                  </a:cubicBezTo>
                  <a:cubicBezTo>
                    <a:pt x="2" y="6"/>
                    <a:pt x="2" y="6"/>
                    <a:pt x="2" y="6"/>
                  </a:cubicBezTo>
                  <a:cubicBezTo>
                    <a:pt x="2" y="4"/>
                    <a:pt x="2" y="4"/>
                    <a:pt x="2" y="4"/>
                  </a:cubicBezTo>
                  <a:cubicBezTo>
                    <a:pt x="2" y="4"/>
                    <a:pt x="2" y="4"/>
                    <a:pt x="2" y="4"/>
                  </a:cubicBezTo>
                  <a:cubicBezTo>
                    <a:pt x="2" y="6"/>
                    <a:pt x="2" y="6"/>
                    <a:pt x="2" y="6"/>
                  </a:cubicBezTo>
                  <a:moveTo>
                    <a:pt x="22" y="7"/>
                  </a:moveTo>
                  <a:cubicBezTo>
                    <a:pt x="22" y="4"/>
                    <a:pt x="22" y="4"/>
                    <a:pt x="22" y="4"/>
                  </a:cubicBezTo>
                  <a:cubicBezTo>
                    <a:pt x="22" y="4"/>
                    <a:pt x="22" y="4"/>
                    <a:pt x="22" y="4"/>
                  </a:cubicBezTo>
                  <a:cubicBezTo>
                    <a:pt x="23" y="4"/>
                    <a:pt x="23" y="4"/>
                    <a:pt x="24" y="3"/>
                  </a:cubicBezTo>
                  <a:cubicBezTo>
                    <a:pt x="24" y="4"/>
                    <a:pt x="24" y="5"/>
                    <a:pt x="24" y="6"/>
                  </a:cubicBezTo>
                  <a:cubicBezTo>
                    <a:pt x="23" y="6"/>
                    <a:pt x="23" y="7"/>
                    <a:pt x="22" y="7"/>
                  </a:cubicBezTo>
                  <a:moveTo>
                    <a:pt x="2" y="4"/>
                  </a:moveTo>
                  <a:cubicBezTo>
                    <a:pt x="2" y="4"/>
                    <a:pt x="2" y="4"/>
                    <a:pt x="2" y="4"/>
                  </a:cubicBezTo>
                  <a:cubicBezTo>
                    <a:pt x="1" y="3"/>
                    <a:pt x="1" y="3"/>
                    <a:pt x="1" y="3"/>
                  </a:cubicBezTo>
                  <a:cubicBezTo>
                    <a:pt x="2" y="3"/>
                    <a:pt x="2" y="3"/>
                    <a:pt x="2" y="3"/>
                  </a:cubicBezTo>
                  <a:cubicBezTo>
                    <a:pt x="2" y="4"/>
                    <a:pt x="2" y="4"/>
                    <a:pt x="2" y="4"/>
                  </a:cubicBezTo>
                  <a:moveTo>
                    <a:pt x="24" y="6"/>
                  </a:moveTo>
                  <a:cubicBezTo>
                    <a:pt x="24" y="5"/>
                    <a:pt x="24" y="4"/>
                    <a:pt x="24" y="3"/>
                  </a:cubicBezTo>
                  <a:cubicBezTo>
                    <a:pt x="25" y="3"/>
                    <a:pt x="25" y="3"/>
                    <a:pt x="25" y="3"/>
                  </a:cubicBezTo>
                  <a:cubicBezTo>
                    <a:pt x="25" y="5"/>
                    <a:pt x="25" y="5"/>
                    <a:pt x="25" y="5"/>
                  </a:cubicBezTo>
                  <a:cubicBezTo>
                    <a:pt x="25" y="5"/>
                    <a:pt x="25" y="5"/>
                    <a:pt x="25" y="5"/>
                  </a:cubicBezTo>
                  <a:cubicBezTo>
                    <a:pt x="25" y="5"/>
                    <a:pt x="25" y="5"/>
                    <a:pt x="24" y="6"/>
                  </a:cubicBezTo>
                  <a:moveTo>
                    <a:pt x="26" y="0"/>
                  </a:moveTo>
                  <a:cubicBezTo>
                    <a:pt x="25" y="0"/>
                    <a:pt x="25" y="0"/>
                    <a:pt x="25" y="0"/>
                  </a:cubicBezTo>
                  <a:cubicBezTo>
                    <a:pt x="25" y="2"/>
                    <a:pt x="25" y="2"/>
                    <a:pt x="25" y="2"/>
                  </a:cubicBezTo>
                  <a:cubicBezTo>
                    <a:pt x="25" y="2"/>
                    <a:pt x="25" y="2"/>
                    <a:pt x="25" y="2"/>
                  </a:cubicBezTo>
                  <a:cubicBezTo>
                    <a:pt x="21" y="5"/>
                    <a:pt x="17" y="5"/>
                    <a:pt x="12" y="5"/>
                  </a:cubicBezTo>
                  <a:cubicBezTo>
                    <a:pt x="11" y="5"/>
                    <a:pt x="10" y="5"/>
                    <a:pt x="9" y="5"/>
                  </a:cubicBezTo>
                  <a:cubicBezTo>
                    <a:pt x="7" y="5"/>
                    <a:pt x="4" y="4"/>
                    <a:pt x="2" y="2"/>
                  </a:cubicBezTo>
                  <a:cubicBezTo>
                    <a:pt x="1" y="2"/>
                    <a:pt x="1" y="2"/>
                    <a:pt x="1" y="2"/>
                  </a:cubicBezTo>
                  <a:cubicBezTo>
                    <a:pt x="2" y="1"/>
                    <a:pt x="2" y="1"/>
                    <a:pt x="2" y="1"/>
                  </a:cubicBezTo>
                  <a:cubicBezTo>
                    <a:pt x="1" y="1"/>
                    <a:pt x="1" y="1"/>
                    <a:pt x="1" y="1"/>
                  </a:cubicBezTo>
                  <a:cubicBezTo>
                    <a:pt x="1" y="1"/>
                    <a:pt x="1" y="1"/>
                    <a:pt x="1" y="1"/>
                  </a:cubicBezTo>
                  <a:cubicBezTo>
                    <a:pt x="1" y="1"/>
                    <a:pt x="1" y="1"/>
                    <a:pt x="1" y="1"/>
                  </a:cubicBezTo>
                  <a:cubicBezTo>
                    <a:pt x="0" y="1"/>
                    <a:pt x="0" y="2"/>
                    <a:pt x="1" y="2"/>
                  </a:cubicBezTo>
                  <a:cubicBezTo>
                    <a:pt x="0" y="3"/>
                    <a:pt x="1" y="4"/>
                    <a:pt x="1" y="5"/>
                  </a:cubicBezTo>
                  <a:cubicBezTo>
                    <a:pt x="1" y="5"/>
                    <a:pt x="1" y="5"/>
                    <a:pt x="1" y="5"/>
                  </a:cubicBezTo>
                  <a:cubicBezTo>
                    <a:pt x="1" y="6"/>
                    <a:pt x="1" y="6"/>
                    <a:pt x="2" y="7"/>
                  </a:cubicBezTo>
                  <a:cubicBezTo>
                    <a:pt x="3" y="8"/>
                    <a:pt x="6" y="10"/>
                    <a:pt x="12" y="10"/>
                  </a:cubicBezTo>
                  <a:cubicBezTo>
                    <a:pt x="14" y="10"/>
                    <a:pt x="19" y="10"/>
                    <a:pt x="22" y="8"/>
                  </a:cubicBezTo>
                  <a:cubicBezTo>
                    <a:pt x="22" y="8"/>
                    <a:pt x="22" y="8"/>
                    <a:pt x="22" y="8"/>
                  </a:cubicBezTo>
                  <a:cubicBezTo>
                    <a:pt x="23" y="8"/>
                    <a:pt x="23" y="8"/>
                    <a:pt x="23" y="8"/>
                  </a:cubicBezTo>
                  <a:cubicBezTo>
                    <a:pt x="23" y="8"/>
                    <a:pt x="23" y="8"/>
                    <a:pt x="23" y="8"/>
                  </a:cubicBezTo>
                  <a:cubicBezTo>
                    <a:pt x="23" y="8"/>
                    <a:pt x="24" y="7"/>
                    <a:pt x="24" y="7"/>
                  </a:cubicBezTo>
                  <a:cubicBezTo>
                    <a:pt x="24" y="7"/>
                    <a:pt x="24" y="7"/>
                    <a:pt x="24" y="7"/>
                  </a:cubicBezTo>
                  <a:cubicBezTo>
                    <a:pt x="24" y="7"/>
                    <a:pt x="24" y="7"/>
                    <a:pt x="24" y="7"/>
                  </a:cubicBezTo>
                  <a:cubicBezTo>
                    <a:pt x="24" y="7"/>
                    <a:pt x="24" y="7"/>
                    <a:pt x="24" y="7"/>
                  </a:cubicBezTo>
                  <a:cubicBezTo>
                    <a:pt x="25" y="6"/>
                    <a:pt x="26" y="6"/>
                    <a:pt x="26" y="5"/>
                  </a:cubicBezTo>
                  <a:cubicBezTo>
                    <a:pt x="26" y="4"/>
                    <a:pt x="26" y="4"/>
                    <a:pt x="26" y="4"/>
                  </a:cubicBezTo>
                  <a:cubicBezTo>
                    <a:pt x="26" y="4"/>
                    <a:pt x="26" y="4"/>
                    <a:pt x="26" y="4"/>
                  </a:cubicBezTo>
                  <a:cubicBezTo>
                    <a:pt x="26" y="0"/>
                    <a:pt x="26" y="0"/>
                    <a:pt x="26" y="0"/>
                  </a:cubicBezTo>
                  <a:cubicBezTo>
                    <a:pt x="26" y="0"/>
                    <a:pt x="26" y="0"/>
                    <a:pt x="2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22" name="ïṧľiďe"/>
            <p:cNvSpPr/>
            <p:nvPr/>
          </p:nvSpPr>
          <p:spPr bwMode="auto">
            <a:xfrm>
              <a:off x="3577" y="2536"/>
              <a:ext cx="62" cy="24"/>
            </a:xfrm>
            <a:custGeom>
              <a:avLst/>
              <a:gdLst>
                <a:gd name="T0" fmla="*/ 13 w 26"/>
                <a:gd name="T1" fmla="*/ 6 h 10"/>
                <a:gd name="T2" fmla="*/ 12 w 26"/>
                <a:gd name="T3" fmla="*/ 6 h 10"/>
                <a:gd name="T4" fmla="*/ 10 w 26"/>
                <a:gd name="T5" fmla="*/ 9 h 10"/>
                <a:gd name="T6" fmla="*/ 12 w 26"/>
                <a:gd name="T7" fmla="*/ 6 h 10"/>
                <a:gd name="T8" fmla="*/ 14 w 26"/>
                <a:gd name="T9" fmla="*/ 6 h 10"/>
                <a:gd name="T10" fmla="*/ 15 w 26"/>
                <a:gd name="T11" fmla="*/ 6 h 10"/>
                <a:gd name="T12" fmla="*/ 15 w 26"/>
                <a:gd name="T13" fmla="*/ 9 h 10"/>
                <a:gd name="T14" fmla="*/ 15 w 26"/>
                <a:gd name="T15" fmla="*/ 6 h 10"/>
                <a:gd name="T16" fmla="*/ 15 w 26"/>
                <a:gd name="T17" fmla="*/ 9 h 10"/>
                <a:gd name="T18" fmla="*/ 16 w 26"/>
                <a:gd name="T19" fmla="*/ 6 h 10"/>
                <a:gd name="T20" fmla="*/ 16 w 26"/>
                <a:gd name="T21" fmla="*/ 9 h 10"/>
                <a:gd name="T22" fmla="*/ 8 w 26"/>
                <a:gd name="T23" fmla="*/ 6 h 10"/>
                <a:gd name="T24" fmla="*/ 10 w 26"/>
                <a:gd name="T25" fmla="*/ 9 h 10"/>
                <a:gd name="T26" fmla="*/ 17 w 26"/>
                <a:gd name="T27" fmla="*/ 6 h 10"/>
                <a:gd name="T28" fmla="*/ 18 w 26"/>
                <a:gd name="T29" fmla="*/ 8 h 10"/>
                <a:gd name="T30" fmla="*/ 8 w 26"/>
                <a:gd name="T31" fmla="*/ 9 h 10"/>
                <a:gd name="T32" fmla="*/ 8 w 26"/>
                <a:gd name="T33" fmla="*/ 6 h 10"/>
                <a:gd name="T34" fmla="*/ 18 w 26"/>
                <a:gd name="T35" fmla="*/ 8 h 10"/>
                <a:gd name="T36" fmla="*/ 18 w 26"/>
                <a:gd name="T37" fmla="*/ 6 h 10"/>
                <a:gd name="T38" fmla="*/ 18 w 26"/>
                <a:gd name="T39" fmla="*/ 8 h 10"/>
                <a:gd name="T40" fmla="*/ 21 w 26"/>
                <a:gd name="T41" fmla="*/ 5 h 10"/>
                <a:gd name="T42" fmla="*/ 6 w 26"/>
                <a:gd name="T43" fmla="*/ 8 h 10"/>
                <a:gd name="T44" fmla="*/ 6 w 26"/>
                <a:gd name="T45" fmla="*/ 6 h 10"/>
                <a:gd name="T46" fmla="*/ 21 w 26"/>
                <a:gd name="T47" fmla="*/ 5 h 10"/>
                <a:gd name="T48" fmla="*/ 21 w 26"/>
                <a:gd name="T49" fmla="*/ 8 h 10"/>
                <a:gd name="T50" fmla="*/ 3 w 26"/>
                <a:gd name="T51" fmla="*/ 4 h 10"/>
                <a:gd name="T52" fmla="*/ 2 w 26"/>
                <a:gd name="T53" fmla="*/ 6 h 10"/>
                <a:gd name="T54" fmla="*/ 2 w 26"/>
                <a:gd name="T55" fmla="*/ 4 h 10"/>
                <a:gd name="T56" fmla="*/ 22 w 26"/>
                <a:gd name="T57" fmla="*/ 7 h 10"/>
                <a:gd name="T58" fmla="*/ 24 w 26"/>
                <a:gd name="T59" fmla="*/ 4 h 10"/>
                <a:gd name="T60" fmla="*/ 2 w 26"/>
                <a:gd name="T61" fmla="*/ 4 h 10"/>
                <a:gd name="T62" fmla="*/ 2 w 26"/>
                <a:gd name="T63" fmla="*/ 3 h 10"/>
                <a:gd name="T64" fmla="*/ 24 w 26"/>
                <a:gd name="T65" fmla="*/ 3 h 10"/>
                <a:gd name="T66" fmla="*/ 25 w 26"/>
                <a:gd name="T67" fmla="*/ 5 h 10"/>
                <a:gd name="T68" fmla="*/ 25 w 26"/>
                <a:gd name="T69" fmla="*/ 0 h 10"/>
                <a:gd name="T70" fmla="*/ 12 w 26"/>
                <a:gd name="T71" fmla="*/ 5 h 10"/>
                <a:gd name="T72" fmla="*/ 1 w 26"/>
                <a:gd name="T73" fmla="*/ 2 h 10"/>
                <a:gd name="T74" fmla="*/ 1 w 26"/>
                <a:gd name="T75" fmla="*/ 1 h 10"/>
                <a:gd name="T76" fmla="*/ 1 w 26"/>
                <a:gd name="T77" fmla="*/ 5 h 10"/>
                <a:gd name="T78" fmla="*/ 12 w 26"/>
                <a:gd name="T79" fmla="*/ 10 h 10"/>
                <a:gd name="T80" fmla="*/ 23 w 26"/>
                <a:gd name="T81" fmla="*/ 8 h 10"/>
                <a:gd name="T82" fmla="*/ 24 w 26"/>
                <a:gd name="T83" fmla="*/ 7 h 10"/>
                <a:gd name="T84" fmla="*/ 26 w 26"/>
                <a:gd name="T85" fmla="*/ 5 h 10"/>
                <a:gd name="T86" fmla="*/ 26 w 26"/>
                <a:gd name="T8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10">
                  <a:moveTo>
                    <a:pt x="12" y="6"/>
                  </a:moveTo>
                  <a:cubicBezTo>
                    <a:pt x="13" y="6"/>
                    <a:pt x="13" y="6"/>
                    <a:pt x="13" y="6"/>
                  </a:cubicBezTo>
                  <a:cubicBezTo>
                    <a:pt x="13" y="6"/>
                    <a:pt x="13" y="6"/>
                    <a:pt x="13" y="6"/>
                  </a:cubicBezTo>
                  <a:cubicBezTo>
                    <a:pt x="14" y="9"/>
                    <a:pt x="14" y="9"/>
                    <a:pt x="14" y="9"/>
                  </a:cubicBezTo>
                  <a:cubicBezTo>
                    <a:pt x="13" y="9"/>
                    <a:pt x="13" y="9"/>
                    <a:pt x="12" y="9"/>
                  </a:cubicBezTo>
                  <a:cubicBezTo>
                    <a:pt x="12" y="8"/>
                    <a:pt x="12" y="7"/>
                    <a:pt x="12" y="6"/>
                  </a:cubicBezTo>
                  <a:cubicBezTo>
                    <a:pt x="12" y="6"/>
                    <a:pt x="12" y="6"/>
                    <a:pt x="12" y="6"/>
                  </a:cubicBezTo>
                  <a:moveTo>
                    <a:pt x="12" y="9"/>
                  </a:moveTo>
                  <a:cubicBezTo>
                    <a:pt x="11" y="9"/>
                    <a:pt x="11" y="9"/>
                    <a:pt x="10" y="9"/>
                  </a:cubicBezTo>
                  <a:cubicBezTo>
                    <a:pt x="10" y="9"/>
                    <a:pt x="10" y="9"/>
                    <a:pt x="10" y="9"/>
                  </a:cubicBezTo>
                  <a:cubicBezTo>
                    <a:pt x="10" y="6"/>
                    <a:pt x="10" y="6"/>
                    <a:pt x="10" y="6"/>
                  </a:cubicBezTo>
                  <a:cubicBezTo>
                    <a:pt x="11" y="6"/>
                    <a:pt x="11" y="6"/>
                    <a:pt x="12" y="6"/>
                  </a:cubicBezTo>
                  <a:cubicBezTo>
                    <a:pt x="12" y="7"/>
                    <a:pt x="12" y="8"/>
                    <a:pt x="12" y="9"/>
                  </a:cubicBezTo>
                  <a:moveTo>
                    <a:pt x="14" y="9"/>
                  </a:moveTo>
                  <a:cubicBezTo>
                    <a:pt x="14" y="6"/>
                    <a:pt x="14" y="6"/>
                    <a:pt x="14" y="6"/>
                  </a:cubicBezTo>
                  <a:cubicBezTo>
                    <a:pt x="14" y="6"/>
                    <a:pt x="14" y="6"/>
                    <a:pt x="14" y="6"/>
                  </a:cubicBezTo>
                  <a:cubicBezTo>
                    <a:pt x="14" y="6"/>
                    <a:pt x="14" y="6"/>
                    <a:pt x="14" y="6"/>
                  </a:cubicBezTo>
                  <a:cubicBezTo>
                    <a:pt x="15" y="6"/>
                    <a:pt x="15" y="6"/>
                    <a:pt x="15" y="6"/>
                  </a:cubicBezTo>
                  <a:cubicBezTo>
                    <a:pt x="15" y="7"/>
                    <a:pt x="15" y="8"/>
                    <a:pt x="15" y="9"/>
                  </a:cubicBezTo>
                  <a:cubicBezTo>
                    <a:pt x="14" y="9"/>
                    <a:pt x="14" y="9"/>
                    <a:pt x="14" y="9"/>
                  </a:cubicBezTo>
                  <a:moveTo>
                    <a:pt x="15" y="9"/>
                  </a:moveTo>
                  <a:cubicBezTo>
                    <a:pt x="15" y="9"/>
                    <a:pt x="15" y="9"/>
                    <a:pt x="15" y="9"/>
                  </a:cubicBezTo>
                  <a:cubicBezTo>
                    <a:pt x="15" y="8"/>
                    <a:pt x="15" y="8"/>
                    <a:pt x="15" y="8"/>
                  </a:cubicBezTo>
                  <a:cubicBezTo>
                    <a:pt x="15" y="8"/>
                    <a:pt x="15" y="7"/>
                    <a:pt x="15" y="6"/>
                  </a:cubicBezTo>
                  <a:cubicBezTo>
                    <a:pt x="16" y="6"/>
                    <a:pt x="16" y="6"/>
                    <a:pt x="16" y="6"/>
                  </a:cubicBezTo>
                  <a:cubicBezTo>
                    <a:pt x="16" y="9"/>
                    <a:pt x="16" y="9"/>
                    <a:pt x="16" y="9"/>
                  </a:cubicBezTo>
                  <a:cubicBezTo>
                    <a:pt x="15" y="9"/>
                    <a:pt x="15" y="9"/>
                    <a:pt x="15" y="9"/>
                  </a:cubicBezTo>
                  <a:moveTo>
                    <a:pt x="16" y="9"/>
                  </a:moveTo>
                  <a:cubicBezTo>
                    <a:pt x="16" y="9"/>
                    <a:pt x="16" y="9"/>
                    <a:pt x="16" y="9"/>
                  </a:cubicBezTo>
                  <a:cubicBezTo>
                    <a:pt x="16" y="6"/>
                    <a:pt x="16" y="6"/>
                    <a:pt x="16" y="6"/>
                  </a:cubicBezTo>
                  <a:cubicBezTo>
                    <a:pt x="16" y="6"/>
                    <a:pt x="16" y="6"/>
                    <a:pt x="16" y="6"/>
                  </a:cubicBezTo>
                  <a:cubicBezTo>
                    <a:pt x="17" y="9"/>
                    <a:pt x="17" y="9"/>
                    <a:pt x="17" y="9"/>
                  </a:cubicBezTo>
                  <a:cubicBezTo>
                    <a:pt x="16" y="9"/>
                    <a:pt x="16" y="9"/>
                    <a:pt x="16" y="9"/>
                  </a:cubicBezTo>
                  <a:moveTo>
                    <a:pt x="10" y="9"/>
                  </a:moveTo>
                  <a:cubicBezTo>
                    <a:pt x="9" y="9"/>
                    <a:pt x="9" y="9"/>
                    <a:pt x="8" y="9"/>
                  </a:cubicBezTo>
                  <a:cubicBezTo>
                    <a:pt x="8" y="8"/>
                    <a:pt x="8" y="7"/>
                    <a:pt x="8" y="6"/>
                  </a:cubicBezTo>
                  <a:cubicBezTo>
                    <a:pt x="9" y="6"/>
                    <a:pt x="9" y="6"/>
                    <a:pt x="9" y="6"/>
                  </a:cubicBezTo>
                  <a:cubicBezTo>
                    <a:pt x="10" y="6"/>
                    <a:pt x="10" y="6"/>
                    <a:pt x="10" y="6"/>
                  </a:cubicBezTo>
                  <a:cubicBezTo>
                    <a:pt x="10" y="9"/>
                    <a:pt x="10" y="9"/>
                    <a:pt x="10" y="9"/>
                  </a:cubicBezTo>
                  <a:cubicBezTo>
                    <a:pt x="10" y="9"/>
                    <a:pt x="10" y="9"/>
                    <a:pt x="10" y="9"/>
                  </a:cubicBezTo>
                  <a:moveTo>
                    <a:pt x="17" y="9"/>
                  </a:moveTo>
                  <a:cubicBezTo>
                    <a:pt x="17" y="6"/>
                    <a:pt x="17" y="6"/>
                    <a:pt x="17" y="6"/>
                  </a:cubicBezTo>
                  <a:cubicBezTo>
                    <a:pt x="17" y="6"/>
                    <a:pt x="17" y="6"/>
                    <a:pt x="17" y="6"/>
                  </a:cubicBezTo>
                  <a:cubicBezTo>
                    <a:pt x="18" y="6"/>
                    <a:pt x="18" y="6"/>
                    <a:pt x="18" y="6"/>
                  </a:cubicBezTo>
                  <a:cubicBezTo>
                    <a:pt x="18" y="8"/>
                    <a:pt x="18" y="8"/>
                    <a:pt x="18" y="8"/>
                  </a:cubicBezTo>
                  <a:cubicBezTo>
                    <a:pt x="18" y="9"/>
                    <a:pt x="18" y="9"/>
                    <a:pt x="18" y="9"/>
                  </a:cubicBezTo>
                  <a:cubicBezTo>
                    <a:pt x="17" y="9"/>
                    <a:pt x="17" y="9"/>
                    <a:pt x="17" y="9"/>
                  </a:cubicBezTo>
                  <a:moveTo>
                    <a:pt x="8" y="9"/>
                  </a:moveTo>
                  <a:cubicBezTo>
                    <a:pt x="7" y="9"/>
                    <a:pt x="7" y="9"/>
                    <a:pt x="6" y="8"/>
                  </a:cubicBezTo>
                  <a:cubicBezTo>
                    <a:pt x="6" y="7"/>
                    <a:pt x="6" y="7"/>
                    <a:pt x="6" y="6"/>
                  </a:cubicBezTo>
                  <a:cubicBezTo>
                    <a:pt x="7" y="6"/>
                    <a:pt x="7" y="6"/>
                    <a:pt x="8" y="6"/>
                  </a:cubicBezTo>
                  <a:cubicBezTo>
                    <a:pt x="8" y="7"/>
                    <a:pt x="8" y="8"/>
                    <a:pt x="8" y="9"/>
                  </a:cubicBezTo>
                  <a:moveTo>
                    <a:pt x="18" y="8"/>
                  </a:moveTo>
                  <a:cubicBezTo>
                    <a:pt x="18" y="8"/>
                    <a:pt x="18" y="8"/>
                    <a:pt x="18" y="8"/>
                  </a:cubicBezTo>
                  <a:cubicBezTo>
                    <a:pt x="18" y="8"/>
                    <a:pt x="18" y="8"/>
                    <a:pt x="18" y="8"/>
                  </a:cubicBezTo>
                  <a:cubicBezTo>
                    <a:pt x="18" y="6"/>
                    <a:pt x="18" y="6"/>
                    <a:pt x="18" y="6"/>
                  </a:cubicBezTo>
                  <a:cubicBezTo>
                    <a:pt x="18" y="6"/>
                    <a:pt x="18" y="6"/>
                    <a:pt x="18" y="6"/>
                  </a:cubicBezTo>
                  <a:cubicBezTo>
                    <a:pt x="19" y="6"/>
                    <a:pt x="19" y="6"/>
                    <a:pt x="19" y="6"/>
                  </a:cubicBezTo>
                  <a:cubicBezTo>
                    <a:pt x="19" y="6"/>
                    <a:pt x="19" y="7"/>
                    <a:pt x="19" y="8"/>
                  </a:cubicBezTo>
                  <a:cubicBezTo>
                    <a:pt x="18" y="8"/>
                    <a:pt x="18" y="8"/>
                    <a:pt x="18" y="8"/>
                  </a:cubicBezTo>
                  <a:moveTo>
                    <a:pt x="20" y="8"/>
                  </a:moveTo>
                  <a:cubicBezTo>
                    <a:pt x="19" y="7"/>
                    <a:pt x="19" y="6"/>
                    <a:pt x="20" y="5"/>
                  </a:cubicBezTo>
                  <a:cubicBezTo>
                    <a:pt x="21" y="5"/>
                    <a:pt x="21" y="5"/>
                    <a:pt x="21" y="5"/>
                  </a:cubicBezTo>
                  <a:cubicBezTo>
                    <a:pt x="21" y="6"/>
                    <a:pt x="21" y="7"/>
                    <a:pt x="21" y="8"/>
                  </a:cubicBezTo>
                  <a:cubicBezTo>
                    <a:pt x="20" y="8"/>
                    <a:pt x="20" y="8"/>
                    <a:pt x="20" y="8"/>
                  </a:cubicBezTo>
                  <a:moveTo>
                    <a:pt x="6" y="8"/>
                  </a:moveTo>
                  <a:cubicBezTo>
                    <a:pt x="5" y="8"/>
                    <a:pt x="4" y="8"/>
                    <a:pt x="4" y="7"/>
                  </a:cubicBezTo>
                  <a:cubicBezTo>
                    <a:pt x="4" y="5"/>
                    <a:pt x="4" y="5"/>
                    <a:pt x="4" y="5"/>
                  </a:cubicBezTo>
                  <a:cubicBezTo>
                    <a:pt x="4" y="5"/>
                    <a:pt x="5" y="5"/>
                    <a:pt x="6" y="6"/>
                  </a:cubicBezTo>
                  <a:cubicBezTo>
                    <a:pt x="6" y="6"/>
                    <a:pt x="6" y="7"/>
                    <a:pt x="6" y="8"/>
                  </a:cubicBezTo>
                  <a:moveTo>
                    <a:pt x="21" y="8"/>
                  </a:moveTo>
                  <a:cubicBezTo>
                    <a:pt x="21" y="7"/>
                    <a:pt x="21" y="6"/>
                    <a:pt x="21" y="5"/>
                  </a:cubicBezTo>
                  <a:cubicBezTo>
                    <a:pt x="22" y="5"/>
                    <a:pt x="22" y="5"/>
                    <a:pt x="22" y="5"/>
                  </a:cubicBezTo>
                  <a:cubicBezTo>
                    <a:pt x="22" y="7"/>
                    <a:pt x="22" y="7"/>
                    <a:pt x="22" y="7"/>
                  </a:cubicBezTo>
                  <a:cubicBezTo>
                    <a:pt x="21" y="8"/>
                    <a:pt x="21" y="8"/>
                    <a:pt x="21" y="8"/>
                  </a:cubicBezTo>
                  <a:moveTo>
                    <a:pt x="3" y="7"/>
                  </a:moveTo>
                  <a:cubicBezTo>
                    <a:pt x="3" y="7"/>
                    <a:pt x="3" y="7"/>
                    <a:pt x="3" y="7"/>
                  </a:cubicBezTo>
                  <a:cubicBezTo>
                    <a:pt x="3" y="4"/>
                    <a:pt x="3" y="4"/>
                    <a:pt x="3" y="4"/>
                  </a:cubicBezTo>
                  <a:cubicBezTo>
                    <a:pt x="3" y="5"/>
                    <a:pt x="3" y="5"/>
                    <a:pt x="3" y="5"/>
                  </a:cubicBezTo>
                  <a:cubicBezTo>
                    <a:pt x="3" y="7"/>
                    <a:pt x="3" y="7"/>
                    <a:pt x="3" y="7"/>
                  </a:cubicBezTo>
                  <a:moveTo>
                    <a:pt x="2" y="6"/>
                  </a:moveTo>
                  <a:cubicBezTo>
                    <a:pt x="2" y="6"/>
                    <a:pt x="2" y="6"/>
                    <a:pt x="2" y="6"/>
                  </a:cubicBezTo>
                  <a:cubicBezTo>
                    <a:pt x="2" y="6"/>
                    <a:pt x="2" y="6"/>
                    <a:pt x="2" y="6"/>
                  </a:cubicBezTo>
                  <a:cubicBezTo>
                    <a:pt x="2" y="4"/>
                    <a:pt x="2" y="4"/>
                    <a:pt x="2" y="4"/>
                  </a:cubicBezTo>
                  <a:cubicBezTo>
                    <a:pt x="2" y="4"/>
                    <a:pt x="2" y="4"/>
                    <a:pt x="2" y="4"/>
                  </a:cubicBezTo>
                  <a:cubicBezTo>
                    <a:pt x="2" y="6"/>
                    <a:pt x="2" y="6"/>
                    <a:pt x="2" y="6"/>
                  </a:cubicBezTo>
                  <a:moveTo>
                    <a:pt x="22" y="7"/>
                  </a:moveTo>
                  <a:cubicBezTo>
                    <a:pt x="22" y="4"/>
                    <a:pt x="22" y="4"/>
                    <a:pt x="22" y="4"/>
                  </a:cubicBezTo>
                  <a:cubicBezTo>
                    <a:pt x="22" y="4"/>
                    <a:pt x="22" y="4"/>
                    <a:pt x="22" y="4"/>
                  </a:cubicBezTo>
                  <a:cubicBezTo>
                    <a:pt x="23" y="4"/>
                    <a:pt x="23" y="4"/>
                    <a:pt x="24" y="4"/>
                  </a:cubicBezTo>
                  <a:cubicBezTo>
                    <a:pt x="24" y="4"/>
                    <a:pt x="24" y="5"/>
                    <a:pt x="24" y="6"/>
                  </a:cubicBezTo>
                  <a:cubicBezTo>
                    <a:pt x="23" y="7"/>
                    <a:pt x="23" y="7"/>
                    <a:pt x="22" y="7"/>
                  </a:cubicBezTo>
                  <a:moveTo>
                    <a:pt x="2" y="4"/>
                  </a:moveTo>
                  <a:cubicBezTo>
                    <a:pt x="2" y="4"/>
                    <a:pt x="2" y="4"/>
                    <a:pt x="2" y="4"/>
                  </a:cubicBezTo>
                  <a:cubicBezTo>
                    <a:pt x="1" y="3"/>
                    <a:pt x="1" y="3"/>
                    <a:pt x="1" y="3"/>
                  </a:cubicBezTo>
                  <a:cubicBezTo>
                    <a:pt x="2" y="3"/>
                    <a:pt x="2" y="3"/>
                    <a:pt x="2" y="3"/>
                  </a:cubicBezTo>
                  <a:cubicBezTo>
                    <a:pt x="2" y="4"/>
                    <a:pt x="2" y="4"/>
                    <a:pt x="2" y="4"/>
                  </a:cubicBezTo>
                  <a:moveTo>
                    <a:pt x="24" y="6"/>
                  </a:moveTo>
                  <a:cubicBezTo>
                    <a:pt x="24" y="5"/>
                    <a:pt x="24" y="4"/>
                    <a:pt x="24" y="3"/>
                  </a:cubicBezTo>
                  <a:cubicBezTo>
                    <a:pt x="25" y="3"/>
                    <a:pt x="25" y="3"/>
                    <a:pt x="25" y="3"/>
                  </a:cubicBezTo>
                  <a:cubicBezTo>
                    <a:pt x="25" y="5"/>
                    <a:pt x="25" y="5"/>
                    <a:pt x="25" y="5"/>
                  </a:cubicBezTo>
                  <a:cubicBezTo>
                    <a:pt x="25" y="5"/>
                    <a:pt x="25" y="5"/>
                    <a:pt x="25" y="5"/>
                  </a:cubicBezTo>
                  <a:cubicBezTo>
                    <a:pt x="25" y="5"/>
                    <a:pt x="25" y="6"/>
                    <a:pt x="24" y="6"/>
                  </a:cubicBezTo>
                  <a:moveTo>
                    <a:pt x="26" y="0"/>
                  </a:moveTo>
                  <a:cubicBezTo>
                    <a:pt x="25" y="0"/>
                    <a:pt x="25" y="0"/>
                    <a:pt x="25" y="0"/>
                  </a:cubicBezTo>
                  <a:cubicBezTo>
                    <a:pt x="25" y="2"/>
                    <a:pt x="25" y="2"/>
                    <a:pt x="25" y="2"/>
                  </a:cubicBezTo>
                  <a:cubicBezTo>
                    <a:pt x="25" y="2"/>
                    <a:pt x="25" y="2"/>
                    <a:pt x="25" y="2"/>
                  </a:cubicBezTo>
                  <a:cubicBezTo>
                    <a:pt x="21" y="5"/>
                    <a:pt x="17" y="5"/>
                    <a:pt x="12" y="5"/>
                  </a:cubicBezTo>
                  <a:cubicBezTo>
                    <a:pt x="11" y="5"/>
                    <a:pt x="10" y="5"/>
                    <a:pt x="9" y="5"/>
                  </a:cubicBezTo>
                  <a:cubicBezTo>
                    <a:pt x="7" y="5"/>
                    <a:pt x="4" y="5"/>
                    <a:pt x="2" y="3"/>
                  </a:cubicBezTo>
                  <a:cubicBezTo>
                    <a:pt x="1" y="2"/>
                    <a:pt x="1" y="2"/>
                    <a:pt x="1" y="2"/>
                  </a:cubicBezTo>
                  <a:cubicBezTo>
                    <a:pt x="2" y="1"/>
                    <a:pt x="2" y="1"/>
                    <a:pt x="2" y="1"/>
                  </a:cubicBezTo>
                  <a:cubicBezTo>
                    <a:pt x="1" y="1"/>
                    <a:pt x="1" y="1"/>
                    <a:pt x="1" y="1"/>
                  </a:cubicBezTo>
                  <a:cubicBezTo>
                    <a:pt x="1" y="1"/>
                    <a:pt x="1" y="1"/>
                    <a:pt x="1" y="1"/>
                  </a:cubicBezTo>
                  <a:cubicBezTo>
                    <a:pt x="1" y="1"/>
                    <a:pt x="1" y="1"/>
                    <a:pt x="1" y="1"/>
                  </a:cubicBezTo>
                  <a:cubicBezTo>
                    <a:pt x="0" y="1"/>
                    <a:pt x="0" y="2"/>
                    <a:pt x="1" y="2"/>
                  </a:cubicBezTo>
                  <a:cubicBezTo>
                    <a:pt x="0" y="3"/>
                    <a:pt x="1" y="4"/>
                    <a:pt x="1" y="5"/>
                  </a:cubicBezTo>
                  <a:cubicBezTo>
                    <a:pt x="1" y="5"/>
                    <a:pt x="1" y="5"/>
                    <a:pt x="1" y="5"/>
                  </a:cubicBezTo>
                  <a:cubicBezTo>
                    <a:pt x="1" y="6"/>
                    <a:pt x="1" y="7"/>
                    <a:pt x="2" y="7"/>
                  </a:cubicBezTo>
                  <a:cubicBezTo>
                    <a:pt x="3" y="8"/>
                    <a:pt x="6" y="10"/>
                    <a:pt x="12" y="10"/>
                  </a:cubicBezTo>
                  <a:cubicBezTo>
                    <a:pt x="14" y="10"/>
                    <a:pt x="19" y="10"/>
                    <a:pt x="22" y="8"/>
                  </a:cubicBezTo>
                  <a:cubicBezTo>
                    <a:pt x="22" y="8"/>
                    <a:pt x="22" y="8"/>
                    <a:pt x="22" y="8"/>
                  </a:cubicBezTo>
                  <a:cubicBezTo>
                    <a:pt x="23" y="8"/>
                    <a:pt x="23" y="8"/>
                    <a:pt x="23" y="8"/>
                  </a:cubicBezTo>
                  <a:cubicBezTo>
                    <a:pt x="23" y="8"/>
                    <a:pt x="23" y="8"/>
                    <a:pt x="23" y="8"/>
                  </a:cubicBezTo>
                  <a:cubicBezTo>
                    <a:pt x="23" y="8"/>
                    <a:pt x="24" y="7"/>
                    <a:pt x="24" y="7"/>
                  </a:cubicBezTo>
                  <a:cubicBezTo>
                    <a:pt x="24" y="7"/>
                    <a:pt x="24" y="7"/>
                    <a:pt x="24" y="7"/>
                  </a:cubicBezTo>
                  <a:cubicBezTo>
                    <a:pt x="24" y="7"/>
                    <a:pt x="24" y="7"/>
                    <a:pt x="24" y="7"/>
                  </a:cubicBezTo>
                  <a:cubicBezTo>
                    <a:pt x="24" y="7"/>
                    <a:pt x="24" y="7"/>
                    <a:pt x="24" y="7"/>
                  </a:cubicBezTo>
                  <a:cubicBezTo>
                    <a:pt x="25" y="6"/>
                    <a:pt x="26" y="6"/>
                    <a:pt x="26" y="5"/>
                  </a:cubicBezTo>
                  <a:cubicBezTo>
                    <a:pt x="26" y="4"/>
                    <a:pt x="26" y="4"/>
                    <a:pt x="26" y="4"/>
                  </a:cubicBezTo>
                  <a:cubicBezTo>
                    <a:pt x="26" y="4"/>
                    <a:pt x="26" y="4"/>
                    <a:pt x="26" y="4"/>
                  </a:cubicBezTo>
                  <a:cubicBezTo>
                    <a:pt x="26" y="0"/>
                    <a:pt x="26" y="0"/>
                    <a:pt x="26" y="0"/>
                  </a:cubicBezTo>
                  <a:cubicBezTo>
                    <a:pt x="26" y="0"/>
                    <a:pt x="26" y="0"/>
                    <a:pt x="2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23" name="íšļiḑe"/>
            <p:cNvSpPr/>
            <p:nvPr/>
          </p:nvSpPr>
          <p:spPr bwMode="auto">
            <a:xfrm>
              <a:off x="3577" y="2550"/>
              <a:ext cx="62" cy="24"/>
            </a:xfrm>
            <a:custGeom>
              <a:avLst/>
              <a:gdLst>
                <a:gd name="T0" fmla="*/ 13 w 26"/>
                <a:gd name="T1" fmla="*/ 7 h 10"/>
                <a:gd name="T2" fmla="*/ 12 w 26"/>
                <a:gd name="T3" fmla="*/ 6 h 10"/>
                <a:gd name="T4" fmla="*/ 10 w 26"/>
                <a:gd name="T5" fmla="*/ 9 h 10"/>
                <a:gd name="T6" fmla="*/ 12 w 26"/>
                <a:gd name="T7" fmla="*/ 6 h 10"/>
                <a:gd name="T8" fmla="*/ 14 w 26"/>
                <a:gd name="T9" fmla="*/ 7 h 10"/>
                <a:gd name="T10" fmla="*/ 15 w 26"/>
                <a:gd name="T11" fmla="*/ 6 h 10"/>
                <a:gd name="T12" fmla="*/ 15 w 26"/>
                <a:gd name="T13" fmla="*/ 9 h 10"/>
                <a:gd name="T14" fmla="*/ 15 w 26"/>
                <a:gd name="T15" fmla="*/ 6 h 10"/>
                <a:gd name="T16" fmla="*/ 15 w 26"/>
                <a:gd name="T17" fmla="*/ 9 h 10"/>
                <a:gd name="T18" fmla="*/ 16 w 26"/>
                <a:gd name="T19" fmla="*/ 6 h 10"/>
                <a:gd name="T20" fmla="*/ 16 w 26"/>
                <a:gd name="T21" fmla="*/ 9 h 10"/>
                <a:gd name="T22" fmla="*/ 8 w 26"/>
                <a:gd name="T23" fmla="*/ 6 h 10"/>
                <a:gd name="T24" fmla="*/ 10 w 26"/>
                <a:gd name="T25" fmla="*/ 9 h 10"/>
                <a:gd name="T26" fmla="*/ 17 w 26"/>
                <a:gd name="T27" fmla="*/ 6 h 10"/>
                <a:gd name="T28" fmla="*/ 18 w 26"/>
                <a:gd name="T29" fmla="*/ 8 h 10"/>
                <a:gd name="T30" fmla="*/ 8 w 26"/>
                <a:gd name="T31" fmla="*/ 9 h 10"/>
                <a:gd name="T32" fmla="*/ 8 w 26"/>
                <a:gd name="T33" fmla="*/ 6 h 10"/>
                <a:gd name="T34" fmla="*/ 18 w 26"/>
                <a:gd name="T35" fmla="*/ 8 h 10"/>
                <a:gd name="T36" fmla="*/ 18 w 26"/>
                <a:gd name="T37" fmla="*/ 6 h 10"/>
                <a:gd name="T38" fmla="*/ 18 w 26"/>
                <a:gd name="T39" fmla="*/ 9 h 10"/>
                <a:gd name="T40" fmla="*/ 21 w 26"/>
                <a:gd name="T41" fmla="*/ 5 h 10"/>
                <a:gd name="T42" fmla="*/ 6 w 26"/>
                <a:gd name="T43" fmla="*/ 8 h 10"/>
                <a:gd name="T44" fmla="*/ 6 w 26"/>
                <a:gd name="T45" fmla="*/ 6 h 10"/>
                <a:gd name="T46" fmla="*/ 21 w 26"/>
                <a:gd name="T47" fmla="*/ 5 h 10"/>
                <a:gd name="T48" fmla="*/ 21 w 26"/>
                <a:gd name="T49" fmla="*/ 8 h 10"/>
                <a:gd name="T50" fmla="*/ 3 w 26"/>
                <a:gd name="T51" fmla="*/ 4 h 10"/>
                <a:gd name="T52" fmla="*/ 2 w 26"/>
                <a:gd name="T53" fmla="*/ 6 h 10"/>
                <a:gd name="T54" fmla="*/ 2 w 26"/>
                <a:gd name="T55" fmla="*/ 4 h 10"/>
                <a:gd name="T56" fmla="*/ 22 w 26"/>
                <a:gd name="T57" fmla="*/ 7 h 10"/>
                <a:gd name="T58" fmla="*/ 24 w 26"/>
                <a:gd name="T59" fmla="*/ 4 h 10"/>
                <a:gd name="T60" fmla="*/ 2 w 26"/>
                <a:gd name="T61" fmla="*/ 4 h 10"/>
                <a:gd name="T62" fmla="*/ 2 w 26"/>
                <a:gd name="T63" fmla="*/ 4 h 10"/>
                <a:gd name="T64" fmla="*/ 24 w 26"/>
                <a:gd name="T65" fmla="*/ 3 h 10"/>
                <a:gd name="T66" fmla="*/ 25 w 26"/>
                <a:gd name="T67" fmla="*/ 5 h 10"/>
                <a:gd name="T68" fmla="*/ 25 w 26"/>
                <a:gd name="T69" fmla="*/ 0 h 10"/>
                <a:gd name="T70" fmla="*/ 12 w 26"/>
                <a:gd name="T71" fmla="*/ 6 h 10"/>
                <a:gd name="T72" fmla="*/ 1 w 26"/>
                <a:gd name="T73" fmla="*/ 2 h 10"/>
                <a:gd name="T74" fmla="*/ 1 w 26"/>
                <a:gd name="T75" fmla="*/ 1 h 10"/>
                <a:gd name="T76" fmla="*/ 1 w 26"/>
                <a:gd name="T77" fmla="*/ 5 h 10"/>
                <a:gd name="T78" fmla="*/ 12 w 26"/>
                <a:gd name="T79" fmla="*/ 10 h 10"/>
                <a:gd name="T80" fmla="*/ 23 w 26"/>
                <a:gd name="T81" fmla="*/ 8 h 10"/>
                <a:gd name="T82" fmla="*/ 24 w 26"/>
                <a:gd name="T83" fmla="*/ 7 h 10"/>
                <a:gd name="T84" fmla="*/ 26 w 26"/>
                <a:gd name="T85" fmla="*/ 5 h 10"/>
                <a:gd name="T86" fmla="*/ 26 w 26"/>
                <a:gd name="T8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10">
                  <a:moveTo>
                    <a:pt x="12" y="6"/>
                  </a:moveTo>
                  <a:cubicBezTo>
                    <a:pt x="13" y="6"/>
                    <a:pt x="13" y="6"/>
                    <a:pt x="13" y="6"/>
                  </a:cubicBezTo>
                  <a:cubicBezTo>
                    <a:pt x="13" y="7"/>
                    <a:pt x="13" y="7"/>
                    <a:pt x="13" y="7"/>
                  </a:cubicBezTo>
                  <a:cubicBezTo>
                    <a:pt x="14" y="9"/>
                    <a:pt x="14" y="9"/>
                    <a:pt x="14" y="9"/>
                  </a:cubicBezTo>
                  <a:cubicBezTo>
                    <a:pt x="13" y="9"/>
                    <a:pt x="13" y="9"/>
                    <a:pt x="12" y="9"/>
                  </a:cubicBezTo>
                  <a:cubicBezTo>
                    <a:pt x="12" y="8"/>
                    <a:pt x="12" y="7"/>
                    <a:pt x="12" y="6"/>
                  </a:cubicBezTo>
                  <a:cubicBezTo>
                    <a:pt x="12" y="6"/>
                    <a:pt x="12" y="6"/>
                    <a:pt x="12" y="6"/>
                  </a:cubicBezTo>
                  <a:moveTo>
                    <a:pt x="12" y="9"/>
                  </a:moveTo>
                  <a:cubicBezTo>
                    <a:pt x="11" y="9"/>
                    <a:pt x="11" y="9"/>
                    <a:pt x="10" y="9"/>
                  </a:cubicBezTo>
                  <a:cubicBezTo>
                    <a:pt x="10" y="9"/>
                    <a:pt x="10" y="9"/>
                    <a:pt x="10" y="9"/>
                  </a:cubicBezTo>
                  <a:cubicBezTo>
                    <a:pt x="10" y="6"/>
                    <a:pt x="10" y="6"/>
                    <a:pt x="10" y="6"/>
                  </a:cubicBezTo>
                  <a:cubicBezTo>
                    <a:pt x="11" y="6"/>
                    <a:pt x="11" y="6"/>
                    <a:pt x="12" y="6"/>
                  </a:cubicBezTo>
                  <a:cubicBezTo>
                    <a:pt x="12" y="7"/>
                    <a:pt x="12" y="8"/>
                    <a:pt x="12" y="9"/>
                  </a:cubicBezTo>
                  <a:moveTo>
                    <a:pt x="14" y="9"/>
                  </a:moveTo>
                  <a:cubicBezTo>
                    <a:pt x="14" y="7"/>
                    <a:pt x="14" y="7"/>
                    <a:pt x="14" y="7"/>
                  </a:cubicBezTo>
                  <a:cubicBezTo>
                    <a:pt x="14" y="6"/>
                    <a:pt x="14" y="6"/>
                    <a:pt x="14" y="6"/>
                  </a:cubicBezTo>
                  <a:cubicBezTo>
                    <a:pt x="14" y="6"/>
                    <a:pt x="14" y="6"/>
                    <a:pt x="14" y="6"/>
                  </a:cubicBezTo>
                  <a:cubicBezTo>
                    <a:pt x="15" y="6"/>
                    <a:pt x="15" y="6"/>
                    <a:pt x="15" y="6"/>
                  </a:cubicBezTo>
                  <a:cubicBezTo>
                    <a:pt x="15" y="7"/>
                    <a:pt x="15" y="8"/>
                    <a:pt x="15" y="9"/>
                  </a:cubicBezTo>
                  <a:cubicBezTo>
                    <a:pt x="14" y="9"/>
                    <a:pt x="14" y="9"/>
                    <a:pt x="14" y="9"/>
                  </a:cubicBezTo>
                  <a:moveTo>
                    <a:pt x="15" y="9"/>
                  </a:moveTo>
                  <a:cubicBezTo>
                    <a:pt x="15" y="9"/>
                    <a:pt x="15" y="9"/>
                    <a:pt x="15" y="9"/>
                  </a:cubicBezTo>
                  <a:cubicBezTo>
                    <a:pt x="15" y="8"/>
                    <a:pt x="15" y="8"/>
                    <a:pt x="15" y="8"/>
                  </a:cubicBezTo>
                  <a:cubicBezTo>
                    <a:pt x="15" y="8"/>
                    <a:pt x="15" y="7"/>
                    <a:pt x="15" y="6"/>
                  </a:cubicBezTo>
                  <a:cubicBezTo>
                    <a:pt x="16" y="6"/>
                    <a:pt x="16" y="6"/>
                    <a:pt x="16" y="6"/>
                  </a:cubicBezTo>
                  <a:cubicBezTo>
                    <a:pt x="16" y="9"/>
                    <a:pt x="16" y="9"/>
                    <a:pt x="16" y="9"/>
                  </a:cubicBezTo>
                  <a:cubicBezTo>
                    <a:pt x="15" y="9"/>
                    <a:pt x="15" y="9"/>
                    <a:pt x="15" y="9"/>
                  </a:cubicBezTo>
                  <a:moveTo>
                    <a:pt x="16" y="9"/>
                  </a:moveTo>
                  <a:cubicBezTo>
                    <a:pt x="16" y="9"/>
                    <a:pt x="16" y="9"/>
                    <a:pt x="16" y="9"/>
                  </a:cubicBezTo>
                  <a:cubicBezTo>
                    <a:pt x="16" y="6"/>
                    <a:pt x="16" y="6"/>
                    <a:pt x="16" y="6"/>
                  </a:cubicBezTo>
                  <a:cubicBezTo>
                    <a:pt x="16" y="6"/>
                    <a:pt x="16" y="6"/>
                    <a:pt x="16" y="6"/>
                  </a:cubicBezTo>
                  <a:cubicBezTo>
                    <a:pt x="17" y="9"/>
                    <a:pt x="17" y="9"/>
                    <a:pt x="17" y="9"/>
                  </a:cubicBezTo>
                  <a:cubicBezTo>
                    <a:pt x="16" y="9"/>
                    <a:pt x="16" y="9"/>
                    <a:pt x="16" y="9"/>
                  </a:cubicBezTo>
                  <a:moveTo>
                    <a:pt x="10" y="9"/>
                  </a:moveTo>
                  <a:cubicBezTo>
                    <a:pt x="9" y="9"/>
                    <a:pt x="9" y="9"/>
                    <a:pt x="8" y="9"/>
                  </a:cubicBezTo>
                  <a:cubicBezTo>
                    <a:pt x="8" y="8"/>
                    <a:pt x="8" y="7"/>
                    <a:pt x="8" y="6"/>
                  </a:cubicBezTo>
                  <a:cubicBezTo>
                    <a:pt x="9" y="6"/>
                    <a:pt x="9" y="6"/>
                    <a:pt x="9" y="6"/>
                  </a:cubicBezTo>
                  <a:cubicBezTo>
                    <a:pt x="10" y="6"/>
                    <a:pt x="10" y="6"/>
                    <a:pt x="10" y="6"/>
                  </a:cubicBezTo>
                  <a:cubicBezTo>
                    <a:pt x="10" y="9"/>
                    <a:pt x="10" y="9"/>
                    <a:pt x="10" y="9"/>
                  </a:cubicBezTo>
                  <a:cubicBezTo>
                    <a:pt x="10" y="9"/>
                    <a:pt x="10" y="9"/>
                    <a:pt x="10" y="9"/>
                  </a:cubicBezTo>
                  <a:moveTo>
                    <a:pt x="17" y="9"/>
                  </a:moveTo>
                  <a:cubicBezTo>
                    <a:pt x="17" y="6"/>
                    <a:pt x="17" y="6"/>
                    <a:pt x="17" y="6"/>
                  </a:cubicBezTo>
                  <a:cubicBezTo>
                    <a:pt x="17" y="6"/>
                    <a:pt x="17" y="6"/>
                    <a:pt x="17" y="6"/>
                  </a:cubicBezTo>
                  <a:cubicBezTo>
                    <a:pt x="18" y="6"/>
                    <a:pt x="18" y="6"/>
                    <a:pt x="18" y="6"/>
                  </a:cubicBezTo>
                  <a:cubicBezTo>
                    <a:pt x="18" y="8"/>
                    <a:pt x="18" y="8"/>
                    <a:pt x="18" y="8"/>
                  </a:cubicBezTo>
                  <a:cubicBezTo>
                    <a:pt x="18" y="9"/>
                    <a:pt x="18" y="9"/>
                    <a:pt x="18" y="9"/>
                  </a:cubicBezTo>
                  <a:cubicBezTo>
                    <a:pt x="17" y="9"/>
                    <a:pt x="17" y="9"/>
                    <a:pt x="17" y="9"/>
                  </a:cubicBezTo>
                  <a:moveTo>
                    <a:pt x="8" y="9"/>
                  </a:moveTo>
                  <a:cubicBezTo>
                    <a:pt x="7" y="9"/>
                    <a:pt x="7" y="9"/>
                    <a:pt x="6" y="8"/>
                  </a:cubicBezTo>
                  <a:cubicBezTo>
                    <a:pt x="6" y="8"/>
                    <a:pt x="6" y="7"/>
                    <a:pt x="6" y="6"/>
                  </a:cubicBezTo>
                  <a:cubicBezTo>
                    <a:pt x="7" y="6"/>
                    <a:pt x="7" y="6"/>
                    <a:pt x="8" y="6"/>
                  </a:cubicBezTo>
                  <a:cubicBezTo>
                    <a:pt x="8" y="7"/>
                    <a:pt x="8" y="8"/>
                    <a:pt x="8" y="9"/>
                  </a:cubicBezTo>
                  <a:moveTo>
                    <a:pt x="18" y="9"/>
                  </a:moveTo>
                  <a:cubicBezTo>
                    <a:pt x="18" y="8"/>
                    <a:pt x="18" y="8"/>
                    <a:pt x="18" y="8"/>
                  </a:cubicBezTo>
                  <a:cubicBezTo>
                    <a:pt x="18" y="8"/>
                    <a:pt x="18" y="8"/>
                    <a:pt x="18" y="8"/>
                  </a:cubicBezTo>
                  <a:cubicBezTo>
                    <a:pt x="18" y="6"/>
                    <a:pt x="18" y="6"/>
                    <a:pt x="18" y="6"/>
                  </a:cubicBezTo>
                  <a:cubicBezTo>
                    <a:pt x="18" y="6"/>
                    <a:pt x="18" y="6"/>
                    <a:pt x="18" y="6"/>
                  </a:cubicBezTo>
                  <a:cubicBezTo>
                    <a:pt x="19" y="6"/>
                    <a:pt x="19" y="6"/>
                    <a:pt x="19" y="6"/>
                  </a:cubicBezTo>
                  <a:cubicBezTo>
                    <a:pt x="19" y="7"/>
                    <a:pt x="19" y="7"/>
                    <a:pt x="19" y="8"/>
                  </a:cubicBezTo>
                  <a:cubicBezTo>
                    <a:pt x="18" y="9"/>
                    <a:pt x="18" y="9"/>
                    <a:pt x="18" y="9"/>
                  </a:cubicBezTo>
                  <a:moveTo>
                    <a:pt x="20" y="8"/>
                  </a:moveTo>
                  <a:cubicBezTo>
                    <a:pt x="19" y="7"/>
                    <a:pt x="19" y="6"/>
                    <a:pt x="20" y="5"/>
                  </a:cubicBezTo>
                  <a:cubicBezTo>
                    <a:pt x="21" y="5"/>
                    <a:pt x="21" y="5"/>
                    <a:pt x="21" y="5"/>
                  </a:cubicBezTo>
                  <a:cubicBezTo>
                    <a:pt x="21" y="6"/>
                    <a:pt x="21" y="7"/>
                    <a:pt x="21" y="8"/>
                  </a:cubicBezTo>
                  <a:cubicBezTo>
                    <a:pt x="20" y="8"/>
                    <a:pt x="20" y="8"/>
                    <a:pt x="20" y="8"/>
                  </a:cubicBezTo>
                  <a:moveTo>
                    <a:pt x="6" y="8"/>
                  </a:moveTo>
                  <a:cubicBezTo>
                    <a:pt x="5" y="8"/>
                    <a:pt x="4" y="8"/>
                    <a:pt x="4" y="8"/>
                  </a:cubicBezTo>
                  <a:cubicBezTo>
                    <a:pt x="4" y="5"/>
                    <a:pt x="4" y="5"/>
                    <a:pt x="4" y="5"/>
                  </a:cubicBezTo>
                  <a:cubicBezTo>
                    <a:pt x="4" y="5"/>
                    <a:pt x="5" y="5"/>
                    <a:pt x="6" y="6"/>
                  </a:cubicBezTo>
                  <a:cubicBezTo>
                    <a:pt x="6" y="7"/>
                    <a:pt x="6" y="7"/>
                    <a:pt x="6" y="8"/>
                  </a:cubicBezTo>
                  <a:moveTo>
                    <a:pt x="21" y="8"/>
                  </a:moveTo>
                  <a:cubicBezTo>
                    <a:pt x="21" y="7"/>
                    <a:pt x="21" y="6"/>
                    <a:pt x="21" y="5"/>
                  </a:cubicBezTo>
                  <a:cubicBezTo>
                    <a:pt x="22" y="5"/>
                    <a:pt x="22" y="5"/>
                    <a:pt x="22" y="5"/>
                  </a:cubicBezTo>
                  <a:cubicBezTo>
                    <a:pt x="22" y="7"/>
                    <a:pt x="22" y="7"/>
                    <a:pt x="22" y="7"/>
                  </a:cubicBezTo>
                  <a:cubicBezTo>
                    <a:pt x="21" y="8"/>
                    <a:pt x="21" y="8"/>
                    <a:pt x="21" y="8"/>
                  </a:cubicBezTo>
                  <a:moveTo>
                    <a:pt x="3" y="7"/>
                  </a:moveTo>
                  <a:cubicBezTo>
                    <a:pt x="3" y="7"/>
                    <a:pt x="3" y="7"/>
                    <a:pt x="3" y="7"/>
                  </a:cubicBezTo>
                  <a:cubicBezTo>
                    <a:pt x="3" y="4"/>
                    <a:pt x="3" y="4"/>
                    <a:pt x="3" y="4"/>
                  </a:cubicBezTo>
                  <a:cubicBezTo>
                    <a:pt x="3" y="5"/>
                    <a:pt x="3" y="5"/>
                    <a:pt x="3" y="5"/>
                  </a:cubicBezTo>
                  <a:cubicBezTo>
                    <a:pt x="3" y="7"/>
                    <a:pt x="3" y="7"/>
                    <a:pt x="3" y="7"/>
                  </a:cubicBezTo>
                  <a:moveTo>
                    <a:pt x="2" y="6"/>
                  </a:moveTo>
                  <a:cubicBezTo>
                    <a:pt x="2" y="6"/>
                    <a:pt x="2" y="6"/>
                    <a:pt x="2" y="6"/>
                  </a:cubicBezTo>
                  <a:cubicBezTo>
                    <a:pt x="2" y="6"/>
                    <a:pt x="2" y="6"/>
                    <a:pt x="2" y="6"/>
                  </a:cubicBezTo>
                  <a:cubicBezTo>
                    <a:pt x="2" y="4"/>
                    <a:pt x="2" y="4"/>
                    <a:pt x="2" y="4"/>
                  </a:cubicBezTo>
                  <a:cubicBezTo>
                    <a:pt x="2" y="4"/>
                    <a:pt x="2" y="4"/>
                    <a:pt x="2" y="4"/>
                  </a:cubicBezTo>
                  <a:cubicBezTo>
                    <a:pt x="2" y="6"/>
                    <a:pt x="2" y="6"/>
                    <a:pt x="2" y="6"/>
                  </a:cubicBezTo>
                  <a:moveTo>
                    <a:pt x="22" y="7"/>
                  </a:moveTo>
                  <a:cubicBezTo>
                    <a:pt x="22" y="4"/>
                    <a:pt x="22" y="4"/>
                    <a:pt x="22" y="4"/>
                  </a:cubicBezTo>
                  <a:cubicBezTo>
                    <a:pt x="22" y="4"/>
                    <a:pt x="22" y="4"/>
                    <a:pt x="22" y="4"/>
                  </a:cubicBezTo>
                  <a:cubicBezTo>
                    <a:pt x="23" y="4"/>
                    <a:pt x="23" y="4"/>
                    <a:pt x="24" y="4"/>
                  </a:cubicBezTo>
                  <a:cubicBezTo>
                    <a:pt x="24" y="5"/>
                    <a:pt x="24" y="5"/>
                    <a:pt x="24" y="6"/>
                  </a:cubicBezTo>
                  <a:cubicBezTo>
                    <a:pt x="23" y="7"/>
                    <a:pt x="23" y="7"/>
                    <a:pt x="22" y="7"/>
                  </a:cubicBezTo>
                  <a:moveTo>
                    <a:pt x="2" y="4"/>
                  </a:moveTo>
                  <a:cubicBezTo>
                    <a:pt x="2" y="4"/>
                    <a:pt x="2" y="4"/>
                    <a:pt x="2" y="4"/>
                  </a:cubicBezTo>
                  <a:cubicBezTo>
                    <a:pt x="1" y="3"/>
                    <a:pt x="1" y="3"/>
                    <a:pt x="1" y="3"/>
                  </a:cubicBezTo>
                  <a:cubicBezTo>
                    <a:pt x="2" y="4"/>
                    <a:pt x="2" y="4"/>
                    <a:pt x="2" y="4"/>
                  </a:cubicBezTo>
                  <a:cubicBezTo>
                    <a:pt x="2" y="4"/>
                    <a:pt x="2" y="4"/>
                    <a:pt x="2" y="4"/>
                  </a:cubicBezTo>
                  <a:moveTo>
                    <a:pt x="24" y="6"/>
                  </a:moveTo>
                  <a:cubicBezTo>
                    <a:pt x="24" y="5"/>
                    <a:pt x="24" y="4"/>
                    <a:pt x="24" y="3"/>
                  </a:cubicBezTo>
                  <a:cubicBezTo>
                    <a:pt x="25" y="3"/>
                    <a:pt x="25" y="3"/>
                    <a:pt x="25" y="3"/>
                  </a:cubicBezTo>
                  <a:cubicBezTo>
                    <a:pt x="25" y="5"/>
                    <a:pt x="25" y="5"/>
                    <a:pt x="25" y="5"/>
                  </a:cubicBezTo>
                  <a:cubicBezTo>
                    <a:pt x="25" y="5"/>
                    <a:pt x="25" y="5"/>
                    <a:pt x="25" y="5"/>
                  </a:cubicBezTo>
                  <a:cubicBezTo>
                    <a:pt x="25" y="5"/>
                    <a:pt x="25" y="6"/>
                    <a:pt x="24" y="6"/>
                  </a:cubicBezTo>
                  <a:moveTo>
                    <a:pt x="26" y="0"/>
                  </a:moveTo>
                  <a:cubicBezTo>
                    <a:pt x="25" y="0"/>
                    <a:pt x="25" y="0"/>
                    <a:pt x="25" y="0"/>
                  </a:cubicBezTo>
                  <a:cubicBezTo>
                    <a:pt x="25" y="2"/>
                    <a:pt x="25" y="2"/>
                    <a:pt x="25" y="2"/>
                  </a:cubicBezTo>
                  <a:cubicBezTo>
                    <a:pt x="25" y="2"/>
                    <a:pt x="25" y="2"/>
                    <a:pt x="25" y="2"/>
                  </a:cubicBezTo>
                  <a:cubicBezTo>
                    <a:pt x="21" y="5"/>
                    <a:pt x="17" y="6"/>
                    <a:pt x="12" y="6"/>
                  </a:cubicBezTo>
                  <a:cubicBezTo>
                    <a:pt x="11" y="6"/>
                    <a:pt x="10" y="5"/>
                    <a:pt x="9" y="5"/>
                  </a:cubicBezTo>
                  <a:cubicBezTo>
                    <a:pt x="7" y="5"/>
                    <a:pt x="4" y="5"/>
                    <a:pt x="2" y="3"/>
                  </a:cubicBezTo>
                  <a:cubicBezTo>
                    <a:pt x="1" y="2"/>
                    <a:pt x="1" y="2"/>
                    <a:pt x="1" y="2"/>
                  </a:cubicBezTo>
                  <a:cubicBezTo>
                    <a:pt x="2" y="1"/>
                    <a:pt x="2" y="1"/>
                    <a:pt x="2" y="1"/>
                  </a:cubicBezTo>
                  <a:cubicBezTo>
                    <a:pt x="1" y="1"/>
                    <a:pt x="1" y="1"/>
                    <a:pt x="1" y="1"/>
                  </a:cubicBezTo>
                  <a:cubicBezTo>
                    <a:pt x="1" y="1"/>
                    <a:pt x="1" y="1"/>
                    <a:pt x="1" y="1"/>
                  </a:cubicBezTo>
                  <a:cubicBezTo>
                    <a:pt x="1" y="1"/>
                    <a:pt x="1" y="1"/>
                    <a:pt x="1" y="1"/>
                  </a:cubicBezTo>
                  <a:cubicBezTo>
                    <a:pt x="0" y="1"/>
                    <a:pt x="0" y="2"/>
                    <a:pt x="1" y="2"/>
                  </a:cubicBezTo>
                  <a:cubicBezTo>
                    <a:pt x="0" y="3"/>
                    <a:pt x="1" y="4"/>
                    <a:pt x="1" y="5"/>
                  </a:cubicBezTo>
                  <a:cubicBezTo>
                    <a:pt x="1" y="6"/>
                    <a:pt x="1" y="6"/>
                    <a:pt x="1" y="6"/>
                  </a:cubicBezTo>
                  <a:cubicBezTo>
                    <a:pt x="1" y="6"/>
                    <a:pt x="1" y="7"/>
                    <a:pt x="2" y="7"/>
                  </a:cubicBezTo>
                  <a:cubicBezTo>
                    <a:pt x="3" y="8"/>
                    <a:pt x="6" y="10"/>
                    <a:pt x="12" y="10"/>
                  </a:cubicBezTo>
                  <a:cubicBezTo>
                    <a:pt x="14" y="10"/>
                    <a:pt x="19" y="10"/>
                    <a:pt x="22" y="8"/>
                  </a:cubicBezTo>
                  <a:cubicBezTo>
                    <a:pt x="22" y="8"/>
                    <a:pt x="22" y="8"/>
                    <a:pt x="22" y="8"/>
                  </a:cubicBezTo>
                  <a:cubicBezTo>
                    <a:pt x="23" y="8"/>
                    <a:pt x="23" y="8"/>
                    <a:pt x="23" y="8"/>
                  </a:cubicBezTo>
                  <a:cubicBezTo>
                    <a:pt x="23" y="8"/>
                    <a:pt x="23" y="8"/>
                    <a:pt x="23" y="8"/>
                  </a:cubicBezTo>
                  <a:cubicBezTo>
                    <a:pt x="23" y="8"/>
                    <a:pt x="24" y="8"/>
                    <a:pt x="24" y="7"/>
                  </a:cubicBezTo>
                  <a:cubicBezTo>
                    <a:pt x="24" y="7"/>
                    <a:pt x="24" y="7"/>
                    <a:pt x="24" y="7"/>
                  </a:cubicBezTo>
                  <a:cubicBezTo>
                    <a:pt x="24" y="7"/>
                    <a:pt x="24" y="7"/>
                    <a:pt x="24" y="7"/>
                  </a:cubicBezTo>
                  <a:cubicBezTo>
                    <a:pt x="24" y="7"/>
                    <a:pt x="24" y="7"/>
                    <a:pt x="24" y="7"/>
                  </a:cubicBezTo>
                  <a:cubicBezTo>
                    <a:pt x="25" y="7"/>
                    <a:pt x="26" y="6"/>
                    <a:pt x="26" y="5"/>
                  </a:cubicBezTo>
                  <a:cubicBezTo>
                    <a:pt x="26" y="5"/>
                    <a:pt x="26" y="5"/>
                    <a:pt x="26" y="5"/>
                  </a:cubicBezTo>
                  <a:cubicBezTo>
                    <a:pt x="26" y="4"/>
                    <a:pt x="26" y="4"/>
                    <a:pt x="26" y="4"/>
                  </a:cubicBezTo>
                  <a:cubicBezTo>
                    <a:pt x="26" y="0"/>
                    <a:pt x="26" y="0"/>
                    <a:pt x="26" y="0"/>
                  </a:cubicBezTo>
                  <a:cubicBezTo>
                    <a:pt x="26" y="0"/>
                    <a:pt x="26" y="0"/>
                    <a:pt x="2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24" name="íṡlîďê"/>
            <p:cNvSpPr/>
            <p:nvPr/>
          </p:nvSpPr>
          <p:spPr bwMode="auto">
            <a:xfrm>
              <a:off x="3577" y="2565"/>
              <a:ext cx="62" cy="23"/>
            </a:xfrm>
            <a:custGeom>
              <a:avLst/>
              <a:gdLst>
                <a:gd name="T0" fmla="*/ 13 w 26"/>
                <a:gd name="T1" fmla="*/ 7 h 10"/>
                <a:gd name="T2" fmla="*/ 12 w 26"/>
                <a:gd name="T3" fmla="*/ 7 h 10"/>
                <a:gd name="T4" fmla="*/ 10 w 26"/>
                <a:gd name="T5" fmla="*/ 9 h 10"/>
                <a:gd name="T6" fmla="*/ 12 w 26"/>
                <a:gd name="T7" fmla="*/ 7 h 10"/>
                <a:gd name="T8" fmla="*/ 14 w 26"/>
                <a:gd name="T9" fmla="*/ 7 h 10"/>
                <a:gd name="T10" fmla="*/ 15 w 26"/>
                <a:gd name="T11" fmla="*/ 6 h 10"/>
                <a:gd name="T12" fmla="*/ 15 w 26"/>
                <a:gd name="T13" fmla="*/ 9 h 10"/>
                <a:gd name="T14" fmla="*/ 15 w 26"/>
                <a:gd name="T15" fmla="*/ 6 h 10"/>
                <a:gd name="T16" fmla="*/ 15 w 26"/>
                <a:gd name="T17" fmla="*/ 9 h 10"/>
                <a:gd name="T18" fmla="*/ 16 w 26"/>
                <a:gd name="T19" fmla="*/ 6 h 10"/>
                <a:gd name="T20" fmla="*/ 16 w 26"/>
                <a:gd name="T21" fmla="*/ 9 h 10"/>
                <a:gd name="T22" fmla="*/ 8 w 26"/>
                <a:gd name="T23" fmla="*/ 6 h 10"/>
                <a:gd name="T24" fmla="*/ 10 w 26"/>
                <a:gd name="T25" fmla="*/ 9 h 10"/>
                <a:gd name="T26" fmla="*/ 17 w 26"/>
                <a:gd name="T27" fmla="*/ 6 h 10"/>
                <a:gd name="T28" fmla="*/ 18 w 26"/>
                <a:gd name="T29" fmla="*/ 9 h 10"/>
                <a:gd name="T30" fmla="*/ 8 w 26"/>
                <a:gd name="T31" fmla="*/ 9 h 10"/>
                <a:gd name="T32" fmla="*/ 8 w 26"/>
                <a:gd name="T33" fmla="*/ 6 h 10"/>
                <a:gd name="T34" fmla="*/ 18 w 26"/>
                <a:gd name="T35" fmla="*/ 8 h 10"/>
                <a:gd name="T36" fmla="*/ 18 w 26"/>
                <a:gd name="T37" fmla="*/ 6 h 10"/>
                <a:gd name="T38" fmla="*/ 18 w 26"/>
                <a:gd name="T39" fmla="*/ 9 h 10"/>
                <a:gd name="T40" fmla="*/ 21 w 26"/>
                <a:gd name="T41" fmla="*/ 5 h 10"/>
                <a:gd name="T42" fmla="*/ 6 w 26"/>
                <a:gd name="T43" fmla="*/ 8 h 10"/>
                <a:gd name="T44" fmla="*/ 6 w 26"/>
                <a:gd name="T45" fmla="*/ 6 h 10"/>
                <a:gd name="T46" fmla="*/ 21 w 26"/>
                <a:gd name="T47" fmla="*/ 5 h 10"/>
                <a:gd name="T48" fmla="*/ 21 w 26"/>
                <a:gd name="T49" fmla="*/ 8 h 10"/>
                <a:gd name="T50" fmla="*/ 3 w 26"/>
                <a:gd name="T51" fmla="*/ 5 h 10"/>
                <a:gd name="T52" fmla="*/ 2 w 26"/>
                <a:gd name="T53" fmla="*/ 7 h 10"/>
                <a:gd name="T54" fmla="*/ 2 w 26"/>
                <a:gd name="T55" fmla="*/ 4 h 10"/>
                <a:gd name="T56" fmla="*/ 22 w 26"/>
                <a:gd name="T57" fmla="*/ 7 h 10"/>
                <a:gd name="T58" fmla="*/ 24 w 26"/>
                <a:gd name="T59" fmla="*/ 4 h 10"/>
                <a:gd name="T60" fmla="*/ 2 w 26"/>
                <a:gd name="T61" fmla="*/ 4 h 10"/>
                <a:gd name="T62" fmla="*/ 2 w 26"/>
                <a:gd name="T63" fmla="*/ 4 h 10"/>
                <a:gd name="T64" fmla="*/ 24 w 26"/>
                <a:gd name="T65" fmla="*/ 3 h 10"/>
                <a:gd name="T66" fmla="*/ 25 w 26"/>
                <a:gd name="T67" fmla="*/ 5 h 10"/>
                <a:gd name="T68" fmla="*/ 25 w 26"/>
                <a:gd name="T69" fmla="*/ 1 h 10"/>
                <a:gd name="T70" fmla="*/ 12 w 26"/>
                <a:gd name="T71" fmla="*/ 6 h 10"/>
                <a:gd name="T72" fmla="*/ 1 w 26"/>
                <a:gd name="T73" fmla="*/ 2 h 10"/>
                <a:gd name="T74" fmla="*/ 1 w 26"/>
                <a:gd name="T75" fmla="*/ 1 h 10"/>
                <a:gd name="T76" fmla="*/ 1 w 26"/>
                <a:gd name="T77" fmla="*/ 5 h 10"/>
                <a:gd name="T78" fmla="*/ 12 w 26"/>
                <a:gd name="T79" fmla="*/ 10 h 10"/>
                <a:gd name="T80" fmla="*/ 23 w 26"/>
                <a:gd name="T81" fmla="*/ 8 h 10"/>
                <a:gd name="T82" fmla="*/ 24 w 26"/>
                <a:gd name="T83" fmla="*/ 7 h 10"/>
                <a:gd name="T84" fmla="*/ 26 w 26"/>
                <a:gd name="T85" fmla="*/ 5 h 10"/>
                <a:gd name="T86" fmla="*/ 26 w 26"/>
                <a:gd name="T8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10">
                  <a:moveTo>
                    <a:pt x="12" y="7"/>
                  </a:moveTo>
                  <a:cubicBezTo>
                    <a:pt x="13" y="6"/>
                    <a:pt x="13" y="6"/>
                    <a:pt x="13" y="6"/>
                  </a:cubicBezTo>
                  <a:cubicBezTo>
                    <a:pt x="13" y="7"/>
                    <a:pt x="13" y="7"/>
                    <a:pt x="13" y="7"/>
                  </a:cubicBezTo>
                  <a:cubicBezTo>
                    <a:pt x="14" y="9"/>
                    <a:pt x="14" y="9"/>
                    <a:pt x="14" y="9"/>
                  </a:cubicBezTo>
                  <a:cubicBezTo>
                    <a:pt x="13" y="9"/>
                    <a:pt x="13" y="9"/>
                    <a:pt x="12" y="9"/>
                  </a:cubicBezTo>
                  <a:cubicBezTo>
                    <a:pt x="12" y="8"/>
                    <a:pt x="12" y="7"/>
                    <a:pt x="12" y="7"/>
                  </a:cubicBezTo>
                  <a:cubicBezTo>
                    <a:pt x="12" y="7"/>
                    <a:pt x="12" y="7"/>
                    <a:pt x="12" y="7"/>
                  </a:cubicBezTo>
                  <a:moveTo>
                    <a:pt x="12" y="9"/>
                  </a:moveTo>
                  <a:cubicBezTo>
                    <a:pt x="11" y="9"/>
                    <a:pt x="11" y="9"/>
                    <a:pt x="10" y="9"/>
                  </a:cubicBezTo>
                  <a:cubicBezTo>
                    <a:pt x="10" y="9"/>
                    <a:pt x="10" y="9"/>
                    <a:pt x="10" y="9"/>
                  </a:cubicBezTo>
                  <a:cubicBezTo>
                    <a:pt x="10" y="6"/>
                    <a:pt x="10" y="6"/>
                    <a:pt x="10" y="6"/>
                  </a:cubicBezTo>
                  <a:cubicBezTo>
                    <a:pt x="11" y="6"/>
                    <a:pt x="11" y="7"/>
                    <a:pt x="12" y="7"/>
                  </a:cubicBezTo>
                  <a:cubicBezTo>
                    <a:pt x="12" y="7"/>
                    <a:pt x="12" y="8"/>
                    <a:pt x="12" y="9"/>
                  </a:cubicBezTo>
                  <a:moveTo>
                    <a:pt x="14" y="9"/>
                  </a:moveTo>
                  <a:cubicBezTo>
                    <a:pt x="14" y="7"/>
                    <a:pt x="14" y="7"/>
                    <a:pt x="14" y="7"/>
                  </a:cubicBezTo>
                  <a:cubicBezTo>
                    <a:pt x="14" y="7"/>
                    <a:pt x="14" y="7"/>
                    <a:pt x="14" y="7"/>
                  </a:cubicBezTo>
                  <a:cubicBezTo>
                    <a:pt x="14" y="6"/>
                    <a:pt x="14" y="6"/>
                    <a:pt x="14" y="6"/>
                  </a:cubicBezTo>
                  <a:cubicBezTo>
                    <a:pt x="15" y="6"/>
                    <a:pt x="15" y="6"/>
                    <a:pt x="15" y="6"/>
                  </a:cubicBezTo>
                  <a:cubicBezTo>
                    <a:pt x="15" y="7"/>
                    <a:pt x="15" y="8"/>
                    <a:pt x="15" y="9"/>
                  </a:cubicBezTo>
                  <a:cubicBezTo>
                    <a:pt x="14" y="9"/>
                    <a:pt x="14" y="9"/>
                    <a:pt x="14" y="9"/>
                  </a:cubicBezTo>
                  <a:moveTo>
                    <a:pt x="15" y="9"/>
                  </a:moveTo>
                  <a:cubicBezTo>
                    <a:pt x="15" y="9"/>
                    <a:pt x="15" y="9"/>
                    <a:pt x="15" y="9"/>
                  </a:cubicBezTo>
                  <a:cubicBezTo>
                    <a:pt x="15" y="9"/>
                    <a:pt x="15" y="9"/>
                    <a:pt x="15" y="9"/>
                  </a:cubicBezTo>
                  <a:cubicBezTo>
                    <a:pt x="15" y="8"/>
                    <a:pt x="15" y="7"/>
                    <a:pt x="15" y="6"/>
                  </a:cubicBezTo>
                  <a:cubicBezTo>
                    <a:pt x="16" y="6"/>
                    <a:pt x="16" y="6"/>
                    <a:pt x="16" y="6"/>
                  </a:cubicBezTo>
                  <a:cubicBezTo>
                    <a:pt x="16" y="9"/>
                    <a:pt x="16" y="9"/>
                    <a:pt x="16" y="9"/>
                  </a:cubicBezTo>
                  <a:cubicBezTo>
                    <a:pt x="15" y="9"/>
                    <a:pt x="15" y="9"/>
                    <a:pt x="15" y="9"/>
                  </a:cubicBezTo>
                  <a:moveTo>
                    <a:pt x="16" y="9"/>
                  </a:moveTo>
                  <a:cubicBezTo>
                    <a:pt x="16" y="9"/>
                    <a:pt x="16" y="9"/>
                    <a:pt x="16" y="9"/>
                  </a:cubicBezTo>
                  <a:cubicBezTo>
                    <a:pt x="16" y="6"/>
                    <a:pt x="16" y="6"/>
                    <a:pt x="16" y="6"/>
                  </a:cubicBezTo>
                  <a:cubicBezTo>
                    <a:pt x="16" y="6"/>
                    <a:pt x="16" y="6"/>
                    <a:pt x="16" y="6"/>
                  </a:cubicBezTo>
                  <a:cubicBezTo>
                    <a:pt x="17" y="9"/>
                    <a:pt x="17" y="9"/>
                    <a:pt x="17" y="9"/>
                  </a:cubicBezTo>
                  <a:cubicBezTo>
                    <a:pt x="16" y="9"/>
                    <a:pt x="16" y="9"/>
                    <a:pt x="16" y="9"/>
                  </a:cubicBezTo>
                  <a:moveTo>
                    <a:pt x="10" y="9"/>
                  </a:moveTo>
                  <a:cubicBezTo>
                    <a:pt x="9" y="9"/>
                    <a:pt x="9" y="9"/>
                    <a:pt x="8" y="9"/>
                  </a:cubicBezTo>
                  <a:cubicBezTo>
                    <a:pt x="8" y="8"/>
                    <a:pt x="8" y="7"/>
                    <a:pt x="8" y="6"/>
                  </a:cubicBezTo>
                  <a:cubicBezTo>
                    <a:pt x="9" y="6"/>
                    <a:pt x="9" y="6"/>
                    <a:pt x="9" y="6"/>
                  </a:cubicBezTo>
                  <a:cubicBezTo>
                    <a:pt x="10" y="6"/>
                    <a:pt x="10" y="6"/>
                    <a:pt x="10" y="6"/>
                  </a:cubicBezTo>
                  <a:cubicBezTo>
                    <a:pt x="10" y="9"/>
                    <a:pt x="10" y="9"/>
                    <a:pt x="10" y="9"/>
                  </a:cubicBezTo>
                  <a:cubicBezTo>
                    <a:pt x="10" y="9"/>
                    <a:pt x="10" y="9"/>
                    <a:pt x="10" y="9"/>
                  </a:cubicBezTo>
                  <a:moveTo>
                    <a:pt x="17" y="9"/>
                  </a:moveTo>
                  <a:cubicBezTo>
                    <a:pt x="17" y="6"/>
                    <a:pt x="17" y="6"/>
                    <a:pt x="17" y="6"/>
                  </a:cubicBezTo>
                  <a:cubicBezTo>
                    <a:pt x="17" y="6"/>
                    <a:pt x="17" y="6"/>
                    <a:pt x="17" y="6"/>
                  </a:cubicBezTo>
                  <a:cubicBezTo>
                    <a:pt x="18" y="6"/>
                    <a:pt x="18" y="6"/>
                    <a:pt x="18" y="6"/>
                  </a:cubicBezTo>
                  <a:cubicBezTo>
                    <a:pt x="18" y="9"/>
                    <a:pt x="18" y="9"/>
                    <a:pt x="18" y="9"/>
                  </a:cubicBezTo>
                  <a:cubicBezTo>
                    <a:pt x="18" y="9"/>
                    <a:pt x="18" y="9"/>
                    <a:pt x="18" y="9"/>
                  </a:cubicBezTo>
                  <a:cubicBezTo>
                    <a:pt x="17" y="9"/>
                    <a:pt x="17" y="9"/>
                    <a:pt x="17" y="9"/>
                  </a:cubicBezTo>
                  <a:moveTo>
                    <a:pt x="8" y="9"/>
                  </a:moveTo>
                  <a:cubicBezTo>
                    <a:pt x="7" y="9"/>
                    <a:pt x="7" y="9"/>
                    <a:pt x="6" y="9"/>
                  </a:cubicBezTo>
                  <a:cubicBezTo>
                    <a:pt x="6" y="8"/>
                    <a:pt x="6" y="7"/>
                    <a:pt x="6" y="6"/>
                  </a:cubicBezTo>
                  <a:cubicBezTo>
                    <a:pt x="7" y="6"/>
                    <a:pt x="7" y="6"/>
                    <a:pt x="8" y="6"/>
                  </a:cubicBezTo>
                  <a:cubicBezTo>
                    <a:pt x="8" y="7"/>
                    <a:pt x="8" y="8"/>
                    <a:pt x="8" y="9"/>
                  </a:cubicBezTo>
                  <a:moveTo>
                    <a:pt x="18" y="9"/>
                  </a:moveTo>
                  <a:cubicBezTo>
                    <a:pt x="18" y="8"/>
                    <a:pt x="18" y="8"/>
                    <a:pt x="18" y="8"/>
                  </a:cubicBezTo>
                  <a:cubicBezTo>
                    <a:pt x="18" y="8"/>
                    <a:pt x="18" y="8"/>
                    <a:pt x="18" y="8"/>
                  </a:cubicBezTo>
                  <a:cubicBezTo>
                    <a:pt x="18" y="6"/>
                    <a:pt x="18" y="6"/>
                    <a:pt x="18" y="6"/>
                  </a:cubicBezTo>
                  <a:cubicBezTo>
                    <a:pt x="18" y="6"/>
                    <a:pt x="18" y="6"/>
                    <a:pt x="18" y="6"/>
                  </a:cubicBezTo>
                  <a:cubicBezTo>
                    <a:pt x="19" y="6"/>
                    <a:pt x="19" y="6"/>
                    <a:pt x="19" y="6"/>
                  </a:cubicBezTo>
                  <a:cubicBezTo>
                    <a:pt x="19" y="7"/>
                    <a:pt x="19" y="8"/>
                    <a:pt x="19" y="8"/>
                  </a:cubicBezTo>
                  <a:cubicBezTo>
                    <a:pt x="18" y="9"/>
                    <a:pt x="18" y="9"/>
                    <a:pt x="18" y="9"/>
                  </a:cubicBezTo>
                  <a:moveTo>
                    <a:pt x="20" y="8"/>
                  </a:moveTo>
                  <a:cubicBezTo>
                    <a:pt x="19" y="7"/>
                    <a:pt x="19" y="7"/>
                    <a:pt x="20" y="6"/>
                  </a:cubicBezTo>
                  <a:cubicBezTo>
                    <a:pt x="21" y="5"/>
                    <a:pt x="21" y="5"/>
                    <a:pt x="21" y="5"/>
                  </a:cubicBezTo>
                  <a:cubicBezTo>
                    <a:pt x="21" y="6"/>
                    <a:pt x="21" y="7"/>
                    <a:pt x="21" y="8"/>
                  </a:cubicBezTo>
                  <a:cubicBezTo>
                    <a:pt x="20" y="8"/>
                    <a:pt x="20" y="8"/>
                    <a:pt x="20" y="8"/>
                  </a:cubicBezTo>
                  <a:moveTo>
                    <a:pt x="6" y="8"/>
                  </a:moveTo>
                  <a:cubicBezTo>
                    <a:pt x="5" y="8"/>
                    <a:pt x="4" y="8"/>
                    <a:pt x="4" y="8"/>
                  </a:cubicBezTo>
                  <a:cubicBezTo>
                    <a:pt x="4" y="5"/>
                    <a:pt x="4" y="5"/>
                    <a:pt x="4" y="5"/>
                  </a:cubicBezTo>
                  <a:cubicBezTo>
                    <a:pt x="4" y="5"/>
                    <a:pt x="5" y="6"/>
                    <a:pt x="6" y="6"/>
                  </a:cubicBezTo>
                  <a:cubicBezTo>
                    <a:pt x="6" y="7"/>
                    <a:pt x="6" y="8"/>
                    <a:pt x="6" y="8"/>
                  </a:cubicBezTo>
                  <a:moveTo>
                    <a:pt x="21" y="8"/>
                  </a:moveTo>
                  <a:cubicBezTo>
                    <a:pt x="21" y="7"/>
                    <a:pt x="21" y="6"/>
                    <a:pt x="21" y="5"/>
                  </a:cubicBezTo>
                  <a:cubicBezTo>
                    <a:pt x="22" y="5"/>
                    <a:pt x="22" y="5"/>
                    <a:pt x="22" y="5"/>
                  </a:cubicBezTo>
                  <a:cubicBezTo>
                    <a:pt x="22" y="7"/>
                    <a:pt x="22" y="7"/>
                    <a:pt x="22" y="7"/>
                  </a:cubicBezTo>
                  <a:cubicBezTo>
                    <a:pt x="21" y="8"/>
                    <a:pt x="21" y="8"/>
                    <a:pt x="21" y="8"/>
                  </a:cubicBezTo>
                  <a:moveTo>
                    <a:pt x="3" y="7"/>
                  </a:moveTo>
                  <a:cubicBezTo>
                    <a:pt x="3" y="7"/>
                    <a:pt x="3" y="7"/>
                    <a:pt x="3" y="7"/>
                  </a:cubicBezTo>
                  <a:cubicBezTo>
                    <a:pt x="3" y="5"/>
                    <a:pt x="3" y="5"/>
                    <a:pt x="3" y="5"/>
                  </a:cubicBezTo>
                  <a:cubicBezTo>
                    <a:pt x="3" y="5"/>
                    <a:pt x="3" y="5"/>
                    <a:pt x="3" y="5"/>
                  </a:cubicBezTo>
                  <a:cubicBezTo>
                    <a:pt x="3" y="7"/>
                    <a:pt x="3" y="7"/>
                    <a:pt x="3" y="7"/>
                  </a:cubicBezTo>
                  <a:moveTo>
                    <a:pt x="2" y="7"/>
                  </a:moveTo>
                  <a:cubicBezTo>
                    <a:pt x="2" y="6"/>
                    <a:pt x="2" y="6"/>
                    <a:pt x="2" y="6"/>
                  </a:cubicBezTo>
                  <a:cubicBezTo>
                    <a:pt x="2" y="6"/>
                    <a:pt x="2" y="6"/>
                    <a:pt x="2" y="6"/>
                  </a:cubicBezTo>
                  <a:cubicBezTo>
                    <a:pt x="2" y="4"/>
                    <a:pt x="2" y="4"/>
                    <a:pt x="2" y="4"/>
                  </a:cubicBezTo>
                  <a:cubicBezTo>
                    <a:pt x="2" y="4"/>
                    <a:pt x="2" y="4"/>
                    <a:pt x="2" y="4"/>
                  </a:cubicBezTo>
                  <a:cubicBezTo>
                    <a:pt x="2" y="7"/>
                    <a:pt x="2" y="7"/>
                    <a:pt x="2" y="7"/>
                  </a:cubicBezTo>
                  <a:moveTo>
                    <a:pt x="22" y="7"/>
                  </a:moveTo>
                  <a:cubicBezTo>
                    <a:pt x="22" y="5"/>
                    <a:pt x="22" y="5"/>
                    <a:pt x="22" y="5"/>
                  </a:cubicBezTo>
                  <a:cubicBezTo>
                    <a:pt x="22" y="5"/>
                    <a:pt x="22" y="5"/>
                    <a:pt x="22" y="5"/>
                  </a:cubicBezTo>
                  <a:cubicBezTo>
                    <a:pt x="23" y="4"/>
                    <a:pt x="23" y="4"/>
                    <a:pt x="24" y="4"/>
                  </a:cubicBezTo>
                  <a:cubicBezTo>
                    <a:pt x="24" y="5"/>
                    <a:pt x="24" y="6"/>
                    <a:pt x="24" y="6"/>
                  </a:cubicBezTo>
                  <a:cubicBezTo>
                    <a:pt x="23" y="7"/>
                    <a:pt x="23" y="7"/>
                    <a:pt x="22" y="7"/>
                  </a:cubicBezTo>
                  <a:moveTo>
                    <a:pt x="2" y="4"/>
                  </a:moveTo>
                  <a:cubicBezTo>
                    <a:pt x="2" y="4"/>
                    <a:pt x="2" y="4"/>
                    <a:pt x="2" y="4"/>
                  </a:cubicBezTo>
                  <a:cubicBezTo>
                    <a:pt x="1" y="4"/>
                    <a:pt x="1" y="4"/>
                    <a:pt x="1" y="4"/>
                  </a:cubicBezTo>
                  <a:cubicBezTo>
                    <a:pt x="2" y="4"/>
                    <a:pt x="2" y="4"/>
                    <a:pt x="2" y="4"/>
                  </a:cubicBezTo>
                  <a:cubicBezTo>
                    <a:pt x="2" y="4"/>
                    <a:pt x="2" y="4"/>
                    <a:pt x="2" y="4"/>
                  </a:cubicBezTo>
                  <a:moveTo>
                    <a:pt x="24" y="6"/>
                  </a:moveTo>
                  <a:cubicBezTo>
                    <a:pt x="24" y="5"/>
                    <a:pt x="24" y="4"/>
                    <a:pt x="24" y="3"/>
                  </a:cubicBezTo>
                  <a:cubicBezTo>
                    <a:pt x="25" y="3"/>
                    <a:pt x="25" y="3"/>
                    <a:pt x="25" y="3"/>
                  </a:cubicBezTo>
                  <a:cubicBezTo>
                    <a:pt x="25" y="5"/>
                    <a:pt x="25" y="5"/>
                    <a:pt x="25" y="5"/>
                  </a:cubicBezTo>
                  <a:cubicBezTo>
                    <a:pt x="25" y="5"/>
                    <a:pt x="25" y="5"/>
                    <a:pt x="25" y="5"/>
                  </a:cubicBezTo>
                  <a:cubicBezTo>
                    <a:pt x="25" y="5"/>
                    <a:pt x="25" y="6"/>
                    <a:pt x="24" y="6"/>
                  </a:cubicBezTo>
                  <a:moveTo>
                    <a:pt x="26" y="0"/>
                  </a:moveTo>
                  <a:cubicBezTo>
                    <a:pt x="25" y="1"/>
                    <a:pt x="25" y="1"/>
                    <a:pt x="25" y="1"/>
                  </a:cubicBezTo>
                  <a:cubicBezTo>
                    <a:pt x="25" y="2"/>
                    <a:pt x="25" y="2"/>
                    <a:pt x="25" y="2"/>
                  </a:cubicBezTo>
                  <a:cubicBezTo>
                    <a:pt x="25" y="2"/>
                    <a:pt x="25" y="2"/>
                    <a:pt x="25" y="2"/>
                  </a:cubicBezTo>
                  <a:cubicBezTo>
                    <a:pt x="21" y="5"/>
                    <a:pt x="17" y="6"/>
                    <a:pt x="12" y="6"/>
                  </a:cubicBezTo>
                  <a:cubicBezTo>
                    <a:pt x="11" y="6"/>
                    <a:pt x="10" y="6"/>
                    <a:pt x="9" y="5"/>
                  </a:cubicBezTo>
                  <a:cubicBezTo>
                    <a:pt x="7" y="5"/>
                    <a:pt x="4" y="5"/>
                    <a:pt x="2" y="3"/>
                  </a:cubicBezTo>
                  <a:cubicBezTo>
                    <a:pt x="1" y="2"/>
                    <a:pt x="1" y="2"/>
                    <a:pt x="1" y="2"/>
                  </a:cubicBezTo>
                  <a:cubicBezTo>
                    <a:pt x="2" y="2"/>
                    <a:pt x="2" y="2"/>
                    <a:pt x="2" y="2"/>
                  </a:cubicBezTo>
                  <a:cubicBezTo>
                    <a:pt x="1" y="1"/>
                    <a:pt x="1" y="1"/>
                    <a:pt x="1" y="1"/>
                  </a:cubicBezTo>
                  <a:cubicBezTo>
                    <a:pt x="1" y="1"/>
                    <a:pt x="1" y="1"/>
                    <a:pt x="1" y="1"/>
                  </a:cubicBezTo>
                  <a:cubicBezTo>
                    <a:pt x="1" y="1"/>
                    <a:pt x="1" y="1"/>
                    <a:pt x="1" y="1"/>
                  </a:cubicBezTo>
                  <a:cubicBezTo>
                    <a:pt x="0" y="2"/>
                    <a:pt x="0" y="2"/>
                    <a:pt x="1" y="2"/>
                  </a:cubicBezTo>
                  <a:cubicBezTo>
                    <a:pt x="0" y="3"/>
                    <a:pt x="1" y="4"/>
                    <a:pt x="1" y="5"/>
                  </a:cubicBezTo>
                  <a:cubicBezTo>
                    <a:pt x="1" y="6"/>
                    <a:pt x="1" y="6"/>
                    <a:pt x="1" y="6"/>
                  </a:cubicBezTo>
                  <a:cubicBezTo>
                    <a:pt x="1" y="6"/>
                    <a:pt x="1" y="7"/>
                    <a:pt x="2" y="7"/>
                  </a:cubicBezTo>
                  <a:cubicBezTo>
                    <a:pt x="3" y="8"/>
                    <a:pt x="6" y="10"/>
                    <a:pt x="12" y="10"/>
                  </a:cubicBezTo>
                  <a:cubicBezTo>
                    <a:pt x="14" y="10"/>
                    <a:pt x="19" y="10"/>
                    <a:pt x="22" y="8"/>
                  </a:cubicBezTo>
                  <a:cubicBezTo>
                    <a:pt x="22" y="8"/>
                    <a:pt x="22" y="8"/>
                    <a:pt x="22" y="8"/>
                  </a:cubicBezTo>
                  <a:cubicBezTo>
                    <a:pt x="23" y="8"/>
                    <a:pt x="23" y="8"/>
                    <a:pt x="23" y="8"/>
                  </a:cubicBezTo>
                  <a:cubicBezTo>
                    <a:pt x="23" y="8"/>
                    <a:pt x="23" y="8"/>
                    <a:pt x="23" y="8"/>
                  </a:cubicBezTo>
                  <a:cubicBezTo>
                    <a:pt x="23" y="8"/>
                    <a:pt x="24" y="8"/>
                    <a:pt x="24" y="7"/>
                  </a:cubicBezTo>
                  <a:cubicBezTo>
                    <a:pt x="24" y="7"/>
                    <a:pt x="24" y="7"/>
                    <a:pt x="24" y="7"/>
                  </a:cubicBezTo>
                  <a:cubicBezTo>
                    <a:pt x="24" y="7"/>
                    <a:pt x="24" y="7"/>
                    <a:pt x="24" y="7"/>
                  </a:cubicBezTo>
                  <a:cubicBezTo>
                    <a:pt x="24" y="7"/>
                    <a:pt x="24" y="7"/>
                    <a:pt x="24" y="7"/>
                  </a:cubicBezTo>
                  <a:cubicBezTo>
                    <a:pt x="25" y="7"/>
                    <a:pt x="26" y="6"/>
                    <a:pt x="26" y="5"/>
                  </a:cubicBezTo>
                  <a:cubicBezTo>
                    <a:pt x="26" y="5"/>
                    <a:pt x="26" y="5"/>
                    <a:pt x="26" y="5"/>
                  </a:cubicBezTo>
                  <a:cubicBezTo>
                    <a:pt x="26" y="4"/>
                    <a:pt x="26" y="4"/>
                    <a:pt x="26" y="4"/>
                  </a:cubicBezTo>
                  <a:cubicBezTo>
                    <a:pt x="26" y="1"/>
                    <a:pt x="26" y="1"/>
                    <a:pt x="26" y="1"/>
                  </a:cubicBezTo>
                  <a:cubicBezTo>
                    <a:pt x="26" y="0"/>
                    <a:pt x="26" y="0"/>
                    <a:pt x="2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25" name="işḻîdé"/>
            <p:cNvSpPr/>
            <p:nvPr/>
          </p:nvSpPr>
          <p:spPr bwMode="auto">
            <a:xfrm>
              <a:off x="3515" y="1822"/>
              <a:ext cx="74" cy="65"/>
            </a:xfrm>
            <a:custGeom>
              <a:avLst/>
              <a:gdLst>
                <a:gd name="T0" fmla="*/ 22 w 31"/>
                <a:gd name="T1" fmla="*/ 26 h 27"/>
                <a:gd name="T2" fmla="*/ 20 w 31"/>
                <a:gd name="T3" fmla="*/ 23 h 27"/>
                <a:gd name="T4" fmla="*/ 17 w 31"/>
                <a:gd name="T5" fmla="*/ 21 h 27"/>
                <a:gd name="T6" fmla="*/ 21 w 31"/>
                <a:gd name="T7" fmla="*/ 18 h 27"/>
                <a:gd name="T8" fmla="*/ 22 w 31"/>
                <a:gd name="T9" fmla="*/ 25 h 27"/>
                <a:gd name="T10" fmla="*/ 22 w 31"/>
                <a:gd name="T11" fmla="*/ 26 h 27"/>
                <a:gd name="T12" fmla="*/ 22 w 31"/>
                <a:gd name="T13" fmla="*/ 24 h 27"/>
                <a:gd name="T14" fmla="*/ 21 w 31"/>
                <a:gd name="T15" fmla="*/ 18 h 27"/>
                <a:gd name="T16" fmla="*/ 21 w 31"/>
                <a:gd name="T17" fmla="*/ 18 h 27"/>
                <a:gd name="T18" fmla="*/ 21 w 31"/>
                <a:gd name="T19" fmla="*/ 17 h 27"/>
                <a:gd name="T20" fmla="*/ 15 w 31"/>
                <a:gd name="T21" fmla="*/ 12 h 27"/>
                <a:gd name="T22" fmla="*/ 6 w 31"/>
                <a:gd name="T23" fmla="*/ 4 h 27"/>
                <a:gd name="T24" fmla="*/ 8 w 31"/>
                <a:gd name="T25" fmla="*/ 6 h 27"/>
                <a:gd name="T26" fmla="*/ 16 w 31"/>
                <a:gd name="T27" fmla="*/ 11 h 27"/>
                <a:gd name="T28" fmla="*/ 24 w 31"/>
                <a:gd name="T29" fmla="*/ 16 h 27"/>
                <a:gd name="T30" fmla="*/ 22 w 31"/>
                <a:gd name="T31" fmla="*/ 24 h 27"/>
                <a:gd name="T32" fmla="*/ 13 w 31"/>
                <a:gd name="T33" fmla="*/ 23 h 27"/>
                <a:gd name="T34" fmla="*/ 2 w 31"/>
                <a:gd name="T35" fmla="*/ 2 h 27"/>
                <a:gd name="T36" fmla="*/ 15 w 31"/>
                <a:gd name="T37" fmla="*/ 13 h 27"/>
                <a:gd name="T38" fmla="*/ 20 w 31"/>
                <a:gd name="T39" fmla="*/ 18 h 27"/>
                <a:gd name="T40" fmla="*/ 17 w 31"/>
                <a:gd name="T41" fmla="*/ 20 h 27"/>
                <a:gd name="T42" fmla="*/ 13 w 31"/>
                <a:gd name="T43" fmla="*/ 23 h 27"/>
                <a:gd name="T44" fmla="*/ 24 w 31"/>
                <a:gd name="T45" fmla="*/ 15 h 27"/>
                <a:gd name="T46" fmla="*/ 16 w 31"/>
                <a:gd name="T47" fmla="*/ 10 h 27"/>
                <a:gd name="T48" fmla="*/ 9 w 31"/>
                <a:gd name="T49" fmla="*/ 5 h 27"/>
                <a:gd name="T50" fmla="*/ 3 w 31"/>
                <a:gd name="T51" fmla="*/ 2 h 27"/>
                <a:gd name="T52" fmla="*/ 8 w 31"/>
                <a:gd name="T53" fmla="*/ 3 h 27"/>
                <a:gd name="T54" fmla="*/ 10 w 31"/>
                <a:gd name="T55" fmla="*/ 4 h 27"/>
                <a:gd name="T56" fmla="*/ 30 w 31"/>
                <a:gd name="T57" fmla="*/ 12 h 27"/>
                <a:gd name="T58" fmla="*/ 24 w 31"/>
                <a:gd name="T59" fmla="*/ 15 h 27"/>
                <a:gd name="T60" fmla="*/ 1 w 31"/>
                <a:gd name="T61" fmla="*/ 0 h 27"/>
                <a:gd name="T62" fmla="*/ 1 w 31"/>
                <a:gd name="T63" fmla="*/ 1 h 27"/>
                <a:gd name="T64" fmla="*/ 1 w 31"/>
                <a:gd name="T65" fmla="*/ 1 h 27"/>
                <a:gd name="T66" fmla="*/ 1 w 31"/>
                <a:gd name="T67" fmla="*/ 1 h 27"/>
                <a:gd name="T68" fmla="*/ 5 w 31"/>
                <a:gd name="T69" fmla="*/ 11 h 27"/>
                <a:gd name="T70" fmla="*/ 12 w 31"/>
                <a:gd name="T71" fmla="*/ 24 h 27"/>
                <a:gd name="T72" fmla="*/ 12 w 31"/>
                <a:gd name="T73" fmla="*/ 24 h 27"/>
                <a:gd name="T74" fmla="*/ 17 w 31"/>
                <a:gd name="T75" fmla="*/ 21 h 27"/>
                <a:gd name="T76" fmla="*/ 19 w 31"/>
                <a:gd name="T77" fmla="*/ 24 h 27"/>
                <a:gd name="T78" fmla="*/ 22 w 31"/>
                <a:gd name="T79" fmla="*/ 27 h 27"/>
                <a:gd name="T80" fmla="*/ 22 w 31"/>
                <a:gd name="T81" fmla="*/ 27 h 27"/>
                <a:gd name="T82" fmla="*/ 22 w 31"/>
                <a:gd name="T83" fmla="*/ 27 h 27"/>
                <a:gd name="T84" fmla="*/ 22 w 31"/>
                <a:gd name="T85" fmla="*/ 27 h 27"/>
                <a:gd name="T86" fmla="*/ 23 w 31"/>
                <a:gd name="T87" fmla="*/ 27 h 27"/>
                <a:gd name="T88" fmla="*/ 23 w 31"/>
                <a:gd name="T89" fmla="*/ 26 h 27"/>
                <a:gd name="T90" fmla="*/ 24 w 31"/>
                <a:gd name="T91" fmla="*/ 16 h 27"/>
                <a:gd name="T92" fmla="*/ 30 w 31"/>
                <a:gd name="T93" fmla="*/ 13 h 27"/>
                <a:gd name="T94" fmla="*/ 31 w 31"/>
                <a:gd name="T95" fmla="*/ 13 h 27"/>
                <a:gd name="T96" fmla="*/ 31 w 31"/>
                <a:gd name="T97" fmla="*/ 12 h 27"/>
                <a:gd name="T98" fmla="*/ 31 w 31"/>
                <a:gd name="T99" fmla="*/ 12 h 27"/>
                <a:gd name="T100" fmla="*/ 11 w 31"/>
                <a:gd name="T101" fmla="*/ 4 h 27"/>
                <a:gd name="T102" fmla="*/ 8 w 31"/>
                <a:gd name="T103" fmla="*/ 3 h 27"/>
                <a:gd name="T104" fmla="*/ 1 w 31"/>
                <a:gd name="T10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 h="27">
                  <a:moveTo>
                    <a:pt x="22" y="26"/>
                  </a:moveTo>
                  <a:cubicBezTo>
                    <a:pt x="21" y="25"/>
                    <a:pt x="20" y="24"/>
                    <a:pt x="20" y="23"/>
                  </a:cubicBezTo>
                  <a:cubicBezTo>
                    <a:pt x="19" y="22"/>
                    <a:pt x="18" y="22"/>
                    <a:pt x="17" y="21"/>
                  </a:cubicBezTo>
                  <a:cubicBezTo>
                    <a:pt x="18" y="20"/>
                    <a:pt x="19" y="19"/>
                    <a:pt x="21" y="18"/>
                  </a:cubicBezTo>
                  <a:cubicBezTo>
                    <a:pt x="21" y="20"/>
                    <a:pt x="21" y="22"/>
                    <a:pt x="22" y="25"/>
                  </a:cubicBezTo>
                  <a:cubicBezTo>
                    <a:pt x="22" y="26"/>
                    <a:pt x="22" y="26"/>
                    <a:pt x="22" y="26"/>
                  </a:cubicBezTo>
                  <a:moveTo>
                    <a:pt x="22" y="24"/>
                  </a:moveTo>
                  <a:cubicBezTo>
                    <a:pt x="22" y="21"/>
                    <a:pt x="22" y="20"/>
                    <a:pt x="21" y="18"/>
                  </a:cubicBezTo>
                  <a:cubicBezTo>
                    <a:pt x="21" y="18"/>
                    <a:pt x="21" y="18"/>
                    <a:pt x="21" y="18"/>
                  </a:cubicBezTo>
                  <a:cubicBezTo>
                    <a:pt x="21" y="17"/>
                    <a:pt x="21" y="17"/>
                    <a:pt x="21" y="17"/>
                  </a:cubicBezTo>
                  <a:cubicBezTo>
                    <a:pt x="19" y="15"/>
                    <a:pt x="17" y="14"/>
                    <a:pt x="15" y="12"/>
                  </a:cubicBezTo>
                  <a:cubicBezTo>
                    <a:pt x="12" y="9"/>
                    <a:pt x="9" y="7"/>
                    <a:pt x="6" y="4"/>
                  </a:cubicBezTo>
                  <a:cubicBezTo>
                    <a:pt x="7" y="5"/>
                    <a:pt x="8" y="5"/>
                    <a:pt x="8" y="6"/>
                  </a:cubicBezTo>
                  <a:cubicBezTo>
                    <a:pt x="11" y="7"/>
                    <a:pt x="13" y="9"/>
                    <a:pt x="16" y="11"/>
                  </a:cubicBezTo>
                  <a:cubicBezTo>
                    <a:pt x="19" y="13"/>
                    <a:pt x="22" y="15"/>
                    <a:pt x="24" y="16"/>
                  </a:cubicBezTo>
                  <a:cubicBezTo>
                    <a:pt x="22" y="24"/>
                    <a:pt x="22" y="24"/>
                    <a:pt x="22" y="24"/>
                  </a:cubicBezTo>
                  <a:moveTo>
                    <a:pt x="13" y="23"/>
                  </a:moveTo>
                  <a:cubicBezTo>
                    <a:pt x="10" y="19"/>
                    <a:pt x="3" y="5"/>
                    <a:pt x="2" y="2"/>
                  </a:cubicBezTo>
                  <a:cubicBezTo>
                    <a:pt x="7" y="6"/>
                    <a:pt x="10" y="9"/>
                    <a:pt x="15" y="13"/>
                  </a:cubicBezTo>
                  <a:cubicBezTo>
                    <a:pt x="16" y="14"/>
                    <a:pt x="18" y="16"/>
                    <a:pt x="20" y="18"/>
                  </a:cubicBezTo>
                  <a:cubicBezTo>
                    <a:pt x="19" y="18"/>
                    <a:pt x="18" y="19"/>
                    <a:pt x="17" y="20"/>
                  </a:cubicBezTo>
                  <a:cubicBezTo>
                    <a:pt x="15" y="22"/>
                    <a:pt x="14" y="23"/>
                    <a:pt x="13" y="23"/>
                  </a:cubicBezTo>
                  <a:moveTo>
                    <a:pt x="24" y="15"/>
                  </a:moveTo>
                  <a:cubicBezTo>
                    <a:pt x="22" y="14"/>
                    <a:pt x="20" y="12"/>
                    <a:pt x="16" y="10"/>
                  </a:cubicBezTo>
                  <a:cubicBezTo>
                    <a:pt x="13" y="8"/>
                    <a:pt x="11" y="7"/>
                    <a:pt x="9" y="5"/>
                  </a:cubicBezTo>
                  <a:cubicBezTo>
                    <a:pt x="7" y="4"/>
                    <a:pt x="5" y="3"/>
                    <a:pt x="3" y="2"/>
                  </a:cubicBezTo>
                  <a:cubicBezTo>
                    <a:pt x="5" y="2"/>
                    <a:pt x="6" y="3"/>
                    <a:pt x="8" y="3"/>
                  </a:cubicBezTo>
                  <a:cubicBezTo>
                    <a:pt x="9" y="4"/>
                    <a:pt x="9" y="4"/>
                    <a:pt x="10" y="4"/>
                  </a:cubicBezTo>
                  <a:cubicBezTo>
                    <a:pt x="16" y="7"/>
                    <a:pt x="23" y="9"/>
                    <a:pt x="30" y="12"/>
                  </a:cubicBezTo>
                  <a:cubicBezTo>
                    <a:pt x="28" y="13"/>
                    <a:pt x="26" y="14"/>
                    <a:pt x="24" y="15"/>
                  </a:cubicBezTo>
                  <a:moveTo>
                    <a:pt x="1" y="0"/>
                  </a:moveTo>
                  <a:cubicBezTo>
                    <a:pt x="1" y="1"/>
                    <a:pt x="1" y="1"/>
                    <a:pt x="1" y="1"/>
                  </a:cubicBezTo>
                  <a:cubicBezTo>
                    <a:pt x="1" y="1"/>
                    <a:pt x="1" y="1"/>
                    <a:pt x="1" y="1"/>
                  </a:cubicBezTo>
                  <a:cubicBezTo>
                    <a:pt x="1" y="1"/>
                    <a:pt x="1" y="1"/>
                    <a:pt x="1" y="1"/>
                  </a:cubicBezTo>
                  <a:cubicBezTo>
                    <a:pt x="0" y="1"/>
                    <a:pt x="0" y="1"/>
                    <a:pt x="5" y="11"/>
                  </a:cubicBezTo>
                  <a:cubicBezTo>
                    <a:pt x="7" y="15"/>
                    <a:pt x="11" y="21"/>
                    <a:pt x="12" y="24"/>
                  </a:cubicBezTo>
                  <a:cubicBezTo>
                    <a:pt x="12" y="24"/>
                    <a:pt x="12" y="24"/>
                    <a:pt x="12" y="24"/>
                  </a:cubicBezTo>
                  <a:cubicBezTo>
                    <a:pt x="14" y="24"/>
                    <a:pt x="15" y="23"/>
                    <a:pt x="17" y="21"/>
                  </a:cubicBezTo>
                  <a:cubicBezTo>
                    <a:pt x="17" y="22"/>
                    <a:pt x="18" y="23"/>
                    <a:pt x="19" y="24"/>
                  </a:cubicBezTo>
                  <a:cubicBezTo>
                    <a:pt x="20" y="25"/>
                    <a:pt x="21" y="25"/>
                    <a:pt x="22" y="27"/>
                  </a:cubicBezTo>
                  <a:cubicBezTo>
                    <a:pt x="22" y="27"/>
                    <a:pt x="22" y="27"/>
                    <a:pt x="22" y="27"/>
                  </a:cubicBezTo>
                  <a:cubicBezTo>
                    <a:pt x="22" y="27"/>
                    <a:pt x="22" y="27"/>
                    <a:pt x="22" y="27"/>
                  </a:cubicBezTo>
                  <a:cubicBezTo>
                    <a:pt x="22" y="27"/>
                    <a:pt x="22" y="27"/>
                    <a:pt x="22" y="27"/>
                  </a:cubicBezTo>
                  <a:cubicBezTo>
                    <a:pt x="23" y="27"/>
                    <a:pt x="23" y="27"/>
                    <a:pt x="23" y="27"/>
                  </a:cubicBezTo>
                  <a:cubicBezTo>
                    <a:pt x="23" y="26"/>
                    <a:pt x="23" y="26"/>
                    <a:pt x="23" y="26"/>
                  </a:cubicBezTo>
                  <a:cubicBezTo>
                    <a:pt x="24" y="16"/>
                    <a:pt x="24" y="16"/>
                    <a:pt x="24" y="16"/>
                  </a:cubicBezTo>
                  <a:cubicBezTo>
                    <a:pt x="26" y="15"/>
                    <a:pt x="28" y="14"/>
                    <a:pt x="30" y="13"/>
                  </a:cubicBezTo>
                  <a:cubicBezTo>
                    <a:pt x="31" y="13"/>
                    <a:pt x="31" y="13"/>
                    <a:pt x="31" y="13"/>
                  </a:cubicBezTo>
                  <a:cubicBezTo>
                    <a:pt x="31" y="12"/>
                    <a:pt x="31" y="12"/>
                    <a:pt x="31" y="12"/>
                  </a:cubicBezTo>
                  <a:cubicBezTo>
                    <a:pt x="31" y="12"/>
                    <a:pt x="31" y="12"/>
                    <a:pt x="31" y="12"/>
                  </a:cubicBezTo>
                  <a:cubicBezTo>
                    <a:pt x="24" y="9"/>
                    <a:pt x="17" y="6"/>
                    <a:pt x="11" y="4"/>
                  </a:cubicBezTo>
                  <a:cubicBezTo>
                    <a:pt x="10" y="3"/>
                    <a:pt x="9" y="3"/>
                    <a:pt x="8" y="3"/>
                  </a:cubicBezTo>
                  <a:cubicBezTo>
                    <a:pt x="6" y="2"/>
                    <a:pt x="5" y="1"/>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26" name="iṧḻíḍè"/>
            <p:cNvSpPr/>
            <p:nvPr/>
          </p:nvSpPr>
          <p:spPr bwMode="auto">
            <a:xfrm>
              <a:off x="3453" y="1742"/>
              <a:ext cx="74" cy="64"/>
            </a:xfrm>
            <a:custGeom>
              <a:avLst/>
              <a:gdLst>
                <a:gd name="T0" fmla="*/ 22 w 31"/>
                <a:gd name="T1" fmla="*/ 25 h 27"/>
                <a:gd name="T2" fmla="*/ 20 w 31"/>
                <a:gd name="T3" fmla="*/ 23 h 27"/>
                <a:gd name="T4" fmla="*/ 17 w 31"/>
                <a:gd name="T5" fmla="*/ 21 h 27"/>
                <a:gd name="T6" fmla="*/ 21 w 31"/>
                <a:gd name="T7" fmla="*/ 18 h 27"/>
                <a:gd name="T8" fmla="*/ 22 w 31"/>
                <a:gd name="T9" fmla="*/ 25 h 27"/>
                <a:gd name="T10" fmla="*/ 22 w 31"/>
                <a:gd name="T11" fmla="*/ 25 h 27"/>
                <a:gd name="T12" fmla="*/ 23 w 31"/>
                <a:gd name="T13" fmla="*/ 23 h 27"/>
                <a:gd name="T14" fmla="*/ 21 w 31"/>
                <a:gd name="T15" fmla="*/ 18 h 27"/>
                <a:gd name="T16" fmla="*/ 22 w 31"/>
                <a:gd name="T17" fmla="*/ 18 h 27"/>
                <a:gd name="T18" fmla="*/ 21 w 31"/>
                <a:gd name="T19" fmla="*/ 17 h 27"/>
                <a:gd name="T20" fmla="*/ 15 w 31"/>
                <a:gd name="T21" fmla="*/ 12 h 27"/>
                <a:gd name="T22" fmla="*/ 9 w 31"/>
                <a:gd name="T23" fmla="*/ 6 h 27"/>
                <a:gd name="T24" fmla="*/ 16 w 31"/>
                <a:gd name="T25" fmla="*/ 11 h 27"/>
                <a:gd name="T26" fmla="*/ 24 w 31"/>
                <a:gd name="T27" fmla="*/ 16 h 27"/>
                <a:gd name="T28" fmla="*/ 23 w 31"/>
                <a:gd name="T29" fmla="*/ 23 h 27"/>
                <a:gd name="T30" fmla="*/ 13 w 31"/>
                <a:gd name="T31" fmla="*/ 23 h 27"/>
                <a:gd name="T32" fmla="*/ 2 w 31"/>
                <a:gd name="T33" fmla="*/ 2 h 27"/>
                <a:gd name="T34" fmla="*/ 15 w 31"/>
                <a:gd name="T35" fmla="*/ 13 h 27"/>
                <a:gd name="T36" fmla="*/ 20 w 31"/>
                <a:gd name="T37" fmla="*/ 17 h 27"/>
                <a:gd name="T38" fmla="*/ 17 w 31"/>
                <a:gd name="T39" fmla="*/ 20 h 27"/>
                <a:gd name="T40" fmla="*/ 13 w 31"/>
                <a:gd name="T41" fmla="*/ 23 h 27"/>
                <a:gd name="T42" fmla="*/ 24 w 31"/>
                <a:gd name="T43" fmla="*/ 15 h 27"/>
                <a:gd name="T44" fmla="*/ 16 w 31"/>
                <a:gd name="T45" fmla="*/ 10 h 27"/>
                <a:gd name="T46" fmla="*/ 9 w 31"/>
                <a:gd name="T47" fmla="*/ 5 h 27"/>
                <a:gd name="T48" fmla="*/ 4 w 31"/>
                <a:gd name="T49" fmla="*/ 2 h 27"/>
                <a:gd name="T50" fmla="*/ 8 w 31"/>
                <a:gd name="T51" fmla="*/ 4 h 27"/>
                <a:gd name="T52" fmla="*/ 10 w 31"/>
                <a:gd name="T53" fmla="*/ 4 h 27"/>
                <a:gd name="T54" fmla="*/ 29 w 31"/>
                <a:gd name="T55" fmla="*/ 12 h 27"/>
                <a:gd name="T56" fmla="*/ 24 w 31"/>
                <a:gd name="T57" fmla="*/ 15 h 27"/>
                <a:gd name="T58" fmla="*/ 1 w 31"/>
                <a:gd name="T59" fmla="*/ 0 h 27"/>
                <a:gd name="T60" fmla="*/ 1 w 31"/>
                <a:gd name="T61" fmla="*/ 1 h 27"/>
                <a:gd name="T62" fmla="*/ 1 w 31"/>
                <a:gd name="T63" fmla="*/ 1 h 27"/>
                <a:gd name="T64" fmla="*/ 1 w 31"/>
                <a:gd name="T65" fmla="*/ 1 h 27"/>
                <a:gd name="T66" fmla="*/ 5 w 31"/>
                <a:gd name="T67" fmla="*/ 11 h 27"/>
                <a:gd name="T68" fmla="*/ 12 w 31"/>
                <a:gd name="T69" fmla="*/ 24 h 27"/>
                <a:gd name="T70" fmla="*/ 12 w 31"/>
                <a:gd name="T71" fmla="*/ 24 h 27"/>
                <a:gd name="T72" fmla="*/ 17 w 31"/>
                <a:gd name="T73" fmla="*/ 22 h 27"/>
                <a:gd name="T74" fmla="*/ 19 w 31"/>
                <a:gd name="T75" fmla="*/ 24 h 27"/>
                <a:gd name="T76" fmla="*/ 22 w 31"/>
                <a:gd name="T77" fmla="*/ 27 h 27"/>
                <a:gd name="T78" fmla="*/ 22 w 31"/>
                <a:gd name="T79" fmla="*/ 27 h 27"/>
                <a:gd name="T80" fmla="*/ 22 w 31"/>
                <a:gd name="T81" fmla="*/ 27 h 27"/>
                <a:gd name="T82" fmla="*/ 22 w 31"/>
                <a:gd name="T83" fmla="*/ 27 h 27"/>
                <a:gd name="T84" fmla="*/ 23 w 31"/>
                <a:gd name="T85" fmla="*/ 27 h 27"/>
                <a:gd name="T86" fmla="*/ 23 w 31"/>
                <a:gd name="T87" fmla="*/ 26 h 27"/>
                <a:gd name="T88" fmla="*/ 25 w 31"/>
                <a:gd name="T89" fmla="*/ 16 h 27"/>
                <a:gd name="T90" fmla="*/ 30 w 31"/>
                <a:gd name="T91" fmla="*/ 13 h 27"/>
                <a:gd name="T92" fmla="*/ 31 w 31"/>
                <a:gd name="T93" fmla="*/ 13 h 27"/>
                <a:gd name="T94" fmla="*/ 31 w 31"/>
                <a:gd name="T95" fmla="*/ 12 h 27"/>
                <a:gd name="T96" fmla="*/ 31 w 31"/>
                <a:gd name="T97" fmla="*/ 12 h 27"/>
                <a:gd name="T98" fmla="*/ 11 w 31"/>
                <a:gd name="T99" fmla="*/ 3 h 27"/>
                <a:gd name="T100" fmla="*/ 9 w 31"/>
                <a:gd name="T101" fmla="*/ 3 h 27"/>
                <a:gd name="T102" fmla="*/ 1 w 31"/>
                <a:gd name="T10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 h="27">
                  <a:moveTo>
                    <a:pt x="22" y="25"/>
                  </a:moveTo>
                  <a:cubicBezTo>
                    <a:pt x="21" y="24"/>
                    <a:pt x="20" y="24"/>
                    <a:pt x="20" y="23"/>
                  </a:cubicBezTo>
                  <a:cubicBezTo>
                    <a:pt x="19" y="22"/>
                    <a:pt x="18" y="22"/>
                    <a:pt x="17" y="21"/>
                  </a:cubicBezTo>
                  <a:cubicBezTo>
                    <a:pt x="18" y="20"/>
                    <a:pt x="19" y="19"/>
                    <a:pt x="21" y="18"/>
                  </a:cubicBezTo>
                  <a:cubicBezTo>
                    <a:pt x="21" y="20"/>
                    <a:pt x="21" y="22"/>
                    <a:pt x="22" y="25"/>
                  </a:cubicBezTo>
                  <a:cubicBezTo>
                    <a:pt x="22" y="25"/>
                    <a:pt x="22" y="25"/>
                    <a:pt x="22" y="25"/>
                  </a:cubicBezTo>
                  <a:moveTo>
                    <a:pt x="23" y="23"/>
                  </a:moveTo>
                  <a:cubicBezTo>
                    <a:pt x="22" y="21"/>
                    <a:pt x="22" y="19"/>
                    <a:pt x="21" y="18"/>
                  </a:cubicBezTo>
                  <a:cubicBezTo>
                    <a:pt x="22" y="18"/>
                    <a:pt x="22" y="18"/>
                    <a:pt x="22" y="18"/>
                  </a:cubicBezTo>
                  <a:cubicBezTo>
                    <a:pt x="21" y="17"/>
                    <a:pt x="21" y="17"/>
                    <a:pt x="21" y="17"/>
                  </a:cubicBezTo>
                  <a:cubicBezTo>
                    <a:pt x="19" y="15"/>
                    <a:pt x="17" y="14"/>
                    <a:pt x="15" y="12"/>
                  </a:cubicBezTo>
                  <a:cubicBezTo>
                    <a:pt x="13" y="10"/>
                    <a:pt x="11" y="8"/>
                    <a:pt x="9" y="6"/>
                  </a:cubicBezTo>
                  <a:cubicBezTo>
                    <a:pt x="11" y="8"/>
                    <a:pt x="13" y="9"/>
                    <a:pt x="16" y="11"/>
                  </a:cubicBezTo>
                  <a:cubicBezTo>
                    <a:pt x="19" y="13"/>
                    <a:pt x="22" y="15"/>
                    <a:pt x="24" y="16"/>
                  </a:cubicBezTo>
                  <a:cubicBezTo>
                    <a:pt x="23" y="23"/>
                    <a:pt x="23" y="23"/>
                    <a:pt x="23" y="23"/>
                  </a:cubicBezTo>
                  <a:moveTo>
                    <a:pt x="13" y="23"/>
                  </a:moveTo>
                  <a:cubicBezTo>
                    <a:pt x="10" y="19"/>
                    <a:pt x="4" y="6"/>
                    <a:pt x="2" y="2"/>
                  </a:cubicBezTo>
                  <a:cubicBezTo>
                    <a:pt x="7" y="6"/>
                    <a:pt x="10" y="9"/>
                    <a:pt x="15" y="13"/>
                  </a:cubicBezTo>
                  <a:cubicBezTo>
                    <a:pt x="16" y="14"/>
                    <a:pt x="18" y="16"/>
                    <a:pt x="20" y="17"/>
                  </a:cubicBezTo>
                  <a:cubicBezTo>
                    <a:pt x="19" y="18"/>
                    <a:pt x="18" y="19"/>
                    <a:pt x="17" y="20"/>
                  </a:cubicBezTo>
                  <a:cubicBezTo>
                    <a:pt x="15" y="22"/>
                    <a:pt x="14" y="23"/>
                    <a:pt x="13" y="23"/>
                  </a:cubicBezTo>
                  <a:moveTo>
                    <a:pt x="24" y="15"/>
                  </a:moveTo>
                  <a:cubicBezTo>
                    <a:pt x="22" y="14"/>
                    <a:pt x="20" y="12"/>
                    <a:pt x="16" y="10"/>
                  </a:cubicBezTo>
                  <a:cubicBezTo>
                    <a:pt x="13" y="8"/>
                    <a:pt x="11" y="7"/>
                    <a:pt x="9" y="5"/>
                  </a:cubicBezTo>
                  <a:cubicBezTo>
                    <a:pt x="7" y="4"/>
                    <a:pt x="6" y="3"/>
                    <a:pt x="4" y="2"/>
                  </a:cubicBezTo>
                  <a:cubicBezTo>
                    <a:pt x="6" y="3"/>
                    <a:pt x="7" y="3"/>
                    <a:pt x="8" y="4"/>
                  </a:cubicBezTo>
                  <a:cubicBezTo>
                    <a:pt x="9" y="4"/>
                    <a:pt x="9" y="4"/>
                    <a:pt x="10" y="4"/>
                  </a:cubicBezTo>
                  <a:cubicBezTo>
                    <a:pt x="16" y="7"/>
                    <a:pt x="23" y="10"/>
                    <a:pt x="29" y="12"/>
                  </a:cubicBezTo>
                  <a:cubicBezTo>
                    <a:pt x="28" y="13"/>
                    <a:pt x="26" y="14"/>
                    <a:pt x="24" y="15"/>
                  </a:cubicBezTo>
                  <a:moveTo>
                    <a:pt x="1" y="0"/>
                  </a:moveTo>
                  <a:cubicBezTo>
                    <a:pt x="1" y="1"/>
                    <a:pt x="1" y="1"/>
                    <a:pt x="1" y="1"/>
                  </a:cubicBezTo>
                  <a:cubicBezTo>
                    <a:pt x="1" y="1"/>
                    <a:pt x="1" y="1"/>
                    <a:pt x="1" y="1"/>
                  </a:cubicBezTo>
                  <a:cubicBezTo>
                    <a:pt x="1" y="1"/>
                    <a:pt x="1" y="1"/>
                    <a:pt x="1" y="1"/>
                  </a:cubicBezTo>
                  <a:cubicBezTo>
                    <a:pt x="0" y="1"/>
                    <a:pt x="0" y="1"/>
                    <a:pt x="5" y="11"/>
                  </a:cubicBezTo>
                  <a:cubicBezTo>
                    <a:pt x="7" y="15"/>
                    <a:pt x="10" y="22"/>
                    <a:pt x="12" y="24"/>
                  </a:cubicBezTo>
                  <a:cubicBezTo>
                    <a:pt x="12" y="24"/>
                    <a:pt x="12" y="24"/>
                    <a:pt x="12" y="24"/>
                  </a:cubicBezTo>
                  <a:cubicBezTo>
                    <a:pt x="14" y="24"/>
                    <a:pt x="15" y="23"/>
                    <a:pt x="17" y="22"/>
                  </a:cubicBezTo>
                  <a:cubicBezTo>
                    <a:pt x="17" y="22"/>
                    <a:pt x="18" y="23"/>
                    <a:pt x="19" y="24"/>
                  </a:cubicBezTo>
                  <a:cubicBezTo>
                    <a:pt x="20" y="25"/>
                    <a:pt x="21" y="26"/>
                    <a:pt x="22" y="27"/>
                  </a:cubicBezTo>
                  <a:cubicBezTo>
                    <a:pt x="22" y="27"/>
                    <a:pt x="22" y="27"/>
                    <a:pt x="22" y="27"/>
                  </a:cubicBezTo>
                  <a:cubicBezTo>
                    <a:pt x="22" y="27"/>
                    <a:pt x="22" y="27"/>
                    <a:pt x="22" y="27"/>
                  </a:cubicBezTo>
                  <a:cubicBezTo>
                    <a:pt x="22" y="27"/>
                    <a:pt x="22" y="27"/>
                    <a:pt x="22" y="27"/>
                  </a:cubicBezTo>
                  <a:cubicBezTo>
                    <a:pt x="23" y="27"/>
                    <a:pt x="23" y="27"/>
                    <a:pt x="23" y="27"/>
                  </a:cubicBezTo>
                  <a:cubicBezTo>
                    <a:pt x="23" y="26"/>
                    <a:pt x="23" y="26"/>
                    <a:pt x="23" y="26"/>
                  </a:cubicBezTo>
                  <a:cubicBezTo>
                    <a:pt x="25" y="16"/>
                    <a:pt x="25" y="16"/>
                    <a:pt x="25" y="16"/>
                  </a:cubicBezTo>
                  <a:cubicBezTo>
                    <a:pt x="27" y="15"/>
                    <a:pt x="28" y="14"/>
                    <a:pt x="30" y="13"/>
                  </a:cubicBezTo>
                  <a:cubicBezTo>
                    <a:pt x="31" y="13"/>
                    <a:pt x="31" y="13"/>
                    <a:pt x="31" y="13"/>
                  </a:cubicBezTo>
                  <a:cubicBezTo>
                    <a:pt x="31" y="12"/>
                    <a:pt x="31" y="12"/>
                    <a:pt x="31" y="12"/>
                  </a:cubicBezTo>
                  <a:cubicBezTo>
                    <a:pt x="31" y="12"/>
                    <a:pt x="31" y="12"/>
                    <a:pt x="31" y="12"/>
                  </a:cubicBezTo>
                  <a:cubicBezTo>
                    <a:pt x="24" y="9"/>
                    <a:pt x="17" y="6"/>
                    <a:pt x="11" y="3"/>
                  </a:cubicBezTo>
                  <a:cubicBezTo>
                    <a:pt x="10" y="3"/>
                    <a:pt x="9" y="3"/>
                    <a:pt x="9" y="3"/>
                  </a:cubicBezTo>
                  <a:cubicBezTo>
                    <a:pt x="6" y="2"/>
                    <a:pt x="5" y="1"/>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27" name="isḷíďe"/>
            <p:cNvSpPr/>
            <p:nvPr/>
          </p:nvSpPr>
          <p:spPr bwMode="auto">
            <a:xfrm>
              <a:off x="3539" y="2108"/>
              <a:ext cx="119" cy="112"/>
            </a:xfrm>
            <a:custGeom>
              <a:avLst/>
              <a:gdLst>
                <a:gd name="T0" fmla="*/ 14 w 50"/>
                <a:gd name="T1" fmla="*/ 46 h 47"/>
                <a:gd name="T2" fmla="*/ 16 w 50"/>
                <a:gd name="T3" fmla="*/ 46 h 47"/>
                <a:gd name="T4" fmla="*/ 19 w 50"/>
                <a:gd name="T5" fmla="*/ 46 h 47"/>
                <a:gd name="T6" fmla="*/ 20 w 50"/>
                <a:gd name="T7" fmla="*/ 46 h 47"/>
                <a:gd name="T8" fmla="*/ 22 w 50"/>
                <a:gd name="T9" fmla="*/ 46 h 47"/>
                <a:gd name="T10" fmla="*/ 24 w 50"/>
                <a:gd name="T11" fmla="*/ 46 h 47"/>
                <a:gd name="T12" fmla="*/ 27 w 50"/>
                <a:gd name="T13" fmla="*/ 46 h 47"/>
                <a:gd name="T14" fmla="*/ 28 w 50"/>
                <a:gd name="T15" fmla="*/ 46 h 47"/>
                <a:gd name="T16" fmla="*/ 33 w 50"/>
                <a:gd name="T17" fmla="*/ 46 h 47"/>
                <a:gd name="T18" fmla="*/ 34 w 50"/>
                <a:gd name="T19" fmla="*/ 46 h 47"/>
                <a:gd name="T20" fmla="*/ 37 w 50"/>
                <a:gd name="T21" fmla="*/ 45 h 47"/>
                <a:gd name="T22" fmla="*/ 38 w 50"/>
                <a:gd name="T23" fmla="*/ 45 h 47"/>
                <a:gd name="T24" fmla="*/ 13 w 50"/>
                <a:gd name="T25" fmla="*/ 45 h 47"/>
                <a:gd name="T26" fmla="*/ 19 w 50"/>
                <a:gd name="T27" fmla="*/ 42 h 47"/>
                <a:gd name="T28" fmla="*/ 31 w 50"/>
                <a:gd name="T29" fmla="*/ 40 h 47"/>
                <a:gd name="T30" fmla="*/ 38 w 50"/>
                <a:gd name="T31" fmla="*/ 44 h 47"/>
                <a:gd name="T32" fmla="*/ 13 w 50"/>
                <a:gd name="T33" fmla="*/ 43 h 47"/>
                <a:gd name="T34" fmla="*/ 6 w 50"/>
                <a:gd name="T35" fmla="*/ 37 h 47"/>
                <a:gd name="T36" fmla="*/ 4 w 50"/>
                <a:gd name="T37" fmla="*/ 37 h 47"/>
                <a:gd name="T38" fmla="*/ 42 w 50"/>
                <a:gd name="T39" fmla="*/ 36 h 47"/>
                <a:gd name="T40" fmla="*/ 8 w 50"/>
                <a:gd name="T41" fmla="*/ 37 h 47"/>
                <a:gd name="T42" fmla="*/ 39 w 50"/>
                <a:gd name="T43" fmla="*/ 36 h 47"/>
                <a:gd name="T44" fmla="*/ 36 w 50"/>
                <a:gd name="T45" fmla="*/ 37 h 47"/>
                <a:gd name="T46" fmla="*/ 43 w 50"/>
                <a:gd name="T47" fmla="*/ 36 h 47"/>
                <a:gd name="T48" fmla="*/ 35 w 50"/>
                <a:gd name="T49" fmla="*/ 35 h 47"/>
                <a:gd name="T50" fmla="*/ 34 w 50"/>
                <a:gd name="T51" fmla="*/ 35 h 47"/>
                <a:gd name="T52" fmla="*/ 31 w 50"/>
                <a:gd name="T53" fmla="*/ 35 h 47"/>
                <a:gd name="T54" fmla="*/ 30 w 50"/>
                <a:gd name="T55" fmla="*/ 35 h 47"/>
                <a:gd name="T56" fmla="*/ 28 w 50"/>
                <a:gd name="T57" fmla="*/ 35 h 47"/>
                <a:gd name="T58" fmla="*/ 26 w 50"/>
                <a:gd name="T59" fmla="*/ 35 h 47"/>
                <a:gd name="T60" fmla="*/ 25 w 50"/>
                <a:gd name="T61" fmla="*/ 35 h 47"/>
                <a:gd name="T62" fmla="*/ 24 w 50"/>
                <a:gd name="T63" fmla="*/ 35 h 47"/>
                <a:gd name="T64" fmla="*/ 11 w 50"/>
                <a:gd name="T65" fmla="*/ 35 h 47"/>
                <a:gd name="T66" fmla="*/ 20 w 50"/>
                <a:gd name="T67" fmla="*/ 35 h 47"/>
                <a:gd name="T68" fmla="*/ 18 w 50"/>
                <a:gd name="T69" fmla="*/ 35 h 47"/>
                <a:gd name="T70" fmla="*/ 17 w 50"/>
                <a:gd name="T71" fmla="*/ 35 h 47"/>
                <a:gd name="T72" fmla="*/ 15 w 50"/>
                <a:gd name="T73" fmla="*/ 35 h 47"/>
                <a:gd name="T74" fmla="*/ 47 w 50"/>
                <a:gd name="T75" fmla="*/ 35 h 47"/>
                <a:gd name="T76" fmla="*/ 4 w 50"/>
                <a:gd name="T77" fmla="*/ 35 h 47"/>
                <a:gd name="T78" fmla="*/ 47 w 50"/>
                <a:gd name="T79" fmla="*/ 36 h 47"/>
                <a:gd name="T80" fmla="*/ 2 w 50"/>
                <a:gd name="T81" fmla="*/ 31 h 47"/>
                <a:gd name="T82" fmla="*/ 7 w 50"/>
                <a:gd name="T83" fmla="*/ 1 h 47"/>
                <a:gd name="T84" fmla="*/ 49 w 50"/>
                <a:gd name="T85" fmla="*/ 9 h 47"/>
                <a:gd name="T86" fmla="*/ 41 w 50"/>
                <a:gd name="T87" fmla="*/ 35 h 47"/>
                <a:gd name="T88" fmla="*/ 7 w 50"/>
                <a:gd name="T89" fmla="*/ 0 h 47"/>
                <a:gd name="T90" fmla="*/ 1 w 50"/>
                <a:gd name="T91" fmla="*/ 32 h 47"/>
                <a:gd name="T92" fmla="*/ 18 w 50"/>
                <a:gd name="T93" fmla="*/ 41 h 47"/>
                <a:gd name="T94" fmla="*/ 12 w 50"/>
                <a:gd name="T95" fmla="*/ 42 h 47"/>
                <a:gd name="T96" fmla="*/ 14 w 50"/>
                <a:gd name="T97" fmla="*/ 47 h 47"/>
                <a:gd name="T98" fmla="*/ 39 w 50"/>
                <a:gd name="T99" fmla="*/ 46 h 47"/>
                <a:gd name="T100" fmla="*/ 32 w 50"/>
                <a:gd name="T101" fmla="*/ 42 h 47"/>
                <a:gd name="T102" fmla="*/ 49 w 50"/>
                <a:gd name="T103" fmla="*/ 37 h 47"/>
                <a:gd name="T104" fmla="*/ 50 w 50"/>
                <a:gd name="T105" fmla="*/ 9 h 47"/>
                <a:gd name="T106" fmla="*/ 7 w 50"/>
                <a:gd name="T10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 h="47">
                  <a:moveTo>
                    <a:pt x="14" y="46"/>
                  </a:moveTo>
                  <a:cubicBezTo>
                    <a:pt x="13" y="46"/>
                    <a:pt x="13" y="46"/>
                    <a:pt x="13" y="46"/>
                  </a:cubicBezTo>
                  <a:cubicBezTo>
                    <a:pt x="14" y="45"/>
                    <a:pt x="14" y="45"/>
                    <a:pt x="14" y="45"/>
                  </a:cubicBezTo>
                  <a:cubicBezTo>
                    <a:pt x="15" y="45"/>
                    <a:pt x="15" y="45"/>
                    <a:pt x="15" y="45"/>
                  </a:cubicBezTo>
                  <a:cubicBezTo>
                    <a:pt x="14" y="46"/>
                    <a:pt x="14" y="46"/>
                    <a:pt x="14" y="46"/>
                  </a:cubicBezTo>
                  <a:cubicBezTo>
                    <a:pt x="14" y="46"/>
                    <a:pt x="14" y="46"/>
                    <a:pt x="14" y="46"/>
                  </a:cubicBezTo>
                  <a:moveTo>
                    <a:pt x="15" y="46"/>
                  </a:moveTo>
                  <a:cubicBezTo>
                    <a:pt x="16" y="45"/>
                    <a:pt x="16" y="45"/>
                    <a:pt x="16" y="45"/>
                  </a:cubicBezTo>
                  <a:cubicBezTo>
                    <a:pt x="17" y="45"/>
                    <a:pt x="17" y="45"/>
                    <a:pt x="17" y="45"/>
                  </a:cubicBezTo>
                  <a:cubicBezTo>
                    <a:pt x="16" y="46"/>
                    <a:pt x="16" y="46"/>
                    <a:pt x="16" y="46"/>
                  </a:cubicBezTo>
                  <a:cubicBezTo>
                    <a:pt x="16" y="46"/>
                    <a:pt x="16" y="46"/>
                    <a:pt x="16" y="46"/>
                  </a:cubicBezTo>
                  <a:cubicBezTo>
                    <a:pt x="16" y="46"/>
                    <a:pt x="16" y="46"/>
                    <a:pt x="16" y="46"/>
                  </a:cubicBezTo>
                  <a:cubicBezTo>
                    <a:pt x="15" y="46"/>
                    <a:pt x="15" y="46"/>
                    <a:pt x="15" y="46"/>
                  </a:cubicBezTo>
                  <a:cubicBezTo>
                    <a:pt x="15" y="46"/>
                    <a:pt x="15" y="46"/>
                    <a:pt x="15" y="46"/>
                  </a:cubicBezTo>
                  <a:moveTo>
                    <a:pt x="17" y="46"/>
                  </a:moveTo>
                  <a:cubicBezTo>
                    <a:pt x="18" y="45"/>
                    <a:pt x="18" y="45"/>
                    <a:pt x="18" y="45"/>
                  </a:cubicBezTo>
                  <a:cubicBezTo>
                    <a:pt x="19" y="45"/>
                    <a:pt x="19" y="45"/>
                    <a:pt x="19" y="45"/>
                  </a:cubicBezTo>
                  <a:cubicBezTo>
                    <a:pt x="19" y="46"/>
                    <a:pt x="19" y="46"/>
                    <a:pt x="19" y="46"/>
                  </a:cubicBezTo>
                  <a:cubicBezTo>
                    <a:pt x="19" y="46"/>
                    <a:pt x="19" y="46"/>
                    <a:pt x="19" y="46"/>
                  </a:cubicBezTo>
                  <a:cubicBezTo>
                    <a:pt x="18" y="46"/>
                    <a:pt x="18" y="46"/>
                    <a:pt x="17" y="46"/>
                  </a:cubicBezTo>
                  <a:moveTo>
                    <a:pt x="19" y="46"/>
                  </a:moveTo>
                  <a:cubicBezTo>
                    <a:pt x="20" y="45"/>
                    <a:pt x="20" y="45"/>
                    <a:pt x="20" y="45"/>
                  </a:cubicBezTo>
                  <a:cubicBezTo>
                    <a:pt x="21" y="45"/>
                    <a:pt x="21" y="45"/>
                    <a:pt x="21" y="45"/>
                  </a:cubicBezTo>
                  <a:cubicBezTo>
                    <a:pt x="20" y="46"/>
                    <a:pt x="20" y="46"/>
                    <a:pt x="20" y="46"/>
                  </a:cubicBezTo>
                  <a:cubicBezTo>
                    <a:pt x="19" y="46"/>
                    <a:pt x="19" y="46"/>
                    <a:pt x="19" y="46"/>
                  </a:cubicBezTo>
                  <a:moveTo>
                    <a:pt x="21" y="46"/>
                  </a:moveTo>
                  <a:cubicBezTo>
                    <a:pt x="21" y="45"/>
                    <a:pt x="21" y="45"/>
                    <a:pt x="21" y="45"/>
                  </a:cubicBezTo>
                  <a:cubicBezTo>
                    <a:pt x="23" y="45"/>
                    <a:pt x="23" y="45"/>
                    <a:pt x="23" y="45"/>
                  </a:cubicBezTo>
                  <a:cubicBezTo>
                    <a:pt x="22" y="46"/>
                    <a:pt x="22" y="46"/>
                    <a:pt x="22" y="46"/>
                  </a:cubicBezTo>
                  <a:cubicBezTo>
                    <a:pt x="22" y="46"/>
                    <a:pt x="22" y="46"/>
                    <a:pt x="22" y="46"/>
                  </a:cubicBezTo>
                  <a:cubicBezTo>
                    <a:pt x="21" y="46"/>
                    <a:pt x="21" y="46"/>
                    <a:pt x="21" y="46"/>
                  </a:cubicBezTo>
                  <a:moveTo>
                    <a:pt x="23" y="46"/>
                  </a:moveTo>
                  <a:cubicBezTo>
                    <a:pt x="24" y="45"/>
                    <a:pt x="24" y="45"/>
                    <a:pt x="24" y="45"/>
                  </a:cubicBezTo>
                  <a:cubicBezTo>
                    <a:pt x="24" y="45"/>
                    <a:pt x="24" y="45"/>
                    <a:pt x="24" y="45"/>
                  </a:cubicBezTo>
                  <a:cubicBezTo>
                    <a:pt x="24" y="46"/>
                    <a:pt x="24" y="46"/>
                    <a:pt x="24" y="46"/>
                  </a:cubicBezTo>
                  <a:cubicBezTo>
                    <a:pt x="24" y="46"/>
                    <a:pt x="24" y="46"/>
                    <a:pt x="24" y="46"/>
                  </a:cubicBezTo>
                  <a:cubicBezTo>
                    <a:pt x="23" y="46"/>
                    <a:pt x="23" y="46"/>
                    <a:pt x="23" y="46"/>
                  </a:cubicBezTo>
                  <a:moveTo>
                    <a:pt x="25" y="46"/>
                  </a:moveTo>
                  <a:cubicBezTo>
                    <a:pt x="26" y="45"/>
                    <a:pt x="26" y="45"/>
                    <a:pt x="26" y="45"/>
                  </a:cubicBezTo>
                  <a:cubicBezTo>
                    <a:pt x="27" y="45"/>
                    <a:pt x="27" y="45"/>
                    <a:pt x="27" y="45"/>
                  </a:cubicBezTo>
                  <a:cubicBezTo>
                    <a:pt x="27" y="46"/>
                    <a:pt x="27" y="46"/>
                    <a:pt x="27" y="46"/>
                  </a:cubicBezTo>
                  <a:cubicBezTo>
                    <a:pt x="27" y="46"/>
                    <a:pt x="27" y="46"/>
                    <a:pt x="27" y="46"/>
                  </a:cubicBezTo>
                  <a:cubicBezTo>
                    <a:pt x="26" y="46"/>
                    <a:pt x="25" y="46"/>
                    <a:pt x="25" y="46"/>
                  </a:cubicBezTo>
                  <a:moveTo>
                    <a:pt x="28" y="46"/>
                  </a:moveTo>
                  <a:cubicBezTo>
                    <a:pt x="28" y="45"/>
                    <a:pt x="28" y="45"/>
                    <a:pt x="28" y="45"/>
                  </a:cubicBezTo>
                  <a:cubicBezTo>
                    <a:pt x="29" y="45"/>
                    <a:pt x="29" y="45"/>
                    <a:pt x="29" y="45"/>
                  </a:cubicBezTo>
                  <a:cubicBezTo>
                    <a:pt x="29" y="46"/>
                    <a:pt x="29" y="46"/>
                    <a:pt x="29" y="46"/>
                  </a:cubicBezTo>
                  <a:cubicBezTo>
                    <a:pt x="28" y="46"/>
                    <a:pt x="28" y="46"/>
                    <a:pt x="28" y="46"/>
                  </a:cubicBezTo>
                  <a:moveTo>
                    <a:pt x="31" y="46"/>
                  </a:moveTo>
                  <a:cubicBezTo>
                    <a:pt x="31" y="46"/>
                    <a:pt x="30" y="46"/>
                    <a:pt x="30" y="46"/>
                  </a:cubicBezTo>
                  <a:cubicBezTo>
                    <a:pt x="30" y="45"/>
                    <a:pt x="30" y="45"/>
                    <a:pt x="30" y="45"/>
                  </a:cubicBezTo>
                  <a:cubicBezTo>
                    <a:pt x="32" y="45"/>
                    <a:pt x="32" y="45"/>
                    <a:pt x="32" y="45"/>
                  </a:cubicBezTo>
                  <a:cubicBezTo>
                    <a:pt x="31" y="46"/>
                    <a:pt x="31" y="46"/>
                    <a:pt x="31" y="46"/>
                  </a:cubicBezTo>
                  <a:moveTo>
                    <a:pt x="33" y="46"/>
                  </a:moveTo>
                  <a:cubicBezTo>
                    <a:pt x="33" y="46"/>
                    <a:pt x="32" y="46"/>
                    <a:pt x="32" y="46"/>
                  </a:cubicBezTo>
                  <a:cubicBezTo>
                    <a:pt x="33" y="45"/>
                    <a:pt x="33" y="45"/>
                    <a:pt x="33" y="45"/>
                  </a:cubicBezTo>
                  <a:cubicBezTo>
                    <a:pt x="34" y="45"/>
                    <a:pt x="34" y="45"/>
                    <a:pt x="34" y="45"/>
                  </a:cubicBezTo>
                  <a:cubicBezTo>
                    <a:pt x="33" y="46"/>
                    <a:pt x="33" y="46"/>
                    <a:pt x="33" y="46"/>
                  </a:cubicBezTo>
                  <a:moveTo>
                    <a:pt x="35" y="46"/>
                  </a:moveTo>
                  <a:cubicBezTo>
                    <a:pt x="34" y="46"/>
                    <a:pt x="34" y="46"/>
                    <a:pt x="34" y="46"/>
                  </a:cubicBezTo>
                  <a:cubicBezTo>
                    <a:pt x="35" y="45"/>
                    <a:pt x="35" y="45"/>
                    <a:pt x="35" y="45"/>
                  </a:cubicBezTo>
                  <a:cubicBezTo>
                    <a:pt x="36" y="45"/>
                    <a:pt x="36" y="45"/>
                    <a:pt x="36" y="45"/>
                  </a:cubicBezTo>
                  <a:cubicBezTo>
                    <a:pt x="35" y="46"/>
                    <a:pt x="35" y="46"/>
                    <a:pt x="35" y="46"/>
                  </a:cubicBezTo>
                  <a:moveTo>
                    <a:pt x="36" y="46"/>
                  </a:moveTo>
                  <a:cubicBezTo>
                    <a:pt x="36" y="45"/>
                    <a:pt x="36" y="45"/>
                    <a:pt x="36" y="45"/>
                  </a:cubicBezTo>
                  <a:cubicBezTo>
                    <a:pt x="37" y="45"/>
                    <a:pt x="37" y="45"/>
                    <a:pt x="37" y="45"/>
                  </a:cubicBezTo>
                  <a:cubicBezTo>
                    <a:pt x="36" y="46"/>
                    <a:pt x="36" y="46"/>
                    <a:pt x="36" y="46"/>
                  </a:cubicBezTo>
                  <a:cubicBezTo>
                    <a:pt x="36" y="46"/>
                    <a:pt x="36" y="46"/>
                    <a:pt x="36" y="46"/>
                  </a:cubicBezTo>
                  <a:moveTo>
                    <a:pt x="37" y="46"/>
                  </a:moveTo>
                  <a:cubicBezTo>
                    <a:pt x="38" y="45"/>
                    <a:pt x="38" y="45"/>
                    <a:pt x="38" y="45"/>
                  </a:cubicBezTo>
                  <a:cubicBezTo>
                    <a:pt x="38" y="45"/>
                    <a:pt x="38" y="45"/>
                    <a:pt x="38" y="45"/>
                  </a:cubicBezTo>
                  <a:cubicBezTo>
                    <a:pt x="38" y="45"/>
                    <a:pt x="38" y="45"/>
                    <a:pt x="38" y="45"/>
                  </a:cubicBezTo>
                  <a:cubicBezTo>
                    <a:pt x="38" y="46"/>
                    <a:pt x="38" y="46"/>
                    <a:pt x="38" y="46"/>
                  </a:cubicBezTo>
                  <a:cubicBezTo>
                    <a:pt x="37" y="46"/>
                    <a:pt x="37" y="46"/>
                    <a:pt x="37" y="46"/>
                  </a:cubicBezTo>
                  <a:moveTo>
                    <a:pt x="13" y="46"/>
                  </a:moveTo>
                  <a:cubicBezTo>
                    <a:pt x="13" y="45"/>
                    <a:pt x="13" y="45"/>
                    <a:pt x="13" y="45"/>
                  </a:cubicBezTo>
                  <a:cubicBezTo>
                    <a:pt x="13" y="45"/>
                    <a:pt x="13" y="45"/>
                    <a:pt x="13" y="45"/>
                  </a:cubicBezTo>
                  <a:cubicBezTo>
                    <a:pt x="13" y="45"/>
                    <a:pt x="13" y="45"/>
                    <a:pt x="13" y="45"/>
                  </a:cubicBezTo>
                  <a:cubicBezTo>
                    <a:pt x="13" y="45"/>
                    <a:pt x="13" y="45"/>
                    <a:pt x="13" y="45"/>
                  </a:cubicBezTo>
                  <a:cubicBezTo>
                    <a:pt x="13" y="46"/>
                    <a:pt x="13" y="46"/>
                    <a:pt x="13" y="46"/>
                  </a:cubicBezTo>
                  <a:moveTo>
                    <a:pt x="15" y="43"/>
                  </a:moveTo>
                  <a:cubicBezTo>
                    <a:pt x="15" y="43"/>
                    <a:pt x="15" y="43"/>
                    <a:pt x="15" y="43"/>
                  </a:cubicBezTo>
                  <a:cubicBezTo>
                    <a:pt x="16" y="43"/>
                    <a:pt x="16" y="43"/>
                    <a:pt x="17" y="43"/>
                  </a:cubicBezTo>
                  <a:cubicBezTo>
                    <a:pt x="18" y="43"/>
                    <a:pt x="18" y="43"/>
                    <a:pt x="19" y="42"/>
                  </a:cubicBezTo>
                  <a:cubicBezTo>
                    <a:pt x="19" y="42"/>
                    <a:pt x="19" y="42"/>
                    <a:pt x="19" y="41"/>
                  </a:cubicBezTo>
                  <a:cubicBezTo>
                    <a:pt x="19" y="40"/>
                    <a:pt x="19" y="39"/>
                    <a:pt x="19" y="39"/>
                  </a:cubicBezTo>
                  <a:cubicBezTo>
                    <a:pt x="19" y="38"/>
                    <a:pt x="19" y="38"/>
                    <a:pt x="19" y="38"/>
                  </a:cubicBezTo>
                  <a:cubicBezTo>
                    <a:pt x="23" y="38"/>
                    <a:pt x="27" y="38"/>
                    <a:pt x="31" y="38"/>
                  </a:cubicBezTo>
                  <a:cubicBezTo>
                    <a:pt x="31" y="38"/>
                    <a:pt x="31" y="39"/>
                    <a:pt x="31" y="39"/>
                  </a:cubicBezTo>
                  <a:cubicBezTo>
                    <a:pt x="31" y="40"/>
                    <a:pt x="31" y="40"/>
                    <a:pt x="31" y="40"/>
                  </a:cubicBezTo>
                  <a:cubicBezTo>
                    <a:pt x="31" y="40"/>
                    <a:pt x="31" y="40"/>
                    <a:pt x="31" y="40"/>
                  </a:cubicBezTo>
                  <a:cubicBezTo>
                    <a:pt x="31" y="41"/>
                    <a:pt x="31" y="42"/>
                    <a:pt x="31" y="42"/>
                  </a:cubicBezTo>
                  <a:cubicBezTo>
                    <a:pt x="31" y="43"/>
                    <a:pt x="32" y="43"/>
                    <a:pt x="32" y="43"/>
                  </a:cubicBezTo>
                  <a:cubicBezTo>
                    <a:pt x="37" y="43"/>
                    <a:pt x="37" y="43"/>
                    <a:pt x="37" y="43"/>
                  </a:cubicBezTo>
                  <a:cubicBezTo>
                    <a:pt x="37" y="43"/>
                    <a:pt x="37" y="43"/>
                    <a:pt x="38" y="43"/>
                  </a:cubicBezTo>
                  <a:cubicBezTo>
                    <a:pt x="38" y="44"/>
                    <a:pt x="38" y="44"/>
                    <a:pt x="38" y="44"/>
                  </a:cubicBezTo>
                  <a:cubicBezTo>
                    <a:pt x="26" y="44"/>
                    <a:pt x="26" y="44"/>
                    <a:pt x="26" y="44"/>
                  </a:cubicBezTo>
                  <a:cubicBezTo>
                    <a:pt x="26" y="44"/>
                    <a:pt x="26" y="44"/>
                    <a:pt x="26" y="44"/>
                  </a:cubicBezTo>
                  <a:cubicBezTo>
                    <a:pt x="13" y="44"/>
                    <a:pt x="13" y="44"/>
                    <a:pt x="13" y="44"/>
                  </a:cubicBezTo>
                  <a:cubicBezTo>
                    <a:pt x="13" y="44"/>
                    <a:pt x="13" y="44"/>
                    <a:pt x="13" y="44"/>
                  </a:cubicBezTo>
                  <a:cubicBezTo>
                    <a:pt x="13" y="44"/>
                    <a:pt x="13" y="44"/>
                    <a:pt x="13" y="44"/>
                  </a:cubicBezTo>
                  <a:cubicBezTo>
                    <a:pt x="13" y="43"/>
                    <a:pt x="13" y="43"/>
                    <a:pt x="13" y="43"/>
                  </a:cubicBezTo>
                  <a:cubicBezTo>
                    <a:pt x="13" y="43"/>
                    <a:pt x="13" y="43"/>
                    <a:pt x="13" y="43"/>
                  </a:cubicBezTo>
                  <a:cubicBezTo>
                    <a:pt x="14" y="43"/>
                    <a:pt x="14" y="43"/>
                    <a:pt x="14" y="43"/>
                  </a:cubicBezTo>
                  <a:cubicBezTo>
                    <a:pt x="14" y="43"/>
                    <a:pt x="15" y="43"/>
                    <a:pt x="15" y="43"/>
                  </a:cubicBezTo>
                  <a:moveTo>
                    <a:pt x="7" y="37"/>
                  </a:moveTo>
                  <a:cubicBezTo>
                    <a:pt x="7" y="37"/>
                    <a:pt x="7" y="37"/>
                    <a:pt x="7" y="37"/>
                  </a:cubicBezTo>
                  <a:cubicBezTo>
                    <a:pt x="6" y="37"/>
                    <a:pt x="6" y="37"/>
                    <a:pt x="6" y="37"/>
                  </a:cubicBezTo>
                  <a:cubicBezTo>
                    <a:pt x="6" y="36"/>
                    <a:pt x="7" y="36"/>
                    <a:pt x="7" y="36"/>
                  </a:cubicBezTo>
                  <a:cubicBezTo>
                    <a:pt x="7" y="36"/>
                    <a:pt x="7" y="36"/>
                    <a:pt x="7" y="36"/>
                  </a:cubicBezTo>
                  <a:cubicBezTo>
                    <a:pt x="8" y="36"/>
                    <a:pt x="8" y="36"/>
                    <a:pt x="8" y="36"/>
                  </a:cubicBezTo>
                  <a:cubicBezTo>
                    <a:pt x="8" y="36"/>
                    <a:pt x="7" y="36"/>
                    <a:pt x="7" y="37"/>
                  </a:cubicBezTo>
                  <a:moveTo>
                    <a:pt x="5" y="37"/>
                  </a:moveTo>
                  <a:cubicBezTo>
                    <a:pt x="5" y="37"/>
                    <a:pt x="5" y="37"/>
                    <a:pt x="4" y="37"/>
                  </a:cubicBezTo>
                  <a:cubicBezTo>
                    <a:pt x="5" y="36"/>
                    <a:pt x="5" y="36"/>
                    <a:pt x="5" y="36"/>
                  </a:cubicBezTo>
                  <a:cubicBezTo>
                    <a:pt x="6" y="36"/>
                    <a:pt x="6" y="36"/>
                    <a:pt x="6" y="36"/>
                  </a:cubicBezTo>
                  <a:cubicBezTo>
                    <a:pt x="5" y="36"/>
                    <a:pt x="5" y="36"/>
                    <a:pt x="5" y="36"/>
                  </a:cubicBezTo>
                  <a:cubicBezTo>
                    <a:pt x="5" y="37"/>
                    <a:pt x="5" y="37"/>
                    <a:pt x="5" y="37"/>
                  </a:cubicBezTo>
                  <a:moveTo>
                    <a:pt x="41" y="36"/>
                  </a:moveTo>
                  <a:cubicBezTo>
                    <a:pt x="42" y="36"/>
                    <a:pt x="42" y="36"/>
                    <a:pt x="42" y="36"/>
                  </a:cubicBezTo>
                  <a:cubicBezTo>
                    <a:pt x="43" y="36"/>
                    <a:pt x="43" y="36"/>
                    <a:pt x="43" y="36"/>
                  </a:cubicBezTo>
                  <a:cubicBezTo>
                    <a:pt x="42" y="36"/>
                    <a:pt x="42" y="36"/>
                    <a:pt x="42" y="36"/>
                  </a:cubicBezTo>
                  <a:cubicBezTo>
                    <a:pt x="42" y="36"/>
                    <a:pt x="42" y="36"/>
                    <a:pt x="42" y="36"/>
                  </a:cubicBezTo>
                  <a:cubicBezTo>
                    <a:pt x="42" y="36"/>
                    <a:pt x="41" y="36"/>
                    <a:pt x="41" y="36"/>
                  </a:cubicBezTo>
                  <a:moveTo>
                    <a:pt x="9" y="37"/>
                  </a:moveTo>
                  <a:cubicBezTo>
                    <a:pt x="8" y="37"/>
                    <a:pt x="8" y="37"/>
                    <a:pt x="8" y="37"/>
                  </a:cubicBezTo>
                  <a:cubicBezTo>
                    <a:pt x="8" y="36"/>
                    <a:pt x="9" y="36"/>
                    <a:pt x="9" y="36"/>
                  </a:cubicBezTo>
                  <a:cubicBezTo>
                    <a:pt x="10" y="36"/>
                    <a:pt x="10" y="36"/>
                    <a:pt x="10" y="36"/>
                  </a:cubicBezTo>
                  <a:cubicBezTo>
                    <a:pt x="10" y="36"/>
                    <a:pt x="9" y="36"/>
                    <a:pt x="9" y="37"/>
                  </a:cubicBezTo>
                  <a:cubicBezTo>
                    <a:pt x="9" y="37"/>
                    <a:pt x="9" y="37"/>
                    <a:pt x="9" y="37"/>
                  </a:cubicBezTo>
                  <a:moveTo>
                    <a:pt x="39" y="37"/>
                  </a:moveTo>
                  <a:cubicBezTo>
                    <a:pt x="39" y="36"/>
                    <a:pt x="39" y="36"/>
                    <a:pt x="39" y="36"/>
                  </a:cubicBezTo>
                  <a:cubicBezTo>
                    <a:pt x="40" y="36"/>
                    <a:pt x="40" y="36"/>
                    <a:pt x="40" y="36"/>
                  </a:cubicBezTo>
                  <a:cubicBezTo>
                    <a:pt x="41" y="36"/>
                    <a:pt x="41" y="36"/>
                    <a:pt x="41" y="36"/>
                  </a:cubicBezTo>
                  <a:cubicBezTo>
                    <a:pt x="40" y="36"/>
                    <a:pt x="40" y="36"/>
                    <a:pt x="40" y="36"/>
                  </a:cubicBezTo>
                  <a:cubicBezTo>
                    <a:pt x="40" y="37"/>
                    <a:pt x="40" y="37"/>
                    <a:pt x="40" y="37"/>
                  </a:cubicBezTo>
                  <a:cubicBezTo>
                    <a:pt x="40" y="37"/>
                    <a:pt x="39" y="37"/>
                    <a:pt x="39" y="37"/>
                  </a:cubicBezTo>
                  <a:moveTo>
                    <a:pt x="36" y="37"/>
                  </a:moveTo>
                  <a:cubicBezTo>
                    <a:pt x="37" y="36"/>
                    <a:pt x="37" y="36"/>
                    <a:pt x="37" y="36"/>
                  </a:cubicBezTo>
                  <a:cubicBezTo>
                    <a:pt x="38" y="36"/>
                    <a:pt x="38" y="36"/>
                    <a:pt x="39" y="36"/>
                  </a:cubicBezTo>
                  <a:cubicBezTo>
                    <a:pt x="38" y="36"/>
                    <a:pt x="38" y="36"/>
                    <a:pt x="38" y="36"/>
                  </a:cubicBezTo>
                  <a:cubicBezTo>
                    <a:pt x="38" y="37"/>
                    <a:pt x="38" y="37"/>
                    <a:pt x="38" y="37"/>
                  </a:cubicBezTo>
                  <a:cubicBezTo>
                    <a:pt x="37" y="37"/>
                    <a:pt x="37" y="37"/>
                    <a:pt x="36" y="37"/>
                  </a:cubicBezTo>
                  <a:moveTo>
                    <a:pt x="43" y="36"/>
                  </a:moveTo>
                  <a:cubicBezTo>
                    <a:pt x="44" y="36"/>
                    <a:pt x="44" y="36"/>
                    <a:pt x="44" y="36"/>
                  </a:cubicBezTo>
                  <a:cubicBezTo>
                    <a:pt x="44" y="36"/>
                    <a:pt x="44" y="36"/>
                    <a:pt x="45" y="35"/>
                  </a:cubicBezTo>
                  <a:cubicBezTo>
                    <a:pt x="44" y="36"/>
                    <a:pt x="44" y="36"/>
                    <a:pt x="44" y="36"/>
                  </a:cubicBezTo>
                  <a:cubicBezTo>
                    <a:pt x="44" y="36"/>
                    <a:pt x="43" y="36"/>
                    <a:pt x="43" y="36"/>
                  </a:cubicBezTo>
                  <a:moveTo>
                    <a:pt x="35" y="37"/>
                  </a:moveTo>
                  <a:cubicBezTo>
                    <a:pt x="35" y="35"/>
                    <a:pt x="35" y="35"/>
                    <a:pt x="35" y="35"/>
                  </a:cubicBezTo>
                  <a:cubicBezTo>
                    <a:pt x="36" y="35"/>
                    <a:pt x="36" y="35"/>
                    <a:pt x="36" y="35"/>
                  </a:cubicBezTo>
                  <a:cubicBezTo>
                    <a:pt x="36" y="36"/>
                    <a:pt x="36" y="36"/>
                    <a:pt x="35" y="37"/>
                  </a:cubicBezTo>
                  <a:cubicBezTo>
                    <a:pt x="35" y="37"/>
                    <a:pt x="35" y="37"/>
                    <a:pt x="35" y="37"/>
                  </a:cubicBezTo>
                  <a:moveTo>
                    <a:pt x="32" y="37"/>
                  </a:moveTo>
                  <a:cubicBezTo>
                    <a:pt x="32" y="36"/>
                    <a:pt x="32" y="36"/>
                    <a:pt x="33" y="35"/>
                  </a:cubicBezTo>
                  <a:cubicBezTo>
                    <a:pt x="33" y="35"/>
                    <a:pt x="34" y="35"/>
                    <a:pt x="34" y="35"/>
                  </a:cubicBezTo>
                  <a:cubicBezTo>
                    <a:pt x="34" y="37"/>
                    <a:pt x="34" y="37"/>
                    <a:pt x="34" y="37"/>
                  </a:cubicBezTo>
                  <a:cubicBezTo>
                    <a:pt x="34" y="37"/>
                    <a:pt x="34" y="37"/>
                    <a:pt x="34" y="37"/>
                  </a:cubicBezTo>
                  <a:cubicBezTo>
                    <a:pt x="33" y="37"/>
                    <a:pt x="32" y="37"/>
                    <a:pt x="32" y="37"/>
                  </a:cubicBezTo>
                  <a:moveTo>
                    <a:pt x="30" y="37"/>
                  </a:moveTo>
                  <a:cubicBezTo>
                    <a:pt x="31" y="36"/>
                    <a:pt x="31" y="36"/>
                    <a:pt x="31" y="36"/>
                  </a:cubicBezTo>
                  <a:cubicBezTo>
                    <a:pt x="31" y="35"/>
                    <a:pt x="31" y="35"/>
                    <a:pt x="31" y="35"/>
                  </a:cubicBezTo>
                  <a:cubicBezTo>
                    <a:pt x="32" y="35"/>
                    <a:pt x="32" y="35"/>
                    <a:pt x="32" y="35"/>
                  </a:cubicBezTo>
                  <a:cubicBezTo>
                    <a:pt x="31" y="36"/>
                    <a:pt x="31" y="36"/>
                    <a:pt x="31" y="37"/>
                  </a:cubicBezTo>
                  <a:cubicBezTo>
                    <a:pt x="30" y="37"/>
                    <a:pt x="30" y="37"/>
                    <a:pt x="30" y="37"/>
                  </a:cubicBezTo>
                  <a:moveTo>
                    <a:pt x="29" y="37"/>
                  </a:moveTo>
                  <a:cubicBezTo>
                    <a:pt x="29" y="35"/>
                    <a:pt x="29" y="35"/>
                    <a:pt x="29" y="35"/>
                  </a:cubicBezTo>
                  <a:cubicBezTo>
                    <a:pt x="30" y="35"/>
                    <a:pt x="30" y="35"/>
                    <a:pt x="30" y="35"/>
                  </a:cubicBezTo>
                  <a:cubicBezTo>
                    <a:pt x="30" y="35"/>
                    <a:pt x="30" y="35"/>
                    <a:pt x="30" y="35"/>
                  </a:cubicBezTo>
                  <a:cubicBezTo>
                    <a:pt x="30" y="37"/>
                    <a:pt x="30" y="37"/>
                    <a:pt x="30" y="37"/>
                  </a:cubicBezTo>
                  <a:cubicBezTo>
                    <a:pt x="29" y="37"/>
                    <a:pt x="29" y="37"/>
                    <a:pt x="29" y="37"/>
                  </a:cubicBezTo>
                  <a:moveTo>
                    <a:pt x="27" y="37"/>
                  </a:moveTo>
                  <a:cubicBezTo>
                    <a:pt x="27" y="36"/>
                    <a:pt x="28" y="36"/>
                    <a:pt x="28" y="35"/>
                  </a:cubicBezTo>
                  <a:cubicBezTo>
                    <a:pt x="28" y="35"/>
                    <a:pt x="28" y="35"/>
                    <a:pt x="28" y="35"/>
                  </a:cubicBezTo>
                  <a:cubicBezTo>
                    <a:pt x="29" y="35"/>
                    <a:pt x="29" y="35"/>
                    <a:pt x="29" y="35"/>
                  </a:cubicBezTo>
                  <a:cubicBezTo>
                    <a:pt x="28" y="37"/>
                    <a:pt x="28" y="37"/>
                    <a:pt x="28" y="37"/>
                  </a:cubicBezTo>
                  <a:cubicBezTo>
                    <a:pt x="27" y="37"/>
                    <a:pt x="27" y="37"/>
                    <a:pt x="27" y="37"/>
                  </a:cubicBezTo>
                  <a:moveTo>
                    <a:pt x="26" y="37"/>
                  </a:moveTo>
                  <a:cubicBezTo>
                    <a:pt x="26" y="36"/>
                    <a:pt x="26" y="36"/>
                    <a:pt x="26" y="36"/>
                  </a:cubicBezTo>
                  <a:cubicBezTo>
                    <a:pt x="26" y="35"/>
                    <a:pt x="26" y="35"/>
                    <a:pt x="26" y="35"/>
                  </a:cubicBezTo>
                  <a:cubicBezTo>
                    <a:pt x="27" y="35"/>
                    <a:pt x="27" y="35"/>
                    <a:pt x="27" y="35"/>
                  </a:cubicBezTo>
                  <a:cubicBezTo>
                    <a:pt x="27" y="35"/>
                    <a:pt x="27" y="35"/>
                    <a:pt x="27" y="35"/>
                  </a:cubicBezTo>
                  <a:cubicBezTo>
                    <a:pt x="27" y="36"/>
                    <a:pt x="26" y="36"/>
                    <a:pt x="26" y="37"/>
                  </a:cubicBezTo>
                  <a:cubicBezTo>
                    <a:pt x="26" y="37"/>
                    <a:pt x="26" y="37"/>
                    <a:pt x="26" y="37"/>
                  </a:cubicBezTo>
                  <a:moveTo>
                    <a:pt x="24" y="37"/>
                  </a:moveTo>
                  <a:cubicBezTo>
                    <a:pt x="24" y="36"/>
                    <a:pt x="25" y="36"/>
                    <a:pt x="25" y="35"/>
                  </a:cubicBezTo>
                  <a:cubicBezTo>
                    <a:pt x="26" y="35"/>
                    <a:pt x="26" y="35"/>
                    <a:pt x="26" y="35"/>
                  </a:cubicBezTo>
                  <a:cubicBezTo>
                    <a:pt x="25" y="36"/>
                    <a:pt x="25" y="36"/>
                    <a:pt x="25" y="37"/>
                  </a:cubicBezTo>
                  <a:cubicBezTo>
                    <a:pt x="24" y="37"/>
                    <a:pt x="24" y="37"/>
                    <a:pt x="24" y="37"/>
                  </a:cubicBezTo>
                  <a:moveTo>
                    <a:pt x="22" y="37"/>
                  </a:moveTo>
                  <a:cubicBezTo>
                    <a:pt x="22" y="36"/>
                    <a:pt x="23" y="36"/>
                    <a:pt x="23" y="35"/>
                  </a:cubicBezTo>
                  <a:cubicBezTo>
                    <a:pt x="23" y="35"/>
                    <a:pt x="24" y="35"/>
                    <a:pt x="24" y="35"/>
                  </a:cubicBezTo>
                  <a:cubicBezTo>
                    <a:pt x="24" y="36"/>
                    <a:pt x="24" y="36"/>
                    <a:pt x="23" y="37"/>
                  </a:cubicBezTo>
                  <a:cubicBezTo>
                    <a:pt x="23" y="37"/>
                    <a:pt x="23" y="37"/>
                    <a:pt x="23" y="37"/>
                  </a:cubicBezTo>
                  <a:cubicBezTo>
                    <a:pt x="23" y="37"/>
                    <a:pt x="22" y="37"/>
                    <a:pt x="22" y="37"/>
                  </a:cubicBezTo>
                  <a:moveTo>
                    <a:pt x="11" y="37"/>
                  </a:moveTo>
                  <a:cubicBezTo>
                    <a:pt x="11" y="37"/>
                    <a:pt x="10" y="37"/>
                    <a:pt x="10" y="37"/>
                  </a:cubicBezTo>
                  <a:cubicBezTo>
                    <a:pt x="10" y="36"/>
                    <a:pt x="10" y="36"/>
                    <a:pt x="11" y="35"/>
                  </a:cubicBezTo>
                  <a:cubicBezTo>
                    <a:pt x="11" y="35"/>
                    <a:pt x="11" y="35"/>
                    <a:pt x="11" y="35"/>
                  </a:cubicBezTo>
                  <a:cubicBezTo>
                    <a:pt x="12" y="35"/>
                    <a:pt x="12" y="35"/>
                    <a:pt x="12" y="35"/>
                  </a:cubicBezTo>
                  <a:cubicBezTo>
                    <a:pt x="11" y="37"/>
                    <a:pt x="11" y="37"/>
                    <a:pt x="11" y="37"/>
                  </a:cubicBezTo>
                  <a:moveTo>
                    <a:pt x="19" y="37"/>
                  </a:moveTo>
                  <a:cubicBezTo>
                    <a:pt x="20" y="36"/>
                    <a:pt x="20" y="36"/>
                    <a:pt x="20" y="36"/>
                  </a:cubicBezTo>
                  <a:cubicBezTo>
                    <a:pt x="20" y="35"/>
                    <a:pt x="20" y="35"/>
                    <a:pt x="20" y="35"/>
                  </a:cubicBezTo>
                  <a:cubicBezTo>
                    <a:pt x="21" y="35"/>
                    <a:pt x="21" y="35"/>
                    <a:pt x="22" y="35"/>
                  </a:cubicBezTo>
                  <a:cubicBezTo>
                    <a:pt x="22" y="36"/>
                    <a:pt x="22" y="36"/>
                    <a:pt x="21" y="37"/>
                  </a:cubicBezTo>
                  <a:cubicBezTo>
                    <a:pt x="21" y="37"/>
                    <a:pt x="21" y="37"/>
                    <a:pt x="21" y="37"/>
                  </a:cubicBezTo>
                  <a:cubicBezTo>
                    <a:pt x="20" y="37"/>
                    <a:pt x="20" y="37"/>
                    <a:pt x="19" y="37"/>
                  </a:cubicBezTo>
                  <a:moveTo>
                    <a:pt x="17" y="37"/>
                  </a:moveTo>
                  <a:cubicBezTo>
                    <a:pt x="17" y="36"/>
                    <a:pt x="17" y="36"/>
                    <a:pt x="18" y="35"/>
                  </a:cubicBezTo>
                  <a:cubicBezTo>
                    <a:pt x="18" y="35"/>
                    <a:pt x="19" y="35"/>
                    <a:pt x="19" y="35"/>
                  </a:cubicBezTo>
                  <a:cubicBezTo>
                    <a:pt x="18" y="37"/>
                    <a:pt x="18" y="37"/>
                    <a:pt x="18" y="37"/>
                  </a:cubicBezTo>
                  <a:cubicBezTo>
                    <a:pt x="17" y="37"/>
                    <a:pt x="17" y="37"/>
                    <a:pt x="17" y="37"/>
                  </a:cubicBezTo>
                  <a:moveTo>
                    <a:pt x="15" y="37"/>
                  </a:moveTo>
                  <a:cubicBezTo>
                    <a:pt x="15" y="35"/>
                    <a:pt x="15" y="35"/>
                    <a:pt x="15" y="35"/>
                  </a:cubicBezTo>
                  <a:cubicBezTo>
                    <a:pt x="16" y="35"/>
                    <a:pt x="16" y="35"/>
                    <a:pt x="17" y="35"/>
                  </a:cubicBezTo>
                  <a:cubicBezTo>
                    <a:pt x="17" y="36"/>
                    <a:pt x="16" y="36"/>
                    <a:pt x="16" y="37"/>
                  </a:cubicBezTo>
                  <a:cubicBezTo>
                    <a:pt x="16" y="37"/>
                    <a:pt x="15" y="37"/>
                    <a:pt x="15" y="37"/>
                  </a:cubicBezTo>
                  <a:moveTo>
                    <a:pt x="12" y="37"/>
                  </a:moveTo>
                  <a:cubicBezTo>
                    <a:pt x="13" y="35"/>
                    <a:pt x="13" y="35"/>
                    <a:pt x="13" y="35"/>
                  </a:cubicBezTo>
                  <a:cubicBezTo>
                    <a:pt x="14" y="35"/>
                    <a:pt x="14" y="35"/>
                    <a:pt x="14" y="35"/>
                  </a:cubicBezTo>
                  <a:cubicBezTo>
                    <a:pt x="15" y="35"/>
                    <a:pt x="15" y="35"/>
                    <a:pt x="15" y="35"/>
                  </a:cubicBezTo>
                  <a:cubicBezTo>
                    <a:pt x="14" y="37"/>
                    <a:pt x="14" y="37"/>
                    <a:pt x="14" y="37"/>
                  </a:cubicBezTo>
                  <a:cubicBezTo>
                    <a:pt x="14" y="37"/>
                    <a:pt x="14" y="37"/>
                    <a:pt x="14" y="37"/>
                  </a:cubicBezTo>
                  <a:cubicBezTo>
                    <a:pt x="13" y="37"/>
                    <a:pt x="13" y="37"/>
                    <a:pt x="12" y="37"/>
                  </a:cubicBezTo>
                  <a:moveTo>
                    <a:pt x="45" y="36"/>
                  </a:moveTo>
                  <a:cubicBezTo>
                    <a:pt x="46" y="35"/>
                    <a:pt x="46" y="35"/>
                    <a:pt x="46" y="35"/>
                  </a:cubicBezTo>
                  <a:cubicBezTo>
                    <a:pt x="46" y="35"/>
                    <a:pt x="47" y="35"/>
                    <a:pt x="47" y="35"/>
                  </a:cubicBezTo>
                  <a:cubicBezTo>
                    <a:pt x="47" y="36"/>
                    <a:pt x="46" y="36"/>
                    <a:pt x="46" y="36"/>
                  </a:cubicBezTo>
                  <a:cubicBezTo>
                    <a:pt x="46" y="36"/>
                    <a:pt x="46" y="36"/>
                    <a:pt x="45" y="36"/>
                  </a:cubicBezTo>
                  <a:moveTo>
                    <a:pt x="4" y="36"/>
                  </a:moveTo>
                  <a:cubicBezTo>
                    <a:pt x="3" y="36"/>
                    <a:pt x="3" y="36"/>
                    <a:pt x="3" y="36"/>
                  </a:cubicBezTo>
                  <a:cubicBezTo>
                    <a:pt x="3" y="35"/>
                    <a:pt x="3" y="35"/>
                    <a:pt x="3" y="35"/>
                  </a:cubicBezTo>
                  <a:cubicBezTo>
                    <a:pt x="4" y="35"/>
                    <a:pt x="4" y="35"/>
                    <a:pt x="4" y="35"/>
                  </a:cubicBezTo>
                  <a:cubicBezTo>
                    <a:pt x="4" y="36"/>
                    <a:pt x="4" y="36"/>
                    <a:pt x="4" y="36"/>
                  </a:cubicBezTo>
                  <a:moveTo>
                    <a:pt x="47" y="36"/>
                  </a:moveTo>
                  <a:cubicBezTo>
                    <a:pt x="47" y="36"/>
                    <a:pt x="48" y="35"/>
                    <a:pt x="48" y="35"/>
                  </a:cubicBezTo>
                  <a:cubicBezTo>
                    <a:pt x="48" y="35"/>
                    <a:pt x="49" y="35"/>
                    <a:pt x="49" y="34"/>
                  </a:cubicBezTo>
                  <a:cubicBezTo>
                    <a:pt x="49" y="35"/>
                    <a:pt x="49" y="35"/>
                    <a:pt x="48" y="36"/>
                  </a:cubicBezTo>
                  <a:cubicBezTo>
                    <a:pt x="47" y="36"/>
                    <a:pt x="47" y="36"/>
                    <a:pt x="47" y="36"/>
                  </a:cubicBezTo>
                  <a:moveTo>
                    <a:pt x="2" y="36"/>
                  </a:moveTo>
                  <a:cubicBezTo>
                    <a:pt x="2" y="35"/>
                    <a:pt x="2" y="35"/>
                    <a:pt x="2" y="34"/>
                  </a:cubicBezTo>
                  <a:cubicBezTo>
                    <a:pt x="2" y="34"/>
                    <a:pt x="2" y="35"/>
                    <a:pt x="3" y="35"/>
                  </a:cubicBezTo>
                  <a:cubicBezTo>
                    <a:pt x="2" y="36"/>
                    <a:pt x="2" y="36"/>
                    <a:pt x="2" y="36"/>
                  </a:cubicBezTo>
                  <a:moveTo>
                    <a:pt x="7" y="35"/>
                  </a:moveTo>
                  <a:cubicBezTo>
                    <a:pt x="3" y="35"/>
                    <a:pt x="2" y="34"/>
                    <a:pt x="2" y="31"/>
                  </a:cubicBezTo>
                  <a:cubicBezTo>
                    <a:pt x="2" y="14"/>
                    <a:pt x="2" y="14"/>
                    <a:pt x="2" y="14"/>
                  </a:cubicBezTo>
                  <a:cubicBezTo>
                    <a:pt x="2" y="14"/>
                    <a:pt x="1" y="13"/>
                    <a:pt x="1" y="12"/>
                  </a:cubicBezTo>
                  <a:cubicBezTo>
                    <a:pt x="1" y="9"/>
                    <a:pt x="1" y="4"/>
                    <a:pt x="2" y="2"/>
                  </a:cubicBezTo>
                  <a:cubicBezTo>
                    <a:pt x="3" y="2"/>
                    <a:pt x="3" y="1"/>
                    <a:pt x="3" y="1"/>
                  </a:cubicBezTo>
                  <a:cubicBezTo>
                    <a:pt x="4" y="1"/>
                    <a:pt x="4" y="1"/>
                    <a:pt x="4" y="1"/>
                  </a:cubicBezTo>
                  <a:cubicBezTo>
                    <a:pt x="5" y="1"/>
                    <a:pt x="6" y="1"/>
                    <a:pt x="7" y="1"/>
                  </a:cubicBezTo>
                  <a:cubicBezTo>
                    <a:pt x="8" y="1"/>
                    <a:pt x="10" y="1"/>
                    <a:pt x="11" y="1"/>
                  </a:cubicBezTo>
                  <a:cubicBezTo>
                    <a:pt x="12" y="1"/>
                    <a:pt x="14" y="1"/>
                    <a:pt x="15" y="1"/>
                  </a:cubicBezTo>
                  <a:cubicBezTo>
                    <a:pt x="47" y="1"/>
                    <a:pt x="47" y="1"/>
                    <a:pt x="47" y="1"/>
                  </a:cubicBezTo>
                  <a:cubicBezTo>
                    <a:pt x="47" y="1"/>
                    <a:pt x="48" y="2"/>
                    <a:pt x="48" y="2"/>
                  </a:cubicBezTo>
                  <a:cubicBezTo>
                    <a:pt x="49" y="3"/>
                    <a:pt x="49" y="6"/>
                    <a:pt x="49" y="7"/>
                  </a:cubicBezTo>
                  <a:cubicBezTo>
                    <a:pt x="49" y="8"/>
                    <a:pt x="49" y="8"/>
                    <a:pt x="49" y="9"/>
                  </a:cubicBezTo>
                  <a:cubicBezTo>
                    <a:pt x="49" y="23"/>
                    <a:pt x="49" y="23"/>
                    <a:pt x="49" y="23"/>
                  </a:cubicBezTo>
                  <a:cubicBezTo>
                    <a:pt x="49" y="24"/>
                    <a:pt x="49" y="25"/>
                    <a:pt x="49" y="26"/>
                  </a:cubicBezTo>
                  <a:cubicBezTo>
                    <a:pt x="49" y="28"/>
                    <a:pt x="49" y="30"/>
                    <a:pt x="49" y="32"/>
                  </a:cubicBezTo>
                  <a:cubicBezTo>
                    <a:pt x="49" y="33"/>
                    <a:pt x="49" y="33"/>
                    <a:pt x="48" y="33"/>
                  </a:cubicBezTo>
                  <a:cubicBezTo>
                    <a:pt x="47" y="34"/>
                    <a:pt x="45" y="35"/>
                    <a:pt x="43" y="35"/>
                  </a:cubicBezTo>
                  <a:cubicBezTo>
                    <a:pt x="42" y="35"/>
                    <a:pt x="42" y="35"/>
                    <a:pt x="41" y="35"/>
                  </a:cubicBezTo>
                  <a:cubicBezTo>
                    <a:pt x="41" y="35"/>
                    <a:pt x="40" y="35"/>
                    <a:pt x="40" y="35"/>
                  </a:cubicBezTo>
                  <a:cubicBezTo>
                    <a:pt x="36" y="35"/>
                    <a:pt x="31" y="34"/>
                    <a:pt x="27" y="34"/>
                  </a:cubicBezTo>
                  <a:cubicBezTo>
                    <a:pt x="22" y="34"/>
                    <a:pt x="18" y="34"/>
                    <a:pt x="14" y="34"/>
                  </a:cubicBezTo>
                  <a:cubicBezTo>
                    <a:pt x="13" y="34"/>
                    <a:pt x="12" y="34"/>
                    <a:pt x="11" y="34"/>
                  </a:cubicBezTo>
                  <a:cubicBezTo>
                    <a:pt x="10" y="35"/>
                    <a:pt x="9" y="35"/>
                    <a:pt x="7" y="35"/>
                  </a:cubicBezTo>
                  <a:moveTo>
                    <a:pt x="7" y="0"/>
                  </a:moveTo>
                  <a:cubicBezTo>
                    <a:pt x="6" y="0"/>
                    <a:pt x="4" y="0"/>
                    <a:pt x="3" y="0"/>
                  </a:cubicBezTo>
                  <a:cubicBezTo>
                    <a:pt x="3" y="0"/>
                    <a:pt x="2" y="1"/>
                    <a:pt x="2" y="1"/>
                  </a:cubicBezTo>
                  <a:cubicBezTo>
                    <a:pt x="0" y="3"/>
                    <a:pt x="0" y="8"/>
                    <a:pt x="0" y="12"/>
                  </a:cubicBezTo>
                  <a:cubicBezTo>
                    <a:pt x="0" y="13"/>
                    <a:pt x="1" y="14"/>
                    <a:pt x="1" y="14"/>
                  </a:cubicBezTo>
                  <a:cubicBezTo>
                    <a:pt x="1" y="31"/>
                    <a:pt x="1" y="31"/>
                    <a:pt x="1" y="31"/>
                  </a:cubicBezTo>
                  <a:cubicBezTo>
                    <a:pt x="1" y="32"/>
                    <a:pt x="1" y="32"/>
                    <a:pt x="1" y="32"/>
                  </a:cubicBezTo>
                  <a:cubicBezTo>
                    <a:pt x="1" y="34"/>
                    <a:pt x="1" y="35"/>
                    <a:pt x="2" y="36"/>
                  </a:cubicBezTo>
                  <a:cubicBezTo>
                    <a:pt x="3" y="38"/>
                    <a:pt x="4" y="38"/>
                    <a:pt x="6" y="38"/>
                  </a:cubicBezTo>
                  <a:cubicBezTo>
                    <a:pt x="9" y="38"/>
                    <a:pt x="13" y="38"/>
                    <a:pt x="17" y="38"/>
                  </a:cubicBezTo>
                  <a:cubicBezTo>
                    <a:pt x="17" y="38"/>
                    <a:pt x="18" y="38"/>
                    <a:pt x="18" y="38"/>
                  </a:cubicBezTo>
                  <a:cubicBezTo>
                    <a:pt x="18" y="39"/>
                    <a:pt x="18" y="39"/>
                    <a:pt x="18" y="39"/>
                  </a:cubicBezTo>
                  <a:cubicBezTo>
                    <a:pt x="18" y="39"/>
                    <a:pt x="18" y="40"/>
                    <a:pt x="18" y="41"/>
                  </a:cubicBezTo>
                  <a:cubicBezTo>
                    <a:pt x="18" y="42"/>
                    <a:pt x="18" y="42"/>
                    <a:pt x="18" y="42"/>
                  </a:cubicBezTo>
                  <a:cubicBezTo>
                    <a:pt x="18" y="42"/>
                    <a:pt x="17" y="42"/>
                    <a:pt x="17" y="42"/>
                  </a:cubicBezTo>
                  <a:cubicBezTo>
                    <a:pt x="16" y="42"/>
                    <a:pt x="16" y="42"/>
                    <a:pt x="15" y="42"/>
                  </a:cubicBezTo>
                  <a:cubicBezTo>
                    <a:pt x="14" y="42"/>
                    <a:pt x="14" y="42"/>
                    <a:pt x="14" y="42"/>
                  </a:cubicBezTo>
                  <a:cubicBezTo>
                    <a:pt x="14" y="42"/>
                    <a:pt x="14" y="42"/>
                    <a:pt x="13" y="42"/>
                  </a:cubicBezTo>
                  <a:cubicBezTo>
                    <a:pt x="13" y="42"/>
                    <a:pt x="12" y="42"/>
                    <a:pt x="12" y="42"/>
                  </a:cubicBezTo>
                  <a:cubicBezTo>
                    <a:pt x="12" y="43"/>
                    <a:pt x="12" y="43"/>
                    <a:pt x="12" y="44"/>
                  </a:cubicBezTo>
                  <a:cubicBezTo>
                    <a:pt x="12" y="44"/>
                    <a:pt x="12" y="44"/>
                    <a:pt x="12" y="44"/>
                  </a:cubicBezTo>
                  <a:cubicBezTo>
                    <a:pt x="12" y="44"/>
                    <a:pt x="12" y="44"/>
                    <a:pt x="12" y="44"/>
                  </a:cubicBezTo>
                  <a:cubicBezTo>
                    <a:pt x="12" y="44"/>
                    <a:pt x="12" y="46"/>
                    <a:pt x="12" y="46"/>
                  </a:cubicBezTo>
                  <a:cubicBezTo>
                    <a:pt x="12" y="47"/>
                    <a:pt x="12" y="47"/>
                    <a:pt x="12" y="47"/>
                  </a:cubicBezTo>
                  <a:cubicBezTo>
                    <a:pt x="13" y="47"/>
                    <a:pt x="13" y="47"/>
                    <a:pt x="14" y="47"/>
                  </a:cubicBezTo>
                  <a:cubicBezTo>
                    <a:pt x="15" y="47"/>
                    <a:pt x="15" y="47"/>
                    <a:pt x="15" y="47"/>
                  </a:cubicBezTo>
                  <a:cubicBezTo>
                    <a:pt x="16" y="47"/>
                    <a:pt x="16" y="47"/>
                    <a:pt x="16" y="47"/>
                  </a:cubicBezTo>
                  <a:cubicBezTo>
                    <a:pt x="18" y="47"/>
                    <a:pt x="21" y="47"/>
                    <a:pt x="23" y="47"/>
                  </a:cubicBezTo>
                  <a:cubicBezTo>
                    <a:pt x="25" y="47"/>
                    <a:pt x="27" y="47"/>
                    <a:pt x="29" y="47"/>
                  </a:cubicBezTo>
                  <a:cubicBezTo>
                    <a:pt x="31" y="47"/>
                    <a:pt x="33" y="47"/>
                    <a:pt x="35" y="47"/>
                  </a:cubicBezTo>
                  <a:cubicBezTo>
                    <a:pt x="35" y="47"/>
                    <a:pt x="39" y="47"/>
                    <a:pt x="39" y="46"/>
                  </a:cubicBezTo>
                  <a:cubicBezTo>
                    <a:pt x="39" y="44"/>
                    <a:pt x="39" y="44"/>
                    <a:pt x="39" y="44"/>
                  </a:cubicBezTo>
                  <a:cubicBezTo>
                    <a:pt x="39" y="44"/>
                    <a:pt x="39" y="44"/>
                    <a:pt x="39" y="44"/>
                  </a:cubicBezTo>
                  <a:cubicBezTo>
                    <a:pt x="39" y="44"/>
                    <a:pt x="39" y="44"/>
                    <a:pt x="39" y="44"/>
                  </a:cubicBezTo>
                  <a:cubicBezTo>
                    <a:pt x="39" y="43"/>
                    <a:pt x="38" y="42"/>
                    <a:pt x="37" y="42"/>
                  </a:cubicBezTo>
                  <a:cubicBezTo>
                    <a:pt x="32" y="42"/>
                    <a:pt x="32" y="42"/>
                    <a:pt x="32" y="42"/>
                  </a:cubicBezTo>
                  <a:cubicBezTo>
                    <a:pt x="32" y="42"/>
                    <a:pt x="32" y="42"/>
                    <a:pt x="32" y="42"/>
                  </a:cubicBezTo>
                  <a:cubicBezTo>
                    <a:pt x="32" y="42"/>
                    <a:pt x="32" y="41"/>
                    <a:pt x="32" y="41"/>
                  </a:cubicBezTo>
                  <a:cubicBezTo>
                    <a:pt x="32" y="40"/>
                    <a:pt x="32" y="40"/>
                    <a:pt x="32" y="40"/>
                  </a:cubicBezTo>
                  <a:cubicBezTo>
                    <a:pt x="32" y="39"/>
                    <a:pt x="32" y="39"/>
                    <a:pt x="32" y="39"/>
                  </a:cubicBezTo>
                  <a:cubicBezTo>
                    <a:pt x="32" y="39"/>
                    <a:pt x="32" y="38"/>
                    <a:pt x="32" y="38"/>
                  </a:cubicBezTo>
                  <a:cubicBezTo>
                    <a:pt x="39" y="38"/>
                    <a:pt x="45" y="37"/>
                    <a:pt x="47" y="37"/>
                  </a:cubicBezTo>
                  <a:cubicBezTo>
                    <a:pt x="47" y="37"/>
                    <a:pt x="48" y="37"/>
                    <a:pt x="49" y="37"/>
                  </a:cubicBezTo>
                  <a:cubicBezTo>
                    <a:pt x="50" y="36"/>
                    <a:pt x="50" y="34"/>
                    <a:pt x="50" y="33"/>
                  </a:cubicBezTo>
                  <a:cubicBezTo>
                    <a:pt x="50" y="32"/>
                    <a:pt x="50" y="32"/>
                    <a:pt x="50" y="32"/>
                  </a:cubicBezTo>
                  <a:cubicBezTo>
                    <a:pt x="50" y="32"/>
                    <a:pt x="50" y="32"/>
                    <a:pt x="50" y="32"/>
                  </a:cubicBezTo>
                  <a:cubicBezTo>
                    <a:pt x="50" y="30"/>
                    <a:pt x="50" y="28"/>
                    <a:pt x="50" y="26"/>
                  </a:cubicBezTo>
                  <a:cubicBezTo>
                    <a:pt x="50" y="25"/>
                    <a:pt x="50" y="24"/>
                    <a:pt x="50" y="23"/>
                  </a:cubicBezTo>
                  <a:cubicBezTo>
                    <a:pt x="50" y="9"/>
                    <a:pt x="50" y="9"/>
                    <a:pt x="50" y="9"/>
                  </a:cubicBezTo>
                  <a:cubicBezTo>
                    <a:pt x="50" y="8"/>
                    <a:pt x="50" y="8"/>
                    <a:pt x="50" y="8"/>
                  </a:cubicBezTo>
                  <a:cubicBezTo>
                    <a:pt x="50" y="6"/>
                    <a:pt x="50" y="3"/>
                    <a:pt x="49" y="1"/>
                  </a:cubicBezTo>
                  <a:cubicBezTo>
                    <a:pt x="48" y="1"/>
                    <a:pt x="48" y="0"/>
                    <a:pt x="47" y="0"/>
                  </a:cubicBezTo>
                  <a:cubicBezTo>
                    <a:pt x="15" y="0"/>
                    <a:pt x="15" y="0"/>
                    <a:pt x="15" y="0"/>
                  </a:cubicBezTo>
                  <a:cubicBezTo>
                    <a:pt x="14" y="0"/>
                    <a:pt x="12" y="0"/>
                    <a:pt x="11" y="0"/>
                  </a:cubicBezTo>
                  <a:cubicBezTo>
                    <a:pt x="10" y="0"/>
                    <a:pt x="8" y="0"/>
                    <a:pt x="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28" name="ïŝľîḓê"/>
            <p:cNvSpPr/>
            <p:nvPr/>
          </p:nvSpPr>
          <p:spPr bwMode="auto">
            <a:xfrm>
              <a:off x="3672" y="2213"/>
              <a:ext cx="60" cy="49"/>
            </a:xfrm>
            <a:custGeom>
              <a:avLst/>
              <a:gdLst>
                <a:gd name="T0" fmla="*/ 15 w 25"/>
                <a:gd name="T1" fmla="*/ 18 h 21"/>
                <a:gd name="T2" fmla="*/ 8 w 25"/>
                <a:gd name="T3" fmla="*/ 13 h 21"/>
                <a:gd name="T4" fmla="*/ 2 w 25"/>
                <a:gd name="T5" fmla="*/ 8 h 21"/>
                <a:gd name="T6" fmla="*/ 4 w 25"/>
                <a:gd name="T7" fmla="*/ 9 h 21"/>
                <a:gd name="T8" fmla="*/ 12 w 25"/>
                <a:gd name="T9" fmla="*/ 15 h 21"/>
                <a:gd name="T10" fmla="*/ 19 w 25"/>
                <a:gd name="T11" fmla="*/ 19 h 21"/>
                <a:gd name="T12" fmla="*/ 22 w 25"/>
                <a:gd name="T13" fmla="*/ 18 h 21"/>
                <a:gd name="T14" fmla="*/ 19 w 25"/>
                <a:gd name="T15" fmla="*/ 18 h 21"/>
                <a:gd name="T16" fmla="*/ 13 w 25"/>
                <a:gd name="T17" fmla="*/ 15 h 21"/>
                <a:gd name="T18" fmla="*/ 7 w 25"/>
                <a:gd name="T19" fmla="*/ 10 h 21"/>
                <a:gd name="T20" fmla="*/ 8 w 25"/>
                <a:gd name="T21" fmla="*/ 7 h 21"/>
                <a:gd name="T22" fmla="*/ 13 w 25"/>
                <a:gd name="T23" fmla="*/ 5 h 21"/>
                <a:gd name="T24" fmla="*/ 18 w 25"/>
                <a:gd name="T25" fmla="*/ 3 h 21"/>
                <a:gd name="T26" fmla="*/ 24 w 25"/>
                <a:gd name="T27" fmla="*/ 14 h 21"/>
                <a:gd name="T28" fmla="*/ 24 w 25"/>
                <a:gd name="T29" fmla="*/ 16 h 21"/>
                <a:gd name="T30" fmla="*/ 6 w 25"/>
                <a:gd name="T31" fmla="*/ 9 h 21"/>
                <a:gd name="T32" fmla="*/ 4 w 25"/>
                <a:gd name="T33" fmla="*/ 8 h 21"/>
                <a:gd name="T34" fmla="*/ 2 w 25"/>
                <a:gd name="T35" fmla="*/ 6 h 21"/>
                <a:gd name="T36" fmla="*/ 11 w 25"/>
                <a:gd name="T37" fmla="*/ 5 h 21"/>
                <a:gd name="T38" fmla="*/ 11 w 25"/>
                <a:gd name="T39" fmla="*/ 5 h 21"/>
                <a:gd name="T40" fmla="*/ 6 w 25"/>
                <a:gd name="T41" fmla="*/ 9 h 21"/>
                <a:gd name="T42" fmla="*/ 11 w 25"/>
                <a:gd name="T43" fmla="*/ 4 h 21"/>
                <a:gd name="T44" fmla="*/ 7 w 25"/>
                <a:gd name="T45" fmla="*/ 1 h 21"/>
                <a:gd name="T46" fmla="*/ 16 w 25"/>
                <a:gd name="T47" fmla="*/ 2 h 21"/>
                <a:gd name="T48" fmla="*/ 12 w 25"/>
                <a:gd name="T49" fmla="*/ 4 h 21"/>
                <a:gd name="T50" fmla="*/ 7 w 25"/>
                <a:gd name="T51" fmla="*/ 0 h 21"/>
                <a:gd name="T52" fmla="*/ 5 w 25"/>
                <a:gd name="T53" fmla="*/ 1 h 21"/>
                <a:gd name="T54" fmla="*/ 1 w 25"/>
                <a:gd name="T55" fmla="*/ 4 h 21"/>
                <a:gd name="T56" fmla="*/ 1 w 25"/>
                <a:gd name="T57" fmla="*/ 8 h 21"/>
                <a:gd name="T58" fmla="*/ 8 w 25"/>
                <a:gd name="T59" fmla="*/ 14 h 21"/>
                <a:gd name="T60" fmla="*/ 14 w 25"/>
                <a:gd name="T61" fmla="*/ 19 h 21"/>
                <a:gd name="T62" fmla="*/ 23 w 25"/>
                <a:gd name="T63" fmla="*/ 19 h 21"/>
                <a:gd name="T64" fmla="*/ 19 w 25"/>
                <a:gd name="T65"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 h="21">
                  <a:moveTo>
                    <a:pt x="19" y="20"/>
                  </a:moveTo>
                  <a:cubicBezTo>
                    <a:pt x="18" y="20"/>
                    <a:pt x="16" y="19"/>
                    <a:pt x="15" y="18"/>
                  </a:cubicBezTo>
                  <a:cubicBezTo>
                    <a:pt x="14" y="18"/>
                    <a:pt x="12" y="17"/>
                    <a:pt x="11" y="16"/>
                  </a:cubicBezTo>
                  <a:cubicBezTo>
                    <a:pt x="10" y="15"/>
                    <a:pt x="9" y="14"/>
                    <a:pt x="8" y="13"/>
                  </a:cubicBezTo>
                  <a:cubicBezTo>
                    <a:pt x="8" y="13"/>
                    <a:pt x="7" y="13"/>
                    <a:pt x="6" y="12"/>
                  </a:cubicBezTo>
                  <a:cubicBezTo>
                    <a:pt x="4" y="11"/>
                    <a:pt x="2" y="10"/>
                    <a:pt x="2" y="8"/>
                  </a:cubicBezTo>
                  <a:cubicBezTo>
                    <a:pt x="2" y="8"/>
                    <a:pt x="3" y="9"/>
                    <a:pt x="4" y="9"/>
                  </a:cubicBezTo>
                  <a:cubicBezTo>
                    <a:pt x="4" y="9"/>
                    <a:pt x="4" y="9"/>
                    <a:pt x="4" y="9"/>
                  </a:cubicBezTo>
                  <a:cubicBezTo>
                    <a:pt x="7" y="11"/>
                    <a:pt x="10" y="13"/>
                    <a:pt x="12" y="14"/>
                  </a:cubicBezTo>
                  <a:cubicBezTo>
                    <a:pt x="12" y="15"/>
                    <a:pt x="12" y="15"/>
                    <a:pt x="12" y="15"/>
                  </a:cubicBezTo>
                  <a:cubicBezTo>
                    <a:pt x="13" y="16"/>
                    <a:pt x="14" y="17"/>
                    <a:pt x="15" y="18"/>
                  </a:cubicBezTo>
                  <a:cubicBezTo>
                    <a:pt x="16" y="19"/>
                    <a:pt x="18" y="19"/>
                    <a:pt x="19" y="19"/>
                  </a:cubicBezTo>
                  <a:cubicBezTo>
                    <a:pt x="20" y="19"/>
                    <a:pt x="22" y="18"/>
                    <a:pt x="23" y="18"/>
                  </a:cubicBezTo>
                  <a:cubicBezTo>
                    <a:pt x="22" y="18"/>
                    <a:pt x="22" y="18"/>
                    <a:pt x="22" y="18"/>
                  </a:cubicBezTo>
                  <a:cubicBezTo>
                    <a:pt x="21" y="19"/>
                    <a:pt x="20" y="20"/>
                    <a:pt x="19" y="20"/>
                  </a:cubicBezTo>
                  <a:moveTo>
                    <a:pt x="19" y="18"/>
                  </a:moveTo>
                  <a:cubicBezTo>
                    <a:pt x="18" y="18"/>
                    <a:pt x="17" y="18"/>
                    <a:pt x="16" y="17"/>
                  </a:cubicBezTo>
                  <a:cubicBezTo>
                    <a:pt x="15" y="16"/>
                    <a:pt x="14" y="16"/>
                    <a:pt x="13" y="15"/>
                  </a:cubicBezTo>
                  <a:cubicBezTo>
                    <a:pt x="12" y="14"/>
                    <a:pt x="12" y="14"/>
                    <a:pt x="12" y="14"/>
                  </a:cubicBezTo>
                  <a:cubicBezTo>
                    <a:pt x="11" y="12"/>
                    <a:pt x="9" y="11"/>
                    <a:pt x="7" y="10"/>
                  </a:cubicBezTo>
                  <a:cubicBezTo>
                    <a:pt x="7" y="10"/>
                    <a:pt x="7" y="10"/>
                    <a:pt x="7" y="10"/>
                  </a:cubicBezTo>
                  <a:cubicBezTo>
                    <a:pt x="7" y="9"/>
                    <a:pt x="8" y="8"/>
                    <a:pt x="8" y="7"/>
                  </a:cubicBezTo>
                  <a:cubicBezTo>
                    <a:pt x="9" y="7"/>
                    <a:pt x="10" y="6"/>
                    <a:pt x="11" y="6"/>
                  </a:cubicBezTo>
                  <a:cubicBezTo>
                    <a:pt x="13" y="5"/>
                    <a:pt x="13" y="5"/>
                    <a:pt x="13" y="5"/>
                  </a:cubicBezTo>
                  <a:cubicBezTo>
                    <a:pt x="14" y="4"/>
                    <a:pt x="16" y="3"/>
                    <a:pt x="18" y="3"/>
                  </a:cubicBezTo>
                  <a:cubicBezTo>
                    <a:pt x="18" y="3"/>
                    <a:pt x="18" y="3"/>
                    <a:pt x="18" y="3"/>
                  </a:cubicBezTo>
                  <a:cubicBezTo>
                    <a:pt x="19" y="4"/>
                    <a:pt x="19" y="4"/>
                    <a:pt x="19" y="4"/>
                  </a:cubicBezTo>
                  <a:cubicBezTo>
                    <a:pt x="22" y="6"/>
                    <a:pt x="24" y="10"/>
                    <a:pt x="24" y="14"/>
                  </a:cubicBezTo>
                  <a:cubicBezTo>
                    <a:pt x="24" y="14"/>
                    <a:pt x="24" y="15"/>
                    <a:pt x="24" y="16"/>
                  </a:cubicBezTo>
                  <a:cubicBezTo>
                    <a:pt x="24" y="16"/>
                    <a:pt x="24" y="16"/>
                    <a:pt x="24" y="16"/>
                  </a:cubicBezTo>
                  <a:cubicBezTo>
                    <a:pt x="22" y="17"/>
                    <a:pt x="21" y="18"/>
                    <a:pt x="19" y="18"/>
                  </a:cubicBezTo>
                  <a:moveTo>
                    <a:pt x="6" y="9"/>
                  </a:moveTo>
                  <a:cubicBezTo>
                    <a:pt x="6" y="9"/>
                    <a:pt x="5" y="9"/>
                    <a:pt x="5" y="9"/>
                  </a:cubicBezTo>
                  <a:cubicBezTo>
                    <a:pt x="4" y="8"/>
                    <a:pt x="4" y="8"/>
                    <a:pt x="4" y="8"/>
                  </a:cubicBezTo>
                  <a:cubicBezTo>
                    <a:pt x="3" y="8"/>
                    <a:pt x="3" y="8"/>
                    <a:pt x="2" y="7"/>
                  </a:cubicBezTo>
                  <a:cubicBezTo>
                    <a:pt x="2" y="6"/>
                    <a:pt x="2" y="6"/>
                    <a:pt x="2" y="6"/>
                  </a:cubicBezTo>
                  <a:cubicBezTo>
                    <a:pt x="2" y="4"/>
                    <a:pt x="3" y="3"/>
                    <a:pt x="5" y="2"/>
                  </a:cubicBezTo>
                  <a:cubicBezTo>
                    <a:pt x="7" y="3"/>
                    <a:pt x="9" y="4"/>
                    <a:pt x="11" y="5"/>
                  </a:cubicBezTo>
                  <a:cubicBezTo>
                    <a:pt x="11" y="5"/>
                    <a:pt x="11" y="5"/>
                    <a:pt x="11" y="5"/>
                  </a:cubicBezTo>
                  <a:cubicBezTo>
                    <a:pt x="11" y="5"/>
                    <a:pt x="11" y="5"/>
                    <a:pt x="11" y="5"/>
                  </a:cubicBezTo>
                  <a:cubicBezTo>
                    <a:pt x="10" y="5"/>
                    <a:pt x="9" y="6"/>
                    <a:pt x="8" y="7"/>
                  </a:cubicBezTo>
                  <a:cubicBezTo>
                    <a:pt x="7" y="8"/>
                    <a:pt x="6" y="8"/>
                    <a:pt x="6" y="9"/>
                  </a:cubicBezTo>
                  <a:moveTo>
                    <a:pt x="12" y="4"/>
                  </a:moveTo>
                  <a:cubicBezTo>
                    <a:pt x="11" y="4"/>
                    <a:pt x="11" y="4"/>
                    <a:pt x="11" y="4"/>
                  </a:cubicBezTo>
                  <a:cubicBezTo>
                    <a:pt x="10" y="3"/>
                    <a:pt x="8" y="2"/>
                    <a:pt x="6" y="1"/>
                  </a:cubicBezTo>
                  <a:cubicBezTo>
                    <a:pt x="7" y="1"/>
                    <a:pt x="7" y="1"/>
                    <a:pt x="7" y="1"/>
                  </a:cubicBezTo>
                  <a:cubicBezTo>
                    <a:pt x="8" y="1"/>
                    <a:pt x="9" y="1"/>
                    <a:pt x="10" y="1"/>
                  </a:cubicBezTo>
                  <a:cubicBezTo>
                    <a:pt x="12" y="1"/>
                    <a:pt x="15" y="1"/>
                    <a:pt x="16" y="2"/>
                  </a:cubicBezTo>
                  <a:cubicBezTo>
                    <a:pt x="15" y="3"/>
                    <a:pt x="14" y="3"/>
                    <a:pt x="12" y="4"/>
                  </a:cubicBezTo>
                  <a:cubicBezTo>
                    <a:pt x="12" y="4"/>
                    <a:pt x="12" y="4"/>
                    <a:pt x="12" y="4"/>
                  </a:cubicBezTo>
                  <a:moveTo>
                    <a:pt x="10" y="0"/>
                  </a:moveTo>
                  <a:cubicBezTo>
                    <a:pt x="9" y="0"/>
                    <a:pt x="8" y="0"/>
                    <a:pt x="7" y="0"/>
                  </a:cubicBezTo>
                  <a:cubicBezTo>
                    <a:pt x="6" y="0"/>
                    <a:pt x="6" y="1"/>
                    <a:pt x="5" y="1"/>
                  </a:cubicBezTo>
                  <a:cubicBezTo>
                    <a:pt x="5" y="1"/>
                    <a:pt x="5" y="1"/>
                    <a:pt x="5" y="1"/>
                  </a:cubicBezTo>
                  <a:cubicBezTo>
                    <a:pt x="3" y="2"/>
                    <a:pt x="2" y="3"/>
                    <a:pt x="1" y="4"/>
                  </a:cubicBezTo>
                  <a:cubicBezTo>
                    <a:pt x="1" y="4"/>
                    <a:pt x="1" y="4"/>
                    <a:pt x="1" y="4"/>
                  </a:cubicBezTo>
                  <a:cubicBezTo>
                    <a:pt x="0" y="5"/>
                    <a:pt x="0" y="6"/>
                    <a:pt x="1" y="6"/>
                  </a:cubicBezTo>
                  <a:cubicBezTo>
                    <a:pt x="0" y="7"/>
                    <a:pt x="0" y="7"/>
                    <a:pt x="1" y="8"/>
                  </a:cubicBezTo>
                  <a:cubicBezTo>
                    <a:pt x="1" y="10"/>
                    <a:pt x="4" y="12"/>
                    <a:pt x="6" y="13"/>
                  </a:cubicBezTo>
                  <a:cubicBezTo>
                    <a:pt x="6" y="13"/>
                    <a:pt x="7" y="14"/>
                    <a:pt x="8" y="14"/>
                  </a:cubicBezTo>
                  <a:cubicBezTo>
                    <a:pt x="9" y="15"/>
                    <a:pt x="10" y="16"/>
                    <a:pt x="11" y="16"/>
                  </a:cubicBezTo>
                  <a:cubicBezTo>
                    <a:pt x="12" y="17"/>
                    <a:pt x="13" y="18"/>
                    <a:pt x="14" y="19"/>
                  </a:cubicBezTo>
                  <a:cubicBezTo>
                    <a:pt x="16" y="20"/>
                    <a:pt x="17" y="21"/>
                    <a:pt x="19" y="21"/>
                  </a:cubicBezTo>
                  <a:cubicBezTo>
                    <a:pt x="21" y="21"/>
                    <a:pt x="22" y="20"/>
                    <a:pt x="23" y="19"/>
                  </a:cubicBezTo>
                  <a:cubicBezTo>
                    <a:pt x="24" y="18"/>
                    <a:pt x="25" y="16"/>
                    <a:pt x="25" y="14"/>
                  </a:cubicBezTo>
                  <a:cubicBezTo>
                    <a:pt x="25" y="9"/>
                    <a:pt x="22" y="5"/>
                    <a:pt x="19" y="3"/>
                  </a:cubicBezTo>
                  <a:cubicBezTo>
                    <a:pt x="17" y="1"/>
                    <a:pt x="13" y="0"/>
                    <a:pt x="1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29" name="íṣľîďè"/>
            <p:cNvSpPr/>
            <p:nvPr/>
          </p:nvSpPr>
          <p:spPr bwMode="auto">
            <a:xfrm>
              <a:off x="3530" y="2224"/>
              <a:ext cx="133" cy="34"/>
            </a:xfrm>
            <a:custGeom>
              <a:avLst/>
              <a:gdLst>
                <a:gd name="T0" fmla="*/ 10 w 56"/>
                <a:gd name="T1" fmla="*/ 12 h 14"/>
                <a:gd name="T2" fmla="*/ 8 w 56"/>
                <a:gd name="T3" fmla="*/ 12 h 14"/>
                <a:gd name="T4" fmla="*/ 11 w 56"/>
                <a:gd name="T5" fmla="*/ 12 h 14"/>
                <a:gd name="T6" fmla="*/ 11 w 56"/>
                <a:gd name="T7" fmla="*/ 12 h 14"/>
                <a:gd name="T8" fmla="*/ 16 w 56"/>
                <a:gd name="T9" fmla="*/ 12 h 14"/>
                <a:gd name="T10" fmla="*/ 17 w 56"/>
                <a:gd name="T11" fmla="*/ 12 h 14"/>
                <a:gd name="T12" fmla="*/ 19 w 56"/>
                <a:gd name="T13" fmla="*/ 12 h 14"/>
                <a:gd name="T14" fmla="*/ 6 w 56"/>
                <a:gd name="T15" fmla="*/ 12 h 14"/>
                <a:gd name="T16" fmla="*/ 7 w 56"/>
                <a:gd name="T17" fmla="*/ 12 h 14"/>
                <a:gd name="T18" fmla="*/ 20 w 56"/>
                <a:gd name="T19" fmla="*/ 12 h 14"/>
                <a:gd name="T20" fmla="*/ 23 w 56"/>
                <a:gd name="T21" fmla="*/ 12 h 14"/>
                <a:gd name="T22" fmla="*/ 24 w 56"/>
                <a:gd name="T23" fmla="*/ 12 h 14"/>
                <a:gd name="T24" fmla="*/ 24 w 56"/>
                <a:gd name="T25" fmla="*/ 12 h 14"/>
                <a:gd name="T26" fmla="*/ 29 w 56"/>
                <a:gd name="T27" fmla="*/ 11 h 14"/>
                <a:gd name="T28" fmla="*/ 29 w 56"/>
                <a:gd name="T29" fmla="*/ 12 h 14"/>
                <a:gd name="T30" fmla="*/ 29 w 56"/>
                <a:gd name="T31" fmla="*/ 11 h 14"/>
                <a:gd name="T32" fmla="*/ 29 w 56"/>
                <a:gd name="T33" fmla="*/ 12 h 14"/>
                <a:gd name="T34" fmla="*/ 33 w 56"/>
                <a:gd name="T35" fmla="*/ 11 h 14"/>
                <a:gd name="T36" fmla="*/ 34 w 56"/>
                <a:gd name="T37" fmla="*/ 12 h 14"/>
                <a:gd name="T38" fmla="*/ 35 w 56"/>
                <a:gd name="T39" fmla="*/ 12 h 14"/>
                <a:gd name="T40" fmla="*/ 37 w 56"/>
                <a:gd name="T41" fmla="*/ 12 h 14"/>
                <a:gd name="T42" fmla="*/ 38 w 56"/>
                <a:gd name="T43" fmla="*/ 12 h 14"/>
                <a:gd name="T44" fmla="*/ 39 w 56"/>
                <a:gd name="T45" fmla="*/ 12 h 14"/>
                <a:gd name="T46" fmla="*/ 41 w 56"/>
                <a:gd name="T47" fmla="*/ 12 h 14"/>
                <a:gd name="T48" fmla="*/ 42 w 56"/>
                <a:gd name="T49" fmla="*/ 11 h 14"/>
                <a:gd name="T50" fmla="*/ 42 w 56"/>
                <a:gd name="T51" fmla="*/ 12 h 14"/>
                <a:gd name="T52" fmla="*/ 46 w 56"/>
                <a:gd name="T53" fmla="*/ 11 h 14"/>
                <a:gd name="T54" fmla="*/ 46 w 56"/>
                <a:gd name="T55" fmla="*/ 12 h 14"/>
                <a:gd name="T56" fmla="*/ 48 w 56"/>
                <a:gd name="T57" fmla="*/ 12 h 14"/>
                <a:gd name="T58" fmla="*/ 49 w 56"/>
                <a:gd name="T59" fmla="*/ 12 h 14"/>
                <a:gd name="T60" fmla="*/ 50 w 56"/>
                <a:gd name="T61" fmla="*/ 12 h 14"/>
                <a:gd name="T62" fmla="*/ 4 w 56"/>
                <a:gd name="T63" fmla="*/ 11 h 14"/>
                <a:gd name="T64" fmla="*/ 3 w 56"/>
                <a:gd name="T65" fmla="*/ 12 h 14"/>
                <a:gd name="T66" fmla="*/ 53 w 56"/>
                <a:gd name="T67" fmla="*/ 11 h 14"/>
                <a:gd name="T68" fmla="*/ 53 w 56"/>
                <a:gd name="T69" fmla="*/ 12 h 14"/>
                <a:gd name="T70" fmla="*/ 55 w 56"/>
                <a:gd name="T71" fmla="*/ 12 h 14"/>
                <a:gd name="T72" fmla="*/ 1 w 56"/>
                <a:gd name="T73" fmla="*/ 11 h 14"/>
                <a:gd name="T74" fmla="*/ 2 w 56"/>
                <a:gd name="T75" fmla="*/ 12 h 14"/>
                <a:gd name="T76" fmla="*/ 9 w 56"/>
                <a:gd name="T77" fmla="*/ 2 h 14"/>
                <a:gd name="T78" fmla="*/ 51 w 56"/>
                <a:gd name="T79" fmla="*/ 1 h 14"/>
                <a:gd name="T80" fmla="*/ 10 w 56"/>
                <a:gd name="T81" fmla="*/ 11 h 14"/>
                <a:gd name="T82" fmla="*/ 8 w 56"/>
                <a:gd name="T83" fmla="*/ 1 h 14"/>
                <a:gd name="T84" fmla="*/ 1 w 56"/>
                <a:gd name="T85" fmla="*/ 10 h 14"/>
                <a:gd name="T86" fmla="*/ 0 w 56"/>
                <a:gd name="T87" fmla="*/ 13 h 14"/>
                <a:gd name="T88" fmla="*/ 1 w 56"/>
                <a:gd name="T89" fmla="*/ 14 h 14"/>
                <a:gd name="T90" fmla="*/ 13 w 56"/>
                <a:gd name="T91" fmla="*/ 13 h 14"/>
                <a:gd name="T92" fmla="*/ 13 w 56"/>
                <a:gd name="T93" fmla="*/ 13 h 14"/>
                <a:gd name="T94" fmla="*/ 16 w 56"/>
                <a:gd name="T95" fmla="*/ 13 h 14"/>
                <a:gd name="T96" fmla="*/ 19 w 56"/>
                <a:gd name="T97" fmla="*/ 13 h 14"/>
                <a:gd name="T98" fmla="*/ 20 w 56"/>
                <a:gd name="T99" fmla="*/ 13 h 14"/>
                <a:gd name="T100" fmla="*/ 23 w 56"/>
                <a:gd name="T101" fmla="*/ 13 h 14"/>
                <a:gd name="T102" fmla="*/ 28 w 56"/>
                <a:gd name="T103" fmla="*/ 13 h 14"/>
                <a:gd name="T104" fmla="*/ 33 w 56"/>
                <a:gd name="T105" fmla="*/ 13 h 14"/>
                <a:gd name="T106" fmla="*/ 33 w 56"/>
                <a:gd name="T107" fmla="*/ 13 h 14"/>
                <a:gd name="T108" fmla="*/ 55 w 56"/>
                <a:gd name="T109" fmla="*/ 13 h 14"/>
                <a:gd name="T110" fmla="*/ 56 w 56"/>
                <a:gd name="T111" fmla="*/ 13 h 14"/>
                <a:gd name="T112" fmla="*/ 56 w 56"/>
                <a:gd name="T113" fmla="*/ 11 h 14"/>
                <a:gd name="T114" fmla="*/ 50 w 56"/>
                <a:gd name="T11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 h="14">
                  <a:moveTo>
                    <a:pt x="9" y="12"/>
                  </a:moveTo>
                  <a:cubicBezTo>
                    <a:pt x="10" y="12"/>
                    <a:pt x="10" y="12"/>
                    <a:pt x="10" y="12"/>
                  </a:cubicBezTo>
                  <a:cubicBezTo>
                    <a:pt x="10" y="12"/>
                    <a:pt x="10" y="12"/>
                    <a:pt x="10" y="12"/>
                  </a:cubicBezTo>
                  <a:cubicBezTo>
                    <a:pt x="8" y="12"/>
                    <a:pt x="8" y="12"/>
                    <a:pt x="8" y="12"/>
                  </a:cubicBezTo>
                  <a:cubicBezTo>
                    <a:pt x="8" y="12"/>
                    <a:pt x="8" y="12"/>
                    <a:pt x="8" y="12"/>
                  </a:cubicBezTo>
                  <a:cubicBezTo>
                    <a:pt x="8" y="12"/>
                    <a:pt x="8" y="12"/>
                    <a:pt x="8" y="12"/>
                  </a:cubicBezTo>
                  <a:cubicBezTo>
                    <a:pt x="9" y="12"/>
                    <a:pt x="9" y="12"/>
                    <a:pt x="9" y="12"/>
                  </a:cubicBezTo>
                  <a:moveTo>
                    <a:pt x="11" y="12"/>
                  </a:moveTo>
                  <a:cubicBezTo>
                    <a:pt x="11" y="12"/>
                    <a:pt x="11" y="12"/>
                    <a:pt x="11" y="12"/>
                  </a:cubicBezTo>
                  <a:cubicBezTo>
                    <a:pt x="13" y="12"/>
                    <a:pt x="13" y="12"/>
                    <a:pt x="13" y="12"/>
                  </a:cubicBezTo>
                  <a:cubicBezTo>
                    <a:pt x="13" y="12"/>
                    <a:pt x="13" y="12"/>
                    <a:pt x="13" y="12"/>
                  </a:cubicBezTo>
                  <a:cubicBezTo>
                    <a:pt x="11" y="12"/>
                    <a:pt x="11" y="12"/>
                    <a:pt x="11" y="12"/>
                  </a:cubicBezTo>
                  <a:moveTo>
                    <a:pt x="14" y="12"/>
                  </a:moveTo>
                  <a:cubicBezTo>
                    <a:pt x="14" y="12"/>
                    <a:pt x="14" y="12"/>
                    <a:pt x="14" y="12"/>
                  </a:cubicBezTo>
                  <a:cubicBezTo>
                    <a:pt x="16" y="12"/>
                    <a:pt x="16" y="12"/>
                    <a:pt x="16" y="12"/>
                  </a:cubicBezTo>
                  <a:cubicBezTo>
                    <a:pt x="16" y="12"/>
                    <a:pt x="16" y="12"/>
                    <a:pt x="16" y="12"/>
                  </a:cubicBezTo>
                  <a:cubicBezTo>
                    <a:pt x="14" y="12"/>
                    <a:pt x="14" y="12"/>
                    <a:pt x="14" y="12"/>
                  </a:cubicBezTo>
                  <a:moveTo>
                    <a:pt x="17" y="12"/>
                  </a:moveTo>
                  <a:cubicBezTo>
                    <a:pt x="17" y="12"/>
                    <a:pt x="17" y="12"/>
                    <a:pt x="17" y="12"/>
                  </a:cubicBezTo>
                  <a:cubicBezTo>
                    <a:pt x="20" y="12"/>
                    <a:pt x="20" y="12"/>
                    <a:pt x="20" y="12"/>
                  </a:cubicBezTo>
                  <a:cubicBezTo>
                    <a:pt x="19" y="12"/>
                    <a:pt x="19" y="12"/>
                    <a:pt x="19" y="12"/>
                  </a:cubicBezTo>
                  <a:cubicBezTo>
                    <a:pt x="17" y="12"/>
                    <a:pt x="17" y="12"/>
                    <a:pt x="17" y="12"/>
                  </a:cubicBezTo>
                  <a:moveTo>
                    <a:pt x="6" y="12"/>
                  </a:moveTo>
                  <a:cubicBezTo>
                    <a:pt x="6" y="12"/>
                    <a:pt x="6" y="12"/>
                    <a:pt x="6" y="12"/>
                  </a:cubicBezTo>
                  <a:cubicBezTo>
                    <a:pt x="6" y="12"/>
                    <a:pt x="6" y="12"/>
                    <a:pt x="6" y="12"/>
                  </a:cubicBezTo>
                  <a:cubicBezTo>
                    <a:pt x="7" y="12"/>
                    <a:pt x="7" y="12"/>
                    <a:pt x="7" y="12"/>
                  </a:cubicBezTo>
                  <a:cubicBezTo>
                    <a:pt x="7" y="12"/>
                    <a:pt x="7" y="12"/>
                    <a:pt x="7" y="12"/>
                  </a:cubicBezTo>
                  <a:cubicBezTo>
                    <a:pt x="6" y="12"/>
                    <a:pt x="6" y="12"/>
                    <a:pt x="6" y="12"/>
                  </a:cubicBezTo>
                  <a:moveTo>
                    <a:pt x="20" y="12"/>
                  </a:moveTo>
                  <a:cubicBezTo>
                    <a:pt x="20" y="12"/>
                    <a:pt x="20" y="12"/>
                    <a:pt x="20" y="12"/>
                  </a:cubicBezTo>
                  <a:cubicBezTo>
                    <a:pt x="21" y="12"/>
                    <a:pt x="21" y="12"/>
                    <a:pt x="21" y="12"/>
                  </a:cubicBezTo>
                  <a:cubicBezTo>
                    <a:pt x="23" y="12"/>
                    <a:pt x="23" y="12"/>
                    <a:pt x="23" y="12"/>
                  </a:cubicBezTo>
                  <a:cubicBezTo>
                    <a:pt x="23" y="12"/>
                    <a:pt x="23" y="12"/>
                    <a:pt x="23" y="12"/>
                  </a:cubicBezTo>
                  <a:cubicBezTo>
                    <a:pt x="20" y="12"/>
                    <a:pt x="20" y="12"/>
                    <a:pt x="20" y="12"/>
                  </a:cubicBezTo>
                  <a:moveTo>
                    <a:pt x="24" y="12"/>
                  </a:moveTo>
                  <a:cubicBezTo>
                    <a:pt x="24" y="12"/>
                    <a:pt x="24" y="12"/>
                    <a:pt x="24" y="12"/>
                  </a:cubicBezTo>
                  <a:cubicBezTo>
                    <a:pt x="27" y="12"/>
                    <a:pt x="27" y="12"/>
                    <a:pt x="27" y="12"/>
                  </a:cubicBezTo>
                  <a:cubicBezTo>
                    <a:pt x="26" y="12"/>
                    <a:pt x="26" y="12"/>
                    <a:pt x="26" y="12"/>
                  </a:cubicBezTo>
                  <a:cubicBezTo>
                    <a:pt x="24" y="12"/>
                    <a:pt x="24" y="12"/>
                    <a:pt x="24" y="12"/>
                  </a:cubicBezTo>
                  <a:moveTo>
                    <a:pt x="27" y="12"/>
                  </a:moveTo>
                  <a:cubicBezTo>
                    <a:pt x="28" y="11"/>
                    <a:pt x="28" y="11"/>
                    <a:pt x="28" y="11"/>
                  </a:cubicBezTo>
                  <a:cubicBezTo>
                    <a:pt x="29" y="11"/>
                    <a:pt x="29" y="11"/>
                    <a:pt x="29" y="11"/>
                  </a:cubicBezTo>
                  <a:cubicBezTo>
                    <a:pt x="28" y="12"/>
                    <a:pt x="28" y="12"/>
                    <a:pt x="28" y="12"/>
                  </a:cubicBezTo>
                  <a:cubicBezTo>
                    <a:pt x="27" y="12"/>
                    <a:pt x="27" y="12"/>
                    <a:pt x="27" y="12"/>
                  </a:cubicBezTo>
                  <a:moveTo>
                    <a:pt x="29" y="12"/>
                  </a:moveTo>
                  <a:cubicBezTo>
                    <a:pt x="29" y="12"/>
                    <a:pt x="29" y="12"/>
                    <a:pt x="29" y="12"/>
                  </a:cubicBezTo>
                  <a:cubicBezTo>
                    <a:pt x="29" y="12"/>
                    <a:pt x="29" y="12"/>
                    <a:pt x="29" y="12"/>
                  </a:cubicBezTo>
                  <a:cubicBezTo>
                    <a:pt x="29" y="11"/>
                    <a:pt x="29" y="11"/>
                    <a:pt x="29" y="11"/>
                  </a:cubicBezTo>
                  <a:cubicBezTo>
                    <a:pt x="31" y="11"/>
                    <a:pt x="31" y="11"/>
                    <a:pt x="31" y="11"/>
                  </a:cubicBezTo>
                  <a:cubicBezTo>
                    <a:pt x="31" y="12"/>
                    <a:pt x="31" y="12"/>
                    <a:pt x="31" y="12"/>
                  </a:cubicBezTo>
                  <a:cubicBezTo>
                    <a:pt x="29" y="12"/>
                    <a:pt x="29" y="12"/>
                    <a:pt x="29" y="12"/>
                  </a:cubicBezTo>
                  <a:moveTo>
                    <a:pt x="32" y="12"/>
                  </a:moveTo>
                  <a:cubicBezTo>
                    <a:pt x="32" y="11"/>
                    <a:pt x="32" y="11"/>
                    <a:pt x="32" y="11"/>
                  </a:cubicBezTo>
                  <a:cubicBezTo>
                    <a:pt x="33" y="11"/>
                    <a:pt x="33" y="11"/>
                    <a:pt x="33" y="11"/>
                  </a:cubicBezTo>
                  <a:cubicBezTo>
                    <a:pt x="33" y="12"/>
                    <a:pt x="33" y="12"/>
                    <a:pt x="33" y="12"/>
                  </a:cubicBezTo>
                  <a:cubicBezTo>
                    <a:pt x="32" y="12"/>
                    <a:pt x="32" y="12"/>
                    <a:pt x="32" y="12"/>
                  </a:cubicBezTo>
                  <a:moveTo>
                    <a:pt x="34" y="12"/>
                  </a:moveTo>
                  <a:cubicBezTo>
                    <a:pt x="34" y="11"/>
                    <a:pt x="34" y="11"/>
                    <a:pt x="34" y="11"/>
                  </a:cubicBezTo>
                  <a:cubicBezTo>
                    <a:pt x="36" y="11"/>
                    <a:pt x="36" y="11"/>
                    <a:pt x="36" y="11"/>
                  </a:cubicBezTo>
                  <a:cubicBezTo>
                    <a:pt x="35" y="12"/>
                    <a:pt x="35" y="12"/>
                    <a:pt x="35" y="12"/>
                  </a:cubicBezTo>
                  <a:cubicBezTo>
                    <a:pt x="34" y="12"/>
                    <a:pt x="34" y="12"/>
                    <a:pt x="34" y="12"/>
                  </a:cubicBezTo>
                  <a:moveTo>
                    <a:pt x="36" y="12"/>
                  </a:moveTo>
                  <a:cubicBezTo>
                    <a:pt x="37" y="12"/>
                    <a:pt x="37" y="12"/>
                    <a:pt x="37" y="12"/>
                  </a:cubicBezTo>
                  <a:cubicBezTo>
                    <a:pt x="37" y="11"/>
                    <a:pt x="37" y="11"/>
                    <a:pt x="37" y="11"/>
                  </a:cubicBezTo>
                  <a:cubicBezTo>
                    <a:pt x="39" y="11"/>
                    <a:pt x="39" y="11"/>
                    <a:pt x="39" y="11"/>
                  </a:cubicBezTo>
                  <a:cubicBezTo>
                    <a:pt x="38" y="12"/>
                    <a:pt x="38" y="12"/>
                    <a:pt x="38" y="12"/>
                  </a:cubicBezTo>
                  <a:cubicBezTo>
                    <a:pt x="36" y="12"/>
                    <a:pt x="36" y="12"/>
                    <a:pt x="36" y="12"/>
                  </a:cubicBezTo>
                  <a:moveTo>
                    <a:pt x="39" y="12"/>
                  </a:moveTo>
                  <a:cubicBezTo>
                    <a:pt x="39" y="12"/>
                    <a:pt x="39" y="12"/>
                    <a:pt x="39" y="12"/>
                  </a:cubicBezTo>
                  <a:cubicBezTo>
                    <a:pt x="40" y="11"/>
                    <a:pt x="40" y="11"/>
                    <a:pt x="40" y="11"/>
                  </a:cubicBezTo>
                  <a:cubicBezTo>
                    <a:pt x="41" y="11"/>
                    <a:pt x="41" y="11"/>
                    <a:pt x="41" y="11"/>
                  </a:cubicBezTo>
                  <a:cubicBezTo>
                    <a:pt x="41" y="12"/>
                    <a:pt x="41" y="12"/>
                    <a:pt x="41" y="12"/>
                  </a:cubicBezTo>
                  <a:cubicBezTo>
                    <a:pt x="39" y="12"/>
                    <a:pt x="39" y="12"/>
                    <a:pt x="39" y="12"/>
                  </a:cubicBezTo>
                  <a:moveTo>
                    <a:pt x="42" y="12"/>
                  </a:moveTo>
                  <a:cubicBezTo>
                    <a:pt x="42" y="11"/>
                    <a:pt x="42" y="11"/>
                    <a:pt x="42" y="11"/>
                  </a:cubicBezTo>
                  <a:cubicBezTo>
                    <a:pt x="44" y="11"/>
                    <a:pt x="44" y="11"/>
                    <a:pt x="44" y="11"/>
                  </a:cubicBezTo>
                  <a:cubicBezTo>
                    <a:pt x="43" y="12"/>
                    <a:pt x="43" y="12"/>
                    <a:pt x="43" y="12"/>
                  </a:cubicBezTo>
                  <a:cubicBezTo>
                    <a:pt x="42" y="12"/>
                    <a:pt x="42" y="12"/>
                    <a:pt x="42" y="12"/>
                  </a:cubicBezTo>
                  <a:moveTo>
                    <a:pt x="44" y="12"/>
                  </a:moveTo>
                  <a:cubicBezTo>
                    <a:pt x="45" y="11"/>
                    <a:pt x="45" y="11"/>
                    <a:pt x="45" y="11"/>
                  </a:cubicBezTo>
                  <a:cubicBezTo>
                    <a:pt x="46" y="11"/>
                    <a:pt x="46" y="11"/>
                    <a:pt x="46" y="11"/>
                  </a:cubicBezTo>
                  <a:cubicBezTo>
                    <a:pt x="45" y="12"/>
                    <a:pt x="45" y="12"/>
                    <a:pt x="45" y="12"/>
                  </a:cubicBezTo>
                  <a:cubicBezTo>
                    <a:pt x="44" y="12"/>
                    <a:pt x="44" y="12"/>
                    <a:pt x="44" y="12"/>
                  </a:cubicBezTo>
                  <a:moveTo>
                    <a:pt x="46" y="12"/>
                  </a:moveTo>
                  <a:cubicBezTo>
                    <a:pt x="47" y="11"/>
                    <a:pt x="47" y="11"/>
                    <a:pt x="47" y="11"/>
                  </a:cubicBezTo>
                  <a:cubicBezTo>
                    <a:pt x="48" y="11"/>
                    <a:pt x="48" y="11"/>
                    <a:pt x="48" y="11"/>
                  </a:cubicBezTo>
                  <a:cubicBezTo>
                    <a:pt x="48" y="12"/>
                    <a:pt x="48" y="12"/>
                    <a:pt x="48" y="12"/>
                  </a:cubicBezTo>
                  <a:cubicBezTo>
                    <a:pt x="46" y="12"/>
                    <a:pt x="46" y="12"/>
                    <a:pt x="46" y="12"/>
                  </a:cubicBezTo>
                  <a:moveTo>
                    <a:pt x="49" y="12"/>
                  </a:moveTo>
                  <a:cubicBezTo>
                    <a:pt x="49" y="12"/>
                    <a:pt x="49" y="12"/>
                    <a:pt x="49" y="12"/>
                  </a:cubicBezTo>
                  <a:cubicBezTo>
                    <a:pt x="49" y="11"/>
                    <a:pt x="49" y="11"/>
                    <a:pt x="49" y="11"/>
                  </a:cubicBezTo>
                  <a:cubicBezTo>
                    <a:pt x="50" y="11"/>
                    <a:pt x="50" y="11"/>
                    <a:pt x="50" y="11"/>
                  </a:cubicBezTo>
                  <a:cubicBezTo>
                    <a:pt x="50" y="12"/>
                    <a:pt x="50" y="12"/>
                    <a:pt x="50" y="12"/>
                  </a:cubicBezTo>
                  <a:cubicBezTo>
                    <a:pt x="49" y="12"/>
                    <a:pt x="49" y="12"/>
                    <a:pt x="49" y="12"/>
                  </a:cubicBezTo>
                  <a:moveTo>
                    <a:pt x="3" y="12"/>
                  </a:moveTo>
                  <a:cubicBezTo>
                    <a:pt x="4" y="11"/>
                    <a:pt x="4" y="11"/>
                    <a:pt x="4" y="11"/>
                  </a:cubicBezTo>
                  <a:cubicBezTo>
                    <a:pt x="4" y="11"/>
                    <a:pt x="5" y="11"/>
                    <a:pt x="5" y="12"/>
                  </a:cubicBezTo>
                  <a:cubicBezTo>
                    <a:pt x="5" y="12"/>
                    <a:pt x="5" y="12"/>
                    <a:pt x="5" y="12"/>
                  </a:cubicBezTo>
                  <a:cubicBezTo>
                    <a:pt x="3" y="12"/>
                    <a:pt x="3" y="12"/>
                    <a:pt x="3" y="12"/>
                  </a:cubicBezTo>
                  <a:moveTo>
                    <a:pt x="51" y="12"/>
                  </a:moveTo>
                  <a:cubicBezTo>
                    <a:pt x="51" y="11"/>
                    <a:pt x="51" y="11"/>
                    <a:pt x="51" y="11"/>
                  </a:cubicBezTo>
                  <a:cubicBezTo>
                    <a:pt x="53" y="11"/>
                    <a:pt x="53" y="11"/>
                    <a:pt x="53" y="11"/>
                  </a:cubicBezTo>
                  <a:cubicBezTo>
                    <a:pt x="52" y="12"/>
                    <a:pt x="52" y="12"/>
                    <a:pt x="52" y="12"/>
                  </a:cubicBezTo>
                  <a:cubicBezTo>
                    <a:pt x="51" y="12"/>
                    <a:pt x="51" y="12"/>
                    <a:pt x="51" y="12"/>
                  </a:cubicBezTo>
                  <a:moveTo>
                    <a:pt x="53" y="12"/>
                  </a:moveTo>
                  <a:cubicBezTo>
                    <a:pt x="54" y="11"/>
                    <a:pt x="54" y="11"/>
                    <a:pt x="54" y="11"/>
                  </a:cubicBezTo>
                  <a:cubicBezTo>
                    <a:pt x="55" y="11"/>
                    <a:pt x="55" y="11"/>
                    <a:pt x="55" y="11"/>
                  </a:cubicBezTo>
                  <a:cubicBezTo>
                    <a:pt x="55" y="12"/>
                    <a:pt x="55" y="12"/>
                    <a:pt x="55" y="12"/>
                  </a:cubicBezTo>
                  <a:cubicBezTo>
                    <a:pt x="53" y="12"/>
                    <a:pt x="53" y="12"/>
                    <a:pt x="53" y="12"/>
                  </a:cubicBezTo>
                  <a:moveTo>
                    <a:pt x="2" y="12"/>
                  </a:moveTo>
                  <a:cubicBezTo>
                    <a:pt x="1" y="12"/>
                    <a:pt x="1" y="11"/>
                    <a:pt x="1" y="11"/>
                  </a:cubicBezTo>
                  <a:cubicBezTo>
                    <a:pt x="2" y="11"/>
                    <a:pt x="2" y="11"/>
                    <a:pt x="3" y="11"/>
                  </a:cubicBezTo>
                  <a:cubicBezTo>
                    <a:pt x="3" y="12"/>
                    <a:pt x="3" y="12"/>
                    <a:pt x="3" y="12"/>
                  </a:cubicBezTo>
                  <a:cubicBezTo>
                    <a:pt x="2" y="12"/>
                    <a:pt x="2" y="12"/>
                    <a:pt x="2" y="12"/>
                  </a:cubicBezTo>
                  <a:moveTo>
                    <a:pt x="9" y="11"/>
                  </a:moveTo>
                  <a:cubicBezTo>
                    <a:pt x="6" y="11"/>
                    <a:pt x="4" y="11"/>
                    <a:pt x="2" y="10"/>
                  </a:cubicBezTo>
                  <a:cubicBezTo>
                    <a:pt x="9" y="2"/>
                    <a:pt x="9" y="2"/>
                    <a:pt x="9" y="2"/>
                  </a:cubicBezTo>
                  <a:cubicBezTo>
                    <a:pt x="17" y="1"/>
                    <a:pt x="26" y="1"/>
                    <a:pt x="34" y="1"/>
                  </a:cubicBezTo>
                  <a:cubicBezTo>
                    <a:pt x="40" y="1"/>
                    <a:pt x="45" y="1"/>
                    <a:pt x="50" y="1"/>
                  </a:cubicBezTo>
                  <a:cubicBezTo>
                    <a:pt x="50" y="1"/>
                    <a:pt x="51" y="1"/>
                    <a:pt x="51" y="1"/>
                  </a:cubicBezTo>
                  <a:cubicBezTo>
                    <a:pt x="52" y="2"/>
                    <a:pt x="52" y="2"/>
                    <a:pt x="52" y="2"/>
                  </a:cubicBezTo>
                  <a:cubicBezTo>
                    <a:pt x="55" y="10"/>
                    <a:pt x="55" y="10"/>
                    <a:pt x="55" y="10"/>
                  </a:cubicBezTo>
                  <a:cubicBezTo>
                    <a:pt x="10" y="11"/>
                    <a:pt x="10" y="11"/>
                    <a:pt x="10" y="11"/>
                  </a:cubicBezTo>
                  <a:cubicBezTo>
                    <a:pt x="9" y="11"/>
                    <a:pt x="9" y="11"/>
                    <a:pt x="9" y="11"/>
                  </a:cubicBezTo>
                  <a:moveTo>
                    <a:pt x="34" y="0"/>
                  </a:moveTo>
                  <a:cubicBezTo>
                    <a:pt x="26" y="0"/>
                    <a:pt x="17" y="0"/>
                    <a:pt x="8" y="1"/>
                  </a:cubicBezTo>
                  <a:cubicBezTo>
                    <a:pt x="8" y="1"/>
                    <a:pt x="8" y="1"/>
                    <a:pt x="8" y="1"/>
                  </a:cubicBezTo>
                  <a:cubicBezTo>
                    <a:pt x="1" y="10"/>
                    <a:pt x="1" y="10"/>
                    <a:pt x="1" y="10"/>
                  </a:cubicBezTo>
                  <a:cubicBezTo>
                    <a:pt x="1" y="10"/>
                    <a:pt x="1" y="10"/>
                    <a:pt x="1" y="10"/>
                  </a:cubicBezTo>
                  <a:cubicBezTo>
                    <a:pt x="1" y="10"/>
                    <a:pt x="1" y="10"/>
                    <a:pt x="1" y="10"/>
                  </a:cubicBezTo>
                  <a:cubicBezTo>
                    <a:pt x="0" y="11"/>
                    <a:pt x="0" y="12"/>
                    <a:pt x="1" y="13"/>
                  </a:cubicBezTo>
                  <a:cubicBezTo>
                    <a:pt x="0" y="13"/>
                    <a:pt x="0" y="13"/>
                    <a:pt x="0" y="13"/>
                  </a:cubicBezTo>
                  <a:cubicBezTo>
                    <a:pt x="1" y="13"/>
                    <a:pt x="1" y="13"/>
                    <a:pt x="1" y="13"/>
                  </a:cubicBezTo>
                  <a:cubicBezTo>
                    <a:pt x="1" y="13"/>
                    <a:pt x="1" y="13"/>
                    <a:pt x="1" y="13"/>
                  </a:cubicBezTo>
                  <a:cubicBezTo>
                    <a:pt x="1" y="14"/>
                    <a:pt x="1" y="14"/>
                    <a:pt x="1" y="14"/>
                  </a:cubicBezTo>
                  <a:cubicBezTo>
                    <a:pt x="1" y="14"/>
                    <a:pt x="1" y="14"/>
                    <a:pt x="1" y="14"/>
                  </a:cubicBezTo>
                  <a:cubicBezTo>
                    <a:pt x="2" y="13"/>
                    <a:pt x="2" y="13"/>
                    <a:pt x="2" y="13"/>
                  </a:cubicBezTo>
                  <a:cubicBezTo>
                    <a:pt x="3" y="13"/>
                    <a:pt x="7" y="13"/>
                    <a:pt x="13" y="13"/>
                  </a:cubicBezTo>
                  <a:cubicBezTo>
                    <a:pt x="13" y="13"/>
                    <a:pt x="13" y="13"/>
                    <a:pt x="13" y="13"/>
                  </a:cubicBezTo>
                  <a:cubicBezTo>
                    <a:pt x="13" y="13"/>
                    <a:pt x="13" y="13"/>
                    <a:pt x="13" y="13"/>
                  </a:cubicBezTo>
                  <a:cubicBezTo>
                    <a:pt x="13" y="13"/>
                    <a:pt x="13" y="13"/>
                    <a:pt x="13" y="13"/>
                  </a:cubicBezTo>
                  <a:cubicBezTo>
                    <a:pt x="14" y="13"/>
                    <a:pt x="15" y="13"/>
                    <a:pt x="15" y="13"/>
                  </a:cubicBezTo>
                  <a:cubicBezTo>
                    <a:pt x="16" y="13"/>
                    <a:pt x="16" y="13"/>
                    <a:pt x="16" y="13"/>
                  </a:cubicBezTo>
                  <a:cubicBezTo>
                    <a:pt x="16" y="13"/>
                    <a:pt x="16" y="13"/>
                    <a:pt x="16" y="13"/>
                  </a:cubicBezTo>
                  <a:cubicBezTo>
                    <a:pt x="16" y="13"/>
                    <a:pt x="16" y="13"/>
                    <a:pt x="16" y="13"/>
                  </a:cubicBezTo>
                  <a:cubicBezTo>
                    <a:pt x="17" y="13"/>
                    <a:pt x="18" y="13"/>
                    <a:pt x="19" y="13"/>
                  </a:cubicBezTo>
                  <a:cubicBezTo>
                    <a:pt x="19" y="13"/>
                    <a:pt x="19" y="13"/>
                    <a:pt x="19" y="13"/>
                  </a:cubicBezTo>
                  <a:cubicBezTo>
                    <a:pt x="20" y="13"/>
                    <a:pt x="20" y="13"/>
                    <a:pt x="20" y="13"/>
                  </a:cubicBezTo>
                  <a:cubicBezTo>
                    <a:pt x="20" y="13"/>
                    <a:pt x="20" y="13"/>
                    <a:pt x="20" y="13"/>
                  </a:cubicBezTo>
                  <a:cubicBezTo>
                    <a:pt x="20" y="13"/>
                    <a:pt x="20" y="13"/>
                    <a:pt x="20" y="13"/>
                  </a:cubicBezTo>
                  <a:cubicBezTo>
                    <a:pt x="21" y="13"/>
                    <a:pt x="22" y="13"/>
                    <a:pt x="23" y="13"/>
                  </a:cubicBezTo>
                  <a:cubicBezTo>
                    <a:pt x="23" y="13"/>
                    <a:pt x="23" y="13"/>
                    <a:pt x="23" y="13"/>
                  </a:cubicBezTo>
                  <a:cubicBezTo>
                    <a:pt x="23" y="13"/>
                    <a:pt x="23" y="13"/>
                    <a:pt x="23" y="13"/>
                  </a:cubicBezTo>
                  <a:cubicBezTo>
                    <a:pt x="23" y="13"/>
                    <a:pt x="23" y="13"/>
                    <a:pt x="23" y="13"/>
                  </a:cubicBezTo>
                  <a:cubicBezTo>
                    <a:pt x="25" y="13"/>
                    <a:pt x="27" y="13"/>
                    <a:pt x="28" y="13"/>
                  </a:cubicBezTo>
                  <a:cubicBezTo>
                    <a:pt x="28" y="13"/>
                    <a:pt x="28" y="13"/>
                    <a:pt x="28" y="13"/>
                  </a:cubicBezTo>
                  <a:cubicBezTo>
                    <a:pt x="29" y="13"/>
                    <a:pt x="29" y="13"/>
                    <a:pt x="29" y="13"/>
                  </a:cubicBezTo>
                  <a:cubicBezTo>
                    <a:pt x="30" y="13"/>
                    <a:pt x="31" y="13"/>
                    <a:pt x="32" y="13"/>
                  </a:cubicBezTo>
                  <a:cubicBezTo>
                    <a:pt x="33" y="13"/>
                    <a:pt x="33" y="13"/>
                    <a:pt x="33" y="13"/>
                  </a:cubicBezTo>
                  <a:cubicBezTo>
                    <a:pt x="33" y="13"/>
                    <a:pt x="33" y="13"/>
                    <a:pt x="33" y="13"/>
                  </a:cubicBezTo>
                  <a:cubicBezTo>
                    <a:pt x="33" y="13"/>
                    <a:pt x="33" y="13"/>
                    <a:pt x="33" y="13"/>
                  </a:cubicBezTo>
                  <a:cubicBezTo>
                    <a:pt x="33" y="13"/>
                    <a:pt x="33" y="13"/>
                    <a:pt x="33" y="13"/>
                  </a:cubicBezTo>
                  <a:cubicBezTo>
                    <a:pt x="44" y="13"/>
                    <a:pt x="54" y="13"/>
                    <a:pt x="55" y="13"/>
                  </a:cubicBezTo>
                  <a:cubicBezTo>
                    <a:pt x="55" y="13"/>
                    <a:pt x="55" y="13"/>
                    <a:pt x="55" y="13"/>
                  </a:cubicBezTo>
                  <a:cubicBezTo>
                    <a:pt x="55" y="13"/>
                    <a:pt x="55" y="13"/>
                    <a:pt x="55" y="13"/>
                  </a:cubicBezTo>
                  <a:cubicBezTo>
                    <a:pt x="56" y="13"/>
                    <a:pt x="56" y="13"/>
                    <a:pt x="56" y="13"/>
                  </a:cubicBezTo>
                  <a:cubicBezTo>
                    <a:pt x="56" y="13"/>
                    <a:pt x="56" y="13"/>
                    <a:pt x="56" y="13"/>
                  </a:cubicBezTo>
                  <a:cubicBezTo>
                    <a:pt x="56" y="13"/>
                    <a:pt x="56" y="13"/>
                    <a:pt x="56" y="13"/>
                  </a:cubicBezTo>
                  <a:cubicBezTo>
                    <a:pt x="56" y="11"/>
                    <a:pt x="56" y="11"/>
                    <a:pt x="56" y="11"/>
                  </a:cubicBezTo>
                  <a:cubicBezTo>
                    <a:pt x="56" y="11"/>
                    <a:pt x="56" y="11"/>
                    <a:pt x="56" y="11"/>
                  </a:cubicBezTo>
                  <a:cubicBezTo>
                    <a:pt x="56" y="11"/>
                    <a:pt x="56" y="11"/>
                    <a:pt x="56" y="11"/>
                  </a:cubicBezTo>
                  <a:cubicBezTo>
                    <a:pt x="53" y="2"/>
                    <a:pt x="53" y="2"/>
                    <a:pt x="53" y="2"/>
                  </a:cubicBezTo>
                  <a:cubicBezTo>
                    <a:pt x="53" y="2"/>
                    <a:pt x="53" y="1"/>
                    <a:pt x="52" y="1"/>
                  </a:cubicBezTo>
                  <a:cubicBezTo>
                    <a:pt x="51" y="0"/>
                    <a:pt x="51" y="0"/>
                    <a:pt x="50" y="0"/>
                  </a:cubicBezTo>
                  <a:cubicBezTo>
                    <a:pt x="45" y="0"/>
                    <a:pt x="39" y="0"/>
                    <a:pt x="3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30" name="iŝľiḍê"/>
            <p:cNvSpPr/>
            <p:nvPr/>
          </p:nvSpPr>
          <p:spPr bwMode="auto">
            <a:xfrm>
              <a:off x="3565" y="2239"/>
              <a:ext cx="55" cy="7"/>
            </a:xfrm>
            <a:custGeom>
              <a:avLst/>
              <a:gdLst>
                <a:gd name="T0" fmla="*/ 1 w 23"/>
                <a:gd name="T1" fmla="*/ 2 h 3"/>
                <a:gd name="T2" fmla="*/ 1 w 23"/>
                <a:gd name="T3" fmla="*/ 2 h 3"/>
                <a:gd name="T4" fmla="*/ 1 w 23"/>
                <a:gd name="T5" fmla="*/ 1 h 3"/>
                <a:gd name="T6" fmla="*/ 13 w 23"/>
                <a:gd name="T7" fmla="*/ 1 h 3"/>
                <a:gd name="T8" fmla="*/ 22 w 23"/>
                <a:gd name="T9" fmla="*/ 1 h 3"/>
                <a:gd name="T10" fmla="*/ 22 w 23"/>
                <a:gd name="T11" fmla="*/ 2 h 3"/>
                <a:gd name="T12" fmla="*/ 11 w 23"/>
                <a:gd name="T13" fmla="*/ 2 h 3"/>
                <a:gd name="T14" fmla="*/ 1 w 23"/>
                <a:gd name="T15" fmla="*/ 2 h 3"/>
                <a:gd name="T16" fmla="*/ 13 w 23"/>
                <a:gd name="T17" fmla="*/ 0 h 3"/>
                <a:gd name="T18" fmla="*/ 0 w 23"/>
                <a:gd name="T19" fmla="*/ 0 h 3"/>
                <a:gd name="T20" fmla="*/ 0 w 23"/>
                <a:gd name="T21" fmla="*/ 1 h 3"/>
                <a:gd name="T22" fmla="*/ 0 w 23"/>
                <a:gd name="T23" fmla="*/ 1 h 3"/>
                <a:gd name="T24" fmla="*/ 0 w 23"/>
                <a:gd name="T25" fmla="*/ 2 h 3"/>
                <a:gd name="T26" fmla="*/ 0 w 23"/>
                <a:gd name="T27" fmla="*/ 3 h 3"/>
                <a:gd name="T28" fmla="*/ 0 w 23"/>
                <a:gd name="T29" fmla="*/ 3 h 3"/>
                <a:gd name="T30" fmla="*/ 11 w 23"/>
                <a:gd name="T31" fmla="*/ 3 h 3"/>
                <a:gd name="T32" fmla="*/ 23 w 23"/>
                <a:gd name="T33" fmla="*/ 3 h 3"/>
                <a:gd name="T34" fmla="*/ 23 w 23"/>
                <a:gd name="T35" fmla="*/ 3 h 3"/>
                <a:gd name="T36" fmla="*/ 23 w 23"/>
                <a:gd name="T37" fmla="*/ 3 h 3"/>
                <a:gd name="T38" fmla="*/ 23 w 23"/>
                <a:gd name="T39" fmla="*/ 1 h 3"/>
                <a:gd name="T40" fmla="*/ 23 w 23"/>
                <a:gd name="T41" fmla="*/ 0 h 3"/>
                <a:gd name="T42" fmla="*/ 13 w 23"/>
                <a:gd name="T4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3">
                  <a:moveTo>
                    <a:pt x="1" y="2"/>
                  </a:moveTo>
                  <a:cubicBezTo>
                    <a:pt x="1" y="2"/>
                    <a:pt x="1" y="2"/>
                    <a:pt x="1" y="2"/>
                  </a:cubicBezTo>
                  <a:cubicBezTo>
                    <a:pt x="1" y="1"/>
                    <a:pt x="1" y="1"/>
                    <a:pt x="1" y="1"/>
                  </a:cubicBezTo>
                  <a:cubicBezTo>
                    <a:pt x="5" y="1"/>
                    <a:pt x="9" y="1"/>
                    <a:pt x="13" y="1"/>
                  </a:cubicBezTo>
                  <a:cubicBezTo>
                    <a:pt x="16" y="1"/>
                    <a:pt x="19" y="1"/>
                    <a:pt x="22" y="1"/>
                  </a:cubicBezTo>
                  <a:cubicBezTo>
                    <a:pt x="22" y="2"/>
                    <a:pt x="22" y="2"/>
                    <a:pt x="22" y="2"/>
                  </a:cubicBezTo>
                  <a:cubicBezTo>
                    <a:pt x="18" y="2"/>
                    <a:pt x="14" y="2"/>
                    <a:pt x="11" y="2"/>
                  </a:cubicBezTo>
                  <a:cubicBezTo>
                    <a:pt x="7" y="2"/>
                    <a:pt x="4" y="2"/>
                    <a:pt x="1" y="2"/>
                  </a:cubicBezTo>
                  <a:moveTo>
                    <a:pt x="13" y="0"/>
                  </a:moveTo>
                  <a:cubicBezTo>
                    <a:pt x="9" y="0"/>
                    <a:pt x="5" y="0"/>
                    <a:pt x="0" y="0"/>
                  </a:cubicBezTo>
                  <a:cubicBezTo>
                    <a:pt x="0" y="1"/>
                    <a:pt x="0" y="1"/>
                    <a:pt x="0" y="1"/>
                  </a:cubicBezTo>
                  <a:cubicBezTo>
                    <a:pt x="0" y="1"/>
                    <a:pt x="0" y="1"/>
                    <a:pt x="0" y="1"/>
                  </a:cubicBezTo>
                  <a:cubicBezTo>
                    <a:pt x="0" y="2"/>
                    <a:pt x="0" y="2"/>
                    <a:pt x="0" y="2"/>
                  </a:cubicBezTo>
                  <a:cubicBezTo>
                    <a:pt x="0" y="2"/>
                    <a:pt x="0" y="3"/>
                    <a:pt x="0" y="3"/>
                  </a:cubicBezTo>
                  <a:cubicBezTo>
                    <a:pt x="0" y="3"/>
                    <a:pt x="0" y="3"/>
                    <a:pt x="0" y="3"/>
                  </a:cubicBezTo>
                  <a:cubicBezTo>
                    <a:pt x="4" y="3"/>
                    <a:pt x="7" y="3"/>
                    <a:pt x="11" y="3"/>
                  </a:cubicBezTo>
                  <a:cubicBezTo>
                    <a:pt x="15" y="3"/>
                    <a:pt x="19" y="3"/>
                    <a:pt x="23" y="3"/>
                  </a:cubicBezTo>
                  <a:cubicBezTo>
                    <a:pt x="23" y="3"/>
                    <a:pt x="23" y="3"/>
                    <a:pt x="23" y="3"/>
                  </a:cubicBezTo>
                  <a:cubicBezTo>
                    <a:pt x="23" y="3"/>
                    <a:pt x="23" y="3"/>
                    <a:pt x="23" y="3"/>
                  </a:cubicBezTo>
                  <a:cubicBezTo>
                    <a:pt x="23" y="1"/>
                    <a:pt x="23" y="1"/>
                    <a:pt x="23" y="1"/>
                  </a:cubicBezTo>
                  <a:cubicBezTo>
                    <a:pt x="23" y="0"/>
                    <a:pt x="23" y="0"/>
                    <a:pt x="23" y="0"/>
                  </a:cubicBezTo>
                  <a:cubicBezTo>
                    <a:pt x="19" y="0"/>
                    <a:pt x="16" y="0"/>
                    <a:pt x="1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31" name="îśḷïde"/>
            <p:cNvSpPr/>
            <p:nvPr/>
          </p:nvSpPr>
          <p:spPr bwMode="auto">
            <a:xfrm>
              <a:off x="3551" y="2229"/>
              <a:ext cx="19" cy="7"/>
            </a:xfrm>
            <a:custGeom>
              <a:avLst/>
              <a:gdLst>
                <a:gd name="T0" fmla="*/ 1 w 8"/>
                <a:gd name="T1" fmla="*/ 2 h 3"/>
                <a:gd name="T2" fmla="*/ 2 w 8"/>
                <a:gd name="T3" fmla="*/ 1 h 3"/>
                <a:gd name="T4" fmla="*/ 7 w 8"/>
                <a:gd name="T5" fmla="*/ 1 h 3"/>
                <a:gd name="T6" fmla="*/ 6 w 8"/>
                <a:gd name="T7" fmla="*/ 2 h 3"/>
                <a:gd name="T8" fmla="*/ 6 w 8"/>
                <a:gd name="T9" fmla="*/ 2 h 3"/>
                <a:gd name="T10" fmla="*/ 1 w 8"/>
                <a:gd name="T11" fmla="*/ 2 h 3"/>
                <a:gd name="T12" fmla="*/ 7 w 8"/>
                <a:gd name="T13" fmla="*/ 0 h 3"/>
                <a:gd name="T14" fmla="*/ 2 w 8"/>
                <a:gd name="T15" fmla="*/ 0 h 3"/>
                <a:gd name="T16" fmla="*/ 1 w 8"/>
                <a:gd name="T17" fmla="*/ 1 h 3"/>
                <a:gd name="T18" fmla="*/ 1 w 8"/>
                <a:gd name="T19" fmla="*/ 1 h 3"/>
                <a:gd name="T20" fmla="*/ 1 w 8"/>
                <a:gd name="T21" fmla="*/ 1 h 3"/>
                <a:gd name="T22" fmla="*/ 0 w 8"/>
                <a:gd name="T23" fmla="*/ 2 h 3"/>
                <a:gd name="T24" fmla="*/ 0 w 8"/>
                <a:gd name="T25" fmla="*/ 3 h 3"/>
                <a:gd name="T26" fmla="*/ 7 w 8"/>
                <a:gd name="T27" fmla="*/ 3 h 3"/>
                <a:gd name="T28" fmla="*/ 7 w 8"/>
                <a:gd name="T29" fmla="*/ 2 h 3"/>
                <a:gd name="T30" fmla="*/ 7 w 8"/>
                <a:gd name="T31" fmla="*/ 2 h 3"/>
                <a:gd name="T32" fmla="*/ 8 w 8"/>
                <a:gd name="T33" fmla="*/ 1 h 3"/>
                <a:gd name="T34" fmla="*/ 8 w 8"/>
                <a:gd name="T35" fmla="*/ 0 h 3"/>
                <a:gd name="T36" fmla="*/ 7 w 8"/>
                <a:gd name="T3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3">
                  <a:moveTo>
                    <a:pt x="1" y="2"/>
                  </a:moveTo>
                  <a:cubicBezTo>
                    <a:pt x="2" y="1"/>
                    <a:pt x="2" y="1"/>
                    <a:pt x="2" y="1"/>
                  </a:cubicBezTo>
                  <a:cubicBezTo>
                    <a:pt x="4" y="1"/>
                    <a:pt x="5" y="1"/>
                    <a:pt x="7" y="1"/>
                  </a:cubicBezTo>
                  <a:cubicBezTo>
                    <a:pt x="6" y="2"/>
                    <a:pt x="6" y="2"/>
                    <a:pt x="6" y="2"/>
                  </a:cubicBezTo>
                  <a:cubicBezTo>
                    <a:pt x="6" y="2"/>
                    <a:pt x="6" y="2"/>
                    <a:pt x="6" y="2"/>
                  </a:cubicBezTo>
                  <a:cubicBezTo>
                    <a:pt x="5" y="2"/>
                    <a:pt x="3" y="2"/>
                    <a:pt x="1" y="2"/>
                  </a:cubicBezTo>
                  <a:moveTo>
                    <a:pt x="7" y="0"/>
                  </a:moveTo>
                  <a:cubicBezTo>
                    <a:pt x="5" y="0"/>
                    <a:pt x="4" y="0"/>
                    <a:pt x="2" y="0"/>
                  </a:cubicBezTo>
                  <a:cubicBezTo>
                    <a:pt x="1" y="1"/>
                    <a:pt x="1" y="1"/>
                    <a:pt x="1" y="1"/>
                  </a:cubicBezTo>
                  <a:cubicBezTo>
                    <a:pt x="1" y="1"/>
                    <a:pt x="1" y="1"/>
                    <a:pt x="1" y="1"/>
                  </a:cubicBezTo>
                  <a:cubicBezTo>
                    <a:pt x="1" y="1"/>
                    <a:pt x="1" y="1"/>
                    <a:pt x="1" y="1"/>
                  </a:cubicBezTo>
                  <a:cubicBezTo>
                    <a:pt x="0" y="2"/>
                    <a:pt x="0" y="2"/>
                    <a:pt x="0" y="2"/>
                  </a:cubicBezTo>
                  <a:cubicBezTo>
                    <a:pt x="0" y="3"/>
                    <a:pt x="0" y="3"/>
                    <a:pt x="0" y="3"/>
                  </a:cubicBezTo>
                  <a:cubicBezTo>
                    <a:pt x="2" y="3"/>
                    <a:pt x="5" y="3"/>
                    <a:pt x="7" y="3"/>
                  </a:cubicBezTo>
                  <a:cubicBezTo>
                    <a:pt x="7" y="2"/>
                    <a:pt x="7" y="2"/>
                    <a:pt x="7" y="2"/>
                  </a:cubicBezTo>
                  <a:cubicBezTo>
                    <a:pt x="7" y="2"/>
                    <a:pt x="7" y="2"/>
                    <a:pt x="7" y="2"/>
                  </a:cubicBezTo>
                  <a:cubicBezTo>
                    <a:pt x="7" y="2"/>
                    <a:pt x="8" y="1"/>
                    <a:pt x="8" y="1"/>
                  </a:cubicBezTo>
                  <a:cubicBezTo>
                    <a:pt x="8" y="0"/>
                    <a:pt x="8" y="0"/>
                    <a:pt x="8" y="0"/>
                  </a:cubicBezTo>
                  <a:cubicBezTo>
                    <a:pt x="7" y="0"/>
                    <a:pt x="7" y="0"/>
                    <a:pt x="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32" name="išľiďè"/>
            <p:cNvSpPr/>
            <p:nvPr/>
          </p:nvSpPr>
          <p:spPr bwMode="auto">
            <a:xfrm>
              <a:off x="3544" y="2239"/>
              <a:ext cx="19" cy="7"/>
            </a:xfrm>
            <a:custGeom>
              <a:avLst/>
              <a:gdLst>
                <a:gd name="T0" fmla="*/ 2 w 8"/>
                <a:gd name="T1" fmla="*/ 2 h 3"/>
                <a:gd name="T2" fmla="*/ 2 w 8"/>
                <a:gd name="T3" fmla="*/ 2 h 3"/>
                <a:gd name="T4" fmla="*/ 7 w 8"/>
                <a:gd name="T5" fmla="*/ 1 h 3"/>
                <a:gd name="T6" fmla="*/ 7 w 8"/>
                <a:gd name="T7" fmla="*/ 2 h 3"/>
                <a:gd name="T8" fmla="*/ 6 w 8"/>
                <a:gd name="T9" fmla="*/ 2 h 3"/>
                <a:gd name="T10" fmla="*/ 2 w 8"/>
                <a:gd name="T11" fmla="*/ 2 h 3"/>
                <a:gd name="T12" fmla="*/ 8 w 8"/>
                <a:gd name="T13" fmla="*/ 0 h 3"/>
                <a:gd name="T14" fmla="*/ 2 w 8"/>
                <a:gd name="T15" fmla="*/ 1 h 3"/>
                <a:gd name="T16" fmla="*/ 1 w 8"/>
                <a:gd name="T17" fmla="*/ 1 h 3"/>
                <a:gd name="T18" fmla="*/ 1 w 8"/>
                <a:gd name="T19" fmla="*/ 1 h 3"/>
                <a:gd name="T20" fmla="*/ 1 w 8"/>
                <a:gd name="T21" fmla="*/ 1 h 3"/>
                <a:gd name="T22" fmla="*/ 0 w 8"/>
                <a:gd name="T23" fmla="*/ 3 h 3"/>
                <a:gd name="T24" fmla="*/ 0 w 8"/>
                <a:gd name="T25" fmla="*/ 3 h 3"/>
                <a:gd name="T26" fmla="*/ 7 w 8"/>
                <a:gd name="T27" fmla="*/ 3 h 3"/>
                <a:gd name="T28" fmla="*/ 7 w 8"/>
                <a:gd name="T29" fmla="*/ 2 h 3"/>
                <a:gd name="T30" fmla="*/ 7 w 8"/>
                <a:gd name="T31" fmla="*/ 2 h 3"/>
                <a:gd name="T32" fmla="*/ 8 w 8"/>
                <a:gd name="T33" fmla="*/ 1 h 3"/>
                <a:gd name="T34" fmla="*/ 8 w 8"/>
                <a:gd name="T35" fmla="*/ 1 h 3"/>
                <a:gd name="T36" fmla="*/ 8 w 8"/>
                <a:gd name="T3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3">
                  <a:moveTo>
                    <a:pt x="2" y="2"/>
                  </a:moveTo>
                  <a:cubicBezTo>
                    <a:pt x="2" y="2"/>
                    <a:pt x="2" y="2"/>
                    <a:pt x="2" y="2"/>
                  </a:cubicBezTo>
                  <a:cubicBezTo>
                    <a:pt x="4" y="1"/>
                    <a:pt x="5" y="1"/>
                    <a:pt x="7" y="1"/>
                  </a:cubicBezTo>
                  <a:cubicBezTo>
                    <a:pt x="7" y="2"/>
                    <a:pt x="7" y="2"/>
                    <a:pt x="7" y="2"/>
                  </a:cubicBezTo>
                  <a:cubicBezTo>
                    <a:pt x="6" y="2"/>
                    <a:pt x="6" y="2"/>
                    <a:pt x="6" y="2"/>
                  </a:cubicBezTo>
                  <a:cubicBezTo>
                    <a:pt x="5" y="2"/>
                    <a:pt x="3" y="2"/>
                    <a:pt x="2" y="2"/>
                  </a:cubicBezTo>
                  <a:moveTo>
                    <a:pt x="8" y="0"/>
                  </a:moveTo>
                  <a:cubicBezTo>
                    <a:pt x="6" y="0"/>
                    <a:pt x="4" y="0"/>
                    <a:pt x="2" y="1"/>
                  </a:cubicBezTo>
                  <a:cubicBezTo>
                    <a:pt x="1" y="1"/>
                    <a:pt x="1" y="1"/>
                    <a:pt x="1" y="1"/>
                  </a:cubicBezTo>
                  <a:cubicBezTo>
                    <a:pt x="1" y="1"/>
                    <a:pt x="1" y="1"/>
                    <a:pt x="1" y="1"/>
                  </a:cubicBezTo>
                  <a:cubicBezTo>
                    <a:pt x="1" y="1"/>
                    <a:pt x="1" y="1"/>
                    <a:pt x="1" y="1"/>
                  </a:cubicBezTo>
                  <a:cubicBezTo>
                    <a:pt x="0" y="2"/>
                    <a:pt x="0" y="2"/>
                    <a:pt x="0" y="3"/>
                  </a:cubicBezTo>
                  <a:cubicBezTo>
                    <a:pt x="0" y="3"/>
                    <a:pt x="0" y="3"/>
                    <a:pt x="0" y="3"/>
                  </a:cubicBezTo>
                  <a:cubicBezTo>
                    <a:pt x="3" y="3"/>
                    <a:pt x="5" y="3"/>
                    <a:pt x="7" y="3"/>
                  </a:cubicBezTo>
                  <a:cubicBezTo>
                    <a:pt x="7" y="2"/>
                    <a:pt x="7" y="2"/>
                    <a:pt x="7" y="2"/>
                  </a:cubicBezTo>
                  <a:cubicBezTo>
                    <a:pt x="7" y="2"/>
                    <a:pt x="7" y="2"/>
                    <a:pt x="7" y="2"/>
                  </a:cubicBezTo>
                  <a:cubicBezTo>
                    <a:pt x="8" y="2"/>
                    <a:pt x="8" y="1"/>
                    <a:pt x="8" y="1"/>
                  </a:cubicBezTo>
                  <a:cubicBezTo>
                    <a:pt x="8" y="1"/>
                    <a:pt x="8" y="1"/>
                    <a:pt x="8" y="1"/>
                  </a:cubicBezTo>
                  <a:cubicBezTo>
                    <a:pt x="8" y="0"/>
                    <a:pt x="8" y="0"/>
                    <a:pt x="8"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33" name="íşļiḓe"/>
            <p:cNvSpPr/>
            <p:nvPr/>
          </p:nvSpPr>
          <p:spPr bwMode="auto">
            <a:xfrm>
              <a:off x="3603" y="2229"/>
              <a:ext cx="12" cy="7"/>
            </a:xfrm>
            <a:custGeom>
              <a:avLst/>
              <a:gdLst>
                <a:gd name="T0" fmla="*/ 1 w 5"/>
                <a:gd name="T1" fmla="*/ 2 h 3"/>
                <a:gd name="T2" fmla="*/ 1 w 5"/>
                <a:gd name="T3" fmla="*/ 1 h 3"/>
                <a:gd name="T4" fmla="*/ 4 w 5"/>
                <a:gd name="T5" fmla="*/ 1 h 3"/>
                <a:gd name="T6" fmla="*/ 4 w 5"/>
                <a:gd name="T7" fmla="*/ 2 h 3"/>
                <a:gd name="T8" fmla="*/ 1 w 5"/>
                <a:gd name="T9" fmla="*/ 2 h 3"/>
                <a:gd name="T10" fmla="*/ 1 w 5"/>
                <a:gd name="T11" fmla="*/ 0 h 3"/>
                <a:gd name="T12" fmla="*/ 0 w 5"/>
                <a:gd name="T13" fmla="*/ 0 h 3"/>
                <a:gd name="T14" fmla="*/ 0 w 5"/>
                <a:gd name="T15" fmla="*/ 2 h 3"/>
                <a:gd name="T16" fmla="*/ 0 w 5"/>
                <a:gd name="T17" fmla="*/ 2 h 3"/>
                <a:gd name="T18" fmla="*/ 0 w 5"/>
                <a:gd name="T19" fmla="*/ 3 h 3"/>
                <a:gd name="T20" fmla="*/ 5 w 5"/>
                <a:gd name="T21" fmla="*/ 3 h 3"/>
                <a:gd name="T22" fmla="*/ 5 w 5"/>
                <a:gd name="T23" fmla="*/ 2 h 3"/>
                <a:gd name="T24" fmla="*/ 5 w 5"/>
                <a:gd name="T25" fmla="*/ 2 h 3"/>
                <a:gd name="T26" fmla="*/ 5 w 5"/>
                <a:gd name="T27" fmla="*/ 0 h 3"/>
                <a:gd name="T28" fmla="*/ 5 w 5"/>
                <a:gd name="T29" fmla="*/ 0 h 3"/>
                <a:gd name="T30" fmla="*/ 1 w 5"/>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3">
                  <a:moveTo>
                    <a:pt x="1" y="2"/>
                  </a:moveTo>
                  <a:cubicBezTo>
                    <a:pt x="1" y="1"/>
                    <a:pt x="1" y="1"/>
                    <a:pt x="1" y="1"/>
                  </a:cubicBezTo>
                  <a:cubicBezTo>
                    <a:pt x="2" y="1"/>
                    <a:pt x="3" y="1"/>
                    <a:pt x="4" y="1"/>
                  </a:cubicBezTo>
                  <a:cubicBezTo>
                    <a:pt x="4" y="2"/>
                    <a:pt x="4" y="2"/>
                    <a:pt x="4" y="2"/>
                  </a:cubicBezTo>
                  <a:cubicBezTo>
                    <a:pt x="1" y="2"/>
                    <a:pt x="1" y="2"/>
                    <a:pt x="1" y="2"/>
                  </a:cubicBezTo>
                  <a:moveTo>
                    <a:pt x="1" y="0"/>
                  </a:moveTo>
                  <a:cubicBezTo>
                    <a:pt x="0" y="0"/>
                    <a:pt x="0" y="0"/>
                    <a:pt x="0" y="0"/>
                  </a:cubicBezTo>
                  <a:cubicBezTo>
                    <a:pt x="0" y="2"/>
                    <a:pt x="0" y="2"/>
                    <a:pt x="0" y="2"/>
                  </a:cubicBezTo>
                  <a:cubicBezTo>
                    <a:pt x="0" y="2"/>
                    <a:pt x="0" y="2"/>
                    <a:pt x="0" y="2"/>
                  </a:cubicBezTo>
                  <a:cubicBezTo>
                    <a:pt x="0" y="3"/>
                    <a:pt x="0" y="3"/>
                    <a:pt x="0" y="3"/>
                  </a:cubicBezTo>
                  <a:cubicBezTo>
                    <a:pt x="5" y="3"/>
                    <a:pt x="5" y="3"/>
                    <a:pt x="5" y="3"/>
                  </a:cubicBezTo>
                  <a:cubicBezTo>
                    <a:pt x="5" y="2"/>
                    <a:pt x="5" y="2"/>
                    <a:pt x="5" y="2"/>
                  </a:cubicBezTo>
                  <a:cubicBezTo>
                    <a:pt x="5" y="2"/>
                    <a:pt x="5" y="2"/>
                    <a:pt x="5" y="2"/>
                  </a:cubicBezTo>
                  <a:cubicBezTo>
                    <a:pt x="5" y="1"/>
                    <a:pt x="5" y="1"/>
                    <a:pt x="5" y="0"/>
                  </a:cubicBezTo>
                  <a:cubicBezTo>
                    <a:pt x="5" y="0"/>
                    <a:pt x="5" y="0"/>
                    <a:pt x="5" y="0"/>
                  </a:cubicBezTo>
                  <a:cubicBezTo>
                    <a:pt x="3" y="0"/>
                    <a:pt x="2"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34" name="íṡlidé"/>
            <p:cNvSpPr/>
            <p:nvPr/>
          </p:nvSpPr>
          <p:spPr bwMode="auto">
            <a:xfrm>
              <a:off x="3634" y="2229"/>
              <a:ext cx="17" cy="5"/>
            </a:xfrm>
            <a:custGeom>
              <a:avLst/>
              <a:gdLst>
                <a:gd name="T0" fmla="*/ 1 w 7"/>
                <a:gd name="T1" fmla="*/ 1 h 2"/>
                <a:gd name="T2" fmla="*/ 1 w 7"/>
                <a:gd name="T3" fmla="*/ 1 h 2"/>
                <a:gd name="T4" fmla="*/ 5 w 7"/>
                <a:gd name="T5" fmla="*/ 1 h 2"/>
                <a:gd name="T6" fmla="*/ 6 w 7"/>
                <a:gd name="T7" fmla="*/ 1 h 2"/>
                <a:gd name="T8" fmla="*/ 6 w 7"/>
                <a:gd name="T9" fmla="*/ 1 h 2"/>
                <a:gd name="T10" fmla="*/ 1 w 7"/>
                <a:gd name="T11" fmla="*/ 1 h 2"/>
                <a:gd name="T12" fmla="*/ 0 w 7"/>
                <a:gd name="T13" fmla="*/ 0 h 2"/>
                <a:gd name="T14" fmla="*/ 0 w 7"/>
                <a:gd name="T15" fmla="*/ 0 h 2"/>
                <a:gd name="T16" fmla="*/ 0 w 7"/>
                <a:gd name="T17" fmla="*/ 1 h 2"/>
                <a:gd name="T18" fmla="*/ 0 w 7"/>
                <a:gd name="T19" fmla="*/ 2 h 2"/>
                <a:gd name="T20" fmla="*/ 1 w 7"/>
                <a:gd name="T21" fmla="*/ 2 h 2"/>
                <a:gd name="T22" fmla="*/ 7 w 7"/>
                <a:gd name="T23" fmla="*/ 2 h 2"/>
                <a:gd name="T24" fmla="*/ 7 w 7"/>
                <a:gd name="T25" fmla="*/ 2 h 2"/>
                <a:gd name="T26" fmla="*/ 7 w 7"/>
                <a:gd name="T27" fmla="*/ 2 h 2"/>
                <a:gd name="T28" fmla="*/ 7 w 7"/>
                <a:gd name="T29" fmla="*/ 1 h 2"/>
                <a:gd name="T30" fmla="*/ 5 w 7"/>
                <a:gd name="T31" fmla="*/ 0 h 2"/>
                <a:gd name="T32" fmla="*/ 0 w 7"/>
                <a:gd name="T3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2">
                  <a:moveTo>
                    <a:pt x="1" y="1"/>
                  </a:moveTo>
                  <a:cubicBezTo>
                    <a:pt x="1" y="1"/>
                    <a:pt x="1" y="1"/>
                    <a:pt x="1" y="1"/>
                  </a:cubicBezTo>
                  <a:cubicBezTo>
                    <a:pt x="2" y="1"/>
                    <a:pt x="4" y="1"/>
                    <a:pt x="5" y="1"/>
                  </a:cubicBezTo>
                  <a:cubicBezTo>
                    <a:pt x="6" y="1"/>
                    <a:pt x="6" y="1"/>
                    <a:pt x="6" y="1"/>
                  </a:cubicBezTo>
                  <a:cubicBezTo>
                    <a:pt x="6" y="1"/>
                    <a:pt x="6" y="1"/>
                    <a:pt x="6" y="1"/>
                  </a:cubicBezTo>
                  <a:cubicBezTo>
                    <a:pt x="4" y="1"/>
                    <a:pt x="3" y="1"/>
                    <a:pt x="1" y="1"/>
                  </a:cubicBezTo>
                  <a:moveTo>
                    <a:pt x="0" y="0"/>
                  </a:moveTo>
                  <a:cubicBezTo>
                    <a:pt x="0" y="0"/>
                    <a:pt x="0" y="0"/>
                    <a:pt x="0" y="0"/>
                  </a:cubicBezTo>
                  <a:cubicBezTo>
                    <a:pt x="0" y="1"/>
                    <a:pt x="0" y="1"/>
                    <a:pt x="0" y="1"/>
                  </a:cubicBezTo>
                  <a:cubicBezTo>
                    <a:pt x="0" y="2"/>
                    <a:pt x="0" y="2"/>
                    <a:pt x="0" y="2"/>
                  </a:cubicBezTo>
                  <a:cubicBezTo>
                    <a:pt x="1" y="2"/>
                    <a:pt x="1" y="2"/>
                    <a:pt x="1" y="2"/>
                  </a:cubicBezTo>
                  <a:cubicBezTo>
                    <a:pt x="3" y="2"/>
                    <a:pt x="5" y="2"/>
                    <a:pt x="7" y="2"/>
                  </a:cubicBezTo>
                  <a:cubicBezTo>
                    <a:pt x="7" y="2"/>
                    <a:pt x="7" y="2"/>
                    <a:pt x="7" y="2"/>
                  </a:cubicBezTo>
                  <a:cubicBezTo>
                    <a:pt x="7" y="2"/>
                    <a:pt x="7" y="2"/>
                    <a:pt x="7" y="2"/>
                  </a:cubicBezTo>
                  <a:cubicBezTo>
                    <a:pt x="7" y="1"/>
                    <a:pt x="7" y="1"/>
                    <a:pt x="7" y="1"/>
                  </a:cubicBezTo>
                  <a:cubicBezTo>
                    <a:pt x="7" y="0"/>
                    <a:pt x="7" y="0"/>
                    <a:pt x="5" y="0"/>
                  </a:cubicBezTo>
                  <a:cubicBezTo>
                    <a:pt x="4" y="0"/>
                    <a:pt x="2" y="0"/>
                    <a:pt x="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35" name="íṡḻíḋé"/>
            <p:cNvSpPr/>
            <p:nvPr/>
          </p:nvSpPr>
          <p:spPr bwMode="auto">
            <a:xfrm>
              <a:off x="3637" y="2239"/>
              <a:ext cx="19" cy="7"/>
            </a:xfrm>
            <a:custGeom>
              <a:avLst/>
              <a:gdLst>
                <a:gd name="T0" fmla="*/ 2 w 8"/>
                <a:gd name="T1" fmla="*/ 2 h 3"/>
                <a:gd name="T2" fmla="*/ 2 w 8"/>
                <a:gd name="T3" fmla="*/ 1 h 3"/>
                <a:gd name="T4" fmla="*/ 6 w 8"/>
                <a:gd name="T5" fmla="*/ 1 h 3"/>
                <a:gd name="T6" fmla="*/ 7 w 8"/>
                <a:gd name="T7" fmla="*/ 2 h 3"/>
                <a:gd name="T8" fmla="*/ 7 w 8"/>
                <a:gd name="T9" fmla="*/ 2 h 3"/>
                <a:gd name="T10" fmla="*/ 2 w 8"/>
                <a:gd name="T11" fmla="*/ 2 h 3"/>
                <a:gd name="T12" fmla="*/ 1 w 8"/>
                <a:gd name="T13" fmla="*/ 0 h 3"/>
                <a:gd name="T14" fmla="*/ 0 w 8"/>
                <a:gd name="T15" fmla="*/ 1 h 3"/>
                <a:gd name="T16" fmla="*/ 0 w 8"/>
                <a:gd name="T17" fmla="*/ 1 h 3"/>
                <a:gd name="T18" fmla="*/ 1 w 8"/>
                <a:gd name="T19" fmla="*/ 3 h 3"/>
                <a:gd name="T20" fmla="*/ 1 w 8"/>
                <a:gd name="T21" fmla="*/ 3 h 3"/>
                <a:gd name="T22" fmla="*/ 7 w 8"/>
                <a:gd name="T23" fmla="*/ 3 h 3"/>
                <a:gd name="T24" fmla="*/ 8 w 8"/>
                <a:gd name="T25" fmla="*/ 2 h 3"/>
                <a:gd name="T26" fmla="*/ 8 w 8"/>
                <a:gd name="T27" fmla="*/ 2 h 3"/>
                <a:gd name="T28" fmla="*/ 8 w 8"/>
                <a:gd name="T29" fmla="*/ 1 h 3"/>
                <a:gd name="T30" fmla="*/ 6 w 8"/>
                <a:gd name="T31" fmla="*/ 0 h 3"/>
                <a:gd name="T32" fmla="*/ 1 w 8"/>
                <a:gd name="T3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3">
                  <a:moveTo>
                    <a:pt x="2" y="2"/>
                  </a:moveTo>
                  <a:cubicBezTo>
                    <a:pt x="2" y="1"/>
                    <a:pt x="2" y="1"/>
                    <a:pt x="2" y="1"/>
                  </a:cubicBezTo>
                  <a:cubicBezTo>
                    <a:pt x="3" y="1"/>
                    <a:pt x="4" y="1"/>
                    <a:pt x="6" y="1"/>
                  </a:cubicBezTo>
                  <a:cubicBezTo>
                    <a:pt x="6" y="1"/>
                    <a:pt x="7" y="2"/>
                    <a:pt x="7" y="2"/>
                  </a:cubicBezTo>
                  <a:cubicBezTo>
                    <a:pt x="7" y="2"/>
                    <a:pt x="7" y="2"/>
                    <a:pt x="7" y="2"/>
                  </a:cubicBezTo>
                  <a:cubicBezTo>
                    <a:pt x="5" y="2"/>
                    <a:pt x="3" y="2"/>
                    <a:pt x="2" y="2"/>
                  </a:cubicBezTo>
                  <a:moveTo>
                    <a:pt x="1" y="0"/>
                  </a:moveTo>
                  <a:cubicBezTo>
                    <a:pt x="0" y="1"/>
                    <a:pt x="0" y="1"/>
                    <a:pt x="0" y="1"/>
                  </a:cubicBezTo>
                  <a:cubicBezTo>
                    <a:pt x="0" y="1"/>
                    <a:pt x="0" y="1"/>
                    <a:pt x="0" y="1"/>
                  </a:cubicBezTo>
                  <a:cubicBezTo>
                    <a:pt x="1" y="3"/>
                    <a:pt x="1" y="3"/>
                    <a:pt x="1" y="3"/>
                  </a:cubicBezTo>
                  <a:cubicBezTo>
                    <a:pt x="1" y="3"/>
                    <a:pt x="1" y="3"/>
                    <a:pt x="1" y="3"/>
                  </a:cubicBezTo>
                  <a:cubicBezTo>
                    <a:pt x="3" y="3"/>
                    <a:pt x="5" y="3"/>
                    <a:pt x="7" y="3"/>
                  </a:cubicBezTo>
                  <a:cubicBezTo>
                    <a:pt x="8" y="2"/>
                    <a:pt x="8" y="2"/>
                    <a:pt x="8" y="2"/>
                  </a:cubicBezTo>
                  <a:cubicBezTo>
                    <a:pt x="8" y="2"/>
                    <a:pt x="8" y="2"/>
                    <a:pt x="8" y="2"/>
                  </a:cubicBezTo>
                  <a:cubicBezTo>
                    <a:pt x="8" y="1"/>
                    <a:pt x="8" y="1"/>
                    <a:pt x="8" y="1"/>
                  </a:cubicBezTo>
                  <a:cubicBezTo>
                    <a:pt x="7" y="1"/>
                    <a:pt x="7" y="0"/>
                    <a:pt x="6" y="0"/>
                  </a:cubicBezTo>
                  <a:cubicBezTo>
                    <a:pt x="4" y="0"/>
                    <a:pt x="2"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36" name="i$ḷïḓé"/>
            <p:cNvSpPr/>
            <p:nvPr/>
          </p:nvSpPr>
          <p:spPr bwMode="auto">
            <a:xfrm>
              <a:off x="3618" y="2229"/>
              <a:ext cx="14" cy="7"/>
            </a:xfrm>
            <a:custGeom>
              <a:avLst/>
              <a:gdLst>
                <a:gd name="T0" fmla="*/ 1 w 6"/>
                <a:gd name="T1" fmla="*/ 2 h 3"/>
                <a:gd name="T2" fmla="*/ 1 w 6"/>
                <a:gd name="T3" fmla="*/ 1 h 3"/>
                <a:gd name="T4" fmla="*/ 5 w 6"/>
                <a:gd name="T5" fmla="*/ 1 h 3"/>
                <a:gd name="T6" fmla="*/ 5 w 6"/>
                <a:gd name="T7" fmla="*/ 1 h 3"/>
                <a:gd name="T8" fmla="*/ 5 w 6"/>
                <a:gd name="T9" fmla="*/ 1 h 3"/>
                <a:gd name="T10" fmla="*/ 5 w 6"/>
                <a:gd name="T11" fmla="*/ 2 h 3"/>
                <a:gd name="T12" fmla="*/ 1 w 6"/>
                <a:gd name="T13" fmla="*/ 2 h 3"/>
                <a:gd name="T14" fmla="*/ 1 w 6"/>
                <a:gd name="T15" fmla="*/ 0 h 3"/>
                <a:gd name="T16" fmla="*/ 0 w 6"/>
                <a:gd name="T17" fmla="*/ 0 h 3"/>
                <a:gd name="T18" fmla="*/ 0 w 6"/>
                <a:gd name="T19" fmla="*/ 1 h 3"/>
                <a:gd name="T20" fmla="*/ 0 w 6"/>
                <a:gd name="T21" fmla="*/ 2 h 3"/>
                <a:gd name="T22" fmla="*/ 1 w 6"/>
                <a:gd name="T23" fmla="*/ 3 h 3"/>
                <a:gd name="T24" fmla="*/ 6 w 6"/>
                <a:gd name="T25" fmla="*/ 3 h 3"/>
                <a:gd name="T26" fmla="*/ 6 w 6"/>
                <a:gd name="T27" fmla="*/ 2 h 3"/>
                <a:gd name="T28" fmla="*/ 6 w 6"/>
                <a:gd name="T29" fmla="*/ 2 h 3"/>
                <a:gd name="T30" fmla="*/ 6 w 6"/>
                <a:gd name="T31" fmla="*/ 1 h 3"/>
                <a:gd name="T32" fmla="*/ 6 w 6"/>
                <a:gd name="T33" fmla="*/ 1 h 3"/>
                <a:gd name="T34" fmla="*/ 6 w 6"/>
                <a:gd name="T35" fmla="*/ 0 h 3"/>
                <a:gd name="T36" fmla="*/ 5 w 6"/>
                <a:gd name="T37" fmla="*/ 0 h 3"/>
                <a:gd name="T38" fmla="*/ 1 w 6"/>
                <a:gd name="T3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3">
                  <a:moveTo>
                    <a:pt x="1" y="2"/>
                  </a:moveTo>
                  <a:cubicBezTo>
                    <a:pt x="1" y="1"/>
                    <a:pt x="1" y="1"/>
                    <a:pt x="1" y="1"/>
                  </a:cubicBezTo>
                  <a:cubicBezTo>
                    <a:pt x="5" y="1"/>
                    <a:pt x="5" y="1"/>
                    <a:pt x="5" y="1"/>
                  </a:cubicBezTo>
                  <a:cubicBezTo>
                    <a:pt x="5" y="1"/>
                    <a:pt x="5" y="1"/>
                    <a:pt x="5" y="1"/>
                  </a:cubicBezTo>
                  <a:cubicBezTo>
                    <a:pt x="5" y="1"/>
                    <a:pt x="5" y="1"/>
                    <a:pt x="5" y="1"/>
                  </a:cubicBezTo>
                  <a:cubicBezTo>
                    <a:pt x="5" y="2"/>
                    <a:pt x="5" y="2"/>
                    <a:pt x="5" y="2"/>
                  </a:cubicBezTo>
                  <a:cubicBezTo>
                    <a:pt x="1" y="2"/>
                    <a:pt x="1" y="2"/>
                    <a:pt x="1" y="2"/>
                  </a:cubicBezTo>
                  <a:moveTo>
                    <a:pt x="1" y="0"/>
                  </a:moveTo>
                  <a:cubicBezTo>
                    <a:pt x="0" y="0"/>
                    <a:pt x="0" y="0"/>
                    <a:pt x="0" y="0"/>
                  </a:cubicBezTo>
                  <a:cubicBezTo>
                    <a:pt x="0" y="1"/>
                    <a:pt x="0" y="1"/>
                    <a:pt x="0" y="1"/>
                  </a:cubicBezTo>
                  <a:cubicBezTo>
                    <a:pt x="0" y="1"/>
                    <a:pt x="0" y="2"/>
                    <a:pt x="0" y="2"/>
                  </a:cubicBezTo>
                  <a:cubicBezTo>
                    <a:pt x="1" y="3"/>
                    <a:pt x="1" y="3"/>
                    <a:pt x="1" y="3"/>
                  </a:cubicBezTo>
                  <a:cubicBezTo>
                    <a:pt x="6" y="3"/>
                    <a:pt x="6" y="3"/>
                    <a:pt x="6" y="3"/>
                  </a:cubicBezTo>
                  <a:cubicBezTo>
                    <a:pt x="6" y="2"/>
                    <a:pt x="6" y="2"/>
                    <a:pt x="6" y="2"/>
                  </a:cubicBezTo>
                  <a:cubicBezTo>
                    <a:pt x="6" y="2"/>
                    <a:pt x="6" y="2"/>
                    <a:pt x="6" y="2"/>
                  </a:cubicBezTo>
                  <a:cubicBezTo>
                    <a:pt x="6" y="1"/>
                    <a:pt x="6" y="1"/>
                    <a:pt x="6" y="1"/>
                  </a:cubicBezTo>
                  <a:cubicBezTo>
                    <a:pt x="6" y="1"/>
                    <a:pt x="6" y="1"/>
                    <a:pt x="6" y="1"/>
                  </a:cubicBezTo>
                  <a:cubicBezTo>
                    <a:pt x="6" y="0"/>
                    <a:pt x="6" y="0"/>
                    <a:pt x="6" y="0"/>
                  </a:cubicBezTo>
                  <a:cubicBezTo>
                    <a:pt x="5" y="0"/>
                    <a:pt x="5" y="0"/>
                    <a:pt x="5" y="0"/>
                  </a:cubicBezTo>
                  <a:cubicBezTo>
                    <a:pt x="1" y="0"/>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37" name="íSḷíḍê"/>
            <p:cNvSpPr/>
            <p:nvPr/>
          </p:nvSpPr>
          <p:spPr bwMode="auto">
            <a:xfrm>
              <a:off x="3622" y="2239"/>
              <a:ext cx="15" cy="7"/>
            </a:xfrm>
            <a:custGeom>
              <a:avLst/>
              <a:gdLst>
                <a:gd name="T0" fmla="*/ 1 w 6"/>
                <a:gd name="T1" fmla="*/ 2 h 3"/>
                <a:gd name="T2" fmla="*/ 1 w 6"/>
                <a:gd name="T3" fmla="*/ 1 h 3"/>
                <a:gd name="T4" fmla="*/ 4 w 6"/>
                <a:gd name="T5" fmla="*/ 1 h 3"/>
                <a:gd name="T6" fmla="*/ 4 w 6"/>
                <a:gd name="T7" fmla="*/ 2 h 3"/>
                <a:gd name="T8" fmla="*/ 5 w 6"/>
                <a:gd name="T9" fmla="*/ 2 h 3"/>
                <a:gd name="T10" fmla="*/ 5 w 6"/>
                <a:gd name="T11" fmla="*/ 2 h 3"/>
                <a:gd name="T12" fmla="*/ 1 w 6"/>
                <a:gd name="T13" fmla="*/ 2 h 3"/>
                <a:gd name="T14" fmla="*/ 0 w 6"/>
                <a:gd name="T15" fmla="*/ 0 h 3"/>
                <a:gd name="T16" fmla="*/ 0 w 6"/>
                <a:gd name="T17" fmla="*/ 0 h 3"/>
                <a:gd name="T18" fmla="*/ 0 w 6"/>
                <a:gd name="T19" fmla="*/ 1 h 3"/>
                <a:gd name="T20" fmla="*/ 0 w 6"/>
                <a:gd name="T21" fmla="*/ 2 h 3"/>
                <a:gd name="T22" fmla="*/ 0 w 6"/>
                <a:gd name="T23" fmla="*/ 3 h 3"/>
                <a:gd name="T24" fmla="*/ 5 w 6"/>
                <a:gd name="T25" fmla="*/ 3 h 3"/>
                <a:gd name="T26" fmla="*/ 6 w 6"/>
                <a:gd name="T27" fmla="*/ 2 h 3"/>
                <a:gd name="T28" fmla="*/ 6 w 6"/>
                <a:gd name="T29" fmla="*/ 2 h 3"/>
                <a:gd name="T30" fmla="*/ 5 w 6"/>
                <a:gd name="T31" fmla="*/ 1 h 3"/>
                <a:gd name="T32" fmla="*/ 5 w 6"/>
                <a:gd name="T33" fmla="*/ 1 h 3"/>
                <a:gd name="T34" fmla="*/ 5 w 6"/>
                <a:gd name="T35" fmla="*/ 1 h 3"/>
                <a:gd name="T36" fmla="*/ 5 w 6"/>
                <a:gd name="T37" fmla="*/ 0 h 3"/>
                <a:gd name="T38" fmla="*/ 0 w 6"/>
                <a:gd name="T3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3">
                  <a:moveTo>
                    <a:pt x="1" y="2"/>
                  </a:moveTo>
                  <a:cubicBezTo>
                    <a:pt x="1" y="1"/>
                    <a:pt x="1" y="1"/>
                    <a:pt x="1" y="1"/>
                  </a:cubicBezTo>
                  <a:cubicBezTo>
                    <a:pt x="4" y="1"/>
                    <a:pt x="4" y="1"/>
                    <a:pt x="4" y="1"/>
                  </a:cubicBezTo>
                  <a:cubicBezTo>
                    <a:pt x="4" y="2"/>
                    <a:pt x="4" y="2"/>
                    <a:pt x="4" y="2"/>
                  </a:cubicBezTo>
                  <a:cubicBezTo>
                    <a:pt x="5" y="2"/>
                    <a:pt x="5" y="2"/>
                    <a:pt x="5" y="2"/>
                  </a:cubicBezTo>
                  <a:cubicBezTo>
                    <a:pt x="5" y="2"/>
                    <a:pt x="5" y="2"/>
                    <a:pt x="5" y="2"/>
                  </a:cubicBezTo>
                  <a:cubicBezTo>
                    <a:pt x="1" y="2"/>
                    <a:pt x="1" y="2"/>
                    <a:pt x="1" y="2"/>
                  </a:cubicBezTo>
                  <a:moveTo>
                    <a:pt x="0" y="0"/>
                  </a:moveTo>
                  <a:cubicBezTo>
                    <a:pt x="0" y="0"/>
                    <a:pt x="0" y="0"/>
                    <a:pt x="0" y="0"/>
                  </a:cubicBezTo>
                  <a:cubicBezTo>
                    <a:pt x="0" y="1"/>
                    <a:pt x="0" y="1"/>
                    <a:pt x="0" y="1"/>
                  </a:cubicBezTo>
                  <a:cubicBezTo>
                    <a:pt x="0" y="1"/>
                    <a:pt x="0" y="2"/>
                    <a:pt x="0" y="2"/>
                  </a:cubicBezTo>
                  <a:cubicBezTo>
                    <a:pt x="0" y="3"/>
                    <a:pt x="0" y="3"/>
                    <a:pt x="0" y="3"/>
                  </a:cubicBezTo>
                  <a:cubicBezTo>
                    <a:pt x="5" y="3"/>
                    <a:pt x="5" y="3"/>
                    <a:pt x="5" y="3"/>
                  </a:cubicBezTo>
                  <a:cubicBezTo>
                    <a:pt x="6" y="2"/>
                    <a:pt x="6" y="2"/>
                    <a:pt x="6" y="2"/>
                  </a:cubicBezTo>
                  <a:cubicBezTo>
                    <a:pt x="6" y="2"/>
                    <a:pt x="6" y="2"/>
                    <a:pt x="6" y="2"/>
                  </a:cubicBezTo>
                  <a:cubicBezTo>
                    <a:pt x="5" y="1"/>
                    <a:pt x="5" y="1"/>
                    <a:pt x="5" y="1"/>
                  </a:cubicBezTo>
                  <a:cubicBezTo>
                    <a:pt x="5" y="1"/>
                    <a:pt x="5" y="1"/>
                    <a:pt x="5" y="1"/>
                  </a:cubicBezTo>
                  <a:cubicBezTo>
                    <a:pt x="5" y="1"/>
                    <a:pt x="5" y="1"/>
                    <a:pt x="5" y="1"/>
                  </a:cubicBezTo>
                  <a:cubicBezTo>
                    <a:pt x="5" y="0"/>
                    <a:pt x="5" y="0"/>
                    <a:pt x="5" y="0"/>
                  </a:cubicBezTo>
                  <a:cubicBezTo>
                    <a:pt x="0" y="0"/>
                    <a:pt x="0" y="0"/>
                    <a:pt x="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38" name="ísļïḋê"/>
            <p:cNvSpPr/>
            <p:nvPr/>
          </p:nvSpPr>
          <p:spPr bwMode="auto">
            <a:xfrm>
              <a:off x="3587" y="2229"/>
              <a:ext cx="14" cy="7"/>
            </a:xfrm>
            <a:custGeom>
              <a:avLst/>
              <a:gdLst>
                <a:gd name="T0" fmla="*/ 1 w 6"/>
                <a:gd name="T1" fmla="*/ 2 h 3"/>
                <a:gd name="T2" fmla="*/ 2 w 6"/>
                <a:gd name="T3" fmla="*/ 1 h 3"/>
                <a:gd name="T4" fmla="*/ 5 w 6"/>
                <a:gd name="T5" fmla="*/ 1 h 3"/>
                <a:gd name="T6" fmla="*/ 5 w 6"/>
                <a:gd name="T7" fmla="*/ 2 h 3"/>
                <a:gd name="T8" fmla="*/ 1 w 6"/>
                <a:gd name="T9" fmla="*/ 2 h 3"/>
                <a:gd name="T10" fmla="*/ 6 w 6"/>
                <a:gd name="T11" fmla="*/ 0 h 3"/>
                <a:gd name="T12" fmla="*/ 1 w 6"/>
                <a:gd name="T13" fmla="*/ 0 h 3"/>
                <a:gd name="T14" fmla="*/ 1 w 6"/>
                <a:gd name="T15" fmla="*/ 0 h 3"/>
                <a:gd name="T16" fmla="*/ 0 w 6"/>
                <a:gd name="T17" fmla="*/ 2 h 3"/>
                <a:gd name="T18" fmla="*/ 0 w 6"/>
                <a:gd name="T19" fmla="*/ 2 h 3"/>
                <a:gd name="T20" fmla="*/ 1 w 6"/>
                <a:gd name="T21" fmla="*/ 3 h 3"/>
                <a:gd name="T22" fmla="*/ 5 w 6"/>
                <a:gd name="T23" fmla="*/ 3 h 3"/>
                <a:gd name="T24" fmla="*/ 6 w 6"/>
                <a:gd name="T25" fmla="*/ 2 h 3"/>
                <a:gd name="T26" fmla="*/ 6 w 6"/>
                <a:gd name="T27" fmla="*/ 2 h 3"/>
                <a:gd name="T28" fmla="*/ 6 w 6"/>
                <a:gd name="T29" fmla="*/ 2 h 3"/>
                <a:gd name="T30" fmla="*/ 6 w 6"/>
                <a:gd name="T31" fmla="*/ 1 h 3"/>
                <a:gd name="T32" fmla="*/ 6 w 6"/>
                <a:gd name="T33" fmla="*/ 0 h 3"/>
                <a:gd name="T34" fmla="*/ 6 w 6"/>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3">
                  <a:moveTo>
                    <a:pt x="1" y="2"/>
                  </a:moveTo>
                  <a:cubicBezTo>
                    <a:pt x="2" y="1"/>
                    <a:pt x="2" y="1"/>
                    <a:pt x="2" y="1"/>
                  </a:cubicBezTo>
                  <a:cubicBezTo>
                    <a:pt x="3" y="1"/>
                    <a:pt x="4" y="1"/>
                    <a:pt x="5" y="1"/>
                  </a:cubicBezTo>
                  <a:cubicBezTo>
                    <a:pt x="5" y="2"/>
                    <a:pt x="5" y="2"/>
                    <a:pt x="5" y="2"/>
                  </a:cubicBezTo>
                  <a:cubicBezTo>
                    <a:pt x="1" y="2"/>
                    <a:pt x="1" y="2"/>
                    <a:pt x="1" y="2"/>
                  </a:cubicBezTo>
                  <a:moveTo>
                    <a:pt x="6" y="0"/>
                  </a:moveTo>
                  <a:cubicBezTo>
                    <a:pt x="4" y="0"/>
                    <a:pt x="3" y="0"/>
                    <a:pt x="1" y="0"/>
                  </a:cubicBezTo>
                  <a:cubicBezTo>
                    <a:pt x="1" y="0"/>
                    <a:pt x="1" y="0"/>
                    <a:pt x="1" y="0"/>
                  </a:cubicBezTo>
                  <a:cubicBezTo>
                    <a:pt x="1" y="1"/>
                    <a:pt x="0" y="1"/>
                    <a:pt x="0" y="2"/>
                  </a:cubicBezTo>
                  <a:cubicBezTo>
                    <a:pt x="0" y="2"/>
                    <a:pt x="0" y="2"/>
                    <a:pt x="0" y="2"/>
                  </a:cubicBezTo>
                  <a:cubicBezTo>
                    <a:pt x="1" y="3"/>
                    <a:pt x="1" y="3"/>
                    <a:pt x="1" y="3"/>
                  </a:cubicBezTo>
                  <a:cubicBezTo>
                    <a:pt x="5" y="3"/>
                    <a:pt x="5" y="3"/>
                    <a:pt x="5" y="3"/>
                  </a:cubicBezTo>
                  <a:cubicBezTo>
                    <a:pt x="6" y="2"/>
                    <a:pt x="6" y="2"/>
                    <a:pt x="6" y="2"/>
                  </a:cubicBezTo>
                  <a:cubicBezTo>
                    <a:pt x="6" y="2"/>
                    <a:pt x="6" y="2"/>
                    <a:pt x="6" y="2"/>
                  </a:cubicBezTo>
                  <a:cubicBezTo>
                    <a:pt x="6" y="2"/>
                    <a:pt x="6" y="2"/>
                    <a:pt x="6" y="2"/>
                  </a:cubicBezTo>
                  <a:cubicBezTo>
                    <a:pt x="6" y="1"/>
                    <a:pt x="6" y="1"/>
                    <a:pt x="6" y="1"/>
                  </a:cubicBezTo>
                  <a:cubicBezTo>
                    <a:pt x="6" y="0"/>
                    <a:pt x="6" y="0"/>
                    <a:pt x="6" y="0"/>
                  </a:cubicBezTo>
                  <a:cubicBezTo>
                    <a:pt x="6" y="0"/>
                    <a:pt x="6" y="0"/>
                    <a:pt x="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39" name="ïSḻiḑê"/>
            <p:cNvSpPr/>
            <p:nvPr/>
          </p:nvSpPr>
          <p:spPr bwMode="auto">
            <a:xfrm>
              <a:off x="3570" y="2229"/>
              <a:ext cx="17" cy="7"/>
            </a:xfrm>
            <a:custGeom>
              <a:avLst/>
              <a:gdLst>
                <a:gd name="T0" fmla="*/ 2 w 7"/>
                <a:gd name="T1" fmla="*/ 2 h 3"/>
                <a:gd name="T2" fmla="*/ 2 w 7"/>
                <a:gd name="T3" fmla="*/ 1 h 3"/>
                <a:gd name="T4" fmla="*/ 5 w 7"/>
                <a:gd name="T5" fmla="*/ 1 h 3"/>
                <a:gd name="T6" fmla="*/ 5 w 7"/>
                <a:gd name="T7" fmla="*/ 1 h 3"/>
                <a:gd name="T8" fmla="*/ 5 w 7"/>
                <a:gd name="T9" fmla="*/ 2 h 3"/>
                <a:gd name="T10" fmla="*/ 2 w 7"/>
                <a:gd name="T11" fmla="*/ 2 h 3"/>
                <a:gd name="T12" fmla="*/ 6 w 7"/>
                <a:gd name="T13" fmla="*/ 0 h 3"/>
                <a:gd name="T14" fmla="*/ 1 w 7"/>
                <a:gd name="T15" fmla="*/ 0 h 3"/>
                <a:gd name="T16" fmla="*/ 1 w 7"/>
                <a:gd name="T17" fmla="*/ 0 h 3"/>
                <a:gd name="T18" fmla="*/ 0 w 7"/>
                <a:gd name="T19" fmla="*/ 2 h 3"/>
                <a:gd name="T20" fmla="*/ 0 w 7"/>
                <a:gd name="T21" fmla="*/ 3 h 3"/>
                <a:gd name="T22" fmla="*/ 1 w 7"/>
                <a:gd name="T23" fmla="*/ 3 h 3"/>
                <a:gd name="T24" fmla="*/ 6 w 7"/>
                <a:gd name="T25" fmla="*/ 3 h 3"/>
                <a:gd name="T26" fmla="*/ 6 w 7"/>
                <a:gd name="T27" fmla="*/ 2 h 3"/>
                <a:gd name="T28" fmla="*/ 6 w 7"/>
                <a:gd name="T29" fmla="*/ 2 h 3"/>
                <a:gd name="T30" fmla="*/ 6 w 7"/>
                <a:gd name="T31" fmla="*/ 2 h 3"/>
                <a:gd name="T32" fmla="*/ 7 w 7"/>
                <a:gd name="T33" fmla="*/ 1 h 3"/>
                <a:gd name="T34" fmla="*/ 7 w 7"/>
                <a:gd name="T35" fmla="*/ 0 h 3"/>
                <a:gd name="T36" fmla="*/ 6 w 7"/>
                <a:gd name="T3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3">
                  <a:moveTo>
                    <a:pt x="2" y="2"/>
                  </a:moveTo>
                  <a:cubicBezTo>
                    <a:pt x="2" y="1"/>
                    <a:pt x="2" y="1"/>
                    <a:pt x="2" y="1"/>
                  </a:cubicBezTo>
                  <a:cubicBezTo>
                    <a:pt x="3" y="1"/>
                    <a:pt x="4" y="1"/>
                    <a:pt x="5" y="1"/>
                  </a:cubicBezTo>
                  <a:cubicBezTo>
                    <a:pt x="5" y="1"/>
                    <a:pt x="5" y="1"/>
                    <a:pt x="5" y="1"/>
                  </a:cubicBezTo>
                  <a:cubicBezTo>
                    <a:pt x="5" y="2"/>
                    <a:pt x="5" y="2"/>
                    <a:pt x="5" y="2"/>
                  </a:cubicBezTo>
                  <a:cubicBezTo>
                    <a:pt x="2" y="2"/>
                    <a:pt x="2" y="2"/>
                    <a:pt x="2" y="2"/>
                  </a:cubicBezTo>
                  <a:moveTo>
                    <a:pt x="6" y="0"/>
                  </a:moveTo>
                  <a:cubicBezTo>
                    <a:pt x="5" y="0"/>
                    <a:pt x="3" y="0"/>
                    <a:pt x="1" y="0"/>
                  </a:cubicBezTo>
                  <a:cubicBezTo>
                    <a:pt x="1" y="0"/>
                    <a:pt x="1" y="0"/>
                    <a:pt x="1" y="0"/>
                  </a:cubicBezTo>
                  <a:cubicBezTo>
                    <a:pt x="1" y="1"/>
                    <a:pt x="1" y="2"/>
                    <a:pt x="0" y="2"/>
                  </a:cubicBezTo>
                  <a:cubicBezTo>
                    <a:pt x="0" y="3"/>
                    <a:pt x="0" y="3"/>
                    <a:pt x="0" y="3"/>
                  </a:cubicBezTo>
                  <a:cubicBezTo>
                    <a:pt x="1" y="3"/>
                    <a:pt x="1" y="3"/>
                    <a:pt x="1" y="3"/>
                  </a:cubicBezTo>
                  <a:cubicBezTo>
                    <a:pt x="6" y="3"/>
                    <a:pt x="6" y="3"/>
                    <a:pt x="6" y="3"/>
                  </a:cubicBezTo>
                  <a:cubicBezTo>
                    <a:pt x="6" y="2"/>
                    <a:pt x="6" y="2"/>
                    <a:pt x="6" y="2"/>
                  </a:cubicBezTo>
                  <a:cubicBezTo>
                    <a:pt x="6" y="2"/>
                    <a:pt x="6" y="2"/>
                    <a:pt x="6" y="2"/>
                  </a:cubicBezTo>
                  <a:cubicBezTo>
                    <a:pt x="6" y="2"/>
                    <a:pt x="6" y="2"/>
                    <a:pt x="6" y="2"/>
                  </a:cubicBezTo>
                  <a:cubicBezTo>
                    <a:pt x="7" y="1"/>
                    <a:pt x="7" y="1"/>
                    <a:pt x="7" y="1"/>
                  </a:cubicBezTo>
                  <a:cubicBezTo>
                    <a:pt x="7" y="0"/>
                    <a:pt x="7" y="0"/>
                    <a:pt x="7" y="0"/>
                  </a:cubicBezTo>
                  <a:cubicBezTo>
                    <a:pt x="6" y="0"/>
                    <a:pt x="6" y="0"/>
                    <a:pt x="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40" name="îṩliḑé"/>
            <p:cNvSpPr/>
            <p:nvPr/>
          </p:nvSpPr>
          <p:spPr bwMode="auto">
            <a:xfrm>
              <a:off x="3558" y="2298"/>
              <a:ext cx="10" cy="12"/>
            </a:xfrm>
            <a:custGeom>
              <a:avLst/>
              <a:gdLst>
                <a:gd name="T0" fmla="*/ 10 w 10"/>
                <a:gd name="T1" fmla="*/ 0 h 12"/>
                <a:gd name="T2" fmla="*/ 7 w 10"/>
                <a:gd name="T3" fmla="*/ 0 h 12"/>
                <a:gd name="T4" fmla="*/ 0 w 10"/>
                <a:gd name="T5" fmla="*/ 12 h 12"/>
                <a:gd name="T6" fmla="*/ 0 w 10"/>
                <a:gd name="T7" fmla="*/ 12 h 12"/>
                <a:gd name="T8" fmla="*/ 0 w 10"/>
                <a:gd name="T9" fmla="*/ 12 h 12"/>
                <a:gd name="T10" fmla="*/ 0 w 10"/>
                <a:gd name="T11" fmla="*/ 12 h 12"/>
                <a:gd name="T12" fmla="*/ 10 w 10"/>
                <a:gd name="T13" fmla="*/ 0 h 12"/>
                <a:gd name="T14" fmla="*/ 10 w 10"/>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10" y="0"/>
                  </a:moveTo>
                  <a:lnTo>
                    <a:pt x="7" y="0"/>
                  </a:lnTo>
                  <a:lnTo>
                    <a:pt x="0" y="12"/>
                  </a:lnTo>
                  <a:lnTo>
                    <a:pt x="0" y="12"/>
                  </a:lnTo>
                  <a:lnTo>
                    <a:pt x="0" y="12"/>
                  </a:lnTo>
                  <a:lnTo>
                    <a:pt x="0" y="12"/>
                  </a:lnTo>
                  <a:lnTo>
                    <a:pt x="10" y="0"/>
                  </a:lnTo>
                  <a:lnTo>
                    <a:pt x="10"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41" name="iŝļîdê"/>
            <p:cNvSpPr/>
            <p:nvPr/>
          </p:nvSpPr>
          <p:spPr bwMode="auto">
            <a:xfrm>
              <a:off x="3558" y="2298"/>
              <a:ext cx="10" cy="12"/>
            </a:xfrm>
            <a:custGeom>
              <a:avLst/>
              <a:gdLst>
                <a:gd name="T0" fmla="*/ 10 w 10"/>
                <a:gd name="T1" fmla="*/ 0 h 12"/>
                <a:gd name="T2" fmla="*/ 7 w 10"/>
                <a:gd name="T3" fmla="*/ 0 h 12"/>
                <a:gd name="T4" fmla="*/ 0 w 10"/>
                <a:gd name="T5" fmla="*/ 12 h 12"/>
                <a:gd name="T6" fmla="*/ 0 w 10"/>
                <a:gd name="T7" fmla="*/ 12 h 12"/>
                <a:gd name="T8" fmla="*/ 0 w 10"/>
                <a:gd name="T9" fmla="*/ 12 h 12"/>
                <a:gd name="T10" fmla="*/ 0 w 10"/>
                <a:gd name="T11" fmla="*/ 12 h 12"/>
                <a:gd name="T12" fmla="*/ 10 w 10"/>
                <a:gd name="T13" fmla="*/ 0 h 12"/>
                <a:gd name="T14" fmla="*/ 10 w 10"/>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10" y="0"/>
                  </a:moveTo>
                  <a:lnTo>
                    <a:pt x="7" y="0"/>
                  </a:lnTo>
                  <a:lnTo>
                    <a:pt x="0" y="12"/>
                  </a:lnTo>
                  <a:lnTo>
                    <a:pt x="0" y="12"/>
                  </a:lnTo>
                  <a:lnTo>
                    <a:pt x="0" y="12"/>
                  </a:lnTo>
                  <a:lnTo>
                    <a:pt x="0" y="12"/>
                  </a:lnTo>
                  <a:lnTo>
                    <a:pt x="10" y="0"/>
                  </a:lnTo>
                  <a:lnTo>
                    <a:pt x="10"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42" name="îṩlïḓê"/>
            <p:cNvSpPr/>
            <p:nvPr/>
          </p:nvSpPr>
          <p:spPr bwMode="auto">
            <a:xfrm>
              <a:off x="3558" y="2327"/>
              <a:ext cx="7" cy="9"/>
            </a:xfrm>
            <a:custGeom>
              <a:avLst/>
              <a:gdLst>
                <a:gd name="T0" fmla="*/ 7 w 7"/>
                <a:gd name="T1" fmla="*/ 0 h 9"/>
                <a:gd name="T2" fmla="*/ 7 w 7"/>
                <a:gd name="T3" fmla="*/ 0 h 9"/>
                <a:gd name="T4" fmla="*/ 0 w 7"/>
                <a:gd name="T5" fmla="*/ 9 h 9"/>
                <a:gd name="T6" fmla="*/ 0 w 7"/>
                <a:gd name="T7" fmla="*/ 9 h 9"/>
                <a:gd name="T8" fmla="*/ 0 w 7"/>
                <a:gd name="T9" fmla="*/ 9 h 9"/>
                <a:gd name="T10" fmla="*/ 0 w 7"/>
                <a:gd name="T11" fmla="*/ 9 h 9"/>
                <a:gd name="T12" fmla="*/ 7 w 7"/>
                <a:gd name="T13" fmla="*/ 0 h 9"/>
                <a:gd name="T14" fmla="*/ 7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7" y="0"/>
                  </a:moveTo>
                  <a:lnTo>
                    <a:pt x="7" y="0"/>
                  </a:lnTo>
                  <a:lnTo>
                    <a:pt x="0" y="9"/>
                  </a:lnTo>
                  <a:lnTo>
                    <a:pt x="0" y="9"/>
                  </a:lnTo>
                  <a:lnTo>
                    <a:pt x="0" y="9"/>
                  </a:lnTo>
                  <a:lnTo>
                    <a:pt x="0" y="9"/>
                  </a:lnTo>
                  <a:lnTo>
                    <a:pt x="7" y="0"/>
                  </a:lnTo>
                  <a:lnTo>
                    <a:pt x="7"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43" name="íSḻíḓê"/>
            <p:cNvSpPr/>
            <p:nvPr/>
          </p:nvSpPr>
          <p:spPr bwMode="auto">
            <a:xfrm>
              <a:off x="3558" y="2327"/>
              <a:ext cx="7" cy="9"/>
            </a:xfrm>
            <a:custGeom>
              <a:avLst/>
              <a:gdLst>
                <a:gd name="T0" fmla="*/ 7 w 7"/>
                <a:gd name="T1" fmla="*/ 0 h 9"/>
                <a:gd name="T2" fmla="*/ 7 w 7"/>
                <a:gd name="T3" fmla="*/ 0 h 9"/>
                <a:gd name="T4" fmla="*/ 0 w 7"/>
                <a:gd name="T5" fmla="*/ 9 h 9"/>
                <a:gd name="T6" fmla="*/ 0 w 7"/>
                <a:gd name="T7" fmla="*/ 9 h 9"/>
                <a:gd name="T8" fmla="*/ 0 w 7"/>
                <a:gd name="T9" fmla="*/ 9 h 9"/>
                <a:gd name="T10" fmla="*/ 0 w 7"/>
                <a:gd name="T11" fmla="*/ 9 h 9"/>
                <a:gd name="T12" fmla="*/ 7 w 7"/>
                <a:gd name="T13" fmla="*/ 0 h 9"/>
                <a:gd name="T14" fmla="*/ 7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7" y="0"/>
                  </a:moveTo>
                  <a:lnTo>
                    <a:pt x="7" y="0"/>
                  </a:lnTo>
                  <a:lnTo>
                    <a:pt x="0" y="9"/>
                  </a:lnTo>
                  <a:lnTo>
                    <a:pt x="0" y="9"/>
                  </a:lnTo>
                  <a:lnTo>
                    <a:pt x="0" y="9"/>
                  </a:lnTo>
                  <a:lnTo>
                    <a:pt x="0" y="9"/>
                  </a:lnTo>
                  <a:lnTo>
                    <a:pt x="7" y="0"/>
                  </a:lnTo>
                  <a:lnTo>
                    <a:pt x="7"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44" name="ïś1iḑe"/>
            <p:cNvSpPr/>
            <p:nvPr/>
          </p:nvSpPr>
          <p:spPr bwMode="auto">
            <a:xfrm>
              <a:off x="3556" y="2334"/>
              <a:ext cx="9" cy="12"/>
            </a:xfrm>
            <a:custGeom>
              <a:avLst/>
              <a:gdLst>
                <a:gd name="T0" fmla="*/ 9 w 9"/>
                <a:gd name="T1" fmla="*/ 0 h 12"/>
                <a:gd name="T2" fmla="*/ 9 w 9"/>
                <a:gd name="T3" fmla="*/ 0 h 12"/>
                <a:gd name="T4" fmla="*/ 0 w 9"/>
                <a:gd name="T5" fmla="*/ 12 h 12"/>
                <a:gd name="T6" fmla="*/ 0 w 9"/>
                <a:gd name="T7" fmla="*/ 12 h 12"/>
                <a:gd name="T8" fmla="*/ 0 w 9"/>
                <a:gd name="T9" fmla="*/ 12 h 12"/>
                <a:gd name="T10" fmla="*/ 0 w 9"/>
                <a:gd name="T11" fmla="*/ 12 h 12"/>
                <a:gd name="T12" fmla="*/ 9 w 9"/>
                <a:gd name="T13" fmla="*/ 2 h 12"/>
                <a:gd name="T14" fmla="*/ 9 w 9"/>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9" y="0"/>
                  </a:moveTo>
                  <a:lnTo>
                    <a:pt x="9" y="0"/>
                  </a:lnTo>
                  <a:lnTo>
                    <a:pt x="0" y="12"/>
                  </a:lnTo>
                  <a:lnTo>
                    <a:pt x="0" y="12"/>
                  </a:lnTo>
                  <a:lnTo>
                    <a:pt x="0" y="12"/>
                  </a:lnTo>
                  <a:lnTo>
                    <a:pt x="0" y="12"/>
                  </a:lnTo>
                  <a:lnTo>
                    <a:pt x="9" y="2"/>
                  </a:lnTo>
                  <a:lnTo>
                    <a:pt x="9"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45" name="ïşļïḍè"/>
            <p:cNvSpPr/>
            <p:nvPr/>
          </p:nvSpPr>
          <p:spPr bwMode="auto">
            <a:xfrm>
              <a:off x="3556" y="2334"/>
              <a:ext cx="9" cy="12"/>
            </a:xfrm>
            <a:custGeom>
              <a:avLst/>
              <a:gdLst>
                <a:gd name="T0" fmla="*/ 9 w 9"/>
                <a:gd name="T1" fmla="*/ 0 h 12"/>
                <a:gd name="T2" fmla="*/ 9 w 9"/>
                <a:gd name="T3" fmla="*/ 0 h 12"/>
                <a:gd name="T4" fmla="*/ 0 w 9"/>
                <a:gd name="T5" fmla="*/ 12 h 12"/>
                <a:gd name="T6" fmla="*/ 0 w 9"/>
                <a:gd name="T7" fmla="*/ 12 h 12"/>
                <a:gd name="T8" fmla="*/ 0 w 9"/>
                <a:gd name="T9" fmla="*/ 12 h 12"/>
                <a:gd name="T10" fmla="*/ 0 w 9"/>
                <a:gd name="T11" fmla="*/ 12 h 12"/>
                <a:gd name="T12" fmla="*/ 9 w 9"/>
                <a:gd name="T13" fmla="*/ 2 h 12"/>
                <a:gd name="T14" fmla="*/ 9 w 9"/>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9" y="0"/>
                  </a:moveTo>
                  <a:lnTo>
                    <a:pt x="9" y="0"/>
                  </a:lnTo>
                  <a:lnTo>
                    <a:pt x="0" y="12"/>
                  </a:lnTo>
                  <a:lnTo>
                    <a:pt x="0" y="12"/>
                  </a:lnTo>
                  <a:lnTo>
                    <a:pt x="0" y="12"/>
                  </a:lnTo>
                  <a:lnTo>
                    <a:pt x="0" y="12"/>
                  </a:lnTo>
                  <a:lnTo>
                    <a:pt x="9" y="2"/>
                  </a:lnTo>
                  <a:lnTo>
                    <a:pt x="9"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46" name="íśľiḋé"/>
            <p:cNvSpPr/>
            <p:nvPr/>
          </p:nvSpPr>
          <p:spPr bwMode="auto">
            <a:xfrm>
              <a:off x="3660" y="2477"/>
              <a:ext cx="17" cy="9"/>
            </a:xfrm>
            <a:custGeom>
              <a:avLst/>
              <a:gdLst>
                <a:gd name="T0" fmla="*/ 3 w 7"/>
                <a:gd name="T1" fmla="*/ 3 h 4"/>
                <a:gd name="T2" fmla="*/ 2 w 7"/>
                <a:gd name="T3" fmla="*/ 3 h 4"/>
                <a:gd name="T4" fmla="*/ 2 w 7"/>
                <a:gd name="T5" fmla="*/ 3 h 4"/>
                <a:gd name="T6" fmla="*/ 2 w 7"/>
                <a:gd name="T7" fmla="*/ 2 h 4"/>
                <a:gd name="T8" fmla="*/ 2 w 7"/>
                <a:gd name="T9" fmla="*/ 1 h 4"/>
                <a:gd name="T10" fmla="*/ 2 w 7"/>
                <a:gd name="T11" fmla="*/ 1 h 4"/>
                <a:gd name="T12" fmla="*/ 2 w 7"/>
                <a:gd name="T13" fmla="*/ 3 h 4"/>
                <a:gd name="T14" fmla="*/ 2 w 7"/>
                <a:gd name="T15" fmla="*/ 3 h 4"/>
                <a:gd name="T16" fmla="*/ 2 w 7"/>
                <a:gd name="T17" fmla="*/ 3 h 4"/>
                <a:gd name="T18" fmla="*/ 5 w 7"/>
                <a:gd name="T19" fmla="*/ 3 h 4"/>
                <a:gd name="T20" fmla="*/ 5 w 7"/>
                <a:gd name="T21" fmla="*/ 2 h 4"/>
                <a:gd name="T22" fmla="*/ 5 w 7"/>
                <a:gd name="T23" fmla="*/ 3 h 4"/>
                <a:gd name="T24" fmla="*/ 3 w 7"/>
                <a:gd name="T25" fmla="*/ 3 h 4"/>
                <a:gd name="T26" fmla="*/ 2 w 7"/>
                <a:gd name="T27" fmla="*/ 2 h 4"/>
                <a:gd name="T28" fmla="*/ 2 w 7"/>
                <a:gd name="T29" fmla="*/ 1 h 4"/>
                <a:gd name="T30" fmla="*/ 2 w 7"/>
                <a:gd name="T31" fmla="*/ 1 h 4"/>
                <a:gd name="T32" fmla="*/ 3 w 7"/>
                <a:gd name="T33" fmla="*/ 1 h 4"/>
                <a:gd name="T34" fmla="*/ 5 w 7"/>
                <a:gd name="T35" fmla="*/ 1 h 4"/>
                <a:gd name="T36" fmla="*/ 5 w 7"/>
                <a:gd name="T37" fmla="*/ 1 h 4"/>
                <a:gd name="T38" fmla="*/ 5 w 7"/>
                <a:gd name="T39" fmla="*/ 2 h 4"/>
                <a:gd name="T40" fmla="*/ 5 w 7"/>
                <a:gd name="T41" fmla="*/ 2 h 4"/>
                <a:gd name="T42" fmla="*/ 5 w 7"/>
                <a:gd name="T43" fmla="*/ 2 h 4"/>
                <a:gd name="T44" fmla="*/ 2 w 7"/>
                <a:gd name="T45" fmla="*/ 2 h 4"/>
                <a:gd name="T46" fmla="*/ 3 w 7"/>
                <a:gd name="T47" fmla="*/ 0 h 4"/>
                <a:gd name="T48" fmla="*/ 1 w 7"/>
                <a:gd name="T49" fmla="*/ 1 h 4"/>
                <a:gd name="T50" fmla="*/ 1 w 7"/>
                <a:gd name="T51" fmla="*/ 2 h 4"/>
                <a:gd name="T52" fmla="*/ 1 w 7"/>
                <a:gd name="T53" fmla="*/ 4 h 4"/>
                <a:gd name="T54" fmla="*/ 2 w 7"/>
                <a:gd name="T55" fmla="*/ 4 h 4"/>
                <a:gd name="T56" fmla="*/ 3 w 7"/>
                <a:gd name="T57" fmla="*/ 4 h 4"/>
                <a:gd name="T58" fmla="*/ 6 w 7"/>
                <a:gd name="T59" fmla="*/ 4 h 4"/>
                <a:gd name="T60" fmla="*/ 6 w 7"/>
                <a:gd name="T61" fmla="*/ 4 h 4"/>
                <a:gd name="T62" fmla="*/ 6 w 7"/>
                <a:gd name="T63" fmla="*/ 0 h 4"/>
                <a:gd name="T64" fmla="*/ 5 w 7"/>
                <a:gd name="T65" fmla="*/ 0 h 4"/>
                <a:gd name="T66" fmla="*/ 5 w 7"/>
                <a:gd name="T67" fmla="*/ 0 h 4"/>
                <a:gd name="T68" fmla="*/ 3 w 7"/>
                <a:gd name="T6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 h="4">
                  <a:moveTo>
                    <a:pt x="3" y="3"/>
                  </a:moveTo>
                  <a:cubicBezTo>
                    <a:pt x="3" y="3"/>
                    <a:pt x="2" y="3"/>
                    <a:pt x="2" y="3"/>
                  </a:cubicBezTo>
                  <a:cubicBezTo>
                    <a:pt x="2" y="3"/>
                    <a:pt x="2" y="3"/>
                    <a:pt x="2" y="3"/>
                  </a:cubicBezTo>
                  <a:cubicBezTo>
                    <a:pt x="2" y="3"/>
                    <a:pt x="2" y="2"/>
                    <a:pt x="2" y="2"/>
                  </a:cubicBezTo>
                  <a:cubicBezTo>
                    <a:pt x="2" y="1"/>
                    <a:pt x="2" y="1"/>
                    <a:pt x="2" y="1"/>
                  </a:cubicBezTo>
                  <a:cubicBezTo>
                    <a:pt x="2" y="1"/>
                    <a:pt x="2" y="1"/>
                    <a:pt x="2" y="1"/>
                  </a:cubicBezTo>
                  <a:cubicBezTo>
                    <a:pt x="2" y="2"/>
                    <a:pt x="2" y="2"/>
                    <a:pt x="2" y="3"/>
                  </a:cubicBezTo>
                  <a:cubicBezTo>
                    <a:pt x="2" y="3"/>
                    <a:pt x="2" y="3"/>
                    <a:pt x="2" y="3"/>
                  </a:cubicBezTo>
                  <a:cubicBezTo>
                    <a:pt x="2" y="3"/>
                    <a:pt x="2" y="3"/>
                    <a:pt x="2" y="3"/>
                  </a:cubicBezTo>
                  <a:cubicBezTo>
                    <a:pt x="5" y="3"/>
                    <a:pt x="5" y="3"/>
                    <a:pt x="5" y="3"/>
                  </a:cubicBezTo>
                  <a:cubicBezTo>
                    <a:pt x="5" y="2"/>
                    <a:pt x="5" y="2"/>
                    <a:pt x="5" y="2"/>
                  </a:cubicBezTo>
                  <a:cubicBezTo>
                    <a:pt x="5" y="3"/>
                    <a:pt x="5" y="3"/>
                    <a:pt x="5" y="3"/>
                  </a:cubicBezTo>
                  <a:cubicBezTo>
                    <a:pt x="5" y="3"/>
                    <a:pt x="4" y="3"/>
                    <a:pt x="3" y="3"/>
                  </a:cubicBezTo>
                  <a:moveTo>
                    <a:pt x="2" y="2"/>
                  </a:moveTo>
                  <a:cubicBezTo>
                    <a:pt x="2" y="2"/>
                    <a:pt x="2" y="2"/>
                    <a:pt x="2" y="1"/>
                  </a:cubicBezTo>
                  <a:cubicBezTo>
                    <a:pt x="2" y="1"/>
                    <a:pt x="2" y="1"/>
                    <a:pt x="2" y="1"/>
                  </a:cubicBezTo>
                  <a:cubicBezTo>
                    <a:pt x="3" y="1"/>
                    <a:pt x="3" y="1"/>
                    <a:pt x="3" y="1"/>
                  </a:cubicBezTo>
                  <a:cubicBezTo>
                    <a:pt x="4" y="1"/>
                    <a:pt x="4" y="1"/>
                    <a:pt x="5" y="1"/>
                  </a:cubicBezTo>
                  <a:cubicBezTo>
                    <a:pt x="5" y="1"/>
                    <a:pt x="5" y="1"/>
                    <a:pt x="5" y="1"/>
                  </a:cubicBezTo>
                  <a:cubicBezTo>
                    <a:pt x="5" y="1"/>
                    <a:pt x="5" y="2"/>
                    <a:pt x="5" y="2"/>
                  </a:cubicBezTo>
                  <a:cubicBezTo>
                    <a:pt x="5" y="2"/>
                    <a:pt x="5" y="2"/>
                    <a:pt x="5" y="2"/>
                  </a:cubicBezTo>
                  <a:cubicBezTo>
                    <a:pt x="5" y="2"/>
                    <a:pt x="5" y="2"/>
                    <a:pt x="5" y="2"/>
                  </a:cubicBezTo>
                  <a:cubicBezTo>
                    <a:pt x="2" y="2"/>
                    <a:pt x="2" y="2"/>
                    <a:pt x="2" y="2"/>
                  </a:cubicBezTo>
                  <a:moveTo>
                    <a:pt x="3" y="0"/>
                  </a:moveTo>
                  <a:cubicBezTo>
                    <a:pt x="2" y="0"/>
                    <a:pt x="1" y="0"/>
                    <a:pt x="1" y="1"/>
                  </a:cubicBezTo>
                  <a:cubicBezTo>
                    <a:pt x="1" y="2"/>
                    <a:pt x="1" y="2"/>
                    <a:pt x="1" y="2"/>
                  </a:cubicBezTo>
                  <a:cubicBezTo>
                    <a:pt x="1" y="2"/>
                    <a:pt x="0" y="3"/>
                    <a:pt x="1" y="4"/>
                  </a:cubicBezTo>
                  <a:cubicBezTo>
                    <a:pt x="2" y="4"/>
                    <a:pt x="2" y="4"/>
                    <a:pt x="2" y="4"/>
                  </a:cubicBezTo>
                  <a:cubicBezTo>
                    <a:pt x="2" y="4"/>
                    <a:pt x="2" y="4"/>
                    <a:pt x="3" y="4"/>
                  </a:cubicBezTo>
                  <a:cubicBezTo>
                    <a:pt x="4" y="4"/>
                    <a:pt x="5" y="4"/>
                    <a:pt x="6" y="4"/>
                  </a:cubicBezTo>
                  <a:cubicBezTo>
                    <a:pt x="6" y="4"/>
                    <a:pt x="6" y="4"/>
                    <a:pt x="6" y="4"/>
                  </a:cubicBezTo>
                  <a:cubicBezTo>
                    <a:pt x="6" y="3"/>
                    <a:pt x="7" y="1"/>
                    <a:pt x="6" y="0"/>
                  </a:cubicBezTo>
                  <a:cubicBezTo>
                    <a:pt x="5" y="0"/>
                    <a:pt x="5" y="0"/>
                    <a:pt x="5" y="0"/>
                  </a:cubicBezTo>
                  <a:cubicBezTo>
                    <a:pt x="5" y="0"/>
                    <a:pt x="5" y="0"/>
                    <a:pt x="5" y="0"/>
                  </a:cubicBezTo>
                  <a:cubicBezTo>
                    <a:pt x="4"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47" name="íŝ1ïḋê"/>
            <p:cNvSpPr/>
            <p:nvPr/>
          </p:nvSpPr>
          <p:spPr bwMode="auto">
            <a:xfrm>
              <a:off x="3660" y="2465"/>
              <a:ext cx="17" cy="9"/>
            </a:xfrm>
            <a:custGeom>
              <a:avLst/>
              <a:gdLst>
                <a:gd name="T0" fmla="*/ 3 w 7"/>
                <a:gd name="T1" fmla="*/ 2 h 4"/>
                <a:gd name="T2" fmla="*/ 2 w 7"/>
                <a:gd name="T3" fmla="*/ 2 h 4"/>
                <a:gd name="T4" fmla="*/ 2 w 7"/>
                <a:gd name="T5" fmla="*/ 1 h 4"/>
                <a:gd name="T6" fmla="*/ 3 w 7"/>
                <a:gd name="T7" fmla="*/ 1 h 4"/>
                <a:gd name="T8" fmla="*/ 5 w 7"/>
                <a:gd name="T9" fmla="*/ 1 h 4"/>
                <a:gd name="T10" fmla="*/ 5 w 7"/>
                <a:gd name="T11" fmla="*/ 1 h 4"/>
                <a:gd name="T12" fmla="*/ 5 w 7"/>
                <a:gd name="T13" fmla="*/ 3 h 4"/>
                <a:gd name="T14" fmla="*/ 3 w 7"/>
                <a:gd name="T15" fmla="*/ 3 h 4"/>
                <a:gd name="T16" fmla="*/ 2 w 7"/>
                <a:gd name="T17" fmla="*/ 3 h 4"/>
                <a:gd name="T18" fmla="*/ 2 w 7"/>
                <a:gd name="T19" fmla="*/ 3 h 4"/>
                <a:gd name="T20" fmla="*/ 2 w 7"/>
                <a:gd name="T21" fmla="*/ 1 h 4"/>
                <a:gd name="T22" fmla="*/ 2 w 7"/>
                <a:gd name="T23" fmla="*/ 1 h 4"/>
                <a:gd name="T24" fmla="*/ 2 w 7"/>
                <a:gd name="T25" fmla="*/ 1 h 4"/>
                <a:gd name="T26" fmla="*/ 2 w 7"/>
                <a:gd name="T27" fmla="*/ 2 h 4"/>
                <a:gd name="T28" fmla="*/ 2 w 7"/>
                <a:gd name="T29" fmla="*/ 3 h 4"/>
                <a:gd name="T30" fmla="*/ 3 w 7"/>
                <a:gd name="T31" fmla="*/ 3 h 4"/>
                <a:gd name="T32" fmla="*/ 5 w 7"/>
                <a:gd name="T33" fmla="*/ 2 h 4"/>
                <a:gd name="T34" fmla="*/ 5 w 7"/>
                <a:gd name="T35" fmla="*/ 2 h 4"/>
                <a:gd name="T36" fmla="*/ 5 w 7"/>
                <a:gd name="T37" fmla="*/ 2 h 4"/>
                <a:gd name="T38" fmla="*/ 3 w 7"/>
                <a:gd name="T39" fmla="*/ 2 h 4"/>
                <a:gd name="T40" fmla="*/ 3 w 7"/>
                <a:gd name="T41" fmla="*/ 0 h 4"/>
                <a:gd name="T42" fmla="*/ 1 w 7"/>
                <a:gd name="T43" fmla="*/ 1 h 4"/>
                <a:gd name="T44" fmla="*/ 1 w 7"/>
                <a:gd name="T45" fmla="*/ 1 h 4"/>
                <a:gd name="T46" fmla="*/ 1 w 7"/>
                <a:gd name="T47" fmla="*/ 4 h 4"/>
                <a:gd name="T48" fmla="*/ 2 w 7"/>
                <a:gd name="T49" fmla="*/ 4 h 4"/>
                <a:gd name="T50" fmla="*/ 3 w 7"/>
                <a:gd name="T51" fmla="*/ 4 h 4"/>
                <a:gd name="T52" fmla="*/ 6 w 7"/>
                <a:gd name="T53" fmla="*/ 4 h 4"/>
                <a:gd name="T54" fmla="*/ 6 w 7"/>
                <a:gd name="T55" fmla="*/ 4 h 4"/>
                <a:gd name="T56" fmla="*/ 6 w 7"/>
                <a:gd name="T57" fmla="*/ 0 h 4"/>
                <a:gd name="T58" fmla="*/ 5 w 7"/>
                <a:gd name="T59" fmla="*/ 0 h 4"/>
                <a:gd name="T60" fmla="*/ 5 w 7"/>
                <a:gd name="T61" fmla="*/ 0 h 4"/>
                <a:gd name="T62" fmla="*/ 3 w 7"/>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4">
                  <a:moveTo>
                    <a:pt x="3" y="2"/>
                  </a:moveTo>
                  <a:cubicBezTo>
                    <a:pt x="3" y="2"/>
                    <a:pt x="3" y="2"/>
                    <a:pt x="2" y="2"/>
                  </a:cubicBezTo>
                  <a:cubicBezTo>
                    <a:pt x="2" y="2"/>
                    <a:pt x="2" y="1"/>
                    <a:pt x="2" y="1"/>
                  </a:cubicBezTo>
                  <a:cubicBezTo>
                    <a:pt x="3" y="1"/>
                    <a:pt x="3" y="1"/>
                    <a:pt x="3" y="1"/>
                  </a:cubicBezTo>
                  <a:cubicBezTo>
                    <a:pt x="4" y="1"/>
                    <a:pt x="4" y="1"/>
                    <a:pt x="5" y="1"/>
                  </a:cubicBezTo>
                  <a:cubicBezTo>
                    <a:pt x="5" y="1"/>
                    <a:pt x="5" y="1"/>
                    <a:pt x="5" y="1"/>
                  </a:cubicBezTo>
                  <a:cubicBezTo>
                    <a:pt x="5" y="1"/>
                    <a:pt x="5" y="2"/>
                    <a:pt x="5" y="3"/>
                  </a:cubicBezTo>
                  <a:cubicBezTo>
                    <a:pt x="5" y="3"/>
                    <a:pt x="4" y="3"/>
                    <a:pt x="3" y="3"/>
                  </a:cubicBezTo>
                  <a:cubicBezTo>
                    <a:pt x="3" y="3"/>
                    <a:pt x="2" y="3"/>
                    <a:pt x="2" y="3"/>
                  </a:cubicBezTo>
                  <a:cubicBezTo>
                    <a:pt x="2" y="3"/>
                    <a:pt x="2" y="3"/>
                    <a:pt x="2" y="3"/>
                  </a:cubicBezTo>
                  <a:cubicBezTo>
                    <a:pt x="2" y="3"/>
                    <a:pt x="2" y="2"/>
                    <a:pt x="2" y="1"/>
                  </a:cubicBezTo>
                  <a:cubicBezTo>
                    <a:pt x="2" y="1"/>
                    <a:pt x="2" y="1"/>
                    <a:pt x="2" y="1"/>
                  </a:cubicBezTo>
                  <a:cubicBezTo>
                    <a:pt x="2" y="1"/>
                    <a:pt x="2" y="1"/>
                    <a:pt x="2" y="1"/>
                  </a:cubicBezTo>
                  <a:cubicBezTo>
                    <a:pt x="2" y="1"/>
                    <a:pt x="2" y="2"/>
                    <a:pt x="2" y="2"/>
                  </a:cubicBezTo>
                  <a:cubicBezTo>
                    <a:pt x="2" y="3"/>
                    <a:pt x="2" y="3"/>
                    <a:pt x="2" y="3"/>
                  </a:cubicBezTo>
                  <a:cubicBezTo>
                    <a:pt x="3" y="3"/>
                    <a:pt x="3" y="3"/>
                    <a:pt x="3" y="3"/>
                  </a:cubicBezTo>
                  <a:cubicBezTo>
                    <a:pt x="4" y="3"/>
                    <a:pt x="4" y="3"/>
                    <a:pt x="5" y="2"/>
                  </a:cubicBezTo>
                  <a:cubicBezTo>
                    <a:pt x="5" y="2"/>
                    <a:pt x="5" y="2"/>
                    <a:pt x="5" y="2"/>
                  </a:cubicBezTo>
                  <a:cubicBezTo>
                    <a:pt x="5" y="2"/>
                    <a:pt x="5" y="2"/>
                    <a:pt x="5" y="2"/>
                  </a:cubicBezTo>
                  <a:cubicBezTo>
                    <a:pt x="4" y="2"/>
                    <a:pt x="4" y="2"/>
                    <a:pt x="3" y="2"/>
                  </a:cubicBezTo>
                  <a:moveTo>
                    <a:pt x="3" y="0"/>
                  </a:moveTo>
                  <a:cubicBezTo>
                    <a:pt x="2" y="0"/>
                    <a:pt x="1" y="0"/>
                    <a:pt x="1" y="1"/>
                  </a:cubicBezTo>
                  <a:cubicBezTo>
                    <a:pt x="1" y="1"/>
                    <a:pt x="1" y="1"/>
                    <a:pt x="1" y="1"/>
                  </a:cubicBezTo>
                  <a:cubicBezTo>
                    <a:pt x="1" y="2"/>
                    <a:pt x="0" y="3"/>
                    <a:pt x="1" y="4"/>
                  </a:cubicBezTo>
                  <a:cubicBezTo>
                    <a:pt x="2" y="4"/>
                    <a:pt x="2" y="4"/>
                    <a:pt x="2" y="4"/>
                  </a:cubicBezTo>
                  <a:cubicBezTo>
                    <a:pt x="2" y="4"/>
                    <a:pt x="2" y="4"/>
                    <a:pt x="3" y="4"/>
                  </a:cubicBezTo>
                  <a:cubicBezTo>
                    <a:pt x="4" y="4"/>
                    <a:pt x="5" y="4"/>
                    <a:pt x="6" y="4"/>
                  </a:cubicBezTo>
                  <a:cubicBezTo>
                    <a:pt x="6" y="4"/>
                    <a:pt x="6" y="4"/>
                    <a:pt x="6" y="4"/>
                  </a:cubicBezTo>
                  <a:cubicBezTo>
                    <a:pt x="6" y="3"/>
                    <a:pt x="7" y="1"/>
                    <a:pt x="6" y="0"/>
                  </a:cubicBezTo>
                  <a:cubicBezTo>
                    <a:pt x="5" y="0"/>
                    <a:pt x="5" y="0"/>
                    <a:pt x="5" y="0"/>
                  </a:cubicBezTo>
                  <a:cubicBezTo>
                    <a:pt x="5" y="0"/>
                    <a:pt x="5" y="0"/>
                    <a:pt x="5" y="0"/>
                  </a:cubicBezTo>
                  <a:cubicBezTo>
                    <a:pt x="4"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48" name="îşliḓé"/>
            <p:cNvSpPr/>
            <p:nvPr/>
          </p:nvSpPr>
          <p:spPr bwMode="auto">
            <a:xfrm>
              <a:off x="3660" y="2503"/>
              <a:ext cx="38" cy="12"/>
            </a:xfrm>
            <a:custGeom>
              <a:avLst/>
              <a:gdLst>
                <a:gd name="T0" fmla="*/ 9 w 16"/>
                <a:gd name="T1" fmla="*/ 4 h 5"/>
                <a:gd name="T2" fmla="*/ 2 w 16"/>
                <a:gd name="T3" fmla="*/ 4 h 5"/>
                <a:gd name="T4" fmla="*/ 1 w 16"/>
                <a:gd name="T5" fmla="*/ 4 h 5"/>
                <a:gd name="T6" fmla="*/ 1 w 16"/>
                <a:gd name="T7" fmla="*/ 1 h 5"/>
                <a:gd name="T8" fmla="*/ 2 w 16"/>
                <a:gd name="T9" fmla="*/ 1 h 5"/>
                <a:gd name="T10" fmla="*/ 2 w 16"/>
                <a:gd name="T11" fmla="*/ 3 h 5"/>
                <a:gd name="T12" fmla="*/ 3 w 16"/>
                <a:gd name="T13" fmla="*/ 4 h 5"/>
                <a:gd name="T14" fmla="*/ 4 w 16"/>
                <a:gd name="T15" fmla="*/ 4 h 5"/>
                <a:gd name="T16" fmla="*/ 7 w 16"/>
                <a:gd name="T17" fmla="*/ 3 h 5"/>
                <a:gd name="T18" fmla="*/ 14 w 16"/>
                <a:gd name="T19" fmla="*/ 3 h 5"/>
                <a:gd name="T20" fmla="*/ 14 w 16"/>
                <a:gd name="T21" fmla="*/ 3 h 5"/>
                <a:gd name="T22" fmla="*/ 14 w 16"/>
                <a:gd name="T23" fmla="*/ 4 h 5"/>
                <a:gd name="T24" fmla="*/ 9 w 16"/>
                <a:gd name="T25" fmla="*/ 4 h 5"/>
                <a:gd name="T26" fmla="*/ 3 w 16"/>
                <a:gd name="T27" fmla="*/ 3 h 5"/>
                <a:gd name="T28" fmla="*/ 2 w 16"/>
                <a:gd name="T29" fmla="*/ 3 h 5"/>
                <a:gd name="T30" fmla="*/ 2 w 16"/>
                <a:gd name="T31" fmla="*/ 1 h 5"/>
                <a:gd name="T32" fmla="*/ 2 w 16"/>
                <a:gd name="T33" fmla="*/ 1 h 5"/>
                <a:gd name="T34" fmla="*/ 8 w 16"/>
                <a:gd name="T35" fmla="*/ 1 h 5"/>
                <a:gd name="T36" fmla="*/ 14 w 16"/>
                <a:gd name="T37" fmla="*/ 1 h 5"/>
                <a:gd name="T38" fmla="*/ 14 w 16"/>
                <a:gd name="T39" fmla="*/ 1 h 5"/>
                <a:gd name="T40" fmla="*/ 14 w 16"/>
                <a:gd name="T41" fmla="*/ 3 h 5"/>
                <a:gd name="T42" fmla="*/ 14 w 16"/>
                <a:gd name="T43" fmla="*/ 3 h 5"/>
                <a:gd name="T44" fmla="*/ 7 w 16"/>
                <a:gd name="T45" fmla="*/ 3 h 5"/>
                <a:gd name="T46" fmla="*/ 4 w 16"/>
                <a:gd name="T47" fmla="*/ 3 h 5"/>
                <a:gd name="T48" fmla="*/ 3 w 16"/>
                <a:gd name="T49" fmla="*/ 3 h 5"/>
                <a:gd name="T50" fmla="*/ 8 w 16"/>
                <a:gd name="T51" fmla="*/ 0 h 5"/>
                <a:gd name="T52" fmla="*/ 0 w 16"/>
                <a:gd name="T53" fmla="*/ 1 h 5"/>
                <a:gd name="T54" fmla="*/ 1 w 16"/>
                <a:gd name="T55" fmla="*/ 4 h 5"/>
                <a:gd name="T56" fmla="*/ 1 w 16"/>
                <a:gd name="T57" fmla="*/ 5 h 5"/>
                <a:gd name="T58" fmla="*/ 9 w 16"/>
                <a:gd name="T59" fmla="*/ 5 h 5"/>
                <a:gd name="T60" fmla="*/ 15 w 16"/>
                <a:gd name="T61" fmla="*/ 4 h 5"/>
                <a:gd name="T62" fmla="*/ 15 w 16"/>
                <a:gd name="T63" fmla="*/ 0 h 5"/>
                <a:gd name="T64" fmla="*/ 14 w 16"/>
                <a:gd name="T65" fmla="*/ 0 h 5"/>
                <a:gd name="T66" fmla="*/ 8 w 16"/>
                <a:gd name="T6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5">
                  <a:moveTo>
                    <a:pt x="9" y="4"/>
                  </a:moveTo>
                  <a:cubicBezTo>
                    <a:pt x="5" y="4"/>
                    <a:pt x="2" y="4"/>
                    <a:pt x="2" y="4"/>
                  </a:cubicBezTo>
                  <a:cubicBezTo>
                    <a:pt x="1" y="4"/>
                    <a:pt x="1" y="4"/>
                    <a:pt x="1" y="4"/>
                  </a:cubicBezTo>
                  <a:cubicBezTo>
                    <a:pt x="1" y="4"/>
                    <a:pt x="1" y="3"/>
                    <a:pt x="1" y="1"/>
                  </a:cubicBezTo>
                  <a:cubicBezTo>
                    <a:pt x="2" y="1"/>
                    <a:pt x="2" y="1"/>
                    <a:pt x="2" y="1"/>
                  </a:cubicBezTo>
                  <a:cubicBezTo>
                    <a:pt x="2" y="2"/>
                    <a:pt x="1" y="3"/>
                    <a:pt x="2" y="3"/>
                  </a:cubicBezTo>
                  <a:cubicBezTo>
                    <a:pt x="2" y="3"/>
                    <a:pt x="3" y="4"/>
                    <a:pt x="3" y="4"/>
                  </a:cubicBezTo>
                  <a:cubicBezTo>
                    <a:pt x="4" y="4"/>
                    <a:pt x="4" y="4"/>
                    <a:pt x="4" y="4"/>
                  </a:cubicBezTo>
                  <a:cubicBezTo>
                    <a:pt x="7" y="3"/>
                    <a:pt x="7" y="3"/>
                    <a:pt x="7" y="3"/>
                  </a:cubicBezTo>
                  <a:cubicBezTo>
                    <a:pt x="9" y="3"/>
                    <a:pt x="12" y="3"/>
                    <a:pt x="14" y="3"/>
                  </a:cubicBezTo>
                  <a:cubicBezTo>
                    <a:pt x="14" y="3"/>
                    <a:pt x="14" y="3"/>
                    <a:pt x="14" y="3"/>
                  </a:cubicBezTo>
                  <a:cubicBezTo>
                    <a:pt x="14" y="3"/>
                    <a:pt x="14" y="4"/>
                    <a:pt x="14" y="4"/>
                  </a:cubicBezTo>
                  <a:cubicBezTo>
                    <a:pt x="14" y="4"/>
                    <a:pt x="13" y="4"/>
                    <a:pt x="9" y="4"/>
                  </a:cubicBezTo>
                  <a:moveTo>
                    <a:pt x="3" y="3"/>
                  </a:moveTo>
                  <a:cubicBezTo>
                    <a:pt x="3" y="3"/>
                    <a:pt x="3" y="3"/>
                    <a:pt x="2" y="3"/>
                  </a:cubicBezTo>
                  <a:cubicBezTo>
                    <a:pt x="2" y="3"/>
                    <a:pt x="2" y="2"/>
                    <a:pt x="2" y="1"/>
                  </a:cubicBezTo>
                  <a:cubicBezTo>
                    <a:pt x="2" y="1"/>
                    <a:pt x="2" y="1"/>
                    <a:pt x="2" y="1"/>
                  </a:cubicBezTo>
                  <a:cubicBezTo>
                    <a:pt x="3" y="1"/>
                    <a:pt x="5" y="1"/>
                    <a:pt x="8" y="1"/>
                  </a:cubicBezTo>
                  <a:cubicBezTo>
                    <a:pt x="11" y="1"/>
                    <a:pt x="14" y="1"/>
                    <a:pt x="14" y="1"/>
                  </a:cubicBezTo>
                  <a:cubicBezTo>
                    <a:pt x="14" y="1"/>
                    <a:pt x="14" y="1"/>
                    <a:pt x="14" y="1"/>
                  </a:cubicBezTo>
                  <a:cubicBezTo>
                    <a:pt x="14" y="1"/>
                    <a:pt x="14" y="2"/>
                    <a:pt x="14" y="3"/>
                  </a:cubicBezTo>
                  <a:cubicBezTo>
                    <a:pt x="14" y="3"/>
                    <a:pt x="14" y="3"/>
                    <a:pt x="14" y="3"/>
                  </a:cubicBezTo>
                  <a:cubicBezTo>
                    <a:pt x="12" y="3"/>
                    <a:pt x="9" y="3"/>
                    <a:pt x="7" y="3"/>
                  </a:cubicBezTo>
                  <a:cubicBezTo>
                    <a:pt x="4" y="3"/>
                    <a:pt x="4" y="3"/>
                    <a:pt x="4" y="3"/>
                  </a:cubicBezTo>
                  <a:cubicBezTo>
                    <a:pt x="3" y="3"/>
                    <a:pt x="3" y="3"/>
                    <a:pt x="3" y="3"/>
                  </a:cubicBezTo>
                  <a:moveTo>
                    <a:pt x="8" y="0"/>
                  </a:moveTo>
                  <a:cubicBezTo>
                    <a:pt x="1" y="0"/>
                    <a:pt x="1" y="1"/>
                    <a:pt x="0" y="1"/>
                  </a:cubicBezTo>
                  <a:cubicBezTo>
                    <a:pt x="0" y="2"/>
                    <a:pt x="0" y="4"/>
                    <a:pt x="1" y="4"/>
                  </a:cubicBezTo>
                  <a:cubicBezTo>
                    <a:pt x="1" y="5"/>
                    <a:pt x="1" y="5"/>
                    <a:pt x="1" y="5"/>
                  </a:cubicBezTo>
                  <a:cubicBezTo>
                    <a:pt x="2" y="5"/>
                    <a:pt x="6" y="5"/>
                    <a:pt x="9" y="5"/>
                  </a:cubicBezTo>
                  <a:cubicBezTo>
                    <a:pt x="15" y="5"/>
                    <a:pt x="15" y="5"/>
                    <a:pt x="15" y="4"/>
                  </a:cubicBezTo>
                  <a:cubicBezTo>
                    <a:pt x="15" y="4"/>
                    <a:pt x="16" y="1"/>
                    <a:pt x="15" y="0"/>
                  </a:cubicBezTo>
                  <a:cubicBezTo>
                    <a:pt x="14" y="0"/>
                    <a:pt x="14" y="0"/>
                    <a:pt x="14" y="0"/>
                  </a:cubicBezTo>
                  <a:cubicBezTo>
                    <a:pt x="13" y="0"/>
                    <a:pt x="10" y="0"/>
                    <a:pt x="8"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49" name="iṡḷíḋè"/>
            <p:cNvSpPr/>
            <p:nvPr/>
          </p:nvSpPr>
          <p:spPr bwMode="auto">
            <a:xfrm>
              <a:off x="3660" y="2488"/>
              <a:ext cx="17" cy="12"/>
            </a:xfrm>
            <a:custGeom>
              <a:avLst/>
              <a:gdLst>
                <a:gd name="T0" fmla="*/ 3 w 7"/>
                <a:gd name="T1" fmla="*/ 4 h 5"/>
                <a:gd name="T2" fmla="*/ 2 w 7"/>
                <a:gd name="T3" fmla="*/ 4 h 5"/>
                <a:gd name="T4" fmla="*/ 2 w 7"/>
                <a:gd name="T5" fmla="*/ 4 h 5"/>
                <a:gd name="T6" fmla="*/ 2 w 7"/>
                <a:gd name="T7" fmla="*/ 2 h 5"/>
                <a:gd name="T8" fmla="*/ 2 w 7"/>
                <a:gd name="T9" fmla="*/ 2 h 5"/>
                <a:gd name="T10" fmla="*/ 2 w 7"/>
                <a:gd name="T11" fmla="*/ 1 h 5"/>
                <a:gd name="T12" fmla="*/ 2 w 7"/>
                <a:gd name="T13" fmla="*/ 3 h 5"/>
                <a:gd name="T14" fmla="*/ 2 w 7"/>
                <a:gd name="T15" fmla="*/ 3 h 5"/>
                <a:gd name="T16" fmla="*/ 3 w 7"/>
                <a:gd name="T17" fmla="*/ 3 h 5"/>
                <a:gd name="T18" fmla="*/ 5 w 7"/>
                <a:gd name="T19" fmla="*/ 3 h 5"/>
                <a:gd name="T20" fmla="*/ 5 w 7"/>
                <a:gd name="T21" fmla="*/ 4 h 5"/>
                <a:gd name="T22" fmla="*/ 3 w 7"/>
                <a:gd name="T23" fmla="*/ 4 h 5"/>
                <a:gd name="T24" fmla="*/ 3 w 7"/>
                <a:gd name="T25" fmla="*/ 3 h 5"/>
                <a:gd name="T26" fmla="*/ 3 w 7"/>
                <a:gd name="T27" fmla="*/ 1 h 5"/>
                <a:gd name="T28" fmla="*/ 3 w 7"/>
                <a:gd name="T29" fmla="*/ 1 h 5"/>
                <a:gd name="T30" fmla="*/ 5 w 7"/>
                <a:gd name="T31" fmla="*/ 1 h 5"/>
                <a:gd name="T32" fmla="*/ 5 w 7"/>
                <a:gd name="T33" fmla="*/ 1 h 5"/>
                <a:gd name="T34" fmla="*/ 5 w 7"/>
                <a:gd name="T35" fmla="*/ 3 h 5"/>
                <a:gd name="T36" fmla="*/ 3 w 7"/>
                <a:gd name="T37" fmla="*/ 3 h 5"/>
                <a:gd name="T38" fmla="*/ 3 w 7"/>
                <a:gd name="T39" fmla="*/ 0 h 5"/>
                <a:gd name="T40" fmla="*/ 1 w 7"/>
                <a:gd name="T41" fmla="*/ 2 h 5"/>
                <a:gd name="T42" fmla="*/ 1 w 7"/>
                <a:gd name="T43" fmla="*/ 2 h 5"/>
                <a:gd name="T44" fmla="*/ 1 w 7"/>
                <a:gd name="T45" fmla="*/ 4 h 5"/>
                <a:gd name="T46" fmla="*/ 2 w 7"/>
                <a:gd name="T47" fmla="*/ 5 h 5"/>
                <a:gd name="T48" fmla="*/ 3 w 7"/>
                <a:gd name="T49" fmla="*/ 5 h 5"/>
                <a:gd name="T50" fmla="*/ 6 w 7"/>
                <a:gd name="T51" fmla="*/ 4 h 5"/>
                <a:gd name="T52" fmla="*/ 6 w 7"/>
                <a:gd name="T53" fmla="*/ 4 h 5"/>
                <a:gd name="T54" fmla="*/ 6 w 7"/>
                <a:gd name="T55" fmla="*/ 1 h 5"/>
                <a:gd name="T56" fmla="*/ 5 w 7"/>
                <a:gd name="T57" fmla="*/ 1 h 5"/>
                <a:gd name="T58" fmla="*/ 5 w 7"/>
                <a:gd name="T59" fmla="*/ 0 h 5"/>
                <a:gd name="T60" fmla="*/ 3 w 7"/>
                <a:gd name="T6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 h="5">
                  <a:moveTo>
                    <a:pt x="3" y="4"/>
                  </a:moveTo>
                  <a:cubicBezTo>
                    <a:pt x="3" y="4"/>
                    <a:pt x="2" y="4"/>
                    <a:pt x="2" y="4"/>
                  </a:cubicBezTo>
                  <a:cubicBezTo>
                    <a:pt x="2" y="4"/>
                    <a:pt x="2" y="4"/>
                    <a:pt x="2" y="4"/>
                  </a:cubicBezTo>
                  <a:cubicBezTo>
                    <a:pt x="2" y="3"/>
                    <a:pt x="2" y="2"/>
                    <a:pt x="2" y="2"/>
                  </a:cubicBezTo>
                  <a:cubicBezTo>
                    <a:pt x="2" y="2"/>
                    <a:pt x="2" y="2"/>
                    <a:pt x="2" y="2"/>
                  </a:cubicBezTo>
                  <a:cubicBezTo>
                    <a:pt x="2" y="1"/>
                    <a:pt x="2" y="1"/>
                    <a:pt x="2" y="1"/>
                  </a:cubicBezTo>
                  <a:cubicBezTo>
                    <a:pt x="2" y="3"/>
                    <a:pt x="2" y="3"/>
                    <a:pt x="2" y="3"/>
                  </a:cubicBezTo>
                  <a:cubicBezTo>
                    <a:pt x="2" y="3"/>
                    <a:pt x="2" y="3"/>
                    <a:pt x="2" y="3"/>
                  </a:cubicBezTo>
                  <a:cubicBezTo>
                    <a:pt x="3" y="3"/>
                    <a:pt x="3" y="3"/>
                    <a:pt x="3" y="3"/>
                  </a:cubicBezTo>
                  <a:cubicBezTo>
                    <a:pt x="3" y="3"/>
                    <a:pt x="5" y="3"/>
                    <a:pt x="5" y="3"/>
                  </a:cubicBezTo>
                  <a:cubicBezTo>
                    <a:pt x="5" y="4"/>
                    <a:pt x="5" y="4"/>
                    <a:pt x="5" y="4"/>
                  </a:cubicBezTo>
                  <a:cubicBezTo>
                    <a:pt x="5" y="4"/>
                    <a:pt x="4" y="4"/>
                    <a:pt x="3" y="4"/>
                  </a:cubicBezTo>
                  <a:moveTo>
                    <a:pt x="3" y="3"/>
                  </a:moveTo>
                  <a:cubicBezTo>
                    <a:pt x="3" y="1"/>
                    <a:pt x="3" y="1"/>
                    <a:pt x="3" y="1"/>
                  </a:cubicBezTo>
                  <a:cubicBezTo>
                    <a:pt x="3" y="1"/>
                    <a:pt x="3" y="1"/>
                    <a:pt x="3" y="1"/>
                  </a:cubicBezTo>
                  <a:cubicBezTo>
                    <a:pt x="4" y="1"/>
                    <a:pt x="4" y="1"/>
                    <a:pt x="5" y="1"/>
                  </a:cubicBezTo>
                  <a:cubicBezTo>
                    <a:pt x="5" y="1"/>
                    <a:pt x="5" y="1"/>
                    <a:pt x="5" y="1"/>
                  </a:cubicBezTo>
                  <a:cubicBezTo>
                    <a:pt x="5" y="2"/>
                    <a:pt x="5" y="2"/>
                    <a:pt x="5" y="3"/>
                  </a:cubicBezTo>
                  <a:cubicBezTo>
                    <a:pt x="3" y="3"/>
                    <a:pt x="3" y="3"/>
                    <a:pt x="3" y="3"/>
                  </a:cubicBezTo>
                  <a:moveTo>
                    <a:pt x="3" y="0"/>
                  </a:moveTo>
                  <a:cubicBezTo>
                    <a:pt x="2" y="0"/>
                    <a:pt x="1" y="0"/>
                    <a:pt x="1" y="2"/>
                  </a:cubicBezTo>
                  <a:cubicBezTo>
                    <a:pt x="1" y="2"/>
                    <a:pt x="1" y="2"/>
                    <a:pt x="1" y="2"/>
                  </a:cubicBezTo>
                  <a:cubicBezTo>
                    <a:pt x="1" y="3"/>
                    <a:pt x="0" y="4"/>
                    <a:pt x="1" y="4"/>
                  </a:cubicBezTo>
                  <a:cubicBezTo>
                    <a:pt x="2" y="5"/>
                    <a:pt x="2" y="5"/>
                    <a:pt x="2" y="5"/>
                  </a:cubicBezTo>
                  <a:cubicBezTo>
                    <a:pt x="2" y="5"/>
                    <a:pt x="2" y="5"/>
                    <a:pt x="3" y="5"/>
                  </a:cubicBezTo>
                  <a:cubicBezTo>
                    <a:pt x="4" y="5"/>
                    <a:pt x="5" y="5"/>
                    <a:pt x="6" y="4"/>
                  </a:cubicBezTo>
                  <a:cubicBezTo>
                    <a:pt x="6" y="4"/>
                    <a:pt x="6" y="4"/>
                    <a:pt x="6" y="4"/>
                  </a:cubicBezTo>
                  <a:cubicBezTo>
                    <a:pt x="6" y="4"/>
                    <a:pt x="7" y="2"/>
                    <a:pt x="6" y="1"/>
                  </a:cubicBezTo>
                  <a:cubicBezTo>
                    <a:pt x="5" y="1"/>
                    <a:pt x="5" y="1"/>
                    <a:pt x="5" y="1"/>
                  </a:cubicBezTo>
                  <a:cubicBezTo>
                    <a:pt x="5" y="0"/>
                    <a:pt x="5" y="0"/>
                    <a:pt x="5" y="0"/>
                  </a:cubicBezTo>
                  <a:cubicBezTo>
                    <a:pt x="4"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50" name="î$1íḓe"/>
            <p:cNvSpPr/>
            <p:nvPr/>
          </p:nvSpPr>
          <p:spPr bwMode="auto">
            <a:xfrm>
              <a:off x="3701" y="2465"/>
              <a:ext cx="14" cy="9"/>
            </a:xfrm>
            <a:custGeom>
              <a:avLst/>
              <a:gdLst>
                <a:gd name="T0" fmla="*/ 3 w 6"/>
                <a:gd name="T1" fmla="*/ 3 h 4"/>
                <a:gd name="T2" fmla="*/ 1 w 6"/>
                <a:gd name="T3" fmla="*/ 3 h 4"/>
                <a:gd name="T4" fmla="*/ 1 w 6"/>
                <a:gd name="T5" fmla="*/ 3 h 4"/>
                <a:gd name="T6" fmla="*/ 1 w 6"/>
                <a:gd name="T7" fmla="*/ 1 h 4"/>
                <a:gd name="T8" fmla="*/ 1 w 6"/>
                <a:gd name="T9" fmla="*/ 1 h 4"/>
                <a:gd name="T10" fmla="*/ 1 w 6"/>
                <a:gd name="T11" fmla="*/ 1 h 4"/>
                <a:gd name="T12" fmla="*/ 1 w 6"/>
                <a:gd name="T13" fmla="*/ 2 h 4"/>
                <a:gd name="T14" fmla="*/ 1 w 6"/>
                <a:gd name="T15" fmla="*/ 3 h 4"/>
                <a:gd name="T16" fmla="*/ 1 w 6"/>
                <a:gd name="T17" fmla="*/ 3 h 4"/>
                <a:gd name="T18" fmla="*/ 4 w 6"/>
                <a:gd name="T19" fmla="*/ 3 h 4"/>
                <a:gd name="T20" fmla="*/ 4 w 6"/>
                <a:gd name="T21" fmla="*/ 3 h 4"/>
                <a:gd name="T22" fmla="*/ 3 w 6"/>
                <a:gd name="T23" fmla="*/ 3 h 4"/>
                <a:gd name="T24" fmla="*/ 1 w 6"/>
                <a:gd name="T25" fmla="*/ 2 h 4"/>
                <a:gd name="T26" fmla="*/ 1 w 6"/>
                <a:gd name="T27" fmla="*/ 1 h 4"/>
                <a:gd name="T28" fmla="*/ 1 w 6"/>
                <a:gd name="T29" fmla="*/ 1 h 4"/>
                <a:gd name="T30" fmla="*/ 2 w 6"/>
                <a:gd name="T31" fmla="*/ 1 h 4"/>
                <a:gd name="T32" fmla="*/ 4 w 6"/>
                <a:gd name="T33" fmla="*/ 1 h 4"/>
                <a:gd name="T34" fmla="*/ 4 w 6"/>
                <a:gd name="T35" fmla="*/ 1 h 4"/>
                <a:gd name="T36" fmla="*/ 4 w 6"/>
                <a:gd name="T37" fmla="*/ 2 h 4"/>
                <a:gd name="T38" fmla="*/ 4 w 6"/>
                <a:gd name="T39" fmla="*/ 2 h 4"/>
                <a:gd name="T40" fmla="*/ 1 w 6"/>
                <a:gd name="T41" fmla="*/ 2 h 4"/>
                <a:gd name="T42" fmla="*/ 2 w 6"/>
                <a:gd name="T43" fmla="*/ 0 h 4"/>
                <a:gd name="T44" fmla="*/ 0 w 6"/>
                <a:gd name="T45" fmla="*/ 1 h 4"/>
                <a:gd name="T46" fmla="*/ 0 w 6"/>
                <a:gd name="T47" fmla="*/ 1 h 4"/>
                <a:gd name="T48" fmla="*/ 0 w 6"/>
                <a:gd name="T49" fmla="*/ 4 h 4"/>
                <a:gd name="T50" fmla="*/ 1 w 6"/>
                <a:gd name="T51" fmla="*/ 4 h 4"/>
                <a:gd name="T52" fmla="*/ 3 w 6"/>
                <a:gd name="T53" fmla="*/ 4 h 4"/>
                <a:gd name="T54" fmla="*/ 5 w 6"/>
                <a:gd name="T55" fmla="*/ 4 h 4"/>
                <a:gd name="T56" fmla="*/ 5 w 6"/>
                <a:gd name="T57" fmla="*/ 4 h 4"/>
                <a:gd name="T58" fmla="*/ 5 w 6"/>
                <a:gd name="T59" fmla="*/ 0 h 4"/>
                <a:gd name="T60" fmla="*/ 4 w 6"/>
                <a:gd name="T61" fmla="*/ 0 h 4"/>
                <a:gd name="T62" fmla="*/ 4 w 6"/>
                <a:gd name="T63" fmla="*/ 0 h 4"/>
                <a:gd name="T64" fmla="*/ 2 w 6"/>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3" y="3"/>
                  </a:moveTo>
                  <a:cubicBezTo>
                    <a:pt x="2" y="3"/>
                    <a:pt x="1" y="3"/>
                    <a:pt x="1" y="3"/>
                  </a:cubicBezTo>
                  <a:cubicBezTo>
                    <a:pt x="1" y="3"/>
                    <a:pt x="1" y="3"/>
                    <a:pt x="1" y="3"/>
                  </a:cubicBezTo>
                  <a:cubicBezTo>
                    <a:pt x="1" y="3"/>
                    <a:pt x="1" y="2"/>
                    <a:pt x="1" y="1"/>
                  </a:cubicBezTo>
                  <a:cubicBezTo>
                    <a:pt x="1" y="1"/>
                    <a:pt x="1" y="1"/>
                    <a:pt x="1" y="1"/>
                  </a:cubicBezTo>
                  <a:cubicBezTo>
                    <a:pt x="1" y="1"/>
                    <a:pt x="1" y="1"/>
                    <a:pt x="1" y="1"/>
                  </a:cubicBezTo>
                  <a:cubicBezTo>
                    <a:pt x="1" y="2"/>
                    <a:pt x="1" y="2"/>
                    <a:pt x="1" y="2"/>
                  </a:cubicBezTo>
                  <a:cubicBezTo>
                    <a:pt x="1" y="3"/>
                    <a:pt x="1" y="3"/>
                    <a:pt x="1" y="3"/>
                  </a:cubicBezTo>
                  <a:cubicBezTo>
                    <a:pt x="1" y="3"/>
                    <a:pt x="1" y="3"/>
                    <a:pt x="1" y="3"/>
                  </a:cubicBezTo>
                  <a:cubicBezTo>
                    <a:pt x="1" y="3"/>
                    <a:pt x="4" y="3"/>
                    <a:pt x="4" y="3"/>
                  </a:cubicBezTo>
                  <a:cubicBezTo>
                    <a:pt x="4" y="3"/>
                    <a:pt x="4" y="3"/>
                    <a:pt x="4" y="3"/>
                  </a:cubicBezTo>
                  <a:cubicBezTo>
                    <a:pt x="4" y="3"/>
                    <a:pt x="3" y="3"/>
                    <a:pt x="3" y="3"/>
                  </a:cubicBezTo>
                  <a:moveTo>
                    <a:pt x="1" y="2"/>
                  </a:moveTo>
                  <a:cubicBezTo>
                    <a:pt x="1" y="1"/>
                    <a:pt x="1" y="1"/>
                    <a:pt x="1" y="1"/>
                  </a:cubicBezTo>
                  <a:cubicBezTo>
                    <a:pt x="1" y="1"/>
                    <a:pt x="1" y="1"/>
                    <a:pt x="1" y="1"/>
                  </a:cubicBezTo>
                  <a:cubicBezTo>
                    <a:pt x="2" y="1"/>
                    <a:pt x="2" y="1"/>
                    <a:pt x="2" y="1"/>
                  </a:cubicBezTo>
                  <a:cubicBezTo>
                    <a:pt x="3" y="1"/>
                    <a:pt x="3" y="1"/>
                    <a:pt x="4" y="1"/>
                  </a:cubicBezTo>
                  <a:cubicBezTo>
                    <a:pt x="4" y="1"/>
                    <a:pt x="4" y="1"/>
                    <a:pt x="4" y="1"/>
                  </a:cubicBezTo>
                  <a:cubicBezTo>
                    <a:pt x="4" y="1"/>
                    <a:pt x="4" y="2"/>
                    <a:pt x="4" y="2"/>
                  </a:cubicBezTo>
                  <a:cubicBezTo>
                    <a:pt x="4" y="2"/>
                    <a:pt x="4" y="2"/>
                    <a:pt x="4" y="2"/>
                  </a:cubicBezTo>
                  <a:cubicBezTo>
                    <a:pt x="1" y="2"/>
                    <a:pt x="1" y="2"/>
                    <a:pt x="1" y="2"/>
                  </a:cubicBezTo>
                  <a:moveTo>
                    <a:pt x="2" y="0"/>
                  </a:moveTo>
                  <a:cubicBezTo>
                    <a:pt x="2" y="0"/>
                    <a:pt x="0" y="0"/>
                    <a:pt x="0" y="1"/>
                  </a:cubicBezTo>
                  <a:cubicBezTo>
                    <a:pt x="0" y="1"/>
                    <a:pt x="0" y="1"/>
                    <a:pt x="0" y="1"/>
                  </a:cubicBezTo>
                  <a:cubicBezTo>
                    <a:pt x="0" y="2"/>
                    <a:pt x="0" y="3"/>
                    <a:pt x="0" y="4"/>
                  </a:cubicBezTo>
                  <a:cubicBezTo>
                    <a:pt x="1" y="4"/>
                    <a:pt x="1" y="4"/>
                    <a:pt x="1" y="4"/>
                  </a:cubicBezTo>
                  <a:cubicBezTo>
                    <a:pt x="1" y="4"/>
                    <a:pt x="1" y="4"/>
                    <a:pt x="3" y="4"/>
                  </a:cubicBezTo>
                  <a:cubicBezTo>
                    <a:pt x="3" y="4"/>
                    <a:pt x="4" y="4"/>
                    <a:pt x="5" y="4"/>
                  </a:cubicBezTo>
                  <a:cubicBezTo>
                    <a:pt x="5" y="4"/>
                    <a:pt x="5" y="4"/>
                    <a:pt x="5" y="4"/>
                  </a:cubicBezTo>
                  <a:cubicBezTo>
                    <a:pt x="5" y="3"/>
                    <a:pt x="6" y="1"/>
                    <a:pt x="5" y="0"/>
                  </a:cubicBezTo>
                  <a:cubicBezTo>
                    <a:pt x="4" y="0"/>
                    <a:pt x="4" y="0"/>
                    <a:pt x="4" y="0"/>
                  </a:cubicBezTo>
                  <a:cubicBezTo>
                    <a:pt x="4" y="0"/>
                    <a:pt x="4" y="0"/>
                    <a:pt x="4" y="0"/>
                  </a:cubicBezTo>
                  <a:cubicBezTo>
                    <a:pt x="3" y="0"/>
                    <a:pt x="3" y="0"/>
                    <a:pt x="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51" name="iš1ïḑé"/>
            <p:cNvSpPr/>
            <p:nvPr/>
          </p:nvSpPr>
          <p:spPr bwMode="auto">
            <a:xfrm>
              <a:off x="3701" y="2491"/>
              <a:ext cx="12" cy="24"/>
            </a:xfrm>
            <a:custGeom>
              <a:avLst/>
              <a:gdLst>
                <a:gd name="T0" fmla="*/ 3 w 5"/>
                <a:gd name="T1" fmla="*/ 9 h 10"/>
                <a:gd name="T2" fmla="*/ 1 w 5"/>
                <a:gd name="T3" fmla="*/ 8 h 10"/>
                <a:gd name="T4" fmla="*/ 1 w 5"/>
                <a:gd name="T5" fmla="*/ 6 h 10"/>
                <a:gd name="T6" fmla="*/ 1 w 5"/>
                <a:gd name="T7" fmla="*/ 1 h 10"/>
                <a:gd name="T8" fmla="*/ 1 w 5"/>
                <a:gd name="T9" fmla="*/ 1 h 10"/>
                <a:gd name="T10" fmla="*/ 1 w 5"/>
                <a:gd name="T11" fmla="*/ 7 h 10"/>
                <a:gd name="T12" fmla="*/ 1 w 5"/>
                <a:gd name="T13" fmla="*/ 8 h 10"/>
                <a:gd name="T14" fmla="*/ 3 w 5"/>
                <a:gd name="T15" fmla="*/ 8 h 10"/>
                <a:gd name="T16" fmla="*/ 3 w 5"/>
                <a:gd name="T17" fmla="*/ 8 h 10"/>
                <a:gd name="T18" fmla="*/ 4 w 5"/>
                <a:gd name="T19" fmla="*/ 8 h 10"/>
                <a:gd name="T20" fmla="*/ 4 w 5"/>
                <a:gd name="T21" fmla="*/ 9 h 10"/>
                <a:gd name="T22" fmla="*/ 3 w 5"/>
                <a:gd name="T23" fmla="*/ 9 h 10"/>
                <a:gd name="T24" fmla="*/ 3 w 5"/>
                <a:gd name="T25" fmla="*/ 8 h 10"/>
                <a:gd name="T26" fmla="*/ 2 w 5"/>
                <a:gd name="T27" fmla="*/ 7 h 10"/>
                <a:gd name="T28" fmla="*/ 2 w 5"/>
                <a:gd name="T29" fmla="*/ 7 h 10"/>
                <a:gd name="T30" fmla="*/ 2 w 5"/>
                <a:gd name="T31" fmla="*/ 1 h 10"/>
                <a:gd name="T32" fmla="*/ 2 w 5"/>
                <a:gd name="T33" fmla="*/ 1 h 10"/>
                <a:gd name="T34" fmla="*/ 2 w 5"/>
                <a:gd name="T35" fmla="*/ 1 h 10"/>
                <a:gd name="T36" fmla="*/ 4 w 5"/>
                <a:gd name="T37" fmla="*/ 1 h 10"/>
                <a:gd name="T38" fmla="*/ 4 w 5"/>
                <a:gd name="T39" fmla="*/ 1 h 10"/>
                <a:gd name="T40" fmla="*/ 4 w 5"/>
                <a:gd name="T41" fmla="*/ 6 h 10"/>
                <a:gd name="T42" fmla="*/ 4 w 5"/>
                <a:gd name="T43" fmla="*/ 8 h 10"/>
                <a:gd name="T44" fmla="*/ 3 w 5"/>
                <a:gd name="T45" fmla="*/ 8 h 10"/>
                <a:gd name="T46" fmla="*/ 3 w 5"/>
                <a:gd name="T47" fmla="*/ 8 h 10"/>
                <a:gd name="T48" fmla="*/ 2 w 5"/>
                <a:gd name="T49" fmla="*/ 0 h 10"/>
                <a:gd name="T50" fmla="*/ 0 w 5"/>
                <a:gd name="T51" fmla="*/ 1 h 10"/>
                <a:gd name="T52" fmla="*/ 0 w 5"/>
                <a:gd name="T53" fmla="*/ 6 h 10"/>
                <a:gd name="T54" fmla="*/ 0 w 5"/>
                <a:gd name="T55" fmla="*/ 8 h 10"/>
                <a:gd name="T56" fmla="*/ 3 w 5"/>
                <a:gd name="T57" fmla="*/ 10 h 10"/>
                <a:gd name="T58" fmla="*/ 5 w 5"/>
                <a:gd name="T59" fmla="*/ 9 h 10"/>
                <a:gd name="T60" fmla="*/ 5 w 5"/>
                <a:gd name="T61" fmla="*/ 6 h 10"/>
                <a:gd name="T62" fmla="*/ 5 w 5"/>
                <a:gd name="T63" fmla="*/ 1 h 10"/>
                <a:gd name="T64" fmla="*/ 5 w 5"/>
                <a:gd name="T65" fmla="*/ 1 h 10"/>
                <a:gd name="T66" fmla="*/ 2 w 5"/>
                <a:gd name="T6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10">
                  <a:moveTo>
                    <a:pt x="3" y="9"/>
                  </a:moveTo>
                  <a:cubicBezTo>
                    <a:pt x="2" y="9"/>
                    <a:pt x="1" y="9"/>
                    <a:pt x="1" y="8"/>
                  </a:cubicBezTo>
                  <a:cubicBezTo>
                    <a:pt x="1" y="7"/>
                    <a:pt x="1" y="7"/>
                    <a:pt x="1" y="6"/>
                  </a:cubicBezTo>
                  <a:cubicBezTo>
                    <a:pt x="1" y="4"/>
                    <a:pt x="1" y="2"/>
                    <a:pt x="1" y="1"/>
                  </a:cubicBezTo>
                  <a:cubicBezTo>
                    <a:pt x="1" y="1"/>
                    <a:pt x="1" y="1"/>
                    <a:pt x="1" y="1"/>
                  </a:cubicBezTo>
                  <a:cubicBezTo>
                    <a:pt x="1" y="3"/>
                    <a:pt x="1" y="4"/>
                    <a:pt x="1" y="7"/>
                  </a:cubicBezTo>
                  <a:cubicBezTo>
                    <a:pt x="1" y="8"/>
                    <a:pt x="1" y="8"/>
                    <a:pt x="1" y="8"/>
                  </a:cubicBezTo>
                  <a:cubicBezTo>
                    <a:pt x="2" y="8"/>
                    <a:pt x="2" y="8"/>
                    <a:pt x="3" y="8"/>
                  </a:cubicBezTo>
                  <a:cubicBezTo>
                    <a:pt x="3" y="8"/>
                    <a:pt x="3" y="8"/>
                    <a:pt x="3" y="8"/>
                  </a:cubicBezTo>
                  <a:cubicBezTo>
                    <a:pt x="3" y="8"/>
                    <a:pt x="4" y="8"/>
                    <a:pt x="4" y="8"/>
                  </a:cubicBezTo>
                  <a:cubicBezTo>
                    <a:pt x="4" y="9"/>
                    <a:pt x="4" y="9"/>
                    <a:pt x="4" y="9"/>
                  </a:cubicBezTo>
                  <a:cubicBezTo>
                    <a:pt x="4" y="9"/>
                    <a:pt x="4" y="9"/>
                    <a:pt x="3" y="9"/>
                  </a:cubicBezTo>
                  <a:moveTo>
                    <a:pt x="3" y="8"/>
                  </a:moveTo>
                  <a:cubicBezTo>
                    <a:pt x="2" y="8"/>
                    <a:pt x="2" y="8"/>
                    <a:pt x="2" y="7"/>
                  </a:cubicBezTo>
                  <a:cubicBezTo>
                    <a:pt x="2" y="7"/>
                    <a:pt x="2" y="7"/>
                    <a:pt x="2" y="7"/>
                  </a:cubicBezTo>
                  <a:cubicBezTo>
                    <a:pt x="1" y="4"/>
                    <a:pt x="1" y="3"/>
                    <a:pt x="2" y="1"/>
                  </a:cubicBezTo>
                  <a:cubicBezTo>
                    <a:pt x="2" y="1"/>
                    <a:pt x="2" y="1"/>
                    <a:pt x="2" y="1"/>
                  </a:cubicBezTo>
                  <a:cubicBezTo>
                    <a:pt x="2" y="1"/>
                    <a:pt x="2" y="1"/>
                    <a:pt x="2" y="1"/>
                  </a:cubicBezTo>
                  <a:cubicBezTo>
                    <a:pt x="3" y="1"/>
                    <a:pt x="4" y="1"/>
                    <a:pt x="4" y="1"/>
                  </a:cubicBezTo>
                  <a:cubicBezTo>
                    <a:pt x="4" y="1"/>
                    <a:pt x="4" y="1"/>
                    <a:pt x="4" y="1"/>
                  </a:cubicBezTo>
                  <a:cubicBezTo>
                    <a:pt x="4" y="3"/>
                    <a:pt x="4" y="5"/>
                    <a:pt x="4" y="6"/>
                  </a:cubicBezTo>
                  <a:cubicBezTo>
                    <a:pt x="4" y="7"/>
                    <a:pt x="4" y="7"/>
                    <a:pt x="4" y="8"/>
                  </a:cubicBezTo>
                  <a:cubicBezTo>
                    <a:pt x="4" y="8"/>
                    <a:pt x="3" y="8"/>
                    <a:pt x="3" y="8"/>
                  </a:cubicBezTo>
                  <a:cubicBezTo>
                    <a:pt x="3" y="8"/>
                    <a:pt x="3" y="8"/>
                    <a:pt x="3" y="8"/>
                  </a:cubicBezTo>
                  <a:moveTo>
                    <a:pt x="2" y="0"/>
                  </a:moveTo>
                  <a:cubicBezTo>
                    <a:pt x="1" y="0"/>
                    <a:pt x="0" y="0"/>
                    <a:pt x="0" y="1"/>
                  </a:cubicBezTo>
                  <a:cubicBezTo>
                    <a:pt x="0" y="2"/>
                    <a:pt x="0" y="4"/>
                    <a:pt x="0" y="6"/>
                  </a:cubicBezTo>
                  <a:cubicBezTo>
                    <a:pt x="0" y="7"/>
                    <a:pt x="0" y="7"/>
                    <a:pt x="0" y="8"/>
                  </a:cubicBezTo>
                  <a:cubicBezTo>
                    <a:pt x="0" y="9"/>
                    <a:pt x="1" y="10"/>
                    <a:pt x="3" y="10"/>
                  </a:cubicBezTo>
                  <a:cubicBezTo>
                    <a:pt x="4" y="10"/>
                    <a:pt x="5" y="9"/>
                    <a:pt x="5" y="9"/>
                  </a:cubicBezTo>
                  <a:cubicBezTo>
                    <a:pt x="5" y="8"/>
                    <a:pt x="5" y="7"/>
                    <a:pt x="5" y="6"/>
                  </a:cubicBezTo>
                  <a:cubicBezTo>
                    <a:pt x="5" y="5"/>
                    <a:pt x="5" y="3"/>
                    <a:pt x="5" y="1"/>
                  </a:cubicBezTo>
                  <a:cubicBezTo>
                    <a:pt x="5" y="1"/>
                    <a:pt x="5" y="1"/>
                    <a:pt x="5" y="1"/>
                  </a:cubicBezTo>
                  <a:cubicBezTo>
                    <a:pt x="4" y="0"/>
                    <a:pt x="3" y="0"/>
                    <a:pt x="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52" name="íṡḷíďe"/>
            <p:cNvSpPr/>
            <p:nvPr/>
          </p:nvSpPr>
          <p:spPr bwMode="auto">
            <a:xfrm>
              <a:off x="3660" y="2439"/>
              <a:ext cx="55" cy="23"/>
            </a:xfrm>
            <a:custGeom>
              <a:avLst/>
              <a:gdLst>
                <a:gd name="T0" fmla="*/ 22 w 23"/>
                <a:gd name="T1" fmla="*/ 5 h 10"/>
                <a:gd name="T2" fmla="*/ 19 w 23"/>
                <a:gd name="T3" fmla="*/ 8 h 10"/>
                <a:gd name="T4" fmla="*/ 13 w 23"/>
                <a:gd name="T5" fmla="*/ 9 h 10"/>
                <a:gd name="T6" fmla="*/ 20 w 23"/>
                <a:gd name="T7" fmla="*/ 2 h 10"/>
                <a:gd name="T8" fmla="*/ 22 w 23"/>
                <a:gd name="T9" fmla="*/ 3 h 10"/>
                <a:gd name="T10" fmla="*/ 18 w 23"/>
                <a:gd name="T11" fmla="*/ 8 h 10"/>
                <a:gd name="T12" fmla="*/ 15 w 23"/>
                <a:gd name="T13" fmla="*/ 9 h 10"/>
                <a:gd name="T14" fmla="*/ 8 w 23"/>
                <a:gd name="T15" fmla="*/ 8 h 10"/>
                <a:gd name="T16" fmla="*/ 16 w 23"/>
                <a:gd name="T17" fmla="*/ 2 h 10"/>
                <a:gd name="T18" fmla="*/ 1 w 23"/>
                <a:gd name="T19" fmla="*/ 4 h 10"/>
                <a:gd name="T20" fmla="*/ 2 w 23"/>
                <a:gd name="T21" fmla="*/ 4 h 10"/>
                <a:gd name="T22" fmla="*/ 4 w 23"/>
                <a:gd name="T23" fmla="*/ 2 h 10"/>
                <a:gd name="T24" fmla="*/ 12 w 23"/>
                <a:gd name="T25" fmla="*/ 2 h 10"/>
                <a:gd name="T26" fmla="*/ 7 w 23"/>
                <a:gd name="T27" fmla="*/ 8 h 10"/>
                <a:gd name="T28" fmla="*/ 5 w 23"/>
                <a:gd name="T29" fmla="*/ 8 h 10"/>
                <a:gd name="T30" fmla="*/ 3 w 23"/>
                <a:gd name="T31" fmla="*/ 8 h 10"/>
                <a:gd name="T32" fmla="*/ 1 w 23"/>
                <a:gd name="T33" fmla="*/ 7 h 10"/>
                <a:gd name="T34" fmla="*/ 1 w 23"/>
                <a:gd name="T35" fmla="*/ 4 h 10"/>
                <a:gd name="T36" fmla="*/ 22 w 23"/>
                <a:gd name="T37" fmla="*/ 2 h 10"/>
                <a:gd name="T38" fmla="*/ 20 w 23"/>
                <a:gd name="T39" fmla="*/ 2 h 10"/>
                <a:gd name="T40" fmla="*/ 18 w 23"/>
                <a:gd name="T41" fmla="*/ 1 h 10"/>
                <a:gd name="T42" fmla="*/ 20 w 23"/>
                <a:gd name="T43" fmla="*/ 1 h 10"/>
                <a:gd name="T44" fmla="*/ 17 w 23"/>
                <a:gd name="T45" fmla="*/ 2 h 10"/>
                <a:gd name="T46" fmla="*/ 14 w 23"/>
                <a:gd name="T47" fmla="*/ 1 h 10"/>
                <a:gd name="T48" fmla="*/ 17 w 23"/>
                <a:gd name="T49" fmla="*/ 1 h 10"/>
                <a:gd name="T50" fmla="*/ 1 w 23"/>
                <a:gd name="T51" fmla="*/ 3 h 10"/>
                <a:gd name="T52" fmla="*/ 1 w 23"/>
                <a:gd name="T53" fmla="*/ 2 h 10"/>
                <a:gd name="T54" fmla="*/ 10 w 23"/>
                <a:gd name="T55" fmla="*/ 1 h 10"/>
                <a:gd name="T56" fmla="*/ 13 w 23"/>
                <a:gd name="T57" fmla="*/ 2 h 10"/>
                <a:gd name="T58" fmla="*/ 4 w 23"/>
                <a:gd name="T59" fmla="*/ 2 h 10"/>
                <a:gd name="T60" fmla="*/ 1 w 23"/>
                <a:gd name="T61" fmla="*/ 3 h 10"/>
                <a:gd name="T62" fmla="*/ 1 w 23"/>
                <a:gd name="T63" fmla="*/ 1 h 10"/>
                <a:gd name="T64" fmla="*/ 0 w 23"/>
                <a:gd name="T65" fmla="*/ 2 h 10"/>
                <a:gd name="T66" fmla="*/ 0 w 23"/>
                <a:gd name="T67" fmla="*/ 2 h 10"/>
                <a:gd name="T68" fmla="*/ 0 w 23"/>
                <a:gd name="T69" fmla="*/ 7 h 10"/>
                <a:gd name="T70" fmla="*/ 3 w 23"/>
                <a:gd name="T71" fmla="*/ 9 h 10"/>
                <a:gd name="T72" fmla="*/ 5 w 23"/>
                <a:gd name="T73" fmla="*/ 9 h 10"/>
                <a:gd name="T74" fmla="*/ 15 w 23"/>
                <a:gd name="T75" fmla="*/ 10 h 10"/>
                <a:gd name="T76" fmla="*/ 23 w 23"/>
                <a:gd name="T77" fmla="*/ 3 h 10"/>
                <a:gd name="T78" fmla="*/ 19 w 23"/>
                <a:gd name="T79" fmla="*/ 0 h 10"/>
                <a:gd name="T80" fmla="*/ 18 w 23"/>
                <a:gd name="T8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 h="10">
                  <a:moveTo>
                    <a:pt x="19" y="8"/>
                  </a:moveTo>
                  <a:cubicBezTo>
                    <a:pt x="20" y="7"/>
                    <a:pt x="21" y="6"/>
                    <a:pt x="22" y="5"/>
                  </a:cubicBezTo>
                  <a:cubicBezTo>
                    <a:pt x="22" y="8"/>
                    <a:pt x="22" y="8"/>
                    <a:pt x="22" y="8"/>
                  </a:cubicBezTo>
                  <a:cubicBezTo>
                    <a:pt x="22" y="8"/>
                    <a:pt x="21" y="8"/>
                    <a:pt x="19" y="8"/>
                  </a:cubicBezTo>
                  <a:moveTo>
                    <a:pt x="15" y="9"/>
                  </a:moveTo>
                  <a:cubicBezTo>
                    <a:pt x="14" y="9"/>
                    <a:pt x="14" y="9"/>
                    <a:pt x="13" y="9"/>
                  </a:cubicBezTo>
                  <a:cubicBezTo>
                    <a:pt x="14" y="6"/>
                    <a:pt x="16" y="4"/>
                    <a:pt x="18" y="2"/>
                  </a:cubicBezTo>
                  <a:cubicBezTo>
                    <a:pt x="18" y="2"/>
                    <a:pt x="19" y="2"/>
                    <a:pt x="20" y="2"/>
                  </a:cubicBezTo>
                  <a:cubicBezTo>
                    <a:pt x="20" y="2"/>
                    <a:pt x="21" y="2"/>
                    <a:pt x="21" y="2"/>
                  </a:cubicBezTo>
                  <a:cubicBezTo>
                    <a:pt x="22" y="3"/>
                    <a:pt x="22" y="3"/>
                    <a:pt x="22" y="3"/>
                  </a:cubicBezTo>
                  <a:cubicBezTo>
                    <a:pt x="22" y="3"/>
                    <a:pt x="22" y="3"/>
                    <a:pt x="22" y="3"/>
                  </a:cubicBezTo>
                  <a:cubicBezTo>
                    <a:pt x="20" y="5"/>
                    <a:pt x="19" y="7"/>
                    <a:pt x="18" y="8"/>
                  </a:cubicBezTo>
                  <a:cubicBezTo>
                    <a:pt x="18" y="8"/>
                    <a:pt x="18" y="8"/>
                    <a:pt x="18" y="8"/>
                  </a:cubicBezTo>
                  <a:cubicBezTo>
                    <a:pt x="17" y="9"/>
                    <a:pt x="16" y="9"/>
                    <a:pt x="15" y="9"/>
                  </a:cubicBezTo>
                  <a:moveTo>
                    <a:pt x="12" y="9"/>
                  </a:moveTo>
                  <a:cubicBezTo>
                    <a:pt x="11" y="9"/>
                    <a:pt x="9" y="8"/>
                    <a:pt x="8" y="8"/>
                  </a:cubicBezTo>
                  <a:cubicBezTo>
                    <a:pt x="14" y="2"/>
                    <a:pt x="14" y="2"/>
                    <a:pt x="14" y="2"/>
                  </a:cubicBezTo>
                  <a:cubicBezTo>
                    <a:pt x="15" y="2"/>
                    <a:pt x="16" y="2"/>
                    <a:pt x="16" y="2"/>
                  </a:cubicBezTo>
                  <a:cubicBezTo>
                    <a:pt x="15" y="4"/>
                    <a:pt x="13" y="6"/>
                    <a:pt x="12" y="9"/>
                  </a:cubicBezTo>
                  <a:moveTo>
                    <a:pt x="1" y="4"/>
                  </a:moveTo>
                  <a:cubicBezTo>
                    <a:pt x="2" y="4"/>
                    <a:pt x="2" y="4"/>
                    <a:pt x="2" y="4"/>
                  </a:cubicBezTo>
                  <a:cubicBezTo>
                    <a:pt x="2" y="4"/>
                    <a:pt x="2" y="4"/>
                    <a:pt x="2" y="4"/>
                  </a:cubicBezTo>
                  <a:cubicBezTo>
                    <a:pt x="1" y="4"/>
                    <a:pt x="2" y="3"/>
                    <a:pt x="2" y="3"/>
                  </a:cubicBezTo>
                  <a:cubicBezTo>
                    <a:pt x="3" y="2"/>
                    <a:pt x="4" y="2"/>
                    <a:pt x="4" y="2"/>
                  </a:cubicBezTo>
                  <a:cubicBezTo>
                    <a:pt x="6" y="2"/>
                    <a:pt x="9" y="2"/>
                    <a:pt x="11" y="2"/>
                  </a:cubicBezTo>
                  <a:cubicBezTo>
                    <a:pt x="11" y="2"/>
                    <a:pt x="12" y="2"/>
                    <a:pt x="12" y="2"/>
                  </a:cubicBezTo>
                  <a:cubicBezTo>
                    <a:pt x="7" y="8"/>
                    <a:pt x="7" y="8"/>
                    <a:pt x="7" y="8"/>
                  </a:cubicBezTo>
                  <a:cubicBezTo>
                    <a:pt x="7" y="8"/>
                    <a:pt x="7" y="8"/>
                    <a:pt x="7" y="8"/>
                  </a:cubicBezTo>
                  <a:cubicBezTo>
                    <a:pt x="7" y="8"/>
                    <a:pt x="7" y="8"/>
                    <a:pt x="7" y="8"/>
                  </a:cubicBezTo>
                  <a:cubicBezTo>
                    <a:pt x="6" y="8"/>
                    <a:pt x="5" y="8"/>
                    <a:pt x="5" y="8"/>
                  </a:cubicBezTo>
                  <a:cubicBezTo>
                    <a:pt x="4" y="8"/>
                    <a:pt x="4" y="8"/>
                    <a:pt x="4" y="8"/>
                  </a:cubicBezTo>
                  <a:cubicBezTo>
                    <a:pt x="3" y="8"/>
                    <a:pt x="3" y="8"/>
                    <a:pt x="3" y="8"/>
                  </a:cubicBezTo>
                  <a:cubicBezTo>
                    <a:pt x="2" y="8"/>
                    <a:pt x="2" y="8"/>
                    <a:pt x="2" y="8"/>
                  </a:cubicBezTo>
                  <a:cubicBezTo>
                    <a:pt x="2" y="8"/>
                    <a:pt x="1" y="8"/>
                    <a:pt x="1" y="7"/>
                  </a:cubicBezTo>
                  <a:cubicBezTo>
                    <a:pt x="1" y="6"/>
                    <a:pt x="1" y="5"/>
                    <a:pt x="1" y="4"/>
                  </a:cubicBezTo>
                  <a:cubicBezTo>
                    <a:pt x="1" y="4"/>
                    <a:pt x="1" y="4"/>
                    <a:pt x="1" y="4"/>
                  </a:cubicBezTo>
                  <a:cubicBezTo>
                    <a:pt x="1" y="4"/>
                    <a:pt x="1" y="4"/>
                    <a:pt x="1" y="4"/>
                  </a:cubicBezTo>
                  <a:moveTo>
                    <a:pt x="22" y="2"/>
                  </a:moveTo>
                  <a:cubicBezTo>
                    <a:pt x="21" y="2"/>
                    <a:pt x="21" y="2"/>
                    <a:pt x="21" y="2"/>
                  </a:cubicBezTo>
                  <a:cubicBezTo>
                    <a:pt x="21" y="2"/>
                    <a:pt x="21" y="2"/>
                    <a:pt x="20" y="2"/>
                  </a:cubicBezTo>
                  <a:cubicBezTo>
                    <a:pt x="19" y="2"/>
                    <a:pt x="19" y="2"/>
                    <a:pt x="18" y="2"/>
                  </a:cubicBezTo>
                  <a:cubicBezTo>
                    <a:pt x="18" y="1"/>
                    <a:pt x="18" y="1"/>
                    <a:pt x="18" y="1"/>
                  </a:cubicBezTo>
                  <a:cubicBezTo>
                    <a:pt x="19" y="1"/>
                    <a:pt x="19" y="1"/>
                    <a:pt x="19" y="1"/>
                  </a:cubicBezTo>
                  <a:cubicBezTo>
                    <a:pt x="20" y="1"/>
                    <a:pt x="20" y="1"/>
                    <a:pt x="20" y="1"/>
                  </a:cubicBezTo>
                  <a:cubicBezTo>
                    <a:pt x="21" y="1"/>
                    <a:pt x="22" y="2"/>
                    <a:pt x="22" y="2"/>
                  </a:cubicBezTo>
                  <a:moveTo>
                    <a:pt x="17" y="2"/>
                  </a:moveTo>
                  <a:cubicBezTo>
                    <a:pt x="16" y="2"/>
                    <a:pt x="15" y="2"/>
                    <a:pt x="14" y="2"/>
                  </a:cubicBezTo>
                  <a:cubicBezTo>
                    <a:pt x="14" y="1"/>
                    <a:pt x="14" y="1"/>
                    <a:pt x="14" y="1"/>
                  </a:cubicBezTo>
                  <a:cubicBezTo>
                    <a:pt x="14" y="1"/>
                    <a:pt x="14" y="1"/>
                    <a:pt x="14" y="1"/>
                  </a:cubicBezTo>
                  <a:cubicBezTo>
                    <a:pt x="15" y="1"/>
                    <a:pt x="16" y="1"/>
                    <a:pt x="17" y="1"/>
                  </a:cubicBezTo>
                  <a:cubicBezTo>
                    <a:pt x="17" y="2"/>
                    <a:pt x="17" y="2"/>
                    <a:pt x="17" y="2"/>
                  </a:cubicBezTo>
                  <a:moveTo>
                    <a:pt x="1" y="3"/>
                  </a:moveTo>
                  <a:cubicBezTo>
                    <a:pt x="1" y="2"/>
                    <a:pt x="1" y="2"/>
                    <a:pt x="1" y="2"/>
                  </a:cubicBezTo>
                  <a:cubicBezTo>
                    <a:pt x="1" y="2"/>
                    <a:pt x="1" y="2"/>
                    <a:pt x="1" y="2"/>
                  </a:cubicBezTo>
                  <a:cubicBezTo>
                    <a:pt x="1" y="2"/>
                    <a:pt x="1" y="2"/>
                    <a:pt x="1" y="2"/>
                  </a:cubicBezTo>
                  <a:cubicBezTo>
                    <a:pt x="2" y="2"/>
                    <a:pt x="3" y="1"/>
                    <a:pt x="10" y="1"/>
                  </a:cubicBezTo>
                  <a:cubicBezTo>
                    <a:pt x="11" y="1"/>
                    <a:pt x="12" y="1"/>
                    <a:pt x="13" y="1"/>
                  </a:cubicBezTo>
                  <a:cubicBezTo>
                    <a:pt x="13" y="2"/>
                    <a:pt x="13" y="2"/>
                    <a:pt x="13" y="2"/>
                  </a:cubicBezTo>
                  <a:cubicBezTo>
                    <a:pt x="12" y="2"/>
                    <a:pt x="11" y="2"/>
                    <a:pt x="11" y="2"/>
                  </a:cubicBezTo>
                  <a:cubicBezTo>
                    <a:pt x="8" y="2"/>
                    <a:pt x="6" y="2"/>
                    <a:pt x="4" y="2"/>
                  </a:cubicBezTo>
                  <a:cubicBezTo>
                    <a:pt x="4" y="2"/>
                    <a:pt x="3" y="2"/>
                    <a:pt x="2" y="2"/>
                  </a:cubicBezTo>
                  <a:cubicBezTo>
                    <a:pt x="2" y="2"/>
                    <a:pt x="1" y="3"/>
                    <a:pt x="1" y="3"/>
                  </a:cubicBezTo>
                  <a:moveTo>
                    <a:pt x="10" y="0"/>
                  </a:moveTo>
                  <a:cubicBezTo>
                    <a:pt x="4" y="0"/>
                    <a:pt x="2" y="1"/>
                    <a:pt x="1" y="1"/>
                  </a:cubicBezTo>
                  <a:cubicBezTo>
                    <a:pt x="1" y="1"/>
                    <a:pt x="1" y="1"/>
                    <a:pt x="1" y="1"/>
                  </a:cubicBezTo>
                  <a:cubicBezTo>
                    <a:pt x="0" y="1"/>
                    <a:pt x="0" y="2"/>
                    <a:pt x="0" y="2"/>
                  </a:cubicBezTo>
                  <a:cubicBezTo>
                    <a:pt x="0" y="2"/>
                    <a:pt x="0" y="2"/>
                    <a:pt x="0" y="2"/>
                  </a:cubicBezTo>
                  <a:cubicBezTo>
                    <a:pt x="0" y="2"/>
                    <a:pt x="0" y="2"/>
                    <a:pt x="0" y="2"/>
                  </a:cubicBezTo>
                  <a:cubicBezTo>
                    <a:pt x="0" y="3"/>
                    <a:pt x="0" y="4"/>
                    <a:pt x="0" y="4"/>
                  </a:cubicBezTo>
                  <a:cubicBezTo>
                    <a:pt x="0" y="5"/>
                    <a:pt x="0" y="6"/>
                    <a:pt x="0" y="7"/>
                  </a:cubicBezTo>
                  <a:cubicBezTo>
                    <a:pt x="0" y="8"/>
                    <a:pt x="1" y="9"/>
                    <a:pt x="1" y="9"/>
                  </a:cubicBezTo>
                  <a:cubicBezTo>
                    <a:pt x="2" y="9"/>
                    <a:pt x="2" y="9"/>
                    <a:pt x="3" y="9"/>
                  </a:cubicBezTo>
                  <a:cubicBezTo>
                    <a:pt x="3" y="9"/>
                    <a:pt x="4" y="9"/>
                    <a:pt x="4" y="9"/>
                  </a:cubicBezTo>
                  <a:cubicBezTo>
                    <a:pt x="5" y="9"/>
                    <a:pt x="5" y="9"/>
                    <a:pt x="5" y="9"/>
                  </a:cubicBezTo>
                  <a:cubicBezTo>
                    <a:pt x="5" y="9"/>
                    <a:pt x="6" y="9"/>
                    <a:pt x="7" y="9"/>
                  </a:cubicBezTo>
                  <a:cubicBezTo>
                    <a:pt x="9" y="9"/>
                    <a:pt x="12" y="10"/>
                    <a:pt x="15" y="10"/>
                  </a:cubicBezTo>
                  <a:cubicBezTo>
                    <a:pt x="22" y="10"/>
                    <a:pt x="23" y="9"/>
                    <a:pt x="23" y="8"/>
                  </a:cubicBezTo>
                  <a:cubicBezTo>
                    <a:pt x="23" y="3"/>
                    <a:pt x="23" y="3"/>
                    <a:pt x="23" y="3"/>
                  </a:cubicBezTo>
                  <a:cubicBezTo>
                    <a:pt x="23" y="1"/>
                    <a:pt x="21" y="0"/>
                    <a:pt x="20" y="0"/>
                  </a:cubicBezTo>
                  <a:cubicBezTo>
                    <a:pt x="19" y="0"/>
                    <a:pt x="19" y="0"/>
                    <a:pt x="19" y="0"/>
                  </a:cubicBezTo>
                  <a:cubicBezTo>
                    <a:pt x="18" y="0"/>
                    <a:pt x="18" y="0"/>
                    <a:pt x="18" y="0"/>
                  </a:cubicBezTo>
                  <a:cubicBezTo>
                    <a:pt x="18" y="0"/>
                    <a:pt x="18" y="0"/>
                    <a:pt x="18" y="0"/>
                  </a:cubicBezTo>
                  <a:cubicBezTo>
                    <a:pt x="17" y="0"/>
                    <a:pt x="14" y="0"/>
                    <a:pt x="1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53" name="ïSḻíḋé"/>
            <p:cNvSpPr/>
            <p:nvPr/>
          </p:nvSpPr>
          <p:spPr bwMode="auto">
            <a:xfrm>
              <a:off x="3651" y="2431"/>
              <a:ext cx="74" cy="96"/>
            </a:xfrm>
            <a:custGeom>
              <a:avLst/>
              <a:gdLst>
                <a:gd name="T0" fmla="*/ 12 w 31"/>
                <a:gd name="T1" fmla="*/ 39 h 40"/>
                <a:gd name="T2" fmla="*/ 10 w 31"/>
                <a:gd name="T3" fmla="*/ 38 h 40"/>
                <a:gd name="T4" fmla="*/ 12 w 31"/>
                <a:gd name="T5" fmla="*/ 38 h 40"/>
                <a:gd name="T6" fmla="*/ 13 w 31"/>
                <a:gd name="T7" fmla="*/ 39 h 40"/>
                <a:gd name="T8" fmla="*/ 14 w 31"/>
                <a:gd name="T9" fmla="*/ 39 h 40"/>
                <a:gd name="T10" fmla="*/ 16 w 31"/>
                <a:gd name="T11" fmla="*/ 38 h 40"/>
                <a:gd name="T12" fmla="*/ 9 w 31"/>
                <a:gd name="T13" fmla="*/ 39 h 40"/>
                <a:gd name="T14" fmla="*/ 8 w 31"/>
                <a:gd name="T15" fmla="*/ 38 h 40"/>
                <a:gd name="T16" fmla="*/ 9 w 31"/>
                <a:gd name="T17" fmla="*/ 39 h 40"/>
                <a:gd name="T18" fmla="*/ 16 w 31"/>
                <a:gd name="T19" fmla="*/ 39 h 40"/>
                <a:gd name="T20" fmla="*/ 19 w 31"/>
                <a:gd name="T21" fmla="*/ 38 h 40"/>
                <a:gd name="T22" fmla="*/ 18 w 31"/>
                <a:gd name="T23" fmla="*/ 39 h 40"/>
                <a:gd name="T24" fmla="*/ 6 w 31"/>
                <a:gd name="T25" fmla="*/ 39 h 40"/>
                <a:gd name="T26" fmla="*/ 8 w 31"/>
                <a:gd name="T27" fmla="*/ 38 h 40"/>
                <a:gd name="T28" fmla="*/ 19 w 31"/>
                <a:gd name="T29" fmla="*/ 39 h 40"/>
                <a:gd name="T30" fmla="*/ 21 w 31"/>
                <a:gd name="T31" fmla="*/ 38 h 40"/>
                <a:gd name="T32" fmla="*/ 20 w 31"/>
                <a:gd name="T33" fmla="*/ 39 h 40"/>
                <a:gd name="T34" fmla="*/ 19 w 31"/>
                <a:gd name="T35" fmla="*/ 39 h 40"/>
                <a:gd name="T36" fmla="*/ 21 w 31"/>
                <a:gd name="T37" fmla="*/ 39 h 40"/>
                <a:gd name="T38" fmla="*/ 23 w 31"/>
                <a:gd name="T39" fmla="*/ 38 h 40"/>
                <a:gd name="T40" fmla="*/ 23 w 31"/>
                <a:gd name="T41" fmla="*/ 39 h 40"/>
                <a:gd name="T42" fmla="*/ 24 w 31"/>
                <a:gd name="T43" fmla="*/ 39 h 40"/>
                <a:gd name="T44" fmla="*/ 26 w 31"/>
                <a:gd name="T45" fmla="*/ 38 h 40"/>
                <a:gd name="T46" fmla="*/ 25 w 31"/>
                <a:gd name="T47" fmla="*/ 39 h 40"/>
                <a:gd name="T48" fmla="*/ 26 w 31"/>
                <a:gd name="T49" fmla="*/ 39 h 40"/>
                <a:gd name="T50" fmla="*/ 27 w 31"/>
                <a:gd name="T51" fmla="*/ 38 h 40"/>
                <a:gd name="T52" fmla="*/ 27 w 31"/>
                <a:gd name="T53" fmla="*/ 39 h 40"/>
                <a:gd name="T54" fmla="*/ 6 w 31"/>
                <a:gd name="T55" fmla="*/ 39 h 40"/>
                <a:gd name="T56" fmla="*/ 4 w 31"/>
                <a:gd name="T57" fmla="*/ 38 h 40"/>
                <a:gd name="T58" fmla="*/ 6 w 31"/>
                <a:gd name="T59" fmla="*/ 39 h 40"/>
                <a:gd name="T60" fmla="*/ 28 w 31"/>
                <a:gd name="T61" fmla="*/ 38 h 40"/>
                <a:gd name="T62" fmla="*/ 29 w 31"/>
                <a:gd name="T63" fmla="*/ 37 h 40"/>
                <a:gd name="T64" fmla="*/ 28 w 31"/>
                <a:gd name="T65" fmla="*/ 39 h 40"/>
                <a:gd name="T66" fmla="*/ 3 w 31"/>
                <a:gd name="T67" fmla="*/ 39 h 40"/>
                <a:gd name="T68" fmla="*/ 1 w 31"/>
                <a:gd name="T69" fmla="*/ 37 h 40"/>
                <a:gd name="T70" fmla="*/ 3 w 31"/>
                <a:gd name="T71" fmla="*/ 39 h 40"/>
                <a:gd name="T72" fmla="*/ 2 w 31"/>
                <a:gd name="T73" fmla="*/ 36 h 40"/>
                <a:gd name="T74" fmla="*/ 2 w 31"/>
                <a:gd name="T75" fmla="*/ 31 h 40"/>
                <a:gd name="T76" fmla="*/ 2 w 31"/>
                <a:gd name="T77" fmla="*/ 4 h 40"/>
                <a:gd name="T78" fmla="*/ 14 w 31"/>
                <a:gd name="T79" fmla="*/ 1 h 40"/>
                <a:gd name="T80" fmla="*/ 28 w 31"/>
                <a:gd name="T81" fmla="*/ 1 h 40"/>
                <a:gd name="T82" fmla="*/ 29 w 31"/>
                <a:gd name="T83" fmla="*/ 19 h 40"/>
                <a:gd name="T84" fmla="*/ 29 w 31"/>
                <a:gd name="T85" fmla="*/ 35 h 40"/>
                <a:gd name="T86" fmla="*/ 26 w 31"/>
                <a:gd name="T87" fmla="*/ 37 h 40"/>
                <a:gd name="T88" fmla="*/ 23 w 31"/>
                <a:gd name="T89" fmla="*/ 37 h 40"/>
                <a:gd name="T90" fmla="*/ 24 w 31"/>
                <a:gd name="T91" fmla="*/ 0 h 40"/>
                <a:gd name="T92" fmla="*/ 4 w 31"/>
                <a:gd name="T93" fmla="*/ 0 h 40"/>
                <a:gd name="T94" fmla="*/ 1 w 31"/>
                <a:gd name="T95" fmla="*/ 29 h 40"/>
                <a:gd name="T96" fmla="*/ 1 w 31"/>
                <a:gd name="T97" fmla="*/ 35 h 40"/>
                <a:gd name="T98" fmla="*/ 0 w 31"/>
                <a:gd name="T99" fmla="*/ 36 h 40"/>
                <a:gd name="T100" fmla="*/ 9 w 31"/>
                <a:gd name="T101" fmla="*/ 40 h 40"/>
                <a:gd name="T102" fmla="*/ 18 w 31"/>
                <a:gd name="T103" fmla="*/ 40 h 40"/>
                <a:gd name="T104" fmla="*/ 30 w 31"/>
                <a:gd name="T105" fmla="*/ 39 h 40"/>
                <a:gd name="T106" fmla="*/ 30 w 31"/>
                <a:gd name="T107" fmla="*/ 21 h 40"/>
                <a:gd name="T108" fmla="*/ 29 w 31"/>
                <a:gd name="T109" fmla="*/ 1 h 40"/>
                <a:gd name="T110" fmla="*/ 24 w 31"/>
                <a:gd name="T11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 h="40">
                  <a:moveTo>
                    <a:pt x="13" y="39"/>
                  </a:moveTo>
                  <a:cubicBezTo>
                    <a:pt x="12" y="39"/>
                    <a:pt x="12" y="39"/>
                    <a:pt x="12" y="39"/>
                  </a:cubicBezTo>
                  <a:cubicBezTo>
                    <a:pt x="12" y="39"/>
                    <a:pt x="10" y="39"/>
                    <a:pt x="9" y="39"/>
                  </a:cubicBezTo>
                  <a:cubicBezTo>
                    <a:pt x="10" y="38"/>
                    <a:pt x="10" y="38"/>
                    <a:pt x="10" y="38"/>
                  </a:cubicBezTo>
                  <a:cubicBezTo>
                    <a:pt x="10" y="38"/>
                    <a:pt x="10" y="38"/>
                    <a:pt x="10" y="38"/>
                  </a:cubicBezTo>
                  <a:cubicBezTo>
                    <a:pt x="10" y="38"/>
                    <a:pt x="11" y="38"/>
                    <a:pt x="12" y="38"/>
                  </a:cubicBezTo>
                  <a:cubicBezTo>
                    <a:pt x="13" y="38"/>
                    <a:pt x="13" y="38"/>
                    <a:pt x="13" y="38"/>
                  </a:cubicBezTo>
                  <a:cubicBezTo>
                    <a:pt x="13" y="39"/>
                    <a:pt x="13" y="39"/>
                    <a:pt x="13" y="39"/>
                  </a:cubicBezTo>
                  <a:moveTo>
                    <a:pt x="15" y="39"/>
                  </a:moveTo>
                  <a:cubicBezTo>
                    <a:pt x="15" y="39"/>
                    <a:pt x="14" y="39"/>
                    <a:pt x="14" y="39"/>
                  </a:cubicBezTo>
                  <a:cubicBezTo>
                    <a:pt x="14" y="38"/>
                    <a:pt x="14" y="38"/>
                    <a:pt x="14" y="38"/>
                  </a:cubicBezTo>
                  <a:cubicBezTo>
                    <a:pt x="15" y="38"/>
                    <a:pt x="15" y="38"/>
                    <a:pt x="16" y="38"/>
                  </a:cubicBezTo>
                  <a:cubicBezTo>
                    <a:pt x="15" y="39"/>
                    <a:pt x="15" y="39"/>
                    <a:pt x="15" y="39"/>
                  </a:cubicBezTo>
                  <a:moveTo>
                    <a:pt x="9" y="39"/>
                  </a:moveTo>
                  <a:cubicBezTo>
                    <a:pt x="8" y="39"/>
                    <a:pt x="8" y="39"/>
                    <a:pt x="8" y="39"/>
                  </a:cubicBezTo>
                  <a:cubicBezTo>
                    <a:pt x="8" y="38"/>
                    <a:pt x="8" y="38"/>
                    <a:pt x="8" y="38"/>
                  </a:cubicBezTo>
                  <a:cubicBezTo>
                    <a:pt x="8" y="38"/>
                    <a:pt x="9" y="38"/>
                    <a:pt x="9" y="38"/>
                  </a:cubicBezTo>
                  <a:cubicBezTo>
                    <a:pt x="9" y="39"/>
                    <a:pt x="9" y="39"/>
                    <a:pt x="9" y="39"/>
                  </a:cubicBezTo>
                  <a:moveTo>
                    <a:pt x="18" y="39"/>
                  </a:moveTo>
                  <a:cubicBezTo>
                    <a:pt x="17" y="39"/>
                    <a:pt x="17" y="39"/>
                    <a:pt x="16" y="39"/>
                  </a:cubicBezTo>
                  <a:cubicBezTo>
                    <a:pt x="17" y="38"/>
                    <a:pt x="17" y="38"/>
                    <a:pt x="17" y="38"/>
                  </a:cubicBezTo>
                  <a:cubicBezTo>
                    <a:pt x="17" y="38"/>
                    <a:pt x="18" y="38"/>
                    <a:pt x="19" y="38"/>
                  </a:cubicBezTo>
                  <a:cubicBezTo>
                    <a:pt x="18" y="39"/>
                    <a:pt x="18" y="39"/>
                    <a:pt x="18" y="39"/>
                  </a:cubicBezTo>
                  <a:cubicBezTo>
                    <a:pt x="18" y="39"/>
                    <a:pt x="18" y="39"/>
                    <a:pt x="18" y="39"/>
                  </a:cubicBezTo>
                  <a:moveTo>
                    <a:pt x="7" y="39"/>
                  </a:moveTo>
                  <a:cubicBezTo>
                    <a:pt x="6" y="39"/>
                    <a:pt x="6" y="39"/>
                    <a:pt x="6" y="39"/>
                  </a:cubicBezTo>
                  <a:cubicBezTo>
                    <a:pt x="7" y="38"/>
                    <a:pt x="7" y="38"/>
                    <a:pt x="7" y="38"/>
                  </a:cubicBezTo>
                  <a:cubicBezTo>
                    <a:pt x="8" y="38"/>
                    <a:pt x="8" y="38"/>
                    <a:pt x="8" y="38"/>
                  </a:cubicBezTo>
                  <a:cubicBezTo>
                    <a:pt x="7" y="39"/>
                    <a:pt x="7" y="39"/>
                    <a:pt x="7" y="39"/>
                  </a:cubicBezTo>
                  <a:moveTo>
                    <a:pt x="19" y="39"/>
                  </a:moveTo>
                  <a:cubicBezTo>
                    <a:pt x="19" y="38"/>
                    <a:pt x="19" y="38"/>
                    <a:pt x="19" y="38"/>
                  </a:cubicBezTo>
                  <a:cubicBezTo>
                    <a:pt x="20" y="38"/>
                    <a:pt x="20" y="38"/>
                    <a:pt x="21" y="38"/>
                  </a:cubicBezTo>
                  <a:cubicBezTo>
                    <a:pt x="21" y="38"/>
                    <a:pt x="21" y="39"/>
                    <a:pt x="20" y="39"/>
                  </a:cubicBezTo>
                  <a:cubicBezTo>
                    <a:pt x="20" y="39"/>
                    <a:pt x="20" y="39"/>
                    <a:pt x="20" y="39"/>
                  </a:cubicBezTo>
                  <a:cubicBezTo>
                    <a:pt x="19" y="39"/>
                    <a:pt x="19" y="39"/>
                    <a:pt x="19" y="39"/>
                  </a:cubicBezTo>
                  <a:cubicBezTo>
                    <a:pt x="19" y="39"/>
                    <a:pt x="19" y="39"/>
                    <a:pt x="19" y="39"/>
                  </a:cubicBezTo>
                  <a:cubicBezTo>
                    <a:pt x="19" y="39"/>
                    <a:pt x="19" y="39"/>
                    <a:pt x="19" y="39"/>
                  </a:cubicBezTo>
                  <a:moveTo>
                    <a:pt x="21" y="39"/>
                  </a:moveTo>
                  <a:cubicBezTo>
                    <a:pt x="21" y="39"/>
                    <a:pt x="21" y="38"/>
                    <a:pt x="22" y="38"/>
                  </a:cubicBezTo>
                  <a:cubicBezTo>
                    <a:pt x="22" y="38"/>
                    <a:pt x="23" y="38"/>
                    <a:pt x="23" y="38"/>
                  </a:cubicBezTo>
                  <a:cubicBezTo>
                    <a:pt x="24" y="38"/>
                    <a:pt x="24" y="38"/>
                    <a:pt x="24" y="38"/>
                  </a:cubicBezTo>
                  <a:cubicBezTo>
                    <a:pt x="24" y="38"/>
                    <a:pt x="23" y="39"/>
                    <a:pt x="23" y="39"/>
                  </a:cubicBezTo>
                  <a:cubicBezTo>
                    <a:pt x="22" y="39"/>
                    <a:pt x="22" y="39"/>
                    <a:pt x="21" y="39"/>
                  </a:cubicBezTo>
                  <a:moveTo>
                    <a:pt x="24" y="39"/>
                  </a:moveTo>
                  <a:cubicBezTo>
                    <a:pt x="24" y="39"/>
                    <a:pt x="24" y="38"/>
                    <a:pt x="24" y="38"/>
                  </a:cubicBezTo>
                  <a:cubicBezTo>
                    <a:pt x="25" y="38"/>
                    <a:pt x="25" y="38"/>
                    <a:pt x="26" y="38"/>
                  </a:cubicBezTo>
                  <a:cubicBezTo>
                    <a:pt x="26" y="38"/>
                    <a:pt x="26" y="38"/>
                    <a:pt x="26" y="38"/>
                  </a:cubicBezTo>
                  <a:cubicBezTo>
                    <a:pt x="26" y="38"/>
                    <a:pt x="25" y="39"/>
                    <a:pt x="25" y="39"/>
                  </a:cubicBezTo>
                  <a:cubicBezTo>
                    <a:pt x="25" y="39"/>
                    <a:pt x="24" y="39"/>
                    <a:pt x="24" y="39"/>
                  </a:cubicBezTo>
                  <a:moveTo>
                    <a:pt x="26" y="39"/>
                  </a:moveTo>
                  <a:cubicBezTo>
                    <a:pt x="27" y="38"/>
                    <a:pt x="27" y="38"/>
                    <a:pt x="27" y="38"/>
                  </a:cubicBezTo>
                  <a:cubicBezTo>
                    <a:pt x="27" y="38"/>
                    <a:pt x="27" y="38"/>
                    <a:pt x="27" y="38"/>
                  </a:cubicBezTo>
                  <a:cubicBezTo>
                    <a:pt x="27" y="38"/>
                    <a:pt x="27" y="38"/>
                    <a:pt x="27" y="38"/>
                  </a:cubicBezTo>
                  <a:cubicBezTo>
                    <a:pt x="27" y="39"/>
                    <a:pt x="27" y="39"/>
                    <a:pt x="27" y="39"/>
                  </a:cubicBezTo>
                  <a:cubicBezTo>
                    <a:pt x="26" y="39"/>
                    <a:pt x="26" y="39"/>
                    <a:pt x="26" y="39"/>
                  </a:cubicBezTo>
                  <a:moveTo>
                    <a:pt x="6" y="39"/>
                  </a:moveTo>
                  <a:cubicBezTo>
                    <a:pt x="5" y="39"/>
                    <a:pt x="4" y="39"/>
                    <a:pt x="3" y="39"/>
                  </a:cubicBezTo>
                  <a:cubicBezTo>
                    <a:pt x="4" y="38"/>
                    <a:pt x="4" y="38"/>
                    <a:pt x="4" y="38"/>
                  </a:cubicBezTo>
                  <a:cubicBezTo>
                    <a:pt x="4" y="38"/>
                    <a:pt x="5" y="38"/>
                    <a:pt x="6" y="38"/>
                  </a:cubicBezTo>
                  <a:cubicBezTo>
                    <a:pt x="6" y="39"/>
                    <a:pt x="6" y="39"/>
                    <a:pt x="6" y="39"/>
                  </a:cubicBezTo>
                  <a:moveTo>
                    <a:pt x="27" y="39"/>
                  </a:moveTo>
                  <a:cubicBezTo>
                    <a:pt x="28" y="38"/>
                    <a:pt x="28" y="38"/>
                    <a:pt x="28" y="38"/>
                  </a:cubicBezTo>
                  <a:cubicBezTo>
                    <a:pt x="28" y="38"/>
                    <a:pt x="29" y="38"/>
                    <a:pt x="29" y="38"/>
                  </a:cubicBezTo>
                  <a:cubicBezTo>
                    <a:pt x="29" y="37"/>
                    <a:pt x="29" y="37"/>
                    <a:pt x="29" y="37"/>
                  </a:cubicBezTo>
                  <a:cubicBezTo>
                    <a:pt x="29" y="38"/>
                    <a:pt x="29" y="38"/>
                    <a:pt x="29" y="38"/>
                  </a:cubicBezTo>
                  <a:cubicBezTo>
                    <a:pt x="29" y="39"/>
                    <a:pt x="28" y="39"/>
                    <a:pt x="28" y="39"/>
                  </a:cubicBezTo>
                  <a:cubicBezTo>
                    <a:pt x="27" y="39"/>
                    <a:pt x="27" y="39"/>
                    <a:pt x="27" y="39"/>
                  </a:cubicBezTo>
                  <a:moveTo>
                    <a:pt x="3" y="39"/>
                  </a:moveTo>
                  <a:cubicBezTo>
                    <a:pt x="2" y="39"/>
                    <a:pt x="2" y="38"/>
                    <a:pt x="1" y="38"/>
                  </a:cubicBezTo>
                  <a:cubicBezTo>
                    <a:pt x="1" y="38"/>
                    <a:pt x="1" y="38"/>
                    <a:pt x="1" y="37"/>
                  </a:cubicBezTo>
                  <a:cubicBezTo>
                    <a:pt x="2" y="37"/>
                    <a:pt x="2" y="38"/>
                    <a:pt x="3" y="38"/>
                  </a:cubicBezTo>
                  <a:cubicBezTo>
                    <a:pt x="3" y="39"/>
                    <a:pt x="3" y="39"/>
                    <a:pt x="3" y="39"/>
                  </a:cubicBezTo>
                  <a:moveTo>
                    <a:pt x="12" y="37"/>
                  </a:moveTo>
                  <a:cubicBezTo>
                    <a:pt x="3" y="37"/>
                    <a:pt x="2" y="36"/>
                    <a:pt x="2" y="36"/>
                  </a:cubicBezTo>
                  <a:cubicBezTo>
                    <a:pt x="2" y="36"/>
                    <a:pt x="2" y="36"/>
                    <a:pt x="2" y="36"/>
                  </a:cubicBezTo>
                  <a:cubicBezTo>
                    <a:pt x="2" y="35"/>
                    <a:pt x="2" y="33"/>
                    <a:pt x="2" y="31"/>
                  </a:cubicBezTo>
                  <a:cubicBezTo>
                    <a:pt x="2" y="30"/>
                    <a:pt x="2" y="30"/>
                    <a:pt x="2" y="29"/>
                  </a:cubicBezTo>
                  <a:cubicBezTo>
                    <a:pt x="2" y="4"/>
                    <a:pt x="2" y="4"/>
                    <a:pt x="2" y="4"/>
                  </a:cubicBezTo>
                  <a:cubicBezTo>
                    <a:pt x="2" y="2"/>
                    <a:pt x="2" y="1"/>
                    <a:pt x="4" y="1"/>
                  </a:cubicBezTo>
                  <a:cubicBezTo>
                    <a:pt x="7" y="1"/>
                    <a:pt x="10" y="1"/>
                    <a:pt x="14" y="1"/>
                  </a:cubicBezTo>
                  <a:cubicBezTo>
                    <a:pt x="17" y="1"/>
                    <a:pt x="21" y="1"/>
                    <a:pt x="24" y="1"/>
                  </a:cubicBezTo>
                  <a:cubicBezTo>
                    <a:pt x="27" y="1"/>
                    <a:pt x="28" y="1"/>
                    <a:pt x="28" y="1"/>
                  </a:cubicBezTo>
                  <a:cubicBezTo>
                    <a:pt x="28" y="1"/>
                    <a:pt x="28" y="1"/>
                    <a:pt x="28" y="1"/>
                  </a:cubicBezTo>
                  <a:cubicBezTo>
                    <a:pt x="29" y="2"/>
                    <a:pt x="30" y="5"/>
                    <a:pt x="29" y="19"/>
                  </a:cubicBezTo>
                  <a:cubicBezTo>
                    <a:pt x="29" y="20"/>
                    <a:pt x="29" y="21"/>
                    <a:pt x="29" y="21"/>
                  </a:cubicBezTo>
                  <a:cubicBezTo>
                    <a:pt x="29" y="35"/>
                    <a:pt x="29" y="35"/>
                    <a:pt x="29" y="35"/>
                  </a:cubicBezTo>
                  <a:cubicBezTo>
                    <a:pt x="29" y="36"/>
                    <a:pt x="29" y="37"/>
                    <a:pt x="28" y="37"/>
                  </a:cubicBezTo>
                  <a:cubicBezTo>
                    <a:pt x="28" y="37"/>
                    <a:pt x="27" y="37"/>
                    <a:pt x="26" y="37"/>
                  </a:cubicBezTo>
                  <a:cubicBezTo>
                    <a:pt x="26" y="37"/>
                    <a:pt x="26" y="37"/>
                    <a:pt x="26" y="37"/>
                  </a:cubicBezTo>
                  <a:cubicBezTo>
                    <a:pt x="25" y="37"/>
                    <a:pt x="24" y="37"/>
                    <a:pt x="23" y="37"/>
                  </a:cubicBezTo>
                  <a:cubicBezTo>
                    <a:pt x="20" y="37"/>
                    <a:pt x="16" y="37"/>
                    <a:pt x="12" y="37"/>
                  </a:cubicBezTo>
                  <a:moveTo>
                    <a:pt x="24" y="0"/>
                  </a:moveTo>
                  <a:cubicBezTo>
                    <a:pt x="21" y="0"/>
                    <a:pt x="17" y="0"/>
                    <a:pt x="14" y="0"/>
                  </a:cubicBezTo>
                  <a:cubicBezTo>
                    <a:pt x="10" y="0"/>
                    <a:pt x="7" y="0"/>
                    <a:pt x="4" y="0"/>
                  </a:cubicBezTo>
                  <a:cubicBezTo>
                    <a:pt x="1" y="0"/>
                    <a:pt x="1" y="2"/>
                    <a:pt x="1" y="4"/>
                  </a:cubicBezTo>
                  <a:cubicBezTo>
                    <a:pt x="1" y="29"/>
                    <a:pt x="1" y="29"/>
                    <a:pt x="1" y="29"/>
                  </a:cubicBezTo>
                  <a:cubicBezTo>
                    <a:pt x="1" y="29"/>
                    <a:pt x="1" y="30"/>
                    <a:pt x="1" y="31"/>
                  </a:cubicBezTo>
                  <a:cubicBezTo>
                    <a:pt x="1" y="32"/>
                    <a:pt x="1" y="34"/>
                    <a:pt x="1" y="35"/>
                  </a:cubicBezTo>
                  <a:cubicBezTo>
                    <a:pt x="1" y="35"/>
                    <a:pt x="1" y="35"/>
                    <a:pt x="1" y="35"/>
                  </a:cubicBezTo>
                  <a:cubicBezTo>
                    <a:pt x="1" y="35"/>
                    <a:pt x="1" y="36"/>
                    <a:pt x="0" y="36"/>
                  </a:cubicBezTo>
                  <a:cubicBezTo>
                    <a:pt x="0" y="38"/>
                    <a:pt x="0" y="38"/>
                    <a:pt x="1" y="39"/>
                  </a:cubicBezTo>
                  <a:cubicBezTo>
                    <a:pt x="1" y="40"/>
                    <a:pt x="4" y="40"/>
                    <a:pt x="9" y="40"/>
                  </a:cubicBezTo>
                  <a:cubicBezTo>
                    <a:pt x="10" y="40"/>
                    <a:pt x="11" y="40"/>
                    <a:pt x="12" y="40"/>
                  </a:cubicBezTo>
                  <a:cubicBezTo>
                    <a:pt x="14" y="40"/>
                    <a:pt x="16" y="40"/>
                    <a:pt x="18" y="40"/>
                  </a:cubicBezTo>
                  <a:cubicBezTo>
                    <a:pt x="22" y="40"/>
                    <a:pt x="25" y="40"/>
                    <a:pt x="28" y="40"/>
                  </a:cubicBezTo>
                  <a:cubicBezTo>
                    <a:pt x="28" y="40"/>
                    <a:pt x="30" y="40"/>
                    <a:pt x="30" y="39"/>
                  </a:cubicBezTo>
                  <a:cubicBezTo>
                    <a:pt x="30" y="38"/>
                    <a:pt x="30" y="36"/>
                    <a:pt x="30" y="35"/>
                  </a:cubicBezTo>
                  <a:cubicBezTo>
                    <a:pt x="30" y="21"/>
                    <a:pt x="30" y="21"/>
                    <a:pt x="30" y="21"/>
                  </a:cubicBezTo>
                  <a:cubicBezTo>
                    <a:pt x="30" y="21"/>
                    <a:pt x="30" y="20"/>
                    <a:pt x="30" y="19"/>
                  </a:cubicBezTo>
                  <a:cubicBezTo>
                    <a:pt x="31" y="9"/>
                    <a:pt x="31" y="2"/>
                    <a:pt x="29" y="1"/>
                  </a:cubicBezTo>
                  <a:cubicBezTo>
                    <a:pt x="29" y="0"/>
                    <a:pt x="29" y="0"/>
                    <a:pt x="29" y="0"/>
                  </a:cubicBezTo>
                  <a:cubicBezTo>
                    <a:pt x="28" y="0"/>
                    <a:pt x="28" y="0"/>
                    <a:pt x="2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54" name="iṧlïḓê"/>
            <p:cNvSpPr/>
            <p:nvPr/>
          </p:nvSpPr>
          <p:spPr bwMode="auto">
            <a:xfrm>
              <a:off x="3679" y="2477"/>
              <a:ext cx="17" cy="9"/>
            </a:xfrm>
            <a:custGeom>
              <a:avLst/>
              <a:gdLst>
                <a:gd name="T0" fmla="*/ 3 w 7"/>
                <a:gd name="T1" fmla="*/ 3 h 4"/>
                <a:gd name="T2" fmla="*/ 2 w 7"/>
                <a:gd name="T3" fmla="*/ 3 h 4"/>
                <a:gd name="T4" fmla="*/ 2 w 7"/>
                <a:gd name="T5" fmla="*/ 3 h 4"/>
                <a:gd name="T6" fmla="*/ 2 w 7"/>
                <a:gd name="T7" fmla="*/ 2 h 4"/>
                <a:gd name="T8" fmla="*/ 2 w 7"/>
                <a:gd name="T9" fmla="*/ 1 h 4"/>
                <a:gd name="T10" fmla="*/ 2 w 7"/>
                <a:gd name="T11" fmla="*/ 1 h 4"/>
                <a:gd name="T12" fmla="*/ 2 w 7"/>
                <a:gd name="T13" fmla="*/ 2 h 4"/>
                <a:gd name="T14" fmla="*/ 2 w 7"/>
                <a:gd name="T15" fmla="*/ 3 h 4"/>
                <a:gd name="T16" fmla="*/ 5 w 7"/>
                <a:gd name="T17" fmla="*/ 3 h 4"/>
                <a:gd name="T18" fmla="*/ 5 w 7"/>
                <a:gd name="T19" fmla="*/ 3 h 4"/>
                <a:gd name="T20" fmla="*/ 5 w 7"/>
                <a:gd name="T21" fmla="*/ 3 h 4"/>
                <a:gd name="T22" fmla="*/ 3 w 7"/>
                <a:gd name="T23" fmla="*/ 3 h 4"/>
                <a:gd name="T24" fmla="*/ 5 w 7"/>
                <a:gd name="T25" fmla="*/ 2 h 4"/>
                <a:gd name="T26" fmla="*/ 2 w 7"/>
                <a:gd name="T27" fmla="*/ 2 h 4"/>
                <a:gd name="T28" fmla="*/ 2 w 7"/>
                <a:gd name="T29" fmla="*/ 1 h 4"/>
                <a:gd name="T30" fmla="*/ 3 w 7"/>
                <a:gd name="T31" fmla="*/ 1 h 4"/>
                <a:gd name="T32" fmla="*/ 5 w 7"/>
                <a:gd name="T33" fmla="*/ 1 h 4"/>
                <a:gd name="T34" fmla="*/ 5 w 7"/>
                <a:gd name="T35" fmla="*/ 1 h 4"/>
                <a:gd name="T36" fmla="*/ 5 w 7"/>
                <a:gd name="T37" fmla="*/ 2 h 4"/>
                <a:gd name="T38" fmla="*/ 5 w 7"/>
                <a:gd name="T39" fmla="*/ 2 h 4"/>
                <a:gd name="T40" fmla="*/ 3 w 7"/>
                <a:gd name="T41" fmla="*/ 0 h 4"/>
                <a:gd name="T42" fmla="*/ 1 w 7"/>
                <a:gd name="T43" fmla="*/ 1 h 4"/>
                <a:gd name="T44" fmla="*/ 1 w 7"/>
                <a:gd name="T45" fmla="*/ 2 h 4"/>
                <a:gd name="T46" fmla="*/ 1 w 7"/>
                <a:gd name="T47" fmla="*/ 4 h 4"/>
                <a:gd name="T48" fmla="*/ 1 w 7"/>
                <a:gd name="T49" fmla="*/ 4 h 4"/>
                <a:gd name="T50" fmla="*/ 3 w 7"/>
                <a:gd name="T51" fmla="*/ 4 h 4"/>
                <a:gd name="T52" fmla="*/ 6 w 7"/>
                <a:gd name="T53" fmla="*/ 4 h 4"/>
                <a:gd name="T54" fmla="*/ 6 w 7"/>
                <a:gd name="T55" fmla="*/ 4 h 4"/>
                <a:gd name="T56" fmla="*/ 6 w 7"/>
                <a:gd name="T57" fmla="*/ 0 h 4"/>
                <a:gd name="T58" fmla="*/ 5 w 7"/>
                <a:gd name="T59" fmla="*/ 0 h 4"/>
                <a:gd name="T60" fmla="*/ 5 w 7"/>
                <a:gd name="T61" fmla="*/ 0 h 4"/>
                <a:gd name="T62" fmla="*/ 3 w 7"/>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4">
                  <a:moveTo>
                    <a:pt x="3" y="3"/>
                  </a:moveTo>
                  <a:cubicBezTo>
                    <a:pt x="3" y="3"/>
                    <a:pt x="2" y="3"/>
                    <a:pt x="2" y="3"/>
                  </a:cubicBezTo>
                  <a:cubicBezTo>
                    <a:pt x="2" y="3"/>
                    <a:pt x="2" y="3"/>
                    <a:pt x="2" y="3"/>
                  </a:cubicBezTo>
                  <a:cubicBezTo>
                    <a:pt x="1" y="3"/>
                    <a:pt x="2" y="2"/>
                    <a:pt x="2" y="2"/>
                  </a:cubicBezTo>
                  <a:cubicBezTo>
                    <a:pt x="2" y="1"/>
                    <a:pt x="2" y="1"/>
                    <a:pt x="2" y="1"/>
                  </a:cubicBezTo>
                  <a:cubicBezTo>
                    <a:pt x="2" y="1"/>
                    <a:pt x="2" y="1"/>
                    <a:pt x="2" y="1"/>
                  </a:cubicBezTo>
                  <a:cubicBezTo>
                    <a:pt x="2" y="2"/>
                    <a:pt x="2" y="2"/>
                    <a:pt x="2" y="2"/>
                  </a:cubicBezTo>
                  <a:cubicBezTo>
                    <a:pt x="2" y="3"/>
                    <a:pt x="2" y="3"/>
                    <a:pt x="2" y="3"/>
                  </a:cubicBezTo>
                  <a:cubicBezTo>
                    <a:pt x="3" y="3"/>
                    <a:pt x="4" y="3"/>
                    <a:pt x="5" y="3"/>
                  </a:cubicBezTo>
                  <a:cubicBezTo>
                    <a:pt x="5" y="3"/>
                    <a:pt x="5" y="3"/>
                    <a:pt x="5" y="3"/>
                  </a:cubicBezTo>
                  <a:cubicBezTo>
                    <a:pt x="5" y="3"/>
                    <a:pt x="5" y="3"/>
                    <a:pt x="5" y="3"/>
                  </a:cubicBezTo>
                  <a:cubicBezTo>
                    <a:pt x="5" y="3"/>
                    <a:pt x="4" y="3"/>
                    <a:pt x="3" y="3"/>
                  </a:cubicBezTo>
                  <a:moveTo>
                    <a:pt x="5" y="2"/>
                  </a:moveTo>
                  <a:cubicBezTo>
                    <a:pt x="4" y="2"/>
                    <a:pt x="3" y="2"/>
                    <a:pt x="2" y="2"/>
                  </a:cubicBezTo>
                  <a:cubicBezTo>
                    <a:pt x="2" y="1"/>
                    <a:pt x="2" y="1"/>
                    <a:pt x="2" y="1"/>
                  </a:cubicBezTo>
                  <a:cubicBezTo>
                    <a:pt x="3" y="1"/>
                    <a:pt x="3" y="1"/>
                    <a:pt x="3" y="1"/>
                  </a:cubicBezTo>
                  <a:cubicBezTo>
                    <a:pt x="4" y="1"/>
                    <a:pt x="4" y="1"/>
                    <a:pt x="5" y="1"/>
                  </a:cubicBezTo>
                  <a:cubicBezTo>
                    <a:pt x="5" y="1"/>
                    <a:pt x="5" y="1"/>
                    <a:pt x="5" y="1"/>
                  </a:cubicBezTo>
                  <a:cubicBezTo>
                    <a:pt x="5" y="1"/>
                    <a:pt x="5" y="2"/>
                    <a:pt x="5" y="2"/>
                  </a:cubicBezTo>
                  <a:cubicBezTo>
                    <a:pt x="5" y="2"/>
                    <a:pt x="5" y="2"/>
                    <a:pt x="5" y="2"/>
                  </a:cubicBezTo>
                  <a:moveTo>
                    <a:pt x="3" y="0"/>
                  </a:moveTo>
                  <a:cubicBezTo>
                    <a:pt x="2" y="0"/>
                    <a:pt x="1" y="0"/>
                    <a:pt x="1" y="1"/>
                  </a:cubicBezTo>
                  <a:cubicBezTo>
                    <a:pt x="1" y="2"/>
                    <a:pt x="1" y="2"/>
                    <a:pt x="1" y="2"/>
                  </a:cubicBezTo>
                  <a:cubicBezTo>
                    <a:pt x="0" y="2"/>
                    <a:pt x="0" y="3"/>
                    <a:pt x="1" y="4"/>
                  </a:cubicBezTo>
                  <a:cubicBezTo>
                    <a:pt x="1" y="4"/>
                    <a:pt x="1" y="4"/>
                    <a:pt x="1" y="4"/>
                  </a:cubicBezTo>
                  <a:cubicBezTo>
                    <a:pt x="2" y="4"/>
                    <a:pt x="2" y="4"/>
                    <a:pt x="3" y="4"/>
                  </a:cubicBezTo>
                  <a:cubicBezTo>
                    <a:pt x="4" y="4"/>
                    <a:pt x="5" y="4"/>
                    <a:pt x="6" y="4"/>
                  </a:cubicBezTo>
                  <a:cubicBezTo>
                    <a:pt x="6" y="4"/>
                    <a:pt x="6" y="4"/>
                    <a:pt x="6" y="4"/>
                  </a:cubicBezTo>
                  <a:cubicBezTo>
                    <a:pt x="6" y="3"/>
                    <a:pt x="7" y="1"/>
                    <a:pt x="6" y="0"/>
                  </a:cubicBezTo>
                  <a:cubicBezTo>
                    <a:pt x="5" y="0"/>
                    <a:pt x="5" y="0"/>
                    <a:pt x="5" y="0"/>
                  </a:cubicBezTo>
                  <a:cubicBezTo>
                    <a:pt x="5" y="0"/>
                    <a:pt x="5" y="0"/>
                    <a:pt x="5" y="0"/>
                  </a:cubicBezTo>
                  <a:cubicBezTo>
                    <a:pt x="4"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55" name="îs1iḑe"/>
            <p:cNvSpPr/>
            <p:nvPr/>
          </p:nvSpPr>
          <p:spPr bwMode="auto">
            <a:xfrm>
              <a:off x="3679" y="2465"/>
              <a:ext cx="17" cy="9"/>
            </a:xfrm>
            <a:custGeom>
              <a:avLst/>
              <a:gdLst>
                <a:gd name="T0" fmla="*/ 3 w 7"/>
                <a:gd name="T1" fmla="*/ 3 h 4"/>
                <a:gd name="T2" fmla="*/ 2 w 7"/>
                <a:gd name="T3" fmla="*/ 3 h 4"/>
                <a:gd name="T4" fmla="*/ 2 w 7"/>
                <a:gd name="T5" fmla="*/ 3 h 4"/>
                <a:gd name="T6" fmla="*/ 2 w 7"/>
                <a:gd name="T7" fmla="*/ 1 h 4"/>
                <a:gd name="T8" fmla="*/ 2 w 7"/>
                <a:gd name="T9" fmla="*/ 1 h 4"/>
                <a:gd name="T10" fmla="*/ 2 w 7"/>
                <a:gd name="T11" fmla="*/ 1 h 4"/>
                <a:gd name="T12" fmla="*/ 2 w 7"/>
                <a:gd name="T13" fmla="*/ 2 h 4"/>
                <a:gd name="T14" fmla="*/ 2 w 7"/>
                <a:gd name="T15" fmla="*/ 2 h 4"/>
                <a:gd name="T16" fmla="*/ 4 w 7"/>
                <a:gd name="T17" fmla="*/ 3 h 4"/>
                <a:gd name="T18" fmla="*/ 5 w 7"/>
                <a:gd name="T19" fmla="*/ 3 h 4"/>
                <a:gd name="T20" fmla="*/ 5 w 7"/>
                <a:gd name="T21" fmla="*/ 2 h 4"/>
                <a:gd name="T22" fmla="*/ 5 w 7"/>
                <a:gd name="T23" fmla="*/ 3 h 4"/>
                <a:gd name="T24" fmla="*/ 3 w 7"/>
                <a:gd name="T25" fmla="*/ 3 h 4"/>
                <a:gd name="T26" fmla="*/ 4 w 7"/>
                <a:gd name="T27" fmla="*/ 2 h 4"/>
                <a:gd name="T28" fmla="*/ 2 w 7"/>
                <a:gd name="T29" fmla="*/ 2 h 4"/>
                <a:gd name="T30" fmla="*/ 2 w 7"/>
                <a:gd name="T31" fmla="*/ 1 h 4"/>
                <a:gd name="T32" fmla="*/ 2 w 7"/>
                <a:gd name="T33" fmla="*/ 1 h 4"/>
                <a:gd name="T34" fmla="*/ 3 w 7"/>
                <a:gd name="T35" fmla="*/ 1 h 4"/>
                <a:gd name="T36" fmla="*/ 5 w 7"/>
                <a:gd name="T37" fmla="*/ 1 h 4"/>
                <a:gd name="T38" fmla="*/ 5 w 7"/>
                <a:gd name="T39" fmla="*/ 1 h 4"/>
                <a:gd name="T40" fmla="*/ 5 w 7"/>
                <a:gd name="T41" fmla="*/ 2 h 4"/>
                <a:gd name="T42" fmla="*/ 5 w 7"/>
                <a:gd name="T43" fmla="*/ 2 h 4"/>
                <a:gd name="T44" fmla="*/ 4 w 7"/>
                <a:gd name="T45" fmla="*/ 2 h 4"/>
                <a:gd name="T46" fmla="*/ 3 w 7"/>
                <a:gd name="T47" fmla="*/ 0 h 4"/>
                <a:gd name="T48" fmla="*/ 1 w 7"/>
                <a:gd name="T49" fmla="*/ 1 h 4"/>
                <a:gd name="T50" fmla="*/ 1 w 7"/>
                <a:gd name="T51" fmla="*/ 1 h 4"/>
                <a:gd name="T52" fmla="*/ 1 w 7"/>
                <a:gd name="T53" fmla="*/ 4 h 4"/>
                <a:gd name="T54" fmla="*/ 1 w 7"/>
                <a:gd name="T55" fmla="*/ 4 h 4"/>
                <a:gd name="T56" fmla="*/ 3 w 7"/>
                <a:gd name="T57" fmla="*/ 4 h 4"/>
                <a:gd name="T58" fmla="*/ 6 w 7"/>
                <a:gd name="T59" fmla="*/ 4 h 4"/>
                <a:gd name="T60" fmla="*/ 6 w 7"/>
                <a:gd name="T61" fmla="*/ 4 h 4"/>
                <a:gd name="T62" fmla="*/ 6 w 7"/>
                <a:gd name="T63" fmla="*/ 0 h 4"/>
                <a:gd name="T64" fmla="*/ 5 w 7"/>
                <a:gd name="T65" fmla="*/ 0 h 4"/>
                <a:gd name="T66" fmla="*/ 5 w 7"/>
                <a:gd name="T67" fmla="*/ 0 h 4"/>
                <a:gd name="T68" fmla="*/ 3 w 7"/>
                <a:gd name="T6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 h="4">
                  <a:moveTo>
                    <a:pt x="3" y="3"/>
                  </a:moveTo>
                  <a:cubicBezTo>
                    <a:pt x="3" y="3"/>
                    <a:pt x="2" y="3"/>
                    <a:pt x="2" y="3"/>
                  </a:cubicBezTo>
                  <a:cubicBezTo>
                    <a:pt x="2" y="3"/>
                    <a:pt x="2" y="3"/>
                    <a:pt x="2" y="3"/>
                  </a:cubicBezTo>
                  <a:cubicBezTo>
                    <a:pt x="1" y="3"/>
                    <a:pt x="2" y="2"/>
                    <a:pt x="2" y="1"/>
                  </a:cubicBezTo>
                  <a:cubicBezTo>
                    <a:pt x="2" y="1"/>
                    <a:pt x="2" y="1"/>
                    <a:pt x="2" y="1"/>
                  </a:cubicBezTo>
                  <a:cubicBezTo>
                    <a:pt x="2" y="1"/>
                    <a:pt x="2" y="1"/>
                    <a:pt x="2" y="1"/>
                  </a:cubicBezTo>
                  <a:cubicBezTo>
                    <a:pt x="2" y="1"/>
                    <a:pt x="2" y="2"/>
                    <a:pt x="2" y="2"/>
                  </a:cubicBezTo>
                  <a:cubicBezTo>
                    <a:pt x="2" y="2"/>
                    <a:pt x="2" y="2"/>
                    <a:pt x="2" y="2"/>
                  </a:cubicBezTo>
                  <a:cubicBezTo>
                    <a:pt x="3" y="3"/>
                    <a:pt x="3" y="3"/>
                    <a:pt x="4" y="3"/>
                  </a:cubicBezTo>
                  <a:cubicBezTo>
                    <a:pt x="5" y="3"/>
                    <a:pt x="5" y="3"/>
                    <a:pt x="5" y="3"/>
                  </a:cubicBezTo>
                  <a:cubicBezTo>
                    <a:pt x="5" y="2"/>
                    <a:pt x="5" y="2"/>
                    <a:pt x="5" y="2"/>
                  </a:cubicBezTo>
                  <a:cubicBezTo>
                    <a:pt x="5" y="3"/>
                    <a:pt x="5" y="3"/>
                    <a:pt x="5" y="3"/>
                  </a:cubicBezTo>
                  <a:cubicBezTo>
                    <a:pt x="5" y="3"/>
                    <a:pt x="4" y="3"/>
                    <a:pt x="3" y="3"/>
                  </a:cubicBezTo>
                  <a:moveTo>
                    <a:pt x="4" y="2"/>
                  </a:moveTo>
                  <a:cubicBezTo>
                    <a:pt x="3" y="2"/>
                    <a:pt x="3" y="2"/>
                    <a:pt x="2" y="2"/>
                  </a:cubicBezTo>
                  <a:cubicBezTo>
                    <a:pt x="2" y="1"/>
                    <a:pt x="2" y="1"/>
                    <a:pt x="2" y="1"/>
                  </a:cubicBezTo>
                  <a:cubicBezTo>
                    <a:pt x="2" y="1"/>
                    <a:pt x="2" y="1"/>
                    <a:pt x="2" y="1"/>
                  </a:cubicBezTo>
                  <a:cubicBezTo>
                    <a:pt x="3" y="1"/>
                    <a:pt x="3" y="1"/>
                    <a:pt x="3" y="1"/>
                  </a:cubicBezTo>
                  <a:cubicBezTo>
                    <a:pt x="4" y="1"/>
                    <a:pt x="4" y="1"/>
                    <a:pt x="5" y="1"/>
                  </a:cubicBezTo>
                  <a:cubicBezTo>
                    <a:pt x="5" y="1"/>
                    <a:pt x="5" y="1"/>
                    <a:pt x="5" y="1"/>
                  </a:cubicBezTo>
                  <a:cubicBezTo>
                    <a:pt x="5" y="1"/>
                    <a:pt x="5" y="2"/>
                    <a:pt x="5" y="2"/>
                  </a:cubicBezTo>
                  <a:cubicBezTo>
                    <a:pt x="5" y="2"/>
                    <a:pt x="5" y="2"/>
                    <a:pt x="5" y="2"/>
                  </a:cubicBezTo>
                  <a:cubicBezTo>
                    <a:pt x="5" y="2"/>
                    <a:pt x="4" y="2"/>
                    <a:pt x="4" y="2"/>
                  </a:cubicBezTo>
                  <a:moveTo>
                    <a:pt x="3" y="0"/>
                  </a:moveTo>
                  <a:cubicBezTo>
                    <a:pt x="2" y="0"/>
                    <a:pt x="1" y="0"/>
                    <a:pt x="1" y="1"/>
                  </a:cubicBezTo>
                  <a:cubicBezTo>
                    <a:pt x="1" y="1"/>
                    <a:pt x="1" y="1"/>
                    <a:pt x="1" y="1"/>
                  </a:cubicBezTo>
                  <a:cubicBezTo>
                    <a:pt x="0" y="2"/>
                    <a:pt x="0" y="3"/>
                    <a:pt x="1" y="4"/>
                  </a:cubicBezTo>
                  <a:cubicBezTo>
                    <a:pt x="1" y="4"/>
                    <a:pt x="1" y="4"/>
                    <a:pt x="1" y="4"/>
                  </a:cubicBezTo>
                  <a:cubicBezTo>
                    <a:pt x="2" y="4"/>
                    <a:pt x="2" y="4"/>
                    <a:pt x="3" y="4"/>
                  </a:cubicBezTo>
                  <a:cubicBezTo>
                    <a:pt x="4" y="4"/>
                    <a:pt x="5" y="4"/>
                    <a:pt x="6" y="4"/>
                  </a:cubicBezTo>
                  <a:cubicBezTo>
                    <a:pt x="6" y="4"/>
                    <a:pt x="6" y="4"/>
                    <a:pt x="6" y="4"/>
                  </a:cubicBezTo>
                  <a:cubicBezTo>
                    <a:pt x="6" y="3"/>
                    <a:pt x="7" y="1"/>
                    <a:pt x="6" y="0"/>
                  </a:cubicBezTo>
                  <a:cubicBezTo>
                    <a:pt x="5" y="0"/>
                    <a:pt x="5" y="0"/>
                    <a:pt x="5" y="0"/>
                  </a:cubicBezTo>
                  <a:cubicBezTo>
                    <a:pt x="5" y="0"/>
                    <a:pt x="5" y="0"/>
                    <a:pt x="5" y="0"/>
                  </a:cubicBezTo>
                  <a:cubicBezTo>
                    <a:pt x="4"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56" name="îşḻïḑè"/>
            <p:cNvSpPr/>
            <p:nvPr/>
          </p:nvSpPr>
          <p:spPr bwMode="auto">
            <a:xfrm>
              <a:off x="3679" y="2488"/>
              <a:ext cx="17" cy="12"/>
            </a:xfrm>
            <a:custGeom>
              <a:avLst/>
              <a:gdLst>
                <a:gd name="T0" fmla="*/ 3 w 7"/>
                <a:gd name="T1" fmla="*/ 4 h 5"/>
                <a:gd name="T2" fmla="*/ 2 w 7"/>
                <a:gd name="T3" fmla="*/ 4 h 5"/>
                <a:gd name="T4" fmla="*/ 2 w 7"/>
                <a:gd name="T5" fmla="*/ 4 h 5"/>
                <a:gd name="T6" fmla="*/ 2 w 7"/>
                <a:gd name="T7" fmla="*/ 2 h 5"/>
                <a:gd name="T8" fmla="*/ 2 w 7"/>
                <a:gd name="T9" fmla="*/ 2 h 5"/>
                <a:gd name="T10" fmla="*/ 2 w 7"/>
                <a:gd name="T11" fmla="*/ 2 h 5"/>
                <a:gd name="T12" fmla="*/ 2 w 7"/>
                <a:gd name="T13" fmla="*/ 3 h 5"/>
                <a:gd name="T14" fmla="*/ 2 w 7"/>
                <a:gd name="T15" fmla="*/ 3 h 5"/>
                <a:gd name="T16" fmla="*/ 3 w 7"/>
                <a:gd name="T17" fmla="*/ 3 h 5"/>
                <a:gd name="T18" fmla="*/ 5 w 7"/>
                <a:gd name="T19" fmla="*/ 3 h 5"/>
                <a:gd name="T20" fmla="*/ 5 w 7"/>
                <a:gd name="T21" fmla="*/ 3 h 5"/>
                <a:gd name="T22" fmla="*/ 5 w 7"/>
                <a:gd name="T23" fmla="*/ 4 h 5"/>
                <a:gd name="T24" fmla="*/ 3 w 7"/>
                <a:gd name="T25" fmla="*/ 4 h 5"/>
                <a:gd name="T26" fmla="*/ 3 w 7"/>
                <a:gd name="T27" fmla="*/ 3 h 5"/>
                <a:gd name="T28" fmla="*/ 2 w 7"/>
                <a:gd name="T29" fmla="*/ 3 h 5"/>
                <a:gd name="T30" fmla="*/ 2 w 7"/>
                <a:gd name="T31" fmla="*/ 1 h 5"/>
                <a:gd name="T32" fmla="*/ 2 w 7"/>
                <a:gd name="T33" fmla="*/ 1 h 5"/>
                <a:gd name="T34" fmla="*/ 3 w 7"/>
                <a:gd name="T35" fmla="*/ 1 h 5"/>
                <a:gd name="T36" fmla="*/ 5 w 7"/>
                <a:gd name="T37" fmla="*/ 1 h 5"/>
                <a:gd name="T38" fmla="*/ 5 w 7"/>
                <a:gd name="T39" fmla="*/ 1 h 5"/>
                <a:gd name="T40" fmla="*/ 5 w 7"/>
                <a:gd name="T41" fmla="*/ 2 h 5"/>
                <a:gd name="T42" fmla="*/ 5 w 7"/>
                <a:gd name="T43" fmla="*/ 2 h 5"/>
                <a:gd name="T44" fmla="*/ 5 w 7"/>
                <a:gd name="T45" fmla="*/ 3 h 5"/>
                <a:gd name="T46" fmla="*/ 3 w 7"/>
                <a:gd name="T47" fmla="*/ 3 h 5"/>
                <a:gd name="T48" fmla="*/ 3 w 7"/>
                <a:gd name="T49" fmla="*/ 0 h 5"/>
                <a:gd name="T50" fmla="*/ 1 w 7"/>
                <a:gd name="T51" fmla="*/ 2 h 5"/>
                <a:gd name="T52" fmla="*/ 1 w 7"/>
                <a:gd name="T53" fmla="*/ 2 h 5"/>
                <a:gd name="T54" fmla="*/ 1 w 7"/>
                <a:gd name="T55" fmla="*/ 4 h 5"/>
                <a:gd name="T56" fmla="*/ 1 w 7"/>
                <a:gd name="T57" fmla="*/ 5 h 5"/>
                <a:gd name="T58" fmla="*/ 3 w 7"/>
                <a:gd name="T59" fmla="*/ 5 h 5"/>
                <a:gd name="T60" fmla="*/ 6 w 7"/>
                <a:gd name="T61" fmla="*/ 4 h 5"/>
                <a:gd name="T62" fmla="*/ 6 w 7"/>
                <a:gd name="T63" fmla="*/ 4 h 5"/>
                <a:gd name="T64" fmla="*/ 6 w 7"/>
                <a:gd name="T65" fmla="*/ 1 h 5"/>
                <a:gd name="T66" fmla="*/ 5 w 7"/>
                <a:gd name="T67" fmla="*/ 1 h 5"/>
                <a:gd name="T68" fmla="*/ 5 w 7"/>
                <a:gd name="T69" fmla="*/ 0 h 5"/>
                <a:gd name="T70" fmla="*/ 3 w 7"/>
                <a:gd name="T7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 h="5">
                  <a:moveTo>
                    <a:pt x="3" y="4"/>
                  </a:moveTo>
                  <a:cubicBezTo>
                    <a:pt x="3" y="4"/>
                    <a:pt x="2" y="4"/>
                    <a:pt x="2" y="4"/>
                  </a:cubicBezTo>
                  <a:cubicBezTo>
                    <a:pt x="2" y="4"/>
                    <a:pt x="2" y="4"/>
                    <a:pt x="2" y="4"/>
                  </a:cubicBezTo>
                  <a:cubicBezTo>
                    <a:pt x="1" y="3"/>
                    <a:pt x="2" y="2"/>
                    <a:pt x="2" y="2"/>
                  </a:cubicBezTo>
                  <a:cubicBezTo>
                    <a:pt x="2" y="2"/>
                    <a:pt x="2" y="2"/>
                    <a:pt x="2" y="2"/>
                  </a:cubicBezTo>
                  <a:cubicBezTo>
                    <a:pt x="2" y="2"/>
                    <a:pt x="2" y="2"/>
                    <a:pt x="2" y="2"/>
                  </a:cubicBezTo>
                  <a:cubicBezTo>
                    <a:pt x="2" y="2"/>
                    <a:pt x="2" y="2"/>
                    <a:pt x="2" y="3"/>
                  </a:cubicBezTo>
                  <a:cubicBezTo>
                    <a:pt x="2" y="3"/>
                    <a:pt x="2" y="3"/>
                    <a:pt x="2" y="3"/>
                  </a:cubicBezTo>
                  <a:cubicBezTo>
                    <a:pt x="2" y="3"/>
                    <a:pt x="3" y="3"/>
                    <a:pt x="3" y="3"/>
                  </a:cubicBezTo>
                  <a:cubicBezTo>
                    <a:pt x="4" y="3"/>
                    <a:pt x="4" y="3"/>
                    <a:pt x="5" y="3"/>
                  </a:cubicBezTo>
                  <a:cubicBezTo>
                    <a:pt x="5" y="3"/>
                    <a:pt x="5" y="3"/>
                    <a:pt x="5" y="3"/>
                  </a:cubicBezTo>
                  <a:cubicBezTo>
                    <a:pt x="5" y="4"/>
                    <a:pt x="5" y="4"/>
                    <a:pt x="5" y="4"/>
                  </a:cubicBezTo>
                  <a:cubicBezTo>
                    <a:pt x="5" y="4"/>
                    <a:pt x="4" y="4"/>
                    <a:pt x="3" y="4"/>
                  </a:cubicBezTo>
                  <a:moveTo>
                    <a:pt x="3" y="3"/>
                  </a:moveTo>
                  <a:cubicBezTo>
                    <a:pt x="3" y="3"/>
                    <a:pt x="2" y="3"/>
                    <a:pt x="2" y="3"/>
                  </a:cubicBezTo>
                  <a:cubicBezTo>
                    <a:pt x="2" y="2"/>
                    <a:pt x="2" y="2"/>
                    <a:pt x="2" y="1"/>
                  </a:cubicBezTo>
                  <a:cubicBezTo>
                    <a:pt x="2" y="1"/>
                    <a:pt x="2" y="1"/>
                    <a:pt x="2" y="1"/>
                  </a:cubicBezTo>
                  <a:cubicBezTo>
                    <a:pt x="3" y="1"/>
                    <a:pt x="3" y="1"/>
                    <a:pt x="3" y="1"/>
                  </a:cubicBezTo>
                  <a:cubicBezTo>
                    <a:pt x="4" y="1"/>
                    <a:pt x="4" y="1"/>
                    <a:pt x="5" y="1"/>
                  </a:cubicBezTo>
                  <a:cubicBezTo>
                    <a:pt x="5" y="1"/>
                    <a:pt x="5" y="1"/>
                    <a:pt x="5" y="1"/>
                  </a:cubicBezTo>
                  <a:cubicBezTo>
                    <a:pt x="5" y="2"/>
                    <a:pt x="5" y="2"/>
                    <a:pt x="5" y="2"/>
                  </a:cubicBezTo>
                  <a:cubicBezTo>
                    <a:pt x="5" y="2"/>
                    <a:pt x="5" y="2"/>
                    <a:pt x="5" y="2"/>
                  </a:cubicBezTo>
                  <a:cubicBezTo>
                    <a:pt x="5" y="3"/>
                    <a:pt x="5" y="3"/>
                    <a:pt x="5" y="3"/>
                  </a:cubicBezTo>
                  <a:cubicBezTo>
                    <a:pt x="4" y="3"/>
                    <a:pt x="4" y="3"/>
                    <a:pt x="3" y="3"/>
                  </a:cubicBezTo>
                  <a:moveTo>
                    <a:pt x="3" y="0"/>
                  </a:moveTo>
                  <a:cubicBezTo>
                    <a:pt x="2" y="0"/>
                    <a:pt x="1" y="0"/>
                    <a:pt x="1" y="2"/>
                  </a:cubicBezTo>
                  <a:cubicBezTo>
                    <a:pt x="1" y="2"/>
                    <a:pt x="1" y="2"/>
                    <a:pt x="1" y="2"/>
                  </a:cubicBezTo>
                  <a:cubicBezTo>
                    <a:pt x="0" y="3"/>
                    <a:pt x="0" y="4"/>
                    <a:pt x="1" y="4"/>
                  </a:cubicBezTo>
                  <a:cubicBezTo>
                    <a:pt x="1" y="5"/>
                    <a:pt x="1" y="5"/>
                    <a:pt x="1" y="5"/>
                  </a:cubicBezTo>
                  <a:cubicBezTo>
                    <a:pt x="2" y="5"/>
                    <a:pt x="2" y="5"/>
                    <a:pt x="3" y="5"/>
                  </a:cubicBezTo>
                  <a:cubicBezTo>
                    <a:pt x="4" y="5"/>
                    <a:pt x="5" y="5"/>
                    <a:pt x="6" y="4"/>
                  </a:cubicBezTo>
                  <a:cubicBezTo>
                    <a:pt x="6" y="4"/>
                    <a:pt x="6" y="4"/>
                    <a:pt x="6" y="4"/>
                  </a:cubicBezTo>
                  <a:cubicBezTo>
                    <a:pt x="6" y="4"/>
                    <a:pt x="7" y="2"/>
                    <a:pt x="6" y="1"/>
                  </a:cubicBezTo>
                  <a:cubicBezTo>
                    <a:pt x="5" y="1"/>
                    <a:pt x="5" y="1"/>
                    <a:pt x="5" y="1"/>
                  </a:cubicBezTo>
                  <a:cubicBezTo>
                    <a:pt x="5" y="0"/>
                    <a:pt x="5" y="0"/>
                    <a:pt x="5" y="0"/>
                  </a:cubicBezTo>
                  <a:cubicBezTo>
                    <a:pt x="4"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57" name="îšľîḓè"/>
            <p:cNvSpPr/>
            <p:nvPr/>
          </p:nvSpPr>
          <p:spPr bwMode="auto">
            <a:xfrm>
              <a:off x="3701" y="2477"/>
              <a:ext cx="14" cy="9"/>
            </a:xfrm>
            <a:custGeom>
              <a:avLst/>
              <a:gdLst>
                <a:gd name="T0" fmla="*/ 3 w 6"/>
                <a:gd name="T1" fmla="*/ 3 h 4"/>
                <a:gd name="T2" fmla="*/ 1 w 6"/>
                <a:gd name="T3" fmla="*/ 3 h 4"/>
                <a:gd name="T4" fmla="*/ 1 w 6"/>
                <a:gd name="T5" fmla="*/ 3 h 4"/>
                <a:gd name="T6" fmla="*/ 1 w 6"/>
                <a:gd name="T7" fmla="*/ 2 h 4"/>
                <a:gd name="T8" fmla="*/ 1 w 6"/>
                <a:gd name="T9" fmla="*/ 1 h 4"/>
                <a:gd name="T10" fmla="*/ 1 w 6"/>
                <a:gd name="T11" fmla="*/ 1 h 4"/>
                <a:gd name="T12" fmla="*/ 1 w 6"/>
                <a:gd name="T13" fmla="*/ 2 h 4"/>
                <a:gd name="T14" fmla="*/ 1 w 6"/>
                <a:gd name="T15" fmla="*/ 2 h 4"/>
                <a:gd name="T16" fmla="*/ 3 w 6"/>
                <a:gd name="T17" fmla="*/ 3 h 4"/>
                <a:gd name="T18" fmla="*/ 4 w 6"/>
                <a:gd name="T19" fmla="*/ 2 h 4"/>
                <a:gd name="T20" fmla="*/ 4 w 6"/>
                <a:gd name="T21" fmla="*/ 3 h 4"/>
                <a:gd name="T22" fmla="*/ 3 w 6"/>
                <a:gd name="T23" fmla="*/ 3 h 4"/>
                <a:gd name="T24" fmla="*/ 3 w 6"/>
                <a:gd name="T25" fmla="*/ 2 h 4"/>
                <a:gd name="T26" fmla="*/ 1 w 6"/>
                <a:gd name="T27" fmla="*/ 2 h 4"/>
                <a:gd name="T28" fmla="*/ 2 w 6"/>
                <a:gd name="T29" fmla="*/ 1 h 4"/>
                <a:gd name="T30" fmla="*/ 2 w 6"/>
                <a:gd name="T31" fmla="*/ 1 h 4"/>
                <a:gd name="T32" fmla="*/ 4 w 6"/>
                <a:gd name="T33" fmla="*/ 1 h 4"/>
                <a:gd name="T34" fmla="*/ 4 w 6"/>
                <a:gd name="T35" fmla="*/ 1 h 4"/>
                <a:gd name="T36" fmla="*/ 4 w 6"/>
                <a:gd name="T37" fmla="*/ 2 h 4"/>
                <a:gd name="T38" fmla="*/ 3 w 6"/>
                <a:gd name="T39" fmla="*/ 2 h 4"/>
                <a:gd name="T40" fmla="*/ 2 w 6"/>
                <a:gd name="T41" fmla="*/ 0 h 4"/>
                <a:gd name="T42" fmla="*/ 0 w 6"/>
                <a:gd name="T43" fmla="*/ 1 h 4"/>
                <a:gd name="T44" fmla="*/ 0 w 6"/>
                <a:gd name="T45" fmla="*/ 2 h 4"/>
                <a:gd name="T46" fmla="*/ 0 w 6"/>
                <a:gd name="T47" fmla="*/ 4 h 4"/>
                <a:gd name="T48" fmla="*/ 1 w 6"/>
                <a:gd name="T49" fmla="*/ 4 h 4"/>
                <a:gd name="T50" fmla="*/ 3 w 6"/>
                <a:gd name="T51" fmla="*/ 4 h 4"/>
                <a:gd name="T52" fmla="*/ 5 w 6"/>
                <a:gd name="T53" fmla="*/ 4 h 4"/>
                <a:gd name="T54" fmla="*/ 5 w 6"/>
                <a:gd name="T55" fmla="*/ 4 h 4"/>
                <a:gd name="T56" fmla="*/ 5 w 6"/>
                <a:gd name="T57" fmla="*/ 2 h 4"/>
                <a:gd name="T58" fmla="*/ 6 w 6"/>
                <a:gd name="T59" fmla="*/ 2 h 4"/>
                <a:gd name="T60" fmla="*/ 5 w 6"/>
                <a:gd name="T61" fmla="*/ 2 h 4"/>
                <a:gd name="T62" fmla="*/ 5 w 6"/>
                <a:gd name="T63" fmla="*/ 0 h 4"/>
                <a:gd name="T64" fmla="*/ 4 w 6"/>
                <a:gd name="T65" fmla="*/ 0 h 4"/>
                <a:gd name="T66" fmla="*/ 4 w 6"/>
                <a:gd name="T67" fmla="*/ 0 h 4"/>
                <a:gd name="T68" fmla="*/ 2 w 6"/>
                <a:gd name="T6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 h="4">
                  <a:moveTo>
                    <a:pt x="3" y="3"/>
                  </a:moveTo>
                  <a:cubicBezTo>
                    <a:pt x="2" y="3"/>
                    <a:pt x="1" y="3"/>
                    <a:pt x="1" y="3"/>
                  </a:cubicBezTo>
                  <a:cubicBezTo>
                    <a:pt x="1" y="3"/>
                    <a:pt x="1" y="3"/>
                    <a:pt x="1" y="3"/>
                  </a:cubicBezTo>
                  <a:cubicBezTo>
                    <a:pt x="1" y="3"/>
                    <a:pt x="1" y="2"/>
                    <a:pt x="1" y="2"/>
                  </a:cubicBezTo>
                  <a:cubicBezTo>
                    <a:pt x="1" y="1"/>
                    <a:pt x="1" y="1"/>
                    <a:pt x="1" y="1"/>
                  </a:cubicBezTo>
                  <a:cubicBezTo>
                    <a:pt x="1" y="1"/>
                    <a:pt x="1" y="1"/>
                    <a:pt x="1" y="1"/>
                  </a:cubicBezTo>
                  <a:cubicBezTo>
                    <a:pt x="1" y="1"/>
                    <a:pt x="1" y="2"/>
                    <a:pt x="1" y="2"/>
                  </a:cubicBezTo>
                  <a:cubicBezTo>
                    <a:pt x="1" y="2"/>
                    <a:pt x="1" y="2"/>
                    <a:pt x="1" y="2"/>
                  </a:cubicBezTo>
                  <a:cubicBezTo>
                    <a:pt x="2" y="3"/>
                    <a:pt x="2" y="3"/>
                    <a:pt x="3" y="3"/>
                  </a:cubicBezTo>
                  <a:cubicBezTo>
                    <a:pt x="3" y="3"/>
                    <a:pt x="4" y="2"/>
                    <a:pt x="4" y="2"/>
                  </a:cubicBezTo>
                  <a:cubicBezTo>
                    <a:pt x="4" y="3"/>
                    <a:pt x="4" y="3"/>
                    <a:pt x="4" y="3"/>
                  </a:cubicBezTo>
                  <a:cubicBezTo>
                    <a:pt x="4" y="3"/>
                    <a:pt x="3" y="3"/>
                    <a:pt x="3" y="3"/>
                  </a:cubicBezTo>
                  <a:moveTo>
                    <a:pt x="3" y="2"/>
                  </a:moveTo>
                  <a:cubicBezTo>
                    <a:pt x="2" y="2"/>
                    <a:pt x="2" y="2"/>
                    <a:pt x="1" y="2"/>
                  </a:cubicBezTo>
                  <a:cubicBezTo>
                    <a:pt x="2" y="1"/>
                    <a:pt x="2" y="1"/>
                    <a:pt x="2" y="1"/>
                  </a:cubicBezTo>
                  <a:cubicBezTo>
                    <a:pt x="2" y="1"/>
                    <a:pt x="2" y="1"/>
                    <a:pt x="2" y="1"/>
                  </a:cubicBezTo>
                  <a:cubicBezTo>
                    <a:pt x="3" y="1"/>
                    <a:pt x="3" y="1"/>
                    <a:pt x="4" y="1"/>
                  </a:cubicBezTo>
                  <a:cubicBezTo>
                    <a:pt x="4" y="1"/>
                    <a:pt x="4" y="1"/>
                    <a:pt x="4" y="1"/>
                  </a:cubicBezTo>
                  <a:cubicBezTo>
                    <a:pt x="4" y="1"/>
                    <a:pt x="4" y="2"/>
                    <a:pt x="4" y="2"/>
                  </a:cubicBezTo>
                  <a:cubicBezTo>
                    <a:pt x="4" y="2"/>
                    <a:pt x="3" y="2"/>
                    <a:pt x="3" y="2"/>
                  </a:cubicBezTo>
                  <a:moveTo>
                    <a:pt x="2" y="0"/>
                  </a:moveTo>
                  <a:cubicBezTo>
                    <a:pt x="2" y="0"/>
                    <a:pt x="0" y="0"/>
                    <a:pt x="0" y="1"/>
                  </a:cubicBezTo>
                  <a:cubicBezTo>
                    <a:pt x="0" y="2"/>
                    <a:pt x="0" y="2"/>
                    <a:pt x="0" y="2"/>
                  </a:cubicBezTo>
                  <a:cubicBezTo>
                    <a:pt x="0" y="2"/>
                    <a:pt x="0" y="3"/>
                    <a:pt x="0" y="4"/>
                  </a:cubicBezTo>
                  <a:cubicBezTo>
                    <a:pt x="1" y="4"/>
                    <a:pt x="1" y="4"/>
                    <a:pt x="1" y="4"/>
                  </a:cubicBezTo>
                  <a:cubicBezTo>
                    <a:pt x="1" y="4"/>
                    <a:pt x="1" y="4"/>
                    <a:pt x="3" y="4"/>
                  </a:cubicBezTo>
                  <a:cubicBezTo>
                    <a:pt x="3" y="4"/>
                    <a:pt x="4" y="4"/>
                    <a:pt x="5" y="4"/>
                  </a:cubicBezTo>
                  <a:cubicBezTo>
                    <a:pt x="5" y="4"/>
                    <a:pt x="5" y="4"/>
                    <a:pt x="5" y="4"/>
                  </a:cubicBezTo>
                  <a:cubicBezTo>
                    <a:pt x="5" y="4"/>
                    <a:pt x="5" y="3"/>
                    <a:pt x="5" y="2"/>
                  </a:cubicBezTo>
                  <a:cubicBezTo>
                    <a:pt x="6" y="2"/>
                    <a:pt x="6" y="2"/>
                    <a:pt x="6" y="2"/>
                  </a:cubicBezTo>
                  <a:cubicBezTo>
                    <a:pt x="5" y="2"/>
                    <a:pt x="5" y="2"/>
                    <a:pt x="5" y="2"/>
                  </a:cubicBezTo>
                  <a:cubicBezTo>
                    <a:pt x="5" y="1"/>
                    <a:pt x="5" y="1"/>
                    <a:pt x="5" y="0"/>
                  </a:cubicBezTo>
                  <a:cubicBezTo>
                    <a:pt x="4" y="0"/>
                    <a:pt x="4" y="0"/>
                    <a:pt x="4" y="0"/>
                  </a:cubicBezTo>
                  <a:cubicBezTo>
                    <a:pt x="4" y="0"/>
                    <a:pt x="4" y="0"/>
                    <a:pt x="4" y="0"/>
                  </a:cubicBezTo>
                  <a:cubicBezTo>
                    <a:pt x="3" y="0"/>
                    <a:pt x="3" y="0"/>
                    <a:pt x="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58" name="ïŝľîḋe"/>
            <p:cNvSpPr/>
            <p:nvPr/>
          </p:nvSpPr>
          <p:spPr bwMode="auto">
            <a:xfrm>
              <a:off x="3922" y="1720"/>
              <a:ext cx="76" cy="228"/>
            </a:xfrm>
            <a:custGeom>
              <a:avLst/>
              <a:gdLst>
                <a:gd name="T0" fmla="*/ 29 w 32"/>
                <a:gd name="T1" fmla="*/ 83 h 96"/>
                <a:gd name="T2" fmla="*/ 21 w 32"/>
                <a:gd name="T3" fmla="*/ 84 h 96"/>
                <a:gd name="T4" fmla="*/ 15 w 32"/>
                <a:gd name="T5" fmla="*/ 58 h 96"/>
                <a:gd name="T6" fmla="*/ 16 w 32"/>
                <a:gd name="T7" fmla="*/ 58 h 96"/>
                <a:gd name="T8" fmla="*/ 19 w 32"/>
                <a:gd name="T9" fmla="*/ 57 h 96"/>
                <a:gd name="T10" fmla="*/ 12 w 32"/>
                <a:gd name="T11" fmla="*/ 55 h 96"/>
                <a:gd name="T12" fmla="*/ 14 w 32"/>
                <a:gd name="T13" fmla="*/ 56 h 96"/>
                <a:gd name="T14" fmla="*/ 17 w 32"/>
                <a:gd name="T15" fmla="*/ 52 h 96"/>
                <a:gd name="T16" fmla="*/ 14 w 32"/>
                <a:gd name="T17" fmla="*/ 42 h 96"/>
                <a:gd name="T18" fmla="*/ 11 w 32"/>
                <a:gd name="T19" fmla="*/ 40 h 96"/>
                <a:gd name="T20" fmla="*/ 18 w 32"/>
                <a:gd name="T21" fmla="*/ 48 h 96"/>
                <a:gd name="T22" fmla="*/ 9 w 32"/>
                <a:gd name="T23" fmla="*/ 53 h 96"/>
                <a:gd name="T24" fmla="*/ 13 w 32"/>
                <a:gd name="T25" fmla="*/ 46 h 96"/>
                <a:gd name="T26" fmla="*/ 9 w 32"/>
                <a:gd name="T27" fmla="*/ 50 h 96"/>
                <a:gd name="T28" fmla="*/ 22 w 32"/>
                <a:gd name="T29" fmla="*/ 39 h 96"/>
                <a:gd name="T30" fmla="*/ 12 w 32"/>
                <a:gd name="T31" fmla="*/ 39 h 96"/>
                <a:gd name="T32" fmla="*/ 2 w 32"/>
                <a:gd name="T33" fmla="*/ 49 h 96"/>
                <a:gd name="T34" fmla="*/ 7 w 32"/>
                <a:gd name="T35" fmla="*/ 49 h 96"/>
                <a:gd name="T36" fmla="*/ 15 w 32"/>
                <a:gd name="T37" fmla="*/ 59 h 96"/>
                <a:gd name="T38" fmla="*/ 24 w 32"/>
                <a:gd name="T39" fmla="*/ 44 h 96"/>
                <a:gd name="T40" fmla="*/ 26 w 32"/>
                <a:gd name="T41" fmla="*/ 78 h 96"/>
                <a:gd name="T42" fmla="*/ 21 w 32"/>
                <a:gd name="T43" fmla="*/ 83 h 96"/>
                <a:gd name="T44" fmla="*/ 12 w 32"/>
                <a:gd name="T45" fmla="*/ 78 h 96"/>
                <a:gd name="T46" fmla="*/ 6 w 32"/>
                <a:gd name="T47" fmla="*/ 64 h 96"/>
                <a:gd name="T48" fmla="*/ 4 w 32"/>
                <a:gd name="T49" fmla="*/ 59 h 96"/>
                <a:gd name="T50" fmla="*/ 18 w 32"/>
                <a:gd name="T51" fmla="*/ 37 h 96"/>
                <a:gd name="T52" fmla="*/ 14 w 32"/>
                <a:gd name="T53" fmla="*/ 34 h 96"/>
                <a:gd name="T54" fmla="*/ 12 w 32"/>
                <a:gd name="T55" fmla="*/ 35 h 96"/>
                <a:gd name="T56" fmla="*/ 14 w 32"/>
                <a:gd name="T57" fmla="*/ 33 h 96"/>
                <a:gd name="T58" fmla="*/ 15 w 32"/>
                <a:gd name="T59" fmla="*/ 31 h 96"/>
                <a:gd name="T60" fmla="*/ 20 w 32"/>
                <a:gd name="T61" fmla="*/ 31 h 96"/>
                <a:gd name="T62" fmla="*/ 17 w 32"/>
                <a:gd name="T63" fmla="*/ 31 h 96"/>
                <a:gd name="T64" fmla="*/ 16 w 32"/>
                <a:gd name="T65" fmla="*/ 21 h 96"/>
                <a:gd name="T66" fmla="*/ 22 w 32"/>
                <a:gd name="T67" fmla="*/ 13 h 96"/>
                <a:gd name="T68" fmla="*/ 14 w 32"/>
                <a:gd name="T69" fmla="*/ 19 h 96"/>
                <a:gd name="T70" fmla="*/ 18 w 32"/>
                <a:gd name="T71" fmla="*/ 17 h 96"/>
                <a:gd name="T72" fmla="*/ 11 w 32"/>
                <a:gd name="T73" fmla="*/ 31 h 96"/>
                <a:gd name="T74" fmla="*/ 8 w 32"/>
                <a:gd name="T75" fmla="*/ 6 h 96"/>
                <a:gd name="T76" fmla="*/ 24 w 32"/>
                <a:gd name="T77" fmla="*/ 29 h 96"/>
                <a:gd name="T78" fmla="*/ 24 w 32"/>
                <a:gd name="T79" fmla="*/ 11 h 96"/>
                <a:gd name="T80" fmla="*/ 20 w 32"/>
                <a:gd name="T81" fmla="*/ 13 h 96"/>
                <a:gd name="T82" fmla="*/ 16 w 32"/>
                <a:gd name="T83" fmla="*/ 20 h 96"/>
                <a:gd name="T84" fmla="*/ 15 w 32"/>
                <a:gd name="T85" fmla="*/ 21 h 96"/>
                <a:gd name="T86" fmla="*/ 7 w 32"/>
                <a:gd name="T87" fmla="*/ 23 h 96"/>
                <a:gd name="T88" fmla="*/ 11 w 32"/>
                <a:gd name="T89" fmla="*/ 34 h 96"/>
                <a:gd name="T90" fmla="*/ 6 w 32"/>
                <a:gd name="T91" fmla="*/ 38 h 96"/>
                <a:gd name="T92" fmla="*/ 4 w 32"/>
                <a:gd name="T93" fmla="*/ 61 h 96"/>
                <a:gd name="T94" fmla="*/ 9 w 32"/>
                <a:gd name="T95" fmla="*/ 80 h 96"/>
                <a:gd name="T96" fmla="*/ 8 w 32"/>
                <a:gd name="T97" fmla="*/ 93 h 96"/>
                <a:gd name="T98" fmla="*/ 21 w 32"/>
                <a:gd name="T99" fmla="*/ 87 h 96"/>
                <a:gd name="T100" fmla="*/ 24 w 32"/>
                <a:gd name="T101" fmla="*/ 86 h 96"/>
                <a:gd name="T102" fmla="*/ 29 w 32"/>
                <a:gd name="T103" fmla="*/ 84 h 96"/>
                <a:gd name="T104" fmla="*/ 24 w 32"/>
                <a:gd name="T105" fmla="*/ 91 h 96"/>
                <a:gd name="T106" fmla="*/ 29 w 32"/>
                <a:gd name="T107" fmla="*/ 94 h 96"/>
                <a:gd name="T108" fmla="*/ 29 w 32"/>
                <a:gd name="T109" fmla="*/ 80 h 96"/>
                <a:gd name="T110" fmla="*/ 26 w 32"/>
                <a:gd name="T111" fmla="*/ 54 h 96"/>
                <a:gd name="T112" fmla="*/ 23 w 32"/>
                <a:gd name="T113" fmla="*/ 38 h 96"/>
                <a:gd name="T114" fmla="*/ 23 w 32"/>
                <a:gd name="T115" fmla="*/ 36 h 96"/>
                <a:gd name="T116" fmla="*/ 25 w 32"/>
                <a:gd name="T117" fmla="*/ 2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 h="96">
                  <a:moveTo>
                    <a:pt x="9" y="84"/>
                  </a:moveTo>
                  <a:cubicBezTo>
                    <a:pt x="9" y="84"/>
                    <a:pt x="9" y="84"/>
                    <a:pt x="9" y="84"/>
                  </a:cubicBezTo>
                  <a:cubicBezTo>
                    <a:pt x="8" y="84"/>
                    <a:pt x="8" y="84"/>
                    <a:pt x="8" y="84"/>
                  </a:cubicBezTo>
                  <a:cubicBezTo>
                    <a:pt x="9" y="83"/>
                    <a:pt x="9" y="83"/>
                    <a:pt x="9" y="83"/>
                  </a:cubicBezTo>
                  <a:cubicBezTo>
                    <a:pt x="9" y="83"/>
                    <a:pt x="9" y="83"/>
                    <a:pt x="9" y="83"/>
                  </a:cubicBezTo>
                  <a:cubicBezTo>
                    <a:pt x="9" y="84"/>
                    <a:pt x="9" y="84"/>
                    <a:pt x="9" y="84"/>
                  </a:cubicBezTo>
                  <a:moveTo>
                    <a:pt x="29" y="83"/>
                  </a:moveTo>
                  <a:cubicBezTo>
                    <a:pt x="29" y="83"/>
                    <a:pt x="29" y="83"/>
                    <a:pt x="29" y="83"/>
                  </a:cubicBezTo>
                  <a:cubicBezTo>
                    <a:pt x="29" y="83"/>
                    <a:pt x="29" y="83"/>
                    <a:pt x="29" y="83"/>
                  </a:cubicBezTo>
                  <a:cubicBezTo>
                    <a:pt x="29" y="83"/>
                    <a:pt x="29" y="83"/>
                    <a:pt x="29" y="83"/>
                  </a:cubicBezTo>
                  <a:cubicBezTo>
                    <a:pt x="29" y="83"/>
                    <a:pt x="29" y="83"/>
                    <a:pt x="29" y="83"/>
                  </a:cubicBezTo>
                  <a:moveTo>
                    <a:pt x="17" y="86"/>
                  </a:moveTo>
                  <a:cubicBezTo>
                    <a:pt x="15" y="86"/>
                    <a:pt x="12" y="85"/>
                    <a:pt x="10" y="85"/>
                  </a:cubicBezTo>
                  <a:cubicBezTo>
                    <a:pt x="10" y="81"/>
                    <a:pt x="10" y="81"/>
                    <a:pt x="10" y="81"/>
                  </a:cubicBezTo>
                  <a:cubicBezTo>
                    <a:pt x="11" y="82"/>
                    <a:pt x="13" y="83"/>
                    <a:pt x="17" y="83"/>
                  </a:cubicBezTo>
                  <a:cubicBezTo>
                    <a:pt x="18" y="83"/>
                    <a:pt x="20" y="84"/>
                    <a:pt x="21" y="84"/>
                  </a:cubicBezTo>
                  <a:cubicBezTo>
                    <a:pt x="22" y="84"/>
                    <a:pt x="22" y="83"/>
                    <a:pt x="23" y="83"/>
                  </a:cubicBezTo>
                  <a:cubicBezTo>
                    <a:pt x="23" y="83"/>
                    <a:pt x="26" y="83"/>
                    <a:pt x="28" y="82"/>
                  </a:cubicBezTo>
                  <a:cubicBezTo>
                    <a:pt x="28" y="82"/>
                    <a:pt x="28" y="83"/>
                    <a:pt x="28" y="84"/>
                  </a:cubicBezTo>
                  <a:cubicBezTo>
                    <a:pt x="26" y="85"/>
                    <a:pt x="23" y="85"/>
                    <a:pt x="21" y="86"/>
                  </a:cubicBezTo>
                  <a:cubicBezTo>
                    <a:pt x="19" y="86"/>
                    <a:pt x="18" y="86"/>
                    <a:pt x="17" y="86"/>
                  </a:cubicBezTo>
                  <a:moveTo>
                    <a:pt x="14" y="58"/>
                  </a:moveTo>
                  <a:cubicBezTo>
                    <a:pt x="15" y="58"/>
                    <a:pt x="15" y="58"/>
                    <a:pt x="15" y="58"/>
                  </a:cubicBezTo>
                  <a:cubicBezTo>
                    <a:pt x="15" y="58"/>
                    <a:pt x="15" y="58"/>
                    <a:pt x="15" y="58"/>
                  </a:cubicBezTo>
                  <a:cubicBezTo>
                    <a:pt x="14" y="58"/>
                    <a:pt x="14" y="58"/>
                    <a:pt x="14" y="58"/>
                  </a:cubicBezTo>
                  <a:moveTo>
                    <a:pt x="14" y="58"/>
                  </a:moveTo>
                  <a:cubicBezTo>
                    <a:pt x="14" y="57"/>
                    <a:pt x="14" y="57"/>
                    <a:pt x="14" y="57"/>
                  </a:cubicBezTo>
                  <a:cubicBezTo>
                    <a:pt x="14" y="57"/>
                    <a:pt x="14" y="57"/>
                    <a:pt x="14" y="57"/>
                  </a:cubicBezTo>
                  <a:cubicBezTo>
                    <a:pt x="14" y="57"/>
                    <a:pt x="14" y="57"/>
                    <a:pt x="14" y="57"/>
                  </a:cubicBezTo>
                  <a:cubicBezTo>
                    <a:pt x="14" y="57"/>
                    <a:pt x="14" y="57"/>
                    <a:pt x="14" y="57"/>
                  </a:cubicBezTo>
                  <a:cubicBezTo>
                    <a:pt x="14" y="58"/>
                    <a:pt x="14" y="58"/>
                    <a:pt x="14" y="58"/>
                  </a:cubicBezTo>
                  <a:moveTo>
                    <a:pt x="16" y="58"/>
                  </a:moveTo>
                  <a:cubicBezTo>
                    <a:pt x="16" y="58"/>
                    <a:pt x="16" y="58"/>
                    <a:pt x="16" y="58"/>
                  </a:cubicBezTo>
                  <a:cubicBezTo>
                    <a:pt x="16" y="58"/>
                    <a:pt x="16" y="57"/>
                    <a:pt x="15" y="57"/>
                  </a:cubicBezTo>
                  <a:cubicBezTo>
                    <a:pt x="15" y="56"/>
                    <a:pt x="15" y="56"/>
                    <a:pt x="15" y="56"/>
                  </a:cubicBezTo>
                  <a:cubicBezTo>
                    <a:pt x="15" y="56"/>
                    <a:pt x="15" y="56"/>
                    <a:pt x="15" y="56"/>
                  </a:cubicBezTo>
                  <a:cubicBezTo>
                    <a:pt x="15" y="54"/>
                    <a:pt x="17" y="53"/>
                    <a:pt x="18" y="52"/>
                  </a:cubicBezTo>
                  <a:cubicBezTo>
                    <a:pt x="19" y="53"/>
                    <a:pt x="19" y="53"/>
                    <a:pt x="19" y="54"/>
                  </a:cubicBezTo>
                  <a:cubicBezTo>
                    <a:pt x="19" y="55"/>
                    <a:pt x="19" y="55"/>
                    <a:pt x="19" y="55"/>
                  </a:cubicBezTo>
                  <a:cubicBezTo>
                    <a:pt x="19" y="56"/>
                    <a:pt x="19" y="57"/>
                    <a:pt x="19" y="57"/>
                  </a:cubicBezTo>
                  <a:cubicBezTo>
                    <a:pt x="18" y="58"/>
                    <a:pt x="18" y="58"/>
                    <a:pt x="18" y="58"/>
                  </a:cubicBezTo>
                  <a:cubicBezTo>
                    <a:pt x="17" y="58"/>
                    <a:pt x="17" y="58"/>
                    <a:pt x="16" y="58"/>
                  </a:cubicBezTo>
                  <a:moveTo>
                    <a:pt x="17" y="52"/>
                  </a:moveTo>
                  <a:cubicBezTo>
                    <a:pt x="18" y="51"/>
                    <a:pt x="18" y="50"/>
                    <a:pt x="18" y="50"/>
                  </a:cubicBezTo>
                  <a:cubicBezTo>
                    <a:pt x="18" y="50"/>
                    <a:pt x="18" y="51"/>
                    <a:pt x="18" y="51"/>
                  </a:cubicBezTo>
                  <a:cubicBezTo>
                    <a:pt x="17" y="52"/>
                    <a:pt x="17" y="52"/>
                    <a:pt x="17" y="52"/>
                  </a:cubicBezTo>
                  <a:moveTo>
                    <a:pt x="13" y="57"/>
                  </a:moveTo>
                  <a:cubicBezTo>
                    <a:pt x="13" y="56"/>
                    <a:pt x="12" y="55"/>
                    <a:pt x="12" y="55"/>
                  </a:cubicBezTo>
                  <a:cubicBezTo>
                    <a:pt x="12" y="54"/>
                    <a:pt x="12" y="52"/>
                    <a:pt x="13" y="51"/>
                  </a:cubicBezTo>
                  <a:cubicBezTo>
                    <a:pt x="13" y="51"/>
                    <a:pt x="14" y="50"/>
                    <a:pt x="14" y="50"/>
                  </a:cubicBezTo>
                  <a:cubicBezTo>
                    <a:pt x="17" y="49"/>
                    <a:pt x="17" y="49"/>
                    <a:pt x="17" y="49"/>
                  </a:cubicBezTo>
                  <a:cubicBezTo>
                    <a:pt x="16" y="50"/>
                    <a:pt x="16" y="52"/>
                    <a:pt x="15" y="53"/>
                  </a:cubicBezTo>
                  <a:cubicBezTo>
                    <a:pt x="16" y="53"/>
                    <a:pt x="16" y="53"/>
                    <a:pt x="16" y="53"/>
                  </a:cubicBezTo>
                  <a:cubicBezTo>
                    <a:pt x="15" y="54"/>
                    <a:pt x="14" y="55"/>
                    <a:pt x="14" y="56"/>
                  </a:cubicBezTo>
                  <a:cubicBezTo>
                    <a:pt x="14" y="56"/>
                    <a:pt x="14" y="56"/>
                    <a:pt x="14" y="56"/>
                  </a:cubicBezTo>
                  <a:cubicBezTo>
                    <a:pt x="14" y="56"/>
                    <a:pt x="14" y="56"/>
                    <a:pt x="14" y="56"/>
                  </a:cubicBezTo>
                  <a:cubicBezTo>
                    <a:pt x="13" y="57"/>
                    <a:pt x="13" y="57"/>
                    <a:pt x="13" y="57"/>
                  </a:cubicBezTo>
                  <a:moveTo>
                    <a:pt x="16" y="52"/>
                  </a:moveTo>
                  <a:cubicBezTo>
                    <a:pt x="16" y="51"/>
                    <a:pt x="17" y="50"/>
                    <a:pt x="17" y="49"/>
                  </a:cubicBezTo>
                  <a:cubicBezTo>
                    <a:pt x="18" y="49"/>
                    <a:pt x="18" y="49"/>
                    <a:pt x="18" y="49"/>
                  </a:cubicBezTo>
                  <a:cubicBezTo>
                    <a:pt x="18" y="49"/>
                    <a:pt x="18" y="49"/>
                    <a:pt x="18" y="49"/>
                  </a:cubicBezTo>
                  <a:cubicBezTo>
                    <a:pt x="18" y="49"/>
                    <a:pt x="18" y="49"/>
                    <a:pt x="18" y="49"/>
                  </a:cubicBezTo>
                  <a:cubicBezTo>
                    <a:pt x="18" y="50"/>
                    <a:pt x="17" y="51"/>
                    <a:pt x="17" y="52"/>
                  </a:cubicBezTo>
                  <a:cubicBezTo>
                    <a:pt x="17" y="52"/>
                    <a:pt x="17" y="52"/>
                    <a:pt x="17" y="52"/>
                  </a:cubicBezTo>
                  <a:cubicBezTo>
                    <a:pt x="16" y="52"/>
                    <a:pt x="16" y="52"/>
                    <a:pt x="16" y="52"/>
                  </a:cubicBezTo>
                  <a:moveTo>
                    <a:pt x="18" y="41"/>
                  </a:moveTo>
                  <a:cubicBezTo>
                    <a:pt x="19" y="41"/>
                    <a:pt x="21" y="41"/>
                    <a:pt x="22" y="40"/>
                  </a:cubicBezTo>
                  <a:cubicBezTo>
                    <a:pt x="22" y="40"/>
                    <a:pt x="22" y="40"/>
                    <a:pt x="22" y="40"/>
                  </a:cubicBezTo>
                  <a:cubicBezTo>
                    <a:pt x="21" y="41"/>
                    <a:pt x="21" y="42"/>
                    <a:pt x="20" y="42"/>
                  </a:cubicBezTo>
                  <a:cubicBezTo>
                    <a:pt x="19" y="43"/>
                    <a:pt x="18" y="43"/>
                    <a:pt x="18" y="43"/>
                  </a:cubicBezTo>
                  <a:cubicBezTo>
                    <a:pt x="17" y="43"/>
                    <a:pt x="17" y="43"/>
                    <a:pt x="17" y="43"/>
                  </a:cubicBezTo>
                  <a:cubicBezTo>
                    <a:pt x="16" y="43"/>
                    <a:pt x="15" y="43"/>
                    <a:pt x="14" y="42"/>
                  </a:cubicBezTo>
                  <a:cubicBezTo>
                    <a:pt x="14" y="41"/>
                    <a:pt x="13" y="41"/>
                    <a:pt x="13" y="40"/>
                  </a:cubicBezTo>
                  <a:cubicBezTo>
                    <a:pt x="13" y="40"/>
                    <a:pt x="13" y="40"/>
                    <a:pt x="13" y="40"/>
                  </a:cubicBezTo>
                  <a:cubicBezTo>
                    <a:pt x="14" y="41"/>
                    <a:pt x="14" y="41"/>
                    <a:pt x="14" y="41"/>
                  </a:cubicBezTo>
                  <a:cubicBezTo>
                    <a:pt x="15" y="41"/>
                    <a:pt x="16" y="41"/>
                    <a:pt x="18" y="41"/>
                  </a:cubicBezTo>
                  <a:moveTo>
                    <a:pt x="9" y="50"/>
                  </a:moveTo>
                  <a:cubicBezTo>
                    <a:pt x="8" y="49"/>
                    <a:pt x="8" y="49"/>
                    <a:pt x="8" y="49"/>
                  </a:cubicBezTo>
                  <a:cubicBezTo>
                    <a:pt x="10" y="47"/>
                    <a:pt x="11" y="42"/>
                    <a:pt x="11" y="40"/>
                  </a:cubicBezTo>
                  <a:cubicBezTo>
                    <a:pt x="11" y="40"/>
                    <a:pt x="11" y="40"/>
                    <a:pt x="11" y="40"/>
                  </a:cubicBezTo>
                  <a:cubicBezTo>
                    <a:pt x="11" y="40"/>
                    <a:pt x="11" y="40"/>
                    <a:pt x="11" y="40"/>
                  </a:cubicBezTo>
                  <a:cubicBezTo>
                    <a:pt x="12" y="41"/>
                    <a:pt x="12" y="42"/>
                    <a:pt x="14" y="43"/>
                  </a:cubicBezTo>
                  <a:cubicBezTo>
                    <a:pt x="15" y="43"/>
                    <a:pt x="16" y="44"/>
                    <a:pt x="17" y="44"/>
                  </a:cubicBezTo>
                  <a:cubicBezTo>
                    <a:pt x="17" y="44"/>
                    <a:pt x="17" y="44"/>
                    <a:pt x="17" y="44"/>
                  </a:cubicBezTo>
                  <a:cubicBezTo>
                    <a:pt x="18" y="44"/>
                    <a:pt x="19" y="44"/>
                    <a:pt x="20" y="44"/>
                  </a:cubicBezTo>
                  <a:cubicBezTo>
                    <a:pt x="19" y="44"/>
                    <a:pt x="19" y="45"/>
                    <a:pt x="18" y="46"/>
                  </a:cubicBezTo>
                  <a:cubicBezTo>
                    <a:pt x="18" y="47"/>
                    <a:pt x="18" y="47"/>
                    <a:pt x="18" y="48"/>
                  </a:cubicBezTo>
                  <a:cubicBezTo>
                    <a:pt x="18" y="48"/>
                    <a:pt x="18" y="48"/>
                    <a:pt x="18" y="48"/>
                  </a:cubicBezTo>
                  <a:cubicBezTo>
                    <a:pt x="13" y="49"/>
                    <a:pt x="13" y="49"/>
                    <a:pt x="13" y="49"/>
                  </a:cubicBezTo>
                  <a:cubicBezTo>
                    <a:pt x="13" y="50"/>
                    <a:pt x="13" y="50"/>
                    <a:pt x="13" y="50"/>
                  </a:cubicBezTo>
                  <a:cubicBezTo>
                    <a:pt x="12" y="50"/>
                    <a:pt x="12" y="50"/>
                    <a:pt x="12" y="50"/>
                  </a:cubicBezTo>
                  <a:cubicBezTo>
                    <a:pt x="12" y="50"/>
                    <a:pt x="12" y="50"/>
                    <a:pt x="12" y="50"/>
                  </a:cubicBezTo>
                  <a:cubicBezTo>
                    <a:pt x="11" y="51"/>
                    <a:pt x="11" y="53"/>
                    <a:pt x="11" y="55"/>
                  </a:cubicBezTo>
                  <a:cubicBezTo>
                    <a:pt x="10" y="55"/>
                    <a:pt x="10" y="55"/>
                    <a:pt x="10" y="55"/>
                  </a:cubicBezTo>
                  <a:cubicBezTo>
                    <a:pt x="10" y="54"/>
                    <a:pt x="10" y="54"/>
                    <a:pt x="10" y="54"/>
                  </a:cubicBezTo>
                  <a:cubicBezTo>
                    <a:pt x="9" y="53"/>
                    <a:pt x="9" y="53"/>
                    <a:pt x="9" y="53"/>
                  </a:cubicBezTo>
                  <a:cubicBezTo>
                    <a:pt x="9" y="53"/>
                    <a:pt x="9" y="53"/>
                    <a:pt x="9" y="52"/>
                  </a:cubicBezTo>
                  <a:cubicBezTo>
                    <a:pt x="9" y="52"/>
                    <a:pt x="9" y="51"/>
                    <a:pt x="9" y="51"/>
                  </a:cubicBezTo>
                  <a:cubicBezTo>
                    <a:pt x="9" y="51"/>
                    <a:pt x="9" y="51"/>
                    <a:pt x="9" y="51"/>
                  </a:cubicBezTo>
                  <a:cubicBezTo>
                    <a:pt x="9" y="51"/>
                    <a:pt x="9" y="50"/>
                    <a:pt x="10" y="49"/>
                  </a:cubicBezTo>
                  <a:cubicBezTo>
                    <a:pt x="10" y="49"/>
                    <a:pt x="10" y="48"/>
                    <a:pt x="10" y="48"/>
                  </a:cubicBezTo>
                  <a:cubicBezTo>
                    <a:pt x="11" y="48"/>
                    <a:pt x="11" y="48"/>
                    <a:pt x="11" y="48"/>
                  </a:cubicBezTo>
                  <a:cubicBezTo>
                    <a:pt x="11" y="47"/>
                    <a:pt x="11" y="47"/>
                    <a:pt x="11" y="47"/>
                  </a:cubicBezTo>
                  <a:cubicBezTo>
                    <a:pt x="12" y="47"/>
                    <a:pt x="12" y="46"/>
                    <a:pt x="13" y="46"/>
                  </a:cubicBezTo>
                  <a:cubicBezTo>
                    <a:pt x="14" y="46"/>
                    <a:pt x="15" y="45"/>
                    <a:pt x="16" y="44"/>
                  </a:cubicBezTo>
                  <a:cubicBezTo>
                    <a:pt x="15" y="44"/>
                    <a:pt x="15" y="44"/>
                    <a:pt x="15" y="44"/>
                  </a:cubicBezTo>
                  <a:cubicBezTo>
                    <a:pt x="14" y="44"/>
                    <a:pt x="13" y="45"/>
                    <a:pt x="13" y="45"/>
                  </a:cubicBezTo>
                  <a:cubicBezTo>
                    <a:pt x="12" y="46"/>
                    <a:pt x="11" y="46"/>
                    <a:pt x="10" y="46"/>
                  </a:cubicBezTo>
                  <a:cubicBezTo>
                    <a:pt x="10" y="47"/>
                    <a:pt x="10" y="47"/>
                    <a:pt x="10" y="47"/>
                  </a:cubicBezTo>
                  <a:cubicBezTo>
                    <a:pt x="10" y="47"/>
                    <a:pt x="10" y="47"/>
                    <a:pt x="10" y="47"/>
                  </a:cubicBezTo>
                  <a:cubicBezTo>
                    <a:pt x="9" y="48"/>
                    <a:pt x="9" y="48"/>
                    <a:pt x="9" y="49"/>
                  </a:cubicBezTo>
                  <a:cubicBezTo>
                    <a:pt x="9" y="50"/>
                    <a:pt x="9" y="50"/>
                    <a:pt x="9" y="50"/>
                  </a:cubicBezTo>
                  <a:moveTo>
                    <a:pt x="18" y="40"/>
                  </a:moveTo>
                  <a:cubicBezTo>
                    <a:pt x="17" y="40"/>
                    <a:pt x="17" y="40"/>
                    <a:pt x="17" y="40"/>
                  </a:cubicBezTo>
                  <a:cubicBezTo>
                    <a:pt x="19" y="40"/>
                    <a:pt x="20" y="39"/>
                    <a:pt x="22" y="39"/>
                  </a:cubicBezTo>
                  <a:cubicBezTo>
                    <a:pt x="22" y="39"/>
                    <a:pt x="22" y="39"/>
                    <a:pt x="22" y="39"/>
                  </a:cubicBezTo>
                  <a:cubicBezTo>
                    <a:pt x="22" y="39"/>
                    <a:pt x="22" y="39"/>
                    <a:pt x="22" y="39"/>
                  </a:cubicBezTo>
                  <a:cubicBezTo>
                    <a:pt x="22" y="39"/>
                    <a:pt x="22" y="39"/>
                    <a:pt x="22" y="39"/>
                  </a:cubicBezTo>
                  <a:cubicBezTo>
                    <a:pt x="22" y="39"/>
                    <a:pt x="22" y="39"/>
                    <a:pt x="22" y="39"/>
                  </a:cubicBezTo>
                  <a:cubicBezTo>
                    <a:pt x="22" y="39"/>
                    <a:pt x="22" y="39"/>
                    <a:pt x="22" y="39"/>
                  </a:cubicBezTo>
                  <a:cubicBezTo>
                    <a:pt x="20" y="40"/>
                    <a:pt x="19" y="40"/>
                    <a:pt x="18" y="40"/>
                  </a:cubicBezTo>
                  <a:moveTo>
                    <a:pt x="15" y="38"/>
                  </a:moveTo>
                  <a:cubicBezTo>
                    <a:pt x="16" y="38"/>
                    <a:pt x="17" y="38"/>
                    <a:pt x="18" y="38"/>
                  </a:cubicBezTo>
                  <a:cubicBezTo>
                    <a:pt x="20" y="38"/>
                    <a:pt x="21" y="38"/>
                    <a:pt x="22" y="38"/>
                  </a:cubicBezTo>
                  <a:cubicBezTo>
                    <a:pt x="22" y="38"/>
                    <a:pt x="22" y="38"/>
                    <a:pt x="22" y="38"/>
                  </a:cubicBezTo>
                  <a:cubicBezTo>
                    <a:pt x="20" y="38"/>
                    <a:pt x="17" y="39"/>
                    <a:pt x="15" y="39"/>
                  </a:cubicBezTo>
                  <a:cubicBezTo>
                    <a:pt x="14" y="39"/>
                    <a:pt x="13" y="39"/>
                    <a:pt x="12" y="39"/>
                  </a:cubicBezTo>
                  <a:cubicBezTo>
                    <a:pt x="12" y="39"/>
                    <a:pt x="12" y="39"/>
                    <a:pt x="12" y="39"/>
                  </a:cubicBezTo>
                  <a:cubicBezTo>
                    <a:pt x="12" y="38"/>
                    <a:pt x="12" y="38"/>
                    <a:pt x="12" y="38"/>
                  </a:cubicBezTo>
                  <a:cubicBezTo>
                    <a:pt x="13" y="38"/>
                    <a:pt x="14" y="38"/>
                    <a:pt x="15" y="38"/>
                  </a:cubicBezTo>
                  <a:moveTo>
                    <a:pt x="4" y="59"/>
                  </a:moveTo>
                  <a:cubicBezTo>
                    <a:pt x="3" y="56"/>
                    <a:pt x="3" y="56"/>
                    <a:pt x="3" y="56"/>
                  </a:cubicBezTo>
                  <a:cubicBezTo>
                    <a:pt x="2" y="55"/>
                    <a:pt x="2" y="53"/>
                    <a:pt x="2" y="52"/>
                  </a:cubicBezTo>
                  <a:cubicBezTo>
                    <a:pt x="1" y="52"/>
                    <a:pt x="1" y="51"/>
                    <a:pt x="1" y="50"/>
                  </a:cubicBezTo>
                  <a:cubicBezTo>
                    <a:pt x="1" y="50"/>
                    <a:pt x="2" y="49"/>
                    <a:pt x="2" y="49"/>
                  </a:cubicBezTo>
                  <a:cubicBezTo>
                    <a:pt x="2" y="49"/>
                    <a:pt x="2" y="49"/>
                    <a:pt x="2" y="49"/>
                  </a:cubicBezTo>
                  <a:cubicBezTo>
                    <a:pt x="3" y="47"/>
                    <a:pt x="4" y="45"/>
                    <a:pt x="5" y="43"/>
                  </a:cubicBezTo>
                  <a:cubicBezTo>
                    <a:pt x="5" y="42"/>
                    <a:pt x="6" y="40"/>
                    <a:pt x="7" y="38"/>
                  </a:cubicBezTo>
                  <a:cubicBezTo>
                    <a:pt x="7" y="37"/>
                    <a:pt x="8" y="37"/>
                    <a:pt x="9" y="37"/>
                  </a:cubicBezTo>
                  <a:cubicBezTo>
                    <a:pt x="9" y="37"/>
                    <a:pt x="9" y="37"/>
                    <a:pt x="9" y="37"/>
                  </a:cubicBezTo>
                  <a:cubicBezTo>
                    <a:pt x="10" y="37"/>
                    <a:pt x="10" y="38"/>
                    <a:pt x="11" y="39"/>
                  </a:cubicBezTo>
                  <a:cubicBezTo>
                    <a:pt x="11" y="40"/>
                    <a:pt x="9" y="47"/>
                    <a:pt x="7" y="49"/>
                  </a:cubicBezTo>
                  <a:cubicBezTo>
                    <a:pt x="7" y="49"/>
                    <a:pt x="7" y="49"/>
                    <a:pt x="7" y="49"/>
                  </a:cubicBezTo>
                  <a:cubicBezTo>
                    <a:pt x="7" y="49"/>
                    <a:pt x="7" y="49"/>
                    <a:pt x="7" y="49"/>
                  </a:cubicBezTo>
                  <a:cubicBezTo>
                    <a:pt x="8" y="50"/>
                    <a:pt x="8" y="51"/>
                    <a:pt x="8" y="52"/>
                  </a:cubicBezTo>
                  <a:cubicBezTo>
                    <a:pt x="8" y="53"/>
                    <a:pt x="8" y="53"/>
                    <a:pt x="9" y="54"/>
                  </a:cubicBezTo>
                  <a:cubicBezTo>
                    <a:pt x="9" y="54"/>
                    <a:pt x="9" y="55"/>
                    <a:pt x="9" y="55"/>
                  </a:cubicBezTo>
                  <a:cubicBezTo>
                    <a:pt x="9" y="55"/>
                    <a:pt x="10" y="55"/>
                    <a:pt x="10" y="56"/>
                  </a:cubicBezTo>
                  <a:cubicBezTo>
                    <a:pt x="12" y="56"/>
                    <a:pt x="13" y="57"/>
                    <a:pt x="13" y="59"/>
                  </a:cubicBezTo>
                  <a:cubicBezTo>
                    <a:pt x="13" y="59"/>
                    <a:pt x="13" y="59"/>
                    <a:pt x="13" y="59"/>
                  </a:cubicBezTo>
                  <a:cubicBezTo>
                    <a:pt x="14" y="59"/>
                    <a:pt x="14" y="59"/>
                    <a:pt x="14" y="59"/>
                  </a:cubicBezTo>
                  <a:cubicBezTo>
                    <a:pt x="14" y="59"/>
                    <a:pt x="15" y="59"/>
                    <a:pt x="15" y="59"/>
                  </a:cubicBezTo>
                  <a:cubicBezTo>
                    <a:pt x="16" y="59"/>
                    <a:pt x="17" y="59"/>
                    <a:pt x="18" y="59"/>
                  </a:cubicBezTo>
                  <a:cubicBezTo>
                    <a:pt x="19" y="59"/>
                    <a:pt x="19" y="59"/>
                    <a:pt x="20" y="58"/>
                  </a:cubicBezTo>
                  <a:cubicBezTo>
                    <a:pt x="21" y="57"/>
                    <a:pt x="20" y="55"/>
                    <a:pt x="20" y="55"/>
                  </a:cubicBezTo>
                  <a:cubicBezTo>
                    <a:pt x="20" y="54"/>
                    <a:pt x="20" y="54"/>
                    <a:pt x="20" y="54"/>
                  </a:cubicBezTo>
                  <a:cubicBezTo>
                    <a:pt x="19" y="51"/>
                    <a:pt x="19" y="49"/>
                    <a:pt x="19" y="47"/>
                  </a:cubicBezTo>
                  <a:cubicBezTo>
                    <a:pt x="20" y="44"/>
                    <a:pt x="21" y="43"/>
                    <a:pt x="22" y="43"/>
                  </a:cubicBezTo>
                  <a:cubicBezTo>
                    <a:pt x="22" y="43"/>
                    <a:pt x="22" y="43"/>
                    <a:pt x="22" y="43"/>
                  </a:cubicBezTo>
                  <a:cubicBezTo>
                    <a:pt x="23" y="44"/>
                    <a:pt x="24" y="44"/>
                    <a:pt x="24" y="44"/>
                  </a:cubicBezTo>
                  <a:cubicBezTo>
                    <a:pt x="23" y="48"/>
                    <a:pt x="24" y="51"/>
                    <a:pt x="25" y="54"/>
                  </a:cubicBezTo>
                  <a:cubicBezTo>
                    <a:pt x="25" y="56"/>
                    <a:pt x="26" y="57"/>
                    <a:pt x="26" y="58"/>
                  </a:cubicBezTo>
                  <a:cubicBezTo>
                    <a:pt x="27" y="60"/>
                    <a:pt x="28" y="62"/>
                    <a:pt x="28" y="65"/>
                  </a:cubicBezTo>
                  <a:cubicBezTo>
                    <a:pt x="29" y="69"/>
                    <a:pt x="28" y="70"/>
                    <a:pt x="27" y="72"/>
                  </a:cubicBezTo>
                  <a:cubicBezTo>
                    <a:pt x="27" y="73"/>
                    <a:pt x="26" y="74"/>
                    <a:pt x="26" y="75"/>
                  </a:cubicBezTo>
                  <a:cubicBezTo>
                    <a:pt x="26" y="75"/>
                    <a:pt x="26" y="75"/>
                    <a:pt x="26" y="75"/>
                  </a:cubicBezTo>
                  <a:cubicBezTo>
                    <a:pt x="26" y="76"/>
                    <a:pt x="26" y="77"/>
                    <a:pt x="26" y="78"/>
                  </a:cubicBezTo>
                  <a:cubicBezTo>
                    <a:pt x="26" y="78"/>
                    <a:pt x="26" y="78"/>
                    <a:pt x="26" y="78"/>
                  </a:cubicBezTo>
                  <a:cubicBezTo>
                    <a:pt x="26" y="78"/>
                    <a:pt x="26" y="78"/>
                    <a:pt x="26" y="78"/>
                  </a:cubicBezTo>
                  <a:cubicBezTo>
                    <a:pt x="26" y="79"/>
                    <a:pt x="26" y="80"/>
                    <a:pt x="25" y="80"/>
                  </a:cubicBezTo>
                  <a:cubicBezTo>
                    <a:pt x="26" y="80"/>
                    <a:pt x="26" y="80"/>
                    <a:pt x="26" y="80"/>
                  </a:cubicBezTo>
                  <a:cubicBezTo>
                    <a:pt x="27" y="80"/>
                    <a:pt x="27" y="79"/>
                    <a:pt x="27" y="78"/>
                  </a:cubicBezTo>
                  <a:cubicBezTo>
                    <a:pt x="27" y="78"/>
                    <a:pt x="27" y="79"/>
                    <a:pt x="28" y="79"/>
                  </a:cubicBezTo>
                  <a:cubicBezTo>
                    <a:pt x="28" y="80"/>
                    <a:pt x="28" y="80"/>
                    <a:pt x="28" y="80"/>
                  </a:cubicBezTo>
                  <a:cubicBezTo>
                    <a:pt x="27" y="81"/>
                    <a:pt x="25" y="82"/>
                    <a:pt x="23" y="82"/>
                  </a:cubicBezTo>
                  <a:cubicBezTo>
                    <a:pt x="22" y="82"/>
                    <a:pt x="22" y="83"/>
                    <a:pt x="21" y="83"/>
                  </a:cubicBezTo>
                  <a:cubicBezTo>
                    <a:pt x="20" y="83"/>
                    <a:pt x="18" y="82"/>
                    <a:pt x="17" y="82"/>
                  </a:cubicBezTo>
                  <a:cubicBezTo>
                    <a:pt x="12" y="82"/>
                    <a:pt x="10" y="81"/>
                    <a:pt x="10" y="80"/>
                  </a:cubicBezTo>
                  <a:cubicBezTo>
                    <a:pt x="10" y="80"/>
                    <a:pt x="10" y="80"/>
                    <a:pt x="10" y="80"/>
                  </a:cubicBezTo>
                  <a:cubicBezTo>
                    <a:pt x="10" y="80"/>
                    <a:pt x="10" y="80"/>
                    <a:pt x="10" y="80"/>
                  </a:cubicBezTo>
                  <a:cubicBezTo>
                    <a:pt x="10" y="79"/>
                    <a:pt x="11" y="79"/>
                    <a:pt x="11" y="79"/>
                  </a:cubicBezTo>
                  <a:cubicBezTo>
                    <a:pt x="11" y="79"/>
                    <a:pt x="11" y="80"/>
                    <a:pt x="11" y="80"/>
                  </a:cubicBezTo>
                  <a:cubicBezTo>
                    <a:pt x="12" y="80"/>
                    <a:pt x="12" y="80"/>
                    <a:pt x="12" y="80"/>
                  </a:cubicBezTo>
                  <a:cubicBezTo>
                    <a:pt x="12" y="80"/>
                    <a:pt x="12" y="79"/>
                    <a:pt x="12" y="78"/>
                  </a:cubicBezTo>
                  <a:cubicBezTo>
                    <a:pt x="12" y="78"/>
                    <a:pt x="12" y="78"/>
                    <a:pt x="12" y="78"/>
                  </a:cubicBezTo>
                  <a:cubicBezTo>
                    <a:pt x="12" y="78"/>
                    <a:pt x="12" y="78"/>
                    <a:pt x="12" y="78"/>
                  </a:cubicBezTo>
                  <a:cubicBezTo>
                    <a:pt x="12" y="77"/>
                    <a:pt x="12" y="76"/>
                    <a:pt x="12" y="75"/>
                  </a:cubicBezTo>
                  <a:cubicBezTo>
                    <a:pt x="12" y="75"/>
                    <a:pt x="12" y="75"/>
                    <a:pt x="12" y="75"/>
                  </a:cubicBezTo>
                  <a:cubicBezTo>
                    <a:pt x="12" y="75"/>
                    <a:pt x="12" y="75"/>
                    <a:pt x="12" y="75"/>
                  </a:cubicBezTo>
                  <a:cubicBezTo>
                    <a:pt x="10" y="72"/>
                    <a:pt x="9" y="69"/>
                    <a:pt x="8" y="68"/>
                  </a:cubicBezTo>
                  <a:cubicBezTo>
                    <a:pt x="7" y="67"/>
                    <a:pt x="7" y="66"/>
                    <a:pt x="6" y="66"/>
                  </a:cubicBezTo>
                  <a:cubicBezTo>
                    <a:pt x="6" y="65"/>
                    <a:pt x="6" y="65"/>
                    <a:pt x="6" y="64"/>
                  </a:cubicBezTo>
                  <a:cubicBezTo>
                    <a:pt x="6" y="65"/>
                    <a:pt x="6" y="65"/>
                    <a:pt x="6" y="65"/>
                  </a:cubicBezTo>
                  <a:cubicBezTo>
                    <a:pt x="6" y="65"/>
                    <a:pt x="6" y="65"/>
                    <a:pt x="7" y="65"/>
                  </a:cubicBezTo>
                  <a:cubicBezTo>
                    <a:pt x="7" y="65"/>
                    <a:pt x="7" y="65"/>
                    <a:pt x="7" y="65"/>
                  </a:cubicBezTo>
                  <a:cubicBezTo>
                    <a:pt x="7" y="65"/>
                    <a:pt x="7" y="65"/>
                    <a:pt x="7" y="65"/>
                  </a:cubicBezTo>
                  <a:cubicBezTo>
                    <a:pt x="7" y="65"/>
                    <a:pt x="7" y="65"/>
                    <a:pt x="7" y="65"/>
                  </a:cubicBezTo>
                  <a:cubicBezTo>
                    <a:pt x="7" y="64"/>
                    <a:pt x="7" y="64"/>
                    <a:pt x="7" y="64"/>
                  </a:cubicBezTo>
                  <a:cubicBezTo>
                    <a:pt x="7" y="64"/>
                    <a:pt x="7" y="64"/>
                    <a:pt x="7" y="64"/>
                  </a:cubicBezTo>
                  <a:cubicBezTo>
                    <a:pt x="4" y="59"/>
                    <a:pt x="4" y="59"/>
                    <a:pt x="4" y="59"/>
                  </a:cubicBezTo>
                  <a:cubicBezTo>
                    <a:pt x="4" y="59"/>
                    <a:pt x="4" y="59"/>
                    <a:pt x="4" y="59"/>
                  </a:cubicBezTo>
                  <a:cubicBezTo>
                    <a:pt x="4" y="59"/>
                    <a:pt x="4" y="59"/>
                    <a:pt x="4" y="59"/>
                  </a:cubicBezTo>
                  <a:moveTo>
                    <a:pt x="12" y="37"/>
                  </a:moveTo>
                  <a:cubicBezTo>
                    <a:pt x="13" y="37"/>
                    <a:pt x="13" y="37"/>
                    <a:pt x="13" y="37"/>
                  </a:cubicBezTo>
                  <a:cubicBezTo>
                    <a:pt x="16" y="36"/>
                    <a:pt x="19" y="36"/>
                    <a:pt x="22" y="35"/>
                  </a:cubicBezTo>
                  <a:cubicBezTo>
                    <a:pt x="22" y="36"/>
                    <a:pt x="22" y="36"/>
                    <a:pt x="22" y="36"/>
                  </a:cubicBezTo>
                  <a:cubicBezTo>
                    <a:pt x="22" y="37"/>
                    <a:pt x="22" y="37"/>
                    <a:pt x="22" y="37"/>
                  </a:cubicBezTo>
                  <a:cubicBezTo>
                    <a:pt x="21" y="37"/>
                    <a:pt x="20" y="37"/>
                    <a:pt x="18" y="37"/>
                  </a:cubicBezTo>
                  <a:cubicBezTo>
                    <a:pt x="17" y="37"/>
                    <a:pt x="16" y="37"/>
                    <a:pt x="15" y="37"/>
                  </a:cubicBezTo>
                  <a:cubicBezTo>
                    <a:pt x="14" y="37"/>
                    <a:pt x="13" y="37"/>
                    <a:pt x="12" y="37"/>
                  </a:cubicBezTo>
                  <a:cubicBezTo>
                    <a:pt x="12" y="37"/>
                    <a:pt x="12" y="37"/>
                    <a:pt x="12" y="37"/>
                  </a:cubicBezTo>
                  <a:cubicBezTo>
                    <a:pt x="12" y="37"/>
                    <a:pt x="12" y="37"/>
                    <a:pt x="12" y="37"/>
                  </a:cubicBezTo>
                  <a:cubicBezTo>
                    <a:pt x="12" y="36"/>
                    <a:pt x="12" y="36"/>
                    <a:pt x="12" y="36"/>
                  </a:cubicBezTo>
                  <a:cubicBezTo>
                    <a:pt x="12" y="37"/>
                    <a:pt x="12" y="37"/>
                    <a:pt x="12" y="37"/>
                  </a:cubicBezTo>
                  <a:moveTo>
                    <a:pt x="13" y="34"/>
                  </a:moveTo>
                  <a:cubicBezTo>
                    <a:pt x="14" y="34"/>
                    <a:pt x="14" y="34"/>
                    <a:pt x="14" y="34"/>
                  </a:cubicBezTo>
                  <a:cubicBezTo>
                    <a:pt x="22" y="34"/>
                    <a:pt x="22" y="34"/>
                    <a:pt x="22" y="34"/>
                  </a:cubicBezTo>
                  <a:cubicBezTo>
                    <a:pt x="22" y="34"/>
                    <a:pt x="22" y="34"/>
                    <a:pt x="22" y="34"/>
                  </a:cubicBezTo>
                  <a:cubicBezTo>
                    <a:pt x="22" y="34"/>
                    <a:pt x="22" y="34"/>
                    <a:pt x="22" y="34"/>
                  </a:cubicBezTo>
                  <a:cubicBezTo>
                    <a:pt x="22" y="34"/>
                    <a:pt x="22" y="34"/>
                    <a:pt x="22" y="34"/>
                  </a:cubicBezTo>
                  <a:cubicBezTo>
                    <a:pt x="19" y="35"/>
                    <a:pt x="16" y="35"/>
                    <a:pt x="13" y="36"/>
                  </a:cubicBezTo>
                  <a:cubicBezTo>
                    <a:pt x="12" y="35"/>
                    <a:pt x="12" y="35"/>
                    <a:pt x="12" y="35"/>
                  </a:cubicBezTo>
                  <a:cubicBezTo>
                    <a:pt x="12" y="35"/>
                    <a:pt x="12" y="35"/>
                    <a:pt x="12" y="35"/>
                  </a:cubicBezTo>
                  <a:cubicBezTo>
                    <a:pt x="12" y="35"/>
                    <a:pt x="12" y="35"/>
                    <a:pt x="12" y="35"/>
                  </a:cubicBezTo>
                  <a:cubicBezTo>
                    <a:pt x="12" y="34"/>
                    <a:pt x="12" y="34"/>
                    <a:pt x="12" y="34"/>
                  </a:cubicBezTo>
                  <a:cubicBezTo>
                    <a:pt x="12" y="34"/>
                    <a:pt x="13" y="34"/>
                    <a:pt x="13" y="34"/>
                  </a:cubicBezTo>
                  <a:moveTo>
                    <a:pt x="18" y="33"/>
                  </a:moveTo>
                  <a:cubicBezTo>
                    <a:pt x="18" y="33"/>
                    <a:pt x="19" y="32"/>
                    <a:pt x="20" y="32"/>
                  </a:cubicBezTo>
                  <a:cubicBezTo>
                    <a:pt x="21" y="32"/>
                    <a:pt x="22" y="32"/>
                    <a:pt x="22" y="32"/>
                  </a:cubicBezTo>
                  <a:cubicBezTo>
                    <a:pt x="22" y="33"/>
                    <a:pt x="22" y="33"/>
                    <a:pt x="22" y="33"/>
                  </a:cubicBezTo>
                  <a:cubicBezTo>
                    <a:pt x="22" y="33"/>
                    <a:pt x="22" y="33"/>
                    <a:pt x="22" y="33"/>
                  </a:cubicBezTo>
                  <a:cubicBezTo>
                    <a:pt x="14" y="33"/>
                    <a:pt x="14" y="33"/>
                    <a:pt x="14" y="33"/>
                  </a:cubicBezTo>
                  <a:cubicBezTo>
                    <a:pt x="14" y="33"/>
                    <a:pt x="14" y="33"/>
                    <a:pt x="14" y="33"/>
                  </a:cubicBezTo>
                  <a:cubicBezTo>
                    <a:pt x="13" y="33"/>
                    <a:pt x="12" y="33"/>
                    <a:pt x="12" y="33"/>
                  </a:cubicBezTo>
                  <a:cubicBezTo>
                    <a:pt x="12" y="33"/>
                    <a:pt x="12" y="33"/>
                    <a:pt x="12" y="33"/>
                  </a:cubicBezTo>
                  <a:cubicBezTo>
                    <a:pt x="12" y="32"/>
                    <a:pt x="12" y="32"/>
                    <a:pt x="12" y="32"/>
                  </a:cubicBezTo>
                  <a:cubicBezTo>
                    <a:pt x="12" y="32"/>
                    <a:pt x="12" y="32"/>
                    <a:pt x="12" y="32"/>
                  </a:cubicBezTo>
                  <a:cubicBezTo>
                    <a:pt x="12" y="32"/>
                    <a:pt x="12" y="32"/>
                    <a:pt x="12" y="32"/>
                  </a:cubicBezTo>
                  <a:cubicBezTo>
                    <a:pt x="14" y="32"/>
                    <a:pt x="16" y="33"/>
                    <a:pt x="18" y="33"/>
                  </a:cubicBezTo>
                  <a:moveTo>
                    <a:pt x="15" y="31"/>
                  </a:moveTo>
                  <a:cubicBezTo>
                    <a:pt x="15" y="31"/>
                    <a:pt x="15" y="31"/>
                    <a:pt x="14" y="31"/>
                  </a:cubicBezTo>
                  <a:cubicBezTo>
                    <a:pt x="15" y="31"/>
                    <a:pt x="15" y="31"/>
                    <a:pt x="16" y="31"/>
                  </a:cubicBezTo>
                  <a:cubicBezTo>
                    <a:pt x="16" y="31"/>
                    <a:pt x="16" y="31"/>
                    <a:pt x="16" y="31"/>
                  </a:cubicBezTo>
                  <a:cubicBezTo>
                    <a:pt x="16" y="31"/>
                    <a:pt x="16" y="31"/>
                    <a:pt x="16" y="31"/>
                  </a:cubicBezTo>
                  <a:cubicBezTo>
                    <a:pt x="16" y="31"/>
                    <a:pt x="16" y="31"/>
                    <a:pt x="16" y="31"/>
                  </a:cubicBezTo>
                  <a:cubicBezTo>
                    <a:pt x="16" y="31"/>
                    <a:pt x="15" y="31"/>
                    <a:pt x="15" y="31"/>
                  </a:cubicBezTo>
                  <a:cubicBezTo>
                    <a:pt x="15" y="31"/>
                    <a:pt x="15" y="31"/>
                    <a:pt x="15" y="31"/>
                  </a:cubicBezTo>
                  <a:moveTo>
                    <a:pt x="20" y="31"/>
                  </a:moveTo>
                  <a:cubicBezTo>
                    <a:pt x="20" y="31"/>
                    <a:pt x="20" y="31"/>
                    <a:pt x="20" y="31"/>
                  </a:cubicBezTo>
                  <a:cubicBezTo>
                    <a:pt x="20" y="31"/>
                    <a:pt x="20" y="31"/>
                    <a:pt x="20" y="31"/>
                  </a:cubicBezTo>
                  <a:cubicBezTo>
                    <a:pt x="20" y="31"/>
                    <a:pt x="20" y="31"/>
                    <a:pt x="20" y="31"/>
                  </a:cubicBezTo>
                  <a:cubicBezTo>
                    <a:pt x="20" y="31"/>
                    <a:pt x="21" y="31"/>
                    <a:pt x="21" y="31"/>
                  </a:cubicBezTo>
                  <a:cubicBezTo>
                    <a:pt x="21" y="31"/>
                    <a:pt x="21" y="31"/>
                    <a:pt x="20" y="31"/>
                  </a:cubicBezTo>
                  <a:moveTo>
                    <a:pt x="18" y="31"/>
                  </a:moveTo>
                  <a:cubicBezTo>
                    <a:pt x="18" y="31"/>
                    <a:pt x="17" y="31"/>
                    <a:pt x="17" y="31"/>
                  </a:cubicBezTo>
                  <a:cubicBezTo>
                    <a:pt x="17" y="31"/>
                    <a:pt x="17" y="31"/>
                    <a:pt x="17" y="31"/>
                  </a:cubicBezTo>
                  <a:cubicBezTo>
                    <a:pt x="17" y="31"/>
                    <a:pt x="17" y="31"/>
                    <a:pt x="17" y="31"/>
                  </a:cubicBezTo>
                  <a:cubicBezTo>
                    <a:pt x="17" y="31"/>
                    <a:pt x="18" y="31"/>
                    <a:pt x="18" y="31"/>
                  </a:cubicBezTo>
                  <a:cubicBezTo>
                    <a:pt x="18" y="31"/>
                    <a:pt x="19" y="31"/>
                    <a:pt x="19" y="31"/>
                  </a:cubicBezTo>
                  <a:cubicBezTo>
                    <a:pt x="19" y="31"/>
                    <a:pt x="19" y="31"/>
                    <a:pt x="19" y="31"/>
                  </a:cubicBezTo>
                  <a:cubicBezTo>
                    <a:pt x="19" y="31"/>
                    <a:pt x="19" y="31"/>
                    <a:pt x="19" y="31"/>
                  </a:cubicBezTo>
                  <a:cubicBezTo>
                    <a:pt x="19" y="31"/>
                    <a:pt x="18" y="31"/>
                    <a:pt x="18" y="31"/>
                  </a:cubicBezTo>
                  <a:moveTo>
                    <a:pt x="17" y="30"/>
                  </a:moveTo>
                  <a:cubicBezTo>
                    <a:pt x="17" y="27"/>
                    <a:pt x="17" y="24"/>
                    <a:pt x="16" y="21"/>
                  </a:cubicBezTo>
                  <a:cubicBezTo>
                    <a:pt x="16" y="21"/>
                    <a:pt x="16" y="21"/>
                    <a:pt x="16" y="21"/>
                  </a:cubicBezTo>
                  <a:cubicBezTo>
                    <a:pt x="17" y="21"/>
                    <a:pt x="18" y="20"/>
                    <a:pt x="18" y="20"/>
                  </a:cubicBezTo>
                  <a:cubicBezTo>
                    <a:pt x="18" y="20"/>
                    <a:pt x="19" y="20"/>
                    <a:pt x="19" y="20"/>
                  </a:cubicBezTo>
                  <a:cubicBezTo>
                    <a:pt x="19" y="24"/>
                    <a:pt x="19" y="27"/>
                    <a:pt x="19" y="30"/>
                  </a:cubicBezTo>
                  <a:cubicBezTo>
                    <a:pt x="18" y="30"/>
                    <a:pt x="18" y="30"/>
                    <a:pt x="18" y="30"/>
                  </a:cubicBezTo>
                  <a:cubicBezTo>
                    <a:pt x="17" y="30"/>
                    <a:pt x="17" y="30"/>
                    <a:pt x="17" y="30"/>
                  </a:cubicBezTo>
                  <a:moveTo>
                    <a:pt x="21" y="19"/>
                  </a:moveTo>
                  <a:cubicBezTo>
                    <a:pt x="21" y="17"/>
                    <a:pt x="22" y="15"/>
                    <a:pt x="22" y="13"/>
                  </a:cubicBezTo>
                  <a:cubicBezTo>
                    <a:pt x="23" y="12"/>
                    <a:pt x="23" y="12"/>
                    <a:pt x="23" y="12"/>
                  </a:cubicBezTo>
                  <a:cubicBezTo>
                    <a:pt x="23" y="12"/>
                    <a:pt x="23" y="12"/>
                    <a:pt x="23" y="12"/>
                  </a:cubicBezTo>
                  <a:cubicBezTo>
                    <a:pt x="23" y="12"/>
                    <a:pt x="23" y="12"/>
                    <a:pt x="23" y="12"/>
                  </a:cubicBezTo>
                  <a:cubicBezTo>
                    <a:pt x="23" y="12"/>
                    <a:pt x="23" y="12"/>
                    <a:pt x="23" y="12"/>
                  </a:cubicBezTo>
                  <a:cubicBezTo>
                    <a:pt x="23" y="14"/>
                    <a:pt x="23" y="16"/>
                    <a:pt x="22" y="18"/>
                  </a:cubicBezTo>
                  <a:cubicBezTo>
                    <a:pt x="21" y="18"/>
                    <a:pt x="21" y="19"/>
                    <a:pt x="21" y="19"/>
                  </a:cubicBezTo>
                  <a:moveTo>
                    <a:pt x="15" y="19"/>
                  </a:moveTo>
                  <a:cubicBezTo>
                    <a:pt x="14" y="19"/>
                    <a:pt x="14" y="19"/>
                    <a:pt x="14" y="19"/>
                  </a:cubicBezTo>
                  <a:cubicBezTo>
                    <a:pt x="13" y="18"/>
                    <a:pt x="12" y="16"/>
                    <a:pt x="11" y="14"/>
                  </a:cubicBezTo>
                  <a:cubicBezTo>
                    <a:pt x="11" y="14"/>
                    <a:pt x="10" y="13"/>
                    <a:pt x="10" y="13"/>
                  </a:cubicBezTo>
                  <a:cubicBezTo>
                    <a:pt x="10" y="12"/>
                    <a:pt x="11" y="12"/>
                    <a:pt x="11" y="12"/>
                  </a:cubicBezTo>
                  <a:cubicBezTo>
                    <a:pt x="12" y="11"/>
                    <a:pt x="12" y="11"/>
                    <a:pt x="12" y="11"/>
                  </a:cubicBezTo>
                  <a:cubicBezTo>
                    <a:pt x="12" y="11"/>
                    <a:pt x="12" y="11"/>
                    <a:pt x="12" y="11"/>
                  </a:cubicBezTo>
                  <a:cubicBezTo>
                    <a:pt x="13" y="12"/>
                    <a:pt x="13" y="12"/>
                    <a:pt x="13" y="13"/>
                  </a:cubicBezTo>
                  <a:cubicBezTo>
                    <a:pt x="14" y="15"/>
                    <a:pt x="15" y="17"/>
                    <a:pt x="15" y="19"/>
                  </a:cubicBezTo>
                  <a:moveTo>
                    <a:pt x="18" y="17"/>
                  </a:moveTo>
                  <a:cubicBezTo>
                    <a:pt x="18" y="15"/>
                    <a:pt x="18" y="13"/>
                    <a:pt x="18" y="12"/>
                  </a:cubicBezTo>
                  <a:cubicBezTo>
                    <a:pt x="18" y="11"/>
                    <a:pt x="18" y="11"/>
                    <a:pt x="18" y="11"/>
                  </a:cubicBezTo>
                  <a:cubicBezTo>
                    <a:pt x="19" y="11"/>
                    <a:pt x="19" y="11"/>
                    <a:pt x="19" y="11"/>
                  </a:cubicBezTo>
                  <a:cubicBezTo>
                    <a:pt x="19" y="11"/>
                    <a:pt x="19" y="11"/>
                    <a:pt x="19" y="11"/>
                  </a:cubicBezTo>
                  <a:cubicBezTo>
                    <a:pt x="19" y="12"/>
                    <a:pt x="19" y="12"/>
                    <a:pt x="19" y="12"/>
                  </a:cubicBezTo>
                  <a:cubicBezTo>
                    <a:pt x="19" y="14"/>
                    <a:pt x="19" y="16"/>
                    <a:pt x="18" y="17"/>
                  </a:cubicBezTo>
                  <a:moveTo>
                    <a:pt x="12" y="31"/>
                  </a:moveTo>
                  <a:cubicBezTo>
                    <a:pt x="11" y="31"/>
                    <a:pt x="11" y="31"/>
                    <a:pt x="11" y="31"/>
                  </a:cubicBezTo>
                  <a:cubicBezTo>
                    <a:pt x="11" y="31"/>
                    <a:pt x="11" y="31"/>
                    <a:pt x="11" y="31"/>
                  </a:cubicBezTo>
                  <a:cubicBezTo>
                    <a:pt x="11" y="30"/>
                    <a:pt x="10" y="29"/>
                    <a:pt x="10" y="28"/>
                  </a:cubicBezTo>
                  <a:cubicBezTo>
                    <a:pt x="10" y="28"/>
                    <a:pt x="10" y="28"/>
                    <a:pt x="10" y="28"/>
                  </a:cubicBezTo>
                  <a:cubicBezTo>
                    <a:pt x="10" y="27"/>
                    <a:pt x="10" y="27"/>
                    <a:pt x="10" y="27"/>
                  </a:cubicBezTo>
                  <a:cubicBezTo>
                    <a:pt x="10" y="26"/>
                    <a:pt x="9" y="24"/>
                    <a:pt x="9" y="23"/>
                  </a:cubicBezTo>
                  <a:cubicBezTo>
                    <a:pt x="8" y="23"/>
                    <a:pt x="8" y="23"/>
                    <a:pt x="8" y="22"/>
                  </a:cubicBezTo>
                  <a:cubicBezTo>
                    <a:pt x="7" y="21"/>
                    <a:pt x="7" y="21"/>
                    <a:pt x="7" y="20"/>
                  </a:cubicBezTo>
                  <a:cubicBezTo>
                    <a:pt x="4" y="15"/>
                    <a:pt x="5" y="10"/>
                    <a:pt x="8" y="6"/>
                  </a:cubicBezTo>
                  <a:cubicBezTo>
                    <a:pt x="10" y="2"/>
                    <a:pt x="13" y="1"/>
                    <a:pt x="17" y="1"/>
                  </a:cubicBezTo>
                  <a:cubicBezTo>
                    <a:pt x="17" y="1"/>
                    <a:pt x="17" y="1"/>
                    <a:pt x="17" y="1"/>
                  </a:cubicBezTo>
                  <a:cubicBezTo>
                    <a:pt x="23" y="1"/>
                    <a:pt x="26" y="3"/>
                    <a:pt x="28" y="7"/>
                  </a:cubicBezTo>
                  <a:cubicBezTo>
                    <a:pt x="31" y="12"/>
                    <a:pt x="29" y="18"/>
                    <a:pt x="27" y="21"/>
                  </a:cubicBezTo>
                  <a:cubicBezTo>
                    <a:pt x="26" y="23"/>
                    <a:pt x="25" y="24"/>
                    <a:pt x="25" y="26"/>
                  </a:cubicBezTo>
                  <a:cubicBezTo>
                    <a:pt x="25" y="26"/>
                    <a:pt x="25" y="26"/>
                    <a:pt x="25" y="26"/>
                  </a:cubicBezTo>
                  <a:cubicBezTo>
                    <a:pt x="24" y="27"/>
                    <a:pt x="24" y="27"/>
                    <a:pt x="24" y="28"/>
                  </a:cubicBezTo>
                  <a:cubicBezTo>
                    <a:pt x="24" y="28"/>
                    <a:pt x="24" y="29"/>
                    <a:pt x="24" y="29"/>
                  </a:cubicBezTo>
                  <a:cubicBezTo>
                    <a:pt x="24" y="30"/>
                    <a:pt x="23" y="30"/>
                    <a:pt x="23" y="31"/>
                  </a:cubicBezTo>
                  <a:cubicBezTo>
                    <a:pt x="22" y="30"/>
                    <a:pt x="22" y="30"/>
                    <a:pt x="22" y="30"/>
                  </a:cubicBezTo>
                  <a:cubicBezTo>
                    <a:pt x="22" y="30"/>
                    <a:pt x="21" y="30"/>
                    <a:pt x="20" y="30"/>
                  </a:cubicBezTo>
                  <a:cubicBezTo>
                    <a:pt x="20" y="27"/>
                    <a:pt x="20" y="23"/>
                    <a:pt x="20" y="20"/>
                  </a:cubicBezTo>
                  <a:cubicBezTo>
                    <a:pt x="21" y="20"/>
                    <a:pt x="21" y="20"/>
                    <a:pt x="21" y="20"/>
                  </a:cubicBezTo>
                  <a:cubicBezTo>
                    <a:pt x="22" y="19"/>
                    <a:pt x="22" y="19"/>
                    <a:pt x="23" y="18"/>
                  </a:cubicBezTo>
                  <a:cubicBezTo>
                    <a:pt x="24" y="16"/>
                    <a:pt x="24" y="14"/>
                    <a:pt x="24" y="12"/>
                  </a:cubicBezTo>
                  <a:cubicBezTo>
                    <a:pt x="24" y="11"/>
                    <a:pt x="24" y="11"/>
                    <a:pt x="24" y="11"/>
                  </a:cubicBezTo>
                  <a:cubicBezTo>
                    <a:pt x="23" y="11"/>
                    <a:pt x="23" y="11"/>
                    <a:pt x="23" y="11"/>
                  </a:cubicBezTo>
                  <a:cubicBezTo>
                    <a:pt x="23" y="11"/>
                    <a:pt x="23" y="11"/>
                    <a:pt x="23" y="11"/>
                  </a:cubicBezTo>
                  <a:cubicBezTo>
                    <a:pt x="23" y="11"/>
                    <a:pt x="22" y="11"/>
                    <a:pt x="22" y="11"/>
                  </a:cubicBezTo>
                  <a:cubicBezTo>
                    <a:pt x="22" y="11"/>
                    <a:pt x="22" y="12"/>
                    <a:pt x="21" y="12"/>
                  </a:cubicBezTo>
                  <a:cubicBezTo>
                    <a:pt x="21" y="15"/>
                    <a:pt x="20" y="17"/>
                    <a:pt x="20" y="19"/>
                  </a:cubicBezTo>
                  <a:cubicBezTo>
                    <a:pt x="19" y="19"/>
                    <a:pt x="19" y="19"/>
                    <a:pt x="19" y="19"/>
                  </a:cubicBezTo>
                  <a:cubicBezTo>
                    <a:pt x="18" y="19"/>
                    <a:pt x="18" y="19"/>
                    <a:pt x="18" y="19"/>
                  </a:cubicBezTo>
                  <a:cubicBezTo>
                    <a:pt x="19" y="17"/>
                    <a:pt x="20" y="15"/>
                    <a:pt x="20" y="13"/>
                  </a:cubicBezTo>
                  <a:cubicBezTo>
                    <a:pt x="20" y="12"/>
                    <a:pt x="20" y="11"/>
                    <a:pt x="20" y="11"/>
                  </a:cubicBezTo>
                  <a:cubicBezTo>
                    <a:pt x="20" y="10"/>
                    <a:pt x="19" y="10"/>
                    <a:pt x="19" y="10"/>
                  </a:cubicBezTo>
                  <a:cubicBezTo>
                    <a:pt x="18" y="10"/>
                    <a:pt x="18" y="10"/>
                    <a:pt x="18" y="10"/>
                  </a:cubicBezTo>
                  <a:cubicBezTo>
                    <a:pt x="17" y="10"/>
                    <a:pt x="17" y="11"/>
                    <a:pt x="17" y="11"/>
                  </a:cubicBezTo>
                  <a:cubicBezTo>
                    <a:pt x="17" y="14"/>
                    <a:pt x="17" y="16"/>
                    <a:pt x="17" y="18"/>
                  </a:cubicBezTo>
                  <a:cubicBezTo>
                    <a:pt x="17" y="19"/>
                    <a:pt x="17" y="19"/>
                    <a:pt x="17" y="19"/>
                  </a:cubicBezTo>
                  <a:cubicBezTo>
                    <a:pt x="17" y="19"/>
                    <a:pt x="17" y="20"/>
                    <a:pt x="16" y="20"/>
                  </a:cubicBezTo>
                  <a:cubicBezTo>
                    <a:pt x="16" y="20"/>
                    <a:pt x="16" y="20"/>
                    <a:pt x="16" y="20"/>
                  </a:cubicBezTo>
                  <a:cubicBezTo>
                    <a:pt x="16" y="18"/>
                    <a:pt x="15" y="15"/>
                    <a:pt x="14" y="13"/>
                  </a:cubicBezTo>
                  <a:cubicBezTo>
                    <a:pt x="14" y="12"/>
                    <a:pt x="14" y="11"/>
                    <a:pt x="13" y="11"/>
                  </a:cubicBezTo>
                  <a:cubicBezTo>
                    <a:pt x="13" y="10"/>
                    <a:pt x="12" y="10"/>
                    <a:pt x="12" y="10"/>
                  </a:cubicBezTo>
                  <a:cubicBezTo>
                    <a:pt x="11" y="10"/>
                    <a:pt x="11" y="10"/>
                    <a:pt x="10" y="11"/>
                  </a:cubicBezTo>
                  <a:cubicBezTo>
                    <a:pt x="10" y="11"/>
                    <a:pt x="9" y="12"/>
                    <a:pt x="9" y="13"/>
                  </a:cubicBezTo>
                  <a:cubicBezTo>
                    <a:pt x="9" y="14"/>
                    <a:pt x="10" y="14"/>
                    <a:pt x="10" y="15"/>
                  </a:cubicBezTo>
                  <a:cubicBezTo>
                    <a:pt x="11" y="17"/>
                    <a:pt x="12" y="18"/>
                    <a:pt x="14" y="20"/>
                  </a:cubicBezTo>
                  <a:cubicBezTo>
                    <a:pt x="14" y="20"/>
                    <a:pt x="15" y="21"/>
                    <a:pt x="15" y="21"/>
                  </a:cubicBezTo>
                  <a:cubicBezTo>
                    <a:pt x="16" y="24"/>
                    <a:pt x="16" y="27"/>
                    <a:pt x="16" y="30"/>
                  </a:cubicBezTo>
                  <a:cubicBezTo>
                    <a:pt x="14" y="30"/>
                    <a:pt x="13" y="31"/>
                    <a:pt x="12" y="31"/>
                  </a:cubicBezTo>
                  <a:cubicBezTo>
                    <a:pt x="12" y="31"/>
                    <a:pt x="12" y="31"/>
                    <a:pt x="12" y="31"/>
                  </a:cubicBezTo>
                  <a:cubicBezTo>
                    <a:pt x="12" y="31"/>
                    <a:pt x="12" y="31"/>
                    <a:pt x="12" y="31"/>
                  </a:cubicBezTo>
                  <a:moveTo>
                    <a:pt x="17" y="0"/>
                  </a:moveTo>
                  <a:cubicBezTo>
                    <a:pt x="13" y="0"/>
                    <a:pt x="9" y="2"/>
                    <a:pt x="7" y="5"/>
                  </a:cubicBezTo>
                  <a:cubicBezTo>
                    <a:pt x="4" y="10"/>
                    <a:pt x="3" y="16"/>
                    <a:pt x="6" y="20"/>
                  </a:cubicBezTo>
                  <a:cubicBezTo>
                    <a:pt x="6" y="21"/>
                    <a:pt x="7" y="22"/>
                    <a:pt x="7" y="23"/>
                  </a:cubicBezTo>
                  <a:cubicBezTo>
                    <a:pt x="7" y="23"/>
                    <a:pt x="8" y="23"/>
                    <a:pt x="8" y="24"/>
                  </a:cubicBezTo>
                  <a:cubicBezTo>
                    <a:pt x="8" y="25"/>
                    <a:pt x="9" y="26"/>
                    <a:pt x="9" y="27"/>
                  </a:cubicBezTo>
                  <a:cubicBezTo>
                    <a:pt x="9" y="28"/>
                    <a:pt x="9" y="28"/>
                    <a:pt x="9" y="28"/>
                  </a:cubicBezTo>
                  <a:cubicBezTo>
                    <a:pt x="9" y="28"/>
                    <a:pt x="9" y="28"/>
                    <a:pt x="9" y="28"/>
                  </a:cubicBezTo>
                  <a:cubicBezTo>
                    <a:pt x="9" y="30"/>
                    <a:pt x="10" y="30"/>
                    <a:pt x="10" y="31"/>
                  </a:cubicBezTo>
                  <a:cubicBezTo>
                    <a:pt x="11" y="31"/>
                    <a:pt x="11" y="31"/>
                    <a:pt x="11" y="31"/>
                  </a:cubicBezTo>
                  <a:cubicBezTo>
                    <a:pt x="11" y="32"/>
                    <a:pt x="11" y="32"/>
                    <a:pt x="11" y="33"/>
                  </a:cubicBezTo>
                  <a:cubicBezTo>
                    <a:pt x="11" y="33"/>
                    <a:pt x="11" y="34"/>
                    <a:pt x="11" y="34"/>
                  </a:cubicBezTo>
                  <a:cubicBezTo>
                    <a:pt x="11" y="35"/>
                    <a:pt x="11" y="35"/>
                    <a:pt x="11" y="35"/>
                  </a:cubicBezTo>
                  <a:cubicBezTo>
                    <a:pt x="11" y="36"/>
                    <a:pt x="11" y="36"/>
                    <a:pt x="11" y="36"/>
                  </a:cubicBezTo>
                  <a:cubicBezTo>
                    <a:pt x="11" y="36"/>
                    <a:pt x="11" y="37"/>
                    <a:pt x="11" y="37"/>
                  </a:cubicBezTo>
                  <a:cubicBezTo>
                    <a:pt x="11" y="38"/>
                    <a:pt x="11" y="38"/>
                    <a:pt x="11" y="38"/>
                  </a:cubicBezTo>
                  <a:cubicBezTo>
                    <a:pt x="11" y="38"/>
                    <a:pt x="11" y="38"/>
                    <a:pt x="11" y="38"/>
                  </a:cubicBezTo>
                  <a:cubicBezTo>
                    <a:pt x="11" y="37"/>
                    <a:pt x="10" y="36"/>
                    <a:pt x="10" y="36"/>
                  </a:cubicBezTo>
                  <a:cubicBezTo>
                    <a:pt x="9" y="36"/>
                    <a:pt x="9" y="36"/>
                    <a:pt x="9" y="36"/>
                  </a:cubicBezTo>
                  <a:cubicBezTo>
                    <a:pt x="8" y="36"/>
                    <a:pt x="7" y="37"/>
                    <a:pt x="6" y="38"/>
                  </a:cubicBezTo>
                  <a:cubicBezTo>
                    <a:pt x="5" y="39"/>
                    <a:pt x="4" y="41"/>
                    <a:pt x="4" y="43"/>
                  </a:cubicBezTo>
                  <a:cubicBezTo>
                    <a:pt x="3" y="45"/>
                    <a:pt x="2" y="46"/>
                    <a:pt x="1" y="48"/>
                  </a:cubicBezTo>
                  <a:cubicBezTo>
                    <a:pt x="1" y="48"/>
                    <a:pt x="1" y="48"/>
                    <a:pt x="1" y="48"/>
                  </a:cubicBezTo>
                  <a:cubicBezTo>
                    <a:pt x="1" y="49"/>
                    <a:pt x="0" y="50"/>
                    <a:pt x="0" y="50"/>
                  </a:cubicBezTo>
                  <a:cubicBezTo>
                    <a:pt x="0" y="51"/>
                    <a:pt x="0" y="52"/>
                    <a:pt x="1" y="53"/>
                  </a:cubicBezTo>
                  <a:cubicBezTo>
                    <a:pt x="1" y="54"/>
                    <a:pt x="2" y="55"/>
                    <a:pt x="2" y="56"/>
                  </a:cubicBezTo>
                  <a:cubicBezTo>
                    <a:pt x="4" y="59"/>
                    <a:pt x="4" y="59"/>
                    <a:pt x="4" y="59"/>
                  </a:cubicBezTo>
                  <a:cubicBezTo>
                    <a:pt x="4" y="60"/>
                    <a:pt x="4" y="61"/>
                    <a:pt x="4" y="61"/>
                  </a:cubicBezTo>
                  <a:cubicBezTo>
                    <a:pt x="4" y="62"/>
                    <a:pt x="5" y="63"/>
                    <a:pt x="5" y="63"/>
                  </a:cubicBezTo>
                  <a:cubicBezTo>
                    <a:pt x="5" y="64"/>
                    <a:pt x="5" y="66"/>
                    <a:pt x="6" y="67"/>
                  </a:cubicBezTo>
                  <a:cubicBezTo>
                    <a:pt x="6" y="67"/>
                    <a:pt x="6" y="67"/>
                    <a:pt x="7" y="68"/>
                  </a:cubicBezTo>
                  <a:cubicBezTo>
                    <a:pt x="8" y="70"/>
                    <a:pt x="9" y="73"/>
                    <a:pt x="11" y="75"/>
                  </a:cubicBezTo>
                  <a:cubicBezTo>
                    <a:pt x="11" y="76"/>
                    <a:pt x="11" y="77"/>
                    <a:pt x="11" y="78"/>
                  </a:cubicBezTo>
                  <a:cubicBezTo>
                    <a:pt x="10" y="78"/>
                    <a:pt x="9" y="79"/>
                    <a:pt x="9" y="79"/>
                  </a:cubicBezTo>
                  <a:cubicBezTo>
                    <a:pt x="9" y="79"/>
                    <a:pt x="9" y="80"/>
                    <a:pt x="9" y="80"/>
                  </a:cubicBezTo>
                  <a:cubicBezTo>
                    <a:pt x="9" y="80"/>
                    <a:pt x="9" y="80"/>
                    <a:pt x="9" y="80"/>
                  </a:cubicBezTo>
                  <a:cubicBezTo>
                    <a:pt x="9" y="82"/>
                    <a:pt x="9" y="82"/>
                    <a:pt x="9" y="82"/>
                  </a:cubicBezTo>
                  <a:cubicBezTo>
                    <a:pt x="9" y="82"/>
                    <a:pt x="8" y="82"/>
                    <a:pt x="8" y="83"/>
                  </a:cubicBezTo>
                  <a:cubicBezTo>
                    <a:pt x="7" y="83"/>
                    <a:pt x="7" y="84"/>
                    <a:pt x="7" y="84"/>
                  </a:cubicBezTo>
                  <a:cubicBezTo>
                    <a:pt x="7" y="84"/>
                    <a:pt x="7" y="84"/>
                    <a:pt x="7" y="84"/>
                  </a:cubicBezTo>
                  <a:cubicBezTo>
                    <a:pt x="7" y="85"/>
                    <a:pt x="7" y="86"/>
                    <a:pt x="7" y="87"/>
                  </a:cubicBezTo>
                  <a:cubicBezTo>
                    <a:pt x="7" y="89"/>
                    <a:pt x="7" y="91"/>
                    <a:pt x="7" y="93"/>
                  </a:cubicBezTo>
                  <a:cubicBezTo>
                    <a:pt x="7" y="94"/>
                    <a:pt x="7" y="94"/>
                    <a:pt x="7" y="94"/>
                  </a:cubicBezTo>
                  <a:cubicBezTo>
                    <a:pt x="8" y="93"/>
                    <a:pt x="8" y="93"/>
                    <a:pt x="8" y="93"/>
                  </a:cubicBezTo>
                  <a:cubicBezTo>
                    <a:pt x="8" y="91"/>
                    <a:pt x="8" y="89"/>
                    <a:pt x="8" y="87"/>
                  </a:cubicBezTo>
                  <a:cubicBezTo>
                    <a:pt x="8" y="86"/>
                    <a:pt x="8" y="86"/>
                    <a:pt x="8" y="85"/>
                  </a:cubicBezTo>
                  <a:cubicBezTo>
                    <a:pt x="9" y="85"/>
                    <a:pt x="9" y="85"/>
                    <a:pt x="9" y="85"/>
                  </a:cubicBezTo>
                  <a:cubicBezTo>
                    <a:pt x="9" y="86"/>
                    <a:pt x="9" y="86"/>
                    <a:pt x="9" y="86"/>
                  </a:cubicBezTo>
                  <a:cubicBezTo>
                    <a:pt x="10" y="86"/>
                    <a:pt x="10" y="86"/>
                    <a:pt x="10" y="86"/>
                  </a:cubicBezTo>
                  <a:cubicBezTo>
                    <a:pt x="10" y="86"/>
                    <a:pt x="10" y="86"/>
                    <a:pt x="10" y="86"/>
                  </a:cubicBezTo>
                  <a:cubicBezTo>
                    <a:pt x="12" y="86"/>
                    <a:pt x="15" y="87"/>
                    <a:pt x="17" y="87"/>
                  </a:cubicBezTo>
                  <a:cubicBezTo>
                    <a:pt x="18" y="87"/>
                    <a:pt x="19" y="87"/>
                    <a:pt x="21" y="87"/>
                  </a:cubicBezTo>
                  <a:cubicBezTo>
                    <a:pt x="22" y="86"/>
                    <a:pt x="22" y="86"/>
                    <a:pt x="22" y="86"/>
                  </a:cubicBezTo>
                  <a:cubicBezTo>
                    <a:pt x="21" y="87"/>
                    <a:pt x="21" y="87"/>
                    <a:pt x="21" y="87"/>
                  </a:cubicBezTo>
                  <a:cubicBezTo>
                    <a:pt x="21" y="88"/>
                    <a:pt x="21" y="88"/>
                    <a:pt x="21" y="88"/>
                  </a:cubicBezTo>
                  <a:cubicBezTo>
                    <a:pt x="22" y="86"/>
                    <a:pt x="22" y="86"/>
                    <a:pt x="22" y="86"/>
                  </a:cubicBezTo>
                  <a:cubicBezTo>
                    <a:pt x="23" y="86"/>
                    <a:pt x="23" y="86"/>
                    <a:pt x="24" y="86"/>
                  </a:cubicBezTo>
                  <a:cubicBezTo>
                    <a:pt x="23" y="87"/>
                    <a:pt x="23" y="87"/>
                    <a:pt x="22" y="88"/>
                  </a:cubicBezTo>
                  <a:cubicBezTo>
                    <a:pt x="23" y="88"/>
                    <a:pt x="23" y="88"/>
                    <a:pt x="23" y="88"/>
                  </a:cubicBezTo>
                  <a:cubicBezTo>
                    <a:pt x="23" y="88"/>
                    <a:pt x="24" y="87"/>
                    <a:pt x="24" y="86"/>
                  </a:cubicBezTo>
                  <a:cubicBezTo>
                    <a:pt x="25" y="86"/>
                    <a:pt x="26" y="86"/>
                    <a:pt x="27" y="86"/>
                  </a:cubicBezTo>
                  <a:cubicBezTo>
                    <a:pt x="25" y="87"/>
                    <a:pt x="24" y="89"/>
                    <a:pt x="23" y="90"/>
                  </a:cubicBezTo>
                  <a:cubicBezTo>
                    <a:pt x="23" y="91"/>
                    <a:pt x="23" y="91"/>
                    <a:pt x="23" y="91"/>
                  </a:cubicBezTo>
                  <a:cubicBezTo>
                    <a:pt x="25" y="89"/>
                    <a:pt x="26" y="87"/>
                    <a:pt x="28" y="85"/>
                  </a:cubicBezTo>
                  <a:cubicBezTo>
                    <a:pt x="28" y="85"/>
                    <a:pt x="28" y="85"/>
                    <a:pt x="28" y="85"/>
                  </a:cubicBezTo>
                  <a:cubicBezTo>
                    <a:pt x="28" y="85"/>
                    <a:pt x="28" y="85"/>
                    <a:pt x="28" y="85"/>
                  </a:cubicBezTo>
                  <a:cubicBezTo>
                    <a:pt x="29" y="85"/>
                    <a:pt x="29" y="85"/>
                    <a:pt x="29" y="85"/>
                  </a:cubicBezTo>
                  <a:cubicBezTo>
                    <a:pt x="29" y="84"/>
                    <a:pt x="29" y="84"/>
                    <a:pt x="29" y="84"/>
                  </a:cubicBezTo>
                  <a:cubicBezTo>
                    <a:pt x="29" y="85"/>
                    <a:pt x="29" y="85"/>
                    <a:pt x="29" y="85"/>
                  </a:cubicBezTo>
                  <a:cubicBezTo>
                    <a:pt x="29" y="85"/>
                    <a:pt x="29" y="85"/>
                    <a:pt x="29" y="85"/>
                  </a:cubicBezTo>
                  <a:cubicBezTo>
                    <a:pt x="24" y="91"/>
                    <a:pt x="24" y="91"/>
                    <a:pt x="24" y="91"/>
                  </a:cubicBezTo>
                  <a:cubicBezTo>
                    <a:pt x="24" y="91"/>
                    <a:pt x="24" y="91"/>
                    <a:pt x="24" y="91"/>
                  </a:cubicBezTo>
                  <a:cubicBezTo>
                    <a:pt x="24" y="92"/>
                    <a:pt x="24" y="92"/>
                    <a:pt x="24" y="92"/>
                  </a:cubicBezTo>
                  <a:cubicBezTo>
                    <a:pt x="24" y="92"/>
                    <a:pt x="24" y="92"/>
                    <a:pt x="24" y="92"/>
                  </a:cubicBezTo>
                  <a:cubicBezTo>
                    <a:pt x="24" y="91"/>
                    <a:pt x="24" y="91"/>
                    <a:pt x="24" y="91"/>
                  </a:cubicBezTo>
                  <a:cubicBezTo>
                    <a:pt x="24" y="91"/>
                    <a:pt x="24" y="91"/>
                    <a:pt x="24" y="91"/>
                  </a:cubicBezTo>
                  <a:cubicBezTo>
                    <a:pt x="29" y="86"/>
                    <a:pt x="29" y="86"/>
                    <a:pt x="29" y="86"/>
                  </a:cubicBezTo>
                  <a:cubicBezTo>
                    <a:pt x="29" y="87"/>
                    <a:pt x="29" y="88"/>
                    <a:pt x="29" y="89"/>
                  </a:cubicBezTo>
                  <a:cubicBezTo>
                    <a:pt x="29" y="90"/>
                    <a:pt x="29" y="92"/>
                    <a:pt x="29" y="94"/>
                  </a:cubicBezTo>
                  <a:cubicBezTo>
                    <a:pt x="28" y="93"/>
                    <a:pt x="28" y="93"/>
                    <a:pt x="28" y="93"/>
                  </a:cubicBezTo>
                  <a:cubicBezTo>
                    <a:pt x="28" y="94"/>
                    <a:pt x="27" y="95"/>
                    <a:pt x="27" y="96"/>
                  </a:cubicBezTo>
                  <a:cubicBezTo>
                    <a:pt x="27" y="96"/>
                    <a:pt x="27" y="96"/>
                    <a:pt x="27" y="96"/>
                  </a:cubicBezTo>
                  <a:cubicBezTo>
                    <a:pt x="28" y="95"/>
                    <a:pt x="28" y="94"/>
                    <a:pt x="29" y="94"/>
                  </a:cubicBezTo>
                  <a:cubicBezTo>
                    <a:pt x="29" y="94"/>
                    <a:pt x="29" y="94"/>
                    <a:pt x="29" y="94"/>
                  </a:cubicBezTo>
                  <a:cubicBezTo>
                    <a:pt x="29" y="95"/>
                    <a:pt x="29" y="95"/>
                    <a:pt x="29" y="95"/>
                  </a:cubicBezTo>
                  <a:cubicBezTo>
                    <a:pt x="30" y="94"/>
                    <a:pt x="30" y="94"/>
                    <a:pt x="30" y="94"/>
                  </a:cubicBezTo>
                  <a:cubicBezTo>
                    <a:pt x="30" y="93"/>
                    <a:pt x="30" y="91"/>
                    <a:pt x="30" y="89"/>
                  </a:cubicBezTo>
                  <a:cubicBezTo>
                    <a:pt x="30" y="87"/>
                    <a:pt x="30" y="85"/>
                    <a:pt x="30" y="83"/>
                  </a:cubicBezTo>
                  <a:cubicBezTo>
                    <a:pt x="30" y="83"/>
                    <a:pt x="30" y="83"/>
                    <a:pt x="30" y="82"/>
                  </a:cubicBezTo>
                  <a:cubicBezTo>
                    <a:pt x="29" y="82"/>
                    <a:pt x="29" y="82"/>
                    <a:pt x="29" y="82"/>
                  </a:cubicBezTo>
                  <a:cubicBezTo>
                    <a:pt x="29" y="82"/>
                    <a:pt x="29" y="82"/>
                    <a:pt x="29" y="82"/>
                  </a:cubicBezTo>
                  <a:cubicBezTo>
                    <a:pt x="29" y="81"/>
                    <a:pt x="29" y="81"/>
                    <a:pt x="29" y="80"/>
                  </a:cubicBezTo>
                  <a:cubicBezTo>
                    <a:pt x="29" y="80"/>
                    <a:pt x="29" y="80"/>
                    <a:pt x="29" y="80"/>
                  </a:cubicBezTo>
                  <a:cubicBezTo>
                    <a:pt x="29" y="79"/>
                    <a:pt x="29" y="79"/>
                    <a:pt x="28" y="78"/>
                  </a:cubicBezTo>
                  <a:cubicBezTo>
                    <a:pt x="28" y="78"/>
                    <a:pt x="27" y="77"/>
                    <a:pt x="27" y="77"/>
                  </a:cubicBezTo>
                  <a:cubicBezTo>
                    <a:pt x="27" y="77"/>
                    <a:pt x="27" y="76"/>
                    <a:pt x="27" y="75"/>
                  </a:cubicBezTo>
                  <a:cubicBezTo>
                    <a:pt x="27" y="74"/>
                    <a:pt x="27" y="74"/>
                    <a:pt x="28" y="73"/>
                  </a:cubicBezTo>
                  <a:cubicBezTo>
                    <a:pt x="29" y="71"/>
                    <a:pt x="30" y="69"/>
                    <a:pt x="29" y="65"/>
                  </a:cubicBezTo>
                  <a:cubicBezTo>
                    <a:pt x="29" y="62"/>
                    <a:pt x="28" y="60"/>
                    <a:pt x="27" y="58"/>
                  </a:cubicBezTo>
                  <a:cubicBezTo>
                    <a:pt x="27" y="57"/>
                    <a:pt x="26" y="56"/>
                    <a:pt x="26" y="54"/>
                  </a:cubicBezTo>
                  <a:cubicBezTo>
                    <a:pt x="25" y="51"/>
                    <a:pt x="24" y="48"/>
                    <a:pt x="25" y="45"/>
                  </a:cubicBezTo>
                  <a:cubicBezTo>
                    <a:pt x="25" y="44"/>
                    <a:pt x="24" y="43"/>
                    <a:pt x="23" y="42"/>
                  </a:cubicBezTo>
                  <a:cubicBezTo>
                    <a:pt x="23" y="42"/>
                    <a:pt x="22" y="42"/>
                    <a:pt x="22" y="42"/>
                  </a:cubicBezTo>
                  <a:cubicBezTo>
                    <a:pt x="22" y="42"/>
                    <a:pt x="22" y="42"/>
                    <a:pt x="21" y="42"/>
                  </a:cubicBezTo>
                  <a:cubicBezTo>
                    <a:pt x="22" y="42"/>
                    <a:pt x="23" y="40"/>
                    <a:pt x="23" y="40"/>
                  </a:cubicBezTo>
                  <a:cubicBezTo>
                    <a:pt x="23" y="39"/>
                    <a:pt x="23" y="39"/>
                    <a:pt x="23" y="39"/>
                  </a:cubicBezTo>
                  <a:cubicBezTo>
                    <a:pt x="23" y="38"/>
                    <a:pt x="23" y="38"/>
                    <a:pt x="23" y="38"/>
                  </a:cubicBezTo>
                  <a:cubicBezTo>
                    <a:pt x="23" y="38"/>
                    <a:pt x="23" y="38"/>
                    <a:pt x="23" y="38"/>
                  </a:cubicBezTo>
                  <a:cubicBezTo>
                    <a:pt x="24" y="38"/>
                    <a:pt x="24" y="38"/>
                    <a:pt x="24" y="38"/>
                  </a:cubicBezTo>
                  <a:cubicBezTo>
                    <a:pt x="23" y="38"/>
                    <a:pt x="23" y="38"/>
                    <a:pt x="23" y="38"/>
                  </a:cubicBezTo>
                  <a:cubicBezTo>
                    <a:pt x="23" y="37"/>
                    <a:pt x="23" y="37"/>
                    <a:pt x="23" y="37"/>
                  </a:cubicBezTo>
                  <a:cubicBezTo>
                    <a:pt x="23" y="37"/>
                    <a:pt x="23" y="37"/>
                    <a:pt x="23" y="37"/>
                  </a:cubicBezTo>
                  <a:cubicBezTo>
                    <a:pt x="23" y="37"/>
                    <a:pt x="23" y="37"/>
                    <a:pt x="23" y="37"/>
                  </a:cubicBezTo>
                  <a:cubicBezTo>
                    <a:pt x="23" y="36"/>
                    <a:pt x="23" y="36"/>
                    <a:pt x="23" y="36"/>
                  </a:cubicBezTo>
                  <a:cubicBezTo>
                    <a:pt x="23" y="36"/>
                    <a:pt x="23" y="36"/>
                    <a:pt x="23" y="36"/>
                  </a:cubicBezTo>
                  <a:cubicBezTo>
                    <a:pt x="23" y="36"/>
                    <a:pt x="23" y="36"/>
                    <a:pt x="23" y="36"/>
                  </a:cubicBezTo>
                  <a:cubicBezTo>
                    <a:pt x="23" y="36"/>
                    <a:pt x="23" y="36"/>
                    <a:pt x="23" y="36"/>
                  </a:cubicBezTo>
                  <a:cubicBezTo>
                    <a:pt x="23" y="35"/>
                    <a:pt x="23" y="35"/>
                    <a:pt x="23" y="35"/>
                  </a:cubicBezTo>
                  <a:cubicBezTo>
                    <a:pt x="23" y="35"/>
                    <a:pt x="23" y="35"/>
                    <a:pt x="23" y="35"/>
                  </a:cubicBezTo>
                  <a:cubicBezTo>
                    <a:pt x="23" y="34"/>
                    <a:pt x="23" y="34"/>
                    <a:pt x="23" y="34"/>
                  </a:cubicBezTo>
                  <a:cubicBezTo>
                    <a:pt x="23" y="34"/>
                    <a:pt x="23" y="34"/>
                    <a:pt x="23" y="34"/>
                  </a:cubicBezTo>
                  <a:cubicBezTo>
                    <a:pt x="23" y="32"/>
                    <a:pt x="23" y="32"/>
                    <a:pt x="23" y="32"/>
                  </a:cubicBezTo>
                  <a:cubicBezTo>
                    <a:pt x="23" y="32"/>
                    <a:pt x="23" y="32"/>
                    <a:pt x="23" y="32"/>
                  </a:cubicBezTo>
                  <a:cubicBezTo>
                    <a:pt x="24" y="31"/>
                    <a:pt x="25" y="30"/>
                    <a:pt x="25" y="29"/>
                  </a:cubicBezTo>
                  <a:cubicBezTo>
                    <a:pt x="25" y="29"/>
                    <a:pt x="25" y="28"/>
                    <a:pt x="25" y="28"/>
                  </a:cubicBezTo>
                  <a:cubicBezTo>
                    <a:pt x="25" y="28"/>
                    <a:pt x="25" y="27"/>
                    <a:pt x="25" y="27"/>
                  </a:cubicBezTo>
                  <a:cubicBezTo>
                    <a:pt x="26" y="26"/>
                    <a:pt x="26" y="26"/>
                    <a:pt x="26" y="26"/>
                  </a:cubicBezTo>
                  <a:cubicBezTo>
                    <a:pt x="26" y="25"/>
                    <a:pt x="26" y="24"/>
                    <a:pt x="28" y="22"/>
                  </a:cubicBezTo>
                  <a:cubicBezTo>
                    <a:pt x="30" y="19"/>
                    <a:pt x="32" y="12"/>
                    <a:pt x="29" y="6"/>
                  </a:cubicBezTo>
                  <a:cubicBezTo>
                    <a:pt x="28" y="3"/>
                    <a:pt x="25" y="0"/>
                    <a:pt x="17" y="0"/>
                  </a:cubicBezTo>
                  <a:cubicBezTo>
                    <a:pt x="17" y="0"/>
                    <a:pt x="17" y="0"/>
                    <a:pt x="1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59" name="íśḻîḍe"/>
            <p:cNvSpPr/>
            <p:nvPr/>
          </p:nvSpPr>
          <p:spPr bwMode="auto">
            <a:xfrm>
              <a:off x="3958" y="1687"/>
              <a:ext cx="5" cy="26"/>
            </a:xfrm>
            <a:custGeom>
              <a:avLst/>
              <a:gdLst>
                <a:gd name="T0" fmla="*/ 1 w 2"/>
                <a:gd name="T1" fmla="*/ 0 h 11"/>
                <a:gd name="T2" fmla="*/ 0 w 2"/>
                <a:gd name="T3" fmla="*/ 0 h 11"/>
                <a:gd name="T4" fmla="*/ 1 w 2"/>
                <a:gd name="T5" fmla="*/ 10 h 11"/>
                <a:gd name="T6" fmla="*/ 2 w 2"/>
                <a:gd name="T7" fmla="*/ 11 h 11"/>
                <a:gd name="T8" fmla="*/ 2 w 2"/>
                <a:gd name="T9" fmla="*/ 11 h 11"/>
                <a:gd name="T10" fmla="*/ 2 w 2"/>
                <a:gd name="T11" fmla="*/ 10 h 11"/>
                <a:gd name="T12" fmla="*/ 1 w 2"/>
                <a:gd name="T13" fmla="*/ 0 h 11"/>
                <a:gd name="T14" fmla="*/ 1 w 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1">
                  <a:moveTo>
                    <a:pt x="1" y="0"/>
                  </a:moveTo>
                  <a:cubicBezTo>
                    <a:pt x="0" y="0"/>
                    <a:pt x="0" y="0"/>
                    <a:pt x="0" y="0"/>
                  </a:cubicBezTo>
                  <a:cubicBezTo>
                    <a:pt x="0" y="3"/>
                    <a:pt x="1" y="7"/>
                    <a:pt x="1" y="10"/>
                  </a:cubicBezTo>
                  <a:cubicBezTo>
                    <a:pt x="2" y="11"/>
                    <a:pt x="2" y="11"/>
                    <a:pt x="2" y="11"/>
                  </a:cubicBezTo>
                  <a:cubicBezTo>
                    <a:pt x="2" y="11"/>
                    <a:pt x="2" y="11"/>
                    <a:pt x="2" y="11"/>
                  </a:cubicBezTo>
                  <a:cubicBezTo>
                    <a:pt x="2" y="10"/>
                    <a:pt x="2" y="10"/>
                    <a:pt x="2" y="10"/>
                  </a:cubicBezTo>
                  <a:cubicBezTo>
                    <a:pt x="2" y="7"/>
                    <a:pt x="1" y="3"/>
                    <a:pt x="1" y="0"/>
                  </a:cubicBezTo>
                  <a:cubicBezTo>
                    <a:pt x="1" y="0"/>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60" name="ïṡ1iḋè"/>
            <p:cNvSpPr/>
            <p:nvPr/>
          </p:nvSpPr>
          <p:spPr bwMode="auto">
            <a:xfrm>
              <a:off x="3991" y="1703"/>
              <a:ext cx="19" cy="15"/>
            </a:xfrm>
            <a:custGeom>
              <a:avLst/>
              <a:gdLst>
                <a:gd name="T0" fmla="*/ 17 w 19"/>
                <a:gd name="T1" fmla="*/ 0 h 15"/>
                <a:gd name="T2" fmla="*/ 2 w 19"/>
                <a:gd name="T3" fmla="*/ 12 h 15"/>
                <a:gd name="T4" fmla="*/ 0 w 19"/>
                <a:gd name="T5" fmla="*/ 15 h 15"/>
                <a:gd name="T6" fmla="*/ 2 w 19"/>
                <a:gd name="T7" fmla="*/ 15 h 15"/>
                <a:gd name="T8" fmla="*/ 2 w 19"/>
                <a:gd name="T9" fmla="*/ 15 h 15"/>
                <a:gd name="T10" fmla="*/ 17 w 19"/>
                <a:gd name="T11" fmla="*/ 3 h 15"/>
                <a:gd name="T12" fmla="*/ 19 w 19"/>
                <a:gd name="T13" fmla="*/ 0 h 15"/>
                <a:gd name="T14" fmla="*/ 17 w 19"/>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5">
                  <a:moveTo>
                    <a:pt x="17" y="0"/>
                  </a:moveTo>
                  <a:lnTo>
                    <a:pt x="2" y="12"/>
                  </a:lnTo>
                  <a:lnTo>
                    <a:pt x="0" y="15"/>
                  </a:lnTo>
                  <a:lnTo>
                    <a:pt x="2" y="15"/>
                  </a:lnTo>
                  <a:lnTo>
                    <a:pt x="2" y="15"/>
                  </a:lnTo>
                  <a:lnTo>
                    <a:pt x="17" y="3"/>
                  </a:lnTo>
                  <a:lnTo>
                    <a:pt x="19" y="0"/>
                  </a:lnTo>
                  <a:lnTo>
                    <a:pt x="17"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61" name="îSḷïḓê"/>
            <p:cNvSpPr/>
            <p:nvPr/>
          </p:nvSpPr>
          <p:spPr bwMode="auto">
            <a:xfrm>
              <a:off x="3991" y="1703"/>
              <a:ext cx="19" cy="15"/>
            </a:xfrm>
            <a:custGeom>
              <a:avLst/>
              <a:gdLst>
                <a:gd name="T0" fmla="*/ 17 w 19"/>
                <a:gd name="T1" fmla="*/ 0 h 15"/>
                <a:gd name="T2" fmla="*/ 2 w 19"/>
                <a:gd name="T3" fmla="*/ 12 h 15"/>
                <a:gd name="T4" fmla="*/ 0 w 19"/>
                <a:gd name="T5" fmla="*/ 15 h 15"/>
                <a:gd name="T6" fmla="*/ 2 w 19"/>
                <a:gd name="T7" fmla="*/ 15 h 15"/>
                <a:gd name="T8" fmla="*/ 2 w 19"/>
                <a:gd name="T9" fmla="*/ 15 h 15"/>
                <a:gd name="T10" fmla="*/ 17 w 19"/>
                <a:gd name="T11" fmla="*/ 3 h 15"/>
                <a:gd name="T12" fmla="*/ 19 w 19"/>
                <a:gd name="T13" fmla="*/ 0 h 15"/>
                <a:gd name="T14" fmla="*/ 17 w 19"/>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5">
                  <a:moveTo>
                    <a:pt x="17" y="0"/>
                  </a:moveTo>
                  <a:lnTo>
                    <a:pt x="2" y="12"/>
                  </a:lnTo>
                  <a:lnTo>
                    <a:pt x="0" y="15"/>
                  </a:lnTo>
                  <a:lnTo>
                    <a:pt x="2" y="15"/>
                  </a:lnTo>
                  <a:lnTo>
                    <a:pt x="2" y="15"/>
                  </a:lnTo>
                  <a:lnTo>
                    <a:pt x="17" y="3"/>
                  </a:lnTo>
                  <a:lnTo>
                    <a:pt x="19" y="0"/>
                  </a:lnTo>
                  <a:lnTo>
                    <a:pt x="17"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62" name="isľíḑè"/>
            <p:cNvSpPr/>
            <p:nvPr/>
          </p:nvSpPr>
          <p:spPr bwMode="auto">
            <a:xfrm>
              <a:off x="4003" y="1739"/>
              <a:ext cx="19" cy="7"/>
            </a:xfrm>
            <a:custGeom>
              <a:avLst/>
              <a:gdLst>
                <a:gd name="T0" fmla="*/ 7 w 8"/>
                <a:gd name="T1" fmla="*/ 0 h 3"/>
                <a:gd name="T2" fmla="*/ 0 w 8"/>
                <a:gd name="T3" fmla="*/ 2 h 3"/>
                <a:gd name="T4" fmla="*/ 0 w 8"/>
                <a:gd name="T5" fmla="*/ 2 h 3"/>
                <a:gd name="T6" fmla="*/ 1 w 8"/>
                <a:gd name="T7" fmla="*/ 3 h 3"/>
                <a:gd name="T8" fmla="*/ 8 w 8"/>
                <a:gd name="T9" fmla="*/ 1 h 3"/>
                <a:gd name="T10" fmla="*/ 8 w 8"/>
                <a:gd name="T11" fmla="*/ 0 h 3"/>
                <a:gd name="T12" fmla="*/ 7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7" y="0"/>
                  </a:moveTo>
                  <a:cubicBezTo>
                    <a:pt x="5" y="1"/>
                    <a:pt x="3" y="2"/>
                    <a:pt x="0" y="2"/>
                  </a:cubicBezTo>
                  <a:cubicBezTo>
                    <a:pt x="0" y="2"/>
                    <a:pt x="0" y="2"/>
                    <a:pt x="0" y="2"/>
                  </a:cubicBezTo>
                  <a:cubicBezTo>
                    <a:pt x="1" y="3"/>
                    <a:pt x="1" y="3"/>
                    <a:pt x="1" y="3"/>
                  </a:cubicBezTo>
                  <a:cubicBezTo>
                    <a:pt x="3" y="3"/>
                    <a:pt x="5" y="2"/>
                    <a:pt x="8" y="1"/>
                  </a:cubicBezTo>
                  <a:cubicBezTo>
                    <a:pt x="8" y="0"/>
                    <a:pt x="8" y="0"/>
                    <a:pt x="8" y="0"/>
                  </a:cubicBezTo>
                  <a:cubicBezTo>
                    <a:pt x="7" y="0"/>
                    <a:pt x="7" y="0"/>
                    <a:pt x="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63" name="íṡ1ïde"/>
            <p:cNvSpPr/>
            <p:nvPr/>
          </p:nvSpPr>
          <p:spPr bwMode="auto">
            <a:xfrm>
              <a:off x="4001" y="1768"/>
              <a:ext cx="14" cy="14"/>
            </a:xfrm>
            <a:custGeom>
              <a:avLst/>
              <a:gdLst>
                <a:gd name="T0" fmla="*/ 2 w 14"/>
                <a:gd name="T1" fmla="*/ 0 h 14"/>
                <a:gd name="T2" fmla="*/ 0 w 14"/>
                <a:gd name="T3" fmla="*/ 0 h 14"/>
                <a:gd name="T4" fmla="*/ 0 w 14"/>
                <a:gd name="T5" fmla="*/ 2 h 14"/>
                <a:gd name="T6" fmla="*/ 11 w 14"/>
                <a:gd name="T7" fmla="*/ 12 h 14"/>
                <a:gd name="T8" fmla="*/ 14 w 14"/>
                <a:gd name="T9" fmla="*/ 14 h 14"/>
                <a:gd name="T10" fmla="*/ 14 w 14"/>
                <a:gd name="T11" fmla="*/ 12 h 14"/>
                <a:gd name="T12" fmla="*/ 14 w 14"/>
                <a:gd name="T13" fmla="*/ 12 h 14"/>
                <a:gd name="T14" fmla="*/ 2 w 14"/>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4">
                  <a:moveTo>
                    <a:pt x="2" y="0"/>
                  </a:moveTo>
                  <a:lnTo>
                    <a:pt x="0" y="0"/>
                  </a:lnTo>
                  <a:lnTo>
                    <a:pt x="0" y="2"/>
                  </a:lnTo>
                  <a:lnTo>
                    <a:pt x="11" y="12"/>
                  </a:lnTo>
                  <a:lnTo>
                    <a:pt x="14" y="14"/>
                  </a:lnTo>
                  <a:lnTo>
                    <a:pt x="14" y="12"/>
                  </a:lnTo>
                  <a:lnTo>
                    <a:pt x="14" y="12"/>
                  </a:lnTo>
                  <a:lnTo>
                    <a:pt x="2"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64" name="îşḷïďè"/>
            <p:cNvSpPr/>
            <p:nvPr/>
          </p:nvSpPr>
          <p:spPr bwMode="auto">
            <a:xfrm>
              <a:off x="4001" y="1768"/>
              <a:ext cx="14" cy="14"/>
            </a:xfrm>
            <a:custGeom>
              <a:avLst/>
              <a:gdLst>
                <a:gd name="T0" fmla="*/ 2 w 14"/>
                <a:gd name="T1" fmla="*/ 0 h 14"/>
                <a:gd name="T2" fmla="*/ 0 w 14"/>
                <a:gd name="T3" fmla="*/ 0 h 14"/>
                <a:gd name="T4" fmla="*/ 0 w 14"/>
                <a:gd name="T5" fmla="*/ 2 h 14"/>
                <a:gd name="T6" fmla="*/ 11 w 14"/>
                <a:gd name="T7" fmla="*/ 12 h 14"/>
                <a:gd name="T8" fmla="*/ 14 w 14"/>
                <a:gd name="T9" fmla="*/ 14 h 14"/>
                <a:gd name="T10" fmla="*/ 14 w 14"/>
                <a:gd name="T11" fmla="*/ 12 h 14"/>
                <a:gd name="T12" fmla="*/ 14 w 14"/>
                <a:gd name="T13" fmla="*/ 12 h 14"/>
                <a:gd name="T14" fmla="*/ 2 w 14"/>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4">
                  <a:moveTo>
                    <a:pt x="2" y="0"/>
                  </a:moveTo>
                  <a:lnTo>
                    <a:pt x="0" y="0"/>
                  </a:lnTo>
                  <a:lnTo>
                    <a:pt x="0" y="2"/>
                  </a:lnTo>
                  <a:lnTo>
                    <a:pt x="11" y="12"/>
                  </a:lnTo>
                  <a:lnTo>
                    <a:pt x="14" y="14"/>
                  </a:lnTo>
                  <a:lnTo>
                    <a:pt x="14" y="12"/>
                  </a:lnTo>
                  <a:lnTo>
                    <a:pt x="14" y="12"/>
                  </a:lnTo>
                  <a:lnTo>
                    <a:pt x="2"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65" name="iSļïďè"/>
            <p:cNvSpPr/>
            <p:nvPr/>
          </p:nvSpPr>
          <p:spPr bwMode="auto">
            <a:xfrm>
              <a:off x="3917" y="1703"/>
              <a:ext cx="15" cy="15"/>
            </a:xfrm>
            <a:custGeom>
              <a:avLst/>
              <a:gdLst>
                <a:gd name="T0" fmla="*/ 1 w 6"/>
                <a:gd name="T1" fmla="*/ 0 h 6"/>
                <a:gd name="T2" fmla="*/ 0 w 6"/>
                <a:gd name="T3" fmla="*/ 0 h 6"/>
                <a:gd name="T4" fmla="*/ 1 w 6"/>
                <a:gd name="T5" fmla="*/ 1 h 6"/>
                <a:gd name="T6" fmla="*/ 5 w 6"/>
                <a:gd name="T7" fmla="*/ 6 h 6"/>
                <a:gd name="T8" fmla="*/ 6 w 6"/>
                <a:gd name="T9" fmla="*/ 6 h 6"/>
                <a:gd name="T10" fmla="*/ 6 w 6"/>
                <a:gd name="T11" fmla="*/ 6 h 6"/>
                <a:gd name="T12" fmla="*/ 6 w 6"/>
                <a:gd name="T13" fmla="*/ 5 h 6"/>
                <a:gd name="T14" fmla="*/ 1 w 6"/>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1" y="0"/>
                  </a:moveTo>
                  <a:cubicBezTo>
                    <a:pt x="0" y="0"/>
                    <a:pt x="0" y="0"/>
                    <a:pt x="0" y="0"/>
                  </a:cubicBezTo>
                  <a:cubicBezTo>
                    <a:pt x="1" y="1"/>
                    <a:pt x="1" y="1"/>
                    <a:pt x="1" y="1"/>
                  </a:cubicBezTo>
                  <a:cubicBezTo>
                    <a:pt x="2" y="2"/>
                    <a:pt x="4" y="4"/>
                    <a:pt x="5" y="6"/>
                  </a:cubicBezTo>
                  <a:cubicBezTo>
                    <a:pt x="6" y="6"/>
                    <a:pt x="6" y="6"/>
                    <a:pt x="6" y="6"/>
                  </a:cubicBezTo>
                  <a:cubicBezTo>
                    <a:pt x="6" y="6"/>
                    <a:pt x="6" y="6"/>
                    <a:pt x="6" y="6"/>
                  </a:cubicBezTo>
                  <a:cubicBezTo>
                    <a:pt x="6" y="5"/>
                    <a:pt x="6" y="5"/>
                    <a:pt x="6" y="5"/>
                  </a:cubicBezTo>
                  <a:cubicBezTo>
                    <a:pt x="5" y="3"/>
                    <a:pt x="3" y="2"/>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66" name="íṣļïdé"/>
            <p:cNvSpPr/>
            <p:nvPr/>
          </p:nvSpPr>
          <p:spPr bwMode="auto">
            <a:xfrm>
              <a:off x="3908" y="1739"/>
              <a:ext cx="16" cy="7"/>
            </a:xfrm>
            <a:custGeom>
              <a:avLst/>
              <a:gdLst>
                <a:gd name="T0" fmla="*/ 0 w 7"/>
                <a:gd name="T1" fmla="*/ 0 h 3"/>
                <a:gd name="T2" fmla="*/ 0 w 7"/>
                <a:gd name="T3" fmla="*/ 1 h 3"/>
                <a:gd name="T4" fmla="*/ 0 w 7"/>
                <a:gd name="T5" fmla="*/ 1 h 3"/>
                <a:gd name="T6" fmla="*/ 6 w 7"/>
                <a:gd name="T7" fmla="*/ 3 h 3"/>
                <a:gd name="T8" fmla="*/ 6 w 7"/>
                <a:gd name="T9" fmla="*/ 3 h 3"/>
                <a:gd name="T10" fmla="*/ 7 w 7"/>
                <a:gd name="T11" fmla="*/ 3 h 3"/>
                <a:gd name="T12" fmla="*/ 7 w 7"/>
                <a:gd name="T13" fmla="*/ 2 h 3"/>
                <a:gd name="T14" fmla="*/ 0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0" y="0"/>
                  </a:moveTo>
                  <a:cubicBezTo>
                    <a:pt x="0" y="1"/>
                    <a:pt x="0" y="1"/>
                    <a:pt x="0" y="1"/>
                  </a:cubicBezTo>
                  <a:cubicBezTo>
                    <a:pt x="0" y="1"/>
                    <a:pt x="0" y="1"/>
                    <a:pt x="0" y="1"/>
                  </a:cubicBezTo>
                  <a:cubicBezTo>
                    <a:pt x="2" y="2"/>
                    <a:pt x="4" y="2"/>
                    <a:pt x="6" y="3"/>
                  </a:cubicBezTo>
                  <a:cubicBezTo>
                    <a:pt x="6" y="3"/>
                    <a:pt x="6" y="3"/>
                    <a:pt x="6" y="3"/>
                  </a:cubicBezTo>
                  <a:cubicBezTo>
                    <a:pt x="7" y="3"/>
                    <a:pt x="7" y="3"/>
                    <a:pt x="7" y="3"/>
                  </a:cubicBezTo>
                  <a:cubicBezTo>
                    <a:pt x="7" y="2"/>
                    <a:pt x="7" y="2"/>
                    <a:pt x="7" y="2"/>
                  </a:cubicBezTo>
                  <a:cubicBezTo>
                    <a:pt x="5" y="1"/>
                    <a:pt x="2" y="1"/>
                    <a:pt x="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67" name="îSḻíḍe"/>
            <p:cNvSpPr/>
            <p:nvPr/>
          </p:nvSpPr>
          <p:spPr bwMode="auto">
            <a:xfrm>
              <a:off x="3913" y="1772"/>
              <a:ext cx="14" cy="15"/>
            </a:xfrm>
            <a:custGeom>
              <a:avLst/>
              <a:gdLst>
                <a:gd name="T0" fmla="*/ 6 w 6"/>
                <a:gd name="T1" fmla="*/ 0 h 6"/>
                <a:gd name="T2" fmla="*/ 6 w 6"/>
                <a:gd name="T3" fmla="*/ 0 h 6"/>
                <a:gd name="T4" fmla="*/ 3 w 6"/>
                <a:gd name="T5" fmla="*/ 3 h 6"/>
                <a:gd name="T6" fmla="*/ 0 w 6"/>
                <a:gd name="T7" fmla="*/ 5 h 6"/>
                <a:gd name="T8" fmla="*/ 0 w 6"/>
                <a:gd name="T9" fmla="*/ 6 h 6"/>
                <a:gd name="T10" fmla="*/ 0 w 6"/>
                <a:gd name="T11" fmla="*/ 6 h 6"/>
                <a:gd name="T12" fmla="*/ 1 w 6"/>
                <a:gd name="T13" fmla="*/ 6 h 6"/>
                <a:gd name="T14" fmla="*/ 4 w 6"/>
                <a:gd name="T15" fmla="*/ 4 h 6"/>
                <a:gd name="T16" fmla="*/ 6 w 6"/>
                <a:gd name="T17" fmla="*/ 1 h 6"/>
                <a:gd name="T18" fmla="*/ 6 w 6"/>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0"/>
                  </a:moveTo>
                  <a:cubicBezTo>
                    <a:pt x="6" y="0"/>
                    <a:pt x="6" y="0"/>
                    <a:pt x="6" y="0"/>
                  </a:cubicBezTo>
                  <a:cubicBezTo>
                    <a:pt x="5" y="2"/>
                    <a:pt x="4" y="2"/>
                    <a:pt x="3" y="3"/>
                  </a:cubicBezTo>
                  <a:cubicBezTo>
                    <a:pt x="2" y="3"/>
                    <a:pt x="1" y="4"/>
                    <a:pt x="0" y="5"/>
                  </a:cubicBezTo>
                  <a:cubicBezTo>
                    <a:pt x="0" y="6"/>
                    <a:pt x="0" y="6"/>
                    <a:pt x="0" y="6"/>
                  </a:cubicBezTo>
                  <a:cubicBezTo>
                    <a:pt x="0" y="6"/>
                    <a:pt x="0" y="6"/>
                    <a:pt x="0" y="6"/>
                  </a:cubicBezTo>
                  <a:cubicBezTo>
                    <a:pt x="1" y="6"/>
                    <a:pt x="1" y="6"/>
                    <a:pt x="1" y="6"/>
                  </a:cubicBezTo>
                  <a:cubicBezTo>
                    <a:pt x="2" y="5"/>
                    <a:pt x="3" y="4"/>
                    <a:pt x="4" y="4"/>
                  </a:cubicBezTo>
                  <a:cubicBezTo>
                    <a:pt x="4" y="3"/>
                    <a:pt x="5" y="2"/>
                    <a:pt x="6" y="1"/>
                  </a:cubicBezTo>
                  <a:cubicBezTo>
                    <a:pt x="6" y="0"/>
                    <a:pt x="6" y="0"/>
                    <a:pt x="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68" name="ïṧḷíḋê"/>
            <p:cNvSpPr/>
            <p:nvPr/>
          </p:nvSpPr>
          <p:spPr bwMode="auto">
            <a:xfrm>
              <a:off x="4234" y="2227"/>
              <a:ext cx="54" cy="85"/>
            </a:xfrm>
            <a:custGeom>
              <a:avLst/>
              <a:gdLst>
                <a:gd name="T0" fmla="*/ 14 w 23"/>
                <a:gd name="T1" fmla="*/ 35 h 36"/>
                <a:gd name="T2" fmla="*/ 11 w 23"/>
                <a:gd name="T3" fmla="*/ 33 h 36"/>
                <a:gd name="T4" fmla="*/ 18 w 23"/>
                <a:gd name="T5" fmla="*/ 31 h 36"/>
                <a:gd name="T6" fmla="*/ 13 w 23"/>
                <a:gd name="T7" fmla="*/ 32 h 36"/>
                <a:gd name="T8" fmla="*/ 17 w 23"/>
                <a:gd name="T9" fmla="*/ 30 h 36"/>
                <a:gd name="T10" fmla="*/ 10 w 23"/>
                <a:gd name="T11" fmla="*/ 31 h 36"/>
                <a:gd name="T12" fmla="*/ 17 w 23"/>
                <a:gd name="T13" fmla="*/ 28 h 36"/>
                <a:gd name="T14" fmla="*/ 14 w 23"/>
                <a:gd name="T15" fmla="*/ 30 h 36"/>
                <a:gd name="T16" fmla="*/ 9 w 23"/>
                <a:gd name="T17" fmla="*/ 30 h 36"/>
                <a:gd name="T18" fmla="*/ 17 w 23"/>
                <a:gd name="T19" fmla="*/ 27 h 36"/>
                <a:gd name="T20" fmla="*/ 10 w 23"/>
                <a:gd name="T21" fmla="*/ 29 h 36"/>
                <a:gd name="T22" fmla="*/ 9 w 23"/>
                <a:gd name="T23" fmla="*/ 28 h 36"/>
                <a:gd name="T24" fmla="*/ 17 w 23"/>
                <a:gd name="T25" fmla="*/ 26 h 36"/>
                <a:gd name="T26" fmla="*/ 10 w 23"/>
                <a:gd name="T27" fmla="*/ 27 h 36"/>
                <a:gd name="T28" fmla="*/ 9 w 23"/>
                <a:gd name="T29" fmla="*/ 26 h 36"/>
                <a:gd name="T30" fmla="*/ 12 w 23"/>
                <a:gd name="T31" fmla="*/ 25 h 36"/>
                <a:gd name="T32" fmla="*/ 13 w 23"/>
                <a:gd name="T33" fmla="*/ 26 h 36"/>
                <a:gd name="T34" fmla="*/ 14 w 23"/>
                <a:gd name="T35" fmla="*/ 25 h 36"/>
                <a:gd name="T36" fmla="*/ 15 w 23"/>
                <a:gd name="T37" fmla="*/ 25 h 36"/>
                <a:gd name="T38" fmla="*/ 15 w 23"/>
                <a:gd name="T39" fmla="*/ 25 h 36"/>
                <a:gd name="T40" fmla="*/ 11 w 23"/>
                <a:gd name="T41" fmla="*/ 17 h 36"/>
                <a:gd name="T42" fmla="*/ 14 w 23"/>
                <a:gd name="T43" fmla="*/ 24 h 36"/>
                <a:gd name="T44" fmla="*/ 6 w 23"/>
                <a:gd name="T45" fmla="*/ 12 h 36"/>
                <a:gd name="T46" fmla="*/ 7 w 23"/>
                <a:gd name="T47" fmla="*/ 10 h 36"/>
                <a:gd name="T48" fmla="*/ 16 w 23"/>
                <a:gd name="T49" fmla="*/ 10 h 36"/>
                <a:gd name="T50" fmla="*/ 16 w 23"/>
                <a:gd name="T51" fmla="*/ 9 h 36"/>
                <a:gd name="T52" fmla="*/ 12 w 23"/>
                <a:gd name="T53" fmla="*/ 9 h 36"/>
                <a:gd name="T54" fmla="*/ 13 w 23"/>
                <a:gd name="T55" fmla="*/ 10 h 36"/>
                <a:gd name="T56" fmla="*/ 8 w 23"/>
                <a:gd name="T57" fmla="*/ 25 h 36"/>
                <a:gd name="T58" fmla="*/ 5 w 23"/>
                <a:gd name="T59" fmla="*/ 20 h 36"/>
                <a:gd name="T60" fmla="*/ 11 w 23"/>
                <a:gd name="T61" fmla="*/ 0 h 36"/>
                <a:gd name="T62" fmla="*/ 19 w 23"/>
                <a:gd name="T63" fmla="*/ 20 h 36"/>
                <a:gd name="T64" fmla="*/ 18 w 23"/>
                <a:gd name="T65" fmla="*/ 24 h 36"/>
                <a:gd name="T66" fmla="*/ 15 w 23"/>
                <a:gd name="T67" fmla="*/ 16 h 36"/>
                <a:gd name="T68" fmla="*/ 17 w 23"/>
                <a:gd name="T69" fmla="*/ 9 h 36"/>
                <a:gd name="T70" fmla="*/ 14 w 23"/>
                <a:gd name="T71" fmla="*/ 15 h 36"/>
                <a:gd name="T72" fmla="*/ 14 w 23"/>
                <a:gd name="T73" fmla="*/ 8 h 36"/>
                <a:gd name="T74" fmla="*/ 12 w 23"/>
                <a:gd name="T75" fmla="*/ 15 h 36"/>
                <a:gd name="T76" fmla="*/ 9 w 23"/>
                <a:gd name="T77" fmla="*/ 11 h 36"/>
                <a:gd name="T78" fmla="*/ 5 w 23"/>
                <a:gd name="T79" fmla="*/ 11 h 36"/>
                <a:gd name="T80" fmla="*/ 12 w 23"/>
                <a:gd name="T81" fmla="*/ 25 h 36"/>
                <a:gd name="T82" fmla="*/ 12 w 23"/>
                <a:gd name="T83" fmla="*/ 0 h 36"/>
                <a:gd name="T84" fmla="*/ 4 w 23"/>
                <a:gd name="T85" fmla="*/ 19 h 36"/>
                <a:gd name="T86" fmla="*/ 6 w 23"/>
                <a:gd name="T87" fmla="*/ 24 h 36"/>
                <a:gd name="T88" fmla="*/ 8 w 23"/>
                <a:gd name="T89" fmla="*/ 28 h 36"/>
                <a:gd name="T90" fmla="*/ 9 w 23"/>
                <a:gd name="T91" fmla="*/ 31 h 36"/>
                <a:gd name="T92" fmla="*/ 11 w 23"/>
                <a:gd name="T93" fmla="*/ 35 h 36"/>
                <a:gd name="T94" fmla="*/ 19 w 23"/>
                <a:gd name="T95" fmla="*/ 31 h 36"/>
                <a:gd name="T96" fmla="*/ 18 w 23"/>
                <a:gd name="T97" fmla="*/ 30 h 36"/>
                <a:gd name="T98" fmla="*/ 18 w 23"/>
                <a:gd name="T99" fmla="*/ 29 h 36"/>
                <a:gd name="T100" fmla="*/ 18 w 23"/>
                <a:gd name="T101" fmla="*/ 28 h 36"/>
                <a:gd name="T102" fmla="*/ 18 w 23"/>
                <a:gd name="T103" fmla="*/ 26 h 36"/>
                <a:gd name="T104" fmla="*/ 19 w 23"/>
                <a:gd name="T105" fmla="*/ 21 h 36"/>
                <a:gd name="T106" fmla="*/ 12 w 23"/>
                <a:gd name="T10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 h="36">
                  <a:moveTo>
                    <a:pt x="12" y="33"/>
                  </a:moveTo>
                  <a:cubicBezTo>
                    <a:pt x="14" y="33"/>
                    <a:pt x="16" y="33"/>
                    <a:pt x="18" y="32"/>
                  </a:cubicBezTo>
                  <a:cubicBezTo>
                    <a:pt x="17" y="33"/>
                    <a:pt x="17" y="34"/>
                    <a:pt x="16" y="34"/>
                  </a:cubicBezTo>
                  <a:cubicBezTo>
                    <a:pt x="16" y="35"/>
                    <a:pt x="15" y="35"/>
                    <a:pt x="14" y="35"/>
                  </a:cubicBezTo>
                  <a:cubicBezTo>
                    <a:pt x="13" y="35"/>
                    <a:pt x="12" y="35"/>
                    <a:pt x="11" y="34"/>
                  </a:cubicBezTo>
                  <a:cubicBezTo>
                    <a:pt x="11" y="34"/>
                    <a:pt x="10" y="33"/>
                    <a:pt x="10" y="33"/>
                  </a:cubicBezTo>
                  <a:cubicBezTo>
                    <a:pt x="11" y="33"/>
                    <a:pt x="11" y="33"/>
                    <a:pt x="11" y="33"/>
                  </a:cubicBezTo>
                  <a:cubicBezTo>
                    <a:pt x="11" y="33"/>
                    <a:pt x="11" y="33"/>
                    <a:pt x="11" y="33"/>
                  </a:cubicBezTo>
                  <a:cubicBezTo>
                    <a:pt x="11" y="33"/>
                    <a:pt x="12" y="33"/>
                    <a:pt x="12" y="33"/>
                  </a:cubicBezTo>
                  <a:moveTo>
                    <a:pt x="13" y="32"/>
                  </a:moveTo>
                  <a:cubicBezTo>
                    <a:pt x="15" y="32"/>
                    <a:pt x="16" y="32"/>
                    <a:pt x="18" y="31"/>
                  </a:cubicBezTo>
                  <a:cubicBezTo>
                    <a:pt x="18" y="31"/>
                    <a:pt x="18" y="31"/>
                    <a:pt x="18" y="31"/>
                  </a:cubicBezTo>
                  <a:cubicBezTo>
                    <a:pt x="18" y="31"/>
                    <a:pt x="18" y="31"/>
                    <a:pt x="18" y="31"/>
                  </a:cubicBezTo>
                  <a:cubicBezTo>
                    <a:pt x="18" y="31"/>
                    <a:pt x="18" y="31"/>
                    <a:pt x="18" y="31"/>
                  </a:cubicBezTo>
                  <a:cubicBezTo>
                    <a:pt x="17" y="32"/>
                    <a:pt x="17" y="32"/>
                    <a:pt x="17" y="32"/>
                  </a:cubicBezTo>
                  <a:cubicBezTo>
                    <a:pt x="16" y="32"/>
                    <a:pt x="15" y="32"/>
                    <a:pt x="13" y="32"/>
                  </a:cubicBezTo>
                  <a:moveTo>
                    <a:pt x="10" y="31"/>
                  </a:moveTo>
                  <a:cubicBezTo>
                    <a:pt x="12" y="31"/>
                    <a:pt x="13" y="31"/>
                    <a:pt x="15" y="31"/>
                  </a:cubicBezTo>
                  <a:cubicBezTo>
                    <a:pt x="16" y="31"/>
                    <a:pt x="17" y="30"/>
                    <a:pt x="18" y="30"/>
                  </a:cubicBezTo>
                  <a:cubicBezTo>
                    <a:pt x="17" y="30"/>
                    <a:pt x="17" y="30"/>
                    <a:pt x="17" y="30"/>
                  </a:cubicBezTo>
                  <a:cubicBezTo>
                    <a:pt x="15" y="31"/>
                    <a:pt x="13" y="32"/>
                    <a:pt x="10" y="32"/>
                  </a:cubicBezTo>
                  <a:cubicBezTo>
                    <a:pt x="10" y="32"/>
                    <a:pt x="10" y="32"/>
                    <a:pt x="10" y="32"/>
                  </a:cubicBezTo>
                  <a:cubicBezTo>
                    <a:pt x="9" y="32"/>
                    <a:pt x="9" y="32"/>
                    <a:pt x="9" y="32"/>
                  </a:cubicBezTo>
                  <a:cubicBezTo>
                    <a:pt x="10" y="31"/>
                    <a:pt x="10" y="31"/>
                    <a:pt x="10" y="31"/>
                  </a:cubicBezTo>
                  <a:cubicBezTo>
                    <a:pt x="10" y="31"/>
                    <a:pt x="10" y="31"/>
                    <a:pt x="10" y="31"/>
                  </a:cubicBezTo>
                  <a:moveTo>
                    <a:pt x="9" y="30"/>
                  </a:moveTo>
                  <a:cubicBezTo>
                    <a:pt x="10" y="30"/>
                    <a:pt x="10" y="30"/>
                    <a:pt x="10" y="30"/>
                  </a:cubicBezTo>
                  <a:cubicBezTo>
                    <a:pt x="12" y="30"/>
                    <a:pt x="15" y="29"/>
                    <a:pt x="17" y="28"/>
                  </a:cubicBezTo>
                  <a:cubicBezTo>
                    <a:pt x="17" y="28"/>
                    <a:pt x="17" y="28"/>
                    <a:pt x="17" y="28"/>
                  </a:cubicBezTo>
                  <a:cubicBezTo>
                    <a:pt x="17" y="29"/>
                    <a:pt x="17" y="29"/>
                    <a:pt x="17" y="29"/>
                  </a:cubicBezTo>
                  <a:cubicBezTo>
                    <a:pt x="17" y="29"/>
                    <a:pt x="17" y="29"/>
                    <a:pt x="17" y="29"/>
                  </a:cubicBezTo>
                  <a:cubicBezTo>
                    <a:pt x="16" y="30"/>
                    <a:pt x="15" y="30"/>
                    <a:pt x="14" y="30"/>
                  </a:cubicBezTo>
                  <a:cubicBezTo>
                    <a:pt x="13" y="30"/>
                    <a:pt x="12" y="31"/>
                    <a:pt x="10" y="31"/>
                  </a:cubicBezTo>
                  <a:cubicBezTo>
                    <a:pt x="10" y="31"/>
                    <a:pt x="10" y="31"/>
                    <a:pt x="9" y="30"/>
                  </a:cubicBezTo>
                  <a:cubicBezTo>
                    <a:pt x="9" y="30"/>
                    <a:pt x="9" y="30"/>
                    <a:pt x="9" y="30"/>
                  </a:cubicBezTo>
                  <a:cubicBezTo>
                    <a:pt x="9" y="30"/>
                    <a:pt x="9" y="30"/>
                    <a:pt x="9" y="30"/>
                  </a:cubicBezTo>
                  <a:cubicBezTo>
                    <a:pt x="9" y="30"/>
                    <a:pt x="9" y="30"/>
                    <a:pt x="9" y="30"/>
                  </a:cubicBezTo>
                  <a:moveTo>
                    <a:pt x="10" y="28"/>
                  </a:moveTo>
                  <a:cubicBezTo>
                    <a:pt x="10" y="28"/>
                    <a:pt x="10" y="28"/>
                    <a:pt x="11" y="28"/>
                  </a:cubicBezTo>
                  <a:cubicBezTo>
                    <a:pt x="17" y="27"/>
                    <a:pt x="17" y="27"/>
                    <a:pt x="17" y="27"/>
                  </a:cubicBezTo>
                  <a:cubicBezTo>
                    <a:pt x="17" y="27"/>
                    <a:pt x="17" y="27"/>
                    <a:pt x="17" y="27"/>
                  </a:cubicBezTo>
                  <a:cubicBezTo>
                    <a:pt x="17" y="28"/>
                    <a:pt x="17" y="28"/>
                    <a:pt x="17" y="28"/>
                  </a:cubicBezTo>
                  <a:cubicBezTo>
                    <a:pt x="17" y="28"/>
                    <a:pt x="17" y="28"/>
                    <a:pt x="17" y="28"/>
                  </a:cubicBezTo>
                  <a:cubicBezTo>
                    <a:pt x="15" y="28"/>
                    <a:pt x="12" y="29"/>
                    <a:pt x="10" y="29"/>
                  </a:cubicBezTo>
                  <a:cubicBezTo>
                    <a:pt x="9" y="29"/>
                    <a:pt x="9" y="29"/>
                    <a:pt x="9" y="29"/>
                  </a:cubicBezTo>
                  <a:cubicBezTo>
                    <a:pt x="9" y="29"/>
                    <a:pt x="9" y="29"/>
                    <a:pt x="9" y="29"/>
                  </a:cubicBezTo>
                  <a:cubicBezTo>
                    <a:pt x="9" y="29"/>
                    <a:pt x="9" y="29"/>
                    <a:pt x="9" y="29"/>
                  </a:cubicBezTo>
                  <a:cubicBezTo>
                    <a:pt x="9" y="28"/>
                    <a:pt x="9" y="28"/>
                    <a:pt x="9" y="28"/>
                  </a:cubicBezTo>
                  <a:cubicBezTo>
                    <a:pt x="10" y="28"/>
                    <a:pt x="10" y="28"/>
                    <a:pt x="10" y="28"/>
                  </a:cubicBezTo>
                  <a:moveTo>
                    <a:pt x="10" y="27"/>
                  </a:moveTo>
                  <a:cubicBezTo>
                    <a:pt x="12" y="27"/>
                    <a:pt x="14" y="26"/>
                    <a:pt x="16" y="26"/>
                  </a:cubicBezTo>
                  <a:cubicBezTo>
                    <a:pt x="16" y="26"/>
                    <a:pt x="17" y="26"/>
                    <a:pt x="17" y="26"/>
                  </a:cubicBezTo>
                  <a:cubicBezTo>
                    <a:pt x="17" y="26"/>
                    <a:pt x="17" y="26"/>
                    <a:pt x="17" y="26"/>
                  </a:cubicBezTo>
                  <a:cubicBezTo>
                    <a:pt x="17" y="26"/>
                    <a:pt x="17" y="26"/>
                    <a:pt x="17" y="26"/>
                  </a:cubicBezTo>
                  <a:cubicBezTo>
                    <a:pt x="11" y="27"/>
                    <a:pt x="11" y="27"/>
                    <a:pt x="11" y="27"/>
                  </a:cubicBezTo>
                  <a:cubicBezTo>
                    <a:pt x="10" y="27"/>
                    <a:pt x="10" y="27"/>
                    <a:pt x="10" y="27"/>
                  </a:cubicBezTo>
                  <a:cubicBezTo>
                    <a:pt x="9" y="27"/>
                    <a:pt x="9" y="27"/>
                    <a:pt x="9" y="27"/>
                  </a:cubicBezTo>
                  <a:cubicBezTo>
                    <a:pt x="9" y="27"/>
                    <a:pt x="9" y="27"/>
                    <a:pt x="9" y="27"/>
                  </a:cubicBezTo>
                  <a:cubicBezTo>
                    <a:pt x="9" y="27"/>
                    <a:pt x="9" y="27"/>
                    <a:pt x="9" y="27"/>
                  </a:cubicBezTo>
                  <a:cubicBezTo>
                    <a:pt x="9" y="26"/>
                    <a:pt x="9" y="26"/>
                    <a:pt x="9" y="26"/>
                  </a:cubicBezTo>
                  <a:cubicBezTo>
                    <a:pt x="9" y="27"/>
                    <a:pt x="9" y="27"/>
                    <a:pt x="9" y="27"/>
                  </a:cubicBezTo>
                  <a:cubicBezTo>
                    <a:pt x="10" y="27"/>
                    <a:pt x="10" y="27"/>
                    <a:pt x="10" y="27"/>
                  </a:cubicBezTo>
                  <a:moveTo>
                    <a:pt x="11" y="26"/>
                  </a:moveTo>
                  <a:cubicBezTo>
                    <a:pt x="11" y="26"/>
                    <a:pt x="12" y="26"/>
                    <a:pt x="12" y="25"/>
                  </a:cubicBezTo>
                  <a:cubicBezTo>
                    <a:pt x="12" y="26"/>
                    <a:pt x="12" y="26"/>
                    <a:pt x="12" y="26"/>
                  </a:cubicBezTo>
                  <a:cubicBezTo>
                    <a:pt x="12" y="26"/>
                    <a:pt x="12" y="26"/>
                    <a:pt x="12" y="26"/>
                  </a:cubicBezTo>
                  <a:cubicBezTo>
                    <a:pt x="12" y="26"/>
                    <a:pt x="11" y="26"/>
                    <a:pt x="11" y="26"/>
                  </a:cubicBezTo>
                  <a:moveTo>
                    <a:pt x="13" y="26"/>
                  </a:moveTo>
                  <a:cubicBezTo>
                    <a:pt x="13" y="25"/>
                    <a:pt x="13" y="25"/>
                    <a:pt x="13" y="25"/>
                  </a:cubicBezTo>
                  <a:cubicBezTo>
                    <a:pt x="13" y="25"/>
                    <a:pt x="13" y="25"/>
                    <a:pt x="13" y="25"/>
                  </a:cubicBezTo>
                  <a:cubicBezTo>
                    <a:pt x="13" y="25"/>
                    <a:pt x="14" y="25"/>
                    <a:pt x="14" y="25"/>
                  </a:cubicBezTo>
                  <a:cubicBezTo>
                    <a:pt x="14" y="25"/>
                    <a:pt x="14" y="25"/>
                    <a:pt x="14" y="25"/>
                  </a:cubicBezTo>
                  <a:cubicBezTo>
                    <a:pt x="14" y="25"/>
                    <a:pt x="14" y="25"/>
                    <a:pt x="14" y="25"/>
                  </a:cubicBezTo>
                  <a:cubicBezTo>
                    <a:pt x="14" y="25"/>
                    <a:pt x="13" y="25"/>
                    <a:pt x="13" y="26"/>
                  </a:cubicBezTo>
                  <a:moveTo>
                    <a:pt x="15" y="25"/>
                  </a:moveTo>
                  <a:cubicBezTo>
                    <a:pt x="15" y="25"/>
                    <a:pt x="15" y="25"/>
                    <a:pt x="15" y="25"/>
                  </a:cubicBezTo>
                  <a:cubicBezTo>
                    <a:pt x="15" y="25"/>
                    <a:pt x="15" y="25"/>
                    <a:pt x="15" y="25"/>
                  </a:cubicBezTo>
                  <a:cubicBezTo>
                    <a:pt x="16" y="25"/>
                    <a:pt x="16" y="25"/>
                    <a:pt x="16" y="25"/>
                  </a:cubicBezTo>
                  <a:cubicBezTo>
                    <a:pt x="16" y="25"/>
                    <a:pt x="16" y="25"/>
                    <a:pt x="16" y="25"/>
                  </a:cubicBezTo>
                  <a:cubicBezTo>
                    <a:pt x="15" y="25"/>
                    <a:pt x="15" y="25"/>
                    <a:pt x="15" y="25"/>
                  </a:cubicBezTo>
                  <a:cubicBezTo>
                    <a:pt x="15" y="25"/>
                    <a:pt x="15" y="25"/>
                    <a:pt x="15" y="25"/>
                  </a:cubicBezTo>
                  <a:moveTo>
                    <a:pt x="13" y="24"/>
                  </a:moveTo>
                  <a:cubicBezTo>
                    <a:pt x="12" y="22"/>
                    <a:pt x="12" y="19"/>
                    <a:pt x="11" y="17"/>
                  </a:cubicBezTo>
                  <a:cubicBezTo>
                    <a:pt x="11" y="17"/>
                    <a:pt x="11" y="17"/>
                    <a:pt x="11" y="17"/>
                  </a:cubicBezTo>
                  <a:cubicBezTo>
                    <a:pt x="12" y="17"/>
                    <a:pt x="12" y="16"/>
                    <a:pt x="13" y="16"/>
                  </a:cubicBezTo>
                  <a:cubicBezTo>
                    <a:pt x="13" y="16"/>
                    <a:pt x="13" y="16"/>
                    <a:pt x="14" y="16"/>
                  </a:cubicBezTo>
                  <a:cubicBezTo>
                    <a:pt x="14" y="16"/>
                    <a:pt x="14" y="16"/>
                    <a:pt x="14" y="16"/>
                  </a:cubicBezTo>
                  <a:cubicBezTo>
                    <a:pt x="14" y="19"/>
                    <a:pt x="14" y="22"/>
                    <a:pt x="14" y="24"/>
                  </a:cubicBezTo>
                  <a:cubicBezTo>
                    <a:pt x="14" y="24"/>
                    <a:pt x="13" y="24"/>
                    <a:pt x="13" y="24"/>
                  </a:cubicBezTo>
                  <a:moveTo>
                    <a:pt x="10" y="16"/>
                  </a:moveTo>
                  <a:cubicBezTo>
                    <a:pt x="10" y="16"/>
                    <a:pt x="10" y="16"/>
                    <a:pt x="10" y="16"/>
                  </a:cubicBezTo>
                  <a:cubicBezTo>
                    <a:pt x="8" y="15"/>
                    <a:pt x="7" y="14"/>
                    <a:pt x="6" y="12"/>
                  </a:cubicBezTo>
                  <a:cubicBezTo>
                    <a:pt x="6" y="12"/>
                    <a:pt x="6" y="11"/>
                    <a:pt x="6" y="11"/>
                  </a:cubicBezTo>
                  <a:cubicBezTo>
                    <a:pt x="6" y="11"/>
                    <a:pt x="6" y="10"/>
                    <a:pt x="6" y="10"/>
                  </a:cubicBezTo>
                  <a:cubicBezTo>
                    <a:pt x="7" y="10"/>
                    <a:pt x="7" y="10"/>
                    <a:pt x="7" y="10"/>
                  </a:cubicBezTo>
                  <a:cubicBezTo>
                    <a:pt x="7" y="10"/>
                    <a:pt x="7" y="10"/>
                    <a:pt x="7" y="10"/>
                  </a:cubicBezTo>
                  <a:cubicBezTo>
                    <a:pt x="8" y="10"/>
                    <a:pt x="8" y="10"/>
                    <a:pt x="8" y="11"/>
                  </a:cubicBezTo>
                  <a:cubicBezTo>
                    <a:pt x="9" y="13"/>
                    <a:pt x="10" y="14"/>
                    <a:pt x="10" y="16"/>
                  </a:cubicBezTo>
                  <a:moveTo>
                    <a:pt x="15" y="15"/>
                  </a:moveTo>
                  <a:cubicBezTo>
                    <a:pt x="15" y="13"/>
                    <a:pt x="15" y="12"/>
                    <a:pt x="16" y="10"/>
                  </a:cubicBezTo>
                  <a:cubicBezTo>
                    <a:pt x="16" y="9"/>
                    <a:pt x="16" y="9"/>
                    <a:pt x="16" y="9"/>
                  </a:cubicBezTo>
                  <a:cubicBezTo>
                    <a:pt x="16" y="9"/>
                    <a:pt x="16" y="9"/>
                    <a:pt x="16" y="9"/>
                  </a:cubicBezTo>
                  <a:cubicBezTo>
                    <a:pt x="16" y="9"/>
                    <a:pt x="16" y="9"/>
                    <a:pt x="16" y="9"/>
                  </a:cubicBezTo>
                  <a:cubicBezTo>
                    <a:pt x="16" y="9"/>
                    <a:pt x="16" y="9"/>
                    <a:pt x="16" y="9"/>
                  </a:cubicBezTo>
                  <a:cubicBezTo>
                    <a:pt x="16" y="11"/>
                    <a:pt x="16" y="12"/>
                    <a:pt x="16" y="14"/>
                  </a:cubicBezTo>
                  <a:cubicBezTo>
                    <a:pt x="15" y="14"/>
                    <a:pt x="15" y="15"/>
                    <a:pt x="15" y="15"/>
                  </a:cubicBezTo>
                  <a:moveTo>
                    <a:pt x="12" y="14"/>
                  </a:moveTo>
                  <a:cubicBezTo>
                    <a:pt x="12" y="12"/>
                    <a:pt x="12" y="11"/>
                    <a:pt x="12" y="9"/>
                  </a:cubicBezTo>
                  <a:cubicBezTo>
                    <a:pt x="12" y="9"/>
                    <a:pt x="12" y="9"/>
                    <a:pt x="12" y="9"/>
                  </a:cubicBezTo>
                  <a:cubicBezTo>
                    <a:pt x="12" y="9"/>
                    <a:pt x="12" y="9"/>
                    <a:pt x="12" y="9"/>
                  </a:cubicBezTo>
                  <a:cubicBezTo>
                    <a:pt x="13" y="9"/>
                    <a:pt x="13" y="9"/>
                    <a:pt x="13" y="9"/>
                  </a:cubicBezTo>
                  <a:cubicBezTo>
                    <a:pt x="13" y="10"/>
                    <a:pt x="13" y="10"/>
                    <a:pt x="13" y="10"/>
                  </a:cubicBezTo>
                  <a:cubicBezTo>
                    <a:pt x="13" y="11"/>
                    <a:pt x="13" y="13"/>
                    <a:pt x="12" y="14"/>
                  </a:cubicBezTo>
                  <a:moveTo>
                    <a:pt x="8" y="26"/>
                  </a:moveTo>
                  <a:cubicBezTo>
                    <a:pt x="8" y="26"/>
                    <a:pt x="8" y="26"/>
                    <a:pt x="8" y="26"/>
                  </a:cubicBezTo>
                  <a:cubicBezTo>
                    <a:pt x="8" y="25"/>
                    <a:pt x="8" y="25"/>
                    <a:pt x="8" y="25"/>
                  </a:cubicBezTo>
                  <a:cubicBezTo>
                    <a:pt x="8" y="25"/>
                    <a:pt x="7" y="24"/>
                    <a:pt x="7" y="24"/>
                  </a:cubicBezTo>
                  <a:cubicBezTo>
                    <a:pt x="7" y="23"/>
                    <a:pt x="7" y="23"/>
                    <a:pt x="7" y="23"/>
                  </a:cubicBezTo>
                  <a:cubicBezTo>
                    <a:pt x="7" y="22"/>
                    <a:pt x="7" y="22"/>
                    <a:pt x="7" y="22"/>
                  </a:cubicBezTo>
                  <a:cubicBezTo>
                    <a:pt x="7" y="21"/>
                    <a:pt x="6" y="20"/>
                    <a:pt x="5" y="20"/>
                  </a:cubicBezTo>
                  <a:cubicBezTo>
                    <a:pt x="5" y="19"/>
                    <a:pt x="5" y="19"/>
                    <a:pt x="5" y="19"/>
                  </a:cubicBezTo>
                  <a:cubicBezTo>
                    <a:pt x="4" y="18"/>
                    <a:pt x="4" y="18"/>
                    <a:pt x="3" y="17"/>
                  </a:cubicBezTo>
                  <a:cubicBezTo>
                    <a:pt x="1" y="14"/>
                    <a:pt x="1" y="9"/>
                    <a:pt x="3" y="5"/>
                  </a:cubicBezTo>
                  <a:cubicBezTo>
                    <a:pt x="5" y="2"/>
                    <a:pt x="7" y="1"/>
                    <a:pt x="11" y="0"/>
                  </a:cubicBezTo>
                  <a:cubicBezTo>
                    <a:pt x="11" y="0"/>
                    <a:pt x="11" y="0"/>
                    <a:pt x="12" y="0"/>
                  </a:cubicBezTo>
                  <a:cubicBezTo>
                    <a:pt x="15" y="0"/>
                    <a:pt x="18" y="2"/>
                    <a:pt x="20" y="5"/>
                  </a:cubicBezTo>
                  <a:cubicBezTo>
                    <a:pt x="22" y="8"/>
                    <a:pt x="21" y="14"/>
                    <a:pt x="20" y="16"/>
                  </a:cubicBezTo>
                  <a:cubicBezTo>
                    <a:pt x="19" y="18"/>
                    <a:pt x="19" y="19"/>
                    <a:pt x="19" y="20"/>
                  </a:cubicBezTo>
                  <a:cubicBezTo>
                    <a:pt x="18" y="21"/>
                    <a:pt x="18" y="21"/>
                    <a:pt x="18" y="21"/>
                  </a:cubicBezTo>
                  <a:cubicBezTo>
                    <a:pt x="18" y="21"/>
                    <a:pt x="18" y="22"/>
                    <a:pt x="18" y="22"/>
                  </a:cubicBezTo>
                  <a:cubicBezTo>
                    <a:pt x="18" y="23"/>
                    <a:pt x="18" y="23"/>
                    <a:pt x="18" y="23"/>
                  </a:cubicBezTo>
                  <a:cubicBezTo>
                    <a:pt x="18" y="23"/>
                    <a:pt x="18" y="24"/>
                    <a:pt x="18" y="24"/>
                  </a:cubicBezTo>
                  <a:cubicBezTo>
                    <a:pt x="17" y="24"/>
                    <a:pt x="17" y="24"/>
                    <a:pt x="17" y="24"/>
                  </a:cubicBezTo>
                  <a:cubicBezTo>
                    <a:pt x="17" y="24"/>
                    <a:pt x="16" y="24"/>
                    <a:pt x="16" y="24"/>
                  </a:cubicBezTo>
                  <a:cubicBezTo>
                    <a:pt x="16" y="24"/>
                    <a:pt x="15" y="24"/>
                    <a:pt x="15" y="24"/>
                  </a:cubicBezTo>
                  <a:cubicBezTo>
                    <a:pt x="15" y="22"/>
                    <a:pt x="14" y="19"/>
                    <a:pt x="15" y="16"/>
                  </a:cubicBezTo>
                  <a:cubicBezTo>
                    <a:pt x="15" y="16"/>
                    <a:pt x="15" y="16"/>
                    <a:pt x="15" y="16"/>
                  </a:cubicBezTo>
                  <a:cubicBezTo>
                    <a:pt x="16" y="15"/>
                    <a:pt x="16" y="15"/>
                    <a:pt x="16" y="14"/>
                  </a:cubicBezTo>
                  <a:cubicBezTo>
                    <a:pt x="17" y="13"/>
                    <a:pt x="17" y="11"/>
                    <a:pt x="17" y="9"/>
                  </a:cubicBezTo>
                  <a:cubicBezTo>
                    <a:pt x="17" y="9"/>
                    <a:pt x="17" y="9"/>
                    <a:pt x="17" y="9"/>
                  </a:cubicBezTo>
                  <a:cubicBezTo>
                    <a:pt x="17" y="8"/>
                    <a:pt x="16" y="8"/>
                    <a:pt x="16" y="8"/>
                  </a:cubicBezTo>
                  <a:cubicBezTo>
                    <a:pt x="16" y="8"/>
                    <a:pt x="16" y="8"/>
                    <a:pt x="15" y="9"/>
                  </a:cubicBezTo>
                  <a:cubicBezTo>
                    <a:pt x="15" y="10"/>
                    <a:pt x="15" y="10"/>
                    <a:pt x="15" y="10"/>
                  </a:cubicBezTo>
                  <a:cubicBezTo>
                    <a:pt x="14" y="12"/>
                    <a:pt x="14" y="13"/>
                    <a:pt x="14" y="15"/>
                  </a:cubicBezTo>
                  <a:cubicBezTo>
                    <a:pt x="13" y="15"/>
                    <a:pt x="13" y="15"/>
                    <a:pt x="13" y="15"/>
                  </a:cubicBezTo>
                  <a:cubicBezTo>
                    <a:pt x="13" y="15"/>
                    <a:pt x="13" y="15"/>
                    <a:pt x="13" y="15"/>
                  </a:cubicBezTo>
                  <a:cubicBezTo>
                    <a:pt x="13" y="13"/>
                    <a:pt x="14" y="12"/>
                    <a:pt x="14" y="10"/>
                  </a:cubicBezTo>
                  <a:cubicBezTo>
                    <a:pt x="14" y="10"/>
                    <a:pt x="14" y="9"/>
                    <a:pt x="14" y="8"/>
                  </a:cubicBezTo>
                  <a:cubicBezTo>
                    <a:pt x="13" y="8"/>
                    <a:pt x="13" y="8"/>
                    <a:pt x="12" y="8"/>
                  </a:cubicBezTo>
                  <a:cubicBezTo>
                    <a:pt x="12" y="8"/>
                    <a:pt x="12" y="8"/>
                    <a:pt x="12" y="8"/>
                  </a:cubicBezTo>
                  <a:cubicBezTo>
                    <a:pt x="11" y="8"/>
                    <a:pt x="11" y="9"/>
                    <a:pt x="11" y="9"/>
                  </a:cubicBezTo>
                  <a:cubicBezTo>
                    <a:pt x="11" y="11"/>
                    <a:pt x="11" y="13"/>
                    <a:pt x="12" y="15"/>
                  </a:cubicBezTo>
                  <a:cubicBezTo>
                    <a:pt x="12" y="15"/>
                    <a:pt x="12" y="15"/>
                    <a:pt x="12" y="15"/>
                  </a:cubicBezTo>
                  <a:cubicBezTo>
                    <a:pt x="12" y="16"/>
                    <a:pt x="12" y="16"/>
                    <a:pt x="11" y="16"/>
                  </a:cubicBezTo>
                  <a:cubicBezTo>
                    <a:pt x="11" y="16"/>
                    <a:pt x="11" y="16"/>
                    <a:pt x="11" y="16"/>
                  </a:cubicBezTo>
                  <a:cubicBezTo>
                    <a:pt x="11" y="14"/>
                    <a:pt x="10" y="12"/>
                    <a:pt x="9" y="11"/>
                  </a:cubicBezTo>
                  <a:cubicBezTo>
                    <a:pt x="9" y="10"/>
                    <a:pt x="9" y="9"/>
                    <a:pt x="8" y="9"/>
                  </a:cubicBezTo>
                  <a:cubicBezTo>
                    <a:pt x="8" y="9"/>
                    <a:pt x="7" y="9"/>
                    <a:pt x="7" y="9"/>
                  </a:cubicBezTo>
                  <a:cubicBezTo>
                    <a:pt x="7" y="9"/>
                    <a:pt x="6" y="9"/>
                    <a:pt x="6" y="9"/>
                  </a:cubicBezTo>
                  <a:cubicBezTo>
                    <a:pt x="5" y="10"/>
                    <a:pt x="5" y="10"/>
                    <a:pt x="5" y="11"/>
                  </a:cubicBezTo>
                  <a:cubicBezTo>
                    <a:pt x="5" y="12"/>
                    <a:pt x="5" y="12"/>
                    <a:pt x="6" y="13"/>
                  </a:cubicBezTo>
                  <a:cubicBezTo>
                    <a:pt x="7" y="14"/>
                    <a:pt x="8" y="15"/>
                    <a:pt x="9" y="16"/>
                  </a:cubicBezTo>
                  <a:cubicBezTo>
                    <a:pt x="10" y="17"/>
                    <a:pt x="10" y="17"/>
                    <a:pt x="10" y="17"/>
                  </a:cubicBezTo>
                  <a:cubicBezTo>
                    <a:pt x="11" y="19"/>
                    <a:pt x="12" y="22"/>
                    <a:pt x="12" y="25"/>
                  </a:cubicBezTo>
                  <a:cubicBezTo>
                    <a:pt x="11" y="25"/>
                    <a:pt x="10" y="25"/>
                    <a:pt x="9" y="26"/>
                  </a:cubicBezTo>
                  <a:cubicBezTo>
                    <a:pt x="9" y="26"/>
                    <a:pt x="9" y="26"/>
                    <a:pt x="9" y="26"/>
                  </a:cubicBezTo>
                  <a:cubicBezTo>
                    <a:pt x="8" y="26"/>
                    <a:pt x="8" y="26"/>
                    <a:pt x="8" y="26"/>
                  </a:cubicBezTo>
                  <a:moveTo>
                    <a:pt x="12" y="0"/>
                  </a:moveTo>
                  <a:cubicBezTo>
                    <a:pt x="11" y="0"/>
                    <a:pt x="11" y="0"/>
                    <a:pt x="11" y="0"/>
                  </a:cubicBezTo>
                  <a:cubicBezTo>
                    <a:pt x="7" y="0"/>
                    <a:pt x="4" y="2"/>
                    <a:pt x="2" y="5"/>
                  </a:cubicBezTo>
                  <a:cubicBezTo>
                    <a:pt x="0" y="9"/>
                    <a:pt x="0" y="14"/>
                    <a:pt x="3" y="17"/>
                  </a:cubicBezTo>
                  <a:cubicBezTo>
                    <a:pt x="3" y="18"/>
                    <a:pt x="4" y="19"/>
                    <a:pt x="4" y="19"/>
                  </a:cubicBezTo>
                  <a:cubicBezTo>
                    <a:pt x="5" y="20"/>
                    <a:pt x="5" y="20"/>
                    <a:pt x="5" y="20"/>
                  </a:cubicBezTo>
                  <a:cubicBezTo>
                    <a:pt x="5" y="21"/>
                    <a:pt x="6" y="22"/>
                    <a:pt x="6" y="23"/>
                  </a:cubicBezTo>
                  <a:cubicBezTo>
                    <a:pt x="6" y="23"/>
                    <a:pt x="6" y="23"/>
                    <a:pt x="6" y="23"/>
                  </a:cubicBezTo>
                  <a:cubicBezTo>
                    <a:pt x="6" y="24"/>
                    <a:pt x="6" y="24"/>
                    <a:pt x="6" y="24"/>
                  </a:cubicBezTo>
                  <a:cubicBezTo>
                    <a:pt x="7" y="25"/>
                    <a:pt x="7" y="25"/>
                    <a:pt x="7" y="26"/>
                  </a:cubicBezTo>
                  <a:cubicBezTo>
                    <a:pt x="8" y="26"/>
                    <a:pt x="8" y="26"/>
                    <a:pt x="8" y="26"/>
                  </a:cubicBezTo>
                  <a:cubicBezTo>
                    <a:pt x="8" y="26"/>
                    <a:pt x="8" y="27"/>
                    <a:pt x="8" y="27"/>
                  </a:cubicBezTo>
                  <a:cubicBezTo>
                    <a:pt x="8" y="28"/>
                    <a:pt x="8" y="28"/>
                    <a:pt x="8" y="28"/>
                  </a:cubicBezTo>
                  <a:cubicBezTo>
                    <a:pt x="8" y="29"/>
                    <a:pt x="8" y="29"/>
                    <a:pt x="8" y="29"/>
                  </a:cubicBezTo>
                  <a:cubicBezTo>
                    <a:pt x="9" y="30"/>
                    <a:pt x="9" y="30"/>
                    <a:pt x="9" y="30"/>
                  </a:cubicBezTo>
                  <a:cubicBezTo>
                    <a:pt x="8" y="30"/>
                    <a:pt x="8" y="30"/>
                    <a:pt x="9" y="31"/>
                  </a:cubicBezTo>
                  <a:cubicBezTo>
                    <a:pt x="9" y="31"/>
                    <a:pt x="9" y="31"/>
                    <a:pt x="9" y="31"/>
                  </a:cubicBezTo>
                  <a:cubicBezTo>
                    <a:pt x="9" y="32"/>
                    <a:pt x="9" y="32"/>
                    <a:pt x="9" y="32"/>
                  </a:cubicBezTo>
                  <a:cubicBezTo>
                    <a:pt x="9" y="33"/>
                    <a:pt x="9" y="33"/>
                    <a:pt x="9" y="33"/>
                  </a:cubicBezTo>
                  <a:cubicBezTo>
                    <a:pt x="9" y="33"/>
                    <a:pt x="9" y="33"/>
                    <a:pt x="9" y="33"/>
                  </a:cubicBezTo>
                  <a:cubicBezTo>
                    <a:pt x="9" y="34"/>
                    <a:pt x="10" y="34"/>
                    <a:pt x="11" y="35"/>
                  </a:cubicBezTo>
                  <a:cubicBezTo>
                    <a:pt x="12" y="35"/>
                    <a:pt x="13" y="36"/>
                    <a:pt x="14" y="36"/>
                  </a:cubicBezTo>
                  <a:cubicBezTo>
                    <a:pt x="15" y="36"/>
                    <a:pt x="16" y="35"/>
                    <a:pt x="17" y="35"/>
                  </a:cubicBezTo>
                  <a:cubicBezTo>
                    <a:pt x="17" y="34"/>
                    <a:pt x="19" y="32"/>
                    <a:pt x="18" y="32"/>
                  </a:cubicBezTo>
                  <a:cubicBezTo>
                    <a:pt x="19" y="31"/>
                    <a:pt x="19" y="31"/>
                    <a:pt x="19" y="31"/>
                  </a:cubicBezTo>
                  <a:cubicBezTo>
                    <a:pt x="18" y="31"/>
                    <a:pt x="18" y="31"/>
                    <a:pt x="18" y="31"/>
                  </a:cubicBezTo>
                  <a:cubicBezTo>
                    <a:pt x="18" y="31"/>
                    <a:pt x="18" y="31"/>
                    <a:pt x="18" y="31"/>
                  </a:cubicBezTo>
                  <a:cubicBezTo>
                    <a:pt x="19" y="30"/>
                    <a:pt x="19" y="30"/>
                    <a:pt x="19" y="30"/>
                  </a:cubicBezTo>
                  <a:cubicBezTo>
                    <a:pt x="18" y="30"/>
                    <a:pt x="18" y="30"/>
                    <a:pt x="18" y="30"/>
                  </a:cubicBezTo>
                  <a:cubicBezTo>
                    <a:pt x="19" y="30"/>
                    <a:pt x="19" y="30"/>
                    <a:pt x="19" y="30"/>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8"/>
                    <a:pt x="18" y="28"/>
                    <a:pt x="18" y="28"/>
                  </a:cubicBezTo>
                  <a:cubicBezTo>
                    <a:pt x="18" y="28"/>
                    <a:pt x="18" y="28"/>
                    <a:pt x="18" y="28"/>
                  </a:cubicBezTo>
                  <a:cubicBezTo>
                    <a:pt x="18" y="27"/>
                    <a:pt x="18" y="27"/>
                    <a:pt x="18" y="27"/>
                  </a:cubicBezTo>
                  <a:cubicBezTo>
                    <a:pt x="18" y="27"/>
                    <a:pt x="18" y="27"/>
                    <a:pt x="18" y="27"/>
                  </a:cubicBezTo>
                  <a:cubicBezTo>
                    <a:pt x="18" y="26"/>
                    <a:pt x="18" y="26"/>
                    <a:pt x="18" y="26"/>
                  </a:cubicBezTo>
                  <a:cubicBezTo>
                    <a:pt x="18" y="26"/>
                    <a:pt x="18" y="26"/>
                    <a:pt x="18" y="26"/>
                  </a:cubicBezTo>
                  <a:cubicBezTo>
                    <a:pt x="18" y="25"/>
                    <a:pt x="19" y="24"/>
                    <a:pt x="19" y="23"/>
                  </a:cubicBezTo>
                  <a:cubicBezTo>
                    <a:pt x="19" y="22"/>
                    <a:pt x="19" y="22"/>
                    <a:pt x="19" y="22"/>
                  </a:cubicBezTo>
                  <a:cubicBezTo>
                    <a:pt x="19" y="22"/>
                    <a:pt x="19" y="21"/>
                    <a:pt x="19" y="21"/>
                  </a:cubicBezTo>
                  <a:cubicBezTo>
                    <a:pt x="19" y="20"/>
                    <a:pt x="19" y="20"/>
                    <a:pt x="19" y="20"/>
                  </a:cubicBezTo>
                  <a:cubicBezTo>
                    <a:pt x="20" y="19"/>
                    <a:pt x="20" y="18"/>
                    <a:pt x="21" y="17"/>
                  </a:cubicBezTo>
                  <a:cubicBezTo>
                    <a:pt x="22" y="14"/>
                    <a:pt x="23" y="8"/>
                    <a:pt x="21" y="4"/>
                  </a:cubicBezTo>
                  <a:cubicBezTo>
                    <a:pt x="19" y="2"/>
                    <a:pt x="17" y="0"/>
                    <a:pt x="1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69" name="ïSliḑe"/>
            <p:cNvSpPr/>
            <p:nvPr/>
          </p:nvSpPr>
          <p:spPr bwMode="auto">
            <a:xfrm>
              <a:off x="4253" y="2198"/>
              <a:ext cx="5" cy="22"/>
            </a:xfrm>
            <a:custGeom>
              <a:avLst/>
              <a:gdLst>
                <a:gd name="T0" fmla="*/ 0 w 2"/>
                <a:gd name="T1" fmla="*/ 0 h 9"/>
                <a:gd name="T2" fmla="*/ 0 w 2"/>
                <a:gd name="T3" fmla="*/ 1 h 9"/>
                <a:gd name="T4" fmla="*/ 1 w 2"/>
                <a:gd name="T5" fmla="*/ 9 h 9"/>
                <a:gd name="T6" fmla="*/ 2 w 2"/>
                <a:gd name="T7" fmla="*/ 9 h 9"/>
                <a:gd name="T8" fmla="*/ 2 w 2"/>
                <a:gd name="T9" fmla="*/ 9 h 9"/>
                <a:gd name="T10" fmla="*/ 2 w 2"/>
                <a:gd name="T11" fmla="*/ 9 h 9"/>
                <a:gd name="T12" fmla="*/ 1 w 2"/>
                <a:gd name="T13" fmla="*/ 1 h 9"/>
                <a:gd name="T14" fmla="*/ 0 w 2"/>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9">
                  <a:moveTo>
                    <a:pt x="0" y="0"/>
                  </a:moveTo>
                  <a:cubicBezTo>
                    <a:pt x="0" y="1"/>
                    <a:pt x="0" y="1"/>
                    <a:pt x="0" y="1"/>
                  </a:cubicBezTo>
                  <a:cubicBezTo>
                    <a:pt x="0" y="4"/>
                    <a:pt x="1" y="6"/>
                    <a:pt x="1" y="9"/>
                  </a:cubicBezTo>
                  <a:cubicBezTo>
                    <a:pt x="2" y="9"/>
                    <a:pt x="2" y="9"/>
                    <a:pt x="2" y="9"/>
                  </a:cubicBezTo>
                  <a:cubicBezTo>
                    <a:pt x="2" y="9"/>
                    <a:pt x="2" y="9"/>
                    <a:pt x="2" y="9"/>
                  </a:cubicBezTo>
                  <a:cubicBezTo>
                    <a:pt x="2" y="9"/>
                    <a:pt x="2" y="9"/>
                    <a:pt x="2" y="9"/>
                  </a:cubicBezTo>
                  <a:cubicBezTo>
                    <a:pt x="1" y="6"/>
                    <a:pt x="1" y="3"/>
                    <a:pt x="1" y="1"/>
                  </a:cubicBezTo>
                  <a:cubicBezTo>
                    <a:pt x="0" y="0"/>
                    <a:pt x="0" y="0"/>
                    <a:pt x="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70" name="îŝ1íḑé"/>
            <p:cNvSpPr/>
            <p:nvPr/>
          </p:nvSpPr>
          <p:spPr bwMode="auto">
            <a:xfrm>
              <a:off x="4281" y="2210"/>
              <a:ext cx="15" cy="12"/>
            </a:xfrm>
            <a:custGeom>
              <a:avLst/>
              <a:gdLst>
                <a:gd name="T0" fmla="*/ 12 w 15"/>
                <a:gd name="T1" fmla="*/ 0 h 12"/>
                <a:gd name="T2" fmla="*/ 0 w 15"/>
                <a:gd name="T3" fmla="*/ 10 h 12"/>
                <a:gd name="T4" fmla="*/ 0 w 15"/>
                <a:gd name="T5" fmla="*/ 12 h 12"/>
                <a:gd name="T6" fmla="*/ 3 w 15"/>
                <a:gd name="T7" fmla="*/ 12 h 12"/>
                <a:gd name="T8" fmla="*/ 3 w 15"/>
                <a:gd name="T9" fmla="*/ 12 h 12"/>
                <a:gd name="T10" fmla="*/ 15 w 15"/>
                <a:gd name="T11" fmla="*/ 3 h 12"/>
                <a:gd name="T12" fmla="*/ 15 w 15"/>
                <a:gd name="T13" fmla="*/ 0 h 12"/>
                <a:gd name="T14" fmla="*/ 12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12" y="0"/>
                  </a:moveTo>
                  <a:lnTo>
                    <a:pt x="0" y="10"/>
                  </a:lnTo>
                  <a:lnTo>
                    <a:pt x="0" y="12"/>
                  </a:lnTo>
                  <a:lnTo>
                    <a:pt x="3" y="12"/>
                  </a:lnTo>
                  <a:lnTo>
                    <a:pt x="3" y="12"/>
                  </a:lnTo>
                  <a:lnTo>
                    <a:pt x="15" y="3"/>
                  </a:lnTo>
                  <a:lnTo>
                    <a:pt x="15" y="0"/>
                  </a:lnTo>
                  <a:lnTo>
                    <a:pt x="12"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71" name="íṡlidê"/>
            <p:cNvSpPr/>
            <p:nvPr/>
          </p:nvSpPr>
          <p:spPr bwMode="auto">
            <a:xfrm>
              <a:off x="4281" y="2210"/>
              <a:ext cx="15" cy="12"/>
            </a:xfrm>
            <a:custGeom>
              <a:avLst/>
              <a:gdLst>
                <a:gd name="T0" fmla="*/ 12 w 15"/>
                <a:gd name="T1" fmla="*/ 0 h 12"/>
                <a:gd name="T2" fmla="*/ 0 w 15"/>
                <a:gd name="T3" fmla="*/ 10 h 12"/>
                <a:gd name="T4" fmla="*/ 0 w 15"/>
                <a:gd name="T5" fmla="*/ 12 h 12"/>
                <a:gd name="T6" fmla="*/ 3 w 15"/>
                <a:gd name="T7" fmla="*/ 12 h 12"/>
                <a:gd name="T8" fmla="*/ 3 w 15"/>
                <a:gd name="T9" fmla="*/ 12 h 12"/>
                <a:gd name="T10" fmla="*/ 15 w 15"/>
                <a:gd name="T11" fmla="*/ 3 h 12"/>
                <a:gd name="T12" fmla="*/ 15 w 15"/>
                <a:gd name="T13" fmla="*/ 0 h 12"/>
                <a:gd name="T14" fmla="*/ 12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12" y="0"/>
                  </a:moveTo>
                  <a:lnTo>
                    <a:pt x="0" y="10"/>
                  </a:lnTo>
                  <a:lnTo>
                    <a:pt x="0" y="12"/>
                  </a:lnTo>
                  <a:lnTo>
                    <a:pt x="3" y="12"/>
                  </a:lnTo>
                  <a:lnTo>
                    <a:pt x="3" y="12"/>
                  </a:lnTo>
                  <a:lnTo>
                    <a:pt x="15" y="3"/>
                  </a:lnTo>
                  <a:lnTo>
                    <a:pt x="15" y="0"/>
                  </a:lnTo>
                  <a:lnTo>
                    <a:pt x="12"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72" name="ïṡlíḋê"/>
            <p:cNvSpPr/>
            <p:nvPr/>
          </p:nvSpPr>
          <p:spPr bwMode="auto">
            <a:xfrm>
              <a:off x="4293" y="2239"/>
              <a:ext cx="14" cy="4"/>
            </a:xfrm>
            <a:custGeom>
              <a:avLst/>
              <a:gdLst>
                <a:gd name="T0" fmla="*/ 6 w 6"/>
                <a:gd name="T1" fmla="*/ 0 h 2"/>
                <a:gd name="T2" fmla="*/ 0 w 6"/>
                <a:gd name="T3" fmla="*/ 1 h 2"/>
                <a:gd name="T4" fmla="*/ 0 w 6"/>
                <a:gd name="T5" fmla="*/ 2 h 2"/>
                <a:gd name="T6" fmla="*/ 0 w 6"/>
                <a:gd name="T7" fmla="*/ 2 h 2"/>
                <a:gd name="T8" fmla="*/ 6 w 6"/>
                <a:gd name="T9" fmla="*/ 0 h 2"/>
                <a:gd name="T10" fmla="*/ 6 w 6"/>
                <a:gd name="T11" fmla="*/ 0 h 2"/>
                <a:gd name="T12" fmla="*/ 6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6" y="0"/>
                  </a:moveTo>
                  <a:cubicBezTo>
                    <a:pt x="4" y="1"/>
                    <a:pt x="2" y="1"/>
                    <a:pt x="0" y="1"/>
                  </a:cubicBezTo>
                  <a:cubicBezTo>
                    <a:pt x="0" y="2"/>
                    <a:pt x="0" y="2"/>
                    <a:pt x="0" y="2"/>
                  </a:cubicBezTo>
                  <a:cubicBezTo>
                    <a:pt x="0" y="2"/>
                    <a:pt x="0" y="2"/>
                    <a:pt x="0" y="2"/>
                  </a:cubicBezTo>
                  <a:cubicBezTo>
                    <a:pt x="2" y="2"/>
                    <a:pt x="4" y="1"/>
                    <a:pt x="6" y="0"/>
                  </a:cubicBezTo>
                  <a:cubicBezTo>
                    <a:pt x="6" y="0"/>
                    <a:pt x="6" y="0"/>
                    <a:pt x="6" y="0"/>
                  </a:cubicBezTo>
                  <a:cubicBezTo>
                    <a:pt x="6" y="0"/>
                    <a:pt x="6" y="0"/>
                    <a:pt x="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73" name="i$ļîde"/>
            <p:cNvSpPr/>
            <p:nvPr/>
          </p:nvSpPr>
          <p:spPr bwMode="auto">
            <a:xfrm>
              <a:off x="4293" y="2262"/>
              <a:ext cx="12" cy="10"/>
            </a:xfrm>
            <a:custGeom>
              <a:avLst/>
              <a:gdLst>
                <a:gd name="T0" fmla="*/ 3 w 12"/>
                <a:gd name="T1" fmla="*/ 0 h 10"/>
                <a:gd name="T2" fmla="*/ 0 w 12"/>
                <a:gd name="T3" fmla="*/ 0 h 10"/>
                <a:gd name="T4" fmla="*/ 0 w 12"/>
                <a:gd name="T5" fmla="*/ 3 h 10"/>
                <a:gd name="T6" fmla="*/ 12 w 12"/>
                <a:gd name="T7" fmla="*/ 10 h 10"/>
                <a:gd name="T8" fmla="*/ 12 w 12"/>
                <a:gd name="T9" fmla="*/ 10 h 10"/>
                <a:gd name="T10" fmla="*/ 12 w 12"/>
                <a:gd name="T11" fmla="*/ 10 h 10"/>
                <a:gd name="T12" fmla="*/ 12 w 12"/>
                <a:gd name="T13" fmla="*/ 8 h 10"/>
                <a:gd name="T14" fmla="*/ 3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3" y="0"/>
                  </a:moveTo>
                  <a:lnTo>
                    <a:pt x="0" y="0"/>
                  </a:lnTo>
                  <a:lnTo>
                    <a:pt x="0" y="3"/>
                  </a:lnTo>
                  <a:lnTo>
                    <a:pt x="12" y="10"/>
                  </a:lnTo>
                  <a:lnTo>
                    <a:pt x="12" y="10"/>
                  </a:lnTo>
                  <a:lnTo>
                    <a:pt x="12" y="10"/>
                  </a:lnTo>
                  <a:lnTo>
                    <a:pt x="12" y="8"/>
                  </a:lnTo>
                  <a:lnTo>
                    <a:pt x="3"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74" name="îŝḷîďê"/>
            <p:cNvSpPr/>
            <p:nvPr/>
          </p:nvSpPr>
          <p:spPr bwMode="auto">
            <a:xfrm>
              <a:off x="4293" y="2262"/>
              <a:ext cx="12" cy="10"/>
            </a:xfrm>
            <a:custGeom>
              <a:avLst/>
              <a:gdLst>
                <a:gd name="T0" fmla="*/ 3 w 12"/>
                <a:gd name="T1" fmla="*/ 0 h 10"/>
                <a:gd name="T2" fmla="*/ 0 w 12"/>
                <a:gd name="T3" fmla="*/ 0 h 10"/>
                <a:gd name="T4" fmla="*/ 0 w 12"/>
                <a:gd name="T5" fmla="*/ 3 h 10"/>
                <a:gd name="T6" fmla="*/ 12 w 12"/>
                <a:gd name="T7" fmla="*/ 10 h 10"/>
                <a:gd name="T8" fmla="*/ 12 w 12"/>
                <a:gd name="T9" fmla="*/ 10 h 10"/>
                <a:gd name="T10" fmla="*/ 12 w 12"/>
                <a:gd name="T11" fmla="*/ 10 h 10"/>
                <a:gd name="T12" fmla="*/ 12 w 12"/>
                <a:gd name="T13" fmla="*/ 8 h 10"/>
                <a:gd name="T14" fmla="*/ 3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3" y="0"/>
                  </a:moveTo>
                  <a:lnTo>
                    <a:pt x="0" y="0"/>
                  </a:lnTo>
                  <a:lnTo>
                    <a:pt x="0" y="3"/>
                  </a:lnTo>
                  <a:lnTo>
                    <a:pt x="12" y="10"/>
                  </a:lnTo>
                  <a:lnTo>
                    <a:pt x="12" y="10"/>
                  </a:lnTo>
                  <a:lnTo>
                    <a:pt x="12" y="10"/>
                  </a:lnTo>
                  <a:lnTo>
                    <a:pt x="12" y="8"/>
                  </a:lnTo>
                  <a:lnTo>
                    <a:pt x="3"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75" name="ïś1ídè"/>
            <p:cNvSpPr/>
            <p:nvPr/>
          </p:nvSpPr>
          <p:spPr bwMode="auto">
            <a:xfrm>
              <a:off x="4222" y="2217"/>
              <a:ext cx="12" cy="10"/>
            </a:xfrm>
            <a:custGeom>
              <a:avLst/>
              <a:gdLst>
                <a:gd name="T0" fmla="*/ 0 w 5"/>
                <a:gd name="T1" fmla="*/ 0 h 4"/>
                <a:gd name="T2" fmla="*/ 0 w 5"/>
                <a:gd name="T3" fmla="*/ 0 h 4"/>
                <a:gd name="T4" fmla="*/ 0 w 5"/>
                <a:gd name="T5" fmla="*/ 1 h 4"/>
                <a:gd name="T6" fmla="*/ 4 w 5"/>
                <a:gd name="T7" fmla="*/ 4 h 4"/>
                <a:gd name="T8" fmla="*/ 4 w 5"/>
                <a:gd name="T9" fmla="*/ 4 h 4"/>
                <a:gd name="T10" fmla="*/ 5 w 5"/>
                <a:gd name="T11" fmla="*/ 4 h 4"/>
                <a:gd name="T12" fmla="*/ 5 w 5"/>
                <a:gd name="T13" fmla="*/ 4 h 4"/>
                <a:gd name="T14" fmla="*/ 0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0"/>
                  </a:moveTo>
                  <a:cubicBezTo>
                    <a:pt x="0" y="0"/>
                    <a:pt x="0" y="0"/>
                    <a:pt x="0" y="0"/>
                  </a:cubicBezTo>
                  <a:cubicBezTo>
                    <a:pt x="0" y="1"/>
                    <a:pt x="0" y="1"/>
                    <a:pt x="0" y="1"/>
                  </a:cubicBezTo>
                  <a:cubicBezTo>
                    <a:pt x="1" y="2"/>
                    <a:pt x="3" y="3"/>
                    <a:pt x="4" y="4"/>
                  </a:cubicBezTo>
                  <a:cubicBezTo>
                    <a:pt x="4" y="4"/>
                    <a:pt x="4" y="4"/>
                    <a:pt x="4" y="4"/>
                  </a:cubicBezTo>
                  <a:cubicBezTo>
                    <a:pt x="5" y="4"/>
                    <a:pt x="5" y="4"/>
                    <a:pt x="5" y="4"/>
                  </a:cubicBezTo>
                  <a:cubicBezTo>
                    <a:pt x="5" y="4"/>
                    <a:pt x="5" y="4"/>
                    <a:pt x="5" y="4"/>
                  </a:cubicBezTo>
                  <a:cubicBezTo>
                    <a:pt x="3" y="2"/>
                    <a:pt x="2" y="1"/>
                    <a:pt x="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76" name="îsľíde"/>
            <p:cNvSpPr/>
            <p:nvPr/>
          </p:nvSpPr>
          <p:spPr bwMode="auto">
            <a:xfrm>
              <a:off x="4215" y="2248"/>
              <a:ext cx="14" cy="3"/>
            </a:xfrm>
            <a:custGeom>
              <a:avLst/>
              <a:gdLst>
                <a:gd name="T0" fmla="*/ 0 w 6"/>
                <a:gd name="T1" fmla="*/ 0 h 1"/>
                <a:gd name="T2" fmla="*/ 0 w 6"/>
                <a:gd name="T3" fmla="*/ 0 h 1"/>
                <a:gd name="T4" fmla="*/ 0 w 6"/>
                <a:gd name="T5" fmla="*/ 0 h 1"/>
                <a:gd name="T6" fmla="*/ 6 w 6"/>
                <a:gd name="T7" fmla="*/ 1 h 1"/>
                <a:gd name="T8" fmla="*/ 6 w 6"/>
                <a:gd name="T9" fmla="*/ 1 h 1"/>
                <a:gd name="T10" fmla="*/ 6 w 6"/>
                <a:gd name="T11" fmla="*/ 1 h 1"/>
                <a:gd name="T12" fmla="*/ 6 w 6"/>
                <a:gd name="T13" fmla="*/ 0 h 1"/>
                <a:gd name="T14" fmla="*/ 0 w 6"/>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
                  <a:moveTo>
                    <a:pt x="0" y="0"/>
                  </a:moveTo>
                  <a:cubicBezTo>
                    <a:pt x="0" y="0"/>
                    <a:pt x="0" y="0"/>
                    <a:pt x="0" y="0"/>
                  </a:cubicBezTo>
                  <a:cubicBezTo>
                    <a:pt x="0" y="0"/>
                    <a:pt x="0" y="0"/>
                    <a:pt x="0" y="0"/>
                  </a:cubicBezTo>
                  <a:cubicBezTo>
                    <a:pt x="2" y="0"/>
                    <a:pt x="4" y="1"/>
                    <a:pt x="6" y="1"/>
                  </a:cubicBezTo>
                  <a:cubicBezTo>
                    <a:pt x="6" y="1"/>
                    <a:pt x="6" y="1"/>
                    <a:pt x="6" y="1"/>
                  </a:cubicBezTo>
                  <a:cubicBezTo>
                    <a:pt x="6" y="1"/>
                    <a:pt x="6" y="1"/>
                    <a:pt x="6" y="1"/>
                  </a:cubicBezTo>
                  <a:cubicBezTo>
                    <a:pt x="6" y="0"/>
                    <a:pt x="6" y="0"/>
                    <a:pt x="6" y="0"/>
                  </a:cubicBezTo>
                  <a:cubicBezTo>
                    <a:pt x="4" y="0"/>
                    <a:pt x="2" y="0"/>
                    <a:pt x="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77" name="ïŝḷïḑê"/>
            <p:cNvSpPr/>
            <p:nvPr/>
          </p:nvSpPr>
          <p:spPr bwMode="auto">
            <a:xfrm>
              <a:off x="4224" y="2272"/>
              <a:ext cx="10" cy="14"/>
            </a:xfrm>
            <a:custGeom>
              <a:avLst/>
              <a:gdLst>
                <a:gd name="T0" fmla="*/ 4 w 4"/>
                <a:gd name="T1" fmla="*/ 0 h 6"/>
                <a:gd name="T2" fmla="*/ 4 w 4"/>
                <a:gd name="T3" fmla="*/ 0 h 6"/>
                <a:gd name="T4" fmla="*/ 2 w 4"/>
                <a:gd name="T5" fmla="*/ 3 h 6"/>
                <a:gd name="T6" fmla="*/ 0 w 4"/>
                <a:gd name="T7" fmla="*/ 5 h 6"/>
                <a:gd name="T8" fmla="*/ 0 w 4"/>
                <a:gd name="T9" fmla="*/ 5 h 6"/>
                <a:gd name="T10" fmla="*/ 0 w 4"/>
                <a:gd name="T11" fmla="*/ 6 h 6"/>
                <a:gd name="T12" fmla="*/ 0 w 4"/>
                <a:gd name="T13" fmla="*/ 5 h 6"/>
                <a:gd name="T14" fmla="*/ 2 w 4"/>
                <a:gd name="T15" fmla="*/ 3 h 6"/>
                <a:gd name="T16" fmla="*/ 4 w 4"/>
                <a:gd name="T17" fmla="*/ 1 h 6"/>
                <a:gd name="T18" fmla="*/ 4 w 4"/>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0"/>
                  </a:moveTo>
                  <a:cubicBezTo>
                    <a:pt x="4" y="0"/>
                    <a:pt x="4" y="0"/>
                    <a:pt x="4" y="0"/>
                  </a:cubicBezTo>
                  <a:cubicBezTo>
                    <a:pt x="3" y="1"/>
                    <a:pt x="2" y="2"/>
                    <a:pt x="2" y="3"/>
                  </a:cubicBezTo>
                  <a:cubicBezTo>
                    <a:pt x="1" y="3"/>
                    <a:pt x="0" y="4"/>
                    <a:pt x="0" y="5"/>
                  </a:cubicBezTo>
                  <a:cubicBezTo>
                    <a:pt x="0" y="5"/>
                    <a:pt x="0" y="5"/>
                    <a:pt x="0" y="5"/>
                  </a:cubicBezTo>
                  <a:cubicBezTo>
                    <a:pt x="0" y="6"/>
                    <a:pt x="0" y="6"/>
                    <a:pt x="0" y="6"/>
                  </a:cubicBezTo>
                  <a:cubicBezTo>
                    <a:pt x="0" y="5"/>
                    <a:pt x="0" y="5"/>
                    <a:pt x="0" y="5"/>
                  </a:cubicBezTo>
                  <a:cubicBezTo>
                    <a:pt x="1" y="4"/>
                    <a:pt x="2" y="4"/>
                    <a:pt x="2" y="3"/>
                  </a:cubicBezTo>
                  <a:cubicBezTo>
                    <a:pt x="3" y="3"/>
                    <a:pt x="4" y="2"/>
                    <a:pt x="4" y="1"/>
                  </a:cubicBezTo>
                  <a:cubicBezTo>
                    <a:pt x="4" y="0"/>
                    <a:pt x="4" y="0"/>
                    <a:pt x="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78" name="îŝḷídè"/>
            <p:cNvSpPr/>
            <p:nvPr/>
          </p:nvSpPr>
          <p:spPr bwMode="auto">
            <a:xfrm>
              <a:off x="3825" y="2082"/>
              <a:ext cx="107" cy="85"/>
            </a:xfrm>
            <a:custGeom>
              <a:avLst/>
              <a:gdLst>
                <a:gd name="T0" fmla="*/ 9 w 107"/>
                <a:gd name="T1" fmla="*/ 0 h 85"/>
                <a:gd name="T2" fmla="*/ 7 w 107"/>
                <a:gd name="T3" fmla="*/ 0 h 85"/>
                <a:gd name="T4" fmla="*/ 7 w 107"/>
                <a:gd name="T5" fmla="*/ 9 h 85"/>
                <a:gd name="T6" fmla="*/ 4 w 107"/>
                <a:gd name="T7" fmla="*/ 9 h 85"/>
                <a:gd name="T8" fmla="*/ 4 w 107"/>
                <a:gd name="T9" fmla="*/ 9 h 85"/>
                <a:gd name="T10" fmla="*/ 4 w 107"/>
                <a:gd name="T11" fmla="*/ 12 h 85"/>
                <a:gd name="T12" fmla="*/ 7 w 107"/>
                <a:gd name="T13" fmla="*/ 12 h 85"/>
                <a:gd name="T14" fmla="*/ 7 w 107"/>
                <a:gd name="T15" fmla="*/ 19 h 85"/>
                <a:gd name="T16" fmla="*/ 4 w 107"/>
                <a:gd name="T17" fmla="*/ 19 h 85"/>
                <a:gd name="T18" fmla="*/ 4 w 107"/>
                <a:gd name="T19" fmla="*/ 19 h 85"/>
                <a:gd name="T20" fmla="*/ 4 w 107"/>
                <a:gd name="T21" fmla="*/ 21 h 85"/>
                <a:gd name="T22" fmla="*/ 7 w 107"/>
                <a:gd name="T23" fmla="*/ 21 h 85"/>
                <a:gd name="T24" fmla="*/ 7 w 107"/>
                <a:gd name="T25" fmla="*/ 28 h 85"/>
                <a:gd name="T26" fmla="*/ 4 w 107"/>
                <a:gd name="T27" fmla="*/ 28 h 85"/>
                <a:gd name="T28" fmla="*/ 4 w 107"/>
                <a:gd name="T29" fmla="*/ 31 h 85"/>
                <a:gd name="T30" fmla="*/ 4 w 107"/>
                <a:gd name="T31" fmla="*/ 31 h 85"/>
                <a:gd name="T32" fmla="*/ 7 w 107"/>
                <a:gd name="T33" fmla="*/ 31 h 85"/>
                <a:gd name="T34" fmla="*/ 7 w 107"/>
                <a:gd name="T35" fmla="*/ 40 h 85"/>
                <a:gd name="T36" fmla="*/ 4 w 107"/>
                <a:gd name="T37" fmla="*/ 40 h 85"/>
                <a:gd name="T38" fmla="*/ 4 w 107"/>
                <a:gd name="T39" fmla="*/ 43 h 85"/>
                <a:gd name="T40" fmla="*/ 4 w 107"/>
                <a:gd name="T41" fmla="*/ 43 h 85"/>
                <a:gd name="T42" fmla="*/ 7 w 107"/>
                <a:gd name="T43" fmla="*/ 43 h 85"/>
                <a:gd name="T44" fmla="*/ 7 w 107"/>
                <a:gd name="T45" fmla="*/ 52 h 85"/>
                <a:gd name="T46" fmla="*/ 4 w 107"/>
                <a:gd name="T47" fmla="*/ 52 h 85"/>
                <a:gd name="T48" fmla="*/ 4 w 107"/>
                <a:gd name="T49" fmla="*/ 52 h 85"/>
                <a:gd name="T50" fmla="*/ 4 w 107"/>
                <a:gd name="T51" fmla="*/ 54 h 85"/>
                <a:gd name="T52" fmla="*/ 7 w 107"/>
                <a:gd name="T53" fmla="*/ 54 h 85"/>
                <a:gd name="T54" fmla="*/ 7 w 107"/>
                <a:gd name="T55" fmla="*/ 64 h 85"/>
                <a:gd name="T56" fmla="*/ 4 w 107"/>
                <a:gd name="T57" fmla="*/ 64 h 85"/>
                <a:gd name="T58" fmla="*/ 4 w 107"/>
                <a:gd name="T59" fmla="*/ 64 h 85"/>
                <a:gd name="T60" fmla="*/ 4 w 107"/>
                <a:gd name="T61" fmla="*/ 66 h 85"/>
                <a:gd name="T62" fmla="*/ 7 w 107"/>
                <a:gd name="T63" fmla="*/ 66 h 85"/>
                <a:gd name="T64" fmla="*/ 7 w 107"/>
                <a:gd name="T65" fmla="*/ 73 h 85"/>
                <a:gd name="T66" fmla="*/ 0 w 107"/>
                <a:gd name="T67" fmla="*/ 73 h 85"/>
                <a:gd name="T68" fmla="*/ 0 w 107"/>
                <a:gd name="T69" fmla="*/ 76 h 85"/>
                <a:gd name="T70" fmla="*/ 0 w 107"/>
                <a:gd name="T71" fmla="*/ 76 h 85"/>
                <a:gd name="T72" fmla="*/ 7 w 107"/>
                <a:gd name="T73" fmla="*/ 76 h 85"/>
                <a:gd name="T74" fmla="*/ 7 w 107"/>
                <a:gd name="T75" fmla="*/ 85 h 85"/>
                <a:gd name="T76" fmla="*/ 9 w 107"/>
                <a:gd name="T77" fmla="*/ 85 h 85"/>
                <a:gd name="T78" fmla="*/ 9 w 107"/>
                <a:gd name="T79" fmla="*/ 85 h 85"/>
                <a:gd name="T80" fmla="*/ 9 w 107"/>
                <a:gd name="T81" fmla="*/ 76 h 85"/>
                <a:gd name="T82" fmla="*/ 107 w 107"/>
                <a:gd name="T83" fmla="*/ 76 h 85"/>
                <a:gd name="T84" fmla="*/ 107 w 107"/>
                <a:gd name="T85" fmla="*/ 76 h 85"/>
                <a:gd name="T86" fmla="*/ 107 w 107"/>
                <a:gd name="T87" fmla="*/ 73 h 85"/>
                <a:gd name="T88" fmla="*/ 9 w 107"/>
                <a:gd name="T89" fmla="*/ 73 h 85"/>
                <a:gd name="T90" fmla="*/ 9 w 107"/>
                <a:gd name="T91" fmla="*/ 0 h 85"/>
                <a:gd name="T92" fmla="*/ 9 w 107"/>
                <a:gd name="T9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85">
                  <a:moveTo>
                    <a:pt x="9" y="0"/>
                  </a:moveTo>
                  <a:lnTo>
                    <a:pt x="7" y="0"/>
                  </a:lnTo>
                  <a:lnTo>
                    <a:pt x="7" y="9"/>
                  </a:lnTo>
                  <a:lnTo>
                    <a:pt x="4" y="9"/>
                  </a:lnTo>
                  <a:lnTo>
                    <a:pt x="4" y="9"/>
                  </a:lnTo>
                  <a:lnTo>
                    <a:pt x="4" y="12"/>
                  </a:lnTo>
                  <a:lnTo>
                    <a:pt x="7" y="12"/>
                  </a:lnTo>
                  <a:lnTo>
                    <a:pt x="7" y="19"/>
                  </a:lnTo>
                  <a:lnTo>
                    <a:pt x="4" y="19"/>
                  </a:lnTo>
                  <a:lnTo>
                    <a:pt x="4" y="19"/>
                  </a:lnTo>
                  <a:lnTo>
                    <a:pt x="4" y="21"/>
                  </a:lnTo>
                  <a:lnTo>
                    <a:pt x="7" y="21"/>
                  </a:lnTo>
                  <a:lnTo>
                    <a:pt x="7" y="28"/>
                  </a:lnTo>
                  <a:lnTo>
                    <a:pt x="4" y="28"/>
                  </a:lnTo>
                  <a:lnTo>
                    <a:pt x="4" y="31"/>
                  </a:lnTo>
                  <a:lnTo>
                    <a:pt x="4" y="31"/>
                  </a:lnTo>
                  <a:lnTo>
                    <a:pt x="7" y="31"/>
                  </a:lnTo>
                  <a:lnTo>
                    <a:pt x="7" y="40"/>
                  </a:lnTo>
                  <a:lnTo>
                    <a:pt x="4" y="40"/>
                  </a:lnTo>
                  <a:lnTo>
                    <a:pt x="4" y="43"/>
                  </a:lnTo>
                  <a:lnTo>
                    <a:pt x="4" y="43"/>
                  </a:lnTo>
                  <a:lnTo>
                    <a:pt x="7" y="43"/>
                  </a:lnTo>
                  <a:lnTo>
                    <a:pt x="7" y="52"/>
                  </a:lnTo>
                  <a:lnTo>
                    <a:pt x="4" y="52"/>
                  </a:lnTo>
                  <a:lnTo>
                    <a:pt x="4" y="52"/>
                  </a:lnTo>
                  <a:lnTo>
                    <a:pt x="4" y="54"/>
                  </a:lnTo>
                  <a:lnTo>
                    <a:pt x="7" y="54"/>
                  </a:lnTo>
                  <a:lnTo>
                    <a:pt x="7" y="64"/>
                  </a:lnTo>
                  <a:lnTo>
                    <a:pt x="4" y="64"/>
                  </a:lnTo>
                  <a:lnTo>
                    <a:pt x="4" y="64"/>
                  </a:lnTo>
                  <a:lnTo>
                    <a:pt x="4" y="66"/>
                  </a:lnTo>
                  <a:lnTo>
                    <a:pt x="7" y="66"/>
                  </a:lnTo>
                  <a:lnTo>
                    <a:pt x="7" y="73"/>
                  </a:lnTo>
                  <a:lnTo>
                    <a:pt x="0" y="73"/>
                  </a:lnTo>
                  <a:lnTo>
                    <a:pt x="0" y="76"/>
                  </a:lnTo>
                  <a:lnTo>
                    <a:pt x="0" y="76"/>
                  </a:lnTo>
                  <a:lnTo>
                    <a:pt x="7" y="76"/>
                  </a:lnTo>
                  <a:lnTo>
                    <a:pt x="7" y="85"/>
                  </a:lnTo>
                  <a:lnTo>
                    <a:pt x="9" y="85"/>
                  </a:lnTo>
                  <a:lnTo>
                    <a:pt x="9" y="85"/>
                  </a:lnTo>
                  <a:lnTo>
                    <a:pt x="9" y="76"/>
                  </a:lnTo>
                  <a:lnTo>
                    <a:pt x="107" y="76"/>
                  </a:lnTo>
                  <a:lnTo>
                    <a:pt x="107" y="76"/>
                  </a:lnTo>
                  <a:lnTo>
                    <a:pt x="107" y="73"/>
                  </a:lnTo>
                  <a:lnTo>
                    <a:pt x="9" y="73"/>
                  </a:lnTo>
                  <a:lnTo>
                    <a:pt x="9" y="0"/>
                  </a:lnTo>
                  <a:lnTo>
                    <a:pt x="9"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79" name="îsļiďê"/>
            <p:cNvSpPr/>
            <p:nvPr/>
          </p:nvSpPr>
          <p:spPr bwMode="auto">
            <a:xfrm>
              <a:off x="3825" y="2082"/>
              <a:ext cx="107" cy="85"/>
            </a:xfrm>
            <a:custGeom>
              <a:avLst/>
              <a:gdLst>
                <a:gd name="T0" fmla="*/ 9 w 107"/>
                <a:gd name="T1" fmla="*/ 0 h 85"/>
                <a:gd name="T2" fmla="*/ 7 w 107"/>
                <a:gd name="T3" fmla="*/ 0 h 85"/>
                <a:gd name="T4" fmla="*/ 7 w 107"/>
                <a:gd name="T5" fmla="*/ 9 h 85"/>
                <a:gd name="T6" fmla="*/ 4 w 107"/>
                <a:gd name="T7" fmla="*/ 9 h 85"/>
                <a:gd name="T8" fmla="*/ 4 w 107"/>
                <a:gd name="T9" fmla="*/ 9 h 85"/>
                <a:gd name="T10" fmla="*/ 4 w 107"/>
                <a:gd name="T11" fmla="*/ 12 h 85"/>
                <a:gd name="T12" fmla="*/ 7 w 107"/>
                <a:gd name="T13" fmla="*/ 12 h 85"/>
                <a:gd name="T14" fmla="*/ 7 w 107"/>
                <a:gd name="T15" fmla="*/ 19 h 85"/>
                <a:gd name="T16" fmla="*/ 4 w 107"/>
                <a:gd name="T17" fmla="*/ 19 h 85"/>
                <a:gd name="T18" fmla="*/ 4 w 107"/>
                <a:gd name="T19" fmla="*/ 19 h 85"/>
                <a:gd name="T20" fmla="*/ 4 w 107"/>
                <a:gd name="T21" fmla="*/ 21 h 85"/>
                <a:gd name="T22" fmla="*/ 7 w 107"/>
                <a:gd name="T23" fmla="*/ 21 h 85"/>
                <a:gd name="T24" fmla="*/ 7 w 107"/>
                <a:gd name="T25" fmla="*/ 28 h 85"/>
                <a:gd name="T26" fmla="*/ 4 w 107"/>
                <a:gd name="T27" fmla="*/ 28 h 85"/>
                <a:gd name="T28" fmla="*/ 4 w 107"/>
                <a:gd name="T29" fmla="*/ 31 h 85"/>
                <a:gd name="T30" fmla="*/ 4 w 107"/>
                <a:gd name="T31" fmla="*/ 31 h 85"/>
                <a:gd name="T32" fmla="*/ 7 w 107"/>
                <a:gd name="T33" fmla="*/ 31 h 85"/>
                <a:gd name="T34" fmla="*/ 7 w 107"/>
                <a:gd name="T35" fmla="*/ 40 h 85"/>
                <a:gd name="T36" fmla="*/ 4 w 107"/>
                <a:gd name="T37" fmla="*/ 40 h 85"/>
                <a:gd name="T38" fmla="*/ 4 w 107"/>
                <a:gd name="T39" fmla="*/ 43 h 85"/>
                <a:gd name="T40" fmla="*/ 4 w 107"/>
                <a:gd name="T41" fmla="*/ 43 h 85"/>
                <a:gd name="T42" fmla="*/ 7 w 107"/>
                <a:gd name="T43" fmla="*/ 43 h 85"/>
                <a:gd name="T44" fmla="*/ 7 w 107"/>
                <a:gd name="T45" fmla="*/ 52 h 85"/>
                <a:gd name="T46" fmla="*/ 4 w 107"/>
                <a:gd name="T47" fmla="*/ 52 h 85"/>
                <a:gd name="T48" fmla="*/ 4 w 107"/>
                <a:gd name="T49" fmla="*/ 52 h 85"/>
                <a:gd name="T50" fmla="*/ 4 w 107"/>
                <a:gd name="T51" fmla="*/ 54 h 85"/>
                <a:gd name="T52" fmla="*/ 7 w 107"/>
                <a:gd name="T53" fmla="*/ 54 h 85"/>
                <a:gd name="T54" fmla="*/ 7 w 107"/>
                <a:gd name="T55" fmla="*/ 64 h 85"/>
                <a:gd name="T56" fmla="*/ 4 w 107"/>
                <a:gd name="T57" fmla="*/ 64 h 85"/>
                <a:gd name="T58" fmla="*/ 4 w 107"/>
                <a:gd name="T59" fmla="*/ 64 h 85"/>
                <a:gd name="T60" fmla="*/ 4 w 107"/>
                <a:gd name="T61" fmla="*/ 66 h 85"/>
                <a:gd name="T62" fmla="*/ 7 w 107"/>
                <a:gd name="T63" fmla="*/ 66 h 85"/>
                <a:gd name="T64" fmla="*/ 7 w 107"/>
                <a:gd name="T65" fmla="*/ 73 h 85"/>
                <a:gd name="T66" fmla="*/ 0 w 107"/>
                <a:gd name="T67" fmla="*/ 73 h 85"/>
                <a:gd name="T68" fmla="*/ 0 w 107"/>
                <a:gd name="T69" fmla="*/ 76 h 85"/>
                <a:gd name="T70" fmla="*/ 0 w 107"/>
                <a:gd name="T71" fmla="*/ 76 h 85"/>
                <a:gd name="T72" fmla="*/ 7 w 107"/>
                <a:gd name="T73" fmla="*/ 76 h 85"/>
                <a:gd name="T74" fmla="*/ 7 w 107"/>
                <a:gd name="T75" fmla="*/ 85 h 85"/>
                <a:gd name="T76" fmla="*/ 9 w 107"/>
                <a:gd name="T77" fmla="*/ 85 h 85"/>
                <a:gd name="T78" fmla="*/ 9 w 107"/>
                <a:gd name="T79" fmla="*/ 85 h 85"/>
                <a:gd name="T80" fmla="*/ 9 w 107"/>
                <a:gd name="T81" fmla="*/ 76 h 85"/>
                <a:gd name="T82" fmla="*/ 107 w 107"/>
                <a:gd name="T83" fmla="*/ 76 h 85"/>
                <a:gd name="T84" fmla="*/ 107 w 107"/>
                <a:gd name="T85" fmla="*/ 76 h 85"/>
                <a:gd name="T86" fmla="*/ 107 w 107"/>
                <a:gd name="T87" fmla="*/ 73 h 85"/>
                <a:gd name="T88" fmla="*/ 9 w 107"/>
                <a:gd name="T89" fmla="*/ 73 h 85"/>
                <a:gd name="T90" fmla="*/ 9 w 107"/>
                <a:gd name="T91" fmla="*/ 0 h 85"/>
                <a:gd name="T92" fmla="*/ 9 w 107"/>
                <a:gd name="T9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85">
                  <a:moveTo>
                    <a:pt x="9" y="0"/>
                  </a:moveTo>
                  <a:lnTo>
                    <a:pt x="7" y="0"/>
                  </a:lnTo>
                  <a:lnTo>
                    <a:pt x="7" y="9"/>
                  </a:lnTo>
                  <a:lnTo>
                    <a:pt x="4" y="9"/>
                  </a:lnTo>
                  <a:lnTo>
                    <a:pt x="4" y="9"/>
                  </a:lnTo>
                  <a:lnTo>
                    <a:pt x="4" y="12"/>
                  </a:lnTo>
                  <a:lnTo>
                    <a:pt x="7" y="12"/>
                  </a:lnTo>
                  <a:lnTo>
                    <a:pt x="7" y="19"/>
                  </a:lnTo>
                  <a:lnTo>
                    <a:pt x="4" y="19"/>
                  </a:lnTo>
                  <a:lnTo>
                    <a:pt x="4" y="19"/>
                  </a:lnTo>
                  <a:lnTo>
                    <a:pt x="4" y="21"/>
                  </a:lnTo>
                  <a:lnTo>
                    <a:pt x="7" y="21"/>
                  </a:lnTo>
                  <a:lnTo>
                    <a:pt x="7" y="28"/>
                  </a:lnTo>
                  <a:lnTo>
                    <a:pt x="4" y="28"/>
                  </a:lnTo>
                  <a:lnTo>
                    <a:pt x="4" y="31"/>
                  </a:lnTo>
                  <a:lnTo>
                    <a:pt x="4" y="31"/>
                  </a:lnTo>
                  <a:lnTo>
                    <a:pt x="7" y="31"/>
                  </a:lnTo>
                  <a:lnTo>
                    <a:pt x="7" y="40"/>
                  </a:lnTo>
                  <a:lnTo>
                    <a:pt x="4" y="40"/>
                  </a:lnTo>
                  <a:lnTo>
                    <a:pt x="4" y="43"/>
                  </a:lnTo>
                  <a:lnTo>
                    <a:pt x="4" y="43"/>
                  </a:lnTo>
                  <a:lnTo>
                    <a:pt x="7" y="43"/>
                  </a:lnTo>
                  <a:lnTo>
                    <a:pt x="7" y="52"/>
                  </a:lnTo>
                  <a:lnTo>
                    <a:pt x="4" y="52"/>
                  </a:lnTo>
                  <a:lnTo>
                    <a:pt x="4" y="52"/>
                  </a:lnTo>
                  <a:lnTo>
                    <a:pt x="4" y="54"/>
                  </a:lnTo>
                  <a:lnTo>
                    <a:pt x="7" y="54"/>
                  </a:lnTo>
                  <a:lnTo>
                    <a:pt x="7" y="64"/>
                  </a:lnTo>
                  <a:lnTo>
                    <a:pt x="4" y="64"/>
                  </a:lnTo>
                  <a:lnTo>
                    <a:pt x="4" y="64"/>
                  </a:lnTo>
                  <a:lnTo>
                    <a:pt x="4" y="66"/>
                  </a:lnTo>
                  <a:lnTo>
                    <a:pt x="7" y="66"/>
                  </a:lnTo>
                  <a:lnTo>
                    <a:pt x="7" y="73"/>
                  </a:lnTo>
                  <a:lnTo>
                    <a:pt x="0" y="73"/>
                  </a:lnTo>
                  <a:lnTo>
                    <a:pt x="0" y="76"/>
                  </a:lnTo>
                  <a:lnTo>
                    <a:pt x="0" y="76"/>
                  </a:lnTo>
                  <a:lnTo>
                    <a:pt x="7" y="76"/>
                  </a:lnTo>
                  <a:lnTo>
                    <a:pt x="7" y="85"/>
                  </a:lnTo>
                  <a:lnTo>
                    <a:pt x="9" y="85"/>
                  </a:lnTo>
                  <a:lnTo>
                    <a:pt x="9" y="85"/>
                  </a:lnTo>
                  <a:lnTo>
                    <a:pt x="9" y="76"/>
                  </a:lnTo>
                  <a:lnTo>
                    <a:pt x="107" y="76"/>
                  </a:lnTo>
                  <a:lnTo>
                    <a:pt x="107" y="76"/>
                  </a:lnTo>
                  <a:lnTo>
                    <a:pt x="107" y="73"/>
                  </a:lnTo>
                  <a:lnTo>
                    <a:pt x="9" y="73"/>
                  </a:lnTo>
                  <a:lnTo>
                    <a:pt x="9" y="0"/>
                  </a:lnTo>
                  <a:lnTo>
                    <a:pt x="9"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80" name="ïṣľídê"/>
            <p:cNvSpPr/>
            <p:nvPr/>
          </p:nvSpPr>
          <p:spPr bwMode="auto">
            <a:xfrm>
              <a:off x="3863" y="2089"/>
              <a:ext cx="21" cy="64"/>
            </a:xfrm>
            <a:custGeom>
              <a:avLst/>
              <a:gdLst>
                <a:gd name="T0" fmla="*/ 8 w 9"/>
                <a:gd name="T1" fmla="*/ 24 h 27"/>
                <a:gd name="T2" fmla="*/ 8 w 9"/>
                <a:gd name="T3" fmla="*/ 24 h 27"/>
                <a:gd name="T4" fmla="*/ 6 w 9"/>
                <a:gd name="T5" fmla="*/ 24 h 27"/>
                <a:gd name="T6" fmla="*/ 8 w 9"/>
                <a:gd name="T7" fmla="*/ 23 h 27"/>
                <a:gd name="T8" fmla="*/ 7 w 9"/>
                <a:gd name="T9" fmla="*/ 25 h 27"/>
                <a:gd name="T10" fmla="*/ 6 w 9"/>
                <a:gd name="T11" fmla="*/ 23 h 27"/>
                <a:gd name="T12" fmla="*/ 6 w 9"/>
                <a:gd name="T13" fmla="*/ 22 h 27"/>
                <a:gd name="T14" fmla="*/ 8 w 9"/>
                <a:gd name="T15" fmla="*/ 21 h 27"/>
                <a:gd name="T16" fmla="*/ 6 w 9"/>
                <a:gd name="T17" fmla="*/ 21 h 27"/>
                <a:gd name="T18" fmla="*/ 8 w 9"/>
                <a:gd name="T19" fmla="*/ 17 h 27"/>
                <a:gd name="T20" fmla="*/ 8 w 9"/>
                <a:gd name="T21" fmla="*/ 19 h 27"/>
                <a:gd name="T22" fmla="*/ 6 w 9"/>
                <a:gd name="T23" fmla="*/ 19 h 27"/>
                <a:gd name="T24" fmla="*/ 6 w 9"/>
                <a:gd name="T25" fmla="*/ 18 h 27"/>
                <a:gd name="T26" fmla="*/ 8 w 9"/>
                <a:gd name="T27" fmla="*/ 16 h 27"/>
                <a:gd name="T28" fmla="*/ 6 w 9"/>
                <a:gd name="T29" fmla="*/ 19 h 27"/>
                <a:gd name="T30" fmla="*/ 6 w 9"/>
                <a:gd name="T31" fmla="*/ 15 h 27"/>
                <a:gd name="T32" fmla="*/ 8 w 9"/>
                <a:gd name="T33" fmla="*/ 14 h 27"/>
                <a:gd name="T34" fmla="*/ 6 w 9"/>
                <a:gd name="T35" fmla="*/ 14 h 27"/>
                <a:gd name="T36" fmla="*/ 8 w 9"/>
                <a:gd name="T37" fmla="*/ 9 h 27"/>
                <a:gd name="T38" fmla="*/ 8 w 9"/>
                <a:gd name="T39" fmla="*/ 11 h 27"/>
                <a:gd name="T40" fmla="*/ 6 w 9"/>
                <a:gd name="T41" fmla="*/ 11 h 27"/>
                <a:gd name="T42" fmla="*/ 6 w 9"/>
                <a:gd name="T43" fmla="*/ 10 h 27"/>
                <a:gd name="T44" fmla="*/ 6 w 9"/>
                <a:gd name="T45" fmla="*/ 10 h 27"/>
                <a:gd name="T46" fmla="*/ 8 w 9"/>
                <a:gd name="T47" fmla="*/ 9 h 27"/>
                <a:gd name="T48" fmla="*/ 6 w 9"/>
                <a:gd name="T49" fmla="*/ 11 h 27"/>
                <a:gd name="T50" fmla="*/ 3 w 9"/>
                <a:gd name="T51" fmla="*/ 25 h 27"/>
                <a:gd name="T52" fmla="*/ 1 w 9"/>
                <a:gd name="T53" fmla="*/ 4 h 27"/>
                <a:gd name="T54" fmla="*/ 5 w 9"/>
                <a:gd name="T55" fmla="*/ 25 h 27"/>
                <a:gd name="T56" fmla="*/ 6 w 9"/>
                <a:gd name="T57" fmla="*/ 7 h 27"/>
                <a:gd name="T58" fmla="*/ 8 w 9"/>
                <a:gd name="T59" fmla="*/ 6 h 27"/>
                <a:gd name="T60" fmla="*/ 6 w 9"/>
                <a:gd name="T61" fmla="*/ 6 h 27"/>
                <a:gd name="T62" fmla="*/ 7 w 9"/>
                <a:gd name="T63" fmla="*/ 2 h 27"/>
                <a:gd name="T64" fmla="*/ 8 w 9"/>
                <a:gd name="T65" fmla="*/ 3 h 27"/>
                <a:gd name="T66" fmla="*/ 6 w 9"/>
                <a:gd name="T67" fmla="*/ 6 h 27"/>
                <a:gd name="T68" fmla="*/ 2 w 9"/>
                <a:gd name="T69" fmla="*/ 3 h 27"/>
                <a:gd name="T70" fmla="*/ 7 w 9"/>
                <a:gd name="T71" fmla="*/ 1 h 27"/>
                <a:gd name="T72" fmla="*/ 7 w 9"/>
                <a:gd name="T73" fmla="*/ 2 h 27"/>
                <a:gd name="T74" fmla="*/ 7 w 9"/>
                <a:gd name="T75" fmla="*/ 0 h 27"/>
                <a:gd name="T76" fmla="*/ 4 w 9"/>
                <a:gd name="T77" fmla="*/ 0 h 27"/>
                <a:gd name="T78" fmla="*/ 1 w 9"/>
                <a:gd name="T79" fmla="*/ 3 h 27"/>
                <a:gd name="T80" fmla="*/ 1 w 9"/>
                <a:gd name="T81" fmla="*/ 3 h 27"/>
                <a:gd name="T82" fmla="*/ 0 w 9"/>
                <a:gd name="T83" fmla="*/ 3 h 27"/>
                <a:gd name="T84" fmla="*/ 1 w 9"/>
                <a:gd name="T85" fmla="*/ 26 h 27"/>
                <a:gd name="T86" fmla="*/ 3 w 9"/>
                <a:gd name="T87" fmla="*/ 26 h 27"/>
                <a:gd name="T88" fmla="*/ 6 w 9"/>
                <a:gd name="T89" fmla="*/ 27 h 27"/>
                <a:gd name="T90" fmla="*/ 9 w 9"/>
                <a:gd name="T91" fmla="*/ 25 h 27"/>
                <a:gd name="T92" fmla="*/ 9 w 9"/>
                <a:gd name="T93" fmla="*/ 24 h 27"/>
                <a:gd name="T94" fmla="*/ 9 w 9"/>
                <a:gd name="T95" fmla="*/ 24 h 27"/>
                <a:gd name="T96" fmla="*/ 9 w 9"/>
                <a:gd name="T97" fmla="*/ 0 h 27"/>
                <a:gd name="T98" fmla="*/ 9 w 9"/>
                <a:gd name="T99" fmla="*/ 0 h 27"/>
                <a:gd name="T100" fmla="*/ 8 w 9"/>
                <a:gd name="T101" fmla="*/ 0 h 27"/>
                <a:gd name="T102" fmla="*/ 7 w 9"/>
                <a:gd name="T10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 h="27">
                  <a:moveTo>
                    <a:pt x="8" y="24"/>
                  </a:moveTo>
                  <a:cubicBezTo>
                    <a:pt x="8" y="24"/>
                    <a:pt x="8" y="24"/>
                    <a:pt x="8" y="24"/>
                  </a:cubicBezTo>
                  <a:cubicBezTo>
                    <a:pt x="8" y="24"/>
                    <a:pt x="8" y="24"/>
                    <a:pt x="8" y="24"/>
                  </a:cubicBezTo>
                  <a:cubicBezTo>
                    <a:pt x="8" y="24"/>
                    <a:pt x="8" y="24"/>
                    <a:pt x="8" y="24"/>
                  </a:cubicBezTo>
                  <a:moveTo>
                    <a:pt x="6" y="25"/>
                  </a:moveTo>
                  <a:cubicBezTo>
                    <a:pt x="6" y="24"/>
                    <a:pt x="6" y="24"/>
                    <a:pt x="6" y="24"/>
                  </a:cubicBezTo>
                  <a:cubicBezTo>
                    <a:pt x="7" y="23"/>
                    <a:pt x="7" y="23"/>
                    <a:pt x="8" y="22"/>
                  </a:cubicBezTo>
                  <a:cubicBezTo>
                    <a:pt x="8" y="22"/>
                    <a:pt x="8" y="22"/>
                    <a:pt x="8" y="23"/>
                  </a:cubicBezTo>
                  <a:cubicBezTo>
                    <a:pt x="8" y="23"/>
                    <a:pt x="8" y="23"/>
                    <a:pt x="8" y="23"/>
                  </a:cubicBezTo>
                  <a:cubicBezTo>
                    <a:pt x="8" y="24"/>
                    <a:pt x="7" y="24"/>
                    <a:pt x="7" y="25"/>
                  </a:cubicBezTo>
                  <a:cubicBezTo>
                    <a:pt x="6" y="25"/>
                    <a:pt x="6" y="25"/>
                    <a:pt x="6" y="25"/>
                  </a:cubicBezTo>
                  <a:moveTo>
                    <a:pt x="6" y="23"/>
                  </a:moveTo>
                  <a:cubicBezTo>
                    <a:pt x="6" y="23"/>
                    <a:pt x="6" y="23"/>
                    <a:pt x="6" y="22"/>
                  </a:cubicBezTo>
                  <a:cubicBezTo>
                    <a:pt x="6" y="22"/>
                    <a:pt x="6" y="22"/>
                    <a:pt x="6" y="22"/>
                  </a:cubicBezTo>
                  <a:cubicBezTo>
                    <a:pt x="7" y="21"/>
                    <a:pt x="7" y="20"/>
                    <a:pt x="8" y="20"/>
                  </a:cubicBezTo>
                  <a:cubicBezTo>
                    <a:pt x="8" y="20"/>
                    <a:pt x="8" y="21"/>
                    <a:pt x="8" y="21"/>
                  </a:cubicBezTo>
                  <a:cubicBezTo>
                    <a:pt x="7" y="22"/>
                    <a:pt x="7" y="23"/>
                    <a:pt x="6" y="23"/>
                  </a:cubicBezTo>
                  <a:moveTo>
                    <a:pt x="6" y="21"/>
                  </a:moveTo>
                  <a:cubicBezTo>
                    <a:pt x="6" y="21"/>
                    <a:pt x="6" y="20"/>
                    <a:pt x="6" y="20"/>
                  </a:cubicBezTo>
                  <a:cubicBezTo>
                    <a:pt x="7" y="19"/>
                    <a:pt x="7" y="18"/>
                    <a:pt x="8" y="17"/>
                  </a:cubicBezTo>
                  <a:cubicBezTo>
                    <a:pt x="8" y="18"/>
                    <a:pt x="8" y="18"/>
                    <a:pt x="8" y="19"/>
                  </a:cubicBezTo>
                  <a:cubicBezTo>
                    <a:pt x="8" y="19"/>
                    <a:pt x="8" y="19"/>
                    <a:pt x="8" y="19"/>
                  </a:cubicBezTo>
                  <a:cubicBezTo>
                    <a:pt x="7" y="20"/>
                    <a:pt x="7" y="21"/>
                    <a:pt x="6" y="21"/>
                  </a:cubicBezTo>
                  <a:moveTo>
                    <a:pt x="6" y="19"/>
                  </a:moveTo>
                  <a:cubicBezTo>
                    <a:pt x="6" y="19"/>
                    <a:pt x="6" y="18"/>
                    <a:pt x="6" y="18"/>
                  </a:cubicBezTo>
                  <a:cubicBezTo>
                    <a:pt x="6" y="18"/>
                    <a:pt x="6" y="18"/>
                    <a:pt x="6" y="18"/>
                  </a:cubicBezTo>
                  <a:cubicBezTo>
                    <a:pt x="7" y="17"/>
                    <a:pt x="7" y="16"/>
                    <a:pt x="8" y="15"/>
                  </a:cubicBezTo>
                  <a:cubicBezTo>
                    <a:pt x="8" y="15"/>
                    <a:pt x="8" y="16"/>
                    <a:pt x="8" y="16"/>
                  </a:cubicBezTo>
                  <a:cubicBezTo>
                    <a:pt x="8" y="16"/>
                    <a:pt x="8" y="16"/>
                    <a:pt x="8" y="16"/>
                  </a:cubicBezTo>
                  <a:cubicBezTo>
                    <a:pt x="7" y="17"/>
                    <a:pt x="7" y="18"/>
                    <a:pt x="6" y="19"/>
                  </a:cubicBezTo>
                  <a:moveTo>
                    <a:pt x="6" y="17"/>
                  </a:moveTo>
                  <a:cubicBezTo>
                    <a:pt x="6" y="16"/>
                    <a:pt x="6" y="15"/>
                    <a:pt x="6" y="15"/>
                  </a:cubicBezTo>
                  <a:cubicBezTo>
                    <a:pt x="7" y="14"/>
                    <a:pt x="7" y="13"/>
                    <a:pt x="8" y="12"/>
                  </a:cubicBezTo>
                  <a:cubicBezTo>
                    <a:pt x="8" y="12"/>
                    <a:pt x="8" y="13"/>
                    <a:pt x="8" y="14"/>
                  </a:cubicBezTo>
                  <a:cubicBezTo>
                    <a:pt x="7" y="15"/>
                    <a:pt x="7" y="16"/>
                    <a:pt x="6" y="17"/>
                  </a:cubicBezTo>
                  <a:moveTo>
                    <a:pt x="6" y="14"/>
                  </a:moveTo>
                  <a:cubicBezTo>
                    <a:pt x="6" y="13"/>
                    <a:pt x="6" y="12"/>
                    <a:pt x="6" y="12"/>
                  </a:cubicBezTo>
                  <a:cubicBezTo>
                    <a:pt x="7" y="11"/>
                    <a:pt x="7" y="10"/>
                    <a:pt x="8" y="9"/>
                  </a:cubicBezTo>
                  <a:cubicBezTo>
                    <a:pt x="8" y="10"/>
                    <a:pt x="8" y="10"/>
                    <a:pt x="8" y="11"/>
                  </a:cubicBezTo>
                  <a:cubicBezTo>
                    <a:pt x="8" y="11"/>
                    <a:pt x="8" y="11"/>
                    <a:pt x="8" y="11"/>
                  </a:cubicBezTo>
                  <a:cubicBezTo>
                    <a:pt x="7" y="12"/>
                    <a:pt x="7" y="13"/>
                    <a:pt x="6" y="14"/>
                  </a:cubicBezTo>
                  <a:moveTo>
                    <a:pt x="6" y="11"/>
                  </a:moveTo>
                  <a:cubicBezTo>
                    <a:pt x="6" y="10"/>
                    <a:pt x="6" y="10"/>
                    <a:pt x="6" y="10"/>
                  </a:cubicBezTo>
                  <a:cubicBezTo>
                    <a:pt x="6" y="10"/>
                    <a:pt x="6" y="10"/>
                    <a:pt x="6" y="10"/>
                  </a:cubicBezTo>
                  <a:cubicBezTo>
                    <a:pt x="6" y="10"/>
                    <a:pt x="6" y="10"/>
                    <a:pt x="6" y="10"/>
                  </a:cubicBezTo>
                  <a:cubicBezTo>
                    <a:pt x="6" y="10"/>
                    <a:pt x="6" y="10"/>
                    <a:pt x="6" y="10"/>
                  </a:cubicBezTo>
                  <a:cubicBezTo>
                    <a:pt x="7" y="9"/>
                    <a:pt x="7" y="8"/>
                    <a:pt x="8" y="7"/>
                  </a:cubicBezTo>
                  <a:cubicBezTo>
                    <a:pt x="8" y="8"/>
                    <a:pt x="8" y="8"/>
                    <a:pt x="8" y="9"/>
                  </a:cubicBezTo>
                  <a:cubicBezTo>
                    <a:pt x="8" y="9"/>
                    <a:pt x="8" y="9"/>
                    <a:pt x="8" y="9"/>
                  </a:cubicBezTo>
                  <a:cubicBezTo>
                    <a:pt x="7" y="10"/>
                    <a:pt x="7" y="10"/>
                    <a:pt x="6" y="11"/>
                  </a:cubicBezTo>
                  <a:moveTo>
                    <a:pt x="5" y="25"/>
                  </a:moveTo>
                  <a:cubicBezTo>
                    <a:pt x="4" y="25"/>
                    <a:pt x="4" y="25"/>
                    <a:pt x="3" y="25"/>
                  </a:cubicBezTo>
                  <a:cubicBezTo>
                    <a:pt x="3" y="25"/>
                    <a:pt x="2" y="25"/>
                    <a:pt x="1" y="25"/>
                  </a:cubicBezTo>
                  <a:cubicBezTo>
                    <a:pt x="1" y="20"/>
                    <a:pt x="2" y="8"/>
                    <a:pt x="1" y="4"/>
                  </a:cubicBezTo>
                  <a:cubicBezTo>
                    <a:pt x="3" y="4"/>
                    <a:pt x="4" y="4"/>
                    <a:pt x="5" y="4"/>
                  </a:cubicBezTo>
                  <a:cubicBezTo>
                    <a:pt x="5" y="7"/>
                    <a:pt x="5" y="21"/>
                    <a:pt x="5" y="25"/>
                  </a:cubicBezTo>
                  <a:moveTo>
                    <a:pt x="6" y="9"/>
                  </a:moveTo>
                  <a:cubicBezTo>
                    <a:pt x="6" y="8"/>
                    <a:pt x="6" y="8"/>
                    <a:pt x="6" y="7"/>
                  </a:cubicBezTo>
                  <a:cubicBezTo>
                    <a:pt x="8" y="4"/>
                    <a:pt x="8" y="4"/>
                    <a:pt x="8" y="4"/>
                  </a:cubicBezTo>
                  <a:cubicBezTo>
                    <a:pt x="8" y="4"/>
                    <a:pt x="8" y="5"/>
                    <a:pt x="8" y="6"/>
                  </a:cubicBezTo>
                  <a:cubicBezTo>
                    <a:pt x="7" y="7"/>
                    <a:pt x="7" y="8"/>
                    <a:pt x="6" y="9"/>
                  </a:cubicBezTo>
                  <a:moveTo>
                    <a:pt x="6" y="6"/>
                  </a:moveTo>
                  <a:cubicBezTo>
                    <a:pt x="6" y="5"/>
                    <a:pt x="6" y="4"/>
                    <a:pt x="6" y="4"/>
                  </a:cubicBezTo>
                  <a:cubicBezTo>
                    <a:pt x="6" y="3"/>
                    <a:pt x="7" y="3"/>
                    <a:pt x="7" y="2"/>
                  </a:cubicBezTo>
                  <a:cubicBezTo>
                    <a:pt x="8" y="2"/>
                    <a:pt x="8" y="2"/>
                    <a:pt x="8" y="2"/>
                  </a:cubicBezTo>
                  <a:cubicBezTo>
                    <a:pt x="8" y="2"/>
                    <a:pt x="8" y="2"/>
                    <a:pt x="8" y="3"/>
                  </a:cubicBezTo>
                  <a:cubicBezTo>
                    <a:pt x="8" y="3"/>
                    <a:pt x="8" y="3"/>
                    <a:pt x="8" y="3"/>
                  </a:cubicBezTo>
                  <a:cubicBezTo>
                    <a:pt x="6" y="6"/>
                    <a:pt x="6" y="6"/>
                    <a:pt x="6" y="6"/>
                  </a:cubicBezTo>
                  <a:moveTo>
                    <a:pt x="5" y="3"/>
                  </a:moveTo>
                  <a:cubicBezTo>
                    <a:pt x="5" y="3"/>
                    <a:pt x="4" y="3"/>
                    <a:pt x="2" y="3"/>
                  </a:cubicBezTo>
                  <a:cubicBezTo>
                    <a:pt x="3" y="2"/>
                    <a:pt x="4" y="1"/>
                    <a:pt x="4" y="1"/>
                  </a:cubicBezTo>
                  <a:cubicBezTo>
                    <a:pt x="5" y="1"/>
                    <a:pt x="6" y="1"/>
                    <a:pt x="7" y="1"/>
                  </a:cubicBezTo>
                  <a:cubicBezTo>
                    <a:pt x="7" y="1"/>
                    <a:pt x="7" y="1"/>
                    <a:pt x="7" y="1"/>
                  </a:cubicBezTo>
                  <a:cubicBezTo>
                    <a:pt x="7" y="2"/>
                    <a:pt x="7" y="2"/>
                    <a:pt x="7" y="2"/>
                  </a:cubicBezTo>
                  <a:cubicBezTo>
                    <a:pt x="6" y="2"/>
                    <a:pt x="6" y="2"/>
                    <a:pt x="5" y="3"/>
                  </a:cubicBezTo>
                  <a:moveTo>
                    <a:pt x="7" y="0"/>
                  </a:moveTo>
                  <a:cubicBezTo>
                    <a:pt x="5" y="0"/>
                    <a:pt x="4" y="0"/>
                    <a:pt x="4" y="0"/>
                  </a:cubicBezTo>
                  <a:cubicBezTo>
                    <a:pt x="4" y="0"/>
                    <a:pt x="4" y="0"/>
                    <a:pt x="4" y="0"/>
                  </a:cubicBezTo>
                  <a:cubicBezTo>
                    <a:pt x="4" y="0"/>
                    <a:pt x="2" y="1"/>
                    <a:pt x="1" y="3"/>
                  </a:cubicBezTo>
                  <a:cubicBezTo>
                    <a:pt x="1" y="3"/>
                    <a:pt x="1" y="3"/>
                    <a:pt x="1" y="3"/>
                  </a:cubicBezTo>
                  <a:cubicBezTo>
                    <a:pt x="1" y="3"/>
                    <a:pt x="1" y="3"/>
                    <a:pt x="1" y="3"/>
                  </a:cubicBezTo>
                  <a:cubicBezTo>
                    <a:pt x="1" y="3"/>
                    <a:pt x="1" y="3"/>
                    <a:pt x="1" y="3"/>
                  </a:cubicBezTo>
                  <a:cubicBezTo>
                    <a:pt x="0" y="3"/>
                    <a:pt x="0" y="3"/>
                    <a:pt x="0" y="3"/>
                  </a:cubicBezTo>
                  <a:cubicBezTo>
                    <a:pt x="0" y="3"/>
                    <a:pt x="0" y="3"/>
                    <a:pt x="0" y="3"/>
                  </a:cubicBezTo>
                  <a:cubicBezTo>
                    <a:pt x="1" y="7"/>
                    <a:pt x="1" y="21"/>
                    <a:pt x="0" y="26"/>
                  </a:cubicBezTo>
                  <a:cubicBezTo>
                    <a:pt x="1" y="26"/>
                    <a:pt x="1" y="26"/>
                    <a:pt x="1" y="26"/>
                  </a:cubicBezTo>
                  <a:cubicBezTo>
                    <a:pt x="1" y="26"/>
                    <a:pt x="1" y="26"/>
                    <a:pt x="1" y="26"/>
                  </a:cubicBezTo>
                  <a:cubicBezTo>
                    <a:pt x="2" y="26"/>
                    <a:pt x="3" y="26"/>
                    <a:pt x="3" y="26"/>
                  </a:cubicBezTo>
                  <a:cubicBezTo>
                    <a:pt x="4" y="26"/>
                    <a:pt x="5" y="26"/>
                    <a:pt x="6" y="26"/>
                  </a:cubicBezTo>
                  <a:cubicBezTo>
                    <a:pt x="6" y="27"/>
                    <a:pt x="6" y="27"/>
                    <a:pt x="6" y="27"/>
                  </a:cubicBezTo>
                  <a:cubicBezTo>
                    <a:pt x="6" y="26"/>
                    <a:pt x="6" y="26"/>
                    <a:pt x="6" y="26"/>
                  </a:cubicBezTo>
                  <a:cubicBezTo>
                    <a:pt x="7" y="26"/>
                    <a:pt x="8" y="25"/>
                    <a:pt x="9" y="25"/>
                  </a:cubicBezTo>
                  <a:cubicBezTo>
                    <a:pt x="9" y="25"/>
                    <a:pt x="9" y="25"/>
                    <a:pt x="9" y="25"/>
                  </a:cubicBezTo>
                  <a:cubicBezTo>
                    <a:pt x="9" y="24"/>
                    <a:pt x="9" y="24"/>
                    <a:pt x="9" y="24"/>
                  </a:cubicBezTo>
                  <a:cubicBezTo>
                    <a:pt x="9" y="24"/>
                    <a:pt x="9" y="24"/>
                    <a:pt x="9" y="24"/>
                  </a:cubicBezTo>
                  <a:cubicBezTo>
                    <a:pt x="9" y="24"/>
                    <a:pt x="9" y="24"/>
                    <a:pt x="9" y="24"/>
                  </a:cubicBezTo>
                  <a:cubicBezTo>
                    <a:pt x="9" y="19"/>
                    <a:pt x="9" y="1"/>
                    <a:pt x="9" y="1"/>
                  </a:cubicBezTo>
                  <a:cubicBezTo>
                    <a:pt x="9" y="0"/>
                    <a:pt x="9" y="0"/>
                    <a:pt x="9" y="0"/>
                  </a:cubicBezTo>
                  <a:cubicBezTo>
                    <a:pt x="9" y="0"/>
                    <a:pt x="9" y="0"/>
                    <a:pt x="9" y="0"/>
                  </a:cubicBezTo>
                  <a:cubicBezTo>
                    <a:pt x="9" y="0"/>
                    <a:pt x="9" y="0"/>
                    <a:pt x="9" y="0"/>
                  </a:cubicBezTo>
                  <a:cubicBezTo>
                    <a:pt x="9" y="0"/>
                    <a:pt x="9" y="0"/>
                    <a:pt x="9" y="0"/>
                  </a:cubicBezTo>
                  <a:cubicBezTo>
                    <a:pt x="8" y="0"/>
                    <a:pt x="8" y="0"/>
                    <a:pt x="8" y="0"/>
                  </a:cubicBezTo>
                  <a:cubicBezTo>
                    <a:pt x="8" y="0"/>
                    <a:pt x="8" y="0"/>
                    <a:pt x="8" y="0"/>
                  </a:cubicBezTo>
                  <a:cubicBezTo>
                    <a:pt x="8" y="0"/>
                    <a:pt x="7" y="0"/>
                    <a:pt x="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81" name="ïṩlïḓe"/>
            <p:cNvSpPr/>
            <p:nvPr/>
          </p:nvSpPr>
          <p:spPr bwMode="auto">
            <a:xfrm>
              <a:off x="3886" y="2070"/>
              <a:ext cx="19" cy="83"/>
            </a:xfrm>
            <a:custGeom>
              <a:avLst/>
              <a:gdLst>
                <a:gd name="T0" fmla="*/ 7 w 8"/>
                <a:gd name="T1" fmla="*/ 31 h 35"/>
                <a:gd name="T2" fmla="*/ 6 w 8"/>
                <a:gd name="T3" fmla="*/ 33 h 35"/>
                <a:gd name="T4" fmla="*/ 6 w 8"/>
                <a:gd name="T5" fmla="*/ 31 h 35"/>
                <a:gd name="T6" fmla="*/ 7 w 8"/>
                <a:gd name="T7" fmla="*/ 29 h 35"/>
                <a:gd name="T8" fmla="*/ 6 w 8"/>
                <a:gd name="T9" fmla="*/ 33 h 35"/>
                <a:gd name="T10" fmla="*/ 6 w 8"/>
                <a:gd name="T11" fmla="*/ 29 h 35"/>
                <a:gd name="T12" fmla="*/ 7 w 8"/>
                <a:gd name="T13" fmla="*/ 28 h 35"/>
                <a:gd name="T14" fmla="*/ 6 w 8"/>
                <a:gd name="T15" fmla="*/ 28 h 35"/>
                <a:gd name="T16" fmla="*/ 7 w 8"/>
                <a:gd name="T17" fmla="*/ 24 h 35"/>
                <a:gd name="T18" fmla="*/ 6 w 8"/>
                <a:gd name="T19" fmla="*/ 28 h 35"/>
                <a:gd name="T20" fmla="*/ 6 w 8"/>
                <a:gd name="T21" fmla="*/ 25 h 35"/>
                <a:gd name="T22" fmla="*/ 7 w 8"/>
                <a:gd name="T23" fmla="*/ 24 h 35"/>
                <a:gd name="T24" fmla="*/ 6 w 8"/>
                <a:gd name="T25" fmla="*/ 26 h 35"/>
                <a:gd name="T26" fmla="*/ 6 w 8"/>
                <a:gd name="T27" fmla="*/ 23 h 35"/>
                <a:gd name="T28" fmla="*/ 7 w 8"/>
                <a:gd name="T29" fmla="*/ 21 h 35"/>
                <a:gd name="T30" fmla="*/ 6 w 8"/>
                <a:gd name="T31" fmla="*/ 24 h 35"/>
                <a:gd name="T32" fmla="*/ 6 w 8"/>
                <a:gd name="T33" fmla="*/ 20 h 35"/>
                <a:gd name="T34" fmla="*/ 7 w 8"/>
                <a:gd name="T35" fmla="*/ 19 h 35"/>
                <a:gd name="T36" fmla="*/ 6 w 8"/>
                <a:gd name="T37" fmla="*/ 19 h 35"/>
                <a:gd name="T38" fmla="*/ 6 w 8"/>
                <a:gd name="T39" fmla="*/ 17 h 35"/>
                <a:gd name="T40" fmla="*/ 7 w 8"/>
                <a:gd name="T41" fmla="*/ 14 h 35"/>
                <a:gd name="T42" fmla="*/ 6 w 8"/>
                <a:gd name="T43" fmla="*/ 19 h 35"/>
                <a:gd name="T44" fmla="*/ 5 w 8"/>
                <a:gd name="T45" fmla="*/ 15 h 35"/>
                <a:gd name="T46" fmla="*/ 7 w 8"/>
                <a:gd name="T47" fmla="*/ 13 h 35"/>
                <a:gd name="T48" fmla="*/ 5 w 8"/>
                <a:gd name="T49" fmla="*/ 13 h 35"/>
                <a:gd name="T50" fmla="*/ 6 w 8"/>
                <a:gd name="T51" fmla="*/ 10 h 35"/>
                <a:gd name="T52" fmla="*/ 7 w 8"/>
                <a:gd name="T53" fmla="*/ 10 h 35"/>
                <a:gd name="T54" fmla="*/ 5 w 8"/>
                <a:gd name="T55" fmla="*/ 10 h 35"/>
                <a:gd name="T56" fmla="*/ 7 w 8"/>
                <a:gd name="T57" fmla="*/ 4 h 35"/>
                <a:gd name="T58" fmla="*/ 7 w 8"/>
                <a:gd name="T59" fmla="*/ 7 h 35"/>
                <a:gd name="T60" fmla="*/ 5 w 8"/>
                <a:gd name="T61" fmla="*/ 10 h 35"/>
                <a:gd name="T62" fmla="*/ 3 w 8"/>
                <a:gd name="T63" fmla="*/ 33 h 35"/>
                <a:gd name="T64" fmla="*/ 1 w 8"/>
                <a:gd name="T65" fmla="*/ 4 h 35"/>
                <a:gd name="T66" fmla="*/ 5 w 8"/>
                <a:gd name="T67" fmla="*/ 33 h 35"/>
                <a:gd name="T68" fmla="*/ 5 w 8"/>
                <a:gd name="T69" fmla="*/ 4 h 35"/>
                <a:gd name="T70" fmla="*/ 7 w 8"/>
                <a:gd name="T71" fmla="*/ 3 h 35"/>
                <a:gd name="T72" fmla="*/ 7 w 8"/>
                <a:gd name="T73" fmla="*/ 4 h 35"/>
                <a:gd name="T74" fmla="*/ 5 w 8"/>
                <a:gd name="T75" fmla="*/ 3 h 35"/>
                <a:gd name="T76" fmla="*/ 4 w 8"/>
                <a:gd name="T77" fmla="*/ 1 h 35"/>
                <a:gd name="T78" fmla="*/ 7 w 8"/>
                <a:gd name="T79" fmla="*/ 1 h 35"/>
                <a:gd name="T80" fmla="*/ 5 w 8"/>
                <a:gd name="T81" fmla="*/ 3 h 35"/>
                <a:gd name="T82" fmla="*/ 8 w 8"/>
                <a:gd name="T83" fmla="*/ 0 h 35"/>
                <a:gd name="T84" fmla="*/ 3 w 8"/>
                <a:gd name="T85" fmla="*/ 0 h 35"/>
                <a:gd name="T86" fmla="*/ 0 w 8"/>
                <a:gd name="T87" fmla="*/ 3 h 35"/>
                <a:gd name="T88" fmla="*/ 0 w 8"/>
                <a:gd name="T89" fmla="*/ 3 h 35"/>
                <a:gd name="T90" fmla="*/ 0 w 8"/>
                <a:gd name="T91" fmla="*/ 4 h 35"/>
                <a:gd name="T92" fmla="*/ 0 w 8"/>
                <a:gd name="T93" fmla="*/ 34 h 35"/>
                <a:gd name="T94" fmla="*/ 0 w 8"/>
                <a:gd name="T95" fmla="*/ 34 h 35"/>
                <a:gd name="T96" fmla="*/ 5 w 8"/>
                <a:gd name="T97" fmla="*/ 34 h 35"/>
                <a:gd name="T98" fmla="*/ 5 w 8"/>
                <a:gd name="T99" fmla="*/ 34 h 35"/>
                <a:gd name="T100" fmla="*/ 8 w 8"/>
                <a:gd name="T101" fmla="*/ 33 h 35"/>
                <a:gd name="T102" fmla="*/ 8 w 8"/>
                <a:gd name="T103" fmla="*/ 32 h 35"/>
                <a:gd name="T104" fmla="*/ 8 w 8"/>
                <a:gd name="T105" fmla="*/ 5 h 35"/>
                <a:gd name="T106" fmla="*/ 8 w 8"/>
                <a:gd name="T107" fmla="*/ 1 h 35"/>
                <a:gd name="T108" fmla="*/ 8 w 8"/>
                <a:gd name="T109" fmla="*/ 1 h 35"/>
                <a:gd name="T110" fmla="*/ 8 w 8"/>
                <a:gd name="T11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 h="35">
                  <a:moveTo>
                    <a:pt x="6" y="33"/>
                  </a:moveTo>
                  <a:cubicBezTo>
                    <a:pt x="6" y="32"/>
                    <a:pt x="7" y="31"/>
                    <a:pt x="7" y="31"/>
                  </a:cubicBezTo>
                  <a:cubicBezTo>
                    <a:pt x="7" y="31"/>
                    <a:pt x="7" y="32"/>
                    <a:pt x="7" y="32"/>
                  </a:cubicBezTo>
                  <a:cubicBezTo>
                    <a:pt x="7" y="32"/>
                    <a:pt x="7" y="33"/>
                    <a:pt x="6" y="33"/>
                  </a:cubicBezTo>
                  <a:moveTo>
                    <a:pt x="6" y="33"/>
                  </a:moveTo>
                  <a:cubicBezTo>
                    <a:pt x="6" y="32"/>
                    <a:pt x="6" y="32"/>
                    <a:pt x="6" y="31"/>
                  </a:cubicBezTo>
                  <a:cubicBezTo>
                    <a:pt x="6" y="31"/>
                    <a:pt x="6" y="31"/>
                    <a:pt x="6" y="31"/>
                  </a:cubicBezTo>
                  <a:cubicBezTo>
                    <a:pt x="7" y="29"/>
                    <a:pt x="7" y="29"/>
                    <a:pt x="7" y="29"/>
                  </a:cubicBezTo>
                  <a:cubicBezTo>
                    <a:pt x="7" y="29"/>
                    <a:pt x="7" y="29"/>
                    <a:pt x="7" y="30"/>
                  </a:cubicBezTo>
                  <a:cubicBezTo>
                    <a:pt x="7" y="31"/>
                    <a:pt x="6" y="32"/>
                    <a:pt x="6" y="33"/>
                  </a:cubicBezTo>
                  <a:moveTo>
                    <a:pt x="6" y="30"/>
                  </a:moveTo>
                  <a:cubicBezTo>
                    <a:pt x="6" y="30"/>
                    <a:pt x="6" y="30"/>
                    <a:pt x="6" y="29"/>
                  </a:cubicBezTo>
                  <a:cubicBezTo>
                    <a:pt x="6" y="28"/>
                    <a:pt x="7" y="28"/>
                    <a:pt x="7" y="27"/>
                  </a:cubicBezTo>
                  <a:cubicBezTo>
                    <a:pt x="7" y="28"/>
                    <a:pt x="7" y="28"/>
                    <a:pt x="7" y="28"/>
                  </a:cubicBezTo>
                  <a:cubicBezTo>
                    <a:pt x="6" y="30"/>
                    <a:pt x="6" y="30"/>
                    <a:pt x="6" y="30"/>
                  </a:cubicBezTo>
                  <a:moveTo>
                    <a:pt x="6" y="28"/>
                  </a:moveTo>
                  <a:cubicBezTo>
                    <a:pt x="6" y="28"/>
                    <a:pt x="6" y="28"/>
                    <a:pt x="6" y="27"/>
                  </a:cubicBezTo>
                  <a:cubicBezTo>
                    <a:pt x="7" y="24"/>
                    <a:pt x="7" y="24"/>
                    <a:pt x="7" y="24"/>
                  </a:cubicBezTo>
                  <a:cubicBezTo>
                    <a:pt x="7" y="25"/>
                    <a:pt x="7" y="25"/>
                    <a:pt x="7" y="26"/>
                  </a:cubicBezTo>
                  <a:cubicBezTo>
                    <a:pt x="7" y="27"/>
                    <a:pt x="6" y="28"/>
                    <a:pt x="6" y="28"/>
                  </a:cubicBezTo>
                  <a:moveTo>
                    <a:pt x="6" y="26"/>
                  </a:moveTo>
                  <a:cubicBezTo>
                    <a:pt x="6" y="26"/>
                    <a:pt x="6" y="25"/>
                    <a:pt x="6" y="25"/>
                  </a:cubicBezTo>
                  <a:cubicBezTo>
                    <a:pt x="7" y="22"/>
                    <a:pt x="7" y="22"/>
                    <a:pt x="7" y="22"/>
                  </a:cubicBezTo>
                  <a:cubicBezTo>
                    <a:pt x="7" y="23"/>
                    <a:pt x="7" y="23"/>
                    <a:pt x="7" y="24"/>
                  </a:cubicBezTo>
                  <a:cubicBezTo>
                    <a:pt x="7" y="24"/>
                    <a:pt x="7" y="24"/>
                    <a:pt x="7" y="24"/>
                  </a:cubicBezTo>
                  <a:cubicBezTo>
                    <a:pt x="6" y="26"/>
                    <a:pt x="6" y="26"/>
                    <a:pt x="6" y="26"/>
                  </a:cubicBezTo>
                  <a:moveTo>
                    <a:pt x="6" y="24"/>
                  </a:moveTo>
                  <a:cubicBezTo>
                    <a:pt x="6" y="23"/>
                    <a:pt x="6" y="23"/>
                    <a:pt x="6" y="23"/>
                  </a:cubicBezTo>
                  <a:cubicBezTo>
                    <a:pt x="6" y="22"/>
                    <a:pt x="7" y="21"/>
                    <a:pt x="7" y="20"/>
                  </a:cubicBezTo>
                  <a:cubicBezTo>
                    <a:pt x="7" y="21"/>
                    <a:pt x="7" y="21"/>
                    <a:pt x="7" y="21"/>
                  </a:cubicBezTo>
                  <a:cubicBezTo>
                    <a:pt x="7" y="21"/>
                    <a:pt x="7" y="21"/>
                    <a:pt x="7" y="21"/>
                  </a:cubicBezTo>
                  <a:cubicBezTo>
                    <a:pt x="6" y="24"/>
                    <a:pt x="6" y="24"/>
                    <a:pt x="6" y="24"/>
                  </a:cubicBezTo>
                  <a:moveTo>
                    <a:pt x="6" y="22"/>
                  </a:moveTo>
                  <a:cubicBezTo>
                    <a:pt x="6" y="21"/>
                    <a:pt x="6" y="20"/>
                    <a:pt x="6" y="20"/>
                  </a:cubicBezTo>
                  <a:cubicBezTo>
                    <a:pt x="6" y="19"/>
                    <a:pt x="7" y="18"/>
                    <a:pt x="7" y="17"/>
                  </a:cubicBezTo>
                  <a:cubicBezTo>
                    <a:pt x="7" y="18"/>
                    <a:pt x="7" y="19"/>
                    <a:pt x="7" y="19"/>
                  </a:cubicBezTo>
                  <a:cubicBezTo>
                    <a:pt x="7" y="20"/>
                    <a:pt x="6" y="21"/>
                    <a:pt x="6" y="22"/>
                  </a:cubicBezTo>
                  <a:moveTo>
                    <a:pt x="6" y="19"/>
                  </a:moveTo>
                  <a:cubicBezTo>
                    <a:pt x="6" y="18"/>
                    <a:pt x="6" y="18"/>
                    <a:pt x="6" y="17"/>
                  </a:cubicBezTo>
                  <a:cubicBezTo>
                    <a:pt x="6" y="17"/>
                    <a:pt x="6" y="17"/>
                    <a:pt x="6" y="17"/>
                  </a:cubicBezTo>
                  <a:cubicBezTo>
                    <a:pt x="6" y="17"/>
                    <a:pt x="6" y="17"/>
                    <a:pt x="6" y="17"/>
                  </a:cubicBezTo>
                  <a:cubicBezTo>
                    <a:pt x="6" y="16"/>
                    <a:pt x="7" y="15"/>
                    <a:pt x="7" y="14"/>
                  </a:cubicBezTo>
                  <a:cubicBezTo>
                    <a:pt x="7" y="15"/>
                    <a:pt x="7" y="15"/>
                    <a:pt x="7" y="16"/>
                  </a:cubicBezTo>
                  <a:cubicBezTo>
                    <a:pt x="7" y="17"/>
                    <a:pt x="6" y="18"/>
                    <a:pt x="6" y="19"/>
                  </a:cubicBezTo>
                  <a:moveTo>
                    <a:pt x="6" y="16"/>
                  </a:moveTo>
                  <a:cubicBezTo>
                    <a:pt x="6" y="16"/>
                    <a:pt x="5" y="15"/>
                    <a:pt x="5" y="15"/>
                  </a:cubicBezTo>
                  <a:cubicBezTo>
                    <a:pt x="6" y="13"/>
                    <a:pt x="7" y="12"/>
                    <a:pt x="7" y="11"/>
                  </a:cubicBezTo>
                  <a:cubicBezTo>
                    <a:pt x="7" y="12"/>
                    <a:pt x="7" y="12"/>
                    <a:pt x="7" y="13"/>
                  </a:cubicBezTo>
                  <a:cubicBezTo>
                    <a:pt x="7" y="14"/>
                    <a:pt x="6" y="15"/>
                    <a:pt x="6" y="16"/>
                  </a:cubicBezTo>
                  <a:moveTo>
                    <a:pt x="5" y="13"/>
                  </a:moveTo>
                  <a:cubicBezTo>
                    <a:pt x="5" y="12"/>
                    <a:pt x="5" y="11"/>
                    <a:pt x="5" y="11"/>
                  </a:cubicBezTo>
                  <a:cubicBezTo>
                    <a:pt x="6" y="10"/>
                    <a:pt x="6" y="10"/>
                    <a:pt x="6" y="10"/>
                  </a:cubicBezTo>
                  <a:cubicBezTo>
                    <a:pt x="7" y="8"/>
                    <a:pt x="7" y="8"/>
                    <a:pt x="7" y="8"/>
                  </a:cubicBezTo>
                  <a:cubicBezTo>
                    <a:pt x="7" y="9"/>
                    <a:pt x="7" y="9"/>
                    <a:pt x="7" y="10"/>
                  </a:cubicBezTo>
                  <a:cubicBezTo>
                    <a:pt x="7" y="11"/>
                    <a:pt x="6" y="12"/>
                    <a:pt x="5" y="13"/>
                  </a:cubicBezTo>
                  <a:moveTo>
                    <a:pt x="5" y="10"/>
                  </a:moveTo>
                  <a:cubicBezTo>
                    <a:pt x="5" y="9"/>
                    <a:pt x="5" y="8"/>
                    <a:pt x="5" y="7"/>
                  </a:cubicBezTo>
                  <a:cubicBezTo>
                    <a:pt x="7" y="4"/>
                    <a:pt x="7" y="4"/>
                    <a:pt x="7" y="4"/>
                  </a:cubicBezTo>
                  <a:cubicBezTo>
                    <a:pt x="7" y="5"/>
                    <a:pt x="7" y="5"/>
                    <a:pt x="7" y="5"/>
                  </a:cubicBezTo>
                  <a:cubicBezTo>
                    <a:pt x="7" y="5"/>
                    <a:pt x="7" y="6"/>
                    <a:pt x="7" y="7"/>
                  </a:cubicBezTo>
                  <a:cubicBezTo>
                    <a:pt x="7" y="8"/>
                    <a:pt x="7" y="8"/>
                    <a:pt x="7" y="8"/>
                  </a:cubicBezTo>
                  <a:cubicBezTo>
                    <a:pt x="5" y="10"/>
                    <a:pt x="5" y="10"/>
                    <a:pt x="5" y="10"/>
                  </a:cubicBezTo>
                  <a:moveTo>
                    <a:pt x="5" y="33"/>
                  </a:moveTo>
                  <a:cubicBezTo>
                    <a:pt x="4" y="33"/>
                    <a:pt x="3" y="33"/>
                    <a:pt x="3" y="33"/>
                  </a:cubicBezTo>
                  <a:cubicBezTo>
                    <a:pt x="2" y="33"/>
                    <a:pt x="2" y="33"/>
                    <a:pt x="1" y="33"/>
                  </a:cubicBezTo>
                  <a:cubicBezTo>
                    <a:pt x="1" y="27"/>
                    <a:pt x="1" y="9"/>
                    <a:pt x="1" y="4"/>
                  </a:cubicBezTo>
                  <a:cubicBezTo>
                    <a:pt x="2" y="4"/>
                    <a:pt x="4" y="4"/>
                    <a:pt x="4" y="4"/>
                  </a:cubicBezTo>
                  <a:cubicBezTo>
                    <a:pt x="4" y="8"/>
                    <a:pt x="5" y="29"/>
                    <a:pt x="5" y="33"/>
                  </a:cubicBezTo>
                  <a:moveTo>
                    <a:pt x="5" y="6"/>
                  </a:moveTo>
                  <a:cubicBezTo>
                    <a:pt x="5" y="5"/>
                    <a:pt x="5" y="4"/>
                    <a:pt x="5" y="4"/>
                  </a:cubicBezTo>
                  <a:cubicBezTo>
                    <a:pt x="5" y="4"/>
                    <a:pt x="5" y="4"/>
                    <a:pt x="5" y="4"/>
                  </a:cubicBezTo>
                  <a:cubicBezTo>
                    <a:pt x="6" y="4"/>
                    <a:pt x="6" y="3"/>
                    <a:pt x="7" y="3"/>
                  </a:cubicBezTo>
                  <a:cubicBezTo>
                    <a:pt x="7" y="2"/>
                    <a:pt x="7" y="2"/>
                    <a:pt x="7" y="2"/>
                  </a:cubicBezTo>
                  <a:cubicBezTo>
                    <a:pt x="7" y="2"/>
                    <a:pt x="7" y="3"/>
                    <a:pt x="7" y="4"/>
                  </a:cubicBezTo>
                  <a:cubicBezTo>
                    <a:pt x="5" y="6"/>
                    <a:pt x="5" y="6"/>
                    <a:pt x="5" y="6"/>
                  </a:cubicBezTo>
                  <a:moveTo>
                    <a:pt x="5" y="3"/>
                  </a:moveTo>
                  <a:cubicBezTo>
                    <a:pt x="5" y="3"/>
                    <a:pt x="3" y="3"/>
                    <a:pt x="2" y="3"/>
                  </a:cubicBezTo>
                  <a:cubicBezTo>
                    <a:pt x="3" y="2"/>
                    <a:pt x="3" y="2"/>
                    <a:pt x="4" y="1"/>
                  </a:cubicBezTo>
                  <a:cubicBezTo>
                    <a:pt x="4" y="1"/>
                    <a:pt x="5" y="1"/>
                    <a:pt x="6" y="1"/>
                  </a:cubicBezTo>
                  <a:cubicBezTo>
                    <a:pt x="6" y="1"/>
                    <a:pt x="6" y="1"/>
                    <a:pt x="7" y="1"/>
                  </a:cubicBezTo>
                  <a:cubicBezTo>
                    <a:pt x="6" y="2"/>
                    <a:pt x="6" y="2"/>
                    <a:pt x="6" y="2"/>
                  </a:cubicBezTo>
                  <a:cubicBezTo>
                    <a:pt x="6" y="2"/>
                    <a:pt x="5" y="3"/>
                    <a:pt x="5" y="3"/>
                  </a:cubicBezTo>
                  <a:moveTo>
                    <a:pt x="8" y="0"/>
                  </a:moveTo>
                  <a:cubicBezTo>
                    <a:pt x="8" y="0"/>
                    <a:pt x="8" y="0"/>
                    <a:pt x="8" y="0"/>
                  </a:cubicBezTo>
                  <a:cubicBezTo>
                    <a:pt x="7" y="0"/>
                    <a:pt x="7" y="0"/>
                    <a:pt x="6" y="0"/>
                  </a:cubicBezTo>
                  <a:cubicBezTo>
                    <a:pt x="5" y="0"/>
                    <a:pt x="3" y="0"/>
                    <a:pt x="3" y="0"/>
                  </a:cubicBezTo>
                  <a:cubicBezTo>
                    <a:pt x="3" y="1"/>
                    <a:pt x="3" y="1"/>
                    <a:pt x="3" y="1"/>
                  </a:cubicBezTo>
                  <a:cubicBezTo>
                    <a:pt x="3" y="1"/>
                    <a:pt x="2" y="2"/>
                    <a:pt x="0" y="3"/>
                  </a:cubicBezTo>
                  <a:cubicBezTo>
                    <a:pt x="0" y="3"/>
                    <a:pt x="0" y="3"/>
                    <a:pt x="0" y="3"/>
                  </a:cubicBezTo>
                  <a:cubicBezTo>
                    <a:pt x="0" y="3"/>
                    <a:pt x="0" y="3"/>
                    <a:pt x="0" y="3"/>
                  </a:cubicBezTo>
                  <a:cubicBezTo>
                    <a:pt x="0" y="3"/>
                    <a:pt x="0" y="3"/>
                    <a:pt x="0" y="3"/>
                  </a:cubicBezTo>
                  <a:cubicBezTo>
                    <a:pt x="0" y="4"/>
                    <a:pt x="0" y="4"/>
                    <a:pt x="0" y="4"/>
                  </a:cubicBezTo>
                  <a:cubicBezTo>
                    <a:pt x="0" y="4"/>
                    <a:pt x="0" y="4"/>
                    <a:pt x="0" y="4"/>
                  </a:cubicBezTo>
                  <a:cubicBezTo>
                    <a:pt x="0" y="8"/>
                    <a:pt x="0" y="28"/>
                    <a:pt x="0" y="34"/>
                  </a:cubicBezTo>
                  <a:cubicBezTo>
                    <a:pt x="0" y="34"/>
                    <a:pt x="0" y="34"/>
                    <a:pt x="0" y="34"/>
                  </a:cubicBezTo>
                  <a:cubicBezTo>
                    <a:pt x="0" y="34"/>
                    <a:pt x="0" y="34"/>
                    <a:pt x="0" y="34"/>
                  </a:cubicBezTo>
                  <a:cubicBezTo>
                    <a:pt x="1" y="34"/>
                    <a:pt x="2" y="34"/>
                    <a:pt x="3" y="34"/>
                  </a:cubicBezTo>
                  <a:cubicBezTo>
                    <a:pt x="3" y="34"/>
                    <a:pt x="4" y="34"/>
                    <a:pt x="5" y="34"/>
                  </a:cubicBezTo>
                  <a:cubicBezTo>
                    <a:pt x="5" y="35"/>
                    <a:pt x="5" y="35"/>
                    <a:pt x="5" y="35"/>
                  </a:cubicBezTo>
                  <a:cubicBezTo>
                    <a:pt x="5" y="34"/>
                    <a:pt x="5" y="34"/>
                    <a:pt x="5" y="34"/>
                  </a:cubicBezTo>
                  <a:cubicBezTo>
                    <a:pt x="6" y="34"/>
                    <a:pt x="7" y="33"/>
                    <a:pt x="8" y="33"/>
                  </a:cubicBezTo>
                  <a:cubicBezTo>
                    <a:pt x="8" y="33"/>
                    <a:pt x="8" y="33"/>
                    <a:pt x="8" y="33"/>
                  </a:cubicBezTo>
                  <a:cubicBezTo>
                    <a:pt x="8" y="32"/>
                    <a:pt x="8" y="32"/>
                    <a:pt x="8" y="32"/>
                  </a:cubicBezTo>
                  <a:cubicBezTo>
                    <a:pt x="8" y="32"/>
                    <a:pt x="8" y="32"/>
                    <a:pt x="8" y="32"/>
                  </a:cubicBezTo>
                  <a:cubicBezTo>
                    <a:pt x="8" y="32"/>
                    <a:pt x="8" y="32"/>
                    <a:pt x="8" y="32"/>
                  </a:cubicBezTo>
                  <a:cubicBezTo>
                    <a:pt x="8" y="29"/>
                    <a:pt x="8" y="12"/>
                    <a:pt x="8" y="5"/>
                  </a:cubicBezTo>
                  <a:cubicBezTo>
                    <a:pt x="8" y="3"/>
                    <a:pt x="8" y="2"/>
                    <a:pt x="8" y="1"/>
                  </a:cubicBezTo>
                  <a:cubicBezTo>
                    <a:pt x="8" y="1"/>
                    <a:pt x="8" y="1"/>
                    <a:pt x="8" y="1"/>
                  </a:cubicBezTo>
                  <a:cubicBezTo>
                    <a:pt x="8" y="1"/>
                    <a:pt x="8" y="1"/>
                    <a:pt x="8" y="1"/>
                  </a:cubicBezTo>
                  <a:cubicBezTo>
                    <a:pt x="8" y="1"/>
                    <a:pt x="8" y="1"/>
                    <a:pt x="8" y="1"/>
                  </a:cubicBezTo>
                  <a:cubicBezTo>
                    <a:pt x="8" y="1"/>
                    <a:pt x="8" y="1"/>
                    <a:pt x="8" y="1"/>
                  </a:cubicBezTo>
                  <a:cubicBezTo>
                    <a:pt x="8" y="0"/>
                    <a:pt x="8" y="0"/>
                    <a:pt x="8"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82" name="îŝ1îḑè"/>
            <p:cNvSpPr/>
            <p:nvPr/>
          </p:nvSpPr>
          <p:spPr bwMode="auto">
            <a:xfrm>
              <a:off x="3841" y="2108"/>
              <a:ext cx="22" cy="45"/>
            </a:xfrm>
            <a:custGeom>
              <a:avLst/>
              <a:gdLst>
                <a:gd name="T0" fmla="*/ 6 w 9"/>
                <a:gd name="T1" fmla="*/ 17 h 19"/>
                <a:gd name="T2" fmla="*/ 8 w 9"/>
                <a:gd name="T3" fmla="*/ 15 h 19"/>
                <a:gd name="T4" fmla="*/ 6 w 9"/>
                <a:gd name="T5" fmla="*/ 17 h 19"/>
                <a:gd name="T6" fmla="*/ 6 w 9"/>
                <a:gd name="T7" fmla="*/ 15 h 19"/>
                <a:gd name="T8" fmla="*/ 8 w 9"/>
                <a:gd name="T9" fmla="*/ 13 h 19"/>
                <a:gd name="T10" fmla="*/ 6 w 9"/>
                <a:gd name="T11" fmla="*/ 16 h 19"/>
                <a:gd name="T12" fmla="*/ 6 w 9"/>
                <a:gd name="T13" fmla="*/ 12 h 19"/>
                <a:gd name="T14" fmla="*/ 8 w 9"/>
                <a:gd name="T15" fmla="*/ 11 h 19"/>
                <a:gd name="T16" fmla="*/ 8 w 9"/>
                <a:gd name="T17" fmla="*/ 11 h 19"/>
                <a:gd name="T18" fmla="*/ 6 w 9"/>
                <a:gd name="T19" fmla="*/ 11 h 19"/>
                <a:gd name="T20" fmla="*/ 8 w 9"/>
                <a:gd name="T21" fmla="*/ 6 h 19"/>
                <a:gd name="T22" fmla="*/ 7 w 9"/>
                <a:gd name="T23" fmla="*/ 9 h 19"/>
                <a:gd name="T24" fmla="*/ 6 w 9"/>
                <a:gd name="T25" fmla="*/ 8 h 19"/>
                <a:gd name="T26" fmla="*/ 8 w 9"/>
                <a:gd name="T27" fmla="*/ 4 h 19"/>
                <a:gd name="T28" fmla="*/ 8 w 9"/>
                <a:gd name="T29" fmla="*/ 5 h 19"/>
                <a:gd name="T30" fmla="*/ 5 w 9"/>
                <a:gd name="T31" fmla="*/ 17 h 19"/>
                <a:gd name="T32" fmla="*/ 1 w 9"/>
                <a:gd name="T33" fmla="*/ 17 h 19"/>
                <a:gd name="T34" fmla="*/ 5 w 9"/>
                <a:gd name="T35" fmla="*/ 3 h 19"/>
                <a:gd name="T36" fmla="*/ 6 w 9"/>
                <a:gd name="T37" fmla="*/ 6 h 19"/>
                <a:gd name="T38" fmla="*/ 8 w 9"/>
                <a:gd name="T39" fmla="*/ 2 h 19"/>
                <a:gd name="T40" fmla="*/ 8 w 9"/>
                <a:gd name="T41" fmla="*/ 3 h 19"/>
                <a:gd name="T42" fmla="*/ 6 w 9"/>
                <a:gd name="T43" fmla="*/ 4 h 19"/>
                <a:gd name="T44" fmla="*/ 7 w 9"/>
                <a:gd name="T45" fmla="*/ 2 h 19"/>
                <a:gd name="T46" fmla="*/ 8 w 9"/>
                <a:gd name="T47" fmla="*/ 2 h 19"/>
                <a:gd name="T48" fmla="*/ 5 w 9"/>
                <a:gd name="T49" fmla="*/ 2 h 19"/>
                <a:gd name="T50" fmla="*/ 4 w 9"/>
                <a:gd name="T51" fmla="*/ 1 h 19"/>
                <a:gd name="T52" fmla="*/ 7 w 9"/>
                <a:gd name="T53" fmla="*/ 1 h 19"/>
                <a:gd name="T54" fmla="*/ 5 w 9"/>
                <a:gd name="T55" fmla="*/ 2 h 19"/>
                <a:gd name="T56" fmla="*/ 4 w 9"/>
                <a:gd name="T57" fmla="*/ 0 h 19"/>
                <a:gd name="T58" fmla="*/ 1 w 9"/>
                <a:gd name="T59" fmla="*/ 2 h 19"/>
                <a:gd name="T60" fmla="*/ 0 w 9"/>
                <a:gd name="T61" fmla="*/ 2 h 19"/>
                <a:gd name="T62" fmla="*/ 0 w 9"/>
                <a:gd name="T63" fmla="*/ 3 h 19"/>
                <a:gd name="T64" fmla="*/ 0 w 9"/>
                <a:gd name="T65" fmla="*/ 18 h 19"/>
                <a:gd name="T66" fmla="*/ 1 w 9"/>
                <a:gd name="T67" fmla="*/ 18 h 19"/>
                <a:gd name="T68" fmla="*/ 5 w 9"/>
                <a:gd name="T69" fmla="*/ 18 h 19"/>
                <a:gd name="T70" fmla="*/ 6 w 9"/>
                <a:gd name="T71" fmla="*/ 18 h 19"/>
                <a:gd name="T72" fmla="*/ 7 w 9"/>
                <a:gd name="T73" fmla="*/ 18 h 19"/>
                <a:gd name="T74" fmla="*/ 7 w 9"/>
                <a:gd name="T75" fmla="*/ 18 h 19"/>
                <a:gd name="T76" fmla="*/ 9 w 9"/>
                <a:gd name="T77" fmla="*/ 17 h 19"/>
                <a:gd name="T78" fmla="*/ 9 w 9"/>
                <a:gd name="T79" fmla="*/ 16 h 19"/>
                <a:gd name="T80" fmla="*/ 9 w 9"/>
                <a:gd name="T81" fmla="*/ 0 h 19"/>
                <a:gd name="T82" fmla="*/ 9 w 9"/>
                <a:gd name="T83" fmla="*/ 0 h 19"/>
                <a:gd name="T84" fmla="*/ 8 w 9"/>
                <a:gd name="T85" fmla="*/ 0 h 19"/>
                <a:gd name="T86" fmla="*/ 8 w 9"/>
                <a:gd name="T8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 h="19">
                  <a:moveTo>
                    <a:pt x="6" y="17"/>
                  </a:moveTo>
                  <a:cubicBezTo>
                    <a:pt x="6" y="17"/>
                    <a:pt x="6" y="17"/>
                    <a:pt x="6" y="17"/>
                  </a:cubicBezTo>
                  <a:cubicBezTo>
                    <a:pt x="7" y="16"/>
                    <a:pt x="7" y="15"/>
                    <a:pt x="8" y="14"/>
                  </a:cubicBezTo>
                  <a:cubicBezTo>
                    <a:pt x="8" y="14"/>
                    <a:pt x="8" y="15"/>
                    <a:pt x="8" y="15"/>
                  </a:cubicBezTo>
                  <a:cubicBezTo>
                    <a:pt x="7" y="17"/>
                    <a:pt x="7" y="17"/>
                    <a:pt x="7" y="17"/>
                  </a:cubicBezTo>
                  <a:cubicBezTo>
                    <a:pt x="6" y="17"/>
                    <a:pt x="6" y="17"/>
                    <a:pt x="6" y="17"/>
                  </a:cubicBezTo>
                  <a:moveTo>
                    <a:pt x="6" y="16"/>
                  </a:moveTo>
                  <a:cubicBezTo>
                    <a:pt x="6" y="15"/>
                    <a:pt x="6" y="15"/>
                    <a:pt x="6" y="15"/>
                  </a:cubicBezTo>
                  <a:cubicBezTo>
                    <a:pt x="7" y="13"/>
                    <a:pt x="7" y="12"/>
                    <a:pt x="8" y="11"/>
                  </a:cubicBezTo>
                  <a:cubicBezTo>
                    <a:pt x="8" y="12"/>
                    <a:pt x="8" y="12"/>
                    <a:pt x="8" y="13"/>
                  </a:cubicBezTo>
                  <a:cubicBezTo>
                    <a:pt x="8" y="13"/>
                    <a:pt x="8" y="13"/>
                    <a:pt x="8" y="13"/>
                  </a:cubicBezTo>
                  <a:cubicBezTo>
                    <a:pt x="7" y="14"/>
                    <a:pt x="7" y="15"/>
                    <a:pt x="6" y="16"/>
                  </a:cubicBezTo>
                  <a:moveTo>
                    <a:pt x="6" y="14"/>
                  </a:moveTo>
                  <a:cubicBezTo>
                    <a:pt x="6" y="13"/>
                    <a:pt x="6" y="13"/>
                    <a:pt x="6" y="12"/>
                  </a:cubicBezTo>
                  <a:cubicBezTo>
                    <a:pt x="8" y="9"/>
                    <a:pt x="8" y="9"/>
                    <a:pt x="8" y="9"/>
                  </a:cubicBezTo>
                  <a:cubicBezTo>
                    <a:pt x="8" y="10"/>
                    <a:pt x="8" y="10"/>
                    <a:pt x="8" y="11"/>
                  </a:cubicBezTo>
                  <a:cubicBezTo>
                    <a:pt x="8" y="11"/>
                    <a:pt x="8" y="11"/>
                    <a:pt x="8" y="11"/>
                  </a:cubicBezTo>
                  <a:cubicBezTo>
                    <a:pt x="8" y="11"/>
                    <a:pt x="8" y="11"/>
                    <a:pt x="8" y="11"/>
                  </a:cubicBezTo>
                  <a:cubicBezTo>
                    <a:pt x="7" y="12"/>
                    <a:pt x="6" y="13"/>
                    <a:pt x="6" y="14"/>
                  </a:cubicBezTo>
                  <a:moveTo>
                    <a:pt x="6" y="11"/>
                  </a:moveTo>
                  <a:cubicBezTo>
                    <a:pt x="6" y="11"/>
                    <a:pt x="6" y="10"/>
                    <a:pt x="6" y="9"/>
                  </a:cubicBezTo>
                  <a:cubicBezTo>
                    <a:pt x="8" y="6"/>
                    <a:pt x="8" y="6"/>
                    <a:pt x="8" y="6"/>
                  </a:cubicBezTo>
                  <a:cubicBezTo>
                    <a:pt x="8" y="7"/>
                    <a:pt x="8" y="8"/>
                    <a:pt x="8" y="8"/>
                  </a:cubicBezTo>
                  <a:cubicBezTo>
                    <a:pt x="7" y="9"/>
                    <a:pt x="7" y="9"/>
                    <a:pt x="7" y="9"/>
                  </a:cubicBezTo>
                  <a:cubicBezTo>
                    <a:pt x="6" y="11"/>
                    <a:pt x="6" y="11"/>
                    <a:pt x="6" y="11"/>
                  </a:cubicBezTo>
                  <a:moveTo>
                    <a:pt x="6" y="8"/>
                  </a:moveTo>
                  <a:cubicBezTo>
                    <a:pt x="6" y="8"/>
                    <a:pt x="6" y="7"/>
                    <a:pt x="6" y="7"/>
                  </a:cubicBezTo>
                  <a:cubicBezTo>
                    <a:pt x="7" y="6"/>
                    <a:pt x="7" y="5"/>
                    <a:pt x="8" y="4"/>
                  </a:cubicBezTo>
                  <a:cubicBezTo>
                    <a:pt x="8" y="4"/>
                    <a:pt x="8" y="5"/>
                    <a:pt x="8" y="5"/>
                  </a:cubicBezTo>
                  <a:cubicBezTo>
                    <a:pt x="8" y="5"/>
                    <a:pt x="8" y="5"/>
                    <a:pt x="8" y="5"/>
                  </a:cubicBezTo>
                  <a:cubicBezTo>
                    <a:pt x="6" y="8"/>
                    <a:pt x="6" y="8"/>
                    <a:pt x="6" y="8"/>
                  </a:cubicBezTo>
                  <a:moveTo>
                    <a:pt x="5" y="17"/>
                  </a:moveTo>
                  <a:cubicBezTo>
                    <a:pt x="4" y="17"/>
                    <a:pt x="4" y="17"/>
                    <a:pt x="3" y="17"/>
                  </a:cubicBezTo>
                  <a:cubicBezTo>
                    <a:pt x="3" y="17"/>
                    <a:pt x="2" y="17"/>
                    <a:pt x="1" y="17"/>
                  </a:cubicBezTo>
                  <a:cubicBezTo>
                    <a:pt x="1" y="11"/>
                    <a:pt x="1" y="7"/>
                    <a:pt x="1" y="3"/>
                  </a:cubicBezTo>
                  <a:cubicBezTo>
                    <a:pt x="3" y="3"/>
                    <a:pt x="4" y="3"/>
                    <a:pt x="5" y="3"/>
                  </a:cubicBezTo>
                  <a:cubicBezTo>
                    <a:pt x="5" y="5"/>
                    <a:pt x="5" y="13"/>
                    <a:pt x="5" y="17"/>
                  </a:cubicBezTo>
                  <a:moveTo>
                    <a:pt x="6" y="6"/>
                  </a:moveTo>
                  <a:cubicBezTo>
                    <a:pt x="6" y="5"/>
                    <a:pt x="6" y="5"/>
                    <a:pt x="6" y="5"/>
                  </a:cubicBezTo>
                  <a:cubicBezTo>
                    <a:pt x="6" y="4"/>
                    <a:pt x="7" y="3"/>
                    <a:pt x="8" y="2"/>
                  </a:cubicBezTo>
                  <a:cubicBezTo>
                    <a:pt x="8" y="3"/>
                    <a:pt x="8" y="3"/>
                    <a:pt x="8" y="3"/>
                  </a:cubicBezTo>
                  <a:cubicBezTo>
                    <a:pt x="8" y="3"/>
                    <a:pt x="8" y="3"/>
                    <a:pt x="8" y="3"/>
                  </a:cubicBezTo>
                  <a:cubicBezTo>
                    <a:pt x="7" y="4"/>
                    <a:pt x="6" y="5"/>
                    <a:pt x="6" y="6"/>
                  </a:cubicBezTo>
                  <a:moveTo>
                    <a:pt x="6" y="4"/>
                  </a:moveTo>
                  <a:cubicBezTo>
                    <a:pt x="6" y="4"/>
                    <a:pt x="6" y="3"/>
                    <a:pt x="6" y="3"/>
                  </a:cubicBezTo>
                  <a:cubicBezTo>
                    <a:pt x="6" y="3"/>
                    <a:pt x="7" y="2"/>
                    <a:pt x="7" y="2"/>
                  </a:cubicBezTo>
                  <a:cubicBezTo>
                    <a:pt x="8" y="1"/>
                    <a:pt x="8" y="1"/>
                    <a:pt x="8" y="1"/>
                  </a:cubicBezTo>
                  <a:cubicBezTo>
                    <a:pt x="8" y="2"/>
                    <a:pt x="8" y="2"/>
                    <a:pt x="8" y="2"/>
                  </a:cubicBezTo>
                  <a:cubicBezTo>
                    <a:pt x="7" y="2"/>
                    <a:pt x="6" y="3"/>
                    <a:pt x="6" y="4"/>
                  </a:cubicBezTo>
                  <a:moveTo>
                    <a:pt x="5" y="2"/>
                  </a:moveTo>
                  <a:cubicBezTo>
                    <a:pt x="5" y="2"/>
                    <a:pt x="4" y="2"/>
                    <a:pt x="2" y="2"/>
                  </a:cubicBezTo>
                  <a:cubicBezTo>
                    <a:pt x="3" y="1"/>
                    <a:pt x="4" y="1"/>
                    <a:pt x="4" y="1"/>
                  </a:cubicBezTo>
                  <a:cubicBezTo>
                    <a:pt x="4" y="1"/>
                    <a:pt x="5" y="1"/>
                    <a:pt x="6" y="1"/>
                  </a:cubicBezTo>
                  <a:cubicBezTo>
                    <a:pt x="7" y="1"/>
                    <a:pt x="7" y="1"/>
                    <a:pt x="7" y="1"/>
                  </a:cubicBezTo>
                  <a:cubicBezTo>
                    <a:pt x="6" y="1"/>
                    <a:pt x="6" y="1"/>
                    <a:pt x="6" y="1"/>
                  </a:cubicBezTo>
                  <a:cubicBezTo>
                    <a:pt x="6" y="2"/>
                    <a:pt x="6" y="2"/>
                    <a:pt x="5" y="2"/>
                  </a:cubicBezTo>
                  <a:moveTo>
                    <a:pt x="7" y="0"/>
                  </a:moveTo>
                  <a:cubicBezTo>
                    <a:pt x="5" y="0"/>
                    <a:pt x="4" y="0"/>
                    <a:pt x="4" y="0"/>
                  </a:cubicBezTo>
                  <a:cubicBezTo>
                    <a:pt x="4" y="0"/>
                    <a:pt x="4" y="0"/>
                    <a:pt x="4" y="0"/>
                  </a:cubicBezTo>
                  <a:cubicBezTo>
                    <a:pt x="4" y="0"/>
                    <a:pt x="2" y="1"/>
                    <a:pt x="1"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6"/>
                    <a:pt x="0" y="11"/>
                    <a:pt x="0" y="18"/>
                  </a:cubicBezTo>
                  <a:cubicBezTo>
                    <a:pt x="1" y="18"/>
                    <a:pt x="1" y="18"/>
                    <a:pt x="1" y="18"/>
                  </a:cubicBezTo>
                  <a:cubicBezTo>
                    <a:pt x="1" y="18"/>
                    <a:pt x="1" y="18"/>
                    <a:pt x="1" y="18"/>
                  </a:cubicBezTo>
                  <a:cubicBezTo>
                    <a:pt x="2" y="18"/>
                    <a:pt x="2" y="18"/>
                    <a:pt x="3" y="18"/>
                  </a:cubicBezTo>
                  <a:cubicBezTo>
                    <a:pt x="4" y="18"/>
                    <a:pt x="5" y="18"/>
                    <a:pt x="5" y="18"/>
                  </a:cubicBezTo>
                  <a:cubicBezTo>
                    <a:pt x="5" y="19"/>
                    <a:pt x="5" y="19"/>
                    <a:pt x="5" y="19"/>
                  </a:cubicBezTo>
                  <a:cubicBezTo>
                    <a:pt x="6" y="18"/>
                    <a:pt x="6" y="18"/>
                    <a:pt x="6" y="18"/>
                  </a:cubicBezTo>
                  <a:cubicBezTo>
                    <a:pt x="6" y="18"/>
                    <a:pt x="6" y="18"/>
                    <a:pt x="6" y="18"/>
                  </a:cubicBezTo>
                  <a:cubicBezTo>
                    <a:pt x="7" y="18"/>
                    <a:pt x="7" y="18"/>
                    <a:pt x="7" y="18"/>
                  </a:cubicBezTo>
                  <a:cubicBezTo>
                    <a:pt x="7" y="18"/>
                    <a:pt x="7" y="18"/>
                    <a:pt x="7" y="18"/>
                  </a:cubicBezTo>
                  <a:cubicBezTo>
                    <a:pt x="7" y="18"/>
                    <a:pt x="7" y="18"/>
                    <a:pt x="7" y="18"/>
                  </a:cubicBezTo>
                  <a:cubicBezTo>
                    <a:pt x="7" y="17"/>
                    <a:pt x="8" y="17"/>
                    <a:pt x="9" y="17"/>
                  </a:cubicBezTo>
                  <a:cubicBezTo>
                    <a:pt x="9" y="17"/>
                    <a:pt x="9" y="17"/>
                    <a:pt x="9" y="17"/>
                  </a:cubicBezTo>
                  <a:cubicBezTo>
                    <a:pt x="9" y="16"/>
                    <a:pt x="9" y="16"/>
                    <a:pt x="9" y="16"/>
                  </a:cubicBezTo>
                  <a:cubicBezTo>
                    <a:pt x="9" y="16"/>
                    <a:pt x="9" y="16"/>
                    <a:pt x="9" y="16"/>
                  </a:cubicBezTo>
                  <a:cubicBezTo>
                    <a:pt x="9" y="16"/>
                    <a:pt x="9" y="16"/>
                    <a:pt x="9" y="16"/>
                  </a:cubicBezTo>
                  <a:cubicBezTo>
                    <a:pt x="9" y="9"/>
                    <a:pt x="9" y="1"/>
                    <a:pt x="9" y="0"/>
                  </a:cubicBezTo>
                  <a:cubicBezTo>
                    <a:pt x="9" y="0"/>
                    <a:pt x="9" y="0"/>
                    <a:pt x="9"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8" y="0"/>
                    <a:pt x="7" y="0"/>
                    <a:pt x="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83" name="íṧlïde"/>
            <p:cNvSpPr/>
            <p:nvPr/>
          </p:nvSpPr>
          <p:spPr bwMode="auto">
            <a:xfrm>
              <a:off x="3908" y="2098"/>
              <a:ext cx="21" cy="55"/>
            </a:xfrm>
            <a:custGeom>
              <a:avLst/>
              <a:gdLst>
                <a:gd name="T0" fmla="*/ 8 w 9"/>
                <a:gd name="T1" fmla="*/ 19 h 23"/>
                <a:gd name="T2" fmla="*/ 7 w 9"/>
                <a:gd name="T3" fmla="*/ 21 h 23"/>
                <a:gd name="T4" fmla="*/ 6 w 9"/>
                <a:gd name="T5" fmla="*/ 19 h 23"/>
                <a:gd name="T6" fmla="*/ 8 w 9"/>
                <a:gd name="T7" fmla="*/ 17 h 23"/>
                <a:gd name="T8" fmla="*/ 6 w 9"/>
                <a:gd name="T9" fmla="*/ 21 h 23"/>
                <a:gd name="T10" fmla="*/ 6 w 9"/>
                <a:gd name="T11" fmla="*/ 17 h 23"/>
                <a:gd name="T12" fmla="*/ 8 w 9"/>
                <a:gd name="T13" fmla="*/ 14 h 23"/>
                <a:gd name="T14" fmla="*/ 8 w 9"/>
                <a:gd name="T15" fmla="*/ 16 h 23"/>
                <a:gd name="T16" fmla="*/ 6 w 9"/>
                <a:gd name="T17" fmla="*/ 16 h 23"/>
                <a:gd name="T18" fmla="*/ 6 w 9"/>
                <a:gd name="T19" fmla="*/ 14 h 23"/>
                <a:gd name="T20" fmla="*/ 8 w 9"/>
                <a:gd name="T21" fmla="*/ 14 h 23"/>
                <a:gd name="T22" fmla="*/ 6 w 9"/>
                <a:gd name="T23" fmla="*/ 16 h 23"/>
                <a:gd name="T24" fmla="*/ 6 w 9"/>
                <a:gd name="T25" fmla="*/ 12 h 23"/>
                <a:gd name="T26" fmla="*/ 8 w 9"/>
                <a:gd name="T27" fmla="*/ 12 h 23"/>
                <a:gd name="T28" fmla="*/ 6 w 9"/>
                <a:gd name="T29" fmla="*/ 14 h 23"/>
                <a:gd name="T30" fmla="*/ 6 w 9"/>
                <a:gd name="T31" fmla="*/ 10 h 23"/>
                <a:gd name="T32" fmla="*/ 8 w 9"/>
                <a:gd name="T33" fmla="*/ 9 h 23"/>
                <a:gd name="T34" fmla="*/ 6 w 9"/>
                <a:gd name="T35" fmla="*/ 11 h 23"/>
                <a:gd name="T36" fmla="*/ 6 w 9"/>
                <a:gd name="T37" fmla="*/ 10 h 23"/>
                <a:gd name="T38" fmla="*/ 6 w 9"/>
                <a:gd name="T39" fmla="*/ 8 h 23"/>
                <a:gd name="T40" fmla="*/ 7 w 9"/>
                <a:gd name="T41" fmla="*/ 8 h 23"/>
                <a:gd name="T42" fmla="*/ 8 w 9"/>
                <a:gd name="T43" fmla="*/ 6 h 23"/>
                <a:gd name="T44" fmla="*/ 8 w 9"/>
                <a:gd name="T45" fmla="*/ 7 h 23"/>
                <a:gd name="T46" fmla="*/ 6 w 9"/>
                <a:gd name="T47" fmla="*/ 9 h 23"/>
                <a:gd name="T48" fmla="*/ 3 w 9"/>
                <a:gd name="T49" fmla="*/ 21 h 23"/>
                <a:gd name="T50" fmla="*/ 1 w 9"/>
                <a:gd name="T51" fmla="*/ 4 h 23"/>
                <a:gd name="T52" fmla="*/ 5 w 9"/>
                <a:gd name="T53" fmla="*/ 21 h 23"/>
                <a:gd name="T54" fmla="*/ 6 w 9"/>
                <a:gd name="T55" fmla="*/ 6 h 23"/>
                <a:gd name="T56" fmla="*/ 8 w 9"/>
                <a:gd name="T57" fmla="*/ 5 h 23"/>
                <a:gd name="T58" fmla="*/ 6 w 9"/>
                <a:gd name="T59" fmla="*/ 7 h 23"/>
                <a:gd name="T60" fmla="*/ 6 w 9"/>
                <a:gd name="T61" fmla="*/ 4 h 23"/>
                <a:gd name="T62" fmla="*/ 8 w 9"/>
                <a:gd name="T63" fmla="*/ 2 h 23"/>
                <a:gd name="T64" fmla="*/ 8 w 9"/>
                <a:gd name="T65" fmla="*/ 3 h 23"/>
                <a:gd name="T66" fmla="*/ 5 w 9"/>
                <a:gd name="T67" fmla="*/ 3 h 23"/>
                <a:gd name="T68" fmla="*/ 4 w 9"/>
                <a:gd name="T69" fmla="*/ 1 h 23"/>
                <a:gd name="T70" fmla="*/ 7 w 9"/>
                <a:gd name="T71" fmla="*/ 1 h 23"/>
                <a:gd name="T72" fmla="*/ 5 w 9"/>
                <a:gd name="T73" fmla="*/ 3 h 23"/>
                <a:gd name="T74" fmla="*/ 4 w 9"/>
                <a:gd name="T75" fmla="*/ 0 h 23"/>
                <a:gd name="T76" fmla="*/ 1 w 9"/>
                <a:gd name="T77" fmla="*/ 3 h 23"/>
                <a:gd name="T78" fmla="*/ 1 w 9"/>
                <a:gd name="T79" fmla="*/ 3 h 23"/>
                <a:gd name="T80" fmla="*/ 0 w 9"/>
                <a:gd name="T81" fmla="*/ 4 h 23"/>
                <a:gd name="T82" fmla="*/ 0 w 9"/>
                <a:gd name="T83" fmla="*/ 22 h 23"/>
                <a:gd name="T84" fmla="*/ 1 w 9"/>
                <a:gd name="T85" fmla="*/ 22 h 23"/>
                <a:gd name="T86" fmla="*/ 6 w 9"/>
                <a:gd name="T87" fmla="*/ 22 h 23"/>
                <a:gd name="T88" fmla="*/ 6 w 9"/>
                <a:gd name="T89" fmla="*/ 22 h 23"/>
                <a:gd name="T90" fmla="*/ 9 w 9"/>
                <a:gd name="T91" fmla="*/ 21 h 23"/>
                <a:gd name="T92" fmla="*/ 9 w 9"/>
                <a:gd name="T93" fmla="*/ 20 h 23"/>
                <a:gd name="T94" fmla="*/ 9 w 9"/>
                <a:gd name="T95" fmla="*/ 1 h 23"/>
                <a:gd name="T96" fmla="*/ 9 w 9"/>
                <a:gd name="T97" fmla="*/ 1 h 23"/>
                <a:gd name="T98" fmla="*/ 9 w 9"/>
                <a:gd name="T99" fmla="*/ 0 h 23"/>
                <a:gd name="T100" fmla="*/ 8 w 9"/>
                <a:gd name="T10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 h="23">
                  <a:moveTo>
                    <a:pt x="7" y="21"/>
                  </a:moveTo>
                  <a:cubicBezTo>
                    <a:pt x="7" y="20"/>
                    <a:pt x="8" y="20"/>
                    <a:pt x="8" y="19"/>
                  </a:cubicBezTo>
                  <a:cubicBezTo>
                    <a:pt x="8" y="19"/>
                    <a:pt x="8" y="20"/>
                    <a:pt x="8" y="20"/>
                  </a:cubicBezTo>
                  <a:cubicBezTo>
                    <a:pt x="8" y="20"/>
                    <a:pt x="7" y="20"/>
                    <a:pt x="7" y="21"/>
                  </a:cubicBezTo>
                  <a:moveTo>
                    <a:pt x="6" y="21"/>
                  </a:moveTo>
                  <a:cubicBezTo>
                    <a:pt x="6" y="20"/>
                    <a:pt x="6" y="20"/>
                    <a:pt x="6" y="19"/>
                  </a:cubicBezTo>
                  <a:cubicBezTo>
                    <a:pt x="6" y="19"/>
                    <a:pt x="6" y="19"/>
                    <a:pt x="6" y="19"/>
                  </a:cubicBezTo>
                  <a:cubicBezTo>
                    <a:pt x="8" y="17"/>
                    <a:pt x="8" y="17"/>
                    <a:pt x="8" y="17"/>
                  </a:cubicBezTo>
                  <a:cubicBezTo>
                    <a:pt x="8" y="17"/>
                    <a:pt x="8" y="18"/>
                    <a:pt x="8" y="18"/>
                  </a:cubicBezTo>
                  <a:cubicBezTo>
                    <a:pt x="7" y="19"/>
                    <a:pt x="7" y="20"/>
                    <a:pt x="6" y="21"/>
                  </a:cubicBezTo>
                  <a:moveTo>
                    <a:pt x="6" y="18"/>
                  </a:moveTo>
                  <a:cubicBezTo>
                    <a:pt x="6" y="18"/>
                    <a:pt x="6" y="17"/>
                    <a:pt x="6" y="17"/>
                  </a:cubicBezTo>
                  <a:cubicBezTo>
                    <a:pt x="6" y="17"/>
                    <a:pt x="6" y="17"/>
                    <a:pt x="6" y="17"/>
                  </a:cubicBezTo>
                  <a:cubicBezTo>
                    <a:pt x="8" y="14"/>
                    <a:pt x="8" y="14"/>
                    <a:pt x="8" y="14"/>
                  </a:cubicBezTo>
                  <a:cubicBezTo>
                    <a:pt x="8" y="15"/>
                    <a:pt x="8" y="15"/>
                    <a:pt x="8" y="16"/>
                  </a:cubicBezTo>
                  <a:cubicBezTo>
                    <a:pt x="8" y="16"/>
                    <a:pt x="8" y="16"/>
                    <a:pt x="8" y="16"/>
                  </a:cubicBezTo>
                  <a:cubicBezTo>
                    <a:pt x="6" y="18"/>
                    <a:pt x="6" y="18"/>
                    <a:pt x="6" y="18"/>
                  </a:cubicBezTo>
                  <a:moveTo>
                    <a:pt x="6" y="16"/>
                  </a:moveTo>
                  <a:cubicBezTo>
                    <a:pt x="6" y="16"/>
                    <a:pt x="6" y="15"/>
                    <a:pt x="6" y="15"/>
                  </a:cubicBezTo>
                  <a:cubicBezTo>
                    <a:pt x="6" y="14"/>
                    <a:pt x="6" y="14"/>
                    <a:pt x="6" y="14"/>
                  </a:cubicBezTo>
                  <a:cubicBezTo>
                    <a:pt x="7" y="14"/>
                    <a:pt x="7" y="13"/>
                    <a:pt x="8" y="12"/>
                  </a:cubicBezTo>
                  <a:cubicBezTo>
                    <a:pt x="8" y="13"/>
                    <a:pt x="8" y="13"/>
                    <a:pt x="8" y="14"/>
                  </a:cubicBezTo>
                  <a:cubicBezTo>
                    <a:pt x="8" y="14"/>
                    <a:pt x="8" y="14"/>
                    <a:pt x="8" y="14"/>
                  </a:cubicBezTo>
                  <a:cubicBezTo>
                    <a:pt x="6" y="16"/>
                    <a:pt x="6" y="16"/>
                    <a:pt x="6" y="16"/>
                  </a:cubicBezTo>
                  <a:moveTo>
                    <a:pt x="6" y="14"/>
                  </a:moveTo>
                  <a:cubicBezTo>
                    <a:pt x="6" y="13"/>
                    <a:pt x="6" y="13"/>
                    <a:pt x="6" y="12"/>
                  </a:cubicBezTo>
                  <a:cubicBezTo>
                    <a:pt x="8" y="10"/>
                    <a:pt x="8" y="10"/>
                    <a:pt x="8" y="10"/>
                  </a:cubicBezTo>
                  <a:cubicBezTo>
                    <a:pt x="8" y="10"/>
                    <a:pt x="8" y="11"/>
                    <a:pt x="8" y="12"/>
                  </a:cubicBezTo>
                  <a:cubicBezTo>
                    <a:pt x="8" y="12"/>
                    <a:pt x="8" y="12"/>
                    <a:pt x="8" y="12"/>
                  </a:cubicBezTo>
                  <a:cubicBezTo>
                    <a:pt x="7" y="12"/>
                    <a:pt x="7" y="13"/>
                    <a:pt x="6" y="14"/>
                  </a:cubicBezTo>
                  <a:moveTo>
                    <a:pt x="6" y="10"/>
                  </a:moveTo>
                  <a:cubicBezTo>
                    <a:pt x="6" y="10"/>
                    <a:pt x="6" y="10"/>
                    <a:pt x="6" y="10"/>
                  </a:cubicBezTo>
                  <a:cubicBezTo>
                    <a:pt x="7" y="9"/>
                    <a:pt x="7" y="8"/>
                    <a:pt x="8" y="8"/>
                  </a:cubicBezTo>
                  <a:cubicBezTo>
                    <a:pt x="8" y="8"/>
                    <a:pt x="8" y="8"/>
                    <a:pt x="8" y="9"/>
                  </a:cubicBezTo>
                  <a:cubicBezTo>
                    <a:pt x="8" y="9"/>
                    <a:pt x="8" y="9"/>
                    <a:pt x="8" y="9"/>
                  </a:cubicBezTo>
                  <a:cubicBezTo>
                    <a:pt x="6" y="11"/>
                    <a:pt x="6" y="11"/>
                    <a:pt x="6" y="11"/>
                  </a:cubicBezTo>
                  <a:cubicBezTo>
                    <a:pt x="6" y="11"/>
                    <a:pt x="6" y="10"/>
                    <a:pt x="6" y="10"/>
                  </a:cubicBezTo>
                  <a:cubicBezTo>
                    <a:pt x="6" y="10"/>
                    <a:pt x="6" y="10"/>
                    <a:pt x="6" y="10"/>
                  </a:cubicBezTo>
                  <a:moveTo>
                    <a:pt x="6" y="9"/>
                  </a:moveTo>
                  <a:cubicBezTo>
                    <a:pt x="6" y="9"/>
                    <a:pt x="6" y="8"/>
                    <a:pt x="6" y="8"/>
                  </a:cubicBezTo>
                  <a:cubicBezTo>
                    <a:pt x="6" y="8"/>
                    <a:pt x="6" y="8"/>
                    <a:pt x="6" y="8"/>
                  </a:cubicBezTo>
                  <a:cubicBezTo>
                    <a:pt x="7" y="8"/>
                    <a:pt x="7" y="8"/>
                    <a:pt x="7" y="8"/>
                  </a:cubicBezTo>
                  <a:cubicBezTo>
                    <a:pt x="6" y="7"/>
                    <a:pt x="6" y="7"/>
                    <a:pt x="6" y="7"/>
                  </a:cubicBezTo>
                  <a:cubicBezTo>
                    <a:pt x="8" y="6"/>
                    <a:pt x="8" y="6"/>
                    <a:pt x="8" y="6"/>
                  </a:cubicBezTo>
                  <a:cubicBezTo>
                    <a:pt x="8" y="6"/>
                    <a:pt x="8" y="7"/>
                    <a:pt x="8" y="7"/>
                  </a:cubicBezTo>
                  <a:cubicBezTo>
                    <a:pt x="8" y="7"/>
                    <a:pt x="8" y="7"/>
                    <a:pt x="8" y="7"/>
                  </a:cubicBezTo>
                  <a:cubicBezTo>
                    <a:pt x="8" y="7"/>
                    <a:pt x="8" y="7"/>
                    <a:pt x="8" y="7"/>
                  </a:cubicBezTo>
                  <a:cubicBezTo>
                    <a:pt x="7" y="8"/>
                    <a:pt x="7" y="9"/>
                    <a:pt x="6" y="9"/>
                  </a:cubicBezTo>
                  <a:moveTo>
                    <a:pt x="5" y="21"/>
                  </a:moveTo>
                  <a:cubicBezTo>
                    <a:pt x="4" y="21"/>
                    <a:pt x="4" y="21"/>
                    <a:pt x="3" y="21"/>
                  </a:cubicBezTo>
                  <a:cubicBezTo>
                    <a:pt x="3" y="21"/>
                    <a:pt x="2" y="21"/>
                    <a:pt x="2" y="21"/>
                  </a:cubicBezTo>
                  <a:cubicBezTo>
                    <a:pt x="2" y="16"/>
                    <a:pt x="2" y="8"/>
                    <a:pt x="1" y="4"/>
                  </a:cubicBezTo>
                  <a:cubicBezTo>
                    <a:pt x="3" y="4"/>
                    <a:pt x="4" y="4"/>
                    <a:pt x="5" y="4"/>
                  </a:cubicBezTo>
                  <a:cubicBezTo>
                    <a:pt x="5" y="7"/>
                    <a:pt x="5" y="17"/>
                    <a:pt x="5" y="21"/>
                  </a:cubicBezTo>
                  <a:moveTo>
                    <a:pt x="6" y="7"/>
                  </a:moveTo>
                  <a:cubicBezTo>
                    <a:pt x="6" y="6"/>
                    <a:pt x="6" y="6"/>
                    <a:pt x="6" y="6"/>
                  </a:cubicBezTo>
                  <a:cubicBezTo>
                    <a:pt x="8" y="4"/>
                    <a:pt x="8" y="4"/>
                    <a:pt x="8" y="4"/>
                  </a:cubicBezTo>
                  <a:cubicBezTo>
                    <a:pt x="8" y="4"/>
                    <a:pt x="8" y="5"/>
                    <a:pt x="8" y="5"/>
                  </a:cubicBezTo>
                  <a:cubicBezTo>
                    <a:pt x="8" y="5"/>
                    <a:pt x="8" y="5"/>
                    <a:pt x="8" y="5"/>
                  </a:cubicBezTo>
                  <a:cubicBezTo>
                    <a:pt x="6" y="7"/>
                    <a:pt x="6" y="7"/>
                    <a:pt x="6" y="7"/>
                  </a:cubicBezTo>
                  <a:moveTo>
                    <a:pt x="6" y="5"/>
                  </a:moveTo>
                  <a:cubicBezTo>
                    <a:pt x="6" y="5"/>
                    <a:pt x="6" y="4"/>
                    <a:pt x="6" y="4"/>
                  </a:cubicBezTo>
                  <a:cubicBezTo>
                    <a:pt x="7" y="4"/>
                    <a:pt x="7" y="3"/>
                    <a:pt x="7" y="3"/>
                  </a:cubicBezTo>
                  <a:cubicBezTo>
                    <a:pt x="8" y="2"/>
                    <a:pt x="8" y="2"/>
                    <a:pt x="8" y="2"/>
                  </a:cubicBezTo>
                  <a:cubicBezTo>
                    <a:pt x="8" y="3"/>
                    <a:pt x="8" y="3"/>
                    <a:pt x="8" y="3"/>
                  </a:cubicBezTo>
                  <a:cubicBezTo>
                    <a:pt x="8" y="3"/>
                    <a:pt x="8" y="3"/>
                    <a:pt x="8" y="3"/>
                  </a:cubicBezTo>
                  <a:cubicBezTo>
                    <a:pt x="6" y="5"/>
                    <a:pt x="6" y="5"/>
                    <a:pt x="6" y="5"/>
                  </a:cubicBezTo>
                  <a:moveTo>
                    <a:pt x="5" y="3"/>
                  </a:moveTo>
                  <a:cubicBezTo>
                    <a:pt x="5" y="3"/>
                    <a:pt x="4" y="3"/>
                    <a:pt x="2" y="3"/>
                  </a:cubicBezTo>
                  <a:cubicBezTo>
                    <a:pt x="3" y="2"/>
                    <a:pt x="4" y="2"/>
                    <a:pt x="4" y="1"/>
                  </a:cubicBezTo>
                  <a:cubicBezTo>
                    <a:pt x="5" y="1"/>
                    <a:pt x="6" y="1"/>
                    <a:pt x="7" y="1"/>
                  </a:cubicBezTo>
                  <a:cubicBezTo>
                    <a:pt x="7" y="1"/>
                    <a:pt x="7" y="1"/>
                    <a:pt x="7" y="1"/>
                  </a:cubicBezTo>
                  <a:cubicBezTo>
                    <a:pt x="7" y="2"/>
                    <a:pt x="7" y="2"/>
                    <a:pt x="7" y="2"/>
                  </a:cubicBezTo>
                  <a:cubicBezTo>
                    <a:pt x="6" y="2"/>
                    <a:pt x="6" y="3"/>
                    <a:pt x="5" y="3"/>
                  </a:cubicBezTo>
                  <a:moveTo>
                    <a:pt x="7" y="0"/>
                  </a:moveTo>
                  <a:cubicBezTo>
                    <a:pt x="5" y="0"/>
                    <a:pt x="4" y="0"/>
                    <a:pt x="4" y="0"/>
                  </a:cubicBezTo>
                  <a:cubicBezTo>
                    <a:pt x="4" y="1"/>
                    <a:pt x="4" y="1"/>
                    <a:pt x="4" y="1"/>
                  </a:cubicBezTo>
                  <a:cubicBezTo>
                    <a:pt x="4" y="1"/>
                    <a:pt x="2" y="2"/>
                    <a:pt x="1" y="3"/>
                  </a:cubicBezTo>
                  <a:cubicBezTo>
                    <a:pt x="1" y="3"/>
                    <a:pt x="1" y="3"/>
                    <a:pt x="1" y="3"/>
                  </a:cubicBezTo>
                  <a:cubicBezTo>
                    <a:pt x="1" y="3"/>
                    <a:pt x="1" y="3"/>
                    <a:pt x="1" y="3"/>
                  </a:cubicBezTo>
                  <a:cubicBezTo>
                    <a:pt x="1" y="3"/>
                    <a:pt x="1" y="3"/>
                    <a:pt x="1" y="3"/>
                  </a:cubicBezTo>
                  <a:cubicBezTo>
                    <a:pt x="0" y="4"/>
                    <a:pt x="0" y="4"/>
                    <a:pt x="0" y="4"/>
                  </a:cubicBezTo>
                  <a:cubicBezTo>
                    <a:pt x="0" y="4"/>
                    <a:pt x="0" y="4"/>
                    <a:pt x="0" y="4"/>
                  </a:cubicBezTo>
                  <a:cubicBezTo>
                    <a:pt x="1" y="8"/>
                    <a:pt x="1" y="16"/>
                    <a:pt x="0" y="22"/>
                  </a:cubicBezTo>
                  <a:cubicBezTo>
                    <a:pt x="1" y="22"/>
                    <a:pt x="1" y="22"/>
                    <a:pt x="1" y="22"/>
                  </a:cubicBezTo>
                  <a:cubicBezTo>
                    <a:pt x="1" y="22"/>
                    <a:pt x="1" y="22"/>
                    <a:pt x="1" y="22"/>
                  </a:cubicBezTo>
                  <a:cubicBezTo>
                    <a:pt x="2" y="22"/>
                    <a:pt x="3" y="22"/>
                    <a:pt x="3" y="22"/>
                  </a:cubicBezTo>
                  <a:cubicBezTo>
                    <a:pt x="4" y="22"/>
                    <a:pt x="5" y="22"/>
                    <a:pt x="6" y="22"/>
                  </a:cubicBezTo>
                  <a:cubicBezTo>
                    <a:pt x="6" y="23"/>
                    <a:pt x="6" y="23"/>
                    <a:pt x="6" y="23"/>
                  </a:cubicBezTo>
                  <a:cubicBezTo>
                    <a:pt x="6" y="22"/>
                    <a:pt x="6" y="22"/>
                    <a:pt x="6" y="22"/>
                  </a:cubicBezTo>
                  <a:cubicBezTo>
                    <a:pt x="7" y="22"/>
                    <a:pt x="8" y="21"/>
                    <a:pt x="9" y="21"/>
                  </a:cubicBezTo>
                  <a:cubicBezTo>
                    <a:pt x="9" y="21"/>
                    <a:pt x="9" y="21"/>
                    <a:pt x="9" y="21"/>
                  </a:cubicBezTo>
                  <a:cubicBezTo>
                    <a:pt x="9" y="20"/>
                    <a:pt x="9" y="20"/>
                    <a:pt x="9" y="20"/>
                  </a:cubicBezTo>
                  <a:cubicBezTo>
                    <a:pt x="9" y="20"/>
                    <a:pt x="9" y="20"/>
                    <a:pt x="9" y="20"/>
                  </a:cubicBezTo>
                  <a:cubicBezTo>
                    <a:pt x="9" y="20"/>
                    <a:pt x="9" y="20"/>
                    <a:pt x="9" y="20"/>
                  </a:cubicBezTo>
                  <a:cubicBezTo>
                    <a:pt x="9" y="15"/>
                    <a:pt x="9" y="2"/>
                    <a:pt x="9" y="1"/>
                  </a:cubicBezTo>
                  <a:cubicBezTo>
                    <a:pt x="9" y="1"/>
                    <a:pt x="9" y="1"/>
                    <a:pt x="9" y="1"/>
                  </a:cubicBezTo>
                  <a:cubicBezTo>
                    <a:pt x="9" y="1"/>
                    <a:pt x="9" y="1"/>
                    <a:pt x="9" y="1"/>
                  </a:cubicBezTo>
                  <a:cubicBezTo>
                    <a:pt x="9" y="1"/>
                    <a:pt x="9" y="1"/>
                    <a:pt x="9" y="1"/>
                  </a:cubicBezTo>
                  <a:cubicBezTo>
                    <a:pt x="9" y="0"/>
                    <a:pt x="9" y="0"/>
                    <a:pt x="9" y="0"/>
                  </a:cubicBezTo>
                  <a:cubicBezTo>
                    <a:pt x="9" y="0"/>
                    <a:pt x="9" y="0"/>
                    <a:pt x="9" y="0"/>
                  </a:cubicBezTo>
                  <a:cubicBezTo>
                    <a:pt x="8" y="0"/>
                    <a:pt x="8" y="0"/>
                    <a:pt x="8" y="0"/>
                  </a:cubicBezTo>
                  <a:cubicBezTo>
                    <a:pt x="8" y="0"/>
                    <a:pt x="7" y="0"/>
                    <a:pt x="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84" name="iṣlîḓe"/>
            <p:cNvSpPr/>
            <p:nvPr/>
          </p:nvSpPr>
          <p:spPr bwMode="auto">
            <a:xfrm>
              <a:off x="3444" y="2408"/>
              <a:ext cx="138" cy="147"/>
            </a:xfrm>
            <a:custGeom>
              <a:avLst/>
              <a:gdLst>
                <a:gd name="T0" fmla="*/ 15 w 58"/>
                <a:gd name="T1" fmla="*/ 50 h 62"/>
                <a:gd name="T2" fmla="*/ 20 w 58"/>
                <a:gd name="T3" fmla="*/ 50 h 62"/>
                <a:gd name="T4" fmla="*/ 34 w 58"/>
                <a:gd name="T5" fmla="*/ 58 h 62"/>
                <a:gd name="T6" fmla="*/ 19 w 58"/>
                <a:gd name="T7" fmla="*/ 11 h 62"/>
                <a:gd name="T8" fmla="*/ 20 w 58"/>
                <a:gd name="T9" fmla="*/ 8 h 62"/>
                <a:gd name="T10" fmla="*/ 24 w 58"/>
                <a:gd name="T11" fmla="*/ 2 h 62"/>
                <a:gd name="T12" fmla="*/ 22 w 58"/>
                <a:gd name="T13" fmla="*/ 9 h 62"/>
                <a:gd name="T14" fmla="*/ 23 w 58"/>
                <a:gd name="T15" fmla="*/ 10 h 62"/>
                <a:gd name="T16" fmla="*/ 20 w 58"/>
                <a:gd name="T17" fmla="*/ 12 h 62"/>
                <a:gd name="T18" fmla="*/ 19 w 58"/>
                <a:gd name="T19" fmla="*/ 15 h 62"/>
                <a:gd name="T20" fmla="*/ 18 w 58"/>
                <a:gd name="T21" fmla="*/ 17 h 62"/>
                <a:gd name="T22" fmla="*/ 15 w 58"/>
                <a:gd name="T23" fmla="*/ 22 h 62"/>
                <a:gd name="T24" fmla="*/ 15 w 58"/>
                <a:gd name="T25" fmla="*/ 24 h 62"/>
                <a:gd name="T26" fmla="*/ 11 w 58"/>
                <a:gd name="T27" fmla="*/ 28 h 62"/>
                <a:gd name="T28" fmla="*/ 13 w 58"/>
                <a:gd name="T29" fmla="*/ 31 h 62"/>
                <a:gd name="T30" fmla="*/ 10 w 58"/>
                <a:gd name="T31" fmla="*/ 31 h 62"/>
                <a:gd name="T32" fmla="*/ 5 w 58"/>
                <a:gd name="T33" fmla="*/ 38 h 62"/>
                <a:gd name="T34" fmla="*/ 35 w 58"/>
                <a:gd name="T35" fmla="*/ 54 h 62"/>
                <a:gd name="T36" fmla="*/ 14 w 58"/>
                <a:gd name="T37" fmla="*/ 46 h 62"/>
                <a:gd name="T38" fmla="*/ 7 w 58"/>
                <a:gd name="T39" fmla="*/ 32 h 62"/>
                <a:gd name="T40" fmla="*/ 9 w 58"/>
                <a:gd name="T41" fmla="*/ 26 h 62"/>
                <a:gd name="T42" fmla="*/ 13 w 58"/>
                <a:gd name="T43" fmla="*/ 24 h 62"/>
                <a:gd name="T44" fmla="*/ 15 w 58"/>
                <a:gd name="T45" fmla="*/ 19 h 62"/>
                <a:gd name="T46" fmla="*/ 17 w 58"/>
                <a:gd name="T47" fmla="*/ 13 h 62"/>
                <a:gd name="T48" fmla="*/ 25 w 58"/>
                <a:gd name="T49" fmla="*/ 10 h 62"/>
                <a:gd name="T50" fmla="*/ 26 w 58"/>
                <a:gd name="T51" fmla="*/ 3 h 62"/>
                <a:gd name="T52" fmla="*/ 57 w 58"/>
                <a:gd name="T53" fmla="*/ 16 h 62"/>
                <a:gd name="T54" fmla="*/ 30 w 58"/>
                <a:gd name="T55" fmla="*/ 51 h 62"/>
                <a:gd name="T56" fmla="*/ 10 w 58"/>
                <a:gd name="T57" fmla="*/ 32 h 62"/>
                <a:gd name="T58" fmla="*/ 13 w 58"/>
                <a:gd name="T59" fmla="*/ 29 h 62"/>
                <a:gd name="T60" fmla="*/ 15 w 58"/>
                <a:gd name="T61" fmla="*/ 25 h 62"/>
                <a:gd name="T62" fmla="*/ 18 w 58"/>
                <a:gd name="T63" fmla="*/ 18 h 62"/>
                <a:gd name="T64" fmla="*/ 20 w 58"/>
                <a:gd name="T65" fmla="*/ 14 h 62"/>
                <a:gd name="T66" fmla="*/ 27 w 58"/>
                <a:gd name="T67" fmla="*/ 0 h 62"/>
                <a:gd name="T68" fmla="*/ 23 w 58"/>
                <a:gd name="T69" fmla="*/ 1 h 62"/>
                <a:gd name="T70" fmla="*/ 19 w 58"/>
                <a:gd name="T71" fmla="*/ 9 h 62"/>
                <a:gd name="T72" fmla="*/ 20 w 58"/>
                <a:gd name="T73" fmla="*/ 11 h 62"/>
                <a:gd name="T74" fmla="*/ 18 w 58"/>
                <a:gd name="T75" fmla="*/ 10 h 62"/>
                <a:gd name="T76" fmla="*/ 15 w 58"/>
                <a:gd name="T77" fmla="*/ 15 h 62"/>
                <a:gd name="T78" fmla="*/ 15 w 58"/>
                <a:gd name="T79" fmla="*/ 18 h 62"/>
                <a:gd name="T80" fmla="*/ 11 w 58"/>
                <a:gd name="T81" fmla="*/ 22 h 62"/>
                <a:gd name="T82" fmla="*/ 12 w 58"/>
                <a:gd name="T83" fmla="*/ 23 h 62"/>
                <a:gd name="T84" fmla="*/ 10 w 58"/>
                <a:gd name="T85" fmla="*/ 24 h 62"/>
                <a:gd name="T86" fmla="*/ 7 w 58"/>
                <a:gd name="T87" fmla="*/ 28 h 62"/>
                <a:gd name="T88" fmla="*/ 7 w 58"/>
                <a:gd name="T89" fmla="*/ 31 h 62"/>
                <a:gd name="T90" fmla="*/ 4 w 58"/>
                <a:gd name="T91" fmla="*/ 32 h 62"/>
                <a:gd name="T92" fmla="*/ 3 w 58"/>
                <a:gd name="T93" fmla="*/ 40 h 62"/>
                <a:gd name="T94" fmla="*/ 15 w 58"/>
                <a:gd name="T95" fmla="*/ 51 h 62"/>
                <a:gd name="T96" fmla="*/ 34 w 58"/>
                <a:gd name="T97" fmla="*/ 62 h 62"/>
                <a:gd name="T98" fmla="*/ 39 w 58"/>
                <a:gd name="T99" fmla="*/ 57 h 62"/>
                <a:gd name="T100" fmla="*/ 56 w 58"/>
                <a:gd name="T101" fmla="*/ 21 h 62"/>
                <a:gd name="T102" fmla="*/ 27 w 58"/>
                <a:gd name="T10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 h="62">
                  <a:moveTo>
                    <a:pt x="34" y="61"/>
                  </a:moveTo>
                  <a:cubicBezTo>
                    <a:pt x="32" y="59"/>
                    <a:pt x="28" y="57"/>
                    <a:pt x="25" y="56"/>
                  </a:cubicBezTo>
                  <a:cubicBezTo>
                    <a:pt x="24" y="55"/>
                    <a:pt x="22" y="54"/>
                    <a:pt x="21" y="54"/>
                  </a:cubicBezTo>
                  <a:cubicBezTo>
                    <a:pt x="19" y="53"/>
                    <a:pt x="17" y="52"/>
                    <a:pt x="15" y="50"/>
                  </a:cubicBezTo>
                  <a:cubicBezTo>
                    <a:pt x="2" y="42"/>
                    <a:pt x="2" y="42"/>
                    <a:pt x="2" y="42"/>
                  </a:cubicBezTo>
                  <a:cubicBezTo>
                    <a:pt x="2" y="41"/>
                    <a:pt x="3" y="41"/>
                    <a:pt x="3" y="40"/>
                  </a:cubicBezTo>
                  <a:cubicBezTo>
                    <a:pt x="14" y="47"/>
                    <a:pt x="14" y="47"/>
                    <a:pt x="14" y="47"/>
                  </a:cubicBezTo>
                  <a:cubicBezTo>
                    <a:pt x="16" y="48"/>
                    <a:pt x="18" y="49"/>
                    <a:pt x="20" y="50"/>
                  </a:cubicBezTo>
                  <a:cubicBezTo>
                    <a:pt x="21" y="51"/>
                    <a:pt x="22" y="52"/>
                    <a:pt x="24" y="52"/>
                  </a:cubicBezTo>
                  <a:cubicBezTo>
                    <a:pt x="27" y="54"/>
                    <a:pt x="30" y="55"/>
                    <a:pt x="33" y="58"/>
                  </a:cubicBezTo>
                  <a:cubicBezTo>
                    <a:pt x="33" y="58"/>
                    <a:pt x="33" y="58"/>
                    <a:pt x="33" y="58"/>
                  </a:cubicBezTo>
                  <a:cubicBezTo>
                    <a:pt x="34" y="58"/>
                    <a:pt x="34" y="58"/>
                    <a:pt x="34" y="58"/>
                  </a:cubicBezTo>
                  <a:cubicBezTo>
                    <a:pt x="34" y="57"/>
                    <a:pt x="35" y="55"/>
                    <a:pt x="36" y="54"/>
                  </a:cubicBezTo>
                  <a:cubicBezTo>
                    <a:pt x="36" y="55"/>
                    <a:pt x="37" y="55"/>
                    <a:pt x="37" y="55"/>
                  </a:cubicBezTo>
                  <a:cubicBezTo>
                    <a:pt x="36" y="57"/>
                    <a:pt x="35" y="59"/>
                    <a:pt x="34" y="61"/>
                  </a:cubicBezTo>
                  <a:moveTo>
                    <a:pt x="19" y="11"/>
                  </a:moveTo>
                  <a:cubicBezTo>
                    <a:pt x="20" y="11"/>
                    <a:pt x="20" y="11"/>
                    <a:pt x="20" y="11"/>
                  </a:cubicBezTo>
                  <a:cubicBezTo>
                    <a:pt x="21" y="11"/>
                    <a:pt x="21" y="10"/>
                    <a:pt x="21" y="10"/>
                  </a:cubicBezTo>
                  <a:cubicBezTo>
                    <a:pt x="21" y="9"/>
                    <a:pt x="21" y="9"/>
                    <a:pt x="21" y="9"/>
                  </a:cubicBezTo>
                  <a:cubicBezTo>
                    <a:pt x="21" y="9"/>
                    <a:pt x="20" y="9"/>
                    <a:pt x="20" y="8"/>
                  </a:cubicBezTo>
                  <a:cubicBezTo>
                    <a:pt x="20" y="8"/>
                    <a:pt x="20" y="8"/>
                    <a:pt x="20" y="8"/>
                  </a:cubicBezTo>
                  <a:cubicBezTo>
                    <a:pt x="21" y="7"/>
                    <a:pt x="21" y="6"/>
                    <a:pt x="22" y="5"/>
                  </a:cubicBezTo>
                  <a:cubicBezTo>
                    <a:pt x="22" y="4"/>
                    <a:pt x="22" y="4"/>
                    <a:pt x="23" y="2"/>
                  </a:cubicBezTo>
                  <a:cubicBezTo>
                    <a:pt x="24" y="2"/>
                    <a:pt x="24" y="2"/>
                    <a:pt x="24" y="2"/>
                  </a:cubicBezTo>
                  <a:cubicBezTo>
                    <a:pt x="25" y="3"/>
                    <a:pt x="25" y="3"/>
                    <a:pt x="25" y="3"/>
                  </a:cubicBezTo>
                  <a:cubicBezTo>
                    <a:pt x="25" y="3"/>
                    <a:pt x="24" y="4"/>
                    <a:pt x="24" y="4"/>
                  </a:cubicBezTo>
                  <a:cubicBezTo>
                    <a:pt x="24" y="5"/>
                    <a:pt x="23" y="6"/>
                    <a:pt x="22" y="8"/>
                  </a:cubicBezTo>
                  <a:cubicBezTo>
                    <a:pt x="22" y="9"/>
                    <a:pt x="22" y="9"/>
                    <a:pt x="22" y="9"/>
                  </a:cubicBezTo>
                  <a:cubicBezTo>
                    <a:pt x="23" y="9"/>
                    <a:pt x="23" y="9"/>
                    <a:pt x="23" y="9"/>
                  </a:cubicBezTo>
                  <a:cubicBezTo>
                    <a:pt x="24" y="9"/>
                    <a:pt x="24" y="9"/>
                    <a:pt x="24" y="9"/>
                  </a:cubicBezTo>
                  <a:cubicBezTo>
                    <a:pt x="24" y="10"/>
                    <a:pt x="24" y="10"/>
                    <a:pt x="24" y="10"/>
                  </a:cubicBezTo>
                  <a:cubicBezTo>
                    <a:pt x="24" y="10"/>
                    <a:pt x="23" y="10"/>
                    <a:pt x="23" y="10"/>
                  </a:cubicBezTo>
                  <a:cubicBezTo>
                    <a:pt x="23" y="10"/>
                    <a:pt x="22" y="10"/>
                    <a:pt x="22" y="10"/>
                  </a:cubicBezTo>
                  <a:cubicBezTo>
                    <a:pt x="22" y="10"/>
                    <a:pt x="22" y="10"/>
                    <a:pt x="22" y="10"/>
                  </a:cubicBezTo>
                  <a:cubicBezTo>
                    <a:pt x="22" y="10"/>
                    <a:pt x="22" y="10"/>
                    <a:pt x="22" y="10"/>
                  </a:cubicBezTo>
                  <a:cubicBezTo>
                    <a:pt x="21" y="11"/>
                    <a:pt x="21" y="11"/>
                    <a:pt x="20" y="12"/>
                  </a:cubicBezTo>
                  <a:cubicBezTo>
                    <a:pt x="20" y="13"/>
                    <a:pt x="19" y="14"/>
                    <a:pt x="19" y="15"/>
                  </a:cubicBezTo>
                  <a:cubicBezTo>
                    <a:pt x="19" y="15"/>
                    <a:pt x="19" y="15"/>
                    <a:pt x="19" y="15"/>
                  </a:cubicBezTo>
                  <a:cubicBezTo>
                    <a:pt x="19" y="15"/>
                    <a:pt x="19" y="15"/>
                    <a:pt x="19" y="15"/>
                  </a:cubicBezTo>
                  <a:cubicBezTo>
                    <a:pt x="19" y="15"/>
                    <a:pt x="19" y="15"/>
                    <a:pt x="19" y="15"/>
                  </a:cubicBezTo>
                  <a:cubicBezTo>
                    <a:pt x="20" y="15"/>
                    <a:pt x="20" y="15"/>
                    <a:pt x="20" y="16"/>
                  </a:cubicBezTo>
                  <a:cubicBezTo>
                    <a:pt x="21" y="16"/>
                    <a:pt x="21" y="17"/>
                    <a:pt x="20" y="17"/>
                  </a:cubicBezTo>
                  <a:cubicBezTo>
                    <a:pt x="20" y="17"/>
                    <a:pt x="20" y="17"/>
                    <a:pt x="19" y="17"/>
                  </a:cubicBezTo>
                  <a:cubicBezTo>
                    <a:pt x="19" y="17"/>
                    <a:pt x="19" y="17"/>
                    <a:pt x="18" y="17"/>
                  </a:cubicBezTo>
                  <a:cubicBezTo>
                    <a:pt x="18" y="17"/>
                    <a:pt x="18" y="17"/>
                    <a:pt x="18" y="17"/>
                  </a:cubicBezTo>
                  <a:cubicBezTo>
                    <a:pt x="18" y="17"/>
                    <a:pt x="18" y="17"/>
                    <a:pt x="18" y="17"/>
                  </a:cubicBezTo>
                  <a:cubicBezTo>
                    <a:pt x="17" y="18"/>
                    <a:pt x="16" y="20"/>
                    <a:pt x="15" y="21"/>
                  </a:cubicBezTo>
                  <a:cubicBezTo>
                    <a:pt x="15" y="22"/>
                    <a:pt x="15" y="22"/>
                    <a:pt x="15" y="22"/>
                  </a:cubicBezTo>
                  <a:cubicBezTo>
                    <a:pt x="16" y="22"/>
                    <a:pt x="16" y="22"/>
                    <a:pt x="16" y="22"/>
                  </a:cubicBezTo>
                  <a:cubicBezTo>
                    <a:pt x="16" y="23"/>
                    <a:pt x="16" y="23"/>
                    <a:pt x="16" y="23"/>
                  </a:cubicBezTo>
                  <a:cubicBezTo>
                    <a:pt x="16" y="23"/>
                    <a:pt x="16" y="23"/>
                    <a:pt x="16" y="23"/>
                  </a:cubicBezTo>
                  <a:cubicBezTo>
                    <a:pt x="16" y="24"/>
                    <a:pt x="16" y="24"/>
                    <a:pt x="15" y="24"/>
                  </a:cubicBezTo>
                  <a:cubicBezTo>
                    <a:pt x="14" y="24"/>
                    <a:pt x="14" y="24"/>
                    <a:pt x="14" y="24"/>
                  </a:cubicBezTo>
                  <a:cubicBezTo>
                    <a:pt x="14" y="24"/>
                    <a:pt x="14" y="24"/>
                    <a:pt x="14" y="24"/>
                  </a:cubicBezTo>
                  <a:cubicBezTo>
                    <a:pt x="13" y="25"/>
                    <a:pt x="13" y="25"/>
                    <a:pt x="13" y="26"/>
                  </a:cubicBezTo>
                  <a:cubicBezTo>
                    <a:pt x="12" y="27"/>
                    <a:pt x="12" y="27"/>
                    <a:pt x="11" y="28"/>
                  </a:cubicBezTo>
                  <a:cubicBezTo>
                    <a:pt x="11" y="28"/>
                    <a:pt x="11" y="28"/>
                    <a:pt x="11" y="28"/>
                  </a:cubicBezTo>
                  <a:cubicBezTo>
                    <a:pt x="12" y="28"/>
                    <a:pt x="12" y="28"/>
                    <a:pt x="12" y="28"/>
                  </a:cubicBezTo>
                  <a:cubicBezTo>
                    <a:pt x="12" y="29"/>
                    <a:pt x="12" y="29"/>
                    <a:pt x="13" y="29"/>
                  </a:cubicBezTo>
                  <a:cubicBezTo>
                    <a:pt x="13" y="30"/>
                    <a:pt x="13" y="30"/>
                    <a:pt x="13" y="31"/>
                  </a:cubicBezTo>
                  <a:cubicBezTo>
                    <a:pt x="12" y="31"/>
                    <a:pt x="12" y="31"/>
                    <a:pt x="11" y="31"/>
                  </a:cubicBezTo>
                  <a:cubicBezTo>
                    <a:pt x="11" y="31"/>
                    <a:pt x="10" y="31"/>
                    <a:pt x="10" y="31"/>
                  </a:cubicBezTo>
                  <a:cubicBezTo>
                    <a:pt x="10" y="31"/>
                    <a:pt x="10" y="31"/>
                    <a:pt x="10" y="31"/>
                  </a:cubicBezTo>
                  <a:cubicBezTo>
                    <a:pt x="10" y="31"/>
                    <a:pt x="10" y="31"/>
                    <a:pt x="10" y="31"/>
                  </a:cubicBezTo>
                  <a:cubicBezTo>
                    <a:pt x="9" y="32"/>
                    <a:pt x="9" y="32"/>
                    <a:pt x="9" y="32"/>
                  </a:cubicBezTo>
                  <a:cubicBezTo>
                    <a:pt x="8" y="35"/>
                    <a:pt x="8" y="35"/>
                    <a:pt x="5" y="38"/>
                  </a:cubicBezTo>
                  <a:cubicBezTo>
                    <a:pt x="5" y="38"/>
                    <a:pt x="5" y="38"/>
                    <a:pt x="5" y="38"/>
                  </a:cubicBezTo>
                  <a:cubicBezTo>
                    <a:pt x="5" y="38"/>
                    <a:pt x="5" y="38"/>
                    <a:pt x="5" y="38"/>
                  </a:cubicBezTo>
                  <a:cubicBezTo>
                    <a:pt x="20" y="47"/>
                    <a:pt x="20" y="47"/>
                    <a:pt x="20" y="47"/>
                  </a:cubicBezTo>
                  <a:cubicBezTo>
                    <a:pt x="21" y="48"/>
                    <a:pt x="23" y="49"/>
                    <a:pt x="25" y="50"/>
                  </a:cubicBezTo>
                  <a:cubicBezTo>
                    <a:pt x="27" y="50"/>
                    <a:pt x="28" y="51"/>
                    <a:pt x="29" y="51"/>
                  </a:cubicBezTo>
                  <a:cubicBezTo>
                    <a:pt x="31" y="52"/>
                    <a:pt x="33" y="53"/>
                    <a:pt x="35" y="54"/>
                  </a:cubicBezTo>
                  <a:cubicBezTo>
                    <a:pt x="34" y="55"/>
                    <a:pt x="34" y="56"/>
                    <a:pt x="33" y="57"/>
                  </a:cubicBezTo>
                  <a:cubicBezTo>
                    <a:pt x="31" y="55"/>
                    <a:pt x="27" y="53"/>
                    <a:pt x="24" y="52"/>
                  </a:cubicBezTo>
                  <a:cubicBezTo>
                    <a:pt x="23" y="51"/>
                    <a:pt x="21" y="50"/>
                    <a:pt x="20" y="50"/>
                  </a:cubicBezTo>
                  <a:cubicBezTo>
                    <a:pt x="18" y="49"/>
                    <a:pt x="16" y="47"/>
                    <a:pt x="14" y="46"/>
                  </a:cubicBezTo>
                  <a:cubicBezTo>
                    <a:pt x="1" y="38"/>
                    <a:pt x="1" y="38"/>
                    <a:pt x="1" y="38"/>
                  </a:cubicBezTo>
                  <a:cubicBezTo>
                    <a:pt x="3" y="35"/>
                    <a:pt x="3" y="35"/>
                    <a:pt x="5" y="32"/>
                  </a:cubicBezTo>
                  <a:cubicBezTo>
                    <a:pt x="5" y="31"/>
                    <a:pt x="5" y="31"/>
                    <a:pt x="5" y="31"/>
                  </a:cubicBezTo>
                  <a:cubicBezTo>
                    <a:pt x="6" y="32"/>
                    <a:pt x="6" y="32"/>
                    <a:pt x="7" y="32"/>
                  </a:cubicBezTo>
                  <a:cubicBezTo>
                    <a:pt x="7" y="32"/>
                    <a:pt x="8" y="32"/>
                    <a:pt x="9" y="31"/>
                  </a:cubicBezTo>
                  <a:cubicBezTo>
                    <a:pt x="9" y="31"/>
                    <a:pt x="9" y="30"/>
                    <a:pt x="9" y="29"/>
                  </a:cubicBezTo>
                  <a:cubicBezTo>
                    <a:pt x="9" y="29"/>
                    <a:pt x="8" y="28"/>
                    <a:pt x="8" y="28"/>
                  </a:cubicBezTo>
                  <a:cubicBezTo>
                    <a:pt x="8" y="27"/>
                    <a:pt x="9" y="27"/>
                    <a:pt x="9" y="26"/>
                  </a:cubicBezTo>
                  <a:cubicBezTo>
                    <a:pt x="9" y="26"/>
                    <a:pt x="10" y="25"/>
                    <a:pt x="10" y="25"/>
                  </a:cubicBezTo>
                  <a:cubicBezTo>
                    <a:pt x="10" y="25"/>
                    <a:pt x="11" y="25"/>
                    <a:pt x="11" y="25"/>
                  </a:cubicBezTo>
                  <a:cubicBezTo>
                    <a:pt x="11" y="25"/>
                    <a:pt x="11" y="25"/>
                    <a:pt x="12" y="25"/>
                  </a:cubicBezTo>
                  <a:cubicBezTo>
                    <a:pt x="12" y="25"/>
                    <a:pt x="13" y="25"/>
                    <a:pt x="13" y="24"/>
                  </a:cubicBezTo>
                  <a:cubicBezTo>
                    <a:pt x="13" y="23"/>
                    <a:pt x="13" y="23"/>
                    <a:pt x="13" y="22"/>
                  </a:cubicBezTo>
                  <a:cubicBezTo>
                    <a:pt x="12" y="22"/>
                    <a:pt x="12" y="22"/>
                    <a:pt x="12" y="22"/>
                  </a:cubicBezTo>
                  <a:cubicBezTo>
                    <a:pt x="13" y="21"/>
                    <a:pt x="14" y="19"/>
                    <a:pt x="14" y="18"/>
                  </a:cubicBezTo>
                  <a:cubicBezTo>
                    <a:pt x="14" y="18"/>
                    <a:pt x="15" y="19"/>
                    <a:pt x="15" y="19"/>
                  </a:cubicBezTo>
                  <a:cubicBezTo>
                    <a:pt x="16" y="19"/>
                    <a:pt x="17" y="18"/>
                    <a:pt x="17" y="18"/>
                  </a:cubicBezTo>
                  <a:cubicBezTo>
                    <a:pt x="17" y="17"/>
                    <a:pt x="17" y="16"/>
                    <a:pt x="17" y="16"/>
                  </a:cubicBezTo>
                  <a:cubicBezTo>
                    <a:pt x="17" y="15"/>
                    <a:pt x="16" y="15"/>
                    <a:pt x="16" y="15"/>
                  </a:cubicBezTo>
                  <a:cubicBezTo>
                    <a:pt x="16" y="14"/>
                    <a:pt x="17" y="14"/>
                    <a:pt x="17" y="13"/>
                  </a:cubicBezTo>
                  <a:cubicBezTo>
                    <a:pt x="18" y="12"/>
                    <a:pt x="18" y="12"/>
                    <a:pt x="18" y="11"/>
                  </a:cubicBezTo>
                  <a:cubicBezTo>
                    <a:pt x="19" y="11"/>
                    <a:pt x="19" y="11"/>
                    <a:pt x="19" y="11"/>
                  </a:cubicBezTo>
                  <a:moveTo>
                    <a:pt x="23" y="11"/>
                  </a:moveTo>
                  <a:cubicBezTo>
                    <a:pt x="24" y="11"/>
                    <a:pt x="24" y="11"/>
                    <a:pt x="25" y="10"/>
                  </a:cubicBezTo>
                  <a:cubicBezTo>
                    <a:pt x="25" y="10"/>
                    <a:pt x="25" y="9"/>
                    <a:pt x="24" y="9"/>
                  </a:cubicBezTo>
                  <a:cubicBezTo>
                    <a:pt x="24" y="8"/>
                    <a:pt x="24" y="8"/>
                    <a:pt x="23" y="8"/>
                  </a:cubicBezTo>
                  <a:cubicBezTo>
                    <a:pt x="24" y="6"/>
                    <a:pt x="25" y="5"/>
                    <a:pt x="25" y="5"/>
                  </a:cubicBezTo>
                  <a:cubicBezTo>
                    <a:pt x="25" y="4"/>
                    <a:pt x="25" y="4"/>
                    <a:pt x="26" y="3"/>
                  </a:cubicBezTo>
                  <a:cubicBezTo>
                    <a:pt x="26" y="3"/>
                    <a:pt x="26" y="3"/>
                    <a:pt x="26" y="3"/>
                  </a:cubicBezTo>
                  <a:cubicBezTo>
                    <a:pt x="26" y="2"/>
                    <a:pt x="26" y="2"/>
                    <a:pt x="26" y="2"/>
                  </a:cubicBezTo>
                  <a:cubicBezTo>
                    <a:pt x="26" y="2"/>
                    <a:pt x="26" y="2"/>
                    <a:pt x="27" y="1"/>
                  </a:cubicBezTo>
                  <a:cubicBezTo>
                    <a:pt x="37" y="5"/>
                    <a:pt x="47" y="11"/>
                    <a:pt x="57" y="16"/>
                  </a:cubicBezTo>
                  <a:cubicBezTo>
                    <a:pt x="56" y="18"/>
                    <a:pt x="56" y="19"/>
                    <a:pt x="55" y="21"/>
                  </a:cubicBezTo>
                  <a:cubicBezTo>
                    <a:pt x="55" y="22"/>
                    <a:pt x="55" y="22"/>
                    <a:pt x="54" y="24"/>
                  </a:cubicBezTo>
                  <a:cubicBezTo>
                    <a:pt x="49" y="37"/>
                    <a:pt x="45" y="44"/>
                    <a:pt x="39" y="56"/>
                  </a:cubicBezTo>
                  <a:cubicBezTo>
                    <a:pt x="36" y="53"/>
                    <a:pt x="33" y="52"/>
                    <a:pt x="30" y="51"/>
                  </a:cubicBezTo>
                  <a:cubicBezTo>
                    <a:pt x="28" y="50"/>
                    <a:pt x="27" y="50"/>
                    <a:pt x="26" y="49"/>
                  </a:cubicBezTo>
                  <a:cubicBezTo>
                    <a:pt x="24" y="48"/>
                    <a:pt x="22" y="47"/>
                    <a:pt x="20" y="46"/>
                  </a:cubicBezTo>
                  <a:cubicBezTo>
                    <a:pt x="6" y="38"/>
                    <a:pt x="6" y="38"/>
                    <a:pt x="6" y="38"/>
                  </a:cubicBezTo>
                  <a:cubicBezTo>
                    <a:pt x="8" y="35"/>
                    <a:pt x="8" y="35"/>
                    <a:pt x="10" y="32"/>
                  </a:cubicBezTo>
                  <a:cubicBezTo>
                    <a:pt x="10" y="32"/>
                    <a:pt x="10" y="32"/>
                    <a:pt x="10" y="32"/>
                  </a:cubicBezTo>
                  <a:cubicBezTo>
                    <a:pt x="10" y="32"/>
                    <a:pt x="11" y="32"/>
                    <a:pt x="11" y="32"/>
                  </a:cubicBezTo>
                  <a:cubicBezTo>
                    <a:pt x="12" y="32"/>
                    <a:pt x="13" y="32"/>
                    <a:pt x="13" y="31"/>
                  </a:cubicBezTo>
                  <a:cubicBezTo>
                    <a:pt x="14" y="31"/>
                    <a:pt x="14" y="30"/>
                    <a:pt x="13" y="29"/>
                  </a:cubicBezTo>
                  <a:cubicBezTo>
                    <a:pt x="13" y="29"/>
                    <a:pt x="13" y="28"/>
                    <a:pt x="12" y="28"/>
                  </a:cubicBezTo>
                  <a:cubicBezTo>
                    <a:pt x="13" y="27"/>
                    <a:pt x="13" y="27"/>
                    <a:pt x="13" y="26"/>
                  </a:cubicBezTo>
                  <a:cubicBezTo>
                    <a:pt x="14" y="26"/>
                    <a:pt x="14" y="25"/>
                    <a:pt x="14" y="25"/>
                  </a:cubicBezTo>
                  <a:cubicBezTo>
                    <a:pt x="15" y="25"/>
                    <a:pt x="15" y="25"/>
                    <a:pt x="15" y="25"/>
                  </a:cubicBezTo>
                  <a:cubicBezTo>
                    <a:pt x="16" y="25"/>
                    <a:pt x="17" y="24"/>
                    <a:pt x="17" y="24"/>
                  </a:cubicBezTo>
                  <a:cubicBezTo>
                    <a:pt x="17" y="23"/>
                    <a:pt x="17" y="23"/>
                    <a:pt x="17" y="22"/>
                  </a:cubicBezTo>
                  <a:cubicBezTo>
                    <a:pt x="17" y="22"/>
                    <a:pt x="16" y="21"/>
                    <a:pt x="16" y="21"/>
                  </a:cubicBezTo>
                  <a:cubicBezTo>
                    <a:pt x="17" y="20"/>
                    <a:pt x="18" y="19"/>
                    <a:pt x="18" y="18"/>
                  </a:cubicBezTo>
                  <a:cubicBezTo>
                    <a:pt x="18" y="18"/>
                    <a:pt x="19" y="18"/>
                    <a:pt x="19" y="18"/>
                  </a:cubicBezTo>
                  <a:cubicBezTo>
                    <a:pt x="20" y="18"/>
                    <a:pt x="21" y="18"/>
                    <a:pt x="21" y="17"/>
                  </a:cubicBezTo>
                  <a:cubicBezTo>
                    <a:pt x="21" y="17"/>
                    <a:pt x="21" y="16"/>
                    <a:pt x="21" y="15"/>
                  </a:cubicBezTo>
                  <a:cubicBezTo>
                    <a:pt x="21" y="15"/>
                    <a:pt x="20" y="15"/>
                    <a:pt x="20" y="14"/>
                  </a:cubicBezTo>
                  <a:cubicBezTo>
                    <a:pt x="20" y="14"/>
                    <a:pt x="20" y="13"/>
                    <a:pt x="21" y="13"/>
                  </a:cubicBezTo>
                  <a:cubicBezTo>
                    <a:pt x="21" y="12"/>
                    <a:pt x="22" y="11"/>
                    <a:pt x="22" y="11"/>
                  </a:cubicBezTo>
                  <a:cubicBezTo>
                    <a:pt x="22" y="11"/>
                    <a:pt x="23" y="11"/>
                    <a:pt x="23" y="11"/>
                  </a:cubicBezTo>
                  <a:moveTo>
                    <a:pt x="27" y="0"/>
                  </a:moveTo>
                  <a:cubicBezTo>
                    <a:pt x="26" y="1"/>
                    <a:pt x="26" y="1"/>
                    <a:pt x="26" y="1"/>
                  </a:cubicBezTo>
                  <a:cubicBezTo>
                    <a:pt x="26" y="1"/>
                    <a:pt x="25" y="2"/>
                    <a:pt x="25" y="2"/>
                  </a:cubicBezTo>
                  <a:cubicBezTo>
                    <a:pt x="25" y="2"/>
                    <a:pt x="25" y="2"/>
                    <a:pt x="25" y="2"/>
                  </a:cubicBezTo>
                  <a:cubicBezTo>
                    <a:pt x="24" y="1"/>
                    <a:pt x="24" y="1"/>
                    <a:pt x="23" y="1"/>
                  </a:cubicBezTo>
                  <a:cubicBezTo>
                    <a:pt x="23" y="1"/>
                    <a:pt x="23" y="1"/>
                    <a:pt x="23" y="1"/>
                  </a:cubicBezTo>
                  <a:cubicBezTo>
                    <a:pt x="22" y="3"/>
                    <a:pt x="21" y="4"/>
                    <a:pt x="21" y="5"/>
                  </a:cubicBezTo>
                  <a:cubicBezTo>
                    <a:pt x="20" y="6"/>
                    <a:pt x="20" y="7"/>
                    <a:pt x="19" y="9"/>
                  </a:cubicBezTo>
                  <a:cubicBezTo>
                    <a:pt x="19" y="9"/>
                    <a:pt x="19" y="9"/>
                    <a:pt x="19" y="9"/>
                  </a:cubicBezTo>
                  <a:cubicBezTo>
                    <a:pt x="19" y="9"/>
                    <a:pt x="19" y="9"/>
                    <a:pt x="19" y="9"/>
                  </a:cubicBezTo>
                  <a:cubicBezTo>
                    <a:pt x="20" y="9"/>
                    <a:pt x="20" y="9"/>
                    <a:pt x="20" y="9"/>
                  </a:cubicBezTo>
                  <a:cubicBezTo>
                    <a:pt x="20" y="10"/>
                    <a:pt x="20" y="10"/>
                    <a:pt x="20" y="10"/>
                  </a:cubicBezTo>
                  <a:cubicBezTo>
                    <a:pt x="20" y="10"/>
                    <a:pt x="20" y="11"/>
                    <a:pt x="20" y="11"/>
                  </a:cubicBezTo>
                  <a:cubicBezTo>
                    <a:pt x="20" y="11"/>
                    <a:pt x="20" y="11"/>
                    <a:pt x="19" y="11"/>
                  </a:cubicBezTo>
                  <a:cubicBezTo>
                    <a:pt x="19" y="11"/>
                    <a:pt x="19" y="11"/>
                    <a:pt x="19" y="10"/>
                  </a:cubicBezTo>
                  <a:cubicBezTo>
                    <a:pt x="18" y="10"/>
                    <a:pt x="18" y="10"/>
                    <a:pt x="18" y="10"/>
                  </a:cubicBezTo>
                  <a:cubicBezTo>
                    <a:pt x="18" y="10"/>
                    <a:pt x="18" y="10"/>
                    <a:pt x="18" y="10"/>
                  </a:cubicBezTo>
                  <a:cubicBezTo>
                    <a:pt x="18" y="11"/>
                    <a:pt x="17" y="12"/>
                    <a:pt x="16" y="13"/>
                  </a:cubicBezTo>
                  <a:cubicBezTo>
                    <a:pt x="16" y="14"/>
                    <a:pt x="15" y="14"/>
                    <a:pt x="15" y="15"/>
                  </a:cubicBezTo>
                  <a:cubicBezTo>
                    <a:pt x="15" y="15"/>
                    <a:pt x="15" y="15"/>
                    <a:pt x="15" y="15"/>
                  </a:cubicBezTo>
                  <a:cubicBezTo>
                    <a:pt x="15" y="15"/>
                    <a:pt x="15" y="15"/>
                    <a:pt x="15" y="15"/>
                  </a:cubicBezTo>
                  <a:cubicBezTo>
                    <a:pt x="16" y="15"/>
                    <a:pt x="16" y="16"/>
                    <a:pt x="16" y="16"/>
                  </a:cubicBezTo>
                  <a:cubicBezTo>
                    <a:pt x="17" y="16"/>
                    <a:pt x="17" y="17"/>
                    <a:pt x="16" y="17"/>
                  </a:cubicBezTo>
                  <a:cubicBezTo>
                    <a:pt x="16" y="18"/>
                    <a:pt x="16" y="18"/>
                    <a:pt x="15" y="18"/>
                  </a:cubicBezTo>
                  <a:cubicBezTo>
                    <a:pt x="15" y="18"/>
                    <a:pt x="15" y="18"/>
                    <a:pt x="15" y="18"/>
                  </a:cubicBezTo>
                  <a:cubicBezTo>
                    <a:pt x="15" y="18"/>
                    <a:pt x="15" y="18"/>
                    <a:pt x="14" y="17"/>
                  </a:cubicBezTo>
                  <a:cubicBezTo>
                    <a:pt x="14" y="17"/>
                    <a:pt x="14" y="17"/>
                    <a:pt x="14" y="17"/>
                  </a:cubicBezTo>
                  <a:cubicBezTo>
                    <a:pt x="14" y="17"/>
                    <a:pt x="14" y="17"/>
                    <a:pt x="14" y="17"/>
                  </a:cubicBezTo>
                  <a:cubicBezTo>
                    <a:pt x="13" y="19"/>
                    <a:pt x="12" y="21"/>
                    <a:pt x="11" y="22"/>
                  </a:cubicBezTo>
                  <a:cubicBezTo>
                    <a:pt x="11" y="22"/>
                    <a:pt x="11" y="22"/>
                    <a:pt x="11" y="22"/>
                  </a:cubicBezTo>
                  <a:cubicBezTo>
                    <a:pt x="11" y="22"/>
                    <a:pt x="11" y="22"/>
                    <a:pt x="11" y="22"/>
                  </a:cubicBezTo>
                  <a:cubicBezTo>
                    <a:pt x="11" y="22"/>
                    <a:pt x="11" y="22"/>
                    <a:pt x="11" y="22"/>
                  </a:cubicBezTo>
                  <a:cubicBezTo>
                    <a:pt x="12" y="22"/>
                    <a:pt x="12" y="22"/>
                    <a:pt x="12" y="23"/>
                  </a:cubicBezTo>
                  <a:cubicBezTo>
                    <a:pt x="12" y="24"/>
                    <a:pt x="12" y="24"/>
                    <a:pt x="12" y="24"/>
                  </a:cubicBezTo>
                  <a:cubicBezTo>
                    <a:pt x="11" y="24"/>
                    <a:pt x="11" y="24"/>
                    <a:pt x="11" y="24"/>
                  </a:cubicBezTo>
                  <a:cubicBezTo>
                    <a:pt x="11" y="24"/>
                    <a:pt x="11" y="24"/>
                    <a:pt x="11" y="24"/>
                  </a:cubicBezTo>
                  <a:cubicBezTo>
                    <a:pt x="11" y="24"/>
                    <a:pt x="10" y="24"/>
                    <a:pt x="10" y="24"/>
                  </a:cubicBezTo>
                  <a:cubicBezTo>
                    <a:pt x="9" y="24"/>
                    <a:pt x="9" y="24"/>
                    <a:pt x="9" y="24"/>
                  </a:cubicBezTo>
                  <a:cubicBezTo>
                    <a:pt x="9" y="25"/>
                    <a:pt x="9" y="25"/>
                    <a:pt x="8" y="26"/>
                  </a:cubicBezTo>
                  <a:cubicBezTo>
                    <a:pt x="8" y="27"/>
                    <a:pt x="7" y="27"/>
                    <a:pt x="7" y="28"/>
                  </a:cubicBezTo>
                  <a:cubicBezTo>
                    <a:pt x="7" y="28"/>
                    <a:pt x="7" y="28"/>
                    <a:pt x="7" y="28"/>
                  </a:cubicBezTo>
                  <a:cubicBezTo>
                    <a:pt x="7" y="28"/>
                    <a:pt x="7" y="28"/>
                    <a:pt x="7" y="28"/>
                  </a:cubicBezTo>
                  <a:cubicBezTo>
                    <a:pt x="8" y="28"/>
                    <a:pt x="8" y="29"/>
                    <a:pt x="8" y="29"/>
                  </a:cubicBezTo>
                  <a:cubicBezTo>
                    <a:pt x="8" y="30"/>
                    <a:pt x="8" y="30"/>
                    <a:pt x="8" y="31"/>
                  </a:cubicBezTo>
                  <a:cubicBezTo>
                    <a:pt x="8" y="31"/>
                    <a:pt x="7" y="31"/>
                    <a:pt x="7" y="31"/>
                  </a:cubicBezTo>
                  <a:cubicBezTo>
                    <a:pt x="6" y="31"/>
                    <a:pt x="6" y="31"/>
                    <a:pt x="6" y="31"/>
                  </a:cubicBezTo>
                  <a:cubicBezTo>
                    <a:pt x="5" y="30"/>
                    <a:pt x="5" y="30"/>
                    <a:pt x="5" y="30"/>
                  </a:cubicBezTo>
                  <a:cubicBezTo>
                    <a:pt x="5" y="31"/>
                    <a:pt x="5" y="31"/>
                    <a:pt x="5" y="31"/>
                  </a:cubicBezTo>
                  <a:cubicBezTo>
                    <a:pt x="4" y="32"/>
                    <a:pt x="4" y="32"/>
                    <a:pt x="4" y="32"/>
                  </a:cubicBezTo>
                  <a:cubicBezTo>
                    <a:pt x="3" y="35"/>
                    <a:pt x="3" y="35"/>
                    <a:pt x="0" y="37"/>
                  </a:cubicBezTo>
                  <a:cubicBezTo>
                    <a:pt x="0" y="38"/>
                    <a:pt x="0" y="38"/>
                    <a:pt x="0" y="38"/>
                  </a:cubicBezTo>
                  <a:cubicBezTo>
                    <a:pt x="0" y="38"/>
                    <a:pt x="0" y="38"/>
                    <a:pt x="0" y="38"/>
                  </a:cubicBezTo>
                  <a:cubicBezTo>
                    <a:pt x="3" y="40"/>
                    <a:pt x="3" y="40"/>
                    <a:pt x="3" y="40"/>
                  </a:cubicBezTo>
                  <a:cubicBezTo>
                    <a:pt x="2" y="40"/>
                    <a:pt x="2" y="41"/>
                    <a:pt x="1" y="42"/>
                  </a:cubicBezTo>
                  <a:cubicBezTo>
                    <a:pt x="1" y="42"/>
                    <a:pt x="1" y="42"/>
                    <a:pt x="1" y="42"/>
                  </a:cubicBezTo>
                  <a:cubicBezTo>
                    <a:pt x="1" y="42"/>
                    <a:pt x="1" y="42"/>
                    <a:pt x="1" y="42"/>
                  </a:cubicBezTo>
                  <a:cubicBezTo>
                    <a:pt x="15" y="51"/>
                    <a:pt x="15" y="51"/>
                    <a:pt x="15" y="51"/>
                  </a:cubicBezTo>
                  <a:cubicBezTo>
                    <a:pt x="17" y="52"/>
                    <a:pt x="19" y="53"/>
                    <a:pt x="21" y="54"/>
                  </a:cubicBezTo>
                  <a:cubicBezTo>
                    <a:pt x="22" y="55"/>
                    <a:pt x="23" y="56"/>
                    <a:pt x="25" y="56"/>
                  </a:cubicBezTo>
                  <a:cubicBezTo>
                    <a:pt x="28" y="58"/>
                    <a:pt x="31" y="59"/>
                    <a:pt x="34" y="62"/>
                  </a:cubicBezTo>
                  <a:cubicBezTo>
                    <a:pt x="34" y="62"/>
                    <a:pt x="34" y="62"/>
                    <a:pt x="34" y="62"/>
                  </a:cubicBezTo>
                  <a:cubicBezTo>
                    <a:pt x="35" y="62"/>
                    <a:pt x="35" y="62"/>
                    <a:pt x="35" y="62"/>
                  </a:cubicBezTo>
                  <a:cubicBezTo>
                    <a:pt x="36" y="60"/>
                    <a:pt x="37" y="58"/>
                    <a:pt x="38" y="56"/>
                  </a:cubicBezTo>
                  <a:cubicBezTo>
                    <a:pt x="39" y="57"/>
                    <a:pt x="39" y="57"/>
                    <a:pt x="39" y="57"/>
                  </a:cubicBezTo>
                  <a:cubicBezTo>
                    <a:pt x="39" y="57"/>
                    <a:pt x="39" y="57"/>
                    <a:pt x="39" y="57"/>
                  </a:cubicBezTo>
                  <a:cubicBezTo>
                    <a:pt x="39" y="57"/>
                    <a:pt x="39" y="57"/>
                    <a:pt x="39" y="57"/>
                  </a:cubicBezTo>
                  <a:cubicBezTo>
                    <a:pt x="40" y="56"/>
                    <a:pt x="40" y="56"/>
                    <a:pt x="40" y="56"/>
                  </a:cubicBezTo>
                  <a:cubicBezTo>
                    <a:pt x="46" y="45"/>
                    <a:pt x="49" y="37"/>
                    <a:pt x="55" y="24"/>
                  </a:cubicBezTo>
                  <a:cubicBezTo>
                    <a:pt x="55" y="23"/>
                    <a:pt x="56" y="22"/>
                    <a:pt x="56" y="21"/>
                  </a:cubicBezTo>
                  <a:cubicBezTo>
                    <a:pt x="56" y="20"/>
                    <a:pt x="57" y="19"/>
                    <a:pt x="58" y="16"/>
                  </a:cubicBezTo>
                  <a:cubicBezTo>
                    <a:pt x="58" y="16"/>
                    <a:pt x="58" y="16"/>
                    <a:pt x="58" y="16"/>
                  </a:cubicBezTo>
                  <a:cubicBezTo>
                    <a:pt x="58" y="16"/>
                    <a:pt x="58" y="16"/>
                    <a:pt x="58" y="16"/>
                  </a:cubicBezTo>
                  <a:cubicBezTo>
                    <a:pt x="48" y="10"/>
                    <a:pt x="37" y="5"/>
                    <a:pt x="2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85" name="ïṥlîḍè"/>
            <p:cNvSpPr/>
            <p:nvPr/>
          </p:nvSpPr>
          <p:spPr bwMode="auto">
            <a:xfrm>
              <a:off x="3510" y="2436"/>
              <a:ext cx="50" cy="29"/>
            </a:xfrm>
            <a:custGeom>
              <a:avLst/>
              <a:gdLst>
                <a:gd name="T0" fmla="*/ 1 w 21"/>
                <a:gd name="T1" fmla="*/ 0 h 12"/>
                <a:gd name="T2" fmla="*/ 0 w 21"/>
                <a:gd name="T3" fmla="*/ 0 h 12"/>
                <a:gd name="T4" fmla="*/ 1 w 21"/>
                <a:gd name="T5" fmla="*/ 1 h 12"/>
                <a:gd name="T6" fmla="*/ 6 w 21"/>
                <a:gd name="T7" fmla="*/ 4 h 12"/>
                <a:gd name="T8" fmla="*/ 21 w 21"/>
                <a:gd name="T9" fmla="*/ 12 h 12"/>
                <a:gd name="T10" fmla="*/ 21 w 21"/>
                <a:gd name="T11" fmla="*/ 12 h 12"/>
                <a:gd name="T12" fmla="*/ 21 w 21"/>
                <a:gd name="T13" fmla="*/ 12 h 12"/>
                <a:gd name="T14" fmla="*/ 21 w 21"/>
                <a:gd name="T15" fmla="*/ 12 h 12"/>
                <a:gd name="T16" fmla="*/ 7 w 21"/>
                <a:gd name="T17" fmla="*/ 3 h 12"/>
                <a:gd name="T18" fmla="*/ 1 w 21"/>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2">
                  <a:moveTo>
                    <a:pt x="1" y="0"/>
                  </a:moveTo>
                  <a:cubicBezTo>
                    <a:pt x="0" y="0"/>
                    <a:pt x="0" y="0"/>
                    <a:pt x="0" y="0"/>
                  </a:cubicBezTo>
                  <a:cubicBezTo>
                    <a:pt x="1" y="1"/>
                    <a:pt x="1" y="1"/>
                    <a:pt x="1" y="1"/>
                  </a:cubicBezTo>
                  <a:cubicBezTo>
                    <a:pt x="6" y="4"/>
                    <a:pt x="6" y="4"/>
                    <a:pt x="6" y="4"/>
                  </a:cubicBezTo>
                  <a:cubicBezTo>
                    <a:pt x="11" y="6"/>
                    <a:pt x="16" y="9"/>
                    <a:pt x="21" y="12"/>
                  </a:cubicBezTo>
                  <a:cubicBezTo>
                    <a:pt x="21" y="12"/>
                    <a:pt x="21" y="12"/>
                    <a:pt x="21" y="12"/>
                  </a:cubicBezTo>
                  <a:cubicBezTo>
                    <a:pt x="21" y="12"/>
                    <a:pt x="21" y="12"/>
                    <a:pt x="21" y="12"/>
                  </a:cubicBezTo>
                  <a:cubicBezTo>
                    <a:pt x="21" y="12"/>
                    <a:pt x="21" y="12"/>
                    <a:pt x="21" y="12"/>
                  </a:cubicBezTo>
                  <a:cubicBezTo>
                    <a:pt x="17" y="8"/>
                    <a:pt x="12" y="6"/>
                    <a:pt x="7" y="3"/>
                  </a:cubicBezTo>
                  <a:cubicBezTo>
                    <a:pt x="1" y="0"/>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86" name="îṥļïďe"/>
            <p:cNvSpPr/>
            <p:nvPr/>
          </p:nvSpPr>
          <p:spPr bwMode="auto">
            <a:xfrm>
              <a:off x="3506" y="2448"/>
              <a:ext cx="47" cy="26"/>
            </a:xfrm>
            <a:custGeom>
              <a:avLst/>
              <a:gdLst>
                <a:gd name="T0" fmla="*/ 1 w 20"/>
                <a:gd name="T1" fmla="*/ 0 h 11"/>
                <a:gd name="T2" fmla="*/ 0 w 20"/>
                <a:gd name="T3" fmla="*/ 0 h 11"/>
                <a:gd name="T4" fmla="*/ 1 w 20"/>
                <a:gd name="T5" fmla="*/ 1 h 11"/>
                <a:gd name="T6" fmla="*/ 19 w 20"/>
                <a:gd name="T7" fmla="*/ 11 h 11"/>
                <a:gd name="T8" fmla="*/ 19 w 20"/>
                <a:gd name="T9" fmla="*/ 11 h 11"/>
                <a:gd name="T10" fmla="*/ 20 w 20"/>
                <a:gd name="T11" fmla="*/ 11 h 11"/>
                <a:gd name="T12" fmla="*/ 19 w 20"/>
                <a:gd name="T13" fmla="*/ 11 h 11"/>
                <a:gd name="T14" fmla="*/ 1 w 20"/>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1">
                  <a:moveTo>
                    <a:pt x="1" y="0"/>
                  </a:moveTo>
                  <a:cubicBezTo>
                    <a:pt x="0" y="0"/>
                    <a:pt x="0" y="0"/>
                    <a:pt x="0" y="0"/>
                  </a:cubicBezTo>
                  <a:cubicBezTo>
                    <a:pt x="1" y="1"/>
                    <a:pt x="1" y="1"/>
                    <a:pt x="1" y="1"/>
                  </a:cubicBezTo>
                  <a:cubicBezTo>
                    <a:pt x="7" y="4"/>
                    <a:pt x="13" y="8"/>
                    <a:pt x="19" y="11"/>
                  </a:cubicBezTo>
                  <a:cubicBezTo>
                    <a:pt x="19" y="11"/>
                    <a:pt x="19" y="11"/>
                    <a:pt x="19" y="11"/>
                  </a:cubicBezTo>
                  <a:cubicBezTo>
                    <a:pt x="20" y="11"/>
                    <a:pt x="20" y="11"/>
                    <a:pt x="20" y="11"/>
                  </a:cubicBezTo>
                  <a:cubicBezTo>
                    <a:pt x="19" y="11"/>
                    <a:pt x="19" y="11"/>
                    <a:pt x="19" y="11"/>
                  </a:cubicBezTo>
                  <a:cubicBezTo>
                    <a:pt x="13" y="7"/>
                    <a:pt x="7" y="3"/>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87" name="îṧḻîďè"/>
            <p:cNvSpPr/>
            <p:nvPr/>
          </p:nvSpPr>
          <p:spPr bwMode="auto">
            <a:xfrm>
              <a:off x="3501" y="2460"/>
              <a:ext cx="50" cy="26"/>
            </a:xfrm>
            <a:custGeom>
              <a:avLst/>
              <a:gdLst>
                <a:gd name="T0" fmla="*/ 0 w 21"/>
                <a:gd name="T1" fmla="*/ 0 h 11"/>
                <a:gd name="T2" fmla="*/ 0 w 21"/>
                <a:gd name="T3" fmla="*/ 0 h 11"/>
                <a:gd name="T4" fmla="*/ 0 w 21"/>
                <a:gd name="T5" fmla="*/ 0 h 11"/>
                <a:gd name="T6" fmla="*/ 13 w 21"/>
                <a:gd name="T7" fmla="*/ 8 h 11"/>
                <a:gd name="T8" fmla="*/ 20 w 21"/>
                <a:gd name="T9" fmla="*/ 11 h 11"/>
                <a:gd name="T10" fmla="*/ 20 w 21"/>
                <a:gd name="T11" fmla="*/ 11 h 11"/>
                <a:gd name="T12" fmla="*/ 21 w 21"/>
                <a:gd name="T13" fmla="*/ 11 h 11"/>
                <a:gd name="T14" fmla="*/ 20 w 21"/>
                <a:gd name="T15" fmla="*/ 10 h 11"/>
                <a:gd name="T16" fmla="*/ 14 w 21"/>
                <a:gd name="T17" fmla="*/ 7 h 11"/>
                <a:gd name="T18" fmla="*/ 0 w 21"/>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1">
                  <a:moveTo>
                    <a:pt x="0" y="0"/>
                  </a:moveTo>
                  <a:cubicBezTo>
                    <a:pt x="0" y="0"/>
                    <a:pt x="0" y="0"/>
                    <a:pt x="0" y="0"/>
                  </a:cubicBezTo>
                  <a:cubicBezTo>
                    <a:pt x="0" y="0"/>
                    <a:pt x="0" y="0"/>
                    <a:pt x="0" y="0"/>
                  </a:cubicBezTo>
                  <a:cubicBezTo>
                    <a:pt x="4" y="4"/>
                    <a:pt x="9" y="6"/>
                    <a:pt x="13" y="8"/>
                  </a:cubicBezTo>
                  <a:cubicBezTo>
                    <a:pt x="20" y="11"/>
                    <a:pt x="20" y="11"/>
                    <a:pt x="20" y="11"/>
                  </a:cubicBezTo>
                  <a:cubicBezTo>
                    <a:pt x="20" y="11"/>
                    <a:pt x="20" y="11"/>
                    <a:pt x="20" y="11"/>
                  </a:cubicBezTo>
                  <a:cubicBezTo>
                    <a:pt x="21" y="11"/>
                    <a:pt x="21" y="11"/>
                    <a:pt x="21" y="11"/>
                  </a:cubicBezTo>
                  <a:cubicBezTo>
                    <a:pt x="20" y="10"/>
                    <a:pt x="20" y="10"/>
                    <a:pt x="20" y="10"/>
                  </a:cubicBezTo>
                  <a:cubicBezTo>
                    <a:pt x="14" y="7"/>
                    <a:pt x="14" y="7"/>
                    <a:pt x="14" y="7"/>
                  </a:cubicBezTo>
                  <a:cubicBezTo>
                    <a:pt x="9" y="5"/>
                    <a:pt x="4" y="3"/>
                    <a:pt x="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88" name="íSļiḓe"/>
            <p:cNvSpPr/>
            <p:nvPr/>
          </p:nvSpPr>
          <p:spPr bwMode="auto">
            <a:xfrm>
              <a:off x="3491" y="2474"/>
              <a:ext cx="50" cy="24"/>
            </a:xfrm>
            <a:custGeom>
              <a:avLst/>
              <a:gdLst>
                <a:gd name="T0" fmla="*/ 3 w 50"/>
                <a:gd name="T1" fmla="*/ 0 h 24"/>
                <a:gd name="T2" fmla="*/ 0 w 50"/>
                <a:gd name="T3" fmla="*/ 0 h 24"/>
                <a:gd name="T4" fmla="*/ 3 w 50"/>
                <a:gd name="T5" fmla="*/ 3 h 24"/>
                <a:gd name="T6" fmla="*/ 50 w 50"/>
                <a:gd name="T7" fmla="*/ 24 h 24"/>
                <a:gd name="T8" fmla="*/ 50 w 50"/>
                <a:gd name="T9" fmla="*/ 24 h 24"/>
                <a:gd name="T10" fmla="*/ 50 w 50"/>
                <a:gd name="T11" fmla="*/ 24 h 24"/>
                <a:gd name="T12" fmla="*/ 50 w 50"/>
                <a:gd name="T13" fmla="*/ 22 h 24"/>
                <a:gd name="T14" fmla="*/ 3 w 5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4">
                  <a:moveTo>
                    <a:pt x="3" y="0"/>
                  </a:moveTo>
                  <a:lnTo>
                    <a:pt x="0" y="0"/>
                  </a:lnTo>
                  <a:lnTo>
                    <a:pt x="3" y="3"/>
                  </a:lnTo>
                  <a:lnTo>
                    <a:pt x="50" y="24"/>
                  </a:lnTo>
                  <a:lnTo>
                    <a:pt x="50" y="24"/>
                  </a:lnTo>
                  <a:lnTo>
                    <a:pt x="50" y="24"/>
                  </a:lnTo>
                  <a:lnTo>
                    <a:pt x="50" y="22"/>
                  </a:lnTo>
                  <a:lnTo>
                    <a:pt x="3"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89" name="îSļíḍé"/>
            <p:cNvSpPr/>
            <p:nvPr/>
          </p:nvSpPr>
          <p:spPr bwMode="auto">
            <a:xfrm>
              <a:off x="3491" y="2474"/>
              <a:ext cx="50" cy="24"/>
            </a:xfrm>
            <a:custGeom>
              <a:avLst/>
              <a:gdLst>
                <a:gd name="T0" fmla="*/ 3 w 50"/>
                <a:gd name="T1" fmla="*/ 0 h 24"/>
                <a:gd name="T2" fmla="*/ 0 w 50"/>
                <a:gd name="T3" fmla="*/ 0 h 24"/>
                <a:gd name="T4" fmla="*/ 3 w 50"/>
                <a:gd name="T5" fmla="*/ 3 h 24"/>
                <a:gd name="T6" fmla="*/ 50 w 50"/>
                <a:gd name="T7" fmla="*/ 24 h 24"/>
                <a:gd name="T8" fmla="*/ 50 w 50"/>
                <a:gd name="T9" fmla="*/ 24 h 24"/>
                <a:gd name="T10" fmla="*/ 50 w 50"/>
                <a:gd name="T11" fmla="*/ 24 h 24"/>
                <a:gd name="T12" fmla="*/ 50 w 50"/>
                <a:gd name="T13" fmla="*/ 22 h 24"/>
                <a:gd name="T14" fmla="*/ 3 w 5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4">
                  <a:moveTo>
                    <a:pt x="3" y="0"/>
                  </a:moveTo>
                  <a:lnTo>
                    <a:pt x="0" y="0"/>
                  </a:lnTo>
                  <a:lnTo>
                    <a:pt x="3" y="3"/>
                  </a:lnTo>
                  <a:lnTo>
                    <a:pt x="50" y="24"/>
                  </a:lnTo>
                  <a:lnTo>
                    <a:pt x="50" y="24"/>
                  </a:lnTo>
                  <a:lnTo>
                    <a:pt x="50" y="24"/>
                  </a:lnTo>
                  <a:lnTo>
                    <a:pt x="50" y="22"/>
                  </a:lnTo>
                  <a:lnTo>
                    <a:pt x="3"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90" name="îsḷide"/>
            <p:cNvSpPr/>
            <p:nvPr/>
          </p:nvSpPr>
          <p:spPr bwMode="auto">
            <a:xfrm>
              <a:off x="3487" y="2484"/>
              <a:ext cx="50" cy="26"/>
            </a:xfrm>
            <a:custGeom>
              <a:avLst/>
              <a:gdLst>
                <a:gd name="T0" fmla="*/ 0 w 50"/>
                <a:gd name="T1" fmla="*/ 0 h 26"/>
                <a:gd name="T2" fmla="*/ 0 w 50"/>
                <a:gd name="T3" fmla="*/ 2 h 26"/>
                <a:gd name="T4" fmla="*/ 0 w 50"/>
                <a:gd name="T5" fmla="*/ 2 h 26"/>
                <a:gd name="T6" fmla="*/ 50 w 50"/>
                <a:gd name="T7" fmla="*/ 26 h 26"/>
                <a:gd name="T8" fmla="*/ 50 w 50"/>
                <a:gd name="T9" fmla="*/ 26 h 26"/>
                <a:gd name="T10" fmla="*/ 50 w 50"/>
                <a:gd name="T11" fmla="*/ 26 h 26"/>
                <a:gd name="T12" fmla="*/ 50 w 50"/>
                <a:gd name="T13" fmla="*/ 23 h 26"/>
                <a:gd name="T14" fmla="*/ 0 w 50"/>
                <a:gd name="T15" fmla="*/ 0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6">
                  <a:moveTo>
                    <a:pt x="0" y="0"/>
                  </a:moveTo>
                  <a:lnTo>
                    <a:pt x="0" y="2"/>
                  </a:lnTo>
                  <a:lnTo>
                    <a:pt x="0" y="2"/>
                  </a:lnTo>
                  <a:lnTo>
                    <a:pt x="50" y="26"/>
                  </a:lnTo>
                  <a:lnTo>
                    <a:pt x="50" y="26"/>
                  </a:lnTo>
                  <a:lnTo>
                    <a:pt x="50" y="26"/>
                  </a:lnTo>
                  <a:lnTo>
                    <a:pt x="50" y="23"/>
                  </a:lnTo>
                  <a:lnTo>
                    <a:pt x="0"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91" name="ïšľîdê"/>
            <p:cNvSpPr/>
            <p:nvPr/>
          </p:nvSpPr>
          <p:spPr bwMode="auto">
            <a:xfrm>
              <a:off x="3487" y="2484"/>
              <a:ext cx="50" cy="26"/>
            </a:xfrm>
            <a:custGeom>
              <a:avLst/>
              <a:gdLst>
                <a:gd name="T0" fmla="*/ 0 w 50"/>
                <a:gd name="T1" fmla="*/ 0 h 26"/>
                <a:gd name="T2" fmla="*/ 0 w 50"/>
                <a:gd name="T3" fmla="*/ 2 h 26"/>
                <a:gd name="T4" fmla="*/ 0 w 50"/>
                <a:gd name="T5" fmla="*/ 2 h 26"/>
                <a:gd name="T6" fmla="*/ 50 w 50"/>
                <a:gd name="T7" fmla="*/ 26 h 26"/>
                <a:gd name="T8" fmla="*/ 50 w 50"/>
                <a:gd name="T9" fmla="*/ 26 h 26"/>
                <a:gd name="T10" fmla="*/ 50 w 50"/>
                <a:gd name="T11" fmla="*/ 26 h 26"/>
                <a:gd name="T12" fmla="*/ 50 w 50"/>
                <a:gd name="T13" fmla="*/ 23 h 26"/>
                <a:gd name="T14" fmla="*/ 0 w 50"/>
                <a:gd name="T15" fmla="*/ 0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6">
                  <a:moveTo>
                    <a:pt x="0" y="0"/>
                  </a:moveTo>
                  <a:lnTo>
                    <a:pt x="0" y="2"/>
                  </a:lnTo>
                  <a:lnTo>
                    <a:pt x="0" y="2"/>
                  </a:lnTo>
                  <a:lnTo>
                    <a:pt x="50" y="26"/>
                  </a:lnTo>
                  <a:lnTo>
                    <a:pt x="50" y="26"/>
                  </a:lnTo>
                  <a:lnTo>
                    <a:pt x="50" y="26"/>
                  </a:lnTo>
                  <a:lnTo>
                    <a:pt x="50" y="23"/>
                  </a:lnTo>
                  <a:lnTo>
                    <a:pt x="0"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92" name="ïṩḻiḋè"/>
            <p:cNvSpPr/>
            <p:nvPr/>
          </p:nvSpPr>
          <p:spPr bwMode="auto">
            <a:xfrm>
              <a:off x="3482" y="2496"/>
              <a:ext cx="50" cy="26"/>
            </a:xfrm>
            <a:custGeom>
              <a:avLst/>
              <a:gdLst>
                <a:gd name="T0" fmla="*/ 0 w 50"/>
                <a:gd name="T1" fmla="*/ 0 h 26"/>
                <a:gd name="T2" fmla="*/ 0 w 50"/>
                <a:gd name="T3" fmla="*/ 0 h 26"/>
                <a:gd name="T4" fmla="*/ 0 w 50"/>
                <a:gd name="T5" fmla="*/ 2 h 26"/>
                <a:gd name="T6" fmla="*/ 48 w 50"/>
                <a:gd name="T7" fmla="*/ 23 h 26"/>
                <a:gd name="T8" fmla="*/ 48 w 50"/>
                <a:gd name="T9" fmla="*/ 26 h 26"/>
                <a:gd name="T10" fmla="*/ 50 w 50"/>
                <a:gd name="T11" fmla="*/ 23 h 26"/>
                <a:gd name="T12" fmla="*/ 48 w 50"/>
                <a:gd name="T13" fmla="*/ 23 h 26"/>
                <a:gd name="T14" fmla="*/ 0 w 50"/>
                <a:gd name="T15" fmla="*/ 0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6">
                  <a:moveTo>
                    <a:pt x="0" y="0"/>
                  </a:moveTo>
                  <a:lnTo>
                    <a:pt x="0" y="0"/>
                  </a:lnTo>
                  <a:lnTo>
                    <a:pt x="0" y="2"/>
                  </a:lnTo>
                  <a:lnTo>
                    <a:pt x="48" y="23"/>
                  </a:lnTo>
                  <a:lnTo>
                    <a:pt x="48" y="26"/>
                  </a:lnTo>
                  <a:lnTo>
                    <a:pt x="50" y="23"/>
                  </a:lnTo>
                  <a:lnTo>
                    <a:pt x="48" y="23"/>
                  </a:lnTo>
                  <a:lnTo>
                    <a:pt x="0"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93" name="íṥḷiḍé"/>
            <p:cNvSpPr/>
            <p:nvPr/>
          </p:nvSpPr>
          <p:spPr bwMode="auto">
            <a:xfrm>
              <a:off x="3482" y="2496"/>
              <a:ext cx="50" cy="26"/>
            </a:xfrm>
            <a:custGeom>
              <a:avLst/>
              <a:gdLst>
                <a:gd name="T0" fmla="*/ 0 w 50"/>
                <a:gd name="T1" fmla="*/ 0 h 26"/>
                <a:gd name="T2" fmla="*/ 0 w 50"/>
                <a:gd name="T3" fmla="*/ 0 h 26"/>
                <a:gd name="T4" fmla="*/ 0 w 50"/>
                <a:gd name="T5" fmla="*/ 2 h 26"/>
                <a:gd name="T6" fmla="*/ 48 w 50"/>
                <a:gd name="T7" fmla="*/ 23 h 26"/>
                <a:gd name="T8" fmla="*/ 48 w 50"/>
                <a:gd name="T9" fmla="*/ 26 h 26"/>
                <a:gd name="T10" fmla="*/ 50 w 50"/>
                <a:gd name="T11" fmla="*/ 23 h 26"/>
                <a:gd name="T12" fmla="*/ 48 w 50"/>
                <a:gd name="T13" fmla="*/ 23 h 26"/>
                <a:gd name="T14" fmla="*/ 0 w 50"/>
                <a:gd name="T15" fmla="*/ 0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6">
                  <a:moveTo>
                    <a:pt x="0" y="0"/>
                  </a:moveTo>
                  <a:lnTo>
                    <a:pt x="0" y="0"/>
                  </a:lnTo>
                  <a:lnTo>
                    <a:pt x="0" y="2"/>
                  </a:lnTo>
                  <a:lnTo>
                    <a:pt x="48" y="23"/>
                  </a:lnTo>
                  <a:lnTo>
                    <a:pt x="48" y="26"/>
                  </a:lnTo>
                  <a:lnTo>
                    <a:pt x="50" y="23"/>
                  </a:lnTo>
                  <a:lnTo>
                    <a:pt x="48" y="23"/>
                  </a:lnTo>
                  <a:lnTo>
                    <a:pt x="0"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94" name="íṣḻiďè"/>
            <p:cNvSpPr/>
            <p:nvPr/>
          </p:nvSpPr>
          <p:spPr bwMode="auto">
            <a:xfrm>
              <a:off x="3584" y="2022"/>
              <a:ext cx="53" cy="53"/>
            </a:xfrm>
            <a:custGeom>
              <a:avLst/>
              <a:gdLst>
                <a:gd name="T0" fmla="*/ 2 w 22"/>
                <a:gd name="T1" fmla="*/ 19 h 22"/>
                <a:gd name="T2" fmla="*/ 6 w 22"/>
                <a:gd name="T3" fmla="*/ 5 h 22"/>
                <a:gd name="T4" fmla="*/ 6 w 22"/>
                <a:gd name="T5" fmla="*/ 3 h 22"/>
                <a:gd name="T6" fmla="*/ 11 w 22"/>
                <a:gd name="T7" fmla="*/ 4 h 22"/>
                <a:gd name="T8" fmla="*/ 10 w 22"/>
                <a:gd name="T9" fmla="*/ 6 h 22"/>
                <a:gd name="T10" fmla="*/ 10 w 22"/>
                <a:gd name="T11" fmla="*/ 7 h 22"/>
                <a:gd name="T12" fmla="*/ 10 w 22"/>
                <a:gd name="T13" fmla="*/ 7 h 22"/>
                <a:gd name="T14" fmla="*/ 13 w 22"/>
                <a:gd name="T15" fmla="*/ 7 h 22"/>
                <a:gd name="T16" fmla="*/ 14 w 22"/>
                <a:gd name="T17" fmla="*/ 7 h 22"/>
                <a:gd name="T18" fmla="*/ 14 w 22"/>
                <a:gd name="T19" fmla="*/ 7 h 22"/>
                <a:gd name="T20" fmla="*/ 15 w 22"/>
                <a:gd name="T21" fmla="*/ 7 h 22"/>
                <a:gd name="T22" fmla="*/ 16 w 22"/>
                <a:gd name="T23" fmla="*/ 4 h 22"/>
                <a:gd name="T24" fmla="*/ 21 w 22"/>
                <a:gd name="T25" fmla="*/ 5 h 22"/>
                <a:gd name="T26" fmla="*/ 21 w 22"/>
                <a:gd name="T27" fmla="*/ 9 h 22"/>
                <a:gd name="T28" fmla="*/ 17 w 22"/>
                <a:gd name="T29" fmla="*/ 20 h 22"/>
                <a:gd name="T30" fmla="*/ 17 w 22"/>
                <a:gd name="T31" fmla="*/ 20 h 22"/>
                <a:gd name="T32" fmla="*/ 17 w 22"/>
                <a:gd name="T33" fmla="*/ 21 h 22"/>
                <a:gd name="T34" fmla="*/ 17 w 22"/>
                <a:gd name="T35" fmla="*/ 21 h 22"/>
                <a:gd name="T36" fmla="*/ 7 w 22"/>
                <a:gd name="T37" fmla="*/ 19 h 22"/>
                <a:gd name="T38" fmla="*/ 2 w 22"/>
                <a:gd name="T39" fmla="*/ 19 h 22"/>
                <a:gd name="T40" fmla="*/ 2 w 22"/>
                <a:gd name="T41" fmla="*/ 19 h 22"/>
                <a:gd name="T42" fmla="*/ 14 w 22"/>
                <a:gd name="T43" fmla="*/ 6 h 22"/>
                <a:gd name="T44" fmla="*/ 14 w 22"/>
                <a:gd name="T45" fmla="*/ 6 h 22"/>
                <a:gd name="T46" fmla="*/ 11 w 22"/>
                <a:gd name="T47" fmla="*/ 6 h 22"/>
                <a:gd name="T48" fmla="*/ 13 w 22"/>
                <a:gd name="T49" fmla="*/ 1 h 22"/>
                <a:gd name="T50" fmla="*/ 16 w 22"/>
                <a:gd name="T51" fmla="*/ 1 h 22"/>
                <a:gd name="T52" fmla="*/ 14 w 22"/>
                <a:gd name="T53" fmla="*/ 6 h 22"/>
                <a:gd name="T54" fmla="*/ 14 w 22"/>
                <a:gd name="T55" fmla="*/ 6 h 22"/>
                <a:gd name="T56" fmla="*/ 13 w 22"/>
                <a:gd name="T57" fmla="*/ 0 h 22"/>
                <a:gd name="T58" fmla="*/ 13 w 22"/>
                <a:gd name="T59" fmla="*/ 0 h 22"/>
                <a:gd name="T60" fmla="*/ 11 w 22"/>
                <a:gd name="T61" fmla="*/ 3 h 22"/>
                <a:gd name="T62" fmla="*/ 6 w 22"/>
                <a:gd name="T63" fmla="*/ 2 h 22"/>
                <a:gd name="T64" fmla="*/ 5 w 22"/>
                <a:gd name="T65" fmla="*/ 2 h 22"/>
                <a:gd name="T66" fmla="*/ 5 w 22"/>
                <a:gd name="T67" fmla="*/ 3 h 22"/>
                <a:gd name="T68" fmla="*/ 5 w 22"/>
                <a:gd name="T69" fmla="*/ 5 h 22"/>
                <a:gd name="T70" fmla="*/ 0 w 22"/>
                <a:gd name="T71" fmla="*/ 19 h 22"/>
                <a:gd name="T72" fmla="*/ 0 w 22"/>
                <a:gd name="T73" fmla="*/ 20 h 22"/>
                <a:gd name="T74" fmla="*/ 1 w 22"/>
                <a:gd name="T75" fmla="*/ 20 h 22"/>
                <a:gd name="T76" fmla="*/ 2 w 22"/>
                <a:gd name="T77" fmla="*/ 20 h 22"/>
                <a:gd name="T78" fmla="*/ 7 w 22"/>
                <a:gd name="T79" fmla="*/ 20 h 22"/>
                <a:gd name="T80" fmla="*/ 17 w 22"/>
                <a:gd name="T81" fmla="*/ 22 h 22"/>
                <a:gd name="T82" fmla="*/ 17 w 22"/>
                <a:gd name="T83" fmla="*/ 22 h 22"/>
                <a:gd name="T84" fmla="*/ 17 w 22"/>
                <a:gd name="T85" fmla="*/ 22 h 22"/>
                <a:gd name="T86" fmla="*/ 18 w 22"/>
                <a:gd name="T87" fmla="*/ 21 h 22"/>
                <a:gd name="T88" fmla="*/ 18 w 22"/>
                <a:gd name="T89" fmla="*/ 20 h 22"/>
                <a:gd name="T90" fmla="*/ 22 w 22"/>
                <a:gd name="T91" fmla="*/ 9 h 22"/>
                <a:gd name="T92" fmla="*/ 22 w 22"/>
                <a:gd name="T93" fmla="*/ 4 h 22"/>
                <a:gd name="T94" fmla="*/ 22 w 22"/>
                <a:gd name="T95" fmla="*/ 4 h 22"/>
                <a:gd name="T96" fmla="*/ 22 w 22"/>
                <a:gd name="T97" fmla="*/ 4 h 22"/>
                <a:gd name="T98" fmla="*/ 16 w 22"/>
                <a:gd name="T99" fmla="*/ 3 h 22"/>
                <a:gd name="T100" fmla="*/ 17 w 22"/>
                <a:gd name="T101" fmla="*/ 1 h 22"/>
                <a:gd name="T102" fmla="*/ 17 w 22"/>
                <a:gd name="T103" fmla="*/ 1 h 22"/>
                <a:gd name="T104" fmla="*/ 17 w 22"/>
                <a:gd name="T105" fmla="*/ 0 h 22"/>
                <a:gd name="T106" fmla="*/ 13 w 22"/>
                <a:gd name="T10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 h="22">
                  <a:moveTo>
                    <a:pt x="2" y="19"/>
                  </a:moveTo>
                  <a:cubicBezTo>
                    <a:pt x="4" y="15"/>
                    <a:pt x="5" y="9"/>
                    <a:pt x="6" y="5"/>
                  </a:cubicBezTo>
                  <a:cubicBezTo>
                    <a:pt x="6" y="5"/>
                    <a:pt x="6" y="4"/>
                    <a:pt x="6" y="3"/>
                  </a:cubicBezTo>
                  <a:cubicBezTo>
                    <a:pt x="7" y="4"/>
                    <a:pt x="9" y="4"/>
                    <a:pt x="11" y="4"/>
                  </a:cubicBezTo>
                  <a:cubicBezTo>
                    <a:pt x="10" y="5"/>
                    <a:pt x="10" y="5"/>
                    <a:pt x="10" y="6"/>
                  </a:cubicBezTo>
                  <a:cubicBezTo>
                    <a:pt x="10" y="7"/>
                    <a:pt x="10" y="7"/>
                    <a:pt x="10" y="7"/>
                  </a:cubicBezTo>
                  <a:cubicBezTo>
                    <a:pt x="10" y="7"/>
                    <a:pt x="10" y="7"/>
                    <a:pt x="10" y="7"/>
                  </a:cubicBezTo>
                  <a:cubicBezTo>
                    <a:pt x="13" y="7"/>
                    <a:pt x="13" y="7"/>
                    <a:pt x="13" y="7"/>
                  </a:cubicBezTo>
                  <a:cubicBezTo>
                    <a:pt x="14" y="7"/>
                    <a:pt x="14" y="7"/>
                    <a:pt x="14" y="7"/>
                  </a:cubicBezTo>
                  <a:cubicBezTo>
                    <a:pt x="14" y="7"/>
                    <a:pt x="14" y="7"/>
                    <a:pt x="14" y="7"/>
                  </a:cubicBezTo>
                  <a:cubicBezTo>
                    <a:pt x="15" y="7"/>
                    <a:pt x="15" y="7"/>
                    <a:pt x="15" y="7"/>
                  </a:cubicBezTo>
                  <a:cubicBezTo>
                    <a:pt x="16" y="4"/>
                    <a:pt x="16" y="4"/>
                    <a:pt x="16" y="4"/>
                  </a:cubicBezTo>
                  <a:cubicBezTo>
                    <a:pt x="18" y="4"/>
                    <a:pt x="19" y="4"/>
                    <a:pt x="21" y="5"/>
                  </a:cubicBezTo>
                  <a:cubicBezTo>
                    <a:pt x="21" y="6"/>
                    <a:pt x="21" y="7"/>
                    <a:pt x="21" y="9"/>
                  </a:cubicBezTo>
                  <a:cubicBezTo>
                    <a:pt x="20" y="13"/>
                    <a:pt x="19" y="17"/>
                    <a:pt x="17" y="20"/>
                  </a:cubicBezTo>
                  <a:cubicBezTo>
                    <a:pt x="17" y="20"/>
                    <a:pt x="17" y="20"/>
                    <a:pt x="17" y="20"/>
                  </a:cubicBezTo>
                  <a:cubicBezTo>
                    <a:pt x="17" y="21"/>
                    <a:pt x="17" y="21"/>
                    <a:pt x="17" y="21"/>
                  </a:cubicBezTo>
                  <a:cubicBezTo>
                    <a:pt x="17" y="21"/>
                    <a:pt x="17" y="21"/>
                    <a:pt x="17" y="21"/>
                  </a:cubicBezTo>
                  <a:cubicBezTo>
                    <a:pt x="7" y="19"/>
                    <a:pt x="7" y="19"/>
                    <a:pt x="7" y="19"/>
                  </a:cubicBezTo>
                  <a:cubicBezTo>
                    <a:pt x="5" y="19"/>
                    <a:pt x="4" y="19"/>
                    <a:pt x="2" y="19"/>
                  </a:cubicBezTo>
                  <a:cubicBezTo>
                    <a:pt x="2" y="19"/>
                    <a:pt x="2" y="19"/>
                    <a:pt x="2" y="19"/>
                  </a:cubicBezTo>
                  <a:moveTo>
                    <a:pt x="14" y="6"/>
                  </a:moveTo>
                  <a:cubicBezTo>
                    <a:pt x="14" y="6"/>
                    <a:pt x="14" y="6"/>
                    <a:pt x="14" y="6"/>
                  </a:cubicBezTo>
                  <a:cubicBezTo>
                    <a:pt x="11" y="6"/>
                    <a:pt x="11" y="6"/>
                    <a:pt x="11" y="6"/>
                  </a:cubicBezTo>
                  <a:cubicBezTo>
                    <a:pt x="12" y="4"/>
                    <a:pt x="13" y="2"/>
                    <a:pt x="13" y="1"/>
                  </a:cubicBezTo>
                  <a:cubicBezTo>
                    <a:pt x="14" y="1"/>
                    <a:pt x="15" y="1"/>
                    <a:pt x="16" y="1"/>
                  </a:cubicBezTo>
                  <a:cubicBezTo>
                    <a:pt x="14" y="6"/>
                    <a:pt x="14" y="6"/>
                    <a:pt x="14" y="6"/>
                  </a:cubicBezTo>
                  <a:cubicBezTo>
                    <a:pt x="14" y="6"/>
                    <a:pt x="14" y="6"/>
                    <a:pt x="14" y="6"/>
                  </a:cubicBezTo>
                  <a:moveTo>
                    <a:pt x="13" y="0"/>
                  </a:moveTo>
                  <a:cubicBezTo>
                    <a:pt x="13" y="0"/>
                    <a:pt x="13" y="0"/>
                    <a:pt x="13" y="0"/>
                  </a:cubicBezTo>
                  <a:cubicBezTo>
                    <a:pt x="12" y="1"/>
                    <a:pt x="12" y="2"/>
                    <a:pt x="11" y="3"/>
                  </a:cubicBezTo>
                  <a:cubicBezTo>
                    <a:pt x="9" y="3"/>
                    <a:pt x="7" y="3"/>
                    <a:pt x="6" y="2"/>
                  </a:cubicBezTo>
                  <a:cubicBezTo>
                    <a:pt x="5" y="2"/>
                    <a:pt x="5" y="2"/>
                    <a:pt x="5" y="2"/>
                  </a:cubicBezTo>
                  <a:cubicBezTo>
                    <a:pt x="5" y="3"/>
                    <a:pt x="5" y="3"/>
                    <a:pt x="5" y="3"/>
                  </a:cubicBezTo>
                  <a:cubicBezTo>
                    <a:pt x="5" y="3"/>
                    <a:pt x="5" y="4"/>
                    <a:pt x="5" y="5"/>
                  </a:cubicBezTo>
                  <a:cubicBezTo>
                    <a:pt x="4" y="9"/>
                    <a:pt x="3" y="15"/>
                    <a:pt x="0" y="19"/>
                  </a:cubicBezTo>
                  <a:cubicBezTo>
                    <a:pt x="0" y="20"/>
                    <a:pt x="0" y="20"/>
                    <a:pt x="0" y="20"/>
                  </a:cubicBezTo>
                  <a:cubicBezTo>
                    <a:pt x="1" y="20"/>
                    <a:pt x="1" y="20"/>
                    <a:pt x="1" y="20"/>
                  </a:cubicBezTo>
                  <a:cubicBezTo>
                    <a:pt x="1" y="20"/>
                    <a:pt x="2" y="20"/>
                    <a:pt x="2" y="20"/>
                  </a:cubicBezTo>
                  <a:cubicBezTo>
                    <a:pt x="4" y="20"/>
                    <a:pt x="5" y="20"/>
                    <a:pt x="7" y="20"/>
                  </a:cubicBezTo>
                  <a:cubicBezTo>
                    <a:pt x="17" y="22"/>
                    <a:pt x="17" y="22"/>
                    <a:pt x="17" y="22"/>
                  </a:cubicBezTo>
                  <a:cubicBezTo>
                    <a:pt x="17" y="22"/>
                    <a:pt x="17" y="22"/>
                    <a:pt x="17" y="22"/>
                  </a:cubicBezTo>
                  <a:cubicBezTo>
                    <a:pt x="17" y="22"/>
                    <a:pt x="17" y="22"/>
                    <a:pt x="17" y="22"/>
                  </a:cubicBezTo>
                  <a:cubicBezTo>
                    <a:pt x="18" y="21"/>
                    <a:pt x="18" y="21"/>
                    <a:pt x="18" y="21"/>
                  </a:cubicBezTo>
                  <a:cubicBezTo>
                    <a:pt x="18" y="20"/>
                    <a:pt x="18" y="20"/>
                    <a:pt x="18" y="20"/>
                  </a:cubicBezTo>
                  <a:cubicBezTo>
                    <a:pt x="20" y="17"/>
                    <a:pt x="21" y="13"/>
                    <a:pt x="22" y="9"/>
                  </a:cubicBezTo>
                  <a:cubicBezTo>
                    <a:pt x="22" y="7"/>
                    <a:pt x="22" y="6"/>
                    <a:pt x="22" y="4"/>
                  </a:cubicBezTo>
                  <a:cubicBezTo>
                    <a:pt x="22" y="4"/>
                    <a:pt x="22" y="4"/>
                    <a:pt x="22" y="4"/>
                  </a:cubicBezTo>
                  <a:cubicBezTo>
                    <a:pt x="22" y="4"/>
                    <a:pt x="22" y="4"/>
                    <a:pt x="22" y="4"/>
                  </a:cubicBezTo>
                  <a:cubicBezTo>
                    <a:pt x="20" y="3"/>
                    <a:pt x="18" y="3"/>
                    <a:pt x="16" y="3"/>
                  </a:cubicBezTo>
                  <a:cubicBezTo>
                    <a:pt x="17" y="1"/>
                    <a:pt x="17" y="1"/>
                    <a:pt x="17" y="1"/>
                  </a:cubicBezTo>
                  <a:cubicBezTo>
                    <a:pt x="17" y="1"/>
                    <a:pt x="17" y="1"/>
                    <a:pt x="17" y="1"/>
                  </a:cubicBezTo>
                  <a:cubicBezTo>
                    <a:pt x="17" y="0"/>
                    <a:pt x="17" y="0"/>
                    <a:pt x="17" y="0"/>
                  </a:cubicBezTo>
                  <a:cubicBezTo>
                    <a:pt x="16" y="0"/>
                    <a:pt x="14" y="0"/>
                    <a:pt x="1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95" name="ïśliḍê"/>
            <p:cNvSpPr/>
            <p:nvPr/>
          </p:nvSpPr>
          <p:spPr bwMode="auto">
            <a:xfrm>
              <a:off x="3601" y="2044"/>
              <a:ext cx="26" cy="4"/>
            </a:xfrm>
            <a:custGeom>
              <a:avLst/>
              <a:gdLst>
                <a:gd name="T0" fmla="*/ 1 w 11"/>
                <a:gd name="T1" fmla="*/ 0 h 2"/>
                <a:gd name="T2" fmla="*/ 0 w 11"/>
                <a:gd name="T3" fmla="*/ 0 h 2"/>
                <a:gd name="T4" fmla="*/ 1 w 11"/>
                <a:gd name="T5" fmla="*/ 1 h 2"/>
                <a:gd name="T6" fmla="*/ 10 w 11"/>
                <a:gd name="T7" fmla="*/ 2 h 2"/>
                <a:gd name="T8" fmla="*/ 11 w 11"/>
                <a:gd name="T9" fmla="*/ 1 h 2"/>
                <a:gd name="T10" fmla="*/ 10 w 11"/>
                <a:gd name="T11" fmla="*/ 1 h 2"/>
                <a:gd name="T12" fmla="*/ 1 w 1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1" h="2">
                  <a:moveTo>
                    <a:pt x="1" y="0"/>
                  </a:moveTo>
                  <a:cubicBezTo>
                    <a:pt x="0" y="0"/>
                    <a:pt x="0" y="0"/>
                    <a:pt x="0" y="0"/>
                  </a:cubicBezTo>
                  <a:cubicBezTo>
                    <a:pt x="1" y="1"/>
                    <a:pt x="1" y="1"/>
                    <a:pt x="1" y="1"/>
                  </a:cubicBezTo>
                  <a:cubicBezTo>
                    <a:pt x="4" y="1"/>
                    <a:pt x="7" y="2"/>
                    <a:pt x="10" y="2"/>
                  </a:cubicBezTo>
                  <a:cubicBezTo>
                    <a:pt x="11" y="1"/>
                    <a:pt x="11" y="1"/>
                    <a:pt x="11" y="1"/>
                  </a:cubicBezTo>
                  <a:cubicBezTo>
                    <a:pt x="10" y="1"/>
                    <a:pt x="10" y="1"/>
                    <a:pt x="10" y="1"/>
                  </a:cubicBezTo>
                  <a:cubicBezTo>
                    <a:pt x="7" y="1"/>
                    <a:pt x="4"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96" name="íṩḷîḑê"/>
            <p:cNvSpPr/>
            <p:nvPr/>
          </p:nvSpPr>
          <p:spPr bwMode="auto">
            <a:xfrm>
              <a:off x="3599" y="2051"/>
              <a:ext cx="26" cy="5"/>
            </a:xfrm>
            <a:custGeom>
              <a:avLst/>
              <a:gdLst>
                <a:gd name="T0" fmla="*/ 1 w 11"/>
                <a:gd name="T1" fmla="*/ 0 h 2"/>
                <a:gd name="T2" fmla="*/ 0 w 11"/>
                <a:gd name="T3" fmla="*/ 0 h 2"/>
                <a:gd name="T4" fmla="*/ 0 w 11"/>
                <a:gd name="T5" fmla="*/ 1 h 2"/>
                <a:gd name="T6" fmla="*/ 10 w 11"/>
                <a:gd name="T7" fmla="*/ 2 h 2"/>
                <a:gd name="T8" fmla="*/ 11 w 11"/>
                <a:gd name="T9" fmla="*/ 2 h 2"/>
                <a:gd name="T10" fmla="*/ 10 w 11"/>
                <a:gd name="T11" fmla="*/ 1 h 2"/>
                <a:gd name="T12" fmla="*/ 1 w 1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1" h="2">
                  <a:moveTo>
                    <a:pt x="1" y="0"/>
                  </a:moveTo>
                  <a:cubicBezTo>
                    <a:pt x="0" y="0"/>
                    <a:pt x="0" y="0"/>
                    <a:pt x="0" y="0"/>
                  </a:cubicBezTo>
                  <a:cubicBezTo>
                    <a:pt x="0" y="1"/>
                    <a:pt x="0" y="1"/>
                    <a:pt x="0" y="1"/>
                  </a:cubicBezTo>
                  <a:cubicBezTo>
                    <a:pt x="4" y="2"/>
                    <a:pt x="7" y="2"/>
                    <a:pt x="10" y="2"/>
                  </a:cubicBezTo>
                  <a:cubicBezTo>
                    <a:pt x="11" y="2"/>
                    <a:pt x="11" y="2"/>
                    <a:pt x="11" y="2"/>
                  </a:cubicBezTo>
                  <a:cubicBezTo>
                    <a:pt x="10" y="1"/>
                    <a:pt x="10" y="1"/>
                    <a:pt x="10" y="1"/>
                  </a:cubicBezTo>
                  <a:cubicBezTo>
                    <a:pt x="7" y="1"/>
                    <a:pt x="4" y="1"/>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97" name="ïṣ1îḍe"/>
            <p:cNvSpPr/>
            <p:nvPr/>
          </p:nvSpPr>
          <p:spPr bwMode="auto">
            <a:xfrm>
              <a:off x="3599" y="2058"/>
              <a:ext cx="7" cy="2"/>
            </a:xfrm>
            <a:custGeom>
              <a:avLst/>
              <a:gdLst>
                <a:gd name="T0" fmla="*/ 1 w 3"/>
                <a:gd name="T1" fmla="*/ 0 h 1"/>
                <a:gd name="T2" fmla="*/ 0 w 3"/>
                <a:gd name="T3" fmla="*/ 0 h 1"/>
                <a:gd name="T4" fmla="*/ 0 w 3"/>
                <a:gd name="T5" fmla="*/ 0 h 1"/>
                <a:gd name="T6" fmla="*/ 0 w 3"/>
                <a:gd name="T7" fmla="*/ 1 h 1"/>
                <a:gd name="T8" fmla="*/ 1 w 3"/>
                <a:gd name="T9" fmla="*/ 1 h 1"/>
                <a:gd name="T10" fmla="*/ 3 w 3"/>
                <a:gd name="T11" fmla="*/ 1 h 1"/>
                <a:gd name="T12" fmla="*/ 3 w 3"/>
                <a:gd name="T13" fmla="*/ 1 h 1"/>
                <a:gd name="T14" fmla="*/ 3 w 3"/>
                <a:gd name="T15" fmla="*/ 1 h 1"/>
                <a:gd name="T16" fmla="*/ 3 w 3"/>
                <a:gd name="T17" fmla="*/ 0 h 1"/>
                <a:gd name="T18" fmla="*/ 1 w 3"/>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
                  <a:moveTo>
                    <a:pt x="1" y="0"/>
                  </a:moveTo>
                  <a:cubicBezTo>
                    <a:pt x="0" y="0"/>
                    <a:pt x="0" y="0"/>
                    <a:pt x="0" y="0"/>
                  </a:cubicBezTo>
                  <a:cubicBezTo>
                    <a:pt x="0" y="0"/>
                    <a:pt x="0" y="0"/>
                    <a:pt x="0" y="0"/>
                  </a:cubicBezTo>
                  <a:cubicBezTo>
                    <a:pt x="0" y="1"/>
                    <a:pt x="0" y="1"/>
                    <a:pt x="0" y="1"/>
                  </a:cubicBezTo>
                  <a:cubicBezTo>
                    <a:pt x="0" y="1"/>
                    <a:pt x="1" y="1"/>
                    <a:pt x="1" y="1"/>
                  </a:cubicBezTo>
                  <a:cubicBezTo>
                    <a:pt x="1" y="1"/>
                    <a:pt x="2" y="1"/>
                    <a:pt x="3" y="1"/>
                  </a:cubicBezTo>
                  <a:cubicBezTo>
                    <a:pt x="3" y="1"/>
                    <a:pt x="3" y="1"/>
                    <a:pt x="3" y="1"/>
                  </a:cubicBezTo>
                  <a:cubicBezTo>
                    <a:pt x="3" y="1"/>
                    <a:pt x="3" y="1"/>
                    <a:pt x="3" y="1"/>
                  </a:cubicBezTo>
                  <a:cubicBezTo>
                    <a:pt x="3" y="0"/>
                    <a:pt x="3" y="0"/>
                    <a:pt x="3" y="0"/>
                  </a:cubicBezTo>
                  <a:cubicBezTo>
                    <a:pt x="3" y="0"/>
                    <a:pt x="2"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98" name="iṣḷíďê"/>
            <p:cNvSpPr/>
            <p:nvPr/>
          </p:nvSpPr>
          <p:spPr bwMode="auto">
            <a:xfrm>
              <a:off x="3520" y="2044"/>
              <a:ext cx="33" cy="12"/>
            </a:xfrm>
            <a:custGeom>
              <a:avLst/>
              <a:gdLst>
                <a:gd name="T0" fmla="*/ 13 w 14"/>
                <a:gd name="T1" fmla="*/ 0 h 5"/>
                <a:gd name="T2" fmla="*/ 0 w 14"/>
                <a:gd name="T3" fmla="*/ 4 h 5"/>
                <a:gd name="T4" fmla="*/ 0 w 14"/>
                <a:gd name="T5" fmla="*/ 5 h 5"/>
                <a:gd name="T6" fmla="*/ 1 w 14"/>
                <a:gd name="T7" fmla="*/ 5 h 5"/>
                <a:gd name="T8" fmla="*/ 13 w 14"/>
                <a:gd name="T9" fmla="*/ 1 h 5"/>
                <a:gd name="T10" fmla="*/ 14 w 14"/>
                <a:gd name="T11" fmla="*/ 0 h 5"/>
                <a:gd name="T12" fmla="*/ 13 w 1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4" h="5">
                  <a:moveTo>
                    <a:pt x="13" y="0"/>
                  </a:moveTo>
                  <a:cubicBezTo>
                    <a:pt x="12" y="1"/>
                    <a:pt x="3" y="4"/>
                    <a:pt x="0" y="4"/>
                  </a:cubicBezTo>
                  <a:cubicBezTo>
                    <a:pt x="0" y="5"/>
                    <a:pt x="0" y="5"/>
                    <a:pt x="0" y="5"/>
                  </a:cubicBezTo>
                  <a:cubicBezTo>
                    <a:pt x="1" y="5"/>
                    <a:pt x="1" y="5"/>
                    <a:pt x="1" y="5"/>
                  </a:cubicBezTo>
                  <a:cubicBezTo>
                    <a:pt x="3" y="5"/>
                    <a:pt x="13" y="1"/>
                    <a:pt x="13" y="1"/>
                  </a:cubicBezTo>
                  <a:cubicBezTo>
                    <a:pt x="14" y="0"/>
                    <a:pt x="14" y="0"/>
                    <a:pt x="14" y="0"/>
                  </a:cubicBezTo>
                  <a:cubicBezTo>
                    <a:pt x="13" y="0"/>
                    <a:pt x="13" y="0"/>
                    <a:pt x="1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799" name="îṥļiḓè"/>
            <p:cNvSpPr/>
            <p:nvPr/>
          </p:nvSpPr>
          <p:spPr bwMode="auto">
            <a:xfrm>
              <a:off x="3522" y="2053"/>
              <a:ext cx="31" cy="10"/>
            </a:xfrm>
            <a:custGeom>
              <a:avLst/>
              <a:gdLst>
                <a:gd name="T0" fmla="*/ 12 w 13"/>
                <a:gd name="T1" fmla="*/ 0 h 4"/>
                <a:gd name="T2" fmla="*/ 5 w 13"/>
                <a:gd name="T3" fmla="*/ 2 h 4"/>
                <a:gd name="T4" fmla="*/ 0 w 13"/>
                <a:gd name="T5" fmla="*/ 3 h 4"/>
                <a:gd name="T6" fmla="*/ 0 w 13"/>
                <a:gd name="T7" fmla="*/ 4 h 4"/>
                <a:gd name="T8" fmla="*/ 0 w 13"/>
                <a:gd name="T9" fmla="*/ 4 h 4"/>
                <a:gd name="T10" fmla="*/ 1 w 13"/>
                <a:gd name="T11" fmla="*/ 4 h 4"/>
                <a:gd name="T12" fmla="*/ 6 w 13"/>
                <a:gd name="T13" fmla="*/ 3 h 4"/>
                <a:gd name="T14" fmla="*/ 12 w 13"/>
                <a:gd name="T15" fmla="*/ 1 h 4"/>
                <a:gd name="T16" fmla="*/ 13 w 13"/>
                <a:gd name="T17" fmla="*/ 0 h 4"/>
                <a:gd name="T18" fmla="*/ 12 w 13"/>
                <a:gd name="T19" fmla="*/ 0 h 4"/>
                <a:gd name="T20" fmla="*/ 12 w 13"/>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4">
                  <a:moveTo>
                    <a:pt x="12" y="0"/>
                  </a:moveTo>
                  <a:cubicBezTo>
                    <a:pt x="11" y="0"/>
                    <a:pt x="10" y="0"/>
                    <a:pt x="5" y="2"/>
                  </a:cubicBezTo>
                  <a:cubicBezTo>
                    <a:pt x="3" y="2"/>
                    <a:pt x="1" y="3"/>
                    <a:pt x="0" y="3"/>
                  </a:cubicBezTo>
                  <a:cubicBezTo>
                    <a:pt x="0" y="4"/>
                    <a:pt x="0" y="4"/>
                    <a:pt x="0" y="4"/>
                  </a:cubicBezTo>
                  <a:cubicBezTo>
                    <a:pt x="0" y="4"/>
                    <a:pt x="0" y="4"/>
                    <a:pt x="0" y="4"/>
                  </a:cubicBezTo>
                  <a:cubicBezTo>
                    <a:pt x="1" y="4"/>
                    <a:pt x="1" y="4"/>
                    <a:pt x="1" y="4"/>
                  </a:cubicBezTo>
                  <a:cubicBezTo>
                    <a:pt x="1" y="4"/>
                    <a:pt x="3" y="3"/>
                    <a:pt x="6" y="3"/>
                  </a:cubicBezTo>
                  <a:cubicBezTo>
                    <a:pt x="8" y="2"/>
                    <a:pt x="12" y="1"/>
                    <a:pt x="12" y="1"/>
                  </a:cubicBezTo>
                  <a:cubicBezTo>
                    <a:pt x="13" y="0"/>
                    <a:pt x="13" y="0"/>
                    <a:pt x="13" y="0"/>
                  </a:cubicBezTo>
                  <a:cubicBezTo>
                    <a:pt x="12" y="0"/>
                    <a:pt x="12" y="0"/>
                    <a:pt x="12" y="0"/>
                  </a:cubicBezTo>
                  <a:cubicBezTo>
                    <a:pt x="12" y="0"/>
                    <a:pt x="12" y="0"/>
                    <a:pt x="1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00" name="íŝ1iḓé"/>
            <p:cNvSpPr/>
            <p:nvPr/>
          </p:nvSpPr>
          <p:spPr bwMode="auto">
            <a:xfrm>
              <a:off x="3522" y="2065"/>
              <a:ext cx="10" cy="5"/>
            </a:xfrm>
            <a:custGeom>
              <a:avLst/>
              <a:gdLst>
                <a:gd name="T0" fmla="*/ 3 w 4"/>
                <a:gd name="T1" fmla="*/ 0 h 2"/>
                <a:gd name="T2" fmla="*/ 2 w 4"/>
                <a:gd name="T3" fmla="*/ 1 h 2"/>
                <a:gd name="T4" fmla="*/ 1 w 4"/>
                <a:gd name="T5" fmla="*/ 1 h 2"/>
                <a:gd name="T6" fmla="*/ 1 w 4"/>
                <a:gd name="T7" fmla="*/ 1 h 2"/>
                <a:gd name="T8" fmla="*/ 0 w 4"/>
                <a:gd name="T9" fmla="*/ 1 h 2"/>
                <a:gd name="T10" fmla="*/ 1 w 4"/>
                <a:gd name="T11" fmla="*/ 2 h 2"/>
                <a:gd name="T12" fmla="*/ 1 w 4"/>
                <a:gd name="T13" fmla="*/ 2 h 2"/>
                <a:gd name="T14" fmla="*/ 2 w 4"/>
                <a:gd name="T15" fmla="*/ 1 h 2"/>
                <a:gd name="T16" fmla="*/ 3 w 4"/>
                <a:gd name="T17" fmla="*/ 1 h 2"/>
                <a:gd name="T18" fmla="*/ 3 w 4"/>
                <a:gd name="T19" fmla="*/ 1 h 2"/>
                <a:gd name="T20" fmla="*/ 4 w 4"/>
                <a:gd name="T21" fmla="*/ 1 h 2"/>
                <a:gd name="T22" fmla="*/ 4 w 4"/>
                <a:gd name="T23" fmla="*/ 0 h 2"/>
                <a:gd name="T24" fmla="*/ 3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3" y="0"/>
                  </a:moveTo>
                  <a:cubicBezTo>
                    <a:pt x="3" y="0"/>
                    <a:pt x="2" y="0"/>
                    <a:pt x="2" y="1"/>
                  </a:cubicBezTo>
                  <a:cubicBezTo>
                    <a:pt x="2" y="1"/>
                    <a:pt x="1" y="1"/>
                    <a:pt x="1" y="1"/>
                  </a:cubicBezTo>
                  <a:cubicBezTo>
                    <a:pt x="1" y="1"/>
                    <a:pt x="1" y="1"/>
                    <a:pt x="1" y="1"/>
                  </a:cubicBezTo>
                  <a:cubicBezTo>
                    <a:pt x="0" y="1"/>
                    <a:pt x="0" y="1"/>
                    <a:pt x="0" y="1"/>
                  </a:cubicBezTo>
                  <a:cubicBezTo>
                    <a:pt x="1" y="2"/>
                    <a:pt x="1" y="2"/>
                    <a:pt x="1" y="2"/>
                  </a:cubicBezTo>
                  <a:cubicBezTo>
                    <a:pt x="1" y="2"/>
                    <a:pt x="1" y="2"/>
                    <a:pt x="1" y="2"/>
                  </a:cubicBezTo>
                  <a:cubicBezTo>
                    <a:pt x="2" y="2"/>
                    <a:pt x="2" y="2"/>
                    <a:pt x="2" y="1"/>
                  </a:cubicBezTo>
                  <a:cubicBezTo>
                    <a:pt x="3" y="1"/>
                    <a:pt x="3" y="1"/>
                    <a:pt x="3" y="1"/>
                  </a:cubicBezTo>
                  <a:cubicBezTo>
                    <a:pt x="3" y="1"/>
                    <a:pt x="3" y="1"/>
                    <a:pt x="3" y="1"/>
                  </a:cubicBezTo>
                  <a:cubicBezTo>
                    <a:pt x="4" y="1"/>
                    <a:pt x="4" y="1"/>
                    <a:pt x="4" y="1"/>
                  </a:cubicBezTo>
                  <a:cubicBezTo>
                    <a:pt x="4" y="0"/>
                    <a:pt x="4" y="0"/>
                    <a:pt x="4" y="0"/>
                  </a:cubicBezTo>
                  <a:cubicBezTo>
                    <a:pt x="3" y="0"/>
                    <a:pt x="3"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01" name="ïṧ1iḓê"/>
            <p:cNvSpPr/>
            <p:nvPr/>
          </p:nvSpPr>
          <p:spPr bwMode="auto">
            <a:xfrm>
              <a:off x="3510" y="2017"/>
              <a:ext cx="62" cy="74"/>
            </a:xfrm>
            <a:custGeom>
              <a:avLst/>
              <a:gdLst>
                <a:gd name="T0" fmla="*/ 7 w 26"/>
                <a:gd name="T1" fmla="*/ 27 h 31"/>
                <a:gd name="T2" fmla="*/ 25 w 26"/>
                <a:gd name="T3" fmla="*/ 25 h 31"/>
                <a:gd name="T4" fmla="*/ 24 w 26"/>
                <a:gd name="T5" fmla="*/ 25 h 31"/>
                <a:gd name="T6" fmla="*/ 24 w 26"/>
                <a:gd name="T7" fmla="*/ 25 h 31"/>
                <a:gd name="T8" fmla="*/ 23 w 26"/>
                <a:gd name="T9" fmla="*/ 26 h 31"/>
                <a:gd name="T10" fmla="*/ 7 w 26"/>
                <a:gd name="T11" fmla="*/ 29 h 31"/>
                <a:gd name="T12" fmla="*/ 21 w 26"/>
                <a:gd name="T13" fmla="*/ 4 h 31"/>
                <a:gd name="T14" fmla="*/ 23 w 26"/>
                <a:gd name="T15" fmla="*/ 10 h 31"/>
                <a:gd name="T16" fmla="*/ 8 w 26"/>
                <a:gd name="T17" fmla="*/ 9 h 31"/>
                <a:gd name="T18" fmla="*/ 7 w 26"/>
                <a:gd name="T19" fmla="*/ 3 h 31"/>
                <a:gd name="T20" fmla="*/ 10 w 26"/>
                <a:gd name="T21" fmla="*/ 1 h 31"/>
                <a:gd name="T22" fmla="*/ 12 w 26"/>
                <a:gd name="T23" fmla="*/ 7 h 31"/>
                <a:gd name="T24" fmla="*/ 8 w 26"/>
                <a:gd name="T25" fmla="*/ 10 h 31"/>
                <a:gd name="T26" fmla="*/ 12 w 26"/>
                <a:gd name="T27" fmla="*/ 4 h 31"/>
                <a:gd name="T28" fmla="*/ 19 w 26"/>
                <a:gd name="T29" fmla="*/ 1 h 31"/>
                <a:gd name="T30" fmla="*/ 7 w 26"/>
                <a:gd name="T31" fmla="*/ 26 h 31"/>
                <a:gd name="T32" fmla="*/ 6 w 26"/>
                <a:gd name="T33" fmla="*/ 26 h 31"/>
                <a:gd name="T34" fmla="*/ 1 w 26"/>
                <a:gd name="T35" fmla="*/ 8 h 31"/>
                <a:gd name="T36" fmla="*/ 6 w 26"/>
                <a:gd name="T37" fmla="*/ 6 h 31"/>
                <a:gd name="T38" fmla="*/ 7 w 26"/>
                <a:gd name="T39" fmla="*/ 10 h 31"/>
                <a:gd name="T40" fmla="*/ 20 w 26"/>
                <a:gd name="T41" fmla="*/ 0 h 31"/>
                <a:gd name="T42" fmla="*/ 19 w 26"/>
                <a:gd name="T43" fmla="*/ 0 h 31"/>
                <a:gd name="T44" fmla="*/ 18 w 26"/>
                <a:gd name="T45" fmla="*/ 0 h 31"/>
                <a:gd name="T46" fmla="*/ 11 w 26"/>
                <a:gd name="T47" fmla="*/ 0 h 31"/>
                <a:gd name="T48" fmla="*/ 10 w 26"/>
                <a:gd name="T49" fmla="*/ 0 h 31"/>
                <a:gd name="T50" fmla="*/ 6 w 26"/>
                <a:gd name="T51" fmla="*/ 2 h 31"/>
                <a:gd name="T52" fmla="*/ 6 w 26"/>
                <a:gd name="T53" fmla="*/ 5 h 31"/>
                <a:gd name="T54" fmla="*/ 1 w 26"/>
                <a:gd name="T55" fmla="*/ 7 h 31"/>
                <a:gd name="T56" fmla="*/ 0 w 26"/>
                <a:gd name="T57" fmla="*/ 7 h 31"/>
                <a:gd name="T58" fmla="*/ 2 w 26"/>
                <a:gd name="T59" fmla="*/ 29 h 31"/>
                <a:gd name="T60" fmla="*/ 2 w 26"/>
                <a:gd name="T61" fmla="*/ 29 h 31"/>
                <a:gd name="T62" fmla="*/ 6 w 26"/>
                <a:gd name="T63" fmla="*/ 30 h 31"/>
                <a:gd name="T64" fmla="*/ 6 w 26"/>
                <a:gd name="T65" fmla="*/ 31 h 31"/>
                <a:gd name="T66" fmla="*/ 11 w 26"/>
                <a:gd name="T67" fmla="*/ 29 h 31"/>
                <a:gd name="T68" fmla="*/ 24 w 26"/>
                <a:gd name="T69" fmla="*/ 27 h 31"/>
                <a:gd name="T70" fmla="*/ 26 w 26"/>
                <a:gd name="T71" fmla="*/ 26 h 31"/>
                <a:gd name="T72" fmla="*/ 24 w 26"/>
                <a:gd name="T73" fmla="*/ 3 h 31"/>
                <a:gd name="T74" fmla="*/ 23 w 26"/>
                <a:gd name="T75" fmla="*/ 2 h 31"/>
                <a:gd name="T76" fmla="*/ 20 w 26"/>
                <a:gd name="T77" fmla="*/ 1 h 31"/>
                <a:gd name="T78" fmla="*/ 20 w 26"/>
                <a:gd name="T7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 h="31">
                  <a:moveTo>
                    <a:pt x="7" y="29"/>
                  </a:moveTo>
                  <a:cubicBezTo>
                    <a:pt x="7" y="27"/>
                    <a:pt x="7" y="27"/>
                    <a:pt x="7" y="27"/>
                  </a:cubicBezTo>
                  <a:cubicBezTo>
                    <a:pt x="13" y="25"/>
                    <a:pt x="19" y="24"/>
                    <a:pt x="25" y="23"/>
                  </a:cubicBezTo>
                  <a:cubicBezTo>
                    <a:pt x="25" y="25"/>
                    <a:pt x="25" y="25"/>
                    <a:pt x="25" y="25"/>
                  </a:cubicBezTo>
                  <a:cubicBezTo>
                    <a:pt x="25" y="25"/>
                    <a:pt x="25" y="25"/>
                    <a:pt x="25" y="25"/>
                  </a:cubicBezTo>
                  <a:cubicBezTo>
                    <a:pt x="24" y="25"/>
                    <a:pt x="24" y="25"/>
                    <a:pt x="24" y="25"/>
                  </a:cubicBezTo>
                  <a:cubicBezTo>
                    <a:pt x="24" y="25"/>
                    <a:pt x="24" y="25"/>
                    <a:pt x="24" y="25"/>
                  </a:cubicBezTo>
                  <a:cubicBezTo>
                    <a:pt x="24" y="25"/>
                    <a:pt x="24" y="25"/>
                    <a:pt x="24" y="25"/>
                  </a:cubicBezTo>
                  <a:cubicBezTo>
                    <a:pt x="23" y="25"/>
                    <a:pt x="23" y="25"/>
                    <a:pt x="23" y="25"/>
                  </a:cubicBezTo>
                  <a:cubicBezTo>
                    <a:pt x="23" y="26"/>
                    <a:pt x="23" y="26"/>
                    <a:pt x="23" y="26"/>
                  </a:cubicBezTo>
                  <a:cubicBezTo>
                    <a:pt x="11" y="28"/>
                    <a:pt x="11" y="28"/>
                    <a:pt x="11" y="28"/>
                  </a:cubicBezTo>
                  <a:cubicBezTo>
                    <a:pt x="9" y="28"/>
                    <a:pt x="8" y="29"/>
                    <a:pt x="7" y="29"/>
                  </a:cubicBezTo>
                  <a:moveTo>
                    <a:pt x="24" y="19"/>
                  </a:moveTo>
                  <a:cubicBezTo>
                    <a:pt x="23" y="14"/>
                    <a:pt x="21" y="9"/>
                    <a:pt x="21" y="4"/>
                  </a:cubicBezTo>
                  <a:cubicBezTo>
                    <a:pt x="21" y="4"/>
                    <a:pt x="22" y="4"/>
                    <a:pt x="23" y="3"/>
                  </a:cubicBezTo>
                  <a:cubicBezTo>
                    <a:pt x="23" y="5"/>
                    <a:pt x="23" y="8"/>
                    <a:pt x="23" y="10"/>
                  </a:cubicBezTo>
                  <a:cubicBezTo>
                    <a:pt x="24" y="19"/>
                    <a:pt x="24" y="19"/>
                    <a:pt x="24" y="19"/>
                  </a:cubicBezTo>
                  <a:moveTo>
                    <a:pt x="8" y="9"/>
                  </a:moveTo>
                  <a:cubicBezTo>
                    <a:pt x="8" y="7"/>
                    <a:pt x="7" y="4"/>
                    <a:pt x="7" y="3"/>
                  </a:cubicBezTo>
                  <a:cubicBezTo>
                    <a:pt x="7" y="3"/>
                    <a:pt x="7" y="3"/>
                    <a:pt x="7" y="3"/>
                  </a:cubicBezTo>
                  <a:cubicBezTo>
                    <a:pt x="7" y="2"/>
                    <a:pt x="7" y="2"/>
                    <a:pt x="7" y="2"/>
                  </a:cubicBezTo>
                  <a:cubicBezTo>
                    <a:pt x="10" y="1"/>
                    <a:pt x="10" y="1"/>
                    <a:pt x="10" y="1"/>
                  </a:cubicBezTo>
                  <a:cubicBezTo>
                    <a:pt x="10" y="2"/>
                    <a:pt x="11" y="3"/>
                    <a:pt x="11" y="4"/>
                  </a:cubicBezTo>
                  <a:cubicBezTo>
                    <a:pt x="11" y="5"/>
                    <a:pt x="12" y="7"/>
                    <a:pt x="12" y="7"/>
                  </a:cubicBezTo>
                  <a:cubicBezTo>
                    <a:pt x="12" y="8"/>
                    <a:pt x="9" y="9"/>
                    <a:pt x="8" y="9"/>
                  </a:cubicBezTo>
                  <a:moveTo>
                    <a:pt x="8" y="10"/>
                  </a:moveTo>
                  <a:cubicBezTo>
                    <a:pt x="9" y="10"/>
                    <a:pt x="13" y="9"/>
                    <a:pt x="13" y="7"/>
                  </a:cubicBezTo>
                  <a:cubicBezTo>
                    <a:pt x="13" y="7"/>
                    <a:pt x="13" y="6"/>
                    <a:pt x="12" y="4"/>
                  </a:cubicBezTo>
                  <a:cubicBezTo>
                    <a:pt x="14" y="3"/>
                    <a:pt x="17" y="2"/>
                    <a:pt x="19" y="1"/>
                  </a:cubicBezTo>
                  <a:cubicBezTo>
                    <a:pt x="19" y="1"/>
                    <a:pt x="19" y="1"/>
                    <a:pt x="19" y="1"/>
                  </a:cubicBezTo>
                  <a:cubicBezTo>
                    <a:pt x="20" y="8"/>
                    <a:pt x="22" y="15"/>
                    <a:pt x="24" y="22"/>
                  </a:cubicBezTo>
                  <a:cubicBezTo>
                    <a:pt x="18" y="23"/>
                    <a:pt x="12" y="24"/>
                    <a:pt x="7" y="26"/>
                  </a:cubicBezTo>
                  <a:cubicBezTo>
                    <a:pt x="6" y="26"/>
                    <a:pt x="6" y="26"/>
                    <a:pt x="6" y="26"/>
                  </a:cubicBezTo>
                  <a:cubicBezTo>
                    <a:pt x="6" y="26"/>
                    <a:pt x="6" y="26"/>
                    <a:pt x="6" y="26"/>
                  </a:cubicBezTo>
                  <a:cubicBezTo>
                    <a:pt x="5" y="27"/>
                    <a:pt x="4" y="27"/>
                    <a:pt x="2" y="28"/>
                  </a:cubicBezTo>
                  <a:cubicBezTo>
                    <a:pt x="3" y="21"/>
                    <a:pt x="2" y="14"/>
                    <a:pt x="1" y="8"/>
                  </a:cubicBezTo>
                  <a:cubicBezTo>
                    <a:pt x="1" y="8"/>
                    <a:pt x="1" y="8"/>
                    <a:pt x="1" y="8"/>
                  </a:cubicBezTo>
                  <a:cubicBezTo>
                    <a:pt x="3" y="7"/>
                    <a:pt x="5" y="7"/>
                    <a:pt x="6" y="6"/>
                  </a:cubicBezTo>
                  <a:cubicBezTo>
                    <a:pt x="7" y="7"/>
                    <a:pt x="7" y="8"/>
                    <a:pt x="7" y="9"/>
                  </a:cubicBezTo>
                  <a:cubicBezTo>
                    <a:pt x="7" y="10"/>
                    <a:pt x="7" y="10"/>
                    <a:pt x="7" y="10"/>
                  </a:cubicBezTo>
                  <a:cubicBezTo>
                    <a:pt x="8" y="10"/>
                    <a:pt x="8" y="10"/>
                    <a:pt x="8" y="10"/>
                  </a:cubicBezTo>
                  <a:moveTo>
                    <a:pt x="20" y="0"/>
                  </a:moveTo>
                  <a:cubicBezTo>
                    <a:pt x="19" y="0"/>
                    <a:pt x="19" y="0"/>
                    <a:pt x="19" y="0"/>
                  </a:cubicBezTo>
                  <a:cubicBezTo>
                    <a:pt x="19" y="0"/>
                    <a:pt x="19" y="0"/>
                    <a:pt x="19" y="0"/>
                  </a:cubicBezTo>
                  <a:cubicBezTo>
                    <a:pt x="19" y="0"/>
                    <a:pt x="19" y="0"/>
                    <a:pt x="19" y="0"/>
                  </a:cubicBezTo>
                  <a:cubicBezTo>
                    <a:pt x="18" y="0"/>
                    <a:pt x="18" y="0"/>
                    <a:pt x="18" y="0"/>
                  </a:cubicBezTo>
                  <a:cubicBezTo>
                    <a:pt x="16" y="1"/>
                    <a:pt x="14" y="2"/>
                    <a:pt x="12" y="3"/>
                  </a:cubicBezTo>
                  <a:cubicBezTo>
                    <a:pt x="11" y="2"/>
                    <a:pt x="11" y="1"/>
                    <a:pt x="11" y="0"/>
                  </a:cubicBezTo>
                  <a:cubicBezTo>
                    <a:pt x="11" y="0"/>
                    <a:pt x="11" y="0"/>
                    <a:pt x="11" y="0"/>
                  </a:cubicBezTo>
                  <a:cubicBezTo>
                    <a:pt x="10" y="0"/>
                    <a:pt x="10" y="0"/>
                    <a:pt x="10" y="0"/>
                  </a:cubicBezTo>
                  <a:cubicBezTo>
                    <a:pt x="7" y="1"/>
                    <a:pt x="7" y="1"/>
                    <a:pt x="7" y="1"/>
                  </a:cubicBezTo>
                  <a:cubicBezTo>
                    <a:pt x="7" y="1"/>
                    <a:pt x="6" y="2"/>
                    <a:pt x="6" y="2"/>
                  </a:cubicBezTo>
                  <a:cubicBezTo>
                    <a:pt x="6" y="3"/>
                    <a:pt x="6" y="3"/>
                    <a:pt x="6" y="3"/>
                  </a:cubicBezTo>
                  <a:cubicBezTo>
                    <a:pt x="6" y="4"/>
                    <a:pt x="6" y="5"/>
                    <a:pt x="6" y="5"/>
                  </a:cubicBezTo>
                  <a:cubicBezTo>
                    <a:pt x="5" y="6"/>
                    <a:pt x="3" y="6"/>
                    <a:pt x="1" y="7"/>
                  </a:cubicBezTo>
                  <a:cubicBezTo>
                    <a:pt x="1" y="7"/>
                    <a:pt x="1" y="7"/>
                    <a:pt x="1" y="7"/>
                  </a:cubicBezTo>
                  <a:cubicBezTo>
                    <a:pt x="1" y="7"/>
                    <a:pt x="1" y="7"/>
                    <a:pt x="1" y="7"/>
                  </a:cubicBezTo>
                  <a:cubicBezTo>
                    <a:pt x="0" y="7"/>
                    <a:pt x="0" y="7"/>
                    <a:pt x="0" y="7"/>
                  </a:cubicBezTo>
                  <a:cubicBezTo>
                    <a:pt x="1" y="14"/>
                    <a:pt x="2" y="21"/>
                    <a:pt x="1" y="28"/>
                  </a:cubicBezTo>
                  <a:cubicBezTo>
                    <a:pt x="2" y="29"/>
                    <a:pt x="2" y="29"/>
                    <a:pt x="2" y="29"/>
                  </a:cubicBezTo>
                  <a:cubicBezTo>
                    <a:pt x="2" y="29"/>
                    <a:pt x="2" y="29"/>
                    <a:pt x="2" y="29"/>
                  </a:cubicBezTo>
                  <a:cubicBezTo>
                    <a:pt x="2" y="29"/>
                    <a:pt x="2" y="29"/>
                    <a:pt x="2" y="29"/>
                  </a:cubicBezTo>
                  <a:cubicBezTo>
                    <a:pt x="3" y="28"/>
                    <a:pt x="5" y="28"/>
                    <a:pt x="6" y="28"/>
                  </a:cubicBezTo>
                  <a:cubicBezTo>
                    <a:pt x="6" y="30"/>
                    <a:pt x="6" y="30"/>
                    <a:pt x="6" y="30"/>
                  </a:cubicBezTo>
                  <a:cubicBezTo>
                    <a:pt x="6" y="31"/>
                    <a:pt x="6" y="31"/>
                    <a:pt x="6" y="31"/>
                  </a:cubicBezTo>
                  <a:cubicBezTo>
                    <a:pt x="6" y="31"/>
                    <a:pt x="6" y="31"/>
                    <a:pt x="6" y="31"/>
                  </a:cubicBezTo>
                  <a:cubicBezTo>
                    <a:pt x="7" y="31"/>
                    <a:pt x="7" y="31"/>
                    <a:pt x="7" y="31"/>
                  </a:cubicBezTo>
                  <a:cubicBezTo>
                    <a:pt x="8" y="30"/>
                    <a:pt x="9" y="29"/>
                    <a:pt x="11" y="29"/>
                  </a:cubicBezTo>
                  <a:cubicBezTo>
                    <a:pt x="24" y="26"/>
                    <a:pt x="24" y="26"/>
                    <a:pt x="24" y="26"/>
                  </a:cubicBezTo>
                  <a:cubicBezTo>
                    <a:pt x="24" y="27"/>
                    <a:pt x="24" y="27"/>
                    <a:pt x="24" y="27"/>
                  </a:cubicBezTo>
                  <a:cubicBezTo>
                    <a:pt x="25" y="27"/>
                    <a:pt x="26" y="26"/>
                    <a:pt x="26" y="26"/>
                  </a:cubicBezTo>
                  <a:cubicBezTo>
                    <a:pt x="26" y="26"/>
                    <a:pt x="26" y="26"/>
                    <a:pt x="26" y="26"/>
                  </a:cubicBezTo>
                  <a:cubicBezTo>
                    <a:pt x="24" y="10"/>
                    <a:pt x="24" y="10"/>
                    <a:pt x="24" y="10"/>
                  </a:cubicBezTo>
                  <a:cubicBezTo>
                    <a:pt x="24" y="7"/>
                    <a:pt x="24" y="5"/>
                    <a:pt x="24" y="3"/>
                  </a:cubicBezTo>
                  <a:cubicBezTo>
                    <a:pt x="24" y="2"/>
                    <a:pt x="24" y="2"/>
                    <a:pt x="24" y="2"/>
                  </a:cubicBezTo>
                  <a:cubicBezTo>
                    <a:pt x="23" y="2"/>
                    <a:pt x="23" y="2"/>
                    <a:pt x="23" y="2"/>
                  </a:cubicBezTo>
                  <a:cubicBezTo>
                    <a:pt x="22" y="2"/>
                    <a:pt x="21" y="3"/>
                    <a:pt x="20" y="3"/>
                  </a:cubicBezTo>
                  <a:cubicBezTo>
                    <a:pt x="20" y="2"/>
                    <a:pt x="20" y="1"/>
                    <a:pt x="20" y="1"/>
                  </a:cubicBezTo>
                  <a:cubicBezTo>
                    <a:pt x="20" y="1"/>
                    <a:pt x="20" y="1"/>
                    <a:pt x="20" y="1"/>
                  </a:cubicBezTo>
                  <a:cubicBezTo>
                    <a:pt x="20" y="0"/>
                    <a:pt x="20" y="0"/>
                    <a:pt x="20" y="0"/>
                  </a:cubicBezTo>
                  <a:cubicBezTo>
                    <a:pt x="20" y="0"/>
                    <a:pt x="20" y="0"/>
                    <a:pt x="2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02" name="îṣḻïdê"/>
            <p:cNvSpPr/>
            <p:nvPr/>
          </p:nvSpPr>
          <p:spPr bwMode="auto">
            <a:xfrm>
              <a:off x="4191" y="1922"/>
              <a:ext cx="83" cy="76"/>
            </a:xfrm>
            <a:custGeom>
              <a:avLst/>
              <a:gdLst>
                <a:gd name="T0" fmla="*/ 7 w 35"/>
                <a:gd name="T1" fmla="*/ 22 h 32"/>
                <a:gd name="T2" fmla="*/ 5 w 35"/>
                <a:gd name="T3" fmla="*/ 19 h 32"/>
                <a:gd name="T4" fmla="*/ 19 w 35"/>
                <a:gd name="T5" fmla="*/ 31 h 32"/>
                <a:gd name="T6" fmla="*/ 18 w 35"/>
                <a:gd name="T7" fmla="*/ 30 h 32"/>
                <a:gd name="T8" fmla="*/ 18 w 35"/>
                <a:gd name="T9" fmla="*/ 30 h 32"/>
                <a:gd name="T10" fmla="*/ 17 w 35"/>
                <a:gd name="T11" fmla="*/ 30 h 32"/>
                <a:gd name="T12" fmla="*/ 32 w 35"/>
                <a:gd name="T13" fmla="*/ 13 h 32"/>
                <a:gd name="T14" fmla="*/ 29 w 35"/>
                <a:gd name="T15" fmla="*/ 19 h 32"/>
                <a:gd name="T16" fmla="*/ 23 w 35"/>
                <a:gd name="T17" fmla="*/ 9 h 32"/>
                <a:gd name="T18" fmla="*/ 23 w 35"/>
                <a:gd name="T19" fmla="*/ 2 h 32"/>
                <a:gd name="T20" fmla="*/ 24 w 35"/>
                <a:gd name="T21" fmla="*/ 2 h 32"/>
                <a:gd name="T22" fmla="*/ 25 w 35"/>
                <a:gd name="T23" fmla="*/ 6 h 32"/>
                <a:gd name="T24" fmla="*/ 23 w 35"/>
                <a:gd name="T25" fmla="*/ 9 h 32"/>
                <a:gd name="T26" fmla="*/ 6 w 35"/>
                <a:gd name="T27" fmla="*/ 18 h 32"/>
                <a:gd name="T28" fmla="*/ 5 w 35"/>
                <a:gd name="T29" fmla="*/ 18 h 32"/>
                <a:gd name="T30" fmla="*/ 15 w 35"/>
                <a:gd name="T31" fmla="*/ 2 h 32"/>
                <a:gd name="T32" fmla="*/ 20 w 35"/>
                <a:gd name="T33" fmla="*/ 4 h 32"/>
                <a:gd name="T34" fmla="*/ 18 w 35"/>
                <a:gd name="T35" fmla="*/ 7 h 32"/>
                <a:gd name="T36" fmla="*/ 24 w 35"/>
                <a:gd name="T37" fmla="*/ 10 h 32"/>
                <a:gd name="T38" fmla="*/ 32 w 35"/>
                <a:gd name="T39" fmla="*/ 10 h 32"/>
                <a:gd name="T40" fmla="*/ 21 w 35"/>
                <a:gd name="T41" fmla="*/ 28 h 32"/>
                <a:gd name="T42" fmla="*/ 15 w 35"/>
                <a:gd name="T43" fmla="*/ 0 h 32"/>
                <a:gd name="T44" fmla="*/ 0 w 35"/>
                <a:gd name="T45" fmla="*/ 16 h 32"/>
                <a:gd name="T46" fmla="*/ 4 w 35"/>
                <a:gd name="T47" fmla="*/ 18 h 32"/>
                <a:gd name="T48" fmla="*/ 2 w 35"/>
                <a:gd name="T49" fmla="*/ 21 h 32"/>
                <a:gd name="T50" fmla="*/ 6 w 35"/>
                <a:gd name="T51" fmla="*/ 23 h 32"/>
                <a:gd name="T52" fmla="*/ 19 w 35"/>
                <a:gd name="T53" fmla="*/ 32 h 32"/>
                <a:gd name="T54" fmla="*/ 19 w 35"/>
                <a:gd name="T55" fmla="*/ 32 h 32"/>
                <a:gd name="T56" fmla="*/ 35 w 35"/>
                <a:gd name="T57" fmla="*/ 15 h 32"/>
                <a:gd name="T58" fmla="*/ 35 w 35"/>
                <a:gd name="T59" fmla="*/ 14 h 32"/>
                <a:gd name="T60" fmla="*/ 33 w 35"/>
                <a:gd name="T61" fmla="*/ 11 h 32"/>
                <a:gd name="T62" fmla="*/ 34 w 35"/>
                <a:gd name="T63" fmla="*/ 10 h 32"/>
                <a:gd name="T64" fmla="*/ 34 w 35"/>
                <a:gd name="T65" fmla="*/ 10 h 32"/>
                <a:gd name="T66" fmla="*/ 33 w 35"/>
                <a:gd name="T67" fmla="*/ 9 h 32"/>
                <a:gd name="T68" fmla="*/ 33 w 35"/>
                <a:gd name="T69" fmla="*/ 9 h 32"/>
                <a:gd name="T70" fmla="*/ 27 w 35"/>
                <a:gd name="T71" fmla="*/ 4 h 32"/>
                <a:gd name="T72" fmla="*/ 27 w 35"/>
                <a:gd name="T73" fmla="*/ 3 h 32"/>
                <a:gd name="T74" fmla="*/ 23 w 35"/>
                <a:gd name="T75" fmla="*/ 1 h 32"/>
                <a:gd name="T76" fmla="*/ 22 w 35"/>
                <a:gd name="T77" fmla="*/ 2 h 32"/>
                <a:gd name="T78" fmla="*/ 16 w 35"/>
                <a:gd name="T79" fmla="*/ 1 h 32"/>
                <a:gd name="T80" fmla="*/ 16 w 35"/>
                <a:gd name="T8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 h="32">
                  <a:moveTo>
                    <a:pt x="17" y="30"/>
                  </a:moveTo>
                  <a:cubicBezTo>
                    <a:pt x="7" y="22"/>
                    <a:pt x="7" y="22"/>
                    <a:pt x="7" y="22"/>
                  </a:cubicBezTo>
                  <a:cubicBezTo>
                    <a:pt x="6" y="21"/>
                    <a:pt x="5" y="21"/>
                    <a:pt x="3" y="20"/>
                  </a:cubicBezTo>
                  <a:cubicBezTo>
                    <a:pt x="5" y="19"/>
                    <a:pt x="5" y="19"/>
                    <a:pt x="5" y="19"/>
                  </a:cubicBezTo>
                  <a:cubicBezTo>
                    <a:pt x="10" y="22"/>
                    <a:pt x="16" y="25"/>
                    <a:pt x="20" y="29"/>
                  </a:cubicBezTo>
                  <a:cubicBezTo>
                    <a:pt x="19" y="31"/>
                    <a:pt x="19" y="31"/>
                    <a:pt x="19" y="31"/>
                  </a:cubicBezTo>
                  <a:cubicBezTo>
                    <a:pt x="19" y="31"/>
                    <a:pt x="19" y="31"/>
                    <a:pt x="19" y="31"/>
                  </a:cubicBezTo>
                  <a:cubicBezTo>
                    <a:pt x="18" y="30"/>
                    <a:pt x="18" y="30"/>
                    <a:pt x="18" y="30"/>
                  </a:cubicBezTo>
                  <a:cubicBezTo>
                    <a:pt x="18" y="30"/>
                    <a:pt x="18" y="30"/>
                    <a:pt x="18" y="30"/>
                  </a:cubicBezTo>
                  <a:cubicBezTo>
                    <a:pt x="18" y="30"/>
                    <a:pt x="18" y="30"/>
                    <a:pt x="18" y="30"/>
                  </a:cubicBezTo>
                  <a:cubicBezTo>
                    <a:pt x="17" y="30"/>
                    <a:pt x="17" y="30"/>
                    <a:pt x="17" y="30"/>
                  </a:cubicBezTo>
                  <a:cubicBezTo>
                    <a:pt x="17" y="30"/>
                    <a:pt x="17" y="30"/>
                    <a:pt x="17" y="30"/>
                  </a:cubicBezTo>
                  <a:moveTo>
                    <a:pt x="23" y="26"/>
                  </a:moveTo>
                  <a:cubicBezTo>
                    <a:pt x="25" y="22"/>
                    <a:pt x="28" y="17"/>
                    <a:pt x="32" y="13"/>
                  </a:cubicBezTo>
                  <a:cubicBezTo>
                    <a:pt x="32" y="13"/>
                    <a:pt x="33" y="14"/>
                    <a:pt x="33" y="14"/>
                  </a:cubicBezTo>
                  <a:cubicBezTo>
                    <a:pt x="32" y="16"/>
                    <a:pt x="30" y="17"/>
                    <a:pt x="29" y="19"/>
                  </a:cubicBezTo>
                  <a:cubicBezTo>
                    <a:pt x="23" y="26"/>
                    <a:pt x="23" y="26"/>
                    <a:pt x="23" y="26"/>
                  </a:cubicBezTo>
                  <a:moveTo>
                    <a:pt x="23" y="9"/>
                  </a:moveTo>
                  <a:cubicBezTo>
                    <a:pt x="22" y="9"/>
                    <a:pt x="20" y="8"/>
                    <a:pt x="19" y="7"/>
                  </a:cubicBezTo>
                  <a:cubicBezTo>
                    <a:pt x="21" y="6"/>
                    <a:pt x="22" y="4"/>
                    <a:pt x="23" y="2"/>
                  </a:cubicBezTo>
                  <a:cubicBezTo>
                    <a:pt x="23" y="2"/>
                    <a:pt x="23" y="2"/>
                    <a:pt x="23" y="2"/>
                  </a:cubicBezTo>
                  <a:cubicBezTo>
                    <a:pt x="24" y="2"/>
                    <a:pt x="24" y="2"/>
                    <a:pt x="24" y="2"/>
                  </a:cubicBezTo>
                  <a:cubicBezTo>
                    <a:pt x="26" y="3"/>
                    <a:pt x="26" y="3"/>
                    <a:pt x="26" y="3"/>
                  </a:cubicBezTo>
                  <a:cubicBezTo>
                    <a:pt x="26" y="4"/>
                    <a:pt x="25" y="5"/>
                    <a:pt x="25" y="6"/>
                  </a:cubicBezTo>
                  <a:cubicBezTo>
                    <a:pt x="24" y="7"/>
                    <a:pt x="23" y="9"/>
                    <a:pt x="23" y="9"/>
                  </a:cubicBezTo>
                  <a:cubicBezTo>
                    <a:pt x="23" y="9"/>
                    <a:pt x="23" y="9"/>
                    <a:pt x="23" y="9"/>
                  </a:cubicBezTo>
                  <a:moveTo>
                    <a:pt x="21" y="28"/>
                  </a:moveTo>
                  <a:cubicBezTo>
                    <a:pt x="16" y="24"/>
                    <a:pt x="11" y="21"/>
                    <a:pt x="6" y="18"/>
                  </a:cubicBezTo>
                  <a:cubicBezTo>
                    <a:pt x="5" y="18"/>
                    <a:pt x="5" y="18"/>
                    <a:pt x="5" y="18"/>
                  </a:cubicBezTo>
                  <a:cubicBezTo>
                    <a:pt x="5" y="18"/>
                    <a:pt x="5" y="18"/>
                    <a:pt x="5" y="18"/>
                  </a:cubicBezTo>
                  <a:cubicBezTo>
                    <a:pt x="4" y="17"/>
                    <a:pt x="3" y="16"/>
                    <a:pt x="2" y="16"/>
                  </a:cubicBezTo>
                  <a:cubicBezTo>
                    <a:pt x="7" y="12"/>
                    <a:pt x="11" y="7"/>
                    <a:pt x="15" y="2"/>
                  </a:cubicBezTo>
                  <a:cubicBezTo>
                    <a:pt x="15" y="2"/>
                    <a:pt x="15" y="2"/>
                    <a:pt x="15" y="2"/>
                  </a:cubicBezTo>
                  <a:cubicBezTo>
                    <a:pt x="17" y="3"/>
                    <a:pt x="18" y="4"/>
                    <a:pt x="20" y="4"/>
                  </a:cubicBezTo>
                  <a:cubicBezTo>
                    <a:pt x="19" y="5"/>
                    <a:pt x="19" y="6"/>
                    <a:pt x="18" y="7"/>
                  </a:cubicBezTo>
                  <a:cubicBezTo>
                    <a:pt x="18" y="7"/>
                    <a:pt x="18" y="7"/>
                    <a:pt x="18" y="7"/>
                  </a:cubicBezTo>
                  <a:cubicBezTo>
                    <a:pt x="19" y="8"/>
                    <a:pt x="21" y="10"/>
                    <a:pt x="23" y="10"/>
                  </a:cubicBezTo>
                  <a:cubicBezTo>
                    <a:pt x="24" y="10"/>
                    <a:pt x="24" y="10"/>
                    <a:pt x="24" y="10"/>
                  </a:cubicBezTo>
                  <a:cubicBezTo>
                    <a:pt x="24" y="9"/>
                    <a:pt x="25" y="8"/>
                    <a:pt x="25" y="7"/>
                  </a:cubicBezTo>
                  <a:cubicBezTo>
                    <a:pt x="28" y="8"/>
                    <a:pt x="30" y="9"/>
                    <a:pt x="32" y="10"/>
                  </a:cubicBezTo>
                  <a:cubicBezTo>
                    <a:pt x="33" y="10"/>
                    <a:pt x="33" y="10"/>
                    <a:pt x="33" y="10"/>
                  </a:cubicBezTo>
                  <a:cubicBezTo>
                    <a:pt x="28" y="15"/>
                    <a:pt x="24" y="22"/>
                    <a:pt x="21" y="28"/>
                  </a:cubicBezTo>
                  <a:moveTo>
                    <a:pt x="16" y="0"/>
                  </a:moveTo>
                  <a:cubicBezTo>
                    <a:pt x="15" y="0"/>
                    <a:pt x="15" y="0"/>
                    <a:pt x="15" y="0"/>
                  </a:cubicBezTo>
                  <a:cubicBezTo>
                    <a:pt x="11" y="6"/>
                    <a:pt x="6" y="11"/>
                    <a:pt x="0" y="16"/>
                  </a:cubicBezTo>
                  <a:cubicBezTo>
                    <a:pt x="0" y="16"/>
                    <a:pt x="0" y="16"/>
                    <a:pt x="0" y="16"/>
                  </a:cubicBezTo>
                  <a:cubicBezTo>
                    <a:pt x="1" y="17"/>
                    <a:pt x="1" y="17"/>
                    <a:pt x="1" y="17"/>
                  </a:cubicBezTo>
                  <a:cubicBezTo>
                    <a:pt x="2" y="17"/>
                    <a:pt x="3" y="18"/>
                    <a:pt x="4" y="18"/>
                  </a:cubicBezTo>
                  <a:cubicBezTo>
                    <a:pt x="2" y="20"/>
                    <a:pt x="2" y="20"/>
                    <a:pt x="2" y="20"/>
                  </a:cubicBezTo>
                  <a:cubicBezTo>
                    <a:pt x="2" y="21"/>
                    <a:pt x="2" y="21"/>
                    <a:pt x="2" y="21"/>
                  </a:cubicBezTo>
                  <a:cubicBezTo>
                    <a:pt x="2" y="21"/>
                    <a:pt x="2" y="21"/>
                    <a:pt x="2" y="21"/>
                  </a:cubicBezTo>
                  <a:cubicBezTo>
                    <a:pt x="4" y="21"/>
                    <a:pt x="5" y="22"/>
                    <a:pt x="6" y="23"/>
                  </a:cubicBezTo>
                  <a:cubicBezTo>
                    <a:pt x="17" y="31"/>
                    <a:pt x="17" y="31"/>
                    <a:pt x="17" y="31"/>
                  </a:cubicBezTo>
                  <a:cubicBezTo>
                    <a:pt x="18" y="32"/>
                    <a:pt x="18" y="32"/>
                    <a:pt x="19" y="32"/>
                  </a:cubicBezTo>
                  <a:cubicBezTo>
                    <a:pt x="19" y="32"/>
                    <a:pt x="19" y="32"/>
                    <a:pt x="19" y="32"/>
                  </a:cubicBezTo>
                  <a:cubicBezTo>
                    <a:pt x="19" y="32"/>
                    <a:pt x="19" y="32"/>
                    <a:pt x="19" y="32"/>
                  </a:cubicBezTo>
                  <a:cubicBezTo>
                    <a:pt x="30" y="19"/>
                    <a:pt x="30" y="19"/>
                    <a:pt x="30" y="19"/>
                  </a:cubicBezTo>
                  <a:cubicBezTo>
                    <a:pt x="31" y="18"/>
                    <a:pt x="33" y="16"/>
                    <a:pt x="35" y="15"/>
                  </a:cubicBezTo>
                  <a:cubicBezTo>
                    <a:pt x="35" y="14"/>
                    <a:pt x="35" y="14"/>
                    <a:pt x="35" y="14"/>
                  </a:cubicBezTo>
                  <a:cubicBezTo>
                    <a:pt x="35" y="14"/>
                    <a:pt x="35" y="14"/>
                    <a:pt x="35" y="14"/>
                  </a:cubicBezTo>
                  <a:cubicBezTo>
                    <a:pt x="34" y="13"/>
                    <a:pt x="33" y="13"/>
                    <a:pt x="32" y="12"/>
                  </a:cubicBezTo>
                  <a:cubicBezTo>
                    <a:pt x="33" y="12"/>
                    <a:pt x="33" y="11"/>
                    <a:pt x="33" y="11"/>
                  </a:cubicBezTo>
                  <a:cubicBezTo>
                    <a:pt x="33" y="10"/>
                    <a:pt x="33" y="10"/>
                    <a:pt x="33" y="10"/>
                  </a:cubicBezTo>
                  <a:cubicBezTo>
                    <a:pt x="34" y="10"/>
                    <a:pt x="34" y="10"/>
                    <a:pt x="34" y="10"/>
                  </a:cubicBezTo>
                  <a:cubicBezTo>
                    <a:pt x="34" y="10"/>
                    <a:pt x="34" y="10"/>
                    <a:pt x="34" y="10"/>
                  </a:cubicBezTo>
                  <a:cubicBezTo>
                    <a:pt x="34" y="10"/>
                    <a:pt x="34" y="10"/>
                    <a:pt x="34" y="10"/>
                  </a:cubicBezTo>
                  <a:cubicBezTo>
                    <a:pt x="34" y="9"/>
                    <a:pt x="34" y="9"/>
                    <a:pt x="34" y="9"/>
                  </a:cubicBezTo>
                  <a:cubicBezTo>
                    <a:pt x="33" y="9"/>
                    <a:pt x="33" y="9"/>
                    <a:pt x="33" y="9"/>
                  </a:cubicBezTo>
                  <a:cubicBezTo>
                    <a:pt x="33" y="9"/>
                    <a:pt x="33" y="9"/>
                    <a:pt x="33" y="9"/>
                  </a:cubicBezTo>
                  <a:cubicBezTo>
                    <a:pt x="33" y="9"/>
                    <a:pt x="33" y="9"/>
                    <a:pt x="33" y="9"/>
                  </a:cubicBezTo>
                  <a:cubicBezTo>
                    <a:pt x="30" y="8"/>
                    <a:pt x="28" y="7"/>
                    <a:pt x="26" y="6"/>
                  </a:cubicBezTo>
                  <a:cubicBezTo>
                    <a:pt x="26" y="5"/>
                    <a:pt x="27" y="4"/>
                    <a:pt x="27" y="4"/>
                  </a:cubicBezTo>
                  <a:cubicBezTo>
                    <a:pt x="27" y="3"/>
                    <a:pt x="27" y="3"/>
                    <a:pt x="27" y="3"/>
                  </a:cubicBezTo>
                  <a:cubicBezTo>
                    <a:pt x="27" y="3"/>
                    <a:pt x="27" y="3"/>
                    <a:pt x="27" y="3"/>
                  </a:cubicBezTo>
                  <a:cubicBezTo>
                    <a:pt x="24" y="1"/>
                    <a:pt x="24" y="1"/>
                    <a:pt x="24" y="1"/>
                  </a:cubicBezTo>
                  <a:cubicBezTo>
                    <a:pt x="24" y="1"/>
                    <a:pt x="23" y="1"/>
                    <a:pt x="23" y="1"/>
                  </a:cubicBezTo>
                  <a:cubicBezTo>
                    <a:pt x="23" y="1"/>
                    <a:pt x="23" y="1"/>
                    <a:pt x="23" y="1"/>
                  </a:cubicBezTo>
                  <a:cubicBezTo>
                    <a:pt x="22" y="1"/>
                    <a:pt x="22" y="1"/>
                    <a:pt x="22" y="2"/>
                  </a:cubicBezTo>
                  <a:cubicBezTo>
                    <a:pt x="21" y="2"/>
                    <a:pt x="21" y="3"/>
                    <a:pt x="21" y="4"/>
                  </a:cubicBezTo>
                  <a:cubicBezTo>
                    <a:pt x="19" y="3"/>
                    <a:pt x="18" y="2"/>
                    <a:pt x="16" y="1"/>
                  </a:cubicBezTo>
                  <a:cubicBezTo>
                    <a:pt x="16" y="1"/>
                    <a:pt x="16" y="1"/>
                    <a:pt x="16" y="1"/>
                  </a:cubicBezTo>
                  <a:cubicBezTo>
                    <a:pt x="16" y="0"/>
                    <a:pt x="16" y="0"/>
                    <a:pt x="1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03" name="îšlîďè"/>
            <p:cNvSpPr/>
            <p:nvPr/>
          </p:nvSpPr>
          <p:spPr bwMode="auto">
            <a:xfrm>
              <a:off x="4217" y="1944"/>
              <a:ext cx="31" cy="16"/>
            </a:xfrm>
            <a:custGeom>
              <a:avLst/>
              <a:gdLst>
                <a:gd name="T0" fmla="*/ 0 w 13"/>
                <a:gd name="T1" fmla="*/ 0 h 7"/>
                <a:gd name="T2" fmla="*/ 0 w 13"/>
                <a:gd name="T3" fmla="*/ 1 h 7"/>
                <a:gd name="T4" fmla="*/ 12 w 13"/>
                <a:gd name="T5" fmla="*/ 7 h 7"/>
                <a:gd name="T6" fmla="*/ 13 w 13"/>
                <a:gd name="T7" fmla="*/ 7 h 7"/>
                <a:gd name="T8" fmla="*/ 13 w 13"/>
                <a:gd name="T9" fmla="*/ 7 h 7"/>
                <a:gd name="T10" fmla="*/ 13 w 13"/>
                <a:gd name="T11" fmla="*/ 6 h 7"/>
                <a:gd name="T12" fmla="*/ 1 w 13"/>
                <a:gd name="T13" fmla="*/ 0 h 7"/>
                <a:gd name="T14" fmla="*/ 0 w 1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0" y="0"/>
                  </a:moveTo>
                  <a:cubicBezTo>
                    <a:pt x="0" y="1"/>
                    <a:pt x="0" y="1"/>
                    <a:pt x="0" y="1"/>
                  </a:cubicBezTo>
                  <a:cubicBezTo>
                    <a:pt x="2" y="3"/>
                    <a:pt x="12" y="7"/>
                    <a:pt x="12" y="7"/>
                  </a:cubicBezTo>
                  <a:cubicBezTo>
                    <a:pt x="13" y="7"/>
                    <a:pt x="13" y="7"/>
                    <a:pt x="13" y="7"/>
                  </a:cubicBezTo>
                  <a:cubicBezTo>
                    <a:pt x="13" y="7"/>
                    <a:pt x="13" y="7"/>
                    <a:pt x="13" y="7"/>
                  </a:cubicBezTo>
                  <a:cubicBezTo>
                    <a:pt x="13" y="6"/>
                    <a:pt x="13" y="6"/>
                    <a:pt x="13" y="6"/>
                  </a:cubicBezTo>
                  <a:cubicBezTo>
                    <a:pt x="12" y="6"/>
                    <a:pt x="3" y="2"/>
                    <a:pt x="1" y="0"/>
                  </a:cubicBezTo>
                  <a:cubicBezTo>
                    <a:pt x="0" y="0"/>
                    <a:pt x="0" y="0"/>
                    <a:pt x="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04" name="îṥlíḍê"/>
            <p:cNvSpPr/>
            <p:nvPr/>
          </p:nvSpPr>
          <p:spPr bwMode="auto">
            <a:xfrm>
              <a:off x="4215" y="1951"/>
              <a:ext cx="26" cy="17"/>
            </a:xfrm>
            <a:custGeom>
              <a:avLst/>
              <a:gdLst>
                <a:gd name="T0" fmla="*/ 1 w 11"/>
                <a:gd name="T1" fmla="*/ 0 h 7"/>
                <a:gd name="T2" fmla="*/ 0 w 11"/>
                <a:gd name="T3" fmla="*/ 0 h 7"/>
                <a:gd name="T4" fmla="*/ 0 w 11"/>
                <a:gd name="T5" fmla="*/ 0 h 7"/>
                <a:gd name="T6" fmla="*/ 5 w 11"/>
                <a:gd name="T7" fmla="*/ 3 h 7"/>
                <a:gd name="T8" fmla="*/ 10 w 11"/>
                <a:gd name="T9" fmla="*/ 6 h 7"/>
                <a:gd name="T10" fmla="*/ 11 w 11"/>
                <a:gd name="T11" fmla="*/ 7 h 7"/>
                <a:gd name="T12" fmla="*/ 11 w 11"/>
                <a:gd name="T13" fmla="*/ 7 h 7"/>
                <a:gd name="T14" fmla="*/ 11 w 11"/>
                <a:gd name="T15" fmla="*/ 6 h 7"/>
                <a:gd name="T16" fmla="*/ 5 w 11"/>
                <a:gd name="T17" fmla="*/ 2 h 7"/>
                <a:gd name="T18" fmla="*/ 1 w 11"/>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1" y="0"/>
                  </a:moveTo>
                  <a:cubicBezTo>
                    <a:pt x="0" y="0"/>
                    <a:pt x="0" y="0"/>
                    <a:pt x="0" y="0"/>
                  </a:cubicBezTo>
                  <a:cubicBezTo>
                    <a:pt x="0" y="0"/>
                    <a:pt x="0" y="0"/>
                    <a:pt x="0" y="0"/>
                  </a:cubicBezTo>
                  <a:cubicBezTo>
                    <a:pt x="1" y="1"/>
                    <a:pt x="3" y="2"/>
                    <a:pt x="5" y="3"/>
                  </a:cubicBezTo>
                  <a:cubicBezTo>
                    <a:pt x="7" y="4"/>
                    <a:pt x="10" y="6"/>
                    <a:pt x="10" y="6"/>
                  </a:cubicBezTo>
                  <a:cubicBezTo>
                    <a:pt x="11" y="7"/>
                    <a:pt x="11" y="7"/>
                    <a:pt x="11" y="7"/>
                  </a:cubicBezTo>
                  <a:cubicBezTo>
                    <a:pt x="11" y="7"/>
                    <a:pt x="11" y="7"/>
                    <a:pt x="11" y="7"/>
                  </a:cubicBezTo>
                  <a:cubicBezTo>
                    <a:pt x="11" y="6"/>
                    <a:pt x="11" y="6"/>
                    <a:pt x="11" y="6"/>
                  </a:cubicBezTo>
                  <a:cubicBezTo>
                    <a:pt x="11" y="6"/>
                    <a:pt x="10" y="5"/>
                    <a:pt x="5" y="2"/>
                  </a:cubicBezTo>
                  <a:cubicBezTo>
                    <a:pt x="3" y="1"/>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05" name="iśļiḋê"/>
            <p:cNvSpPr/>
            <p:nvPr/>
          </p:nvSpPr>
          <p:spPr bwMode="auto">
            <a:xfrm>
              <a:off x="4210" y="1956"/>
              <a:ext cx="7" cy="4"/>
            </a:xfrm>
            <a:custGeom>
              <a:avLst/>
              <a:gdLst>
                <a:gd name="T0" fmla="*/ 1 w 3"/>
                <a:gd name="T1" fmla="*/ 0 h 2"/>
                <a:gd name="T2" fmla="*/ 0 w 3"/>
                <a:gd name="T3" fmla="*/ 0 h 2"/>
                <a:gd name="T4" fmla="*/ 2 w 3"/>
                <a:gd name="T5" fmla="*/ 1 h 2"/>
                <a:gd name="T6" fmla="*/ 2 w 3"/>
                <a:gd name="T7" fmla="*/ 2 h 2"/>
                <a:gd name="T8" fmla="*/ 3 w 3"/>
                <a:gd name="T9" fmla="*/ 2 h 2"/>
                <a:gd name="T10" fmla="*/ 3 w 3"/>
                <a:gd name="T11" fmla="*/ 2 h 2"/>
                <a:gd name="T12" fmla="*/ 3 w 3"/>
                <a:gd name="T13" fmla="*/ 2 h 2"/>
                <a:gd name="T14" fmla="*/ 2 w 3"/>
                <a:gd name="T15" fmla="*/ 0 h 2"/>
                <a:gd name="T16" fmla="*/ 1 w 3"/>
                <a:gd name="T17" fmla="*/ 0 h 2"/>
                <a:gd name="T18" fmla="*/ 1 w 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1" y="0"/>
                  </a:moveTo>
                  <a:cubicBezTo>
                    <a:pt x="0" y="0"/>
                    <a:pt x="0" y="0"/>
                    <a:pt x="0" y="0"/>
                  </a:cubicBezTo>
                  <a:cubicBezTo>
                    <a:pt x="0" y="1"/>
                    <a:pt x="1" y="1"/>
                    <a:pt x="2" y="1"/>
                  </a:cubicBezTo>
                  <a:cubicBezTo>
                    <a:pt x="2" y="1"/>
                    <a:pt x="2" y="2"/>
                    <a:pt x="2" y="2"/>
                  </a:cubicBezTo>
                  <a:cubicBezTo>
                    <a:pt x="3" y="2"/>
                    <a:pt x="3" y="2"/>
                    <a:pt x="3" y="2"/>
                  </a:cubicBezTo>
                  <a:cubicBezTo>
                    <a:pt x="3" y="2"/>
                    <a:pt x="3" y="2"/>
                    <a:pt x="3" y="2"/>
                  </a:cubicBezTo>
                  <a:cubicBezTo>
                    <a:pt x="3" y="2"/>
                    <a:pt x="3" y="2"/>
                    <a:pt x="3" y="2"/>
                  </a:cubicBezTo>
                  <a:cubicBezTo>
                    <a:pt x="3" y="1"/>
                    <a:pt x="2" y="1"/>
                    <a:pt x="2" y="0"/>
                  </a:cubicBezTo>
                  <a:cubicBezTo>
                    <a:pt x="1" y="0"/>
                    <a:pt x="1" y="0"/>
                    <a:pt x="1" y="0"/>
                  </a:cubicBezTo>
                  <a:cubicBezTo>
                    <a:pt x="1" y="0"/>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06" name="ïšḷíḓé"/>
            <p:cNvSpPr/>
            <p:nvPr/>
          </p:nvSpPr>
          <p:spPr bwMode="auto">
            <a:xfrm>
              <a:off x="4153" y="2491"/>
              <a:ext cx="40" cy="9"/>
            </a:xfrm>
            <a:custGeom>
              <a:avLst/>
              <a:gdLst>
                <a:gd name="T0" fmla="*/ 1 w 17"/>
                <a:gd name="T1" fmla="*/ 0 h 4"/>
                <a:gd name="T2" fmla="*/ 0 w 17"/>
                <a:gd name="T3" fmla="*/ 1 h 4"/>
                <a:gd name="T4" fmla="*/ 1 w 17"/>
                <a:gd name="T5" fmla="*/ 1 h 4"/>
                <a:gd name="T6" fmla="*/ 16 w 17"/>
                <a:gd name="T7" fmla="*/ 4 h 4"/>
                <a:gd name="T8" fmla="*/ 17 w 17"/>
                <a:gd name="T9" fmla="*/ 4 h 4"/>
                <a:gd name="T10" fmla="*/ 16 w 17"/>
                <a:gd name="T11" fmla="*/ 3 h 4"/>
                <a:gd name="T12" fmla="*/ 16 w 17"/>
                <a:gd name="T13" fmla="*/ 3 h 4"/>
                <a:gd name="T14" fmla="*/ 1 w 1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
                  <a:moveTo>
                    <a:pt x="1" y="0"/>
                  </a:moveTo>
                  <a:cubicBezTo>
                    <a:pt x="0" y="1"/>
                    <a:pt x="0" y="1"/>
                    <a:pt x="0" y="1"/>
                  </a:cubicBezTo>
                  <a:cubicBezTo>
                    <a:pt x="1" y="1"/>
                    <a:pt x="1" y="1"/>
                    <a:pt x="1" y="1"/>
                  </a:cubicBezTo>
                  <a:cubicBezTo>
                    <a:pt x="3" y="3"/>
                    <a:pt x="15" y="4"/>
                    <a:pt x="16" y="4"/>
                  </a:cubicBezTo>
                  <a:cubicBezTo>
                    <a:pt x="17" y="4"/>
                    <a:pt x="17" y="4"/>
                    <a:pt x="17" y="4"/>
                  </a:cubicBezTo>
                  <a:cubicBezTo>
                    <a:pt x="16" y="3"/>
                    <a:pt x="16" y="3"/>
                    <a:pt x="16" y="3"/>
                  </a:cubicBezTo>
                  <a:cubicBezTo>
                    <a:pt x="16" y="3"/>
                    <a:pt x="16" y="3"/>
                    <a:pt x="16" y="3"/>
                  </a:cubicBezTo>
                  <a:cubicBezTo>
                    <a:pt x="14" y="3"/>
                    <a:pt x="4" y="2"/>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07" name="isḻïḓè"/>
            <p:cNvSpPr/>
            <p:nvPr/>
          </p:nvSpPr>
          <p:spPr bwMode="auto">
            <a:xfrm>
              <a:off x="4153" y="2500"/>
              <a:ext cx="33" cy="10"/>
            </a:xfrm>
            <a:custGeom>
              <a:avLst/>
              <a:gdLst>
                <a:gd name="T0" fmla="*/ 1 w 14"/>
                <a:gd name="T1" fmla="*/ 0 h 4"/>
                <a:gd name="T2" fmla="*/ 0 w 14"/>
                <a:gd name="T3" fmla="*/ 0 h 4"/>
                <a:gd name="T4" fmla="*/ 0 w 14"/>
                <a:gd name="T5" fmla="*/ 1 h 4"/>
                <a:gd name="T6" fmla="*/ 6 w 14"/>
                <a:gd name="T7" fmla="*/ 2 h 4"/>
                <a:gd name="T8" fmla="*/ 13 w 14"/>
                <a:gd name="T9" fmla="*/ 4 h 4"/>
                <a:gd name="T10" fmla="*/ 14 w 14"/>
                <a:gd name="T11" fmla="*/ 4 h 4"/>
                <a:gd name="T12" fmla="*/ 14 w 14"/>
                <a:gd name="T13" fmla="*/ 4 h 4"/>
                <a:gd name="T14" fmla="*/ 14 w 14"/>
                <a:gd name="T15" fmla="*/ 3 h 4"/>
                <a:gd name="T16" fmla="*/ 6 w 14"/>
                <a:gd name="T17" fmla="*/ 1 h 4"/>
                <a:gd name="T18" fmla="*/ 1 w 1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
                  <a:moveTo>
                    <a:pt x="1" y="0"/>
                  </a:moveTo>
                  <a:cubicBezTo>
                    <a:pt x="0" y="0"/>
                    <a:pt x="0" y="0"/>
                    <a:pt x="0" y="0"/>
                  </a:cubicBezTo>
                  <a:cubicBezTo>
                    <a:pt x="0" y="1"/>
                    <a:pt x="0" y="1"/>
                    <a:pt x="0" y="1"/>
                  </a:cubicBezTo>
                  <a:cubicBezTo>
                    <a:pt x="1" y="1"/>
                    <a:pt x="4" y="1"/>
                    <a:pt x="6" y="2"/>
                  </a:cubicBezTo>
                  <a:cubicBezTo>
                    <a:pt x="9" y="3"/>
                    <a:pt x="13" y="4"/>
                    <a:pt x="13" y="4"/>
                  </a:cubicBezTo>
                  <a:cubicBezTo>
                    <a:pt x="14" y="4"/>
                    <a:pt x="14" y="4"/>
                    <a:pt x="14" y="4"/>
                  </a:cubicBezTo>
                  <a:cubicBezTo>
                    <a:pt x="14" y="4"/>
                    <a:pt x="14" y="4"/>
                    <a:pt x="14" y="4"/>
                  </a:cubicBezTo>
                  <a:cubicBezTo>
                    <a:pt x="14" y="3"/>
                    <a:pt x="14" y="3"/>
                    <a:pt x="14" y="3"/>
                  </a:cubicBezTo>
                  <a:cubicBezTo>
                    <a:pt x="14" y="3"/>
                    <a:pt x="13" y="2"/>
                    <a:pt x="6" y="1"/>
                  </a:cubicBezTo>
                  <a:cubicBezTo>
                    <a:pt x="4" y="0"/>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08" name="ïšľîḑê"/>
            <p:cNvSpPr/>
            <p:nvPr/>
          </p:nvSpPr>
          <p:spPr bwMode="auto">
            <a:xfrm>
              <a:off x="4150" y="2505"/>
              <a:ext cx="10" cy="7"/>
            </a:xfrm>
            <a:custGeom>
              <a:avLst/>
              <a:gdLst>
                <a:gd name="T0" fmla="*/ 0 w 4"/>
                <a:gd name="T1" fmla="*/ 0 h 3"/>
                <a:gd name="T2" fmla="*/ 0 w 4"/>
                <a:gd name="T3" fmla="*/ 1 h 3"/>
                <a:gd name="T4" fmla="*/ 2 w 4"/>
                <a:gd name="T5" fmla="*/ 2 h 3"/>
                <a:gd name="T6" fmla="*/ 3 w 4"/>
                <a:gd name="T7" fmla="*/ 2 h 3"/>
                <a:gd name="T8" fmla="*/ 3 w 4"/>
                <a:gd name="T9" fmla="*/ 3 h 3"/>
                <a:gd name="T10" fmla="*/ 3 w 4"/>
                <a:gd name="T11" fmla="*/ 2 h 3"/>
                <a:gd name="T12" fmla="*/ 4 w 4"/>
                <a:gd name="T13" fmla="*/ 2 h 3"/>
                <a:gd name="T14" fmla="*/ 2 w 4"/>
                <a:gd name="T15" fmla="*/ 1 h 3"/>
                <a:gd name="T16" fmla="*/ 1 w 4"/>
                <a:gd name="T17" fmla="*/ 1 h 3"/>
                <a:gd name="T18" fmla="*/ 0 w 4"/>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0" y="0"/>
                  </a:moveTo>
                  <a:cubicBezTo>
                    <a:pt x="0" y="1"/>
                    <a:pt x="0" y="1"/>
                    <a:pt x="0" y="1"/>
                  </a:cubicBezTo>
                  <a:cubicBezTo>
                    <a:pt x="0" y="2"/>
                    <a:pt x="1" y="2"/>
                    <a:pt x="2" y="2"/>
                  </a:cubicBezTo>
                  <a:cubicBezTo>
                    <a:pt x="2" y="2"/>
                    <a:pt x="2" y="2"/>
                    <a:pt x="3" y="2"/>
                  </a:cubicBezTo>
                  <a:cubicBezTo>
                    <a:pt x="3" y="3"/>
                    <a:pt x="3" y="3"/>
                    <a:pt x="3" y="3"/>
                  </a:cubicBezTo>
                  <a:cubicBezTo>
                    <a:pt x="3" y="2"/>
                    <a:pt x="3" y="2"/>
                    <a:pt x="3" y="2"/>
                  </a:cubicBezTo>
                  <a:cubicBezTo>
                    <a:pt x="4" y="2"/>
                    <a:pt x="4" y="2"/>
                    <a:pt x="4" y="2"/>
                  </a:cubicBezTo>
                  <a:cubicBezTo>
                    <a:pt x="3" y="1"/>
                    <a:pt x="2" y="1"/>
                    <a:pt x="2" y="1"/>
                  </a:cubicBezTo>
                  <a:cubicBezTo>
                    <a:pt x="1" y="1"/>
                    <a:pt x="1" y="1"/>
                    <a:pt x="1" y="1"/>
                  </a:cubicBezTo>
                  <a:cubicBezTo>
                    <a:pt x="0" y="0"/>
                    <a:pt x="0" y="0"/>
                    <a:pt x="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09" name="íṧḷïḍè"/>
            <p:cNvSpPr/>
            <p:nvPr/>
          </p:nvSpPr>
          <p:spPr bwMode="auto">
            <a:xfrm>
              <a:off x="4131" y="2462"/>
              <a:ext cx="88" cy="86"/>
            </a:xfrm>
            <a:custGeom>
              <a:avLst/>
              <a:gdLst>
                <a:gd name="T0" fmla="*/ 9 w 37"/>
                <a:gd name="T1" fmla="*/ 28 h 36"/>
                <a:gd name="T2" fmla="*/ 6 w 37"/>
                <a:gd name="T3" fmla="*/ 25 h 36"/>
                <a:gd name="T4" fmla="*/ 25 w 37"/>
                <a:gd name="T5" fmla="*/ 34 h 36"/>
                <a:gd name="T6" fmla="*/ 24 w 37"/>
                <a:gd name="T7" fmla="*/ 34 h 36"/>
                <a:gd name="T8" fmla="*/ 24 w 37"/>
                <a:gd name="T9" fmla="*/ 34 h 36"/>
                <a:gd name="T10" fmla="*/ 23 w 37"/>
                <a:gd name="T11" fmla="*/ 33 h 36"/>
                <a:gd name="T12" fmla="*/ 33 w 37"/>
                <a:gd name="T13" fmla="*/ 10 h 36"/>
                <a:gd name="T14" fmla="*/ 32 w 37"/>
                <a:gd name="T15" fmla="*/ 18 h 36"/>
                <a:gd name="T16" fmla="*/ 5 w 37"/>
                <a:gd name="T17" fmla="*/ 24 h 36"/>
                <a:gd name="T18" fmla="*/ 11 w 37"/>
                <a:gd name="T19" fmla="*/ 3 h 36"/>
                <a:gd name="T20" fmla="*/ 17 w 37"/>
                <a:gd name="T21" fmla="*/ 5 h 36"/>
                <a:gd name="T22" fmla="*/ 16 w 37"/>
                <a:gd name="T23" fmla="*/ 9 h 36"/>
                <a:gd name="T24" fmla="*/ 23 w 37"/>
                <a:gd name="T25" fmla="*/ 9 h 36"/>
                <a:gd name="T26" fmla="*/ 33 w 37"/>
                <a:gd name="T27" fmla="*/ 7 h 36"/>
                <a:gd name="T28" fmla="*/ 26 w 37"/>
                <a:gd name="T29" fmla="*/ 30 h 36"/>
                <a:gd name="T30" fmla="*/ 6 w 37"/>
                <a:gd name="T31" fmla="*/ 24 h 36"/>
                <a:gd name="T32" fmla="*/ 21 w 37"/>
                <a:gd name="T33" fmla="*/ 9 h 36"/>
                <a:gd name="T34" fmla="*/ 19 w 37"/>
                <a:gd name="T35" fmla="*/ 1 h 36"/>
                <a:gd name="T36" fmla="*/ 21 w 37"/>
                <a:gd name="T37" fmla="*/ 1 h 36"/>
                <a:gd name="T38" fmla="*/ 23 w 37"/>
                <a:gd name="T39" fmla="*/ 5 h 36"/>
                <a:gd name="T40" fmla="*/ 21 w 37"/>
                <a:gd name="T41" fmla="*/ 9 h 36"/>
                <a:gd name="T42" fmla="*/ 19 w 37"/>
                <a:gd name="T43" fmla="*/ 0 h 36"/>
                <a:gd name="T44" fmla="*/ 18 w 37"/>
                <a:gd name="T45" fmla="*/ 4 h 36"/>
                <a:gd name="T46" fmla="*/ 12 w 37"/>
                <a:gd name="T47" fmla="*/ 2 h 36"/>
                <a:gd name="T48" fmla="*/ 11 w 37"/>
                <a:gd name="T49" fmla="*/ 2 h 36"/>
                <a:gd name="T50" fmla="*/ 0 w 37"/>
                <a:gd name="T51" fmla="*/ 24 h 36"/>
                <a:gd name="T52" fmla="*/ 5 w 37"/>
                <a:gd name="T53" fmla="*/ 25 h 36"/>
                <a:gd name="T54" fmla="*/ 3 w 37"/>
                <a:gd name="T55" fmla="*/ 28 h 36"/>
                <a:gd name="T56" fmla="*/ 5 w 37"/>
                <a:gd name="T57" fmla="*/ 29 h 36"/>
                <a:gd name="T58" fmla="*/ 23 w 37"/>
                <a:gd name="T59" fmla="*/ 35 h 36"/>
                <a:gd name="T60" fmla="*/ 25 w 37"/>
                <a:gd name="T61" fmla="*/ 36 h 36"/>
                <a:gd name="T62" fmla="*/ 33 w 37"/>
                <a:gd name="T63" fmla="*/ 18 h 36"/>
                <a:gd name="T64" fmla="*/ 37 w 37"/>
                <a:gd name="T65" fmla="*/ 11 h 36"/>
                <a:gd name="T66" fmla="*/ 33 w 37"/>
                <a:gd name="T67" fmla="*/ 9 h 36"/>
                <a:gd name="T68" fmla="*/ 34 w 37"/>
                <a:gd name="T69" fmla="*/ 7 h 36"/>
                <a:gd name="T70" fmla="*/ 35 w 37"/>
                <a:gd name="T71" fmla="*/ 6 h 36"/>
                <a:gd name="T72" fmla="*/ 34 w 37"/>
                <a:gd name="T73" fmla="*/ 6 h 36"/>
                <a:gd name="T74" fmla="*/ 33 w 37"/>
                <a:gd name="T75" fmla="*/ 5 h 36"/>
                <a:gd name="T76" fmla="*/ 25 w 37"/>
                <a:gd name="T77" fmla="*/ 1 h 36"/>
                <a:gd name="T78" fmla="*/ 25 w 37"/>
                <a:gd name="T79" fmla="*/ 1 h 36"/>
                <a:gd name="T80" fmla="*/ 20 w 37"/>
                <a:gd name="T8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 h="36">
                  <a:moveTo>
                    <a:pt x="23" y="33"/>
                  </a:moveTo>
                  <a:cubicBezTo>
                    <a:pt x="9" y="28"/>
                    <a:pt x="9" y="28"/>
                    <a:pt x="9" y="28"/>
                  </a:cubicBezTo>
                  <a:cubicBezTo>
                    <a:pt x="8" y="28"/>
                    <a:pt x="6" y="27"/>
                    <a:pt x="4" y="27"/>
                  </a:cubicBezTo>
                  <a:cubicBezTo>
                    <a:pt x="6" y="25"/>
                    <a:pt x="6" y="25"/>
                    <a:pt x="6" y="25"/>
                  </a:cubicBezTo>
                  <a:cubicBezTo>
                    <a:pt x="13" y="27"/>
                    <a:pt x="19" y="29"/>
                    <a:pt x="26" y="32"/>
                  </a:cubicBezTo>
                  <a:cubicBezTo>
                    <a:pt x="25" y="34"/>
                    <a:pt x="25" y="34"/>
                    <a:pt x="25" y="34"/>
                  </a:cubicBezTo>
                  <a:cubicBezTo>
                    <a:pt x="25" y="34"/>
                    <a:pt x="25" y="34"/>
                    <a:pt x="25" y="34"/>
                  </a:cubicBezTo>
                  <a:cubicBezTo>
                    <a:pt x="24" y="34"/>
                    <a:pt x="24" y="34"/>
                    <a:pt x="24" y="34"/>
                  </a:cubicBezTo>
                  <a:cubicBezTo>
                    <a:pt x="24" y="34"/>
                    <a:pt x="24" y="34"/>
                    <a:pt x="24" y="34"/>
                  </a:cubicBezTo>
                  <a:cubicBezTo>
                    <a:pt x="24" y="34"/>
                    <a:pt x="24" y="34"/>
                    <a:pt x="24" y="34"/>
                  </a:cubicBezTo>
                  <a:cubicBezTo>
                    <a:pt x="23" y="33"/>
                    <a:pt x="23" y="33"/>
                    <a:pt x="23" y="33"/>
                  </a:cubicBezTo>
                  <a:cubicBezTo>
                    <a:pt x="23" y="33"/>
                    <a:pt x="23" y="33"/>
                    <a:pt x="23" y="33"/>
                  </a:cubicBezTo>
                  <a:moveTo>
                    <a:pt x="28" y="28"/>
                  </a:moveTo>
                  <a:cubicBezTo>
                    <a:pt x="29" y="22"/>
                    <a:pt x="31" y="16"/>
                    <a:pt x="33" y="10"/>
                  </a:cubicBezTo>
                  <a:cubicBezTo>
                    <a:pt x="34" y="11"/>
                    <a:pt x="35" y="11"/>
                    <a:pt x="35" y="11"/>
                  </a:cubicBezTo>
                  <a:cubicBezTo>
                    <a:pt x="34" y="13"/>
                    <a:pt x="33" y="15"/>
                    <a:pt x="32" y="18"/>
                  </a:cubicBezTo>
                  <a:cubicBezTo>
                    <a:pt x="28" y="28"/>
                    <a:pt x="28" y="28"/>
                    <a:pt x="28" y="28"/>
                  </a:cubicBezTo>
                  <a:moveTo>
                    <a:pt x="5" y="24"/>
                  </a:moveTo>
                  <a:cubicBezTo>
                    <a:pt x="4" y="24"/>
                    <a:pt x="2" y="24"/>
                    <a:pt x="1" y="23"/>
                  </a:cubicBezTo>
                  <a:cubicBezTo>
                    <a:pt x="5" y="17"/>
                    <a:pt x="9" y="10"/>
                    <a:pt x="11" y="3"/>
                  </a:cubicBezTo>
                  <a:cubicBezTo>
                    <a:pt x="11" y="3"/>
                    <a:pt x="11" y="3"/>
                    <a:pt x="11" y="3"/>
                  </a:cubicBezTo>
                  <a:cubicBezTo>
                    <a:pt x="14" y="4"/>
                    <a:pt x="16" y="4"/>
                    <a:pt x="17" y="5"/>
                  </a:cubicBezTo>
                  <a:cubicBezTo>
                    <a:pt x="17" y="6"/>
                    <a:pt x="17" y="7"/>
                    <a:pt x="16" y="8"/>
                  </a:cubicBezTo>
                  <a:cubicBezTo>
                    <a:pt x="16" y="9"/>
                    <a:pt x="16" y="9"/>
                    <a:pt x="16" y="9"/>
                  </a:cubicBezTo>
                  <a:cubicBezTo>
                    <a:pt x="17" y="9"/>
                    <a:pt x="20" y="10"/>
                    <a:pt x="21" y="10"/>
                  </a:cubicBezTo>
                  <a:cubicBezTo>
                    <a:pt x="22" y="10"/>
                    <a:pt x="23" y="10"/>
                    <a:pt x="23" y="9"/>
                  </a:cubicBezTo>
                  <a:cubicBezTo>
                    <a:pt x="24" y="9"/>
                    <a:pt x="24" y="8"/>
                    <a:pt x="24" y="6"/>
                  </a:cubicBezTo>
                  <a:cubicBezTo>
                    <a:pt x="27" y="6"/>
                    <a:pt x="30" y="6"/>
                    <a:pt x="33" y="7"/>
                  </a:cubicBezTo>
                  <a:cubicBezTo>
                    <a:pt x="33" y="7"/>
                    <a:pt x="33" y="7"/>
                    <a:pt x="33" y="7"/>
                  </a:cubicBezTo>
                  <a:cubicBezTo>
                    <a:pt x="30" y="14"/>
                    <a:pt x="27" y="22"/>
                    <a:pt x="26" y="30"/>
                  </a:cubicBezTo>
                  <a:cubicBezTo>
                    <a:pt x="20" y="28"/>
                    <a:pt x="13" y="26"/>
                    <a:pt x="6" y="24"/>
                  </a:cubicBezTo>
                  <a:cubicBezTo>
                    <a:pt x="6" y="24"/>
                    <a:pt x="6" y="24"/>
                    <a:pt x="6" y="24"/>
                  </a:cubicBezTo>
                  <a:cubicBezTo>
                    <a:pt x="5" y="24"/>
                    <a:pt x="5" y="24"/>
                    <a:pt x="5" y="24"/>
                  </a:cubicBezTo>
                  <a:moveTo>
                    <a:pt x="21" y="9"/>
                  </a:moveTo>
                  <a:cubicBezTo>
                    <a:pt x="20" y="9"/>
                    <a:pt x="18" y="8"/>
                    <a:pt x="17" y="8"/>
                  </a:cubicBezTo>
                  <a:cubicBezTo>
                    <a:pt x="18" y="6"/>
                    <a:pt x="19" y="3"/>
                    <a:pt x="19" y="1"/>
                  </a:cubicBezTo>
                  <a:cubicBezTo>
                    <a:pt x="20" y="1"/>
                    <a:pt x="20" y="1"/>
                    <a:pt x="20" y="1"/>
                  </a:cubicBezTo>
                  <a:cubicBezTo>
                    <a:pt x="21" y="1"/>
                    <a:pt x="21" y="1"/>
                    <a:pt x="21" y="1"/>
                  </a:cubicBezTo>
                  <a:cubicBezTo>
                    <a:pt x="24" y="2"/>
                    <a:pt x="24" y="2"/>
                    <a:pt x="24" y="2"/>
                  </a:cubicBezTo>
                  <a:cubicBezTo>
                    <a:pt x="24" y="2"/>
                    <a:pt x="23" y="4"/>
                    <a:pt x="23" y="5"/>
                  </a:cubicBezTo>
                  <a:cubicBezTo>
                    <a:pt x="23" y="6"/>
                    <a:pt x="23" y="8"/>
                    <a:pt x="22" y="9"/>
                  </a:cubicBezTo>
                  <a:cubicBezTo>
                    <a:pt x="22" y="9"/>
                    <a:pt x="22" y="9"/>
                    <a:pt x="21" y="9"/>
                  </a:cubicBezTo>
                  <a:moveTo>
                    <a:pt x="20" y="0"/>
                  </a:moveTo>
                  <a:cubicBezTo>
                    <a:pt x="20" y="0"/>
                    <a:pt x="19" y="0"/>
                    <a:pt x="19" y="0"/>
                  </a:cubicBezTo>
                  <a:cubicBezTo>
                    <a:pt x="19" y="0"/>
                    <a:pt x="18" y="1"/>
                    <a:pt x="18" y="1"/>
                  </a:cubicBezTo>
                  <a:cubicBezTo>
                    <a:pt x="18" y="2"/>
                    <a:pt x="18" y="3"/>
                    <a:pt x="18" y="4"/>
                  </a:cubicBezTo>
                  <a:cubicBezTo>
                    <a:pt x="16" y="3"/>
                    <a:pt x="14" y="3"/>
                    <a:pt x="12" y="2"/>
                  </a:cubicBezTo>
                  <a:cubicBezTo>
                    <a:pt x="12" y="2"/>
                    <a:pt x="12" y="2"/>
                    <a:pt x="12" y="2"/>
                  </a:cubicBezTo>
                  <a:cubicBezTo>
                    <a:pt x="11" y="2"/>
                    <a:pt x="11" y="2"/>
                    <a:pt x="11" y="2"/>
                  </a:cubicBezTo>
                  <a:cubicBezTo>
                    <a:pt x="11" y="2"/>
                    <a:pt x="11" y="2"/>
                    <a:pt x="11" y="2"/>
                  </a:cubicBezTo>
                  <a:cubicBezTo>
                    <a:pt x="8" y="10"/>
                    <a:pt x="4" y="17"/>
                    <a:pt x="0" y="23"/>
                  </a:cubicBezTo>
                  <a:cubicBezTo>
                    <a:pt x="0" y="24"/>
                    <a:pt x="0" y="24"/>
                    <a:pt x="0" y="24"/>
                  </a:cubicBezTo>
                  <a:cubicBezTo>
                    <a:pt x="0" y="24"/>
                    <a:pt x="0" y="24"/>
                    <a:pt x="0" y="24"/>
                  </a:cubicBezTo>
                  <a:cubicBezTo>
                    <a:pt x="2" y="25"/>
                    <a:pt x="3" y="25"/>
                    <a:pt x="5" y="25"/>
                  </a:cubicBezTo>
                  <a:cubicBezTo>
                    <a:pt x="3" y="28"/>
                    <a:pt x="3" y="28"/>
                    <a:pt x="3" y="28"/>
                  </a:cubicBezTo>
                  <a:cubicBezTo>
                    <a:pt x="3" y="28"/>
                    <a:pt x="3" y="28"/>
                    <a:pt x="3" y="28"/>
                  </a:cubicBezTo>
                  <a:cubicBezTo>
                    <a:pt x="4" y="29"/>
                    <a:pt x="4" y="29"/>
                    <a:pt x="4" y="29"/>
                  </a:cubicBezTo>
                  <a:cubicBezTo>
                    <a:pt x="4" y="29"/>
                    <a:pt x="4" y="29"/>
                    <a:pt x="5" y="29"/>
                  </a:cubicBezTo>
                  <a:cubicBezTo>
                    <a:pt x="6" y="29"/>
                    <a:pt x="7" y="29"/>
                    <a:pt x="9" y="29"/>
                  </a:cubicBezTo>
                  <a:cubicBezTo>
                    <a:pt x="23" y="35"/>
                    <a:pt x="23" y="35"/>
                    <a:pt x="23" y="35"/>
                  </a:cubicBezTo>
                  <a:cubicBezTo>
                    <a:pt x="24" y="35"/>
                    <a:pt x="25" y="35"/>
                    <a:pt x="25" y="36"/>
                  </a:cubicBezTo>
                  <a:cubicBezTo>
                    <a:pt x="25" y="36"/>
                    <a:pt x="25" y="36"/>
                    <a:pt x="25" y="36"/>
                  </a:cubicBezTo>
                  <a:cubicBezTo>
                    <a:pt x="26" y="35"/>
                    <a:pt x="26" y="35"/>
                    <a:pt x="26" y="35"/>
                  </a:cubicBezTo>
                  <a:cubicBezTo>
                    <a:pt x="33" y="18"/>
                    <a:pt x="33" y="18"/>
                    <a:pt x="33" y="18"/>
                  </a:cubicBezTo>
                  <a:cubicBezTo>
                    <a:pt x="34" y="16"/>
                    <a:pt x="35" y="13"/>
                    <a:pt x="37" y="11"/>
                  </a:cubicBezTo>
                  <a:cubicBezTo>
                    <a:pt x="37" y="11"/>
                    <a:pt x="37" y="11"/>
                    <a:pt x="37" y="11"/>
                  </a:cubicBezTo>
                  <a:cubicBezTo>
                    <a:pt x="37" y="10"/>
                    <a:pt x="37" y="10"/>
                    <a:pt x="37" y="10"/>
                  </a:cubicBezTo>
                  <a:cubicBezTo>
                    <a:pt x="35" y="10"/>
                    <a:pt x="34" y="10"/>
                    <a:pt x="33" y="9"/>
                  </a:cubicBezTo>
                  <a:cubicBezTo>
                    <a:pt x="34" y="8"/>
                    <a:pt x="34" y="8"/>
                    <a:pt x="34" y="7"/>
                  </a:cubicBezTo>
                  <a:cubicBezTo>
                    <a:pt x="34" y="7"/>
                    <a:pt x="34" y="7"/>
                    <a:pt x="34" y="7"/>
                  </a:cubicBezTo>
                  <a:cubicBezTo>
                    <a:pt x="35" y="7"/>
                    <a:pt x="35" y="7"/>
                    <a:pt x="35" y="7"/>
                  </a:cubicBezTo>
                  <a:cubicBezTo>
                    <a:pt x="35" y="6"/>
                    <a:pt x="35" y="6"/>
                    <a:pt x="35" y="6"/>
                  </a:cubicBezTo>
                  <a:cubicBezTo>
                    <a:pt x="34" y="6"/>
                    <a:pt x="34" y="6"/>
                    <a:pt x="34" y="6"/>
                  </a:cubicBezTo>
                  <a:cubicBezTo>
                    <a:pt x="34" y="6"/>
                    <a:pt x="34" y="6"/>
                    <a:pt x="34" y="6"/>
                  </a:cubicBezTo>
                  <a:cubicBezTo>
                    <a:pt x="34" y="6"/>
                    <a:pt x="34" y="6"/>
                    <a:pt x="34" y="6"/>
                  </a:cubicBezTo>
                  <a:cubicBezTo>
                    <a:pt x="33" y="5"/>
                    <a:pt x="33" y="5"/>
                    <a:pt x="33" y="5"/>
                  </a:cubicBezTo>
                  <a:cubicBezTo>
                    <a:pt x="30" y="5"/>
                    <a:pt x="27" y="5"/>
                    <a:pt x="24" y="5"/>
                  </a:cubicBezTo>
                  <a:cubicBezTo>
                    <a:pt x="25" y="3"/>
                    <a:pt x="25" y="2"/>
                    <a:pt x="25" y="1"/>
                  </a:cubicBezTo>
                  <a:cubicBezTo>
                    <a:pt x="25" y="1"/>
                    <a:pt x="25" y="1"/>
                    <a:pt x="25" y="1"/>
                  </a:cubicBezTo>
                  <a:cubicBezTo>
                    <a:pt x="25" y="1"/>
                    <a:pt x="25" y="1"/>
                    <a:pt x="25" y="1"/>
                  </a:cubicBezTo>
                  <a:cubicBezTo>
                    <a:pt x="21" y="0"/>
                    <a:pt x="21" y="0"/>
                    <a:pt x="21" y="0"/>
                  </a:cubicBezTo>
                  <a:cubicBezTo>
                    <a:pt x="21" y="0"/>
                    <a:pt x="20" y="0"/>
                    <a:pt x="20"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10" name="íṡľiḓè"/>
            <p:cNvSpPr/>
            <p:nvPr/>
          </p:nvSpPr>
          <p:spPr bwMode="auto">
            <a:xfrm>
              <a:off x="3917" y="2320"/>
              <a:ext cx="115" cy="104"/>
            </a:xfrm>
            <a:custGeom>
              <a:avLst/>
              <a:gdLst>
                <a:gd name="T0" fmla="*/ 47 w 48"/>
                <a:gd name="T1" fmla="*/ 29 h 44"/>
                <a:gd name="T2" fmla="*/ 42 w 48"/>
                <a:gd name="T3" fmla="*/ 42 h 44"/>
                <a:gd name="T4" fmla="*/ 41 w 48"/>
                <a:gd name="T5" fmla="*/ 32 h 44"/>
                <a:gd name="T6" fmla="*/ 39 w 48"/>
                <a:gd name="T7" fmla="*/ 28 h 44"/>
                <a:gd name="T8" fmla="*/ 34 w 48"/>
                <a:gd name="T9" fmla="*/ 32 h 44"/>
                <a:gd name="T10" fmla="*/ 39 w 48"/>
                <a:gd name="T11" fmla="*/ 22 h 44"/>
                <a:gd name="T12" fmla="*/ 39 w 48"/>
                <a:gd name="T13" fmla="*/ 28 h 44"/>
                <a:gd name="T14" fmla="*/ 30 w 48"/>
                <a:gd name="T15" fmla="*/ 23 h 44"/>
                <a:gd name="T16" fmla="*/ 35 w 48"/>
                <a:gd name="T17" fmla="*/ 24 h 44"/>
                <a:gd name="T18" fmla="*/ 26 w 48"/>
                <a:gd name="T19" fmla="*/ 25 h 44"/>
                <a:gd name="T20" fmla="*/ 31 w 48"/>
                <a:gd name="T21" fmla="*/ 14 h 44"/>
                <a:gd name="T22" fmla="*/ 26 w 48"/>
                <a:gd name="T23" fmla="*/ 25 h 44"/>
                <a:gd name="T24" fmla="*/ 28 w 48"/>
                <a:gd name="T25" fmla="*/ 14 h 44"/>
                <a:gd name="T26" fmla="*/ 22 w 48"/>
                <a:gd name="T27" fmla="*/ 18 h 44"/>
                <a:gd name="T28" fmla="*/ 18 w 48"/>
                <a:gd name="T29" fmla="*/ 13 h 44"/>
                <a:gd name="T30" fmla="*/ 23 w 48"/>
                <a:gd name="T31" fmla="*/ 14 h 44"/>
                <a:gd name="T32" fmla="*/ 22 w 48"/>
                <a:gd name="T33" fmla="*/ 8 h 44"/>
                <a:gd name="T34" fmla="*/ 17 w 48"/>
                <a:gd name="T35" fmla="*/ 12 h 44"/>
                <a:gd name="T36" fmla="*/ 16 w 48"/>
                <a:gd name="T37" fmla="*/ 8 h 44"/>
                <a:gd name="T38" fmla="*/ 2 w 48"/>
                <a:gd name="T39" fmla="*/ 6 h 44"/>
                <a:gd name="T40" fmla="*/ 9 w 48"/>
                <a:gd name="T41" fmla="*/ 8 h 44"/>
                <a:gd name="T42" fmla="*/ 10 w 48"/>
                <a:gd name="T43" fmla="*/ 13 h 44"/>
                <a:gd name="T44" fmla="*/ 17 w 48"/>
                <a:gd name="T45" fmla="*/ 18 h 44"/>
                <a:gd name="T46" fmla="*/ 17 w 48"/>
                <a:gd name="T47" fmla="*/ 19 h 44"/>
                <a:gd name="T48" fmla="*/ 18 w 48"/>
                <a:gd name="T49" fmla="*/ 19 h 44"/>
                <a:gd name="T50" fmla="*/ 25 w 48"/>
                <a:gd name="T51" fmla="*/ 22 h 44"/>
                <a:gd name="T52" fmla="*/ 30 w 48"/>
                <a:gd name="T53" fmla="*/ 26 h 44"/>
                <a:gd name="T54" fmla="*/ 33 w 48"/>
                <a:gd name="T55" fmla="*/ 33 h 44"/>
                <a:gd name="T56" fmla="*/ 41 w 48"/>
                <a:gd name="T57" fmla="*/ 33 h 44"/>
                <a:gd name="T58" fmla="*/ 10 w 48"/>
                <a:gd name="T59" fmla="*/ 11 h 44"/>
                <a:gd name="T60" fmla="*/ 16 w 48"/>
                <a:gd name="T61" fmla="*/ 4 h 44"/>
                <a:gd name="T62" fmla="*/ 2 w 48"/>
                <a:gd name="T63" fmla="*/ 5 h 44"/>
                <a:gd name="T64" fmla="*/ 14 w 48"/>
                <a:gd name="T65" fmla="*/ 1 h 44"/>
                <a:gd name="T66" fmla="*/ 2 w 48"/>
                <a:gd name="T67" fmla="*/ 5 h 44"/>
                <a:gd name="T68" fmla="*/ 13 w 48"/>
                <a:gd name="T69" fmla="*/ 0 h 44"/>
                <a:gd name="T70" fmla="*/ 1 w 48"/>
                <a:gd name="T71" fmla="*/ 5 h 44"/>
                <a:gd name="T72" fmla="*/ 1 w 48"/>
                <a:gd name="T73" fmla="*/ 24 h 44"/>
                <a:gd name="T74" fmla="*/ 23 w 48"/>
                <a:gd name="T75" fmla="*/ 43 h 44"/>
                <a:gd name="T76" fmla="*/ 42 w 48"/>
                <a:gd name="T77" fmla="*/ 44 h 44"/>
                <a:gd name="T78" fmla="*/ 43 w 48"/>
                <a:gd name="T79" fmla="*/ 43 h 44"/>
                <a:gd name="T80" fmla="*/ 48 w 48"/>
                <a:gd name="T81" fmla="*/ 36 h 44"/>
                <a:gd name="T82" fmla="*/ 48 w 48"/>
                <a:gd name="T83" fmla="*/ 27 h 44"/>
                <a:gd name="T84" fmla="*/ 47 w 48"/>
                <a:gd name="T85" fmla="*/ 27 h 44"/>
                <a:gd name="T86" fmla="*/ 40 w 48"/>
                <a:gd name="T87" fmla="*/ 27 h 44"/>
                <a:gd name="T88" fmla="*/ 40 w 48"/>
                <a:gd name="T89" fmla="*/ 20 h 44"/>
                <a:gd name="T90" fmla="*/ 39 w 48"/>
                <a:gd name="T91" fmla="*/ 20 h 44"/>
                <a:gd name="T92" fmla="*/ 32 w 48"/>
                <a:gd name="T93" fmla="*/ 13 h 44"/>
                <a:gd name="T94" fmla="*/ 31 w 48"/>
                <a:gd name="T95" fmla="*/ 13 h 44"/>
                <a:gd name="T96" fmla="*/ 24 w 48"/>
                <a:gd name="T97" fmla="*/ 13 h 44"/>
                <a:gd name="T98" fmla="*/ 24 w 48"/>
                <a:gd name="T99" fmla="*/ 7 h 44"/>
                <a:gd name="T100" fmla="*/ 24 w 48"/>
                <a:gd name="T101" fmla="*/ 7 h 44"/>
                <a:gd name="T102" fmla="*/ 17 w 48"/>
                <a:gd name="T103" fmla="*/ 7 h 44"/>
                <a:gd name="T104" fmla="*/ 17 w 48"/>
                <a:gd name="T10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 h="44">
                  <a:moveTo>
                    <a:pt x="42" y="42"/>
                  </a:moveTo>
                  <a:cubicBezTo>
                    <a:pt x="42" y="33"/>
                    <a:pt x="42" y="33"/>
                    <a:pt x="42" y="33"/>
                  </a:cubicBezTo>
                  <a:cubicBezTo>
                    <a:pt x="42" y="32"/>
                    <a:pt x="43" y="32"/>
                    <a:pt x="43" y="31"/>
                  </a:cubicBezTo>
                  <a:cubicBezTo>
                    <a:pt x="44" y="30"/>
                    <a:pt x="45" y="29"/>
                    <a:pt x="47" y="29"/>
                  </a:cubicBezTo>
                  <a:cubicBezTo>
                    <a:pt x="47" y="30"/>
                    <a:pt x="47" y="31"/>
                    <a:pt x="47" y="32"/>
                  </a:cubicBezTo>
                  <a:cubicBezTo>
                    <a:pt x="47" y="34"/>
                    <a:pt x="47" y="35"/>
                    <a:pt x="47" y="36"/>
                  </a:cubicBezTo>
                  <a:cubicBezTo>
                    <a:pt x="47" y="37"/>
                    <a:pt x="47" y="37"/>
                    <a:pt x="47" y="37"/>
                  </a:cubicBezTo>
                  <a:cubicBezTo>
                    <a:pt x="45" y="39"/>
                    <a:pt x="44" y="41"/>
                    <a:pt x="42" y="42"/>
                  </a:cubicBezTo>
                  <a:moveTo>
                    <a:pt x="42" y="28"/>
                  </a:moveTo>
                  <a:cubicBezTo>
                    <a:pt x="43" y="28"/>
                    <a:pt x="44" y="28"/>
                    <a:pt x="45" y="28"/>
                  </a:cubicBezTo>
                  <a:cubicBezTo>
                    <a:pt x="44" y="29"/>
                    <a:pt x="44" y="30"/>
                    <a:pt x="43" y="31"/>
                  </a:cubicBezTo>
                  <a:cubicBezTo>
                    <a:pt x="42" y="31"/>
                    <a:pt x="42" y="32"/>
                    <a:pt x="41" y="32"/>
                  </a:cubicBezTo>
                  <a:cubicBezTo>
                    <a:pt x="39" y="33"/>
                    <a:pt x="38" y="33"/>
                    <a:pt x="36" y="33"/>
                  </a:cubicBezTo>
                  <a:cubicBezTo>
                    <a:pt x="36" y="33"/>
                    <a:pt x="36" y="33"/>
                    <a:pt x="35" y="33"/>
                  </a:cubicBezTo>
                  <a:cubicBezTo>
                    <a:pt x="36" y="32"/>
                    <a:pt x="38" y="30"/>
                    <a:pt x="39" y="29"/>
                  </a:cubicBezTo>
                  <a:cubicBezTo>
                    <a:pt x="39" y="28"/>
                    <a:pt x="39" y="28"/>
                    <a:pt x="39" y="28"/>
                  </a:cubicBezTo>
                  <a:cubicBezTo>
                    <a:pt x="40" y="28"/>
                    <a:pt x="40" y="28"/>
                    <a:pt x="40" y="28"/>
                  </a:cubicBezTo>
                  <a:cubicBezTo>
                    <a:pt x="41" y="28"/>
                    <a:pt x="41" y="28"/>
                    <a:pt x="41" y="28"/>
                  </a:cubicBezTo>
                  <a:cubicBezTo>
                    <a:pt x="41" y="28"/>
                    <a:pt x="42" y="28"/>
                    <a:pt x="42" y="28"/>
                  </a:cubicBezTo>
                  <a:moveTo>
                    <a:pt x="34" y="32"/>
                  </a:moveTo>
                  <a:cubicBezTo>
                    <a:pt x="34" y="30"/>
                    <a:pt x="34" y="30"/>
                    <a:pt x="34" y="28"/>
                  </a:cubicBezTo>
                  <a:cubicBezTo>
                    <a:pt x="34" y="28"/>
                    <a:pt x="34" y="27"/>
                    <a:pt x="34" y="26"/>
                  </a:cubicBezTo>
                  <a:cubicBezTo>
                    <a:pt x="35" y="26"/>
                    <a:pt x="35" y="25"/>
                    <a:pt x="36" y="24"/>
                  </a:cubicBezTo>
                  <a:cubicBezTo>
                    <a:pt x="37" y="23"/>
                    <a:pt x="38" y="23"/>
                    <a:pt x="39" y="22"/>
                  </a:cubicBezTo>
                  <a:cubicBezTo>
                    <a:pt x="39" y="23"/>
                    <a:pt x="39" y="23"/>
                    <a:pt x="39" y="24"/>
                  </a:cubicBezTo>
                  <a:cubicBezTo>
                    <a:pt x="39" y="25"/>
                    <a:pt x="39" y="26"/>
                    <a:pt x="39" y="28"/>
                  </a:cubicBezTo>
                  <a:cubicBezTo>
                    <a:pt x="39" y="28"/>
                    <a:pt x="39" y="28"/>
                    <a:pt x="39" y="28"/>
                  </a:cubicBezTo>
                  <a:cubicBezTo>
                    <a:pt x="39" y="28"/>
                    <a:pt x="39" y="28"/>
                    <a:pt x="39" y="28"/>
                  </a:cubicBezTo>
                  <a:cubicBezTo>
                    <a:pt x="38" y="29"/>
                    <a:pt x="38" y="29"/>
                    <a:pt x="38" y="29"/>
                  </a:cubicBezTo>
                  <a:cubicBezTo>
                    <a:pt x="37" y="30"/>
                    <a:pt x="36" y="31"/>
                    <a:pt x="34" y="32"/>
                  </a:cubicBezTo>
                  <a:moveTo>
                    <a:pt x="27" y="25"/>
                  </a:moveTo>
                  <a:cubicBezTo>
                    <a:pt x="28" y="25"/>
                    <a:pt x="29" y="24"/>
                    <a:pt x="30" y="23"/>
                  </a:cubicBezTo>
                  <a:cubicBezTo>
                    <a:pt x="31" y="22"/>
                    <a:pt x="32" y="22"/>
                    <a:pt x="32" y="21"/>
                  </a:cubicBezTo>
                  <a:cubicBezTo>
                    <a:pt x="33" y="21"/>
                    <a:pt x="34" y="21"/>
                    <a:pt x="36" y="21"/>
                  </a:cubicBezTo>
                  <a:cubicBezTo>
                    <a:pt x="36" y="21"/>
                    <a:pt x="37" y="21"/>
                    <a:pt x="38" y="21"/>
                  </a:cubicBezTo>
                  <a:cubicBezTo>
                    <a:pt x="37" y="22"/>
                    <a:pt x="36" y="23"/>
                    <a:pt x="35" y="24"/>
                  </a:cubicBezTo>
                  <a:cubicBezTo>
                    <a:pt x="34" y="24"/>
                    <a:pt x="34" y="25"/>
                    <a:pt x="33" y="25"/>
                  </a:cubicBezTo>
                  <a:cubicBezTo>
                    <a:pt x="32" y="25"/>
                    <a:pt x="31" y="25"/>
                    <a:pt x="30" y="25"/>
                  </a:cubicBezTo>
                  <a:cubicBezTo>
                    <a:pt x="29" y="25"/>
                    <a:pt x="28" y="25"/>
                    <a:pt x="27" y="25"/>
                  </a:cubicBezTo>
                  <a:moveTo>
                    <a:pt x="26" y="25"/>
                  </a:moveTo>
                  <a:cubicBezTo>
                    <a:pt x="26" y="24"/>
                    <a:pt x="26" y="23"/>
                    <a:pt x="26" y="22"/>
                  </a:cubicBezTo>
                  <a:cubicBezTo>
                    <a:pt x="26" y="21"/>
                    <a:pt x="26" y="20"/>
                    <a:pt x="26" y="19"/>
                  </a:cubicBezTo>
                  <a:cubicBezTo>
                    <a:pt x="26" y="18"/>
                    <a:pt x="27" y="18"/>
                    <a:pt x="27" y="17"/>
                  </a:cubicBezTo>
                  <a:cubicBezTo>
                    <a:pt x="28" y="16"/>
                    <a:pt x="29" y="15"/>
                    <a:pt x="31" y="14"/>
                  </a:cubicBezTo>
                  <a:cubicBezTo>
                    <a:pt x="31" y="15"/>
                    <a:pt x="31" y="16"/>
                    <a:pt x="31" y="17"/>
                  </a:cubicBezTo>
                  <a:cubicBezTo>
                    <a:pt x="31" y="19"/>
                    <a:pt x="31" y="20"/>
                    <a:pt x="31" y="21"/>
                  </a:cubicBezTo>
                  <a:cubicBezTo>
                    <a:pt x="30" y="21"/>
                    <a:pt x="30" y="22"/>
                    <a:pt x="29" y="22"/>
                  </a:cubicBezTo>
                  <a:cubicBezTo>
                    <a:pt x="28" y="23"/>
                    <a:pt x="27" y="24"/>
                    <a:pt x="26" y="25"/>
                  </a:cubicBezTo>
                  <a:moveTo>
                    <a:pt x="20" y="18"/>
                  </a:moveTo>
                  <a:cubicBezTo>
                    <a:pt x="21" y="17"/>
                    <a:pt x="23" y="15"/>
                    <a:pt x="23" y="15"/>
                  </a:cubicBezTo>
                  <a:cubicBezTo>
                    <a:pt x="24" y="15"/>
                    <a:pt x="24" y="15"/>
                    <a:pt x="24" y="14"/>
                  </a:cubicBezTo>
                  <a:cubicBezTo>
                    <a:pt x="25" y="14"/>
                    <a:pt x="27" y="14"/>
                    <a:pt x="28" y="14"/>
                  </a:cubicBezTo>
                  <a:cubicBezTo>
                    <a:pt x="29" y="14"/>
                    <a:pt x="29" y="14"/>
                    <a:pt x="29" y="14"/>
                  </a:cubicBezTo>
                  <a:cubicBezTo>
                    <a:pt x="28" y="15"/>
                    <a:pt x="28" y="16"/>
                    <a:pt x="27" y="16"/>
                  </a:cubicBezTo>
                  <a:cubicBezTo>
                    <a:pt x="26" y="17"/>
                    <a:pt x="25" y="18"/>
                    <a:pt x="25" y="18"/>
                  </a:cubicBezTo>
                  <a:cubicBezTo>
                    <a:pt x="24" y="18"/>
                    <a:pt x="23" y="18"/>
                    <a:pt x="22" y="18"/>
                  </a:cubicBezTo>
                  <a:cubicBezTo>
                    <a:pt x="21" y="18"/>
                    <a:pt x="21" y="18"/>
                    <a:pt x="20" y="18"/>
                  </a:cubicBezTo>
                  <a:moveTo>
                    <a:pt x="18" y="18"/>
                  </a:moveTo>
                  <a:cubicBezTo>
                    <a:pt x="18" y="16"/>
                    <a:pt x="18" y="15"/>
                    <a:pt x="18" y="13"/>
                  </a:cubicBezTo>
                  <a:cubicBezTo>
                    <a:pt x="18" y="13"/>
                    <a:pt x="18" y="13"/>
                    <a:pt x="18" y="13"/>
                  </a:cubicBezTo>
                  <a:cubicBezTo>
                    <a:pt x="19" y="12"/>
                    <a:pt x="19" y="12"/>
                    <a:pt x="20" y="11"/>
                  </a:cubicBezTo>
                  <a:cubicBezTo>
                    <a:pt x="21" y="10"/>
                    <a:pt x="22" y="9"/>
                    <a:pt x="23" y="8"/>
                  </a:cubicBezTo>
                  <a:cubicBezTo>
                    <a:pt x="23" y="9"/>
                    <a:pt x="23" y="10"/>
                    <a:pt x="23" y="11"/>
                  </a:cubicBezTo>
                  <a:cubicBezTo>
                    <a:pt x="23" y="12"/>
                    <a:pt x="23" y="13"/>
                    <a:pt x="23" y="14"/>
                  </a:cubicBezTo>
                  <a:cubicBezTo>
                    <a:pt x="22" y="14"/>
                    <a:pt x="22" y="14"/>
                    <a:pt x="22" y="14"/>
                  </a:cubicBezTo>
                  <a:cubicBezTo>
                    <a:pt x="21" y="15"/>
                    <a:pt x="20" y="17"/>
                    <a:pt x="18" y="18"/>
                  </a:cubicBezTo>
                  <a:moveTo>
                    <a:pt x="17" y="8"/>
                  </a:moveTo>
                  <a:cubicBezTo>
                    <a:pt x="18" y="8"/>
                    <a:pt x="20" y="8"/>
                    <a:pt x="22" y="8"/>
                  </a:cubicBezTo>
                  <a:cubicBezTo>
                    <a:pt x="22" y="8"/>
                    <a:pt x="22" y="8"/>
                    <a:pt x="22" y="8"/>
                  </a:cubicBezTo>
                  <a:cubicBezTo>
                    <a:pt x="21" y="9"/>
                    <a:pt x="20" y="9"/>
                    <a:pt x="19" y="10"/>
                  </a:cubicBezTo>
                  <a:cubicBezTo>
                    <a:pt x="19" y="11"/>
                    <a:pt x="18" y="11"/>
                    <a:pt x="17" y="12"/>
                  </a:cubicBezTo>
                  <a:cubicBezTo>
                    <a:pt x="17" y="12"/>
                    <a:pt x="17" y="12"/>
                    <a:pt x="17" y="12"/>
                  </a:cubicBezTo>
                  <a:cubicBezTo>
                    <a:pt x="16" y="12"/>
                    <a:pt x="14" y="11"/>
                    <a:pt x="13" y="11"/>
                  </a:cubicBezTo>
                  <a:cubicBezTo>
                    <a:pt x="12" y="11"/>
                    <a:pt x="12" y="11"/>
                    <a:pt x="11" y="12"/>
                  </a:cubicBezTo>
                  <a:cubicBezTo>
                    <a:pt x="12" y="11"/>
                    <a:pt x="14" y="10"/>
                    <a:pt x="15" y="9"/>
                  </a:cubicBezTo>
                  <a:cubicBezTo>
                    <a:pt x="15" y="9"/>
                    <a:pt x="16" y="8"/>
                    <a:pt x="16" y="8"/>
                  </a:cubicBezTo>
                  <a:cubicBezTo>
                    <a:pt x="16" y="8"/>
                    <a:pt x="17" y="8"/>
                    <a:pt x="17" y="8"/>
                  </a:cubicBezTo>
                  <a:moveTo>
                    <a:pt x="2" y="43"/>
                  </a:moveTo>
                  <a:cubicBezTo>
                    <a:pt x="2" y="35"/>
                    <a:pt x="2" y="30"/>
                    <a:pt x="2" y="24"/>
                  </a:cubicBezTo>
                  <a:cubicBezTo>
                    <a:pt x="1" y="19"/>
                    <a:pt x="1" y="14"/>
                    <a:pt x="2" y="6"/>
                  </a:cubicBezTo>
                  <a:cubicBezTo>
                    <a:pt x="2" y="6"/>
                    <a:pt x="3" y="6"/>
                    <a:pt x="4" y="6"/>
                  </a:cubicBezTo>
                  <a:cubicBezTo>
                    <a:pt x="5" y="6"/>
                    <a:pt x="6" y="6"/>
                    <a:pt x="7" y="6"/>
                  </a:cubicBezTo>
                  <a:cubicBezTo>
                    <a:pt x="8" y="6"/>
                    <a:pt x="8" y="6"/>
                    <a:pt x="9" y="6"/>
                  </a:cubicBezTo>
                  <a:cubicBezTo>
                    <a:pt x="9" y="7"/>
                    <a:pt x="9" y="7"/>
                    <a:pt x="9" y="8"/>
                  </a:cubicBezTo>
                  <a:cubicBezTo>
                    <a:pt x="9" y="9"/>
                    <a:pt x="9" y="10"/>
                    <a:pt x="10" y="12"/>
                  </a:cubicBezTo>
                  <a:cubicBezTo>
                    <a:pt x="10" y="12"/>
                    <a:pt x="10" y="12"/>
                    <a:pt x="10" y="12"/>
                  </a:cubicBezTo>
                  <a:cubicBezTo>
                    <a:pt x="10" y="13"/>
                    <a:pt x="10" y="13"/>
                    <a:pt x="10" y="13"/>
                  </a:cubicBezTo>
                  <a:cubicBezTo>
                    <a:pt x="10" y="13"/>
                    <a:pt x="10" y="13"/>
                    <a:pt x="10" y="13"/>
                  </a:cubicBezTo>
                  <a:cubicBezTo>
                    <a:pt x="10" y="13"/>
                    <a:pt x="10" y="13"/>
                    <a:pt x="10" y="13"/>
                  </a:cubicBezTo>
                  <a:cubicBezTo>
                    <a:pt x="11" y="12"/>
                    <a:pt x="12" y="12"/>
                    <a:pt x="13" y="12"/>
                  </a:cubicBezTo>
                  <a:cubicBezTo>
                    <a:pt x="14" y="12"/>
                    <a:pt x="15" y="13"/>
                    <a:pt x="17" y="13"/>
                  </a:cubicBezTo>
                  <a:cubicBezTo>
                    <a:pt x="17" y="15"/>
                    <a:pt x="17" y="16"/>
                    <a:pt x="17" y="18"/>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8" y="19"/>
                    <a:pt x="18" y="19"/>
                    <a:pt x="18" y="19"/>
                  </a:cubicBezTo>
                  <a:cubicBezTo>
                    <a:pt x="18" y="19"/>
                    <a:pt x="18" y="19"/>
                    <a:pt x="18" y="19"/>
                  </a:cubicBezTo>
                  <a:cubicBezTo>
                    <a:pt x="18" y="19"/>
                    <a:pt x="18" y="19"/>
                    <a:pt x="18" y="19"/>
                  </a:cubicBezTo>
                  <a:cubicBezTo>
                    <a:pt x="18" y="19"/>
                    <a:pt x="18" y="19"/>
                    <a:pt x="18" y="19"/>
                  </a:cubicBezTo>
                  <a:cubicBezTo>
                    <a:pt x="19" y="19"/>
                    <a:pt x="21" y="19"/>
                    <a:pt x="22" y="19"/>
                  </a:cubicBezTo>
                  <a:cubicBezTo>
                    <a:pt x="23" y="19"/>
                    <a:pt x="24" y="19"/>
                    <a:pt x="25" y="19"/>
                  </a:cubicBezTo>
                  <a:cubicBezTo>
                    <a:pt x="25" y="20"/>
                    <a:pt x="25" y="21"/>
                    <a:pt x="25" y="22"/>
                  </a:cubicBezTo>
                  <a:cubicBezTo>
                    <a:pt x="25" y="23"/>
                    <a:pt x="25" y="24"/>
                    <a:pt x="25" y="26"/>
                  </a:cubicBezTo>
                  <a:cubicBezTo>
                    <a:pt x="25" y="26"/>
                    <a:pt x="25" y="26"/>
                    <a:pt x="25" y="26"/>
                  </a:cubicBezTo>
                  <a:cubicBezTo>
                    <a:pt x="26" y="26"/>
                    <a:pt x="26" y="26"/>
                    <a:pt x="26" y="26"/>
                  </a:cubicBezTo>
                  <a:cubicBezTo>
                    <a:pt x="27" y="26"/>
                    <a:pt x="28" y="26"/>
                    <a:pt x="30" y="26"/>
                  </a:cubicBezTo>
                  <a:cubicBezTo>
                    <a:pt x="31" y="26"/>
                    <a:pt x="32" y="26"/>
                    <a:pt x="33" y="26"/>
                  </a:cubicBezTo>
                  <a:cubicBezTo>
                    <a:pt x="33" y="27"/>
                    <a:pt x="33" y="28"/>
                    <a:pt x="33" y="29"/>
                  </a:cubicBezTo>
                  <a:cubicBezTo>
                    <a:pt x="33" y="30"/>
                    <a:pt x="33" y="31"/>
                    <a:pt x="33" y="33"/>
                  </a:cubicBezTo>
                  <a:cubicBezTo>
                    <a:pt x="33" y="33"/>
                    <a:pt x="33" y="33"/>
                    <a:pt x="33" y="33"/>
                  </a:cubicBezTo>
                  <a:cubicBezTo>
                    <a:pt x="34" y="33"/>
                    <a:pt x="34" y="33"/>
                    <a:pt x="34" y="33"/>
                  </a:cubicBezTo>
                  <a:cubicBezTo>
                    <a:pt x="34" y="34"/>
                    <a:pt x="34" y="34"/>
                    <a:pt x="34" y="34"/>
                  </a:cubicBezTo>
                  <a:cubicBezTo>
                    <a:pt x="35" y="34"/>
                    <a:pt x="36" y="34"/>
                    <a:pt x="36" y="34"/>
                  </a:cubicBezTo>
                  <a:cubicBezTo>
                    <a:pt x="38" y="34"/>
                    <a:pt x="39" y="34"/>
                    <a:pt x="41" y="33"/>
                  </a:cubicBezTo>
                  <a:cubicBezTo>
                    <a:pt x="41" y="43"/>
                    <a:pt x="41" y="43"/>
                    <a:pt x="41" y="43"/>
                  </a:cubicBezTo>
                  <a:cubicBezTo>
                    <a:pt x="35" y="42"/>
                    <a:pt x="29" y="42"/>
                    <a:pt x="23" y="42"/>
                  </a:cubicBezTo>
                  <a:cubicBezTo>
                    <a:pt x="17" y="42"/>
                    <a:pt x="10" y="42"/>
                    <a:pt x="2" y="43"/>
                  </a:cubicBezTo>
                  <a:moveTo>
                    <a:pt x="10" y="11"/>
                  </a:moveTo>
                  <a:cubicBezTo>
                    <a:pt x="10" y="10"/>
                    <a:pt x="10" y="9"/>
                    <a:pt x="10" y="8"/>
                  </a:cubicBezTo>
                  <a:cubicBezTo>
                    <a:pt x="10" y="7"/>
                    <a:pt x="10" y="7"/>
                    <a:pt x="10" y="6"/>
                  </a:cubicBezTo>
                  <a:cubicBezTo>
                    <a:pt x="11" y="5"/>
                    <a:pt x="13" y="3"/>
                    <a:pt x="16" y="1"/>
                  </a:cubicBezTo>
                  <a:cubicBezTo>
                    <a:pt x="16" y="2"/>
                    <a:pt x="16" y="3"/>
                    <a:pt x="16" y="4"/>
                  </a:cubicBezTo>
                  <a:cubicBezTo>
                    <a:pt x="16" y="5"/>
                    <a:pt x="16" y="6"/>
                    <a:pt x="16" y="7"/>
                  </a:cubicBezTo>
                  <a:cubicBezTo>
                    <a:pt x="15" y="8"/>
                    <a:pt x="15" y="8"/>
                    <a:pt x="14" y="8"/>
                  </a:cubicBezTo>
                  <a:cubicBezTo>
                    <a:pt x="13" y="9"/>
                    <a:pt x="12" y="10"/>
                    <a:pt x="10" y="11"/>
                  </a:cubicBezTo>
                  <a:moveTo>
                    <a:pt x="2" y="5"/>
                  </a:moveTo>
                  <a:cubicBezTo>
                    <a:pt x="7" y="2"/>
                    <a:pt x="7" y="2"/>
                    <a:pt x="7" y="2"/>
                  </a:cubicBezTo>
                  <a:cubicBezTo>
                    <a:pt x="7" y="2"/>
                    <a:pt x="8" y="2"/>
                    <a:pt x="8" y="2"/>
                  </a:cubicBezTo>
                  <a:cubicBezTo>
                    <a:pt x="9" y="1"/>
                    <a:pt x="11" y="1"/>
                    <a:pt x="13" y="1"/>
                  </a:cubicBezTo>
                  <a:cubicBezTo>
                    <a:pt x="13" y="1"/>
                    <a:pt x="14" y="1"/>
                    <a:pt x="14" y="1"/>
                  </a:cubicBezTo>
                  <a:cubicBezTo>
                    <a:pt x="12" y="3"/>
                    <a:pt x="10" y="4"/>
                    <a:pt x="9" y="5"/>
                  </a:cubicBezTo>
                  <a:cubicBezTo>
                    <a:pt x="8" y="5"/>
                    <a:pt x="7" y="5"/>
                    <a:pt x="6" y="5"/>
                  </a:cubicBezTo>
                  <a:cubicBezTo>
                    <a:pt x="6" y="5"/>
                    <a:pt x="5" y="5"/>
                    <a:pt x="4" y="5"/>
                  </a:cubicBezTo>
                  <a:cubicBezTo>
                    <a:pt x="4" y="5"/>
                    <a:pt x="3" y="5"/>
                    <a:pt x="2" y="5"/>
                  </a:cubicBezTo>
                  <a:moveTo>
                    <a:pt x="16" y="0"/>
                  </a:moveTo>
                  <a:cubicBezTo>
                    <a:pt x="16" y="0"/>
                    <a:pt x="16" y="0"/>
                    <a:pt x="16" y="0"/>
                  </a:cubicBezTo>
                  <a:cubicBezTo>
                    <a:pt x="16" y="0"/>
                    <a:pt x="16" y="0"/>
                    <a:pt x="16" y="0"/>
                  </a:cubicBezTo>
                  <a:cubicBezTo>
                    <a:pt x="15" y="0"/>
                    <a:pt x="14" y="0"/>
                    <a:pt x="13" y="0"/>
                  </a:cubicBezTo>
                  <a:cubicBezTo>
                    <a:pt x="11" y="0"/>
                    <a:pt x="9" y="0"/>
                    <a:pt x="8" y="1"/>
                  </a:cubicBezTo>
                  <a:cubicBezTo>
                    <a:pt x="7" y="1"/>
                    <a:pt x="7" y="1"/>
                    <a:pt x="6" y="2"/>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0" y="14"/>
                    <a:pt x="0" y="19"/>
                    <a:pt x="1" y="24"/>
                  </a:cubicBezTo>
                  <a:cubicBezTo>
                    <a:pt x="1" y="30"/>
                    <a:pt x="1" y="35"/>
                    <a:pt x="1" y="43"/>
                  </a:cubicBezTo>
                  <a:cubicBezTo>
                    <a:pt x="0" y="43"/>
                    <a:pt x="0" y="43"/>
                    <a:pt x="0" y="43"/>
                  </a:cubicBezTo>
                  <a:cubicBezTo>
                    <a:pt x="1" y="44"/>
                    <a:pt x="1" y="44"/>
                    <a:pt x="1" y="44"/>
                  </a:cubicBezTo>
                  <a:cubicBezTo>
                    <a:pt x="9" y="43"/>
                    <a:pt x="16" y="43"/>
                    <a:pt x="23" y="43"/>
                  </a:cubicBezTo>
                  <a:cubicBezTo>
                    <a:pt x="29" y="43"/>
                    <a:pt x="35" y="43"/>
                    <a:pt x="41" y="44"/>
                  </a:cubicBezTo>
                  <a:cubicBezTo>
                    <a:pt x="42" y="44"/>
                    <a:pt x="42" y="44"/>
                    <a:pt x="42" y="44"/>
                  </a:cubicBezTo>
                  <a:cubicBezTo>
                    <a:pt x="42" y="44"/>
                    <a:pt x="42" y="44"/>
                    <a:pt x="42" y="44"/>
                  </a:cubicBezTo>
                  <a:cubicBezTo>
                    <a:pt x="42" y="44"/>
                    <a:pt x="42" y="44"/>
                    <a:pt x="42" y="44"/>
                  </a:cubicBezTo>
                  <a:cubicBezTo>
                    <a:pt x="42" y="44"/>
                    <a:pt x="42" y="44"/>
                    <a:pt x="42" y="44"/>
                  </a:cubicBezTo>
                  <a:cubicBezTo>
                    <a:pt x="43" y="44"/>
                    <a:pt x="43" y="44"/>
                    <a:pt x="43" y="44"/>
                  </a:cubicBezTo>
                  <a:cubicBezTo>
                    <a:pt x="43" y="43"/>
                    <a:pt x="43" y="43"/>
                    <a:pt x="43" y="43"/>
                  </a:cubicBezTo>
                  <a:cubicBezTo>
                    <a:pt x="43" y="43"/>
                    <a:pt x="43" y="43"/>
                    <a:pt x="43" y="43"/>
                  </a:cubicBezTo>
                  <a:cubicBezTo>
                    <a:pt x="45" y="41"/>
                    <a:pt x="46" y="39"/>
                    <a:pt x="48" y="37"/>
                  </a:cubicBezTo>
                  <a:cubicBezTo>
                    <a:pt x="48" y="36"/>
                    <a:pt x="48" y="36"/>
                    <a:pt x="48" y="36"/>
                  </a:cubicBezTo>
                  <a:cubicBezTo>
                    <a:pt x="48" y="36"/>
                    <a:pt x="48" y="36"/>
                    <a:pt x="48" y="36"/>
                  </a:cubicBezTo>
                  <a:cubicBezTo>
                    <a:pt x="48" y="36"/>
                    <a:pt x="48" y="36"/>
                    <a:pt x="48" y="36"/>
                  </a:cubicBezTo>
                  <a:cubicBezTo>
                    <a:pt x="48" y="35"/>
                    <a:pt x="48" y="34"/>
                    <a:pt x="48" y="32"/>
                  </a:cubicBezTo>
                  <a:cubicBezTo>
                    <a:pt x="48" y="31"/>
                    <a:pt x="48" y="29"/>
                    <a:pt x="48" y="28"/>
                  </a:cubicBezTo>
                  <a:cubicBezTo>
                    <a:pt x="48" y="28"/>
                    <a:pt x="48" y="28"/>
                    <a:pt x="48" y="28"/>
                  </a:cubicBezTo>
                  <a:cubicBezTo>
                    <a:pt x="48" y="27"/>
                    <a:pt x="48" y="27"/>
                    <a:pt x="48" y="27"/>
                  </a:cubicBezTo>
                  <a:cubicBezTo>
                    <a:pt x="48" y="27"/>
                    <a:pt x="48" y="27"/>
                    <a:pt x="48" y="27"/>
                  </a:cubicBezTo>
                  <a:cubicBezTo>
                    <a:pt x="47" y="27"/>
                    <a:pt x="47" y="27"/>
                    <a:pt x="47" y="27"/>
                  </a:cubicBezTo>
                  <a:cubicBezTo>
                    <a:pt x="47" y="27"/>
                    <a:pt x="47" y="27"/>
                    <a:pt x="47" y="27"/>
                  </a:cubicBezTo>
                  <a:cubicBezTo>
                    <a:pt x="47" y="27"/>
                    <a:pt x="47" y="27"/>
                    <a:pt x="47" y="27"/>
                  </a:cubicBezTo>
                  <a:cubicBezTo>
                    <a:pt x="46" y="27"/>
                    <a:pt x="44" y="27"/>
                    <a:pt x="42" y="27"/>
                  </a:cubicBezTo>
                  <a:cubicBezTo>
                    <a:pt x="42" y="27"/>
                    <a:pt x="41" y="27"/>
                    <a:pt x="41" y="27"/>
                  </a:cubicBezTo>
                  <a:cubicBezTo>
                    <a:pt x="40" y="27"/>
                    <a:pt x="40" y="27"/>
                    <a:pt x="40" y="27"/>
                  </a:cubicBezTo>
                  <a:cubicBezTo>
                    <a:pt x="40" y="27"/>
                    <a:pt x="40" y="27"/>
                    <a:pt x="40" y="27"/>
                  </a:cubicBezTo>
                  <a:cubicBezTo>
                    <a:pt x="40" y="26"/>
                    <a:pt x="40" y="25"/>
                    <a:pt x="40" y="24"/>
                  </a:cubicBezTo>
                  <a:cubicBezTo>
                    <a:pt x="40" y="23"/>
                    <a:pt x="40" y="22"/>
                    <a:pt x="40" y="21"/>
                  </a:cubicBezTo>
                  <a:cubicBezTo>
                    <a:pt x="40" y="21"/>
                    <a:pt x="40" y="21"/>
                    <a:pt x="40" y="21"/>
                  </a:cubicBezTo>
                  <a:cubicBezTo>
                    <a:pt x="40" y="20"/>
                    <a:pt x="40" y="20"/>
                    <a:pt x="40" y="20"/>
                  </a:cubicBezTo>
                  <a:cubicBezTo>
                    <a:pt x="40" y="20"/>
                    <a:pt x="40" y="20"/>
                    <a:pt x="40" y="20"/>
                  </a:cubicBezTo>
                  <a:cubicBezTo>
                    <a:pt x="40" y="20"/>
                    <a:pt x="40" y="20"/>
                    <a:pt x="40" y="20"/>
                  </a:cubicBezTo>
                  <a:cubicBezTo>
                    <a:pt x="40" y="20"/>
                    <a:pt x="40" y="20"/>
                    <a:pt x="40" y="20"/>
                  </a:cubicBezTo>
                  <a:cubicBezTo>
                    <a:pt x="39" y="20"/>
                    <a:pt x="39" y="20"/>
                    <a:pt x="39" y="20"/>
                  </a:cubicBezTo>
                  <a:cubicBezTo>
                    <a:pt x="38" y="20"/>
                    <a:pt x="37" y="20"/>
                    <a:pt x="36" y="20"/>
                  </a:cubicBezTo>
                  <a:cubicBezTo>
                    <a:pt x="34" y="20"/>
                    <a:pt x="33" y="20"/>
                    <a:pt x="32" y="20"/>
                  </a:cubicBezTo>
                  <a:cubicBezTo>
                    <a:pt x="32" y="19"/>
                    <a:pt x="32" y="18"/>
                    <a:pt x="32" y="17"/>
                  </a:cubicBezTo>
                  <a:cubicBezTo>
                    <a:pt x="32" y="16"/>
                    <a:pt x="32" y="14"/>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0" y="13"/>
                    <a:pt x="29" y="13"/>
                    <a:pt x="28" y="13"/>
                  </a:cubicBezTo>
                  <a:cubicBezTo>
                    <a:pt x="27" y="13"/>
                    <a:pt x="25" y="13"/>
                    <a:pt x="24" y="13"/>
                  </a:cubicBezTo>
                  <a:cubicBezTo>
                    <a:pt x="24" y="13"/>
                    <a:pt x="24" y="12"/>
                    <a:pt x="24" y="11"/>
                  </a:cubicBezTo>
                  <a:cubicBezTo>
                    <a:pt x="24" y="10"/>
                    <a:pt x="24" y="8"/>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4" y="7"/>
                    <a:pt x="24" y="7"/>
                    <a:pt x="24" y="7"/>
                  </a:cubicBezTo>
                  <a:cubicBezTo>
                    <a:pt x="23" y="7"/>
                    <a:pt x="22" y="7"/>
                    <a:pt x="22" y="7"/>
                  </a:cubicBezTo>
                  <a:cubicBezTo>
                    <a:pt x="20" y="7"/>
                    <a:pt x="18" y="7"/>
                    <a:pt x="17" y="7"/>
                  </a:cubicBezTo>
                  <a:cubicBezTo>
                    <a:pt x="17" y="7"/>
                    <a:pt x="17" y="7"/>
                    <a:pt x="17" y="7"/>
                  </a:cubicBezTo>
                  <a:cubicBezTo>
                    <a:pt x="17" y="6"/>
                    <a:pt x="17" y="5"/>
                    <a:pt x="17" y="4"/>
                  </a:cubicBezTo>
                  <a:cubicBezTo>
                    <a:pt x="17" y="3"/>
                    <a:pt x="17" y="2"/>
                    <a:pt x="17" y="1"/>
                  </a:cubicBezTo>
                  <a:cubicBezTo>
                    <a:pt x="17" y="0"/>
                    <a:pt x="17" y="0"/>
                    <a:pt x="17" y="0"/>
                  </a:cubicBezTo>
                  <a:cubicBezTo>
                    <a:pt x="17" y="0"/>
                    <a:pt x="17" y="0"/>
                    <a:pt x="17" y="0"/>
                  </a:cubicBezTo>
                  <a:cubicBezTo>
                    <a:pt x="17" y="0"/>
                    <a:pt x="17" y="0"/>
                    <a:pt x="17" y="0"/>
                  </a:cubicBezTo>
                  <a:cubicBezTo>
                    <a:pt x="16" y="0"/>
                    <a:pt x="16" y="0"/>
                    <a:pt x="1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11" name="iṩlïďè"/>
            <p:cNvSpPr/>
            <p:nvPr/>
          </p:nvSpPr>
          <p:spPr bwMode="auto">
            <a:xfrm>
              <a:off x="3998" y="2400"/>
              <a:ext cx="14" cy="19"/>
            </a:xfrm>
            <a:custGeom>
              <a:avLst/>
              <a:gdLst>
                <a:gd name="T0" fmla="*/ 2 w 6"/>
                <a:gd name="T1" fmla="*/ 4 h 8"/>
                <a:gd name="T2" fmla="*/ 2 w 6"/>
                <a:gd name="T3" fmla="*/ 1 h 8"/>
                <a:gd name="T4" fmla="*/ 3 w 6"/>
                <a:gd name="T5" fmla="*/ 1 h 8"/>
                <a:gd name="T6" fmla="*/ 4 w 6"/>
                <a:gd name="T7" fmla="*/ 1 h 8"/>
                <a:gd name="T8" fmla="*/ 5 w 6"/>
                <a:gd name="T9" fmla="*/ 1 h 8"/>
                <a:gd name="T10" fmla="*/ 5 w 6"/>
                <a:gd name="T11" fmla="*/ 1 h 8"/>
                <a:gd name="T12" fmla="*/ 5 w 6"/>
                <a:gd name="T13" fmla="*/ 2 h 8"/>
                <a:gd name="T14" fmla="*/ 3 w 6"/>
                <a:gd name="T15" fmla="*/ 2 h 8"/>
                <a:gd name="T16" fmla="*/ 3 w 6"/>
                <a:gd name="T17" fmla="*/ 3 h 8"/>
                <a:gd name="T18" fmla="*/ 3 w 6"/>
                <a:gd name="T19" fmla="*/ 3 h 8"/>
                <a:gd name="T20" fmla="*/ 4 w 6"/>
                <a:gd name="T21" fmla="*/ 7 h 8"/>
                <a:gd name="T22" fmla="*/ 3 w 6"/>
                <a:gd name="T23" fmla="*/ 7 h 8"/>
                <a:gd name="T24" fmla="*/ 1 w 6"/>
                <a:gd name="T25" fmla="*/ 7 h 8"/>
                <a:gd name="T26" fmla="*/ 1 w 6"/>
                <a:gd name="T27" fmla="*/ 6 h 8"/>
                <a:gd name="T28" fmla="*/ 2 w 6"/>
                <a:gd name="T29" fmla="*/ 6 h 8"/>
                <a:gd name="T30" fmla="*/ 3 w 6"/>
                <a:gd name="T31" fmla="*/ 6 h 8"/>
                <a:gd name="T32" fmla="*/ 4 w 6"/>
                <a:gd name="T33" fmla="*/ 4 h 8"/>
                <a:gd name="T34" fmla="*/ 2 w 6"/>
                <a:gd name="T35" fmla="*/ 4 h 8"/>
                <a:gd name="T36" fmla="*/ 2 w 6"/>
                <a:gd name="T37" fmla="*/ 4 h 8"/>
                <a:gd name="T38" fmla="*/ 3 w 6"/>
                <a:gd name="T39" fmla="*/ 0 h 8"/>
                <a:gd name="T40" fmla="*/ 1 w 6"/>
                <a:gd name="T41" fmla="*/ 1 h 8"/>
                <a:gd name="T42" fmla="*/ 1 w 6"/>
                <a:gd name="T43" fmla="*/ 4 h 8"/>
                <a:gd name="T44" fmla="*/ 1 w 6"/>
                <a:gd name="T45" fmla="*/ 5 h 8"/>
                <a:gd name="T46" fmla="*/ 2 w 6"/>
                <a:gd name="T47" fmla="*/ 5 h 8"/>
                <a:gd name="T48" fmla="*/ 2 w 6"/>
                <a:gd name="T49" fmla="*/ 5 h 8"/>
                <a:gd name="T50" fmla="*/ 3 w 6"/>
                <a:gd name="T51" fmla="*/ 5 h 8"/>
                <a:gd name="T52" fmla="*/ 3 w 6"/>
                <a:gd name="T53" fmla="*/ 5 h 8"/>
                <a:gd name="T54" fmla="*/ 2 w 6"/>
                <a:gd name="T55" fmla="*/ 5 h 8"/>
                <a:gd name="T56" fmla="*/ 2 w 6"/>
                <a:gd name="T57" fmla="*/ 5 h 8"/>
                <a:gd name="T58" fmla="*/ 1 w 6"/>
                <a:gd name="T59" fmla="*/ 6 h 8"/>
                <a:gd name="T60" fmla="*/ 1 w 6"/>
                <a:gd name="T61" fmla="*/ 6 h 8"/>
                <a:gd name="T62" fmla="*/ 0 w 6"/>
                <a:gd name="T63" fmla="*/ 7 h 8"/>
                <a:gd name="T64" fmla="*/ 1 w 6"/>
                <a:gd name="T65" fmla="*/ 7 h 8"/>
                <a:gd name="T66" fmla="*/ 3 w 6"/>
                <a:gd name="T67" fmla="*/ 8 h 8"/>
                <a:gd name="T68" fmla="*/ 4 w 6"/>
                <a:gd name="T69" fmla="*/ 7 h 8"/>
                <a:gd name="T70" fmla="*/ 6 w 6"/>
                <a:gd name="T71" fmla="*/ 4 h 8"/>
                <a:gd name="T72" fmla="*/ 5 w 6"/>
                <a:gd name="T73" fmla="*/ 3 h 8"/>
                <a:gd name="T74" fmla="*/ 6 w 6"/>
                <a:gd name="T75" fmla="*/ 2 h 8"/>
                <a:gd name="T76" fmla="*/ 6 w 6"/>
                <a:gd name="T77" fmla="*/ 2 h 8"/>
                <a:gd name="T78" fmla="*/ 6 w 6"/>
                <a:gd name="T79" fmla="*/ 1 h 8"/>
                <a:gd name="T80" fmla="*/ 5 w 6"/>
                <a:gd name="T81" fmla="*/ 0 h 8"/>
                <a:gd name="T82" fmla="*/ 5 w 6"/>
                <a:gd name="T83" fmla="*/ 0 h 8"/>
                <a:gd name="T84" fmla="*/ 4 w 6"/>
                <a:gd name="T85" fmla="*/ 0 h 8"/>
                <a:gd name="T86" fmla="*/ 4 w 6"/>
                <a:gd name="T87" fmla="*/ 0 h 8"/>
                <a:gd name="T88" fmla="*/ 3 w 6"/>
                <a:gd name="T8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 h="8">
                  <a:moveTo>
                    <a:pt x="2" y="4"/>
                  </a:moveTo>
                  <a:cubicBezTo>
                    <a:pt x="2" y="3"/>
                    <a:pt x="2" y="2"/>
                    <a:pt x="2" y="1"/>
                  </a:cubicBezTo>
                  <a:cubicBezTo>
                    <a:pt x="2" y="1"/>
                    <a:pt x="2" y="1"/>
                    <a:pt x="3" y="1"/>
                  </a:cubicBezTo>
                  <a:cubicBezTo>
                    <a:pt x="3" y="1"/>
                    <a:pt x="4" y="1"/>
                    <a:pt x="4" y="1"/>
                  </a:cubicBezTo>
                  <a:cubicBezTo>
                    <a:pt x="5" y="1"/>
                    <a:pt x="5" y="1"/>
                    <a:pt x="5" y="1"/>
                  </a:cubicBezTo>
                  <a:cubicBezTo>
                    <a:pt x="5" y="1"/>
                    <a:pt x="5" y="1"/>
                    <a:pt x="5" y="1"/>
                  </a:cubicBezTo>
                  <a:cubicBezTo>
                    <a:pt x="5" y="2"/>
                    <a:pt x="5" y="2"/>
                    <a:pt x="5" y="2"/>
                  </a:cubicBezTo>
                  <a:cubicBezTo>
                    <a:pt x="4" y="2"/>
                    <a:pt x="4" y="2"/>
                    <a:pt x="3" y="2"/>
                  </a:cubicBezTo>
                  <a:cubicBezTo>
                    <a:pt x="3" y="2"/>
                    <a:pt x="3" y="2"/>
                    <a:pt x="3" y="3"/>
                  </a:cubicBezTo>
                  <a:cubicBezTo>
                    <a:pt x="3" y="3"/>
                    <a:pt x="3" y="3"/>
                    <a:pt x="3" y="3"/>
                  </a:cubicBezTo>
                  <a:cubicBezTo>
                    <a:pt x="5" y="3"/>
                    <a:pt x="6" y="6"/>
                    <a:pt x="4" y="7"/>
                  </a:cubicBezTo>
                  <a:cubicBezTo>
                    <a:pt x="4" y="7"/>
                    <a:pt x="3" y="7"/>
                    <a:pt x="3" y="7"/>
                  </a:cubicBezTo>
                  <a:cubicBezTo>
                    <a:pt x="2" y="7"/>
                    <a:pt x="2" y="7"/>
                    <a:pt x="1" y="7"/>
                  </a:cubicBezTo>
                  <a:cubicBezTo>
                    <a:pt x="1" y="6"/>
                    <a:pt x="1" y="6"/>
                    <a:pt x="1" y="6"/>
                  </a:cubicBezTo>
                  <a:cubicBezTo>
                    <a:pt x="2" y="6"/>
                    <a:pt x="2" y="6"/>
                    <a:pt x="2" y="6"/>
                  </a:cubicBezTo>
                  <a:cubicBezTo>
                    <a:pt x="3" y="6"/>
                    <a:pt x="3" y="6"/>
                    <a:pt x="3" y="6"/>
                  </a:cubicBezTo>
                  <a:cubicBezTo>
                    <a:pt x="4" y="6"/>
                    <a:pt x="5" y="5"/>
                    <a:pt x="4" y="4"/>
                  </a:cubicBezTo>
                  <a:cubicBezTo>
                    <a:pt x="3" y="4"/>
                    <a:pt x="3" y="4"/>
                    <a:pt x="2" y="4"/>
                  </a:cubicBezTo>
                  <a:cubicBezTo>
                    <a:pt x="2" y="4"/>
                    <a:pt x="2" y="4"/>
                    <a:pt x="2" y="4"/>
                  </a:cubicBezTo>
                  <a:moveTo>
                    <a:pt x="3" y="0"/>
                  </a:moveTo>
                  <a:cubicBezTo>
                    <a:pt x="1" y="0"/>
                    <a:pt x="1" y="1"/>
                    <a:pt x="1" y="1"/>
                  </a:cubicBezTo>
                  <a:cubicBezTo>
                    <a:pt x="1" y="4"/>
                    <a:pt x="1" y="4"/>
                    <a:pt x="1" y="4"/>
                  </a:cubicBezTo>
                  <a:cubicBezTo>
                    <a:pt x="1" y="5"/>
                    <a:pt x="1" y="5"/>
                    <a:pt x="1" y="5"/>
                  </a:cubicBezTo>
                  <a:cubicBezTo>
                    <a:pt x="2" y="5"/>
                    <a:pt x="2" y="5"/>
                    <a:pt x="2" y="5"/>
                  </a:cubicBezTo>
                  <a:cubicBezTo>
                    <a:pt x="2" y="5"/>
                    <a:pt x="2" y="5"/>
                    <a:pt x="2" y="5"/>
                  </a:cubicBezTo>
                  <a:cubicBezTo>
                    <a:pt x="3" y="5"/>
                    <a:pt x="3" y="5"/>
                    <a:pt x="3" y="5"/>
                  </a:cubicBezTo>
                  <a:cubicBezTo>
                    <a:pt x="3" y="5"/>
                    <a:pt x="3" y="5"/>
                    <a:pt x="3" y="5"/>
                  </a:cubicBezTo>
                  <a:cubicBezTo>
                    <a:pt x="2" y="5"/>
                    <a:pt x="2" y="5"/>
                    <a:pt x="2" y="5"/>
                  </a:cubicBezTo>
                  <a:cubicBezTo>
                    <a:pt x="2" y="5"/>
                    <a:pt x="2" y="5"/>
                    <a:pt x="2" y="5"/>
                  </a:cubicBezTo>
                  <a:cubicBezTo>
                    <a:pt x="1" y="5"/>
                    <a:pt x="1" y="5"/>
                    <a:pt x="1" y="6"/>
                  </a:cubicBezTo>
                  <a:cubicBezTo>
                    <a:pt x="1" y="6"/>
                    <a:pt x="1" y="6"/>
                    <a:pt x="1" y="6"/>
                  </a:cubicBezTo>
                  <a:cubicBezTo>
                    <a:pt x="0" y="6"/>
                    <a:pt x="0" y="7"/>
                    <a:pt x="0" y="7"/>
                  </a:cubicBezTo>
                  <a:cubicBezTo>
                    <a:pt x="1" y="7"/>
                    <a:pt x="1" y="7"/>
                    <a:pt x="1" y="7"/>
                  </a:cubicBezTo>
                  <a:cubicBezTo>
                    <a:pt x="1" y="8"/>
                    <a:pt x="2" y="8"/>
                    <a:pt x="3" y="8"/>
                  </a:cubicBezTo>
                  <a:cubicBezTo>
                    <a:pt x="3" y="8"/>
                    <a:pt x="4" y="8"/>
                    <a:pt x="4" y="7"/>
                  </a:cubicBezTo>
                  <a:cubicBezTo>
                    <a:pt x="6" y="7"/>
                    <a:pt x="6" y="6"/>
                    <a:pt x="6" y="4"/>
                  </a:cubicBezTo>
                  <a:cubicBezTo>
                    <a:pt x="6" y="4"/>
                    <a:pt x="5" y="3"/>
                    <a:pt x="5" y="3"/>
                  </a:cubicBezTo>
                  <a:cubicBezTo>
                    <a:pt x="6" y="2"/>
                    <a:pt x="6" y="2"/>
                    <a:pt x="6" y="2"/>
                  </a:cubicBezTo>
                  <a:cubicBezTo>
                    <a:pt x="6" y="2"/>
                    <a:pt x="6" y="2"/>
                    <a:pt x="6" y="2"/>
                  </a:cubicBezTo>
                  <a:cubicBezTo>
                    <a:pt x="6" y="1"/>
                    <a:pt x="6" y="1"/>
                    <a:pt x="6" y="1"/>
                  </a:cubicBezTo>
                  <a:cubicBezTo>
                    <a:pt x="6" y="0"/>
                    <a:pt x="5" y="0"/>
                    <a:pt x="5" y="0"/>
                  </a:cubicBezTo>
                  <a:cubicBezTo>
                    <a:pt x="5" y="0"/>
                    <a:pt x="5" y="0"/>
                    <a:pt x="5" y="0"/>
                  </a:cubicBezTo>
                  <a:cubicBezTo>
                    <a:pt x="4" y="0"/>
                    <a:pt x="4" y="0"/>
                    <a:pt x="4" y="0"/>
                  </a:cubicBezTo>
                  <a:cubicBezTo>
                    <a:pt x="4" y="0"/>
                    <a:pt x="4" y="0"/>
                    <a:pt x="4" y="0"/>
                  </a:cubicBezTo>
                  <a:cubicBezTo>
                    <a:pt x="3" y="0"/>
                    <a:pt x="3"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12" name="i$1îḑê"/>
            <p:cNvSpPr/>
            <p:nvPr/>
          </p:nvSpPr>
          <p:spPr bwMode="auto">
            <a:xfrm>
              <a:off x="3924" y="2343"/>
              <a:ext cx="17" cy="19"/>
            </a:xfrm>
            <a:custGeom>
              <a:avLst/>
              <a:gdLst>
                <a:gd name="T0" fmla="*/ 1 w 7"/>
                <a:gd name="T1" fmla="*/ 3 h 8"/>
                <a:gd name="T2" fmla="*/ 1 w 7"/>
                <a:gd name="T3" fmla="*/ 3 h 8"/>
                <a:gd name="T4" fmla="*/ 1 w 7"/>
                <a:gd name="T5" fmla="*/ 2 h 8"/>
                <a:gd name="T6" fmla="*/ 4 w 7"/>
                <a:gd name="T7" fmla="*/ 0 h 8"/>
                <a:gd name="T8" fmla="*/ 4 w 7"/>
                <a:gd name="T9" fmla="*/ 0 h 8"/>
                <a:gd name="T10" fmla="*/ 4 w 7"/>
                <a:gd name="T11" fmla="*/ 1 h 8"/>
                <a:gd name="T12" fmla="*/ 4 w 7"/>
                <a:gd name="T13" fmla="*/ 6 h 8"/>
                <a:gd name="T14" fmla="*/ 5 w 7"/>
                <a:gd name="T15" fmla="*/ 6 h 8"/>
                <a:gd name="T16" fmla="*/ 6 w 7"/>
                <a:gd name="T17" fmla="*/ 6 h 8"/>
                <a:gd name="T18" fmla="*/ 6 w 7"/>
                <a:gd name="T19" fmla="*/ 7 h 8"/>
                <a:gd name="T20" fmla="*/ 6 w 7"/>
                <a:gd name="T21" fmla="*/ 7 h 8"/>
                <a:gd name="T22" fmla="*/ 6 w 7"/>
                <a:gd name="T23" fmla="*/ 8 h 8"/>
                <a:gd name="T24" fmla="*/ 1 w 7"/>
                <a:gd name="T25" fmla="*/ 7 h 8"/>
                <a:gd name="T26" fmla="*/ 1 w 7"/>
                <a:gd name="T27" fmla="*/ 6 h 8"/>
                <a:gd name="T28" fmla="*/ 1 w 7"/>
                <a:gd name="T29" fmla="*/ 6 h 8"/>
                <a:gd name="T30" fmla="*/ 3 w 7"/>
                <a:gd name="T31" fmla="*/ 6 h 8"/>
                <a:gd name="T32" fmla="*/ 3 w 7"/>
                <a:gd name="T33" fmla="*/ 2 h 8"/>
                <a:gd name="T34" fmla="*/ 1 w 7"/>
                <a:gd name="T35" fmla="*/ 3 h 8"/>
                <a:gd name="T36" fmla="*/ 1 w 7"/>
                <a:gd name="T37" fmla="*/ 3 h 8"/>
                <a:gd name="T38" fmla="*/ 4 w 7"/>
                <a:gd name="T39" fmla="*/ 0 h 8"/>
                <a:gd name="T40" fmla="*/ 3 w 7"/>
                <a:gd name="T41" fmla="*/ 0 h 8"/>
                <a:gd name="T42" fmla="*/ 0 w 7"/>
                <a:gd name="T43" fmla="*/ 1 h 8"/>
                <a:gd name="T44" fmla="*/ 0 w 7"/>
                <a:gd name="T45" fmla="*/ 2 h 8"/>
                <a:gd name="T46" fmla="*/ 0 w 7"/>
                <a:gd name="T47" fmla="*/ 2 h 8"/>
                <a:gd name="T48" fmla="*/ 1 w 7"/>
                <a:gd name="T49" fmla="*/ 4 h 8"/>
                <a:gd name="T50" fmla="*/ 1 w 7"/>
                <a:gd name="T51" fmla="*/ 4 h 8"/>
                <a:gd name="T52" fmla="*/ 1 w 7"/>
                <a:gd name="T53" fmla="*/ 4 h 8"/>
                <a:gd name="T54" fmla="*/ 2 w 7"/>
                <a:gd name="T55" fmla="*/ 4 h 8"/>
                <a:gd name="T56" fmla="*/ 2 w 7"/>
                <a:gd name="T57" fmla="*/ 4 h 8"/>
                <a:gd name="T58" fmla="*/ 2 w 7"/>
                <a:gd name="T59" fmla="*/ 4 h 8"/>
                <a:gd name="T60" fmla="*/ 2 w 7"/>
                <a:gd name="T61" fmla="*/ 5 h 8"/>
                <a:gd name="T62" fmla="*/ 1 w 7"/>
                <a:gd name="T63" fmla="*/ 5 h 8"/>
                <a:gd name="T64" fmla="*/ 1 w 7"/>
                <a:gd name="T65" fmla="*/ 5 h 8"/>
                <a:gd name="T66" fmla="*/ 0 w 7"/>
                <a:gd name="T67" fmla="*/ 6 h 8"/>
                <a:gd name="T68" fmla="*/ 0 w 7"/>
                <a:gd name="T69" fmla="*/ 7 h 8"/>
                <a:gd name="T70" fmla="*/ 1 w 7"/>
                <a:gd name="T71" fmla="*/ 8 h 8"/>
                <a:gd name="T72" fmla="*/ 3 w 7"/>
                <a:gd name="T73" fmla="*/ 8 h 8"/>
                <a:gd name="T74" fmla="*/ 6 w 7"/>
                <a:gd name="T75" fmla="*/ 8 h 8"/>
                <a:gd name="T76" fmla="*/ 6 w 7"/>
                <a:gd name="T77" fmla="*/ 8 h 8"/>
                <a:gd name="T78" fmla="*/ 7 w 7"/>
                <a:gd name="T79" fmla="*/ 7 h 8"/>
                <a:gd name="T80" fmla="*/ 7 w 7"/>
                <a:gd name="T81" fmla="*/ 7 h 8"/>
                <a:gd name="T82" fmla="*/ 7 w 7"/>
                <a:gd name="T83" fmla="*/ 6 h 8"/>
                <a:gd name="T84" fmla="*/ 6 w 7"/>
                <a:gd name="T85" fmla="*/ 5 h 8"/>
                <a:gd name="T86" fmla="*/ 5 w 7"/>
                <a:gd name="T87" fmla="*/ 5 h 8"/>
                <a:gd name="T88" fmla="*/ 5 w 7"/>
                <a:gd name="T89" fmla="*/ 1 h 8"/>
                <a:gd name="T90" fmla="*/ 5 w 7"/>
                <a:gd name="T91" fmla="*/ 0 h 8"/>
                <a:gd name="T92" fmla="*/ 4 w 7"/>
                <a:gd name="T93" fmla="*/ 0 h 8"/>
                <a:gd name="T94" fmla="*/ 4 w 7"/>
                <a:gd name="T95" fmla="*/ 0 h 8"/>
                <a:gd name="T96" fmla="*/ 4 w 7"/>
                <a:gd name="T97" fmla="*/ 0 h 8"/>
                <a:gd name="T98" fmla="*/ 4 w 7"/>
                <a:gd name="T9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 h="8">
                  <a:moveTo>
                    <a:pt x="1" y="3"/>
                  </a:moveTo>
                  <a:cubicBezTo>
                    <a:pt x="1" y="3"/>
                    <a:pt x="1" y="3"/>
                    <a:pt x="1" y="3"/>
                  </a:cubicBezTo>
                  <a:cubicBezTo>
                    <a:pt x="1" y="3"/>
                    <a:pt x="1" y="2"/>
                    <a:pt x="1" y="2"/>
                  </a:cubicBezTo>
                  <a:cubicBezTo>
                    <a:pt x="2" y="2"/>
                    <a:pt x="4" y="0"/>
                    <a:pt x="4" y="0"/>
                  </a:cubicBezTo>
                  <a:cubicBezTo>
                    <a:pt x="4" y="0"/>
                    <a:pt x="4" y="0"/>
                    <a:pt x="4" y="0"/>
                  </a:cubicBezTo>
                  <a:cubicBezTo>
                    <a:pt x="4" y="1"/>
                    <a:pt x="4" y="1"/>
                    <a:pt x="4" y="1"/>
                  </a:cubicBezTo>
                  <a:cubicBezTo>
                    <a:pt x="4" y="3"/>
                    <a:pt x="4" y="4"/>
                    <a:pt x="4" y="6"/>
                  </a:cubicBezTo>
                  <a:cubicBezTo>
                    <a:pt x="5" y="6"/>
                    <a:pt x="5" y="6"/>
                    <a:pt x="5" y="6"/>
                  </a:cubicBezTo>
                  <a:cubicBezTo>
                    <a:pt x="6" y="6"/>
                    <a:pt x="6" y="6"/>
                    <a:pt x="6" y="6"/>
                  </a:cubicBezTo>
                  <a:cubicBezTo>
                    <a:pt x="6" y="7"/>
                    <a:pt x="6" y="7"/>
                    <a:pt x="6" y="7"/>
                  </a:cubicBezTo>
                  <a:cubicBezTo>
                    <a:pt x="6" y="7"/>
                    <a:pt x="6" y="7"/>
                    <a:pt x="6" y="7"/>
                  </a:cubicBezTo>
                  <a:cubicBezTo>
                    <a:pt x="6" y="8"/>
                    <a:pt x="6" y="8"/>
                    <a:pt x="6" y="8"/>
                  </a:cubicBezTo>
                  <a:cubicBezTo>
                    <a:pt x="4" y="8"/>
                    <a:pt x="3" y="7"/>
                    <a:pt x="1" y="7"/>
                  </a:cubicBezTo>
                  <a:cubicBezTo>
                    <a:pt x="1" y="6"/>
                    <a:pt x="1" y="6"/>
                    <a:pt x="1" y="6"/>
                  </a:cubicBezTo>
                  <a:cubicBezTo>
                    <a:pt x="1" y="6"/>
                    <a:pt x="1" y="6"/>
                    <a:pt x="1" y="6"/>
                  </a:cubicBezTo>
                  <a:cubicBezTo>
                    <a:pt x="2" y="6"/>
                    <a:pt x="2" y="6"/>
                    <a:pt x="3" y="6"/>
                  </a:cubicBezTo>
                  <a:cubicBezTo>
                    <a:pt x="3" y="5"/>
                    <a:pt x="3" y="4"/>
                    <a:pt x="3" y="2"/>
                  </a:cubicBezTo>
                  <a:cubicBezTo>
                    <a:pt x="2" y="3"/>
                    <a:pt x="2" y="3"/>
                    <a:pt x="1" y="3"/>
                  </a:cubicBezTo>
                  <a:cubicBezTo>
                    <a:pt x="1" y="3"/>
                    <a:pt x="1" y="3"/>
                    <a:pt x="1" y="3"/>
                  </a:cubicBezTo>
                  <a:moveTo>
                    <a:pt x="4" y="0"/>
                  </a:moveTo>
                  <a:cubicBezTo>
                    <a:pt x="3" y="0"/>
                    <a:pt x="3" y="0"/>
                    <a:pt x="3" y="0"/>
                  </a:cubicBezTo>
                  <a:cubicBezTo>
                    <a:pt x="2" y="0"/>
                    <a:pt x="1" y="1"/>
                    <a:pt x="0" y="1"/>
                  </a:cubicBezTo>
                  <a:cubicBezTo>
                    <a:pt x="0" y="2"/>
                    <a:pt x="0" y="2"/>
                    <a:pt x="0" y="2"/>
                  </a:cubicBezTo>
                  <a:cubicBezTo>
                    <a:pt x="0" y="2"/>
                    <a:pt x="0" y="2"/>
                    <a:pt x="0" y="2"/>
                  </a:cubicBezTo>
                  <a:cubicBezTo>
                    <a:pt x="0" y="3"/>
                    <a:pt x="0" y="3"/>
                    <a:pt x="1" y="4"/>
                  </a:cubicBezTo>
                  <a:cubicBezTo>
                    <a:pt x="1" y="4"/>
                    <a:pt x="1" y="4"/>
                    <a:pt x="1" y="4"/>
                  </a:cubicBezTo>
                  <a:cubicBezTo>
                    <a:pt x="1" y="4"/>
                    <a:pt x="1" y="4"/>
                    <a:pt x="1" y="4"/>
                  </a:cubicBezTo>
                  <a:cubicBezTo>
                    <a:pt x="2" y="4"/>
                    <a:pt x="2" y="4"/>
                    <a:pt x="2" y="4"/>
                  </a:cubicBezTo>
                  <a:cubicBezTo>
                    <a:pt x="2" y="4"/>
                    <a:pt x="2" y="4"/>
                    <a:pt x="2" y="4"/>
                  </a:cubicBezTo>
                  <a:cubicBezTo>
                    <a:pt x="2" y="4"/>
                    <a:pt x="2" y="4"/>
                    <a:pt x="2" y="4"/>
                  </a:cubicBezTo>
                  <a:cubicBezTo>
                    <a:pt x="2" y="5"/>
                    <a:pt x="2" y="5"/>
                    <a:pt x="2" y="5"/>
                  </a:cubicBezTo>
                  <a:cubicBezTo>
                    <a:pt x="1" y="5"/>
                    <a:pt x="1" y="5"/>
                    <a:pt x="1" y="5"/>
                  </a:cubicBezTo>
                  <a:cubicBezTo>
                    <a:pt x="1" y="5"/>
                    <a:pt x="1" y="5"/>
                    <a:pt x="1" y="5"/>
                  </a:cubicBezTo>
                  <a:cubicBezTo>
                    <a:pt x="1" y="5"/>
                    <a:pt x="0" y="6"/>
                    <a:pt x="0" y="6"/>
                  </a:cubicBezTo>
                  <a:cubicBezTo>
                    <a:pt x="0" y="7"/>
                    <a:pt x="0" y="7"/>
                    <a:pt x="0" y="7"/>
                  </a:cubicBezTo>
                  <a:cubicBezTo>
                    <a:pt x="0" y="8"/>
                    <a:pt x="1" y="8"/>
                    <a:pt x="1" y="8"/>
                  </a:cubicBezTo>
                  <a:cubicBezTo>
                    <a:pt x="2" y="8"/>
                    <a:pt x="3" y="8"/>
                    <a:pt x="3" y="8"/>
                  </a:cubicBezTo>
                  <a:cubicBezTo>
                    <a:pt x="4" y="8"/>
                    <a:pt x="5" y="8"/>
                    <a:pt x="6" y="8"/>
                  </a:cubicBezTo>
                  <a:cubicBezTo>
                    <a:pt x="6" y="8"/>
                    <a:pt x="6" y="8"/>
                    <a:pt x="6" y="8"/>
                  </a:cubicBezTo>
                  <a:cubicBezTo>
                    <a:pt x="7" y="7"/>
                    <a:pt x="7" y="7"/>
                    <a:pt x="7" y="7"/>
                  </a:cubicBezTo>
                  <a:cubicBezTo>
                    <a:pt x="7" y="7"/>
                    <a:pt x="7" y="7"/>
                    <a:pt x="7" y="7"/>
                  </a:cubicBezTo>
                  <a:cubicBezTo>
                    <a:pt x="7" y="6"/>
                    <a:pt x="7" y="6"/>
                    <a:pt x="7" y="6"/>
                  </a:cubicBezTo>
                  <a:cubicBezTo>
                    <a:pt x="7" y="6"/>
                    <a:pt x="6" y="5"/>
                    <a:pt x="6" y="5"/>
                  </a:cubicBezTo>
                  <a:cubicBezTo>
                    <a:pt x="5" y="5"/>
                    <a:pt x="5" y="5"/>
                    <a:pt x="5" y="5"/>
                  </a:cubicBezTo>
                  <a:cubicBezTo>
                    <a:pt x="5" y="4"/>
                    <a:pt x="5" y="2"/>
                    <a:pt x="5" y="1"/>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13" name="íṣḷïḍé"/>
            <p:cNvSpPr/>
            <p:nvPr/>
          </p:nvSpPr>
          <p:spPr bwMode="auto">
            <a:xfrm>
              <a:off x="3941" y="2355"/>
              <a:ext cx="17" cy="19"/>
            </a:xfrm>
            <a:custGeom>
              <a:avLst/>
              <a:gdLst>
                <a:gd name="T0" fmla="*/ 1 w 7"/>
                <a:gd name="T1" fmla="*/ 2 h 8"/>
                <a:gd name="T2" fmla="*/ 1 w 7"/>
                <a:gd name="T3" fmla="*/ 1 h 8"/>
                <a:gd name="T4" fmla="*/ 3 w 7"/>
                <a:gd name="T5" fmla="*/ 1 h 8"/>
                <a:gd name="T6" fmla="*/ 5 w 7"/>
                <a:gd name="T7" fmla="*/ 2 h 8"/>
                <a:gd name="T8" fmla="*/ 3 w 7"/>
                <a:gd name="T9" fmla="*/ 6 h 8"/>
                <a:gd name="T10" fmla="*/ 3 w 7"/>
                <a:gd name="T11" fmla="*/ 6 h 8"/>
                <a:gd name="T12" fmla="*/ 4 w 7"/>
                <a:gd name="T13" fmla="*/ 7 h 8"/>
                <a:gd name="T14" fmla="*/ 6 w 7"/>
                <a:gd name="T15" fmla="*/ 7 h 8"/>
                <a:gd name="T16" fmla="*/ 6 w 7"/>
                <a:gd name="T17" fmla="*/ 8 h 8"/>
                <a:gd name="T18" fmla="*/ 3 w 7"/>
                <a:gd name="T19" fmla="*/ 8 h 8"/>
                <a:gd name="T20" fmla="*/ 2 w 7"/>
                <a:gd name="T21" fmla="*/ 8 h 8"/>
                <a:gd name="T22" fmla="*/ 2 w 7"/>
                <a:gd name="T23" fmla="*/ 7 h 8"/>
                <a:gd name="T24" fmla="*/ 2 w 7"/>
                <a:gd name="T25" fmla="*/ 7 h 8"/>
                <a:gd name="T26" fmla="*/ 2 w 7"/>
                <a:gd name="T27" fmla="*/ 6 h 8"/>
                <a:gd name="T28" fmla="*/ 4 w 7"/>
                <a:gd name="T29" fmla="*/ 4 h 8"/>
                <a:gd name="T30" fmla="*/ 4 w 7"/>
                <a:gd name="T31" fmla="*/ 3 h 8"/>
                <a:gd name="T32" fmla="*/ 3 w 7"/>
                <a:gd name="T33" fmla="*/ 2 h 8"/>
                <a:gd name="T34" fmla="*/ 3 w 7"/>
                <a:gd name="T35" fmla="*/ 2 h 8"/>
                <a:gd name="T36" fmla="*/ 1 w 7"/>
                <a:gd name="T37" fmla="*/ 2 h 8"/>
                <a:gd name="T38" fmla="*/ 3 w 7"/>
                <a:gd name="T39" fmla="*/ 0 h 8"/>
                <a:gd name="T40" fmla="*/ 1 w 7"/>
                <a:gd name="T41" fmla="*/ 1 h 8"/>
                <a:gd name="T42" fmla="*/ 0 w 7"/>
                <a:gd name="T43" fmla="*/ 1 h 8"/>
                <a:gd name="T44" fmla="*/ 1 w 7"/>
                <a:gd name="T45" fmla="*/ 3 h 8"/>
                <a:gd name="T46" fmla="*/ 1 w 7"/>
                <a:gd name="T47" fmla="*/ 3 h 8"/>
                <a:gd name="T48" fmla="*/ 1 w 7"/>
                <a:gd name="T49" fmla="*/ 3 h 8"/>
                <a:gd name="T50" fmla="*/ 3 w 7"/>
                <a:gd name="T51" fmla="*/ 3 h 8"/>
                <a:gd name="T52" fmla="*/ 3 w 7"/>
                <a:gd name="T53" fmla="*/ 3 h 8"/>
                <a:gd name="T54" fmla="*/ 3 w 7"/>
                <a:gd name="T55" fmla="*/ 3 h 8"/>
                <a:gd name="T56" fmla="*/ 3 w 7"/>
                <a:gd name="T57" fmla="*/ 4 h 8"/>
                <a:gd name="T58" fmla="*/ 1 w 7"/>
                <a:gd name="T59" fmla="*/ 6 h 8"/>
                <a:gd name="T60" fmla="*/ 1 w 7"/>
                <a:gd name="T61" fmla="*/ 6 h 8"/>
                <a:gd name="T62" fmla="*/ 1 w 7"/>
                <a:gd name="T63" fmla="*/ 7 h 8"/>
                <a:gd name="T64" fmla="*/ 1 w 7"/>
                <a:gd name="T65" fmla="*/ 8 h 8"/>
                <a:gd name="T66" fmla="*/ 1 w 7"/>
                <a:gd name="T67" fmla="*/ 8 h 8"/>
                <a:gd name="T68" fmla="*/ 1 w 7"/>
                <a:gd name="T69" fmla="*/ 8 h 8"/>
                <a:gd name="T70" fmla="*/ 3 w 7"/>
                <a:gd name="T71" fmla="*/ 8 h 8"/>
                <a:gd name="T72" fmla="*/ 6 w 7"/>
                <a:gd name="T73" fmla="*/ 8 h 8"/>
                <a:gd name="T74" fmla="*/ 7 w 7"/>
                <a:gd name="T75" fmla="*/ 8 h 8"/>
                <a:gd name="T76" fmla="*/ 7 w 7"/>
                <a:gd name="T77" fmla="*/ 8 h 8"/>
                <a:gd name="T78" fmla="*/ 7 w 7"/>
                <a:gd name="T79" fmla="*/ 6 h 8"/>
                <a:gd name="T80" fmla="*/ 6 w 7"/>
                <a:gd name="T81" fmla="*/ 6 h 8"/>
                <a:gd name="T82" fmla="*/ 6 w 7"/>
                <a:gd name="T83" fmla="*/ 6 h 8"/>
                <a:gd name="T84" fmla="*/ 4 w 7"/>
                <a:gd name="T85" fmla="*/ 6 h 8"/>
                <a:gd name="T86" fmla="*/ 6 w 7"/>
                <a:gd name="T87" fmla="*/ 1 h 8"/>
                <a:gd name="T88" fmla="*/ 3 w 7"/>
                <a:gd name="T8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8">
                  <a:moveTo>
                    <a:pt x="1" y="2"/>
                  </a:moveTo>
                  <a:cubicBezTo>
                    <a:pt x="1" y="1"/>
                    <a:pt x="1" y="1"/>
                    <a:pt x="1" y="1"/>
                  </a:cubicBezTo>
                  <a:cubicBezTo>
                    <a:pt x="2" y="1"/>
                    <a:pt x="3" y="1"/>
                    <a:pt x="3" y="1"/>
                  </a:cubicBezTo>
                  <a:cubicBezTo>
                    <a:pt x="4" y="1"/>
                    <a:pt x="5" y="1"/>
                    <a:pt x="5" y="2"/>
                  </a:cubicBezTo>
                  <a:cubicBezTo>
                    <a:pt x="6" y="3"/>
                    <a:pt x="4" y="5"/>
                    <a:pt x="3" y="6"/>
                  </a:cubicBezTo>
                  <a:cubicBezTo>
                    <a:pt x="3" y="6"/>
                    <a:pt x="3" y="6"/>
                    <a:pt x="3" y="6"/>
                  </a:cubicBezTo>
                  <a:cubicBezTo>
                    <a:pt x="4" y="7"/>
                    <a:pt x="4" y="7"/>
                    <a:pt x="4" y="7"/>
                  </a:cubicBezTo>
                  <a:cubicBezTo>
                    <a:pt x="6" y="7"/>
                    <a:pt x="6" y="7"/>
                    <a:pt x="6" y="7"/>
                  </a:cubicBezTo>
                  <a:cubicBezTo>
                    <a:pt x="6" y="8"/>
                    <a:pt x="6" y="8"/>
                    <a:pt x="6" y="8"/>
                  </a:cubicBezTo>
                  <a:cubicBezTo>
                    <a:pt x="5" y="8"/>
                    <a:pt x="4" y="8"/>
                    <a:pt x="3" y="8"/>
                  </a:cubicBezTo>
                  <a:cubicBezTo>
                    <a:pt x="2" y="8"/>
                    <a:pt x="2" y="8"/>
                    <a:pt x="2" y="8"/>
                  </a:cubicBezTo>
                  <a:cubicBezTo>
                    <a:pt x="2" y="7"/>
                    <a:pt x="2" y="7"/>
                    <a:pt x="2" y="7"/>
                  </a:cubicBezTo>
                  <a:cubicBezTo>
                    <a:pt x="2" y="7"/>
                    <a:pt x="2" y="7"/>
                    <a:pt x="2" y="7"/>
                  </a:cubicBezTo>
                  <a:cubicBezTo>
                    <a:pt x="2" y="6"/>
                    <a:pt x="2" y="6"/>
                    <a:pt x="2" y="6"/>
                  </a:cubicBezTo>
                  <a:cubicBezTo>
                    <a:pt x="3" y="6"/>
                    <a:pt x="3" y="5"/>
                    <a:pt x="4" y="4"/>
                  </a:cubicBezTo>
                  <a:cubicBezTo>
                    <a:pt x="4" y="4"/>
                    <a:pt x="4" y="4"/>
                    <a:pt x="4" y="3"/>
                  </a:cubicBezTo>
                  <a:cubicBezTo>
                    <a:pt x="4" y="3"/>
                    <a:pt x="4" y="2"/>
                    <a:pt x="3" y="2"/>
                  </a:cubicBezTo>
                  <a:cubicBezTo>
                    <a:pt x="3" y="2"/>
                    <a:pt x="3" y="2"/>
                    <a:pt x="3" y="2"/>
                  </a:cubicBezTo>
                  <a:cubicBezTo>
                    <a:pt x="2" y="2"/>
                    <a:pt x="2" y="2"/>
                    <a:pt x="1" y="2"/>
                  </a:cubicBezTo>
                  <a:moveTo>
                    <a:pt x="3" y="0"/>
                  </a:moveTo>
                  <a:cubicBezTo>
                    <a:pt x="2" y="0"/>
                    <a:pt x="1" y="0"/>
                    <a:pt x="1" y="1"/>
                  </a:cubicBezTo>
                  <a:cubicBezTo>
                    <a:pt x="0" y="1"/>
                    <a:pt x="0" y="1"/>
                    <a:pt x="0" y="1"/>
                  </a:cubicBezTo>
                  <a:cubicBezTo>
                    <a:pt x="1" y="3"/>
                    <a:pt x="1" y="3"/>
                    <a:pt x="1" y="3"/>
                  </a:cubicBezTo>
                  <a:cubicBezTo>
                    <a:pt x="1" y="3"/>
                    <a:pt x="1" y="3"/>
                    <a:pt x="1" y="3"/>
                  </a:cubicBezTo>
                  <a:cubicBezTo>
                    <a:pt x="1" y="3"/>
                    <a:pt x="1" y="3"/>
                    <a:pt x="1" y="3"/>
                  </a:cubicBezTo>
                  <a:cubicBezTo>
                    <a:pt x="2" y="3"/>
                    <a:pt x="2" y="3"/>
                    <a:pt x="3" y="3"/>
                  </a:cubicBezTo>
                  <a:cubicBezTo>
                    <a:pt x="3" y="3"/>
                    <a:pt x="3" y="3"/>
                    <a:pt x="3" y="3"/>
                  </a:cubicBezTo>
                  <a:cubicBezTo>
                    <a:pt x="3" y="3"/>
                    <a:pt x="3" y="3"/>
                    <a:pt x="3" y="3"/>
                  </a:cubicBezTo>
                  <a:cubicBezTo>
                    <a:pt x="3" y="4"/>
                    <a:pt x="3" y="4"/>
                    <a:pt x="3" y="4"/>
                  </a:cubicBezTo>
                  <a:cubicBezTo>
                    <a:pt x="3" y="5"/>
                    <a:pt x="2" y="5"/>
                    <a:pt x="1" y="6"/>
                  </a:cubicBezTo>
                  <a:cubicBezTo>
                    <a:pt x="1" y="6"/>
                    <a:pt x="1" y="6"/>
                    <a:pt x="1" y="6"/>
                  </a:cubicBezTo>
                  <a:cubicBezTo>
                    <a:pt x="1" y="7"/>
                    <a:pt x="1" y="7"/>
                    <a:pt x="1" y="7"/>
                  </a:cubicBezTo>
                  <a:cubicBezTo>
                    <a:pt x="1" y="8"/>
                    <a:pt x="1" y="8"/>
                    <a:pt x="1" y="8"/>
                  </a:cubicBezTo>
                  <a:cubicBezTo>
                    <a:pt x="1" y="8"/>
                    <a:pt x="1" y="8"/>
                    <a:pt x="1" y="8"/>
                  </a:cubicBezTo>
                  <a:cubicBezTo>
                    <a:pt x="1" y="8"/>
                    <a:pt x="1" y="8"/>
                    <a:pt x="1" y="8"/>
                  </a:cubicBezTo>
                  <a:cubicBezTo>
                    <a:pt x="2" y="8"/>
                    <a:pt x="2" y="8"/>
                    <a:pt x="3" y="8"/>
                  </a:cubicBezTo>
                  <a:cubicBezTo>
                    <a:pt x="4" y="8"/>
                    <a:pt x="5" y="8"/>
                    <a:pt x="6" y="8"/>
                  </a:cubicBezTo>
                  <a:cubicBezTo>
                    <a:pt x="7" y="8"/>
                    <a:pt x="7" y="8"/>
                    <a:pt x="7" y="8"/>
                  </a:cubicBezTo>
                  <a:cubicBezTo>
                    <a:pt x="7" y="8"/>
                    <a:pt x="7" y="8"/>
                    <a:pt x="7" y="8"/>
                  </a:cubicBezTo>
                  <a:cubicBezTo>
                    <a:pt x="7" y="8"/>
                    <a:pt x="7" y="7"/>
                    <a:pt x="7" y="6"/>
                  </a:cubicBezTo>
                  <a:cubicBezTo>
                    <a:pt x="6" y="6"/>
                    <a:pt x="6" y="6"/>
                    <a:pt x="6" y="6"/>
                  </a:cubicBezTo>
                  <a:cubicBezTo>
                    <a:pt x="6" y="6"/>
                    <a:pt x="6" y="6"/>
                    <a:pt x="6" y="6"/>
                  </a:cubicBezTo>
                  <a:cubicBezTo>
                    <a:pt x="4" y="6"/>
                    <a:pt x="4" y="6"/>
                    <a:pt x="4" y="6"/>
                  </a:cubicBezTo>
                  <a:cubicBezTo>
                    <a:pt x="5" y="5"/>
                    <a:pt x="7" y="3"/>
                    <a:pt x="6" y="1"/>
                  </a:cubicBezTo>
                  <a:cubicBezTo>
                    <a:pt x="5"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14" name="îṥḷïďé"/>
            <p:cNvSpPr/>
            <p:nvPr/>
          </p:nvSpPr>
          <p:spPr bwMode="auto">
            <a:xfrm>
              <a:off x="3960" y="2370"/>
              <a:ext cx="14" cy="21"/>
            </a:xfrm>
            <a:custGeom>
              <a:avLst/>
              <a:gdLst>
                <a:gd name="T0" fmla="*/ 1 w 6"/>
                <a:gd name="T1" fmla="*/ 2 h 9"/>
                <a:gd name="T2" fmla="*/ 1 w 6"/>
                <a:gd name="T3" fmla="*/ 1 h 9"/>
                <a:gd name="T4" fmla="*/ 2 w 6"/>
                <a:gd name="T5" fmla="*/ 1 h 9"/>
                <a:gd name="T6" fmla="*/ 3 w 6"/>
                <a:gd name="T7" fmla="*/ 1 h 9"/>
                <a:gd name="T8" fmla="*/ 5 w 6"/>
                <a:gd name="T9" fmla="*/ 1 h 9"/>
                <a:gd name="T10" fmla="*/ 5 w 6"/>
                <a:gd name="T11" fmla="*/ 2 h 9"/>
                <a:gd name="T12" fmla="*/ 4 w 6"/>
                <a:gd name="T13" fmla="*/ 4 h 9"/>
                <a:gd name="T14" fmla="*/ 4 w 6"/>
                <a:gd name="T15" fmla="*/ 4 h 9"/>
                <a:gd name="T16" fmla="*/ 4 w 6"/>
                <a:gd name="T17" fmla="*/ 4 h 9"/>
                <a:gd name="T18" fmla="*/ 6 w 6"/>
                <a:gd name="T19" fmla="*/ 6 h 9"/>
                <a:gd name="T20" fmla="*/ 4 w 6"/>
                <a:gd name="T21" fmla="*/ 8 h 9"/>
                <a:gd name="T22" fmla="*/ 3 w 6"/>
                <a:gd name="T23" fmla="*/ 8 h 9"/>
                <a:gd name="T24" fmla="*/ 1 w 6"/>
                <a:gd name="T25" fmla="*/ 8 h 9"/>
                <a:gd name="T26" fmla="*/ 1 w 6"/>
                <a:gd name="T27" fmla="*/ 7 h 9"/>
                <a:gd name="T28" fmla="*/ 3 w 6"/>
                <a:gd name="T29" fmla="*/ 7 h 9"/>
                <a:gd name="T30" fmla="*/ 3 w 6"/>
                <a:gd name="T31" fmla="*/ 7 h 9"/>
                <a:gd name="T32" fmla="*/ 4 w 6"/>
                <a:gd name="T33" fmla="*/ 7 h 9"/>
                <a:gd name="T34" fmla="*/ 4 w 6"/>
                <a:gd name="T35" fmla="*/ 6 h 9"/>
                <a:gd name="T36" fmla="*/ 4 w 6"/>
                <a:gd name="T37" fmla="*/ 5 h 9"/>
                <a:gd name="T38" fmla="*/ 3 w 6"/>
                <a:gd name="T39" fmla="*/ 5 h 9"/>
                <a:gd name="T40" fmla="*/ 2 w 6"/>
                <a:gd name="T41" fmla="*/ 5 h 9"/>
                <a:gd name="T42" fmla="*/ 2 w 6"/>
                <a:gd name="T43" fmla="*/ 4 h 9"/>
                <a:gd name="T44" fmla="*/ 2 w 6"/>
                <a:gd name="T45" fmla="*/ 4 h 9"/>
                <a:gd name="T46" fmla="*/ 4 w 6"/>
                <a:gd name="T47" fmla="*/ 4 h 9"/>
                <a:gd name="T48" fmla="*/ 4 w 6"/>
                <a:gd name="T49" fmla="*/ 3 h 9"/>
                <a:gd name="T50" fmla="*/ 2 w 6"/>
                <a:gd name="T51" fmla="*/ 2 h 9"/>
                <a:gd name="T52" fmla="*/ 1 w 6"/>
                <a:gd name="T53" fmla="*/ 2 h 9"/>
                <a:gd name="T54" fmla="*/ 3 w 6"/>
                <a:gd name="T55" fmla="*/ 0 h 9"/>
                <a:gd name="T56" fmla="*/ 1 w 6"/>
                <a:gd name="T57" fmla="*/ 0 h 9"/>
                <a:gd name="T58" fmla="*/ 1 w 6"/>
                <a:gd name="T59" fmla="*/ 1 h 9"/>
                <a:gd name="T60" fmla="*/ 1 w 6"/>
                <a:gd name="T61" fmla="*/ 1 h 9"/>
                <a:gd name="T62" fmla="*/ 1 w 6"/>
                <a:gd name="T63" fmla="*/ 2 h 9"/>
                <a:gd name="T64" fmla="*/ 1 w 6"/>
                <a:gd name="T65" fmla="*/ 3 h 9"/>
                <a:gd name="T66" fmla="*/ 1 w 6"/>
                <a:gd name="T67" fmla="*/ 3 h 9"/>
                <a:gd name="T68" fmla="*/ 1 w 6"/>
                <a:gd name="T69" fmla="*/ 3 h 9"/>
                <a:gd name="T70" fmla="*/ 2 w 6"/>
                <a:gd name="T71" fmla="*/ 2 h 9"/>
                <a:gd name="T72" fmla="*/ 3 w 6"/>
                <a:gd name="T73" fmla="*/ 3 h 9"/>
                <a:gd name="T74" fmla="*/ 3 w 6"/>
                <a:gd name="T75" fmla="*/ 3 h 9"/>
                <a:gd name="T76" fmla="*/ 2 w 6"/>
                <a:gd name="T77" fmla="*/ 3 h 9"/>
                <a:gd name="T78" fmla="*/ 2 w 6"/>
                <a:gd name="T79" fmla="*/ 3 h 9"/>
                <a:gd name="T80" fmla="*/ 2 w 6"/>
                <a:gd name="T81" fmla="*/ 3 h 9"/>
                <a:gd name="T82" fmla="*/ 1 w 6"/>
                <a:gd name="T83" fmla="*/ 4 h 9"/>
                <a:gd name="T84" fmla="*/ 1 w 6"/>
                <a:gd name="T85" fmla="*/ 4 h 9"/>
                <a:gd name="T86" fmla="*/ 1 w 6"/>
                <a:gd name="T87" fmla="*/ 5 h 9"/>
                <a:gd name="T88" fmla="*/ 2 w 6"/>
                <a:gd name="T89" fmla="*/ 5 h 9"/>
                <a:gd name="T90" fmla="*/ 2 w 6"/>
                <a:gd name="T91" fmla="*/ 6 h 9"/>
                <a:gd name="T92" fmla="*/ 3 w 6"/>
                <a:gd name="T93" fmla="*/ 5 h 9"/>
                <a:gd name="T94" fmla="*/ 3 w 6"/>
                <a:gd name="T95" fmla="*/ 6 h 9"/>
                <a:gd name="T96" fmla="*/ 4 w 6"/>
                <a:gd name="T97" fmla="*/ 6 h 9"/>
                <a:gd name="T98" fmla="*/ 4 w 6"/>
                <a:gd name="T99" fmla="*/ 6 h 9"/>
                <a:gd name="T100" fmla="*/ 3 w 6"/>
                <a:gd name="T101" fmla="*/ 6 h 9"/>
                <a:gd name="T102" fmla="*/ 3 w 6"/>
                <a:gd name="T103" fmla="*/ 6 h 9"/>
                <a:gd name="T104" fmla="*/ 2 w 6"/>
                <a:gd name="T105" fmla="*/ 6 h 9"/>
                <a:gd name="T106" fmla="*/ 1 w 6"/>
                <a:gd name="T107" fmla="*/ 6 h 9"/>
                <a:gd name="T108" fmla="*/ 0 w 6"/>
                <a:gd name="T109" fmla="*/ 8 h 9"/>
                <a:gd name="T110" fmla="*/ 0 w 6"/>
                <a:gd name="T111" fmla="*/ 8 h 9"/>
                <a:gd name="T112" fmla="*/ 3 w 6"/>
                <a:gd name="T113" fmla="*/ 9 h 9"/>
                <a:gd name="T114" fmla="*/ 4 w 6"/>
                <a:gd name="T115" fmla="*/ 9 h 9"/>
                <a:gd name="T116" fmla="*/ 6 w 6"/>
                <a:gd name="T117" fmla="*/ 6 h 9"/>
                <a:gd name="T118" fmla="*/ 5 w 6"/>
                <a:gd name="T119" fmla="*/ 4 h 9"/>
                <a:gd name="T120" fmla="*/ 6 w 6"/>
                <a:gd name="T121" fmla="*/ 2 h 9"/>
                <a:gd name="T122" fmla="*/ 5 w 6"/>
                <a:gd name="T123" fmla="*/ 1 h 9"/>
                <a:gd name="T124" fmla="*/ 3 w 6"/>
                <a:gd name="T1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 h="9">
                  <a:moveTo>
                    <a:pt x="1" y="2"/>
                  </a:moveTo>
                  <a:cubicBezTo>
                    <a:pt x="1" y="1"/>
                    <a:pt x="1" y="1"/>
                    <a:pt x="1" y="1"/>
                  </a:cubicBezTo>
                  <a:cubicBezTo>
                    <a:pt x="2" y="1"/>
                    <a:pt x="2" y="1"/>
                    <a:pt x="2" y="1"/>
                  </a:cubicBezTo>
                  <a:cubicBezTo>
                    <a:pt x="2" y="1"/>
                    <a:pt x="3" y="1"/>
                    <a:pt x="3" y="1"/>
                  </a:cubicBezTo>
                  <a:cubicBezTo>
                    <a:pt x="4" y="1"/>
                    <a:pt x="4" y="1"/>
                    <a:pt x="5" y="1"/>
                  </a:cubicBezTo>
                  <a:cubicBezTo>
                    <a:pt x="5" y="2"/>
                    <a:pt x="5" y="2"/>
                    <a:pt x="5" y="2"/>
                  </a:cubicBezTo>
                  <a:cubicBezTo>
                    <a:pt x="5" y="3"/>
                    <a:pt x="4" y="3"/>
                    <a:pt x="4" y="4"/>
                  </a:cubicBezTo>
                  <a:cubicBezTo>
                    <a:pt x="4" y="4"/>
                    <a:pt x="4" y="4"/>
                    <a:pt x="4" y="4"/>
                  </a:cubicBezTo>
                  <a:cubicBezTo>
                    <a:pt x="4" y="4"/>
                    <a:pt x="4" y="4"/>
                    <a:pt x="4" y="4"/>
                  </a:cubicBezTo>
                  <a:cubicBezTo>
                    <a:pt x="5" y="5"/>
                    <a:pt x="6" y="6"/>
                    <a:pt x="6" y="6"/>
                  </a:cubicBezTo>
                  <a:cubicBezTo>
                    <a:pt x="6" y="7"/>
                    <a:pt x="5" y="8"/>
                    <a:pt x="4" y="8"/>
                  </a:cubicBezTo>
                  <a:cubicBezTo>
                    <a:pt x="4" y="8"/>
                    <a:pt x="4" y="8"/>
                    <a:pt x="3" y="8"/>
                  </a:cubicBezTo>
                  <a:cubicBezTo>
                    <a:pt x="2" y="8"/>
                    <a:pt x="2" y="8"/>
                    <a:pt x="1" y="8"/>
                  </a:cubicBezTo>
                  <a:cubicBezTo>
                    <a:pt x="1" y="7"/>
                    <a:pt x="1" y="7"/>
                    <a:pt x="1" y="7"/>
                  </a:cubicBezTo>
                  <a:cubicBezTo>
                    <a:pt x="2" y="7"/>
                    <a:pt x="2" y="7"/>
                    <a:pt x="3" y="7"/>
                  </a:cubicBezTo>
                  <a:cubicBezTo>
                    <a:pt x="3" y="7"/>
                    <a:pt x="3" y="7"/>
                    <a:pt x="3" y="7"/>
                  </a:cubicBezTo>
                  <a:cubicBezTo>
                    <a:pt x="4" y="7"/>
                    <a:pt x="4" y="7"/>
                    <a:pt x="4" y="7"/>
                  </a:cubicBezTo>
                  <a:cubicBezTo>
                    <a:pt x="4" y="6"/>
                    <a:pt x="4" y="6"/>
                    <a:pt x="4" y="6"/>
                  </a:cubicBezTo>
                  <a:cubicBezTo>
                    <a:pt x="4" y="5"/>
                    <a:pt x="4" y="5"/>
                    <a:pt x="4" y="5"/>
                  </a:cubicBezTo>
                  <a:cubicBezTo>
                    <a:pt x="3" y="5"/>
                    <a:pt x="3" y="5"/>
                    <a:pt x="3" y="5"/>
                  </a:cubicBezTo>
                  <a:cubicBezTo>
                    <a:pt x="3" y="5"/>
                    <a:pt x="2" y="5"/>
                    <a:pt x="2" y="5"/>
                  </a:cubicBezTo>
                  <a:cubicBezTo>
                    <a:pt x="2" y="4"/>
                    <a:pt x="2" y="4"/>
                    <a:pt x="2" y="4"/>
                  </a:cubicBezTo>
                  <a:cubicBezTo>
                    <a:pt x="2" y="4"/>
                    <a:pt x="2" y="4"/>
                    <a:pt x="2" y="4"/>
                  </a:cubicBezTo>
                  <a:cubicBezTo>
                    <a:pt x="3" y="4"/>
                    <a:pt x="3" y="4"/>
                    <a:pt x="4" y="4"/>
                  </a:cubicBezTo>
                  <a:cubicBezTo>
                    <a:pt x="4" y="3"/>
                    <a:pt x="4" y="3"/>
                    <a:pt x="4" y="3"/>
                  </a:cubicBezTo>
                  <a:cubicBezTo>
                    <a:pt x="4" y="2"/>
                    <a:pt x="3" y="2"/>
                    <a:pt x="2" y="2"/>
                  </a:cubicBezTo>
                  <a:cubicBezTo>
                    <a:pt x="1" y="2"/>
                    <a:pt x="1" y="2"/>
                    <a:pt x="1" y="2"/>
                  </a:cubicBezTo>
                  <a:moveTo>
                    <a:pt x="3" y="0"/>
                  </a:moveTo>
                  <a:cubicBezTo>
                    <a:pt x="3" y="0"/>
                    <a:pt x="2" y="0"/>
                    <a:pt x="1" y="0"/>
                  </a:cubicBezTo>
                  <a:cubicBezTo>
                    <a:pt x="1" y="1"/>
                    <a:pt x="1" y="1"/>
                    <a:pt x="1" y="1"/>
                  </a:cubicBezTo>
                  <a:cubicBezTo>
                    <a:pt x="1" y="1"/>
                    <a:pt x="1" y="1"/>
                    <a:pt x="1" y="1"/>
                  </a:cubicBezTo>
                  <a:cubicBezTo>
                    <a:pt x="1" y="2"/>
                    <a:pt x="1" y="2"/>
                    <a:pt x="1" y="2"/>
                  </a:cubicBezTo>
                  <a:cubicBezTo>
                    <a:pt x="1" y="3"/>
                    <a:pt x="1" y="3"/>
                    <a:pt x="1" y="3"/>
                  </a:cubicBezTo>
                  <a:cubicBezTo>
                    <a:pt x="1" y="3"/>
                    <a:pt x="1" y="3"/>
                    <a:pt x="1" y="3"/>
                  </a:cubicBezTo>
                  <a:cubicBezTo>
                    <a:pt x="1" y="3"/>
                    <a:pt x="1" y="3"/>
                    <a:pt x="1" y="3"/>
                  </a:cubicBezTo>
                  <a:cubicBezTo>
                    <a:pt x="2" y="2"/>
                    <a:pt x="2" y="2"/>
                    <a:pt x="2" y="2"/>
                  </a:cubicBezTo>
                  <a:cubicBezTo>
                    <a:pt x="3" y="2"/>
                    <a:pt x="3" y="3"/>
                    <a:pt x="3" y="3"/>
                  </a:cubicBezTo>
                  <a:cubicBezTo>
                    <a:pt x="3" y="3"/>
                    <a:pt x="3" y="3"/>
                    <a:pt x="3" y="3"/>
                  </a:cubicBezTo>
                  <a:cubicBezTo>
                    <a:pt x="2" y="3"/>
                    <a:pt x="2" y="3"/>
                    <a:pt x="2" y="3"/>
                  </a:cubicBezTo>
                  <a:cubicBezTo>
                    <a:pt x="2" y="3"/>
                    <a:pt x="2" y="3"/>
                    <a:pt x="2" y="3"/>
                  </a:cubicBezTo>
                  <a:cubicBezTo>
                    <a:pt x="2" y="3"/>
                    <a:pt x="2" y="3"/>
                    <a:pt x="2" y="3"/>
                  </a:cubicBezTo>
                  <a:cubicBezTo>
                    <a:pt x="1" y="4"/>
                    <a:pt x="1" y="4"/>
                    <a:pt x="1" y="4"/>
                  </a:cubicBezTo>
                  <a:cubicBezTo>
                    <a:pt x="1" y="4"/>
                    <a:pt x="1" y="4"/>
                    <a:pt x="1" y="4"/>
                  </a:cubicBezTo>
                  <a:cubicBezTo>
                    <a:pt x="1" y="5"/>
                    <a:pt x="1" y="5"/>
                    <a:pt x="1" y="5"/>
                  </a:cubicBezTo>
                  <a:cubicBezTo>
                    <a:pt x="2" y="5"/>
                    <a:pt x="2" y="5"/>
                    <a:pt x="2" y="5"/>
                  </a:cubicBezTo>
                  <a:cubicBezTo>
                    <a:pt x="2" y="6"/>
                    <a:pt x="2" y="6"/>
                    <a:pt x="2" y="6"/>
                  </a:cubicBezTo>
                  <a:cubicBezTo>
                    <a:pt x="2" y="5"/>
                    <a:pt x="3" y="5"/>
                    <a:pt x="3" y="5"/>
                  </a:cubicBezTo>
                  <a:cubicBezTo>
                    <a:pt x="3" y="5"/>
                    <a:pt x="3" y="5"/>
                    <a:pt x="3" y="6"/>
                  </a:cubicBezTo>
                  <a:cubicBezTo>
                    <a:pt x="4" y="6"/>
                    <a:pt x="4" y="6"/>
                    <a:pt x="4" y="6"/>
                  </a:cubicBezTo>
                  <a:cubicBezTo>
                    <a:pt x="4" y="6"/>
                    <a:pt x="4" y="6"/>
                    <a:pt x="4" y="6"/>
                  </a:cubicBezTo>
                  <a:cubicBezTo>
                    <a:pt x="3" y="6"/>
                    <a:pt x="3" y="6"/>
                    <a:pt x="3" y="6"/>
                  </a:cubicBezTo>
                  <a:cubicBezTo>
                    <a:pt x="3" y="6"/>
                    <a:pt x="3" y="6"/>
                    <a:pt x="3" y="6"/>
                  </a:cubicBezTo>
                  <a:cubicBezTo>
                    <a:pt x="2" y="6"/>
                    <a:pt x="2" y="6"/>
                    <a:pt x="2" y="6"/>
                  </a:cubicBezTo>
                  <a:cubicBezTo>
                    <a:pt x="1" y="6"/>
                    <a:pt x="1" y="6"/>
                    <a:pt x="1" y="6"/>
                  </a:cubicBezTo>
                  <a:cubicBezTo>
                    <a:pt x="1" y="7"/>
                    <a:pt x="0" y="7"/>
                    <a:pt x="0" y="8"/>
                  </a:cubicBezTo>
                  <a:cubicBezTo>
                    <a:pt x="0" y="8"/>
                    <a:pt x="0" y="8"/>
                    <a:pt x="0" y="8"/>
                  </a:cubicBezTo>
                  <a:cubicBezTo>
                    <a:pt x="1" y="9"/>
                    <a:pt x="3" y="9"/>
                    <a:pt x="3" y="9"/>
                  </a:cubicBezTo>
                  <a:cubicBezTo>
                    <a:pt x="4" y="9"/>
                    <a:pt x="4" y="9"/>
                    <a:pt x="4" y="9"/>
                  </a:cubicBezTo>
                  <a:cubicBezTo>
                    <a:pt x="5" y="9"/>
                    <a:pt x="6" y="8"/>
                    <a:pt x="6" y="6"/>
                  </a:cubicBezTo>
                  <a:cubicBezTo>
                    <a:pt x="6" y="6"/>
                    <a:pt x="6" y="4"/>
                    <a:pt x="5" y="4"/>
                  </a:cubicBezTo>
                  <a:cubicBezTo>
                    <a:pt x="5" y="3"/>
                    <a:pt x="6" y="3"/>
                    <a:pt x="6" y="2"/>
                  </a:cubicBezTo>
                  <a:cubicBezTo>
                    <a:pt x="6" y="2"/>
                    <a:pt x="6" y="1"/>
                    <a:pt x="5" y="1"/>
                  </a:cubicBezTo>
                  <a:cubicBezTo>
                    <a:pt x="5"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15" name="isľíďè"/>
            <p:cNvSpPr/>
            <p:nvPr/>
          </p:nvSpPr>
          <p:spPr bwMode="auto">
            <a:xfrm>
              <a:off x="3982" y="2389"/>
              <a:ext cx="7" cy="7"/>
            </a:xfrm>
            <a:custGeom>
              <a:avLst/>
              <a:gdLst>
                <a:gd name="T0" fmla="*/ 2 w 3"/>
                <a:gd name="T1" fmla="*/ 2 h 3"/>
                <a:gd name="T2" fmla="*/ 1 w 3"/>
                <a:gd name="T3" fmla="*/ 2 h 3"/>
                <a:gd name="T4" fmla="*/ 2 w 3"/>
                <a:gd name="T5" fmla="*/ 2 h 3"/>
                <a:gd name="T6" fmla="*/ 2 w 3"/>
                <a:gd name="T7" fmla="*/ 2 h 3"/>
                <a:gd name="T8" fmla="*/ 3 w 3"/>
                <a:gd name="T9" fmla="*/ 0 h 3"/>
                <a:gd name="T10" fmla="*/ 2 w 3"/>
                <a:gd name="T11" fmla="*/ 1 h 3"/>
                <a:gd name="T12" fmla="*/ 0 w 3"/>
                <a:gd name="T13" fmla="*/ 3 h 3"/>
                <a:gd name="T14" fmla="*/ 0 w 3"/>
                <a:gd name="T15" fmla="*/ 3 h 3"/>
                <a:gd name="T16" fmla="*/ 0 w 3"/>
                <a:gd name="T17" fmla="*/ 3 h 3"/>
                <a:gd name="T18" fmla="*/ 1 w 3"/>
                <a:gd name="T19" fmla="*/ 3 h 3"/>
                <a:gd name="T20" fmla="*/ 2 w 3"/>
                <a:gd name="T21" fmla="*/ 3 h 3"/>
                <a:gd name="T22" fmla="*/ 3 w 3"/>
                <a:gd name="T23" fmla="*/ 3 h 3"/>
                <a:gd name="T24" fmla="*/ 3 w 3"/>
                <a:gd name="T25" fmla="*/ 2 h 3"/>
                <a:gd name="T26" fmla="*/ 3 w 3"/>
                <a:gd name="T27" fmla="*/ 1 h 3"/>
                <a:gd name="T28" fmla="*/ 3 w 3"/>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2" y="2"/>
                  </a:moveTo>
                  <a:cubicBezTo>
                    <a:pt x="1" y="2"/>
                    <a:pt x="1" y="2"/>
                    <a:pt x="1" y="2"/>
                  </a:cubicBezTo>
                  <a:cubicBezTo>
                    <a:pt x="2" y="2"/>
                    <a:pt x="2" y="2"/>
                    <a:pt x="2" y="2"/>
                  </a:cubicBezTo>
                  <a:cubicBezTo>
                    <a:pt x="2" y="2"/>
                    <a:pt x="2" y="2"/>
                    <a:pt x="2" y="2"/>
                  </a:cubicBezTo>
                  <a:moveTo>
                    <a:pt x="3" y="0"/>
                  </a:moveTo>
                  <a:cubicBezTo>
                    <a:pt x="2" y="1"/>
                    <a:pt x="2" y="1"/>
                    <a:pt x="2" y="1"/>
                  </a:cubicBezTo>
                  <a:cubicBezTo>
                    <a:pt x="1" y="1"/>
                    <a:pt x="1" y="2"/>
                    <a:pt x="0" y="3"/>
                  </a:cubicBezTo>
                  <a:cubicBezTo>
                    <a:pt x="0" y="3"/>
                    <a:pt x="0" y="3"/>
                    <a:pt x="0" y="3"/>
                  </a:cubicBezTo>
                  <a:cubicBezTo>
                    <a:pt x="0" y="3"/>
                    <a:pt x="0" y="3"/>
                    <a:pt x="0" y="3"/>
                  </a:cubicBezTo>
                  <a:cubicBezTo>
                    <a:pt x="1" y="3"/>
                    <a:pt x="1" y="3"/>
                    <a:pt x="1" y="3"/>
                  </a:cubicBezTo>
                  <a:cubicBezTo>
                    <a:pt x="2" y="3"/>
                    <a:pt x="2" y="3"/>
                    <a:pt x="2" y="3"/>
                  </a:cubicBezTo>
                  <a:cubicBezTo>
                    <a:pt x="3" y="3"/>
                    <a:pt x="3" y="3"/>
                    <a:pt x="3" y="3"/>
                  </a:cubicBezTo>
                  <a:cubicBezTo>
                    <a:pt x="3" y="3"/>
                    <a:pt x="3" y="2"/>
                    <a:pt x="3" y="2"/>
                  </a:cubicBezTo>
                  <a:cubicBezTo>
                    <a:pt x="3" y="1"/>
                    <a:pt x="3" y="1"/>
                    <a:pt x="3" y="1"/>
                  </a:cubicBezTo>
                  <a:cubicBezTo>
                    <a:pt x="3" y="0"/>
                    <a:pt x="3"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16" name="išlíḓè"/>
            <p:cNvSpPr/>
            <p:nvPr/>
          </p:nvSpPr>
          <p:spPr bwMode="auto">
            <a:xfrm>
              <a:off x="3977" y="2384"/>
              <a:ext cx="19" cy="21"/>
            </a:xfrm>
            <a:custGeom>
              <a:avLst/>
              <a:gdLst>
                <a:gd name="T0" fmla="*/ 5 w 8"/>
                <a:gd name="T1" fmla="*/ 1 h 9"/>
                <a:gd name="T2" fmla="*/ 6 w 8"/>
                <a:gd name="T3" fmla="*/ 1 h 9"/>
                <a:gd name="T4" fmla="*/ 5 w 8"/>
                <a:gd name="T5" fmla="*/ 2 h 9"/>
                <a:gd name="T6" fmla="*/ 5 w 8"/>
                <a:gd name="T7" fmla="*/ 5 h 9"/>
                <a:gd name="T8" fmla="*/ 6 w 8"/>
                <a:gd name="T9" fmla="*/ 5 h 9"/>
                <a:gd name="T10" fmla="*/ 6 w 8"/>
                <a:gd name="T11" fmla="*/ 5 h 9"/>
                <a:gd name="T12" fmla="*/ 7 w 8"/>
                <a:gd name="T13" fmla="*/ 5 h 9"/>
                <a:gd name="T14" fmla="*/ 7 w 8"/>
                <a:gd name="T15" fmla="*/ 6 h 9"/>
                <a:gd name="T16" fmla="*/ 7 w 8"/>
                <a:gd name="T17" fmla="*/ 6 h 9"/>
                <a:gd name="T18" fmla="*/ 6 w 8"/>
                <a:gd name="T19" fmla="*/ 6 h 9"/>
                <a:gd name="T20" fmla="*/ 5 w 8"/>
                <a:gd name="T21" fmla="*/ 6 h 9"/>
                <a:gd name="T22" fmla="*/ 5 w 8"/>
                <a:gd name="T23" fmla="*/ 6 h 9"/>
                <a:gd name="T24" fmla="*/ 5 w 8"/>
                <a:gd name="T25" fmla="*/ 8 h 9"/>
                <a:gd name="T26" fmla="*/ 5 w 8"/>
                <a:gd name="T27" fmla="*/ 9 h 9"/>
                <a:gd name="T28" fmla="*/ 5 w 8"/>
                <a:gd name="T29" fmla="*/ 9 h 9"/>
                <a:gd name="T30" fmla="*/ 5 w 8"/>
                <a:gd name="T31" fmla="*/ 7 h 9"/>
                <a:gd name="T32" fmla="*/ 5 w 8"/>
                <a:gd name="T33" fmla="*/ 7 h 9"/>
                <a:gd name="T34" fmla="*/ 5 w 8"/>
                <a:gd name="T35" fmla="*/ 6 h 9"/>
                <a:gd name="T36" fmla="*/ 4 w 8"/>
                <a:gd name="T37" fmla="*/ 6 h 9"/>
                <a:gd name="T38" fmla="*/ 4 w 8"/>
                <a:gd name="T39" fmla="*/ 6 h 9"/>
                <a:gd name="T40" fmla="*/ 4 w 8"/>
                <a:gd name="T41" fmla="*/ 6 h 9"/>
                <a:gd name="T42" fmla="*/ 3 w 8"/>
                <a:gd name="T43" fmla="*/ 6 h 9"/>
                <a:gd name="T44" fmla="*/ 2 w 8"/>
                <a:gd name="T45" fmla="*/ 6 h 9"/>
                <a:gd name="T46" fmla="*/ 1 w 8"/>
                <a:gd name="T47" fmla="*/ 6 h 9"/>
                <a:gd name="T48" fmla="*/ 1 w 8"/>
                <a:gd name="T49" fmla="*/ 5 h 9"/>
                <a:gd name="T50" fmla="*/ 4 w 8"/>
                <a:gd name="T51" fmla="*/ 1 h 9"/>
                <a:gd name="T52" fmla="*/ 4 w 8"/>
                <a:gd name="T53" fmla="*/ 1 h 9"/>
                <a:gd name="T54" fmla="*/ 5 w 8"/>
                <a:gd name="T55" fmla="*/ 1 h 9"/>
                <a:gd name="T56" fmla="*/ 6 w 8"/>
                <a:gd name="T57" fmla="*/ 0 h 9"/>
                <a:gd name="T58" fmla="*/ 5 w 8"/>
                <a:gd name="T59" fmla="*/ 1 h 9"/>
                <a:gd name="T60" fmla="*/ 4 w 8"/>
                <a:gd name="T61" fmla="*/ 1 h 9"/>
                <a:gd name="T62" fmla="*/ 4 w 8"/>
                <a:gd name="T63" fmla="*/ 1 h 9"/>
                <a:gd name="T64" fmla="*/ 0 w 8"/>
                <a:gd name="T65" fmla="*/ 5 h 9"/>
                <a:gd name="T66" fmla="*/ 0 w 8"/>
                <a:gd name="T67" fmla="*/ 7 h 9"/>
                <a:gd name="T68" fmla="*/ 1 w 8"/>
                <a:gd name="T69" fmla="*/ 7 h 9"/>
                <a:gd name="T70" fmla="*/ 2 w 8"/>
                <a:gd name="T71" fmla="*/ 7 h 9"/>
                <a:gd name="T72" fmla="*/ 3 w 8"/>
                <a:gd name="T73" fmla="*/ 7 h 9"/>
                <a:gd name="T74" fmla="*/ 4 w 8"/>
                <a:gd name="T75" fmla="*/ 7 h 9"/>
                <a:gd name="T76" fmla="*/ 4 w 8"/>
                <a:gd name="T77" fmla="*/ 7 h 9"/>
                <a:gd name="T78" fmla="*/ 4 w 8"/>
                <a:gd name="T79" fmla="*/ 9 h 9"/>
                <a:gd name="T80" fmla="*/ 4 w 8"/>
                <a:gd name="T81" fmla="*/ 9 h 9"/>
                <a:gd name="T82" fmla="*/ 4 w 8"/>
                <a:gd name="T83" fmla="*/ 9 h 9"/>
                <a:gd name="T84" fmla="*/ 6 w 8"/>
                <a:gd name="T85" fmla="*/ 9 h 9"/>
                <a:gd name="T86" fmla="*/ 6 w 8"/>
                <a:gd name="T87" fmla="*/ 9 h 9"/>
                <a:gd name="T88" fmla="*/ 6 w 8"/>
                <a:gd name="T89" fmla="*/ 8 h 9"/>
                <a:gd name="T90" fmla="*/ 6 w 8"/>
                <a:gd name="T91" fmla="*/ 7 h 9"/>
                <a:gd name="T92" fmla="*/ 7 w 8"/>
                <a:gd name="T93" fmla="*/ 7 h 9"/>
                <a:gd name="T94" fmla="*/ 7 w 8"/>
                <a:gd name="T95" fmla="*/ 7 h 9"/>
                <a:gd name="T96" fmla="*/ 8 w 8"/>
                <a:gd name="T97" fmla="*/ 6 h 9"/>
                <a:gd name="T98" fmla="*/ 8 w 8"/>
                <a:gd name="T99" fmla="*/ 5 h 9"/>
                <a:gd name="T100" fmla="*/ 8 w 8"/>
                <a:gd name="T101" fmla="*/ 5 h 9"/>
                <a:gd name="T102" fmla="*/ 7 w 8"/>
                <a:gd name="T103" fmla="*/ 5 h 9"/>
                <a:gd name="T104" fmla="*/ 7 w 8"/>
                <a:gd name="T105" fmla="*/ 5 h 9"/>
                <a:gd name="T106" fmla="*/ 6 w 8"/>
                <a:gd name="T107" fmla="*/ 5 h 9"/>
                <a:gd name="T108" fmla="*/ 6 w 8"/>
                <a:gd name="T109" fmla="*/ 2 h 9"/>
                <a:gd name="T110" fmla="*/ 6 w 8"/>
                <a:gd name="T111" fmla="*/ 1 h 9"/>
                <a:gd name="T112" fmla="*/ 6 w 8"/>
                <a:gd name="T113" fmla="*/ 1 h 9"/>
                <a:gd name="T114" fmla="*/ 6 w 8"/>
                <a:gd name="T11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 h="9">
                  <a:moveTo>
                    <a:pt x="5" y="1"/>
                  </a:moveTo>
                  <a:cubicBezTo>
                    <a:pt x="6" y="1"/>
                    <a:pt x="6" y="1"/>
                    <a:pt x="6" y="1"/>
                  </a:cubicBezTo>
                  <a:cubicBezTo>
                    <a:pt x="6" y="2"/>
                    <a:pt x="6" y="2"/>
                    <a:pt x="5" y="2"/>
                  </a:cubicBezTo>
                  <a:cubicBezTo>
                    <a:pt x="5" y="3"/>
                    <a:pt x="5" y="4"/>
                    <a:pt x="5" y="5"/>
                  </a:cubicBezTo>
                  <a:cubicBezTo>
                    <a:pt x="6" y="5"/>
                    <a:pt x="6" y="5"/>
                    <a:pt x="6" y="5"/>
                  </a:cubicBezTo>
                  <a:cubicBezTo>
                    <a:pt x="6" y="5"/>
                    <a:pt x="6" y="5"/>
                    <a:pt x="6" y="5"/>
                  </a:cubicBezTo>
                  <a:cubicBezTo>
                    <a:pt x="7" y="5"/>
                    <a:pt x="7" y="5"/>
                    <a:pt x="7" y="5"/>
                  </a:cubicBezTo>
                  <a:cubicBezTo>
                    <a:pt x="7" y="6"/>
                    <a:pt x="7" y="6"/>
                    <a:pt x="7" y="6"/>
                  </a:cubicBezTo>
                  <a:cubicBezTo>
                    <a:pt x="7" y="6"/>
                    <a:pt x="7" y="6"/>
                    <a:pt x="7" y="6"/>
                  </a:cubicBezTo>
                  <a:cubicBezTo>
                    <a:pt x="6" y="6"/>
                    <a:pt x="6" y="6"/>
                    <a:pt x="6" y="6"/>
                  </a:cubicBezTo>
                  <a:cubicBezTo>
                    <a:pt x="5" y="6"/>
                    <a:pt x="5" y="6"/>
                    <a:pt x="5" y="6"/>
                  </a:cubicBezTo>
                  <a:cubicBezTo>
                    <a:pt x="5" y="6"/>
                    <a:pt x="5" y="6"/>
                    <a:pt x="5" y="6"/>
                  </a:cubicBezTo>
                  <a:cubicBezTo>
                    <a:pt x="5" y="7"/>
                    <a:pt x="5" y="8"/>
                    <a:pt x="5" y="8"/>
                  </a:cubicBezTo>
                  <a:cubicBezTo>
                    <a:pt x="5" y="9"/>
                    <a:pt x="5" y="9"/>
                    <a:pt x="5" y="9"/>
                  </a:cubicBezTo>
                  <a:cubicBezTo>
                    <a:pt x="5" y="9"/>
                    <a:pt x="5" y="9"/>
                    <a:pt x="5" y="9"/>
                  </a:cubicBezTo>
                  <a:cubicBezTo>
                    <a:pt x="5" y="8"/>
                    <a:pt x="5" y="8"/>
                    <a:pt x="5" y="7"/>
                  </a:cubicBezTo>
                  <a:cubicBezTo>
                    <a:pt x="5" y="7"/>
                    <a:pt x="5" y="7"/>
                    <a:pt x="5" y="7"/>
                  </a:cubicBezTo>
                  <a:cubicBezTo>
                    <a:pt x="5" y="6"/>
                    <a:pt x="5" y="6"/>
                    <a:pt x="5" y="6"/>
                  </a:cubicBezTo>
                  <a:cubicBezTo>
                    <a:pt x="4" y="6"/>
                    <a:pt x="4" y="6"/>
                    <a:pt x="4" y="6"/>
                  </a:cubicBezTo>
                  <a:cubicBezTo>
                    <a:pt x="4" y="6"/>
                    <a:pt x="4" y="6"/>
                    <a:pt x="4" y="6"/>
                  </a:cubicBezTo>
                  <a:cubicBezTo>
                    <a:pt x="4" y="6"/>
                    <a:pt x="4" y="6"/>
                    <a:pt x="4" y="6"/>
                  </a:cubicBezTo>
                  <a:cubicBezTo>
                    <a:pt x="3" y="6"/>
                    <a:pt x="3" y="6"/>
                    <a:pt x="3" y="6"/>
                  </a:cubicBezTo>
                  <a:cubicBezTo>
                    <a:pt x="3" y="6"/>
                    <a:pt x="2" y="6"/>
                    <a:pt x="2" y="6"/>
                  </a:cubicBezTo>
                  <a:cubicBezTo>
                    <a:pt x="2" y="6"/>
                    <a:pt x="1" y="6"/>
                    <a:pt x="1" y="6"/>
                  </a:cubicBezTo>
                  <a:cubicBezTo>
                    <a:pt x="1" y="5"/>
                    <a:pt x="1" y="5"/>
                    <a:pt x="1" y="5"/>
                  </a:cubicBezTo>
                  <a:cubicBezTo>
                    <a:pt x="1" y="5"/>
                    <a:pt x="3" y="3"/>
                    <a:pt x="4" y="1"/>
                  </a:cubicBezTo>
                  <a:cubicBezTo>
                    <a:pt x="4" y="1"/>
                    <a:pt x="4" y="1"/>
                    <a:pt x="4" y="1"/>
                  </a:cubicBezTo>
                  <a:cubicBezTo>
                    <a:pt x="5" y="1"/>
                    <a:pt x="5" y="1"/>
                    <a:pt x="5" y="1"/>
                  </a:cubicBezTo>
                  <a:moveTo>
                    <a:pt x="6" y="0"/>
                  </a:moveTo>
                  <a:cubicBezTo>
                    <a:pt x="5" y="1"/>
                    <a:pt x="5" y="1"/>
                    <a:pt x="5" y="1"/>
                  </a:cubicBezTo>
                  <a:cubicBezTo>
                    <a:pt x="4" y="1"/>
                    <a:pt x="4" y="1"/>
                    <a:pt x="4" y="1"/>
                  </a:cubicBezTo>
                  <a:cubicBezTo>
                    <a:pt x="4" y="1"/>
                    <a:pt x="4" y="1"/>
                    <a:pt x="4" y="1"/>
                  </a:cubicBezTo>
                  <a:cubicBezTo>
                    <a:pt x="3" y="2"/>
                    <a:pt x="1" y="5"/>
                    <a:pt x="0" y="5"/>
                  </a:cubicBezTo>
                  <a:cubicBezTo>
                    <a:pt x="0" y="6"/>
                    <a:pt x="0" y="6"/>
                    <a:pt x="0" y="7"/>
                  </a:cubicBezTo>
                  <a:cubicBezTo>
                    <a:pt x="1" y="7"/>
                    <a:pt x="1" y="7"/>
                    <a:pt x="1" y="7"/>
                  </a:cubicBezTo>
                  <a:cubicBezTo>
                    <a:pt x="1" y="7"/>
                    <a:pt x="2" y="7"/>
                    <a:pt x="2" y="7"/>
                  </a:cubicBezTo>
                  <a:cubicBezTo>
                    <a:pt x="2" y="7"/>
                    <a:pt x="3" y="7"/>
                    <a:pt x="3" y="7"/>
                  </a:cubicBezTo>
                  <a:cubicBezTo>
                    <a:pt x="4" y="7"/>
                    <a:pt x="4" y="7"/>
                    <a:pt x="4" y="7"/>
                  </a:cubicBezTo>
                  <a:cubicBezTo>
                    <a:pt x="4" y="7"/>
                    <a:pt x="4" y="7"/>
                    <a:pt x="4" y="7"/>
                  </a:cubicBezTo>
                  <a:cubicBezTo>
                    <a:pt x="4" y="8"/>
                    <a:pt x="4" y="8"/>
                    <a:pt x="4" y="9"/>
                  </a:cubicBezTo>
                  <a:cubicBezTo>
                    <a:pt x="4" y="9"/>
                    <a:pt x="4" y="9"/>
                    <a:pt x="4" y="9"/>
                  </a:cubicBezTo>
                  <a:cubicBezTo>
                    <a:pt x="4" y="9"/>
                    <a:pt x="4" y="9"/>
                    <a:pt x="4" y="9"/>
                  </a:cubicBezTo>
                  <a:cubicBezTo>
                    <a:pt x="6" y="9"/>
                    <a:pt x="6" y="9"/>
                    <a:pt x="6" y="9"/>
                  </a:cubicBezTo>
                  <a:cubicBezTo>
                    <a:pt x="6" y="9"/>
                    <a:pt x="6" y="9"/>
                    <a:pt x="6" y="9"/>
                  </a:cubicBezTo>
                  <a:cubicBezTo>
                    <a:pt x="6" y="8"/>
                    <a:pt x="6" y="8"/>
                    <a:pt x="6" y="8"/>
                  </a:cubicBezTo>
                  <a:cubicBezTo>
                    <a:pt x="6" y="8"/>
                    <a:pt x="6" y="8"/>
                    <a:pt x="6" y="7"/>
                  </a:cubicBezTo>
                  <a:cubicBezTo>
                    <a:pt x="6" y="7"/>
                    <a:pt x="7" y="7"/>
                    <a:pt x="7" y="7"/>
                  </a:cubicBezTo>
                  <a:cubicBezTo>
                    <a:pt x="7" y="7"/>
                    <a:pt x="7" y="7"/>
                    <a:pt x="7" y="7"/>
                  </a:cubicBezTo>
                  <a:cubicBezTo>
                    <a:pt x="8" y="6"/>
                    <a:pt x="8" y="6"/>
                    <a:pt x="8" y="6"/>
                  </a:cubicBezTo>
                  <a:cubicBezTo>
                    <a:pt x="8" y="5"/>
                    <a:pt x="8" y="5"/>
                    <a:pt x="8" y="5"/>
                  </a:cubicBezTo>
                  <a:cubicBezTo>
                    <a:pt x="8" y="5"/>
                    <a:pt x="8" y="5"/>
                    <a:pt x="8" y="5"/>
                  </a:cubicBezTo>
                  <a:cubicBezTo>
                    <a:pt x="7" y="5"/>
                    <a:pt x="7" y="5"/>
                    <a:pt x="7" y="5"/>
                  </a:cubicBezTo>
                  <a:cubicBezTo>
                    <a:pt x="7" y="5"/>
                    <a:pt x="7" y="5"/>
                    <a:pt x="7" y="5"/>
                  </a:cubicBezTo>
                  <a:cubicBezTo>
                    <a:pt x="6" y="5"/>
                    <a:pt x="6" y="5"/>
                    <a:pt x="6" y="5"/>
                  </a:cubicBezTo>
                  <a:cubicBezTo>
                    <a:pt x="6" y="4"/>
                    <a:pt x="6" y="3"/>
                    <a:pt x="6" y="2"/>
                  </a:cubicBezTo>
                  <a:cubicBezTo>
                    <a:pt x="6" y="2"/>
                    <a:pt x="6" y="1"/>
                    <a:pt x="6" y="1"/>
                  </a:cubicBezTo>
                  <a:cubicBezTo>
                    <a:pt x="6" y="1"/>
                    <a:pt x="6" y="1"/>
                    <a:pt x="6" y="1"/>
                  </a:cubicBezTo>
                  <a:cubicBezTo>
                    <a:pt x="6" y="0"/>
                    <a:pt x="6" y="0"/>
                    <a:pt x="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17" name="iSḻiḑè"/>
            <p:cNvSpPr/>
            <p:nvPr/>
          </p:nvSpPr>
          <p:spPr bwMode="auto">
            <a:xfrm>
              <a:off x="4074" y="2067"/>
              <a:ext cx="141" cy="79"/>
            </a:xfrm>
            <a:custGeom>
              <a:avLst/>
              <a:gdLst>
                <a:gd name="T0" fmla="*/ 26 w 59"/>
                <a:gd name="T1" fmla="*/ 28 h 33"/>
                <a:gd name="T2" fmla="*/ 23 w 59"/>
                <a:gd name="T3" fmla="*/ 30 h 33"/>
                <a:gd name="T4" fmla="*/ 24 w 59"/>
                <a:gd name="T5" fmla="*/ 25 h 33"/>
                <a:gd name="T6" fmla="*/ 23 w 59"/>
                <a:gd name="T7" fmla="*/ 30 h 33"/>
                <a:gd name="T8" fmla="*/ 20 w 59"/>
                <a:gd name="T9" fmla="*/ 23 h 33"/>
                <a:gd name="T10" fmla="*/ 17 w 59"/>
                <a:gd name="T11" fmla="*/ 26 h 33"/>
                <a:gd name="T12" fmla="*/ 19 w 59"/>
                <a:gd name="T13" fmla="*/ 23 h 33"/>
                <a:gd name="T14" fmla="*/ 9 w 59"/>
                <a:gd name="T15" fmla="*/ 20 h 33"/>
                <a:gd name="T16" fmla="*/ 8 w 59"/>
                <a:gd name="T17" fmla="*/ 21 h 33"/>
                <a:gd name="T18" fmla="*/ 48 w 59"/>
                <a:gd name="T19" fmla="*/ 20 h 33"/>
                <a:gd name="T20" fmla="*/ 7 w 59"/>
                <a:gd name="T21" fmla="*/ 20 h 33"/>
                <a:gd name="T22" fmla="*/ 7 w 59"/>
                <a:gd name="T23" fmla="*/ 20 h 33"/>
                <a:gd name="T24" fmla="*/ 10 w 59"/>
                <a:gd name="T25" fmla="*/ 18 h 33"/>
                <a:gd name="T26" fmla="*/ 17 w 59"/>
                <a:gd name="T27" fmla="*/ 13 h 33"/>
                <a:gd name="T28" fmla="*/ 29 w 59"/>
                <a:gd name="T29" fmla="*/ 10 h 33"/>
                <a:gd name="T30" fmla="*/ 44 w 59"/>
                <a:gd name="T31" fmla="*/ 24 h 33"/>
                <a:gd name="T32" fmla="*/ 41 w 59"/>
                <a:gd name="T33" fmla="*/ 27 h 33"/>
                <a:gd name="T34" fmla="*/ 32 w 59"/>
                <a:gd name="T35" fmla="*/ 23 h 33"/>
                <a:gd name="T36" fmla="*/ 35 w 59"/>
                <a:gd name="T37" fmla="*/ 30 h 33"/>
                <a:gd name="T38" fmla="*/ 33 w 59"/>
                <a:gd name="T39" fmla="*/ 30 h 33"/>
                <a:gd name="T40" fmla="*/ 29 w 59"/>
                <a:gd name="T41" fmla="*/ 28 h 33"/>
                <a:gd name="T42" fmla="*/ 24 w 59"/>
                <a:gd name="T43" fmla="*/ 23 h 33"/>
                <a:gd name="T44" fmla="*/ 16 w 59"/>
                <a:gd name="T45" fmla="*/ 22 h 33"/>
                <a:gd name="T46" fmla="*/ 14 w 59"/>
                <a:gd name="T47" fmla="*/ 6 h 33"/>
                <a:gd name="T48" fmla="*/ 9 w 59"/>
                <a:gd name="T49" fmla="*/ 19 h 33"/>
                <a:gd name="T50" fmla="*/ 21 w 59"/>
                <a:gd name="T51" fmla="*/ 7 h 33"/>
                <a:gd name="T52" fmla="*/ 43 w 59"/>
                <a:gd name="T53" fmla="*/ 7 h 33"/>
                <a:gd name="T54" fmla="*/ 32 w 59"/>
                <a:gd name="T55" fmla="*/ 12 h 33"/>
                <a:gd name="T56" fmla="*/ 19 w 59"/>
                <a:gd name="T57" fmla="*/ 12 h 33"/>
                <a:gd name="T58" fmla="*/ 49 w 59"/>
                <a:gd name="T59" fmla="*/ 18 h 33"/>
                <a:gd name="T60" fmla="*/ 44 w 59"/>
                <a:gd name="T61" fmla="*/ 6 h 33"/>
                <a:gd name="T62" fmla="*/ 43 w 59"/>
                <a:gd name="T63" fmla="*/ 3 h 33"/>
                <a:gd name="T64" fmla="*/ 36 w 59"/>
                <a:gd name="T65" fmla="*/ 6 h 33"/>
                <a:gd name="T66" fmla="*/ 19 w 59"/>
                <a:gd name="T67" fmla="*/ 7 h 33"/>
                <a:gd name="T68" fmla="*/ 8 w 59"/>
                <a:gd name="T69" fmla="*/ 1 h 33"/>
                <a:gd name="T70" fmla="*/ 7 w 59"/>
                <a:gd name="T71" fmla="*/ 18 h 33"/>
                <a:gd name="T72" fmla="*/ 4 w 59"/>
                <a:gd name="T73" fmla="*/ 19 h 33"/>
                <a:gd name="T74" fmla="*/ 5 w 59"/>
                <a:gd name="T75" fmla="*/ 16 h 33"/>
                <a:gd name="T76" fmla="*/ 5 w 59"/>
                <a:gd name="T77" fmla="*/ 15 h 33"/>
                <a:gd name="T78" fmla="*/ 4 w 59"/>
                <a:gd name="T79" fmla="*/ 14 h 33"/>
                <a:gd name="T80" fmla="*/ 1 w 59"/>
                <a:gd name="T81" fmla="*/ 16 h 33"/>
                <a:gd name="T82" fmla="*/ 0 w 59"/>
                <a:gd name="T83" fmla="*/ 17 h 33"/>
                <a:gd name="T84" fmla="*/ 6 w 59"/>
                <a:gd name="T85" fmla="*/ 21 h 33"/>
                <a:gd name="T86" fmla="*/ 17 w 59"/>
                <a:gd name="T87" fmla="*/ 27 h 33"/>
                <a:gd name="T88" fmla="*/ 21 w 59"/>
                <a:gd name="T89" fmla="*/ 29 h 33"/>
                <a:gd name="T90" fmla="*/ 28 w 59"/>
                <a:gd name="T91" fmla="*/ 32 h 33"/>
                <a:gd name="T92" fmla="*/ 35 w 59"/>
                <a:gd name="T93" fmla="*/ 31 h 33"/>
                <a:gd name="T94" fmla="*/ 43 w 59"/>
                <a:gd name="T95" fmla="*/ 25 h 33"/>
                <a:gd name="T96" fmla="*/ 49 w 59"/>
                <a:gd name="T97" fmla="*/ 21 h 33"/>
                <a:gd name="T98" fmla="*/ 57 w 59"/>
                <a:gd name="T99" fmla="*/ 17 h 33"/>
                <a:gd name="T100" fmla="*/ 56 w 59"/>
                <a:gd name="T101" fmla="*/ 16 h 33"/>
                <a:gd name="T102" fmla="*/ 57 w 59"/>
                <a:gd name="T103" fmla="*/ 13 h 33"/>
                <a:gd name="T104" fmla="*/ 52 w 59"/>
                <a:gd name="T105" fmla="*/ 18 h 33"/>
                <a:gd name="T106" fmla="*/ 51 w 59"/>
                <a:gd name="T107" fmla="*/ 19 h 33"/>
                <a:gd name="T108" fmla="*/ 49 w 59"/>
                <a:gd name="T109" fmla="*/ 20 h 33"/>
                <a:gd name="T110" fmla="*/ 51 w 59"/>
                <a:gd name="T111" fmla="*/ 15 h 33"/>
                <a:gd name="T112" fmla="*/ 50 w 59"/>
                <a:gd name="T113"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 h="33">
                  <a:moveTo>
                    <a:pt x="26" y="32"/>
                  </a:moveTo>
                  <a:cubicBezTo>
                    <a:pt x="26" y="32"/>
                    <a:pt x="26" y="32"/>
                    <a:pt x="26" y="32"/>
                  </a:cubicBezTo>
                  <a:cubicBezTo>
                    <a:pt x="25" y="31"/>
                    <a:pt x="25" y="31"/>
                    <a:pt x="25" y="30"/>
                  </a:cubicBezTo>
                  <a:cubicBezTo>
                    <a:pt x="25" y="30"/>
                    <a:pt x="25" y="30"/>
                    <a:pt x="25" y="30"/>
                  </a:cubicBezTo>
                  <a:cubicBezTo>
                    <a:pt x="25" y="30"/>
                    <a:pt x="25" y="30"/>
                    <a:pt x="25" y="30"/>
                  </a:cubicBezTo>
                  <a:cubicBezTo>
                    <a:pt x="26" y="29"/>
                    <a:pt x="26" y="29"/>
                    <a:pt x="26" y="28"/>
                  </a:cubicBezTo>
                  <a:cubicBezTo>
                    <a:pt x="26" y="28"/>
                    <a:pt x="26" y="28"/>
                    <a:pt x="26" y="28"/>
                  </a:cubicBezTo>
                  <a:cubicBezTo>
                    <a:pt x="27" y="27"/>
                    <a:pt x="27" y="27"/>
                    <a:pt x="27" y="27"/>
                  </a:cubicBezTo>
                  <a:cubicBezTo>
                    <a:pt x="27" y="27"/>
                    <a:pt x="27" y="27"/>
                    <a:pt x="27" y="27"/>
                  </a:cubicBezTo>
                  <a:cubicBezTo>
                    <a:pt x="28" y="28"/>
                    <a:pt x="28" y="28"/>
                    <a:pt x="28" y="28"/>
                  </a:cubicBezTo>
                  <a:cubicBezTo>
                    <a:pt x="28" y="29"/>
                    <a:pt x="28" y="29"/>
                    <a:pt x="28" y="29"/>
                  </a:cubicBezTo>
                  <a:cubicBezTo>
                    <a:pt x="28" y="30"/>
                    <a:pt x="27" y="31"/>
                    <a:pt x="27" y="31"/>
                  </a:cubicBezTo>
                  <a:cubicBezTo>
                    <a:pt x="26" y="32"/>
                    <a:pt x="26" y="32"/>
                    <a:pt x="26" y="32"/>
                  </a:cubicBezTo>
                  <a:moveTo>
                    <a:pt x="23" y="30"/>
                  </a:moveTo>
                  <a:cubicBezTo>
                    <a:pt x="23" y="30"/>
                    <a:pt x="23" y="30"/>
                    <a:pt x="22" y="30"/>
                  </a:cubicBezTo>
                  <a:cubicBezTo>
                    <a:pt x="22" y="29"/>
                    <a:pt x="22" y="29"/>
                    <a:pt x="22" y="28"/>
                  </a:cubicBezTo>
                  <a:cubicBezTo>
                    <a:pt x="22" y="28"/>
                    <a:pt x="22" y="28"/>
                    <a:pt x="22" y="28"/>
                  </a:cubicBezTo>
                  <a:cubicBezTo>
                    <a:pt x="23" y="27"/>
                    <a:pt x="23" y="27"/>
                    <a:pt x="23" y="26"/>
                  </a:cubicBezTo>
                  <a:cubicBezTo>
                    <a:pt x="23" y="25"/>
                    <a:pt x="23" y="25"/>
                    <a:pt x="23" y="25"/>
                  </a:cubicBezTo>
                  <a:cubicBezTo>
                    <a:pt x="24" y="25"/>
                    <a:pt x="24" y="25"/>
                    <a:pt x="24" y="25"/>
                  </a:cubicBezTo>
                  <a:cubicBezTo>
                    <a:pt x="24" y="25"/>
                    <a:pt x="24" y="25"/>
                    <a:pt x="24" y="25"/>
                  </a:cubicBezTo>
                  <a:cubicBezTo>
                    <a:pt x="24" y="24"/>
                    <a:pt x="24" y="24"/>
                    <a:pt x="25" y="24"/>
                  </a:cubicBezTo>
                  <a:cubicBezTo>
                    <a:pt x="25" y="24"/>
                    <a:pt x="25" y="24"/>
                    <a:pt x="25" y="24"/>
                  </a:cubicBezTo>
                  <a:cubicBezTo>
                    <a:pt x="25" y="24"/>
                    <a:pt x="26" y="24"/>
                    <a:pt x="26" y="25"/>
                  </a:cubicBezTo>
                  <a:cubicBezTo>
                    <a:pt x="26" y="25"/>
                    <a:pt x="26" y="26"/>
                    <a:pt x="25" y="26"/>
                  </a:cubicBezTo>
                  <a:cubicBezTo>
                    <a:pt x="25" y="27"/>
                    <a:pt x="25" y="28"/>
                    <a:pt x="24" y="30"/>
                  </a:cubicBezTo>
                  <a:cubicBezTo>
                    <a:pt x="24" y="30"/>
                    <a:pt x="24" y="30"/>
                    <a:pt x="24" y="30"/>
                  </a:cubicBezTo>
                  <a:cubicBezTo>
                    <a:pt x="24" y="30"/>
                    <a:pt x="24" y="30"/>
                    <a:pt x="23" y="30"/>
                  </a:cubicBezTo>
                  <a:moveTo>
                    <a:pt x="20" y="28"/>
                  </a:moveTo>
                  <a:cubicBezTo>
                    <a:pt x="20" y="28"/>
                    <a:pt x="19" y="28"/>
                    <a:pt x="19" y="28"/>
                  </a:cubicBezTo>
                  <a:cubicBezTo>
                    <a:pt x="19" y="28"/>
                    <a:pt x="19" y="28"/>
                    <a:pt x="19" y="28"/>
                  </a:cubicBezTo>
                  <a:cubicBezTo>
                    <a:pt x="19" y="27"/>
                    <a:pt x="19" y="27"/>
                    <a:pt x="19" y="27"/>
                  </a:cubicBezTo>
                  <a:cubicBezTo>
                    <a:pt x="19" y="26"/>
                    <a:pt x="19" y="25"/>
                    <a:pt x="19" y="25"/>
                  </a:cubicBezTo>
                  <a:cubicBezTo>
                    <a:pt x="20" y="24"/>
                    <a:pt x="20" y="24"/>
                    <a:pt x="20" y="24"/>
                  </a:cubicBezTo>
                  <a:cubicBezTo>
                    <a:pt x="20" y="23"/>
                    <a:pt x="20" y="23"/>
                    <a:pt x="20" y="23"/>
                  </a:cubicBezTo>
                  <a:cubicBezTo>
                    <a:pt x="21" y="22"/>
                    <a:pt x="21" y="22"/>
                    <a:pt x="21" y="22"/>
                  </a:cubicBezTo>
                  <a:cubicBezTo>
                    <a:pt x="22" y="22"/>
                    <a:pt x="22" y="22"/>
                    <a:pt x="22" y="22"/>
                  </a:cubicBezTo>
                  <a:cubicBezTo>
                    <a:pt x="22" y="22"/>
                    <a:pt x="23" y="23"/>
                    <a:pt x="22" y="25"/>
                  </a:cubicBezTo>
                  <a:cubicBezTo>
                    <a:pt x="22" y="26"/>
                    <a:pt x="22" y="26"/>
                    <a:pt x="22" y="26"/>
                  </a:cubicBezTo>
                  <a:cubicBezTo>
                    <a:pt x="22" y="27"/>
                    <a:pt x="21" y="28"/>
                    <a:pt x="20" y="28"/>
                  </a:cubicBezTo>
                  <a:cubicBezTo>
                    <a:pt x="20" y="28"/>
                    <a:pt x="20" y="28"/>
                    <a:pt x="20" y="28"/>
                  </a:cubicBezTo>
                  <a:moveTo>
                    <a:pt x="17" y="26"/>
                  </a:moveTo>
                  <a:cubicBezTo>
                    <a:pt x="16" y="25"/>
                    <a:pt x="16" y="25"/>
                    <a:pt x="16" y="25"/>
                  </a:cubicBezTo>
                  <a:cubicBezTo>
                    <a:pt x="16" y="24"/>
                    <a:pt x="16" y="24"/>
                    <a:pt x="16" y="24"/>
                  </a:cubicBezTo>
                  <a:cubicBezTo>
                    <a:pt x="17" y="24"/>
                    <a:pt x="17" y="23"/>
                    <a:pt x="17" y="22"/>
                  </a:cubicBezTo>
                  <a:cubicBezTo>
                    <a:pt x="17" y="22"/>
                    <a:pt x="18" y="21"/>
                    <a:pt x="18" y="21"/>
                  </a:cubicBezTo>
                  <a:cubicBezTo>
                    <a:pt x="19" y="22"/>
                    <a:pt x="19" y="22"/>
                    <a:pt x="19" y="22"/>
                  </a:cubicBezTo>
                  <a:cubicBezTo>
                    <a:pt x="19" y="22"/>
                    <a:pt x="19" y="23"/>
                    <a:pt x="19" y="23"/>
                  </a:cubicBezTo>
                  <a:cubicBezTo>
                    <a:pt x="19" y="23"/>
                    <a:pt x="19" y="23"/>
                    <a:pt x="19" y="23"/>
                  </a:cubicBezTo>
                  <a:cubicBezTo>
                    <a:pt x="18" y="24"/>
                    <a:pt x="18" y="24"/>
                    <a:pt x="18" y="24"/>
                  </a:cubicBezTo>
                  <a:cubicBezTo>
                    <a:pt x="18" y="25"/>
                    <a:pt x="18" y="25"/>
                    <a:pt x="18" y="25"/>
                  </a:cubicBezTo>
                  <a:cubicBezTo>
                    <a:pt x="18" y="25"/>
                    <a:pt x="18" y="25"/>
                    <a:pt x="18" y="25"/>
                  </a:cubicBezTo>
                  <a:cubicBezTo>
                    <a:pt x="17" y="26"/>
                    <a:pt x="17" y="26"/>
                    <a:pt x="17" y="26"/>
                  </a:cubicBezTo>
                  <a:moveTo>
                    <a:pt x="9" y="21"/>
                  </a:moveTo>
                  <a:cubicBezTo>
                    <a:pt x="9" y="21"/>
                    <a:pt x="9" y="21"/>
                    <a:pt x="9" y="21"/>
                  </a:cubicBezTo>
                  <a:cubicBezTo>
                    <a:pt x="9" y="20"/>
                    <a:pt x="9" y="20"/>
                    <a:pt x="9" y="20"/>
                  </a:cubicBezTo>
                  <a:cubicBezTo>
                    <a:pt x="9" y="21"/>
                    <a:pt x="9" y="21"/>
                    <a:pt x="9" y="21"/>
                  </a:cubicBezTo>
                  <a:moveTo>
                    <a:pt x="8" y="21"/>
                  </a:moveTo>
                  <a:cubicBezTo>
                    <a:pt x="8" y="20"/>
                    <a:pt x="8" y="20"/>
                    <a:pt x="8" y="20"/>
                  </a:cubicBezTo>
                  <a:cubicBezTo>
                    <a:pt x="8" y="20"/>
                    <a:pt x="8" y="20"/>
                    <a:pt x="8" y="20"/>
                  </a:cubicBezTo>
                  <a:cubicBezTo>
                    <a:pt x="8" y="20"/>
                    <a:pt x="8" y="20"/>
                    <a:pt x="8" y="20"/>
                  </a:cubicBezTo>
                  <a:cubicBezTo>
                    <a:pt x="8" y="21"/>
                    <a:pt x="8" y="21"/>
                    <a:pt x="8" y="21"/>
                  </a:cubicBezTo>
                  <a:cubicBezTo>
                    <a:pt x="8" y="21"/>
                    <a:pt x="8" y="21"/>
                    <a:pt x="8" y="21"/>
                  </a:cubicBezTo>
                  <a:cubicBezTo>
                    <a:pt x="8" y="21"/>
                    <a:pt x="8" y="21"/>
                    <a:pt x="8" y="21"/>
                  </a:cubicBezTo>
                  <a:moveTo>
                    <a:pt x="48" y="20"/>
                  </a:moveTo>
                  <a:cubicBezTo>
                    <a:pt x="48" y="20"/>
                    <a:pt x="48" y="20"/>
                    <a:pt x="48" y="20"/>
                  </a:cubicBezTo>
                  <a:cubicBezTo>
                    <a:pt x="48" y="20"/>
                    <a:pt x="48" y="20"/>
                    <a:pt x="48" y="20"/>
                  </a:cubicBezTo>
                  <a:cubicBezTo>
                    <a:pt x="48" y="20"/>
                    <a:pt x="48" y="20"/>
                    <a:pt x="48" y="20"/>
                  </a:cubicBezTo>
                  <a:cubicBezTo>
                    <a:pt x="48" y="20"/>
                    <a:pt x="48" y="20"/>
                    <a:pt x="48" y="20"/>
                  </a:cubicBezTo>
                  <a:cubicBezTo>
                    <a:pt x="48" y="20"/>
                    <a:pt x="48" y="20"/>
                    <a:pt x="48" y="20"/>
                  </a:cubicBezTo>
                  <a:moveTo>
                    <a:pt x="47" y="20"/>
                  </a:moveTo>
                  <a:cubicBezTo>
                    <a:pt x="47" y="19"/>
                    <a:pt x="47" y="19"/>
                    <a:pt x="47" y="19"/>
                  </a:cubicBezTo>
                  <a:cubicBezTo>
                    <a:pt x="47" y="19"/>
                    <a:pt x="47" y="19"/>
                    <a:pt x="47" y="19"/>
                  </a:cubicBezTo>
                  <a:cubicBezTo>
                    <a:pt x="47" y="19"/>
                    <a:pt x="47" y="19"/>
                    <a:pt x="47" y="19"/>
                  </a:cubicBezTo>
                  <a:cubicBezTo>
                    <a:pt x="47" y="19"/>
                    <a:pt x="47" y="19"/>
                    <a:pt x="47" y="19"/>
                  </a:cubicBezTo>
                  <a:cubicBezTo>
                    <a:pt x="47" y="20"/>
                    <a:pt x="47" y="20"/>
                    <a:pt x="47" y="20"/>
                  </a:cubicBezTo>
                  <a:moveTo>
                    <a:pt x="7" y="20"/>
                  </a:moveTo>
                  <a:cubicBezTo>
                    <a:pt x="7" y="20"/>
                    <a:pt x="7" y="20"/>
                    <a:pt x="7" y="20"/>
                  </a:cubicBezTo>
                  <a:cubicBezTo>
                    <a:pt x="7" y="20"/>
                    <a:pt x="7" y="20"/>
                    <a:pt x="7" y="20"/>
                  </a:cubicBezTo>
                  <a:cubicBezTo>
                    <a:pt x="7" y="20"/>
                    <a:pt x="7" y="20"/>
                    <a:pt x="7" y="20"/>
                  </a:cubicBezTo>
                  <a:cubicBezTo>
                    <a:pt x="7" y="19"/>
                    <a:pt x="7" y="19"/>
                    <a:pt x="7" y="19"/>
                  </a:cubicBezTo>
                  <a:cubicBezTo>
                    <a:pt x="7" y="19"/>
                    <a:pt x="7" y="19"/>
                    <a:pt x="7" y="19"/>
                  </a:cubicBezTo>
                  <a:cubicBezTo>
                    <a:pt x="8" y="19"/>
                    <a:pt x="8" y="19"/>
                    <a:pt x="8" y="19"/>
                  </a:cubicBezTo>
                  <a:cubicBezTo>
                    <a:pt x="7" y="20"/>
                    <a:pt x="7" y="20"/>
                    <a:pt x="7" y="20"/>
                  </a:cubicBezTo>
                  <a:moveTo>
                    <a:pt x="47" y="19"/>
                  </a:moveTo>
                  <a:cubicBezTo>
                    <a:pt x="46" y="19"/>
                    <a:pt x="46" y="19"/>
                    <a:pt x="46" y="19"/>
                  </a:cubicBezTo>
                  <a:cubicBezTo>
                    <a:pt x="47" y="19"/>
                    <a:pt x="47" y="19"/>
                    <a:pt x="47" y="19"/>
                  </a:cubicBezTo>
                  <a:cubicBezTo>
                    <a:pt x="47" y="19"/>
                    <a:pt x="47" y="19"/>
                    <a:pt x="47" y="19"/>
                  </a:cubicBezTo>
                  <a:cubicBezTo>
                    <a:pt x="47" y="19"/>
                    <a:pt x="47" y="19"/>
                    <a:pt x="47" y="19"/>
                  </a:cubicBezTo>
                  <a:moveTo>
                    <a:pt x="16" y="22"/>
                  </a:moveTo>
                  <a:cubicBezTo>
                    <a:pt x="15" y="20"/>
                    <a:pt x="13" y="18"/>
                    <a:pt x="10" y="18"/>
                  </a:cubicBezTo>
                  <a:cubicBezTo>
                    <a:pt x="10" y="14"/>
                    <a:pt x="12" y="10"/>
                    <a:pt x="14" y="8"/>
                  </a:cubicBezTo>
                  <a:cubicBezTo>
                    <a:pt x="14" y="7"/>
                    <a:pt x="14" y="7"/>
                    <a:pt x="14" y="7"/>
                  </a:cubicBezTo>
                  <a:cubicBezTo>
                    <a:pt x="14" y="7"/>
                    <a:pt x="14" y="7"/>
                    <a:pt x="14" y="7"/>
                  </a:cubicBezTo>
                  <a:cubicBezTo>
                    <a:pt x="18" y="8"/>
                    <a:pt x="18" y="8"/>
                    <a:pt x="18" y="8"/>
                  </a:cubicBezTo>
                  <a:cubicBezTo>
                    <a:pt x="17" y="9"/>
                    <a:pt x="17" y="9"/>
                    <a:pt x="17" y="9"/>
                  </a:cubicBezTo>
                  <a:cubicBezTo>
                    <a:pt x="16" y="10"/>
                    <a:pt x="16" y="11"/>
                    <a:pt x="16" y="11"/>
                  </a:cubicBezTo>
                  <a:cubicBezTo>
                    <a:pt x="16" y="12"/>
                    <a:pt x="16" y="13"/>
                    <a:pt x="17" y="13"/>
                  </a:cubicBezTo>
                  <a:cubicBezTo>
                    <a:pt x="18" y="13"/>
                    <a:pt x="18" y="13"/>
                    <a:pt x="19" y="13"/>
                  </a:cubicBezTo>
                  <a:cubicBezTo>
                    <a:pt x="20" y="13"/>
                    <a:pt x="20" y="13"/>
                    <a:pt x="20" y="13"/>
                  </a:cubicBezTo>
                  <a:cubicBezTo>
                    <a:pt x="21" y="13"/>
                    <a:pt x="22" y="12"/>
                    <a:pt x="23" y="12"/>
                  </a:cubicBezTo>
                  <a:cubicBezTo>
                    <a:pt x="24" y="11"/>
                    <a:pt x="24" y="11"/>
                    <a:pt x="24" y="11"/>
                  </a:cubicBezTo>
                  <a:cubicBezTo>
                    <a:pt x="25" y="10"/>
                    <a:pt x="27" y="10"/>
                    <a:pt x="28" y="10"/>
                  </a:cubicBezTo>
                  <a:cubicBezTo>
                    <a:pt x="28" y="10"/>
                    <a:pt x="29" y="10"/>
                    <a:pt x="29" y="10"/>
                  </a:cubicBezTo>
                  <a:cubicBezTo>
                    <a:pt x="29" y="10"/>
                    <a:pt x="29" y="10"/>
                    <a:pt x="29" y="10"/>
                  </a:cubicBezTo>
                  <a:cubicBezTo>
                    <a:pt x="30" y="11"/>
                    <a:pt x="30" y="12"/>
                    <a:pt x="31" y="13"/>
                  </a:cubicBezTo>
                  <a:cubicBezTo>
                    <a:pt x="32" y="13"/>
                    <a:pt x="33" y="13"/>
                    <a:pt x="33" y="14"/>
                  </a:cubicBezTo>
                  <a:cubicBezTo>
                    <a:pt x="34" y="14"/>
                    <a:pt x="34" y="14"/>
                    <a:pt x="34" y="14"/>
                  </a:cubicBezTo>
                  <a:cubicBezTo>
                    <a:pt x="37" y="16"/>
                    <a:pt x="41" y="18"/>
                    <a:pt x="44" y="21"/>
                  </a:cubicBezTo>
                  <a:cubicBezTo>
                    <a:pt x="45" y="21"/>
                    <a:pt x="45" y="21"/>
                    <a:pt x="45" y="21"/>
                  </a:cubicBezTo>
                  <a:cubicBezTo>
                    <a:pt x="45" y="22"/>
                    <a:pt x="45" y="23"/>
                    <a:pt x="45" y="23"/>
                  </a:cubicBezTo>
                  <a:cubicBezTo>
                    <a:pt x="45" y="24"/>
                    <a:pt x="44" y="24"/>
                    <a:pt x="44" y="24"/>
                  </a:cubicBezTo>
                  <a:cubicBezTo>
                    <a:pt x="44" y="24"/>
                    <a:pt x="44" y="24"/>
                    <a:pt x="43" y="24"/>
                  </a:cubicBezTo>
                  <a:cubicBezTo>
                    <a:pt x="43" y="24"/>
                    <a:pt x="43" y="24"/>
                    <a:pt x="42" y="24"/>
                  </a:cubicBezTo>
                  <a:cubicBezTo>
                    <a:pt x="39" y="22"/>
                    <a:pt x="36" y="21"/>
                    <a:pt x="33" y="19"/>
                  </a:cubicBezTo>
                  <a:cubicBezTo>
                    <a:pt x="33" y="19"/>
                    <a:pt x="33" y="19"/>
                    <a:pt x="33" y="19"/>
                  </a:cubicBezTo>
                  <a:cubicBezTo>
                    <a:pt x="33" y="20"/>
                    <a:pt x="33" y="20"/>
                    <a:pt x="33" y="20"/>
                  </a:cubicBezTo>
                  <a:cubicBezTo>
                    <a:pt x="36" y="22"/>
                    <a:pt x="39" y="23"/>
                    <a:pt x="42" y="25"/>
                  </a:cubicBezTo>
                  <a:cubicBezTo>
                    <a:pt x="42" y="25"/>
                    <a:pt x="41" y="26"/>
                    <a:pt x="41" y="27"/>
                  </a:cubicBezTo>
                  <a:cubicBezTo>
                    <a:pt x="40" y="27"/>
                    <a:pt x="40" y="27"/>
                    <a:pt x="40" y="27"/>
                  </a:cubicBezTo>
                  <a:cubicBezTo>
                    <a:pt x="39" y="27"/>
                    <a:pt x="39" y="27"/>
                    <a:pt x="38" y="27"/>
                  </a:cubicBezTo>
                  <a:cubicBezTo>
                    <a:pt x="38" y="26"/>
                    <a:pt x="37" y="26"/>
                    <a:pt x="36" y="26"/>
                  </a:cubicBezTo>
                  <a:cubicBezTo>
                    <a:pt x="33" y="23"/>
                    <a:pt x="33" y="23"/>
                    <a:pt x="33" y="23"/>
                  </a:cubicBezTo>
                  <a:cubicBezTo>
                    <a:pt x="33" y="23"/>
                    <a:pt x="33" y="23"/>
                    <a:pt x="33" y="23"/>
                  </a:cubicBezTo>
                  <a:cubicBezTo>
                    <a:pt x="32" y="23"/>
                    <a:pt x="32" y="23"/>
                    <a:pt x="32" y="23"/>
                  </a:cubicBezTo>
                  <a:cubicBezTo>
                    <a:pt x="32" y="23"/>
                    <a:pt x="32" y="23"/>
                    <a:pt x="32" y="23"/>
                  </a:cubicBezTo>
                  <a:cubicBezTo>
                    <a:pt x="31" y="23"/>
                    <a:pt x="31" y="23"/>
                    <a:pt x="31" y="23"/>
                  </a:cubicBezTo>
                  <a:cubicBezTo>
                    <a:pt x="32" y="24"/>
                    <a:pt x="32" y="24"/>
                    <a:pt x="32" y="24"/>
                  </a:cubicBezTo>
                  <a:cubicBezTo>
                    <a:pt x="36" y="26"/>
                    <a:pt x="36" y="26"/>
                    <a:pt x="36" y="26"/>
                  </a:cubicBezTo>
                  <a:cubicBezTo>
                    <a:pt x="36" y="27"/>
                    <a:pt x="37" y="27"/>
                    <a:pt x="38" y="28"/>
                  </a:cubicBezTo>
                  <a:cubicBezTo>
                    <a:pt x="38" y="28"/>
                    <a:pt x="38" y="29"/>
                    <a:pt x="37" y="29"/>
                  </a:cubicBezTo>
                  <a:cubicBezTo>
                    <a:pt x="37" y="29"/>
                    <a:pt x="37" y="30"/>
                    <a:pt x="36" y="30"/>
                  </a:cubicBezTo>
                  <a:cubicBezTo>
                    <a:pt x="36" y="30"/>
                    <a:pt x="36" y="30"/>
                    <a:pt x="35" y="30"/>
                  </a:cubicBezTo>
                  <a:cubicBezTo>
                    <a:pt x="35" y="29"/>
                    <a:pt x="34" y="29"/>
                    <a:pt x="33" y="28"/>
                  </a:cubicBezTo>
                  <a:cubicBezTo>
                    <a:pt x="31" y="27"/>
                    <a:pt x="31" y="27"/>
                    <a:pt x="31" y="27"/>
                  </a:cubicBezTo>
                  <a:cubicBezTo>
                    <a:pt x="30" y="27"/>
                    <a:pt x="30" y="27"/>
                    <a:pt x="30" y="27"/>
                  </a:cubicBezTo>
                  <a:cubicBezTo>
                    <a:pt x="30" y="27"/>
                    <a:pt x="30" y="27"/>
                    <a:pt x="30" y="27"/>
                  </a:cubicBezTo>
                  <a:cubicBezTo>
                    <a:pt x="32" y="29"/>
                    <a:pt x="32" y="29"/>
                    <a:pt x="32" y="29"/>
                  </a:cubicBezTo>
                  <a:cubicBezTo>
                    <a:pt x="33" y="30"/>
                    <a:pt x="33" y="30"/>
                    <a:pt x="33" y="30"/>
                  </a:cubicBezTo>
                  <a:cubicBezTo>
                    <a:pt x="33" y="30"/>
                    <a:pt x="33" y="30"/>
                    <a:pt x="33" y="30"/>
                  </a:cubicBezTo>
                  <a:cubicBezTo>
                    <a:pt x="34" y="30"/>
                    <a:pt x="34" y="31"/>
                    <a:pt x="34" y="31"/>
                  </a:cubicBezTo>
                  <a:cubicBezTo>
                    <a:pt x="34" y="32"/>
                    <a:pt x="33" y="32"/>
                    <a:pt x="32" y="32"/>
                  </a:cubicBezTo>
                  <a:cubicBezTo>
                    <a:pt x="32" y="32"/>
                    <a:pt x="32" y="32"/>
                    <a:pt x="32" y="32"/>
                  </a:cubicBezTo>
                  <a:cubicBezTo>
                    <a:pt x="30" y="31"/>
                    <a:pt x="30" y="31"/>
                    <a:pt x="29" y="30"/>
                  </a:cubicBezTo>
                  <a:cubicBezTo>
                    <a:pt x="28" y="30"/>
                    <a:pt x="28" y="30"/>
                    <a:pt x="28" y="30"/>
                  </a:cubicBezTo>
                  <a:cubicBezTo>
                    <a:pt x="29" y="30"/>
                    <a:pt x="29" y="30"/>
                    <a:pt x="29" y="30"/>
                  </a:cubicBezTo>
                  <a:cubicBezTo>
                    <a:pt x="29" y="29"/>
                    <a:pt x="29" y="29"/>
                    <a:pt x="29" y="28"/>
                  </a:cubicBezTo>
                  <a:cubicBezTo>
                    <a:pt x="29" y="28"/>
                    <a:pt x="29" y="27"/>
                    <a:pt x="28" y="27"/>
                  </a:cubicBezTo>
                  <a:cubicBezTo>
                    <a:pt x="28" y="26"/>
                    <a:pt x="27" y="26"/>
                    <a:pt x="27" y="26"/>
                  </a:cubicBezTo>
                  <a:cubicBezTo>
                    <a:pt x="27" y="26"/>
                    <a:pt x="27" y="26"/>
                    <a:pt x="26" y="26"/>
                  </a:cubicBezTo>
                  <a:cubicBezTo>
                    <a:pt x="27" y="26"/>
                    <a:pt x="27" y="25"/>
                    <a:pt x="27" y="25"/>
                  </a:cubicBezTo>
                  <a:cubicBezTo>
                    <a:pt x="26" y="24"/>
                    <a:pt x="26" y="23"/>
                    <a:pt x="25" y="23"/>
                  </a:cubicBezTo>
                  <a:cubicBezTo>
                    <a:pt x="25" y="23"/>
                    <a:pt x="25" y="23"/>
                    <a:pt x="25" y="23"/>
                  </a:cubicBezTo>
                  <a:cubicBezTo>
                    <a:pt x="24" y="23"/>
                    <a:pt x="24" y="23"/>
                    <a:pt x="24" y="23"/>
                  </a:cubicBezTo>
                  <a:cubicBezTo>
                    <a:pt x="23" y="22"/>
                    <a:pt x="23" y="22"/>
                    <a:pt x="22" y="21"/>
                  </a:cubicBezTo>
                  <a:cubicBezTo>
                    <a:pt x="22" y="21"/>
                    <a:pt x="22" y="21"/>
                    <a:pt x="21" y="21"/>
                  </a:cubicBezTo>
                  <a:cubicBezTo>
                    <a:pt x="21" y="21"/>
                    <a:pt x="20" y="21"/>
                    <a:pt x="20" y="22"/>
                  </a:cubicBezTo>
                  <a:cubicBezTo>
                    <a:pt x="19" y="21"/>
                    <a:pt x="19" y="21"/>
                    <a:pt x="19" y="21"/>
                  </a:cubicBezTo>
                  <a:cubicBezTo>
                    <a:pt x="19" y="20"/>
                    <a:pt x="18" y="20"/>
                    <a:pt x="18" y="20"/>
                  </a:cubicBezTo>
                  <a:cubicBezTo>
                    <a:pt x="18" y="20"/>
                    <a:pt x="18" y="20"/>
                    <a:pt x="18" y="20"/>
                  </a:cubicBezTo>
                  <a:cubicBezTo>
                    <a:pt x="17" y="20"/>
                    <a:pt x="16" y="21"/>
                    <a:pt x="16" y="22"/>
                  </a:cubicBezTo>
                  <a:cubicBezTo>
                    <a:pt x="16" y="22"/>
                    <a:pt x="16" y="22"/>
                    <a:pt x="16" y="22"/>
                  </a:cubicBezTo>
                  <a:moveTo>
                    <a:pt x="9" y="19"/>
                  </a:moveTo>
                  <a:cubicBezTo>
                    <a:pt x="9" y="19"/>
                    <a:pt x="9" y="19"/>
                    <a:pt x="9" y="19"/>
                  </a:cubicBezTo>
                  <a:cubicBezTo>
                    <a:pt x="8" y="15"/>
                    <a:pt x="10" y="10"/>
                    <a:pt x="12" y="6"/>
                  </a:cubicBezTo>
                  <a:cubicBezTo>
                    <a:pt x="12" y="6"/>
                    <a:pt x="13" y="6"/>
                    <a:pt x="13" y="5"/>
                  </a:cubicBezTo>
                  <a:cubicBezTo>
                    <a:pt x="14" y="5"/>
                    <a:pt x="14" y="5"/>
                    <a:pt x="14" y="5"/>
                  </a:cubicBezTo>
                  <a:cubicBezTo>
                    <a:pt x="14" y="6"/>
                    <a:pt x="14" y="6"/>
                    <a:pt x="14" y="6"/>
                  </a:cubicBezTo>
                  <a:cubicBezTo>
                    <a:pt x="14" y="6"/>
                    <a:pt x="14" y="6"/>
                    <a:pt x="14" y="6"/>
                  </a:cubicBezTo>
                  <a:cubicBezTo>
                    <a:pt x="13" y="6"/>
                    <a:pt x="13" y="7"/>
                    <a:pt x="13" y="7"/>
                  </a:cubicBezTo>
                  <a:cubicBezTo>
                    <a:pt x="10" y="10"/>
                    <a:pt x="9" y="14"/>
                    <a:pt x="9" y="18"/>
                  </a:cubicBezTo>
                  <a:cubicBezTo>
                    <a:pt x="10" y="18"/>
                    <a:pt x="10" y="18"/>
                    <a:pt x="10" y="18"/>
                  </a:cubicBezTo>
                  <a:cubicBezTo>
                    <a:pt x="10" y="19"/>
                    <a:pt x="10" y="19"/>
                    <a:pt x="10" y="19"/>
                  </a:cubicBezTo>
                  <a:cubicBezTo>
                    <a:pt x="9" y="19"/>
                    <a:pt x="9" y="19"/>
                    <a:pt x="9" y="19"/>
                  </a:cubicBezTo>
                  <a:cubicBezTo>
                    <a:pt x="9" y="19"/>
                    <a:pt x="9" y="19"/>
                    <a:pt x="9" y="19"/>
                  </a:cubicBezTo>
                  <a:moveTo>
                    <a:pt x="19" y="12"/>
                  </a:moveTo>
                  <a:cubicBezTo>
                    <a:pt x="18" y="12"/>
                    <a:pt x="18" y="12"/>
                    <a:pt x="17" y="12"/>
                  </a:cubicBezTo>
                  <a:cubicBezTo>
                    <a:pt x="17" y="12"/>
                    <a:pt x="17" y="11"/>
                    <a:pt x="17" y="11"/>
                  </a:cubicBezTo>
                  <a:cubicBezTo>
                    <a:pt x="17" y="10"/>
                    <a:pt x="17" y="10"/>
                    <a:pt x="17" y="10"/>
                  </a:cubicBezTo>
                  <a:cubicBezTo>
                    <a:pt x="18" y="10"/>
                    <a:pt x="19" y="9"/>
                    <a:pt x="20" y="8"/>
                  </a:cubicBezTo>
                  <a:cubicBezTo>
                    <a:pt x="20" y="8"/>
                    <a:pt x="20" y="8"/>
                    <a:pt x="20" y="8"/>
                  </a:cubicBezTo>
                  <a:cubicBezTo>
                    <a:pt x="20" y="7"/>
                    <a:pt x="21" y="7"/>
                    <a:pt x="21" y="7"/>
                  </a:cubicBezTo>
                  <a:cubicBezTo>
                    <a:pt x="22" y="7"/>
                    <a:pt x="22" y="6"/>
                    <a:pt x="22" y="6"/>
                  </a:cubicBezTo>
                  <a:cubicBezTo>
                    <a:pt x="24" y="6"/>
                    <a:pt x="26" y="5"/>
                    <a:pt x="28" y="5"/>
                  </a:cubicBezTo>
                  <a:cubicBezTo>
                    <a:pt x="31" y="5"/>
                    <a:pt x="33" y="6"/>
                    <a:pt x="35" y="7"/>
                  </a:cubicBezTo>
                  <a:cubicBezTo>
                    <a:pt x="36" y="7"/>
                    <a:pt x="36" y="7"/>
                    <a:pt x="36" y="7"/>
                  </a:cubicBezTo>
                  <a:cubicBezTo>
                    <a:pt x="37" y="7"/>
                    <a:pt x="38" y="8"/>
                    <a:pt x="39" y="8"/>
                  </a:cubicBezTo>
                  <a:cubicBezTo>
                    <a:pt x="40" y="8"/>
                    <a:pt x="40" y="8"/>
                    <a:pt x="40" y="8"/>
                  </a:cubicBezTo>
                  <a:cubicBezTo>
                    <a:pt x="41" y="8"/>
                    <a:pt x="42" y="7"/>
                    <a:pt x="43" y="7"/>
                  </a:cubicBezTo>
                  <a:cubicBezTo>
                    <a:pt x="43" y="7"/>
                    <a:pt x="43" y="7"/>
                    <a:pt x="43" y="7"/>
                  </a:cubicBezTo>
                  <a:cubicBezTo>
                    <a:pt x="44" y="8"/>
                    <a:pt x="45" y="9"/>
                    <a:pt x="46" y="11"/>
                  </a:cubicBezTo>
                  <a:cubicBezTo>
                    <a:pt x="47" y="13"/>
                    <a:pt x="47" y="15"/>
                    <a:pt x="47" y="17"/>
                  </a:cubicBezTo>
                  <a:cubicBezTo>
                    <a:pt x="46" y="18"/>
                    <a:pt x="45" y="18"/>
                    <a:pt x="43" y="19"/>
                  </a:cubicBezTo>
                  <a:cubicBezTo>
                    <a:pt x="41" y="17"/>
                    <a:pt x="37" y="15"/>
                    <a:pt x="34" y="13"/>
                  </a:cubicBezTo>
                  <a:cubicBezTo>
                    <a:pt x="34" y="13"/>
                    <a:pt x="34" y="13"/>
                    <a:pt x="34" y="13"/>
                  </a:cubicBezTo>
                  <a:cubicBezTo>
                    <a:pt x="33" y="13"/>
                    <a:pt x="32" y="12"/>
                    <a:pt x="32" y="12"/>
                  </a:cubicBezTo>
                  <a:cubicBezTo>
                    <a:pt x="31" y="11"/>
                    <a:pt x="30" y="10"/>
                    <a:pt x="30" y="9"/>
                  </a:cubicBezTo>
                  <a:cubicBezTo>
                    <a:pt x="29" y="9"/>
                    <a:pt x="29" y="9"/>
                    <a:pt x="29" y="9"/>
                  </a:cubicBezTo>
                  <a:cubicBezTo>
                    <a:pt x="29" y="9"/>
                    <a:pt x="28" y="9"/>
                    <a:pt x="28" y="9"/>
                  </a:cubicBezTo>
                  <a:cubicBezTo>
                    <a:pt x="26" y="9"/>
                    <a:pt x="25" y="10"/>
                    <a:pt x="24" y="10"/>
                  </a:cubicBezTo>
                  <a:cubicBezTo>
                    <a:pt x="23" y="10"/>
                    <a:pt x="23" y="10"/>
                    <a:pt x="23" y="11"/>
                  </a:cubicBezTo>
                  <a:cubicBezTo>
                    <a:pt x="22" y="11"/>
                    <a:pt x="21" y="12"/>
                    <a:pt x="20" y="12"/>
                  </a:cubicBezTo>
                  <a:cubicBezTo>
                    <a:pt x="19" y="12"/>
                    <a:pt x="19" y="12"/>
                    <a:pt x="19" y="12"/>
                  </a:cubicBezTo>
                  <a:moveTo>
                    <a:pt x="43" y="6"/>
                  </a:moveTo>
                  <a:cubicBezTo>
                    <a:pt x="43" y="5"/>
                    <a:pt x="43" y="5"/>
                    <a:pt x="43" y="5"/>
                  </a:cubicBezTo>
                  <a:cubicBezTo>
                    <a:pt x="43" y="4"/>
                    <a:pt x="43" y="4"/>
                    <a:pt x="43" y="4"/>
                  </a:cubicBezTo>
                  <a:cubicBezTo>
                    <a:pt x="43" y="4"/>
                    <a:pt x="43" y="4"/>
                    <a:pt x="43" y="4"/>
                  </a:cubicBezTo>
                  <a:cubicBezTo>
                    <a:pt x="44" y="4"/>
                    <a:pt x="47" y="6"/>
                    <a:pt x="49" y="15"/>
                  </a:cubicBezTo>
                  <a:cubicBezTo>
                    <a:pt x="50" y="16"/>
                    <a:pt x="50" y="17"/>
                    <a:pt x="49" y="18"/>
                  </a:cubicBezTo>
                  <a:cubicBezTo>
                    <a:pt x="49" y="18"/>
                    <a:pt x="49" y="18"/>
                    <a:pt x="49" y="18"/>
                  </a:cubicBezTo>
                  <a:cubicBezTo>
                    <a:pt x="48" y="18"/>
                    <a:pt x="48" y="18"/>
                    <a:pt x="48" y="18"/>
                  </a:cubicBezTo>
                  <a:cubicBezTo>
                    <a:pt x="48" y="18"/>
                    <a:pt x="48" y="18"/>
                    <a:pt x="48" y="18"/>
                  </a:cubicBezTo>
                  <a:cubicBezTo>
                    <a:pt x="48" y="18"/>
                    <a:pt x="48" y="18"/>
                    <a:pt x="48" y="18"/>
                  </a:cubicBezTo>
                  <a:cubicBezTo>
                    <a:pt x="48" y="18"/>
                    <a:pt x="48" y="18"/>
                    <a:pt x="48" y="18"/>
                  </a:cubicBezTo>
                  <a:cubicBezTo>
                    <a:pt x="49" y="17"/>
                    <a:pt x="49" y="17"/>
                    <a:pt x="49" y="17"/>
                  </a:cubicBezTo>
                  <a:cubicBezTo>
                    <a:pt x="48" y="15"/>
                    <a:pt x="48" y="13"/>
                    <a:pt x="47" y="11"/>
                  </a:cubicBezTo>
                  <a:cubicBezTo>
                    <a:pt x="46" y="8"/>
                    <a:pt x="45" y="7"/>
                    <a:pt x="44" y="6"/>
                  </a:cubicBezTo>
                  <a:cubicBezTo>
                    <a:pt x="43" y="6"/>
                    <a:pt x="43" y="6"/>
                    <a:pt x="43" y="6"/>
                  </a:cubicBezTo>
                  <a:cubicBezTo>
                    <a:pt x="43" y="6"/>
                    <a:pt x="43" y="6"/>
                    <a:pt x="43" y="6"/>
                  </a:cubicBezTo>
                  <a:cubicBezTo>
                    <a:pt x="43" y="6"/>
                    <a:pt x="43" y="6"/>
                    <a:pt x="43" y="6"/>
                  </a:cubicBezTo>
                  <a:moveTo>
                    <a:pt x="49" y="0"/>
                  </a:moveTo>
                  <a:cubicBezTo>
                    <a:pt x="48" y="1"/>
                    <a:pt x="44" y="3"/>
                    <a:pt x="43" y="3"/>
                  </a:cubicBezTo>
                  <a:cubicBezTo>
                    <a:pt x="43" y="3"/>
                    <a:pt x="43" y="3"/>
                    <a:pt x="43" y="3"/>
                  </a:cubicBezTo>
                  <a:cubicBezTo>
                    <a:pt x="43" y="3"/>
                    <a:pt x="43" y="3"/>
                    <a:pt x="43" y="3"/>
                  </a:cubicBezTo>
                  <a:cubicBezTo>
                    <a:pt x="43" y="3"/>
                    <a:pt x="43" y="3"/>
                    <a:pt x="43" y="3"/>
                  </a:cubicBezTo>
                  <a:cubicBezTo>
                    <a:pt x="42" y="4"/>
                    <a:pt x="42" y="4"/>
                    <a:pt x="42" y="5"/>
                  </a:cubicBezTo>
                  <a:cubicBezTo>
                    <a:pt x="42" y="5"/>
                    <a:pt x="42" y="6"/>
                    <a:pt x="42" y="6"/>
                  </a:cubicBezTo>
                  <a:cubicBezTo>
                    <a:pt x="41" y="7"/>
                    <a:pt x="41" y="7"/>
                    <a:pt x="40" y="7"/>
                  </a:cubicBezTo>
                  <a:cubicBezTo>
                    <a:pt x="40" y="7"/>
                    <a:pt x="40" y="7"/>
                    <a:pt x="39" y="7"/>
                  </a:cubicBezTo>
                  <a:cubicBezTo>
                    <a:pt x="39" y="7"/>
                    <a:pt x="38" y="6"/>
                    <a:pt x="37" y="6"/>
                  </a:cubicBezTo>
                  <a:cubicBezTo>
                    <a:pt x="36" y="6"/>
                    <a:pt x="36" y="6"/>
                    <a:pt x="36" y="6"/>
                  </a:cubicBezTo>
                  <a:cubicBezTo>
                    <a:pt x="33" y="5"/>
                    <a:pt x="31" y="4"/>
                    <a:pt x="28" y="4"/>
                  </a:cubicBezTo>
                  <a:cubicBezTo>
                    <a:pt x="26" y="4"/>
                    <a:pt x="24" y="5"/>
                    <a:pt x="22" y="5"/>
                  </a:cubicBezTo>
                  <a:cubicBezTo>
                    <a:pt x="22" y="5"/>
                    <a:pt x="21" y="6"/>
                    <a:pt x="21" y="6"/>
                  </a:cubicBezTo>
                  <a:cubicBezTo>
                    <a:pt x="20" y="6"/>
                    <a:pt x="20" y="7"/>
                    <a:pt x="19" y="7"/>
                  </a:cubicBezTo>
                  <a:cubicBezTo>
                    <a:pt x="19" y="7"/>
                    <a:pt x="19" y="7"/>
                    <a:pt x="19" y="7"/>
                  </a:cubicBezTo>
                  <a:cubicBezTo>
                    <a:pt x="19" y="7"/>
                    <a:pt x="19" y="7"/>
                    <a:pt x="19" y="7"/>
                  </a:cubicBezTo>
                  <a:cubicBezTo>
                    <a:pt x="19" y="7"/>
                    <a:pt x="19" y="7"/>
                    <a:pt x="19" y="7"/>
                  </a:cubicBezTo>
                  <a:cubicBezTo>
                    <a:pt x="15" y="7"/>
                    <a:pt x="15" y="7"/>
                    <a:pt x="15" y="7"/>
                  </a:cubicBezTo>
                  <a:cubicBezTo>
                    <a:pt x="15" y="6"/>
                    <a:pt x="16" y="5"/>
                    <a:pt x="15" y="5"/>
                  </a:cubicBezTo>
                  <a:cubicBezTo>
                    <a:pt x="15" y="5"/>
                    <a:pt x="15" y="5"/>
                    <a:pt x="15" y="5"/>
                  </a:cubicBezTo>
                  <a:cubicBezTo>
                    <a:pt x="14" y="4"/>
                    <a:pt x="14" y="4"/>
                    <a:pt x="14" y="4"/>
                  </a:cubicBezTo>
                  <a:cubicBezTo>
                    <a:pt x="14" y="4"/>
                    <a:pt x="14" y="4"/>
                    <a:pt x="13" y="3"/>
                  </a:cubicBezTo>
                  <a:cubicBezTo>
                    <a:pt x="12" y="3"/>
                    <a:pt x="10" y="2"/>
                    <a:pt x="9" y="1"/>
                  </a:cubicBezTo>
                  <a:cubicBezTo>
                    <a:pt x="8" y="1"/>
                    <a:pt x="8" y="1"/>
                    <a:pt x="8" y="1"/>
                  </a:cubicBezTo>
                  <a:cubicBezTo>
                    <a:pt x="8" y="2"/>
                    <a:pt x="8" y="2"/>
                    <a:pt x="8" y="2"/>
                  </a:cubicBezTo>
                  <a:cubicBezTo>
                    <a:pt x="8" y="2"/>
                    <a:pt x="8" y="2"/>
                    <a:pt x="8" y="2"/>
                  </a:cubicBezTo>
                  <a:cubicBezTo>
                    <a:pt x="10" y="3"/>
                    <a:pt x="11" y="4"/>
                    <a:pt x="13" y="4"/>
                  </a:cubicBezTo>
                  <a:cubicBezTo>
                    <a:pt x="13" y="4"/>
                    <a:pt x="13" y="4"/>
                    <a:pt x="13" y="4"/>
                  </a:cubicBezTo>
                  <a:cubicBezTo>
                    <a:pt x="12" y="5"/>
                    <a:pt x="12" y="5"/>
                    <a:pt x="11" y="6"/>
                  </a:cubicBezTo>
                  <a:cubicBezTo>
                    <a:pt x="9" y="9"/>
                    <a:pt x="7" y="14"/>
                    <a:pt x="7" y="18"/>
                  </a:cubicBezTo>
                  <a:cubicBezTo>
                    <a:pt x="7" y="18"/>
                    <a:pt x="7" y="18"/>
                    <a:pt x="7" y="18"/>
                  </a:cubicBezTo>
                  <a:cubicBezTo>
                    <a:pt x="7" y="19"/>
                    <a:pt x="6" y="19"/>
                    <a:pt x="6" y="20"/>
                  </a:cubicBezTo>
                  <a:cubicBezTo>
                    <a:pt x="6" y="20"/>
                    <a:pt x="6" y="20"/>
                    <a:pt x="6" y="20"/>
                  </a:cubicBezTo>
                  <a:cubicBezTo>
                    <a:pt x="6" y="19"/>
                    <a:pt x="7" y="18"/>
                    <a:pt x="7" y="17"/>
                  </a:cubicBezTo>
                  <a:cubicBezTo>
                    <a:pt x="7" y="17"/>
                    <a:pt x="7" y="17"/>
                    <a:pt x="7" y="17"/>
                  </a:cubicBezTo>
                  <a:cubicBezTo>
                    <a:pt x="7" y="17"/>
                    <a:pt x="7" y="17"/>
                    <a:pt x="7" y="17"/>
                  </a:cubicBezTo>
                  <a:cubicBezTo>
                    <a:pt x="6" y="18"/>
                    <a:pt x="6" y="18"/>
                    <a:pt x="5" y="19"/>
                  </a:cubicBezTo>
                  <a:cubicBezTo>
                    <a:pt x="4" y="19"/>
                    <a:pt x="4" y="19"/>
                    <a:pt x="4" y="19"/>
                  </a:cubicBezTo>
                  <a:cubicBezTo>
                    <a:pt x="7" y="16"/>
                    <a:pt x="7" y="16"/>
                    <a:pt x="7" y="16"/>
                  </a:cubicBezTo>
                  <a:cubicBezTo>
                    <a:pt x="7" y="16"/>
                    <a:pt x="7" y="16"/>
                    <a:pt x="7" y="16"/>
                  </a:cubicBezTo>
                  <a:cubicBezTo>
                    <a:pt x="6" y="16"/>
                    <a:pt x="6" y="16"/>
                    <a:pt x="6" y="16"/>
                  </a:cubicBezTo>
                  <a:cubicBezTo>
                    <a:pt x="4" y="19"/>
                    <a:pt x="4" y="19"/>
                    <a:pt x="4" y="19"/>
                  </a:cubicBezTo>
                  <a:cubicBezTo>
                    <a:pt x="4" y="18"/>
                    <a:pt x="4" y="18"/>
                    <a:pt x="4" y="18"/>
                  </a:cubicBezTo>
                  <a:cubicBezTo>
                    <a:pt x="3" y="18"/>
                    <a:pt x="3" y="18"/>
                    <a:pt x="3" y="18"/>
                  </a:cubicBezTo>
                  <a:cubicBezTo>
                    <a:pt x="4" y="18"/>
                    <a:pt x="5" y="17"/>
                    <a:pt x="5" y="16"/>
                  </a:cubicBezTo>
                  <a:cubicBezTo>
                    <a:pt x="5" y="15"/>
                    <a:pt x="5" y="15"/>
                    <a:pt x="5" y="15"/>
                  </a:cubicBezTo>
                  <a:cubicBezTo>
                    <a:pt x="5" y="16"/>
                    <a:pt x="5" y="16"/>
                    <a:pt x="5" y="16"/>
                  </a:cubicBezTo>
                  <a:cubicBezTo>
                    <a:pt x="4" y="16"/>
                    <a:pt x="4" y="17"/>
                    <a:pt x="3" y="18"/>
                  </a:cubicBezTo>
                  <a:cubicBezTo>
                    <a:pt x="3" y="18"/>
                    <a:pt x="3" y="18"/>
                    <a:pt x="3" y="18"/>
                  </a:cubicBezTo>
                  <a:cubicBezTo>
                    <a:pt x="3" y="18"/>
                    <a:pt x="3" y="18"/>
                    <a:pt x="3" y="18"/>
                  </a:cubicBezTo>
                  <a:cubicBezTo>
                    <a:pt x="3" y="18"/>
                    <a:pt x="3" y="18"/>
                    <a:pt x="3" y="18"/>
                  </a:cubicBezTo>
                  <a:cubicBezTo>
                    <a:pt x="5" y="15"/>
                    <a:pt x="5" y="15"/>
                    <a:pt x="5" y="15"/>
                  </a:cubicBezTo>
                  <a:cubicBezTo>
                    <a:pt x="5" y="14"/>
                    <a:pt x="5" y="14"/>
                    <a:pt x="5" y="14"/>
                  </a:cubicBezTo>
                  <a:cubicBezTo>
                    <a:pt x="4" y="14"/>
                    <a:pt x="4" y="14"/>
                    <a:pt x="4" y="14"/>
                  </a:cubicBezTo>
                  <a:cubicBezTo>
                    <a:pt x="2" y="17"/>
                    <a:pt x="2" y="17"/>
                    <a:pt x="2" y="17"/>
                  </a:cubicBezTo>
                  <a:cubicBezTo>
                    <a:pt x="2" y="18"/>
                    <a:pt x="2" y="18"/>
                    <a:pt x="2" y="18"/>
                  </a:cubicBezTo>
                  <a:cubicBezTo>
                    <a:pt x="1" y="17"/>
                    <a:pt x="1" y="17"/>
                    <a:pt x="1" y="17"/>
                  </a:cubicBezTo>
                  <a:cubicBezTo>
                    <a:pt x="3" y="14"/>
                    <a:pt x="3" y="14"/>
                    <a:pt x="3" y="14"/>
                  </a:cubicBezTo>
                  <a:cubicBezTo>
                    <a:pt x="4" y="14"/>
                    <a:pt x="4" y="14"/>
                    <a:pt x="4" y="14"/>
                  </a:cubicBezTo>
                  <a:cubicBezTo>
                    <a:pt x="4" y="13"/>
                    <a:pt x="4" y="13"/>
                    <a:pt x="4" y="13"/>
                  </a:cubicBezTo>
                  <a:cubicBezTo>
                    <a:pt x="3" y="14"/>
                    <a:pt x="3" y="14"/>
                    <a:pt x="3" y="14"/>
                  </a:cubicBezTo>
                  <a:cubicBezTo>
                    <a:pt x="3" y="14"/>
                    <a:pt x="3" y="14"/>
                    <a:pt x="3" y="14"/>
                  </a:cubicBezTo>
                  <a:cubicBezTo>
                    <a:pt x="1" y="17"/>
                    <a:pt x="1" y="17"/>
                    <a:pt x="1" y="17"/>
                  </a:cubicBezTo>
                  <a:cubicBezTo>
                    <a:pt x="1" y="17"/>
                    <a:pt x="1" y="17"/>
                    <a:pt x="1" y="17"/>
                  </a:cubicBezTo>
                  <a:cubicBezTo>
                    <a:pt x="1" y="17"/>
                    <a:pt x="1" y="17"/>
                    <a:pt x="1" y="17"/>
                  </a:cubicBezTo>
                  <a:cubicBezTo>
                    <a:pt x="1" y="16"/>
                    <a:pt x="1" y="16"/>
                    <a:pt x="1" y="16"/>
                  </a:cubicBezTo>
                  <a:cubicBezTo>
                    <a:pt x="1" y="15"/>
                    <a:pt x="2" y="14"/>
                    <a:pt x="3" y="13"/>
                  </a:cubicBezTo>
                  <a:cubicBezTo>
                    <a:pt x="2" y="13"/>
                    <a:pt x="2" y="13"/>
                    <a:pt x="2" y="13"/>
                  </a:cubicBezTo>
                  <a:cubicBezTo>
                    <a:pt x="2" y="13"/>
                    <a:pt x="2" y="13"/>
                    <a:pt x="2" y="13"/>
                  </a:cubicBezTo>
                  <a:cubicBezTo>
                    <a:pt x="2" y="13"/>
                    <a:pt x="2" y="13"/>
                    <a:pt x="2" y="13"/>
                  </a:cubicBezTo>
                  <a:cubicBezTo>
                    <a:pt x="2" y="13"/>
                    <a:pt x="2" y="13"/>
                    <a:pt x="2" y="13"/>
                  </a:cubicBezTo>
                  <a:cubicBezTo>
                    <a:pt x="1" y="14"/>
                    <a:pt x="1" y="15"/>
                    <a:pt x="0" y="17"/>
                  </a:cubicBezTo>
                  <a:cubicBezTo>
                    <a:pt x="0" y="17"/>
                    <a:pt x="0" y="17"/>
                    <a:pt x="0" y="17"/>
                  </a:cubicBezTo>
                  <a:cubicBezTo>
                    <a:pt x="0" y="18"/>
                    <a:pt x="0" y="18"/>
                    <a:pt x="0" y="18"/>
                  </a:cubicBezTo>
                  <a:cubicBezTo>
                    <a:pt x="0" y="18"/>
                    <a:pt x="0" y="18"/>
                    <a:pt x="0" y="18"/>
                  </a:cubicBezTo>
                  <a:cubicBezTo>
                    <a:pt x="0" y="18"/>
                    <a:pt x="0" y="18"/>
                    <a:pt x="0" y="18"/>
                  </a:cubicBezTo>
                  <a:cubicBezTo>
                    <a:pt x="1" y="18"/>
                    <a:pt x="1" y="18"/>
                    <a:pt x="1" y="18"/>
                  </a:cubicBezTo>
                  <a:cubicBezTo>
                    <a:pt x="1" y="19"/>
                    <a:pt x="2" y="19"/>
                    <a:pt x="3" y="19"/>
                  </a:cubicBezTo>
                  <a:cubicBezTo>
                    <a:pt x="4" y="20"/>
                    <a:pt x="5" y="20"/>
                    <a:pt x="6" y="21"/>
                  </a:cubicBezTo>
                  <a:cubicBezTo>
                    <a:pt x="6" y="21"/>
                    <a:pt x="6" y="21"/>
                    <a:pt x="6" y="21"/>
                  </a:cubicBezTo>
                  <a:cubicBezTo>
                    <a:pt x="7" y="21"/>
                    <a:pt x="7" y="22"/>
                    <a:pt x="8" y="22"/>
                  </a:cubicBezTo>
                  <a:cubicBezTo>
                    <a:pt x="9" y="22"/>
                    <a:pt x="10" y="21"/>
                    <a:pt x="12" y="19"/>
                  </a:cubicBezTo>
                  <a:cubicBezTo>
                    <a:pt x="13" y="20"/>
                    <a:pt x="15" y="21"/>
                    <a:pt x="15" y="23"/>
                  </a:cubicBezTo>
                  <a:cubicBezTo>
                    <a:pt x="16" y="23"/>
                    <a:pt x="16" y="23"/>
                    <a:pt x="16" y="23"/>
                  </a:cubicBezTo>
                  <a:cubicBezTo>
                    <a:pt x="15" y="24"/>
                    <a:pt x="15" y="24"/>
                    <a:pt x="15" y="24"/>
                  </a:cubicBezTo>
                  <a:cubicBezTo>
                    <a:pt x="15" y="25"/>
                    <a:pt x="15" y="25"/>
                    <a:pt x="15" y="25"/>
                  </a:cubicBezTo>
                  <a:cubicBezTo>
                    <a:pt x="15" y="26"/>
                    <a:pt x="16" y="27"/>
                    <a:pt x="17" y="27"/>
                  </a:cubicBezTo>
                  <a:cubicBezTo>
                    <a:pt x="17" y="27"/>
                    <a:pt x="17" y="27"/>
                    <a:pt x="17" y="27"/>
                  </a:cubicBezTo>
                  <a:cubicBezTo>
                    <a:pt x="18" y="27"/>
                    <a:pt x="18" y="27"/>
                    <a:pt x="18" y="27"/>
                  </a:cubicBezTo>
                  <a:cubicBezTo>
                    <a:pt x="18" y="27"/>
                    <a:pt x="18" y="27"/>
                    <a:pt x="18" y="28"/>
                  </a:cubicBezTo>
                  <a:cubicBezTo>
                    <a:pt x="18" y="29"/>
                    <a:pt x="18" y="29"/>
                    <a:pt x="18" y="29"/>
                  </a:cubicBezTo>
                  <a:cubicBezTo>
                    <a:pt x="19" y="29"/>
                    <a:pt x="19" y="29"/>
                    <a:pt x="20" y="29"/>
                  </a:cubicBezTo>
                  <a:cubicBezTo>
                    <a:pt x="21" y="29"/>
                    <a:pt x="21" y="29"/>
                    <a:pt x="21" y="29"/>
                  </a:cubicBezTo>
                  <a:cubicBezTo>
                    <a:pt x="21" y="29"/>
                    <a:pt x="21" y="29"/>
                    <a:pt x="21" y="29"/>
                  </a:cubicBezTo>
                  <a:cubicBezTo>
                    <a:pt x="21" y="29"/>
                    <a:pt x="21" y="30"/>
                    <a:pt x="21" y="30"/>
                  </a:cubicBezTo>
                  <a:cubicBezTo>
                    <a:pt x="22" y="31"/>
                    <a:pt x="23" y="31"/>
                    <a:pt x="23" y="31"/>
                  </a:cubicBezTo>
                  <a:cubicBezTo>
                    <a:pt x="24" y="31"/>
                    <a:pt x="24" y="31"/>
                    <a:pt x="24" y="31"/>
                  </a:cubicBezTo>
                  <a:cubicBezTo>
                    <a:pt x="24" y="31"/>
                    <a:pt x="24" y="31"/>
                    <a:pt x="24" y="31"/>
                  </a:cubicBezTo>
                  <a:cubicBezTo>
                    <a:pt x="24" y="32"/>
                    <a:pt x="24" y="32"/>
                    <a:pt x="25" y="32"/>
                  </a:cubicBezTo>
                  <a:cubicBezTo>
                    <a:pt x="25" y="33"/>
                    <a:pt x="26" y="33"/>
                    <a:pt x="26" y="33"/>
                  </a:cubicBezTo>
                  <a:cubicBezTo>
                    <a:pt x="27" y="33"/>
                    <a:pt x="27" y="33"/>
                    <a:pt x="28" y="32"/>
                  </a:cubicBezTo>
                  <a:cubicBezTo>
                    <a:pt x="28" y="31"/>
                    <a:pt x="28" y="31"/>
                    <a:pt x="28" y="31"/>
                  </a:cubicBezTo>
                  <a:cubicBezTo>
                    <a:pt x="29" y="32"/>
                    <a:pt x="30" y="32"/>
                    <a:pt x="31" y="33"/>
                  </a:cubicBezTo>
                  <a:cubicBezTo>
                    <a:pt x="32" y="33"/>
                    <a:pt x="32" y="33"/>
                    <a:pt x="32" y="33"/>
                  </a:cubicBezTo>
                  <a:cubicBezTo>
                    <a:pt x="33" y="33"/>
                    <a:pt x="33" y="33"/>
                    <a:pt x="33" y="33"/>
                  </a:cubicBezTo>
                  <a:cubicBezTo>
                    <a:pt x="34" y="33"/>
                    <a:pt x="35" y="32"/>
                    <a:pt x="35" y="31"/>
                  </a:cubicBezTo>
                  <a:cubicBezTo>
                    <a:pt x="35" y="30"/>
                    <a:pt x="35" y="30"/>
                    <a:pt x="35" y="30"/>
                  </a:cubicBezTo>
                  <a:cubicBezTo>
                    <a:pt x="35" y="31"/>
                    <a:pt x="35" y="31"/>
                    <a:pt x="35" y="31"/>
                  </a:cubicBezTo>
                  <a:cubicBezTo>
                    <a:pt x="36" y="31"/>
                    <a:pt x="36" y="31"/>
                    <a:pt x="36" y="31"/>
                  </a:cubicBezTo>
                  <a:cubicBezTo>
                    <a:pt x="37" y="31"/>
                    <a:pt x="38" y="30"/>
                    <a:pt x="38" y="30"/>
                  </a:cubicBezTo>
                  <a:cubicBezTo>
                    <a:pt x="39" y="29"/>
                    <a:pt x="39" y="29"/>
                    <a:pt x="39" y="28"/>
                  </a:cubicBezTo>
                  <a:cubicBezTo>
                    <a:pt x="39" y="28"/>
                    <a:pt x="39" y="28"/>
                    <a:pt x="39" y="28"/>
                  </a:cubicBezTo>
                  <a:cubicBezTo>
                    <a:pt x="40" y="28"/>
                    <a:pt x="41" y="28"/>
                    <a:pt x="41" y="27"/>
                  </a:cubicBezTo>
                  <a:cubicBezTo>
                    <a:pt x="42" y="27"/>
                    <a:pt x="43" y="26"/>
                    <a:pt x="43" y="25"/>
                  </a:cubicBezTo>
                  <a:cubicBezTo>
                    <a:pt x="43" y="25"/>
                    <a:pt x="43" y="25"/>
                    <a:pt x="43" y="25"/>
                  </a:cubicBezTo>
                  <a:cubicBezTo>
                    <a:pt x="44" y="25"/>
                    <a:pt x="44" y="25"/>
                    <a:pt x="44" y="25"/>
                  </a:cubicBezTo>
                  <a:cubicBezTo>
                    <a:pt x="45" y="25"/>
                    <a:pt x="45" y="25"/>
                    <a:pt x="46" y="24"/>
                  </a:cubicBezTo>
                  <a:cubicBezTo>
                    <a:pt x="47" y="23"/>
                    <a:pt x="47" y="22"/>
                    <a:pt x="46" y="21"/>
                  </a:cubicBezTo>
                  <a:cubicBezTo>
                    <a:pt x="46" y="20"/>
                    <a:pt x="45" y="20"/>
                    <a:pt x="45" y="20"/>
                  </a:cubicBezTo>
                  <a:cubicBezTo>
                    <a:pt x="45" y="19"/>
                    <a:pt x="45" y="19"/>
                    <a:pt x="45" y="19"/>
                  </a:cubicBezTo>
                  <a:cubicBezTo>
                    <a:pt x="45" y="19"/>
                    <a:pt x="45" y="19"/>
                    <a:pt x="45" y="19"/>
                  </a:cubicBezTo>
                  <a:cubicBezTo>
                    <a:pt x="46" y="20"/>
                    <a:pt x="47" y="21"/>
                    <a:pt x="49" y="21"/>
                  </a:cubicBezTo>
                  <a:cubicBezTo>
                    <a:pt x="49" y="21"/>
                    <a:pt x="49" y="21"/>
                    <a:pt x="49" y="21"/>
                  </a:cubicBezTo>
                  <a:cubicBezTo>
                    <a:pt x="49" y="21"/>
                    <a:pt x="49" y="21"/>
                    <a:pt x="51" y="21"/>
                  </a:cubicBezTo>
                  <a:cubicBezTo>
                    <a:pt x="52" y="20"/>
                    <a:pt x="53" y="19"/>
                    <a:pt x="54" y="19"/>
                  </a:cubicBezTo>
                  <a:cubicBezTo>
                    <a:pt x="55" y="18"/>
                    <a:pt x="56" y="18"/>
                    <a:pt x="57" y="17"/>
                  </a:cubicBezTo>
                  <a:cubicBezTo>
                    <a:pt x="57" y="17"/>
                    <a:pt x="57" y="17"/>
                    <a:pt x="57" y="17"/>
                  </a:cubicBezTo>
                  <a:cubicBezTo>
                    <a:pt x="57" y="17"/>
                    <a:pt x="57" y="17"/>
                    <a:pt x="57" y="17"/>
                  </a:cubicBezTo>
                  <a:cubicBezTo>
                    <a:pt x="57" y="17"/>
                    <a:pt x="57" y="17"/>
                    <a:pt x="57" y="17"/>
                  </a:cubicBezTo>
                  <a:cubicBezTo>
                    <a:pt x="57" y="17"/>
                    <a:pt x="57" y="17"/>
                    <a:pt x="57" y="17"/>
                  </a:cubicBezTo>
                  <a:cubicBezTo>
                    <a:pt x="59" y="13"/>
                    <a:pt x="59" y="13"/>
                    <a:pt x="59" y="13"/>
                  </a:cubicBezTo>
                  <a:cubicBezTo>
                    <a:pt x="59" y="12"/>
                    <a:pt x="59" y="12"/>
                    <a:pt x="59" y="12"/>
                  </a:cubicBezTo>
                  <a:cubicBezTo>
                    <a:pt x="59" y="12"/>
                    <a:pt x="59" y="12"/>
                    <a:pt x="59" y="12"/>
                  </a:cubicBezTo>
                  <a:cubicBezTo>
                    <a:pt x="57" y="16"/>
                    <a:pt x="57" y="16"/>
                    <a:pt x="57" y="16"/>
                  </a:cubicBezTo>
                  <a:cubicBezTo>
                    <a:pt x="56" y="16"/>
                    <a:pt x="56" y="16"/>
                    <a:pt x="56" y="16"/>
                  </a:cubicBezTo>
                  <a:cubicBezTo>
                    <a:pt x="56" y="16"/>
                    <a:pt x="56" y="16"/>
                    <a:pt x="56" y="16"/>
                  </a:cubicBezTo>
                  <a:cubicBezTo>
                    <a:pt x="58" y="13"/>
                    <a:pt x="58" y="13"/>
                    <a:pt x="58" y="13"/>
                  </a:cubicBezTo>
                  <a:cubicBezTo>
                    <a:pt x="58" y="13"/>
                    <a:pt x="58" y="13"/>
                    <a:pt x="58" y="13"/>
                  </a:cubicBezTo>
                  <a:cubicBezTo>
                    <a:pt x="57" y="13"/>
                    <a:pt x="57" y="13"/>
                    <a:pt x="57" y="13"/>
                  </a:cubicBezTo>
                  <a:cubicBezTo>
                    <a:pt x="57" y="13"/>
                    <a:pt x="56" y="16"/>
                    <a:pt x="55" y="17"/>
                  </a:cubicBezTo>
                  <a:cubicBezTo>
                    <a:pt x="55" y="17"/>
                    <a:pt x="55" y="17"/>
                    <a:pt x="55" y="17"/>
                  </a:cubicBezTo>
                  <a:cubicBezTo>
                    <a:pt x="55" y="16"/>
                    <a:pt x="56" y="14"/>
                    <a:pt x="57" y="13"/>
                  </a:cubicBezTo>
                  <a:cubicBezTo>
                    <a:pt x="57" y="13"/>
                    <a:pt x="57" y="13"/>
                    <a:pt x="57" y="13"/>
                  </a:cubicBezTo>
                  <a:cubicBezTo>
                    <a:pt x="56" y="13"/>
                    <a:pt x="56" y="13"/>
                    <a:pt x="56" y="13"/>
                  </a:cubicBezTo>
                  <a:cubicBezTo>
                    <a:pt x="56" y="14"/>
                    <a:pt x="55" y="16"/>
                    <a:pt x="54" y="18"/>
                  </a:cubicBezTo>
                  <a:cubicBezTo>
                    <a:pt x="53" y="18"/>
                    <a:pt x="53" y="18"/>
                    <a:pt x="53" y="18"/>
                  </a:cubicBezTo>
                  <a:cubicBezTo>
                    <a:pt x="54" y="16"/>
                    <a:pt x="55" y="15"/>
                    <a:pt x="56" y="13"/>
                  </a:cubicBezTo>
                  <a:cubicBezTo>
                    <a:pt x="55" y="13"/>
                    <a:pt x="55" y="13"/>
                    <a:pt x="55" y="13"/>
                  </a:cubicBezTo>
                  <a:cubicBezTo>
                    <a:pt x="55" y="13"/>
                    <a:pt x="55" y="13"/>
                    <a:pt x="55" y="13"/>
                  </a:cubicBezTo>
                  <a:cubicBezTo>
                    <a:pt x="54" y="15"/>
                    <a:pt x="54" y="17"/>
                    <a:pt x="52" y="18"/>
                  </a:cubicBezTo>
                  <a:cubicBezTo>
                    <a:pt x="52" y="18"/>
                    <a:pt x="52" y="18"/>
                    <a:pt x="52" y="18"/>
                  </a:cubicBezTo>
                  <a:cubicBezTo>
                    <a:pt x="52" y="19"/>
                    <a:pt x="52" y="19"/>
                    <a:pt x="52" y="19"/>
                  </a:cubicBezTo>
                  <a:cubicBezTo>
                    <a:pt x="53" y="17"/>
                    <a:pt x="54" y="15"/>
                    <a:pt x="54" y="14"/>
                  </a:cubicBezTo>
                  <a:cubicBezTo>
                    <a:pt x="54" y="13"/>
                    <a:pt x="54" y="13"/>
                    <a:pt x="54" y="13"/>
                  </a:cubicBezTo>
                  <a:cubicBezTo>
                    <a:pt x="54" y="13"/>
                    <a:pt x="54" y="13"/>
                    <a:pt x="54" y="13"/>
                  </a:cubicBezTo>
                  <a:cubicBezTo>
                    <a:pt x="53" y="15"/>
                    <a:pt x="52" y="17"/>
                    <a:pt x="51" y="19"/>
                  </a:cubicBezTo>
                  <a:cubicBezTo>
                    <a:pt x="51" y="19"/>
                    <a:pt x="51" y="19"/>
                    <a:pt x="51" y="19"/>
                  </a:cubicBezTo>
                  <a:cubicBezTo>
                    <a:pt x="51" y="19"/>
                    <a:pt x="51" y="18"/>
                    <a:pt x="51" y="17"/>
                  </a:cubicBezTo>
                  <a:cubicBezTo>
                    <a:pt x="52" y="16"/>
                    <a:pt x="53" y="15"/>
                    <a:pt x="53" y="14"/>
                  </a:cubicBezTo>
                  <a:cubicBezTo>
                    <a:pt x="53" y="14"/>
                    <a:pt x="53" y="14"/>
                    <a:pt x="53" y="14"/>
                  </a:cubicBezTo>
                  <a:cubicBezTo>
                    <a:pt x="52" y="14"/>
                    <a:pt x="52" y="14"/>
                    <a:pt x="52" y="14"/>
                  </a:cubicBezTo>
                  <a:cubicBezTo>
                    <a:pt x="52" y="15"/>
                    <a:pt x="52" y="16"/>
                    <a:pt x="51" y="17"/>
                  </a:cubicBezTo>
                  <a:cubicBezTo>
                    <a:pt x="51" y="18"/>
                    <a:pt x="50" y="19"/>
                    <a:pt x="50" y="20"/>
                  </a:cubicBezTo>
                  <a:cubicBezTo>
                    <a:pt x="49" y="20"/>
                    <a:pt x="49" y="20"/>
                    <a:pt x="49" y="20"/>
                  </a:cubicBezTo>
                  <a:cubicBezTo>
                    <a:pt x="49" y="20"/>
                    <a:pt x="49" y="20"/>
                    <a:pt x="49" y="20"/>
                  </a:cubicBezTo>
                  <a:cubicBezTo>
                    <a:pt x="49" y="19"/>
                    <a:pt x="49" y="19"/>
                    <a:pt x="49" y="19"/>
                  </a:cubicBezTo>
                  <a:cubicBezTo>
                    <a:pt x="50" y="19"/>
                    <a:pt x="50" y="19"/>
                    <a:pt x="50" y="19"/>
                  </a:cubicBezTo>
                  <a:cubicBezTo>
                    <a:pt x="50" y="19"/>
                    <a:pt x="50" y="19"/>
                    <a:pt x="50" y="19"/>
                  </a:cubicBezTo>
                  <a:cubicBezTo>
                    <a:pt x="50" y="18"/>
                    <a:pt x="51" y="17"/>
                    <a:pt x="51" y="17"/>
                  </a:cubicBezTo>
                  <a:cubicBezTo>
                    <a:pt x="51" y="17"/>
                    <a:pt x="51" y="17"/>
                    <a:pt x="51" y="17"/>
                  </a:cubicBezTo>
                  <a:cubicBezTo>
                    <a:pt x="51" y="16"/>
                    <a:pt x="51" y="15"/>
                    <a:pt x="51" y="15"/>
                  </a:cubicBezTo>
                  <a:cubicBezTo>
                    <a:pt x="51" y="14"/>
                    <a:pt x="51" y="14"/>
                    <a:pt x="51" y="14"/>
                  </a:cubicBezTo>
                  <a:cubicBezTo>
                    <a:pt x="51" y="15"/>
                    <a:pt x="51" y="15"/>
                    <a:pt x="51" y="15"/>
                  </a:cubicBezTo>
                  <a:cubicBezTo>
                    <a:pt x="50" y="15"/>
                    <a:pt x="50" y="15"/>
                    <a:pt x="50" y="15"/>
                  </a:cubicBezTo>
                  <a:cubicBezTo>
                    <a:pt x="50" y="15"/>
                    <a:pt x="50" y="15"/>
                    <a:pt x="50" y="15"/>
                  </a:cubicBezTo>
                  <a:cubicBezTo>
                    <a:pt x="49" y="7"/>
                    <a:pt x="46" y="5"/>
                    <a:pt x="45" y="4"/>
                  </a:cubicBezTo>
                  <a:cubicBezTo>
                    <a:pt x="45" y="3"/>
                    <a:pt x="46" y="3"/>
                    <a:pt x="46" y="3"/>
                  </a:cubicBezTo>
                  <a:cubicBezTo>
                    <a:pt x="48" y="2"/>
                    <a:pt x="49" y="2"/>
                    <a:pt x="50" y="1"/>
                  </a:cubicBezTo>
                  <a:cubicBezTo>
                    <a:pt x="50" y="0"/>
                    <a:pt x="50" y="0"/>
                    <a:pt x="50" y="0"/>
                  </a:cubicBezTo>
                  <a:cubicBezTo>
                    <a:pt x="49" y="0"/>
                    <a:pt x="49" y="0"/>
                    <a:pt x="49"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18" name="ïṣlïḍê"/>
            <p:cNvSpPr/>
            <p:nvPr/>
          </p:nvSpPr>
          <p:spPr bwMode="auto">
            <a:xfrm>
              <a:off x="4141" y="2291"/>
              <a:ext cx="109" cy="150"/>
            </a:xfrm>
            <a:custGeom>
              <a:avLst/>
              <a:gdLst>
                <a:gd name="T0" fmla="*/ 19 w 46"/>
                <a:gd name="T1" fmla="*/ 56 h 63"/>
                <a:gd name="T2" fmla="*/ 11 w 46"/>
                <a:gd name="T3" fmla="*/ 24 h 63"/>
                <a:gd name="T4" fmla="*/ 16 w 46"/>
                <a:gd name="T5" fmla="*/ 39 h 63"/>
                <a:gd name="T6" fmla="*/ 17 w 46"/>
                <a:gd name="T7" fmla="*/ 59 h 63"/>
                <a:gd name="T8" fmla="*/ 5 w 46"/>
                <a:gd name="T9" fmla="*/ 60 h 63"/>
                <a:gd name="T10" fmla="*/ 26 w 46"/>
                <a:gd name="T11" fmla="*/ 24 h 63"/>
                <a:gd name="T12" fmla="*/ 32 w 46"/>
                <a:gd name="T13" fmla="*/ 58 h 63"/>
                <a:gd name="T14" fmla="*/ 31 w 46"/>
                <a:gd name="T15" fmla="*/ 59 h 63"/>
                <a:gd name="T16" fmla="*/ 17 w 46"/>
                <a:gd name="T17" fmla="*/ 23 h 63"/>
                <a:gd name="T18" fmla="*/ 31 w 46"/>
                <a:gd name="T19" fmla="*/ 20 h 63"/>
                <a:gd name="T20" fmla="*/ 33 w 46"/>
                <a:gd name="T21" fmla="*/ 56 h 63"/>
                <a:gd name="T22" fmla="*/ 18 w 46"/>
                <a:gd name="T23" fmla="*/ 22 h 63"/>
                <a:gd name="T24" fmla="*/ 19 w 46"/>
                <a:gd name="T25" fmla="*/ 23 h 63"/>
                <a:gd name="T26" fmla="*/ 4 w 46"/>
                <a:gd name="T27" fmla="*/ 21 h 63"/>
                <a:gd name="T28" fmla="*/ 11 w 46"/>
                <a:gd name="T29" fmla="*/ 12 h 63"/>
                <a:gd name="T30" fmla="*/ 26 w 46"/>
                <a:gd name="T31" fmla="*/ 12 h 63"/>
                <a:gd name="T32" fmla="*/ 20 w 46"/>
                <a:gd name="T33" fmla="*/ 23 h 63"/>
                <a:gd name="T34" fmla="*/ 22 w 46"/>
                <a:gd name="T35" fmla="*/ 21 h 63"/>
                <a:gd name="T36" fmla="*/ 36 w 46"/>
                <a:gd name="T37" fmla="*/ 6 h 63"/>
                <a:gd name="T38" fmla="*/ 26 w 46"/>
                <a:gd name="T39" fmla="*/ 21 h 63"/>
                <a:gd name="T40" fmla="*/ 39 w 46"/>
                <a:gd name="T41" fmla="*/ 6 h 63"/>
                <a:gd name="T42" fmla="*/ 30 w 46"/>
                <a:gd name="T43" fmla="*/ 19 h 63"/>
                <a:gd name="T44" fmla="*/ 11 w 46"/>
                <a:gd name="T45" fmla="*/ 21 h 63"/>
                <a:gd name="T46" fmla="*/ 25 w 46"/>
                <a:gd name="T47" fmla="*/ 5 h 63"/>
                <a:gd name="T48" fmla="*/ 16 w 46"/>
                <a:gd name="T49" fmla="*/ 19 h 63"/>
                <a:gd name="T50" fmla="*/ 11 w 46"/>
                <a:gd name="T51" fmla="*/ 23 h 63"/>
                <a:gd name="T52" fmla="*/ 6 w 46"/>
                <a:gd name="T53" fmla="*/ 21 h 63"/>
                <a:gd name="T54" fmla="*/ 8 w 46"/>
                <a:gd name="T55" fmla="*/ 21 h 63"/>
                <a:gd name="T56" fmla="*/ 22 w 46"/>
                <a:gd name="T57" fmla="*/ 6 h 63"/>
                <a:gd name="T58" fmla="*/ 12 w 46"/>
                <a:gd name="T59" fmla="*/ 12 h 63"/>
                <a:gd name="T60" fmla="*/ 12 w 46"/>
                <a:gd name="T61" fmla="*/ 12 h 63"/>
                <a:gd name="T62" fmla="*/ 34 w 46"/>
                <a:gd name="T63" fmla="*/ 5 h 63"/>
                <a:gd name="T64" fmla="*/ 27 w 46"/>
                <a:gd name="T65" fmla="*/ 6 h 63"/>
                <a:gd name="T66" fmla="*/ 32 w 46"/>
                <a:gd name="T67" fmla="*/ 19 h 63"/>
                <a:gd name="T68" fmla="*/ 45 w 46"/>
                <a:gd name="T69" fmla="*/ 42 h 63"/>
                <a:gd name="T70" fmla="*/ 3 w 46"/>
                <a:gd name="T71" fmla="*/ 22 h 63"/>
                <a:gd name="T72" fmla="*/ 19 w 46"/>
                <a:gd name="T73" fmla="*/ 4 h 63"/>
                <a:gd name="T74" fmla="*/ 18 w 46"/>
                <a:gd name="T75" fmla="*/ 22 h 63"/>
                <a:gd name="T76" fmla="*/ 16 w 46"/>
                <a:gd name="T77" fmla="*/ 21 h 63"/>
                <a:gd name="T78" fmla="*/ 33 w 46"/>
                <a:gd name="T79" fmla="*/ 2 h 63"/>
                <a:gd name="T80" fmla="*/ 18 w 46"/>
                <a:gd name="T81" fmla="*/ 22 h 63"/>
                <a:gd name="T82" fmla="*/ 28 w 46"/>
                <a:gd name="T83" fmla="*/ 2 h 63"/>
                <a:gd name="T84" fmla="*/ 25 w 46"/>
                <a:gd name="T85" fmla="*/ 4 h 63"/>
                <a:gd name="T86" fmla="*/ 21 w 46"/>
                <a:gd name="T87" fmla="*/ 5 h 63"/>
                <a:gd name="T88" fmla="*/ 19 w 46"/>
                <a:gd name="T89" fmla="*/ 0 h 63"/>
                <a:gd name="T90" fmla="*/ 1 w 46"/>
                <a:gd name="T91" fmla="*/ 23 h 63"/>
                <a:gd name="T92" fmla="*/ 4 w 46"/>
                <a:gd name="T93" fmla="*/ 60 h 63"/>
                <a:gd name="T94" fmla="*/ 11 w 46"/>
                <a:gd name="T95" fmla="*/ 63 h 63"/>
                <a:gd name="T96" fmla="*/ 17 w 46"/>
                <a:gd name="T97" fmla="*/ 60 h 63"/>
                <a:gd name="T98" fmla="*/ 19 w 46"/>
                <a:gd name="T99" fmla="*/ 60 h 63"/>
                <a:gd name="T100" fmla="*/ 19 w 46"/>
                <a:gd name="T101" fmla="*/ 60 h 63"/>
                <a:gd name="T102" fmla="*/ 32 w 46"/>
                <a:gd name="T103" fmla="*/ 60 h 63"/>
                <a:gd name="T104" fmla="*/ 46 w 46"/>
                <a:gd name="T105" fmla="*/ 43 h 63"/>
                <a:gd name="T106" fmla="*/ 42 w 46"/>
                <a:gd name="T107" fmla="*/ 2 h 63"/>
                <a:gd name="T108" fmla="*/ 37 w 46"/>
                <a:gd name="T109" fmla="*/ 5 h 63"/>
                <a:gd name="T110" fmla="*/ 35 w 46"/>
                <a:gd name="T111" fmla="*/ 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 h="63">
                  <a:moveTo>
                    <a:pt x="18" y="57"/>
                  </a:moveTo>
                  <a:cubicBezTo>
                    <a:pt x="18" y="51"/>
                    <a:pt x="17" y="45"/>
                    <a:pt x="17" y="39"/>
                  </a:cubicBezTo>
                  <a:cubicBezTo>
                    <a:pt x="17" y="36"/>
                    <a:pt x="17" y="33"/>
                    <a:pt x="17" y="30"/>
                  </a:cubicBezTo>
                  <a:cubicBezTo>
                    <a:pt x="18" y="38"/>
                    <a:pt x="19" y="47"/>
                    <a:pt x="19" y="56"/>
                  </a:cubicBezTo>
                  <a:cubicBezTo>
                    <a:pt x="19" y="56"/>
                    <a:pt x="19" y="56"/>
                    <a:pt x="19" y="56"/>
                  </a:cubicBezTo>
                  <a:cubicBezTo>
                    <a:pt x="19" y="56"/>
                    <a:pt x="18" y="57"/>
                    <a:pt x="18" y="57"/>
                  </a:cubicBezTo>
                  <a:moveTo>
                    <a:pt x="6" y="24"/>
                  </a:moveTo>
                  <a:cubicBezTo>
                    <a:pt x="8" y="24"/>
                    <a:pt x="9" y="24"/>
                    <a:pt x="11" y="24"/>
                  </a:cubicBezTo>
                  <a:cubicBezTo>
                    <a:pt x="12" y="23"/>
                    <a:pt x="13" y="23"/>
                    <a:pt x="14" y="22"/>
                  </a:cubicBezTo>
                  <a:cubicBezTo>
                    <a:pt x="15" y="22"/>
                    <a:pt x="15" y="22"/>
                    <a:pt x="15" y="21"/>
                  </a:cubicBezTo>
                  <a:cubicBezTo>
                    <a:pt x="15" y="22"/>
                    <a:pt x="15" y="22"/>
                    <a:pt x="15" y="22"/>
                  </a:cubicBezTo>
                  <a:cubicBezTo>
                    <a:pt x="16" y="28"/>
                    <a:pt x="16" y="33"/>
                    <a:pt x="16" y="39"/>
                  </a:cubicBezTo>
                  <a:cubicBezTo>
                    <a:pt x="16" y="45"/>
                    <a:pt x="17" y="52"/>
                    <a:pt x="17" y="58"/>
                  </a:cubicBezTo>
                  <a:cubicBezTo>
                    <a:pt x="17" y="59"/>
                    <a:pt x="17" y="59"/>
                    <a:pt x="17" y="59"/>
                  </a:cubicBezTo>
                  <a:cubicBezTo>
                    <a:pt x="17" y="59"/>
                    <a:pt x="17" y="59"/>
                    <a:pt x="17" y="59"/>
                  </a:cubicBezTo>
                  <a:cubicBezTo>
                    <a:pt x="17" y="59"/>
                    <a:pt x="17" y="59"/>
                    <a:pt x="17" y="59"/>
                  </a:cubicBezTo>
                  <a:cubicBezTo>
                    <a:pt x="17" y="59"/>
                    <a:pt x="17" y="59"/>
                    <a:pt x="17" y="59"/>
                  </a:cubicBezTo>
                  <a:cubicBezTo>
                    <a:pt x="16" y="60"/>
                    <a:pt x="14" y="61"/>
                    <a:pt x="13" y="61"/>
                  </a:cubicBezTo>
                  <a:cubicBezTo>
                    <a:pt x="13" y="61"/>
                    <a:pt x="12" y="61"/>
                    <a:pt x="11" y="61"/>
                  </a:cubicBezTo>
                  <a:cubicBezTo>
                    <a:pt x="9" y="61"/>
                    <a:pt x="7" y="61"/>
                    <a:pt x="5" y="60"/>
                  </a:cubicBezTo>
                  <a:cubicBezTo>
                    <a:pt x="5" y="47"/>
                    <a:pt x="4" y="35"/>
                    <a:pt x="2" y="23"/>
                  </a:cubicBezTo>
                  <a:cubicBezTo>
                    <a:pt x="3" y="24"/>
                    <a:pt x="5" y="24"/>
                    <a:pt x="6" y="24"/>
                  </a:cubicBezTo>
                  <a:moveTo>
                    <a:pt x="21" y="24"/>
                  </a:moveTo>
                  <a:cubicBezTo>
                    <a:pt x="23" y="24"/>
                    <a:pt x="24" y="24"/>
                    <a:pt x="26" y="24"/>
                  </a:cubicBezTo>
                  <a:cubicBezTo>
                    <a:pt x="27" y="23"/>
                    <a:pt x="28" y="23"/>
                    <a:pt x="29" y="22"/>
                  </a:cubicBezTo>
                  <a:cubicBezTo>
                    <a:pt x="29" y="22"/>
                    <a:pt x="30" y="22"/>
                    <a:pt x="30" y="21"/>
                  </a:cubicBezTo>
                  <a:cubicBezTo>
                    <a:pt x="30" y="28"/>
                    <a:pt x="31" y="33"/>
                    <a:pt x="31" y="39"/>
                  </a:cubicBezTo>
                  <a:cubicBezTo>
                    <a:pt x="31" y="45"/>
                    <a:pt x="31" y="52"/>
                    <a:pt x="32" y="58"/>
                  </a:cubicBezTo>
                  <a:cubicBezTo>
                    <a:pt x="32" y="59"/>
                    <a:pt x="32" y="59"/>
                    <a:pt x="32" y="59"/>
                  </a:cubicBezTo>
                  <a:cubicBezTo>
                    <a:pt x="31" y="59"/>
                    <a:pt x="31" y="59"/>
                    <a:pt x="31" y="59"/>
                  </a:cubicBezTo>
                  <a:cubicBezTo>
                    <a:pt x="31" y="59"/>
                    <a:pt x="31" y="59"/>
                    <a:pt x="31" y="59"/>
                  </a:cubicBezTo>
                  <a:cubicBezTo>
                    <a:pt x="31" y="59"/>
                    <a:pt x="31" y="59"/>
                    <a:pt x="31" y="59"/>
                  </a:cubicBezTo>
                  <a:cubicBezTo>
                    <a:pt x="31" y="60"/>
                    <a:pt x="29" y="61"/>
                    <a:pt x="28" y="61"/>
                  </a:cubicBezTo>
                  <a:cubicBezTo>
                    <a:pt x="27" y="61"/>
                    <a:pt x="27" y="61"/>
                    <a:pt x="26" y="61"/>
                  </a:cubicBezTo>
                  <a:cubicBezTo>
                    <a:pt x="24" y="61"/>
                    <a:pt x="22" y="61"/>
                    <a:pt x="20" y="60"/>
                  </a:cubicBezTo>
                  <a:cubicBezTo>
                    <a:pt x="20" y="47"/>
                    <a:pt x="19" y="35"/>
                    <a:pt x="17" y="23"/>
                  </a:cubicBezTo>
                  <a:cubicBezTo>
                    <a:pt x="18" y="24"/>
                    <a:pt x="20" y="24"/>
                    <a:pt x="21" y="24"/>
                  </a:cubicBezTo>
                  <a:moveTo>
                    <a:pt x="33" y="57"/>
                  </a:moveTo>
                  <a:cubicBezTo>
                    <a:pt x="32" y="51"/>
                    <a:pt x="32" y="45"/>
                    <a:pt x="32" y="39"/>
                  </a:cubicBezTo>
                  <a:cubicBezTo>
                    <a:pt x="32" y="33"/>
                    <a:pt x="32" y="27"/>
                    <a:pt x="31" y="20"/>
                  </a:cubicBezTo>
                  <a:cubicBezTo>
                    <a:pt x="31" y="20"/>
                    <a:pt x="31" y="20"/>
                    <a:pt x="31" y="20"/>
                  </a:cubicBezTo>
                  <a:cubicBezTo>
                    <a:pt x="32" y="26"/>
                    <a:pt x="32" y="32"/>
                    <a:pt x="32" y="37"/>
                  </a:cubicBezTo>
                  <a:cubicBezTo>
                    <a:pt x="33" y="44"/>
                    <a:pt x="33" y="50"/>
                    <a:pt x="33" y="56"/>
                  </a:cubicBezTo>
                  <a:cubicBezTo>
                    <a:pt x="33" y="56"/>
                    <a:pt x="33" y="56"/>
                    <a:pt x="33" y="56"/>
                  </a:cubicBezTo>
                  <a:cubicBezTo>
                    <a:pt x="33" y="57"/>
                    <a:pt x="33" y="57"/>
                    <a:pt x="33" y="57"/>
                  </a:cubicBezTo>
                  <a:moveTo>
                    <a:pt x="19" y="23"/>
                  </a:moveTo>
                  <a:cubicBezTo>
                    <a:pt x="19" y="23"/>
                    <a:pt x="19" y="23"/>
                    <a:pt x="19" y="23"/>
                  </a:cubicBezTo>
                  <a:cubicBezTo>
                    <a:pt x="18" y="23"/>
                    <a:pt x="18" y="22"/>
                    <a:pt x="18" y="22"/>
                  </a:cubicBezTo>
                  <a:cubicBezTo>
                    <a:pt x="19" y="21"/>
                    <a:pt x="19" y="21"/>
                    <a:pt x="19" y="21"/>
                  </a:cubicBezTo>
                  <a:cubicBezTo>
                    <a:pt x="21" y="18"/>
                    <a:pt x="24" y="15"/>
                    <a:pt x="26" y="13"/>
                  </a:cubicBezTo>
                  <a:cubicBezTo>
                    <a:pt x="24" y="15"/>
                    <a:pt x="22" y="17"/>
                    <a:pt x="20" y="20"/>
                  </a:cubicBezTo>
                  <a:cubicBezTo>
                    <a:pt x="19" y="21"/>
                    <a:pt x="19" y="22"/>
                    <a:pt x="19" y="23"/>
                  </a:cubicBezTo>
                  <a:moveTo>
                    <a:pt x="4" y="23"/>
                  </a:moveTo>
                  <a:cubicBezTo>
                    <a:pt x="4" y="23"/>
                    <a:pt x="4" y="23"/>
                    <a:pt x="4" y="23"/>
                  </a:cubicBezTo>
                  <a:cubicBezTo>
                    <a:pt x="3" y="23"/>
                    <a:pt x="3" y="22"/>
                    <a:pt x="3" y="22"/>
                  </a:cubicBezTo>
                  <a:cubicBezTo>
                    <a:pt x="4" y="21"/>
                    <a:pt x="4" y="21"/>
                    <a:pt x="4" y="21"/>
                  </a:cubicBezTo>
                  <a:cubicBezTo>
                    <a:pt x="6" y="18"/>
                    <a:pt x="9" y="15"/>
                    <a:pt x="11" y="12"/>
                  </a:cubicBezTo>
                  <a:cubicBezTo>
                    <a:pt x="9" y="15"/>
                    <a:pt x="7" y="17"/>
                    <a:pt x="5" y="20"/>
                  </a:cubicBezTo>
                  <a:cubicBezTo>
                    <a:pt x="4" y="21"/>
                    <a:pt x="4" y="22"/>
                    <a:pt x="4" y="23"/>
                  </a:cubicBezTo>
                  <a:moveTo>
                    <a:pt x="11" y="12"/>
                  </a:moveTo>
                  <a:cubicBezTo>
                    <a:pt x="11" y="12"/>
                    <a:pt x="11" y="12"/>
                    <a:pt x="11" y="12"/>
                  </a:cubicBezTo>
                  <a:cubicBezTo>
                    <a:pt x="11" y="12"/>
                    <a:pt x="11" y="12"/>
                    <a:pt x="11" y="12"/>
                  </a:cubicBezTo>
                  <a:moveTo>
                    <a:pt x="26" y="12"/>
                  </a:moveTo>
                  <a:cubicBezTo>
                    <a:pt x="26" y="12"/>
                    <a:pt x="26" y="12"/>
                    <a:pt x="26" y="12"/>
                  </a:cubicBezTo>
                  <a:cubicBezTo>
                    <a:pt x="26" y="12"/>
                    <a:pt x="26" y="12"/>
                    <a:pt x="26" y="12"/>
                  </a:cubicBezTo>
                  <a:moveTo>
                    <a:pt x="21" y="23"/>
                  </a:moveTo>
                  <a:cubicBezTo>
                    <a:pt x="21" y="23"/>
                    <a:pt x="21" y="23"/>
                    <a:pt x="20" y="23"/>
                  </a:cubicBezTo>
                  <a:cubicBezTo>
                    <a:pt x="20" y="23"/>
                    <a:pt x="20" y="23"/>
                    <a:pt x="20" y="23"/>
                  </a:cubicBezTo>
                  <a:cubicBezTo>
                    <a:pt x="20" y="22"/>
                    <a:pt x="20" y="21"/>
                    <a:pt x="21" y="21"/>
                  </a:cubicBezTo>
                  <a:cubicBezTo>
                    <a:pt x="25" y="15"/>
                    <a:pt x="30" y="10"/>
                    <a:pt x="34" y="6"/>
                  </a:cubicBezTo>
                  <a:cubicBezTo>
                    <a:pt x="35" y="6"/>
                    <a:pt x="35" y="6"/>
                    <a:pt x="35" y="6"/>
                  </a:cubicBezTo>
                  <a:cubicBezTo>
                    <a:pt x="31" y="10"/>
                    <a:pt x="26" y="15"/>
                    <a:pt x="22" y="21"/>
                  </a:cubicBezTo>
                  <a:cubicBezTo>
                    <a:pt x="22" y="21"/>
                    <a:pt x="22" y="21"/>
                    <a:pt x="22" y="21"/>
                  </a:cubicBezTo>
                  <a:cubicBezTo>
                    <a:pt x="23" y="21"/>
                    <a:pt x="23" y="21"/>
                    <a:pt x="23" y="21"/>
                  </a:cubicBezTo>
                  <a:cubicBezTo>
                    <a:pt x="23" y="21"/>
                    <a:pt x="23" y="21"/>
                    <a:pt x="23" y="21"/>
                  </a:cubicBezTo>
                  <a:cubicBezTo>
                    <a:pt x="27" y="16"/>
                    <a:pt x="32" y="11"/>
                    <a:pt x="36" y="6"/>
                  </a:cubicBezTo>
                  <a:cubicBezTo>
                    <a:pt x="37" y="6"/>
                    <a:pt x="37" y="6"/>
                    <a:pt x="37" y="6"/>
                  </a:cubicBezTo>
                  <a:cubicBezTo>
                    <a:pt x="26" y="20"/>
                    <a:pt x="26" y="20"/>
                    <a:pt x="26" y="20"/>
                  </a:cubicBezTo>
                  <a:cubicBezTo>
                    <a:pt x="26" y="21"/>
                    <a:pt x="26" y="21"/>
                    <a:pt x="26" y="21"/>
                  </a:cubicBezTo>
                  <a:cubicBezTo>
                    <a:pt x="26" y="21"/>
                    <a:pt x="26" y="21"/>
                    <a:pt x="26" y="21"/>
                  </a:cubicBezTo>
                  <a:cubicBezTo>
                    <a:pt x="27" y="21"/>
                    <a:pt x="27" y="21"/>
                    <a:pt x="27" y="21"/>
                  </a:cubicBezTo>
                  <a:cubicBezTo>
                    <a:pt x="39" y="6"/>
                    <a:pt x="39" y="6"/>
                    <a:pt x="39" y="6"/>
                  </a:cubicBezTo>
                  <a:cubicBezTo>
                    <a:pt x="39" y="6"/>
                    <a:pt x="39" y="6"/>
                    <a:pt x="39" y="6"/>
                  </a:cubicBezTo>
                  <a:cubicBezTo>
                    <a:pt x="39" y="6"/>
                    <a:pt x="39" y="6"/>
                    <a:pt x="39" y="6"/>
                  </a:cubicBezTo>
                  <a:cubicBezTo>
                    <a:pt x="37" y="10"/>
                    <a:pt x="35" y="13"/>
                    <a:pt x="32" y="17"/>
                  </a:cubicBezTo>
                  <a:cubicBezTo>
                    <a:pt x="32" y="18"/>
                    <a:pt x="31" y="18"/>
                    <a:pt x="31" y="19"/>
                  </a:cubicBezTo>
                  <a:cubicBezTo>
                    <a:pt x="31" y="19"/>
                    <a:pt x="31" y="19"/>
                    <a:pt x="31" y="19"/>
                  </a:cubicBezTo>
                  <a:cubicBezTo>
                    <a:pt x="30" y="19"/>
                    <a:pt x="30" y="19"/>
                    <a:pt x="30" y="19"/>
                  </a:cubicBezTo>
                  <a:cubicBezTo>
                    <a:pt x="30" y="20"/>
                    <a:pt x="29" y="21"/>
                    <a:pt x="28" y="22"/>
                  </a:cubicBezTo>
                  <a:cubicBezTo>
                    <a:pt x="27" y="22"/>
                    <a:pt x="26" y="22"/>
                    <a:pt x="25" y="23"/>
                  </a:cubicBezTo>
                  <a:cubicBezTo>
                    <a:pt x="24" y="23"/>
                    <a:pt x="23" y="23"/>
                    <a:pt x="21" y="23"/>
                  </a:cubicBezTo>
                  <a:moveTo>
                    <a:pt x="11" y="21"/>
                  </a:moveTo>
                  <a:cubicBezTo>
                    <a:pt x="12" y="21"/>
                    <a:pt x="12" y="21"/>
                    <a:pt x="12" y="21"/>
                  </a:cubicBezTo>
                  <a:cubicBezTo>
                    <a:pt x="24" y="6"/>
                    <a:pt x="24" y="6"/>
                    <a:pt x="24" y="6"/>
                  </a:cubicBezTo>
                  <a:cubicBezTo>
                    <a:pt x="24" y="6"/>
                    <a:pt x="24" y="6"/>
                    <a:pt x="24" y="6"/>
                  </a:cubicBezTo>
                  <a:cubicBezTo>
                    <a:pt x="24" y="6"/>
                    <a:pt x="25" y="6"/>
                    <a:pt x="25" y="5"/>
                  </a:cubicBezTo>
                  <a:cubicBezTo>
                    <a:pt x="24" y="8"/>
                    <a:pt x="22" y="11"/>
                    <a:pt x="20" y="13"/>
                  </a:cubicBezTo>
                  <a:cubicBezTo>
                    <a:pt x="20" y="14"/>
                    <a:pt x="20" y="14"/>
                    <a:pt x="20" y="14"/>
                  </a:cubicBezTo>
                  <a:cubicBezTo>
                    <a:pt x="19" y="16"/>
                    <a:pt x="18" y="18"/>
                    <a:pt x="16" y="19"/>
                  </a:cubicBezTo>
                  <a:cubicBezTo>
                    <a:pt x="16" y="19"/>
                    <a:pt x="16" y="19"/>
                    <a:pt x="16" y="19"/>
                  </a:cubicBezTo>
                  <a:cubicBezTo>
                    <a:pt x="16" y="19"/>
                    <a:pt x="16" y="19"/>
                    <a:pt x="16" y="19"/>
                  </a:cubicBezTo>
                  <a:cubicBezTo>
                    <a:pt x="15" y="19"/>
                    <a:pt x="15" y="19"/>
                    <a:pt x="15" y="19"/>
                  </a:cubicBezTo>
                  <a:cubicBezTo>
                    <a:pt x="15" y="20"/>
                    <a:pt x="14" y="21"/>
                    <a:pt x="14" y="22"/>
                  </a:cubicBezTo>
                  <a:cubicBezTo>
                    <a:pt x="13" y="22"/>
                    <a:pt x="12" y="22"/>
                    <a:pt x="11" y="23"/>
                  </a:cubicBezTo>
                  <a:cubicBezTo>
                    <a:pt x="9" y="23"/>
                    <a:pt x="8" y="23"/>
                    <a:pt x="6" y="23"/>
                  </a:cubicBezTo>
                  <a:cubicBezTo>
                    <a:pt x="6" y="23"/>
                    <a:pt x="6" y="23"/>
                    <a:pt x="6" y="23"/>
                  </a:cubicBezTo>
                  <a:cubicBezTo>
                    <a:pt x="5" y="23"/>
                    <a:pt x="5" y="23"/>
                    <a:pt x="5" y="23"/>
                  </a:cubicBezTo>
                  <a:cubicBezTo>
                    <a:pt x="5" y="22"/>
                    <a:pt x="5" y="21"/>
                    <a:pt x="6" y="21"/>
                  </a:cubicBezTo>
                  <a:cubicBezTo>
                    <a:pt x="10" y="15"/>
                    <a:pt x="15" y="10"/>
                    <a:pt x="20" y="6"/>
                  </a:cubicBezTo>
                  <a:cubicBezTo>
                    <a:pt x="20" y="6"/>
                    <a:pt x="20" y="6"/>
                    <a:pt x="20" y="6"/>
                  </a:cubicBezTo>
                  <a:cubicBezTo>
                    <a:pt x="16" y="10"/>
                    <a:pt x="11" y="15"/>
                    <a:pt x="7" y="21"/>
                  </a:cubicBezTo>
                  <a:cubicBezTo>
                    <a:pt x="8" y="21"/>
                    <a:pt x="8" y="21"/>
                    <a:pt x="8" y="21"/>
                  </a:cubicBezTo>
                  <a:cubicBezTo>
                    <a:pt x="8" y="21"/>
                    <a:pt x="8" y="21"/>
                    <a:pt x="8" y="21"/>
                  </a:cubicBezTo>
                  <a:cubicBezTo>
                    <a:pt x="8" y="21"/>
                    <a:pt x="8" y="21"/>
                    <a:pt x="8" y="21"/>
                  </a:cubicBezTo>
                  <a:cubicBezTo>
                    <a:pt x="12" y="16"/>
                    <a:pt x="17" y="11"/>
                    <a:pt x="22" y="6"/>
                  </a:cubicBezTo>
                  <a:cubicBezTo>
                    <a:pt x="22" y="6"/>
                    <a:pt x="22" y="6"/>
                    <a:pt x="22" y="6"/>
                  </a:cubicBezTo>
                  <a:cubicBezTo>
                    <a:pt x="11" y="20"/>
                    <a:pt x="11" y="20"/>
                    <a:pt x="11" y="20"/>
                  </a:cubicBezTo>
                  <a:cubicBezTo>
                    <a:pt x="11" y="21"/>
                    <a:pt x="11" y="21"/>
                    <a:pt x="11" y="21"/>
                  </a:cubicBezTo>
                  <a:cubicBezTo>
                    <a:pt x="11" y="21"/>
                    <a:pt x="11" y="21"/>
                    <a:pt x="11" y="21"/>
                  </a:cubicBezTo>
                  <a:moveTo>
                    <a:pt x="12" y="12"/>
                  </a:moveTo>
                  <a:cubicBezTo>
                    <a:pt x="14" y="9"/>
                    <a:pt x="17" y="7"/>
                    <a:pt x="19" y="5"/>
                  </a:cubicBezTo>
                  <a:cubicBezTo>
                    <a:pt x="19" y="5"/>
                    <a:pt x="19" y="5"/>
                    <a:pt x="19" y="5"/>
                  </a:cubicBezTo>
                  <a:cubicBezTo>
                    <a:pt x="19" y="5"/>
                    <a:pt x="19" y="5"/>
                    <a:pt x="19" y="5"/>
                  </a:cubicBezTo>
                  <a:cubicBezTo>
                    <a:pt x="17" y="7"/>
                    <a:pt x="14" y="9"/>
                    <a:pt x="12" y="12"/>
                  </a:cubicBezTo>
                  <a:moveTo>
                    <a:pt x="27" y="12"/>
                  </a:moveTo>
                  <a:cubicBezTo>
                    <a:pt x="29" y="9"/>
                    <a:pt x="31" y="7"/>
                    <a:pt x="34" y="5"/>
                  </a:cubicBezTo>
                  <a:cubicBezTo>
                    <a:pt x="34" y="5"/>
                    <a:pt x="34" y="5"/>
                    <a:pt x="34" y="5"/>
                  </a:cubicBezTo>
                  <a:cubicBezTo>
                    <a:pt x="34" y="5"/>
                    <a:pt x="34" y="5"/>
                    <a:pt x="34" y="5"/>
                  </a:cubicBezTo>
                  <a:cubicBezTo>
                    <a:pt x="31" y="7"/>
                    <a:pt x="29" y="9"/>
                    <a:pt x="27" y="12"/>
                  </a:cubicBezTo>
                  <a:moveTo>
                    <a:pt x="24" y="9"/>
                  </a:moveTo>
                  <a:cubicBezTo>
                    <a:pt x="25" y="7"/>
                    <a:pt x="26" y="6"/>
                    <a:pt x="27" y="4"/>
                  </a:cubicBezTo>
                  <a:cubicBezTo>
                    <a:pt x="27" y="5"/>
                    <a:pt x="27" y="5"/>
                    <a:pt x="27" y="6"/>
                  </a:cubicBezTo>
                  <a:cubicBezTo>
                    <a:pt x="26" y="7"/>
                    <a:pt x="25" y="8"/>
                    <a:pt x="24" y="9"/>
                  </a:cubicBezTo>
                  <a:moveTo>
                    <a:pt x="34" y="55"/>
                  </a:moveTo>
                  <a:cubicBezTo>
                    <a:pt x="34" y="49"/>
                    <a:pt x="34" y="43"/>
                    <a:pt x="33" y="37"/>
                  </a:cubicBezTo>
                  <a:cubicBezTo>
                    <a:pt x="33" y="31"/>
                    <a:pt x="33" y="25"/>
                    <a:pt x="32" y="19"/>
                  </a:cubicBezTo>
                  <a:cubicBezTo>
                    <a:pt x="33" y="18"/>
                    <a:pt x="33" y="18"/>
                    <a:pt x="33" y="18"/>
                  </a:cubicBezTo>
                  <a:cubicBezTo>
                    <a:pt x="36" y="13"/>
                    <a:pt x="39" y="9"/>
                    <a:pt x="41" y="4"/>
                  </a:cubicBezTo>
                  <a:cubicBezTo>
                    <a:pt x="43" y="15"/>
                    <a:pt x="45" y="28"/>
                    <a:pt x="45" y="42"/>
                  </a:cubicBezTo>
                  <a:cubicBezTo>
                    <a:pt x="45" y="42"/>
                    <a:pt x="45" y="42"/>
                    <a:pt x="45" y="42"/>
                  </a:cubicBezTo>
                  <a:cubicBezTo>
                    <a:pt x="41" y="46"/>
                    <a:pt x="38" y="50"/>
                    <a:pt x="34" y="55"/>
                  </a:cubicBezTo>
                  <a:moveTo>
                    <a:pt x="3" y="22"/>
                  </a:moveTo>
                  <a:cubicBezTo>
                    <a:pt x="3" y="22"/>
                    <a:pt x="3" y="22"/>
                    <a:pt x="3" y="22"/>
                  </a:cubicBezTo>
                  <a:cubicBezTo>
                    <a:pt x="3" y="22"/>
                    <a:pt x="3" y="22"/>
                    <a:pt x="3" y="22"/>
                  </a:cubicBezTo>
                  <a:cubicBezTo>
                    <a:pt x="2" y="22"/>
                    <a:pt x="2" y="22"/>
                    <a:pt x="2" y="21"/>
                  </a:cubicBezTo>
                  <a:cubicBezTo>
                    <a:pt x="2" y="21"/>
                    <a:pt x="2" y="21"/>
                    <a:pt x="2" y="21"/>
                  </a:cubicBezTo>
                  <a:cubicBezTo>
                    <a:pt x="6" y="14"/>
                    <a:pt x="12" y="7"/>
                    <a:pt x="18" y="2"/>
                  </a:cubicBezTo>
                  <a:cubicBezTo>
                    <a:pt x="19" y="4"/>
                    <a:pt x="19" y="4"/>
                    <a:pt x="19" y="4"/>
                  </a:cubicBezTo>
                  <a:cubicBezTo>
                    <a:pt x="13" y="9"/>
                    <a:pt x="8" y="15"/>
                    <a:pt x="3" y="21"/>
                  </a:cubicBezTo>
                  <a:cubicBezTo>
                    <a:pt x="3" y="21"/>
                    <a:pt x="3" y="21"/>
                    <a:pt x="3" y="22"/>
                  </a:cubicBezTo>
                  <a:cubicBezTo>
                    <a:pt x="3" y="22"/>
                    <a:pt x="3" y="22"/>
                    <a:pt x="3" y="22"/>
                  </a:cubicBezTo>
                  <a:moveTo>
                    <a:pt x="18" y="22"/>
                  </a:moveTo>
                  <a:cubicBezTo>
                    <a:pt x="18" y="22"/>
                    <a:pt x="18" y="22"/>
                    <a:pt x="18" y="22"/>
                  </a:cubicBezTo>
                  <a:cubicBezTo>
                    <a:pt x="17" y="22"/>
                    <a:pt x="17" y="22"/>
                    <a:pt x="17" y="22"/>
                  </a:cubicBezTo>
                  <a:cubicBezTo>
                    <a:pt x="17" y="22"/>
                    <a:pt x="16" y="22"/>
                    <a:pt x="16" y="21"/>
                  </a:cubicBezTo>
                  <a:cubicBezTo>
                    <a:pt x="16" y="21"/>
                    <a:pt x="16" y="21"/>
                    <a:pt x="16" y="21"/>
                  </a:cubicBezTo>
                  <a:cubicBezTo>
                    <a:pt x="17" y="21"/>
                    <a:pt x="17" y="21"/>
                    <a:pt x="17" y="21"/>
                  </a:cubicBezTo>
                  <a:cubicBezTo>
                    <a:pt x="20" y="16"/>
                    <a:pt x="24" y="11"/>
                    <a:pt x="28" y="6"/>
                  </a:cubicBezTo>
                  <a:cubicBezTo>
                    <a:pt x="28" y="6"/>
                    <a:pt x="28" y="6"/>
                    <a:pt x="28" y="6"/>
                  </a:cubicBezTo>
                  <a:cubicBezTo>
                    <a:pt x="30" y="5"/>
                    <a:pt x="31" y="3"/>
                    <a:pt x="33" y="2"/>
                  </a:cubicBezTo>
                  <a:cubicBezTo>
                    <a:pt x="33" y="4"/>
                    <a:pt x="33" y="4"/>
                    <a:pt x="33" y="4"/>
                  </a:cubicBezTo>
                  <a:cubicBezTo>
                    <a:pt x="28" y="9"/>
                    <a:pt x="23" y="15"/>
                    <a:pt x="18" y="21"/>
                  </a:cubicBezTo>
                  <a:cubicBezTo>
                    <a:pt x="18" y="21"/>
                    <a:pt x="18" y="21"/>
                    <a:pt x="18" y="22"/>
                  </a:cubicBezTo>
                  <a:cubicBezTo>
                    <a:pt x="18" y="22"/>
                    <a:pt x="18" y="22"/>
                    <a:pt x="18" y="22"/>
                  </a:cubicBezTo>
                  <a:moveTo>
                    <a:pt x="33" y="0"/>
                  </a:moveTo>
                  <a:cubicBezTo>
                    <a:pt x="33" y="0"/>
                    <a:pt x="33" y="0"/>
                    <a:pt x="33" y="0"/>
                  </a:cubicBezTo>
                  <a:cubicBezTo>
                    <a:pt x="31" y="2"/>
                    <a:pt x="30" y="3"/>
                    <a:pt x="28" y="5"/>
                  </a:cubicBezTo>
                  <a:cubicBezTo>
                    <a:pt x="28" y="4"/>
                    <a:pt x="28" y="3"/>
                    <a:pt x="28" y="2"/>
                  </a:cubicBezTo>
                  <a:cubicBezTo>
                    <a:pt x="27" y="2"/>
                    <a:pt x="27" y="2"/>
                    <a:pt x="27" y="2"/>
                  </a:cubicBezTo>
                  <a:cubicBezTo>
                    <a:pt x="27" y="2"/>
                    <a:pt x="27" y="2"/>
                    <a:pt x="27" y="2"/>
                  </a:cubicBezTo>
                  <a:cubicBezTo>
                    <a:pt x="26" y="3"/>
                    <a:pt x="26" y="4"/>
                    <a:pt x="26" y="4"/>
                  </a:cubicBezTo>
                  <a:cubicBezTo>
                    <a:pt x="25" y="4"/>
                    <a:pt x="25" y="4"/>
                    <a:pt x="25" y="4"/>
                  </a:cubicBezTo>
                  <a:cubicBezTo>
                    <a:pt x="24" y="5"/>
                    <a:pt x="23" y="5"/>
                    <a:pt x="22" y="5"/>
                  </a:cubicBezTo>
                  <a:cubicBezTo>
                    <a:pt x="22" y="5"/>
                    <a:pt x="22" y="5"/>
                    <a:pt x="22" y="5"/>
                  </a:cubicBezTo>
                  <a:cubicBezTo>
                    <a:pt x="22" y="5"/>
                    <a:pt x="22" y="5"/>
                    <a:pt x="22" y="5"/>
                  </a:cubicBezTo>
                  <a:cubicBezTo>
                    <a:pt x="21" y="5"/>
                    <a:pt x="21" y="5"/>
                    <a:pt x="21" y="5"/>
                  </a:cubicBezTo>
                  <a:cubicBezTo>
                    <a:pt x="21" y="5"/>
                    <a:pt x="21" y="5"/>
                    <a:pt x="21" y="5"/>
                  </a:cubicBezTo>
                  <a:cubicBezTo>
                    <a:pt x="21" y="5"/>
                    <a:pt x="20" y="5"/>
                    <a:pt x="20" y="4"/>
                  </a:cubicBezTo>
                  <a:cubicBezTo>
                    <a:pt x="19" y="0"/>
                    <a:pt x="19" y="0"/>
                    <a:pt x="19" y="0"/>
                  </a:cubicBezTo>
                  <a:cubicBezTo>
                    <a:pt x="19" y="0"/>
                    <a:pt x="19" y="0"/>
                    <a:pt x="19" y="0"/>
                  </a:cubicBezTo>
                  <a:cubicBezTo>
                    <a:pt x="18" y="0"/>
                    <a:pt x="18" y="0"/>
                    <a:pt x="18" y="0"/>
                  </a:cubicBezTo>
                  <a:cubicBezTo>
                    <a:pt x="12" y="6"/>
                    <a:pt x="6" y="13"/>
                    <a:pt x="1" y="20"/>
                  </a:cubicBezTo>
                  <a:cubicBezTo>
                    <a:pt x="0" y="21"/>
                    <a:pt x="0" y="21"/>
                    <a:pt x="0" y="21"/>
                  </a:cubicBezTo>
                  <a:cubicBezTo>
                    <a:pt x="0" y="22"/>
                    <a:pt x="1" y="22"/>
                    <a:pt x="1" y="23"/>
                  </a:cubicBezTo>
                  <a:cubicBezTo>
                    <a:pt x="1" y="23"/>
                    <a:pt x="1" y="23"/>
                    <a:pt x="1" y="23"/>
                  </a:cubicBezTo>
                  <a:cubicBezTo>
                    <a:pt x="1" y="23"/>
                    <a:pt x="1" y="23"/>
                    <a:pt x="1" y="23"/>
                  </a:cubicBezTo>
                  <a:cubicBezTo>
                    <a:pt x="3" y="35"/>
                    <a:pt x="4" y="48"/>
                    <a:pt x="4" y="60"/>
                  </a:cubicBezTo>
                  <a:cubicBezTo>
                    <a:pt x="4" y="60"/>
                    <a:pt x="4" y="60"/>
                    <a:pt x="4" y="60"/>
                  </a:cubicBezTo>
                  <a:cubicBezTo>
                    <a:pt x="4" y="60"/>
                    <a:pt x="4" y="60"/>
                    <a:pt x="4" y="60"/>
                  </a:cubicBezTo>
                  <a:cubicBezTo>
                    <a:pt x="4" y="60"/>
                    <a:pt x="4" y="60"/>
                    <a:pt x="4" y="60"/>
                  </a:cubicBezTo>
                  <a:cubicBezTo>
                    <a:pt x="5" y="60"/>
                    <a:pt x="5" y="60"/>
                    <a:pt x="5" y="60"/>
                  </a:cubicBezTo>
                  <a:cubicBezTo>
                    <a:pt x="6" y="62"/>
                    <a:pt x="9" y="63"/>
                    <a:pt x="11" y="63"/>
                  </a:cubicBezTo>
                  <a:cubicBezTo>
                    <a:pt x="12" y="63"/>
                    <a:pt x="13" y="63"/>
                    <a:pt x="13" y="62"/>
                  </a:cubicBezTo>
                  <a:cubicBezTo>
                    <a:pt x="15" y="62"/>
                    <a:pt x="16" y="61"/>
                    <a:pt x="17" y="60"/>
                  </a:cubicBezTo>
                  <a:cubicBezTo>
                    <a:pt x="17" y="60"/>
                    <a:pt x="17" y="60"/>
                    <a:pt x="17" y="60"/>
                  </a:cubicBezTo>
                  <a:cubicBezTo>
                    <a:pt x="17" y="60"/>
                    <a:pt x="17" y="60"/>
                    <a:pt x="17" y="60"/>
                  </a:cubicBezTo>
                  <a:cubicBezTo>
                    <a:pt x="18" y="59"/>
                    <a:pt x="18" y="59"/>
                    <a:pt x="18" y="59"/>
                  </a:cubicBezTo>
                  <a:cubicBezTo>
                    <a:pt x="18" y="59"/>
                    <a:pt x="18" y="59"/>
                    <a:pt x="18" y="59"/>
                  </a:cubicBezTo>
                  <a:cubicBezTo>
                    <a:pt x="18" y="59"/>
                    <a:pt x="19" y="58"/>
                    <a:pt x="19" y="57"/>
                  </a:cubicBezTo>
                  <a:cubicBezTo>
                    <a:pt x="19" y="58"/>
                    <a:pt x="19" y="59"/>
                    <a:pt x="19" y="60"/>
                  </a:cubicBezTo>
                  <a:cubicBezTo>
                    <a:pt x="19" y="60"/>
                    <a:pt x="19" y="60"/>
                    <a:pt x="19" y="60"/>
                  </a:cubicBezTo>
                  <a:cubicBezTo>
                    <a:pt x="19" y="60"/>
                    <a:pt x="19" y="60"/>
                    <a:pt x="19" y="60"/>
                  </a:cubicBezTo>
                  <a:cubicBezTo>
                    <a:pt x="19" y="60"/>
                    <a:pt x="19" y="60"/>
                    <a:pt x="19" y="60"/>
                  </a:cubicBezTo>
                  <a:cubicBezTo>
                    <a:pt x="19" y="60"/>
                    <a:pt x="19" y="60"/>
                    <a:pt x="19" y="60"/>
                  </a:cubicBezTo>
                  <a:cubicBezTo>
                    <a:pt x="21" y="62"/>
                    <a:pt x="24" y="63"/>
                    <a:pt x="26" y="63"/>
                  </a:cubicBezTo>
                  <a:cubicBezTo>
                    <a:pt x="27" y="63"/>
                    <a:pt x="28" y="63"/>
                    <a:pt x="28" y="62"/>
                  </a:cubicBezTo>
                  <a:cubicBezTo>
                    <a:pt x="30" y="62"/>
                    <a:pt x="31" y="61"/>
                    <a:pt x="32" y="60"/>
                  </a:cubicBezTo>
                  <a:cubicBezTo>
                    <a:pt x="32" y="60"/>
                    <a:pt x="32" y="60"/>
                    <a:pt x="32" y="60"/>
                  </a:cubicBezTo>
                  <a:cubicBezTo>
                    <a:pt x="32" y="60"/>
                    <a:pt x="32" y="60"/>
                    <a:pt x="32" y="60"/>
                  </a:cubicBezTo>
                  <a:cubicBezTo>
                    <a:pt x="33" y="59"/>
                    <a:pt x="33" y="59"/>
                    <a:pt x="33" y="59"/>
                  </a:cubicBezTo>
                  <a:cubicBezTo>
                    <a:pt x="33" y="59"/>
                    <a:pt x="33" y="59"/>
                    <a:pt x="33" y="59"/>
                  </a:cubicBezTo>
                  <a:cubicBezTo>
                    <a:pt x="36" y="54"/>
                    <a:pt x="41" y="48"/>
                    <a:pt x="46" y="43"/>
                  </a:cubicBezTo>
                  <a:cubicBezTo>
                    <a:pt x="46" y="43"/>
                    <a:pt x="46" y="43"/>
                    <a:pt x="46" y="43"/>
                  </a:cubicBezTo>
                  <a:cubicBezTo>
                    <a:pt x="46" y="42"/>
                    <a:pt x="46" y="42"/>
                    <a:pt x="46" y="42"/>
                  </a:cubicBezTo>
                  <a:cubicBezTo>
                    <a:pt x="46" y="28"/>
                    <a:pt x="44" y="13"/>
                    <a:pt x="42" y="2"/>
                  </a:cubicBezTo>
                  <a:cubicBezTo>
                    <a:pt x="42" y="2"/>
                    <a:pt x="42" y="2"/>
                    <a:pt x="42" y="2"/>
                  </a:cubicBezTo>
                  <a:cubicBezTo>
                    <a:pt x="41" y="2"/>
                    <a:pt x="41" y="2"/>
                    <a:pt x="41" y="2"/>
                  </a:cubicBezTo>
                  <a:cubicBezTo>
                    <a:pt x="41" y="3"/>
                    <a:pt x="40" y="4"/>
                    <a:pt x="40" y="4"/>
                  </a:cubicBezTo>
                  <a:cubicBezTo>
                    <a:pt x="39" y="5"/>
                    <a:pt x="38" y="5"/>
                    <a:pt x="37" y="5"/>
                  </a:cubicBezTo>
                  <a:cubicBezTo>
                    <a:pt x="37" y="5"/>
                    <a:pt x="37" y="5"/>
                    <a:pt x="37" y="5"/>
                  </a:cubicBezTo>
                  <a:cubicBezTo>
                    <a:pt x="37" y="5"/>
                    <a:pt x="37" y="5"/>
                    <a:pt x="37" y="5"/>
                  </a:cubicBezTo>
                  <a:cubicBezTo>
                    <a:pt x="36" y="5"/>
                    <a:pt x="36" y="5"/>
                    <a:pt x="36" y="5"/>
                  </a:cubicBezTo>
                  <a:cubicBezTo>
                    <a:pt x="36" y="5"/>
                    <a:pt x="36" y="5"/>
                    <a:pt x="36" y="5"/>
                  </a:cubicBezTo>
                  <a:cubicBezTo>
                    <a:pt x="36" y="5"/>
                    <a:pt x="35" y="5"/>
                    <a:pt x="35" y="4"/>
                  </a:cubicBezTo>
                  <a:cubicBezTo>
                    <a:pt x="34" y="0"/>
                    <a:pt x="34" y="0"/>
                    <a:pt x="34" y="0"/>
                  </a:cubicBezTo>
                  <a:cubicBezTo>
                    <a:pt x="33" y="0"/>
                    <a:pt x="33" y="0"/>
                    <a:pt x="3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19" name="íṩḻïḓè"/>
            <p:cNvSpPr/>
            <p:nvPr/>
          </p:nvSpPr>
          <p:spPr bwMode="auto">
            <a:xfrm>
              <a:off x="4222" y="2329"/>
              <a:ext cx="24" cy="45"/>
            </a:xfrm>
            <a:custGeom>
              <a:avLst/>
              <a:gdLst>
                <a:gd name="T0" fmla="*/ 2 w 10"/>
                <a:gd name="T1" fmla="*/ 17 h 19"/>
                <a:gd name="T2" fmla="*/ 1 w 10"/>
                <a:gd name="T3" fmla="*/ 10 h 19"/>
                <a:gd name="T4" fmla="*/ 2 w 10"/>
                <a:gd name="T5" fmla="*/ 8 h 19"/>
                <a:gd name="T6" fmla="*/ 3 w 10"/>
                <a:gd name="T7" fmla="*/ 7 h 19"/>
                <a:gd name="T8" fmla="*/ 8 w 10"/>
                <a:gd name="T9" fmla="*/ 2 h 19"/>
                <a:gd name="T10" fmla="*/ 9 w 10"/>
                <a:gd name="T11" fmla="*/ 9 h 19"/>
                <a:gd name="T12" fmla="*/ 2 w 10"/>
                <a:gd name="T13" fmla="*/ 17 h 19"/>
                <a:gd name="T14" fmla="*/ 8 w 10"/>
                <a:gd name="T15" fmla="*/ 0 h 19"/>
                <a:gd name="T16" fmla="*/ 8 w 10"/>
                <a:gd name="T17" fmla="*/ 0 h 19"/>
                <a:gd name="T18" fmla="*/ 2 w 10"/>
                <a:gd name="T19" fmla="*/ 6 h 19"/>
                <a:gd name="T20" fmla="*/ 1 w 10"/>
                <a:gd name="T21" fmla="*/ 8 h 19"/>
                <a:gd name="T22" fmla="*/ 0 w 10"/>
                <a:gd name="T23" fmla="*/ 10 h 19"/>
                <a:gd name="T24" fmla="*/ 1 w 10"/>
                <a:gd name="T25" fmla="*/ 18 h 19"/>
                <a:gd name="T26" fmla="*/ 1 w 10"/>
                <a:gd name="T27" fmla="*/ 19 h 19"/>
                <a:gd name="T28" fmla="*/ 1 w 10"/>
                <a:gd name="T29" fmla="*/ 19 h 19"/>
                <a:gd name="T30" fmla="*/ 2 w 10"/>
                <a:gd name="T31" fmla="*/ 19 h 19"/>
                <a:gd name="T32" fmla="*/ 10 w 10"/>
                <a:gd name="T33" fmla="*/ 10 h 19"/>
                <a:gd name="T34" fmla="*/ 10 w 10"/>
                <a:gd name="T35" fmla="*/ 10 h 19"/>
                <a:gd name="T36" fmla="*/ 9 w 10"/>
                <a:gd name="T37" fmla="*/ 1 h 19"/>
                <a:gd name="T38" fmla="*/ 8 w 10"/>
                <a:gd name="T3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9">
                  <a:moveTo>
                    <a:pt x="2" y="17"/>
                  </a:moveTo>
                  <a:cubicBezTo>
                    <a:pt x="2" y="15"/>
                    <a:pt x="2" y="12"/>
                    <a:pt x="1" y="10"/>
                  </a:cubicBezTo>
                  <a:cubicBezTo>
                    <a:pt x="1" y="9"/>
                    <a:pt x="1" y="9"/>
                    <a:pt x="2" y="8"/>
                  </a:cubicBezTo>
                  <a:cubicBezTo>
                    <a:pt x="2" y="8"/>
                    <a:pt x="2" y="8"/>
                    <a:pt x="3" y="7"/>
                  </a:cubicBezTo>
                  <a:cubicBezTo>
                    <a:pt x="4" y="6"/>
                    <a:pt x="6" y="4"/>
                    <a:pt x="8" y="2"/>
                  </a:cubicBezTo>
                  <a:cubicBezTo>
                    <a:pt x="8" y="5"/>
                    <a:pt x="8" y="7"/>
                    <a:pt x="9" y="9"/>
                  </a:cubicBezTo>
                  <a:cubicBezTo>
                    <a:pt x="6" y="12"/>
                    <a:pt x="4" y="14"/>
                    <a:pt x="2" y="17"/>
                  </a:cubicBezTo>
                  <a:moveTo>
                    <a:pt x="8" y="0"/>
                  </a:moveTo>
                  <a:cubicBezTo>
                    <a:pt x="8" y="0"/>
                    <a:pt x="8" y="0"/>
                    <a:pt x="8" y="0"/>
                  </a:cubicBezTo>
                  <a:cubicBezTo>
                    <a:pt x="6" y="3"/>
                    <a:pt x="4" y="5"/>
                    <a:pt x="2" y="6"/>
                  </a:cubicBezTo>
                  <a:cubicBezTo>
                    <a:pt x="1" y="7"/>
                    <a:pt x="1" y="7"/>
                    <a:pt x="1" y="8"/>
                  </a:cubicBezTo>
                  <a:cubicBezTo>
                    <a:pt x="0" y="8"/>
                    <a:pt x="0" y="9"/>
                    <a:pt x="0" y="10"/>
                  </a:cubicBezTo>
                  <a:cubicBezTo>
                    <a:pt x="0" y="13"/>
                    <a:pt x="1" y="16"/>
                    <a:pt x="1" y="18"/>
                  </a:cubicBezTo>
                  <a:cubicBezTo>
                    <a:pt x="1" y="19"/>
                    <a:pt x="1" y="19"/>
                    <a:pt x="1" y="19"/>
                  </a:cubicBezTo>
                  <a:cubicBezTo>
                    <a:pt x="1" y="19"/>
                    <a:pt x="1" y="19"/>
                    <a:pt x="1" y="19"/>
                  </a:cubicBezTo>
                  <a:cubicBezTo>
                    <a:pt x="2" y="19"/>
                    <a:pt x="2" y="19"/>
                    <a:pt x="2" y="19"/>
                  </a:cubicBezTo>
                  <a:cubicBezTo>
                    <a:pt x="4" y="16"/>
                    <a:pt x="7" y="13"/>
                    <a:pt x="10" y="10"/>
                  </a:cubicBezTo>
                  <a:cubicBezTo>
                    <a:pt x="10" y="10"/>
                    <a:pt x="10" y="10"/>
                    <a:pt x="10" y="10"/>
                  </a:cubicBezTo>
                  <a:cubicBezTo>
                    <a:pt x="9" y="7"/>
                    <a:pt x="9" y="4"/>
                    <a:pt x="9" y="1"/>
                  </a:cubicBezTo>
                  <a:cubicBezTo>
                    <a:pt x="8" y="0"/>
                    <a:pt x="8" y="0"/>
                    <a:pt x="8"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20" name="îṩļîḓê"/>
            <p:cNvSpPr/>
            <p:nvPr/>
          </p:nvSpPr>
          <p:spPr bwMode="auto">
            <a:xfrm>
              <a:off x="4191" y="2384"/>
              <a:ext cx="17" cy="45"/>
            </a:xfrm>
            <a:custGeom>
              <a:avLst/>
              <a:gdLst>
                <a:gd name="T0" fmla="*/ 3 w 7"/>
                <a:gd name="T1" fmla="*/ 0 h 19"/>
                <a:gd name="T2" fmla="*/ 2 w 7"/>
                <a:gd name="T3" fmla="*/ 0 h 19"/>
                <a:gd name="T4" fmla="*/ 0 w 7"/>
                <a:gd name="T5" fmla="*/ 3 h 19"/>
                <a:gd name="T6" fmla="*/ 1 w 7"/>
                <a:gd name="T7" fmla="*/ 6 h 19"/>
                <a:gd name="T8" fmla="*/ 2 w 7"/>
                <a:gd name="T9" fmla="*/ 6 h 19"/>
                <a:gd name="T10" fmla="*/ 2 w 7"/>
                <a:gd name="T11" fmla="*/ 6 h 19"/>
                <a:gd name="T12" fmla="*/ 3 w 7"/>
                <a:gd name="T13" fmla="*/ 6 h 19"/>
                <a:gd name="T14" fmla="*/ 4 w 7"/>
                <a:gd name="T15" fmla="*/ 5 h 19"/>
                <a:gd name="T16" fmla="*/ 2 w 7"/>
                <a:gd name="T17" fmla="*/ 8 h 19"/>
                <a:gd name="T18" fmla="*/ 1 w 7"/>
                <a:gd name="T19" fmla="*/ 10 h 19"/>
                <a:gd name="T20" fmla="*/ 3 w 7"/>
                <a:gd name="T21" fmla="*/ 11 h 19"/>
                <a:gd name="T22" fmla="*/ 2 w 7"/>
                <a:gd name="T23" fmla="*/ 13 h 19"/>
                <a:gd name="T24" fmla="*/ 2 w 7"/>
                <a:gd name="T25" fmla="*/ 13 h 19"/>
                <a:gd name="T26" fmla="*/ 4 w 7"/>
                <a:gd name="T27" fmla="*/ 14 h 19"/>
                <a:gd name="T28" fmla="*/ 5 w 7"/>
                <a:gd name="T29" fmla="*/ 13 h 19"/>
                <a:gd name="T30" fmla="*/ 3 w 7"/>
                <a:gd name="T31" fmla="*/ 16 h 19"/>
                <a:gd name="T32" fmla="*/ 3 w 7"/>
                <a:gd name="T33" fmla="*/ 17 h 19"/>
                <a:gd name="T34" fmla="*/ 3 w 7"/>
                <a:gd name="T35" fmla="*/ 18 h 19"/>
                <a:gd name="T36" fmla="*/ 4 w 7"/>
                <a:gd name="T37" fmla="*/ 19 h 19"/>
                <a:gd name="T38" fmla="*/ 5 w 7"/>
                <a:gd name="T39" fmla="*/ 19 h 19"/>
                <a:gd name="T40" fmla="*/ 5 w 7"/>
                <a:gd name="T41" fmla="*/ 18 h 19"/>
                <a:gd name="T42" fmla="*/ 6 w 7"/>
                <a:gd name="T43" fmla="*/ 18 h 19"/>
                <a:gd name="T44" fmla="*/ 7 w 7"/>
                <a:gd name="T45" fmla="*/ 18 h 19"/>
                <a:gd name="T46" fmla="*/ 6 w 7"/>
                <a:gd name="T47" fmla="*/ 17 h 19"/>
                <a:gd name="T48" fmla="*/ 6 w 7"/>
                <a:gd name="T49" fmla="*/ 17 h 19"/>
                <a:gd name="T50" fmla="*/ 5 w 7"/>
                <a:gd name="T51" fmla="*/ 17 h 19"/>
                <a:gd name="T52" fmla="*/ 4 w 7"/>
                <a:gd name="T53" fmla="*/ 17 h 19"/>
                <a:gd name="T54" fmla="*/ 4 w 7"/>
                <a:gd name="T55" fmla="*/ 17 h 19"/>
                <a:gd name="T56" fmla="*/ 4 w 7"/>
                <a:gd name="T57" fmla="*/ 17 h 19"/>
                <a:gd name="T58" fmla="*/ 7 w 7"/>
                <a:gd name="T59" fmla="*/ 13 h 19"/>
                <a:gd name="T60" fmla="*/ 7 w 7"/>
                <a:gd name="T61" fmla="*/ 12 h 19"/>
                <a:gd name="T62" fmla="*/ 6 w 7"/>
                <a:gd name="T63" fmla="*/ 12 h 19"/>
                <a:gd name="T64" fmla="*/ 4 w 7"/>
                <a:gd name="T65" fmla="*/ 13 h 19"/>
                <a:gd name="T66" fmla="*/ 3 w 7"/>
                <a:gd name="T67" fmla="*/ 13 h 19"/>
                <a:gd name="T68" fmla="*/ 4 w 7"/>
                <a:gd name="T69" fmla="*/ 11 h 19"/>
                <a:gd name="T70" fmla="*/ 7 w 7"/>
                <a:gd name="T71" fmla="*/ 9 h 19"/>
                <a:gd name="T72" fmla="*/ 7 w 7"/>
                <a:gd name="T73" fmla="*/ 9 h 19"/>
                <a:gd name="T74" fmla="*/ 6 w 7"/>
                <a:gd name="T75" fmla="*/ 8 h 19"/>
                <a:gd name="T76" fmla="*/ 4 w 7"/>
                <a:gd name="T77" fmla="*/ 10 h 19"/>
                <a:gd name="T78" fmla="*/ 3 w 7"/>
                <a:gd name="T79" fmla="*/ 10 h 19"/>
                <a:gd name="T80" fmla="*/ 2 w 7"/>
                <a:gd name="T81" fmla="*/ 9 h 19"/>
                <a:gd name="T82" fmla="*/ 3 w 7"/>
                <a:gd name="T83" fmla="*/ 9 h 19"/>
                <a:gd name="T84" fmla="*/ 7 w 7"/>
                <a:gd name="T85" fmla="*/ 4 h 19"/>
                <a:gd name="T86" fmla="*/ 6 w 7"/>
                <a:gd name="T87" fmla="*/ 3 h 19"/>
                <a:gd name="T88" fmla="*/ 6 w 7"/>
                <a:gd name="T89" fmla="*/ 3 h 19"/>
                <a:gd name="T90" fmla="*/ 3 w 7"/>
                <a:gd name="T91" fmla="*/ 5 h 19"/>
                <a:gd name="T92" fmla="*/ 2 w 7"/>
                <a:gd name="T93" fmla="*/ 5 h 19"/>
                <a:gd name="T94" fmla="*/ 2 w 7"/>
                <a:gd name="T95" fmla="*/ 5 h 19"/>
                <a:gd name="T96" fmla="*/ 2 w 7"/>
                <a:gd name="T97" fmla="*/ 4 h 19"/>
                <a:gd name="T98" fmla="*/ 3 w 7"/>
                <a:gd name="T99" fmla="*/ 1 h 19"/>
                <a:gd name="T100" fmla="*/ 3 w 7"/>
                <a:gd name="T10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 h="19">
                  <a:moveTo>
                    <a:pt x="3" y="0"/>
                  </a:moveTo>
                  <a:cubicBezTo>
                    <a:pt x="2" y="0"/>
                    <a:pt x="2" y="0"/>
                    <a:pt x="2" y="0"/>
                  </a:cubicBezTo>
                  <a:cubicBezTo>
                    <a:pt x="1" y="1"/>
                    <a:pt x="1" y="2"/>
                    <a:pt x="0" y="3"/>
                  </a:cubicBezTo>
                  <a:cubicBezTo>
                    <a:pt x="0" y="4"/>
                    <a:pt x="0" y="5"/>
                    <a:pt x="1" y="6"/>
                  </a:cubicBezTo>
                  <a:cubicBezTo>
                    <a:pt x="1" y="6"/>
                    <a:pt x="1" y="6"/>
                    <a:pt x="2" y="6"/>
                  </a:cubicBezTo>
                  <a:cubicBezTo>
                    <a:pt x="2" y="6"/>
                    <a:pt x="2" y="6"/>
                    <a:pt x="2" y="6"/>
                  </a:cubicBezTo>
                  <a:cubicBezTo>
                    <a:pt x="3" y="6"/>
                    <a:pt x="3" y="6"/>
                    <a:pt x="3" y="6"/>
                  </a:cubicBezTo>
                  <a:cubicBezTo>
                    <a:pt x="4" y="5"/>
                    <a:pt x="4" y="5"/>
                    <a:pt x="4" y="5"/>
                  </a:cubicBezTo>
                  <a:cubicBezTo>
                    <a:pt x="2" y="8"/>
                    <a:pt x="2" y="8"/>
                    <a:pt x="2" y="8"/>
                  </a:cubicBezTo>
                  <a:cubicBezTo>
                    <a:pt x="2" y="8"/>
                    <a:pt x="1" y="9"/>
                    <a:pt x="1" y="10"/>
                  </a:cubicBezTo>
                  <a:cubicBezTo>
                    <a:pt x="2" y="10"/>
                    <a:pt x="2" y="11"/>
                    <a:pt x="3" y="11"/>
                  </a:cubicBezTo>
                  <a:cubicBezTo>
                    <a:pt x="2" y="11"/>
                    <a:pt x="2" y="12"/>
                    <a:pt x="2" y="13"/>
                  </a:cubicBezTo>
                  <a:cubicBezTo>
                    <a:pt x="2" y="13"/>
                    <a:pt x="2" y="13"/>
                    <a:pt x="2" y="13"/>
                  </a:cubicBezTo>
                  <a:cubicBezTo>
                    <a:pt x="3" y="14"/>
                    <a:pt x="3" y="14"/>
                    <a:pt x="4" y="14"/>
                  </a:cubicBezTo>
                  <a:cubicBezTo>
                    <a:pt x="4" y="14"/>
                    <a:pt x="5" y="14"/>
                    <a:pt x="5" y="13"/>
                  </a:cubicBezTo>
                  <a:cubicBezTo>
                    <a:pt x="3" y="16"/>
                    <a:pt x="3" y="16"/>
                    <a:pt x="3" y="16"/>
                  </a:cubicBezTo>
                  <a:cubicBezTo>
                    <a:pt x="3" y="17"/>
                    <a:pt x="3" y="17"/>
                    <a:pt x="3" y="17"/>
                  </a:cubicBezTo>
                  <a:cubicBezTo>
                    <a:pt x="3" y="18"/>
                    <a:pt x="3" y="18"/>
                    <a:pt x="3" y="18"/>
                  </a:cubicBezTo>
                  <a:cubicBezTo>
                    <a:pt x="3" y="18"/>
                    <a:pt x="4" y="19"/>
                    <a:pt x="4" y="19"/>
                  </a:cubicBezTo>
                  <a:cubicBezTo>
                    <a:pt x="5" y="19"/>
                    <a:pt x="5" y="19"/>
                    <a:pt x="5" y="19"/>
                  </a:cubicBezTo>
                  <a:cubicBezTo>
                    <a:pt x="5" y="18"/>
                    <a:pt x="5" y="18"/>
                    <a:pt x="5" y="18"/>
                  </a:cubicBezTo>
                  <a:cubicBezTo>
                    <a:pt x="6" y="18"/>
                    <a:pt x="6" y="18"/>
                    <a:pt x="6" y="18"/>
                  </a:cubicBezTo>
                  <a:cubicBezTo>
                    <a:pt x="7" y="18"/>
                    <a:pt x="7" y="18"/>
                    <a:pt x="7" y="18"/>
                  </a:cubicBezTo>
                  <a:cubicBezTo>
                    <a:pt x="6" y="17"/>
                    <a:pt x="6" y="17"/>
                    <a:pt x="6" y="17"/>
                  </a:cubicBezTo>
                  <a:cubicBezTo>
                    <a:pt x="6" y="17"/>
                    <a:pt x="6" y="17"/>
                    <a:pt x="6" y="17"/>
                  </a:cubicBezTo>
                  <a:cubicBezTo>
                    <a:pt x="6" y="17"/>
                    <a:pt x="5" y="17"/>
                    <a:pt x="5" y="17"/>
                  </a:cubicBezTo>
                  <a:cubicBezTo>
                    <a:pt x="4" y="17"/>
                    <a:pt x="4" y="17"/>
                    <a:pt x="4" y="17"/>
                  </a:cubicBezTo>
                  <a:cubicBezTo>
                    <a:pt x="4" y="17"/>
                    <a:pt x="4" y="17"/>
                    <a:pt x="4" y="17"/>
                  </a:cubicBezTo>
                  <a:cubicBezTo>
                    <a:pt x="4" y="17"/>
                    <a:pt x="4" y="17"/>
                    <a:pt x="4" y="17"/>
                  </a:cubicBezTo>
                  <a:cubicBezTo>
                    <a:pt x="7" y="13"/>
                    <a:pt x="7" y="13"/>
                    <a:pt x="7" y="13"/>
                  </a:cubicBezTo>
                  <a:cubicBezTo>
                    <a:pt x="7" y="12"/>
                    <a:pt x="7" y="12"/>
                    <a:pt x="7" y="12"/>
                  </a:cubicBezTo>
                  <a:cubicBezTo>
                    <a:pt x="6" y="12"/>
                    <a:pt x="6" y="12"/>
                    <a:pt x="6" y="12"/>
                  </a:cubicBezTo>
                  <a:cubicBezTo>
                    <a:pt x="6" y="12"/>
                    <a:pt x="5" y="13"/>
                    <a:pt x="4" y="13"/>
                  </a:cubicBezTo>
                  <a:cubicBezTo>
                    <a:pt x="3" y="13"/>
                    <a:pt x="3" y="13"/>
                    <a:pt x="3" y="13"/>
                  </a:cubicBezTo>
                  <a:cubicBezTo>
                    <a:pt x="3" y="12"/>
                    <a:pt x="4" y="11"/>
                    <a:pt x="4" y="11"/>
                  </a:cubicBezTo>
                  <a:cubicBezTo>
                    <a:pt x="5" y="10"/>
                    <a:pt x="6" y="10"/>
                    <a:pt x="7" y="9"/>
                  </a:cubicBezTo>
                  <a:cubicBezTo>
                    <a:pt x="7" y="9"/>
                    <a:pt x="7" y="9"/>
                    <a:pt x="7" y="9"/>
                  </a:cubicBezTo>
                  <a:cubicBezTo>
                    <a:pt x="6" y="8"/>
                    <a:pt x="6" y="8"/>
                    <a:pt x="6" y="8"/>
                  </a:cubicBezTo>
                  <a:cubicBezTo>
                    <a:pt x="5" y="9"/>
                    <a:pt x="4" y="9"/>
                    <a:pt x="4" y="10"/>
                  </a:cubicBezTo>
                  <a:cubicBezTo>
                    <a:pt x="3" y="10"/>
                    <a:pt x="3" y="10"/>
                    <a:pt x="3" y="10"/>
                  </a:cubicBezTo>
                  <a:cubicBezTo>
                    <a:pt x="2" y="9"/>
                    <a:pt x="2" y="9"/>
                    <a:pt x="2" y="9"/>
                  </a:cubicBezTo>
                  <a:cubicBezTo>
                    <a:pt x="2" y="9"/>
                    <a:pt x="2" y="9"/>
                    <a:pt x="3" y="9"/>
                  </a:cubicBezTo>
                  <a:cubicBezTo>
                    <a:pt x="7" y="4"/>
                    <a:pt x="7" y="4"/>
                    <a:pt x="7" y="4"/>
                  </a:cubicBezTo>
                  <a:cubicBezTo>
                    <a:pt x="6" y="3"/>
                    <a:pt x="6" y="3"/>
                    <a:pt x="6" y="3"/>
                  </a:cubicBezTo>
                  <a:cubicBezTo>
                    <a:pt x="6" y="3"/>
                    <a:pt x="6" y="3"/>
                    <a:pt x="6" y="3"/>
                  </a:cubicBezTo>
                  <a:cubicBezTo>
                    <a:pt x="3" y="5"/>
                    <a:pt x="3" y="5"/>
                    <a:pt x="3" y="5"/>
                  </a:cubicBezTo>
                  <a:cubicBezTo>
                    <a:pt x="2" y="5"/>
                    <a:pt x="2" y="5"/>
                    <a:pt x="2" y="5"/>
                  </a:cubicBezTo>
                  <a:cubicBezTo>
                    <a:pt x="2" y="5"/>
                    <a:pt x="2" y="5"/>
                    <a:pt x="2" y="5"/>
                  </a:cubicBezTo>
                  <a:cubicBezTo>
                    <a:pt x="1" y="5"/>
                    <a:pt x="1" y="4"/>
                    <a:pt x="2" y="4"/>
                  </a:cubicBezTo>
                  <a:cubicBezTo>
                    <a:pt x="2" y="2"/>
                    <a:pt x="2" y="1"/>
                    <a:pt x="3" y="1"/>
                  </a:cubicBezTo>
                  <a:cubicBezTo>
                    <a:pt x="3" y="0"/>
                    <a:pt x="3"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21" name="ïŝlîḑé"/>
            <p:cNvSpPr/>
            <p:nvPr/>
          </p:nvSpPr>
          <p:spPr bwMode="auto">
            <a:xfrm>
              <a:off x="4155" y="2384"/>
              <a:ext cx="17" cy="45"/>
            </a:xfrm>
            <a:custGeom>
              <a:avLst/>
              <a:gdLst>
                <a:gd name="T0" fmla="*/ 3 w 7"/>
                <a:gd name="T1" fmla="*/ 0 h 19"/>
                <a:gd name="T2" fmla="*/ 3 w 7"/>
                <a:gd name="T3" fmla="*/ 0 h 19"/>
                <a:gd name="T4" fmla="*/ 1 w 7"/>
                <a:gd name="T5" fmla="*/ 3 h 19"/>
                <a:gd name="T6" fmla="*/ 1 w 7"/>
                <a:gd name="T7" fmla="*/ 6 h 19"/>
                <a:gd name="T8" fmla="*/ 2 w 7"/>
                <a:gd name="T9" fmla="*/ 6 h 19"/>
                <a:gd name="T10" fmla="*/ 2 w 7"/>
                <a:gd name="T11" fmla="*/ 6 h 19"/>
                <a:gd name="T12" fmla="*/ 3 w 7"/>
                <a:gd name="T13" fmla="*/ 6 h 19"/>
                <a:gd name="T14" fmla="*/ 4 w 7"/>
                <a:gd name="T15" fmla="*/ 5 h 19"/>
                <a:gd name="T16" fmla="*/ 2 w 7"/>
                <a:gd name="T17" fmla="*/ 8 h 19"/>
                <a:gd name="T18" fmla="*/ 2 w 7"/>
                <a:gd name="T19" fmla="*/ 10 h 19"/>
                <a:gd name="T20" fmla="*/ 3 w 7"/>
                <a:gd name="T21" fmla="*/ 11 h 19"/>
                <a:gd name="T22" fmla="*/ 2 w 7"/>
                <a:gd name="T23" fmla="*/ 13 h 19"/>
                <a:gd name="T24" fmla="*/ 2 w 7"/>
                <a:gd name="T25" fmla="*/ 13 h 19"/>
                <a:gd name="T26" fmla="*/ 4 w 7"/>
                <a:gd name="T27" fmla="*/ 14 h 19"/>
                <a:gd name="T28" fmla="*/ 5 w 7"/>
                <a:gd name="T29" fmla="*/ 13 h 19"/>
                <a:gd name="T30" fmla="*/ 3 w 7"/>
                <a:gd name="T31" fmla="*/ 16 h 19"/>
                <a:gd name="T32" fmla="*/ 3 w 7"/>
                <a:gd name="T33" fmla="*/ 17 h 19"/>
                <a:gd name="T34" fmla="*/ 3 w 7"/>
                <a:gd name="T35" fmla="*/ 18 h 19"/>
                <a:gd name="T36" fmla="*/ 5 w 7"/>
                <a:gd name="T37" fmla="*/ 19 h 19"/>
                <a:gd name="T38" fmla="*/ 5 w 7"/>
                <a:gd name="T39" fmla="*/ 19 h 19"/>
                <a:gd name="T40" fmla="*/ 5 w 7"/>
                <a:gd name="T41" fmla="*/ 18 h 19"/>
                <a:gd name="T42" fmla="*/ 6 w 7"/>
                <a:gd name="T43" fmla="*/ 18 h 19"/>
                <a:gd name="T44" fmla="*/ 7 w 7"/>
                <a:gd name="T45" fmla="*/ 18 h 19"/>
                <a:gd name="T46" fmla="*/ 6 w 7"/>
                <a:gd name="T47" fmla="*/ 17 h 19"/>
                <a:gd name="T48" fmla="*/ 6 w 7"/>
                <a:gd name="T49" fmla="*/ 17 h 19"/>
                <a:gd name="T50" fmla="*/ 5 w 7"/>
                <a:gd name="T51" fmla="*/ 17 h 19"/>
                <a:gd name="T52" fmla="*/ 5 w 7"/>
                <a:gd name="T53" fmla="*/ 17 h 19"/>
                <a:gd name="T54" fmla="*/ 4 w 7"/>
                <a:gd name="T55" fmla="*/ 17 h 19"/>
                <a:gd name="T56" fmla="*/ 4 w 7"/>
                <a:gd name="T57" fmla="*/ 17 h 19"/>
                <a:gd name="T58" fmla="*/ 7 w 7"/>
                <a:gd name="T59" fmla="*/ 13 h 19"/>
                <a:gd name="T60" fmla="*/ 7 w 7"/>
                <a:gd name="T61" fmla="*/ 12 h 19"/>
                <a:gd name="T62" fmla="*/ 7 w 7"/>
                <a:gd name="T63" fmla="*/ 12 h 19"/>
                <a:gd name="T64" fmla="*/ 4 w 7"/>
                <a:gd name="T65" fmla="*/ 13 h 19"/>
                <a:gd name="T66" fmla="*/ 3 w 7"/>
                <a:gd name="T67" fmla="*/ 13 h 19"/>
                <a:gd name="T68" fmla="*/ 4 w 7"/>
                <a:gd name="T69" fmla="*/ 11 h 19"/>
                <a:gd name="T70" fmla="*/ 7 w 7"/>
                <a:gd name="T71" fmla="*/ 9 h 19"/>
                <a:gd name="T72" fmla="*/ 7 w 7"/>
                <a:gd name="T73" fmla="*/ 9 h 19"/>
                <a:gd name="T74" fmla="*/ 6 w 7"/>
                <a:gd name="T75" fmla="*/ 8 h 19"/>
                <a:gd name="T76" fmla="*/ 4 w 7"/>
                <a:gd name="T77" fmla="*/ 10 h 19"/>
                <a:gd name="T78" fmla="*/ 3 w 7"/>
                <a:gd name="T79" fmla="*/ 10 h 19"/>
                <a:gd name="T80" fmla="*/ 3 w 7"/>
                <a:gd name="T81" fmla="*/ 9 h 19"/>
                <a:gd name="T82" fmla="*/ 3 w 7"/>
                <a:gd name="T83" fmla="*/ 9 h 19"/>
                <a:gd name="T84" fmla="*/ 7 w 7"/>
                <a:gd name="T85" fmla="*/ 4 h 19"/>
                <a:gd name="T86" fmla="*/ 7 w 7"/>
                <a:gd name="T87" fmla="*/ 3 h 19"/>
                <a:gd name="T88" fmla="*/ 6 w 7"/>
                <a:gd name="T89" fmla="*/ 3 h 19"/>
                <a:gd name="T90" fmla="*/ 3 w 7"/>
                <a:gd name="T91" fmla="*/ 5 h 19"/>
                <a:gd name="T92" fmla="*/ 2 w 7"/>
                <a:gd name="T93" fmla="*/ 5 h 19"/>
                <a:gd name="T94" fmla="*/ 2 w 7"/>
                <a:gd name="T95" fmla="*/ 5 h 19"/>
                <a:gd name="T96" fmla="*/ 2 w 7"/>
                <a:gd name="T97" fmla="*/ 4 h 19"/>
                <a:gd name="T98" fmla="*/ 3 w 7"/>
                <a:gd name="T99" fmla="*/ 1 h 19"/>
                <a:gd name="T100" fmla="*/ 3 w 7"/>
                <a:gd name="T10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 h="19">
                  <a:moveTo>
                    <a:pt x="3" y="0"/>
                  </a:moveTo>
                  <a:cubicBezTo>
                    <a:pt x="3" y="0"/>
                    <a:pt x="3" y="0"/>
                    <a:pt x="3" y="0"/>
                  </a:cubicBezTo>
                  <a:cubicBezTo>
                    <a:pt x="2" y="1"/>
                    <a:pt x="1" y="2"/>
                    <a:pt x="1" y="3"/>
                  </a:cubicBezTo>
                  <a:cubicBezTo>
                    <a:pt x="0" y="4"/>
                    <a:pt x="0" y="5"/>
                    <a:pt x="1" y="6"/>
                  </a:cubicBezTo>
                  <a:cubicBezTo>
                    <a:pt x="1" y="6"/>
                    <a:pt x="2" y="6"/>
                    <a:pt x="2" y="6"/>
                  </a:cubicBezTo>
                  <a:cubicBezTo>
                    <a:pt x="2" y="6"/>
                    <a:pt x="2" y="6"/>
                    <a:pt x="2" y="6"/>
                  </a:cubicBezTo>
                  <a:cubicBezTo>
                    <a:pt x="3" y="6"/>
                    <a:pt x="3" y="6"/>
                    <a:pt x="3" y="6"/>
                  </a:cubicBezTo>
                  <a:cubicBezTo>
                    <a:pt x="4" y="5"/>
                    <a:pt x="4" y="5"/>
                    <a:pt x="4" y="5"/>
                  </a:cubicBezTo>
                  <a:cubicBezTo>
                    <a:pt x="2" y="8"/>
                    <a:pt x="2" y="8"/>
                    <a:pt x="2" y="8"/>
                  </a:cubicBezTo>
                  <a:cubicBezTo>
                    <a:pt x="2" y="8"/>
                    <a:pt x="1" y="9"/>
                    <a:pt x="2" y="10"/>
                  </a:cubicBezTo>
                  <a:cubicBezTo>
                    <a:pt x="2" y="10"/>
                    <a:pt x="2" y="11"/>
                    <a:pt x="3" y="11"/>
                  </a:cubicBezTo>
                  <a:cubicBezTo>
                    <a:pt x="3" y="11"/>
                    <a:pt x="2" y="12"/>
                    <a:pt x="2" y="13"/>
                  </a:cubicBezTo>
                  <a:cubicBezTo>
                    <a:pt x="2" y="13"/>
                    <a:pt x="2" y="13"/>
                    <a:pt x="2" y="13"/>
                  </a:cubicBezTo>
                  <a:cubicBezTo>
                    <a:pt x="3" y="14"/>
                    <a:pt x="3" y="14"/>
                    <a:pt x="4" y="14"/>
                  </a:cubicBezTo>
                  <a:cubicBezTo>
                    <a:pt x="4" y="14"/>
                    <a:pt x="5" y="14"/>
                    <a:pt x="5" y="13"/>
                  </a:cubicBezTo>
                  <a:cubicBezTo>
                    <a:pt x="3" y="16"/>
                    <a:pt x="3" y="16"/>
                    <a:pt x="3" y="16"/>
                  </a:cubicBezTo>
                  <a:cubicBezTo>
                    <a:pt x="3" y="17"/>
                    <a:pt x="3" y="17"/>
                    <a:pt x="3" y="17"/>
                  </a:cubicBezTo>
                  <a:cubicBezTo>
                    <a:pt x="3" y="18"/>
                    <a:pt x="3" y="18"/>
                    <a:pt x="3" y="18"/>
                  </a:cubicBezTo>
                  <a:cubicBezTo>
                    <a:pt x="4" y="18"/>
                    <a:pt x="4" y="19"/>
                    <a:pt x="5" y="19"/>
                  </a:cubicBezTo>
                  <a:cubicBezTo>
                    <a:pt x="5" y="19"/>
                    <a:pt x="5" y="19"/>
                    <a:pt x="5" y="19"/>
                  </a:cubicBezTo>
                  <a:cubicBezTo>
                    <a:pt x="5" y="18"/>
                    <a:pt x="5" y="18"/>
                    <a:pt x="5" y="18"/>
                  </a:cubicBezTo>
                  <a:cubicBezTo>
                    <a:pt x="6" y="18"/>
                    <a:pt x="6" y="18"/>
                    <a:pt x="6" y="18"/>
                  </a:cubicBezTo>
                  <a:cubicBezTo>
                    <a:pt x="7" y="18"/>
                    <a:pt x="7" y="18"/>
                    <a:pt x="7" y="18"/>
                  </a:cubicBezTo>
                  <a:cubicBezTo>
                    <a:pt x="6" y="17"/>
                    <a:pt x="6" y="17"/>
                    <a:pt x="6" y="17"/>
                  </a:cubicBezTo>
                  <a:cubicBezTo>
                    <a:pt x="6" y="17"/>
                    <a:pt x="6" y="17"/>
                    <a:pt x="6" y="17"/>
                  </a:cubicBezTo>
                  <a:cubicBezTo>
                    <a:pt x="6" y="17"/>
                    <a:pt x="5" y="17"/>
                    <a:pt x="5" y="17"/>
                  </a:cubicBezTo>
                  <a:cubicBezTo>
                    <a:pt x="5" y="17"/>
                    <a:pt x="5" y="17"/>
                    <a:pt x="5" y="17"/>
                  </a:cubicBezTo>
                  <a:cubicBezTo>
                    <a:pt x="4" y="17"/>
                    <a:pt x="4" y="17"/>
                    <a:pt x="4" y="17"/>
                  </a:cubicBezTo>
                  <a:cubicBezTo>
                    <a:pt x="4" y="17"/>
                    <a:pt x="4" y="17"/>
                    <a:pt x="4" y="17"/>
                  </a:cubicBezTo>
                  <a:cubicBezTo>
                    <a:pt x="7" y="13"/>
                    <a:pt x="7" y="13"/>
                    <a:pt x="7" y="13"/>
                  </a:cubicBezTo>
                  <a:cubicBezTo>
                    <a:pt x="7" y="12"/>
                    <a:pt x="7" y="12"/>
                    <a:pt x="7" y="12"/>
                  </a:cubicBezTo>
                  <a:cubicBezTo>
                    <a:pt x="7" y="12"/>
                    <a:pt x="7" y="12"/>
                    <a:pt x="7" y="12"/>
                  </a:cubicBezTo>
                  <a:cubicBezTo>
                    <a:pt x="6" y="12"/>
                    <a:pt x="5" y="13"/>
                    <a:pt x="4" y="13"/>
                  </a:cubicBezTo>
                  <a:cubicBezTo>
                    <a:pt x="4" y="13"/>
                    <a:pt x="3" y="13"/>
                    <a:pt x="3" y="13"/>
                  </a:cubicBezTo>
                  <a:cubicBezTo>
                    <a:pt x="3" y="12"/>
                    <a:pt x="4" y="11"/>
                    <a:pt x="4" y="11"/>
                  </a:cubicBezTo>
                  <a:cubicBezTo>
                    <a:pt x="5" y="10"/>
                    <a:pt x="6" y="10"/>
                    <a:pt x="7" y="9"/>
                  </a:cubicBezTo>
                  <a:cubicBezTo>
                    <a:pt x="7" y="9"/>
                    <a:pt x="7" y="9"/>
                    <a:pt x="7" y="9"/>
                  </a:cubicBezTo>
                  <a:cubicBezTo>
                    <a:pt x="6" y="8"/>
                    <a:pt x="6" y="8"/>
                    <a:pt x="6" y="8"/>
                  </a:cubicBezTo>
                  <a:cubicBezTo>
                    <a:pt x="5" y="9"/>
                    <a:pt x="5" y="9"/>
                    <a:pt x="4" y="10"/>
                  </a:cubicBezTo>
                  <a:cubicBezTo>
                    <a:pt x="3" y="10"/>
                    <a:pt x="3" y="10"/>
                    <a:pt x="3" y="10"/>
                  </a:cubicBezTo>
                  <a:cubicBezTo>
                    <a:pt x="3" y="9"/>
                    <a:pt x="3" y="9"/>
                    <a:pt x="3" y="9"/>
                  </a:cubicBezTo>
                  <a:cubicBezTo>
                    <a:pt x="3" y="9"/>
                    <a:pt x="3" y="9"/>
                    <a:pt x="3" y="9"/>
                  </a:cubicBezTo>
                  <a:cubicBezTo>
                    <a:pt x="7" y="4"/>
                    <a:pt x="7" y="4"/>
                    <a:pt x="7" y="4"/>
                  </a:cubicBezTo>
                  <a:cubicBezTo>
                    <a:pt x="7" y="3"/>
                    <a:pt x="7" y="3"/>
                    <a:pt x="7" y="3"/>
                  </a:cubicBezTo>
                  <a:cubicBezTo>
                    <a:pt x="6" y="3"/>
                    <a:pt x="6" y="3"/>
                    <a:pt x="6" y="3"/>
                  </a:cubicBezTo>
                  <a:cubicBezTo>
                    <a:pt x="3" y="5"/>
                    <a:pt x="3" y="5"/>
                    <a:pt x="3" y="5"/>
                  </a:cubicBezTo>
                  <a:cubicBezTo>
                    <a:pt x="2" y="5"/>
                    <a:pt x="2" y="5"/>
                    <a:pt x="2" y="5"/>
                  </a:cubicBezTo>
                  <a:cubicBezTo>
                    <a:pt x="2" y="5"/>
                    <a:pt x="2" y="5"/>
                    <a:pt x="2" y="5"/>
                  </a:cubicBezTo>
                  <a:cubicBezTo>
                    <a:pt x="2" y="5"/>
                    <a:pt x="2" y="4"/>
                    <a:pt x="2" y="4"/>
                  </a:cubicBezTo>
                  <a:cubicBezTo>
                    <a:pt x="2" y="2"/>
                    <a:pt x="3" y="1"/>
                    <a:pt x="3" y="1"/>
                  </a:cubicBezTo>
                  <a:cubicBezTo>
                    <a:pt x="3" y="0"/>
                    <a:pt x="3"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22" name="îšḻîḓè"/>
            <p:cNvSpPr/>
            <p:nvPr/>
          </p:nvSpPr>
          <p:spPr bwMode="auto">
            <a:xfrm>
              <a:off x="3413" y="2298"/>
              <a:ext cx="59" cy="64"/>
            </a:xfrm>
            <a:custGeom>
              <a:avLst/>
              <a:gdLst>
                <a:gd name="T0" fmla="*/ 16 w 25"/>
                <a:gd name="T1" fmla="*/ 24 h 27"/>
                <a:gd name="T2" fmla="*/ 21 w 25"/>
                <a:gd name="T3" fmla="*/ 13 h 27"/>
                <a:gd name="T4" fmla="*/ 22 w 25"/>
                <a:gd name="T5" fmla="*/ 17 h 27"/>
                <a:gd name="T6" fmla="*/ 23 w 25"/>
                <a:gd name="T7" fmla="*/ 19 h 27"/>
                <a:gd name="T8" fmla="*/ 24 w 25"/>
                <a:gd name="T9" fmla="*/ 21 h 27"/>
                <a:gd name="T10" fmla="*/ 21 w 25"/>
                <a:gd name="T11" fmla="*/ 22 h 27"/>
                <a:gd name="T12" fmla="*/ 16 w 25"/>
                <a:gd name="T13" fmla="*/ 24 h 27"/>
                <a:gd name="T14" fmla="*/ 3 w 25"/>
                <a:gd name="T15" fmla="*/ 12 h 27"/>
                <a:gd name="T16" fmla="*/ 2 w 25"/>
                <a:gd name="T17" fmla="*/ 10 h 27"/>
                <a:gd name="T18" fmla="*/ 2 w 25"/>
                <a:gd name="T19" fmla="*/ 8 h 27"/>
                <a:gd name="T20" fmla="*/ 1 w 25"/>
                <a:gd name="T21" fmla="*/ 6 h 27"/>
                <a:gd name="T22" fmla="*/ 3 w 25"/>
                <a:gd name="T23" fmla="*/ 5 h 27"/>
                <a:gd name="T24" fmla="*/ 7 w 25"/>
                <a:gd name="T25" fmla="*/ 4 h 27"/>
                <a:gd name="T26" fmla="*/ 3 w 25"/>
                <a:gd name="T27" fmla="*/ 12 h 27"/>
                <a:gd name="T28" fmla="*/ 6 w 25"/>
                <a:gd name="T29" fmla="*/ 19 h 27"/>
                <a:gd name="T30" fmla="*/ 4 w 25"/>
                <a:gd name="T31" fmla="*/ 13 h 27"/>
                <a:gd name="T32" fmla="*/ 8 w 25"/>
                <a:gd name="T33" fmla="*/ 3 h 27"/>
                <a:gd name="T34" fmla="*/ 13 w 25"/>
                <a:gd name="T35" fmla="*/ 1 h 27"/>
                <a:gd name="T36" fmla="*/ 6 w 25"/>
                <a:gd name="T37" fmla="*/ 19 h 27"/>
                <a:gd name="T38" fmla="*/ 10 w 25"/>
                <a:gd name="T39" fmla="*/ 26 h 27"/>
                <a:gd name="T40" fmla="*/ 8 w 25"/>
                <a:gd name="T41" fmla="*/ 25 h 27"/>
                <a:gd name="T42" fmla="*/ 7 w 25"/>
                <a:gd name="T43" fmla="*/ 21 h 27"/>
                <a:gd name="T44" fmla="*/ 7 w 25"/>
                <a:gd name="T45" fmla="*/ 21 h 27"/>
                <a:gd name="T46" fmla="*/ 14 w 25"/>
                <a:gd name="T47" fmla="*/ 1 h 27"/>
                <a:gd name="T48" fmla="*/ 14 w 25"/>
                <a:gd name="T49" fmla="*/ 1 h 27"/>
                <a:gd name="T50" fmla="*/ 15 w 25"/>
                <a:gd name="T51" fmla="*/ 1 h 27"/>
                <a:gd name="T52" fmla="*/ 16 w 25"/>
                <a:gd name="T53" fmla="*/ 2 h 27"/>
                <a:gd name="T54" fmla="*/ 20 w 25"/>
                <a:gd name="T55" fmla="*/ 12 h 27"/>
                <a:gd name="T56" fmla="*/ 20 w 25"/>
                <a:gd name="T57" fmla="*/ 12 h 27"/>
                <a:gd name="T58" fmla="*/ 15 w 25"/>
                <a:gd name="T59" fmla="*/ 24 h 27"/>
                <a:gd name="T60" fmla="*/ 15 w 25"/>
                <a:gd name="T61" fmla="*/ 25 h 27"/>
                <a:gd name="T62" fmla="*/ 10 w 25"/>
                <a:gd name="T63" fmla="*/ 26 h 27"/>
                <a:gd name="T64" fmla="*/ 10 w 25"/>
                <a:gd name="T65" fmla="*/ 26 h 27"/>
                <a:gd name="T66" fmla="*/ 15 w 25"/>
                <a:gd name="T67" fmla="*/ 0 h 27"/>
                <a:gd name="T68" fmla="*/ 14 w 25"/>
                <a:gd name="T69" fmla="*/ 0 h 27"/>
                <a:gd name="T70" fmla="*/ 14 w 25"/>
                <a:gd name="T71" fmla="*/ 0 h 27"/>
                <a:gd name="T72" fmla="*/ 14 w 25"/>
                <a:gd name="T73" fmla="*/ 0 h 27"/>
                <a:gd name="T74" fmla="*/ 8 w 25"/>
                <a:gd name="T75" fmla="*/ 2 h 27"/>
                <a:gd name="T76" fmla="*/ 8 w 25"/>
                <a:gd name="T77" fmla="*/ 2 h 27"/>
                <a:gd name="T78" fmla="*/ 7 w 25"/>
                <a:gd name="T79" fmla="*/ 2 h 27"/>
                <a:gd name="T80" fmla="*/ 7 w 25"/>
                <a:gd name="T81" fmla="*/ 2 h 27"/>
                <a:gd name="T82" fmla="*/ 3 w 25"/>
                <a:gd name="T83" fmla="*/ 4 h 27"/>
                <a:gd name="T84" fmla="*/ 0 w 25"/>
                <a:gd name="T85" fmla="*/ 6 h 27"/>
                <a:gd name="T86" fmla="*/ 1 w 25"/>
                <a:gd name="T87" fmla="*/ 8 h 27"/>
                <a:gd name="T88" fmla="*/ 2 w 25"/>
                <a:gd name="T89" fmla="*/ 10 h 27"/>
                <a:gd name="T90" fmla="*/ 8 w 25"/>
                <a:gd name="T91" fmla="*/ 26 h 27"/>
                <a:gd name="T92" fmla="*/ 10 w 25"/>
                <a:gd name="T93" fmla="*/ 27 h 27"/>
                <a:gd name="T94" fmla="*/ 11 w 25"/>
                <a:gd name="T95" fmla="*/ 27 h 27"/>
                <a:gd name="T96" fmla="*/ 22 w 25"/>
                <a:gd name="T97" fmla="*/ 23 h 27"/>
                <a:gd name="T98" fmla="*/ 24 w 25"/>
                <a:gd name="T99" fmla="*/ 21 h 27"/>
                <a:gd name="T100" fmla="*/ 24 w 25"/>
                <a:gd name="T101" fmla="*/ 19 h 27"/>
                <a:gd name="T102" fmla="*/ 23 w 25"/>
                <a:gd name="T103" fmla="*/ 17 h 27"/>
                <a:gd name="T104" fmla="*/ 17 w 25"/>
                <a:gd name="T105" fmla="*/ 1 h 27"/>
                <a:gd name="T106" fmla="*/ 15 w 25"/>
                <a:gd name="T10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 h="27">
                  <a:moveTo>
                    <a:pt x="16" y="24"/>
                  </a:moveTo>
                  <a:cubicBezTo>
                    <a:pt x="18" y="20"/>
                    <a:pt x="19" y="17"/>
                    <a:pt x="21" y="13"/>
                  </a:cubicBezTo>
                  <a:cubicBezTo>
                    <a:pt x="22" y="17"/>
                    <a:pt x="22" y="17"/>
                    <a:pt x="22" y="17"/>
                  </a:cubicBezTo>
                  <a:cubicBezTo>
                    <a:pt x="23" y="18"/>
                    <a:pt x="23" y="18"/>
                    <a:pt x="23" y="19"/>
                  </a:cubicBezTo>
                  <a:cubicBezTo>
                    <a:pt x="24" y="20"/>
                    <a:pt x="24" y="20"/>
                    <a:pt x="24" y="21"/>
                  </a:cubicBezTo>
                  <a:cubicBezTo>
                    <a:pt x="23" y="21"/>
                    <a:pt x="23" y="21"/>
                    <a:pt x="21" y="22"/>
                  </a:cubicBezTo>
                  <a:cubicBezTo>
                    <a:pt x="16" y="24"/>
                    <a:pt x="16" y="24"/>
                    <a:pt x="16" y="24"/>
                  </a:cubicBezTo>
                  <a:moveTo>
                    <a:pt x="3" y="12"/>
                  </a:moveTo>
                  <a:cubicBezTo>
                    <a:pt x="2" y="10"/>
                    <a:pt x="2" y="10"/>
                    <a:pt x="2" y="10"/>
                  </a:cubicBezTo>
                  <a:cubicBezTo>
                    <a:pt x="2" y="9"/>
                    <a:pt x="2" y="8"/>
                    <a:pt x="2" y="8"/>
                  </a:cubicBezTo>
                  <a:cubicBezTo>
                    <a:pt x="1" y="7"/>
                    <a:pt x="1" y="6"/>
                    <a:pt x="1" y="6"/>
                  </a:cubicBezTo>
                  <a:cubicBezTo>
                    <a:pt x="1" y="6"/>
                    <a:pt x="2" y="5"/>
                    <a:pt x="3" y="5"/>
                  </a:cubicBezTo>
                  <a:cubicBezTo>
                    <a:pt x="7" y="4"/>
                    <a:pt x="7" y="4"/>
                    <a:pt x="7" y="4"/>
                  </a:cubicBezTo>
                  <a:cubicBezTo>
                    <a:pt x="6" y="6"/>
                    <a:pt x="4" y="9"/>
                    <a:pt x="3" y="12"/>
                  </a:cubicBezTo>
                  <a:moveTo>
                    <a:pt x="6" y="19"/>
                  </a:moveTo>
                  <a:cubicBezTo>
                    <a:pt x="4" y="13"/>
                    <a:pt x="4" y="13"/>
                    <a:pt x="4" y="13"/>
                  </a:cubicBezTo>
                  <a:cubicBezTo>
                    <a:pt x="5" y="10"/>
                    <a:pt x="7" y="6"/>
                    <a:pt x="8" y="3"/>
                  </a:cubicBezTo>
                  <a:cubicBezTo>
                    <a:pt x="13" y="1"/>
                    <a:pt x="13" y="1"/>
                    <a:pt x="13" y="1"/>
                  </a:cubicBezTo>
                  <a:cubicBezTo>
                    <a:pt x="10" y="7"/>
                    <a:pt x="8" y="13"/>
                    <a:pt x="6" y="19"/>
                  </a:cubicBezTo>
                  <a:moveTo>
                    <a:pt x="10" y="26"/>
                  </a:moveTo>
                  <a:cubicBezTo>
                    <a:pt x="9" y="26"/>
                    <a:pt x="9" y="26"/>
                    <a:pt x="8" y="25"/>
                  </a:cubicBezTo>
                  <a:cubicBezTo>
                    <a:pt x="7" y="21"/>
                    <a:pt x="7" y="21"/>
                    <a:pt x="7" y="21"/>
                  </a:cubicBezTo>
                  <a:cubicBezTo>
                    <a:pt x="7" y="21"/>
                    <a:pt x="7" y="21"/>
                    <a:pt x="7" y="21"/>
                  </a:cubicBezTo>
                  <a:cubicBezTo>
                    <a:pt x="9" y="14"/>
                    <a:pt x="11" y="7"/>
                    <a:pt x="14" y="1"/>
                  </a:cubicBezTo>
                  <a:cubicBezTo>
                    <a:pt x="14" y="1"/>
                    <a:pt x="14" y="1"/>
                    <a:pt x="14" y="1"/>
                  </a:cubicBezTo>
                  <a:cubicBezTo>
                    <a:pt x="15" y="1"/>
                    <a:pt x="15" y="1"/>
                    <a:pt x="15" y="1"/>
                  </a:cubicBezTo>
                  <a:cubicBezTo>
                    <a:pt x="16" y="1"/>
                    <a:pt x="16" y="1"/>
                    <a:pt x="16" y="2"/>
                  </a:cubicBezTo>
                  <a:cubicBezTo>
                    <a:pt x="20" y="12"/>
                    <a:pt x="20" y="12"/>
                    <a:pt x="20" y="12"/>
                  </a:cubicBezTo>
                  <a:cubicBezTo>
                    <a:pt x="20" y="12"/>
                    <a:pt x="20" y="12"/>
                    <a:pt x="20" y="12"/>
                  </a:cubicBezTo>
                  <a:cubicBezTo>
                    <a:pt x="19" y="16"/>
                    <a:pt x="17" y="20"/>
                    <a:pt x="15" y="24"/>
                  </a:cubicBezTo>
                  <a:cubicBezTo>
                    <a:pt x="15" y="25"/>
                    <a:pt x="15" y="25"/>
                    <a:pt x="15" y="25"/>
                  </a:cubicBezTo>
                  <a:cubicBezTo>
                    <a:pt x="10" y="26"/>
                    <a:pt x="10" y="26"/>
                    <a:pt x="10" y="26"/>
                  </a:cubicBezTo>
                  <a:cubicBezTo>
                    <a:pt x="10" y="26"/>
                    <a:pt x="10" y="26"/>
                    <a:pt x="10" y="26"/>
                  </a:cubicBezTo>
                  <a:moveTo>
                    <a:pt x="15" y="0"/>
                  </a:moveTo>
                  <a:cubicBezTo>
                    <a:pt x="15" y="0"/>
                    <a:pt x="14" y="0"/>
                    <a:pt x="14" y="0"/>
                  </a:cubicBezTo>
                  <a:cubicBezTo>
                    <a:pt x="14" y="0"/>
                    <a:pt x="14" y="0"/>
                    <a:pt x="14" y="0"/>
                  </a:cubicBezTo>
                  <a:cubicBezTo>
                    <a:pt x="14" y="0"/>
                    <a:pt x="14" y="0"/>
                    <a:pt x="14" y="0"/>
                  </a:cubicBezTo>
                  <a:cubicBezTo>
                    <a:pt x="8" y="2"/>
                    <a:pt x="8" y="2"/>
                    <a:pt x="8" y="2"/>
                  </a:cubicBezTo>
                  <a:cubicBezTo>
                    <a:pt x="8" y="2"/>
                    <a:pt x="8" y="2"/>
                    <a:pt x="8" y="2"/>
                  </a:cubicBezTo>
                  <a:cubicBezTo>
                    <a:pt x="7" y="2"/>
                    <a:pt x="7" y="2"/>
                    <a:pt x="7" y="2"/>
                  </a:cubicBezTo>
                  <a:cubicBezTo>
                    <a:pt x="7" y="2"/>
                    <a:pt x="7" y="2"/>
                    <a:pt x="7" y="2"/>
                  </a:cubicBezTo>
                  <a:cubicBezTo>
                    <a:pt x="3" y="4"/>
                    <a:pt x="3" y="4"/>
                    <a:pt x="3" y="4"/>
                  </a:cubicBezTo>
                  <a:cubicBezTo>
                    <a:pt x="1" y="5"/>
                    <a:pt x="1" y="5"/>
                    <a:pt x="0" y="6"/>
                  </a:cubicBezTo>
                  <a:cubicBezTo>
                    <a:pt x="0" y="6"/>
                    <a:pt x="0" y="7"/>
                    <a:pt x="1" y="8"/>
                  </a:cubicBezTo>
                  <a:cubicBezTo>
                    <a:pt x="1" y="9"/>
                    <a:pt x="1" y="9"/>
                    <a:pt x="2" y="10"/>
                  </a:cubicBezTo>
                  <a:cubicBezTo>
                    <a:pt x="8" y="26"/>
                    <a:pt x="8" y="26"/>
                    <a:pt x="8" y="26"/>
                  </a:cubicBezTo>
                  <a:cubicBezTo>
                    <a:pt x="8" y="26"/>
                    <a:pt x="9" y="27"/>
                    <a:pt x="10" y="27"/>
                  </a:cubicBezTo>
                  <a:cubicBezTo>
                    <a:pt x="11" y="27"/>
                    <a:pt x="11" y="27"/>
                    <a:pt x="11" y="27"/>
                  </a:cubicBezTo>
                  <a:cubicBezTo>
                    <a:pt x="22" y="23"/>
                    <a:pt x="22" y="23"/>
                    <a:pt x="22" y="23"/>
                  </a:cubicBezTo>
                  <a:cubicBezTo>
                    <a:pt x="23" y="22"/>
                    <a:pt x="24" y="22"/>
                    <a:pt x="24" y="21"/>
                  </a:cubicBezTo>
                  <a:cubicBezTo>
                    <a:pt x="25" y="20"/>
                    <a:pt x="24" y="20"/>
                    <a:pt x="24" y="19"/>
                  </a:cubicBezTo>
                  <a:cubicBezTo>
                    <a:pt x="24" y="18"/>
                    <a:pt x="23" y="18"/>
                    <a:pt x="23" y="17"/>
                  </a:cubicBezTo>
                  <a:cubicBezTo>
                    <a:pt x="17" y="1"/>
                    <a:pt x="17" y="1"/>
                    <a:pt x="17" y="1"/>
                  </a:cubicBezTo>
                  <a:cubicBezTo>
                    <a:pt x="17" y="0"/>
                    <a:pt x="16" y="0"/>
                    <a:pt x="15"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23" name="îṡḻíďè"/>
            <p:cNvSpPr/>
            <p:nvPr/>
          </p:nvSpPr>
          <p:spPr bwMode="auto">
            <a:xfrm>
              <a:off x="3425" y="2293"/>
              <a:ext cx="14" cy="8"/>
            </a:xfrm>
            <a:custGeom>
              <a:avLst/>
              <a:gdLst>
                <a:gd name="T0" fmla="*/ 0 w 6"/>
                <a:gd name="T1" fmla="*/ 2 h 3"/>
                <a:gd name="T2" fmla="*/ 0 w 6"/>
                <a:gd name="T3" fmla="*/ 2 h 3"/>
                <a:gd name="T4" fmla="*/ 1 w 6"/>
                <a:gd name="T5" fmla="*/ 2 h 3"/>
                <a:gd name="T6" fmla="*/ 2 w 6"/>
                <a:gd name="T7" fmla="*/ 1 h 3"/>
                <a:gd name="T8" fmla="*/ 5 w 6"/>
                <a:gd name="T9" fmla="*/ 0 h 3"/>
                <a:gd name="T10" fmla="*/ 5 w 6"/>
                <a:gd name="T11" fmla="*/ 1 h 3"/>
                <a:gd name="T12" fmla="*/ 0 w 6"/>
                <a:gd name="T13" fmla="*/ 2 h 3"/>
                <a:gd name="T14" fmla="*/ 5 w 6"/>
                <a:gd name="T15" fmla="*/ 0 h 3"/>
                <a:gd name="T16" fmla="*/ 2 w 6"/>
                <a:gd name="T17" fmla="*/ 1 h 3"/>
                <a:gd name="T18" fmla="*/ 0 w 6"/>
                <a:gd name="T19" fmla="*/ 1 h 3"/>
                <a:gd name="T20" fmla="*/ 0 w 6"/>
                <a:gd name="T21" fmla="*/ 2 h 3"/>
                <a:gd name="T22" fmla="*/ 0 w 6"/>
                <a:gd name="T23" fmla="*/ 3 h 3"/>
                <a:gd name="T24" fmla="*/ 0 w 6"/>
                <a:gd name="T25" fmla="*/ 3 h 3"/>
                <a:gd name="T26" fmla="*/ 0 w 6"/>
                <a:gd name="T27" fmla="*/ 3 h 3"/>
                <a:gd name="T28" fmla="*/ 0 w 6"/>
                <a:gd name="T29" fmla="*/ 3 h 3"/>
                <a:gd name="T30" fmla="*/ 5 w 6"/>
                <a:gd name="T31" fmla="*/ 1 h 3"/>
                <a:gd name="T32" fmla="*/ 6 w 6"/>
                <a:gd name="T33" fmla="*/ 1 h 3"/>
                <a:gd name="T34" fmla="*/ 6 w 6"/>
                <a:gd name="T35" fmla="*/ 0 h 3"/>
                <a:gd name="T36" fmla="*/ 5 w 6"/>
                <a:gd name="T3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3">
                  <a:moveTo>
                    <a:pt x="0" y="2"/>
                  </a:moveTo>
                  <a:cubicBezTo>
                    <a:pt x="0" y="2"/>
                    <a:pt x="0" y="2"/>
                    <a:pt x="0" y="2"/>
                  </a:cubicBezTo>
                  <a:cubicBezTo>
                    <a:pt x="1" y="2"/>
                    <a:pt x="1" y="2"/>
                    <a:pt x="1" y="2"/>
                  </a:cubicBezTo>
                  <a:cubicBezTo>
                    <a:pt x="1" y="2"/>
                    <a:pt x="2" y="2"/>
                    <a:pt x="2" y="1"/>
                  </a:cubicBezTo>
                  <a:cubicBezTo>
                    <a:pt x="3" y="1"/>
                    <a:pt x="5" y="1"/>
                    <a:pt x="5" y="0"/>
                  </a:cubicBezTo>
                  <a:cubicBezTo>
                    <a:pt x="5" y="1"/>
                    <a:pt x="5" y="1"/>
                    <a:pt x="5" y="1"/>
                  </a:cubicBezTo>
                  <a:cubicBezTo>
                    <a:pt x="3" y="1"/>
                    <a:pt x="2" y="2"/>
                    <a:pt x="0" y="2"/>
                  </a:cubicBezTo>
                  <a:moveTo>
                    <a:pt x="5" y="0"/>
                  </a:moveTo>
                  <a:cubicBezTo>
                    <a:pt x="5" y="0"/>
                    <a:pt x="4" y="0"/>
                    <a:pt x="2" y="1"/>
                  </a:cubicBezTo>
                  <a:cubicBezTo>
                    <a:pt x="1" y="1"/>
                    <a:pt x="1" y="1"/>
                    <a:pt x="0" y="1"/>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2" y="3"/>
                    <a:pt x="4" y="2"/>
                    <a:pt x="5" y="1"/>
                  </a:cubicBezTo>
                  <a:cubicBezTo>
                    <a:pt x="6" y="1"/>
                    <a:pt x="6" y="1"/>
                    <a:pt x="6" y="1"/>
                  </a:cubicBezTo>
                  <a:cubicBezTo>
                    <a:pt x="6" y="1"/>
                    <a:pt x="6" y="0"/>
                    <a:pt x="6" y="0"/>
                  </a:cubicBezTo>
                  <a:cubicBezTo>
                    <a:pt x="6" y="0"/>
                    <a:pt x="5" y="0"/>
                    <a:pt x="5"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24" name="íśḷíďé"/>
            <p:cNvSpPr/>
            <p:nvPr/>
          </p:nvSpPr>
          <p:spPr bwMode="auto">
            <a:xfrm>
              <a:off x="3451" y="2358"/>
              <a:ext cx="12" cy="12"/>
            </a:xfrm>
            <a:custGeom>
              <a:avLst/>
              <a:gdLst>
                <a:gd name="T0" fmla="*/ 2 w 5"/>
                <a:gd name="T1" fmla="*/ 4 h 5"/>
                <a:gd name="T2" fmla="*/ 1 w 5"/>
                <a:gd name="T3" fmla="*/ 4 h 5"/>
                <a:gd name="T4" fmla="*/ 1 w 5"/>
                <a:gd name="T5" fmla="*/ 3 h 5"/>
                <a:gd name="T6" fmla="*/ 1 w 5"/>
                <a:gd name="T7" fmla="*/ 2 h 5"/>
                <a:gd name="T8" fmla="*/ 2 w 5"/>
                <a:gd name="T9" fmla="*/ 1 h 5"/>
                <a:gd name="T10" fmla="*/ 3 w 5"/>
                <a:gd name="T11" fmla="*/ 1 h 5"/>
                <a:gd name="T12" fmla="*/ 3 w 5"/>
                <a:gd name="T13" fmla="*/ 1 h 5"/>
                <a:gd name="T14" fmla="*/ 4 w 5"/>
                <a:gd name="T15" fmla="*/ 2 h 5"/>
                <a:gd name="T16" fmla="*/ 4 w 5"/>
                <a:gd name="T17" fmla="*/ 3 h 5"/>
                <a:gd name="T18" fmla="*/ 2 w 5"/>
                <a:gd name="T19" fmla="*/ 4 h 5"/>
                <a:gd name="T20" fmla="*/ 2 w 5"/>
                <a:gd name="T21" fmla="*/ 4 h 5"/>
                <a:gd name="T22" fmla="*/ 3 w 5"/>
                <a:gd name="T23" fmla="*/ 0 h 5"/>
                <a:gd name="T24" fmla="*/ 2 w 5"/>
                <a:gd name="T25" fmla="*/ 0 h 5"/>
                <a:gd name="T26" fmla="*/ 0 w 5"/>
                <a:gd name="T27" fmla="*/ 2 h 5"/>
                <a:gd name="T28" fmla="*/ 0 w 5"/>
                <a:gd name="T29" fmla="*/ 3 h 5"/>
                <a:gd name="T30" fmla="*/ 1 w 5"/>
                <a:gd name="T31" fmla="*/ 4 h 5"/>
                <a:gd name="T32" fmla="*/ 2 w 5"/>
                <a:gd name="T33" fmla="*/ 5 h 5"/>
                <a:gd name="T34" fmla="*/ 2 w 5"/>
                <a:gd name="T35" fmla="*/ 5 h 5"/>
                <a:gd name="T36" fmla="*/ 4 w 5"/>
                <a:gd name="T37" fmla="*/ 4 h 5"/>
                <a:gd name="T38" fmla="*/ 4 w 5"/>
                <a:gd name="T39" fmla="*/ 1 h 5"/>
                <a:gd name="T40" fmla="*/ 4 w 5"/>
                <a:gd name="T41" fmla="*/ 1 h 5"/>
                <a:gd name="T42" fmla="*/ 3 w 5"/>
                <a:gd name="T4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5">
                  <a:moveTo>
                    <a:pt x="2" y="4"/>
                  </a:moveTo>
                  <a:cubicBezTo>
                    <a:pt x="2" y="4"/>
                    <a:pt x="1" y="4"/>
                    <a:pt x="1" y="4"/>
                  </a:cubicBezTo>
                  <a:cubicBezTo>
                    <a:pt x="1" y="3"/>
                    <a:pt x="1" y="3"/>
                    <a:pt x="1" y="3"/>
                  </a:cubicBezTo>
                  <a:cubicBezTo>
                    <a:pt x="1" y="2"/>
                    <a:pt x="1" y="2"/>
                    <a:pt x="1" y="2"/>
                  </a:cubicBezTo>
                  <a:cubicBezTo>
                    <a:pt x="1" y="2"/>
                    <a:pt x="2" y="1"/>
                    <a:pt x="2" y="1"/>
                  </a:cubicBezTo>
                  <a:cubicBezTo>
                    <a:pt x="3" y="1"/>
                    <a:pt x="3" y="1"/>
                    <a:pt x="3" y="1"/>
                  </a:cubicBezTo>
                  <a:cubicBezTo>
                    <a:pt x="3" y="1"/>
                    <a:pt x="3" y="1"/>
                    <a:pt x="3" y="1"/>
                  </a:cubicBezTo>
                  <a:cubicBezTo>
                    <a:pt x="4" y="2"/>
                    <a:pt x="4" y="2"/>
                    <a:pt x="4" y="2"/>
                  </a:cubicBezTo>
                  <a:cubicBezTo>
                    <a:pt x="4" y="2"/>
                    <a:pt x="4" y="3"/>
                    <a:pt x="4" y="3"/>
                  </a:cubicBezTo>
                  <a:cubicBezTo>
                    <a:pt x="3" y="4"/>
                    <a:pt x="3" y="4"/>
                    <a:pt x="2" y="4"/>
                  </a:cubicBezTo>
                  <a:cubicBezTo>
                    <a:pt x="2" y="4"/>
                    <a:pt x="2" y="4"/>
                    <a:pt x="2" y="4"/>
                  </a:cubicBezTo>
                  <a:moveTo>
                    <a:pt x="3" y="0"/>
                  </a:moveTo>
                  <a:cubicBezTo>
                    <a:pt x="2" y="0"/>
                    <a:pt x="2" y="0"/>
                    <a:pt x="2" y="0"/>
                  </a:cubicBezTo>
                  <a:cubicBezTo>
                    <a:pt x="1" y="0"/>
                    <a:pt x="1" y="1"/>
                    <a:pt x="0" y="2"/>
                  </a:cubicBezTo>
                  <a:cubicBezTo>
                    <a:pt x="0" y="3"/>
                    <a:pt x="0" y="3"/>
                    <a:pt x="0" y="3"/>
                  </a:cubicBezTo>
                  <a:cubicBezTo>
                    <a:pt x="0" y="3"/>
                    <a:pt x="0" y="4"/>
                    <a:pt x="1" y="4"/>
                  </a:cubicBezTo>
                  <a:cubicBezTo>
                    <a:pt x="1" y="5"/>
                    <a:pt x="1" y="5"/>
                    <a:pt x="2" y="5"/>
                  </a:cubicBezTo>
                  <a:cubicBezTo>
                    <a:pt x="2" y="5"/>
                    <a:pt x="2" y="5"/>
                    <a:pt x="2" y="5"/>
                  </a:cubicBezTo>
                  <a:cubicBezTo>
                    <a:pt x="3" y="5"/>
                    <a:pt x="4" y="4"/>
                    <a:pt x="4" y="4"/>
                  </a:cubicBezTo>
                  <a:cubicBezTo>
                    <a:pt x="5" y="3"/>
                    <a:pt x="5" y="2"/>
                    <a:pt x="4" y="1"/>
                  </a:cubicBezTo>
                  <a:cubicBezTo>
                    <a:pt x="4" y="1"/>
                    <a:pt x="4" y="1"/>
                    <a:pt x="4" y="1"/>
                  </a:cubicBezTo>
                  <a:cubicBezTo>
                    <a:pt x="3" y="0"/>
                    <a:pt x="3"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25" name="îslïḓè"/>
            <p:cNvSpPr/>
            <p:nvPr/>
          </p:nvSpPr>
          <p:spPr bwMode="auto">
            <a:xfrm>
              <a:off x="3403" y="2282"/>
              <a:ext cx="81" cy="102"/>
            </a:xfrm>
            <a:custGeom>
              <a:avLst/>
              <a:gdLst>
                <a:gd name="T0" fmla="*/ 14 w 34"/>
                <a:gd name="T1" fmla="*/ 42 h 43"/>
                <a:gd name="T2" fmla="*/ 15 w 34"/>
                <a:gd name="T3" fmla="*/ 42 h 43"/>
                <a:gd name="T4" fmla="*/ 15 w 34"/>
                <a:gd name="T5" fmla="*/ 42 h 43"/>
                <a:gd name="T6" fmla="*/ 16 w 34"/>
                <a:gd name="T7" fmla="*/ 42 h 43"/>
                <a:gd name="T8" fmla="*/ 18 w 34"/>
                <a:gd name="T9" fmla="*/ 41 h 43"/>
                <a:gd name="T10" fmla="*/ 17 w 34"/>
                <a:gd name="T11" fmla="*/ 42 h 43"/>
                <a:gd name="T12" fmla="*/ 18 w 34"/>
                <a:gd name="T13" fmla="*/ 42 h 43"/>
                <a:gd name="T14" fmla="*/ 19 w 34"/>
                <a:gd name="T15" fmla="*/ 40 h 43"/>
                <a:gd name="T16" fmla="*/ 19 w 34"/>
                <a:gd name="T17" fmla="*/ 41 h 43"/>
                <a:gd name="T18" fmla="*/ 20 w 34"/>
                <a:gd name="T19" fmla="*/ 41 h 43"/>
                <a:gd name="T20" fmla="*/ 20 w 34"/>
                <a:gd name="T21" fmla="*/ 40 h 43"/>
                <a:gd name="T22" fmla="*/ 21 w 34"/>
                <a:gd name="T23" fmla="*/ 39 h 43"/>
                <a:gd name="T24" fmla="*/ 20 w 34"/>
                <a:gd name="T25" fmla="*/ 41 h 43"/>
                <a:gd name="T26" fmla="*/ 22 w 34"/>
                <a:gd name="T27" fmla="*/ 39 h 43"/>
                <a:gd name="T28" fmla="*/ 24 w 34"/>
                <a:gd name="T29" fmla="*/ 38 h 43"/>
                <a:gd name="T30" fmla="*/ 21 w 34"/>
                <a:gd name="T31" fmla="*/ 40 h 43"/>
                <a:gd name="T32" fmla="*/ 25 w 34"/>
                <a:gd name="T33" fmla="*/ 38 h 43"/>
                <a:gd name="T34" fmla="*/ 27 w 34"/>
                <a:gd name="T35" fmla="*/ 38 h 43"/>
                <a:gd name="T36" fmla="*/ 28 w 34"/>
                <a:gd name="T37" fmla="*/ 38 h 43"/>
                <a:gd name="T38" fmla="*/ 30 w 34"/>
                <a:gd name="T39" fmla="*/ 36 h 43"/>
                <a:gd name="T40" fmla="*/ 28 w 34"/>
                <a:gd name="T41" fmla="*/ 38 h 43"/>
                <a:gd name="T42" fmla="*/ 30 w 34"/>
                <a:gd name="T43" fmla="*/ 36 h 43"/>
                <a:gd name="T44" fmla="*/ 31 w 34"/>
                <a:gd name="T45" fmla="*/ 36 h 43"/>
                <a:gd name="T46" fmla="*/ 30 w 34"/>
                <a:gd name="T47" fmla="*/ 37 h 43"/>
                <a:gd name="T48" fmla="*/ 32 w 34"/>
                <a:gd name="T49" fmla="*/ 35 h 43"/>
                <a:gd name="T50" fmla="*/ 32 w 34"/>
                <a:gd name="T51" fmla="*/ 35 h 43"/>
                <a:gd name="T52" fmla="*/ 33 w 34"/>
                <a:gd name="T53" fmla="*/ 35 h 43"/>
                <a:gd name="T54" fmla="*/ 15 w 34"/>
                <a:gd name="T55" fmla="*/ 41 h 43"/>
                <a:gd name="T56" fmla="*/ 11 w 34"/>
                <a:gd name="T57" fmla="*/ 36 h 43"/>
                <a:gd name="T58" fmla="*/ 2 w 34"/>
                <a:gd name="T59" fmla="*/ 13 h 43"/>
                <a:gd name="T60" fmla="*/ 4 w 34"/>
                <a:gd name="T61" fmla="*/ 7 h 43"/>
                <a:gd name="T62" fmla="*/ 19 w 34"/>
                <a:gd name="T63" fmla="*/ 1 h 43"/>
                <a:gd name="T64" fmla="*/ 31 w 34"/>
                <a:gd name="T65" fmla="*/ 28 h 43"/>
                <a:gd name="T66" fmla="*/ 32 w 34"/>
                <a:gd name="T67" fmla="*/ 31 h 43"/>
                <a:gd name="T68" fmla="*/ 32 w 34"/>
                <a:gd name="T69" fmla="*/ 31 h 43"/>
                <a:gd name="T70" fmla="*/ 29 w 34"/>
                <a:gd name="T71" fmla="*/ 35 h 43"/>
                <a:gd name="T72" fmla="*/ 15 w 34"/>
                <a:gd name="T73" fmla="*/ 41 h 43"/>
                <a:gd name="T74" fmla="*/ 19 w 34"/>
                <a:gd name="T75" fmla="*/ 0 h 43"/>
                <a:gd name="T76" fmla="*/ 4 w 34"/>
                <a:gd name="T77" fmla="*/ 6 h 43"/>
                <a:gd name="T78" fmla="*/ 2 w 34"/>
                <a:gd name="T79" fmla="*/ 14 h 43"/>
                <a:gd name="T80" fmla="*/ 11 w 34"/>
                <a:gd name="T81" fmla="*/ 37 h 43"/>
                <a:gd name="T82" fmla="*/ 14 w 34"/>
                <a:gd name="T83" fmla="*/ 43 h 43"/>
                <a:gd name="T84" fmla="*/ 15 w 34"/>
                <a:gd name="T85" fmla="*/ 43 h 43"/>
                <a:gd name="T86" fmla="*/ 15 w 34"/>
                <a:gd name="T87" fmla="*/ 43 h 43"/>
                <a:gd name="T88" fmla="*/ 31 w 34"/>
                <a:gd name="T89" fmla="*/ 37 h 43"/>
                <a:gd name="T90" fmla="*/ 33 w 34"/>
                <a:gd name="T91" fmla="*/ 32 h 43"/>
                <a:gd name="T92" fmla="*/ 32 w 34"/>
                <a:gd name="T93" fmla="*/ 28 h 43"/>
                <a:gd name="T94" fmla="*/ 19 w 34"/>
                <a:gd name="T9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 h="43">
                  <a:moveTo>
                    <a:pt x="15" y="42"/>
                  </a:moveTo>
                  <a:cubicBezTo>
                    <a:pt x="15" y="42"/>
                    <a:pt x="14" y="42"/>
                    <a:pt x="14" y="42"/>
                  </a:cubicBezTo>
                  <a:cubicBezTo>
                    <a:pt x="14" y="42"/>
                    <a:pt x="14" y="42"/>
                    <a:pt x="13" y="41"/>
                  </a:cubicBezTo>
                  <a:cubicBezTo>
                    <a:pt x="14" y="42"/>
                    <a:pt x="14" y="42"/>
                    <a:pt x="15" y="42"/>
                  </a:cubicBezTo>
                  <a:cubicBezTo>
                    <a:pt x="15" y="42"/>
                    <a:pt x="15" y="42"/>
                    <a:pt x="15" y="42"/>
                  </a:cubicBezTo>
                  <a:cubicBezTo>
                    <a:pt x="15" y="42"/>
                    <a:pt x="15" y="42"/>
                    <a:pt x="15" y="42"/>
                  </a:cubicBezTo>
                  <a:cubicBezTo>
                    <a:pt x="15" y="42"/>
                    <a:pt x="15" y="42"/>
                    <a:pt x="15" y="42"/>
                  </a:cubicBezTo>
                  <a:moveTo>
                    <a:pt x="16" y="42"/>
                  </a:moveTo>
                  <a:cubicBezTo>
                    <a:pt x="16" y="41"/>
                    <a:pt x="16" y="41"/>
                    <a:pt x="16" y="41"/>
                  </a:cubicBezTo>
                  <a:cubicBezTo>
                    <a:pt x="17" y="41"/>
                    <a:pt x="17" y="41"/>
                    <a:pt x="18" y="41"/>
                  </a:cubicBezTo>
                  <a:cubicBezTo>
                    <a:pt x="17" y="42"/>
                    <a:pt x="17" y="42"/>
                    <a:pt x="17" y="42"/>
                  </a:cubicBezTo>
                  <a:cubicBezTo>
                    <a:pt x="17" y="42"/>
                    <a:pt x="17" y="42"/>
                    <a:pt x="17" y="42"/>
                  </a:cubicBezTo>
                  <a:cubicBezTo>
                    <a:pt x="17" y="42"/>
                    <a:pt x="16" y="42"/>
                    <a:pt x="16" y="42"/>
                  </a:cubicBezTo>
                  <a:moveTo>
                    <a:pt x="18" y="42"/>
                  </a:moveTo>
                  <a:cubicBezTo>
                    <a:pt x="18" y="41"/>
                    <a:pt x="18" y="41"/>
                    <a:pt x="18" y="41"/>
                  </a:cubicBezTo>
                  <a:cubicBezTo>
                    <a:pt x="19" y="40"/>
                    <a:pt x="19" y="40"/>
                    <a:pt x="19" y="40"/>
                  </a:cubicBezTo>
                  <a:cubicBezTo>
                    <a:pt x="19" y="41"/>
                    <a:pt x="19" y="41"/>
                    <a:pt x="19" y="41"/>
                  </a:cubicBezTo>
                  <a:cubicBezTo>
                    <a:pt x="19" y="41"/>
                    <a:pt x="19" y="41"/>
                    <a:pt x="19" y="41"/>
                  </a:cubicBezTo>
                  <a:cubicBezTo>
                    <a:pt x="19" y="41"/>
                    <a:pt x="18" y="42"/>
                    <a:pt x="18" y="42"/>
                  </a:cubicBezTo>
                  <a:moveTo>
                    <a:pt x="20" y="41"/>
                  </a:moveTo>
                  <a:cubicBezTo>
                    <a:pt x="20" y="41"/>
                    <a:pt x="20" y="41"/>
                    <a:pt x="20" y="41"/>
                  </a:cubicBezTo>
                  <a:cubicBezTo>
                    <a:pt x="20" y="40"/>
                    <a:pt x="20" y="40"/>
                    <a:pt x="20" y="40"/>
                  </a:cubicBezTo>
                  <a:cubicBezTo>
                    <a:pt x="20" y="40"/>
                    <a:pt x="20" y="40"/>
                    <a:pt x="20" y="40"/>
                  </a:cubicBezTo>
                  <a:cubicBezTo>
                    <a:pt x="20" y="40"/>
                    <a:pt x="21" y="40"/>
                    <a:pt x="21" y="39"/>
                  </a:cubicBezTo>
                  <a:cubicBezTo>
                    <a:pt x="21" y="40"/>
                    <a:pt x="21" y="40"/>
                    <a:pt x="21" y="41"/>
                  </a:cubicBezTo>
                  <a:cubicBezTo>
                    <a:pt x="20" y="41"/>
                    <a:pt x="20" y="41"/>
                    <a:pt x="20" y="41"/>
                  </a:cubicBezTo>
                  <a:moveTo>
                    <a:pt x="21" y="40"/>
                  </a:moveTo>
                  <a:cubicBezTo>
                    <a:pt x="22" y="40"/>
                    <a:pt x="22" y="40"/>
                    <a:pt x="22" y="39"/>
                  </a:cubicBezTo>
                  <a:cubicBezTo>
                    <a:pt x="23" y="39"/>
                    <a:pt x="23" y="39"/>
                    <a:pt x="24" y="39"/>
                  </a:cubicBezTo>
                  <a:cubicBezTo>
                    <a:pt x="24" y="38"/>
                    <a:pt x="24" y="38"/>
                    <a:pt x="24" y="38"/>
                  </a:cubicBezTo>
                  <a:cubicBezTo>
                    <a:pt x="24" y="39"/>
                    <a:pt x="24" y="39"/>
                    <a:pt x="24" y="39"/>
                  </a:cubicBezTo>
                  <a:cubicBezTo>
                    <a:pt x="23" y="40"/>
                    <a:pt x="22" y="40"/>
                    <a:pt x="21" y="40"/>
                  </a:cubicBezTo>
                  <a:moveTo>
                    <a:pt x="24" y="39"/>
                  </a:moveTo>
                  <a:cubicBezTo>
                    <a:pt x="25" y="39"/>
                    <a:pt x="25" y="38"/>
                    <a:pt x="25" y="38"/>
                  </a:cubicBezTo>
                  <a:cubicBezTo>
                    <a:pt x="26" y="38"/>
                    <a:pt x="27" y="37"/>
                    <a:pt x="27" y="37"/>
                  </a:cubicBezTo>
                  <a:cubicBezTo>
                    <a:pt x="27" y="37"/>
                    <a:pt x="27" y="38"/>
                    <a:pt x="27" y="38"/>
                  </a:cubicBezTo>
                  <a:cubicBezTo>
                    <a:pt x="26" y="39"/>
                    <a:pt x="25" y="39"/>
                    <a:pt x="24" y="39"/>
                  </a:cubicBezTo>
                  <a:moveTo>
                    <a:pt x="28" y="38"/>
                  </a:moveTo>
                  <a:cubicBezTo>
                    <a:pt x="28" y="38"/>
                    <a:pt x="28" y="37"/>
                    <a:pt x="28" y="37"/>
                  </a:cubicBezTo>
                  <a:cubicBezTo>
                    <a:pt x="28" y="37"/>
                    <a:pt x="29" y="36"/>
                    <a:pt x="30" y="36"/>
                  </a:cubicBezTo>
                  <a:cubicBezTo>
                    <a:pt x="29" y="37"/>
                    <a:pt x="29" y="37"/>
                    <a:pt x="29" y="37"/>
                  </a:cubicBezTo>
                  <a:cubicBezTo>
                    <a:pt x="29" y="38"/>
                    <a:pt x="28" y="38"/>
                    <a:pt x="28" y="38"/>
                  </a:cubicBezTo>
                  <a:moveTo>
                    <a:pt x="30" y="37"/>
                  </a:moveTo>
                  <a:cubicBezTo>
                    <a:pt x="30" y="36"/>
                    <a:pt x="30" y="36"/>
                    <a:pt x="30" y="36"/>
                  </a:cubicBezTo>
                  <a:cubicBezTo>
                    <a:pt x="31" y="36"/>
                    <a:pt x="31" y="36"/>
                    <a:pt x="31" y="35"/>
                  </a:cubicBezTo>
                  <a:cubicBezTo>
                    <a:pt x="31" y="36"/>
                    <a:pt x="31" y="36"/>
                    <a:pt x="31" y="36"/>
                  </a:cubicBezTo>
                  <a:cubicBezTo>
                    <a:pt x="31" y="37"/>
                    <a:pt x="31" y="37"/>
                    <a:pt x="31" y="37"/>
                  </a:cubicBezTo>
                  <a:cubicBezTo>
                    <a:pt x="30" y="37"/>
                    <a:pt x="30" y="37"/>
                    <a:pt x="30" y="37"/>
                  </a:cubicBezTo>
                  <a:moveTo>
                    <a:pt x="32" y="36"/>
                  </a:moveTo>
                  <a:cubicBezTo>
                    <a:pt x="32" y="36"/>
                    <a:pt x="32" y="35"/>
                    <a:pt x="32" y="35"/>
                  </a:cubicBezTo>
                  <a:cubicBezTo>
                    <a:pt x="32" y="35"/>
                    <a:pt x="32" y="35"/>
                    <a:pt x="32" y="35"/>
                  </a:cubicBezTo>
                  <a:cubicBezTo>
                    <a:pt x="32" y="35"/>
                    <a:pt x="32" y="35"/>
                    <a:pt x="32" y="35"/>
                  </a:cubicBezTo>
                  <a:cubicBezTo>
                    <a:pt x="33" y="34"/>
                    <a:pt x="33" y="34"/>
                    <a:pt x="33" y="34"/>
                  </a:cubicBezTo>
                  <a:cubicBezTo>
                    <a:pt x="33" y="35"/>
                    <a:pt x="33" y="35"/>
                    <a:pt x="33" y="35"/>
                  </a:cubicBezTo>
                  <a:cubicBezTo>
                    <a:pt x="32" y="35"/>
                    <a:pt x="32" y="36"/>
                    <a:pt x="32" y="36"/>
                  </a:cubicBezTo>
                  <a:moveTo>
                    <a:pt x="15" y="41"/>
                  </a:moveTo>
                  <a:cubicBezTo>
                    <a:pt x="13" y="41"/>
                    <a:pt x="12" y="39"/>
                    <a:pt x="11" y="37"/>
                  </a:cubicBezTo>
                  <a:cubicBezTo>
                    <a:pt x="11" y="36"/>
                    <a:pt x="11" y="36"/>
                    <a:pt x="11" y="36"/>
                  </a:cubicBezTo>
                  <a:cubicBezTo>
                    <a:pt x="3" y="14"/>
                    <a:pt x="3" y="14"/>
                    <a:pt x="3" y="14"/>
                  </a:cubicBezTo>
                  <a:cubicBezTo>
                    <a:pt x="2" y="13"/>
                    <a:pt x="2" y="13"/>
                    <a:pt x="2" y="13"/>
                  </a:cubicBezTo>
                  <a:cubicBezTo>
                    <a:pt x="2" y="12"/>
                    <a:pt x="1" y="10"/>
                    <a:pt x="2" y="9"/>
                  </a:cubicBezTo>
                  <a:cubicBezTo>
                    <a:pt x="2" y="8"/>
                    <a:pt x="3" y="7"/>
                    <a:pt x="4" y="7"/>
                  </a:cubicBezTo>
                  <a:cubicBezTo>
                    <a:pt x="17" y="2"/>
                    <a:pt x="17" y="2"/>
                    <a:pt x="17" y="2"/>
                  </a:cubicBezTo>
                  <a:cubicBezTo>
                    <a:pt x="18" y="1"/>
                    <a:pt x="19" y="1"/>
                    <a:pt x="19" y="1"/>
                  </a:cubicBezTo>
                  <a:cubicBezTo>
                    <a:pt x="20" y="1"/>
                    <a:pt x="21" y="2"/>
                    <a:pt x="22" y="5"/>
                  </a:cubicBezTo>
                  <a:cubicBezTo>
                    <a:pt x="31" y="28"/>
                    <a:pt x="31" y="28"/>
                    <a:pt x="31" y="28"/>
                  </a:cubicBezTo>
                  <a:cubicBezTo>
                    <a:pt x="31" y="29"/>
                    <a:pt x="31" y="29"/>
                    <a:pt x="31" y="29"/>
                  </a:cubicBezTo>
                  <a:cubicBezTo>
                    <a:pt x="31" y="30"/>
                    <a:pt x="32" y="30"/>
                    <a:pt x="32" y="31"/>
                  </a:cubicBezTo>
                  <a:cubicBezTo>
                    <a:pt x="32" y="31"/>
                    <a:pt x="32" y="31"/>
                    <a:pt x="32" y="31"/>
                  </a:cubicBezTo>
                  <a:cubicBezTo>
                    <a:pt x="32" y="31"/>
                    <a:pt x="32" y="31"/>
                    <a:pt x="32" y="31"/>
                  </a:cubicBezTo>
                  <a:cubicBezTo>
                    <a:pt x="32" y="32"/>
                    <a:pt x="32" y="33"/>
                    <a:pt x="32" y="33"/>
                  </a:cubicBezTo>
                  <a:cubicBezTo>
                    <a:pt x="31" y="34"/>
                    <a:pt x="31" y="35"/>
                    <a:pt x="29" y="35"/>
                  </a:cubicBezTo>
                  <a:cubicBezTo>
                    <a:pt x="27" y="36"/>
                    <a:pt x="25" y="37"/>
                    <a:pt x="23" y="38"/>
                  </a:cubicBezTo>
                  <a:cubicBezTo>
                    <a:pt x="21" y="39"/>
                    <a:pt x="18" y="40"/>
                    <a:pt x="15" y="41"/>
                  </a:cubicBezTo>
                  <a:cubicBezTo>
                    <a:pt x="15" y="41"/>
                    <a:pt x="15" y="41"/>
                    <a:pt x="15" y="41"/>
                  </a:cubicBezTo>
                  <a:moveTo>
                    <a:pt x="19" y="0"/>
                  </a:moveTo>
                  <a:cubicBezTo>
                    <a:pt x="18" y="0"/>
                    <a:pt x="18" y="1"/>
                    <a:pt x="17" y="1"/>
                  </a:cubicBezTo>
                  <a:cubicBezTo>
                    <a:pt x="4" y="6"/>
                    <a:pt x="4" y="6"/>
                    <a:pt x="4" y="6"/>
                  </a:cubicBezTo>
                  <a:cubicBezTo>
                    <a:pt x="2" y="7"/>
                    <a:pt x="1" y="7"/>
                    <a:pt x="1" y="8"/>
                  </a:cubicBezTo>
                  <a:cubicBezTo>
                    <a:pt x="0" y="10"/>
                    <a:pt x="1" y="12"/>
                    <a:pt x="2" y="14"/>
                  </a:cubicBezTo>
                  <a:cubicBezTo>
                    <a:pt x="10" y="36"/>
                    <a:pt x="10" y="36"/>
                    <a:pt x="10" y="36"/>
                  </a:cubicBezTo>
                  <a:cubicBezTo>
                    <a:pt x="11" y="37"/>
                    <a:pt x="11" y="37"/>
                    <a:pt x="11" y="37"/>
                  </a:cubicBezTo>
                  <a:cubicBezTo>
                    <a:pt x="11" y="38"/>
                    <a:pt x="11" y="39"/>
                    <a:pt x="12" y="39"/>
                  </a:cubicBezTo>
                  <a:cubicBezTo>
                    <a:pt x="12" y="41"/>
                    <a:pt x="13" y="42"/>
                    <a:pt x="14" y="43"/>
                  </a:cubicBezTo>
                  <a:cubicBezTo>
                    <a:pt x="14" y="43"/>
                    <a:pt x="14" y="43"/>
                    <a:pt x="15" y="43"/>
                  </a:cubicBezTo>
                  <a:cubicBezTo>
                    <a:pt x="15" y="43"/>
                    <a:pt x="15" y="43"/>
                    <a:pt x="15" y="43"/>
                  </a:cubicBezTo>
                  <a:cubicBezTo>
                    <a:pt x="15" y="43"/>
                    <a:pt x="15" y="43"/>
                    <a:pt x="15" y="43"/>
                  </a:cubicBezTo>
                  <a:cubicBezTo>
                    <a:pt x="15" y="43"/>
                    <a:pt x="15" y="43"/>
                    <a:pt x="15" y="43"/>
                  </a:cubicBezTo>
                  <a:cubicBezTo>
                    <a:pt x="16" y="43"/>
                    <a:pt x="17" y="43"/>
                    <a:pt x="17" y="43"/>
                  </a:cubicBezTo>
                  <a:cubicBezTo>
                    <a:pt x="21" y="42"/>
                    <a:pt x="25" y="40"/>
                    <a:pt x="31" y="37"/>
                  </a:cubicBezTo>
                  <a:cubicBezTo>
                    <a:pt x="32" y="37"/>
                    <a:pt x="33" y="36"/>
                    <a:pt x="33" y="35"/>
                  </a:cubicBezTo>
                  <a:cubicBezTo>
                    <a:pt x="34" y="34"/>
                    <a:pt x="33" y="33"/>
                    <a:pt x="33" y="32"/>
                  </a:cubicBezTo>
                  <a:cubicBezTo>
                    <a:pt x="33" y="31"/>
                    <a:pt x="33" y="31"/>
                    <a:pt x="33" y="31"/>
                  </a:cubicBezTo>
                  <a:cubicBezTo>
                    <a:pt x="32" y="30"/>
                    <a:pt x="32" y="29"/>
                    <a:pt x="32" y="28"/>
                  </a:cubicBezTo>
                  <a:cubicBezTo>
                    <a:pt x="23" y="5"/>
                    <a:pt x="23" y="5"/>
                    <a:pt x="23" y="5"/>
                  </a:cubicBezTo>
                  <a:cubicBezTo>
                    <a:pt x="22" y="2"/>
                    <a:pt x="21" y="0"/>
                    <a:pt x="19"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26" name="îṡliḋê"/>
            <p:cNvSpPr/>
            <p:nvPr/>
          </p:nvSpPr>
          <p:spPr bwMode="auto">
            <a:xfrm>
              <a:off x="3411" y="2232"/>
              <a:ext cx="23" cy="33"/>
            </a:xfrm>
            <a:custGeom>
              <a:avLst/>
              <a:gdLst>
                <a:gd name="T0" fmla="*/ 7 w 10"/>
                <a:gd name="T1" fmla="*/ 11 h 14"/>
                <a:gd name="T2" fmla="*/ 6 w 10"/>
                <a:gd name="T3" fmla="*/ 8 h 14"/>
                <a:gd name="T4" fmla="*/ 7 w 10"/>
                <a:gd name="T5" fmla="*/ 9 h 14"/>
                <a:gd name="T6" fmla="*/ 8 w 10"/>
                <a:gd name="T7" fmla="*/ 10 h 14"/>
                <a:gd name="T8" fmla="*/ 8 w 10"/>
                <a:gd name="T9" fmla="*/ 11 h 14"/>
                <a:gd name="T10" fmla="*/ 7 w 10"/>
                <a:gd name="T11" fmla="*/ 11 h 14"/>
                <a:gd name="T12" fmla="*/ 4 w 10"/>
                <a:gd name="T13" fmla="*/ 6 h 14"/>
                <a:gd name="T14" fmla="*/ 3 w 10"/>
                <a:gd name="T15" fmla="*/ 6 h 14"/>
                <a:gd name="T16" fmla="*/ 2 w 10"/>
                <a:gd name="T17" fmla="*/ 5 h 14"/>
                <a:gd name="T18" fmla="*/ 3 w 10"/>
                <a:gd name="T19" fmla="*/ 3 h 14"/>
                <a:gd name="T20" fmla="*/ 4 w 10"/>
                <a:gd name="T21" fmla="*/ 6 h 14"/>
                <a:gd name="T22" fmla="*/ 3 w 10"/>
                <a:gd name="T23" fmla="*/ 0 h 14"/>
                <a:gd name="T24" fmla="*/ 2 w 10"/>
                <a:gd name="T25" fmla="*/ 1 h 14"/>
                <a:gd name="T26" fmla="*/ 2 w 10"/>
                <a:gd name="T27" fmla="*/ 2 h 14"/>
                <a:gd name="T28" fmla="*/ 1 w 10"/>
                <a:gd name="T29" fmla="*/ 4 h 14"/>
                <a:gd name="T30" fmla="*/ 4 w 10"/>
                <a:gd name="T31" fmla="*/ 8 h 14"/>
                <a:gd name="T32" fmla="*/ 6 w 10"/>
                <a:gd name="T33" fmla="*/ 11 h 14"/>
                <a:gd name="T34" fmla="*/ 5 w 10"/>
                <a:gd name="T35" fmla="*/ 12 h 14"/>
                <a:gd name="T36" fmla="*/ 2 w 10"/>
                <a:gd name="T37" fmla="*/ 11 h 14"/>
                <a:gd name="T38" fmla="*/ 2 w 10"/>
                <a:gd name="T39" fmla="*/ 13 h 14"/>
                <a:gd name="T40" fmla="*/ 4 w 10"/>
                <a:gd name="T41" fmla="*/ 13 h 14"/>
                <a:gd name="T42" fmla="*/ 6 w 10"/>
                <a:gd name="T43" fmla="*/ 13 h 14"/>
                <a:gd name="T44" fmla="*/ 7 w 10"/>
                <a:gd name="T45" fmla="*/ 14 h 14"/>
                <a:gd name="T46" fmla="*/ 8 w 10"/>
                <a:gd name="T47" fmla="*/ 14 h 14"/>
                <a:gd name="T48" fmla="*/ 8 w 10"/>
                <a:gd name="T49" fmla="*/ 13 h 14"/>
                <a:gd name="T50" fmla="*/ 8 w 10"/>
                <a:gd name="T51" fmla="*/ 12 h 14"/>
                <a:gd name="T52" fmla="*/ 10 w 10"/>
                <a:gd name="T53" fmla="*/ 10 h 14"/>
                <a:gd name="T54" fmla="*/ 10 w 10"/>
                <a:gd name="T55" fmla="*/ 8 h 14"/>
                <a:gd name="T56" fmla="*/ 8 w 10"/>
                <a:gd name="T57" fmla="*/ 7 h 14"/>
                <a:gd name="T58" fmla="*/ 6 w 10"/>
                <a:gd name="T59" fmla="*/ 6 h 14"/>
                <a:gd name="T60" fmla="*/ 5 w 10"/>
                <a:gd name="T61" fmla="*/ 6 h 14"/>
                <a:gd name="T62" fmla="*/ 4 w 10"/>
                <a:gd name="T63" fmla="*/ 3 h 14"/>
                <a:gd name="T64" fmla="*/ 4 w 10"/>
                <a:gd name="T65" fmla="*/ 3 h 14"/>
                <a:gd name="T66" fmla="*/ 7 w 10"/>
                <a:gd name="T67" fmla="*/ 4 h 14"/>
                <a:gd name="T68" fmla="*/ 7 w 10"/>
                <a:gd name="T69" fmla="*/ 4 h 14"/>
                <a:gd name="T70" fmla="*/ 7 w 10"/>
                <a:gd name="T71" fmla="*/ 3 h 14"/>
                <a:gd name="T72" fmla="*/ 8 w 10"/>
                <a:gd name="T73" fmla="*/ 2 h 14"/>
                <a:gd name="T74" fmla="*/ 8 w 10"/>
                <a:gd name="T75" fmla="*/ 2 h 14"/>
                <a:gd name="T76" fmla="*/ 5 w 10"/>
                <a:gd name="T77" fmla="*/ 1 h 14"/>
                <a:gd name="T78" fmla="*/ 4 w 10"/>
                <a:gd name="T79" fmla="*/ 1 h 14"/>
                <a:gd name="T80" fmla="*/ 3 w 10"/>
                <a:gd name="T8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4">
                  <a:moveTo>
                    <a:pt x="7" y="11"/>
                  </a:moveTo>
                  <a:cubicBezTo>
                    <a:pt x="7" y="10"/>
                    <a:pt x="6" y="9"/>
                    <a:pt x="6" y="8"/>
                  </a:cubicBezTo>
                  <a:cubicBezTo>
                    <a:pt x="7" y="8"/>
                    <a:pt x="7" y="8"/>
                    <a:pt x="7" y="9"/>
                  </a:cubicBezTo>
                  <a:cubicBezTo>
                    <a:pt x="8" y="9"/>
                    <a:pt x="8" y="9"/>
                    <a:pt x="8" y="10"/>
                  </a:cubicBezTo>
                  <a:cubicBezTo>
                    <a:pt x="8" y="10"/>
                    <a:pt x="8" y="11"/>
                    <a:pt x="8" y="11"/>
                  </a:cubicBezTo>
                  <a:cubicBezTo>
                    <a:pt x="7" y="11"/>
                    <a:pt x="7" y="11"/>
                    <a:pt x="7" y="11"/>
                  </a:cubicBezTo>
                  <a:moveTo>
                    <a:pt x="4" y="6"/>
                  </a:moveTo>
                  <a:cubicBezTo>
                    <a:pt x="3" y="6"/>
                    <a:pt x="3" y="6"/>
                    <a:pt x="3" y="6"/>
                  </a:cubicBezTo>
                  <a:cubicBezTo>
                    <a:pt x="3" y="6"/>
                    <a:pt x="2" y="6"/>
                    <a:pt x="2" y="5"/>
                  </a:cubicBezTo>
                  <a:cubicBezTo>
                    <a:pt x="2" y="4"/>
                    <a:pt x="2" y="4"/>
                    <a:pt x="3" y="3"/>
                  </a:cubicBezTo>
                  <a:cubicBezTo>
                    <a:pt x="3" y="4"/>
                    <a:pt x="3" y="5"/>
                    <a:pt x="4" y="6"/>
                  </a:cubicBezTo>
                  <a:moveTo>
                    <a:pt x="3" y="0"/>
                  </a:moveTo>
                  <a:cubicBezTo>
                    <a:pt x="3" y="0"/>
                    <a:pt x="2" y="0"/>
                    <a:pt x="2" y="1"/>
                  </a:cubicBezTo>
                  <a:cubicBezTo>
                    <a:pt x="2" y="1"/>
                    <a:pt x="2" y="2"/>
                    <a:pt x="2" y="2"/>
                  </a:cubicBezTo>
                  <a:cubicBezTo>
                    <a:pt x="2" y="3"/>
                    <a:pt x="1" y="3"/>
                    <a:pt x="1" y="4"/>
                  </a:cubicBezTo>
                  <a:cubicBezTo>
                    <a:pt x="0" y="5"/>
                    <a:pt x="0" y="8"/>
                    <a:pt x="4" y="8"/>
                  </a:cubicBezTo>
                  <a:cubicBezTo>
                    <a:pt x="5" y="9"/>
                    <a:pt x="5" y="10"/>
                    <a:pt x="6" y="11"/>
                  </a:cubicBezTo>
                  <a:cubicBezTo>
                    <a:pt x="6" y="12"/>
                    <a:pt x="5" y="12"/>
                    <a:pt x="5" y="12"/>
                  </a:cubicBezTo>
                  <a:cubicBezTo>
                    <a:pt x="4" y="12"/>
                    <a:pt x="3" y="11"/>
                    <a:pt x="2" y="11"/>
                  </a:cubicBezTo>
                  <a:cubicBezTo>
                    <a:pt x="2" y="12"/>
                    <a:pt x="2" y="12"/>
                    <a:pt x="2" y="13"/>
                  </a:cubicBezTo>
                  <a:cubicBezTo>
                    <a:pt x="2" y="13"/>
                    <a:pt x="3" y="13"/>
                    <a:pt x="4" y="13"/>
                  </a:cubicBezTo>
                  <a:cubicBezTo>
                    <a:pt x="5" y="13"/>
                    <a:pt x="6" y="13"/>
                    <a:pt x="6" y="13"/>
                  </a:cubicBezTo>
                  <a:cubicBezTo>
                    <a:pt x="6" y="13"/>
                    <a:pt x="7" y="14"/>
                    <a:pt x="7" y="14"/>
                  </a:cubicBezTo>
                  <a:cubicBezTo>
                    <a:pt x="7" y="14"/>
                    <a:pt x="8" y="14"/>
                    <a:pt x="8" y="14"/>
                  </a:cubicBezTo>
                  <a:cubicBezTo>
                    <a:pt x="8" y="13"/>
                    <a:pt x="8" y="13"/>
                    <a:pt x="8" y="13"/>
                  </a:cubicBezTo>
                  <a:cubicBezTo>
                    <a:pt x="8" y="12"/>
                    <a:pt x="8" y="12"/>
                    <a:pt x="8" y="12"/>
                  </a:cubicBezTo>
                  <a:cubicBezTo>
                    <a:pt x="9" y="12"/>
                    <a:pt x="10" y="11"/>
                    <a:pt x="10" y="10"/>
                  </a:cubicBezTo>
                  <a:cubicBezTo>
                    <a:pt x="10" y="10"/>
                    <a:pt x="10" y="9"/>
                    <a:pt x="10" y="8"/>
                  </a:cubicBezTo>
                  <a:cubicBezTo>
                    <a:pt x="9" y="8"/>
                    <a:pt x="9" y="7"/>
                    <a:pt x="8" y="7"/>
                  </a:cubicBezTo>
                  <a:cubicBezTo>
                    <a:pt x="7" y="7"/>
                    <a:pt x="7" y="6"/>
                    <a:pt x="6" y="6"/>
                  </a:cubicBezTo>
                  <a:cubicBezTo>
                    <a:pt x="5" y="6"/>
                    <a:pt x="5" y="6"/>
                    <a:pt x="5" y="6"/>
                  </a:cubicBezTo>
                  <a:cubicBezTo>
                    <a:pt x="5" y="5"/>
                    <a:pt x="5" y="4"/>
                    <a:pt x="4" y="3"/>
                  </a:cubicBezTo>
                  <a:cubicBezTo>
                    <a:pt x="4" y="3"/>
                    <a:pt x="4" y="3"/>
                    <a:pt x="4" y="3"/>
                  </a:cubicBezTo>
                  <a:cubicBezTo>
                    <a:pt x="5" y="3"/>
                    <a:pt x="6" y="3"/>
                    <a:pt x="7" y="4"/>
                  </a:cubicBezTo>
                  <a:cubicBezTo>
                    <a:pt x="7" y="4"/>
                    <a:pt x="7" y="4"/>
                    <a:pt x="7" y="4"/>
                  </a:cubicBezTo>
                  <a:cubicBezTo>
                    <a:pt x="7" y="3"/>
                    <a:pt x="7" y="3"/>
                    <a:pt x="7" y="3"/>
                  </a:cubicBezTo>
                  <a:cubicBezTo>
                    <a:pt x="8" y="2"/>
                    <a:pt x="8" y="2"/>
                    <a:pt x="8" y="2"/>
                  </a:cubicBezTo>
                  <a:cubicBezTo>
                    <a:pt x="8" y="2"/>
                    <a:pt x="8" y="2"/>
                    <a:pt x="8" y="2"/>
                  </a:cubicBezTo>
                  <a:cubicBezTo>
                    <a:pt x="7" y="1"/>
                    <a:pt x="6" y="1"/>
                    <a:pt x="5" y="1"/>
                  </a:cubicBezTo>
                  <a:cubicBezTo>
                    <a:pt x="4" y="1"/>
                    <a:pt x="4" y="1"/>
                    <a:pt x="4" y="1"/>
                  </a:cubicBezTo>
                  <a:cubicBezTo>
                    <a:pt x="4" y="1"/>
                    <a:pt x="3" y="1"/>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27" name="i$1îḍé"/>
            <p:cNvSpPr/>
            <p:nvPr/>
          </p:nvSpPr>
          <p:spPr bwMode="auto">
            <a:xfrm>
              <a:off x="4127" y="2201"/>
              <a:ext cx="19" cy="12"/>
            </a:xfrm>
            <a:custGeom>
              <a:avLst/>
              <a:gdLst>
                <a:gd name="T0" fmla="*/ 3 w 8"/>
                <a:gd name="T1" fmla="*/ 4 h 5"/>
                <a:gd name="T2" fmla="*/ 2 w 8"/>
                <a:gd name="T3" fmla="*/ 3 h 5"/>
                <a:gd name="T4" fmla="*/ 3 w 8"/>
                <a:gd name="T5" fmla="*/ 3 h 5"/>
                <a:gd name="T6" fmla="*/ 4 w 8"/>
                <a:gd name="T7" fmla="*/ 4 h 5"/>
                <a:gd name="T8" fmla="*/ 5 w 8"/>
                <a:gd name="T9" fmla="*/ 4 h 5"/>
                <a:gd name="T10" fmla="*/ 5 w 8"/>
                <a:gd name="T11" fmla="*/ 4 h 5"/>
                <a:gd name="T12" fmla="*/ 6 w 8"/>
                <a:gd name="T13" fmla="*/ 3 h 5"/>
                <a:gd name="T14" fmla="*/ 5 w 8"/>
                <a:gd name="T15" fmla="*/ 4 h 5"/>
                <a:gd name="T16" fmla="*/ 7 w 8"/>
                <a:gd name="T17" fmla="*/ 2 h 5"/>
                <a:gd name="T18" fmla="*/ 7 w 8"/>
                <a:gd name="T19" fmla="*/ 4 h 5"/>
                <a:gd name="T20" fmla="*/ 6 w 8"/>
                <a:gd name="T21" fmla="*/ 4 h 5"/>
                <a:gd name="T22" fmla="*/ 7 w 8"/>
                <a:gd name="T23" fmla="*/ 2 h 5"/>
                <a:gd name="T24" fmla="*/ 8 w 8"/>
                <a:gd name="T25" fmla="*/ 3 h 5"/>
                <a:gd name="T26" fmla="*/ 7 w 8"/>
                <a:gd name="T27" fmla="*/ 0 h 5"/>
                <a:gd name="T28" fmla="*/ 7 w 8"/>
                <a:gd name="T29" fmla="*/ 0 h 5"/>
                <a:gd name="T30" fmla="*/ 6 w 8"/>
                <a:gd name="T31" fmla="*/ 2 h 5"/>
                <a:gd name="T32" fmla="*/ 4 w 8"/>
                <a:gd name="T33" fmla="*/ 3 h 5"/>
                <a:gd name="T34" fmla="*/ 2 w 8"/>
                <a:gd name="T35" fmla="*/ 2 h 5"/>
                <a:gd name="T36" fmla="*/ 1 w 8"/>
                <a:gd name="T37" fmla="*/ 2 h 5"/>
                <a:gd name="T38" fmla="*/ 1 w 8"/>
                <a:gd name="T39" fmla="*/ 3 h 5"/>
                <a:gd name="T40" fmla="*/ 1 w 8"/>
                <a:gd name="T41" fmla="*/ 4 h 5"/>
                <a:gd name="T42" fmla="*/ 1 w 8"/>
                <a:gd name="T43" fmla="*/ 4 h 5"/>
                <a:gd name="T44" fmla="*/ 1 w 8"/>
                <a:gd name="T45" fmla="*/ 4 h 5"/>
                <a:gd name="T46" fmla="*/ 1 w 8"/>
                <a:gd name="T47" fmla="*/ 4 h 5"/>
                <a:gd name="T48" fmla="*/ 2 w 8"/>
                <a:gd name="T49" fmla="*/ 3 h 5"/>
                <a:gd name="T50" fmla="*/ 3 w 8"/>
                <a:gd name="T51" fmla="*/ 4 h 5"/>
                <a:gd name="T52" fmla="*/ 5 w 8"/>
                <a:gd name="T53" fmla="*/ 4 h 5"/>
                <a:gd name="T54" fmla="*/ 5 w 8"/>
                <a:gd name="T55" fmla="*/ 4 h 5"/>
                <a:gd name="T56" fmla="*/ 6 w 8"/>
                <a:gd name="T57" fmla="*/ 4 h 5"/>
                <a:gd name="T58" fmla="*/ 6 w 8"/>
                <a:gd name="T59" fmla="*/ 4 h 5"/>
                <a:gd name="T60" fmla="*/ 6 w 8"/>
                <a:gd name="T61" fmla="*/ 4 h 5"/>
                <a:gd name="T62" fmla="*/ 7 w 8"/>
                <a:gd name="T63" fmla="*/ 4 h 5"/>
                <a:gd name="T64" fmla="*/ 7 w 8"/>
                <a:gd name="T65" fmla="*/ 4 h 5"/>
                <a:gd name="T66" fmla="*/ 7 w 8"/>
                <a:gd name="T67" fmla="*/ 4 h 5"/>
                <a:gd name="T68" fmla="*/ 8 w 8"/>
                <a:gd name="T69" fmla="*/ 3 h 5"/>
                <a:gd name="T70" fmla="*/ 8 w 8"/>
                <a:gd name="T71" fmla="*/ 3 h 5"/>
                <a:gd name="T72" fmla="*/ 8 w 8"/>
                <a:gd name="T7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5">
                  <a:moveTo>
                    <a:pt x="5" y="4"/>
                  </a:moveTo>
                  <a:cubicBezTo>
                    <a:pt x="4" y="4"/>
                    <a:pt x="4" y="4"/>
                    <a:pt x="3" y="4"/>
                  </a:cubicBezTo>
                  <a:cubicBezTo>
                    <a:pt x="3" y="3"/>
                    <a:pt x="3" y="3"/>
                    <a:pt x="3" y="3"/>
                  </a:cubicBezTo>
                  <a:cubicBezTo>
                    <a:pt x="2" y="3"/>
                    <a:pt x="2" y="3"/>
                    <a:pt x="2" y="3"/>
                  </a:cubicBezTo>
                  <a:cubicBezTo>
                    <a:pt x="2" y="3"/>
                    <a:pt x="2" y="3"/>
                    <a:pt x="2" y="3"/>
                  </a:cubicBezTo>
                  <a:cubicBezTo>
                    <a:pt x="3" y="3"/>
                    <a:pt x="3" y="3"/>
                    <a:pt x="3" y="3"/>
                  </a:cubicBezTo>
                  <a:cubicBezTo>
                    <a:pt x="4" y="3"/>
                    <a:pt x="4" y="3"/>
                    <a:pt x="4" y="3"/>
                  </a:cubicBezTo>
                  <a:cubicBezTo>
                    <a:pt x="4" y="4"/>
                    <a:pt x="4" y="4"/>
                    <a:pt x="4" y="4"/>
                  </a:cubicBezTo>
                  <a:cubicBezTo>
                    <a:pt x="5" y="4"/>
                    <a:pt x="5" y="3"/>
                    <a:pt x="5" y="3"/>
                  </a:cubicBezTo>
                  <a:cubicBezTo>
                    <a:pt x="5" y="4"/>
                    <a:pt x="5" y="4"/>
                    <a:pt x="5" y="4"/>
                  </a:cubicBezTo>
                  <a:cubicBezTo>
                    <a:pt x="5" y="4"/>
                    <a:pt x="5" y="4"/>
                    <a:pt x="5" y="4"/>
                  </a:cubicBezTo>
                  <a:moveTo>
                    <a:pt x="5" y="4"/>
                  </a:moveTo>
                  <a:cubicBezTo>
                    <a:pt x="6" y="3"/>
                    <a:pt x="6" y="3"/>
                    <a:pt x="6" y="3"/>
                  </a:cubicBezTo>
                  <a:cubicBezTo>
                    <a:pt x="6" y="3"/>
                    <a:pt x="6" y="3"/>
                    <a:pt x="6" y="3"/>
                  </a:cubicBezTo>
                  <a:cubicBezTo>
                    <a:pt x="6" y="4"/>
                    <a:pt x="6" y="4"/>
                    <a:pt x="6" y="4"/>
                  </a:cubicBezTo>
                  <a:cubicBezTo>
                    <a:pt x="5" y="4"/>
                    <a:pt x="5" y="4"/>
                    <a:pt x="5" y="4"/>
                  </a:cubicBezTo>
                  <a:moveTo>
                    <a:pt x="6" y="4"/>
                  </a:moveTo>
                  <a:cubicBezTo>
                    <a:pt x="7" y="2"/>
                    <a:pt x="7" y="2"/>
                    <a:pt x="7" y="2"/>
                  </a:cubicBezTo>
                  <a:cubicBezTo>
                    <a:pt x="7" y="2"/>
                    <a:pt x="7" y="2"/>
                    <a:pt x="7" y="2"/>
                  </a:cubicBezTo>
                  <a:cubicBezTo>
                    <a:pt x="7" y="4"/>
                    <a:pt x="7" y="4"/>
                    <a:pt x="7" y="4"/>
                  </a:cubicBezTo>
                  <a:cubicBezTo>
                    <a:pt x="7" y="4"/>
                    <a:pt x="7" y="4"/>
                    <a:pt x="7" y="4"/>
                  </a:cubicBezTo>
                  <a:cubicBezTo>
                    <a:pt x="6" y="4"/>
                    <a:pt x="6" y="4"/>
                    <a:pt x="6" y="4"/>
                  </a:cubicBezTo>
                  <a:moveTo>
                    <a:pt x="7" y="3"/>
                  </a:moveTo>
                  <a:cubicBezTo>
                    <a:pt x="7" y="2"/>
                    <a:pt x="7" y="2"/>
                    <a:pt x="7" y="2"/>
                  </a:cubicBezTo>
                  <a:cubicBezTo>
                    <a:pt x="7" y="1"/>
                    <a:pt x="7" y="1"/>
                    <a:pt x="7" y="0"/>
                  </a:cubicBezTo>
                  <a:cubicBezTo>
                    <a:pt x="8" y="1"/>
                    <a:pt x="8" y="2"/>
                    <a:pt x="8" y="3"/>
                  </a:cubicBezTo>
                  <a:cubicBezTo>
                    <a:pt x="7" y="3"/>
                    <a:pt x="7" y="3"/>
                    <a:pt x="7" y="3"/>
                  </a:cubicBezTo>
                  <a:moveTo>
                    <a:pt x="7" y="0"/>
                  </a:moveTo>
                  <a:cubicBezTo>
                    <a:pt x="7" y="0"/>
                    <a:pt x="7" y="0"/>
                    <a:pt x="7" y="0"/>
                  </a:cubicBezTo>
                  <a:cubicBezTo>
                    <a:pt x="7" y="0"/>
                    <a:pt x="7" y="0"/>
                    <a:pt x="7" y="0"/>
                  </a:cubicBezTo>
                  <a:cubicBezTo>
                    <a:pt x="7" y="0"/>
                    <a:pt x="7" y="0"/>
                    <a:pt x="7" y="0"/>
                  </a:cubicBezTo>
                  <a:cubicBezTo>
                    <a:pt x="7" y="1"/>
                    <a:pt x="6" y="2"/>
                    <a:pt x="6" y="2"/>
                  </a:cubicBezTo>
                  <a:cubicBezTo>
                    <a:pt x="5" y="3"/>
                    <a:pt x="5" y="3"/>
                    <a:pt x="4" y="3"/>
                  </a:cubicBezTo>
                  <a:cubicBezTo>
                    <a:pt x="4" y="3"/>
                    <a:pt x="4" y="3"/>
                    <a:pt x="4" y="3"/>
                  </a:cubicBezTo>
                  <a:cubicBezTo>
                    <a:pt x="3" y="2"/>
                    <a:pt x="3" y="2"/>
                    <a:pt x="3" y="2"/>
                  </a:cubicBezTo>
                  <a:cubicBezTo>
                    <a:pt x="3" y="2"/>
                    <a:pt x="3" y="2"/>
                    <a:pt x="2" y="2"/>
                  </a:cubicBezTo>
                  <a:cubicBezTo>
                    <a:pt x="2" y="2"/>
                    <a:pt x="2" y="2"/>
                    <a:pt x="2" y="2"/>
                  </a:cubicBezTo>
                  <a:cubicBezTo>
                    <a:pt x="2" y="2"/>
                    <a:pt x="2" y="2"/>
                    <a:pt x="1" y="2"/>
                  </a:cubicBezTo>
                  <a:cubicBezTo>
                    <a:pt x="1" y="3"/>
                    <a:pt x="1" y="3"/>
                    <a:pt x="1" y="3"/>
                  </a:cubicBezTo>
                  <a:cubicBezTo>
                    <a:pt x="1" y="3"/>
                    <a:pt x="1" y="3"/>
                    <a:pt x="1" y="3"/>
                  </a:cubicBezTo>
                  <a:cubicBezTo>
                    <a:pt x="0" y="3"/>
                    <a:pt x="0" y="3"/>
                    <a:pt x="0" y="3"/>
                  </a:cubicBezTo>
                  <a:cubicBezTo>
                    <a:pt x="1" y="4"/>
                    <a:pt x="1" y="4"/>
                    <a:pt x="1" y="4"/>
                  </a:cubicBezTo>
                  <a:cubicBezTo>
                    <a:pt x="1" y="4"/>
                    <a:pt x="1" y="4"/>
                    <a:pt x="1" y="4"/>
                  </a:cubicBezTo>
                  <a:cubicBezTo>
                    <a:pt x="1" y="4"/>
                    <a:pt x="1" y="4"/>
                    <a:pt x="1" y="4"/>
                  </a:cubicBezTo>
                  <a:cubicBezTo>
                    <a:pt x="0" y="4"/>
                    <a:pt x="0" y="4"/>
                    <a:pt x="0" y="4"/>
                  </a:cubicBezTo>
                  <a:cubicBezTo>
                    <a:pt x="1" y="4"/>
                    <a:pt x="1" y="4"/>
                    <a:pt x="1" y="4"/>
                  </a:cubicBezTo>
                  <a:cubicBezTo>
                    <a:pt x="1" y="4"/>
                    <a:pt x="1" y="4"/>
                    <a:pt x="1" y="4"/>
                  </a:cubicBezTo>
                  <a:cubicBezTo>
                    <a:pt x="1" y="4"/>
                    <a:pt x="1" y="4"/>
                    <a:pt x="1" y="4"/>
                  </a:cubicBezTo>
                  <a:cubicBezTo>
                    <a:pt x="2" y="4"/>
                    <a:pt x="2" y="4"/>
                    <a:pt x="2" y="4"/>
                  </a:cubicBezTo>
                  <a:cubicBezTo>
                    <a:pt x="2" y="3"/>
                    <a:pt x="2" y="3"/>
                    <a:pt x="2" y="3"/>
                  </a:cubicBezTo>
                  <a:cubicBezTo>
                    <a:pt x="3" y="4"/>
                    <a:pt x="3" y="4"/>
                    <a:pt x="3" y="4"/>
                  </a:cubicBezTo>
                  <a:cubicBezTo>
                    <a:pt x="3" y="4"/>
                    <a:pt x="3" y="4"/>
                    <a:pt x="3" y="4"/>
                  </a:cubicBezTo>
                  <a:cubicBezTo>
                    <a:pt x="4" y="4"/>
                    <a:pt x="4" y="4"/>
                    <a:pt x="5" y="4"/>
                  </a:cubicBezTo>
                  <a:cubicBezTo>
                    <a:pt x="5" y="4"/>
                    <a:pt x="5" y="4"/>
                    <a:pt x="5" y="4"/>
                  </a:cubicBezTo>
                  <a:cubicBezTo>
                    <a:pt x="5" y="5"/>
                    <a:pt x="5" y="5"/>
                    <a:pt x="5" y="5"/>
                  </a:cubicBezTo>
                  <a:cubicBezTo>
                    <a:pt x="5" y="4"/>
                    <a:pt x="5" y="4"/>
                    <a:pt x="5" y="4"/>
                  </a:cubicBezTo>
                  <a:cubicBezTo>
                    <a:pt x="5" y="4"/>
                    <a:pt x="5" y="4"/>
                    <a:pt x="5" y="4"/>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8" y="3"/>
                    <a:pt x="8" y="3"/>
                    <a:pt x="8" y="3"/>
                  </a:cubicBezTo>
                  <a:cubicBezTo>
                    <a:pt x="8" y="3"/>
                    <a:pt x="8" y="3"/>
                    <a:pt x="8" y="3"/>
                  </a:cubicBezTo>
                  <a:cubicBezTo>
                    <a:pt x="8" y="3"/>
                    <a:pt x="8" y="3"/>
                    <a:pt x="8" y="3"/>
                  </a:cubicBezTo>
                  <a:cubicBezTo>
                    <a:pt x="8" y="3"/>
                    <a:pt x="8" y="3"/>
                    <a:pt x="8" y="3"/>
                  </a:cubicBezTo>
                  <a:cubicBezTo>
                    <a:pt x="8" y="3"/>
                    <a:pt x="8" y="3"/>
                    <a:pt x="8" y="3"/>
                  </a:cubicBezTo>
                  <a:cubicBezTo>
                    <a:pt x="8" y="2"/>
                    <a:pt x="8" y="1"/>
                    <a:pt x="8" y="0"/>
                  </a:cubicBezTo>
                  <a:cubicBezTo>
                    <a:pt x="7" y="0"/>
                    <a:pt x="7" y="0"/>
                    <a:pt x="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28" name="ïšļîḋè"/>
            <p:cNvSpPr/>
            <p:nvPr/>
          </p:nvSpPr>
          <p:spPr bwMode="auto">
            <a:xfrm>
              <a:off x="4136" y="2210"/>
              <a:ext cx="0" cy="3"/>
            </a:xfrm>
            <a:custGeom>
              <a:avLst/>
              <a:gdLst>
                <a:gd name="T0" fmla="*/ 0 h 3"/>
                <a:gd name="T1" fmla="*/ 3 h 3"/>
                <a:gd name="T2" fmla="*/ 3 h 3"/>
                <a:gd name="T3" fmla="*/ 3 h 3"/>
                <a:gd name="T4" fmla="*/ 3 h 3"/>
                <a:gd name="T5" fmla="*/ 3 h 3"/>
                <a:gd name="T6" fmla="*/ 0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3"/>
                  </a:lnTo>
                  <a:lnTo>
                    <a:pt x="0" y="3"/>
                  </a:lnTo>
                  <a:lnTo>
                    <a:pt x="0" y="3"/>
                  </a:lnTo>
                  <a:lnTo>
                    <a:pt x="0" y="3"/>
                  </a:lnTo>
                  <a:lnTo>
                    <a:pt x="0" y="3"/>
                  </a:lnTo>
                  <a:lnTo>
                    <a:pt x="0" y="0"/>
                  </a:lnTo>
                  <a:lnTo>
                    <a:pt x="0"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29" name="í$ľiḍè"/>
            <p:cNvSpPr/>
            <p:nvPr/>
          </p:nvSpPr>
          <p:spPr bwMode="auto">
            <a:xfrm>
              <a:off x="4136" y="2210"/>
              <a:ext cx="0" cy="3"/>
            </a:xfrm>
            <a:custGeom>
              <a:avLst/>
              <a:gdLst>
                <a:gd name="T0" fmla="*/ 0 h 3"/>
                <a:gd name="T1" fmla="*/ 3 h 3"/>
                <a:gd name="T2" fmla="*/ 3 h 3"/>
                <a:gd name="T3" fmla="*/ 3 h 3"/>
                <a:gd name="T4" fmla="*/ 3 h 3"/>
                <a:gd name="T5" fmla="*/ 3 h 3"/>
                <a:gd name="T6" fmla="*/ 0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3"/>
                  </a:lnTo>
                  <a:lnTo>
                    <a:pt x="0" y="3"/>
                  </a:lnTo>
                  <a:lnTo>
                    <a:pt x="0" y="3"/>
                  </a:lnTo>
                  <a:lnTo>
                    <a:pt x="0" y="3"/>
                  </a:lnTo>
                  <a:lnTo>
                    <a:pt x="0" y="3"/>
                  </a:lnTo>
                  <a:lnTo>
                    <a:pt x="0" y="0"/>
                  </a:lnTo>
                  <a:lnTo>
                    <a:pt x="0"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30" name="iṩḷîdè"/>
            <p:cNvSpPr/>
            <p:nvPr/>
          </p:nvSpPr>
          <p:spPr bwMode="auto">
            <a:xfrm>
              <a:off x="4160" y="2201"/>
              <a:ext cx="19" cy="12"/>
            </a:xfrm>
            <a:custGeom>
              <a:avLst/>
              <a:gdLst>
                <a:gd name="T0" fmla="*/ 2 w 8"/>
                <a:gd name="T1" fmla="*/ 4 h 5"/>
                <a:gd name="T2" fmla="*/ 3 w 8"/>
                <a:gd name="T3" fmla="*/ 3 h 5"/>
                <a:gd name="T4" fmla="*/ 4 w 8"/>
                <a:gd name="T5" fmla="*/ 4 h 5"/>
                <a:gd name="T6" fmla="*/ 5 w 8"/>
                <a:gd name="T7" fmla="*/ 3 h 5"/>
                <a:gd name="T8" fmla="*/ 6 w 8"/>
                <a:gd name="T9" fmla="*/ 3 h 5"/>
                <a:gd name="T10" fmla="*/ 5 w 8"/>
                <a:gd name="T11" fmla="*/ 4 h 5"/>
                <a:gd name="T12" fmla="*/ 3 w 8"/>
                <a:gd name="T13" fmla="*/ 4 h 5"/>
                <a:gd name="T14" fmla="*/ 4 w 8"/>
                <a:gd name="T15" fmla="*/ 4 h 5"/>
                <a:gd name="T16" fmla="*/ 2 w 8"/>
                <a:gd name="T17" fmla="*/ 4 h 5"/>
                <a:gd name="T18" fmla="*/ 2 w 8"/>
                <a:gd name="T19" fmla="*/ 2 h 5"/>
                <a:gd name="T20" fmla="*/ 2 w 8"/>
                <a:gd name="T21" fmla="*/ 4 h 5"/>
                <a:gd name="T22" fmla="*/ 1 w 8"/>
                <a:gd name="T23" fmla="*/ 3 h 5"/>
                <a:gd name="T24" fmla="*/ 1 w 8"/>
                <a:gd name="T25" fmla="*/ 2 h 5"/>
                <a:gd name="T26" fmla="*/ 1 w 8"/>
                <a:gd name="T27" fmla="*/ 0 h 5"/>
                <a:gd name="T28" fmla="*/ 0 w 8"/>
                <a:gd name="T29" fmla="*/ 3 h 5"/>
                <a:gd name="T30" fmla="*/ 0 w 8"/>
                <a:gd name="T31" fmla="*/ 3 h 5"/>
                <a:gd name="T32" fmla="*/ 1 w 8"/>
                <a:gd name="T33" fmla="*/ 3 h 5"/>
                <a:gd name="T34" fmla="*/ 1 w 8"/>
                <a:gd name="T35" fmla="*/ 4 h 5"/>
                <a:gd name="T36" fmla="*/ 2 w 8"/>
                <a:gd name="T37" fmla="*/ 4 h 5"/>
                <a:gd name="T38" fmla="*/ 2 w 8"/>
                <a:gd name="T39" fmla="*/ 4 h 5"/>
                <a:gd name="T40" fmla="*/ 2 w 8"/>
                <a:gd name="T41" fmla="*/ 4 h 5"/>
                <a:gd name="T42" fmla="*/ 2 w 8"/>
                <a:gd name="T43" fmla="*/ 4 h 5"/>
                <a:gd name="T44" fmla="*/ 3 w 8"/>
                <a:gd name="T45" fmla="*/ 4 h 5"/>
                <a:gd name="T46" fmla="*/ 3 w 8"/>
                <a:gd name="T47" fmla="*/ 5 h 5"/>
                <a:gd name="T48" fmla="*/ 4 w 8"/>
                <a:gd name="T49" fmla="*/ 4 h 5"/>
                <a:gd name="T50" fmla="*/ 6 w 8"/>
                <a:gd name="T51" fmla="*/ 4 h 5"/>
                <a:gd name="T52" fmla="*/ 7 w 8"/>
                <a:gd name="T53" fmla="*/ 4 h 5"/>
                <a:gd name="T54" fmla="*/ 7 w 8"/>
                <a:gd name="T55" fmla="*/ 4 h 5"/>
                <a:gd name="T56" fmla="*/ 8 w 8"/>
                <a:gd name="T57" fmla="*/ 4 h 5"/>
                <a:gd name="T58" fmla="*/ 8 w 8"/>
                <a:gd name="T59" fmla="*/ 4 h 5"/>
                <a:gd name="T60" fmla="*/ 8 w 8"/>
                <a:gd name="T61" fmla="*/ 3 h 5"/>
                <a:gd name="T62" fmla="*/ 7 w 8"/>
                <a:gd name="T63" fmla="*/ 3 h 5"/>
                <a:gd name="T64" fmla="*/ 6 w 8"/>
                <a:gd name="T65" fmla="*/ 2 h 5"/>
                <a:gd name="T66" fmla="*/ 5 w 8"/>
                <a:gd name="T67" fmla="*/ 2 h 5"/>
                <a:gd name="T68" fmla="*/ 4 w 8"/>
                <a:gd name="T69" fmla="*/ 3 h 5"/>
                <a:gd name="T70" fmla="*/ 2 w 8"/>
                <a:gd name="T71" fmla="*/ 0 h 5"/>
                <a:gd name="T72" fmla="*/ 1 w 8"/>
                <a:gd name="T7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5">
                  <a:moveTo>
                    <a:pt x="3" y="4"/>
                  </a:moveTo>
                  <a:cubicBezTo>
                    <a:pt x="2" y="4"/>
                    <a:pt x="2" y="4"/>
                    <a:pt x="2" y="4"/>
                  </a:cubicBezTo>
                  <a:cubicBezTo>
                    <a:pt x="2" y="3"/>
                    <a:pt x="2" y="3"/>
                    <a:pt x="2" y="3"/>
                  </a:cubicBezTo>
                  <a:cubicBezTo>
                    <a:pt x="3" y="3"/>
                    <a:pt x="3" y="3"/>
                    <a:pt x="3" y="3"/>
                  </a:cubicBezTo>
                  <a:cubicBezTo>
                    <a:pt x="3" y="4"/>
                    <a:pt x="3" y="4"/>
                    <a:pt x="3" y="4"/>
                  </a:cubicBezTo>
                  <a:moveTo>
                    <a:pt x="4" y="4"/>
                  </a:moveTo>
                  <a:cubicBezTo>
                    <a:pt x="4" y="4"/>
                    <a:pt x="5" y="4"/>
                    <a:pt x="5" y="3"/>
                  </a:cubicBezTo>
                  <a:cubicBezTo>
                    <a:pt x="5" y="3"/>
                    <a:pt x="5" y="3"/>
                    <a:pt x="5" y="3"/>
                  </a:cubicBezTo>
                  <a:cubicBezTo>
                    <a:pt x="6" y="3"/>
                    <a:pt x="6" y="3"/>
                    <a:pt x="6" y="3"/>
                  </a:cubicBezTo>
                  <a:cubicBezTo>
                    <a:pt x="6" y="3"/>
                    <a:pt x="6" y="3"/>
                    <a:pt x="6" y="3"/>
                  </a:cubicBezTo>
                  <a:cubicBezTo>
                    <a:pt x="5" y="3"/>
                    <a:pt x="5" y="3"/>
                    <a:pt x="5" y="3"/>
                  </a:cubicBezTo>
                  <a:cubicBezTo>
                    <a:pt x="5" y="4"/>
                    <a:pt x="5" y="4"/>
                    <a:pt x="5" y="4"/>
                  </a:cubicBezTo>
                  <a:cubicBezTo>
                    <a:pt x="5" y="4"/>
                    <a:pt x="4" y="4"/>
                    <a:pt x="4" y="4"/>
                  </a:cubicBezTo>
                  <a:cubicBezTo>
                    <a:pt x="3" y="4"/>
                    <a:pt x="3" y="4"/>
                    <a:pt x="3" y="4"/>
                  </a:cubicBezTo>
                  <a:cubicBezTo>
                    <a:pt x="3" y="3"/>
                    <a:pt x="3" y="3"/>
                    <a:pt x="3" y="3"/>
                  </a:cubicBezTo>
                  <a:cubicBezTo>
                    <a:pt x="3" y="3"/>
                    <a:pt x="4" y="4"/>
                    <a:pt x="4" y="4"/>
                  </a:cubicBezTo>
                  <a:moveTo>
                    <a:pt x="2" y="4"/>
                  </a:moveTo>
                  <a:cubicBezTo>
                    <a:pt x="2" y="4"/>
                    <a:pt x="2" y="4"/>
                    <a:pt x="2" y="4"/>
                  </a:cubicBezTo>
                  <a:cubicBezTo>
                    <a:pt x="2" y="4"/>
                    <a:pt x="2" y="4"/>
                    <a:pt x="2" y="4"/>
                  </a:cubicBezTo>
                  <a:cubicBezTo>
                    <a:pt x="2" y="2"/>
                    <a:pt x="2" y="2"/>
                    <a:pt x="2" y="2"/>
                  </a:cubicBezTo>
                  <a:cubicBezTo>
                    <a:pt x="2" y="2"/>
                    <a:pt x="2" y="2"/>
                    <a:pt x="2" y="2"/>
                  </a:cubicBezTo>
                  <a:cubicBezTo>
                    <a:pt x="2" y="4"/>
                    <a:pt x="2" y="4"/>
                    <a:pt x="2" y="4"/>
                  </a:cubicBezTo>
                  <a:moveTo>
                    <a:pt x="1" y="3"/>
                  </a:moveTo>
                  <a:cubicBezTo>
                    <a:pt x="1" y="3"/>
                    <a:pt x="1" y="3"/>
                    <a:pt x="1" y="3"/>
                  </a:cubicBezTo>
                  <a:cubicBezTo>
                    <a:pt x="1" y="2"/>
                    <a:pt x="1" y="1"/>
                    <a:pt x="1" y="0"/>
                  </a:cubicBezTo>
                  <a:cubicBezTo>
                    <a:pt x="1" y="1"/>
                    <a:pt x="1" y="1"/>
                    <a:pt x="1" y="2"/>
                  </a:cubicBezTo>
                  <a:cubicBezTo>
                    <a:pt x="1" y="3"/>
                    <a:pt x="1" y="3"/>
                    <a:pt x="1" y="3"/>
                  </a:cubicBezTo>
                  <a:moveTo>
                    <a:pt x="1" y="0"/>
                  </a:moveTo>
                  <a:cubicBezTo>
                    <a:pt x="1" y="0"/>
                    <a:pt x="1" y="0"/>
                    <a:pt x="1" y="0"/>
                  </a:cubicBezTo>
                  <a:cubicBezTo>
                    <a:pt x="0" y="1"/>
                    <a:pt x="0" y="2"/>
                    <a:pt x="0" y="3"/>
                  </a:cubicBezTo>
                  <a:cubicBezTo>
                    <a:pt x="0" y="3"/>
                    <a:pt x="0" y="3"/>
                    <a:pt x="0" y="3"/>
                  </a:cubicBezTo>
                  <a:cubicBezTo>
                    <a:pt x="0" y="3"/>
                    <a:pt x="0" y="3"/>
                    <a:pt x="0" y="3"/>
                  </a:cubicBezTo>
                  <a:cubicBezTo>
                    <a:pt x="0" y="3"/>
                    <a:pt x="0" y="3"/>
                    <a:pt x="0" y="3"/>
                  </a:cubicBezTo>
                  <a:cubicBezTo>
                    <a:pt x="1" y="3"/>
                    <a:pt x="1" y="3"/>
                    <a:pt x="1" y="3"/>
                  </a:cubicBezTo>
                  <a:cubicBezTo>
                    <a:pt x="1" y="4"/>
                    <a:pt x="1" y="4"/>
                    <a:pt x="1" y="4"/>
                  </a:cubicBezTo>
                  <a:cubicBezTo>
                    <a:pt x="1" y="4"/>
                    <a:pt x="1" y="4"/>
                    <a:pt x="1" y="4"/>
                  </a:cubicBezTo>
                  <a:cubicBezTo>
                    <a:pt x="1" y="4"/>
                    <a:pt x="1" y="4"/>
                    <a:pt x="1"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3" y="4"/>
                    <a:pt x="3" y="4"/>
                    <a:pt x="3" y="4"/>
                  </a:cubicBezTo>
                  <a:cubicBezTo>
                    <a:pt x="3" y="4"/>
                    <a:pt x="3" y="4"/>
                    <a:pt x="3" y="4"/>
                  </a:cubicBezTo>
                  <a:cubicBezTo>
                    <a:pt x="3" y="4"/>
                    <a:pt x="3" y="4"/>
                    <a:pt x="3" y="4"/>
                  </a:cubicBezTo>
                  <a:cubicBezTo>
                    <a:pt x="3" y="5"/>
                    <a:pt x="3" y="5"/>
                    <a:pt x="3" y="5"/>
                  </a:cubicBezTo>
                  <a:cubicBezTo>
                    <a:pt x="4" y="4"/>
                    <a:pt x="4" y="4"/>
                    <a:pt x="4" y="4"/>
                  </a:cubicBezTo>
                  <a:cubicBezTo>
                    <a:pt x="4" y="4"/>
                    <a:pt x="4" y="4"/>
                    <a:pt x="4" y="4"/>
                  </a:cubicBezTo>
                  <a:cubicBezTo>
                    <a:pt x="4" y="4"/>
                    <a:pt x="5" y="4"/>
                    <a:pt x="5" y="4"/>
                  </a:cubicBezTo>
                  <a:cubicBezTo>
                    <a:pt x="6" y="4"/>
                    <a:pt x="6" y="4"/>
                    <a:pt x="6" y="4"/>
                  </a:cubicBezTo>
                  <a:cubicBezTo>
                    <a:pt x="7" y="3"/>
                    <a:pt x="7" y="3"/>
                    <a:pt x="7" y="3"/>
                  </a:cubicBezTo>
                  <a:cubicBezTo>
                    <a:pt x="7" y="4"/>
                    <a:pt x="7" y="4"/>
                    <a:pt x="7" y="4"/>
                  </a:cubicBezTo>
                  <a:cubicBezTo>
                    <a:pt x="7" y="4"/>
                    <a:pt x="7" y="4"/>
                    <a:pt x="7" y="4"/>
                  </a:cubicBezTo>
                  <a:cubicBezTo>
                    <a:pt x="7" y="4"/>
                    <a:pt x="7" y="4"/>
                    <a:pt x="7"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3"/>
                    <a:pt x="8" y="3"/>
                    <a:pt x="8" y="3"/>
                  </a:cubicBezTo>
                  <a:cubicBezTo>
                    <a:pt x="7" y="3"/>
                    <a:pt x="7" y="3"/>
                    <a:pt x="7" y="3"/>
                  </a:cubicBezTo>
                  <a:cubicBezTo>
                    <a:pt x="7" y="3"/>
                    <a:pt x="7" y="3"/>
                    <a:pt x="7" y="3"/>
                  </a:cubicBezTo>
                  <a:cubicBezTo>
                    <a:pt x="7" y="2"/>
                    <a:pt x="7" y="2"/>
                    <a:pt x="7" y="2"/>
                  </a:cubicBezTo>
                  <a:cubicBezTo>
                    <a:pt x="7" y="2"/>
                    <a:pt x="6" y="2"/>
                    <a:pt x="6" y="2"/>
                  </a:cubicBezTo>
                  <a:cubicBezTo>
                    <a:pt x="6" y="2"/>
                    <a:pt x="6" y="2"/>
                    <a:pt x="6" y="2"/>
                  </a:cubicBezTo>
                  <a:cubicBezTo>
                    <a:pt x="6" y="2"/>
                    <a:pt x="5" y="2"/>
                    <a:pt x="5" y="2"/>
                  </a:cubicBezTo>
                  <a:cubicBezTo>
                    <a:pt x="4" y="3"/>
                    <a:pt x="4" y="3"/>
                    <a:pt x="4" y="3"/>
                  </a:cubicBezTo>
                  <a:cubicBezTo>
                    <a:pt x="4" y="3"/>
                    <a:pt x="4" y="3"/>
                    <a:pt x="4" y="3"/>
                  </a:cubicBezTo>
                  <a:cubicBezTo>
                    <a:pt x="3" y="3"/>
                    <a:pt x="3" y="3"/>
                    <a:pt x="3" y="2"/>
                  </a:cubicBezTo>
                  <a:cubicBezTo>
                    <a:pt x="2" y="2"/>
                    <a:pt x="2" y="1"/>
                    <a:pt x="2" y="0"/>
                  </a:cubicBezTo>
                  <a:cubicBezTo>
                    <a:pt x="1" y="0"/>
                    <a:pt x="1" y="0"/>
                    <a:pt x="1" y="0"/>
                  </a:cubicBezTo>
                  <a:cubicBezTo>
                    <a:pt x="1" y="0"/>
                    <a:pt x="1" y="0"/>
                    <a:pt x="1" y="0"/>
                  </a:cubicBezTo>
                  <a:cubicBezTo>
                    <a:pt x="1" y="0"/>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31" name="íṥ1îďè"/>
            <p:cNvSpPr/>
            <p:nvPr/>
          </p:nvSpPr>
          <p:spPr bwMode="auto">
            <a:xfrm>
              <a:off x="4170" y="2210"/>
              <a:ext cx="2" cy="3"/>
            </a:xfrm>
            <a:custGeom>
              <a:avLst/>
              <a:gdLst>
                <a:gd name="T0" fmla="*/ 2 w 2"/>
                <a:gd name="T1" fmla="*/ 0 h 3"/>
                <a:gd name="T2" fmla="*/ 0 w 2"/>
                <a:gd name="T3" fmla="*/ 0 h 3"/>
                <a:gd name="T4" fmla="*/ 0 w 2"/>
                <a:gd name="T5" fmla="*/ 3 h 3"/>
                <a:gd name="T6" fmla="*/ 2 w 2"/>
                <a:gd name="T7" fmla="*/ 3 h 3"/>
                <a:gd name="T8" fmla="*/ 2 w 2"/>
                <a:gd name="T9" fmla="*/ 3 h 3"/>
                <a:gd name="T10" fmla="*/ 2 w 2"/>
                <a:gd name="T11" fmla="*/ 3 h 3"/>
                <a:gd name="T12" fmla="*/ 2 w 2"/>
                <a:gd name="T13" fmla="*/ 3 h 3"/>
                <a:gd name="T14" fmla="*/ 2 w 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2" y="0"/>
                  </a:moveTo>
                  <a:lnTo>
                    <a:pt x="0" y="0"/>
                  </a:lnTo>
                  <a:lnTo>
                    <a:pt x="0" y="3"/>
                  </a:lnTo>
                  <a:lnTo>
                    <a:pt x="2" y="3"/>
                  </a:lnTo>
                  <a:lnTo>
                    <a:pt x="2" y="3"/>
                  </a:lnTo>
                  <a:lnTo>
                    <a:pt x="2" y="3"/>
                  </a:lnTo>
                  <a:lnTo>
                    <a:pt x="2" y="3"/>
                  </a:lnTo>
                  <a:lnTo>
                    <a:pt x="2"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32" name="iṣliḍé"/>
            <p:cNvSpPr/>
            <p:nvPr/>
          </p:nvSpPr>
          <p:spPr bwMode="auto">
            <a:xfrm>
              <a:off x="4170" y="2210"/>
              <a:ext cx="2" cy="3"/>
            </a:xfrm>
            <a:custGeom>
              <a:avLst/>
              <a:gdLst>
                <a:gd name="T0" fmla="*/ 2 w 2"/>
                <a:gd name="T1" fmla="*/ 0 h 3"/>
                <a:gd name="T2" fmla="*/ 0 w 2"/>
                <a:gd name="T3" fmla="*/ 0 h 3"/>
                <a:gd name="T4" fmla="*/ 0 w 2"/>
                <a:gd name="T5" fmla="*/ 3 h 3"/>
                <a:gd name="T6" fmla="*/ 2 w 2"/>
                <a:gd name="T7" fmla="*/ 3 h 3"/>
                <a:gd name="T8" fmla="*/ 2 w 2"/>
                <a:gd name="T9" fmla="*/ 3 h 3"/>
                <a:gd name="T10" fmla="*/ 2 w 2"/>
                <a:gd name="T11" fmla="*/ 3 h 3"/>
                <a:gd name="T12" fmla="*/ 2 w 2"/>
                <a:gd name="T13" fmla="*/ 3 h 3"/>
                <a:gd name="T14" fmla="*/ 2 w 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2" y="0"/>
                  </a:moveTo>
                  <a:lnTo>
                    <a:pt x="0" y="0"/>
                  </a:lnTo>
                  <a:lnTo>
                    <a:pt x="0" y="3"/>
                  </a:lnTo>
                  <a:lnTo>
                    <a:pt x="2" y="3"/>
                  </a:lnTo>
                  <a:lnTo>
                    <a:pt x="2" y="3"/>
                  </a:lnTo>
                  <a:lnTo>
                    <a:pt x="2" y="3"/>
                  </a:lnTo>
                  <a:lnTo>
                    <a:pt x="2" y="3"/>
                  </a:lnTo>
                  <a:lnTo>
                    <a:pt x="2"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33" name="iṧḻiḑe"/>
            <p:cNvSpPr/>
            <p:nvPr/>
          </p:nvSpPr>
          <p:spPr bwMode="auto">
            <a:xfrm>
              <a:off x="4101" y="2163"/>
              <a:ext cx="104" cy="123"/>
            </a:xfrm>
            <a:custGeom>
              <a:avLst/>
              <a:gdLst>
                <a:gd name="T0" fmla="*/ 30 w 44"/>
                <a:gd name="T1" fmla="*/ 50 h 52"/>
                <a:gd name="T2" fmla="*/ 25 w 44"/>
                <a:gd name="T3" fmla="*/ 50 h 52"/>
                <a:gd name="T4" fmla="*/ 11 w 44"/>
                <a:gd name="T5" fmla="*/ 48 h 52"/>
                <a:gd name="T6" fmla="*/ 9 w 44"/>
                <a:gd name="T7" fmla="*/ 47 h 52"/>
                <a:gd name="T8" fmla="*/ 32 w 44"/>
                <a:gd name="T9" fmla="*/ 45 h 52"/>
                <a:gd name="T10" fmla="*/ 38 w 44"/>
                <a:gd name="T11" fmla="*/ 42 h 52"/>
                <a:gd name="T12" fmla="*/ 22 w 44"/>
                <a:gd name="T13" fmla="*/ 46 h 52"/>
                <a:gd name="T14" fmla="*/ 4 w 44"/>
                <a:gd name="T15" fmla="*/ 37 h 52"/>
                <a:gd name="T16" fmla="*/ 5 w 44"/>
                <a:gd name="T17" fmla="*/ 36 h 52"/>
                <a:gd name="T18" fmla="*/ 23 w 44"/>
                <a:gd name="T19" fmla="*/ 36 h 52"/>
                <a:gd name="T20" fmla="*/ 12 w 44"/>
                <a:gd name="T21" fmla="*/ 32 h 52"/>
                <a:gd name="T22" fmla="*/ 24 w 44"/>
                <a:gd name="T23" fmla="*/ 32 h 52"/>
                <a:gd name="T24" fmla="*/ 5 w 44"/>
                <a:gd name="T25" fmla="*/ 31 h 52"/>
                <a:gd name="T26" fmla="*/ 8 w 44"/>
                <a:gd name="T27" fmla="*/ 30 h 52"/>
                <a:gd name="T28" fmla="*/ 39 w 44"/>
                <a:gd name="T29" fmla="*/ 29 h 52"/>
                <a:gd name="T30" fmla="*/ 6 w 44"/>
                <a:gd name="T31" fmla="*/ 29 h 52"/>
                <a:gd name="T32" fmla="*/ 18 w 44"/>
                <a:gd name="T33" fmla="*/ 28 h 52"/>
                <a:gd name="T34" fmla="*/ 20 w 44"/>
                <a:gd name="T35" fmla="*/ 27 h 52"/>
                <a:gd name="T36" fmla="*/ 14 w 44"/>
                <a:gd name="T37" fmla="*/ 26 h 52"/>
                <a:gd name="T38" fmla="*/ 38 w 44"/>
                <a:gd name="T39" fmla="*/ 25 h 52"/>
                <a:gd name="T40" fmla="*/ 39 w 44"/>
                <a:gd name="T41" fmla="*/ 24 h 52"/>
                <a:gd name="T42" fmla="*/ 4 w 44"/>
                <a:gd name="T43" fmla="*/ 23 h 52"/>
                <a:gd name="T44" fmla="*/ 5 w 44"/>
                <a:gd name="T45" fmla="*/ 21 h 52"/>
                <a:gd name="T46" fmla="*/ 6 w 44"/>
                <a:gd name="T47" fmla="*/ 13 h 52"/>
                <a:gd name="T48" fmla="*/ 12 w 44"/>
                <a:gd name="T49" fmla="*/ 14 h 52"/>
                <a:gd name="T50" fmla="*/ 30 w 44"/>
                <a:gd name="T51" fmla="*/ 12 h 52"/>
                <a:gd name="T52" fmla="*/ 28 w 44"/>
                <a:gd name="T53" fmla="*/ 12 h 52"/>
                <a:gd name="T54" fmla="*/ 20 w 44"/>
                <a:gd name="T55" fmla="*/ 6 h 52"/>
                <a:gd name="T56" fmla="*/ 11 w 44"/>
                <a:gd name="T57" fmla="*/ 6 h 52"/>
                <a:gd name="T58" fmla="*/ 19 w 44"/>
                <a:gd name="T59" fmla="*/ 12 h 52"/>
                <a:gd name="T60" fmla="*/ 19 w 44"/>
                <a:gd name="T61" fmla="*/ 30 h 52"/>
                <a:gd name="T62" fmla="*/ 10 w 44"/>
                <a:gd name="T63" fmla="*/ 25 h 52"/>
                <a:gd name="T64" fmla="*/ 21 w 44"/>
                <a:gd name="T65" fmla="*/ 34 h 52"/>
                <a:gd name="T66" fmla="*/ 18 w 44"/>
                <a:gd name="T67" fmla="*/ 43 h 52"/>
                <a:gd name="T68" fmla="*/ 15 w 44"/>
                <a:gd name="T69" fmla="*/ 44 h 52"/>
                <a:gd name="T70" fmla="*/ 12 w 44"/>
                <a:gd name="T71" fmla="*/ 44 h 52"/>
                <a:gd name="T72" fmla="*/ 6 w 44"/>
                <a:gd name="T73" fmla="*/ 41 h 52"/>
                <a:gd name="T74" fmla="*/ 4 w 44"/>
                <a:gd name="T75" fmla="*/ 36 h 52"/>
                <a:gd name="T76" fmla="*/ 10 w 44"/>
                <a:gd name="T77" fmla="*/ 31 h 52"/>
                <a:gd name="T78" fmla="*/ 6 w 44"/>
                <a:gd name="T79" fmla="*/ 26 h 52"/>
                <a:gd name="T80" fmla="*/ 7 w 44"/>
                <a:gd name="T81" fmla="*/ 24 h 52"/>
                <a:gd name="T82" fmla="*/ 7 w 44"/>
                <a:gd name="T83" fmla="*/ 19 h 52"/>
                <a:gd name="T84" fmla="*/ 17 w 44"/>
                <a:gd name="T85" fmla="*/ 13 h 52"/>
                <a:gd name="T86" fmla="*/ 17 w 44"/>
                <a:gd name="T87" fmla="*/ 9 h 52"/>
                <a:gd name="T88" fmla="*/ 27 w 44"/>
                <a:gd name="T89" fmla="*/ 8 h 52"/>
                <a:gd name="T90" fmla="*/ 27 w 44"/>
                <a:gd name="T91" fmla="*/ 11 h 52"/>
                <a:gd name="T92" fmla="*/ 40 w 44"/>
                <a:gd name="T93" fmla="*/ 20 h 52"/>
                <a:gd name="T94" fmla="*/ 37 w 44"/>
                <a:gd name="T95" fmla="*/ 20 h 52"/>
                <a:gd name="T96" fmla="*/ 38 w 44"/>
                <a:gd name="T97" fmla="*/ 25 h 52"/>
                <a:gd name="T98" fmla="*/ 36 w 44"/>
                <a:gd name="T99" fmla="*/ 30 h 52"/>
                <a:gd name="T100" fmla="*/ 41 w 44"/>
                <a:gd name="T101" fmla="*/ 35 h 52"/>
                <a:gd name="T102" fmla="*/ 39 w 44"/>
                <a:gd name="T103" fmla="*/ 40 h 52"/>
                <a:gd name="T104" fmla="*/ 32 w 44"/>
                <a:gd name="T105" fmla="*/ 44 h 52"/>
                <a:gd name="T106" fmla="*/ 30 w 44"/>
                <a:gd name="T107" fmla="*/ 44 h 52"/>
                <a:gd name="T108" fmla="*/ 24 w 44"/>
                <a:gd name="T109" fmla="*/ 42 h 52"/>
                <a:gd name="T110" fmla="*/ 25 w 44"/>
                <a:gd name="T111" fmla="*/ 32 h 52"/>
                <a:gd name="T112" fmla="*/ 30 w 44"/>
                <a:gd name="T113" fmla="*/ 25 h 52"/>
                <a:gd name="T114" fmla="*/ 23 w 44"/>
                <a:gd name="T115" fmla="*/ 25 h 52"/>
                <a:gd name="T116" fmla="*/ 27 w 44"/>
                <a:gd name="T117" fmla="*/ 7 h 52"/>
                <a:gd name="T118" fmla="*/ 20 w 44"/>
                <a:gd name="T119" fmla="*/ 5 h 52"/>
                <a:gd name="T120" fmla="*/ 24 w 44"/>
                <a:gd name="T121" fmla="*/ 1 h 52"/>
                <a:gd name="T122" fmla="*/ 2 w 44"/>
                <a:gd name="T123" fmla="*/ 33 h 52"/>
                <a:gd name="T124" fmla="*/ 43 w 44"/>
                <a:gd name="T125" fmla="*/ 3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 h="52">
                  <a:moveTo>
                    <a:pt x="28" y="51"/>
                  </a:moveTo>
                  <a:cubicBezTo>
                    <a:pt x="27" y="51"/>
                    <a:pt x="27" y="51"/>
                    <a:pt x="27" y="51"/>
                  </a:cubicBezTo>
                  <a:cubicBezTo>
                    <a:pt x="28" y="51"/>
                    <a:pt x="28" y="51"/>
                    <a:pt x="28" y="51"/>
                  </a:cubicBezTo>
                  <a:cubicBezTo>
                    <a:pt x="28" y="51"/>
                    <a:pt x="28" y="51"/>
                    <a:pt x="28" y="51"/>
                  </a:cubicBezTo>
                  <a:moveTo>
                    <a:pt x="29" y="51"/>
                  </a:moveTo>
                  <a:cubicBezTo>
                    <a:pt x="29" y="51"/>
                    <a:pt x="29" y="51"/>
                    <a:pt x="29" y="51"/>
                  </a:cubicBezTo>
                  <a:cubicBezTo>
                    <a:pt x="29" y="51"/>
                    <a:pt x="29" y="51"/>
                    <a:pt x="29" y="51"/>
                  </a:cubicBezTo>
                  <a:cubicBezTo>
                    <a:pt x="29" y="51"/>
                    <a:pt x="29" y="51"/>
                    <a:pt x="29" y="51"/>
                  </a:cubicBezTo>
                  <a:cubicBezTo>
                    <a:pt x="29" y="51"/>
                    <a:pt x="29" y="51"/>
                    <a:pt x="29" y="51"/>
                  </a:cubicBezTo>
                  <a:moveTo>
                    <a:pt x="15" y="51"/>
                  </a:moveTo>
                  <a:cubicBezTo>
                    <a:pt x="15" y="51"/>
                    <a:pt x="15" y="51"/>
                    <a:pt x="15" y="51"/>
                  </a:cubicBezTo>
                  <a:cubicBezTo>
                    <a:pt x="15" y="50"/>
                    <a:pt x="15" y="50"/>
                    <a:pt x="15" y="50"/>
                  </a:cubicBezTo>
                  <a:cubicBezTo>
                    <a:pt x="15" y="51"/>
                    <a:pt x="15" y="51"/>
                    <a:pt x="15" y="51"/>
                  </a:cubicBezTo>
                  <a:moveTo>
                    <a:pt x="30" y="51"/>
                  </a:moveTo>
                  <a:cubicBezTo>
                    <a:pt x="30" y="50"/>
                    <a:pt x="30" y="50"/>
                    <a:pt x="30" y="50"/>
                  </a:cubicBezTo>
                  <a:cubicBezTo>
                    <a:pt x="30" y="51"/>
                    <a:pt x="30" y="51"/>
                    <a:pt x="30" y="51"/>
                  </a:cubicBezTo>
                  <a:cubicBezTo>
                    <a:pt x="30" y="51"/>
                    <a:pt x="30" y="51"/>
                    <a:pt x="30" y="51"/>
                  </a:cubicBezTo>
                  <a:cubicBezTo>
                    <a:pt x="30" y="51"/>
                    <a:pt x="30" y="51"/>
                    <a:pt x="30" y="51"/>
                  </a:cubicBezTo>
                  <a:moveTo>
                    <a:pt x="28" y="50"/>
                  </a:moveTo>
                  <a:cubicBezTo>
                    <a:pt x="28" y="50"/>
                    <a:pt x="28" y="50"/>
                    <a:pt x="28" y="50"/>
                  </a:cubicBezTo>
                  <a:cubicBezTo>
                    <a:pt x="29" y="50"/>
                    <a:pt x="29" y="50"/>
                    <a:pt x="29" y="50"/>
                  </a:cubicBezTo>
                  <a:cubicBezTo>
                    <a:pt x="28" y="50"/>
                    <a:pt x="28" y="50"/>
                    <a:pt x="28" y="50"/>
                  </a:cubicBezTo>
                  <a:moveTo>
                    <a:pt x="27" y="50"/>
                  </a:moveTo>
                  <a:cubicBezTo>
                    <a:pt x="27" y="50"/>
                    <a:pt x="27" y="50"/>
                    <a:pt x="27" y="50"/>
                  </a:cubicBezTo>
                  <a:cubicBezTo>
                    <a:pt x="28" y="50"/>
                    <a:pt x="28" y="50"/>
                    <a:pt x="28" y="50"/>
                  </a:cubicBezTo>
                  <a:cubicBezTo>
                    <a:pt x="27" y="50"/>
                    <a:pt x="27" y="50"/>
                    <a:pt x="27" y="50"/>
                  </a:cubicBezTo>
                  <a:moveTo>
                    <a:pt x="16" y="51"/>
                  </a:moveTo>
                  <a:cubicBezTo>
                    <a:pt x="17" y="50"/>
                    <a:pt x="17" y="50"/>
                    <a:pt x="17" y="50"/>
                  </a:cubicBezTo>
                  <a:cubicBezTo>
                    <a:pt x="17" y="50"/>
                    <a:pt x="17" y="50"/>
                    <a:pt x="17" y="50"/>
                  </a:cubicBezTo>
                  <a:cubicBezTo>
                    <a:pt x="17" y="50"/>
                    <a:pt x="17" y="50"/>
                    <a:pt x="17" y="50"/>
                  </a:cubicBezTo>
                  <a:cubicBezTo>
                    <a:pt x="17" y="50"/>
                    <a:pt x="17" y="51"/>
                    <a:pt x="16" y="51"/>
                  </a:cubicBezTo>
                  <a:moveTo>
                    <a:pt x="14" y="50"/>
                  </a:moveTo>
                  <a:cubicBezTo>
                    <a:pt x="15" y="50"/>
                    <a:pt x="15" y="50"/>
                    <a:pt x="15" y="50"/>
                  </a:cubicBezTo>
                  <a:cubicBezTo>
                    <a:pt x="15" y="50"/>
                    <a:pt x="15" y="50"/>
                    <a:pt x="15" y="50"/>
                  </a:cubicBezTo>
                  <a:cubicBezTo>
                    <a:pt x="14" y="50"/>
                    <a:pt x="14" y="50"/>
                    <a:pt x="14" y="50"/>
                  </a:cubicBezTo>
                  <a:moveTo>
                    <a:pt x="30" y="50"/>
                  </a:moveTo>
                  <a:cubicBezTo>
                    <a:pt x="30" y="50"/>
                    <a:pt x="30" y="50"/>
                    <a:pt x="30" y="50"/>
                  </a:cubicBezTo>
                  <a:cubicBezTo>
                    <a:pt x="30" y="50"/>
                    <a:pt x="30" y="50"/>
                    <a:pt x="30" y="50"/>
                  </a:cubicBezTo>
                  <a:cubicBezTo>
                    <a:pt x="30" y="50"/>
                    <a:pt x="30" y="50"/>
                    <a:pt x="30" y="50"/>
                  </a:cubicBezTo>
                  <a:moveTo>
                    <a:pt x="27" y="50"/>
                  </a:moveTo>
                  <a:cubicBezTo>
                    <a:pt x="27" y="50"/>
                    <a:pt x="27" y="50"/>
                    <a:pt x="27" y="50"/>
                  </a:cubicBezTo>
                  <a:cubicBezTo>
                    <a:pt x="27" y="50"/>
                    <a:pt x="27" y="50"/>
                    <a:pt x="27" y="50"/>
                  </a:cubicBezTo>
                  <a:cubicBezTo>
                    <a:pt x="27" y="50"/>
                    <a:pt x="27" y="50"/>
                    <a:pt x="27" y="50"/>
                  </a:cubicBezTo>
                  <a:moveTo>
                    <a:pt x="14" y="50"/>
                  </a:moveTo>
                  <a:cubicBezTo>
                    <a:pt x="13" y="50"/>
                    <a:pt x="13" y="50"/>
                    <a:pt x="13" y="50"/>
                  </a:cubicBezTo>
                  <a:cubicBezTo>
                    <a:pt x="14" y="50"/>
                    <a:pt x="14" y="50"/>
                    <a:pt x="14" y="50"/>
                  </a:cubicBezTo>
                  <a:cubicBezTo>
                    <a:pt x="14" y="50"/>
                    <a:pt x="14" y="50"/>
                    <a:pt x="14" y="50"/>
                  </a:cubicBezTo>
                  <a:moveTo>
                    <a:pt x="18" y="50"/>
                  </a:moveTo>
                  <a:cubicBezTo>
                    <a:pt x="18" y="50"/>
                    <a:pt x="18" y="50"/>
                    <a:pt x="18" y="50"/>
                  </a:cubicBezTo>
                  <a:cubicBezTo>
                    <a:pt x="18" y="50"/>
                    <a:pt x="18" y="50"/>
                    <a:pt x="18" y="50"/>
                  </a:cubicBezTo>
                  <a:cubicBezTo>
                    <a:pt x="18" y="50"/>
                    <a:pt x="18" y="50"/>
                    <a:pt x="18" y="50"/>
                  </a:cubicBezTo>
                  <a:moveTo>
                    <a:pt x="13" y="50"/>
                  </a:moveTo>
                  <a:cubicBezTo>
                    <a:pt x="12" y="50"/>
                    <a:pt x="12" y="50"/>
                    <a:pt x="12" y="50"/>
                  </a:cubicBezTo>
                  <a:cubicBezTo>
                    <a:pt x="13" y="50"/>
                    <a:pt x="13" y="50"/>
                    <a:pt x="13" y="50"/>
                  </a:cubicBezTo>
                  <a:cubicBezTo>
                    <a:pt x="13" y="50"/>
                    <a:pt x="13" y="50"/>
                    <a:pt x="13" y="50"/>
                  </a:cubicBezTo>
                  <a:moveTo>
                    <a:pt x="13" y="50"/>
                  </a:moveTo>
                  <a:cubicBezTo>
                    <a:pt x="13" y="49"/>
                    <a:pt x="13" y="49"/>
                    <a:pt x="13" y="49"/>
                  </a:cubicBezTo>
                  <a:cubicBezTo>
                    <a:pt x="14" y="49"/>
                    <a:pt x="14" y="49"/>
                    <a:pt x="14" y="49"/>
                  </a:cubicBezTo>
                  <a:cubicBezTo>
                    <a:pt x="13" y="50"/>
                    <a:pt x="13" y="50"/>
                    <a:pt x="13" y="50"/>
                  </a:cubicBezTo>
                  <a:moveTo>
                    <a:pt x="31" y="50"/>
                  </a:moveTo>
                  <a:cubicBezTo>
                    <a:pt x="31" y="49"/>
                    <a:pt x="31" y="49"/>
                    <a:pt x="31" y="49"/>
                  </a:cubicBezTo>
                  <a:cubicBezTo>
                    <a:pt x="31" y="49"/>
                    <a:pt x="31" y="49"/>
                    <a:pt x="31" y="49"/>
                  </a:cubicBezTo>
                  <a:cubicBezTo>
                    <a:pt x="31" y="50"/>
                    <a:pt x="31" y="50"/>
                    <a:pt x="31" y="50"/>
                  </a:cubicBezTo>
                  <a:moveTo>
                    <a:pt x="32" y="50"/>
                  </a:moveTo>
                  <a:cubicBezTo>
                    <a:pt x="32" y="49"/>
                    <a:pt x="32" y="49"/>
                    <a:pt x="32" y="49"/>
                  </a:cubicBezTo>
                  <a:cubicBezTo>
                    <a:pt x="32" y="49"/>
                    <a:pt x="32" y="49"/>
                    <a:pt x="32" y="49"/>
                  </a:cubicBezTo>
                  <a:cubicBezTo>
                    <a:pt x="32" y="49"/>
                    <a:pt x="32" y="49"/>
                    <a:pt x="32" y="49"/>
                  </a:cubicBezTo>
                  <a:cubicBezTo>
                    <a:pt x="32" y="50"/>
                    <a:pt x="32" y="50"/>
                    <a:pt x="32" y="50"/>
                  </a:cubicBezTo>
                  <a:moveTo>
                    <a:pt x="27" y="51"/>
                  </a:moveTo>
                  <a:cubicBezTo>
                    <a:pt x="26" y="51"/>
                    <a:pt x="25" y="50"/>
                    <a:pt x="24" y="50"/>
                  </a:cubicBezTo>
                  <a:cubicBezTo>
                    <a:pt x="24" y="49"/>
                    <a:pt x="24" y="49"/>
                    <a:pt x="24" y="49"/>
                  </a:cubicBezTo>
                  <a:cubicBezTo>
                    <a:pt x="24" y="49"/>
                    <a:pt x="24" y="49"/>
                    <a:pt x="24" y="49"/>
                  </a:cubicBezTo>
                  <a:cubicBezTo>
                    <a:pt x="25" y="49"/>
                    <a:pt x="25" y="49"/>
                    <a:pt x="25" y="49"/>
                  </a:cubicBezTo>
                  <a:cubicBezTo>
                    <a:pt x="25" y="49"/>
                    <a:pt x="25" y="49"/>
                    <a:pt x="25" y="49"/>
                  </a:cubicBezTo>
                  <a:cubicBezTo>
                    <a:pt x="25" y="50"/>
                    <a:pt x="25" y="50"/>
                    <a:pt x="25" y="50"/>
                  </a:cubicBezTo>
                  <a:cubicBezTo>
                    <a:pt x="25" y="50"/>
                    <a:pt x="25" y="50"/>
                    <a:pt x="25" y="50"/>
                  </a:cubicBezTo>
                  <a:cubicBezTo>
                    <a:pt x="25" y="50"/>
                    <a:pt x="25" y="50"/>
                    <a:pt x="25" y="50"/>
                  </a:cubicBezTo>
                  <a:cubicBezTo>
                    <a:pt x="26" y="50"/>
                    <a:pt x="26" y="50"/>
                    <a:pt x="26" y="50"/>
                  </a:cubicBezTo>
                  <a:cubicBezTo>
                    <a:pt x="26" y="50"/>
                    <a:pt x="26" y="50"/>
                    <a:pt x="26" y="50"/>
                  </a:cubicBezTo>
                  <a:cubicBezTo>
                    <a:pt x="26" y="51"/>
                    <a:pt x="26" y="51"/>
                    <a:pt x="26" y="51"/>
                  </a:cubicBezTo>
                  <a:cubicBezTo>
                    <a:pt x="26" y="51"/>
                    <a:pt x="26" y="51"/>
                    <a:pt x="26" y="51"/>
                  </a:cubicBezTo>
                  <a:cubicBezTo>
                    <a:pt x="26" y="51"/>
                    <a:pt x="26" y="51"/>
                    <a:pt x="26" y="51"/>
                  </a:cubicBezTo>
                  <a:cubicBezTo>
                    <a:pt x="27" y="51"/>
                    <a:pt x="27" y="51"/>
                    <a:pt x="27" y="51"/>
                  </a:cubicBezTo>
                  <a:cubicBezTo>
                    <a:pt x="27" y="51"/>
                    <a:pt x="27" y="51"/>
                    <a:pt x="27" y="51"/>
                  </a:cubicBezTo>
                  <a:moveTo>
                    <a:pt x="18" y="50"/>
                  </a:moveTo>
                  <a:cubicBezTo>
                    <a:pt x="20" y="49"/>
                    <a:pt x="20" y="49"/>
                    <a:pt x="20" y="49"/>
                  </a:cubicBezTo>
                  <a:cubicBezTo>
                    <a:pt x="20" y="49"/>
                    <a:pt x="20" y="49"/>
                    <a:pt x="20" y="49"/>
                  </a:cubicBezTo>
                  <a:cubicBezTo>
                    <a:pt x="20" y="49"/>
                    <a:pt x="19" y="50"/>
                    <a:pt x="18" y="50"/>
                  </a:cubicBezTo>
                  <a:moveTo>
                    <a:pt x="12" y="49"/>
                  </a:moveTo>
                  <a:cubicBezTo>
                    <a:pt x="12" y="49"/>
                    <a:pt x="12" y="49"/>
                    <a:pt x="12" y="49"/>
                  </a:cubicBezTo>
                  <a:cubicBezTo>
                    <a:pt x="13" y="49"/>
                    <a:pt x="13" y="49"/>
                    <a:pt x="13" y="49"/>
                  </a:cubicBezTo>
                  <a:cubicBezTo>
                    <a:pt x="12" y="49"/>
                    <a:pt x="12" y="49"/>
                    <a:pt x="12" y="49"/>
                  </a:cubicBezTo>
                  <a:moveTo>
                    <a:pt x="12" y="49"/>
                  </a:moveTo>
                  <a:cubicBezTo>
                    <a:pt x="11" y="49"/>
                    <a:pt x="11" y="49"/>
                    <a:pt x="11" y="49"/>
                  </a:cubicBezTo>
                  <a:cubicBezTo>
                    <a:pt x="11" y="49"/>
                    <a:pt x="11" y="49"/>
                    <a:pt x="11" y="49"/>
                  </a:cubicBezTo>
                  <a:cubicBezTo>
                    <a:pt x="11" y="49"/>
                    <a:pt x="11" y="49"/>
                    <a:pt x="11" y="49"/>
                  </a:cubicBezTo>
                  <a:cubicBezTo>
                    <a:pt x="11" y="49"/>
                    <a:pt x="11" y="49"/>
                    <a:pt x="11" y="49"/>
                  </a:cubicBezTo>
                  <a:cubicBezTo>
                    <a:pt x="12" y="48"/>
                    <a:pt x="12" y="48"/>
                    <a:pt x="12" y="48"/>
                  </a:cubicBezTo>
                  <a:cubicBezTo>
                    <a:pt x="12" y="49"/>
                    <a:pt x="12" y="49"/>
                    <a:pt x="12" y="49"/>
                  </a:cubicBezTo>
                  <a:moveTo>
                    <a:pt x="32" y="49"/>
                  </a:moveTo>
                  <a:cubicBezTo>
                    <a:pt x="32" y="48"/>
                    <a:pt x="32" y="48"/>
                    <a:pt x="32" y="48"/>
                  </a:cubicBezTo>
                  <a:cubicBezTo>
                    <a:pt x="32" y="48"/>
                    <a:pt x="32" y="48"/>
                    <a:pt x="32" y="48"/>
                  </a:cubicBezTo>
                  <a:cubicBezTo>
                    <a:pt x="32" y="49"/>
                    <a:pt x="32" y="49"/>
                    <a:pt x="32" y="49"/>
                  </a:cubicBezTo>
                  <a:moveTo>
                    <a:pt x="12" y="48"/>
                  </a:moveTo>
                  <a:cubicBezTo>
                    <a:pt x="12" y="48"/>
                    <a:pt x="12" y="48"/>
                    <a:pt x="12" y="48"/>
                  </a:cubicBezTo>
                  <a:cubicBezTo>
                    <a:pt x="12" y="48"/>
                    <a:pt x="12" y="48"/>
                    <a:pt x="12" y="48"/>
                  </a:cubicBezTo>
                  <a:cubicBezTo>
                    <a:pt x="12" y="48"/>
                    <a:pt x="12" y="48"/>
                    <a:pt x="12" y="48"/>
                  </a:cubicBezTo>
                  <a:moveTo>
                    <a:pt x="24" y="49"/>
                  </a:moveTo>
                  <a:cubicBezTo>
                    <a:pt x="23" y="48"/>
                    <a:pt x="23" y="48"/>
                    <a:pt x="23" y="48"/>
                  </a:cubicBezTo>
                  <a:cubicBezTo>
                    <a:pt x="23" y="48"/>
                    <a:pt x="23" y="48"/>
                    <a:pt x="23" y="48"/>
                  </a:cubicBezTo>
                  <a:cubicBezTo>
                    <a:pt x="24" y="47"/>
                    <a:pt x="24" y="47"/>
                    <a:pt x="24" y="47"/>
                  </a:cubicBezTo>
                  <a:cubicBezTo>
                    <a:pt x="24" y="48"/>
                    <a:pt x="24" y="48"/>
                    <a:pt x="24" y="48"/>
                  </a:cubicBezTo>
                  <a:cubicBezTo>
                    <a:pt x="24" y="48"/>
                    <a:pt x="24" y="49"/>
                    <a:pt x="24" y="49"/>
                  </a:cubicBezTo>
                  <a:moveTo>
                    <a:pt x="11" y="48"/>
                  </a:moveTo>
                  <a:cubicBezTo>
                    <a:pt x="11" y="47"/>
                    <a:pt x="11" y="47"/>
                    <a:pt x="11" y="47"/>
                  </a:cubicBezTo>
                  <a:cubicBezTo>
                    <a:pt x="11" y="47"/>
                    <a:pt x="11" y="47"/>
                    <a:pt x="11" y="47"/>
                  </a:cubicBezTo>
                  <a:cubicBezTo>
                    <a:pt x="11" y="47"/>
                    <a:pt x="11" y="47"/>
                    <a:pt x="11" y="47"/>
                  </a:cubicBezTo>
                  <a:cubicBezTo>
                    <a:pt x="11" y="48"/>
                    <a:pt x="11" y="48"/>
                    <a:pt x="11" y="48"/>
                  </a:cubicBezTo>
                  <a:moveTo>
                    <a:pt x="20" y="48"/>
                  </a:moveTo>
                  <a:cubicBezTo>
                    <a:pt x="20" y="48"/>
                    <a:pt x="20" y="48"/>
                    <a:pt x="20" y="48"/>
                  </a:cubicBezTo>
                  <a:cubicBezTo>
                    <a:pt x="20" y="48"/>
                    <a:pt x="20" y="48"/>
                    <a:pt x="20" y="48"/>
                  </a:cubicBezTo>
                  <a:cubicBezTo>
                    <a:pt x="20" y="48"/>
                    <a:pt x="21" y="48"/>
                    <a:pt x="21" y="47"/>
                  </a:cubicBezTo>
                  <a:cubicBezTo>
                    <a:pt x="21" y="48"/>
                    <a:pt x="21" y="48"/>
                    <a:pt x="21" y="48"/>
                  </a:cubicBezTo>
                  <a:cubicBezTo>
                    <a:pt x="20" y="48"/>
                    <a:pt x="20" y="48"/>
                    <a:pt x="20" y="48"/>
                  </a:cubicBezTo>
                  <a:moveTo>
                    <a:pt x="10" y="47"/>
                  </a:moveTo>
                  <a:cubicBezTo>
                    <a:pt x="10" y="47"/>
                    <a:pt x="10" y="47"/>
                    <a:pt x="10" y="47"/>
                  </a:cubicBezTo>
                  <a:cubicBezTo>
                    <a:pt x="11" y="47"/>
                    <a:pt x="11" y="47"/>
                    <a:pt x="11" y="47"/>
                  </a:cubicBezTo>
                  <a:cubicBezTo>
                    <a:pt x="10" y="47"/>
                    <a:pt x="10" y="47"/>
                    <a:pt x="10" y="47"/>
                  </a:cubicBezTo>
                  <a:moveTo>
                    <a:pt x="10" y="47"/>
                  </a:moveTo>
                  <a:cubicBezTo>
                    <a:pt x="10" y="47"/>
                    <a:pt x="10" y="47"/>
                    <a:pt x="10" y="47"/>
                  </a:cubicBezTo>
                  <a:cubicBezTo>
                    <a:pt x="10" y="47"/>
                    <a:pt x="10" y="47"/>
                    <a:pt x="10" y="47"/>
                  </a:cubicBezTo>
                  <a:cubicBezTo>
                    <a:pt x="10" y="47"/>
                    <a:pt x="10" y="47"/>
                    <a:pt x="10" y="47"/>
                  </a:cubicBezTo>
                  <a:moveTo>
                    <a:pt x="23" y="47"/>
                  </a:moveTo>
                  <a:cubicBezTo>
                    <a:pt x="23" y="47"/>
                    <a:pt x="23" y="47"/>
                    <a:pt x="23" y="47"/>
                  </a:cubicBezTo>
                  <a:cubicBezTo>
                    <a:pt x="23" y="47"/>
                    <a:pt x="23" y="47"/>
                    <a:pt x="23" y="47"/>
                  </a:cubicBezTo>
                  <a:cubicBezTo>
                    <a:pt x="23" y="47"/>
                    <a:pt x="23" y="47"/>
                    <a:pt x="23" y="47"/>
                  </a:cubicBezTo>
                  <a:cubicBezTo>
                    <a:pt x="23" y="47"/>
                    <a:pt x="23" y="47"/>
                    <a:pt x="23" y="47"/>
                  </a:cubicBezTo>
                  <a:moveTo>
                    <a:pt x="21" y="48"/>
                  </a:moveTo>
                  <a:cubicBezTo>
                    <a:pt x="21" y="47"/>
                    <a:pt x="22" y="47"/>
                    <a:pt x="22" y="46"/>
                  </a:cubicBezTo>
                  <a:cubicBezTo>
                    <a:pt x="22" y="47"/>
                    <a:pt x="22" y="47"/>
                    <a:pt x="22" y="47"/>
                  </a:cubicBezTo>
                  <a:cubicBezTo>
                    <a:pt x="22" y="48"/>
                    <a:pt x="22" y="48"/>
                    <a:pt x="22" y="48"/>
                  </a:cubicBezTo>
                  <a:cubicBezTo>
                    <a:pt x="22" y="48"/>
                    <a:pt x="22" y="48"/>
                    <a:pt x="22" y="48"/>
                  </a:cubicBezTo>
                  <a:cubicBezTo>
                    <a:pt x="22" y="47"/>
                    <a:pt x="22" y="47"/>
                    <a:pt x="22" y="47"/>
                  </a:cubicBezTo>
                  <a:cubicBezTo>
                    <a:pt x="22" y="48"/>
                    <a:pt x="22" y="48"/>
                    <a:pt x="22" y="48"/>
                  </a:cubicBezTo>
                  <a:cubicBezTo>
                    <a:pt x="22" y="48"/>
                    <a:pt x="22" y="48"/>
                    <a:pt x="22" y="48"/>
                  </a:cubicBezTo>
                  <a:cubicBezTo>
                    <a:pt x="21" y="48"/>
                    <a:pt x="21" y="48"/>
                    <a:pt x="21" y="48"/>
                  </a:cubicBezTo>
                  <a:moveTo>
                    <a:pt x="9" y="47"/>
                  </a:moveTo>
                  <a:cubicBezTo>
                    <a:pt x="9" y="46"/>
                    <a:pt x="9" y="46"/>
                    <a:pt x="9" y="46"/>
                  </a:cubicBezTo>
                  <a:cubicBezTo>
                    <a:pt x="9" y="46"/>
                    <a:pt x="9" y="46"/>
                    <a:pt x="9" y="46"/>
                  </a:cubicBezTo>
                  <a:cubicBezTo>
                    <a:pt x="9" y="46"/>
                    <a:pt x="9" y="46"/>
                    <a:pt x="9" y="46"/>
                  </a:cubicBezTo>
                  <a:cubicBezTo>
                    <a:pt x="9" y="46"/>
                    <a:pt x="9" y="46"/>
                    <a:pt x="9" y="46"/>
                  </a:cubicBezTo>
                  <a:cubicBezTo>
                    <a:pt x="9" y="47"/>
                    <a:pt x="9" y="47"/>
                    <a:pt x="9" y="47"/>
                  </a:cubicBezTo>
                  <a:moveTo>
                    <a:pt x="11" y="46"/>
                  </a:moveTo>
                  <a:cubicBezTo>
                    <a:pt x="10" y="46"/>
                    <a:pt x="10" y="46"/>
                    <a:pt x="10" y="46"/>
                  </a:cubicBezTo>
                  <a:cubicBezTo>
                    <a:pt x="11" y="46"/>
                    <a:pt x="11" y="46"/>
                    <a:pt x="11" y="46"/>
                  </a:cubicBezTo>
                  <a:cubicBezTo>
                    <a:pt x="11" y="46"/>
                    <a:pt x="11" y="46"/>
                    <a:pt x="11" y="46"/>
                  </a:cubicBezTo>
                  <a:moveTo>
                    <a:pt x="34" y="46"/>
                  </a:moveTo>
                  <a:cubicBezTo>
                    <a:pt x="34" y="46"/>
                    <a:pt x="34" y="46"/>
                    <a:pt x="34" y="46"/>
                  </a:cubicBezTo>
                  <a:cubicBezTo>
                    <a:pt x="34" y="46"/>
                    <a:pt x="34" y="46"/>
                    <a:pt x="34" y="46"/>
                  </a:cubicBezTo>
                  <a:cubicBezTo>
                    <a:pt x="34" y="46"/>
                    <a:pt x="34" y="46"/>
                    <a:pt x="34" y="46"/>
                  </a:cubicBezTo>
                  <a:moveTo>
                    <a:pt x="8" y="46"/>
                  </a:moveTo>
                  <a:cubicBezTo>
                    <a:pt x="8" y="46"/>
                    <a:pt x="8" y="46"/>
                    <a:pt x="8" y="46"/>
                  </a:cubicBezTo>
                  <a:cubicBezTo>
                    <a:pt x="9" y="46"/>
                    <a:pt x="9" y="46"/>
                    <a:pt x="9" y="46"/>
                  </a:cubicBezTo>
                  <a:cubicBezTo>
                    <a:pt x="8" y="46"/>
                    <a:pt x="8" y="46"/>
                    <a:pt x="8" y="46"/>
                  </a:cubicBezTo>
                  <a:cubicBezTo>
                    <a:pt x="8" y="46"/>
                    <a:pt x="8" y="46"/>
                    <a:pt x="8" y="46"/>
                  </a:cubicBezTo>
                  <a:moveTo>
                    <a:pt x="19" y="48"/>
                  </a:moveTo>
                  <a:cubicBezTo>
                    <a:pt x="19" y="47"/>
                    <a:pt x="19" y="47"/>
                    <a:pt x="19" y="47"/>
                  </a:cubicBezTo>
                  <a:cubicBezTo>
                    <a:pt x="20" y="47"/>
                    <a:pt x="20" y="46"/>
                    <a:pt x="21" y="45"/>
                  </a:cubicBezTo>
                  <a:cubicBezTo>
                    <a:pt x="20" y="47"/>
                    <a:pt x="20" y="47"/>
                    <a:pt x="20" y="47"/>
                  </a:cubicBezTo>
                  <a:cubicBezTo>
                    <a:pt x="20" y="47"/>
                    <a:pt x="20" y="47"/>
                    <a:pt x="19" y="48"/>
                  </a:cubicBezTo>
                  <a:moveTo>
                    <a:pt x="24" y="47"/>
                  </a:moveTo>
                  <a:cubicBezTo>
                    <a:pt x="24" y="47"/>
                    <a:pt x="24" y="47"/>
                    <a:pt x="24" y="47"/>
                  </a:cubicBezTo>
                  <a:cubicBezTo>
                    <a:pt x="24" y="45"/>
                    <a:pt x="24" y="45"/>
                    <a:pt x="24" y="45"/>
                  </a:cubicBezTo>
                  <a:cubicBezTo>
                    <a:pt x="24" y="46"/>
                    <a:pt x="24" y="47"/>
                    <a:pt x="25" y="47"/>
                  </a:cubicBezTo>
                  <a:cubicBezTo>
                    <a:pt x="25" y="48"/>
                    <a:pt x="25" y="48"/>
                    <a:pt x="25" y="48"/>
                  </a:cubicBezTo>
                  <a:cubicBezTo>
                    <a:pt x="24" y="47"/>
                    <a:pt x="24" y="47"/>
                    <a:pt x="24" y="47"/>
                  </a:cubicBezTo>
                  <a:cubicBezTo>
                    <a:pt x="24" y="47"/>
                    <a:pt x="24" y="47"/>
                    <a:pt x="24" y="47"/>
                  </a:cubicBezTo>
                  <a:cubicBezTo>
                    <a:pt x="24" y="47"/>
                    <a:pt x="24" y="47"/>
                    <a:pt x="24" y="47"/>
                  </a:cubicBezTo>
                  <a:cubicBezTo>
                    <a:pt x="24" y="47"/>
                    <a:pt x="24" y="47"/>
                    <a:pt x="24" y="47"/>
                  </a:cubicBezTo>
                  <a:cubicBezTo>
                    <a:pt x="24" y="47"/>
                    <a:pt x="24" y="47"/>
                    <a:pt x="24" y="47"/>
                  </a:cubicBezTo>
                  <a:moveTo>
                    <a:pt x="12" y="45"/>
                  </a:moveTo>
                  <a:cubicBezTo>
                    <a:pt x="12" y="45"/>
                    <a:pt x="12" y="45"/>
                    <a:pt x="12" y="45"/>
                  </a:cubicBezTo>
                  <a:cubicBezTo>
                    <a:pt x="13" y="45"/>
                    <a:pt x="13" y="45"/>
                    <a:pt x="13" y="45"/>
                  </a:cubicBezTo>
                  <a:cubicBezTo>
                    <a:pt x="13" y="45"/>
                    <a:pt x="13" y="45"/>
                    <a:pt x="13" y="45"/>
                  </a:cubicBezTo>
                  <a:cubicBezTo>
                    <a:pt x="12" y="45"/>
                    <a:pt x="12" y="45"/>
                    <a:pt x="12" y="45"/>
                  </a:cubicBezTo>
                  <a:moveTo>
                    <a:pt x="32" y="45"/>
                  </a:moveTo>
                  <a:cubicBezTo>
                    <a:pt x="32" y="45"/>
                    <a:pt x="32" y="45"/>
                    <a:pt x="32" y="45"/>
                  </a:cubicBezTo>
                  <a:cubicBezTo>
                    <a:pt x="32" y="45"/>
                    <a:pt x="32" y="45"/>
                    <a:pt x="32" y="45"/>
                  </a:cubicBezTo>
                  <a:cubicBezTo>
                    <a:pt x="32" y="45"/>
                    <a:pt x="32" y="45"/>
                    <a:pt x="32" y="45"/>
                  </a:cubicBezTo>
                  <a:cubicBezTo>
                    <a:pt x="32" y="45"/>
                    <a:pt x="32" y="45"/>
                    <a:pt x="32" y="45"/>
                  </a:cubicBezTo>
                  <a:moveTo>
                    <a:pt x="8" y="45"/>
                  </a:moveTo>
                  <a:cubicBezTo>
                    <a:pt x="8" y="45"/>
                    <a:pt x="8" y="45"/>
                    <a:pt x="8" y="45"/>
                  </a:cubicBezTo>
                  <a:cubicBezTo>
                    <a:pt x="8" y="45"/>
                    <a:pt x="8" y="45"/>
                    <a:pt x="8" y="45"/>
                  </a:cubicBezTo>
                  <a:cubicBezTo>
                    <a:pt x="8" y="45"/>
                    <a:pt x="8" y="45"/>
                    <a:pt x="8" y="45"/>
                  </a:cubicBezTo>
                  <a:moveTo>
                    <a:pt x="8" y="44"/>
                  </a:moveTo>
                  <a:cubicBezTo>
                    <a:pt x="8" y="44"/>
                    <a:pt x="8" y="44"/>
                    <a:pt x="8" y="44"/>
                  </a:cubicBezTo>
                  <a:cubicBezTo>
                    <a:pt x="8" y="44"/>
                    <a:pt x="8" y="44"/>
                    <a:pt x="8" y="44"/>
                  </a:cubicBezTo>
                  <a:cubicBezTo>
                    <a:pt x="8" y="44"/>
                    <a:pt x="8" y="44"/>
                    <a:pt x="8" y="44"/>
                  </a:cubicBezTo>
                  <a:moveTo>
                    <a:pt x="7" y="44"/>
                  </a:moveTo>
                  <a:cubicBezTo>
                    <a:pt x="7" y="44"/>
                    <a:pt x="7" y="44"/>
                    <a:pt x="7" y="44"/>
                  </a:cubicBezTo>
                  <a:cubicBezTo>
                    <a:pt x="7" y="43"/>
                    <a:pt x="7" y="43"/>
                    <a:pt x="7" y="43"/>
                  </a:cubicBezTo>
                  <a:cubicBezTo>
                    <a:pt x="7" y="44"/>
                    <a:pt x="7" y="44"/>
                    <a:pt x="7" y="44"/>
                  </a:cubicBezTo>
                  <a:moveTo>
                    <a:pt x="8" y="44"/>
                  </a:moveTo>
                  <a:cubicBezTo>
                    <a:pt x="8" y="43"/>
                    <a:pt x="8" y="43"/>
                    <a:pt x="8" y="43"/>
                  </a:cubicBezTo>
                  <a:cubicBezTo>
                    <a:pt x="8" y="43"/>
                    <a:pt x="8" y="43"/>
                    <a:pt x="8" y="43"/>
                  </a:cubicBezTo>
                  <a:cubicBezTo>
                    <a:pt x="8" y="44"/>
                    <a:pt x="8" y="44"/>
                    <a:pt x="8" y="44"/>
                  </a:cubicBezTo>
                  <a:cubicBezTo>
                    <a:pt x="8" y="44"/>
                    <a:pt x="8" y="44"/>
                    <a:pt x="8" y="44"/>
                  </a:cubicBezTo>
                  <a:moveTo>
                    <a:pt x="6" y="43"/>
                  </a:moveTo>
                  <a:cubicBezTo>
                    <a:pt x="6" y="43"/>
                    <a:pt x="6" y="43"/>
                    <a:pt x="6" y="43"/>
                  </a:cubicBezTo>
                  <a:cubicBezTo>
                    <a:pt x="7" y="43"/>
                    <a:pt x="7" y="43"/>
                    <a:pt x="7" y="43"/>
                  </a:cubicBezTo>
                  <a:cubicBezTo>
                    <a:pt x="6" y="43"/>
                    <a:pt x="6" y="43"/>
                    <a:pt x="6" y="43"/>
                  </a:cubicBezTo>
                  <a:moveTo>
                    <a:pt x="6" y="43"/>
                  </a:moveTo>
                  <a:cubicBezTo>
                    <a:pt x="6" y="43"/>
                    <a:pt x="6" y="43"/>
                    <a:pt x="6" y="43"/>
                  </a:cubicBezTo>
                  <a:cubicBezTo>
                    <a:pt x="6" y="43"/>
                    <a:pt x="6" y="43"/>
                    <a:pt x="6" y="43"/>
                  </a:cubicBezTo>
                  <a:cubicBezTo>
                    <a:pt x="6" y="43"/>
                    <a:pt x="6" y="43"/>
                    <a:pt x="6" y="43"/>
                  </a:cubicBezTo>
                  <a:moveTo>
                    <a:pt x="6" y="43"/>
                  </a:moveTo>
                  <a:cubicBezTo>
                    <a:pt x="6" y="43"/>
                    <a:pt x="6" y="43"/>
                    <a:pt x="6" y="43"/>
                  </a:cubicBezTo>
                  <a:cubicBezTo>
                    <a:pt x="6" y="43"/>
                    <a:pt x="6" y="43"/>
                    <a:pt x="6" y="43"/>
                  </a:cubicBezTo>
                  <a:cubicBezTo>
                    <a:pt x="6" y="43"/>
                    <a:pt x="6" y="43"/>
                    <a:pt x="6" y="43"/>
                  </a:cubicBezTo>
                  <a:moveTo>
                    <a:pt x="7" y="42"/>
                  </a:moveTo>
                  <a:cubicBezTo>
                    <a:pt x="7" y="42"/>
                    <a:pt x="7" y="42"/>
                    <a:pt x="7" y="42"/>
                  </a:cubicBezTo>
                  <a:cubicBezTo>
                    <a:pt x="7" y="42"/>
                    <a:pt x="7" y="42"/>
                    <a:pt x="7" y="42"/>
                  </a:cubicBezTo>
                  <a:cubicBezTo>
                    <a:pt x="7" y="42"/>
                    <a:pt x="6" y="42"/>
                    <a:pt x="6" y="42"/>
                  </a:cubicBezTo>
                  <a:cubicBezTo>
                    <a:pt x="6" y="42"/>
                    <a:pt x="6" y="42"/>
                    <a:pt x="6" y="42"/>
                  </a:cubicBezTo>
                  <a:cubicBezTo>
                    <a:pt x="7" y="42"/>
                    <a:pt x="7" y="42"/>
                    <a:pt x="7" y="42"/>
                  </a:cubicBezTo>
                  <a:moveTo>
                    <a:pt x="38" y="42"/>
                  </a:moveTo>
                  <a:cubicBezTo>
                    <a:pt x="38" y="42"/>
                    <a:pt x="38" y="42"/>
                    <a:pt x="38" y="42"/>
                  </a:cubicBezTo>
                  <a:cubicBezTo>
                    <a:pt x="38" y="42"/>
                    <a:pt x="38" y="42"/>
                    <a:pt x="38" y="42"/>
                  </a:cubicBezTo>
                  <a:cubicBezTo>
                    <a:pt x="38" y="42"/>
                    <a:pt x="38" y="42"/>
                    <a:pt x="37" y="42"/>
                  </a:cubicBezTo>
                  <a:cubicBezTo>
                    <a:pt x="37" y="42"/>
                    <a:pt x="37" y="42"/>
                    <a:pt x="37" y="42"/>
                  </a:cubicBezTo>
                  <a:cubicBezTo>
                    <a:pt x="38" y="42"/>
                    <a:pt x="38" y="42"/>
                    <a:pt x="38" y="42"/>
                  </a:cubicBezTo>
                  <a:moveTo>
                    <a:pt x="8" y="43"/>
                  </a:moveTo>
                  <a:cubicBezTo>
                    <a:pt x="8" y="43"/>
                    <a:pt x="8" y="43"/>
                    <a:pt x="8" y="43"/>
                  </a:cubicBezTo>
                  <a:cubicBezTo>
                    <a:pt x="8" y="42"/>
                    <a:pt x="8" y="42"/>
                    <a:pt x="8" y="42"/>
                  </a:cubicBezTo>
                  <a:cubicBezTo>
                    <a:pt x="8" y="42"/>
                    <a:pt x="8" y="42"/>
                    <a:pt x="8" y="42"/>
                  </a:cubicBezTo>
                  <a:cubicBezTo>
                    <a:pt x="8" y="43"/>
                    <a:pt x="8" y="43"/>
                    <a:pt x="8" y="43"/>
                  </a:cubicBezTo>
                  <a:moveTo>
                    <a:pt x="36" y="43"/>
                  </a:moveTo>
                  <a:cubicBezTo>
                    <a:pt x="36" y="42"/>
                    <a:pt x="36" y="42"/>
                    <a:pt x="36" y="42"/>
                  </a:cubicBezTo>
                  <a:cubicBezTo>
                    <a:pt x="37" y="42"/>
                    <a:pt x="37" y="42"/>
                    <a:pt x="37" y="42"/>
                  </a:cubicBezTo>
                  <a:cubicBezTo>
                    <a:pt x="37" y="43"/>
                    <a:pt x="37" y="43"/>
                    <a:pt x="37" y="43"/>
                  </a:cubicBezTo>
                  <a:cubicBezTo>
                    <a:pt x="36" y="43"/>
                    <a:pt x="36" y="43"/>
                    <a:pt x="36" y="43"/>
                  </a:cubicBezTo>
                  <a:moveTo>
                    <a:pt x="36" y="43"/>
                  </a:moveTo>
                  <a:cubicBezTo>
                    <a:pt x="35" y="42"/>
                    <a:pt x="35" y="42"/>
                    <a:pt x="35" y="42"/>
                  </a:cubicBezTo>
                  <a:cubicBezTo>
                    <a:pt x="35" y="42"/>
                    <a:pt x="35" y="42"/>
                    <a:pt x="35" y="42"/>
                  </a:cubicBezTo>
                  <a:cubicBezTo>
                    <a:pt x="36" y="41"/>
                    <a:pt x="36" y="41"/>
                    <a:pt x="36" y="41"/>
                  </a:cubicBezTo>
                  <a:cubicBezTo>
                    <a:pt x="36" y="41"/>
                    <a:pt x="36" y="41"/>
                    <a:pt x="36" y="41"/>
                  </a:cubicBezTo>
                  <a:cubicBezTo>
                    <a:pt x="36" y="41"/>
                    <a:pt x="36" y="41"/>
                    <a:pt x="36" y="41"/>
                  </a:cubicBezTo>
                  <a:cubicBezTo>
                    <a:pt x="36" y="43"/>
                    <a:pt x="36" y="43"/>
                    <a:pt x="36" y="43"/>
                  </a:cubicBezTo>
                  <a:cubicBezTo>
                    <a:pt x="36" y="43"/>
                    <a:pt x="36" y="43"/>
                    <a:pt x="36" y="43"/>
                  </a:cubicBezTo>
                  <a:moveTo>
                    <a:pt x="8" y="43"/>
                  </a:moveTo>
                  <a:cubicBezTo>
                    <a:pt x="9" y="41"/>
                    <a:pt x="9" y="41"/>
                    <a:pt x="9" y="41"/>
                  </a:cubicBezTo>
                  <a:cubicBezTo>
                    <a:pt x="9" y="41"/>
                    <a:pt x="9" y="41"/>
                    <a:pt x="9" y="41"/>
                  </a:cubicBezTo>
                  <a:cubicBezTo>
                    <a:pt x="9" y="41"/>
                    <a:pt x="9" y="41"/>
                    <a:pt x="9" y="41"/>
                  </a:cubicBezTo>
                  <a:cubicBezTo>
                    <a:pt x="9" y="42"/>
                    <a:pt x="9" y="42"/>
                    <a:pt x="9" y="42"/>
                  </a:cubicBezTo>
                  <a:cubicBezTo>
                    <a:pt x="9" y="42"/>
                    <a:pt x="9" y="42"/>
                    <a:pt x="9" y="42"/>
                  </a:cubicBezTo>
                  <a:cubicBezTo>
                    <a:pt x="9" y="43"/>
                    <a:pt x="9" y="43"/>
                    <a:pt x="9" y="43"/>
                  </a:cubicBezTo>
                  <a:cubicBezTo>
                    <a:pt x="9" y="43"/>
                    <a:pt x="9" y="43"/>
                    <a:pt x="9" y="43"/>
                  </a:cubicBezTo>
                  <a:cubicBezTo>
                    <a:pt x="8" y="43"/>
                    <a:pt x="8" y="43"/>
                    <a:pt x="8" y="43"/>
                  </a:cubicBezTo>
                  <a:moveTo>
                    <a:pt x="22" y="46"/>
                  </a:moveTo>
                  <a:cubicBezTo>
                    <a:pt x="22" y="46"/>
                    <a:pt x="22" y="45"/>
                    <a:pt x="22" y="44"/>
                  </a:cubicBezTo>
                  <a:cubicBezTo>
                    <a:pt x="22" y="44"/>
                    <a:pt x="22" y="44"/>
                    <a:pt x="22" y="44"/>
                  </a:cubicBezTo>
                  <a:cubicBezTo>
                    <a:pt x="22" y="43"/>
                    <a:pt x="22" y="43"/>
                    <a:pt x="22" y="42"/>
                  </a:cubicBezTo>
                  <a:cubicBezTo>
                    <a:pt x="22" y="41"/>
                    <a:pt x="22" y="41"/>
                    <a:pt x="22" y="40"/>
                  </a:cubicBezTo>
                  <a:cubicBezTo>
                    <a:pt x="22" y="41"/>
                    <a:pt x="22" y="41"/>
                    <a:pt x="22" y="42"/>
                  </a:cubicBezTo>
                  <a:cubicBezTo>
                    <a:pt x="22" y="43"/>
                    <a:pt x="22" y="45"/>
                    <a:pt x="23" y="46"/>
                  </a:cubicBezTo>
                  <a:cubicBezTo>
                    <a:pt x="22" y="46"/>
                    <a:pt x="22" y="46"/>
                    <a:pt x="22" y="46"/>
                  </a:cubicBezTo>
                  <a:moveTo>
                    <a:pt x="5" y="42"/>
                  </a:moveTo>
                  <a:cubicBezTo>
                    <a:pt x="4" y="41"/>
                    <a:pt x="4" y="40"/>
                    <a:pt x="4" y="39"/>
                  </a:cubicBezTo>
                  <a:cubicBezTo>
                    <a:pt x="4" y="39"/>
                    <a:pt x="4" y="39"/>
                    <a:pt x="4" y="39"/>
                  </a:cubicBezTo>
                  <a:cubicBezTo>
                    <a:pt x="4" y="39"/>
                    <a:pt x="4" y="39"/>
                    <a:pt x="4" y="39"/>
                  </a:cubicBezTo>
                  <a:cubicBezTo>
                    <a:pt x="4" y="40"/>
                    <a:pt x="4" y="40"/>
                    <a:pt x="4" y="40"/>
                  </a:cubicBezTo>
                  <a:cubicBezTo>
                    <a:pt x="4" y="40"/>
                    <a:pt x="4" y="40"/>
                    <a:pt x="4" y="40"/>
                  </a:cubicBezTo>
                  <a:cubicBezTo>
                    <a:pt x="4" y="41"/>
                    <a:pt x="4" y="41"/>
                    <a:pt x="5" y="42"/>
                  </a:cubicBezTo>
                  <a:cubicBezTo>
                    <a:pt x="5" y="42"/>
                    <a:pt x="5" y="42"/>
                    <a:pt x="5" y="42"/>
                  </a:cubicBezTo>
                  <a:moveTo>
                    <a:pt x="33" y="47"/>
                  </a:moveTo>
                  <a:cubicBezTo>
                    <a:pt x="33" y="47"/>
                    <a:pt x="33" y="47"/>
                    <a:pt x="33" y="47"/>
                  </a:cubicBezTo>
                  <a:cubicBezTo>
                    <a:pt x="34" y="47"/>
                    <a:pt x="35" y="46"/>
                    <a:pt x="35" y="46"/>
                  </a:cubicBezTo>
                  <a:cubicBezTo>
                    <a:pt x="36" y="45"/>
                    <a:pt x="36" y="45"/>
                    <a:pt x="36" y="44"/>
                  </a:cubicBezTo>
                  <a:cubicBezTo>
                    <a:pt x="36" y="44"/>
                    <a:pt x="36" y="44"/>
                    <a:pt x="36" y="44"/>
                  </a:cubicBezTo>
                  <a:cubicBezTo>
                    <a:pt x="36" y="43"/>
                    <a:pt x="36" y="43"/>
                    <a:pt x="36" y="43"/>
                  </a:cubicBezTo>
                  <a:cubicBezTo>
                    <a:pt x="38" y="43"/>
                    <a:pt x="40" y="42"/>
                    <a:pt x="40" y="40"/>
                  </a:cubicBezTo>
                  <a:cubicBezTo>
                    <a:pt x="40" y="40"/>
                    <a:pt x="40" y="40"/>
                    <a:pt x="40" y="40"/>
                  </a:cubicBezTo>
                  <a:cubicBezTo>
                    <a:pt x="40" y="39"/>
                    <a:pt x="40" y="39"/>
                    <a:pt x="41" y="38"/>
                  </a:cubicBezTo>
                  <a:cubicBezTo>
                    <a:pt x="41" y="38"/>
                    <a:pt x="41" y="38"/>
                    <a:pt x="41" y="38"/>
                  </a:cubicBezTo>
                  <a:cubicBezTo>
                    <a:pt x="41" y="38"/>
                    <a:pt x="41" y="38"/>
                    <a:pt x="41" y="38"/>
                  </a:cubicBezTo>
                  <a:cubicBezTo>
                    <a:pt x="41" y="38"/>
                    <a:pt x="41" y="38"/>
                    <a:pt x="41" y="38"/>
                  </a:cubicBezTo>
                  <a:cubicBezTo>
                    <a:pt x="41" y="38"/>
                    <a:pt x="41" y="38"/>
                    <a:pt x="41" y="38"/>
                  </a:cubicBezTo>
                  <a:cubicBezTo>
                    <a:pt x="41" y="38"/>
                    <a:pt x="41" y="38"/>
                    <a:pt x="41" y="38"/>
                  </a:cubicBezTo>
                  <a:cubicBezTo>
                    <a:pt x="41" y="39"/>
                    <a:pt x="41" y="39"/>
                    <a:pt x="41" y="39"/>
                  </a:cubicBezTo>
                  <a:cubicBezTo>
                    <a:pt x="41" y="40"/>
                    <a:pt x="41" y="40"/>
                    <a:pt x="41" y="40"/>
                  </a:cubicBezTo>
                  <a:cubicBezTo>
                    <a:pt x="40" y="40"/>
                    <a:pt x="40" y="40"/>
                    <a:pt x="40" y="40"/>
                  </a:cubicBezTo>
                  <a:cubicBezTo>
                    <a:pt x="40" y="41"/>
                    <a:pt x="40" y="41"/>
                    <a:pt x="40" y="42"/>
                  </a:cubicBezTo>
                  <a:cubicBezTo>
                    <a:pt x="40" y="42"/>
                    <a:pt x="40" y="42"/>
                    <a:pt x="40" y="43"/>
                  </a:cubicBezTo>
                  <a:cubicBezTo>
                    <a:pt x="40" y="43"/>
                    <a:pt x="39" y="43"/>
                    <a:pt x="39" y="44"/>
                  </a:cubicBezTo>
                  <a:cubicBezTo>
                    <a:pt x="38" y="44"/>
                    <a:pt x="38" y="44"/>
                    <a:pt x="37" y="45"/>
                  </a:cubicBezTo>
                  <a:cubicBezTo>
                    <a:pt x="37" y="45"/>
                    <a:pt x="37" y="45"/>
                    <a:pt x="36" y="46"/>
                  </a:cubicBezTo>
                  <a:cubicBezTo>
                    <a:pt x="36" y="46"/>
                    <a:pt x="36" y="47"/>
                    <a:pt x="35" y="47"/>
                  </a:cubicBezTo>
                  <a:cubicBezTo>
                    <a:pt x="35" y="47"/>
                    <a:pt x="35" y="47"/>
                    <a:pt x="35" y="47"/>
                  </a:cubicBezTo>
                  <a:cubicBezTo>
                    <a:pt x="34" y="47"/>
                    <a:pt x="34" y="47"/>
                    <a:pt x="34" y="47"/>
                  </a:cubicBezTo>
                  <a:cubicBezTo>
                    <a:pt x="33" y="47"/>
                    <a:pt x="33" y="47"/>
                    <a:pt x="33" y="47"/>
                  </a:cubicBezTo>
                  <a:moveTo>
                    <a:pt x="4" y="38"/>
                  </a:moveTo>
                  <a:cubicBezTo>
                    <a:pt x="4" y="38"/>
                    <a:pt x="4" y="38"/>
                    <a:pt x="4" y="38"/>
                  </a:cubicBezTo>
                  <a:cubicBezTo>
                    <a:pt x="4" y="38"/>
                    <a:pt x="4" y="38"/>
                    <a:pt x="4" y="38"/>
                  </a:cubicBezTo>
                  <a:cubicBezTo>
                    <a:pt x="4" y="37"/>
                    <a:pt x="4" y="37"/>
                    <a:pt x="4" y="37"/>
                  </a:cubicBezTo>
                  <a:cubicBezTo>
                    <a:pt x="5" y="37"/>
                    <a:pt x="5" y="37"/>
                    <a:pt x="5" y="37"/>
                  </a:cubicBezTo>
                  <a:cubicBezTo>
                    <a:pt x="5" y="37"/>
                    <a:pt x="5" y="37"/>
                    <a:pt x="5" y="37"/>
                  </a:cubicBezTo>
                  <a:cubicBezTo>
                    <a:pt x="5" y="37"/>
                    <a:pt x="5" y="38"/>
                    <a:pt x="4" y="38"/>
                  </a:cubicBezTo>
                  <a:moveTo>
                    <a:pt x="40" y="38"/>
                  </a:moveTo>
                  <a:cubicBezTo>
                    <a:pt x="40" y="38"/>
                    <a:pt x="39" y="37"/>
                    <a:pt x="39" y="37"/>
                  </a:cubicBezTo>
                  <a:cubicBezTo>
                    <a:pt x="39" y="37"/>
                    <a:pt x="39" y="37"/>
                    <a:pt x="39" y="37"/>
                  </a:cubicBezTo>
                  <a:cubicBezTo>
                    <a:pt x="39" y="37"/>
                    <a:pt x="40" y="37"/>
                    <a:pt x="40" y="37"/>
                  </a:cubicBezTo>
                  <a:cubicBezTo>
                    <a:pt x="40" y="38"/>
                    <a:pt x="40" y="38"/>
                    <a:pt x="40" y="38"/>
                  </a:cubicBezTo>
                  <a:cubicBezTo>
                    <a:pt x="40" y="38"/>
                    <a:pt x="40" y="38"/>
                    <a:pt x="40" y="38"/>
                  </a:cubicBezTo>
                  <a:cubicBezTo>
                    <a:pt x="40" y="38"/>
                    <a:pt x="40" y="38"/>
                    <a:pt x="40" y="38"/>
                  </a:cubicBezTo>
                  <a:moveTo>
                    <a:pt x="10" y="37"/>
                  </a:moveTo>
                  <a:cubicBezTo>
                    <a:pt x="10" y="37"/>
                    <a:pt x="9" y="37"/>
                    <a:pt x="9" y="37"/>
                  </a:cubicBezTo>
                  <a:cubicBezTo>
                    <a:pt x="9" y="37"/>
                    <a:pt x="9" y="37"/>
                    <a:pt x="9" y="37"/>
                  </a:cubicBezTo>
                  <a:cubicBezTo>
                    <a:pt x="10" y="37"/>
                    <a:pt x="10" y="37"/>
                    <a:pt x="10" y="37"/>
                  </a:cubicBezTo>
                  <a:cubicBezTo>
                    <a:pt x="10" y="37"/>
                    <a:pt x="10" y="37"/>
                    <a:pt x="10" y="37"/>
                  </a:cubicBezTo>
                  <a:cubicBezTo>
                    <a:pt x="11" y="37"/>
                    <a:pt x="11" y="37"/>
                    <a:pt x="11" y="37"/>
                  </a:cubicBezTo>
                  <a:cubicBezTo>
                    <a:pt x="11" y="37"/>
                    <a:pt x="11" y="37"/>
                    <a:pt x="11" y="37"/>
                  </a:cubicBezTo>
                  <a:cubicBezTo>
                    <a:pt x="10" y="37"/>
                    <a:pt x="10" y="37"/>
                    <a:pt x="10" y="37"/>
                  </a:cubicBezTo>
                  <a:cubicBezTo>
                    <a:pt x="10" y="37"/>
                    <a:pt x="10" y="37"/>
                    <a:pt x="10" y="37"/>
                  </a:cubicBezTo>
                  <a:moveTo>
                    <a:pt x="35" y="37"/>
                  </a:moveTo>
                  <a:cubicBezTo>
                    <a:pt x="35" y="37"/>
                    <a:pt x="35" y="37"/>
                    <a:pt x="35" y="37"/>
                  </a:cubicBezTo>
                  <a:cubicBezTo>
                    <a:pt x="35" y="37"/>
                    <a:pt x="35" y="37"/>
                    <a:pt x="35" y="37"/>
                  </a:cubicBezTo>
                  <a:cubicBezTo>
                    <a:pt x="35" y="37"/>
                    <a:pt x="35" y="37"/>
                    <a:pt x="35" y="37"/>
                  </a:cubicBezTo>
                  <a:cubicBezTo>
                    <a:pt x="35" y="37"/>
                    <a:pt x="35" y="37"/>
                    <a:pt x="34" y="37"/>
                  </a:cubicBezTo>
                  <a:cubicBezTo>
                    <a:pt x="34" y="37"/>
                    <a:pt x="34" y="37"/>
                    <a:pt x="34" y="37"/>
                  </a:cubicBezTo>
                  <a:cubicBezTo>
                    <a:pt x="34" y="37"/>
                    <a:pt x="34" y="37"/>
                    <a:pt x="34" y="37"/>
                  </a:cubicBezTo>
                  <a:cubicBezTo>
                    <a:pt x="34" y="37"/>
                    <a:pt x="34" y="37"/>
                    <a:pt x="34" y="37"/>
                  </a:cubicBezTo>
                  <a:cubicBezTo>
                    <a:pt x="35" y="37"/>
                    <a:pt x="35" y="37"/>
                    <a:pt x="35" y="37"/>
                  </a:cubicBezTo>
                  <a:moveTo>
                    <a:pt x="21" y="38"/>
                  </a:moveTo>
                  <a:cubicBezTo>
                    <a:pt x="21" y="37"/>
                    <a:pt x="21" y="37"/>
                    <a:pt x="21" y="37"/>
                  </a:cubicBezTo>
                  <a:cubicBezTo>
                    <a:pt x="21" y="36"/>
                    <a:pt x="21" y="36"/>
                    <a:pt x="21" y="36"/>
                  </a:cubicBezTo>
                  <a:cubicBezTo>
                    <a:pt x="21" y="37"/>
                    <a:pt x="21" y="37"/>
                    <a:pt x="21" y="38"/>
                  </a:cubicBezTo>
                  <a:moveTo>
                    <a:pt x="23" y="38"/>
                  </a:moveTo>
                  <a:cubicBezTo>
                    <a:pt x="23" y="37"/>
                    <a:pt x="23" y="37"/>
                    <a:pt x="23" y="36"/>
                  </a:cubicBezTo>
                  <a:cubicBezTo>
                    <a:pt x="23" y="37"/>
                    <a:pt x="23" y="37"/>
                    <a:pt x="23" y="37"/>
                  </a:cubicBezTo>
                  <a:cubicBezTo>
                    <a:pt x="23" y="38"/>
                    <a:pt x="23" y="38"/>
                    <a:pt x="23" y="38"/>
                  </a:cubicBezTo>
                  <a:moveTo>
                    <a:pt x="5" y="36"/>
                  </a:moveTo>
                  <a:cubicBezTo>
                    <a:pt x="5" y="36"/>
                    <a:pt x="5" y="36"/>
                    <a:pt x="5" y="36"/>
                  </a:cubicBezTo>
                  <a:cubicBezTo>
                    <a:pt x="5" y="36"/>
                    <a:pt x="5" y="37"/>
                    <a:pt x="4" y="37"/>
                  </a:cubicBezTo>
                  <a:cubicBezTo>
                    <a:pt x="4" y="36"/>
                    <a:pt x="4" y="36"/>
                    <a:pt x="4" y="36"/>
                  </a:cubicBezTo>
                  <a:cubicBezTo>
                    <a:pt x="4" y="36"/>
                    <a:pt x="4" y="36"/>
                    <a:pt x="4" y="36"/>
                  </a:cubicBezTo>
                  <a:cubicBezTo>
                    <a:pt x="5" y="36"/>
                    <a:pt x="5" y="36"/>
                    <a:pt x="5" y="36"/>
                  </a:cubicBezTo>
                  <a:moveTo>
                    <a:pt x="40" y="37"/>
                  </a:moveTo>
                  <a:cubicBezTo>
                    <a:pt x="40" y="37"/>
                    <a:pt x="39" y="36"/>
                    <a:pt x="39" y="36"/>
                  </a:cubicBezTo>
                  <a:cubicBezTo>
                    <a:pt x="40" y="36"/>
                    <a:pt x="40" y="36"/>
                    <a:pt x="40" y="36"/>
                  </a:cubicBezTo>
                  <a:cubicBezTo>
                    <a:pt x="40" y="36"/>
                    <a:pt x="40" y="36"/>
                    <a:pt x="40" y="36"/>
                  </a:cubicBezTo>
                  <a:cubicBezTo>
                    <a:pt x="40" y="36"/>
                    <a:pt x="40" y="36"/>
                    <a:pt x="40" y="36"/>
                  </a:cubicBezTo>
                  <a:cubicBezTo>
                    <a:pt x="40" y="37"/>
                    <a:pt x="40" y="37"/>
                    <a:pt x="40" y="37"/>
                  </a:cubicBezTo>
                  <a:moveTo>
                    <a:pt x="3" y="37"/>
                  </a:moveTo>
                  <a:cubicBezTo>
                    <a:pt x="3" y="37"/>
                    <a:pt x="3" y="37"/>
                    <a:pt x="3" y="37"/>
                  </a:cubicBezTo>
                  <a:cubicBezTo>
                    <a:pt x="3" y="37"/>
                    <a:pt x="3" y="37"/>
                    <a:pt x="3" y="37"/>
                  </a:cubicBezTo>
                  <a:cubicBezTo>
                    <a:pt x="3" y="37"/>
                    <a:pt x="3" y="36"/>
                    <a:pt x="3" y="36"/>
                  </a:cubicBezTo>
                  <a:cubicBezTo>
                    <a:pt x="4" y="36"/>
                    <a:pt x="4" y="36"/>
                    <a:pt x="4" y="36"/>
                  </a:cubicBezTo>
                  <a:cubicBezTo>
                    <a:pt x="4" y="36"/>
                    <a:pt x="4" y="36"/>
                    <a:pt x="4" y="36"/>
                  </a:cubicBezTo>
                  <a:cubicBezTo>
                    <a:pt x="4" y="36"/>
                    <a:pt x="4" y="36"/>
                    <a:pt x="4" y="36"/>
                  </a:cubicBezTo>
                  <a:cubicBezTo>
                    <a:pt x="4" y="37"/>
                    <a:pt x="4" y="37"/>
                    <a:pt x="4" y="37"/>
                  </a:cubicBezTo>
                  <a:cubicBezTo>
                    <a:pt x="3" y="37"/>
                    <a:pt x="3" y="37"/>
                    <a:pt x="3" y="37"/>
                  </a:cubicBezTo>
                  <a:moveTo>
                    <a:pt x="41" y="37"/>
                  </a:moveTo>
                  <a:cubicBezTo>
                    <a:pt x="41" y="37"/>
                    <a:pt x="41" y="37"/>
                    <a:pt x="41" y="37"/>
                  </a:cubicBezTo>
                  <a:cubicBezTo>
                    <a:pt x="41" y="36"/>
                    <a:pt x="41" y="36"/>
                    <a:pt x="41" y="36"/>
                  </a:cubicBezTo>
                  <a:cubicBezTo>
                    <a:pt x="40" y="36"/>
                    <a:pt x="40" y="36"/>
                    <a:pt x="40" y="36"/>
                  </a:cubicBezTo>
                  <a:cubicBezTo>
                    <a:pt x="41" y="36"/>
                    <a:pt x="41" y="36"/>
                    <a:pt x="41" y="36"/>
                  </a:cubicBezTo>
                  <a:cubicBezTo>
                    <a:pt x="41" y="36"/>
                    <a:pt x="41" y="36"/>
                    <a:pt x="41" y="36"/>
                  </a:cubicBezTo>
                  <a:cubicBezTo>
                    <a:pt x="41" y="36"/>
                    <a:pt x="41" y="37"/>
                    <a:pt x="41" y="37"/>
                  </a:cubicBezTo>
                  <a:cubicBezTo>
                    <a:pt x="41" y="37"/>
                    <a:pt x="41" y="37"/>
                    <a:pt x="41" y="37"/>
                  </a:cubicBezTo>
                  <a:cubicBezTo>
                    <a:pt x="41" y="37"/>
                    <a:pt x="41" y="37"/>
                    <a:pt x="41" y="37"/>
                  </a:cubicBezTo>
                  <a:moveTo>
                    <a:pt x="21" y="37"/>
                  </a:moveTo>
                  <a:cubicBezTo>
                    <a:pt x="20" y="37"/>
                    <a:pt x="20" y="37"/>
                    <a:pt x="20" y="37"/>
                  </a:cubicBezTo>
                  <a:cubicBezTo>
                    <a:pt x="21" y="36"/>
                    <a:pt x="21" y="36"/>
                    <a:pt x="21" y="36"/>
                  </a:cubicBezTo>
                  <a:cubicBezTo>
                    <a:pt x="21" y="36"/>
                    <a:pt x="21" y="36"/>
                    <a:pt x="21" y="35"/>
                  </a:cubicBezTo>
                  <a:cubicBezTo>
                    <a:pt x="21" y="36"/>
                    <a:pt x="21" y="36"/>
                    <a:pt x="21" y="36"/>
                  </a:cubicBezTo>
                  <a:cubicBezTo>
                    <a:pt x="21" y="36"/>
                    <a:pt x="21" y="36"/>
                    <a:pt x="21" y="36"/>
                  </a:cubicBezTo>
                  <a:cubicBezTo>
                    <a:pt x="21" y="37"/>
                    <a:pt x="21" y="37"/>
                    <a:pt x="21" y="37"/>
                  </a:cubicBezTo>
                  <a:moveTo>
                    <a:pt x="24" y="37"/>
                  </a:moveTo>
                  <a:cubicBezTo>
                    <a:pt x="23" y="36"/>
                    <a:pt x="23" y="36"/>
                    <a:pt x="23" y="36"/>
                  </a:cubicBezTo>
                  <a:cubicBezTo>
                    <a:pt x="23" y="36"/>
                    <a:pt x="23" y="36"/>
                    <a:pt x="23" y="36"/>
                  </a:cubicBezTo>
                  <a:cubicBezTo>
                    <a:pt x="23" y="35"/>
                    <a:pt x="23" y="35"/>
                    <a:pt x="23" y="35"/>
                  </a:cubicBezTo>
                  <a:cubicBezTo>
                    <a:pt x="23" y="36"/>
                    <a:pt x="23" y="36"/>
                    <a:pt x="24" y="36"/>
                  </a:cubicBezTo>
                  <a:cubicBezTo>
                    <a:pt x="24" y="37"/>
                    <a:pt x="24" y="37"/>
                    <a:pt x="24" y="37"/>
                  </a:cubicBezTo>
                  <a:cubicBezTo>
                    <a:pt x="24" y="37"/>
                    <a:pt x="24" y="37"/>
                    <a:pt x="24" y="37"/>
                  </a:cubicBezTo>
                  <a:moveTo>
                    <a:pt x="3" y="37"/>
                  </a:moveTo>
                  <a:cubicBezTo>
                    <a:pt x="3" y="37"/>
                    <a:pt x="3" y="37"/>
                    <a:pt x="3" y="37"/>
                  </a:cubicBezTo>
                  <a:cubicBezTo>
                    <a:pt x="3" y="36"/>
                    <a:pt x="2" y="36"/>
                    <a:pt x="3" y="35"/>
                  </a:cubicBezTo>
                  <a:cubicBezTo>
                    <a:pt x="3" y="36"/>
                    <a:pt x="3" y="36"/>
                    <a:pt x="3" y="36"/>
                  </a:cubicBezTo>
                  <a:cubicBezTo>
                    <a:pt x="3" y="37"/>
                    <a:pt x="3" y="37"/>
                    <a:pt x="3" y="37"/>
                  </a:cubicBezTo>
                  <a:moveTo>
                    <a:pt x="41" y="37"/>
                  </a:moveTo>
                  <a:cubicBezTo>
                    <a:pt x="41" y="36"/>
                    <a:pt x="42" y="36"/>
                    <a:pt x="41" y="36"/>
                  </a:cubicBezTo>
                  <a:cubicBezTo>
                    <a:pt x="42" y="35"/>
                    <a:pt x="42" y="35"/>
                    <a:pt x="42" y="35"/>
                  </a:cubicBezTo>
                  <a:cubicBezTo>
                    <a:pt x="42" y="36"/>
                    <a:pt x="42" y="36"/>
                    <a:pt x="41" y="37"/>
                  </a:cubicBezTo>
                  <a:moveTo>
                    <a:pt x="14" y="34"/>
                  </a:moveTo>
                  <a:cubicBezTo>
                    <a:pt x="14" y="34"/>
                    <a:pt x="14" y="34"/>
                    <a:pt x="14" y="34"/>
                  </a:cubicBezTo>
                  <a:cubicBezTo>
                    <a:pt x="14" y="34"/>
                    <a:pt x="14" y="34"/>
                    <a:pt x="14" y="34"/>
                  </a:cubicBezTo>
                  <a:cubicBezTo>
                    <a:pt x="14" y="34"/>
                    <a:pt x="14" y="34"/>
                    <a:pt x="14" y="34"/>
                  </a:cubicBezTo>
                  <a:moveTo>
                    <a:pt x="31" y="34"/>
                  </a:moveTo>
                  <a:cubicBezTo>
                    <a:pt x="31" y="34"/>
                    <a:pt x="31" y="34"/>
                    <a:pt x="31" y="34"/>
                  </a:cubicBezTo>
                  <a:cubicBezTo>
                    <a:pt x="31" y="34"/>
                    <a:pt x="31" y="34"/>
                    <a:pt x="31" y="34"/>
                  </a:cubicBezTo>
                  <a:cubicBezTo>
                    <a:pt x="31" y="34"/>
                    <a:pt x="31" y="34"/>
                    <a:pt x="31" y="34"/>
                  </a:cubicBezTo>
                  <a:moveTo>
                    <a:pt x="21" y="33"/>
                  </a:moveTo>
                  <a:cubicBezTo>
                    <a:pt x="21" y="33"/>
                    <a:pt x="21" y="33"/>
                    <a:pt x="21" y="33"/>
                  </a:cubicBezTo>
                  <a:cubicBezTo>
                    <a:pt x="21" y="32"/>
                    <a:pt x="21" y="32"/>
                    <a:pt x="21" y="32"/>
                  </a:cubicBezTo>
                  <a:cubicBezTo>
                    <a:pt x="21" y="33"/>
                    <a:pt x="21" y="33"/>
                    <a:pt x="21" y="33"/>
                  </a:cubicBezTo>
                  <a:cubicBezTo>
                    <a:pt x="21" y="33"/>
                    <a:pt x="21" y="33"/>
                    <a:pt x="21" y="33"/>
                  </a:cubicBezTo>
                  <a:moveTo>
                    <a:pt x="23" y="33"/>
                  </a:moveTo>
                  <a:cubicBezTo>
                    <a:pt x="23" y="33"/>
                    <a:pt x="23" y="33"/>
                    <a:pt x="23" y="33"/>
                  </a:cubicBezTo>
                  <a:cubicBezTo>
                    <a:pt x="23" y="32"/>
                    <a:pt x="23" y="32"/>
                    <a:pt x="23" y="32"/>
                  </a:cubicBezTo>
                  <a:cubicBezTo>
                    <a:pt x="23" y="33"/>
                    <a:pt x="23" y="33"/>
                    <a:pt x="23" y="33"/>
                  </a:cubicBezTo>
                  <a:cubicBezTo>
                    <a:pt x="23" y="33"/>
                    <a:pt x="23" y="33"/>
                    <a:pt x="23" y="33"/>
                  </a:cubicBezTo>
                  <a:moveTo>
                    <a:pt x="31" y="33"/>
                  </a:moveTo>
                  <a:cubicBezTo>
                    <a:pt x="32" y="33"/>
                    <a:pt x="32" y="32"/>
                    <a:pt x="32" y="32"/>
                  </a:cubicBezTo>
                  <a:cubicBezTo>
                    <a:pt x="32" y="32"/>
                    <a:pt x="32" y="32"/>
                    <a:pt x="32" y="32"/>
                  </a:cubicBezTo>
                  <a:cubicBezTo>
                    <a:pt x="32" y="32"/>
                    <a:pt x="32" y="32"/>
                    <a:pt x="32" y="32"/>
                  </a:cubicBezTo>
                  <a:cubicBezTo>
                    <a:pt x="32" y="33"/>
                    <a:pt x="31" y="33"/>
                    <a:pt x="31" y="33"/>
                  </a:cubicBezTo>
                  <a:moveTo>
                    <a:pt x="13" y="33"/>
                  </a:moveTo>
                  <a:cubicBezTo>
                    <a:pt x="13" y="33"/>
                    <a:pt x="12" y="33"/>
                    <a:pt x="12" y="32"/>
                  </a:cubicBezTo>
                  <a:cubicBezTo>
                    <a:pt x="12" y="32"/>
                    <a:pt x="12" y="32"/>
                    <a:pt x="12" y="32"/>
                  </a:cubicBezTo>
                  <a:cubicBezTo>
                    <a:pt x="12" y="32"/>
                    <a:pt x="12" y="32"/>
                    <a:pt x="12" y="32"/>
                  </a:cubicBezTo>
                  <a:cubicBezTo>
                    <a:pt x="12" y="32"/>
                    <a:pt x="13" y="33"/>
                    <a:pt x="13" y="33"/>
                  </a:cubicBezTo>
                  <a:moveTo>
                    <a:pt x="11" y="32"/>
                  </a:move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2" y="32"/>
                    <a:pt x="12" y="32"/>
                    <a:pt x="12" y="32"/>
                  </a:cubicBezTo>
                  <a:cubicBezTo>
                    <a:pt x="12" y="32"/>
                    <a:pt x="12" y="32"/>
                    <a:pt x="12" y="32"/>
                  </a:cubicBezTo>
                  <a:cubicBezTo>
                    <a:pt x="11" y="32"/>
                    <a:pt x="11" y="32"/>
                    <a:pt x="11" y="32"/>
                  </a:cubicBezTo>
                  <a:moveTo>
                    <a:pt x="32" y="31"/>
                  </a:moveTo>
                  <a:cubicBezTo>
                    <a:pt x="32" y="31"/>
                    <a:pt x="32" y="31"/>
                    <a:pt x="32" y="31"/>
                  </a:cubicBezTo>
                  <a:cubicBezTo>
                    <a:pt x="33" y="31"/>
                    <a:pt x="33" y="31"/>
                    <a:pt x="33" y="31"/>
                  </a:cubicBezTo>
                  <a:cubicBezTo>
                    <a:pt x="33" y="32"/>
                    <a:pt x="33" y="32"/>
                    <a:pt x="33" y="32"/>
                  </a:cubicBezTo>
                  <a:cubicBezTo>
                    <a:pt x="33" y="32"/>
                    <a:pt x="33" y="32"/>
                    <a:pt x="33" y="32"/>
                  </a:cubicBezTo>
                  <a:cubicBezTo>
                    <a:pt x="32" y="32"/>
                    <a:pt x="32" y="32"/>
                    <a:pt x="32" y="32"/>
                  </a:cubicBezTo>
                  <a:cubicBezTo>
                    <a:pt x="32" y="31"/>
                    <a:pt x="32" y="31"/>
                    <a:pt x="32" y="31"/>
                  </a:cubicBezTo>
                  <a:cubicBezTo>
                    <a:pt x="32" y="31"/>
                    <a:pt x="32" y="31"/>
                    <a:pt x="32" y="31"/>
                  </a:cubicBezTo>
                  <a:cubicBezTo>
                    <a:pt x="32" y="31"/>
                    <a:pt x="32" y="31"/>
                    <a:pt x="32" y="31"/>
                  </a:cubicBezTo>
                  <a:moveTo>
                    <a:pt x="11" y="32"/>
                  </a:moveTo>
                  <a:cubicBezTo>
                    <a:pt x="10" y="32"/>
                    <a:pt x="10" y="32"/>
                    <a:pt x="10" y="32"/>
                  </a:cubicBezTo>
                  <a:cubicBezTo>
                    <a:pt x="10" y="31"/>
                    <a:pt x="10" y="31"/>
                    <a:pt x="10" y="31"/>
                  </a:cubicBezTo>
                  <a:cubicBezTo>
                    <a:pt x="11" y="31"/>
                    <a:pt x="11" y="31"/>
                    <a:pt x="11" y="31"/>
                  </a:cubicBezTo>
                  <a:cubicBezTo>
                    <a:pt x="11" y="32"/>
                    <a:pt x="11" y="32"/>
                    <a:pt x="11" y="32"/>
                  </a:cubicBezTo>
                  <a:moveTo>
                    <a:pt x="34" y="32"/>
                  </a:moveTo>
                  <a:cubicBezTo>
                    <a:pt x="33" y="31"/>
                    <a:pt x="33" y="31"/>
                    <a:pt x="33" y="31"/>
                  </a:cubicBezTo>
                  <a:cubicBezTo>
                    <a:pt x="34" y="31"/>
                    <a:pt x="34" y="31"/>
                    <a:pt x="34" y="31"/>
                  </a:cubicBezTo>
                  <a:cubicBezTo>
                    <a:pt x="34" y="32"/>
                    <a:pt x="34" y="32"/>
                    <a:pt x="34" y="32"/>
                  </a:cubicBezTo>
                  <a:cubicBezTo>
                    <a:pt x="34" y="32"/>
                    <a:pt x="34" y="32"/>
                    <a:pt x="34" y="32"/>
                  </a:cubicBezTo>
                  <a:moveTo>
                    <a:pt x="21" y="32"/>
                  </a:moveTo>
                  <a:cubicBezTo>
                    <a:pt x="21" y="32"/>
                    <a:pt x="21" y="32"/>
                    <a:pt x="21" y="32"/>
                  </a:cubicBezTo>
                  <a:cubicBezTo>
                    <a:pt x="21" y="31"/>
                    <a:pt x="21" y="31"/>
                    <a:pt x="21" y="31"/>
                  </a:cubicBezTo>
                  <a:cubicBezTo>
                    <a:pt x="21" y="32"/>
                    <a:pt x="21" y="32"/>
                    <a:pt x="21" y="32"/>
                  </a:cubicBezTo>
                  <a:cubicBezTo>
                    <a:pt x="21" y="32"/>
                    <a:pt x="21" y="32"/>
                    <a:pt x="21" y="32"/>
                  </a:cubicBezTo>
                  <a:cubicBezTo>
                    <a:pt x="21" y="32"/>
                    <a:pt x="21" y="32"/>
                    <a:pt x="21" y="32"/>
                  </a:cubicBezTo>
                  <a:moveTo>
                    <a:pt x="24" y="32"/>
                  </a:moveTo>
                  <a:cubicBezTo>
                    <a:pt x="23" y="32"/>
                    <a:pt x="23" y="32"/>
                    <a:pt x="23" y="32"/>
                  </a:cubicBezTo>
                  <a:cubicBezTo>
                    <a:pt x="23" y="32"/>
                    <a:pt x="23" y="32"/>
                    <a:pt x="23" y="32"/>
                  </a:cubicBezTo>
                  <a:cubicBezTo>
                    <a:pt x="23" y="31"/>
                    <a:pt x="23" y="31"/>
                    <a:pt x="23" y="31"/>
                  </a:cubicBezTo>
                  <a:cubicBezTo>
                    <a:pt x="24" y="32"/>
                    <a:pt x="24" y="32"/>
                    <a:pt x="24" y="32"/>
                  </a:cubicBezTo>
                  <a:cubicBezTo>
                    <a:pt x="24" y="32"/>
                    <a:pt x="24" y="32"/>
                    <a:pt x="24" y="32"/>
                  </a:cubicBezTo>
                  <a:moveTo>
                    <a:pt x="10" y="32"/>
                  </a:moveTo>
                  <a:cubicBezTo>
                    <a:pt x="9" y="31"/>
                    <a:pt x="9" y="31"/>
                    <a:pt x="9" y="31"/>
                  </a:cubicBezTo>
                  <a:cubicBezTo>
                    <a:pt x="9" y="31"/>
                    <a:pt x="9" y="31"/>
                    <a:pt x="9" y="31"/>
                  </a:cubicBezTo>
                  <a:cubicBezTo>
                    <a:pt x="9" y="31"/>
                    <a:pt x="9" y="31"/>
                    <a:pt x="9" y="31"/>
                  </a:cubicBezTo>
                  <a:cubicBezTo>
                    <a:pt x="10" y="31"/>
                    <a:pt x="10" y="31"/>
                    <a:pt x="10" y="31"/>
                  </a:cubicBezTo>
                  <a:cubicBezTo>
                    <a:pt x="10" y="32"/>
                    <a:pt x="10" y="32"/>
                    <a:pt x="10" y="32"/>
                  </a:cubicBezTo>
                  <a:moveTo>
                    <a:pt x="35" y="32"/>
                  </a:moveTo>
                  <a:cubicBezTo>
                    <a:pt x="34" y="31"/>
                    <a:pt x="34" y="31"/>
                    <a:pt x="34" y="31"/>
                  </a:cubicBezTo>
                  <a:cubicBezTo>
                    <a:pt x="35" y="31"/>
                    <a:pt x="35" y="31"/>
                    <a:pt x="35" y="31"/>
                  </a:cubicBezTo>
                  <a:cubicBezTo>
                    <a:pt x="35" y="31"/>
                    <a:pt x="35" y="31"/>
                    <a:pt x="35" y="31"/>
                  </a:cubicBezTo>
                  <a:cubicBezTo>
                    <a:pt x="35" y="31"/>
                    <a:pt x="35" y="31"/>
                    <a:pt x="35" y="31"/>
                  </a:cubicBezTo>
                  <a:cubicBezTo>
                    <a:pt x="35" y="32"/>
                    <a:pt x="35" y="32"/>
                    <a:pt x="35" y="32"/>
                  </a:cubicBezTo>
                  <a:moveTo>
                    <a:pt x="20" y="31"/>
                  </a:moveTo>
                  <a:cubicBezTo>
                    <a:pt x="19" y="31"/>
                    <a:pt x="19" y="31"/>
                    <a:pt x="19" y="31"/>
                  </a:cubicBezTo>
                  <a:cubicBezTo>
                    <a:pt x="20" y="31"/>
                    <a:pt x="20" y="31"/>
                    <a:pt x="20" y="31"/>
                  </a:cubicBezTo>
                  <a:cubicBezTo>
                    <a:pt x="20" y="31"/>
                    <a:pt x="20" y="31"/>
                    <a:pt x="20" y="31"/>
                  </a:cubicBezTo>
                  <a:cubicBezTo>
                    <a:pt x="20" y="31"/>
                    <a:pt x="20" y="31"/>
                    <a:pt x="20" y="31"/>
                  </a:cubicBezTo>
                  <a:moveTo>
                    <a:pt x="24" y="31"/>
                  </a:moveTo>
                  <a:cubicBezTo>
                    <a:pt x="25" y="31"/>
                    <a:pt x="25" y="31"/>
                    <a:pt x="25" y="31"/>
                  </a:cubicBezTo>
                  <a:cubicBezTo>
                    <a:pt x="25" y="31"/>
                    <a:pt x="25" y="31"/>
                    <a:pt x="25" y="31"/>
                  </a:cubicBezTo>
                  <a:cubicBezTo>
                    <a:pt x="24" y="31"/>
                    <a:pt x="24" y="31"/>
                    <a:pt x="24" y="31"/>
                  </a:cubicBezTo>
                  <a:cubicBezTo>
                    <a:pt x="24" y="31"/>
                    <a:pt x="24" y="31"/>
                    <a:pt x="24" y="31"/>
                  </a:cubicBezTo>
                  <a:moveTo>
                    <a:pt x="3" y="32"/>
                  </a:moveTo>
                  <a:cubicBezTo>
                    <a:pt x="3" y="31"/>
                    <a:pt x="3" y="31"/>
                    <a:pt x="3" y="30"/>
                  </a:cubicBezTo>
                  <a:cubicBezTo>
                    <a:pt x="4" y="31"/>
                    <a:pt x="4" y="31"/>
                    <a:pt x="4" y="31"/>
                  </a:cubicBezTo>
                  <a:cubicBezTo>
                    <a:pt x="4" y="31"/>
                    <a:pt x="4" y="31"/>
                    <a:pt x="4" y="31"/>
                  </a:cubicBezTo>
                  <a:cubicBezTo>
                    <a:pt x="3" y="32"/>
                    <a:pt x="3" y="32"/>
                    <a:pt x="3" y="32"/>
                  </a:cubicBezTo>
                  <a:moveTo>
                    <a:pt x="41" y="32"/>
                  </a:moveTo>
                  <a:cubicBezTo>
                    <a:pt x="41" y="31"/>
                    <a:pt x="41" y="31"/>
                    <a:pt x="41" y="31"/>
                  </a:cubicBezTo>
                  <a:cubicBezTo>
                    <a:pt x="41" y="31"/>
                    <a:pt x="41" y="31"/>
                    <a:pt x="41" y="31"/>
                  </a:cubicBezTo>
                  <a:cubicBezTo>
                    <a:pt x="41" y="30"/>
                    <a:pt x="41" y="30"/>
                    <a:pt x="41" y="30"/>
                  </a:cubicBezTo>
                  <a:cubicBezTo>
                    <a:pt x="41" y="31"/>
                    <a:pt x="41" y="31"/>
                    <a:pt x="41" y="32"/>
                  </a:cubicBezTo>
                  <a:moveTo>
                    <a:pt x="5" y="31"/>
                  </a:moveTo>
                  <a:cubicBezTo>
                    <a:pt x="5" y="31"/>
                    <a:pt x="6" y="31"/>
                    <a:pt x="6" y="31"/>
                  </a:cubicBezTo>
                  <a:cubicBezTo>
                    <a:pt x="7" y="30"/>
                    <a:pt x="7" y="30"/>
                    <a:pt x="7" y="30"/>
                  </a:cubicBezTo>
                  <a:cubicBezTo>
                    <a:pt x="7" y="30"/>
                    <a:pt x="7" y="30"/>
                    <a:pt x="7" y="30"/>
                  </a:cubicBezTo>
                  <a:cubicBezTo>
                    <a:pt x="6" y="31"/>
                    <a:pt x="6" y="31"/>
                    <a:pt x="6" y="31"/>
                  </a:cubicBezTo>
                  <a:cubicBezTo>
                    <a:pt x="6" y="31"/>
                    <a:pt x="6" y="31"/>
                    <a:pt x="6" y="31"/>
                  </a:cubicBezTo>
                  <a:cubicBezTo>
                    <a:pt x="6" y="31"/>
                    <a:pt x="5" y="31"/>
                    <a:pt x="5" y="31"/>
                  </a:cubicBezTo>
                  <a:cubicBezTo>
                    <a:pt x="4" y="31"/>
                    <a:pt x="4" y="31"/>
                    <a:pt x="4" y="31"/>
                  </a:cubicBezTo>
                  <a:cubicBezTo>
                    <a:pt x="4" y="31"/>
                    <a:pt x="4" y="31"/>
                    <a:pt x="4" y="31"/>
                  </a:cubicBezTo>
                  <a:cubicBezTo>
                    <a:pt x="4" y="31"/>
                    <a:pt x="4" y="31"/>
                    <a:pt x="4" y="31"/>
                  </a:cubicBezTo>
                  <a:cubicBezTo>
                    <a:pt x="5" y="31"/>
                    <a:pt x="5" y="31"/>
                    <a:pt x="5" y="31"/>
                  </a:cubicBezTo>
                  <a:moveTo>
                    <a:pt x="40" y="31"/>
                  </a:moveTo>
                  <a:cubicBezTo>
                    <a:pt x="40" y="31"/>
                    <a:pt x="40" y="31"/>
                    <a:pt x="40" y="31"/>
                  </a:cubicBezTo>
                  <a:cubicBezTo>
                    <a:pt x="39" y="31"/>
                    <a:pt x="39" y="31"/>
                    <a:pt x="38" y="31"/>
                  </a:cubicBezTo>
                  <a:cubicBezTo>
                    <a:pt x="38" y="31"/>
                    <a:pt x="38" y="31"/>
                    <a:pt x="38" y="31"/>
                  </a:cubicBezTo>
                  <a:cubicBezTo>
                    <a:pt x="38" y="30"/>
                    <a:pt x="38" y="30"/>
                    <a:pt x="38" y="30"/>
                  </a:cubicBezTo>
                  <a:cubicBezTo>
                    <a:pt x="38" y="30"/>
                    <a:pt x="38" y="30"/>
                    <a:pt x="38" y="30"/>
                  </a:cubicBezTo>
                  <a:cubicBezTo>
                    <a:pt x="38" y="31"/>
                    <a:pt x="38" y="31"/>
                    <a:pt x="38" y="31"/>
                  </a:cubicBezTo>
                  <a:cubicBezTo>
                    <a:pt x="39" y="31"/>
                    <a:pt x="39" y="31"/>
                    <a:pt x="40" y="31"/>
                  </a:cubicBezTo>
                  <a:cubicBezTo>
                    <a:pt x="40" y="31"/>
                    <a:pt x="40" y="31"/>
                    <a:pt x="40" y="31"/>
                  </a:cubicBezTo>
                  <a:cubicBezTo>
                    <a:pt x="40" y="31"/>
                    <a:pt x="40" y="31"/>
                    <a:pt x="40" y="31"/>
                  </a:cubicBezTo>
                  <a:cubicBezTo>
                    <a:pt x="40" y="31"/>
                    <a:pt x="40" y="31"/>
                    <a:pt x="40" y="31"/>
                  </a:cubicBezTo>
                  <a:moveTo>
                    <a:pt x="20" y="32"/>
                  </a:moveTo>
                  <a:cubicBezTo>
                    <a:pt x="20" y="31"/>
                    <a:pt x="20" y="31"/>
                    <a:pt x="20" y="31"/>
                  </a:cubicBezTo>
                  <a:cubicBezTo>
                    <a:pt x="21" y="31"/>
                    <a:pt x="21" y="31"/>
                    <a:pt x="21" y="31"/>
                  </a:cubicBezTo>
                  <a:cubicBezTo>
                    <a:pt x="21" y="30"/>
                    <a:pt x="21" y="30"/>
                    <a:pt x="21" y="30"/>
                  </a:cubicBezTo>
                  <a:cubicBezTo>
                    <a:pt x="21" y="30"/>
                    <a:pt x="21" y="30"/>
                    <a:pt x="21" y="30"/>
                  </a:cubicBezTo>
                  <a:cubicBezTo>
                    <a:pt x="21" y="30"/>
                    <a:pt x="21" y="30"/>
                    <a:pt x="21" y="30"/>
                  </a:cubicBezTo>
                  <a:cubicBezTo>
                    <a:pt x="21" y="31"/>
                    <a:pt x="21" y="31"/>
                    <a:pt x="20" y="32"/>
                  </a:cubicBezTo>
                  <a:moveTo>
                    <a:pt x="24" y="32"/>
                  </a:moveTo>
                  <a:cubicBezTo>
                    <a:pt x="24" y="31"/>
                    <a:pt x="23" y="31"/>
                    <a:pt x="23" y="30"/>
                  </a:cubicBezTo>
                  <a:cubicBezTo>
                    <a:pt x="23" y="30"/>
                    <a:pt x="23" y="30"/>
                    <a:pt x="23" y="30"/>
                  </a:cubicBezTo>
                  <a:cubicBezTo>
                    <a:pt x="23" y="30"/>
                    <a:pt x="23" y="30"/>
                    <a:pt x="23" y="30"/>
                  </a:cubicBezTo>
                  <a:cubicBezTo>
                    <a:pt x="24" y="31"/>
                    <a:pt x="24" y="31"/>
                    <a:pt x="24" y="31"/>
                  </a:cubicBezTo>
                  <a:cubicBezTo>
                    <a:pt x="24" y="31"/>
                    <a:pt x="24" y="31"/>
                    <a:pt x="24" y="31"/>
                  </a:cubicBezTo>
                  <a:cubicBezTo>
                    <a:pt x="24" y="32"/>
                    <a:pt x="24" y="32"/>
                    <a:pt x="24" y="32"/>
                  </a:cubicBezTo>
                  <a:moveTo>
                    <a:pt x="9" y="31"/>
                  </a:moveTo>
                  <a:cubicBezTo>
                    <a:pt x="8" y="31"/>
                    <a:pt x="8" y="31"/>
                    <a:pt x="8" y="31"/>
                  </a:cubicBezTo>
                  <a:cubicBezTo>
                    <a:pt x="8" y="30"/>
                    <a:pt x="8" y="30"/>
                    <a:pt x="8" y="30"/>
                  </a:cubicBezTo>
                  <a:cubicBezTo>
                    <a:pt x="9" y="31"/>
                    <a:pt x="9" y="31"/>
                    <a:pt x="9" y="31"/>
                  </a:cubicBezTo>
                  <a:cubicBezTo>
                    <a:pt x="9" y="31"/>
                    <a:pt x="9" y="31"/>
                    <a:pt x="9" y="31"/>
                  </a:cubicBezTo>
                  <a:cubicBezTo>
                    <a:pt x="9" y="31"/>
                    <a:pt x="9" y="31"/>
                    <a:pt x="9" y="31"/>
                  </a:cubicBezTo>
                  <a:moveTo>
                    <a:pt x="36" y="31"/>
                  </a:moveTo>
                  <a:cubicBezTo>
                    <a:pt x="35" y="31"/>
                    <a:pt x="35" y="31"/>
                    <a:pt x="35" y="31"/>
                  </a:cubicBezTo>
                  <a:cubicBezTo>
                    <a:pt x="35" y="31"/>
                    <a:pt x="35" y="31"/>
                    <a:pt x="35" y="31"/>
                  </a:cubicBezTo>
                  <a:cubicBezTo>
                    <a:pt x="36" y="30"/>
                    <a:pt x="36" y="30"/>
                    <a:pt x="36" y="30"/>
                  </a:cubicBezTo>
                  <a:cubicBezTo>
                    <a:pt x="36" y="31"/>
                    <a:pt x="36" y="31"/>
                    <a:pt x="36" y="31"/>
                  </a:cubicBezTo>
                  <a:cubicBezTo>
                    <a:pt x="36" y="31"/>
                    <a:pt x="36" y="31"/>
                    <a:pt x="36" y="31"/>
                  </a:cubicBezTo>
                  <a:moveTo>
                    <a:pt x="40" y="30"/>
                  </a:moveTo>
                  <a:cubicBezTo>
                    <a:pt x="39" y="30"/>
                    <a:pt x="39" y="29"/>
                    <a:pt x="39" y="29"/>
                  </a:cubicBezTo>
                  <a:cubicBezTo>
                    <a:pt x="40" y="29"/>
                    <a:pt x="40" y="29"/>
                    <a:pt x="40" y="29"/>
                  </a:cubicBezTo>
                  <a:cubicBezTo>
                    <a:pt x="40" y="30"/>
                    <a:pt x="40" y="30"/>
                    <a:pt x="40" y="30"/>
                  </a:cubicBezTo>
                  <a:cubicBezTo>
                    <a:pt x="40" y="30"/>
                    <a:pt x="40" y="30"/>
                    <a:pt x="40" y="30"/>
                  </a:cubicBezTo>
                  <a:cubicBezTo>
                    <a:pt x="40" y="30"/>
                    <a:pt x="40" y="30"/>
                    <a:pt x="40" y="30"/>
                  </a:cubicBezTo>
                  <a:moveTo>
                    <a:pt x="5" y="30"/>
                  </a:moveTo>
                  <a:cubicBezTo>
                    <a:pt x="4" y="30"/>
                    <a:pt x="4" y="30"/>
                    <a:pt x="4" y="30"/>
                  </a:cubicBezTo>
                  <a:cubicBezTo>
                    <a:pt x="5" y="29"/>
                    <a:pt x="5" y="29"/>
                    <a:pt x="5" y="29"/>
                  </a:cubicBezTo>
                  <a:cubicBezTo>
                    <a:pt x="5" y="29"/>
                    <a:pt x="5" y="29"/>
                    <a:pt x="5" y="29"/>
                  </a:cubicBezTo>
                  <a:cubicBezTo>
                    <a:pt x="5" y="29"/>
                    <a:pt x="5" y="30"/>
                    <a:pt x="5" y="30"/>
                  </a:cubicBezTo>
                  <a:cubicBezTo>
                    <a:pt x="5" y="30"/>
                    <a:pt x="5" y="30"/>
                    <a:pt x="5" y="30"/>
                  </a:cubicBezTo>
                  <a:moveTo>
                    <a:pt x="4" y="30"/>
                  </a:moveTo>
                  <a:cubicBezTo>
                    <a:pt x="3" y="29"/>
                    <a:pt x="3" y="29"/>
                    <a:pt x="3" y="29"/>
                  </a:cubicBezTo>
                  <a:cubicBezTo>
                    <a:pt x="3" y="29"/>
                    <a:pt x="3" y="29"/>
                    <a:pt x="3" y="29"/>
                  </a:cubicBezTo>
                  <a:cubicBezTo>
                    <a:pt x="4" y="29"/>
                    <a:pt x="4" y="29"/>
                    <a:pt x="4" y="29"/>
                  </a:cubicBezTo>
                  <a:cubicBezTo>
                    <a:pt x="4" y="29"/>
                    <a:pt x="4" y="29"/>
                    <a:pt x="4" y="29"/>
                  </a:cubicBezTo>
                  <a:cubicBezTo>
                    <a:pt x="4" y="30"/>
                    <a:pt x="4" y="30"/>
                    <a:pt x="4" y="30"/>
                  </a:cubicBezTo>
                  <a:moveTo>
                    <a:pt x="40" y="30"/>
                  </a:moveTo>
                  <a:cubicBezTo>
                    <a:pt x="40" y="29"/>
                    <a:pt x="40" y="29"/>
                    <a:pt x="40" y="29"/>
                  </a:cubicBezTo>
                  <a:cubicBezTo>
                    <a:pt x="41" y="29"/>
                    <a:pt x="41" y="29"/>
                    <a:pt x="41" y="29"/>
                  </a:cubicBezTo>
                  <a:cubicBezTo>
                    <a:pt x="41" y="29"/>
                    <a:pt x="41" y="29"/>
                    <a:pt x="41" y="29"/>
                  </a:cubicBezTo>
                  <a:cubicBezTo>
                    <a:pt x="41" y="29"/>
                    <a:pt x="41" y="29"/>
                    <a:pt x="41" y="29"/>
                  </a:cubicBezTo>
                  <a:cubicBezTo>
                    <a:pt x="40" y="30"/>
                    <a:pt x="40" y="30"/>
                    <a:pt x="40" y="30"/>
                  </a:cubicBezTo>
                  <a:moveTo>
                    <a:pt x="39" y="30"/>
                  </a:moveTo>
                  <a:cubicBezTo>
                    <a:pt x="39" y="30"/>
                    <a:pt x="39" y="30"/>
                    <a:pt x="39" y="30"/>
                  </a:cubicBezTo>
                  <a:cubicBezTo>
                    <a:pt x="39" y="30"/>
                    <a:pt x="39" y="30"/>
                    <a:pt x="39" y="30"/>
                  </a:cubicBezTo>
                  <a:cubicBezTo>
                    <a:pt x="38" y="29"/>
                    <a:pt x="38" y="29"/>
                    <a:pt x="38" y="29"/>
                  </a:cubicBezTo>
                  <a:cubicBezTo>
                    <a:pt x="38" y="29"/>
                    <a:pt x="39" y="29"/>
                    <a:pt x="39" y="29"/>
                  </a:cubicBezTo>
                  <a:cubicBezTo>
                    <a:pt x="39" y="29"/>
                    <a:pt x="39" y="30"/>
                    <a:pt x="39" y="30"/>
                  </a:cubicBezTo>
                  <a:moveTo>
                    <a:pt x="5" y="30"/>
                  </a:moveTo>
                  <a:cubicBezTo>
                    <a:pt x="5" y="30"/>
                    <a:pt x="5" y="29"/>
                    <a:pt x="6" y="29"/>
                  </a:cubicBezTo>
                  <a:cubicBezTo>
                    <a:pt x="6" y="29"/>
                    <a:pt x="6" y="29"/>
                    <a:pt x="6" y="29"/>
                  </a:cubicBezTo>
                  <a:cubicBezTo>
                    <a:pt x="6" y="29"/>
                    <a:pt x="6" y="29"/>
                    <a:pt x="6" y="30"/>
                  </a:cubicBezTo>
                  <a:cubicBezTo>
                    <a:pt x="6" y="30"/>
                    <a:pt x="6" y="30"/>
                    <a:pt x="6" y="30"/>
                  </a:cubicBezTo>
                  <a:cubicBezTo>
                    <a:pt x="5" y="30"/>
                    <a:pt x="5" y="30"/>
                    <a:pt x="5" y="30"/>
                  </a:cubicBezTo>
                  <a:moveTo>
                    <a:pt x="3" y="29"/>
                  </a:moveTo>
                  <a:cubicBezTo>
                    <a:pt x="3" y="29"/>
                    <a:pt x="3" y="29"/>
                    <a:pt x="3" y="29"/>
                  </a:cubicBezTo>
                  <a:cubicBezTo>
                    <a:pt x="2" y="28"/>
                    <a:pt x="2" y="28"/>
                    <a:pt x="2" y="28"/>
                  </a:cubicBezTo>
                  <a:cubicBezTo>
                    <a:pt x="3" y="29"/>
                    <a:pt x="3" y="29"/>
                    <a:pt x="3" y="29"/>
                  </a:cubicBezTo>
                  <a:cubicBezTo>
                    <a:pt x="3" y="29"/>
                    <a:pt x="3" y="29"/>
                    <a:pt x="3" y="29"/>
                  </a:cubicBezTo>
                  <a:moveTo>
                    <a:pt x="19" y="29"/>
                  </a:moveTo>
                  <a:cubicBezTo>
                    <a:pt x="18" y="29"/>
                    <a:pt x="18" y="29"/>
                    <a:pt x="18" y="29"/>
                  </a:cubicBezTo>
                  <a:cubicBezTo>
                    <a:pt x="18" y="28"/>
                    <a:pt x="18" y="28"/>
                    <a:pt x="18" y="28"/>
                  </a:cubicBezTo>
                  <a:cubicBezTo>
                    <a:pt x="18" y="29"/>
                    <a:pt x="18" y="29"/>
                    <a:pt x="18" y="29"/>
                  </a:cubicBezTo>
                  <a:cubicBezTo>
                    <a:pt x="19" y="29"/>
                    <a:pt x="19" y="29"/>
                    <a:pt x="19" y="29"/>
                  </a:cubicBezTo>
                  <a:cubicBezTo>
                    <a:pt x="19" y="29"/>
                    <a:pt x="19" y="29"/>
                    <a:pt x="19" y="29"/>
                  </a:cubicBezTo>
                  <a:moveTo>
                    <a:pt x="42" y="29"/>
                  </a:moveTo>
                  <a:cubicBezTo>
                    <a:pt x="42" y="29"/>
                    <a:pt x="42" y="29"/>
                    <a:pt x="42" y="29"/>
                  </a:cubicBezTo>
                  <a:cubicBezTo>
                    <a:pt x="42" y="28"/>
                    <a:pt x="42" y="28"/>
                    <a:pt x="42" y="28"/>
                  </a:cubicBezTo>
                  <a:cubicBezTo>
                    <a:pt x="42" y="29"/>
                    <a:pt x="42" y="29"/>
                    <a:pt x="42" y="29"/>
                  </a:cubicBezTo>
                  <a:cubicBezTo>
                    <a:pt x="42" y="29"/>
                    <a:pt x="42" y="29"/>
                    <a:pt x="42" y="29"/>
                  </a:cubicBezTo>
                  <a:moveTo>
                    <a:pt x="26" y="29"/>
                  </a:moveTo>
                  <a:cubicBezTo>
                    <a:pt x="26" y="29"/>
                    <a:pt x="26" y="29"/>
                    <a:pt x="26" y="29"/>
                  </a:cubicBezTo>
                  <a:cubicBezTo>
                    <a:pt x="26" y="29"/>
                    <a:pt x="26" y="29"/>
                    <a:pt x="26" y="29"/>
                  </a:cubicBezTo>
                  <a:cubicBezTo>
                    <a:pt x="26" y="28"/>
                    <a:pt x="26" y="28"/>
                    <a:pt x="26" y="28"/>
                  </a:cubicBezTo>
                  <a:cubicBezTo>
                    <a:pt x="26" y="29"/>
                    <a:pt x="26" y="29"/>
                    <a:pt x="26" y="29"/>
                  </a:cubicBezTo>
                  <a:cubicBezTo>
                    <a:pt x="26" y="29"/>
                    <a:pt x="26" y="29"/>
                    <a:pt x="26" y="29"/>
                  </a:cubicBezTo>
                  <a:moveTo>
                    <a:pt x="6" y="29"/>
                  </a:moveTo>
                  <a:cubicBezTo>
                    <a:pt x="6" y="29"/>
                    <a:pt x="6" y="29"/>
                    <a:pt x="7" y="28"/>
                  </a:cubicBezTo>
                  <a:cubicBezTo>
                    <a:pt x="7" y="29"/>
                    <a:pt x="7" y="29"/>
                    <a:pt x="8" y="30"/>
                  </a:cubicBezTo>
                  <a:cubicBezTo>
                    <a:pt x="8" y="30"/>
                    <a:pt x="8" y="30"/>
                    <a:pt x="8" y="30"/>
                  </a:cubicBezTo>
                  <a:cubicBezTo>
                    <a:pt x="8" y="30"/>
                    <a:pt x="8" y="30"/>
                    <a:pt x="8" y="30"/>
                  </a:cubicBezTo>
                  <a:cubicBezTo>
                    <a:pt x="7" y="30"/>
                    <a:pt x="7" y="30"/>
                    <a:pt x="7" y="29"/>
                  </a:cubicBezTo>
                  <a:cubicBezTo>
                    <a:pt x="7" y="29"/>
                    <a:pt x="7" y="29"/>
                    <a:pt x="7" y="29"/>
                  </a:cubicBezTo>
                  <a:cubicBezTo>
                    <a:pt x="7" y="29"/>
                    <a:pt x="7" y="29"/>
                    <a:pt x="7" y="29"/>
                  </a:cubicBezTo>
                  <a:cubicBezTo>
                    <a:pt x="6" y="29"/>
                    <a:pt x="6" y="29"/>
                    <a:pt x="6" y="29"/>
                  </a:cubicBezTo>
                  <a:cubicBezTo>
                    <a:pt x="6" y="29"/>
                    <a:pt x="6" y="29"/>
                    <a:pt x="6" y="29"/>
                  </a:cubicBezTo>
                  <a:moveTo>
                    <a:pt x="37" y="30"/>
                  </a:moveTo>
                  <a:cubicBezTo>
                    <a:pt x="36" y="30"/>
                    <a:pt x="36" y="30"/>
                    <a:pt x="36" y="30"/>
                  </a:cubicBezTo>
                  <a:cubicBezTo>
                    <a:pt x="37" y="29"/>
                    <a:pt x="37" y="29"/>
                    <a:pt x="38" y="28"/>
                  </a:cubicBezTo>
                  <a:cubicBezTo>
                    <a:pt x="38" y="29"/>
                    <a:pt x="38" y="29"/>
                    <a:pt x="38" y="29"/>
                  </a:cubicBezTo>
                  <a:cubicBezTo>
                    <a:pt x="38" y="29"/>
                    <a:pt x="38" y="29"/>
                    <a:pt x="38" y="29"/>
                  </a:cubicBezTo>
                  <a:cubicBezTo>
                    <a:pt x="38" y="29"/>
                    <a:pt x="38" y="29"/>
                    <a:pt x="38" y="29"/>
                  </a:cubicBezTo>
                  <a:cubicBezTo>
                    <a:pt x="38" y="29"/>
                    <a:pt x="38" y="29"/>
                    <a:pt x="38" y="29"/>
                  </a:cubicBezTo>
                  <a:cubicBezTo>
                    <a:pt x="37" y="29"/>
                    <a:pt x="37" y="29"/>
                    <a:pt x="37" y="29"/>
                  </a:cubicBezTo>
                  <a:cubicBezTo>
                    <a:pt x="37" y="30"/>
                    <a:pt x="37" y="30"/>
                    <a:pt x="37" y="30"/>
                  </a:cubicBezTo>
                  <a:cubicBezTo>
                    <a:pt x="37" y="30"/>
                    <a:pt x="37" y="30"/>
                    <a:pt x="37" y="30"/>
                  </a:cubicBezTo>
                  <a:moveTo>
                    <a:pt x="21" y="27"/>
                  </a:moveTo>
                  <a:cubicBezTo>
                    <a:pt x="21" y="27"/>
                    <a:pt x="21" y="27"/>
                    <a:pt x="21" y="27"/>
                  </a:cubicBezTo>
                  <a:cubicBezTo>
                    <a:pt x="21" y="27"/>
                    <a:pt x="21" y="27"/>
                    <a:pt x="21" y="27"/>
                  </a:cubicBezTo>
                  <a:cubicBezTo>
                    <a:pt x="21" y="27"/>
                    <a:pt x="21" y="27"/>
                    <a:pt x="21" y="27"/>
                  </a:cubicBezTo>
                  <a:moveTo>
                    <a:pt x="23" y="27"/>
                  </a:moveTo>
                  <a:cubicBezTo>
                    <a:pt x="23" y="27"/>
                    <a:pt x="23" y="27"/>
                    <a:pt x="23" y="27"/>
                  </a:cubicBezTo>
                  <a:cubicBezTo>
                    <a:pt x="23" y="27"/>
                    <a:pt x="23" y="27"/>
                    <a:pt x="23" y="27"/>
                  </a:cubicBezTo>
                  <a:cubicBezTo>
                    <a:pt x="23" y="27"/>
                    <a:pt x="23" y="27"/>
                    <a:pt x="23" y="27"/>
                  </a:cubicBezTo>
                  <a:moveTo>
                    <a:pt x="15" y="28"/>
                  </a:moveTo>
                  <a:cubicBezTo>
                    <a:pt x="15" y="28"/>
                    <a:pt x="15" y="28"/>
                    <a:pt x="15" y="28"/>
                  </a:cubicBezTo>
                  <a:cubicBezTo>
                    <a:pt x="15" y="28"/>
                    <a:pt x="15" y="28"/>
                    <a:pt x="15" y="28"/>
                  </a:cubicBezTo>
                  <a:cubicBezTo>
                    <a:pt x="15" y="27"/>
                    <a:pt x="15" y="27"/>
                    <a:pt x="15" y="27"/>
                  </a:cubicBezTo>
                  <a:cubicBezTo>
                    <a:pt x="16" y="27"/>
                    <a:pt x="16" y="27"/>
                    <a:pt x="16" y="27"/>
                  </a:cubicBezTo>
                  <a:cubicBezTo>
                    <a:pt x="16" y="27"/>
                    <a:pt x="16" y="27"/>
                    <a:pt x="16" y="27"/>
                  </a:cubicBezTo>
                  <a:cubicBezTo>
                    <a:pt x="16" y="27"/>
                    <a:pt x="16" y="28"/>
                    <a:pt x="15" y="28"/>
                  </a:cubicBezTo>
                  <a:moveTo>
                    <a:pt x="29" y="28"/>
                  </a:moveTo>
                  <a:cubicBezTo>
                    <a:pt x="29" y="28"/>
                    <a:pt x="29" y="27"/>
                    <a:pt x="28" y="27"/>
                  </a:cubicBezTo>
                  <a:cubicBezTo>
                    <a:pt x="29" y="27"/>
                    <a:pt x="29" y="27"/>
                    <a:pt x="29" y="27"/>
                  </a:cubicBezTo>
                  <a:cubicBezTo>
                    <a:pt x="29" y="27"/>
                    <a:pt x="29" y="27"/>
                    <a:pt x="29" y="27"/>
                  </a:cubicBezTo>
                  <a:cubicBezTo>
                    <a:pt x="30" y="28"/>
                    <a:pt x="30" y="28"/>
                    <a:pt x="30" y="28"/>
                  </a:cubicBezTo>
                  <a:cubicBezTo>
                    <a:pt x="30" y="28"/>
                    <a:pt x="30" y="28"/>
                    <a:pt x="30" y="28"/>
                  </a:cubicBezTo>
                  <a:cubicBezTo>
                    <a:pt x="29" y="28"/>
                    <a:pt x="29" y="28"/>
                    <a:pt x="29" y="28"/>
                  </a:cubicBezTo>
                  <a:moveTo>
                    <a:pt x="16" y="28"/>
                  </a:moveTo>
                  <a:cubicBezTo>
                    <a:pt x="16" y="28"/>
                    <a:pt x="16" y="27"/>
                    <a:pt x="16" y="27"/>
                  </a:cubicBezTo>
                  <a:cubicBezTo>
                    <a:pt x="17" y="27"/>
                    <a:pt x="17" y="27"/>
                    <a:pt x="18" y="26"/>
                  </a:cubicBezTo>
                  <a:cubicBezTo>
                    <a:pt x="18" y="27"/>
                    <a:pt x="18" y="27"/>
                    <a:pt x="18" y="28"/>
                  </a:cubicBezTo>
                  <a:cubicBezTo>
                    <a:pt x="18" y="28"/>
                    <a:pt x="18" y="28"/>
                    <a:pt x="18" y="28"/>
                  </a:cubicBezTo>
                  <a:cubicBezTo>
                    <a:pt x="18" y="28"/>
                    <a:pt x="18" y="28"/>
                    <a:pt x="18" y="28"/>
                  </a:cubicBezTo>
                  <a:cubicBezTo>
                    <a:pt x="17" y="28"/>
                    <a:pt x="17" y="28"/>
                    <a:pt x="17" y="28"/>
                  </a:cubicBezTo>
                  <a:cubicBezTo>
                    <a:pt x="17" y="28"/>
                    <a:pt x="17" y="28"/>
                    <a:pt x="17" y="28"/>
                  </a:cubicBezTo>
                  <a:cubicBezTo>
                    <a:pt x="18" y="27"/>
                    <a:pt x="18" y="27"/>
                    <a:pt x="18" y="27"/>
                  </a:cubicBezTo>
                  <a:cubicBezTo>
                    <a:pt x="18" y="27"/>
                    <a:pt x="18" y="27"/>
                    <a:pt x="18" y="27"/>
                  </a:cubicBezTo>
                  <a:cubicBezTo>
                    <a:pt x="17" y="27"/>
                    <a:pt x="17" y="27"/>
                    <a:pt x="17" y="27"/>
                  </a:cubicBezTo>
                  <a:cubicBezTo>
                    <a:pt x="17" y="27"/>
                    <a:pt x="17" y="27"/>
                    <a:pt x="17" y="28"/>
                  </a:cubicBezTo>
                  <a:cubicBezTo>
                    <a:pt x="16" y="28"/>
                    <a:pt x="16" y="28"/>
                    <a:pt x="16" y="28"/>
                  </a:cubicBezTo>
                  <a:moveTo>
                    <a:pt x="27" y="28"/>
                  </a:moveTo>
                  <a:cubicBezTo>
                    <a:pt x="27" y="28"/>
                    <a:pt x="27" y="28"/>
                    <a:pt x="27" y="28"/>
                  </a:cubicBezTo>
                  <a:cubicBezTo>
                    <a:pt x="26" y="28"/>
                    <a:pt x="26" y="28"/>
                    <a:pt x="26" y="28"/>
                  </a:cubicBezTo>
                  <a:cubicBezTo>
                    <a:pt x="27" y="27"/>
                    <a:pt x="27" y="27"/>
                    <a:pt x="27" y="26"/>
                  </a:cubicBezTo>
                  <a:cubicBezTo>
                    <a:pt x="27" y="27"/>
                    <a:pt x="28" y="27"/>
                    <a:pt x="28" y="27"/>
                  </a:cubicBezTo>
                  <a:cubicBezTo>
                    <a:pt x="28" y="27"/>
                    <a:pt x="28" y="28"/>
                    <a:pt x="29" y="28"/>
                  </a:cubicBezTo>
                  <a:cubicBezTo>
                    <a:pt x="28" y="28"/>
                    <a:pt x="28" y="28"/>
                    <a:pt x="28" y="28"/>
                  </a:cubicBezTo>
                  <a:cubicBezTo>
                    <a:pt x="27" y="27"/>
                    <a:pt x="27" y="27"/>
                    <a:pt x="27" y="27"/>
                  </a:cubicBezTo>
                  <a:cubicBezTo>
                    <a:pt x="27" y="27"/>
                    <a:pt x="27" y="27"/>
                    <a:pt x="27" y="27"/>
                  </a:cubicBezTo>
                  <a:cubicBezTo>
                    <a:pt x="27" y="27"/>
                    <a:pt x="27" y="27"/>
                    <a:pt x="27" y="27"/>
                  </a:cubicBezTo>
                  <a:cubicBezTo>
                    <a:pt x="27" y="28"/>
                    <a:pt x="27" y="28"/>
                    <a:pt x="27" y="28"/>
                  </a:cubicBezTo>
                  <a:cubicBezTo>
                    <a:pt x="27" y="28"/>
                    <a:pt x="27" y="28"/>
                    <a:pt x="27" y="28"/>
                  </a:cubicBezTo>
                  <a:cubicBezTo>
                    <a:pt x="27" y="28"/>
                    <a:pt x="27" y="28"/>
                    <a:pt x="27" y="28"/>
                  </a:cubicBezTo>
                  <a:moveTo>
                    <a:pt x="14" y="28"/>
                  </a:moveTo>
                  <a:cubicBezTo>
                    <a:pt x="14" y="27"/>
                    <a:pt x="14" y="27"/>
                    <a:pt x="14" y="27"/>
                  </a:cubicBezTo>
                  <a:cubicBezTo>
                    <a:pt x="14" y="27"/>
                    <a:pt x="14" y="26"/>
                    <a:pt x="15" y="26"/>
                  </a:cubicBezTo>
                  <a:cubicBezTo>
                    <a:pt x="15" y="26"/>
                    <a:pt x="15" y="26"/>
                    <a:pt x="15" y="26"/>
                  </a:cubicBezTo>
                  <a:cubicBezTo>
                    <a:pt x="15" y="26"/>
                    <a:pt x="15" y="26"/>
                    <a:pt x="15" y="26"/>
                  </a:cubicBezTo>
                  <a:cubicBezTo>
                    <a:pt x="14" y="28"/>
                    <a:pt x="14" y="28"/>
                    <a:pt x="14" y="28"/>
                  </a:cubicBezTo>
                  <a:moveTo>
                    <a:pt x="30" y="28"/>
                  </a:moveTo>
                  <a:cubicBezTo>
                    <a:pt x="29" y="26"/>
                    <a:pt x="29" y="26"/>
                    <a:pt x="29" y="26"/>
                  </a:cubicBezTo>
                  <a:cubicBezTo>
                    <a:pt x="30" y="26"/>
                    <a:pt x="30" y="26"/>
                    <a:pt x="30" y="26"/>
                  </a:cubicBezTo>
                  <a:cubicBezTo>
                    <a:pt x="30" y="26"/>
                    <a:pt x="30" y="26"/>
                    <a:pt x="30" y="26"/>
                  </a:cubicBezTo>
                  <a:cubicBezTo>
                    <a:pt x="30" y="26"/>
                    <a:pt x="30" y="27"/>
                    <a:pt x="30" y="27"/>
                  </a:cubicBezTo>
                  <a:cubicBezTo>
                    <a:pt x="30" y="28"/>
                    <a:pt x="30" y="28"/>
                    <a:pt x="30" y="28"/>
                  </a:cubicBezTo>
                  <a:moveTo>
                    <a:pt x="20" y="27"/>
                  </a:moveTo>
                  <a:cubicBezTo>
                    <a:pt x="20" y="27"/>
                    <a:pt x="20" y="27"/>
                    <a:pt x="20" y="27"/>
                  </a:cubicBezTo>
                  <a:cubicBezTo>
                    <a:pt x="21" y="27"/>
                    <a:pt x="21" y="26"/>
                    <a:pt x="21" y="26"/>
                  </a:cubicBezTo>
                  <a:cubicBezTo>
                    <a:pt x="21" y="26"/>
                    <a:pt x="21" y="26"/>
                    <a:pt x="21" y="26"/>
                  </a:cubicBezTo>
                  <a:cubicBezTo>
                    <a:pt x="20" y="27"/>
                    <a:pt x="20" y="27"/>
                    <a:pt x="20" y="27"/>
                  </a:cubicBezTo>
                  <a:moveTo>
                    <a:pt x="24" y="27"/>
                  </a:moveTo>
                  <a:cubicBezTo>
                    <a:pt x="23" y="26"/>
                    <a:pt x="23" y="26"/>
                    <a:pt x="23" y="26"/>
                  </a:cubicBezTo>
                  <a:cubicBezTo>
                    <a:pt x="23" y="26"/>
                    <a:pt x="23" y="26"/>
                    <a:pt x="23" y="26"/>
                  </a:cubicBezTo>
                  <a:cubicBezTo>
                    <a:pt x="23" y="26"/>
                    <a:pt x="24" y="27"/>
                    <a:pt x="24" y="27"/>
                  </a:cubicBezTo>
                  <a:cubicBezTo>
                    <a:pt x="24" y="27"/>
                    <a:pt x="24" y="27"/>
                    <a:pt x="24" y="27"/>
                  </a:cubicBezTo>
                  <a:moveTo>
                    <a:pt x="9" y="25"/>
                  </a:moveTo>
                  <a:cubicBezTo>
                    <a:pt x="9" y="25"/>
                    <a:pt x="9" y="25"/>
                    <a:pt x="9" y="25"/>
                  </a:cubicBezTo>
                  <a:cubicBezTo>
                    <a:pt x="9" y="25"/>
                    <a:pt x="9" y="25"/>
                    <a:pt x="9" y="25"/>
                  </a:cubicBezTo>
                  <a:cubicBezTo>
                    <a:pt x="9" y="25"/>
                    <a:pt x="9" y="25"/>
                    <a:pt x="9" y="25"/>
                  </a:cubicBezTo>
                  <a:moveTo>
                    <a:pt x="35" y="25"/>
                  </a:moveTo>
                  <a:cubicBezTo>
                    <a:pt x="35" y="25"/>
                    <a:pt x="35" y="25"/>
                    <a:pt x="35" y="25"/>
                  </a:cubicBezTo>
                  <a:cubicBezTo>
                    <a:pt x="35" y="25"/>
                    <a:pt x="35" y="25"/>
                    <a:pt x="35" y="25"/>
                  </a:cubicBezTo>
                  <a:cubicBezTo>
                    <a:pt x="35" y="25"/>
                    <a:pt x="35" y="25"/>
                    <a:pt x="35" y="25"/>
                  </a:cubicBezTo>
                  <a:moveTo>
                    <a:pt x="8" y="25"/>
                  </a:moveTo>
                  <a:cubicBezTo>
                    <a:pt x="8" y="25"/>
                    <a:pt x="8" y="25"/>
                    <a:pt x="8" y="25"/>
                  </a:cubicBezTo>
                  <a:cubicBezTo>
                    <a:pt x="8" y="25"/>
                    <a:pt x="8" y="25"/>
                    <a:pt x="8" y="25"/>
                  </a:cubicBezTo>
                  <a:cubicBezTo>
                    <a:pt x="8" y="25"/>
                    <a:pt x="8" y="25"/>
                    <a:pt x="8" y="25"/>
                  </a:cubicBezTo>
                  <a:cubicBezTo>
                    <a:pt x="8" y="25"/>
                    <a:pt x="8" y="25"/>
                    <a:pt x="8" y="25"/>
                  </a:cubicBezTo>
                  <a:moveTo>
                    <a:pt x="37" y="25"/>
                  </a:moveTo>
                  <a:cubicBezTo>
                    <a:pt x="36" y="25"/>
                    <a:pt x="36" y="25"/>
                    <a:pt x="36" y="25"/>
                  </a:cubicBezTo>
                  <a:cubicBezTo>
                    <a:pt x="36" y="25"/>
                    <a:pt x="36" y="25"/>
                    <a:pt x="36" y="25"/>
                  </a:cubicBezTo>
                  <a:cubicBezTo>
                    <a:pt x="36" y="25"/>
                    <a:pt x="36" y="25"/>
                    <a:pt x="36" y="25"/>
                  </a:cubicBezTo>
                  <a:cubicBezTo>
                    <a:pt x="37" y="25"/>
                    <a:pt x="37" y="25"/>
                    <a:pt x="37" y="25"/>
                  </a:cubicBezTo>
                  <a:moveTo>
                    <a:pt x="13" y="26"/>
                  </a:moveTo>
                  <a:cubicBezTo>
                    <a:pt x="13" y="25"/>
                    <a:pt x="13" y="25"/>
                    <a:pt x="13" y="25"/>
                  </a:cubicBezTo>
                  <a:cubicBezTo>
                    <a:pt x="13" y="25"/>
                    <a:pt x="13" y="25"/>
                    <a:pt x="13" y="25"/>
                  </a:cubicBezTo>
                  <a:cubicBezTo>
                    <a:pt x="13" y="25"/>
                    <a:pt x="13" y="25"/>
                    <a:pt x="13" y="25"/>
                  </a:cubicBezTo>
                  <a:cubicBezTo>
                    <a:pt x="13" y="25"/>
                    <a:pt x="13" y="25"/>
                    <a:pt x="13" y="25"/>
                  </a:cubicBezTo>
                  <a:cubicBezTo>
                    <a:pt x="13" y="26"/>
                    <a:pt x="13" y="26"/>
                    <a:pt x="13" y="26"/>
                  </a:cubicBezTo>
                  <a:moveTo>
                    <a:pt x="31" y="26"/>
                  </a:moveTo>
                  <a:cubicBezTo>
                    <a:pt x="31" y="25"/>
                    <a:pt x="31" y="25"/>
                    <a:pt x="31" y="25"/>
                  </a:cubicBezTo>
                  <a:cubicBezTo>
                    <a:pt x="32" y="25"/>
                    <a:pt x="32" y="25"/>
                    <a:pt x="32" y="25"/>
                  </a:cubicBezTo>
                  <a:cubicBezTo>
                    <a:pt x="32" y="25"/>
                    <a:pt x="32" y="25"/>
                    <a:pt x="32" y="25"/>
                  </a:cubicBezTo>
                  <a:cubicBezTo>
                    <a:pt x="32" y="25"/>
                    <a:pt x="32" y="25"/>
                    <a:pt x="32" y="25"/>
                  </a:cubicBezTo>
                  <a:cubicBezTo>
                    <a:pt x="31" y="26"/>
                    <a:pt x="31" y="26"/>
                    <a:pt x="31" y="26"/>
                  </a:cubicBezTo>
                  <a:moveTo>
                    <a:pt x="14" y="27"/>
                  </a:moveTo>
                  <a:cubicBezTo>
                    <a:pt x="14" y="26"/>
                    <a:pt x="14" y="26"/>
                    <a:pt x="14" y="26"/>
                  </a:cubicBezTo>
                  <a:cubicBezTo>
                    <a:pt x="14" y="26"/>
                    <a:pt x="14" y="26"/>
                    <a:pt x="14" y="26"/>
                  </a:cubicBezTo>
                  <a:cubicBezTo>
                    <a:pt x="14" y="26"/>
                    <a:pt x="14" y="26"/>
                    <a:pt x="14" y="26"/>
                  </a:cubicBezTo>
                  <a:cubicBezTo>
                    <a:pt x="14" y="25"/>
                    <a:pt x="14" y="25"/>
                    <a:pt x="14" y="25"/>
                  </a:cubicBezTo>
                  <a:cubicBezTo>
                    <a:pt x="14" y="25"/>
                    <a:pt x="14" y="25"/>
                    <a:pt x="14" y="25"/>
                  </a:cubicBezTo>
                  <a:cubicBezTo>
                    <a:pt x="14" y="25"/>
                    <a:pt x="14" y="25"/>
                    <a:pt x="14" y="25"/>
                  </a:cubicBezTo>
                  <a:cubicBezTo>
                    <a:pt x="15" y="26"/>
                    <a:pt x="15" y="26"/>
                    <a:pt x="15" y="26"/>
                  </a:cubicBezTo>
                  <a:cubicBezTo>
                    <a:pt x="14" y="26"/>
                    <a:pt x="14" y="26"/>
                    <a:pt x="14" y="26"/>
                  </a:cubicBezTo>
                  <a:cubicBezTo>
                    <a:pt x="14" y="27"/>
                    <a:pt x="14" y="27"/>
                    <a:pt x="14" y="27"/>
                  </a:cubicBezTo>
                  <a:moveTo>
                    <a:pt x="31" y="27"/>
                  </a:moveTo>
                  <a:cubicBezTo>
                    <a:pt x="30" y="26"/>
                    <a:pt x="30" y="26"/>
                    <a:pt x="30" y="26"/>
                  </a:cubicBezTo>
                  <a:cubicBezTo>
                    <a:pt x="30" y="26"/>
                    <a:pt x="30" y="26"/>
                    <a:pt x="30" y="26"/>
                  </a:cubicBezTo>
                  <a:cubicBezTo>
                    <a:pt x="30" y="25"/>
                    <a:pt x="30" y="25"/>
                    <a:pt x="30" y="25"/>
                  </a:cubicBezTo>
                  <a:cubicBezTo>
                    <a:pt x="30" y="25"/>
                    <a:pt x="30" y="25"/>
                    <a:pt x="30" y="25"/>
                  </a:cubicBezTo>
                  <a:cubicBezTo>
                    <a:pt x="30" y="25"/>
                    <a:pt x="30" y="25"/>
                    <a:pt x="30" y="25"/>
                  </a:cubicBezTo>
                  <a:cubicBezTo>
                    <a:pt x="31" y="26"/>
                    <a:pt x="31" y="26"/>
                    <a:pt x="31" y="26"/>
                  </a:cubicBezTo>
                  <a:cubicBezTo>
                    <a:pt x="30" y="26"/>
                    <a:pt x="30" y="26"/>
                    <a:pt x="30" y="26"/>
                  </a:cubicBezTo>
                  <a:cubicBezTo>
                    <a:pt x="30" y="26"/>
                    <a:pt x="30" y="26"/>
                    <a:pt x="30" y="26"/>
                  </a:cubicBezTo>
                  <a:cubicBezTo>
                    <a:pt x="31" y="27"/>
                    <a:pt x="31" y="27"/>
                    <a:pt x="31" y="27"/>
                  </a:cubicBezTo>
                  <a:moveTo>
                    <a:pt x="32" y="25"/>
                  </a:moveTo>
                  <a:cubicBezTo>
                    <a:pt x="32" y="25"/>
                    <a:pt x="32" y="25"/>
                    <a:pt x="32" y="25"/>
                  </a:cubicBezTo>
                  <a:cubicBezTo>
                    <a:pt x="32" y="25"/>
                    <a:pt x="32" y="25"/>
                    <a:pt x="32" y="25"/>
                  </a:cubicBezTo>
                  <a:cubicBezTo>
                    <a:pt x="33" y="25"/>
                    <a:pt x="33" y="25"/>
                    <a:pt x="33" y="25"/>
                  </a:cubicBezTo>
                  <a:cubicBezTo>
                    <a:pt x="33" y="25"/>
                    <a:pt x="33" y="25"/>
                    <a:pt x="33" y="25"/>
                  </a:cubicBezTo>
                  <a:cubicBezTo>
                    <a:pt x="33" y="25"/>
                    <a:pt x="33" y="25"/>
                    <a:pt x="33" y="25"/>
                  </a:cubicBezTo>
                  <a:cubicBezTo>
                    <a:pt x="32" y="25"/>
                    <a:pt x="32" y="25"/>
                    <a:pt x="32" y="25"/>
                  </a:cubicBezTo>
                  <a:moveTo>
                    <a:pt x="12" y="25"/>
                  </a:move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moveTo>
                    <a:pt x="6" y="25"/>
                  </a:moveTo>
                  <a:cubicBezTo>
                    <a:pt x="6" y="25"/>
                    <a:pt x="6" y="25"/>
                    <a:pt x="6" y="25"/>
                  </a:cubicBezTo>
                  <a:cubicBezTo>
                    <a:pt x="6" y="25"/>
                    <a:pt x="6" y="25"/>
                    <a:pt x="6" y="25"/>
                  </a:cubicBezTo>
                  <a:cubicBezTo>
                    <a:pt x="6" y="25"/>
                    <a:pt x="6" y="25"/>
                    <a:pt x="6" y="25"/>
                  </a:cubicBezTo>
                  <a:moveTo>
                    <a:pt x="39" y="25"/>
                  </a:moveTo>
                  <a:cubicBezTo>
                    <a:pt x="38" y="25"/>
                    <a:pt x="38" y="25"/>
                    <a:pt x="38" y="25"/>
                  </a:cubicBezTo>
                  <a:cubicBezTo>
                    <a:pt x="38" y="25"/>
                    <a:pt x="38" y="25"/>
                    <a:pt x="38" y="25"/>
                  </a:cubicBezTo>
                  <a:cubicBezTo>
                    <a:pt x="39" y="25"/>
                    <a:pt x="39" y="25"/>
                    <a:pt x="39" y="25"/>
                  </a:cubicBezTo>
                  <a:moveTo>
                    <a:pt x="11" y="25"/>
                  </a:moveTo>
                  <a:cubicBezTo>
                    <a:pt x="11" y="25"/>
                    <a:pt x="11" y="25"/>
                    <a:pt x="11" y="25"/>
                  </a:cubicBezTo>
                  <a:cubicBezTo>
                    <a:pt x="11" y="25"/>
                    <a:pt x="11" y="25"/>
                    <a:pt x="11" y="25"/>
                  </a:cubicBezTo>
                  <a:cubicBezTo>
                    <a:pt x="11" y="25"/>
                    <a:pt x="11" y="25"/>
                    <a:pt x="11" y="25"/>
                  </a:cubicBezTo>
                  <a:moveTo>
                    <a:pt x="33" y="25"/>
                  </a:moveTo>
                  <a:cubicBezTo>
                    <a:pt x="33" y="25"/>
                    <a:pt x="33" y="25"/>
                    <a:pt x="33" y="25"/>
                  </a:cubicBezTo>
                  <a:cubicBezTo>
                    <a:pt x="33" y="25"/>
                    <a:pt x="33" y="25"/>
                    <a:pt x="33" y="25"/>
                  </a:cubicBezTo>
                  <a:cubicBezTo>
                    <a:pt x="33" y="25"/>
                    <a:pt x="33" y="25"/>
                    <a:pt x="33" y="25"/>
                  </a:cubicBezTo>
                  <a:moveTo>
                    <a:pt x="7" y="25"/>
                  </a:moveTo>
                  <a:cubicBezTo>
                    <a:pt x="7" y="25"/>
                    <a:pt x="7" y="25"/>
                    <a:pt x="7" y="25"/>
                  </a:cubicBezTo>
                  <a:cubicBezTo>
                    <a:pt x="7" y="25"/>
                    <a:pt x="7" y="25"/>
                    <a:pt x="7" y="25"/>
                  </a:cubicBezTo>
                  <a:cubicBezTo>
                    <a:pt x="7" y="25"/>
                    <a:pt x="7" y="25"/>
                    <a:pt x="7" y="25"/>
                  </a:cubicBezTo>
                  <a:cubicBezTo>
                    <a:pt x="7" y="25"/>
                    <a:pt x="7" y="25"/>
                    <a:pt x="7" y="25"/>
                  </a:cubicBezTo>
                  <a:cubicBezTo>
                    <a:pt x="7" y="25"/>
                    <a:pt x="7" y="25"/>
                    <a:pt x="7" y="25"/>
                  </a:cubicBezTo>
                  <a:moveTo>
                    <a:pt x="37" y="25"/>
                  </a:moveTo>
                  <a:cubicBezTo>
                    <a:pt x="37" y="25"/>
                    <a:pt x="37" y="25"/>
                    <a:pt x="37" y="25"/>
                  </a:cubicBezTo>
                  <a:cubicBezTo>
                    <a:pt x="38" y="25"/>
                    <a:pt x="38" y="25"/>
                    <a:pt x="38" y="25"/>
                  </a:cubicBezTo>
                  <a:cubicBezTo>
                    <a:pt x="37" y="25"/>
                    <a:pt x="37" y="25"/>
                    <a:pt x="37" y="25"/>
                  </a:cubicBezTo>
                  <a:cubicBezTo>
                    <a:pt x="37" y="25"/>
                    <a:pt x="37" y="25"/>
                    <a:pt x="37" y="25"/>
                  </a:cubicBezTo>
                  <a:cubicBezTo>
                    <a:pt x="37" y="25"/>
                    <a:pt x="37" y="25"/>
                    <a:pt x="37" y="25"/>
                  </a:cubicBezTo>
                  <a:moveTo>
                    <a:pt x="6" y="25"/>
                  </a:moveTo>
                  <a:cubicBezTo>
                    <a:pt x="6" y="25"/>
                    <a:pt x="6" y="25"/>
                    <a:pt x="6" y="25"/>
                  </a:cubicBezTo>
                  <a:cubicBezTo>
                    <a:pt x="7" y="25"/>
                    <a:pt x="7" y="25"/>
                    <a:pt x="7" y="25"/>
                  </a:cubicBezTo>
                  <a:cubicBezTo>
                    <a:pt x="7" y="25"/>
                    <a:pt x="7" y="25"/>
                    <a:pt x="7" y="25"/>
                  </a:cubicBezTo>
                  <a:cubicBezTo>
                    <a:pt x="6" y="25"/>
                    <a:pt x="6" y="25"/>
                    <a:pt x="6" y="25"/>
                  </a:cubicBezTo>
                  <a:moveTo>
                    <a:pt x="38" y="25"/>
                  </a:moveTo>
                  <a:cubicBezTo>
                    <a:pt x="38" y="25"/>
                    <a:pt x="38" y="25"/>
                    <a:pt x="38" y="25"/>
                  </a:cubicBezTo>
                  <a:cubicBezTo>
                    <a:pt x="38" y="25"/>
                    <a:pt x="38" y="25"/>
                    <a:pt x="38" y="25"/>
                  </a:cubicBezTo>
                  <a:cubicBezTo>
                    <a:pt x="38" y="25"/>
                    <a:pt x="38" y="25"/>
                    <a:pt x="38" y="25"/>
                  </a:cubicBezTo>
                  <a:cubicBezTo>
                    <a:pt x="38" y="25"/>
                    <a:pt x="38" y="25"/>
                    <a:pt x="38" y="25"/>
                  </a:cubicBezTo>
                  <a:moveTo>
                    <a:pt x="6" y="25"/>
                  </a:moveTo>
                  <a:cubicBezTo>
                    <a:pt x="6" y="24"/>
                    <a:pt x="6" y="24"/>
                    <a:pt x="6" y="24"/>
                  </a:cubicBezTo>
                  <a:cubicBezTo>
                    <a:pt x="6" y="24"/>
                    <a:pt x="6" y="24"/>
                    <a:pt x="6" y="24"/>
                  </a:cubicBezTo>
                  <a:cubicBezTo>
                    <a:pt x="6" y="25"/>
                    <a:pt x="6" y="25"/>
                    <a:pt x="6" y="25"/>
                  </a:cubicBezTo>
                  <a:moveTo>
                    <a:pt x="39" y="25"/>
                  </a:moveTo>
                  <a:cubicBezTo>
                    <a:pt x="39" y="24"/>
                    <a:pt x="39" y="24"/>
                    <a:pt x="39" y="24"/>
                  </a:cubicBezTo>
                  <a:cubicBezTo>
                    <a:pt x="39" y="24"/>
                    <a:pt x="39" y="24"/>
                    <a:pt x="39" y="24"/>
                  </a:cubicBezTo>
                  <a:cubicBezTo>
                    <a:pt x="39" y="25"/>
                    <a:pt x="39" y="25"/>
                    <a:pt x="39" y="25"/>
                  </a:cubicBezTo>
                  <a:moveTo>
                    <a:pt x="5" y="25"/>
                  </a:moveTo>
                  <a:cubicBezTo>
                    <a:pt x="5" y="24"/>
                    <a:pt x="5" y="24"/>
                    <a:pt x="5" y="24"/>
                  </a:cubicBezTo>
                  <a:cubicBezTo>
                    <a:pt x="5" y="24"/>
                    <a:pt x="5" y="24"/>
                    <a:pt x="5" y="24"/>
                  </a:cubicBezTo>
                  <a:cubicBezTo>
                    <a:pt x="5" y="24"/>
                    <a:pt x="5" y="24"/>
                    <a:pt x="5" y="24"/>
                  </a:cubicBezTo>
                  <a:cubicBezTo>
                    <a:pt x="5" y="24"/>
                    <a:pt x="5" y="24"/>
                    <a:pt x="5" y="24"/>
                  </a:cubicBezTo>
                  <a:cubicBezTo>
                    <a:pt x="5" y="23"/>
                    <a:pt x="5" y="23"/>
                    <a:pt x="5" y="23"/>
                  </a:cubicBezTo>
                  <a:cubicBezTo>
                    <a:pt x="6" y="23"/>
                    <a:pt x="6" y="23"/>
                    <a:pt x="6" y="23"/>
                  </a:cubicBezTo>
                  <a:cubicBezTo>
                    <a:pt x="5" y="24"/>
                    <a:pt x="5" y="24"/>
                    <a:pt x="5" y="25"/>
                  </a:cubicBezTo>
                  <a:cubicBezTo>
                    <a:pt x="5" y="25"/>
                    <a:pt x="5" y="25"/>
                    <a:pt x="5" y="25"/>
                  </a:cubicBezTo>
                  <a:moveTo>
                    <a:pt x="39" y="25"/>
                  </a:moveTo>
                  <a:cubicBezTo>
                    <a:pt x="39" y="25"/>
                    <a:pt x="39" y="25"/>
                    <a:pt x="39" y="25"/>
                  </a:cubicBezTo>
                  <a:cubicBezTo>
                    <a:pt x="39" y="24"/>
                    <a:pt x="39" y="24"/>
                    <a:pt x="39" y="23"/>
                  </a:cubicBezTo>
                  <a:cubicBezTo>
                    <a:pt x="39" y="23"/>
                    <a:pt x="39" y="23"/>
                    <a:pt x="39" y="23"/>
                  </a:cubicBezTo>
                  <a:cubicBezTo>
                    <a:pt x="39" y="24"/>
                    <a:pt x="39" y="24"/>
                    <a:pt x="39" y="24"/>
                  </a:cubicBezTo>
                  <a:cubicBezTo>
                    <a:pt x="39" y="24"/>
                    <a:pt x="39" y="24"/>
                    <a:pt x="39" y="24"/>
                  </a:cubicBezTo>
                  <a:cubicBezTo>
                    <a:pt x="39" y="24"/>
                    <a:pt x="39" y="24"/>
                    <a:pt x="39" y="24"/>
                  </a:cubicBezTo>
                  <a:cubicBezTo>
                    <a:pt x="40" y="24"/>
                    <a:pt x="40" y="24"/>
                    <a:pt x="40" y="24"/>
                  </a:cubicBezTo>
                  <a:cubicBezTo>
                    <a:pt x="39" y="25"/>
                    <a:pt x="39" y="25"/>
                    <a:pt x="39" y="25"/>
                  </a:cubicBezTo>
                  <a:moveTo>
                    <a:pt x="21" y="23"/>
                  </a:moveTo>
                  <a:cubicBezTo>
                    <a:pt x="21" y="23"/>
                    <a:pt x="21" y="23"/>
                    <a:pt x="21" y="23"/>
                  </a:cubicBezTo>
                  <a:cubicBezTo>
                    <a:pt x="21" y="22"/>
                    <a:pt x="21" y="22"/>
                    <a:pt x="21" y="22"/>
                  </a:cubicBezTo>
                  <a:cubicBezTo>
                    <a:pt x="21" y="23"/>
                    <a:pt x="21" y="23"/>
                    <a:pt x="21" y="23"/>
                  </a:cubicBezTo>
                  <a:moveTo>
                    <a:pt x="23" y="23"/>
                  </a:moveTo>
                  <a:cubicBezTo>
                    <a:pt x="23" y="23"/>
                    <a:pt x="23" y="23"/>
                    <a:pt x="23" y="22"/>
                  </a:cubicBezTo>
                  <a:cubicBezTo>
                    <a:pt x="24" y="23"/>
                    <a:pt x="24" y="23"/>
                    <a:pt x="24" y="23"/>
                  </a:cubicBezTo>
                  <a:cubicBezTo>
                    <a:pt x="23" y="23"/>
                    <a:pt x="23" y="23"/>
                    <a:pt x="23" y="23"/>
                  </a:cubicBezTo>
                  <a:moveTo>
                    <a:pt x="40" y="24"/>
                  </a:moveTo>
                  <a:cubicBezTo>
                    <a:pt x="39" y="22"/>
                    <a:pt x="39" y="22"/>
                    <a:pt x="39" y="22"/>
                  </a:cubicBezTo>
                  <a:cubicBezTo>
                    <a:pt x="40" y="22"/>
                    <a:pt x="40" y="22"/>
                    <a:pt x="40" y="22"/>
                  </a:cubicBezTo>
                  <a:cubicBezTo>
                    <a:pt x="40" y="22"/>
                    <a:pt x="40" y="23"/>
                    <a:pt x="40" y="23"/>
                  </a:cubicBezTo>
                  <a:cubicBezTo>
                    <a:pt x="40" y="23"/>
                    <a:pt x="40" y="23"/>
                    <a:pt x="40" y="23"/>
                  </a:cubicBezTo>
                  <a:cubicBezTo>
                    <a:pt x="40" y="24"/>
                    <a:pt x="40" y="24"/>
                    <a:pt x="40" y="24"/>
                  </a:cubicBezTo>
                  <a:cubicBezTo>
                    <a:pt x="40" y="24"/>
                    <a:pt x="40" y="24"/>
                    <a:pt x="40" y="24"/>
                  </a:cubicBezTo>
                  <a:moveTo>
                    <a:pt x="4" y="24"/>
                  </a:moveTo>
                  <a:cubicBezTo>
                    <a:pt x="4" y="24"/>
                    <a:pt x="4" y="24"/>
                    <a:pt x="4" y="24"/>
                  </a:cubicBezTo>
                  <a:cubicBezTo>
                    <a:pt x="4" y="23"/>
                    <a:pt x="4" y="23"/>
                    <a:pt x="4" y="23"/>
                  </a:cubicBezTo>
                  <a:cubicBezTo>
                    <a:pt x="4" y="23"/>
                    <a:pt x="4" y="23"/>
                    <a:pt x="4" y="23"/>
                  </a:cubicBezTo>
                  <a:cubicBezTo>
                    <a:pt x="4" y="23"/>
                    <a:pt x="4" y="22"/>
                    <a:pt x="5" y="22"/>
                  </a:cubicBezTo>
                  <a:cubicBezTo>
                    <a:pt x="5" y="22"/>
                    <a:pt x="5" y="22"/>
                    <a:pt x="5" y="22"/>
                  </a:cubicBezTo>
                  <a:cubicBezTo>
                    <a:pt x="4" y="24"/>
                    <a:pt x="4" y="24"/>
                    <a:pt x="4" y="24"/>
                  </a:cubicBezTo>
                  <a:moveTo>
                    <a:pt x="3" y="24"/>
                  </a:moveTo>
                  <a:cubicBezTo>
                    <a:pt x="3" y="23"/>
                    <a:pt x="3" y="23"/>
                    <a:pt x="3" y="22"/>
                  </a:cubicBezTo>
                  <a:cubicBezTo>
                    <a:pt x="3" y="22"/>
                    <a:pt x="3" y="22"/>
                    <a:pt x="3" y="22"/>
                  </a:cubicBezTo>
                  <a:cubicBezTo>
                    <a:pt x="3" y="22"/>
                    <a:pt x="3" y="22"/>
                    <a:pt x="3" y="22"/>
                  </a:cubicBezTo>
                  <a:cubicBezTo>
                    <a:pt x="4" y="22"/>
                    <a:pt x="4" y="22"/>
                    <a:pt x="4" y="22"/>
                  </a:cubicBezTo>
                  <a:cubicBezTo>
                    <a:pt x="4" y="22"/>
                    <a:pt x="4" y="23"/>
                    <a:pt x="3" y="23"/>
                  </a:cubicBezTo>
                  <a:cubicBezTo>
                    <a:pt x="3" y="23"/>
                    <a:pt x="3" y="23"/>
                    <a:pt x="3" y="23"/>
                  </a:cubicBezTo>
                  <a:cubicBezTo>
                    <a:pt x="3" y="24"/>
                    <a:pt x="3" y="24"/>
                    <a:pt x="3" y="24"/>
                  </a:cubicBezTo>
                  <a:moveTo>
                    <a:pt x="42" y="24"/>
                  </a:moveTo>
                  <a:cubicBezTo>
                    <a:pt x="41" y="23"/>
                    <a:pt x="41" y="23"/>
                    <a:pt x="41" y="23"/>
                  </a:cubicBezTo>
                  <a:cubicBezTo>
                    <a:pt x="41" y="23"/>
                    <a:pt x="41" y="23"/>
                    <a:pt x="41" y="23"/>
                  </a:cubicBezTo>
                  <a:cubicBezTo>
                    <a:pt x="41" y="23"/>
                    <a:pt x="40" y="22"/>
                    <a:pt x="40" y="22"/>
                  </a:cubicBezTo>
                  <a:cubicBezTo>
                    <a:pt x="41" y="22"/>
                    <a:pt x="41" y="22"/>
                    <a:pt x="41" y="22"/>
                  </a:cubicBezTo>
                  <a:cubicBezTo>
                    <a:pt x="41" y="22"/>
                    <a:pt x="41" y="22"/>
                    <a:pt x="41" y="22"/>
                  </a:cubicBezTo>
                  <a:cubicBezTo>
                    <a:pt x="41" y="22"/>
                    <a:pt x="41" y="22"/>
                    <a:pt x="41" y="22"/>
                  </a:cubicBezTo>
                  <a:cubicBezTo>
                    <a:pt x="41" y="23"/>
                    <a:pt x="42" y="23"/>
                    <a:pt x="42" y="24"/>
                  </a:cubicBezTo>
                  <a:moveTo>
                    <a:pt x="20" y="22"/>
                  </a:moveTo>
                  <a:cubicBezTo>
                    <a:pt x="20" y="22"/>
                    <a:pt x="20" y="22"/>
                    <a:pt x="20" y="22"/>
                  </a:cubicBezTo>
                  <a:cubicBezTo>
                    <a:pt x="20" y="22"/>
                    <a:pt x="20" y="22"/>
                    <a:pt x="20" y="22"/>
                  </a:cubicBezTo>
                  <a:cubicBezTo>
                    <a:pt x="21" y="22"/>
                    <a:pt x="21" y="22"/>
                    <a:pt x="21" y="22"/>
                  </a:cubicBezTo>
                  <a:cubicBezTo>
                    <a:pt x="21" y="21"/>
                    <a:pt x="21" y="21"/>
                    <a:pt x="21" y="21"/>
                  </a:cubicBezTo>
                  <a:cubicBezTo>
                    <a:pt x="21" y="21"/>
                    <a:pt x="21" y="21"/>
                    <a:pt x="21" y="21"/>
                  </a:cubicBezTo>
                  <a:cubicBezTo>
                    <a:pt x="20" y="22"/>
                    <a:pt x="20" y="22"/>
                    <a:pt x="20" y="22"/>
                  </a:cubicBezTo>
                  <a:moveTo>
                    <a:pt x="24" y="22"/>
                  </a:moveTo>
                  <a:cubicBezTo>
                    <a:pt x="23" y="21"/>
                    <a:pt x="23" y="21"/>
                    <a:pt x="23" y="21"/>
                  </a:cubicBezTo>
                  <a:cubicBezTo>
                    <a:pt x="23" y="21"/>
                    <a:pt x="23" y="21"/>
                    <a:pt x="23" y="21"/>
                  </a:cubicBezTo>
                  <a:cubicBezTo>
                    <a:pt x="23" y="22"/>
                    <a:pt x="23" y="22"/>
                    <a:pt x="23" y="22"/>
                  </a:cubicBezTo>
                  <a:cubicBezTo>
                    <a:pt x="24" y="22"/>
                    <a:pt x="24" y="22"/>
                    <a:pt x="24" y="22"/>
                  </a:cubicBezTo>
                  <a:cubicBezTo>
                    <a:pt x="24" y="22"/>
                    <a:pt x="24" y="22"/>
                    <a:pt x="24" y="22"/>
                  </a:cubicBezTo>
                  <a:cubicBezTo>
                    <a:pt x="24" y="22"/>
                    <a:pt x="24" y="22"/>
                    <a:pt x="24" y="22"/>
                  </a:cubicBezTo>
                  <a:moveTo>
                    <a:pt x="5" y="21"/>
                  </a:moveTo>
                  <a:cubicBezTo>
                    <a:pt x="6" y="21"/>
                    <a:pt x="6" y="21"/>
                    <a:pt x="6" y="21"/>
                  </a:cubicBezTo>
                  <a:cubicBezTo>
                    <a:pt x="6" y="20"/>
                    <a:pt x="6" y="20"/>
                    <a:pt x="6" y="20"/>
                  </a:cubicBezTo>
                  <a:cubicBezTo>
                    <a:pt x="6" y="22"/>
                    <a:pt x="6" y="22"/>
                    <a:pt x="6" y="22"/>
                  </a:cubicBezTo>
                  <a:cubicBezTo>
                    <a:pt x="6" y="22"/>
                    <a:pt x="5" y="21"/>
                    <a:pt x="5" y="21"/>
                  </a:cubicBezTo>
                  <a:cubicBezTo>
                    <a:pt x="4" y="21"/>
                    <a:pt x="4" y="21"/>
                    <a:pt x="4" y="21"/>
                  </a:cubicBezTo>
                  <a:cubicBezTo>
                    <a:pt x="4" y="21"/>
                    <a:pt x="4" y="21"/>
                    <a:pt x="4" y="21"/>
                  </a:cubicBezTo>
                  <a:cubicBezTo>
                    <a:pt x="4" y="21"/>
                    <a:pt x="4" y="21"/>
                    <a:pt x="4" y="21"/>
                  </a:cubicBezTo>
                  <a:cubicBezTo>
                    <a:pt x="5" y="21"/>
                    <a:pt x="5" y="21"/>
                    <a:pt x="5" y="21"/>
                  </a:cubicBezTo>
                  <a:moveTo>
                    <a:pt x="38" y="22"/>
                  </a:moveTo>
                  <a:cubicBezTo>
                    <a:pt x="38" y="20"/>
                    <a:pt x="38" y="20"/>
                    <a:pt x="38" y="20"/>
                  </a:cubicBezTo>
                  <a:cubicBezTo>
                    <a:pt x="38" y="21"/>
                    <a:pt x="38" y="21"/>
                    <a:pt x="38" y="21"/>
                  </a:cubicBezTo>
                  <a:cubicBezTo>
                    <a:pt x="39" y="21"/>
                    <a:pt x="39" y="21"/>
                    <a:pt x="39" y="21"/>
                  </a:cubicBezTo>
                  <a:cubicBezTo>
                    <a:pt x="40" y="21"/>
                    <a:pt x="40" y="21"/>
                    <a:pt x="40" y="21"/>
                  </a:cubicBezTo>
                  <a:cubicBezTo>
                    <a:pt x="40" y="21"/>
                    <a:pt x="40" y="21"/>
                    <a:pt x="40" y="21"/>
                  </a:cubicBezTo>
                  <a:cubicBezTo>
                    <a:pt x="40" y="21"/>
                    <a:pt x="40" y="21"/>
                    <a:pt x="40" y="21"/>
                  </a:cubicBezTo>
                  <a:cubicBezTo>
                    <a:pt x="39" y="21"/>
                    <a:pt x="39" y="21"/>
                    <a:pt x="39" y="21"/>
                  </a:cubicBezTo>
                  <a:cubicBezTo>
                    <a:pt x="39" y="21"/>
                    <a:pt x="39" y="22"/>
                    <a:pt x="38" y="22"/>
                  </a:cubicBezTo>
                  <a:moveTo>
                    <a:pt x="22" y="32"/>
                  </a:moveTo>
                  <a:cubicBezTo>
                    <a:pt x="22" y="32"/>
                    <a:pt x="22" y="31"/>
                    <a:pt x="22" y="31"/>
                  </a:cubicBezTo>
                  <a:cubicBezTo>
                    <a:pt x="22" y="27"/>
                    <a:pt x="22" y="23"/>
                    <a:pt x="22" y="19"/>
                  </a:cubicBezTo>
                  <a:cubicBezTo>
                    <a:pt x="22" y="18"/>
                    <a:pt x="22" y="18"/>
                    <a:pt x="22" y="17"/>
                  </a:cubicBezTo>
                  <a:cubicBezTo>
                    <a:pt x="22" y="18"/>
                    <a:pt x="22" y="18"/>
                    <a:pt x="22" y="19"/>
                  </a:cubicBezTo>
                  <a:cubicBezTo>
                    <a:pt x="23" y="23"/>
                    <a:pt x="22" y="27"/>
                    <a:pt x="22" y="31"/>
                  </a:cubicBezTo>
                  <a:cubicBezTo>
                    <a:pt x="22" y="31"/>
                    <a:pt x="22" y="32"/>
                    <a:pt x="22" y="32"/>
                  </a:cubicBezTo>
                  <a:moveTo>
                    <a:pt x="7" y="13"/>
                  </a:moveTo>
                  <a:cubicBezTo>
                    <a:pt x="8" y="13"/>
                    <a:pt x="8" y="13"/>
                    <a:pt x="8" y="13"/>
                  </a:cubicBezTo>
                  <a:cubicBezTo>
                    <a:pt x="8" y="13"/>
                    <a:pt x="8" y="13"/>
                    <a:pt x="8" y="13"/>
                  </a:cubicBezTo>
                  <a:cubicBezTo>
                    <a:pt x="8" y="14"/>
                    <a:pt x="8" y="14"/>
                    <a:pt x="8" y="14"/>
                  </a:cubicBezTo>
                  <a:cubicBezTo>
                    <a:pt x="8" y="14"/>
                    <a:pt x="8" y="14"/>
                    <a:pt x="8" y="14"/>
                  </a:cubicBezTo>
                  <a:cubicBezTo>
                    <a:pt x="7" y="14"/>
                    <a:pt x="7" y="14"/>
                    <a:pt x="7" y="14"/>
                  </a:cubicBezTo>
                  <a:cubicBezTo>
                    <a:pt x="7" y="13"/>
                    <a:pt x="7" y="13"/>
                    <a:pt x="7" y="13"/>
                  </a:cubicBezTo>
                  <a:cubicBezTo>
                    <a:pt x="7" y="13"/>
                    <a:pt x="7" y="13"/>
                    <a:pt x="7" y="13"/>
                  </a:cubicBezTo>
                  <a:moveTo>
                    <a:pt x="37" y="14"/>
                  </a:moveTo>
                  <a:cubicBezTo>
                    <a:pt x="37" y="14"/>
                    <a:pt x="37" y="14"/>
                    <a:pt x="37" y="14"/>
                  </a:cubicBezTo>
                  <a:cubicBezTo>
                    <a:pt x="37" y="13"/>
                    <a:pt x="37" y="13"/>
                    <a:pt x="37" y="13"/>
                  </a:cubicBezTo>
                  <a:cubicBezTo>
                    <a:pt x="37" y="13"/>
                    <a:pt x="37" y="13"/>
                    <a:pt x="37" y="13"/>
                  </a:cubicBezTo>
                  <a:cubicBezTo>
                    <a:pt x="37" y="13"/>
                    <a:pt x="37" y="13"/>
                    <a:pt x="37" y="13"/>
                  </a:cubicBezTo>
                  <a:cubicBezTo>
                    <a:pt x="37" y="13"/>
                    <a:pt x="37" y="13"/>
                    <a:pt x="37" y="13"/>
                  </a:cubicBezTo>
                  <a:cubicBezTo>
                    <a:pt x="37" y="14"/>
                    <a:pt x="37" y="14"/>
                    <a:pt x="37" y="14"/>
                  </a:cubicBezTo>
                  <a:cubicBezTo>
                    <a:pt x="37" y="14"/>
                    <a:pt x="37" y="14"/>
                    <a:pt x="37" y="14"/>
                  </a:cubicBezTo>
                  <a:moveTo>
                    <a:pt x="6" y="13"/>
                  </a:moveTo>
                  <a:cubicBezTo>
                    <a:pt x="6" y="13"/>
                    <a:pt x="6" y="13"/>
                    <a:pt x="6" y="13"/>
                  </a:cubicBezTo>
                  <a:cubicBezTo>
                    <a:pt x="6" y="13"/>
                    <a:pt x="6" y="13"/>
                    <a:pt x="6" y="13"/>
                  </a:cubicBezTo>
                  <a:cubicBezTo>
                    <a:pt x="6" y="13"/>
                    <a:pt x="6" y="13"/>
                    <a:pt x="6" y="13"/>
                  </a:cubicBezTo>
                  <a:cubicBezTo>
                    <a:pt x="6" y="13"/>
                    <a:pt x="6" y="13"/>
                    <a:pt x="6" y="13"/>
                  </a:cubicBezTo>
                  <a:moveTo>
                    <a:pt x="38" y="13"/>
                  </a:moveTo>
                  <a:cubicBezTo>
                    <a:pt x="38" y="13"/>
                    <a:pt x="38" y="13"/>
                    <a:pt x="38" y="13"/>
                  </a:cubicBezTo>
                  <a:cubicBezTo>
                    <a:pt x="38" y="13"/>
                    <a:pt x="38" y="13"/>
                    <a:pt x="38" y="13"/>
                  </a:cubicBezTo>
                  <a:cubicBezTo>
                    <a:pt x="38" y="13"/>
                    <a:pt x="38" y="13"/>
                    <a:pt x="38" y="13"/>
                  </a:cubicBezTo>
                  <a:cubicBezTo>
                    <a:pt x="38" y="13"/>
                    <a:pt x="38" y="13"/>
                    <a:pt x="38" y="13"/>
                  </a:cubicBezTo>
                  <a:moveTo>
                    <a:pt x="12" y="14"/>
                  </a:moveTo>
                  <a:cubicBezTo>
                    <a:pt x="11" y="13"/>
                    <a:pt x="11" y="13"/>
                    <a:pt x="11" y="13"/>
                  </a:cubicBezTo>
                  <a:cubicBezTo>
                    <a:pt x="11" y="13"/>
                    <a:pt x="11" y="13"/>
                    <a:pt x="11" y="13"/>
                  </a:cubicBezTo>
                  <a:cubicBezTo>
                    <a:pt x="12" y="13"/>
                    <a:pt x="12" y="13"/>
                    <a:pt x="12" y="13"/>
                  </a:cubicBezTo>
                  <a:cubicBezTo>
                    <a:pt x="12" y="13"/>
                    <a:pt x="12" y="13"/>
                    <a:pt x="12" y="13"/>
                  </a:cubicBezTo>
                  <a:cubicBezTo>
                    <a:pt x="12" y="14"/>
                    <a:pt x="12" y="14"/>
                    <a:pt x="12" y="14"/>
                  </a:cubicBezTo>
                  <a:moveTo>
                    <a:pt x="33" y="13"/>
                  </a:moveTo>
                  <a:cubicBezTo>
                    <a:pt x="33" y="13"/>
                    <a:pt x="33" y="13"/>
                    <a:pt x="33" y="13"/>
                  </a:cubicBezTo>
                  <a:cubicBezTo>
                    <a:pt x="33" y="13"/>
                    <a:pt x="33" y="13"/>
                    <a:pt x="33" y="13"/>
                  </a:cubicBezTo>
                  <a:cubicBezTo>
                    <a:pt x="33" y="14"/>
                    <a:pt x="33" y="14"/>
                    <a:pt x="33" y="14"/>
                  </a:cubicBezTo>
                  <a:cubicBezTo>
                    <a:pt x="33" y="13"/>
                    <a:pt x="33" y="13"/>
                    <a:pt x="33" y="13"/>
                  </a:cubicBezTo>
                  <a:cubicBezTo>
                    <a:pt x="33" y="13"/>
                    <a:pt x="33" y="13"/>
                    <a:pt x="33" y="13"/>
                  </a:cubicBezTo>
                  <a:moveTo>
                    <a:pt x="8" y="14"/>
                  </a:moveTo>
                  <a:cubicBezTo>
                    <a:pt x="8" y="13"/>
                    <a:pt x="8" y="13"/>
                    <a:pt x="8" y="13"/>
                  </a:cubicBezTo>
                  <a:cubicBezTo>
                    <a:pt x="8" y="13"/>
                    <a:pt x="8" y="13"/>
                    <a:pt x="8" y="13"/>
                  </a:cubicBezTo>
                  <a:cubicBezTo>
                    <a:pt x="9" y="13"/>
                    <a:pt x="9" y="13"/>
                    <a:pt x="9" y="13"/>
                  </a:cubicBezTo>
                  <a:cubicBezTo>
                    <a:pt x="9" y="14"/>
                    <a:pt x="9" y="14"/>
                    <a:pt x="9" y="14"/>
                  </a:cubicBezTo>
                  <a:cubicBezTo>
                    <a:pt x="8" y="14"/>
                    <a:pt x="8" y="14"/>
                    <a:pt x="8" y="14"/>
                  </a:cubicBezTo>
                  <a:moveTo>
                    <a:pt x="36" y="14"/>
                  </a:moveTo>
                  <a:cubicBezTo>
                    <a:pt x="36" y="14"/>
                    <a:pt x="36" y="14"/>
                    <a:pt x="36" y="14"/>
                  </a:cubicBezTo>
                  <a:cubicBezTo>
                    <a:pt x="36" y="13"/>
                    <a:pt x="36" y="13"/>
                    <a:pt x="36" y="13"/>
                  </a:cubicBezTo>
                  <a:cubicBezTo>
                    <a:pt x="36" y="13"/>
                    <a:pt x="36" y="13"/>
                    <a:pt x="36" y="13"/>
                  </a:cubicBezTo>
                  <a:cubicBezTo>
                    <a:pt x="36" y="13"/>
                    <a:pt x="36" y="13"/>
                    <a:pt x="36" y="13"/>
                  </a:cubicBezTo>
                  <a:cubicBezTo>
                    <a:pt x="36" y="14"/>
                    <a:pt x="36" y="14"/>
                    <a:pt x="36" y="14"/>
                  </a:cubicBezTo>
                  <a:moveTo>
                    <a:pt x="12" y="14"/>
                  </a:moveTo>
                  <a:cubicBezTo>
                    <a:pt x="12" y="14"/>
                    <a:pt x="12" y="14"/>
                    <a:pt x="12" y="14"/>
                  </a:cubicBezTo>
                  <a:cubicBezTo>
                    <a:pt x="12" y="13"/>
                    <a:pt x="12" y="13"/>
                    <a:pt x="12" y="13"/>
                  </a:cubicBezTo>
                  <a:cubicBezTo>
                    <a:pt x="13" y="13"/>
                    <a:pt x="13" y="13"/>
                    <a:pt x="13" y="13"/>
                  </a:cubicBezTo>
                  <a:cubicBezTo>
                    <a:pt x="13" y="13"/>
                    <a:pt x="13" y="13"/>
                    <a:pt x="13" y="13"/>
                  </a:cubicBezTo>
                  <a:cubicBezTo>
                    <a:pt x="12" y="14"/>
                    <a:pt x="12" y="14"/>
                    <a:pt x="12" y="14"/>
                  </a:cubicBezTo>
                  <a:moveTo>
                    <a:pt x="32" y="14"/>
                  </a:moveTo>
                  <a:cubicBezTo>
                    <a:pt x="31" y="13"/>
                    <a:pt x="31" y="13"/>
                    <a:pt x="31" y="13"/>
                  </a:cubicBezTo>
                  <a:cubicBezTo>
                    <a:pt x="31" y="13"/>
                    <a:pt x="31" y="13"/>
                    <a:pt x="31" y="13"/>
                  </a:cubicBezTo>
                  <a:cubicBezTo>
                    <a:pt x="32" y="13"/>
                    <a:pt x="32" y="13"/>
                    <a:pt x="32" y="13"/>
                  </a:cubicBezTo>
                  <a:cubicBezTo>
                    <a:pt x="32" y="14"/>
                    <a:pt x="32" y="14"/>
                    <a:pt x="32" y="14"/>
                  </a:cubicBezTo>
                  <a:cubicBezTo>
                    <a:pt x="32" y="14"/>
                    <a:pt x="32" y="14"/>
                    <a:pt x="32" y="14"/>
                  </a:cubicBezTo>
                  <a:moveTo>
                    <a:pt x="23" y="14"/>
                  </a:moveTo>
                  <a:cubicBezTo>
                    <a:pt x="23" y="13"/>
                    <a:pt x="23" y="13"/>
                    <a:pt x="23" y="12"/>
                  </a:cubicBezTo>
                  <a:cubicBezTo>
                    <a:pt x="24" y="13"/>
                    <a:pt x="24" y="13"/>
                    <a:pt x="24" y="13"/>
                  </a:cubicBezTo>
                  <a:cubicBezTo>
                    <a:pt x="23" y="13"/>
                    <a:pt x="23" y="13"/>
                    <a:pt x="23" y="13"/>
                  </a:cubicBezTo>
                  <a:cubicBezTo>
                    <a:pt x="23" y="14"/>
                    <a:pt x="23" y="14"/>
                    <a:pt x="23" y="14"/>
                  </a:cubicBezTo>
                  <a:moveTo>
                    <a:pt x="21" y="14"/>
                  </a:moveTo>
                  <a:cubicBezTo>
                    <a:pt x="21" y="13"/>
                    <a:pt x="21" y="13"/>
                    <a:pt x="21" y="13"/>
                  </a:cubicBezTo>
                  <a:cubicBezTo>
                    <a:pt x="21" y="13"/>
                    <a:pt x="21" y="13"/>
                    <a:pt x="21" y="13"/>
                  </a:cubicBezTo>
                  <a:cubicBezTo>
                    <a:pt x="21" y="12"/>
                    <a:pt x="21" y="12"/>
                    <a:pt x="21" y="12"/>
                  </a:cubicBezTo>
                  <a:cubicBezTo>
                    <a:pt x="21" y="13"/>
                    <a:pt x="21" y="13"/>
                    <a:pt x="21" y="14"/>
                  </a:cubicBezTo>
                  <a:moveTo>
                    <a:pt x="15" y="13"/>
                  </a:moveTo>
                  <a:cubicBezTo>
                    <a:pt x="15" y="13"/>
                    <a:pt x="15" y="13"/>
                    <a:pt x="15" y="13"/>
                  </a:cubicBezTo>
                  <a:cubicBezTo>
                    <a:pt x="15" y="12"/>
                    <a:pt x="15" y="12"/>
                    <a:pt x="15" y="12"/>
                  </a:cubicBezTo>
                  <a:cubicBezTo>
                    <a:pt x="16" y="12"/>
                    <a:pt x="16" y="12"/>
                    <a:pt x="16" y="12"/>
                  </a:cubicBezTo>
                  <a:cubicBezTo>
                    <a:pt x="15" y="13"/>
                    <a:pt x="15" y="13"/>
                    <a:pt x="15" y="13"/>
                  </a:cubicBezTo>
                  <a:cubicBezTo>
                    <a:pt x="15" y="13"/>
                    <a:pt x="15" y="13"/>
                    <a:pt x="15" y="13"/>
                  </a:cubicBezTo>
                  <a:moveTo>
                    <a:pt x="29" y="13"/>
                  </a:moveTo>
                  <a:cubicBezTo>
                    <a:pt x="29" y="13"/>
                    <a:pt x="29" y="13"/>
                    <a:pt x="29" y="13"/>
                  </a:cubicBezTo>
                  <a:cubicBezTo>
                    <a:pt x="29" y="12"/>
                    <a:pt x="29" y="12"/>
                    <a:pt x="29" y="12"/>
                  </a:cubicBezTo>
                  <a:cubicBezTo>
                    <a:pt x="29" y="12"/>
                    <a:pt x="29" y="12"/>
                    <a:pt x="29" y="12"/>
                  </a:cubicBezTo>
                  <a:cubicBezTo>
                    <a:pt x="30" y="13"/>
                    <a:pt x="30" y="13"/>
                    <a:pt x="30" y="13"/>
                  </a:cubicBezTo>
                  <a:cubicBezTo>
                    <a:pt x="29" y="13"/>
                    <a:pt x="29" y="13"/>
                    <a:pt x="29" y="13"/>
                  </a:cubicBezTo>
                  <a:moveTo>
                    <a:pt x="14" y="12"/>
                  </a:moveTo>
                  <a:cubicBezTo>
                    <a:pt x="14" y="12"/>
                    <a:pt x="14" y="12"/>
                    <a:pt x="14" y="12"/>
                  </a:cubicBezTo>
                  <a:cubicBezTo>
                    <a:pt x="14" y="12"/>
                    <a:pt x="14" y="12"/>
                    <a:pt x="14" y="12"/>
                  </a:cubicBezTo>
                  <a:cubicBezTo>
                    <a:pt x="15" y="12"/>
                    <a:pt x="15" y="12"/>
                    <a:pt x="15" y="12"/>
                  </a:cubicBezTo>
                  <a:cubicBezTo>
                    <a:pt x="14" y="13"/>
                    <a:pt x="14" y="13"/>
                    <a:pt x="14" y="13"/>
                  </a:cubicBezTo>
                  <a:cubicBezTo>
                    <a:pt x="14" y="13"/>
                    <a:pt x="14" y="13"/>
                    <a:pt x="14" y="13"/>
                  </a:cubicBezTo>
                  <a:cubicBezTo>
                    <a:pt x="14" y="12"/>
                    <a:pt x="14" y="12"/>
                    <a:pt x="14" y="12"/>
                  </a:cubicBezTo>
                  <a:cubicBezTo>
                    <a:pt x="14" y="12"/>
                    <a:pt x="14" y="12"/>
                    <a:pt x="14" y="12"/>
                  </a:cubicBezTo>
                  <a:moveTo>
                    <a:pt x="30" y="13"/>
                  </a:moveTo>
                  <a:cubicBezTo>
                    <a:pt x="30" y="12"/>
                    <a:pt x="30" y="12"/>
                    <a:pt x="30" y="12"/>
                  </a:cubicBezTo>
                  <a:cubicBezTo>
                    <a:pt x="30" y="12"/>
                    <a:pt x="30" y="12"/>
                    <a:pt x="30" y="12"/>
                  </a:cubicBezTo>
                  <a:cubicBezTo>
                    <a:pt x="31" y="12"/>
                    <a:pt x="31" y="12"/>
                    <a:pt x="31" y="12"/>
                  </a:cubicBezTo>
                  <a:cubicBezTo>
                    <a:pt x="31" y="12"/>
                    <a:pt x="31" y="12"/>
                    <a:pt x="31" y="12"/>
                  </a:cubicBezTo>
                  <a:cubicBezTo>
                    <a:pt x="30" y="12"/>
                    <a:pt x="30" y="12"/>
                    <a:pt x="30" y="12"/>
                  </a:cubicBezTo>
                  <a:cubicBezTo>
                    <a:pt x="30" y="13"/>
                    <a:pt x="30" y="13"/>
                    <a:pt x="30" y="13"/>
                  </a:cubicBezTo>
                  <a:cubicBezTo>
                    <a:pt x="30" y="13"/>
                    <a:pt x="30" y="13"/>
                    <a:pt x="30" y="13"/>
                  </a:cubicBezTo>
                  <a:moveTo>
                    <a:pt x="11" y="13"/>
                  </a:moveTo>
                  <a:cubicBezTo>
                    <a:pt x="10" y="13"/>
                    <a:pt x="10" y="13"/>
                    <a:pt x="10" y="13"/>
                  </a:cubicBezTo>
                  <a:cubicBezTo>
                    <a:pt x="10" y="12"/>
                    <a:pt x="10" y="12"/>
                    <a:pt x="10" y="12"/>
                  </a:cubicBezTo>
                  <a:cubicBezTo>
                    <a:pt x="10" y="12"/>
                    <a:pt x="10" y="12"/>
                    <a:pt x="10" y="12"/>
                  </a:cubicBezTo>
                  <a:cubicBezTo>
                    <a:pt x="11" y="13"/>
                    <a:pt x="11" y="13"/>
                    <a:pt x="11" y="13"/>
                  </a:cubicBezTo>
                  <a:cubicBezTo>
                    <a:pt x="11" y="13"/>
                    <a:pt x="11" y="13"/>
                    <a:pt x="11" y="13"/>
                  </a:cubicBezTo>
                  <a:cubicBezTo>
                    <a:pt x="11" y="13"/>
                    <a:pt x="11" y="13"/>
                    <a:pt x="11" y="13"/>
                  </a:cubicBezTo>
                  <a:moveTo>
                    <a:pt x="34" y="13"/>
                  </a:moveTo>
                  <a:cubicBezTo>
                    <a:pt x="34" y="13"/>
                    <a:pt x="34" y="13"/>
                    <a:pt x="34" y="13"/>
                  </a:cubicBezTo>
                  <a:cubicBezTo>
                    <a:pt x="34" y="13"/>
                    <a:pt x="34" y="13"/>
                    <a:pt x="34" y="13"/>
                  </a:cubicBezTo>
                  <a:cubicBezTo>
                    <a:pt x="34" y="12"/>
                    <a:pt x="34" y="12"/>
                    <a:pt x="34" y="12"/>
                  </a:cubicBezTo>
                  <a:cubicBezTo>
                    <a:pt x="34" y="12"/>
                    <a:pt x="34" y="12"/>
                    <a:pt x="34" y="12"/>
                  </a:cubicBezTo>
                  <a:cubicBezTo>
                    <a:pt x="34" y="13"/>
                    <a:pt x="34" y="13"/>
                    <a:pt x="34" y="13"/>
                  </a:cubicBezTo>
                  <a:cubicBezTo>
                    <a:pt x="34" y="13"/>
                    <a:pt x="34" y="13"/>
                    <a:pt x="34" y="13"/>
                  </a:cubicBezTo>
                  <a:moveTo>
                    <a:pt x="35" y="13"/>
                  </a:moveTo>
                  <a:cubicBezTo>
                    <a:pt x="35" y="13"/>
                    <a:pt x="35" y="13"/>
                    <a:pt x="35" y="13"/>
                  </a:cubicBezTo>
                  <a:cubicBezTo>
                    <a:pt x="35" y="12"/>
                    <a:pt x="35" y="12"/>
                    <a:pt x="35" y="12"/>
                  </a:cubicBezTo>
                  <a:cubicBezTo>
                    <a:pt x="35" y="12"/>
                    <a:pt x="35" y="12"/>
                    <a:pt x="35" y="12"/>
                  </a:cubicBezTo>
                  <a:cubicBezTo>
                    <a:pt x="35" y="13"/>
                    <a:pt x="35" y="13"/>
                    <a:pt x="35" y="13"/>
                  </a:cubicBezTo>
                  <a:moveTo>
                    <a:pt x="9" y="13"/>
                  </a:moveTo>
                  <a:cubicBezTo>
                    <a:pt x="9" y="12"/>
                    <a:pt x="9" y="12"/>
                    <a:pt x="9" y="12"/>
                  </a:cubicBezTo>
                  <a:cubicBezTo>
                    <a:pt x="10" y="12"/>
                    <a:pt x="10" y="12"/>
                    <a:pt x="10" y="12"/>
                  </a:cubicBezTo>
                  <a:cubicBezTo>
                    <a:pt x="10" y="13"/>
                    <a:pt x="10" y="13"/>
                    <a:pt x="10" y="13"/>
                  </a:cubicBezTo>
                  <a:cubicBezTo>
                    <a:pt x="9" y="13"/>
                    <a:pt x="9" y="13"/>
                    <a:pt x="9" y="13"/>
                  </a:cubicBezTo>
                  <a:moveTo>
                    <a:pt x="16" y="13"/>
                  </a:moveTo>
                  <a:cubicBezTo>
                    <a:pt x="16" y="12"/>
                    <a:pt x="16" y="12"/>
                    <a:pt x="16" y="12"/>
                  </a:cubicBezTo>
                  <a:cubicBezTo>
                    <a:pt x="17" y="12"/>
                    <a:pt x="17" y="12"/>
                    <a:pt x="17" y="12"/>
                  </a:cubicBezTo>
                  <a:cubicBezTo>
                    <a:pt x="16" y="13"/>
                    <a:pt x="16" y="13"/>
                    <a:pt x="16" y="13"/>
                  </a:cubicBezTo>
                  <a:cubicBezTo>
                    <a:pt x="16" y="13"/>
                    <a:pt x="16" y="13"/>
                    <a:pt x="16" y="13"/>
                  </a:cubicBezTo>
                  <a:moveTo>
                    <a:pt x="29" y="13"/>
                  </a:moveTo>
                  <a:cubicBezTo>
                    <a:pt x="28" y="13"/>
                    <a:pt x="28" y="13"/>
                    <a:pt x="28" y="13"/>
                  </a:cubicBezTo>
                  <a:cubicBezTo>
                    <a:pt x="28" y="12"/>
                    <a:pt x="28" y="12"/>
                    <a:pt x="28" y="12"/>
                  </a:cubicBezTo>
                  <a:cubicBezTo>
                    <a:pt x="28" y="12"/>
                    <a:pt x="28" y="12"/>
                    <a:pt x="28" y="12"/>
                  </a:cubicBezTo>
                  <a:cubicBezTo>
                    <a:pt x="29" y="13"/>
                    <a:pt x="29" y="13"/>
                    <a:pt x="29" y="13"/>
                  </a:cubicBezTo>
                  <a:moveTo>
                    <a:pt x="20" y="13"/>
                  </a:moveTo>
                  <a:cubicBezTo>
                    <a:pt x="20" y="13"/>
                    <a:pt x="20" y="13"/>
                    <a:pt x="20" y="13"/>
                  </a:cubicBezTo>
                  <a:cubicBezTo>
                    <a:pt x="21" y="11"/>
                    <a:pt x="21" y="11"/>
                    <a:pt x="21" y="11"/>
                  </a:cubicBezTo>
                  <a:cubicBezTo>
                    <a:pt x="21" y="12"/>
                    <a:pt x="21" y="12"/>
                    <a:pt x="21" y="12"/>
                  </a:cubicBezTo>
                  <a:cubicBezTo>
                    <a:pt x="21" y="12"/>
                    <a:pt x="21" y="12"/>
                    <a:pt x="20" y="13"/>
                  </a:cubicBezTo>
                  <a:moveTo>
                    <a:pt x="24" y="13"/>
                  </a:moveTo>
                  <a:cubicBezTo>
                    <a:pt x="24" y="12"/>
                    <a:pt x="23" y="12"/>
                    <a:pt x="23" y="12"/>
                  </a:cubicBezTo>
                  <a:cubicBezTo>
                    <a:pt x="23" y="11"/>
                    <a:pt x="23" y="11"/>
                    <a:pt x="23" y="11"/>
                  </a:cubicBezTo>
                  <a:cubicBezTo>
                    <a:pt x="24" y="13"/>
                    <a:pt x="24" y="13"/>
                    <a:pt x="24" y="13"/>
                  </a:cubicBezTo>
                  <a:cubicBezTo>
                    <a:pt x="24" y="13"/>
                    <a:pt x="24" y="13"/>
                    <a:pt x="24" y="13"/>
                  </a:cubicBezTo>
                  <a:moveTo>
                    <a:pt x="20" y="12"/>
                  </a:moveTo>
                  <a:cubicBezTo>
                    <a:pt x="19" y="12"/>
                    <a:pt x="19" y="12"/>
                    <a:pt x="19" y="12"/>
                  </a:cubicBezTo>
                  <a:cubicBezTo>
                    <a:pt x="20" y="12"/>
                    <a:pt x="21" y="11"/>
                    <a:pt x="21" y="10"/>
                  </a:cubicBezTo>
                  <a:cubicBezTo>
                    <a:pt x="21" y="10"/>
                    <a:pt x="21" y="10"/>
                    <a:pt x="21" y="10"/>
                  </a:cubicBezTo>
                  <a:cubicBezTo>
                    <a:pt x="21" y="11"/>
                    <a:pt x="20" y="12"/>
                    <a:pt x="20" y="12"/>
                  </a:cubicBezTo>
                  <a:moveTo>
                    <a:pt x="25" y="12"/>
                  </a:moveTo>
                  <a:cubicBezTo>
                    <a:pt x="23" y="10"/>
                    <a:pt x="23" y="10"/>
                    <a:pt x="23" y="10"/>
                  </a:cubicBezTo>
                  <a:cubicBezTo>
                    <a:pt x="23" y="10"/>
                    <a:pt x="23" y="10"/>
                    <a:pt x="23" y="10"/>
                  </a:cubicBezTo>
                  <a:cubicBezTo>
                    <a:pt x="24" y="11"/>
                    <a:pt x="24" y="12"/>
                    <a:pt x="25" y="12"/>
                  </a:cubicBezTo>
                  <a:cubicBezTo>
                    <a:pt x="25" y="12"/>
                    <a:pt x="25" y="12"/>
                    <a:pt x="25" y="12"/>
                  </a:cubicBezTo>
                  <a:moveTo>
                    <a:pt x="22" y="12"/>
                  </a:moveTo>
                  <a:cubicBezTo>
                    <a:pt x="22" y="11"/>
                    <a:pt x="22" y="10"/>
                    <a:pt x="22" y="9"/>
                  </a:cubicBezTo>
                  <a:cubicBezTo>
                    <a:pt x="22" y="8"/>
                    <a:pt x="22" y="8"/>
                    <a:pt x="22" y="8"/>
                  </a:cubicBezTo>
                  <a:cubicBezTo>
                    <a:pt x="22" y="9"/>
                    <a:pt x="22" y="9"/>
                    <a:pt x="22" y="9"/>
                  </a:cubicBezTo>
                  <a:cubicBezTo>
                    <a:pt x="22" y="10"/>
                    <a:pt x="22" y="11"/>
                    <a:pt x="22" y="12"/>
                  </a:cubicBezTo>
                  <a:moveTo>
                    <a:pt x="21" y="7"/>
                  </a:moveTo>
                  <a:cubicBezTo>
                    <a:pt x="21" y="7"/>
                    <a:pt x="21" y="7"/>
                    <a:pt x="21" y="7"/>
                  </a:cubicBezTo>
                  <a:cubicBezTo>
                    <a:pt x="21" y="7"/>
                    <a:pt x="21" y="7"/>
                    <a:pt x="21" y="7"/>
                  </a:cubicBezTo>
                  <a:cubicBezTo>
                    <a:pt x="21" y="7"/>
                    <a:pt x="21" y="7"/>
                    <a:pt x="21" y="7"/>
                  </a:cubicBezTo>
                  <a:moveTo>
                    <a:pt x="23" y="7"/>
                  </a:moveTo>
                  <a:cubicBezTo>
                    <a:pt x="23" y="7"/>
                    <a:pt x="23" y="7"/>
                    <a:pt x="23" y="7"/>
                  </a:cubicBezTo>
                  <a:cubicBezTo>
                    <a:pt x="23" y="7"/>
                    <a:pt x="23" y="7"/>
                    <a:pt x="23" y="7"/>
                  </a:cubicBezTo>
                  <a:cubicBezTo>
                    <a:pt x="23" y="7"/>
                    <a:pt x="23" y="7"/>
                    <a:pt x="23" y="7"/>
                  </a:cubicBezTo>
                  <a:moveTo>
                    <a:pt x="20" y="6"/>
                  </a:moveTo>
                  <a:cubicBezTo>
                    <a:pt x="20" y="6"/>
                    <a:pt x="20" y="6"/>
                    <a:pt x="20" y="6"/>
                  </a:cubicBezTo>
                  <a:cubicBezTo>
                    <a:pt x="20" y="6"/>
                    <a:pt x="20" y="6"/>
                    <a:pt x="20" y="6"/>
                  </a:cubicBezTo>
                  <a:cubicBezTo>
                    <a:pt x="20" y="6"/>
                    <a:pt x="20" y="6"/>
                    <a:pt x="20" y="6"/>
                  </a:cubicBezTo>
                  <a:moveTo>
                    <a:pt x="24" y="6"/>
                  </a:moveTo>
                  <a:cubicBezTo>
                    <a:pt x="24" y="6"/>
                    <a:pt x="24" y="6"/>
                    <a:pt x="24" y="6"/>
                  </a:cubicBezTo>
                  <a:cubicBezTo>
                    <a:pt x="25" y="6"/>
                    <a:pt x="25" y="6"/>
                    <a:pt x="25" y="6"/>
                  </a:cubicBezTo>
                  <a:cubicBezTo>
                    <a:pt x="24" y="6"/>
                    <a:pt x="24" y="6"/>
                    <a:pt x="24" y="6"/>
                  </a:cubicBezTo>
                  <a:moveTo>
                    <a:pt x="17" y="6"/>
                  </a:moveTo>
                  <a:cubicBezTo>
                    <a:pt x="17" y="6"/>
                    <a:pt x="17" y="6"/>
                    <a:pt x="17" y="6"/>
                  </a:cubicBezTo>
                  <a:cubicBezTo>
                    <a:pt x="17" y="5"/>
                    <a:pt x="17" y="5"/>
                    <a:pt x="17" y="5"/>
                  </a:cubicBezTo>
                  <a:cubicBezTo>
                    <a:pt x="17" y="6"/>
                    <a:pt x="17" y="6"/>
                    <a:pt x="17" y="6"/>
                  </a:cubicBezTo>
                  <a:cubicBezTo>
                    <a:pt x="17" y="6"/>
                    <a:pt x="17" y="6"/>
                    <a:pt x="17" y="6"/>
                  </a:cubicBezTo>
                  <a:moveTo>
                    <a:pt x="27" y="6"/>
                  </a:moveTo>
                  <a:cubicBezTo>
                    <a:pt x="27" y="6"/>
                    <a:pt x="27" y="6"/>
                    <a:pt x="27" y="6"/>
                  </a:cubicBezTo>
                  <a:cubicBezTo>
                    <a:pt x="27" y="5"/>
                    <a:pt x="27" y="5"/>
                    <a:pt x="27" y="5"/>
                  </a:cubicBezTo>
                  <a:cubicBezTo>
                    <a:pt x="28" y="6"/>
                    <a:pt x="28" y="6"/>
                    <a:pt x="28" y="6"/>
                  </a:cubicBezTo>
                  <a:cubicBezTo>
                    <a:pt x="27" y="6"/>
                    <a:pt x="27" y="6"/>
                    <a:pt x="27" y="6"/>
                  </a:cubicBezTo>
                  <a:moveTo>
                    <a:pt x="23" y="7"/>
                  </a:moveTo>
                  <a:cubicBezTo>
                    <a:pt x="23" y="6"/>
                    <a:pt x="23" y="5"/>
                    <a:pt x="23" y="4"/>
                  </a:cubicBezTo>
                  <a:cubicBezTo>
                    <a:pt x="24" y="5"/>
                    <a:pt x="24" y="5"/>
                    <a:pt x="24" y="5"/>
                  </a:cubicBezTo>
                  <a:cubicBezTo>
                    <a:pt x="24" y="5"/>
                    <a:pt x="24" y="5"/>
                    <a:pt x="24" y="5"/>
                  </a:cubicBezTo>
                  <a:cubicBezTo>
                    <a:pt x="24" y="6"/>
                    <a:pt x="24" y="6"/>
                    <a:pt x="24" y="6"/>
                  </a:cubicBezTo>
                  <a:cubicBezTo>
                    <a:pt x="23" y="7"/>
                    <a:pt x="23" y="7"/>
                    <a:pt x="23" y="7"/>
                  </a:cubicBezTo>
                  <a:moveTo>
                    <a:pt x="21" y="7"/>
                  </a:moveTo>
                  <a:cubicBezTo>
                    <a:pt x="21" y="6"/>
                    <a:pt x="21" y="6"/>
                    <a:pt x="21" y="6"/>
                  </a:cubicBezTo>
                  <a:cubicBezTo>
                    <a:pt x="21" y="6"/>
                    <a:pt x="21" y="6"/>
                    <a:pt x="21" y="5"/>
                  </a:cubicBezTo>
                  <a:cubicBezTo>
                    <a:pt x="21" y="5"/>
                    <a:pt x="21" y="5"/>
                    <a:pt x="21" y="5"/>
                  </a:cubicBezTo>
                  <a:cubicBezTo>
                    <a:pt x="21" y="4"/>
                    <a:pt x="21" y="4"/>
                    <a:pt x="21" y="4"/>
                  </a:cubicBezTo>
                  <a:cubicBezTo>
                    <a:pt x="21" y="5"/>
                    <a:pt x="21" y="6"/>
                    <a:pt x="21" y="7"/>
                  </a:cubicBezTo>
                  <a:moveTo>
                    <a:pt x="16" y="4"/>
                  </a:moveTo>
                  <a:cubicBezTo>
                    <a:pt x="15" y="4"/>
                    <a:pt x="15" y="4"/>
                    <a:pt x="15" y="4"/>
                  </a:cubicBezTo>
                  <a:cubicBezTo>
                    <a:pt x="16" y="4"/>
                    <a:pt x="16" y="4"/>
                    <a:pt x="16" y="4"/>
                  </a:cubicBezTo>
                  <a:cubicBezTo>
                    <a:pt x="16" y="4"/>
                    <a:pt x="16" y="4"/>
                    <a:pt x="16" y="4"/>
                  </a:cubicBezTo>
                  <a:moveTo>
                    <a:pt x="29" y="4"/>
                  </a:moveTo>
                  <a:cubicBezTo>
                    <a:pt x="29" y="4"/>
                    <a:pt x="29" y="4"/>
                    <a:pt x="29" y="4"/>
                  </a:cubicBezTo>
                  <a:cubicBezTo>
                    <a:pt x="29" y="4"/>
                    <a:pt x="29" y="4"/>
                    <a:pt x="29" y="4"/>
                  </a:cubicBezTo>
                  <a:cubicBezTo>
                    <a:pt x="29" y="4"/>
                    <a:pt x="29" y="4"/>
                    <a:pt x="29" y="4"/>
                  </a:cubicBezTo>
                  <a:moveTo>
                    <a:pt x="12" y="7"/>
                  </a:moveTo>
                  <a:cubicBezTo>
                    <a:pt x="12" y="7"/>
                    <a:pt x="11" y="7"/>
                    <a:pt x="11" y="7"/>
                  </a:cubicBezTo>
                  <a:cubicBezTo>
                    <a:pt x="11" y="6"/>
                    <a:pt x="11" y="6"/>
                    <a:pt x="11" y="6"/>
                  </a:cubicBezTo>
                  <a:cubicBezTo>
                    <a:pt x="11" y="6"/>
                    <a:pt x="11" y="6"/>
                    <a:pt x="11" y="6"/>
                  </a:cubicBezTo>
                  <a:cubicBezTo>
                    <a:pt x="11" y="5"/>
                    <a:pt x="11" y="5"/>
                    <a:pt x="11" y="5"/>
                  </a:cubicBezTo>
                  <a:cubicBezTo>
                    <a:pt x="12" y="5"/>
                    <a:pt x="12" y="5"/>
                    <a:pt x="12" y="5"/>
                  </a:cubicBezTo>
                  <a:cubicBezTo>
                    <a:pt x="12" y="4"/>
                    <a:pt x="12" y="4"/>
                    <a:pt x="13" y="4"/>
                  </a:cubicBezTo>
                  <a:cubicBezTo>
                    <a:pt x="13" y="3"/>
                    <a:pt x="13" y="3"/>
                    <a:pt x="13" y="3"/>
                  </a:cubicBezTo>
                  <a:cubicBezTo>
                    <a:pt x="14" y="3"/>
                    <a:pt x="14" y="3"/>
                    <a:pt x="14" y="3"/>
                  </a:cubicBezTo>
                  <a:cubicBezTo>
                    <a:pt x="15" y="4"/>
                    <a:pt x="15" y="4"/>
                    <a:pt x="15" y="4"/>
                  </a:cubicBezTo>
                  <a:cubicBezTo>
                    <a:pt x="15" y="4"/>
                    <a:pt x="15" y="4"/>
                    <a:pt x="16" y="5"/>
                  </a:cubicBezTo>
                  <a:cubicBezTo>
                    <a:pt x="16"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7" y="6"/>
                    <a:pt x="17" y="6"/>
                    <a:pt x="17" y="6"/>
                  </a:cubicBezTo>
                  <a:cubicBezTo>
                    <a:pt x="17" y="6"/>
                    <a:pt x="17" y="6"/>
                    <a:pt x="17" y="6"/>
                  </a:cubicBezTo>
                  <a:cubicBezTo>
                    <a:pt x="17" y="6"/>
                    <a:pt x="17" y="6"/>
                    <a:pt x="17" y="6"/>
                  </a:cubicBezTo>
                  <a:cubicBezTo>
                    <a:pt x="17" y="6"/>
                    <a:pt x="17" y="6"/>
                    <a:pt x="17" y="6"/>
                  </a:cubicBezTo>
                  <a:cubicBezTo>
                    <a:pt x="17" y="6"/>
                    <a:pt x="17" y="6"/>
                    <a:pt x="17" y="6"/>
                  </a:cubicBezTo>
                  <a:cubicBezTo>
                    <a:pt x="17" y="6"/>
                    <a:pt x="17" y="6"/>
                    <a:pt x="17" y="6"/>
                  </a:cubicBezTo>
                  <a:cubicBezTo>
                    <a:pt x="17" y="7"/>
                    <a:pt x="17" y="7"/>
                    <a:pt x="17" y="7"/>
                  </a:cubicBezTo>
                  <a:cubicBezTo>
                    <a:pt x="17" y="7"/>
                    <a:pt x="17" y="7"/>
                    <a:pt x="17"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8" y="7"/>
                    <a:pt x="18" y="7"/>
                    <a:pt x="18" y="7"/>
                  </a:cubicBezTo>
                  <a:cubicBezTo>
                    <a:pt x="19" y="7"/>
                    <a:pt x="19" y="7"/>
                    <a:pt x="19" y="7"/>
                  </a:cubicBezTo>
                  <a:cubicBezTo>
                    <a:pt x="19" y="7"/>
                    <a:pt x="20" y="7"/>
                    <a:pt x="20" y="7"/>
                  </a:cubicBezTo>
                  <a:cubicBezTo>
                    <a:pt x="21" y="7"/>
                    <a:pt x="21" y="8"/>
                    <a:pt x="21" y="9"/>
                  </a:cubicBezTo>
                  <a:cubicBezTo>
                    <a:pt x="21" y="9"/>
                    <a:pt x="21" y="9"/>
                    <a:pt x="21" y="9"/>
                  </a:cubicBezTo>
                  <a:cubicBezTo>
                    <a:pt x="21" y="9"/>
                    <a:pt x="21" y="9"/>
                    <a:pt x="21" y="9"/>
                  </a:cubicBezTo>
                  <a:cubicBezTo>
                    <a:pt x="21" y="10"/>
                    <a:pt x="20" y="11"/>
                    <a:pt x="19" y="12"/>
                  </a:cubicBezTo>
                  <a:cubicBezTo>
                    <a:pt x="19" y="12"/>
                    <a:pt x="19" y="12"/>
                    <a:pt x="19" y="12"/>
                  </a:cubicBezTo>
                  <a:cubicBezTo>
                    <a:pt x="18" y="13"/>
                    <a:pt x="18" y="13"/>
                    <a:pt x="18" y="13"/>
                  </a:cubicBezTo>
                  <a:cubicBezTo>
                    <a:pt x="19" y="13"/>
                    <a:pt x="19" y="13"/>
                    <a:pt x="19" y="13"/>
                  </a:cubicBezTo>
                  <a:cubicBezTo>
                    <a:pt x="19" y="13"/>
                    <a:pt x="19" y="13"/>
                    <a:pt x="19" y="13"/>
                  </a:cubicBezTo>
                  <a:cubicBezTo>
                    <a:pt x="19" y="13"/>
                    <a:pt x="19" y="13"/>
                    <a:pt x="19" y="13"/>
                  </a:cubicBezTo>
                  <a:cubicBezTo>
                    <a:pt x="19" y="13"/>
                    <a:pt x="19" y="13"/>
                    <a:pt x="19" y="13"/>
                  </a:cubicBezTo>
                  <a:cubicBezTo>
                    <a:pt x="20" y="13"/>
                    <a:pt x="20" y="13"/>
                    <a:pt x="20" y="13"/>
                  </a:cubicBezTo>
                  <a:cubicBezTo>
                    <a:pt x="20" y="13"/>
                    <a:pt x="20" y="13"/>
                    <a:pt x="20" y="13"/>
                  </a:cubicBezTo>
                  <a:cubicBezTo>
                    <a:pt x="20" y="14"/>
                    <a:pt x="20" y="14"/>
                    <a:pt x="20" y="14"/>
                  </a:cubicBezTo>
                  <a:cubicBezTo>
                    <a:pt x="21" y="14"/>
                    <a:pt x="21" y="15"/>
                    <a:pt x="21" y="15"/>
                  </a:cubicBezTo>
                  <a:cubicBezTo>
                    <a:pt x="21" y="16"/>
                    <a:pt x="21" y="16"/>
                    <a:pt x="21" y="16"/>
                  </a:cubicBezTo>
                  <a:cubicBezTo>
                    <a:pt x="21" y="16"/>
                    <a:pt x="21" y="17"/>
                    <a:pt x="21" y="18"/>
                  </a:cubicBezTo>
                  <a:cubicBezTo>
                    <a:pt x="21" y="18"/>
                    <a:pt x="21" y="18"/>
                    <a:pt x="21" y="18"/>
                  </a:cubicBezTo>
                  <a:cubicBezTo>
                    <a:pt x="21" y="19"/>
                    <a:pt x="21" y="19"/>
                    <a:pt x="21" y="19"/>
                  </a:cubicBezTo>
                  <a:cubicBezTo>
                    <a:pt x="21" y="20"/>
                    <a:pt x="21" y="21"/>
                    <a:pt x="20" y="21"/>
                  </a:cubicBezTo>
                  <a:cubicBezTo>
                    <a:pt x="19" y="22"/>
                    <a:pt x="19" y="22"/>
                    <a:pt x="19" y="22"/>
                  </a:cubicBezTo>
                  <a:cubicBezTo>
                    <a:pt x="19" y="22"/>
                    <a:pt x="19" y="22"/>
                    <a:pt x="19" y="22"/>
                  </a:cubicBezTo>
                  <a:cubicBezTo>
                    <a:pt x="19" y="22"/>
                    <a:pt x="18" y="22"/>
                    <a:pt x="18" y="22"/>
                  </a:cubicBezTo>
                  <a:cubicBezTo>
                    <a:pt x="18" y="23"/>
                    <a:pt x="18" y="23"/>
                    <a:pt x="18" y="23"/>
                  </a:cubicBezTo>
                  <a:cubicBezTo>
                    <a:pt x="18" y="23"/>
                    <a:pt x="18" y="23"/>
                    <a:pt x="18" y="23"/>
                  </a:cubicBezTo>
                  <a:cubicBezTo>
                    <a:pt x="18" y="23"/>
                    <a:pt x="18" y="23"/>
                    <a:pt x="19" y="23"/>
                  </a:cubicBezTo>
                  <a:cubicBezTo>
                    <a:pt x="19" y="23"/>
                    <a:pt x="19" y="23"/>
                    <a:pt x="19" y="23"/>
                  </a:cubicBezTo>
                  <a:cubicBezTo>
                    <a:pt x="20" y="23"/>
                    <a:pt x="20" y="23"/>
                    <a:pt x="20" y="23"/>
                  </a:cubicBezTo>
                  <a:cubicBezTo>
                    <a:pt x="20" y="24"/>
                    <a:pt x="21" y="24"/>
                    <a:pt x="21" y="25"/>
                  </a:cubicBezTo>
                  <a:cubicBezTo>
                    <a:pt x="21" y="25"/>
                    <a:pt x="21" y="25"/>
                    <a:pt x="21" y="25"/>
                  </a:cubicBezTo>
                  <a:cubicBezTo>
                    <a:pt x="21" y="25"/>
                    <a:pt x="21" y="25"/>
                    <a:pt x="21" y="25"/>
                  </a:cubicBezTo>
                  <a:cubicBezTo>
                    <a:pt x="21" y="25"/>
                    <a:pt x="21" y="25"/>
                    <a:pt x="21" y="25"/>
                  </a:cubicBezTo>
                  <a:cubicBezTo>
                    <a:pt x="21" y="26"/>
                    <a:pt x="20" y="27"/>
                    <a:pt x="20" y="27"/>
                  </a:cubicBezTo>
                  <a:cubicBezTo>
                    <a:pt x="20" y="27"/>
                    <a:pt x="20" y="27"/>
                    <a:pt x="20" y="27"/>
                  </a:cubicBezTo>
                  <a:cubicBezTo>
                    <a:pt x="20" y="27"/>
                    <a:pt x="20" y="27"/>
                    <a:pt x="20" y="27"/>
                  </a:cubicBezTo>
                  <a:cubicBezTo>
                    <a:pt x="20" y="27"/>
                    <a:pt x="20" y="27"/>
                    <a:pt x="20" y="27"/>
                  </a:cubicBezTo>
                  <a:cubicBezTo>
                    <a:pt x="21" y="27"/>
                    <a:pt x="21" y="28"/>
                    <a:pt x="21" y="28"/>
                  </a:cubicBezTo>
                  <a:cubicBezTo>
                    <a:pt x="21" y="28"/>
                    <a:pt x="21" y="28"/>
                    <a:pt x="21" y="28"/>
                  </a:cubicBezTo>
                  <a:cubicBezTo>
                    <a:pt x="21" y="29"/>
                    <a:pt x="21" y="29"/>
                    <a:pt x="21" y="29"/>
                  </a:cubicBezTo>
                  <a:cubicBezTo>
                    <a:pt x="21" y="29"/>
                    <a:pt x="21" y="30"/>
                    <a:pt x="20" y="30"/>
                  </a:cubicBezTo>
                  <a:cubicBezTo>
                    <a:pt x="20" y="30"/>
                    <a:pt x="20" y="30"/>
                    <a:pt x="20" y="30"/>
                  </a:cubicBezTo>
                  <a:cubicBezTo>
                    <a:pt x="20" y="30"/>
                    <a:pt x="19" y="30"/>
                    <a:pt x="19" y="30"/>
                  </a:cubicBezTo>
                  <a:cubicBezTo>
                    <a:pt x="19" y="29"/>
                    <a:pt x="19" y="29"/>
                    <a:pt x="19" y="29"/>
                  </a:cubicBezTo>
                  <a:cubicBezTo>
                    <a:pt x="19" y="30"/>
                    <a:pt x="19" y="30"/>
                    <a:pt x="19" y="30"/>
                  </a:cubicBezTo>
                  <a:cubicBezTo>
                    <a:pt x="20" y="29"/>
                    <a:pt x="20" y="29"/>
                    <a:pt x="20" y="29"/>
                  </a:cubicBezTo>
                  <a:cubicBezTo>
                    <a:pt x="20" y="29"/>
                    <a:pt x="20" y="29"/>
                    <a:pt x="20" y="29"/>
                  </a:cubicBezTo>
                  <a:cubicBezTo>
                    <a:pt x="19" y="29"/>
                    <a:pt x="19" y="29"/>
                    <a:pt x="19" y="29"/>
                  </a:cubicBezTo>
                  <a:cubicBezTo>
                    <a:pt x="19" y="29"/>
                    <a:pt x="19" y="29"/>
                    <a:pt x="19" y="29"/>
                  </a:cubicBezTo>
                  <a:cubicBezTo>
                    <a:pt x="19" y="29"/>
                    <a:pt x="19" y="29"/>
                    <a:pt x="19" y="29"/>
                  </a:cubicBezTo>
                  <a:cubicBezTo>
                    <a:pt x="19" y="29"/>
                    <a:pt x="19" y="29"/>
                    <a:pt x="19" y="29"/>
                  </a:cubicBezTo>
                  <a:cubicBezTo>
                    <a:pt x="19" y="29"/>
                    <a:pt x="19" y="29"/>
                    <a:pt x="19" y="29"/>
                  </a:cubicBezTo>
                  <a:cubicBezTo>
                    <a:pt x="19" y="29"/>
                    <a:pt x="19" y="29"/>
                    <a:pt x="19" y="29"/>
                  </a:cubicBezTo>
                  <a:cubicBezTo>
                    <a:pt x="18" y="29"/>
                    <a:pt x="18" y="28"/>
                    <a:pt x="18" y="28"/>
                  </a:cubicBezTo>
                  <a:cubicBezTo>
                    <a:pt x="18" y="27"/>
                    <a:pt x="18" y="27"/>
                    <a:pt x="18" y="26"/>
                  </a:cubicBezTo>
                  <a:cubicBezTo>
                    <a:pt x="18" y="26"/>
                    <a:pt x="18" y="26"/>
                    <a:pt x="18" y="26"/>
                  </a:cubicBezTo>
                  <a:cubicBezTo>
                    <a:pt x="18" y="26"/>
                    <a:pt x="18" y="26"/>
                    <a:pt x="18" y="26"/>
                  </a:cubicBezTo>
                  <a:cubicBezTo>
                    <a:pt x="18" y="26"/>
                    <a:pt x="17" y="26"/>
                    <a:pt x="16" y="26"/>
                  </a:cubicBezTo>
                  <a:cubicBezTo>
                    <a:pt x="16" y="26"/>
                    <a:pt x="16" y="26"/>
                    <a:pt x="16" y="26"/>
                  </a:cubicBezTo>
                  <a:cubicBezTo>
                    <a:pt x="16" y="26"/>
                    <a:pt x="16" y="26"/>
                    <a:pt x="16" y="26"/>
                  </a:cubicBezTo>
                  <a:cubicBezTo>
                    <a:pt x="16" y="26"/>
                    <a:pt x="16" y="26"/>
                    <a:pt x="16" y="26"/>
                  </a:cubicBezTo>
                  <a:cubicBezTo>
                    <a:pt x="16" y="26"/>
                    <a:pt x="16" y="26"/>
                    <a:pt x="16" y="26"/>
                  </a:cubicBezTo>
                  <a:cubicBezTo>
                    <a:pt x="15" y="26"/>
                    <a:pt x="15" y="26"/>
                    <a:pt x="15" y="26"/>
                  </a:cubicBezTo>
                  <a:cubicBezTo>
                    <a:pt x="15" y="26"/>
                    <a:pt x="15" y="26"/>
                    <a:pt x="15" y="26"/>
                  </a:cubicBezTo>
                  <a:cubicBezTo>
                    <a:pt x="15" y="26"/>
                    <a:pt x="15" y="26"/>
                    <a:pt x="15" y="26"/>
                  </a:cubicBezTo>
                  <a:cubicBezTo>
                    <a:pt x="15" y="26"/>
                    <a:pt x="15" y="26"/>
                    <a:pt x="15" y="26"/>
                  </a:cubicBezTo>
                  <a:cubicBezTo>
                    <a:pt x="15" y="25"/>
                    <a:pt x="15" y="25"/>
                    <a:pt x="15" y="25"/>
                  </a:cubicBezTo>
                  <a:cubicBezTo>
                    <a:pt x="15" y="25"/>
                    <a:pt x="15" y="25"/>
                    <a:pt x="15" y="25"/>
                  </a:cubicBezTo>
                  <a:cubicBezTo>
                    <a:pt x="15" y="25"/>
                    <a:pt x="15" y="25"/>
                    <a:pt x="15" y="25"/>
                  </a:cubicBezTo>
                  <a:cubicBezTo>
                    <a:pt x="14" y="25"/>
                    <a:pt x="14" y="25"/>
                    <a:pt x="13" y="25"/>
                  </a:cubicBezTo>
                  <a:cubicBezTo>
                    <a:pt x="13" y="25"/>
                    <a:pt x="12" y="25"/>
                    <a:pt x="12" y="25"/>
                  </a:cubicBezTo>
                  <a:cubicBezTo>
                    <a:pt x="12" y="24"/>
                    <a:pt x="11" y="24"/>
                    <a:pt x="11" y="24"/>
                  </a:cubicBezTo>
                  <a:cubicBezTo>
                    <a:pt x="11" y="23"/>
                    <a:pt x="11" y="23"/>
                    <a:pt x="11" y="22"/>
                  </a:cubicBezTo>
                  <a:cubicBezTo>
                    <a:pt x="11" y="22"/>
                    <a:pt x="11" y="22"/>
                    <a:pt x="11" y="22"/>
                  </a:cubicBezTo>
                  <a:cubicBezTo>
                    <a:pt x="11" y="22"/>
                    <a:pt x="11" y="22"/>
                    <a:pt x="11" y="22"/>
                  </a:cubicBezTo>
                  <a:cubicBezTo>
                    <a:pt x="10" y="22"/>
                    <a:pt x="10" y="23"/>
                    <a:pt x="10" y="24"/>
                  </a:cubicBezTo>
                  <a:cubicBezTo>
                    <a:pt x="11" y="24"/>
                    <a:pt x="11" y="24"/>
                    <a:pt x="11" y="24"/>
                  </a:cubicBezTo>
                  <a:cubicBezTo>
                    <a:pt x="11" y="24"/>
                    <a:pt x="11" y="24"/>
                    <a:pt x="11" y="24"/>
                  </a:cubicBezTo>
                  <a:cubicBezTo>
                    <a:pt x="11" y="25"/>
                    <a:pt x="11" y="25"/>
                    <a:pt x="11" y="25"/>
                  </a:cubicBezTo>
                  <a:cubicBezTo>
                    <a:pt x="10" y="24"/>
                    <a:pt x="10" y="23"/>
                    <a:pt x="10" y="22"/>
                  </a:cubicBezTo>
                  <a:cubicBezTo>
                    <a:pt x="10" y="22"/>
                    <a:pt x="10" y="22"/>
                    <a:pt x="10" y="22"/>
                  </a:cubicBezTo>
                  <a:cubicBezTo>
                    <a:pt x="10" y="22"/>
                    <a:pt x="10" y="22"/>
                    <a:pt x="10" y="22"/>
                  </a:cubicBezTo>
                  <a:cubicBezTo>
                    <a:pt x="9" y="23"/>
                    <a:pt x="9" y="25"/>
                    <a:pt x="10" y="25"/>
                  </a:cubicBezTo>
                  <a:cubicBezTo>
                    <a:pt x="11" y="26"/>
                    <a:pt x="11" y="26"/>
                    <a:pt x="11" y="26"/>
                  </a:cubicBezTo>
                  <a:cubicBezTo>
                    <a:pt x="12" y="26"/>
                    <a:pt x="12" y="26"/>
                    <a:pt x="12" y="26"/>
                  </a:cubicBezTo>
                  <a:cubicBezTo>
                    <a:pt x="12" y="26"/>
                    <a:pt x="12" y="26"/>
                    <a:pt x="12" y="26"/>
                  </a:cubicBezTo>
                  <a:cubicBezTo>
                    <a:pt x="12" y="26"/>
                    <a:pt x="12" y="26"/>
                    <a:pt x="12" y="26"/>
                  </a:cubicBezTo>
                  <a:cubicBezTo>
                    <a:pt x="12" y="26"/>
                    <a:pt x="12" y="26"/>
                    <a:pt x="13" y="26"/>
                  </a:cubicBezTo>
                  <a:cubicBezTo>
                    <a:pt x="13" y="27"/>
                    <a:pt x="13" y="27"/>
                    <a:pt x="13" y="27"/>
                  </a:cubicBezTo>
                  <a:cubicBezTo>
                    <a:pt x="13" y="28"/>
                    <a:pt x="13" y="28"/>
                    <a:pt x="13" y="28"/>
                  </a:cubicBezTo>
                  <a:cubicBezTo>
                    <a:pt x="13" y="28"/>
                    <a:pt x="13" y="28"/>
                    <a:pt x="13" y="28"/>
                  </a:cubicBezTo>
                  <a:cubicBezTo>
                    <a:pt x="13" y="28"/>
                    <a:pt x="13" y="28"/>
                    <a:pt x="13" y="28"/>
                  </a:cubicBezTo>
                  <a:cubicBezTo>
                    <a:pt x="14" y="29"/>
                    <a:pt x="14" y="29"/>
                    <a:pt x="14" y="29"/>
                  </a:cubicBezTo>
                  <a:cubicBezTo>
                    <a:pt x="14" y="29"/>
                    <a:pt x="14" y="29"/>
                    <a:pt x="14" y="29"/>
                  </a:cubicBezTo>
                  <a:cubicBezTo>
                    <a:pt x="14" y="29"/>
                    <a:pt x="14" y="29"/>
                    <a:pt x="14" y="29"/>
                  </a:cubicBezTo>
                  <a:cubicBezTo>
                    <a:pt x="14" y="29"/>
                    <a:pt x="14" y="29"/>
                    <a:pt x="14" y="29"/>
                  </a:cubicBezTo>
                  <a:cubicBezTo>
                    <a:pt x="14" y="29"/>
                    <a:pt x="14" y="29"/>
                    <a:pt x="14" y="29"/>
                  </a:cubicBezTo>
                  <a:cubicBezTo>
                    <a:pt x="14" y="29"/>
                    <a:pt x="14" y="29"/>
                    <a:pt x="14" y="29"/>
                  </a:cubicBezTo>
                  <a:cubicBezTo>
                    <a:pt x="14" y="29"/>
                    <a:pt x="14" y="29"/>
                    <a:pt x="14" y="29"/>
                  </a:cubicBezTo>
                  <a:cubicBezTo>
                    <a:pt x="15" y="29"/>
                    <a:pt x="15" y="29"/>
                    <a:pt x="15" y="29"/>
                  </a:cubicBezTo>
                  <a:cubicBezTo>
                    <a:pt x="16" y="29"/>
                    <a:pt x="16" y="29"/>
                    <a:pt x="17" y="29"/>
                  </a:cubicBezTo>
                  <a:cubicBezTo>
                    <a:pt x="17" y="29"/>
                    <a:pt x="18" y="30"/>
                    <a:pt x="18" y="30"/>
                  </a:cubicBezTo>
                  <a:cubicBezTo>
                    <a:pt x="19" y="30"/>
                    <a:pt x="19" y="30"/>
                    <a:pt x="19" y="30"/>
                  </a:cubicBezTo>
                  <a:cubicBezTo>
                    <a:pt x="19" y="31"/>
                    <a:pt x="19" y="31"/>
                    <a:pt x="19" y="31"/>
                  </a:cubicBezTo>
                  <a:cubicBezTo>
                    <a:pt x="20" y="31"/>
                    <a:pt x="20" y="31"/>
                    <a:pt x="20" y="31"/>
                  </a:cubicBezTo>
                  <a:cubicBezTo>
                    <a:pt x="20" y="31"/>
                    <a:pt x="20" y="31"/>
                    <a:pt x="20" y="31"/>
                  </a:cubicBezTo>
                  <a:cubicBezTo>
                    <a:pt x="20" y="32"/>
                    <a:pt x="20" y="32"/>
                    <a:pt x="20" y="32"/>
                  </a:cubicBezTo>
                  <a:cubicBezTo>
                    <a:pt x="20" y="32"/>
                    <a:pt x="20" y="32"/>
                    <a:pt x="20" y="32"/>
                  </a:cubicBezTo>
                  <a:cubicBezTo>
                    <a:pt x="20" y="32"/>
                    <a:pt x="20" y="32"/>
                    <a:pt x="20" y="32"/>
                  </a:cubicBezTo>
                  <a:cubicBezTo>
                    <a:pt x="20" y="32"/>
                    <a:pt x="20" y="32"/>
                    <a:pt x="20" y="32"/>
                  </a:cubicBezTo>
                  <a:cubicBezTo>
                    <a:pt x="20" y="32"/>
                    <a:pt x="20" y="32"/>
                    <a:pt x="20" y="32"/>
                  </a:cubicBezTo>
                  <a:cubicBezTo>
                    <a:pt x="20" y="33"/>
                    <a:pt x="20" y="33"/>
                    <a:pt x="20" y="33"/>
                  </a:cubicBezTo>
                  <a:cubicBezTo>
                    <a:pt x="20" y="33"/>
                    <a:pt x="20" y="33"/>
                    <a:pt x="20" y="33"/>
                  </a:cubicBezTo>
                  <a:cubicBezTo>
                    <a:pt x="20" y="32"/>
                    <a:pt x="20" y="32"/>
                    <a:pt x="20" y="32"/>
                  </a:cubicBezTo>
                  <a:cubicBezTo>
                    <a:pt x="21" y="33"/>
                    <a:pt x="21" y="33"/>
                    <a:pt x="21" y="33"/>
                  </a:cubicBezTo>
                  <a:cubicBezTo>
                    <a:pt x="20" y="33"/>
                    <a:pt x="20" y="33"/>
                    <a:pt x="20" y="33"/>
                  </a:cubicBezTo>
                  <a:cubicBezTo>
                    <a:pt x="21" y="33"/>
                    <a:pt x="21" y="33"/>
                    <a:pt x="21" y="33"/>
                  </a:cubicBezTo>
                  <a:cubicBezTo>
                    <a:pt x="21" y="33"/>
                    <a:pt x="21" y="33"/>
                    <a:pt x="21" y="33"/>
                  </a:cubicBezTo>
                  <a:cubicBezTo>
                    <a:pt x="21" y="33"/>
                    <a:pt x="21" y="33"/>
                    <a:pt x="21" y="33"/>
                  </a:cubicBezTo>
                  <a:cubicBezTo>
                    <a:pt x="21" y="33"/>
                    <a:pt x="21" y="33"/>
                    <a:pt x="21" y="33"/>
                  </a:cubicBezTo>
                  <a:cubicBezTo>
                    <a:pt x="21" y="34"/>
                    <a:pt x="21" y="34"/>
                    <a:pt x="21" y="34"/>
                  </a:cubicBezTo>
                  <a:cubicBezTo>
                    <a:pt x="21" y="34"/>
                    <a:pt x="21" y="35"/>
                    <a:pt x="20" y="36"/>
                  </a:cubicBezTo>
                  <a:cubicBezTo>
                    <a:pt x="20" y="36"/>
                    <a:pt x="20" y="36"/>
                    <a:pt x="19" y="36"/>
                  </a:cubicBezTo>
                  <a:cubicBezTo>
                    <a:pt x="19" y="36"/>
                    <a:pt x="19" y="36"/>
                    <a:pt x="19" y="36"/>
                  </a:cubicBezTo>
                  <a:cubicBezTo>
                    <a:pt x="19" y="36"/>
                    <a:pt x="19" y="36"/>
                    <a:pt x="19" y="36"/>
                  </a:cubicBezTo>
                  <a:cubicBezTo>
                    <a:pt x="19" y="37"/>
                    <a:pt x="19" y="37"/>
                    <a:pt x="19" y="37"/>
                  </a:cubicBezTo>
                  <a:cubicBezTo>
                    <a:pt x="19" y="37"/>
                    <a:pt x="19" y="37"/>
                    <a:pt x="19" y="37"/>
                  </a:cubicBezTo>
                  <a:cubicBezTo>
                    <a:pt x="20" y="37"/>
                    <a:pt x="20" y="37"/>
                    <a:pt x="20" y="38"/>
                  </a:cubicBezTo>
                  <a:cubicBezTo>
                    <a:pt x="20" y="38"/>
                    <a:pt x="20" y="38"/>
                    <a:pt x="20" y="38"/>
                  </a:cubicBezTo>
                  <a:cubicBezTo>
                    <a:pt x="20" y="38"/>
                    <a:pt x="20" y="38"/>
                    <a:pt x="20" y="38"/>
                  </a:cubicBezTo>
                  <a:cubicBezTo>
                    <a:pt x="21" y="38"/>
                    <a:pt x="21" y="38"/>
                    <a:pt x="21" y="38"/>
                  </a:cubicBezTo>
                  <a:cubicBezTo>
                    <a:pt x="21" y="39"/>
                    <a:pt x="21" y="41"/>
                    <a:pt x="21" y="42"/>
                  </a:cubicBezTo>
                  <a:cubicBezTo>
                    <a:pt x="21" y="42"/>
                    <a:pt x="21" y="42"/>
                    <a:pt x="21" y="42"/>
                  </a:cubicBezTo>
                  <a:cubicBezTo>
                    <a:pt x="21" y="42"/>
                    <a:pt x="21" y="42"/>
                    <a:pt x="21" y="42"/>
                  </a:cubicBezTo>
                  <a:cubicBezTo>
                    <a:pt x="21" y="43"/>
                    <a:pt x="21" y="44"/>
                    <a:pt x="21" y="44"/>
                  </a:cubicBezTo>
                  <a:cubicBezTo>
                    <a:pt x="21" y="44"/>
                    <a:pt x="21" y="44"/>
                    <a:pt x="21" y="44"/>
                  </a:cubicBezTo>
                  <a:cubicBezTo>
                    <a:pt x="20" y="45"/>
                    <a:pt x="20" y="46"/>
                    <a:pt x="20" y="46"/>
                  </a:cubicBezTo>
                  <a:cubicBezTo>
                    <a:pt x="20" y="46"/>
                    <a:pt x="20" y="46"/>
                    <a:pt x="20" y="46"/>
                  </a:cubicBezTo>
                  <a:cubicBezTo>
                    <a:pt x="20" y="45"/>
                    <a:pt x="21" y="44"/>
                    <a:pt x="21" y="43"/>
                  </a:cubicBezTo>
                  <a:cubicBezTo>
                    <a:pt x="21" y="43"/>
                    <a:pt x="21" y="43"/>
                    <a:pt x="21" y="43"/>
                  </a:cubicBezTo>
                  <a:cubicBezTo>
                    <a:pt x="21" y="43"/>
                    <a:pt x="21" y="43"/>
                    <a:pt x="21" y="43"/>
                  </a:cubicBezTo>
                  <a:cubicBezTo>
                    <a:pt x="20" y="44"/>
                    <a:pt x="20" y="44"/>
                    <a:pt x="20" y="45"/>
                  </a:cubicBezTo>
                  <a:cubicBezTo>
                    <a:pt x="19" y="45"/>
                    <a:pt x="19" y="45"/>
                    <a:pt x="19" y="45"/>
                  </a:cubicBezTo>
                  <a:cubicBezTo>
                    <a:pt x="21" y="43"/>
                    <a:pt x="21" y="43"/>
                    <a:pt x="21" y="43"/>
                  </a:cubicBezTo>
                  <a:cubicBezTo>
                    <a:pt x="20" y="42"/>
                    <a:pt x="20" y="42"/>
                    <a:pt x="20" y="42"/>
                  </a:cubicBezTo>
                  <a:cubicBezTo>
                    <a:pt x="20" y="42"/>
                    <a:pt x="20" y="42"/>
                    <a:pt x="20" y="42"/>
                  </a:cubicBezTo>
                  <a:cubicBezTo>
                    <a:pt x="19" y="44"/>
                    <a:pt x="19" y="44"/>
                    <a:pt x="19" y="44"/>
                  </a:cubicBezTo>
                  <a:cubicBezTo>
                    <a:pt x="19" y="44"/>
                    <a:pt x="19" y="44"/>
                    <a:pt x="19" y="44"/>
                  </a:cubicBezTo>
                  <a:cubicBezTo>
                    <a:pt x="19" y="43"/>
                    <a:pt x="19" y="43"/>
                    <a:pt x="19" y="43"/>
                  </a:cubicBezTo>
                  <a:cubicBezTo>
                    <a:pt x="20" y="43"/>
                    <a:pt x="20" y="43"/>
                    <a:pt x="20" y="43"/>
                  </a:cubicBezTo>
                  <a:cubicBezTo>
                    <a:pt x="20" y="42"/>
                    <a:pt x="20" y="41"/>
                    <a:pt x="19" y="40"/>
                  </a:cubicBezTo>
                  <a:cubicBezTo>
                    <a:pt x="19" y="40"/>
                    <a:pt x="19" y="40"/>
                    <a:pt x="19" y="40"/>
                  </a:cubicBezTo>
                  <a:cubicBezTo>
                    <a:pt x="18" y="39"/>
                    <a:pt x="18" y="39"/>
                    <a:pt x="18" y="39"/>
                  </a:cubicBezTo>
                  <a:cubicBezTo>
                    <a:pt x="17" y="39"/>
                    <a:pt x="17" y="39"/>
                    <a:pt x="17" y="39"/>
                  </a:cubicBezTo>
                  <a:cubicBezTo>
                    <a:pt x="18" y="40"/>
                    <a:pt x="18" y="40"/>
                    <a:pt x="18" y="40"/>
                  </a:cubicBezTo>
                  <a:cubicBezTo>
                    <a:pt x="19" y="41"/>
                    <a:pt x="19" y="41"/>
                    <a:pt x="19" y="41"/>
                  </a:cubicBezTo>
                  <a:cubicBezTo>
                    <a:pt x="19" y="41"/>
                    <a:pt x="19" y="42"/>
                    <a:pt x="19" y="42"/>
                  </a:cubicBezTo>
                  <a:cubicBezTo>
                    <a:pt x="19" y="43"/>
                    <a:pt x="19" y="43"/>
                    <a:pt x="19" y="43"/>
                  </a:cubicBezTo>
                  <a:cubicBezTo>
                    <a:pt x="18" y="43"/>
                    <a:pt x="18" y="43"/>
                    <a:pt x="18" y="43"/>
                  </a:cubicBezTo>
                  <a:cubicBezTo>
                    <a:pt x="18" y="44"/>
                    <a:pt x="18" y="44"/>
                    <a:pt x="18" y="44"/>
                  </a:cubicBezTo>
                  <a:cubicBezTo>
                    <a:pt x="18" y="44"/>
                    <a:pt x="18" y="44"/>
                    <a:pt x="18" y="44"/>
                  </a:cubicBezTo>
                  <a:cubicBezTo>
                    <a:pt x="18" y="44"/>
                    <a:pt x="18" y="45"/>
                    <a:pt x="19" y="45"/>
                  </a:cubicBezTo>
                  <a:cubicBezTo>
                    <a:pt x="19" y="45"/>
                    <a:pt x="19" y="45"/>
                    <a:pt x="19" y="45"/>
                  </a:cubicBezTo>
                  <a:cubicBezTo>
                    <a:pt x="19" y="45"/>
                    <a:pt x="19" y="45"/>
                    <a:pt x="19" y="45"/>
                  </a:cubicBezTo>
                  <a:cubicBezTo>
                    <a:pt x="19" y="45"/>
                    <a:pt x="19" y="45"/>
                    <a:pt x="19" y="45"/>
                  </a:cubicBezTo>
                  <a:cubicBezTo>
                    <a:pt x="19" y="45"/>
                    <a:pt x="19" y="45"/>
                    <a:pt x="19" y="45"/>
                  </a:cubicBezTo>
                  <a:cubicBezTo>
                    <a:pt x="19" y="46"/>
                    <a:pt x="19" y="46"/>
                    <a:pt x="19" y="46"/>
                  </a:cubicBezTo>
                  <a:cubicBezTo>
                    <a:pt x="19" y="46"/>
                    <a:pt x="19" y="46"/>
                    <a:pt x="19" y="46"/>
                  </a:cubicBezTo>
                  <a:cubicBezTo>
                    <a:pt x="19" y="46"/>
                    <a:pt x="19" y="46"/>
                    <a:pt x="19" y="46"/>
                  </a:cubicBezTo>
                  <a:cubicBezTo>
                    <a:pt x="19" y="46"/>
                    <a:pt x="19" y="46"/>
                    <a:pt x="19" y="46"/>
                  </a:cubicBezTo>
                  <a:cubicBezTo>
                    <a:pt x="19" y="47"/>
                    <a:pt x="18" y="48"/>
                    <a:pt x="18" y="49"/>
                  </a:cubicBezTo>
                  <a:cubicBezTo>
                    <a:pt x="18" y="49"/>
                    <a:pt x="18" y="49"/>
                    <a:pt x="18" y="49"/>
                  </a:cubicBezTo>
                  <a:cubicBezTo>
                    <a:pt x="17" y="49"/>
                    <a:pt x="17" y="49"/>
                    <a:pt x="17" y="49"/>
                  </a:cubicBezTo>
                  <a:cubicBezTo>
                    <a:pt x="17" y="49"/>
                    <a:pt x="17" y="49"/>
                    <a:pt x="17" y="49"/>
                  </a:cubicBezTo>
                  <a:cubicBezTo>
                    <a:pt x="17" y="49"/>
                    <a:pt x="17" y="49"/>
                    <a:pt x="17" y="49"/>
                  </a:cubicBezTo>
                  <a:cubicBezTo>
                    <a:pt x="16" y="49"/>
                    <a:pt x="16" y="49"/>
                    <a:pt x="16" y="49"/>
                  </a:cubicBezTo>
                  <a:cubicBezTo>
                    <a:pt x="16" y="49"/>
                    <a:pt x="16" y="49"/>
                    <a:pt x="16" y="49"/>
                  </a:cubicBezTo>
                  <a:cubicBezTo>
                    <a:pt x="16" y="49"/>
                    <a:pt x="16" y="49"/>
                    <a:pt x="16" y="49"/>
                  </a:cubicBezTo>
                  <a:cubicBezTo>
                    <a:pt x="16" y="49"/>
                    <a:pt x="16" y="49"/>
                    <a:pt x="16" y="49"/>
                  </a:cubicBezTo>
                  <a:cubicBezTo>
                    <a:pt x="16" y="49"/>
                    <a:pt x="15" y="49"/>
                    <a:pt x="15" y="49"/>
                  </a:cubicBezTo>
                  <a:cubicBezTo>
                    <a:pt x="15" y="49"/>
                    <a:pt x="15" y="49"/>
                    <a:pt x="15" y="49"/>
                  </a:cubicBezTo>
                  <a:cubicBezTo>
                    <a:pt x="15" y="49"/>
                    <a:pt x="15" y="49"/>
                    <a:pt x="15" y="49"/>
                  </a:cubicBezTo>
                  <a:cubicBezTo>
                    <a:pt x="14" y="49"/>
                    <a:pt x="14" y="49"/>
                    <a:pt x="14" y="49"/>
                  </a:cubicBezTo>
                  <a:cubicBezTo>
                    <a:pt x="14" y="49"/>
                    <a:pt x="14" y="49"/>
                    <a:pt x="14" y="49"/>
                  </a:cubicBezTo>
                  <a:cubicBezTo>
                    <a:pt x="14" y="49"/>
                    <a:pt x="13" y="48"/>
                    <a:pt x="13" y="48"/>
                  </a:cubicBezTo>
                  <a:cubicBezTo>
                    <a:pt x="13" y="48"/>
                    <a:pt x="13" y="48"/>
                    <a:pt x="13" y="48"/>
                  </a:cubicBezTo>
                  <a:cubicBezTo>
                    <a:pt x="13" y="48"/>
                    <a:pt x="13" y="48"/>
                    <a:pt x="13" y="48"/>
                  </a:cubicBezTo>
                  <a:cubicBezTo>
                    <a:pt x="12" y="47"/>
                    <a:pt x="12" y="47"/>
                    <a:pt x="12" y="47"/>
                  </a:cubicBezTo>
                  <a:cubicBezTo>
                    <a:pt x="12" y="47"/>
                    <a:pt x="12" y="47"/>
                    <a:pt x="12" y="47"/>
                  </a:cubicBezTo>
                  <a:cubicBezTo>
                    <a:pt x="12" y="47"/>
                    <a:pt x="12" y="47"/>
                    <a:pt x="12" y="47"/>
                  </a:cubicBezTo>
                  <a:cubicBezTo>
                    <a:pt x="12" y="46"/>
                    <a:pt x="12" y="46"/>
                    <a:pt x="12" y="46"/>
                  </a:cubicBezTo>
                  <a:cubicBezTo>
                    <a:pt x="12" y="46"/>
                    <a:pt x="12" y="46"/>
                    <a:pt x="12" y="46"/>
                  </a:cubicBezTo>
                  <a:cubicBezTo>
                    <a:pt x="13" y="46"/>
                    <a:pt x="13" y="46"/>
                    <a:pt x="13" y="46"/>
                  </a:cubicBezTo>
                  <a:cubicBezTo>
                    <a:pt x="14" y="45"/>
                    <a:pt x="14" y="45"/>
                    <a:pt x="14" y="45"/>
                  </a:cubicBezTo>
                  <a:cubicBezTo>
                    <a:pt x="14" y="44"/>
                    <a:pt x="14" y="44"/>
                    <a:pt x="14" y="44"/>
                  </a:cubicBezTo>
                  <a:cubicBezTo>
                    <a:pt x="14" y="44"/>
                    <a:pt x="14" y="44"/>
                    <a:pt x="14" y="44"/>
                  </a:cubicBezTo>
                  <a:cubicBezTo>
                    <a:pt x="14" y="44"/>
                    <a:pt x="15" y="44"/>
                    <a:pt x="15" y="44"/>
                  </a:cubicBezTo>
                  <a:cubicBezTo>
                    <a:pt x="15" y="44"/>
                    <a:pt x="16" y="43"/>
                    <a:pt x="16" y="42"/>
                  </a:cubicBezTo>
                  <a:cubicBezTo>
                    <a:pt x="15" y="42"/>
                    <a:pt x="15" y="42"/>
                    <a:pt x="15" y="42"/>
                  </a:cubicBezTo>
                  <a:cubicBezTo>
                    <a:pt x="15" y="42"/>
                    <a:pt x="15" y="42"/>
                    <a:pt x="15" y="42"/>
                  </a:cubicBezTo>
                  <a:cubicBezTo>
                    <a:pt x="15" y="42"/>
                    <a:pt x="15" y="42"/>
                    <a:pt x="15" y="42"/>
                  </a:cubicBezTo>
                  <a:cubicBezTo>
                    <a:pt x="16" y="41"/>
                    <a:pt x="16" y="41"/>
                    <a:pt x="16" y="41"/>
                  </a:cubicBezTo>
                  <a:cubicBezTo>
                    <a:pt x="16" y="41"/>
                    <a:pt x="16" y="41"/>
                    <a:pt x="16" y="41"/>
                  </a:cubicBezTo>
                  <a:cubicBezTo>
                    <a:pt x="15" y="41"/>
                    <a:pt x="15" y="41"/>
                    <a:pt x="15" y="41"/>
                  </a:cubicBezTo>
                  <a:cubicBezTo>
                    <a:pt x="15" y="41"/>
                    <a:pt x="15" y="41"/>
                    <a:pt x="15" y="42"/>
                  </a:cubicBezTo>
                  <a:cubicBezTo>
                    <a:pt x="14" y="41"/>
                    <a:pt x="14" y="41"/>
                    <a:pt x="14" y="41"/>
                  </a:cubicBezTo>
                  <a:cubicBezTo>
                    <a:pt x="15" y="40"/>
                    <a:pt x="15" y="40"/>
                    <a:pt x="15" y="40"/>
                  </a:cubicBezTo>
                  <a:cubicBezTo>
                    <a:pt x="15" y="39"/>
                    <a:pt x="15" y="39"/>
                    <a:pt x="15" y="39"/>
                  </a:cubicBezTo>
                  <a:cubicBezTo>
                    <a:pt x="14" y="39"/>
                    <a:pt x="14" y="39"/>
                    <a:pt x="14" y="39"/>
                  </a:cubicBezTo>
                  <a:cubicBezTo>
                    <a:pt x="14" y="41"/>
                    <a:pt x="14" y="41"/>
                    <a:pt x="14" y="41"/>
                  </a:cubicBezTo>
                  <a:cubicBezTo>
                    <a:pt x="14" y="40"/>
                    <a:pt x="14" y="40"/>
                    <a:pt x="14" y="40"/>
                  </a:cubicBezTo>
                  <a:cubicBezTo>
                    <a:pt x="15" y="38"/>
                    <a:pt x="15" y="38"/>
                    <a:pt x="15" y="38"/>
                  </a:cubicBezTo>
                  <a:cubicBezTo>
                    <a:pt x="14" y="38"/>
                    <a:pt x="14" y="38"/>
                    <a:pt x="14" y="38"/>
                  </a:cubicBezTo>
                  <a:cubicBezTo>
                    <a:pt x="14" y="38"/>
                    <a:pt x="14" y="38"/>
                    <a:pt x="14" y="38"/>
                  </a:cubicBezTo>
                  <a:cubicBezTo>
                    <a:pt x="13" y="39"/>
                    <a:pt x="13" y="39"/>
                    <a:pt x="13" y="39"/>
                  </a:cubicBezTo>
                  <a:cubicBezTo>
                    <a:pt x="13" y="39"/>
                    <a:pt x="13" y="39"/>
                    <a:pt x="13" y="39"/>
                  </a:cubicBezTo>
                  <a:cubicBezTo>
                    <a:pt x="14" y="37"/>
                    <a:pt x="14" y="37"/>
                    <a:pt x="14" y="37"/>
                  </a:cubicBezTo>
                  <a:cubicBezTo>
                    <a:pt x="14" y="37"/>
                    <a:pt x="14" y="37"/>
                    <a:pt x="14" y="37"/>
                  </a:cubicBezTo>
                  <a:cubicBezTo>
                    <a:pt x="14" y="37"/>
                    <a:pt x="14" y="37"/>
                    <a:pt x="14" y="37"/>
                  </a:cubicBezTo>
                  <a:cubicBezTo>
                    <a:pt x="13" y="38"/>
                    <a:pt x="13" y="38"/>
                    <a:pt x="13" y="38"/>
                  </a:cubicBezTo>
                  <a:cubicBezTo>
                    <a:pt x="13" y="38"/>
                    <a:pt x="13" y="38"/>
                    <a:pt x="13" y="38"/>
                  </a:cubicBezTo>
                  <a:cubicBezTo>
                    <a:pt x="13" y="39"/>
                    <a:pt x="13" y="39"/>
                    <a:pt x="13" y="39"/>
                  </a:cubicBezTo>
                  <a:cubicBezTo>
                    <a:pt x="12" y="40"/>
                    <a:pt x="13" y="42"/>
                    <a:pt x="15" y="43"/>
                  </a:cubicBezTo>
                  <a:cubicBezTo>
                    <a:pt x="15" y="43"/>
                    <a:pt x="15" y="43"/>
                    <a:pt x="15" y="43"/>
                  </a:cubicBezTo>
                  <a:cubicBezTo>
                    <a:pt x="15" y="43"/>
                    <a:pt x="15" y="43"/>
                    <a:pt x="15" y="43"/>
                  </a:cubicBezTo>
                  <a:cubicBezTo>
                    <a:pt x="15" y="43"/>
                    <a:pt x="15" y="43"/>
                    <a:pt x="15" y="43"/>
                  </a:cubicBezTo>
                  <a:cubicBezTo>
                    <a:pt x="15" y="43"/>
                    <a:pt x="15" y="43"/>
                    <a:pt x="15" y="43"/>
                  </a:cubicBezTo>
                  <a:cubicBezTo>
                    <a:pt x="14" y="43"/>
                    <a:pt x="14" y="43"/>
                    <a:pt x="14" y="43"/>
                  </a:cubicBezTo>
                  <a:cubicBezTo>
                    <a:pt x="14" y="43"/>
                    <a:pt x="14" y="44"/>
                    <a:pt x="14" y="44"/>
                  </a:cubicBezTo>
                  <a:cubicBezTo>
                    <a:pt x="14" y="44"/>
                    <a:pt x="14" y="43"/>
                    <a:pt x="13" y="43"/>
                  </a:cubicBezTo>
                  <a:cubicBezTo>
                    <a:pt x="13" y="44"/>
                    <a:pt x="13" y="44"/>
                    <a:pt x="13" y="44"/>
                  </a:cubicBezTo>
                  <a:cubicBezTo>
                    <a:pt x="13" y="44"/>
                    <a:pt x="13" y="44"/>
                    <a:pt x="13" y="44"/>
                  </a:cubicBezTo>
                  <a:cubicBezTo>
                    <a:pt x="13" y="44"/>
                    <a:pt x="13" y="44"/>
                    <a:pt x="13" y="44"/>
                  </a:cubicBezTo>
                  <a:cubicBezTo>
                    <a:pt x="13" y="44"/>
                    <a:pt x="13" y="44"/>
                    <a:pt x="13" y="44"/>
                  </a:cubicBezTo>
                  <a:cubicBezTo>
                    <a:pt x="12" y="44"/>
                    <a:pt x="12" y="44"/>
                    <a:pt x="12" y="44"/>
                  </a:cubicBezTo>
                  <a:cubicBezTo>
                    <a:pt x="11" y="45"/>
                    <a:pt x="11" y="45"/>
                    <a:pt x="11" y="45"/>
                  </a:cubicBezTo>
                  <a:cubicBezTo>
                    <a:pt x="11" y="45"/>
                    <a:pt x="11" y="45"/>
                    <a:pt x="11" y="45"/>
                  </a:cubicBezTo>
                  <a:cubicBezTo>
                    <a:pt x="11" y="45"/>
                    <a:pt x="11" y="45"/>
                    <a:pt x="11" y="45"/>
                  </a:cubicBezTo>
                  <a:cubicBezTo>
                    <a:pt x="11" y="45"/>
                    <a:pt x="11" y="45"/>
                    <a:pt x="11" y="45"/>
                  </a:cubicBezTo>
                  <a:cubicBezTo>
                    <a:pt x="11" y="45"/>
                    <a:pt x="11" y="45"/>
                    <a:pt x="11" y="45"/>
                  </a:cubicBezTo>
                  <a:cubicBezTo>
                    <a:pt x="10" y="45"/>
                    <a:pt x="10" y="45"/>
                    <a:pt x="10" y="45"/>
                  </a:cubicBezTo>
                  <a:cubicBezTo>
                    <a:pt x="10" y="45"/>
                    <a:pt x="10" y="45"/>
                    <a:pt x="10" y="45"/>
                  </a:cubicBezTo>
                  <a:cubicBezTo>
                    <a:pt x="10" y="45"/>
                    <a:pt x="10" y="45"/>
                    <a:pt x="10" y="45"/>
                  </a:cubicBezTo>
                  <a:cubicBezTo>
                    <a:pt x="10" y="45"/>
                    <a:pt x="10" y="45"/>
                    <a:pt x="10" y="45"/>
                  </a:cubicBezTo>
                  <a:cubicBezTo>
                    <a:pt x="9" y="45"/>
                    <a:pt x="9" y="45"/>
                    <a:pt x="9" y="45"/>
                  </a:cubicBezTo>
                  <a:cubicBezTo>
                    <a:pt x="9" y="45"/>
                    <a:pt x="9" y="45"/>
                    <a:pt x="9" y="45"/>
                  </a:cubicBezTo>
                  <a:cubicBezTo>
                    <a:pt x="9" y="45"/>
                    <a:pt x="9" y="45"/>
                    <a:pt x="9" y="45"/>
                  </a:cubicBezTo>
                  <a:cubicBezTo>
                    <a:pt x="9" y="44"/>
                    <a:pt x="9" y="44"/>
                    <a:pt x="9" y="44"/>
                  </a:cubicBezTo>
                  <a:cubicBezTo>
                    <a:pt x="10" y="43"/>
                    <a:pt x="10" y="43"/>
                    <a:pt x="10" y="43"/>
                  </a:cubicBezTo>
                  <a:cubicBezTo>
                    <a:pt x="10" y="43"/>
                    <a:pt x="10" y="43"/>
                    <a:pt x="10" y="43"/>
                  </a:cubicBezTo>
                  <a:cubicBezTo>
                    <a:pt x="10" y="43"/>
                    <a:pt x="10" y="43"/>
                    <a:pt x="10" y="43"/>
                  </a:cubicBezTo>
                  <a:cubicBezTo>
                    <a:pt x="11" y="43"/>
                    <a:pt x="11" y="43"/>
                    <a:pt x="11" y="43"/>
                  </a:cubicBezTo>
                  <a:cubicBezTo>
                    <a:pt x="11" y="43"/>
                    <a:pt x="12" y="43"/>
                    <a:pt x="12" y="42"/>
                  </a:cubicBezTo>
                  <a:cubicBezTo>
                    <a:pt x="12" y="42"/>
                    <a:pt x="12" y="42"/>
                    <a:pt x="12" y="42"/>
                  </a:cubicBezTo>
                  <a:cubicBezTo>
                    <a:pt x="12" y="42"/>
                    <a:pt x="12" y="42"/>
                    <a:pt x="12" y="42"/>
                  </a:cubicBezTo>
                  <a:cubicBezTo>
                    <a:pt x="11" y="42"/>
                    <a:pt x="11" y="42"/>
                    <a:pt x="11" y="42"/>
                  </a:cubicBezTo>
                  <a:cubicBezTo>
                    <a:pt x="11" y="42"/>
                    <a:pt x="11" y="42"/>
                    <a:pt x="11" y="42"/>
                  </a:cubicBezTo>
                  <a:cubicBezTo>
                    <a:pt x="10" y="42"/>
                    <a:pt x="10" y="42"/>
                    <a:pt x="10" y="41"/>
                  </a:cubicBezTo>
                  <a:cubicBezTo>
                    <a:pt x="9" y="41"/>
                    <a:pt x="9" y="41"/>
                    <a:pt x="9" y="41"/>
                  </a:cubicBezTo>
                  <a:cubicBezTo>
                    <a:pt x="10" y="41"/>
                    <a:pt x="10" y="41"/>
                    <a:pt x="10" y="41"/>
                  </a:cubicBezTo>
                  <a:cubicBezTo>
                    <a:pt x="10" y="40"/>
                    <a:pt x="10" y="40"/>
                    <a:pt x="10" y="40"/>
                  </a:cubicBezTo>
                  <a:cubicBezTo>
                    <a:pt x="9" y="40"/>
                    <a:pt x="9" y="40"/>
                    <a:pt x="9" y="40"/>
                  </a:cubicBezTo>
                  <a:cubicBezTo>
                    <a:pt x="9" y="40"/>
                    <a:pt x="9" y="39"/>
                    <a:pt x="8" y="38"/>
                  </a:cubicBezTo>
                  <a:cubicBezTo>
                    <a:pt x="8" y="39"/>
                    <a:pt x="8" y="39"/>
                    <a:pt x="8" y="39"/>
                  </a:cubicBezTo>
                  <a:cubicBezTo>
                    <a:pt x="8" y="39"/>
                    <a:pt x="8" y="39"/>
                    <a:pt x="8" y="39"/>
                  </a:cubicBezTo>
                  <a:cubicBezTo>
                    <a:pt x="8" y="39"/>
                    <a:pt x="9" y="40"/>
                    <a:pt x="9" y="40"/>
                  </a:cubicBezTo>
                  <a:cubicBezTo>
                    <a:pt x="9" y="41"/>
                    <a:pt x="9" y="41"/>
                    <a:pt x="9" y="41"/>
                  </a:cubicBezTo>
                  <a:cubicBezTo>
                    <a:pt x="8" y="41"/>
                    <a:pt x="8" y="41"/>
                    <a:pt x="8" y="41"/>
                  </a:cubicBezTo>
                  <a:cubicBezTo>
                    <a:pt x="7" y="41"/>
                    <a:pt x="7" y="41"/>
                    <a:pt x="7" y="41"/>
                  </a:cubicBezTo>
                  <a:cubicBezTo>
                    <a:pt x="7" y="42"/>
                    <a:pt x="7" y="42"/>
                    <a:pt x="7" y="42"/>
                  </a:cubicBezTo>
                  <a:cubicBezTo>
                    <a:pt x="6" y="42"/>
                    <a:pt x="6" y="42"/>
                    <a:pt x="6" y="42"/>
                  </a:cubicBezTo>
                  <a:cubicBezTo>
                    <a:pt x="6" y="41"/>
                    <a:pt x="6" y="41"/>
                    <a:pt x="6" y="41"/>
                  </a:cubicBezTo>
                  <a:cubicBezTo>
                    <a:pt x="6" y="41"/>
                    <a:pt x="6" y="41"/>
                    <a:pt x="6" y="41"/>
                  </a:cubicBezTo>
                  <a:cubicBezTo>
                    <a:pt x="5" y="41"/>
                    <a:pt x="5" y="41"/>
                    <a:pt x="5" y="41"/>
                  </a:cubicBezTo>
                  <a:cubicBezTo>
                    <a:pt x="5" y="41"/>
                    <a:pt x="5" y="41"/>
                    <a:pt x="5" y="41"/>
                  </a:cubicBezTo>
                  <a:cubicBezTo>
                    <a:pt x="5" y="40"/>
                    <a:pt x="5" y="40"/>
                    <a:pt x="5" y="40"/>
                  </a:cubicBezTo>
                  <a:cubicBezTo>
                    <a:pt x="5" y="40"/>
                    <a:pt x="5" y="40"/>
                    <a:pt x="5" y="40"/>
                  </a:cubicBezTo>
                  <a:cubicBezTo>
                    <a:pt x="5" y="38"/>
                    <a:pt x="5" y="38"/>
                    <a:pt x="5" y="38"/>
                  </a:cubicBezTo>
                  <a:cubicBezTo>
                    <a:pt x="5" y="38"/>
                    <a:pt x="6" y="38"/>
                    <a:pt x="6" y="38"/>
                  </a:cubicBezTo>
                  <a:cubicBezTo>
                    <a:pt x="6" y="37"/>
                    <a:pt x="6" y="36"/>
                    <a:pt x="6" y="36"/>
                  </a:cubicBezTo>
                  <a:cubicBezTo>
                    <a:pt x="6" y="36"/>
                    <a:pt x="6" y="36"/>
                    <a:pt x="6" y="36"/>
                  </a:cubicBezTo>
                  <a:cubicBezTo>
                    <a:pt x="7" y="35"/>
                    <a:pt x="7" y="35"/>
                    <a:pt x="7" y="35"/>
                  </a:cubicBezTo>
                  <a:cubicBezTo>
                    <a:pt x="7" y="35"/>
                    <a:pt x="7" y="35"/>
                    <a:pt x="7" y="35"/>
                  </a:cubicBezTo>
                  <a:cubicBezTo>
                    <a:pt x="8" y="36"/>
                    <a:pt x="8" y="36"/>
                    <a:pt x="8" y="36"/>
                  </a:cubicBezTo>
                  <a:cubicBezTo>
                    <a:pt x="8" y="36"/>
                    <a:pt x="8" y="37"/>
                    <a:pt x="8" y="37"/>
                  </a:cubicBezTo>
                  <a:cubicBezTo>
                    <a:pt x="9" y="38"/>
                    <a:pt x="9" y="38"/>
                    <a:pt x="10" y="38"/>
                  </a:cubicBezTo>
                  <a:cubicBezTo>
                    <a:pt x="10" y="38"/>
                    <a:pt x="10" y="38"/>
                    <a:pt x="10" y="38"/>
                  </a:cubicBezTo>
                  <a:cubicBezTo>
                    <a:pt x="11" y="38"/>
                    <a:pt x="11" y="38"/>
                    <a:pt x="11" y="37"/>
                  </a:cubicBezTo>
                  <a:cubicBezTo>
                    <a:pt x="11" y="37"/>
                    <a:pt x="11" y="37"/>
                    <a:pt x="11" y="37"/>
                  </a:cubicBezTo>
                  <a:cubicBezTo>
                    <a:pt x="12" y="37"/>
                    <a:pt x="12" y="37"/>
                    <a:pt x="12" y="37"/>
                  </a:cubicBezTo>
                  <a:cubicBezTo>
                    <a:pt x="12" y="37"/>
                    <a:pt x="12" y="37"/>
                    <a:pt x="12" y="37"/>
                  </a:cubicBezTo>
                  <a:cubicBezTo>
                    <a:pt x="12" y="37"/>
                    <a:pt x="13" y="37"/>
                    <a:pt x="13" y="37"/>
                  </a:cubicBezTo>
                  <a:cubicBezTo>
                    <a:pt x="14" y="37"/>
                    <a:pt x="14" y="37"/>
                    <a:pt x="14" y="37"/>
                  </a:cubicBezTo>
                  <a:cubicBezTo>
                    <a:pt x="13" y="37"/>
                    <a:pt x="13" y="37"/>
                    <a:pt x="13" y="37"/>
                  </a:cubicBezTo>
                  <a:cubicBezTo>
                    <a:pt x="13" y="36"/>
                    <a:pt x="13" y="36"/>
                    <a:pt x="12" y="36"/>
                  </a:cubicBezTo>
                  <a:cubicBezTo>
                    <a:pt x="12" y="36"/>
                    <a:pt x="12" y="36"/>
                    <a:pt x="12" y="36"/>
                  </a:cubicBezTo>
                  <a:cubicBezTo>
                    <a:pt x="12" y="35"/>
                    <a:pt x="12" y="35"/>
                    <a:pt x="12" y="35"/>
                  </a:cubicBezTo>
                  <a:cubicBezTo>
                    <a:pt x="12" y="35"/>
                    <a:pt x="12" y="35"/>
                    <a:pt x="12" y="35"/>
                  </a:cubicBezTo>
                  <a:cubicBezTo>
                    <a:pt x="11" y="36"/>
                    <a:pt x="11" y="36"/>
                    <a:pt x="10" y="36"/>
                  </a:cubicBezTo>
                  <a:cubicBezTo>
                    <a:pt x="10" y="36"/>
                    <a:pt x="10" y="36"/>
                    <a:pt x="10" y="36"/>
                  </a:cubicBezTo>
                  <a:cubicBezTo>
                    <a:pt x="9" y="36"/>
                    <a:pt x="9" y="36"/>
                    <a:pt x="8" y="36"/>
                  </a:cubicBezTo>
                  <a:cubicBezTo>
                    <a:pt x="8" y="35"/>
                    <a:pt x="8" y="35"/>
                    <a:pt x="8" y="35"/>
                  </a:cubicBezTo>
                  <a:cubicBezTo>
                    <a:pt x="8" y="34"/>
                    <a:pt x="8" y="34"/>
                    <a:pt x="7" y="34"/>
                  </a:cubicBezTo>
                  <a:cubicBezTo>
                    <a:pt x="7" y="34"/>
                    <a:pt x="7" y="34"/>
                    <a:pt x="7" y="34"/>
                  </a:cubicBezTo>
                  <a:cubicBezTo>
                    <a:pt x="7" y="34"/>
                    <a:pt x="6" y="35"/>
                    <a:pt x="6" y="35"/>
                  </a:cubicBezTo>
                  <a:cubicBezTo>
                    <a:pt x="6" y="35"/>
                    <a:pt x="6" y="35"/>
                    <a:pt x="6" y="35"/>
                  </a:cubicBezTo>
                  <a:cubicBezTo>
                    <a:pt x="6" y="35"/>
                    <a:pt x="6" y="35"/>
                    <a:pt x="6" y="35"/>
                  </a:cubicBezTo>
                  <a:cubicBezTo>
                    <a:pt x="6" y="35"/>
                    <a:pt x="6" y="35"/>
                    <a:pt x="6" y="35"/>
                  </a:cubicBezTo>
                  <a:cubicBezTo>
                    <a:pt x="6" y="35"/>
                    <a:pt x="6" y="35"/>
                    <a:pt x="6" y="35"/>
                  </a:cubicBezTo>
                  <a:cubicBezTo>
                    <a:pt x="5" y="36"/>
                    <a:pt x="5" y="36"/>
                    <a:pt x="4" y="36"/>
                  </a:cubicBezTo>
                  <a:cubicBezTo>
                    <a:pt x="4" y="36"/>
                    <a:pt x="4" y="36"/>
                    <a:pt x="4" y="36"/>
                  </a:cubicBezTo>
                  <a:cubicBezTo>
                    <a:pt x="3" y="35"/>
                    <a:pt x="3" y="35"/>
                    <a:pt x="3" y="35"/>
                  </a:cubicBezTo>
                  <a:cubicBezTo>
                    <a:pt x="3" y="35"/>
                    <a:pt x="3" y="35"/>
                    <a:pt x="3" y="35"/>
                  </a:cubicBezTo>
                  <a:cubicBezTo>
                    <a:pt x="3" y="35"/>
                    <a:pt x="3" y="35"/>
                    <a:pt x="3" y="35"/>
                  </a:cubicBezTo>
                  <a:cubicBezTo>
                    <a:pt x="3" y="35"/>
                    <a:pt x="3" y="35"/>
                    <a:pt x="3" y="35"/>
                  </a:cubicBezTo>
                  <a:cubicBezTo>
                    <a:pt x="3" y="34"/>
                    <a:pt x="3" y="34"/>
                    <a:pt x="3" y="34"/>
                  </a:cubicBezTo>
                  <a:cubicBezTo>
                    <a:pt x="3" y="33"/>
                    <a:pt x="3" y="33"/>
                    <a:pt x="3" y="33"/>
                  </a:cubicBezTo>
                  <a:cubicBezTo>
                    <a:pt x="3" y="32"/>
                    <a:pt x="3" y="32"/>
                    <a:pt x="3" y="32"/>
                  </a:cubicBezTo>
                  <a:cubicBezTo>
                    <a:pt x="3" y="32"/>
                    <a:pt x="4" y="32"/>
                    <a:pt x="4" y="32"/>
                  </a:cubicBezTo>
                  <a:cubicBezTo>
                    <a:pt x="4" y="32"/>
                    <a:pt x="4" y="32"/>
                    <a:pt x="4" y="32"/>
                  </a:cubicBezTo>
                  <a:cubicBezTo>
                    <a:pt x="4" y="32"/>
                    <a:pt x="4" y="32"/>
                    <a:pt x="4" y="32"/>
                  </a:cubicBezTo>
                  <a:cubicBezTo>
                    <a:pt x="4" y="32"/>
                    <a:pt x="4" y="32"/>
                    <a:pt x="4" y="32"/>
                  </a:cubicBezTo>
                  <a:cubicBezTo>
                    <a:pt x="5" y="31"/>
                    <a:pt x="5" y="31"/>
                    <a:pt x="5" y="31"/>
                  </a:cubicBezTo>
                  <a:cubicBezTo>
                    <a:pt x="5" y="31"/>
                    <a:pt x="6" y="31"/>
                    <a:pt x="6" y="31"/>
                  </a:cubicBezTo>
                  <a:cubicBezTo>
                    <a:pt x="7" y="31"/>
                    <a:pt x="7" y="31"/>
                    <a:pt x="7" y="31"/>
                  </a:cubicBezTo>
                  <a:cubicBezTo>
                    <a:pt x="7" y="31"/>
                    <a:pt x="7" y="31"/>
                    <a:pt x="7" y="31"/>
                  </a:cubicBezTo>
                  <a:cubicBezTo>
                    <a:pt x="8" y="32"/>
                    <a:pt x="9" y="32"/>
                    <a:pt x="10" y="32"/>
                  </a:cubicBezTo>
                  <a:cubicBezTo>
                    <a:pt x="10" y="33"/>
                    <a:pt x="10" y="33"/>
                    <a:pt x="10" y="33"/>
                  </a:cubicBezTo>
                  <a:cubicBezTo>
                    <a:pt x="10" y="33"/>
                    <a:pt x="10" y="33"/>
                    <a:pt x="10" y="33"/>
                  </a:cubicBezTo>
                  <a:cubicBezTo>
                    <a:pt x="10" y="33"/>
                    <a:pt x="10" y="33"/>
                    <a:pt x="10" y="33"/>
                  </a:cubicBezTo>
                  <a:cubicBezTo>
                    <a:pt x="10" y="33"/>
                    <a:pt x="11" y="33"/>
                    <a:pt x="11" y="33"/>
                  </a:cubicBezTo>
                  <a:cubicBezTo>
                    <a:pt x="11" y="33"/>
                    <a:pt x="11" y="33"/>
                    <a:pt x="12" y="33"/>
                  </a:cubicBezTo>
                  <a:cubicBezTo>
                    <a:pt x="12" y="33"/>
                    <a:pt x="12" y="34"/>
                    <a:pt x="13" y="34"/>
                  </a:cubicBezTo>
                  <a:cubicBezTo>
                    <a:pt x="14" y="35"/>
                    <a:pt x="14" y="35"/>
                    <a:pt x="15" y="35"/>
                  </a:cubicBezTo>
                  <a:cubicBezTo>
                    <a:pt x="16" y="35"/>
                    <a:pt x="16" y="35"/>
                    <a:pt x="16" y="35"/>
                  </a:cubicBezTo>
                  <a:cubicBezTo>
                    <a:pt x="16" y="34"/>
                    <a:pt x="16" y="34"/>
                    <a:pt x="16" y="34"/>
                  </a:cubicBezTo>
                  <a:cubicBezTo>
                    <a:pt x="16" y="34"/>
                    <a:pt x="16" y="34"/>
                    <a:pt x="16" y="34"/>
                  </a:cubicBezTo>
                  <a:cubicBezTo>
                    <a:pt x="16" y="34"/>
                    <a:pt x="16" y="34"/>
                    <a:pt x="16" y="34"/>
                  </a:cubicBezTo>
                  <a:cubicBezTo>
                    <a:pt x="16" y="34"/>
                    <a:pt x="16" y="34"/>
                    <a:pt x="16" y="34"/>
                  </a:cubicBezTo>
                  <a:cubicBezTo>
                    <a:pt x="15" y="34"/>
                    <a:pt x="15" y="34"/>
                    <a:pt x="15" y="34"/>
                  </a:cubicBezTo>
                  <a:cubicBezTo>
                    <a:pt x="15" y="34"/>
                    <a:pt x="15" y="34"/>
                    <a:pt x="15" y="34"/>
                  </a:cubicBezTo>
                  <a:cubicBezTo>
                    <a:pt x="14" y="34"/>
                    <a:pt x="14" y="34"/>
                    <a:pt x="14" y="33"/>
                  </a:cubicBezTo>
                  <a:cubicBezTo>
                    <a:pt x="13" y="33"/>
                    <a:pt x="13" y="32"/>
                    <a:pt x="13" y="31"/>
                  </a:cubicBezTo>
                  <a:cubicBezTo>
                    <a:pt x="13" y="31"/>
                    <a:pt x="13" y="31"/>
                    <a:pt x="13" y="31"/>
                  </a:cubicBezTo>
                  <a:cubicBezTo>
                    <a:pt x="13" y="31"/>
                    <a:pt x="13" y="31"/>
                    <a:pt x="13" y="31"/>
                  </a:cubicBezTo>
                  <a:cubicBezTo>
                    <a:pt x="11" y="31"/>
                    <a:pt x="11" y="31"/>
                    <a:pt x="11" y="31"/>
                  </a:cubicBezTo>
                  <a:cubicBezTo>
                    <a:pt x="11" y="31"/>
                    <a:pt x="11" y="31"/>
                    <a:pt x="11" y="31"/>
                  </a:cubicBezTo>
                  <a:cubicBezTo>
                    <a:pt x="11" y="31"/>
                    <a:pt x="11" y="31"/>
                    <a:pt x="11" y="31"/>
                  </a:cubicBezTo>
                  <a:cubicBezTo>
                    <a:pt x="10" y="31"/>
                    <a:pt x="10" y="31"/>
                    <a:pt x="10" y="31"/>
                  </a:cubicBezTo>
                  <a:cubicBezTo>
                    <a:pt x="10" y="30"/>
                    <a:pt x="10" y="30"/>
                    <a:pt x="10" y="30"/>
                  </a:cubicBezTo>
                  <a:cubicBezTo>
                    <a:pt x="10" y="31"/>
                    <a:pt x="10" y="31"/>
                    <a:pt x="10" y="31"/>
                  </a:cubicBezTo>
                  <a:cubicBezTo>
                    <a:pt x="10" y="30"/>
                    <a:pt x="9" y="30"/>
                    <a:pt x="8" y="30"/>
                  </a:cubicBezTo>
                  <a:cubicBezTo>
                    <a:pt x="8" y="30"/>
                    <a:pt x="8" y="30"/>
                    <a:pt x="8" y="30"/>
                  </a:cubicBezTo>
                  <a:cubicBezTo>
                    <a:pt x="8" y="29"/>
                    <a:pt x="8" y="29"/>
                    <a:pt x="8" y="29"/>
                  </a:cubicBezTo>
                  <a:cubicBezTo>
                    <a:pt x="8" y="29"/>
                    <a:pt x="8" y="29"/>
                    <a:pt x="8" y="29"/>
                  </a:cubicBezTo>
                  <a:cubicBezTo>
                    <a:pt x="8" y="29"/>
                    <a:pt x="7" y="29"/>
                    <a:pt x="7" y="28"/>
                  </a:cubicBezTo>
                  <a:cubicBezTo>
                    <a:pt x="7" y="28"/>
                    <a:pt x="7" y="28"/>
                    <a:pt x="7" y="28"/>
                  </a:cubicBezTo>
                  <a:cubicBezTo>
                    <a:pt x="6" y="28"/>
                    <a:pt x="6" y="28"/>
                    <a:pt x="6" y="28"/>
                  </a:cubicBezTo>
                  <a:cubicBezTo>
                    <a:pt x="6" y="28"/>
                    <a:pt x="6" y="28"/>
                    <a:pt x="5" y="29"/>
                  </a:cubicBezTo>
                  <a:cubicBezTo>
                    <a:pt x="5" y="29"/>
                    <a:pt x="5" y="29"/>
                    <a:pt x="5" y="29"/>
                  </a:cubicBezTo>
                  <a:cubicBezTo>
                    <a:pt x="4" y="29"/>
                    <a:pt x="4" y="29"/>
                    <a:pt x="4" y="29"/>
                  </a:cubicBezTo>
                  <a:cubicBezTo>
                    <a:pt x="4" y="29"/>
                    <a:pt x="4" y="29"/>
                    <a:pt x="4" y="29"/>
                  </a:cubicBezTo>
                  <a:cubicBezTo>
                    <a:pt x="4" y="29"/>
                    <a:pt x="4" y="29"/>
                    <a:pt x="4" y="29"/>
                  </a:cubicBezTo>
                  <a:cubicBezTo>
                    <a:pt x="4" y="29"/>
                    <a:pt x="4" y="29"/>
                    <a:pt x="4" y="29"/>
                  </a:cubicBezTo>
                  <a:cubicBezTo>
                    <a:pt x="3" y="28"/>
                    <a:pt x="3" y="28"/>
                    <a:pt x="3" y="28"/>
                  </a:cubicBezTo>
                  <a:cubicBezTo>
                    <a:pt x="3" y="28"/>
                    <a:pt x="3" y="28"/>
                    <a:pt x="3" y="28"/>
                  </a:cubicBezTo>
                  <a:cubicBezTo>
                    <a:pt x="3" y="28"/>
                    <a:pt x="3" y="28"/>
                    <a:pt x="3" y="28"/>
                  </a:cubicBezTo>
                  <a:cubicBezTo>
                    <a:pt x="3" y="28"/>
                    <a:pt x="3" y="28"/>
                    <a:pt x="3" y="28"/>
                  </a:cubicBezTo>
                  <a:cubicBezTo>
                    <a:pt x="2" y="28"/>
                    <a:pt x="2" y="28"/>
                    <a:pt x="2" y="28"/>
                  </a:cubicBezTo>
                  <a:cubicBezTo>
                    <a:pt x="2" y="27"/>
                    <a:pt x="2" y="26"/>
                    <a:pt x="2" y="24"/>
                  </a:cubicBezTo>
                  <a:cubicBezTo>
                    <a:pt x="2" y="24"/>
                    <a:pt x="3" y="24"/>
                    <a:pt x="3" y="24"/>
                  </a:cubicBezTo>
                  <a:cubicBezTo>
                    <a:pt x="3" y="24"/>
                    <a:pt x="3" y="24"/>
                    <a:pt x="3" y="24"/>
                  </a:cubicBezTo>
                  <a:cubicBezTo>
                    <a:pt x="3" y="24"/>
                    <a:pt x="3" y="24"/>
                    <a:pt x="3" y="24"/>
                  </a:cubicBezTo>
                  <a:cubicBezTo>
                    <a:pt x="4" y="24"/>
                    <a:pt x="4" y="24"/>
                    <a:pt x="4" y="24"/>
                  </a:cubicBezTo>
                  <a:cubicBezTo>
                    <a:pt x="4" y="24"/>
                    <a:pt x="4" y="24"/>
                    <a:pt x="4" y="24"/>
                  </a:cubicBezTo>
                  <a:cubicBezTo>
                    <a:pt x="4" y="24"/>
                    <a:pt x="4" y="24"/>
                    <a:pt x="4" y="24"/>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5" y="26"/>
                    <a:pt x="5" y="26"/>
                    <a:pt x="5" y="26"/>
                  </a:cubicBezTo>
                  <a:cubicBezTo>
                    <a:pt x="5" y="26"/>
                    <a:pt x="5" y="26"/>
                    <a:pt x="5" y="26"/>
                  </a:cubicBezTo>
                  <a:cubicBezTo>
                    <a:pt x="6" y="25"/>
                    <a:pt x="6" y="25"/>
                    <a:pt x="6" y="25"/>
                  </a:cubicBezTo>
                  <a:cubicBezTo>
                    <a:pt x="6" y="26"/>
                    <a:pt x="6" y="26"/>
                    <a:pt x="6" y="26"/>
                  </a:cubicBezTo>
                  <a:cubicBezTo>
                    <a:pt x="6" y="26"/>
                    <a:pt x="6" y="26"/>
                    <a:pt x="6" y="26"/>
                  </a:cubicBezTo>
                  <a:cubicBezTo>
                    <a:pt x="6" y="25"/>
                    <a:pt x="6" y="25"/>
                    <a:pt x="6" y="25"/>
                  </a:cubicBezTo>
                  <a:cubicBezTo>
                    <a:pt x="7" y="25"/>
                    <a:pt x="7" y="25"/>
                    <a:pt x="7" y="25"/>
                  </a:cubicBezTo>
                  <a:cubicBezTo>
                    <a:pt x="7" y="25"/>
                    <a:pt x="7" y="25"/>
                    <a:pt x="7" y="25"/>
                  </a:cubicBezTo>
                  <a:cubicBezTo>
                    <a:pt x="7" y="25"/>
                    <a:pt x="7" y="25"/>
                    <a:pt x="7" y="25"/>
                  </a:cubicBezTo>
                  <a:cubicBezTo>
                    <a:pt x="7" y="26"/>
                    <a:pt x="7" y="26"/>
                    <a:pt x="7" y="26"/>
                  </a:cubicBezTo>
                  <a:cubicBezTo>
                    <a:pt x="7" y="26"/>
                    <a:pt x="7" y="26"/>
                    <a:pt x="7" y="26"/>
                  </a:cubicBezTo>
                  <a:cubicBezTo>
                    <a:pt x="8" y="26"/>
                    <a:pt x="8" y="26"/>
                    <a:pt x="8" y="26"/>
                  </a:cubicBezTo>
                  <a:cubicBezTo>
                    <a:pt x="8" y="26"/>
                    <a:pt x="8" y="26"/>
                    <a:pt x="8" y="26"/>
                  </a:cubicBezTo>
                  <a:cubicBezTo>
                    <a:pt x="8" y="26"/>
                    <a:pt x="8" y="26"/>
                    <a:pt x="8" y="26"/>
                  </a:cubicBezTo>
                  <a:cubicBezTo>
                    <a:pt x="8" y="26"/>
                    <a:pt x="8" y="26"/>
                    <a:pt x="8" y="26"/>
                  </a:cubicBezTo>
                  <a:cubicBezTo>
                    <a:pt x="9"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7"/>
                    <a:pt x="9" y="27"/>
                    <a:pt x="9" y="27"/>
                  </a:cubicBezTo>
                  <a:cubicBezTo>
                    <a:pt x="10" y="27"/>
                    <a:pt x="10" y="27"/>
                    <a:pt x="10" y="27"/>
                  </a:cubicBezTo>
                  <a:cubicBezTo>
                    <a:pt x="10" y="26"/>
                    <a:pt x="10" y="26"/>
                    <a:pt x="10" y="26"/>
                  </a:cubicBezTo>
                  <a:cubicBezTo>
                    <a:pt x="10" y="26"/>
                    <a:pt x="10" y="26"/>
                    <a:pt x="10" y="26"/>
                  </a:cubicBezTo>
                  <a:cubicBezTo>
                    <a:pt x="10" y="26"/>
                    <a:pt x="10" y="26"/>
                    <a:pt x="10" y="26"/>
                  </a:cubicBezTo>
                  <a:cubicBezTo>
                    <a:pt x="10" y="26"/>
                    <a:pt x="10" y="26"/>
                    <a:pt x="10" y="26"/>
                  </a:cubicBezTo>
                  <a:cubicBezTo>
                    <a:pt x="9" y="26"/>
                    <a:pt x="9" y="26"/>
                    <a:pt x="9" y="26"/>
                  </a:cubicBezTo>
                  <a:cubicBezTo>
                    <a:pt x="9" y="26"/>
                    <a:pt x="9" y="26"/>
                    <a:pt x="9" y="26"/>
                  </a:cubicBezTo>
                  <a:cubicBezTo>
                    <a:pt x="9" y="26"/>
                    <a:pt x="9" y="26"/>
                    <a:pt x="9" y="26"/>
                  </a:cubicBezTo>
                  <a:cubicBezTo>
                    <a:pt x="9" y="25"/>
                    <a:pt x="9" y="25"/>
                    <a:pt x="9" y="25"/>
                  </a:cubicBezTo>
                  <a:cubicBezTo>
                    <a:pt x="9" y="25"/>
                    <a:pt x="9" y="25"/>
                    <a:pt x="9" y="25"/>
                  </a:cubicBezTo>
                  <a:cubicBezTo>
                    <a:pt x="9" y="25"/>
                    <a:pt x="9" y="25"/>
                    <a:pt x="9" y="25"/>
                  </a:cubicBezTo>
                  <a:cubicBezTo>
                    <a:pt x="9" y="25"/>
                    <a:pt x="9" y="25"/>
                    <a:pt x="9" y="25"/>
                  </a:cubicBezTo>
                  <a:cubicBezTo>
                    <a:pt x="9" y="25"/>
                    <a:pt x="9" y="25"/>
                    <a:pt x="9" y="25"/>
                  </a:cubicBezTo>
                  <a:cubicBezTo>
                    <a:pt x="9" y="24"/>
                    <a:pt x="9" y="24"/>
                    <a:pt x="9" y="24"/>
                  </a:cubicBezTo>
                  <a:cubicBezTo>
                    <a:pt x="8" y="24"/>
                    <a:pt x="8" y="24"/>
                    <a:pt x="8" y="24"/>
                  </a:cubicBezTo>
                  <a:cubicBezTo>
                    <a:pt x="8" y="24"/>
                    <a:pt x="8" y="24"/>
                    <a:pt x="8" y="24"/>
                  </a:cubicBezTo>
                  <a:cubicBezTo>
                    <a:pt x="8" y="24"/>
                    <a:pt x="8" y="24"/>
                    <a:pt x="8" y="24"/>
                  </a:cubicBezTo>
                  <a:cubicBezTo>
                    <a:pt x="8" y="24"/>
                    <a:pt x="7" y="24"/>
                    <a:pt x="7" y="24"/>
                  </a:cubicBezTo>
                  <a:cubicBezTo>
                    <a:pt x="7" y="24"/>
                    <a:pt x="7" y="24"/>
                    <a:pt x="7" y="24"/>
                  </a:cubicBezTo>
                  <a:cubicBezTo>
                    <a:pt x="7" y="24"/>
                    <a:pt x="7" y="24"/>
                    <a:pt x="7" y="24"/>
                  </a:cubicBezTo>
                  <a:cubicBezTo>
                    <a:pt x="6" y="23"/>
                    <a:pt x="6" y="23"/>
                    <a:pt x="6" y="23"/>
                  </a:cubicBezTo>
                  <a:cubicBezTo>
                    <a:pt x="6" y="23"/>
                    <a:pt x="6" y="23"/>
                    <a:pt x="6" y="23"/>
                  </a:cubicBezTo>
                  <a:cubicBezTo>
                    <a:pt x="6" y="23"/>
                    <a:pt x="6" y="23"/>
                    <a:pt x="6" y="23"/>
                  </a:cubicBezTo>
                  <a:cubicBezTo>
                    <a:pt x="7" y="20"/>
                    <a:pt x="7" y="20"/>
                    <a:pt x="7" y="20"/>
                  </a:cubicBezTo>
                  <a:cubicBezTo>
                    <a:pt x="7" y="20"/>
                    <a:pt x="7" y="20"/>
                    <a:pt x="7" y="20"/>
                  </a:cubicBezTo>
                  <a:cubicBezTo>
                    <a:pt x="7" y="20"/>
                    <a:pt x="7" y="20"/>
                    <a:pt x="7" y="20"/>
                  </a:cubicBezTo>
                  <a:cubicBezTo>
                    <a:pt x="7" y="20"/>
                    <a:pt x="7" y="20"/>
                    <a:pt x="7" y="20"/>
                  </a:cubicBezTo>
                  <a:cubicBezTo>
                    <a:pt x="7" y="20"/>
                    <a:pt x="7" y="20"/>
                    <a:pt x="7" y="20"/>
                  </a:cubicBezTo>
                  <a:cubicBezTo>
                    <a:pt x="7" y="20"/>
                    <a:pt x="7" y="21"/>
                    <a:pt x="7" y="21"/>
                  </a:cubicBezTo>
                  <a:cubicBezTo>
                    <a:pt x="7" y="21"/>
                    <a:pt x="7" y="21"/>
                    <a:pt x="7" y="21"/>
                  </a:cubicBezTo>
                  <a:cubicBezTo>
                    <a:pt x="7" y="21"/>
                    <a:pt x="7" y="21"/>
                    <a:pt x="7" y="21"/>
                  </a:cubicBezTo>
                  <a:cubicBezTo>
                    <a:pt x="7" y="21"/>
                    <a:pt x="7" y="21"/>
                    <a:pt x="7" y="21"/>
                  </a:cubicBezTo>
                  <a:cubicBezTo>
                    <a:pt x="8" y="21"/>
                    <a:pt x="8" y="20"/>
                    <a:pt x="8" y="20"/>
                  </a:cubicBezTo>
                  <a:cubicBezTo>
                    <a:pt x="8" y="20"/>
                    <a:pt x="8" y="20"/>
                    <a:pt x="8" y="20"/>
                  </a:cubicBezTo>
                  <a:cubicBezTo>
                    <a:pt x="8" y="21"/>
                    <a:pt x="8" y="21"/>
                    <a:pt x="8" y="21"/>
                  </a:cubicBezTo>
                  <a:cubicBezTo>
                    <a:pt x="8" y="22"/>
                    <a:pt x="8" y="22"/>
                    <a:pt x="8" y="22"/>
                  </a:cubicBezTo>
                  <a:cubicBezTo>
                    <a:pt x="8" y="22"/>
                    <a:pt x="8" y="22"/>
                    <a:pt x="8" y="22"/>
                  </a:cubicBezTo>
                  <a:cubicBezTo>
                    <a:pt x="8" y="22"/>
                    <a:pt x="8" y="22"/>
                    <a:pt x="8" y="22"/>
                  </a:cubicBezTo>
                  <a:cubicBezTo>
                    <a:pt x="8" y="21"/>
                    <a:pt x="8" y="21"/>
                    <a:pt x="8" y="21"/>
                  </a:cubicBezTo>
                  <a:cubicBezTo>
                    <a:pt x="8" y="21"/>
                    <a:pt x="8" y="21"/>
                    <a:pt x="8" y="21"/>
                  </a:cubicBezTo>
                  <a:cubicBezTo>
                    <a:pt x="9" y="20"/>
                    <a:pt x="9" y="20"/>
                    <a:pt x="9" y="20"/>
                  </a:cubicBezTo>
                  <a:cubicBezTo>
                    <a:pt x="9" y="20"/>
                    <a:pt x="9" y="20"/>
                    <a:pt x="9" y="20"/>
                  </a:cubicBezTo>
                  <a:cubicBezTo>
                    <a:pt x="9" y="21"/>
                    <a:pt x="9" y="21"/>
                    <a:pt x="9" y="21"/>
                  </a:cubicBezTo>
                  <a:cubicBezTo>
                    <a:pt x="9" y="22"/>
                    <a:pt x="9" y="22"/>
                    <a:pt x="9" y="22"/>
                  </a:cubicBezTo>
                  <a:cubicBezTo>
                    <a:pt x="9" y="21"/>
                    <a:pt x="9" y="21"/>
                    <a:pt x="9" y="21"/>
                  </a:cubicBezTo>
                  <a:cubicBezTo>
                    <a:pt x="9" y="21"/>
                    <a:pt x="9" y="21"/>
                    <a:pt x="9" y="21"/>
                  </a:cubicBezTo>
                  <a:cubicBezTo>
                    <a:pt x="9" y="21"/>
                    <a:pt x="9" y="21"/>
                    <a:pt x="9" y="21"/>
                  </a:cubicBezTo>
                  <a:cubicBezTo>
                    <a:pt x="10" y="21"/>
                    <a:pt x="10" y="21"/>
                    <a:pt x="10" y="21"/>
                  </a:cubicBezTo>
                  <a:cubicBezTo>
                    <a:pt x="10" y="21"/>
                    <a:pt x="10" y="21"/>
                    <a:pt x="10" y="21"/>
                  </a:cubicBezTo>
                  <a:cubicBezTo>
                    <a:pt x="9" y="21"/>
                    <a:pt x="9" y="21"/>
                    <a:pt x="9" y="21"/>
                  </a:cubicBezTo>
                  <a:cubicBezTo>
                    <a:pt x="9" y="20"/>
                    <a:pt x="9" y="20"/>
                    <a:pt x="9" y="20"/>
                  </a:cubicBezTo>
                  <a:cubicBezTo>
                    <a:pt x="9" y="20"/>
                    <a:pt x="9" y="20"/>
                    <a:pt x="9" y="20"/>
                  </a:cubicBezTo>
                  <a:cubicBezTo>
                    <a:pt x="9" y="20"/>
                    <a:pt x="9" y="20"/>
                    <a:pt x="9" y="20"/>
                  </a:cubicBezTo>
                  <a:cubicBezTo>
                    <a:pt x="9" y="19"/>
                    <a:pt x="9" y="19"/>
                    <a:pt x="9" y="19"/>
                  </a:cubicBezTo>
                  <a:cubicBezTo>
                    <a:pt x="9" y="19"/>
                    <a:pt x="9" y="19"/>
                    <a:pt x="9" y="19"/>
                  </a:cubicBezTo>
                  <a:cubicBezTo>
                    <a:pt x="8" y="19"/>
                    <a:pt x="8" y="19"/>
                    <a:pt x="7" y="19"/>
                  </a:cubicBezTo>
                  <a:cubicBezTo>
                    <a:pt x="7" y="18"/>
                    <a:pt x="7" y="18"/>
                    <a:pt x="7" y="18"/>
                  </a:cubicBezTo>
                  <a:cubicBezTo>
                    <a:pt x="7" y="19"/>
                    <a:pt x="7" y="19"/>
                    <a:pt x="7" y="19"/>
                  </a:cubicBezTo>
                  <a:cubicBezTo>
                    <a:pt x="6" y="19"/>
                    <a:pt x="6" y="20"/>
                    <a:pt x="6" y="20"/>
                  </a:cubicBezTo>
                  <a:cubicBezTo>
                    <a:pt x="5" y="20"/>
                    <a:pt x="5" y="20"/>
                    <a:pt x="5" y="20"/>
                  </a:cubicBezTo>
                  <a:cubicBezTo>
                    <a:pt x="5" y="20"/>
                    <a:pt x="4" y="20"/>
                    <a:pt x="4" y="20"/>
                  </a:cubicBezTo>
                  <a:cubicBezTo>
                    <a:pt x="4" y="20"/>
                    <a:pt x="4" y="20"/>
                    <a:pt x="4" y="20"/>
                  </a:cubicBezTo>
                  <a:cubicBezTo>
                    <a:pt x="4" y="20"/>
                    <a:pt x="4" y="20"/>
                    <a:pt x="4" y="20"/>
                  </a:cubicBezTo>
                  <a:cubicBezTo>
                    <a:pt x="4" y="20"/>
                    <a:pt x="4" y="20"/>
                    <a:pt x="4" y="20"/>
                  </a:cubicBezTo>
                  <a:cubicBezTo>
                    <a:pt x="4" y="19"/>
                    <a:pt x="4" y="19"/>
                    <a:pt x="4" y="19"/>
                  </a:cubicBezTo>
                  <a:cubicBezTo>
                    <a:pt x="3" y="18"/>
                    <a:pt x="3" y="17"/>
                    <a:pt x="4" y="16"/>
                  </a:cubicBezTo>
                  <a:cubicBezTo>
                    <a:pt x="4" y="15"/>
                    <a:pt x="5" y="14"/>
                    <a:pt x="6" y="14"/>
                  </a:cubicBezTo>
                  <a:cubicBezTo>
                    <a:pt x="6" y="14"/>
                    <a:pt x="6" y="14"/>
                    <a:pt x="6" y="14"/>
                  </a:cubicBezTo>
                  <a:cubicBezTo>
                    <a:pt x="6" y="14"/>
                    <a:pt x="6" y="14"/>
                    <a:pt x="6" y="14"/>
                  </a:cubicBezTo>
                  <a:cubicBezTo>
                    <a:pt x="7" y="14"/>
                    <a:pt x="7" y="14"/>
                    <a:pt x="7" y="14"/>
                  </a:cubicBezTo>
                  <a:cubicBezTo>
                    <a:pt x="7" y="15"/>
                    <a:pt x="7" y="15"/>
                    <a:pt x="8" y="15"/>
                  </a:cubicBezTo>
                  <a:cubicBezTo>
                    <a:pt x="8" y="15"/>
                    <a:pt x="8" y="15"/>
                    <a:pt x="8" y="15"/>
                  </a:cubicBezTo>
                  <a:cubicBezTo>
                    <a:pt x="8" y="15"/>
                    <a:pt x="8" y="15"/>
                    <a:pt x="8" y="15"/>
                  </a:cubicBezTo>
                  <a:cubicBezTo>
                    <a:pt x="8" y="15"/>
                    <a:pt x="8" y="15"/>
                    <a:pt x="8" y="15"/>
                  </a:cubicBezTo>
                  <a:cubicBezTo>
                    <a:pt x="8" y="15"/>
                    <a:pt x="8" y="15"/>
                    <a:pt x="8" y="15"/>
                  </a:cubicBezTo>
                  <a:cubicBezTo>
                    <a:pt x="9" y="15"/>
                    <a:pt x="9" y="14"/>
                    <a:pt x="10" y="14"/>
                  </a:cubicBezTo>
                  <a:cubicBezTo>
                    <a:pt x="10" y="14"/>
                    <a:pt x="10" y="14"/>
                    <a:pt x="10" y="14"/>
                  </a:cubicBezTo>
                  <a:cubicBezTo>
                    <a:pt x="10" y="14"/>
                    <a:pt x="10" y="14"/>
                    <a:pt x="10" y="14"/>
                  </a:cubicBezTo>
                  <a:cubicBezTo>
                    <a:pt x="11" y="14"/>
                    <a:pt x="11" y="14"/>
                    <a:pt x="11" y="14"/>
                  </a:cubicBezTo>
                  <a:cubicBezTo>
                    <a:pt x="11" y="14"/>
                    <a:pt x="11" y="14"/>
                    <a:pt x="11" y="14"/>
                  </a:cubicBezTo>
                  <a:cubicBezTo>
                    <a:pt x="11" y="14"/>
                    <a:pt x="11" y="14"/>
                    <a:pt x="11" y="14"/>
                  </a:cubicBezTo>
                  <a:cubicBezTo>
                    <a:pt x="11" y="14"/>
                    <a:pt x="12" y="15"/>
                    <a:pt x="12" y="15"/>
                  </a:cubicBezTo>
                  <a:cubicBezTo>
                    <a:pt x="12" y="15"/>
                    <a:pt x="12" y="15"/>
                    <a:pt x="13" y="14"/>
                  </a:cubicBezTo>
                  <a:cubicBezTo>
                    <a:pt x="13" y="14"/>
                    <a:pt x="14" y="14"/>
                    <a:pt x="14" y="14"/>
                  </a:cubicBezTo>
                  <a:cubicBezTo>
                    <a:pt x="14" y="14"/>
                    <a:pt x="15" y="14"/>
                    <a:pt x="15" y="14"/>
                  </a:cubicBezTo>
                  <a:cubicBezTo>
                    <a:pt x="15" y="14"/>
                    <a:pt x="15" y="14"/>
                    <a:pt x="15" y="14"/>
                  </a:cubicBezTo>
                  <a:cubicBezTo>
                    <a:pt x="16" y="14"/>
                    <a:pt x="16" y="14"/>
                    <a:pt x="17" y="13"/>
                  </a:cubicBezTo>
                  <a:cubicBezTo>
                    <a:pt x="17" y="13"/>
                    <a:pt x="17" y="13"/>
                    <a:pt x="17" y="13"/>
                  </a:cubicBezTo>
                  <a:cubicBezTo>
                    <a:pt x="17" y="13"/>
                    <a:pt x="17" y="13"/>
                    <a:pt x="17" y="13"/>
                  </a:cubicBezTo>
                  <a:cubicBezTo>
                    <a:pt x="17" y="13"/>
                    <a:pt x="17" y="13"/>
                    <a:pt x="17" y="13"/>
                  </a:cubicBezTo>
                  <a:cubicBezTo>
                    <a:pt x="17" y="13"/>
                    <a:pt x="17" y="13"/>
                    <a:pt x="17" y="13"/>
                  </a:cubicBezTo>
                  <a:cubicBezTo>
                    <a:pt x="18" y="11"/>
                    <a:pt x="18" y="11"/>
                    <a:pt x="18" y="11"/>
                  </a:cubicBezTo>
                  <a:cubicBezTo>
                    <a:pt x="18" y="10"/>
                    <a:pt x="18" y="10"/>
                    <a:pt x="18" y="10"/>
                  </a:cubicBezTo>
                  <a:cubicBezTo>
                    <a:pt x="18" y="11"/>
                    <a:pt x="18" y="11"/>
                    <a:pt x="18" y="11"/>
                  </a:cubicBezTo>
                  <a:cubicBezTo>
                    <a:pt x="17" y="13"/>
                    <a:pt x="17" y="13"/>
                    <a:pt x="17" y="13"/>
                  </a:cubicBezTo>
                  <a:cubicBezTo>
                    <a:pt x="17" y="13"/>
                    <a:pt x="17" y="13"/>
                    <a:pt x="17" y="13"/>
                  </a:cubicBezTo>
                  <a:cubicBezTo>
                    <a:pt x="17" y="11"/>
                    <a:pt x="17" y="11"/>
                    <a:pt x="17" y="11"/>
                  </a:cubicBezTo>
                  <a:cubicBezTo>
                    <a:pt x="17" y="11"/>
                    <a:pt x="17" y="11"/>
                    <a:pt x="17" y="11"/>
                  </a:cubicBezTo>
                  <a:cubicBezTo>
                    <a:pt x="18" y="11"/>
                    <a:pt x="18" y="11"/>
                    <a:pt x="18" y="11"/>
                  </a:cubicBezTo>
                  <a:cubicBezTo>
                    <a:pt x="17" y="10"/>
                    <a:pt x="17" y="10"/>
                    <a:pt x="17" y="10"/>
                  </a:cubicBezTo>
                  <a:cubicBezTo>
                    <a:pt x="17" y="10"/>
                    <a:pt x="17" y="10"/>
                    <a:pt x="17" y="10"/>
                  </a:cubicBezTo>
                  <a:cubicBezTo>
                    <a:pt x="17" y="11"/>
                    <a:pt x="16" y="11"/>
                    <a:pt x="16" y="12"/>
                  </a:cubicBezTo>
                  <a:cubicBezTo>
                    <a:pt x="16" y="12"/>
                    <a:pt x="15" y="12"/>
                    <a:pt x="15" y="12"/>
                  </a:cubicBezTo>
                  <a:cubicBezTo>
                    <a:pt x="15" y="12"/>
                    <a:pt x="14" y="12"/>
                    <a:pt x="14" y="12"/>
                  </a:cubicBezTo>
                  <a:cubicBezTo>
                    <a:pt x="14" y="12"/>
                    <a:pt x="14" y="12"/>
                    <a:pt x="14" y="12"/>
                  </a:cubicBezTo>
                  <a:cubicBezTo>
                    <a:pt x="13" y="12"/>
                    <a:pt x="13" y="13"/>
                    <a:pt x="12" y="13"/>
                  </a:cubicBezTo>
                  <a:cubicBezTo>
                    <a:pt x="12" y="13"/>
                    <a:pt x="12" y="13"/>
                    <a:pt x="12" y="13"/>
                  </a:cubicBezTo>
                  <a:cubicBezTo>
                    <a:pt x="11" y="13"/>
                    <a:pt x="10" y="12"/>
                    <a:pt x="10" y="11"/>
                  </a:cubicBezTo>
                  <a:cubicBezTo>
                    <a:pt x="10" y="11"/>
                    <a:pt x="10" y="11"/>
                    <a:pt x="10" y="11"/>
                  </a:cubicBezTo>
                  <a:cubicBezTo>
                    <a:pt x="10" y="11"/>
                    <a:pt x="10" y="11"/>
                    <a:pt x="10" y="11"/>
                  </a:cubicBezTo>
                  <a:cubicBezTo>
                    <a:pt x="9" y="12"/>
                    <a:pt x="9" y="12"/>
                    <a:pt x="9" y="12"/>
                  </a:cubicBezTo>
                  <a:cubicBezTo>
                    <a:pt x="9" y="12"/>
                    <a:pt x="9" y="12"/>
                    <a:pt x="9" y="12"/>
                  </a:cubicBezTo>
                  <a:cubicBezTo>
                    <a:pt x="9" y="12"/>
                    <a:pt x="9" y="12"/>
                    <a:pt x="9" y="12"/>
                  </a:cubicBezTo>
                  <a:cubicBezTo>
                    <a:pt x="9" y="12"/>
                    <a:pt x="9" y="12"/>
                    <a:pt x="9" y="12"/>
                  </a:cubicBezTo>
                  <a:cubicBezTo>
                    <a:pt x="8" y="13"/>
                    <a:pt x="8" y="13"/>
                    <a:pt x="7" y="13"/>
                  </a:cubicBezTo>
                  <a:cubicBezTo>
                    <a:pt x="7" y="13"/>
                    <a:pt x="7" y="13"/>
                    <a:pt x="7" y="13"/>
                  </a:cubicBezTo>
                  <a:cubicBezTo>
                    <a:pt x="7" y="13"/>
                    <a:pt x="7" y="13"/>
                    <a:pt x="7" y="13"/>
                  </a:cubicBezTo>
                  <a:cubicBezTo>
                    <a:pt x="7" y="13"/>
                    <a:pt x="7" y="13"/>
                    <a:pt x="7" y="13"/>
                  </a:cubicBezTo>
                  <a:cubicBezTo>
                    <a:pt x="6" y="12"/>
                    <a:pt x="6" y="12"/>
                    <a:pt x="6" y="12"/>
                  </a:cubicBezTo>
                  <a:cubicBezTo>
                    <a:pt x="6" y="11"/>
                    <a:pt x="6" y="10"/>
                    <a:pt x="6" y="9"/>
                  </a:cubicBezTo>
                  <a:cubicBezTo>
                    <a:pt x="7" y="8"/>
                    <a:pt x="8" y="7"/>
                    <a:pt x="9" y="7"/>
                  </a:cubicBezTo>
                  <a:cubicBezTo>
                    <a:pt x="10" y="7"/>
                    <a:pt x="10" y="7"/>
                    <a:pt x="10" y="7"/>
                  </a:cubicBezTo>
                  <a:cubicBezTo>
                    <a:pt x="10" y="7"/>
                    <a:pt x="10" y="7"/>
                    <a:pt x="10" y="7"/>
                  </a:cubicBezTo>
                  <a:cubicBezTo>
                    <a:pt x="11" y="8"/>
                    <a:pt x="11" y="8"/>
                    <a:pt x="12" y="8"/>
                  </a:cubicBezTo>
                  <a:cubicBezTo>
                    <a:pt x="12" y="8"/>
                    <a:pt x="12" y="8"/>
                    <a:pt x="12" y="8"/>
                  </a:cubicBezTo>
                  <a:cubicBezTo>
                    <a:pt x="13" y="8"/>
                    <a:pt x="13" y="8"/>
                    <a:pt x="14" y="7"/>
                  </a:cubicBezTo>
                  <a:cubicBezTo>
                    <a:pt x="14" y="7"/>
                    <a:pt x="14" y="7"/>
                    <a:pt x="14" y="7"/>
                  </a:cubicBezTo>
                  <a:cubicBezTo>
                    <a:pt x="14" y="7"/>
                    <a:pt x="14" y="7"/>
                    <a:pt x="14" y="7"/>
                  </a:cubicBezTo>
                  <a:cubicBezTo>
                    <a:pt x="14" y="8"/>
                    <a:pt x="15" y="8"/>
                    <a:pt x="16" y="8"/>
                  </a:cubicBezTo>
                  <a:cubicBezTo>
                    <a:pt x="16" y="8"/>
                    <a:pt x="16" y="8"/>
                    <a:pt x="16" y="8"/>
                  </a:cubicBezTo>
                  <a:cubicBezTo>
                    <a:pt x="16" y="8"/>
                    <a:pt x="16" y="8"/>
                    <a:pt x="16" y="8"/>
                  </a:cubicBezTo>
                  <a:cubicBezTo>
                    <a:pt x="16" y="9"/>
                    <a:pt x="16" y="9"/>
                    <a:pt x="16" y="9"/>
                  </a:cubicBezTo>
                  <a:cubicBezTo>
                    <a:pt x="16" y="9"/>
                    <a:pt x="16" y="9"/>
                    <a:pt x="16" y="9"/>
                  </a:cubicBezTo>
                  <a:cubicBezTo>
                    <a:pt x="17" y="9"/>
                    <a:pt x="17" y="9"/>
                    <a:pt x="17" y="9"/>
                  </a:cubicBezTo>
                  <a:cubicBezTo>
                    <a:pt x="18" y="8"/>
                    <a:pt x="18" y="8"/>
                    <a:pt x="18" y="8"/>
                  </a:cubicBezTo>
                  <a:cubicBezTo>
                    <a:pt x="17" y="8"/>
                    <a:pt x="17" y="8"/>
                    <a:pt x="17" y="8"/>
                  </a:cubicBezTo>
                  <a:cubicBezTo>
                    <a:pt x="17" y="8"/>
                    <a:pt x="17" y="8"/>
                    <a:pt x="17" y="8"/>
                  </a:cubicBezTo>
                  <a:cubicBezTo>
                    <a:pt x="16" y="7"/>
                    <a:pt x="16" y="7"/>
                    <a:pt x="16" y="7"/>
                  </a:cubicBezTo>
                  <a:cubicBezTo>
                    <a:pt x="16" y="7"/>
                    <a:pt x="16" y="7"/>
                    <a:pt x="16" y="7"/>
                  </a:cubicBezTo>
                  <a:cubicBezTo>
                    <a:pt x="16" y="7"/>
                    <a:pt x="16" y="7"/>
                    <a:pt x="16" y="7"/>
                  </a:cubicBezTo>
                  <a:cubicBezTo>
                    <a:pt x="15" y="7"/>
                    <a:pt x="15" y="7"/>
                    <a:pt x="15" y="7"/>
                  </a:cubicBezTo>
                  <a:cubicBezTo>
                    <a:pt x="15" y="6"/>
                    <a:pt x="14" y="6"/>
                    <a:pt x="14" y="6"/>
                  </a:cubicBezTo>
                  <a:cubicBezTo>
                    <a:pt x="13" y="6"/>
                    <a:pt x="13" y="6"/>
                    <a:pt x="13" y="6"/>
                  </a:cubicBezTo>
                  <a:cubicBezTo>
                    <a:pt x="13" y="6"/>
                    <a:pt x="13" y="6"/>
                    <a:pt x="13" y="6"/>
                  </a:cubicBezTo>
                  <a:cubicBezTo>
                    <a:pt x="13" y="7"/>
                    <a:pt x="13" y="7"/>
                    <a:pt x="13" y="7"/>
                  </a:cubicBezTo>
                  <a:cubicBezTo>
                    <a:pt x="12" y="7"/>
                    <a:pt x="12" y="7"/>
                    <a:pt x="12" y="7"/>
                  </a:cubicBezTo>
                  <a:cubicBezTo>
                    <a:pt x="12" y="7"/>
                    <a:pt x="12" y="7"/>
                    <a:pt x="12" y="7"/>
                  </a:cubicBezTo>
                  <a:moveTo>
                    <a:pt x="29" y="6"/>
                  </a:moveTo>
                  <a:cubicBezTo>
                    <a:pt x="29" y="6"/>
                    <a:pt x="29" y="6"/>
                    <a:pt x="29" y="6"/>
                  </a:cubicBezTo>
                  <a:cubicBezTo>
                    <a:pt x="29" y="5"/>
                    <a:pt x="29" y="5"/>
                    <a:pt x="29" y="5"/>
                  </a:cubicBezTo>
                  <a:cubicBezTo>
                    <a:pt x="29" y="5"/>
                    <a:pt x="29" y="5"/>
                    <a:pt x="29" y="5"/>
                  </a:cubicBezTo>
                  <a:cubicBezTo>
                    <a:pt x="29" y="4"/>
                    <a:pt x="29" y="4"/>
                    <a:pt x="30" y="4"/>
                  </a:cubicBezTo>
                  <a:cubicBezTo>
                    <a:pt x="30" y="3"/>
                    <a:pt x="30" y="3"/>
                    <a:pt x="30" y="3"/>
                  </a:cubicBezTo>
                  <a:cubicBezTo>
                    <a:pt x="31" y="3"/>
                    <a:pt x="31" y="3"/>
                    <a:pt x="31" y="3"/>
                  </a:cubicBezTo>
                  <a:cubicBezTo>
                    <a:pt x="32" y="4"/>
                    <a:pt x="32" y="4"/>
                    <a:pt x="32" y="4"/>
                  </a:cubicBezTo>
                  <a:cubicBezTo>
                    <a:pt x="32" y="4"/>
                    <a:pt x="33" y="4"/>
                    <a:pt x="33" y="5"/>
                  </a:cubicBezTo>
                  <a:cubicBezTo>
                    <a:pt x="33" y="5"/>
                    <a:pt x="33" y="5"/>
                    <a:pt x="33" y="5"/>
                  </a:cubicBezTo>
                  <a:cubicBezTo>
                    <a:pt x="33" y="6"/>
                    <a:pt x="33" y="6"/>
                    <a:pt x="33" y="6"/>
                  </a:cubicBezTo>
                  <a:cubicBezTo>
                    <a:pt x="33" y="6"/>
                    <a:pt x="33" y="6"/>
                    <a:pt x="33" y="6"/>
                  </a:cubicBezTo>
                  <a:cubicBezTo>
                    <a:pt x="33" y="7"/>
                    <a:pt x="33" y="7"/>
                    <a:pt x="33" y="7"/>
                  </a:cubicBezTo>
                  <a:cubicBezTo>
                    <a:pt x="33" y="7"/>
                    <a:pt x="33" y="7"/>
                    <a:pt x="32" y="7"/>
                  </a:cubicBezTo>
                  <a:cubicBezTo>
                    <a:pt x="32" y="7"/>
                    <a:pt x="32" y="7"/>
                    <a:pt x="32" y="7"/>
                  </a:cubicBezTo>
                  <a:cubicBezTo>
                    <a:pt x="31" y="7"/>
                    <a:pt x="31" y="7"/>
                    <a:pt x="31" y="7"/>
                  </a:cubicBezTo>
                  <a:cubicBezTo>
                    <a:pt x="31" y="6"/>
                    <a:pt x="31" y="6"/>
                    <a:pt x="31" y="6"/>
                  </a:cubicBezTo>
                  <a:cubicBezTo>
                    <a:pt x="31" y="6"/>
                    <a:pt x="31" y="6"/>
                    <a:pt x="31" y="6"/>
                  </a:cubicBezTo>
                  <a:cubicBezTo>
                    <a:pt x="31" y="6"/>
                    <a:pt x="31" y="6"/>
                    <a:pt x="31" y="6"/>
                  </a:cubicBezTo>
                  <a:cubicBezTo>
                    <a:pt x="30" y="6"/>
                    <a:pt x="30" y="6"/>
                    <a:pt x="29" y="7"/>
                  </a:cubicBezTo>
                  <a:cubicBezTo>
                    <a:pt x="29" y="7"/>
                    <a:pt x="29" y="7"/>
                    <a:pt x="29" y="7"/>
                  </a:cubicBezTo>
                  <a:cubicBezTo>
                    <a:pt x="29" y="7"/>
                    <a:pt x="29" y="7"/>
                    <a:pt x="29" y="7"/>
                  </a:cubicBezTo>
                  <a:cubicBezTo>
                    <a:pt x="28" y="7"/>
                    <a:pt x="28" y="7"/>
                    <a:pt x="28" y="7"/>
                  </a:cubicBezTo>
                  <a:cubicBezTo>
                    <a:pt x="28" y="8"/>
                    <a:pt x="28" y="8"/>
                    <a:pt x="28" y="8"/>
                  </a:cubicBezTo>
                  <a:cubicBezTo>
                    <a:pt x="27" y="8"/>
                    <a:pt x="27" y="8"/>
                    <a:pt x="27" y="8"/>
                  </a:cubicBezTo>
                  <a:cubicBezTo>
                    <a:pt x="27" y="8"/>
                    <a:pt x="27" y="8"/>
                    <a:pt x="27" y="8"/>
                  </a:cubicBezTo>
                  <a:cubicBezTo>
                    <a:pt x="27" y="9"/>
                    <a:pt x="27" y="9"/>
                    <a:pt x="27" y="9"/>
                  </a:cubicBezTo>
                  <a:cubicBezTo>
                    <a:pt x="28" y="9"/>
                    <a:pt x="28" y="9"/>
                    <a:pt x="28" y="9"/>
                  </a:cubicBezTo>
                  <a:cubicBezTo>
                    <a:pt x="28" y="9"/>
                    <a:pt x="28" y="9"/>
                    <a:pt x="28" y="9"/>
                  </a:cubicBezTo>
                  <a:cubicBezTo>
                    <a:pt x="28" y="8"/>
                    <a:pt x="28" y="8"/>
                    <a:pt x="28" y="8"/>
                  </a:cubicBezTo>
                  <a:cubicBezTo>
                    <a:pt x="28" y="8"/>
                    <a:pt x="28" y="8"/>
                    <a:pt x="28" y="8"/>
                  </a:cubicBezTo>
                  <a:cubicBezTo>
                    <a:pt x="29" y="8"/>
                    <a:pt x="29" y="8"/>
                    <a:pt x="29" y="8"/>
                  </a:cubicBezTo>
                  <a:cubicBezTo>
                    <a:pt x="29" y="8"/>
                    <a:pt x="29" y="8"/>
                    <a:pt x="29" y="8"/>
                  </a:cubicBezTo>
                  <a:cubicBezTo>
                    <a:pt x="29" y="8"/>
                    <a:pt x="30" y="8"/>
                    <a:pt x="30" y="7"/>
                  </a:cubicBezTo>
                  <a:cubicBezTo>
                    <a:pt x="31" y="7"/>
                    <a:pt x="31" y="7"/>
                    <a:pt x="31" y="7"/>
                  </a:cubicBezTo>
                  <a:cubicBezTo>
                    <a:pt x="31" y="7"/>
                    <a:pt x="31" y="7"/>
                    <a:pt x="31" y="7"/>
                  </a:cubicBezTo>
                  <a:cubicBezTo>
                    <a:pt x="31" y="8"/>
                    <a:pt x="32" y="8"/>
                    <a:pt x="32" y="8"/>
                  </a:cubicBezTo>
                  <a:cubicBezTo>
                    <a:pt x="32" y="8"/>
                    <a:pt x="32" y="8"/>
                    <a:pt x="32" y="8"/>
                  </a:cubicBezTo>
                  <a:cubicBezTo>
                    <a:pt x="33" y="8"/>
                    <a:pt x="33" y="8"/>
                    <a:pt x="34" y="7"/>
                  </a:cubicBezTo>
                  <a:cubicBezTo>
                    <a:pt x="34" y="7"/>
                    <a:pt x="34" y="7"/>
                    <a:pt x="34" y="7"/>
                  </a:cubicBezTo>
                  <a:cubicBezTo>
                    <a:pt x="34" y="7"/>
                    <a:pt x="35" y="7"/>
                    <a:pt x="35" y="7"/>
                  </a:cubicBezTo>
                  <a:cubicBezTo>
                    <a:pt x="36" y="7"/>
                    <a:pt x="37" y="8"/>
                    <a:pt x="38" y="9"/>
                  </a:cubicBezTo>
                  <a:cubicBezTo>
                    <a:pt x="39" y="10"/>
                    <a:pt x="39" y="11"/>
                    <a:pt x="38" y="12"/>
                  </a:cubicBezTo>
                  <a:cubicBezTo>
                    <a:pt x="38" y="13"/>
                    <a:pt x="38" y="13"/>
                    <a:pt x="38" y="13"/>
                  </a:cubicBezTo>
                  <a:cubicBezTo>
                    <a:pt x="38" y="13"/>
                    <a:pt x="38" y="13"/>
                    <a:pt x="38" y="13"/>
                  </a:cubicBezTo>
                  <a:cubicBezTo>
                    <a:pt x="38" y="13"/>
                    <a:pt x="38" y="13"/>
                    <a:pt x="38" y="13"/>
                  </a:cubicBezTo>
                  <a:cubicBezTo>
                    <a:pt x="37" y="13"/>
                    <a:pt x="37" y="13"/>
                    <a:pt x="37" y="13"/>
                  </a:cubicBezTo>
                  <a:cubicBezTo>
                    <a:pt x="36" y="13"/>
                    <a:pt x="36" y="13"/>
                    <a:pt x="36" y="12"/>
                  </a:cubicBezTo>
                  <a:cubicBezTo>
                    <a:pt x="36" y="12"/>
                    <a:pt x="36" y="12"/>
                    <a:pt x="36" y="12"/>
                  </a:cubicBezTo>
                  <a:cubicBezTo>
                    <a:pt x="35" y="12"/>
                    <a:pt x="35" y="12"/>
                    <a:pt x="35" y="12"/>
                  </a:cubicBezTo>
                  <a:cubicBezTo>
                    <a:pt x="35" y="12"/>
                    <a:pt x="35" y="12"/>
                    <a:pt x="35" y="12"/>
                  </a:cubicBezTo>
                  <a:cubicBezTo>
                    <a:pt x="34" y="11"/>
                    <a:pt x="34" y="11"/>
                    <a:pt x="34" y="11"/>
                  </a:cubicBezTo>
                  <a:cubicBezTo>
                    <a:pt x="34" y="11"/>
                    <a:pt x="34" y="11"/>
                    <a:pt x="34" y="11"/>
                  </a:cubicBezTo>
                  <a:cubicBezTo>
                    <a:pt x="34" y="11"/>
                    <a:pt x="34" y="11"/>
                    <a:pt x="34" y="11"/>
                  </a:cubicBezTo>
                  <a:cubicBezTo>
                    <a:pt x="34" y="12"/>
                    <a:pt x="33" y="13"/>
                    <a:pt x="33" y="13"/>
                  </a:cubicBezTo>
                  <a:cubicBezTo>
                    <a:pt x="33" y="13"/>
                    <a:pt x="32" y="13"/>
                    <a:pt x="32" y="13"/>
                  </a:cubicBezTo>
                  <a:cubicBezTo>
                    <a:pt x="32" y="13"/>
                    <a:pt x="31" y="12"/>
                    <a:pt x="31" y="12"/>
                  </a:cubicBezTo>
                  <a:cubicBezTo>
                    <a:pt x="31" y="12"/>
                    <a:pt x="31" y="12"/>
                    <a:pt x="31" y="12"/>
                  </a:cubicBezTo>
                  <a:cubicBezTo>
                    <a:pt x="30" y="12"/>
                    <a:pt x="30" y="12"/>
                    <a:pt x="29" y="12"/>
                  </a:cubicBezTo>
                  <a:cubicBezTo>
                    <a:pt x="29" y="12"/>
                    <a:pt x="29" y="12"/>
                    <a:pt x="29" y="12"/>
                  </a:cubicBezTo>
                  <a:cubicBezTo>
                    <a:pt x="28" y="11"/>
                    <a:pt x="27" y="11"/>
                    <a:pt x="27" y="10"/>
                  </a:cubicBezTo>
                  <a:cubicBezTo>
                    <a:pt x="27" y="10"/>
                    <a:pt x="27" y="10"/>
                    <a:pt x="27" y="10"/>
                  </a:cubicBezTo>
                  <a:cubicBezTo>
                    <a:pt x="27" y="11"/>
                    <a:pt x="27" y="11"/>
                    <a:pt x="27" y="11"/>
                  </a:cubicBezTo>
                  <a:cubicBezTo>
                    <a:pt x="27" y="11"/>
                    <a:pt x="27" y="11"/>
                    <a:pt x="27" y="11"/>
                  </a:cubicBezTo>
                  <a:cubicBezTo>
                    <a:pt x="27" y="11"/>
                    <a:pt x="27" y="11"/>
                    <a:pt x="27" y="11"/>
                  </a:cubicBezTo>
                  <a:cubicBezTo>
                    <a:pt x="28" y="13"/>
                    <a:pt x="28" y="13"/>
                    <a:pt x="28" y="13"/>
                  </a:cubicBezTo>
                  <a:cubicBezTo>
                    <a:pt x="27" y="13"/>
                    <a:pt x="27" y="13"/>
                    <a:pt x="27" y="13"/>
                  </a:cubicBezTo>
                  <a:cubicBezTo>
                    <a:pt x="27" y="11"/>
                    <a:pt x="27" y="11"/>
                    <a:pt x="27" y="11"/>
                  </a:cubicBezTo>
                  <a:cubicBezTo>
                    <a:pt x="26" y="10"/>
                    <a:pt x="26" y="10"/>
                    <a:pt x="26" y="10"/>
                  </a:cubicBezTo>
                  <a:cubicBezTo>
                    <a:pt x="26" y="11"/>
                    <a:pt x="26" y="11"/>
                    <a:pt x="26" y="11"/>
                  </a:cubicBezTo>
                  <a:cubicBezTo>
                    <a:pt x="27" y="13"/>
                    <a:pt x="27" y="13"/>
                    <a:pt x="27" y="13"/>
                  </a:cubicBezTo>
                  <a:cubicBezTo>
                    <a:pt x="27" y="13"/>
                    <a:pt x="27" y="13"/>
                    <a:pt x="27" y="13"/>
                  </a:cubicBezTo>
                  <a:cubicBezTo>
                    <a:pt x="27" y="13"/>
                    <a:pt x="27" y="13"/>
                    <a:pt x="27" y="13"/>
                  </a:cubicBezTo>
                  <a:cubicBezTo>
                    <a:pt x="27" y="13"/>
                    <a:pt x="27" y="13"/>
                    <a:pt x="27" y="13"/>
                  </a:cubicBezTo>
                  <a:cubicBezTo>
                    <a:pt x="27" y="13"/>
                    <a:pt x="27" y="13"/>
                    <a:pt x="27" y="13"/>
                  </a:cubicBezTo>
                  <a:cubicBezTo>
                    <a:pt x="28" y="14"/>
                    <a:pt x="29" y="14"/>
                    <a:pt x="29" y="14"/>
                  </a:cubicBezTo>
                  <a:cubicBezTo>
                    <a:pt x="29" y="14"/>
                    <a:pt x="29" y="14"/>
                    <a:pt x="29" y="14"/>
                  </a:cubicBezTo>
                  <a:cubicBezTo>
                    <a:pt x="30" y="14"/>
                    <a:pt x="30" y="14"/>
                    <a:pt x="30" y="14"/>
                  </a:cubicBezTo>
                  <a:cubicBezTo>
                    <a:pt x="31" y="14"/>
                    <a:pt x="31" y="14"/>
                    <a:pt x="32" y="14"/>
                  </a:cubicBezTo>
                  <a:cubicBezTo>
                    <a:pt x="32" y="15"/>
                    <a:pt x="32" y="15"/>
                    <a:pt x="32" y="15"/>
                  </a:cubicBezTo>
                  <a:cubicBezTo>
                    <a:pt x="33" y="15"/>
                    <a:pt x="33" y="14"/>
                    <a:pt x="34" y="14"/>
                  </a:cubicBezTo>
                  <a:cubicBezTo>
                    <a:pt x="34" y="14"/>
                    <a:pt x="34" y="14"/>
                    <a:pt x="34" y="14"/>
                  </a:cubicBezTo>
                  <a:cubicBezTo>
                    <a:pt x="34" y="14"/>
                    <a:pt x="34" y="14"/>
                    <a:pt x="34" y="14"/>
                  </a:cubicBezTo>
                  <a:cubicBezTo>
                    <a:pt x="34" y="14"/>
                    <a:pt x="34" y="14"/>
                    <a:pt x="34" y="14"/>
                  </a:cubicBezTo>
                  <a:cubicBezTo>
                    <a:pt x="34" y="14"/>
                    <a:pt x="34" y="14"/>
                    <a:pt x="34" y="14"/>
                  </a:cubicBezTo>
                  <a:cubicBezTo>
                    <a:pt x="34" y="14"/>
                    <a:pt x="34" y="14"/>
                    <a:pt x="34" y="14"/>
                  </a:cubicBezTo>
                  <a:cubicBezTo>
                    <a:pt x="35" y="14"/>
                    <a:pt x="36" y="15"/>
                    <a:pt x="36" y="15"/>
                  </a:cubicBezTo>
                  <a:cubicBezTo>
                    <a:pt x="37" y="15"/>
                    <a:pt x="37" y="15"/>
                    <a:pt x="37" y="15"/>
                  </a:cubicBezTo>
                  <a:cubicBezTo>
                    <a:pt x="37" y="15"/>
                    <a:pt x="37" y="15"/>
                    <a:pt x="37" y="15"/>
                  </a:cubicBezTo>
                  <a:cubicBezTo>
                    <a:pt x="37" y="15"/>
                    <a:pt x="37" y="15"/>
                    <a:pt x="37" y="15"/>
                  </a:cubicBezTo>
                  <a:cubicBezTo>
                    <a:pt x="37" y="15"/>
                    <a:pt x="37" y="15"/>
                    <a:pt x="37" y="15"/>
                  </a:cubicBezTo>
                  <a:cubicBezTo>
                    <a:pt x="38" y="15"/>
                    <a:pt x="38" y="15"/>
                    <a:pt x="38" y="15"/>
                  </a:cubicBezTo>
                  <a:cubicBezTo>
                    <a:pt x="38" y="15"/>
                    <a:pt x="38" y="15"/>
                    <a:pt x="38" y="15"/>
                  </a:cubicBezTo>
                  <a:cubicBezTo>
                    <a:pt x="38" y="14"/>
                    <a:pt x="38" y="14"/>
                    <a:pt x="38" y="14"/>
                  </a:cubicBezTo>
                  <a:cubicBezTo>
                    <a:pt x="38" y="14"/>
                    <a:pt x="38" y="14"/>
                    <a:pt x="38" y="14"/>
                  </a:cubicBezTo>
                  <a:cubicBezTo>
                    <a:pt x="39" y="14"/>
                    <a:pt x="39" y="14"/>
                    <a:pt x="39" y="14"/>
                  </a:cubicBezTo>
                  <a:cubicBezTo>
                    <a:pt x="39" y="14"/>
                    <a:pt x="40" y="15"/>
                    <a:pt x="41" y="16"/>
                  </a:cubicBezTo>
                  <a:cubicBezTo>
                    <a:pt x="41" y="17"/>
                    <a:pt x="41" y="18"/>
                    <a:pt x="41" y="19"/>
                  </a:cubicBezTo>
                  <a:cubicBezTo>
                    <a:pt x="41" y="20"/>
                    <a:pt x="41" y="20"/>
                    <a:pt x="41" y="20"/>
                  </a:cubicBezTo>
                  <a:cubicBezTo>
                    <a:pt x="41" y="20"/>
                    <a:pt x="41" y="20"/>
                    <a:pt x="41" y="20"/>
                  </a:cubicBezTo>
                  <a:cubicBezTo>
                    <a:pt x="40" y="20"/>
                    <a:pt x="40" y="20"/>
                    <a:pt x="40" y="20"/>
                  </a:cubicBezTo>
                  <a:cubicBezTo>
                    <a:pt x="40" y="20"/>
                    <a:pt x="40" y="20"/>
                    <a:pt x="40" y="20"/>
                  </a:cubicBezTo>
                  <a:cubicBezTo>
                    <a:pt x="40" y="20"/>
                    <a:pt x="40" y="20"/>
                    <a:pt x="40" y="20"/>
                  </a:cubicBezTo>
                  <a:cubicBezTo>
                    <a:pt x="39" y="20"/>
                    <a:pt x="39" y="20"/>
                    <a:pt x="39" y="20"/>
                  </a:cubicBezTo>
                  <a:cubicBezTo>
                    <a:pt x="38" y="20"/>
                    <a:pt x="38" y="19"/>
                    <a:pt x="38" y="19"/>
                  </a:cubicBezTo>
                  <a:cubicBezTo>
                    <a:pt x="37" y="18"/>
                    <a:pt x="37" y="18"/>
                    <a:pt x="37" y="18"/>
                  </a:cubicBezTo>
                  <a:cubicBezTo>
                    <a:pt x="37" y="19"/>
                    <a:pt x="37" y="19"/>
                    <a:pt x="37" y="19"/>
                  </a:cubicBezTo>
                  <a:cubicBezTo>
                    <a:pt x="37" y="19"/>
                    <a:pt x="36" y="19"/>
                    <a:pt x="36" y="19"/>
                  </a:cubicBezTo>
                  <a:cubicBezTo>
                    <a:pt x="36" y="19"/>
                    <a:pt x="36" y="19"/>
                    <a:pt x="36" y="19"/>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5" y="21"/>
                    <a:pt x="35" y="21"/>
                  </a:cubicBezTo>
                  <a:cubicBezTo>
                    <a:pt x="35" y="21"/>
                    <a:pt x="35" y="21"/>
                    <a:pt x="35" y="21"/>
                  </a:cubicBezTo>
                  <a:cubicBezTo>
                    <a:pt x="35" y="21"/>
                    <a:pt x="35" y="21"/>
                    <a:pt x="35" y="21"/>
                  </a:cubicBezTo>
                  <a:cubicBezTo>
                    <a:pt x="35" y="21"/>
                    <a:pt x="35" y="21"/>
                    <a:pt x="35" y="21"/>
                  </a:cubicBezTo>
                  <a:cubicBezTo>
                    <a:pt x="35" y="21"/>
                    <a:pt x="35" y="21"/>
                    <a:pt x="35" y="21"/>
                  </a:cubicBezTo>
                  <a:cubicBezTo>
                    <a:pt x="36" y="22"/>
                    <a:pt x="36" y="22"/>
                    <a:pt x="36" y="22"/>
                  </a:cubicBezTo>
                  <a:cubicBezTo>
                    <a:pt x="36" y="21"/>
                    <a:pt x="36" y="21"/>
                    <a:pt x="36" y="21"/>
                  </a:cubicBezTo>
                  <a:cubicBezTo>
                    <a:pt x="36" y="20"/>
                    <a:pt x="36" y="20"/>
                    <a:pt x="36" y="20"/>
                  </a:cubicBezTo>
                  <a:cubicBezTo>
                    <a:pt x="36" y="20"/>
                    <a:pt x="36" y="20"/>
                    <a:pt x="36" y="20"/>
                  </a:cubicBezTo>
                  <a:cubicBezTo>
                    <a:pt x="36" y="21"/>
                    <a:pt x="36" y="21"/>
                    <a:pt x="36" y="21"/>
                  </a:cubicBezTo>
                  <a:cubicBezTo>
                    <a:pt x="36" y="21"/>
                    <a:pt x="36" y="21"/>
                    <a:pt x="36" y="21"/>
                  </a:cubicBezTo>
                  <a:cubicBezTo>
                    <a:pt x="36" y="22"/>
                    <a:pt x="36" y="22"/>
                    <a:pt x="36" y="22"/>
                  </a:cubicBezTo>
                  <a:cubicBezTo>
                    <a:pt x="36" y="22"/>
                    <a:pt x="36" y="22"/>
                    <a:pt x="36" y="22"/>
                  </a:cubicBezTo>
                  <a:cubicBezTo>
                    <a:pt x="36" y="22"/>
                    <a:pt x="36" y="22"/>
                    <a:pt x="36" y="22"/>
                  </a:cubicBezTo>
                  <a:cubicBezTo>
                    <a:pt x="37" y="21"/>
                    <a:pt x="37" y="21"/>
                    <a:pt x="37" y="21"/>
                  </a:cubicBezTo>
                  <a:cubicBezTo>
                    <a:pt x="36" y="20"/>
                    <a:pt x="36" y="20"/>
                    <a:pt x="36" y="20"/>
                  </a:cubicBezTo>
                  <a:cubicBezTo>
                    <a:pt x="37" y="20"/>
                    <a:pt x="37" y="20"/>
                    <a:pt x="37" y="20"/>
                  </a:cubicBezTo>
                  <a:cubicBezTo>
                    <a:pt x="37" y="20"/>
                    <a:pt x="37" y="21"/>
                    <a:pt x="37" y="21"/>
                  </a:cubicBezTo>
                  <a:cubicBezTo>
                    <a:pt x="37" y="21"/>
                    <a:pt x="37" y="21"/>
                    <a:pt x="37" y="21"/>
                  </a:cubicBezTo>
                  <a:cubicBezTo>
                    <a:pt x="37" y="21"/>
                    <a:pt x="37" y="21"/>
                    <a:pt x="37" y="21"/>
                  </a:cubicBezTo>
                  <a:cubicBezTo>
                    <a:pt x="37" y="21"/>
                    <a:pt x="37" y="21"/>
                    <a:pt x="37" y="21"/>
                  </a:cubicBezTo>
                  <a:cubicBezTo>
                    <a:pt x="37" y="21"/>
                    <a:pt x="37" y="20"/>
                    <a:pt x="37" y="20"/>
                  </a:cubicBezTo>
                  <a:cubicBezTo>
                    <a:pt x="37" y="20"/>
                    <a:pt x="37" y="20"/>
                    <a:pt x="37" y="20"/>
                  </a:cubicBezTo>
                  <a:cubicBezTo>
                    <a:pt x="37" y="20"/>
                    <a:pt x="37" y="20"/>
                    <a:pt x="37" y="20"/>
                  </a:cubicBezTo>
                  <a:cubicBezTo>
                    <a:pt x="37" y="20"/>
                    <a:pt x="37" y="20"/>
                    <a:pt x="37" y="20"/>
                  </a:cubicBezTo>
                  <a:cubicBezTo>
                    <a:pt x="37" y="20"/>
                    <a:pt x="37" y="20"/>
                    <a:pt x="37" y="20"/>
                  </a:cubicBezTo>
                  <a:cubicBezTo>
                    <a:pt x="38" y="23"/>
                    <a:pt x="38" y="23"/>
                    <a:pt x="38" y="23"/>
                  </a:cubicBezTo>
                  <a:cubicBezTo>
                    <a:pt x="38" y="23"/>
                    <a:pt x="38" y="23"/>
                    <a:pt x="38" y="23"/>
                  </a:cubicBezTo>
                  <a:cubicBezTo>
                    <a:pt x="38" y="23"/>
                    <a:pt x="38" y="23"/>
                    <a:pt x="38" y="23"/>
                  </a:cubicBezTo>
                  <a:cubicBezTo>
                    <a:pt x="38" y="24"/>
                    <a:pt x="38" y="24"/>
                    <a:pt x="38" y="24"/>
                  </a:cubicBezTo>
                  <a:cubicBezTo>
                    <a:pt x="37" y="24"/>
                    <a:pt x="37" y="24"/>
                    <a:pt x="37" y="24"/>
                  </a:cubicBezTo>
                  <a:cubicBezTo>
                    <a:pt x="37" y="24"/>
                    <a:pt x="37" y="24"/>
                    <a:pt x="37" y="24"/>
                  </a:cubicBezTo>
                  <a:cubicBezTo>
                    <a:pt x="37" y="24"/>
                    <a:pt x="37" y="24"/>
                    <a:pt x="36" y="24"/>
                  </a:cubicBezTo>
                  <a:cubicBezTo>
                    <a:pt x="36" y="24"/>
                    <a:pt x="36" y="24"/>
                    <a:pt x="36" y="24"/>
                  </a:cubicBezTo>
                  <a:cubicBezTo>
                    <a:pt x="36" y="24"/>
                    <a:pt x="36" y="24"/>
                    <a:pt x="36" y="24"/>
                  </a:cubicBezTo>
                  <a:cubicBezTo>
                    <a:pt x="36" y="24"/>
                    <a:pt x="36" y="24"/>
                    <a:pt x="36" y="24"/>
                  </a:cubicBezTo>
                  <a:cubicBezTo>
                    <a:pt x="35" y="25"/>
                    <a:pt x="35" y="25"/>
                    <a:pt x="35" y="25"/>
                  </a:cubicBezTo>
                  <a:cubicBezTo>
                    <a:pt x="36" y="25"/>
                    <a:pt x="36" y="25"/>
                    <a:pt x="36" y="25"/>
                  </a:cubicBezTo>
                  <a:cubicBezTo>
                    <a:pt x="35" y="25"/>
                    <a:pt x="35" y="25"/>
                    <a:pt x="35" y="25"/>
                  </a:cubicBezTo>
                  <a:cubicBezTo>
                    <a:pt x="35" y="25"/>
                    <a:pt x="35" y="25"/>
                    <a:pt x="35" y="25"/>
                  </a:cubicBezTo>
                  <a:cubicBezTo>
                    <a:pt x="35" y="25"/>
                    <a:pt x="35" y="25"/>
                    <a:pt x="35" y="25"/>
                  </a:cubicBezTo>
                  <a:cubicBezTo>
                    <a:pt x="35" y="26"/>
                    <a:pt x="35" y="26"/>
                    <a:pt x="35" y="26"/>
                  </a:cubicBezTo>
                  <a:cubicBezTo>
                    <a:pt x="35" y="26"/>
                    <a:pt x="35" y="26"/>
                    <a:pt x="35" y="26"/>
                  </a:cubicBezTo>
                  <a:cubicBezTo>
                    <a:pt x="35" y="26"/>
                    <a:pt x="35" y="26"/>
                    <a:pt x="35" y="26"/>
                  </a:cubicBezTo>
                  <a:cubicBezTo>
                    <a:pt x="35" y="26"/>
                    <a:pt x="35" y="26"/>
                    <a:pt x="35" y="26"/>
                  </a:cubicBezTo>
                  <a:cubicBezTo>
                    <a:pt x="34" y="26"/>
                    <a:pt x="34" y="26"/>
                    <a:pt x="34" y="26"/>
                  </a:cubicBezTo>
                  <a:cubicBezTo>
                    <a:pt x="34" y="26"/>
                    <a:pt x="34" y="26"/>
                    <a:pt x="34" y="26"/>
                  </a:cubicBezTo>
                  <a:cubicBezTo>
                    <a:pt x="34" y="26"/>
                    <a:pt x="34" y="26"/>
                    <a:pt x="34" y="26"/>
                  </a:cubicBezTo>
                  <a:cubicBezTo>
                    <a:pt x="35" y="27"/>
                    <a:pt x="35" y="27"/>
                    <a:pt x="35" y="27"/>
                  </a:cubicBezTo>
                  <a:cubicBezTo>
                    <a:pt x="35" y="27"/>
                    <a:pt x="35" y="27"/>
                    <a:pt x="35" y="27"/>
                  </a:cubicBezTo>
                  <a:cubicBezTo>
                    <a:pt x="35" y="26"/>
                    <a:pt x="35" y="26"/>
                    <a:pt x="35" y="26"/>
                  </a:cubicBezTo>
                  <a:cubicBezTo>
                    <a:pt x="35" y="26"/>
                    <a:pt x="35" y="26"/>
                    <a:pt x="35" y="26"/>
                  </a:cubicBezTo>
                  <a:cubicBezTo>
                    <a:pt x="35" y="26"/>
                    <a:pt x="35" y="26"/>
                    <a:pt x="35" y="26"/>
                  </a:cubicBezTo>
                  <a:cubicBezTo>
                    <a:pt x="35" y="26"/>
                    <a:pt x="35" y="26"/>
                    <a:pt x="35" y="26"/>
                  </a:cubicBezTo>
                  <a:cubicBezTo>
                    <a:pt x="36" y="26"/>
                    <a:pt x="36" y="26"/>
                    <a:pt x="36" y="26"/>
                  </a:cubicBezTo>
                  <a:cubicBezTo>
                    <a:pt x="36" y="26"/>
                    <a:pt x="36" y="26"/>
                    <a:pt x="36" y="26"/>
                  </a:cubicBezTo>
                  <a:cubicBezTo>
                    <a:pt x="36" y="26"/>
                    <a:pt x="36" y="26"/>
                    <a:pt x="36" y="26"/>
                  </a:cubicBezTo>
                  <a:cubicBezTo>
                    <a:pt x="36" y="26"/>
                    <a:pt x="36" y="26"/>
                    <a:pt x="36" y="26"/>
                  </a:cubicBezTo>
                  <a:cubicBezTo>
                    <a:pt x="36" y="26"/>
                    <a:pt x="36" y="26"/>
                    <a:pt x="36" y="26"/>
                  </a:cubicBezTo>
                  <a:cubicBezTo>
                    <a:pt x="36" y="26"/>
                    <a:pt x="36" y="26"/>
                    <a:pt x="36" y="26"/>
                  </a:cubicBezTo>
                  <a:cubicBezTo>
                    <a:pt x="36" y="26"/>
                    <a:pt x="36" y="26"/>
                    <a:pt x="36" y="26"/>
                  </a:cubicBezTo>
                  <a:cubicBezTo>
                    <a:pt x="37" y="26"/>
                    <a:pt x="37" y="26"/>
                    <a:pt x="37" y="26"/>
                  </a:cubicBezTo>
                  <a:cubicBezTo>
                    <a:pt x="38" y="26"/>
                    <a:pt x="38" y="26"/>
                    <a:pt x="38" y="26"/>
                  </a:cubicBezTo>
                  <a:cubicBezTo>
                    <a:pt x="38" y="25"/>
                    <a:pt x="38" y="25"/>
                    <a:pt x="38" y="25"/>
                  </a:cubicBezTo>
                  <a:cubicBezTo>
                    <a:pt x="38" y="25"/>
                    <a:pt x="38" y="25"/>
                    <a:pt x="38" y="25"/>
                  </a:cubicBezTo>
                  <a:cubicBezTo>
                    <a:pt x="38" y="25"/>
                    <a:pt x="38" y="25"/>
                    <a:pt x="38" y="25"/>
                  </a:cubicBezTo>
                  <a:cubicBezTo>
                    <a:pt x="38" y="25"/>
                    <a:pt x="38" y="25"/>
                    <a:pt x="38" y="25"/>
                  </a:cubicBezTo>
                  <a:cubicBezTo>
                    <a:pt x="38" y="26"/>
                    <a:pt x="38" y="26"/>
                    <a:pt x="38" y="26"/>
                  </a:cubicBezTo>
                  <a:cubicBezTo>
                    <a:pt x="38" y="26"/>
                    <a:pt x="38" y="26"/>
                    <a:pt x="38" y="26"/>
                  </a:cubicBezTo>
                  <a:cubicBezTo>
                    <a:pt x="38" y="25"/>
                    <a:pt x="38" y="25"/>
                    <a:pt x="38" y="25"/>
                  </a:cubicBezTo>
                  <a:cubicBezTo>
                    <a:pt x="40" y="26"/>
                    <a:pt x="40" y="26"/>
                    <a:pt x="40" y="26"/>
                  </a:cubicBezTo>
                  <a:cubicBezTo>
                    <a:pt x="40" y="26"/>
                    <a:pt x="40" y="26"/>
                    <a:pt x="40" y="26"/>
                  </a:cubicBezTo>
                  <a:cubicBezTo>
                    <a:pt x="40" y="25"/>
                    <a:pt x="40" y="25"/>
                    <a:pt x="40" y="25"/>
                  </a:cubicBezTo>
                  <a:cubicBezTo>
                    <a:pt x="40" y="25"/>
                    <a:pt x="40" y="25"/>
                    <a:pt x="40" y="25"/>
                  </a:cubicBezTo>
                  <a:cubicBezTo>
                    <a:pt x="40" y="25"/>
                    <a:pt x="40" y="25"/>
                    <a:pt x="40" y="25"/>
                  </a:cubicBezTo>
                  <a:cubicBezTo>
                    <a:pt x="40" y="25"/>
                    <a:pt x="40" y="25"/>
                    <a:pt x="40" y="25"/>
                  </a:cubicBezTo>
                  <a:cubicBezTo>
                    <a:pt x="40" y="25"/>
                    <a:pt x="40" y="25"/>
                    <a:pt x="40" y="25"/>
                  </a:cubicBezTo>
                  <a:cubicBezTo>
                    <a:pt x="40" y="25"/>
                    <a:pt x="40" y="25"/>
                    <a:pt x="40" y="25"/>
                  </a:cubicBezTo>
                  <a:cubicBezTo>
                    <a:pt x="40" y="24"/>
                    <a:pt x="40" y="24"/>
                    <a:pt x="40" y="24"/>
                  </a:cubicBezTo>
                  <a:cubicBezTo>
                    <a:pt x="40" y="24"/>
                    <a:pt x="40" y="24"/>
                    <a:pt x="40" y="24"/>
                  </a:cubicBezTo>
                  <a:cubicBezTo>
                    <a:pt x="41" y="24"/>
                    <a:pt x="41" y="24"/>
                    <a:pt x="41" y="24"/>
                  </a:cubicBezTo>
                  <a:cubicBezTo>
                    <a:pt x="41" y="24"/>
                    <a:pt x="41" y="24"/>
                    <a:pt x="41" y="24"/>
                  </a:cubicBezTo>
                  <a:cubicBezTo>
                    <a:pt x="41" y="24"/>
                    <a:pt x="41" y="24"/>
                    <a:pt x="41" y="24"/>
                  </a:cubicBezTo>
                  <a:cubicBezTo>
                    <a:pt x="41" y="24"/>
                    <a:pt x="41" y="24"/>
                    <a:pt x="41" y="24"/>
                  </a:cubicBezTo>
                  <a:cubicBezTo>
                    <a:pt x="42" y="24"/>
                    <a:pt x="42" y="24"/>
                    <a:pt x="42" y="24"/>
                  </a:cubicBezTo>
                  <a:cubicBezTo>
                    <a:pt x="43" y="26"/>
                    <a:pt x="43" y="27"/>
                    <a:pt x="42" y="28"/>
                  </a:cubicBezTo>
                  <a:cubicBezTo>
                    <a:pt x="42" y="28"/>
                    <a:pt x="42" y="28"/>
                    <a:pt x="41" y="28"/>
                  </a:cubicBezTo>
                  <a:cubicBezTo>
                    <a:pt x="41" y="28"/>
                    <a:pt x="41" y="28"/>
                    <a:pt x="41" y="28"/>
                  </a:cubicBezTo>
                  <a:cubicBezTo>
                    <a:pt x="41" y="28"/>
                    <a:pt x="41" y="28"/>
                    <a:pt x="41" y="28"/>
                  </a:cubicBezTo>
                  <a:cubicBezTo>
                    <a:pt x="41" y="28"/>
                    <a:pt x="41" y="28"/>
                    <a:pt x="41" y="28"/>
                  </a:cubicBezTo>
                  <a:cubicBezTo>
                    <a:pt x="41" y="29"/>
                    <a:pt x="41" y="29"/>
                    <a:pt x="41" y="29"/>
                  </a:cubicBezTo>
                  <a:cubicBezTo>
                    <a:pt x="40" y="29"/>
                    <a:pt x="40" y="29"/>
                    <a:pt x="40" y="29"/>
                  </a:cubicBezTo>
                  <a:cubicBezTo>
                    <a:pt x="40" y="29"/>
                    <a:pt x="40" y="29"/>
                    <a:pt x="40" y="29"/>
                  </a:cubicBezTo>
                  <a:cubicBezTo>
                    <a:pt x="40" y="29"/>
                    <a:pt x="40" y="29"/>
                    <a:pt x="40" y="29"/>
                  </a:cubicBezTo>
                  <a:cubicBezTo>
                    <a:pt x="39" y="29"/>
                    <a:pt x="39" y="29"/>
                    <a:pt x="39" y="29"/>
                  </a:cubicBezTo>
                  <a:cubicBezTo>
                    <a:pt x="39" y="29"/>
                    <a:pt x="39" y="29"/>
                    <a:pt x="39" y="29"/>
                  </a:cubicBezTo>
                  <a:cubicBezTo>
                    <a:pt x="39" y="28"/>
                    <a:pt x="38" y="28"/>
                    <a:pt x="38" y="28"/>
                  </a:cubicBezTo>
                  <a:cubicBezTo>
                    <a:pt x="38" y="28"/>
                    <a:pt x="38" y="28"/>
                    <a:pt x="38" y="28"/>
                  </a:cubicBezTo>
                  <a:cubicBezTo>
                    <a:pt x="38" y="28"/>
                    <a:pt x="38" y="28"/>
                    <a:pt x="38" y="28"/>
                  </a:cubicBezTo>
                  <a:cubicBezTo>
                    <a:pt x="37" y="29"/>
                    <a:pt x="37" y="29"/>
                    <a:pt x="36" y="29"/>
                  </a:cubicBezTo>
                  <a:cubicBezTo>
                    <a:pt x="36" y="29"/>
                    <a:pt x="36" y="29"/>
                    <a:pt x="36" y="29"/>
                  </a:cubicBezTo>
                  <a:cubicBezTo>
                    <a:pt x="36" y="30"/>
                    <a:pt x="36" y="30"/>
                    <a:pt x="36" y="30"/>
                  </a:cubicBezTo>
                  <a:cubicBezTo>
                    <a:pt x="36" y="30"/>
                    <a:pt x="36" y="30"/>
                    <a:pt x="36" y="30"/>
                  </a:cubicBezTo>
                  <a:cubicBezTo>
                    <a:pt x="35" y="30"/>
                    <a:pt x="35" y="30"/>
                    <a:pt x="34" y="31"/>
                  </a:cubicBezTo>
                  <a:cubicBezTo>
                    <a:pt x="34" y="30"/>
                    <a:pt x="34" y="30"/>
                    <a:pt x="34" y="30"/>
                  </a:cubicBezTo>
                  <a:cubicBezTo>
                    <a:pt x="34" y="31"/>
                    <a:pt x="34" y="31"/>
                    <a:pt x="34" y="31"/>
                  </a:cubicBezTo>
                  <a:cubicBezTo>
                    <a:pt x="33" y="31"/>
                    <a:pt x="33" y="31"/>
                    <a:pt x="33" y="31"/>
                  </a:cubicBezTo>
                  <a:cubicBezTo>
                    <a:pt x="33" y="31"/>
                    <a:pt x="33" y="31"/>
                    <a:pt x="33" y="31"/>
                  </a:cubicBezTo>
                  <a:cubicBezTo>
                    <a:pt x="33" y="31"/>
                    <a:pt x="33" y="31"/>
                    <a:pt x="33" y="31"/>
                  </a:cubicBezTo>
                  <a:cubicBezTo>
                    <a:pt x="32" y="31"/>
                    <a:pt x="32" y="31"/>
                    <a:pt x="32" y="31"/>
                  </a:cubicBezTo>
                  <a:cubicBezTo>
                    <a:pt x="32" y="31"/>
                    <a:pt x="32" y="31"/>
                    <a:pt x="32" y="31"/>
                  </a:cubicBezTo>
                  <a:cubicBezTo>
                    <a:pt x="32" y="31"/>
                    <a:pt x="32" y="31"/>
                    <a:pt x="32" y="31"/>
                  </a:cubicBezTo>
                  <a:cubicBezTo>
                    <a:pt x="32" y="32"/>
                    <a:pt x="31" y="33"/>
                    <a:pt x="31" y="33"/>
                  </a:cubicBezTo>
                  <a:cubicBezTo>
                    <a:pt x="30" y="34"/>
                    <a:pt x="30" y="34"/>
                    <a:pt x="29" y="34"/>
                  </a:cubicBezTo>
                  <a:cubicBezTo>
                    <a:pt x="29" y="34"/>
                    <a:pt x="29" y="34"/>
                    <a:pt x="29" y="34"/>
                  </a:cubicBezTo>
                  <a:cubicBezTo>
                    <a:pt x="28" y="34"/>
                    <a:pt x="28" y="34"/>
                    <a:pt x="28" y="34"/>
                  </a:cubicBezTo>
                  <a:cubicBezTo>
                    <a:pt x="28" y="34"/>
                    <a:pt x="28" y="34"/>
                    <a:pt x="28" y="34"/>
                  </a:cubicBezTo>
                  <a:cubicBezTo>
                    <a:pt x="28" y="34"/>
                    <a:pt x="28" y="34"/>
                    <a:pt x="28" y="34"/>
                  </a:cubicBezTo>
                  <a:cubicBezTo>
                    <a:pt x="28" y="34"/>
                    <a:pt x="28" y="34"/>
                    <a:pt x="28" y="34"/>
                  </a:cubicBezTo>
                  <a:cubicBezTo>
                    <a:pt x="29" y="35"/>
                    <a:pt x="29" y="35"/>
                    <a:pt x="29" y="35"/>
                  </a:cubicBezTo>
                  <a:cubicBezTo>
                    <a:pt x="30" y="35"/>
                    <a:pt x="30" y="35"/>
                    <a:pt x="30" y="35"/>
                  </a:cubicBezTo>
                  <a:cubicBezTo>
                    <a:pt x="30" y="35"/>
                    <a:pt x="31" y="35"/>
                    <a:pt x="31" y="34"/>
                  </a:cubicBezTo>
                  <a:cubicBezTo>
                    <a:pt x="32" y="34"/>
                    <a:pt x="32" y="33"/>
                    <a:pt x="33" y="33"/>
                  </a:cubicBezTo>
                  <a:cubicBezTo>
                    <a:pt x="33" y="33"/>
                    <a:pt x="33" y="33"/>
                    <a:pt x="33" y="33"/>
                  </a:cubicBezTo>
                  <a:cubicBezTo>
                    <a:pt x="34" y="33"/>
                    <a:pt x="34" y="33"/>
                    <a:pt x="35" y="33"/>
                  </a:cubicBezTo>
                  <a:cubicBezTo>
                    <a:pt x="35" y="33"/>
                    <a:pt x="35" y="33"/>
                    <a:pt x="35" y="33"/>
                  </a:cubicBezTo>
                  <a:cubicBezTo>
                    <a:pt x="35" y="33"/>
                    <a:pt x="35" y="33"/>
                    <a:pt x="35" y="33"/>
                  </a:cubicBezTo>
                  <a:cubicBezTo>
                    <a:pt x="35" y="32"/>
                    <a:pt x="35" y="32"/>
                    <a:pt x="35" y="32"/>
                  </a:cubicBezTo>
                  <a:cubicBezTo>
                    <a:pt x="36" y="32"/>
                    <a:pt x="37" y="32"/>
                    <a:pt x="37" y="31"/>
                  </a:cubicBezTo>
                  <a:cubicBezTo>
                    <a:pt x="38" y="31"/>
                    <a:pt x="38" y="31"/>
                    <a:pt x="38" y="31"/>
                  </a:cubicBezTo>
                  <a:cubicBezTo>
                    <a:pt x="38" y="31"/>
                    <a:pt x="38" y="31"/>
                    <a:pt x="38" y="31"/>
                  </a:cubicBezTo>
                  <a:cubicBezTo>
                    <a:pt x="39" y="31"/>
                    <a:pt x="39" y="31"/>
                    <a:pt x="40" y="31"/>
                  </a:cubicBezTo>
                  <a:cubicBezTo>
                    <a:pt x="40" y="32"/>
                    <a:pt x="40" y="32"/>
                    <a:pt x="40" y="32"/>
                  </a:cubicBezTo>
                  <a:cubicBezTo>
                    <a:pt x="40" y="32"/>
                    <a:pt x="40" y="32"/>
                    <a:pt x="40" y="32"/>
                  </a:cubicBezTo>
                  <a:cubicBezTo>
                    <a:pt x="40" y="32"/>
                    <a:pt x="40" y="32"/>
                    <a:pt x="40" y="32"/>
                  </a:cubicBezTo>
                  <a:cubicBezTo>
                    <a:pt x="40" y="32"/>
                    <a:pt x="40" y="32"/>
                    <a:pt x="40" y="32"/>
                  </a:cubicBezTo>
                  <a:cubicBezTo>
                    <a:pt x="41" y="32"/>
                    <a:pt x="41" y="32"/>
                    <a:pt x="41" y="32"/>
                  </a:cubicBezTo>
                  <a:cubicBezTo>
                    <a:pt x="41" y="33"/>
                    <a:pt x="41" y="33"/>
                    <a:pt x="42" y="33"/>
                  </a:cubicBezTo>
                  <a:cubicBezTo>
                    <a:pt x="42" y="34"/>
                    <a:pt x="42" y="34"/>
                    <a:pt x="42" y="34"/>
                  </a:cubicBezTo>
                  <a:cubicBezTo>
                    <a:pt x="41" y="35"/>
                    <a:pt x="41" y="35"/>
                    <a:pt x="41" y="35"/>
                  </a:cubicBezTo>
                  <a:cubicBezTo>
                    <a:pt x="41" y="35"/>
                    <a:pt x="41" y="35"/>
                    <a:pt x="41" y="35"/>
                  </a:cubicBezTo>
                  <a:cubicBezTo>
                    <a:pt x="41" y="35"/>
                    <a:pt x="41" y="35"/>
                    <a:pt x="41" y="35"/>
                  </a:cubicBezTo>
                  <a:cubicBezTo>
                    <a:pt x="41" y="35"/>
                    <a:pt x="41" y="35"/>
                    <a:pt x="41" y="35"/>
                  </a:cubicBezTo>
                  <a:cubicBezTo>
                    <a:pt x="41" y="36"/>
                    <a:pt x="41" y="36"/>
                    <a:pt x="41" y="36"/>
                  </a:cubicBezTo>
                  <a:cubicBezTo>
                    <a:pt x="40" y="36"/>
                    <a:pt x="40" y="36"/>
                    <a:pt x="40" y="36"/>
                  </a:cubicBezTo>
                  <a:cubicBezTo>
                    <a:pt x="40" y="36"/>
                    <a:pt x="39" y="36"/>
                    <a:pt x="39" y="35"/>
                  </a:cubicBezTo>
                  <a:cubicBezTo>
                    <a:pt x="39" y="35"/>
                    <a:pt x="39" y="35"/>
                    <a:pt x="39" y="35"/>
                  </a:cubicBezTo>
                  <a:cubicBezTo>
                    <a:pt x="38" y="35"/>
                    <a:pt x="38" y="35"/>
                    <a:pt x="38" y="35"/>
                  </a:cubicBezTo>
                  <a:cubicBezTo>
                    <a:pt x="38" y="35"/>
                    <a:pt x="38" y="35"/>
                    <a:pt x="38" y="35"/>
                  </a:cubicBezTo>
                  <a:cubicBezTo>
                    <a:pt x="38" y="35"/>
                    <a:pt x="38" y="35"/>
                    <a:pt x="38" y="35"/>
                  </a:cubicBezTo>
                  <a:cubicBezTo>
                    <a:pt x="38" y="35"/>
                    <a:pt x="38" y="34"/>
                    <a:pt x="37" y="34"/>
                  </a:cubicBezTo>
                  <a:cubicBezTo>
                    <a:pt x="37" y="34"/>
                    <a:pt x="37" y="34"/>
                    <a:pt x="37" y="34"/>
                  </a:cubicBezTo>
                  <a:cubicBezTo>
                    <a:pt x="37" y="34"/>
                    <a:pt x="37" y="34"/>
                    <a:pt x="36" y="35"/>
                  </a:cubicBezTo>
                  <a:cubicBezTo>
                    <a:pt x="36" y="36"/>
                    <a:pt x="36" y="36"/>
                    <a:pt x="36" y="36"/>
                  </a:cubicBezTo>
                  <a:cubicBezTo>
                    <a:pt x="36" y="36"/>
                    <a:pt x="35" y="36"/>
                    <a:pt x="35" y="36"/>
                  </a:cubicBezTo>
                  <a:cubicBezTo>
                    <a:pt x="35" y="36"/>
                    <a:pt x="35" y="36"/>
                    <a:pt x="35" y="36"/>
                  </a:cubicBezTo>
                  <a:cubicBezTo>
                    <a:pt x="34" y="36"/>
                    <a:pt x="33" y="36"/>
                    <a:pt x="32" y="35"/>
                  </a:cubicBezTo>
                  <a:cubicBezTo>
                    <a:pt x="32" y="35"/>
                    <a:pt x="32" y="35"/>
                    <a:pt x="32" y="35"/>
                  </a:cubicBezTo>
                  <a:cubicBezTo>
                    <a:pt x="32" y="36"/>
                    <a:pt x="32" y="36"/>
                    <a:pt x="32" y="36"/>
                  </a:cubicBezTo>
                  <a:cubicBezTo>
                    <a:pt x="32" y="36"/>
                    <a:pt x="32" y="36"/>
                    <a:pt x="32" y="36"/>
                  </a:cubicBezTo>
                  <a:cubicBezTo>
                    <a:pt x="32" y="36"/>
                    <a:pt x="31" y="36"/>
                    <a:pt x="31" y="37"/>
                  </a:cubicBezTo>
                  <a:cubicBezTo>
                    <a:pt x="31" y="37"/>
                    <a:pt x="31" y="37"/>
                    <a:pt x="31" y="37"/>
                  </a:cubicBezTo>
                  <a:cubicBezTo>
                    <a:pt x="31" y="37"/>
                    <a:pt x="31" y="37"/>
                    <a:pt x="31" y="37"/>
                  </a:cubicBezTo>
                  <a:cubicBezTo>
                    <a:pt x="32" y="37"/>
                    <a:pt x="32" y="37"/>
                    <a:pt x="32" y="37"/>
                  </a:cubicBezTo>
                  <a:cubicBezTo>
                    <a:pt x="33" y="37"/>
                    <a:pt x="33" y="37"/>
                    <a:pt x="33" y="37"/>
                  </a:cubicBezTo>
                  <a:cubicBezTo>
                    <a:pt x="33" y="37"/>
                    <a:pt x="33" y="37"/>
                    <a:pt x="33" y="37"/>
                  </a:cubicBezTo>
                  <a:cubicBezTo>
                    <a:pt x="33" y="37"/>
                    <a:pt x="33" y="37"/>
                    <a:pt x="33" y="37"/>
                  </a:cubicBezTo>
                  <a:cubicBezTo>
                    <a:pt x="33" y="38"/>
                    <a:pt x="34" y="38"/>
                    <a:pt x="34" y="38"/>
                  </a:cubicBezTo>
                  <a:cubicBezTo>
                    <a:pt x="34" y="38"/>
                    <a:pt x="34" y="38"/>
                    <a:pt x="34" y="38"/>
                  </a:cubicBezTo>
                  <a:cubicBezTo>
                    <a:pt x="35" y="38"/>
                    <a:pt x="36" y="38"/>
                    <a:pt x="36" y="37"/>
                  </a:cubicBezTo>
                  <a:cubicBezTo>
                    <a:pt x="36" y="37"/>
                    <a:pt x="37" y="36"/>
                    <a:pt x="37" y="36"/>
                  </a:cubicBezTo>
                  <a:cubicBezTo>
                    <a:pt x="37" y="35"/>
                    <a:pt x="37" y="35"/>
                    <a:pt x="37" y="35"/>
                  </a:cubicBezTo>
                  <a:cubicBezTo>
                    <a:pt x="37" y="35"/>
                    <a:pt x="37" y="35"/>
                    <a:pt x="37" y="35"/>
                  </a:cubicBezTo>
                  <a:cubicBezTo>
                    <a:pt x="38" y="36"/>
                    <a:pt x="38" y="36"/>
                    <a:pt x="38" y="36"/>
                  </a:cubicBezTo>
                  <a:cubicBezTo>
                    <a:pt x="38" y="36"/>
                    <a:pt x="38" y="36"/>
                    <a:pt x="38" y="36"/>
                  </a:cubicBezTo>
                  <a:cubicBezTo>
                    <a:pt x="38" y="36"/>
                    <a:pt x="38" y="37"/>
                    <a:pt x="39" y="38"/>
                  </a:cubicBezTo>
                  <a:cubicBezTo>
                    <a:pt x="39" y="38"/>
                    <a:pt x="39" y="38"/>
                    <a:pt x="40" y="38"/>
                  </a:cubicBezTo>
                  <a:cubicBezTo>
                    <a:pt x="39" y="40"/>
                    <a:pt x="39" y="40"/>
                    <a:pt x="39" y="40"/>
                  </a:cubicBezTo>
                  <a:cubicBezTo>
                    <a:pt x="39" y="40"/>
                    <a:pt x="39" y="40"/>
                    <a:pt x="39" y="40"/>
                  </a:cubicBezTo>
                  <a:cubicBezTo>
                    <a:pt x="39" y="41"/>
                    <a:pt x="39" y="41"/>
                    <a:pt x="39" y="41"/>
                  </a:cubicBezTo>
                  <a:cubicBezTo>
                    <a:pt x="39" y="41"/>
                    <a:pt x="39" y="41"/>
                    <a:pt x="39" y="41"/>
                  </a:cubicBezTo>
                  <a:cubicBezTo>
                    <a:pt x="39" y="41"/>
                    <a:pt x="39" y="41"/>
                    <a:pt x="39" y="41"/>
                  </a:cubicBezTo>
                  <a:cubicBezTo>
                    <a:pt x="39" y="41"/>
                    <a:pt x="39" y="41"/>
                    <a:pt x="39" y="41"/>
                  </a:cubicBezTo>
                  <a:cubicBezTo>
                    <a:pt x="38" y="42"/>
                    <a:pt x="38" y="42"/>
                    <a:pt x="38" y="42"/>
                  </a:cubicBezTo>
                  <a:cubicBezTo>
                    <a:pt x="37" y="42"/>
                    <a:pt x="37" y="42"/>
                    <a:pt x="37" y="42"/>
                  </a:cubicBezTo>
                  <a:cubicBezTo>
                    <a:pt x="37" y="41"/>
                    <a:pt x="37" y="41"/>
                    <a:pt x="37" y="41"/>
                  </a:cubicBezTo>
                  <a:cubicBezTo>
                    <a:pt x="37" y="41"/>
                    <a:pt x="37" y="41"/>
                    <a:pt x="37" y="41"/>
                  </a:cubicBezTo>
                  <a:cubicBezTo>
                    <a:pt x="36" y="41"/>
                    <a:pt x="36" y="41"/>
                    <a:pt x="36" y="41"/>
                  </a:cubicBezTo>
                  <a:cubicBezTo>
                    <a:pt x="36" y="40"/>
                    <a:pt x="36" y="40"/>
                    <a:pt x="36" y="40"/>
                  </a:cubicBezTo>
                  <a:cubicBezTo>
                    <a:pt x="36" y="40"/>
                    <a:pt x="36" y="39"/>
                    <a:pt x="36" y="39"/>
                  </a:cubicBezTo>
                  <a:cubicBezTo>
                    <a:pt x="36" y="39"/>
                    <a:pt x="36" y="39"/>
                    <a:pt x="36" y="39"/>
                  </a:cubicBezTo>
                  <a:cubicBezTo>
                    <a:pt x="36" y="38"/>
                    <a:pt x="36" y="38"/>
                    <a:pt x="36" y="38"/>
                  </a:cubicBezTo>
                  <a:cubicBezTo>
                    <a:pt x="35" y="39"/>
                    <a:pt x="35" y="40"/>
                    <a:pt x="35" y="40"/>
                  </a:cubicBezTo>
                  <a:cubicBezTo>
                    <a:pt x="35" y="40"/>
                    <a:pt x="35" y="40"/>
                    <a:pt x="35" y="40"/>
                  </a:cubicBezTo>
                  <a:cubicBezTo>
                    <a:pt x="35" y="41"/>
                    <a:pt x="35" y="41"/>
                    <a:pt x="35" y="41"/>
                  </a:cubicBezTo>
                  <a:cubicBezTo>
                    <a:pt x="35" y="41"/>
                    <a:pt x="35" y="41"/>
                    <a:pt x="35" y="41"/>
                  </a:cubicBezTo>
                  <a:cubicBezTo>
                    <a:pt x="35" y="41"/>
                    <a:pt x="35" y="41"/>
                    <a:pt x="35" y="41"/>
                  </a:cubicBezTo>
                  <a:cubicBezTo>
                    <a:pt x="35" y="42"/>
                    <a:pt x="34" y="42"/>
                    <a:pt x="34" y="42"/>
                  </a:cubicBezTo>
                  <a:cubicBezTo>
                    <a:pt x="34" y="42"/>
                    <a:pt x="34" y="42"/>
                    <a:pt x="33" y="42"/>
                  </a:cubicBezTo>
                  <a:cubicBezTo>
                    <a:pt x="33" y="42"/>
                    <a:pt x="33" y="42"/>
                    <a:pt x="33" y="42"/>
                  </a:cubicBezTo>
                  <a:cubicBezTo>
                    <a:pt x="32" y="42"/>
                    <a:pt x="32" y="42"/>
                    <a:pt x="32" y="42"/>
                  </a:cubicBezTo>
                  <a:cubicBezTo>
                    <a:pt x="32" y="42"/>
                    <a:pt x="32" y="42"/>
                    <a:pt x="32" y="42"/>
                  </a:cubicBezTo>
                  <a:cubicBezTo>
                    <a:pt x="33" y="43"/>
                    <a:pt x="33" y="43"/>
                    <a:pt x="33" y="43"/>
                  </a:cubicBezTo>
                  <a:cubicBezTo>
                    <a:pt x="34" y="43"/>
                    <a:pt x="34" y="43"/>
                    <a:pt x="34" y="43"/>
                  </a:cubicBezTo>
                  <a:cubicBezTo>
                    <a:pt x="34" y="43"/>
                    <a:pt x="34" y="43"/>
                    <a:pt x="34" y="43"/>
                  </a:cubicBezTo>
                  <a:cubicBezTo>
                    <a:pt x="34" y="43"/>
                    <a:pt x="34" y="43"/>
                    <a:pt x="34" y="43"/>
                  </a:cubicBezTo>
                  <a:cubicBezTo>
                    <a:pt x="35" y="44"/>
                    <a:pt x="35" y="44"/>
                    <a:pt x="35" y="44"/>
                  </a:cubicBezTo>
                  <a:cubicBezTo>
                    <a:pt x="35" y="44"/>
                    <a:pt x="35" y="45"/>
                    <a:pt x="35" y="45"/>
                  </a:cubicBezTo>
                  <a:cubicBezTo>
                    <a:pt x="34" y="45"/>
                    <a:pt x="34" y="45"/>
                    <a:pt x="34" y="45"/>
                  </a:cubicBezTo>
                  <a:cubicBezTo>
                    <a:pt x="34" y="45"/>
                    <a:pt x="34" y="45"/>
                    <a:pt x="34" y="45"/>
                  </a:cubicBezTo>
                  <a:cubicBezTo>
                    <a:pt x="34" y="45"/>
                    <a:pt x="34" y="45"/>
                    <a:pt x="34" y="45"/>
                  </a:cubicBezTo>
                  <a:cubicBezTo>
                    <a:pt x="33" y="45"/>
                    <a:pt x="33" y="45"/>
                    <a:pt x="33" y="45"/>
                  </a:cubicBezTo>
                  <a:cubicBezTo>
                    <a:pt x="33" y="45"/>
                    <a:pt x="33" y="45"/>
                    <a:pt x="33" y="45"/>
                  </a:cubicBezTo>
                  <a:cubicBezTo>
                    <a:pt x="33" y="45"/>
                    <a:pt x="33" y="45"/>
                    <a:pt x="33" y="45"/>
                  </a:cubicBezTo>
                  <a:cubicBezTo>
                    <a:pt x="33" y="44"/>
                    <a:pt x="33" y="44"/>
                    <a:pt x="33" y="44"/>
                  </a:cubicBezTo>
                  <a:cubicBezTo>
                    <a:pt x="32" y="44"/>
                    <a:pt x="32" y="44"/>
                    <a:pt x="32" y="44"/>
                  </a:cubicBezTo>
                  <a:cubicBezTo>
                    <a:pt x="32" y="44"/>
                    <a:pt x="32" y="44"/>
                    <a:pt x="32" y="44"/>
                  </a:cubicBezTo>
                  <a:cubicBezTo>
                    <a:pt x="32" y="44"/>
                    <a:pt x="32" y="44"/>
                    <a:pt x="32" y="44"/>
                  </a:cubicBezTo>
                  <a:cubicBezTo>
                    <a:pt x="31" y="44"/>
                    <a:pt x="31" y="44"/>
                    <a:pt x="31" y="44"/>
                  </a:cubicBezTo>
                  <a:cubicBezTo>
                    <a:pt x="31" y="43"/>
                    <a:pt x="31" y="43"/>
                    <a:pt x="31" y="43"/>
                  </a:cubicBezTo>
                  <a:cubicBezTo>
                    <a:pt x="31" y="43"/>
                    <a:pt x="31" y="44"/>
                    <a:pt x="30" y="44"/>
                  </a:cubicBezTo>
                  <a:cubicBezTo>
                    <a:pt x="30" y="44"/>
                    <a:pt x="30" y="43"/>
                    <a:pt x="30" y="43"/>
                  </a:cubicBezTo>
                  <a:cubicBezTo>
                    <a:pt x="29" y="43"/>
                    <a:pt x="29" y="43"/>
                    <a:pt x="29" y="43"/>
                  </a:cubicBezTo>
                  <a:cubicBezTo>
                    <a:pt x="29" y="43"/>
                    <a:pt x="29" y="43"/>
                    <a:pt x="29" y="43"/>
                  </a:cubicBezTo>
                  <a:cubicBezTo>
                    <a:pt x="30" y="43"/>
                    <a:pt x="30" y="43"/>
                    <a:pt x="30" y="43"/>
                  </a:cubicBezTo>
                  <a:cubicBezTo>
                    <a:pt x="30" y="43"/>
                    <a:pt x="30" y="43"/>
                    <a:pt x="30" y="43"/>
                  </a:cubicBezTo>
                  <a:cubicBezTo>
                    <a:pt x="30" y="43"/>
                    <a:pt x="30" y="43"/>
                    <a:pt x="30" y="43"/>
                  </a:cubicBezTo>
                  <a:cubicBezTo>
                    <a:pt x="31" y="42"/>
                    <a:pt x="32" y="40"/>
                    <a:pt x="32" y="39"/>
                  </a:cubicBezTo>
                  <a:cubicBezTo>
                    <a:pt x="31" y="38"/>
                    <a:pt x="31" y="38"/>
                    <a:pt x="31" y="38"/>
                  </a:cubicBezTo>
                  <a:cubicBezTo>
                    <a:pt x="31" y="38"/>
                    <a:pt x="31" y="38"/>
                    <a:pt x="31" y="38"/>
                  </a:cubicBezTo>
                  <a:cubicBezTo>
                    <a:pt x="30" y="37"/>
                    <a:pt x="30" y="37"/>
                    <a:pt x="30" y="37"/>
                  </a:cubicBezTo>
                  <a:cubicBezTo>
                    <a:pt x="30" y="37"/>
                    <a:pt x="30" y="37"/>
                    <a:pt x="30" y="37"/>
                  </a:cubicBezTo>
                  <a:cubicBezTo>
                    <a:pt x="30" y="37"/>
                    <a:pt x="30" y="37"/>
                    <a:pt x="30" y="37"/>
                  </a:cubicBezTo>
                  <a:cubicBezTo>
                    <a:pt x="31" y="39"/>
                    <a:pt x="31" y="39"/>
                    <a:pt x="31" y="39"/>
                  </a:cubicBezTo>
                  <a:cubicBezTo>
                    <a:pt x="31" y="39"/>
                    <a:pt x="31" y="39"/>
                    <a:pt x="31" y="39"/>
                  </a:cubicBezTo>
                  <a:cubicBezTo>
                    <a:pt x="30" y="38"/>
                    <a:pt x="30" y="38"/>
                    <a:pt x="30" y="38"/>
                  </a:cubicBezTo>
                  <a:cubicBezTo>
                    <a:pt x="30" y="38"/>
                    <a:pt x="30" y="38"/>
                    <a:pt x="30" y="38"/>
                  </a:cubicBezTo>
                  <a:cubicBezTo>
                    <a:pt x="30" y="38"/>
                    <a:pt x="30" y="38"/>
                    <a:pt x="30" y="38"/>
                  </a:cubicBezTo>
                  <a:cubicBezTo>
                    <a:pt x="31" y="40"/>
                    <a:pt x="31" y="40"/>
                    <a:pt x="31" y="40"/>
                  </a:cubicBezTo>
                  <a:cubicBezTo>
                    <a:pt x="31" y="41"/>
                    <a:pt x="31" y="41"/>
                    <a:pt x="31" y="41"/>
                  </a:cubicBezTo>
                  <a:cubicBezTo>
                    <a:pt x="30" y="39"/>
                    <a:pt x="30" y="39"/>
                    <a:pt x="30" y="39"/>
                  </a:cubicBezTo>
                  <a:cubicBezTo>
                    <a:pt x="30" y="39"/>
                    <a:pt x="30" y="39"/>
                    <a:pt x="30" y="39"/>
                  </a:cubicBezTo>
                  <a:cubicBezTo>
                    <a:pt x="30" y="40"/>
                    <a:pt x="30" y="40"/>
                    <a:pt x="30" y="40"/>
                  </a:cubicBezTo>
                  <a:cubicBezTo>
                    <a:pt x="30" y="41"/>
                    <a:pt x="30" y="41"/>
                    <a:pt x="30" y="41"/>
                  </a:cubicBezTo>
                  <a:cubicBezTo>
                    <a:pt x="30" y="42"/>
                    <a:pt x="30" y="42"/>
                    <a:pt x="30" y="42"/>
                  </a:cubicBezTo>
                  <a:cubicBezTo>
                    <a:pt x="30" y="41"/>
                    <a:pt x="29" y="41"/>
                    <a:pt x="29" y="41"/>
                  </a:cubicBezTo>
                  <a:cubicBezTo>
                    <a:pt x="29" y="41"/>
                    <a:pt x="29" y="41"/>
                    <a:pt x="29" y="41"/>
                  </a:cubicBezTo>
                  <a:cubicBezTo>
                    <a:pt x="29" y="41"/>
                    <a:pt x="29" y="41"/>
                    <a:pt x="29" y="41"/>
                  </a:cubicBezTo>
                  <a:cubicBezTo>
                    <a:pt x="29" y="42"/>
                    <a:pt x="29" y="42"/>
                    <a:pt x="29" y="42"/>
                  </a:cubicBezTo>
                  <a:cubicBezTo>
                    <a:pt x="29" y="42"/>
                    <a:pt x="29" y="42"/>
                    <a:pt x="29" y="42"/>
                  </a:cubicBezTo>
                  <a:cubicBezTo>
                    <a:pt x="29" y="42"/>
                    <a:pt x="29" y="42"/>
                    <a:pt x="29" y="42"/>
                  </a:cubicBezTo>
                  <a:cubicBezTo>
                    <a:pt x="29" y="42"/>
                    <a:pt x="29" y="42"/>
                    <a:pt x="29" y="42"/>
                  </a:cubicBezTo>
                  <a:cubicBezTo>
                    <a:pt x="28" y="43"/>
                    <a:pt x="29" y="44"/>
                    <a:pt x="30" y="44"/>
                  </a:cubicBezTo>
                  <a:cubicBezTo>
                    <a:pt x="30" y="44"/>
                    <a:pt x="30" y="44"/>
                    <a:pt x="30" y="44"/>
                  </a:cubicBezTo>
                  <a:cubicBezTo>
                    <a:pt x="30" y="44"/>
                    <a:pt x="31" y="44"/>
                    <a:pt x="31" y="44"/>
                  </a:cubicBezTo>
                  <a:cubicBezTo>
                    <a:pt x="31" y="45"/>
                    <a:pt x="31" y="45"/>
                    <a:pt x="31" y="45"/>
                  </a:cubicBezTo>
                  <a:cubicBezTo>
                    <a:pt x="31" y="46"/>
                    <a:pt x="31" y="46"/>
                    <a:pt x="31" y="46"/>
                  </a:cubicBezTo>
                  <a:cubicBezTo>
                    <a:pt x="32" y="46"/>
                    <a:pt x="32" y="46"/>
                    <a:pt x="32" y="46"/>
                  </a:cubicBezTo>
                  <a:cubicBezTo>
                    <a:pt x="33" y="47"/>
                    <a:pt x="33" y="47"/>
                    <a:pt x="33" y="47"/>
                  </a:cubicBezTo>
                  <a:cubicBezTo>
                    <a:pt x="33" y="47"/>
                    <a:pt x="33" y="47"/>
                    <a:pt x="33" y="47"/>
                  </a:cubicBezTo>
                  <a:cubicBezTo>
                    <a:pt x="32" y="48"/>
                    <a:pt x="30" y="49"/>
                    <a:pt x="28" y="49"/>
                  </a:cubicBezTo>
                  <a:cubicBezTo>
                    <a:pt x="28" y="50"/>
                    <a:pt x="28" y="50"/>
                    <a:pt x="28" y="50"/>
                  </a:cubicBezTo>
                  <a:cubicBezTo>
                    <a:pt x="28" y="49"/>
                    <a:pt x="28" y="49"/>
                    <a:pt x="28" y="49"/>
                  </a:cubicBezTo>
                  <a:cubicBezTo>
                    <a:pt x="28" y="49"/>
                    <a:pt x="28" y="49"/>
                    <a:pt x="28" y="49"/>
                  </a:cubicBezTo>
                  <a:cubicBezTo>
                    <a:pt x="28" y="49"/>
                    <a:pt x="27" y="49"/>
                    <a:pt x="27" y="49"/>
                  </a:cubicBezTo>
                  <a:cubicBezTo>
                    <a:pt x="27" y="49"/>
                    <a:pt x="27" y="49"/>
                    <a:pt x="27" y="49"/>
                  </a:cubicBezTo>
                  <a:cubicBezTo>
                    <a:pt x="26" y="48"/>
                    <a:pt x="26" y="47"/>
                    <a:pt x="25" y="46"/>
                  </a:cubicBezTo>
                  <a:cubicBezTo>
                    <a:pt x="26" y="46"/>
                    <a:pt x="26" y="46"/>
                    <a:pt x="26" y="46"/>
                  </a:cubicBezTo>
                  <a:cubicBezTo>
                    <a:pt x="26" y="46"/>
                    <a:pt x="26" y="46"/>
                    <a:pt x="26" y="46"/>
                  </a:cubicBezTo>
                  <a:cubicBezTo>
                    <a:pt x="25" y="46"/>
                    <a:pt x="25" y="46"/>
                    <a:pt x="25" y="46"/>
                  </a:cubicBezTo>
                  <a:cubicBezTo>
                    <a:pt x="26" y="45"/>
                    <a:pt x="26" y="45"/>
                    <a:pt x="26" y="45"/>
                  </a:cubicBezTo>
                  <a:cubicBezTo>
                    <a:pt x="26" y="45"/>
                    <a:pt x="26" y="45"/>
                    <a:pt x="26" y="45"/>
                  </a:cubicBezTo>
                  <a:cubicBezTo>
                    <a:pt x="26" y="45"/>
                    <a:pt x="26" y="45"/>
                    <a:pt x="26" y="45"/>
                  </a:cubicBezTo>
                  <a:cubicBezTo>
                    <a:pt x="26" y="45"/>
                    <a:pt x="26" y="45"/>
                    <a:pt x="26" y="45"/>
                  </a:cubicBezTo>
                  <a:cubicBezTo>
                    <a:pt x="26" y="45"/>
                    <a:pt x="26" y="45"/>
                    <a:pt x="26" y="45"/>
                  </a:cubicBezTo>
                  <a:cubicBezTo>
                    <a:pt x="26" y="45"/>
                    <a:pt x="26" y="44"/>
                    <a:pt x="26" y="44"/>
                  </a:cubicBezTo>
                  <a:cubicBezTo>
                    <a:pt x="27" y="44"/>
                    <a:pt x="27" y="44"/>
                    <a:pt x="27" y="44"/>
                  </a:cubicBezTo>
                  <a:cubicBezTo>
                    <a:pt x="26" y="43"/>
                    <a:pt x="26" y="43"/>
                    <a:pt x="26" y="43"/>
                  </a:cubicBezTo>
                  <a:cubicBezTo>
                    <a:pt x="25" y="43"/>
                    <a:pt x="25" y="43"/>
                    <a:pt x="25" y="43"/>
                  </a:cubicBezTo>
                  <a:cubicBezTo>
                    <a:pt x="25" y="42"/>
                    <a:pt x="25" y="42"/>
                    <a:pt x="25" y="42"/>
                  </a:cubicBezTo>
                  <a:cubicBezTo>
                    <a:pt x="25" y="42"/>
                    <a:pt x="25" y="41"/>
                    <a:pt x="26" y="41"/>
                  </a:cubicBezTo>
                  <a:cubicBezTo>
                    <a:pt x="27" y="40"/>
                    <a:pt x="27" y="40"/>
                    <a:pt x="27" y="40"/>
                  </a:cubicBezTo>
                  <a:cubicBezTo>
                    <a:pt x="27" y="39"/>
                    <a:pt x="27" y="39"/>
                    <a:pt x="27" y="39"/>
                  </a:cubicBezTo>
                  <a:cubicBezTo>
                    <a:pt x="26" y="39"/>
                    <a:pt x="26" y="39"/>
                    <a:pt x="26" y="39"/>
                  </a:cubicBezTo>
                  <a:cubicBezTo>
                    <a:pt x="25" y="40"/>
                    <a:pt x="25" y="40"/>
                    <a:pt x="25" y="40"/>
                  </a:cubicBezTo>
                  <a:cubicBezTo>
                    <a:pt x="25" y="40"/>
                    <a:pt x="25" y="40"/>
                    <a:pt x="25" y="40"/>
                  </a:cubicBezTo>
                  <a:cubicBezTo>
                    <a:pt x="24" y="41"/>
                    <a:pt x="24" y="42"/>
                    <a:pt x="24" y="43"/>
                  </a:cubicBezTo>
                  <a:cubicBezTo>
                    <a:pt x="25" y="43"/>
                    <a:pt x="25" y="43"/>
                    <a:pt x="25" y="43"/>
                  </a:cubicBezTo>
                  <a:cubicBezTo>
                    <a:pt x="25" y="44"/>
                    <a:pt x="25" y="44"/>
                    <a:pt x="25" y="44"/>
                  </a:cubicBezTo>
                  <a:cubicBezTo>
                    <a:pt x="25" y="44"/>
                    <a:pt x="25" y="44"/>
                    <a:pt x="25" y="44"/>
                  </a:cubicBezTo>
                  <a:cubicBezTo>
                    <a:pt x="24" y="42"/>
                    <a:pt x="24" y="42"/>
                    <a:pt x="24" y="42"/>
                  </a:cubicBezTo>
                  <a:cubicBezTo>
                    <a:pt x="24" y="42"/>
                    <a:pt x="24" y="42"/>
                    <a:pt x="24" y="42"/>
                  </a:cubicBezTo>
                  <a:cubicBezTo>
                    <a:pt x="24" y="43"/>
                    <a:pt x="24" y="43"/>
                    <a:pt x="24" y="43"/>
                  </a:cubicBezTo>
                  <a:cubicBezTo>
                    <a:pt x="25" y="45"/>
                    <a:pt x="25" y="45"/>
                    <a:pt x="25" y="45"/>
                  </a:cubicBezTo>
                  <a:cubicBezTo>
                    <a:pt x="25" y="45"/>
                    <a:pt x="25" y="45"/>
                    <a:pt x="25" y="45"/>
                  </a:cubicBezTo>
                  <a:cubicBezTo>
                    <a:pt x="24" y="44"/>
                    <a:pt x="24" y="44"/>
                    <a:pt x="24" y="43"/>
                  </a:cubicBezTo>
                  <a:cubicBezTo>
                    <a:pt x="24" y="43"/>
                    <a:pt x="24" y="43"/>
                    <a:pt x="24" y="43"/>
                  </a:cubicBezTo>
                  <a:cubicBezTo>
                    <a:pt x="23" y="43"/>
                    <a:pt x="23" y="43"/>
                    <a:pt x="23" y="43"/>
                  </a:cubicBezTo>
                  <a:cubicBezTo>
                    <a:pt x="24" y="44"/>
                    <a:pt x="24" y="45"/>
                    <a:pt x="25" y="46"/>
                  </a:cubicBezTo>
                  <a:cubicBezTo>
                    <a:pt x="25" y="46"/>
                    <a:pt x="25" y="46"/>
                    <a:pt x="25" y="46"/>
                  </a:cubicBezTo>
                  <a:cubicBezTo>
                    <a:pt x="24" y="46"/>
                    <a:pt x="24" y="45"/>
                    <a:pt x="24" y="44"/>
                  </a:cubicBezTo>
                  <a:cubicBezTo>
                    <a:pt x="23" y="44"/>
                    <a:pt x="23" y="44"/>
                    <a:pt x="23" y="44"/>
                  </a:cubicBezTo>
                  <a:cubicBezTo>
                    <a:pt x="23" y="44"/>
                    <a:pt x="23" y="43"/>
                    <a:pt x="23" y="42"/>
                  </a:cubicBezTo>
                  <a:cubicBezTo>
                    <a:pt x="23" y="42"/>
                    <a:pt x="23" y="42"/>
                    <a:pt x="23" y="42"/>
                  </a:cubicBezTo>
                  <a:cubicBezTo>
                    <a:pt x="23" y="42"/>
                    <a:pt x="23" y="42"/>
                    <a:pt x="23" y="42"/>
                  </a:cubicBezTo>
                  <a:cubicBezTo>
                    <a:pt x="23" y="41"/>
                    <a:pt x="23" y="39"/>
                    <a:pt x="24" y="38"/>
                  </a:cubicBezTo>
                  <a:cubicBezTo>
                    <a:pt x="24" y="38"/>
                    <a:pt x="24" y="38"/>
                    <a:pt x="24" y="38"/>
                  </a:cubicBezTo>
                  <a:cubicBezTo>
                    <a:pt x="24" y="38"/>
                    <a:pt x="24" y="38"/>
                    <a:pt x="24" y="38"/>
                  </a:cubicBezTo>
                  <a:cubicBezTo>
                    <a:pt x="24" y="38"/>
                    <a:pt x="24" y="38"/>
                    <a:pt x="24" y="38"/>
                  </a:cubicBezTo>
                  <a:cubicBezTo>
                    <a:pt x="24" y="37"/>
                    <a:pt x="25" y="37"/>
                    <a:pt x="25" y="37"/>
                  </a:cubicBezTo>
                  <a:cubicBezTo>
                    <a:pt x="25" y="37"/>
                    <a:pt x="25" y="37"/>
                    <a:pt x="25" y="37"/>
                  </a:cubicBezTo>
                  <a:cubicBezTo>
                    <a:pt x="26" y="36"/>
                    <a:pt x="26" y="36"/>
                    <a:pt x="26" y="36"/>
                  </a:cubicBezTo>
                  <a:cubicBezTo>
                    <a:pt x="25" y="36"/>
                    <a:pt x="25" y="36"/>
                    <a:pt x="25" y="36"/>
                  </a:cubicBezTo>
                  <a:cubicBezTo>
                    <a:pt x="25" y="36"/>
                    <a:pt x="25" y="36"/>
                    <a:pt x="25" y="36"/>
                  </a:cubicBezTo>
                  <a:cubicBezTo>
                    <a:pt x="25" y="36"/>
                    <a:pt x="24" y="36"/>
                    <a:pt x="24" y="36"/>
                  </a:cubicBezTo>
                  <a:cubicBezTo>
                    <a:pt x="24" y="35"/>
                    <a:pt x="23" y="34"/>
                    <a:pt x="23" y="34"/>
                  </a:cubicBezTo>
                  <a:cubicBezTo>
                    <a:pt x="24" y="33"/>
                    <a:pt x="24" y="33"/>
                    <a:pt x="24" y="33"/>
                  </a:cubicBezTo>
                  <a:cubicBezTo>
                    <a:pt x="24" y="33"/>
                    <a:pt x="24" y="33"/>
                    <a:pt x="24" y="33"/>
                  </a:cubicBezTo>
                  <a:cubicBezTo>
                    <a:pt x="24" y="33"/>
                    <a:pt x="24" y="33"/>
                    <a:pt x="24" y="33"/>
                  </a:cubicBezTo>
                  <a:cubicBezTo>
                    <a:pt x="24" y="33"/>
                    <a:pt x="24" y="33"/>
                    <a:pt x="24" y="33"/>
                  </a:cubicBezTo>
                  <a:cubicBezTo>
                    <a:pt x="24" y="33"/>
                    <a:pt x="24" y="33"/>
                    <a:pt x="24" y="33"/>
                  </a:cubicBezTo>
                  <a:cubicBezTo>
                    <a:pt x="24" y="33"/>
                    <a:pt x="24" y="33"/>
                    <a:pt x="24" y="33"/>
                  </a:cubicBezTo>
                  <a:cubicBezTo>
                    <a:pt x="24" y="32"/>
                    <a:pt x="24" y="32"/>
                    <a:pt x="24" y="32"/>
                  </a:cubicBezTo>
                  <a:cubicBezTo>
                    <a:pt x="24" y="33"/>
                    <a:pt x="24" y="33"/>
                    <a:pt x="24" y="33"/>
                  </a:cubicBezTo>
                  <a:cubicBezTo>
                    <a:pt x="24" y="33"/>
                    <a:pt x="24" y="33"/>
                    <a:pt x="24" y="33"/>
                  </a:cubicBezTo>
                  <a:cubicBezTo>
                    <a:pt x="24" y="32"/>
                    <a:pt x="24" y="32"/>
                    <a:pt x="24" y="32"/>
                  </a:cubicBezTo>
                  <a:cubicBezTo>
                    <a:pt x="24" y="32"/>
                    <a:pt x="24" y="32"/>
                    <a:pt x="24" y="32"/>
                  </a:cubicBezTo>
                  <a:cubicBezTo>
                    <a:pt x="24" y="32"/>
                    <a:pt x="24" y="32"/>
                    <a:pt x="24" y="32"/>
                  </a:cubicBezTo>
                  <a:cubicBezTo>
                    <a:pt x="25" y="32"/>
                    <a:pt x="25" y="32"/>
                    <a:pt x="25" y="32"/>
                  </a:cubicBezTo>
                  <a:cubicBezTo>
                    <a:pt x="25" y="32"/>
                    <a:pt x="25" y="32"/>
                    <a:pt x="25" y="32"/>
                  </a:cubicBezTo>
                  <a:cubicBezTo>
                    <a:pt x="25" y="31"/>
                    <a:pt x="25" y="31"/>
                    <a:pt x="25" y="31"/>
                  </a:cubicBezTo>
                  <a:cubicBezTo>
                    <a:pt x="25" y="31"/>
                    <a:pt x="25" y="31"/>
                    <a:pt x="25" y="31"/>
                  </a:cubicBezTo>
                  <a:cubicBezTo>
                    <a:pt x="26" y="31"/>
                    <a:pt x="26" y="31"/>
                    <a:pt x="26" y="31"/>
                  </a:cubicBezTo>
                  <a:cubicBezTo>
                    <a:pt x="26" y="30"/>
                    <a:pt x="26" y="30"/>
                    <a:pt x="26" y="30"/>
                  </a:cubicBezTo>
                  <a:cubicBezTo>
                    <a:pt x="26" y="30"/>
                    <a:pt x="26" y="30"/>
                    <a:pt x="26" y="30"/>
                  </a:cubicBezTo>
                  <a:cubicBezTo>
                    <a:pt x="27" y="30"/>
                    <a:pt x="27" y="29"/>
                    <a:pt x="27" y="29"/>
                  </a:cubicBezTo>
                  <a:cubicBezTo>
                    <a:pt x="28" y="29"/>
                    <a:pt x="28" y="29"/>
                    <a:pt x="29" y="29"/>
                  </a:cubicBezTo>
                  <a:cubicBezTo>
                    <a:pt x="29" y="29"/>
                    <a:pt x="30" y="29"/>
                    <a:pt x="30" y="29"/>
                  </a:cubicBezTo>
                  <a:cubicBezTo>
                    <a:pt x="30" y="29"/>
                    <a:pt x="30" y="29"/>
                    <a:pt x="30" y="29"/>
                  </a:cubicBezTo>
                  <a:cubicBezTo>
                    <a:pt x="30" y="29"/>
                    <a:pt x="30" y="29"/>
                    <a:pt x="30" y="29"/>
                  </a:cubicBezTo>
                  <a:cubicBezTo>
                    <a:pt x="30" y="29"/>
                    <a:pt x="30" y="29"/>
                    <a:pt x="30" y="29"/>
                  </a:cubicBezTo>
                  <a:cubicBezTo>
                    <a:pt x="30" y="29"/>
                    <a:pt x="30" y="29"/>
                    <a:pt x="30" y="29"/>
                  </a:cubicBezTo>
                  <a:cubicBezTo>
                    <a:pt x="31" y="29"/>
                    <a:pt x="31" y="29"/>
                    <a:pt x="31" y="29"/>
                  </a:cubicBezTo>
                  <a:cubicBezTo>
                    <a:pt x="31" y="29"/>
                    <a:pt x="31" y="29"/>
                    <a:pt x="31" y="29"/>
                  </a:cubicBezTo>
                  <a:cubicBezTo>
                    <a:pt x="31" y="28"/>
                    <a:pt x="31" y="28"/>
                    <a:pt x="31" y="28"/>
                  </a:cubicBezTo>
                  <a:cubicBezTo>
                    <a:pt x="31" y="28"/>
                    <a:pt x="31" y="28"/>
                    <a:pt x="31" y="28"/>
                  </a:cubicBezTo>
                  <a:cubicBezTo>
                    <a:pt x="31" y="28"/>
                    <a:pt x="31" y="28"/>
                    <a:pt x="31" y="28"/>
                  </a:cubicBezTo>
                  <a:cubicBezTo>
                    <a:pt x="31" y="27"/>
                    <a:pt x="31" y="27"/>
                    <a:pt x="31" y="27"/>
                  </a:cubicBezTo>
                  <a:cubicBezTo>
                    <a:pt x="31" y="27"/>
                    <a:pt x="32" y="27"/>
                    <a:pt x="31" y="26"/>
                  </a:cubicBezTo>
                  <a:cubicBezTo>
                    <a:pt x="32" y="26"/>
                    <a:pt x="32" y="26"/>
                    <a:pt x="33" y="26"/>
                  </a:cubicBezTo>
                  <a:cubicBezTo>
                    <a:pt x="33" y="26"/>
                    <a:pt x="33" y="26"/>
                    <a:pt x="33" y="26"/>
                  </a:cubicBezTo>
                  <a:cubicBezTo>
                    <a:pt x="33" y="26"/>
                    <a:pt x="33" y="26"/>
                    <a:pt x="33" y="26"/>
                  </a:cubicBezTo>
                  <a:cubicBezTo>
                    <a:pt x="33" y="26"/>
                    <a:pt x="33" y="26"/>
                    <a:pt x="33" y="26"/>
                  </a:cubicBezTo>
                  <a:cubicBezTo>
                    <a:pt x="33" y="26"/>
                    <a:pt x="34" y="26"/>
                    <a:pt x="34" y="25"/>
                  </a:cubicBezTo>
                  <a:cubicBezTo>
                    <a:pt x="35" y="25"/>
                    <a:pt x="35" y="23"/>
                    <a:pt x="35" y="22"/>
                  </a:cubicBezTo>
                  <a:cubicBezTo>
                    <a:pt x="34" y="22"/>
                    <a:pt x="34" y="22"/>
                    <a:pt x="34" y="22"/>
                  </a:cubicBezTo>
                  <a:cubicBezTo>
                    <a:pt x="34" y="22"/>
                    <a:pt x="34" y="22"/>
                    <a:pt x="34" y="22"/>
                  </a:cubicBezTo>
                  <a:cubicBezTo>
                    <a:pt x="34" y="23"/>
                    <a:pt x="34" y="24"/>
                    <a:pt x="34" y="25"/>
                  </a:cubicBezTo>
                  <a:cubicBezTo>
                    <a:pt x="34" y="24"/>
                    <a:pt x="34" y="24"/>
                    <a:pt x="34" y="24"/>
                  </a:cubicBezTo>
                  <a:cubicBezTo>
                    <a:pt x="34" y="24"/>
                    <a:pt x="34" y="24"/>
                    <a:pt x="34" y="24"/>
                  </a:cubicBezTo>
                  <a:cubicBezTo>
                    <a:pt x="34" y="24"/>
                    <a:pt x="34" y="24"/>
                    <a:pt x="34" y="24"/>
                  </a:cubicBezTo>
                  <a:cubicBezTo>
                    <a:pt x="34" y="23"/>
                    <a:pt x="34" y="22"/>
                    <a:pt x="34" y="22"/>
                  </a:cubicBezTo>
                  <a:cubicBezTo>
                    <a:pt x="33" y="22"/>
                    <a:pt x="33" y="22"/>
                    <a:pt x="33" y="22"/>
                  </a:cubicBezTo>
                  <a:cubicBezTo>
                    <a:pt x="33" y="22"/>
                    <a:pt x="33" y="22"/>
                    <a:pt x="33" y="22"/>
                  </a:cubicBezTo>
                  <a:cubicBezTo>
                    <a:pt x="34" y="23"/>
                    <a:pt x="34" y="23"/>
                    <a:pt x="34" y="24"/>
                  </a:cubicBezTo>
                  <a:cubicBezTo>
                    <a:pt x="33" y="24"/>
                    <a:pt x="33" y="24"/>
                    <a:pt x="32" y="25"/>
                  </a:cubicBezTo>
                  <a:cubicBezTo>
                    <a:pt x="32" y="25"/>
                    <a:pt x="31" y="25"/>
                    <a:pt x="31" y="25"/>
                  </a:cubicBezTo>
                  <a:cubicBezTo>
                    <a:pt x="31" y="25"/>
                    <a:pt x="30" y="25"/>
                    <a:pt x="30" y="25"/>
                  </a:cubicBezTo>
                  <a:cubicBezTo>
                    <a:pt x="29" y="25"/>
                    <a:pt x="29" y="25"/>
                    <a:pt x="29" y="25"/>
                  </a:cubicBezTo>
                  <a:cubicBezTo>
                    <a:pt x="29" y="25"/>
                    <a:pt x="29" y="25"/>
                    <a:pt x="29" y="25"/>
                  </a:cubicBezTo>
                  <a:cubicBezTo>
                    <a:pt x="29" y="26"/>
                    <a:pt x="29" y="26"/>
                    <a:pt x="29" y="26"/>
                  </a:cubicBezTo>
                  <a:cubicBezTo>
                    <a:pt x="29" y="26"/>
                    <a:pt x="29" y="26"/>
                    <a:pt x="29" y="26"/>
                  </a:cubicBezTo>
                  <a:cubicBezTo>
                    <a:pt x="29" y="26"/>
                    <a:pt x="29" y="26"/>
                    <a:pt x="29" y="26"/>
                  </a:cubicBezTo>
                  <a:cubicBezTo>
                    <a:pt x="29" y="26"/>
                    <a:pt x="29" y="26"/>
                    <a:pt x="29" y="26"/>
                  </a:cubicBezTo>
                  <a:cubicBezTo>
                    <a:pt x="29" y="26"/>
                    <a:pt x="29" y="26"/>
                    <a:pt x="29" y="26"/>
                  </a:cubicBezTo>
                  <a:cubicBezTo>
                    <a:pt x="28" y="26"/>
                    <a:pt x="28" y="26"/>
                    <a:pt x="28" y="26"/>
                  </a:cubicBezTo>
                  <a:cubicBezTo>
                    <a:pt x="28" y="26"/>
                    <a:pt x="28" y="26"/>
                    <a:pt x="28" y="26"/>
                  </a:cubicBezTo>
                  <a:cubicBezTo>
                    <a:pt x="28" y="26"/>
                    <a:pt x="28" y="26"/>
                    <a:pt x="28" y="26"/>
                  </a:cubicBezTo>
                  <a:cubicBezTo>
                    <a:pt x="28" y="26"/>
                    <a:pt x="28" y="26"/>
                    <a:pt x="28" y="26"/>
                  </a:cubicBezTo>
                  <a:cubicBezTo>
                    <a:pt x="27" y="26"/>
                    <a:pt x="27" y="26"/>
                    <a:pt x="27" y="26"/>
                  </a:cubicBezTo>
                  <a:cubicBezTo>
                    <a:pt x="26" y="26"/>
                    <a:pt x="26" y="26"/>
                    <a:pt x="26" y="26"/>
                  </a:cubicBezTo>
                  <a:cubicBezTo>
                    <a:pt x="26" y="26"/>
                    <a:pt x="26" y="26"/>
                    <a:pt x="26" y="26"/>
                  </a:cubicBezTo>
                  <a:cubicBezTo>
                    <a:pt x="26" y="27"/>
                    <a:pt x="26" y="27"/>
                    <a:pt x="26" y="28"/>
                  </a:cubicBezTo>
                  <a:cubicBezTo>
                    <a:pt x="26" y="28"/>
                    <a:pt x="26" y="29"/>
                    <a:pt x="26" y="29"/>
                  </a:cubicBezTo>
                  <a:cubicBezTo>
                    <a:pt x="25" y="29"/>
                    <a:pt x="25" y="29"/>
                    <a:pt x="25" y="29"/>
                  </a:cubicBezTo>
                  <a:cubicBezTo>
                    <a:pt x="25" y="29"/>
                    <a:pt x="25" y="29"/>
                    <a:pt x="25" y="29"/>
                  </a:cubicBezTo>
                  <a:cubicBezTo>
                    <a:pt x="25" y="29"/>
                    <a:pt x="25" y="29"/>
                    <a:pt x="25" y="29"/>
                  </a:cubicBezTo>
                  <a:cubicBezTo>
                    <a:pt x="25" y="29"/>
                    <a:pt x="25" y="29"/>
                    <a:pt x="25" y="29"/>
                  </a:cubicBezTo>
                  <a:cubicBezTo>
                    <a:pt x="25" y="29"/>
                    <a:pt x="25" y="29"/>
                    <a:pt x="25" y="29"/>
                  </a:cubicBezTo>
                  <a:cubicBezTo>
                    <a:pt x="25" y="29"/>
                    <a:pt x="25" y="29"/>
                    <a:pt x="25" y="29"/>
                  </a:cubicBezTo>
                  <a:cubicBezTo>
                    <a:pt x="25" y="29"/>
                    <a:pt x="25" y="29"/>
                    <a:pt x="25" y="29"/>
                  </a:cubicBezTo>
                  <a:cubicBezTo>
                    <a:pt x="25" y="30"/>
                    <a:pt x="25" y="30"/>
                    <a:pt x="25" y="30"/>
                  </a:cubicBezTo>
                  <a:cubicBezTo>
                    <a:pt x="25" y="29"/>
                    <a:pt x="25" y="29"/>
                    <a:pt x="25" y="29"/>
                  </a:cubicBezTo>
                  <a:cubicBezTo>
                    <a:pt x="25" y="30"/>
                    <a:pt x="25" y="30"/>
                    <a:pt x="25" y="30"/>
                  </a:cubicBezTo>
                  <a:cubicBezTo>
                    <a:pt x="25" y="30"/>
                    <a:pt x="25" y="30"/>
                    <a:pt x="24" y="30"/>
                  </a:cubicBezTo>
                  <a:cubicBezTo>
                    <a:pt x="24" y="30"/>
                    <a:pt x="24" y="30"/>
                    <a:pt x="24" y="30"/>
                  </a:cubicBezTo>
                  <a:cubicBezTo>
                    <a:pt x="24" y="30"/>
                    <a:pt x="23" y="29"/>
                    <a:pt x="23" y="29"/>
                  </a:cubicBezTo>
                  <a:cubicBezTo>
                    <a:pt x="23" y="28"/>
                    <a:pt x="23" y="28"/>
                    <a:pt x="23" y="28"/>
                  </a:cubicBezTo>
                  <a:cubicBezTo>
                    <a:pt x="23" y="28"/>
                    <a:pt x="23" y="28"/>
                    <a:pt x="23" y="28"/>
                  </a:cubicBezTo>
                  <a:cubicBezTo>
                    <a:pt x="23" y="28"/>
                    <a:pt x="24" y="27"/>
                    <a:pt x="24" y="27"/>
                  </a:cubicBezTo>
                  <a:cubicBezTo>
                    <a:pt x="24" y="27"/>
                    <a:pt x="24" y="27"/>
                    <a:pt x="24" y="27"/>
                  </a:cubicBezTo>
                  <a:cubicBezTo>
                    <a:pt x="25" y="27"/>
                    <a:pt x="25" y="27"/>
                    <a:pt x="25" y="27"/>
                  </a:cubicBezTo>
                  <a:cubicBezTo>
                    <a:pt x="25" y="27"/>
                    <a:pt x="25" y="27"/>
                    <a:pt x="25" y="27"/>
                  </a:cubicBezTo>
                  <a:cubicBezTo>
                    <a:pt x="24" y="27"/>
                    <a:pt x="24" y="26"/>
                    <a:pt x="23" y="25"/>
                  </a:cubicBezTo>
                  <a:cubicBezTo>
                    <a:pt x="23" y="25"/>
                    <a:pt x="23" y="25"/>
                    <a:pt x="23" y="25"/>
                  </a:cubicBezTo>
                  <a:cubicBezTo>
                    <a:pt x="23" y="25"/>
                    <a:pt x="23" y="25"/>
                    <a:pt x="23" y="25"/>
                  </a:cubicBezTo>
                  <a:cubicBezTo>
                    <a:pt x="23" y="25"/>
                    <a:pt x="23" y="25"/>
                    <a:pt x="23" y="25"/>
                  </a:cubicBezTo>
                  <a:cubicBezTo>
                    <a:pt x="24" y="24"/>
                    <a:pt x="24" y="24"/>
                    <a:pt x="24" y="23"/>
                  </a:cubicBezTo>
                  <a:cubicBezTo>
                    <a:pt x="25" y="23"/>
                    <a:pt x="25" y="23"/>
                    <a:pt x="25" y="23"/>
                  </a:cubicBezTo>
                  <a:cubicBezTo>
                    <a:pt x="25" y="23"/>
                    <a:pt x="26" y="23"/>
                    <a:pt x="26" y="23"/>
                  </a:cubicBezTo>
                  <a:cubicBezTo>
                    <a:pt x="26" y="23"/>
                    <a:pt x="26" y="23"/>
                    <a:pt x="26" y="23"/>
                  </a:cubicBezTo>
                  <a:cubicBezTo>
                    <a:pt x="27" y="23"/>
                    <a:pt x="27" y="23"/>
                    <a:pt x="27" y="23"/>
                  </a:cubicBezTo>
                  <a:cubicBezTo>
                    <a:pt x="26" y="22"/>
                    <a:pt x="26" y="22"/>
                    <a:pt x="26" y="22"/>
                  </a:cubicBezTo>
                  <a:cubicBezTo>
                    <a:pt x="26" y="22"/>
                    <a:pt x="26" y="22"/>
                    <a:pt x="25" y="22"/>
                  </a:cubicBezTo>
                  <a:cubicBezTo>
                    <a:pt x="25" y="22"/>
                    <a:pt x="25" y="22"/>
                    <a:pt x="25" y="22"/>
                  </a:cubicBezTo>
                  <a:cubicBezTo>
                    <a:pt x="24" y="21"/>
                    <a:pt x="24" y="21"/>
                    <a:pt x="24" y="21"/>
                  </a:cubicBezTo>
                  <a:cubicBezTo>
                    <a:pt x="23" y="21"/>
                    <a:pt x="23" y="20"/>
                    <a:pt x="23" y="19"/>
                  </a:cubicBezTo>
                  <a:cubicBezTo>
                    <a:pt x="23" y="18"/>
                    <a:pt x="23" y="18"/>
                    <a:pt x="23" y="18"/>
                  </a:cubicBezTo>
                  <a:cubicBezTo>
                    <a:pt x="23" y="18"/>
                    <a:pt x="23" y="18"/>
                    <a:pt x="23" y="18"/>
                  </a:cubicBezTo>
                  <a:cubicBezTo>
                    <a:pt x="23" y="17"/>
                    <a:pt x="23" y="16"/>
                    <a:pt x="23" y="16"/>
                  </a:cubicBezTo>
                  <a:cubicBezTo>
                    <a:pt x="23" y="15"/>
                    <a:pt x="23" y="15"/>
                    <a:pt x="23" y="15"/>
                  </a:cubicBezTo>
                  <a:cubicBezTo>
                    <a:pt x="23" y="15"/>
                    <a:pt x="23" y="14"/>
                    <a:pt x="24" y="14"/>
                  </a:cubicBezTo>
                  <a:cubicBezTo>
                    <a:pt x="25" y="13"/>
                    <a:pt x="25" y="13"/>
                    <a:pt x="25" y="13"/>
                  </a:cubicBezTo>
                  <a:cubicBezTo>
                    <a:pt x="25" y="13"/>
                    <a:pt x="25" y="13"/>
                    <a:pt x="25" y="13"/>
                  </a:cubicBezTo>
                  <a:cubicBezTo>
                    <a:pt x="25" y="13"/>
                    <a:pt x="25" y="13"/>
                    <a:pt x="25" y="13"/>
                  </a:cubicBezTo>
                  <a:cubicBezTo>
                    <a:pt x="25" y="13"/>
                    <a:pt x="25" y="13"/>
                    <a:pt x="25" y="13"/>
                  </a:cubicBezTo>
                  <a:cubicBezTo>
                    <a:pt x="25" y="13"/>
                    <a:pt x="25" y="13"/>
                    <a:pt x="25" y="13"/>
                  </a:cubicBezTo>
                  <a:cubicBezTo>
                    <a:pt x="26" y="13"/>
                    <a:pt x="26" y="13"/>
                    <a:pt x="26" y="13"/>
                  </a:cubicBezTo>
                  <a:cubicBezTo>
                    <a:pt x="26" y="13"/>
                    <a:pt x="26" y="13"/>
                    <a:pt x="26" y="13"/>
                  </a:cubicBezTo>
                  <a:cubicBezTo>
                    <a:pt x="26" y="12"/>
                    <a:pt x="26" y="12"/>
                    <a:pt x="26" y="12"/>
                  </a:cubicBezTo>
                  <a:cubicBezTo>
                    <a:pt x="26" y="12"/>
                    <a:pt x="26" y="12"/>
                    <a:pt x="26" y="12"/>
                  </a:cubicBezTo>
                  <a:cubicBezTo>
                    <a:pt x="25" y="11"/>
                    <a:pt x="24" y="10"/>
                    <a:pt x="23" y="9"/>
                  </a:cubicBezTo>
                  <a:cubicBezTo>
                    <a:pt x="23" y="9"/>
                    <a:pt x="23" y="9"/>
                    <a:pt x="23" y="9"/>
                  </a:cubicBezTo>
                  <a:cubicBezTo>
                    <a:pt x="23" y="9"/>
                    <a:pt x="23" y="9"/>
                    <a:pt x="23" y="9"/>
                  </a:cubicBezTo>
                  <a:cubicBezTo>
                    <a:pt x="23" y="8"/>
                    <a:pt x="24" y="7"/>
                    <a:pt x="24" y="7"/>
                  </a:cubicBezTo>
                  <a:cubicBezTo>
                    <a:pt x="25" y="7"/>
                    <a:pt x="25" y="7"/>
                    <a:pt x="25" y="7"/>
                  </a:cubicBezTo>
                  <a:cubicBezTo>
                    <a:pt x="26" y="7"/>
                    <a:pt x="26" y="7"/>
                    <a:pt x="26" y="7"/>
                  </a:cubicBezTo>
                  <a:cubicBezTo>
                    <a:pt x="26" y="7"/>
                    <a:pt x="26" y="7"/>
                    <a:pt x="26" y="7"/>
                  </a:cubicBezTo>
                  <a:cubicBezTo>
                    <a:pt x="26" y="7"/>
                    <a:pt x="26" y="7"/>
                    <a:pt x="26" y="7"/>
                  </a:cubicBezTo>
                  <a:cubicBezTo>
                    <a:pt x="26" y="7"/>
                    <a:pt x="26" y="7"/>
                    <a:pt x="26" y="7"/>
                  </a:cubicBezTo>
                  <a:cubicBezTo>
                    <a:pt x="27" y="7"/>
                    <a:pt x="27" y="7"/>
                    <a:pt x="27" y="7"/>
                  </a:cubicBezTo>
                  <a:cubicBezTo>
                    <a:pt x="27" y="7"/>
                    <a:pt x="27" y="7"/>
                    <a:pt x="27" y="7"/>
                  </a:cubicBezTo>
                  <a:cubicBezTo>
                    <a:pt x="27" y="7"/>
                    <a:pt x="27" y="7"/>
                    <a:pt x="27" y="7"/>
                  </a:cubicBezTo>
                  <a:cubicBezTo>
                    <a:pt x="27" y="7"/>
                    <a:pt x="27" y="7"/>
                    <a:pt x="27" y="7"/>
                  </a:cubicBezTo>
                  <a:cubicBezTo>
                    <a:pt x="27" y="6"/>
                    <a:pt x="27" y="6"/>
                    <a:pt x="27" y="6"/>
                  </a:cubicBezTo>
                  <a:cubicBezTo>
                    <a:pt x="27" y="6"/>
                    <a:pt x="27" y="6"/>
                    <a:pt x="27" y="6"/>
                  </a:cubicBezTo>
                  <a:cubicBezTo>
                    <a:pt x="27" y="6"/>
                    <a:pt x="27" y="6"/>
                    <a:pt x="27" y="6"/>
                  </a:cubicBezTo>
                  <a:cubicBezTo>
                    <a:pt x="27" y="6"/>
                    <a:pt x="27" y="6"/>
                    <a:pt x="27" y="6"/>
                  </a:cubicBezTo>
                  <a:cubicBezTo>
                    <a:pt x="28" y="6"/>
                    <a:pt x="28" y="6"/>
                    <a:pt x="28" y="6"/>
                  </a:cubicBezTo>
                  <a:cubicBezTo>
                    <a:pt x="28" y="6"/>
                    <a:pt x="28" y="6"/>
                    <a:pt x="28" y="6"/>
                  </a:cubicBezTo>
                  <a:cubicBezTo>
                    <a:pt x="28" y="6"/>
                    <a:pt x="28" y="6"/>
                    <a:pt x="28" y="6"/>
                  </a:cubicBezTo>
                  <a:cubicBezTo>
                    <a:pt x="28" y="6"/>
                    <a:pt x="28" y="6"/>
                    <a:pt x="28" y="6"/>
                  </a:cubicBezTo>
                  <a:cubicBezTo>
                    <a:pt x="28" y="6"/>
                    <a:pt x="28" y="6"/>
                    <a:pt x="28" y="6"/>
                  </a:cubicBezTo>
                  <a:cubicBezTo>
                    <a:pt x="28" y="6"/>
                    <a:pt x="28" y="6"/>
                    <a:pt x="28" y="6"/>
                  </a:cubicBezTo>
                  <a:cubicBezTo>
                    <a:pt x="29" y="6"/>
                    <a:pt x="29" y="6"/>
                    <a:pt x="29" y="6"/>
                  </a:cubicBezTo>
                  <a:cubicBezTo>
                    <a:pt x="29" y="6"/>
                    <a:pt x="29" y="6"/>
                    <a:pt x="29" y="6"/>
                  </a:cubicBezTo>
                  <a:cubicBezTo>
                    <a:pt x="29" y="6"/>
                    <a:pt x="29" y="6"/>
                    <a:pt x="29" y="6"/>
                  </a:cubicBezTo>
                  <a:moveTo>
                    <a:pt x="21" y="7"/>
                  </a:moveTo>
                  <a:cubicBezTo>
                    <a:pt x="21" y="6"/>
                    <a:pt x="21" y="5"/>
                    <a:pt x="21" y="4"/>
                  </a:cubicBezTo>
                  <a:cubicBezTo>
                    <a:pt x="21" y="4"/>
                    <a:pt x="21" y="4"/>
                    <a:pt x="21" y="4"/>
                  </a:cubicBezTo>
                  <a:cubicBezTo>
                    <a:pt x="22" y="3"/>
                    <a:pt x="22" y="3"/>
                    <a:pt x="22" y="3"/>
                  </a:cubicBezTo>
                  <a:cubicBezTo>
                    <a:pt x="22" y="4"/>
                    <a:pt x="22" y="5"/>
                    <a:pt x="21" y="7"/>
                  </a:cubicBezTo>
                  <a:cubicBezTo>
                    <a:pt x="21" y="7"/>
                    <a:pt x="21" y="7"/>
                    <a:pt x="21" y="7"/>
                  </a:cubicBezTo>
                  <a:moveTo>
                    <a:pt x="23" y="7"/>
                  </a:moveTo>
                  <a:cubicBezTo>
                    <a:pt x="23" y="7"/>
                    <a:pt x="23" y="7"/>
                    <a:pt x="23" y="7"/>
                  </a:cubicBezTo>
                  <a:cubicBezTo>
                    <a:pt x="23" y="5"/>
                    <a:pt x="23" y="4"/>
                    <a:pt x="23" y="3"/>
                  </a:cubicBezTo>
                  <a:cubicBezTo>
                    <a:pt x="23" y="4"/>
                    <a:pt x="23" y="4"/>
                    <a:pt x="23" y="4"/>
                  </a:cubicBezTo>
                  <a:cubicBezTo>
                    <a:pt x="23" y="4"/>
                    <a:pt x="23" y="4"/>
                    <a:pt x="23" y="4"/>
                  </a:cubicBezTo>
                  <a:cubicBezTo>
                    <a:pt x="23" y="5"/>
                    <a:pt x="23" y="6"/>
                    <a:pt x="23" y="7"/>
                  </a:cubicBezTo>
                  <a:moveTo>
                    <a:pt x="17" y="4"/>
                  </a:moveTo>
                  <a:cubicBezTo>
                    <a:pt x="17" y="4"/>
                    <a:pt x="17" y="4"/>
                    <a:pt x="17" y="4"/>
                  </a:cubicBezTo>
                  <a:cubicBezTo>
                    <a:pt x="17" y="3"/>
                    <a:pt x="17" y="3"/>
                    <a:pt x="18" y="2"/>
                  </a:cubicBezTo>
                  <a:cubicBezTo>
                    <a:pt x="18" y="2"/>
                    <a:pt x="19" y="1"/>
                    <a:pt x="19" y="1"/>
                  </a:cubicBezTo>
                  <a:cubicBezTo>
                    <a:pt x="20" y="1"/>
                    <a:pt x="20" y="1"/>
                    <a:pt x="20" y="1"/>
                  </a:cubicBezTo>
                  <a:cubicBezTo>
                    <a:pt x="20" y="1"/>
                    <a:pt x="20" y="1"/>
                    <a:pt x="20" y="1"/>
                  </a:cubicBezTo>
                  <a:cubicBezTo>
                    <a:pt x="21" y="1"/>
                    <a:pt x="21" y="1"/>
                    <a:pt x="21" y="1"/>
                  </a:cubicBezTo>
                  <a:cubicBezTo>
                    <a:pt x="21" y="1"/>
                    <a:pt x="21" y="1"/>
                    <a:pt x="22" y="2"/>
                  </a:cubicBezTo>
                  <a:cubicBezTo>
                    <a:pt x="22" y="2"/>
                    <a:pt x="22" y="2"/>
                    <a:pt x="22" y="2"/>
                  </a:cubicBezTo>
                  <a:cubicBezTo>
                    <a:pt x="21" y="2"/>
                    <a:pt x="21" y="2"/>
                    <a:pt x="21" y="2"/>
                  </a:cubicBezTo>
                  <a:cubicBezTo>
                    <a:pt x="21" y="3"/>
                    <a:pt x="21" y="4"/>
                    <a:pt x="20" y="5"/>
                  </a:cubicBezTo>
                  <a:cubicBezTo>
                    <a:pt x="20" y="5"/>
                    <a:pt x="20" y="5"/>
                    <a:pt x="20" y="5"/>
                  </a:cubicBezTo>
                  <a:cubicBezTo>
                    <a:pt x="20" y="5"/>
                    <a:pt x="20" y="5"/>
                    <a:pt x="20" y="5"/>
                  </a:cubicBezTo>
                  <a:cubicBezTo>
                    <a:pt x="20" y="5"/>
                    <a:pt x="20" y="5"/>
                    <a:pt x="20" y="5"/>
                  </a:cubicBezTo>
                  <a:cubicBezTo>
                    <a:pt x="20" y="5"/>
                    <a:pt x="19" y="6"/>
                    <a:pt x="19" y="6"/>
                  </a:cubicBezTo>
                  <a:cubicBezTo>
                    <a:pt x="18" y="6"/>
                    <a:pt x="18" y="6"/>
                    <a:pt x="18" y="6"/>
                  </a:cubicBezTo>
                  <a:cubicBezTo>
                    <a:pt x="18" y="5"/>
                    <a:pt x="18" y="5"/>
                    <a:pt x="17" y="4"/>
                  </a:cubicBezTo>
                  <a:cubicBezTo>
                    <a:pt x="17" y="4"/>
                    <a:pt x="17" y="4"/>
                    <a:pt x="17" y="4"/>
                  </a:cubicBezTo>
                  <a:cubicBezTo>
                    <a:pt x="17" y="4"/>
                    <a:pt x="17" y="4"/>
                    <a:pt x="17" y="4"/>
                  </a:cubicBezTo>
                  <a:cubicBezTo>
                    <a:pt x="17" y="4"/>
                    <a:pt x="17" y="4"/>
                    <a:pt x="17" y="4"/>
                  </a:cubicBezTo>
                  <a:cubicBezTo>
                    <a:pt x="17" y="5"/>
                    <a:pt x="16" y="5"/>
                    <a:pt x="16" y="6"/>
                  </a:cubicBezTo>
                  <a:cubicBezTo>
                    <a:pt x="16" y="6"/>
                    <a:pt x="16" y="6"/>
                    <a:pt x="16" y="6"/>
                  </a:cubicBezTo>
                  <a:cubicBezTo>
                    <a:pt x="16" y="5"/>
                    <a:pt x="16" y="5"/>
                    <a:pt x="16" y="5"/>
                  </a:cubicBezTo>
                  <a:cubicBezTo>
                    <a:pt x="16" y="4"/>
                    <a:pt x="16" y="4"/>
                    <a:pt x="16" y="4"/>
                  </a:cubicBezTo>
                  <a:cubicBezTo>
                    <a:pt x="16" y="4"/>
                    <a:pt x="16" y="4"/>
                    <a:pt x="16" y="4"/>
                  </a:cubicBezTo>
                  <a:cubicBezTo>
                    <a:pt x="17" y="4"/>
                    <a:pt x="17" y="4"/>
                    <a:pt x="17" y="4"/>
                  </a:cubicBezTo>
                  <a:moveTo>
                    <a:pt x="24" y="1"/>
                  </a:moveTo>
                  <a:cubicBezTo>
                    <a:pt x="25" y="1"/>
                    <a:pt x="25" y="1"/>
                    <a:pt x="25" y="1"/>
                  </a:cubicBezTo>
                  <a:cubicBezTo>
                    <a:pt x="25" y="1"/>
                    <a:pt x="25" y="1"/>
                    <a:pt x="25" y="1"/>
                  </a:cubicBezTo>
                  <a:cubicBezTo>
                    <a:pt x="26" y="1"/>
                    <a:pt x="26" y="2"/>
                    <a:pt x="27" y="2"/>
                  </a:cubicBezTo>
                  <a:cubicBezTo>
                    <a:pt x="27" y="3"/>
                    <a:pt x="27" y="3"/>
                    <a:pt x="27" y="4"/>
                  </a:cubicBezTo>
                  <a:cubicBezTo>
                    <a:pt x="28" y="4"/>
                    <a:pt x="28" y="4"/>
                    <a:pt x="28" y="4"/>
                  </a:cubicBezTo>
                  <a:cubicBezTo>
                    <a:pt x="28" y="4"/>
                    <a:pt x="28" y="4"/>
                    <a:pt x="28" y="4"/>
                  </a:cubicBezTo>
                  <a:cubicBezTo>
                    <a:pt x="28" y="4"/>
                    <a:pt x="28" y="4"/>
                    <a:pt x="28" y="4"/>
                  </a:cubicBezTo>
                  <a:cubicBezTo>
                    <a:pt x="28" y="5"/>
                    <a:pt x="28" y="5"/>
                    <a:pt x="28" y="5"/>
                  </a:cubicBezTo>
                  <a:cubicBezTo>
                    <a:pt x="28" y="6"/>
                    <a:pt x="28" y="6"/>
                    <a:pt x="28" y="6"/>
                  </a:cubicBezTo>
                  <a:cubicBezTo>
                    <a:pt x="28" y="6"/>
                    <a:pt x="28" y="6"/>
                    <a:pt x="28" y="6"/>
                  </a:cubicBezTo>
                  <a:cubicBezTo>
                    <a:pt x="28" y="5"/>
                    <a:pt x="28" y="5"/>
                    <a:pt x="27" y="4"/>
                  </a:cubicBezTo>
                  <a:cubicBezTo>
                    <a:pt x="27" y="4"/>
                    <a:pt x="27" y="4"/>
                    <a:pt x="27" y="4"/>
                  </a:cubicBezTo>
                  <a:cubicBezTo>
                    <a:pt x="27" y="4"/>
                    <a:pt x="27" y="4"/>
                    <a:pt x="27" y="4"/>
                  </a:cubicBezTo>
                  <a:cubicBezTo>
                    <a:pt x="27" y="4"/>
                    <a:pt x="27" y="4"/>
                    <a:pt x="27" y="4"/>
                  </a:cubicBezTo>
                  <a:cubicBezTo>
                    <a:pt x="26" y="5"/>
                    <a:pt x="26" y="5"/>
                    <a:pt x="26" y="6"/>
                  </a:cubicBezTo>
                  <a:cubicBezTo>
                    <a:pt x="25" y="6"/>
                    <a:pt x="25" y="6"/>
                    <a:pt x="25" y="6"/>
                  </a:cubicBezTo>
                  <a:cubicBezTo>
                    <a:pt x="25" y="6"/>
                    <a:pt x="24" y="5"/>
                    <a:pt x="24" y="5"/>
                  </a:cubicBezTo>
                  <a:cubicBezTo>
                    <a:pt x="24" y="5"/>
                    <a:pt x="24" y="5"/>
                    <a:pt x="24" y="5"/>
                  </a:cubicBezTo>
                  <a:cubicBezTo>
                    <a:pt x="24" y="5"/>
                    <a:pt x="24" y="5"/>
                    <a:pt x="24" y="5"/>
                  </a:cubicBezTo>
                  <a:cubicBezTo>
                    <a:pt x="24" y="5"/>
                    <a:pt x="24" y="5"/>
                    <a:pt x="24" y="5"/>
                  </a:cubicBezTo>
                  <a:cubicBezTo>
                    <a:pt x="24" y="4"/>
                    <a:pt x="23" y="3"/>
                    <a:pt x="23" y="2"/>
                  </a:cubicBezTo>
                  <a:cubicBezTo>
                    <a:pt x="23" y="2"/>
                    <a:pt x="23" y="2"/>
                    <a:pt x="23" y="2"/>
                  </a:cubicBezTo>
                  <a:cubicBezTo>
                    <a:pt x="23" y="2"/>
                    <a:pt x="23" y="2"/>
                    <a:pt x="23" y="2"/>
                  </a:cubicBezTo>
                  <a:cubicBezTo>
                    <a:pt x="23" y="1"/>
                    <a:pt x="23" y="1"/>
                    <a:pt x="24" y="1"/>
                  </a:cubicBezTo>
                  <a:cubicBezTo>
                    <a:pt x="24" y="1"/>
                    <a:pt x="24" y="1"/>
                    <a:pt x="24" y="1"/>
                  </a:cubicBezTo>
                  <a:moveTo>
                    <a:pt x="25" y="0"/>
                  </a:moveTo>
                  <a:cubicBezTo>
                    <a:pt x="25" y="0"/>
                    <a:pt x="25" y="0"/>
                    <a:pt x="25" y="0"/>
                  </a:cubicBezTo>
                  <a:cubicBezTo>
                    <a:pt x="24" y="0"/>
                    <a:pt x="24" y="0"/>
                    <a:pt x="24" y="0"/>
                  </a:cubicBezTo>
                  <a:cubicBezTo>
                    <a:pt x="24" y="0"/>
                    <a:pt x="24" y="0"/>
                    <a:pt x="24" y="0"/>
                  </a:cubicBezTo>
                  <a:cubicBezTo>
                    <a:pt x="23" y="0"/>
                    <a:pt x="23" y="1"/>
                    <a:pt x="22" y="2"/>
                  </a:cubicBezTo>
                  <a:cubicBezTo>
                    <a:pt x="22" y="1"/>
                    <a:pt x="21" y="0"/>
                    <a:pt x="21" y="0"/>
                  </a:cubicBezTo>
                  <a:cubicBezTo>
                    <a:pt x="20" y="0"/>
                    <a:pt x="20" y="0"/>
                    <a:pt x="20" y="0"/>
                  </a:cubicBezTo>
                  <a:cubicBezTo>
                    <a:pt x="20" y="0"/>
                    <a:pt x="20" y="0"/>
                    <a:pt x="20" y="0"/>
                  </a:cubicBezTo>
                  <a:cubicBezTo>
                    <a:pt x="19" y="0"/>
                    <a:pt x="19" y="0"/>
                    <a:pt x="19" y="0"/>
                  </a:cubicBezTo>
                  <a:cubicBezTo>
                    <a:pt x="19" y="0"/>
                    <a:pt x="18" y="1"/>
                    <a:pt x="17" y="2"/>
                  </a:cubicBezTo>
                  <a:cubicBezTo>
                    <a:pt x="16" y="2"/>
                    <a:pt x="16" y="3"/>
                    <a:pt x="16" y="3"/>
                  </a:cubicBezTo>
                  <a:cubicBezTo>
                    <a:pt x="15" y="3"/>
                    <a:pt x="15" y="2"/>
                    <a:pt x="14" y="2"/>
                  </a:cubicBezTo>
                  <a:cubicBezTo>
                    <a:pt x="13" y="2"/>
                    <a:pt x="13" y="3"/>
                    <a:pt x="12" y="3"/>
                  </a:cubicBezTo>
                  <a:cubicBezTo>
                    <a:pt x="11" y="4"/>
                    <a:pt x="10" y="5"/>
                    <a:pt x="10" y="7"/>
                  </a:cubicBezTo>
                  <a:cubicBezTo>
                    <a:pt x="10" y="7"/>
                    <a:pt x="10" y="6"/>
                    <a:pt x="9" y="6"/>
                  </a:cubicBezTo>
                  <a:cubicBezTo>
                    <a:pt x="8" y="6"/>
                    <a:pt x="7" y="7"/>
                    <a:pt x="6" y="8"/>
                  </a:cubicBezTo>
                  <a:cubicBezTo>
                    <a:pt x="5" y="9"/>
                    <a:pt x="5" y="10"/>
                    <a:pt x="5" y="10"/>
                  </a:cubicBezTo>
                  <a:cubicBezTo>
                    <a:pt x="5" y="10"/>
                    <a:pt x="5" y="10"/>
                    <a:pt x="5" y="10"/>
                  </a:cubicBezTo>
                  <a:cubicBezTo>
                    <a:pt x="5" y="10"/>
                    <a:pt x="5" y="10"/>
                    <a:pt x="5" y="10"/>
                  </a:cubicBezTo>
                  <a:cubicBezTo>
                    <a:pt x="5" y="11"/>
                    <a:pt x="5" y="11"/>
                    <a:pt x="5" y="11"/>
                  </a:cubicBezTo>
                  <a:cubicBezTo>
                    <a:pt x="5" y="12"/>
                    <a:pt x="5" y="12"/>
                    <a:pt x="5" y="12"/>
                  </a:cubicBezTo>
                  <a:cubicBezTo>
                    <a:pt x="5" y="12"/>
                    <a:pt x="5" y="12"/>
                    <a:pt x="5" y="12"/>
                  </a:cubicBezTo>
                  <a:cubicBezTo>
                    <a:pt x="5" y="13"/>
                    <a:pt x="5" y="13"/>
                    <a:pt x="5" y="13"/>
                  </a:cubicBezTo>
                  <a:cubicBezTo>
                    <a:pt x="5" y="13"/>
                    <a:pt x="5" y="13"/>
                    <a:pt x="5" y="13"/>
                  </a:cubicBezTo>
                  <a:cubicBezTo>
                    <a:pt x="4" y="14"/>
                    <a:pt x="4" y="14"/>
                    <a:pt x="3" y="15"/>
                  </a:cubicBezTo>
                  <a:cubicBezTo>
                    <a:pt x="2" y="17"/>
                    <a:pt x="2" y="18"/>
                    <a:pt x="3" y="19"/>
                  </a:cubicBezTo>
                  <a:cubicBezTo>
                    <a:pt x="3" y="19"/>
                    <a:pt x="3" y="19"/>
                    <a:pt x="3" y="19"/>
                  </a:cubicBezTo>
                  <a:cubicBezTo>
                    <a:pt x="3" y="20"/>
                    <a:pt x="3" y="20"/>
                    <a:pt x="3" y="20"/>
                  </a:cubicBezTo>
                  <a:cubicBezTo>
                    <a:pt x="3" y="21"/>
                    <a:pt x="3" y="21"/>
                    <a:pt x="3" y="21"/>
                  </a:cubicBezTo>
                  <a:cubicBezTo>
                    <a:pt x="3" y="21"/>
                    <a:pt x="3" y="22"/>
                    <a:pt x="3" y="22"/>
                  </a:cubicBezTo>
                  <a:cubicBezTo>
                    <a:pt x="2" y="23"/>
                    <a:pt x="0" y="26"/>
                    <a:pt x="1" y="28"/>
                  </a:cubicBezTo>
                  <a:cubicBezTo>
                    <a:pt x="2" y="29"/>
                    <a:pt x="2" y="29"/>
                    <a:pt x="2" y="29"/>
                  </a:cubicBezTo>
                  <a:cubicBezTo>
                    <a:pt x="2" y="29"/>
                    <a:pt x="2" y="29"/>
                    <a:pt x="2" y="29"/>
                  </a:cubicBezTo>
                  <a:cubicBezTo>
                    <a:pt x="2" y="29"/>
                    <a:pt x="2" y="29"/>
                    <a:pt x="2" y="29"/>
                  </a:cubicBezTo>
                  <a:cubicBezTo>
                    <a:pt x="2" y="29"/>
                    <a:pt x="2" y="29"/>
                    <a:pt x="2" y="29"/>
                  </a:cubicBezTo>
                  <a:cubicBezTo>
                    <a:pt x="2" y="30"/>
                    <a:pt x="2" y="30"/>
                    <a:pt x="2" y="30"/>
                  </a:cubicBezTo>
                  <a:cubicBezTo>
                    <a:pt x="3" y="31"/>
                    <a:pt x="2" y="32"/>
                    <a:pt x="2" y="33"/>
                  </a:cubicBezTo>
                  <a:cubicBezTo>
                    <a:pt x="2" y="35"/>
                    <a:pt x="1" y="36"/>
                    <a:pt x="2" y="37"/>
                  </a:cubicBezTo>
                  <a:cubicBezTo>
                    <a:pt x="2" y="37"/>
                    <a:pt x="2" y="37"/>
                    <a:pt x="2" y="37"/>
                  </a:cubicBezTo>
                  <a:cubicBezTo>
                    <a:pt x="2" y="38"/>
                    <a:pt x="2" y="38"/>
                    <a:pt x="2" y="38"/>
                  </a:cubicBezTo>
                  <a:cubicBezTo>
                    <a:pt x="3" y="38"/>
                    <a:pt x="3" y="38"/>
                    <a:pt x="3" y="38"/>
                  </a:cubicBezTo>
                  <a:cubicBezTo>
                    <a:pt x="3" y="38"/>
                    <a:pt x="3" y="38"/>
                    <a:pt x="3" y="38"/>
                  </a:cubicBezTo>
                  <a:cubicBezTo>
                    <a:pt x="3" y="39"/>
                    <a:pt x="3" y="39"/>
                    <a:pt x="3" y="39"/>
                  </a:cubicBezTo>
                  <a:cubicBezTo>
                    <a:pt x="3" y="39"/>
                    <a:pt x="3" y="39"/>
                    <a:pt x="3" y="39"/>
                  </a:cubicBezTo>
                  <a:cubicBezTo>
                    <a:pt x="3" y="42"/>
                    <a:pt x="5" y="44"/>
                    <a:pt x="7" y="45"/>
                  </a:cubicBezTo>
                  <a:cubicBezTo>
                    <a:pt x="7" y="46"/>
                    <a:pt x="7" y="47"/>
                    <a:pt x="8" y="47"/>
                  </a:cubicBezTo>
                  <a:cubicBezTo>
                    <a:pt x="9" y="48"/>
                    <a:pt x="9" y="48"/>
                    <a:pt x="9" y="48"/>
                  </a:cubicBezTo>
                  <a:cubicBezTo>
                    <a:pt x="9" y="48"/>
                    <a:pt x="10" y="48"/>
                    <a:pt x="10" y="49"/>
                  </a:cubicBezTo>
                  <a:cubicBezTo>
                    <a:pt x="10" y="49"/>
                    <a:pt x="10" y="49"/>
                    <a:pt x="10" y="49"/>
                  </a:cubicBezTo>
                  <a:cubicBezTo>
                    <a:pt x="10" y="50"/>
                    <a:pt x="10" y="50"/>
                    <a:pt x="10" y="50"/>
                  </a:cubicBezTo>
                  <a:cubicBezTo>
                    <a:pt x="11" y="50"/>
                    <a:pt x="11" y="50"/>
                    <a:pt x="11" y="51"/>
                  </a:cubicBezTo>
                  <a:cubicBezTo>
                    <a:pt x="13" y="51"/>
                    <a:pt x="14" y="52"/>
                    <a:pt x="15" y="52"/>
                  </a:cubicBezTo>
                  <a:cubicBezTo>
                    <a:pt x="18" y="52"/>
                    <a:pt x="20" y="51"/>
                    <a:pt x="22" y="49"/>
                  </a:cubicBezTo>
                  <a:cubicBezTo>
                    <a:pt x="22" y="49"/>
                    <a:pt x="22" y="49"/>
                    <a:pt x="22" y="49"/>
                  </a:cubicBezTo>
                  <a:cubicBezTo>
                    <a:pt x="23" y="49"/>
                    <a:pt x="23" y="49"/>
                    <a:pt x="23" y="49"/>
                  </a:cubicBezTo>
                  <a:cubicBezTo>
                    <a:pt x="23" y="50"/>
                    <a:pt x="23" y="50"/>
                    <a:pt x="23" y="50"/>
                  </a:cubicBezTo>
                  <a:cubicBezTo>
                    <a:pt x="23" y="50"/>
                    <a:pt x="23" y="50"/>
                    <a:pt x="23" y="50"/>
                  </a:cubicBezTo>
                  <a:cubicBezTo>
                    <a:pt x="24" y="52"/>
                    <a:pt x="26" y="52"/>
                    <a:pt x="28" y="52"/>
                  </a:cubicBezTo>
                  <a:cubicBezTo>
                    <a:pt x="29" y="52"/>
                    <a:pt x="30" y="52"/>
                    <a:pt x="30" y="52"/>
                  </a:cubicBezTo>
                  <a:cubicBezTo>
                    <a:pt x="31" y="52"/>
                    <a:pt x="32" y="51"/>
                    <a:pt x="33" y="50"/>
                  </a:cubicBezTo>
                  <a:cubicBezTo>
                    <a:pt x="33" y="49"/>
                    <a:pt x="33" y="49"/>
                    <a:pt x="33" y="49"/>
                  </a:cubicBezTo>
                  <a:cubicBezTo>
                    <a:pt x="33" y="49"/>
                    <a:pt x="34" y="48"/>
                    <a:pt x="34" y="48"/>
                  </a:cubicBezTo>
                  <a:cubicBezTo>
                    <a:pt x="34" y="48"/>
                    <a:pt x="34" y="48"/>
                    <a:pt x="34" y="48"/>
                  </a:cubicBezTo>
                  <a:cubicBezTo>
                    <a:pt x="35" y="48"/>
                    <a:pt x="35" y="48"/>
                    <a:pt x="35" y="48"/>
                  </a:cubicBezTo>
                  <a:cubicBezTo>
                    <a:pt x="36" y="48"/>
                    <a:pt x="37" y="47"/>
                    <a:pt x="37" y="46"/>
                  </a:cubicBezTo>
                  <a:cubicBezTo>
                    <a:pt x="38" y="45"/>
                    <a:pt x="38" y="45"/>
                    <a:pt x="38" y="45"/>
                  </a:cubicBezTo>
                  <a:cubicBezTo>
                    <a:pt x="38" y="45"/>
                    <a:pt x="39" y="45"/>
                    <a:pt x="39" y="45"/>
                  </a:cubicBezTo>
                  <a:cubicBezTo>
                    <a:pt x="40" y="44"/>
                    <a:pt x="41" y="44"/>
                    <a:pt x="41" y="43"/>
                  </a:cubicBezTo>
                  <a:cubicBezTo>
                    <a:pt x="41" y="43"/>
                    <a:pt x="41" y="42"/>
                    <a:pt x="41" y="42"/>
                  </a:cubicBezTo>
                  <a:cubicBezTo>
                    <a:pt x="41" y="41"/>
                    <a:pt x="41" y="41"/>
                    <a:pt x="41" y="41"/>
                  </a:cubicBezTo>
                  <a:cubicBezTo>
                    <a:pt x="42" y="40"/>
                    <a:pt x="42" y="40"/>
                    <a:pt x="42" y="40"/>
                  </a:cubicBezTo>
                  <a:cubicBezTo>
                    <a:pt x="42" y="39"/>
                    <a:pt x="42" y="39"/>
                    <a:pt x="42" y="39"/>
                  </a:cubicBezTo>
                  <a:cubicBezTo>
                    <a:pt x="42" y="38"/>
                    <a:pt x="42" y="38"/>
                    <a:pt x="42" y="38"/>
                  </a:cubicBezTo>
                  <a:cubicBezTo>
                    <a:pt x="42" y="38"/>
                    <a:pt x="42" y="38"/>
                    <a:pt x="42" y="38"/>
                  </a:cubicBezTo>
                  <a:cubicBezTo>
                    <a:pt x="43" y="37"/>
                    <a:pt x="43" y="37"/>
                    <a:pt x="43" y="37"/>
                  </a:cubicBezTo>
                  <a:cubicBezTo>
                    <a:pt x="43" y="37"/>
                    <a:pt x="43" y="37"/>
                    <a:pt x="43" y="37"/>
                  </a:cubicBezTo>
                  <a:cubicBezTo>
                    <a:pt x="43" y="36"/>
                    <a:pt x="43" y="34"/>
                    <a:pt x="42" y="33"/>
                  </a:cubicBezTo>
                  <a:cubicBezTo>
                    <a:pt x="42" y="32"/>
                    <a:pt x="42" y="31"/>
                    <a:pt x="42" y="30"/>
                  </a:cubicBezTo>
                  <a:cubicBezTo>
                    <a:pt x="42" y="29"/>
                    <a:pt x="42" y="29"/>
                    <a:pt x="42" y="29"/>
                  </a:cubicBezTo>
                  <a:cubicBezTo>
                    <a:pt x="42" y="29"/>
                    <a:pt x="42" y="29"/>
                    <a:pt x="42" y="29"/>
                  </a:cubicBezTo>
                  <a:cubicBezTo>
                    <a:pt x="42" y="29"/>
                    <a:pt x="42" y="29"/>
                    <a:pt x="42" y="29"/>
                  </a:cubicBezTo>
                  <a:cubicBezTo>
                    <a:pt x="43" y="29"/>
                    <a:pt x="43" y="29"/>
                    <a:pt x="43" y="29"/>
                  </a:cubicBezTo>
                  <a:cubicBezTo>
                    <a:pt x="43" y="28"/>
                    <a:pt x="43" y="28"/>
                    <a:pt x="43" y="28"/>
                  </a:cubicBezTo>
                  <a:cubicBezTo>
                    <a:pt x="44" y="26"/>
                    <a:pt x="42" y="23"/>
                    <a:pt x="42" y="22"/>
                  </a:cubicBezTo>
                  <a:cubicBezTo>
                    <a:pt x="41" y="22"/>
                    <a:pt x="41" y="21"/>
                    <a:pt x="41" y="21"/>
                  </a:cubicBezTo>
                  <a:cubicBezTo>
                    <a:pt x="41" y="20"/>
                    <a:pt x="41" y="20"/>
                    <a:pt x="41" y="20"/>
                  </a:cubicBezTo>
                  <a:cubicBezTo>
                    <a:pt x="42" y="20"/>
                    <a:pt x="42" y="20"/>
                    <a:pt x="42" y="19"/>
                  </a:cubicBezTo>
                  <a:cubicBezTo>
                    <a:pt x="42" y="19"/>
                    <a:pt x="42" y="19"/>
                    <a:pt x="42" y="19"/>
                  </a:cubicBezTo>
                  <a:cubicBezTo>
                    <a:pt x="42" y="18"/>
                    <a:pt x="42" y="17"/>
                    <a:pt x="41" y="15"/>
                  </a:cubicBezTo>
                  <a:cubicBezTo>
                    <a:pt x="41" y="14"/>
                    <a:pt x="40" y="14"/>
                    <a:pt x="39" y="13"/>
                  </a:cubicBezTo>
                  <a:cubicBezTo>
                    <a:pt x="39" y="13"/>
                    <a:pt x="39" y="13"/>
                    <a:pt x="39" y="13"/>
                  </a:cubicBezTo>
                  <a:cubicBezTo>
                    <a:pt x="39" y="12"/>
                    <a:pt x="39" y="12"/>
                    <a:pt x="39" y="12"/>
                  </a:cubicBezTo>
                  <a:cubicBezTo>
                    <a:pt x="39" y="12"/>
                    <a:pt x="39" y="12"/>
                    <a:pt x="39" y="12"/>
                  </a:cubicBezTo>
                  <a:cubicBezTo>
                    <a:pt x="39" y="11"/>
                    <a:pt x="39" y="11"/>
                    <a:pt x="39" y="11"/>
                  </a:cubicBezTo>
                  <a:cubicBezTo>
                    <a:pt x="39" y="10"/>
                    <a:pt x="39" y="10"/>
                    <a:pt x="39" y="10"/>
                  </a:cubicBezTo>
                  <a:cubicBezTo>
                    <a:pt x="39" y="10"/>
                    <a:pt x="39" y="10"/>
                    <a:pt x="39" y="10"/>
                  </a:cubicBezTo>
                  <a:cubicBezTo>
                    <a:pt x="39" y="10"/>
                    <a:pt x="39" y="10"/>
                    <a:pt x="39" y="10"/>
                  </a:cubicBezTo>
                  <a:cubicBezTo>
                    <a:pt x="39" y="10"/>
                    <a:pt x="39" y="9"/>
                    <a:pt x="39" y="8"/>
                  </a:cubicBezTo>
                  <a:cubicBezTo>
                    <a:pt x="38" y="7"/>
                    <a:pt x="36" y="6"/>
                    <a:pt x="35" y="6"/>
                  </a:cubicBezTo>
                  <a:cubicBezTo>
                    <a:pt x="35" y="6"/>
                    <a:pt x="35" y="7"/>
                    <a:pt x="34" y="7"/>
                  </a:cubicBezTo>
                  <a:cubicBezTo>
                    <a:pt x="34" y="5"/>
                    <a:pt x="33" y="4"/>
                    <a:pt x="32" y="3"/>
                  </a:cubicBezTo>
                  <a:cubicBezTo>
                    <a:pt x="32" y="3"/>
                    <a:pt x="31" y="2"/>
                    <a:pt x="30" y="2"/>
                  </a:cubicBezTo>
                  <a:cubicBezTo>
                    <a:pt x="30" y="2"/>
                    <a:pt x="29" y="3"/>
                    <a:pt x="28" y="3"/>
                  </a:cubicBezTo>
                  <a:cubicBezTo>
                    <a:pt x="28" y="3"/>
                    <a:pt x="28" y="2"/>
                    <a:pt x="27" y="2"/>
                  </a:cubicBezTo>
                  <a:cubicBezTo>
                    <a:pt x="27" y="1"/>
                    <a:pt x="26" y="0"/>
                    <a:pt x="25"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34" name="ïşḷïḑé"/>
            <p:cNvSpPr/>
            <p:nvPr/>
          </p:nvSpPr>
          <p:spPr bwMode="auto">
            <a:xfrm>
              <a:off x="4205" y="2003"/>
              <a:ext cx="83" cy="55"/>
            </a:xfrm>
            <a:custGeom>
              <a:avLst/>
              <a:gdLst>
                <a:gd name="T0" fmla="*/ 6 w 35"/>
                <a:gd name="T1" fmla="*/ 16 h 23"/>
                <a:gd name="T2" fmla="*/ 8 w 35"/>
                <a:gd name="T3" fmla="*/ 21 h 23"/>
                <a:gd name="T4" fmla="*/ 15 w 35"/>
                <a:gd name="T5" fmla="*/ 13 h 23"/>
                <a:gd name="T6" fmla="*/ 13 w 35"/>
                <a:gd name="T7" fmla="*/ 21 h 23"/>
                <a:gd name="T8" fmla="*/ 8 w 35"/>
                <a:gd name="T9" fmla="*/ 22 h 23"/>
                <a:gd name="T10" fmla="*/ 11 w 35"/>
                <a:gd name="T11" fmla="*/ 14 h 23"/>
                <a:gd name="T12" fmla="*/ 14 w 35"/>
                <a:gd name="T13" fmla="*/ 13 h 23"/>
                <a:gd name="T14" fmla="*/ 15 w 35"/>
                <a:gd name="T15" fmla="*/ 13 h 23"/>
                <a:gd name="T16" fmla="*/ 9 w 35"/>
                <a:gd name="T17" fmla="*/ 22 h 23"/>
                <a:gd name="T18" fmla="*/ 27 w 35"/>
                <a:gd name="T19" fmla="*/ 7 h 23"/>
                <a:gd name="T20" fmla="*/ 29 w 35"/>
                <a:gd name="T21" fmla="*/ 6 h 23"/>
                <a:gd name="T22" fmla="*/ 28 w 35"/>
                <a:gd name="T23" fmla="*/ 14 h 23"/>
                <a:gd name="T24" fmla="*/ 30 w 35"/>
                <a:gd name="T25" fmla="*/ 6 h 23"/>
                <a:gd name="T26" fmla="*/ 24 w 35"/>
                <a:gd name="T27" fmla="*/ 15 h 23"/>
                <a:gd name="T28" fmla="*/ 21 w 35"/>
                <a:gd name="T29" fmla="*/ 10 h 23"/>
                <a:gd name="T30" fmla="*/ 25 w 35"/>
                <a:gd name="T31" fmla="*/ 15 h 23"/>
                <a:gd name="T32" fmla="*/ 23 w 35"/>
                <a:gd name="T33" fmla="*/ 0 h 23"/>
                <a:gd name="T34" fmla="*/ 23 w 35"/>
                <a:gd name="T35" fmla="*/ 5 h 23"/>
                <a:gd name="T36" fmla="*/ 23 w 35"/>
                <a:gd name="T37" fmla="*/ 3 h 23"/>
                <a:gd name="T38" fmla="*/ 25 w 35"/>
                <a:gd name="T39" fmla="*/ 2 h 23"/>
                <a:gd name="T40" fmla="*/ 30 w 35"/>
                <a:gd name="T41" fmla="*/ 5 h 23"/>
                <a:gd name="T42" fmla="*/ 20 w 35"/>
                <a:gd name="T43" fmla="*/ 8 h 23"/>
                <a:gd name="T44" fmla="*/ 17 w 35"/>
                <a:gd name="T45" fmla="*/ 11 h 23"/>
                <a:gd name="T46" fmla="*/ 14 w 35"/>
                <a:gd name="T47" fmla="*/ 11 h 23"/>
                <a:gd name="T48" fmla="*/ 9 w 35"/>
                <a:gd name="T49" fmla="*/ 13 h 23"/>
                <a:gd name="T50" fmla="*/ 6 w 35"/>
                <a:gd name="T51" fmla="*/ 9 h 23"/>
                <a:gd name="T52" fmla="*/ 7 w 35"/>
                <a:gd name="T53" fmla="*/ 10 h 23"/>
                <a:gd name="T54" fmla="*/ 9 w 35"/>
                <a:gd name="T55" fmla="*/ 11 h 23"/>
                <a:gd name="T56" fmla="*/ 5 w 35"/>
                <a:gd name="T57" fmla="*/ 8 h 23"/>
                <a:gd name="T58" fmla="*/ 2 w 35"/>
                <a:gd name="T59" fmla="*/ 17 h 23"/>
                <a:gd name="T60" fmla="*/ 2 w 35"/>
                <a:gd name="T61" fmla="*/ 19 h 23"/>
                <a:gd name="T62" fmla="*/ 3 w 35"/>
                <a:gd name="T63" fmla="*/ 19 h 23"/>
                <a:gd name="T64" fmla="*/ 5 w 35"/>
                <a:gd name="T65" fmla="*/ 22 h 23"/>
                <a:gd name="T66" fmla="*/ 16 w 35"/>
                <a:gd name="T67" fmla="*/ 21 h 23"/>
                <a:gd name="T68" fmla="*/ 18 w 35"/>
                <a:gd name="T69" fmla="*/ 12 h 23"/>
                <a:gd name="T70" fmla="*/ 21 w 35"/>
                <a:gd name="T71" fmla="*/ 15 h 23"/>
                <a:gd name="T72" fmla="*/ 31 w 35"/>
                <a:gd name="T73" fmla="*/ 14 h 23"/>
                <a:gd name="T74" fmla="*/ 33 w 35"/>
                <a:gd name="T75" fmla="*/ 6 h 23"/>
                <a:gd name="T76" fmla="*/ 27 w 35"/>
                <a:gd name="T7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23">
                  <a:moveTo>
                    <a:pt x="8" y="21"/>
                  </a:moveTo>
                  <a:cubicBezTo>
                    <a:pt x="6" y="21"/>
                    <a:pt x="3" y="17"/>
                    <a:pt x="6" y="16"/>
                  </a:cubicBezTo>
                  <a:cubicBezTo>
                    <a:pt x="7" y="15"/>
                    <a:pt x="9" y="15"/>
                    <a:pt x="10" y="14"/>
                  </a:cubicBezTo>
                  <a:cubicBezTo>
                    <a:pt x="8" y="21"/>
                    <a:pt x="8" y="21"/>
                    <a:pt x="8" y="21"/>
                  </a:cubicBezTo>
                  <a:moveTo>
                    <a:pt x="13" y="21"/>
                  </a:moveTo>
                  <a:cubicBezTo>
                    <a:pt x="15" y="13"/>
                    <a:pt x="15" y="13"/>
                    <a:pt x="15" y="13"/>
                  </a:cubicBezTo>
                  <a:cubicBezTo>
                    <a:pt x="17" y="14"/>
                    <a:pt x="17" y="18"/>
                    <a:pt x="16" y="19"/>
                  </a:cubicBezTo>
                  <a:cubicBezTo>
                    <a:pt x="15" y="19"/>
                    <a:pt x="14" y="20"/>
                    <a:pt x="13" y="21"/>
                  </a:cubicBezTo>
                  <a:moveTo>
                    <a:pt x="9" y="22"/>
                  </a:moveTo>
                  <a:cubicBezTo>
                    <a:pt x="9" y="22"/>
                    <a:pt x="9" y="22"/>
                    <a:pt x="8" y="22"/>
                  </a:cubicBezTo>
                  <a:cubicBezTo>
                    <a:pt x="8" y="22"/>
                    <a:pt x="8" y="22"/>
                    <a:pt x="8" y="22"/>
                  </a:cubicBezTo>
                  <a:cubicBezTo>
                    <a:pt x="11" y="14"/>
                    <a:pt x="11" y="14"/>
                    <a:pt x="11" y="14"/>
                  </a:cubicBezTo>
                  <a:cubicBezTo>
                    <a:pt x="11" y="14"/>
                    <a:pt x="11" y="14"/>
                    <a:pt x="11" y="14"/>
                  </a:cubicBezTo>
                  <a:cubicBezTo>
                    <a:pt x="12" y="14"/>
                    <a:pt x="13" y="13"/>
                    <a:pt x="14" y="13"/>
                  </a:cubicBezTo>
                  <a:cubicBezTo>
                    <a:pt x="14" y="13"/>
                    <a:pt x="14" y="13"/>
                    <a:pt x="14" y="13"/>
                  </a:cubicBezTo>
                  <a:cubicBezTo>
                    <a:pt x="14" y="13"/>
                    <a:pt x="15" y="13"/>
                    <a:pt x="15" y="13"/>
                  </a:cubicBezTo>
                  <a:cubicBezTo>
                    <a:pt x="12" y="21"/>
                    <a:pt x="12" y="21"/>
                    <a:pt x="12" y="21"/>
                  </a:cubicBezTo>
                  <a:cubicBezTo>
                    <a:pt x="11" y="21"/>
                    <a:pt x="10" y="22"/>
                    <a:pt x="9" y="22"/>
                  </a:cubicBezTo>
                  <a:moveTo>
                    <a:pt x="25" y="15"/>
                  </a:moveTo>
                  <a:cubicBezTo>
                    <a:pt x="27" y="7"/>
                    <a:pt x="27" y="7"/>
                    <a:pt x="27" y="7"/>
                  </a:cubicBezTo>
                  <a:cubicBezTo>
                    <a:pt x="28" y="7"/>
                    <a:pt x="28" y="6"/>
                    <a:pt x="29" y="6"/>
                  </a:cubicBezTo>
                  <a:cubicBezTo>
                    <a:pt x="29" y="6"/>
                    <a:pt x="29" y="6"/>
                    <a:pt x="29" y="6"/>
                  </a:cubicBezTo>
                  <a:cubicBezTo>
                    <a:pt x="29" y="6"/>
                    <a:pt x="30" y="6"/>
                    <a:pt x="30" y="6"/>
                  </a:cubicBezTo>
                  <a:cubicBezTo>
                    <a:pt x="28" y="14"/>
                    <a:pt x="28" y="14"/>
                    <a:pt x="28" y="14"/>
                  </a:cubicBezTo>
                  <a:cubicBezTo>
                    <a:pt x="29" y="14"/>
                    <a:pt x="29" y="14"/>
                    <a:pt x="29" y="14"/>
                  </a:cubicBezTo>
                  <a:cubicBezTo>
                    <a:pt x="30" y="6"/>
                    <a:pt x="30" y="6"/>
                    <a:pt x="30" y="6"/>
                  </a:cubicBezTo>
                  <a:cubicBezTo>
                    <a:pt x="32" y="7"/>
                    <a:pt x="32" y="11"/>
                    <a:pt x="31" y="12"/>
                  </a:cubicBezTo>
                  <a:cubicBezTo>
                    <a:pt x="30" y="14"/>
                    <a:pt x="26" y="15"/>
                    <a:pt x="24" y="15"/>
                  </a:cubicBezTo>
                  <a:cubicBezTo>
                    <a:pt x="24" y="15"/>
                    <a:pt x="24" y="15"/>
                    <a:pt x="24" y="15"/>
                  </a:cubicBezTo>
                  <a:cubicBezTo>
                    <a:pt x="22" y="15"/>
                    <a:pt x="18" y="11"/>
                    <a:pt x="21" y="10"/>
                  </a:cubicBezTo>
                  <a:cubicBezTo>
                    <a:pt x="23" y="9"/>
                    <a:pt x="25" y="8"/>
                    <a:pt x="27" y="7"/>
                  </a:cubicBezTo>
                  <a:cubicBezTo>
                    <a:pt x="25" y="15"/>
                    <a:pt x="25" y="15"/>
                    <a:pt x="25" y="15"/>
                  </a:cubicBezTo>
                  <a:cubicBezTo>
                    <a:pt x="25" y="15"/>
                    <a:pt x="25" y="15"/>
                    <a:pt x="25" y="15"/>
                  </a:cubicBezTo>
                  <a:moveTo>
                    <a:pt x="23" y="0"/>
                  </a:moveTo>
                  <a:cubicBezTo>
                    <a:pt x="22" y="0"/>
                    <a:pt x="21" y="1"/>
                    <a:pt x="22" y="3"/>
                  </a:cubicBezTo>
                  <a:cubicBezTo>
                    <a:pt x="22" y="4"/>
                    <a:pt x="22" y="5"/>
                    <a:pt x="23" y="5"/>
                  </a:cubicBezTo>
                  <a:cubicBezTo>
                    <a:pt x="23" y="5"/>
                    <a:pt x="23" y="5"/>
                    <a:pt x="23" y="5"/>
                  </a:cubicBezTo>
                  <a:cubicBezTo>
                    <a:pt x="24" y="4"/>
                    <a:pt x="24" y="3"/>
                    <a:pt x="23" y="3"/>
                  </a:cubicBezTo>
                  <a:cubicBezTo>
                    <a:pt x="23" y="2"/>
                    <a:pt x="23" y="1"/>
                    <a:pt x="24" y="1"/>
                  </a:cubicBezTo>
                  <a:cubicBezTo>
                    <a:pt x="24" y="1"/>
                    <a:pt x="24" y="1"/>
                    <a:pt x="25" y="2"/>
                  </a:cubicBezTo>
                  <a:cubicBezTo>
                    <a:pt x="27" y="3"/>
                    <a:pt x="29" y="4"/>
                    <a:pt x="32" y="5"/>
                  </a:cubicBezTo>
                  <a:cubicBezTo>
                    <a:pt x="31" y="5"/>
                    <a:pt x="30" y="5"/>
                    <a:pt x="30" y="5"/>
                  </a:cubicBezTo>
                  <a:cubicBezTo>
                    <a:pt x="28" y="5"/>
                    <a:pt x="26" y="6"/>
                    <a:pt x="24" y="6"/>
                  </a:cubicBezTo>
                  <a:cubicBezTo>
                    <a:pt x="23" y="7"/>
                    <a:pt x="22" y="7"/>
                    <a:pt x="20" y="8"/>
                  </a:cubicBezTo>
                  <a:cubicBezTo>
                    <a:pt x="19" y="9"/>
                    <a:pt x="19" y="11"/>
                    <a:pt x="18" y="11"/>
                  </a:cubicBezTo>
                  <a:cubicBezTo>
                    <a:pt x="17" y="11"/>
                    <a:pt x="17" y="11"/>
                    <a:pt x="17" y="11"/>
                  </a:cubicBezTo>
                  <a:cubicBezTo>
                    <a:pt x="16" y="11"/>
                    <a:pt x="16" y="11"/>
                    <a:pt x="16" y="11"/>
                  </a:cubicBezTo>
                  <a:cubicBezTo>
                    <a:pt x="15" y="11"/>
                    <a:pt x="15" y="11"/>
                    <a:pt x="14" y="11"/>
                  </a:cubicBezTo>
                  <a:cubicBezTo>
                    <a:pt x="14" y="11"/>
                    <a:pt x="14" y="11"/>
                    <a:pt x="13" y="11"/>
                  </a:cubicBezTo>
                  <a:cubicBezTo>
                    <a:pt x="12" y="12"/>
                    <a:pt x="11" y="12"/>
                    <a:pt x="9" y="13"/>
                  </a:cubicBezTo>
                  <a:cubicBezTo>
                    <a:pt x="7" y="14"/>
                    <a:pt x="4" y="14"/>
                    <a:pt x="3" y="17"/>
                  </a:cubicBezTo>
                  <a:cubicBezTo>
                    <a:pt x="4" y="15"/>
                    <a:pt x="5" y="12"/>
                    <a:pt x="6" y="9"/>
                  </a:cubicBezTo>
                  <a:cubicBezTo>
                    <a:pt x="6" y="9"/>
                    <a:pt x="6" y="9"/>
                    <a:pt x="6" y="9"/>
                  </a:cubicBezTo>
                  <a:cubicBezTo>
                    <a:pt x="6" y="9"/>
                    <a:pt x="7" y="9"/>
                    <a:pt x="7" y="10"/>
                  </a:cubicBezTo>
                  <a:cubicBezTo>
                    <a:pt x="8" y="11"/>
                    <a:pt x="8" y="11"/>
                    <a:pt x="8" y="11"/>
                  </a:cubicBezTo>
                  <a:cubicBezTo>
                    <a:pt x="8" y="11"/>
                    <a:pt x="9" y="11"/>
                    <a:pt x="9" y="11"/>
                  </a:cubicBezTo>
                  <a:cubicBezTo>
                    <a:pt x="10" y="11"/>
                    <a:pt x="8" y="7"/>
                    <a:pt x="6" y="7"/>
                  </a:cubicBezTo>
                  <a:cubicBezTo>
                    <a:pt x="5" y="7"/>
                    <a:pt x="5" y="7"/>
                    <a:pt x="5" y="8"/>
                  </a:cubicBezTo>
                  <a:cubicBezTo>
                    <a:pt x="4" y="8"/>
                    <a:pt x="4" y="10"/>
                    <a:pt x="3" y="11"/>
                  </a:cubicBezTo>
                  <a:cubicBezTo>
                    <a:pt x="3" y="13"/>
                    <a:pt x="2" y="15"/>
                    <a:pt x="2" y="17"/>
                  </a:cubicBezTo>
                  <a:cubicBezTo>
                    <a:pt x="1" y="17"/>
                    <a:pt x="0" y="19"/>
                    <a:pt x="1" y="19"/>
                  </a:cubicBezTo>
                  <a:cubicBezTo>
                    <a:pt x="2" y="19"/>
                    <a:pt x="2" y="19"/>
                    <a:pt x="2" y="19"/>
                  </a:cubicBezTo>
                  <a:cubicBezTo>
                    <a:pt x="2" y="19"/>
                    <a:pt x="2" y="19"/>
                    <a:pt x="3" y="19"/>
                  </a:cubicBezTo>
                  <a:cubicBezTo>
                    <a:pt x="3" y="19"/>
                    <a:pt x="3" y="19"/>
                    <a:pt x="3" y="19"/>
                  </a:cubicBezTo>
                  <a:cubicBezTo>
                    <a:pt x="3" y="19"/>
                    <a:pt x="3" y="19"/>
                    <a:pt x="3" y="19"/>
                  </a:cubicBezTo>
                  <a:cubicBezTo>
                    <a:pt x="4" y="20"/>
                    <a:pt x="5" y="21"/>
                    <a:pt x="5" y="22"/>
                  </a:cubicBezTo>
                  <a:cubicBezTo>
                    <a:pt x="7" y="23"/>
                    <a:pt x="8" y="23"/>
                    <a:pt x="9" y="23"/>
                  </a:cubicBezTo>
                  <a:cubicBezTo>
                    <a:pt x="11" y="23"/>
                    <a:pt x="14" y="22"/>
                    <a:pt x="16" y="21"/>
                  </a:cubicBezTo>
                  <a:cubicBezTo>
                    <a:pt x="18" y="19"/>
                    <a:pt x="18" y="17"/>
                    <a:pt x="18" y="14"/>
                  </a:cubicBezTo>
                  <a:cubicBezTo>
                    <a:pt x="17" y="13"/>
                    <a:pt x="17" y="13"/>
                    <a:pt x="18" y="12"/>
                  </a:cubicBezTo>
                  <a:cubicBezTo>
                    <a:pt x="18" y="12"/>
                    <a:pt x="18" y="12"/>
                    <a:pt x="18" y="12"/>
                  </a:cubicBezTo>
                  <a:cubicBezTo>
                    <a:pt x="19" y="12"/>
                    <a:pt x="20" y="15"/>
                    <a:pt x="21" y="15"/>
                  </a:cubicBezTo>
                  <a:cubicBezTo>
                    <a:pt x="22" y="16"/>
                    <a:pt x="23" y="17"/>
                    <a:pt x="24" y="17"/>
                  </a:cubicBezTo>
                  <a:cubicBezTo>
                    <a:pt x="27" y="17"/>
                    <a:pt x="29" y="16"/>
                    <a:pt x="31" y="14"/>
                  </a:cubicBezTo>
                  <a:cubicBezTo>
                    <a:pt x="33" y="13"/>
                    <a:pt x="33" y="11"/>
                    <a:pt x="33" y="8"/>
                  </a:cubicBezTo>
                  <a:cubicBezTo>
                    <a:pt x="33" y="7"/>
                    <a:pt x="32" y="7"/>
                    <a:pt x="33" y="6"/>
                  </a:cubicBezTo>
                  <a:cubicBezTo>
                    <a:pt x="34" y="6"/>
                    <a:pt x="35" y="5"/>
                    <a:pt x="34" y="4"/>
                  </a:cubicBezTo>
                  <a:cubicBezTo>
                    <a:pt x="33" y="3"/>
                    <a:pt x="29" y="2"/>
                    <a:pt x="27" y="1"/>
                  </a:cubicBezTo>
                  <a:cubicBezTo>
                    <a:pt x="26" y="1"/>
                    <a:pt x="24" y="0"/>
                    <a:pt x="2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35" name="ïṩ1ïḓé"/>
            <p:cNvSpPr/>
            <p:nvPr/>
          </p:nvSpPr>
          <p:spPr bwMode="auto">
            <a:xfrm>
              <a:off x="3977" y="1927"/>
              <a:ext cx="14" cy="17"/>
            </a:xfrm>
            <a:custGeom>
              <a:avLst/>
              <a:gdLst>
                <a:gd name="T0" fmla="*/ 12 w 14"/>
                <a:gd name="T1" fmla="*/ 0 h 17"/>
                <a:gd name="T2" fmla="*/ 0 w 14"/>
                <a:gd name="T3" fmla="*/ 17 h 17"/>
                <a:gd name="T4" fmla="*/ 2 w 14"/>
                <a:gd name="T5" fmla="*/ 17 h 17"/>
                <a:gd name="T6" fmla="*/ 14 w 14"/>
                <a:gd name="T7" fmla="*/ 0 h 17"/>
                <a:gd name="T8" fmla="*/ 12 w 14"/>
                <a:gd name="T9" fmla="*/ 0 h 17"/>
              </a:gdLst>
              <a:ahLst/>
              <a:cxnLst>
                <a:cxn ang="0">
                  <a:pos x="T0" y="T1"/>
                </a:cxn>
                <a:cxn ang="0">
                  <a:pos x="T2" y="T3"/>
                </a:cxn>
                <a:cxn ang="0">
                  <a:pos x="T4" y="T5"/>
                </a:cxn>
                <a:cxn ang="0">
                  <a:pos x="T6" y="T7"/>
                </a:cxn>
                <a:cxn ang="0">
                  <a:pos x="T8" y="T9"/>
                </a:cxn>
              </a:cxnLst>
              <a:rect l="0" t="0" r="r" b="b"/>
              <a:pathLst>
                <a:path w="14" h="17">
                  <a:moveTo>
                    <a:pt x="12" y="0"/>
                  </a:moveTo>
                  <a:lnTo>
                    <a:pt x="0" y="17"/>
                  </a:lnTo>
                  <a:lnTo>
                    <a:pt x="2" y="17"/>
                  </a:lnTo>
                  <a:lnTo>
                    <a:pt x="14" y="0"/>
                  </a:lnTo>
                  <a:lnTo>
                    <a:pt x="12"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36" name="iślîḋê"/>
            <p:cNvSpPr/>
            <p:nvPr/>
          </p:nvSpPr>
          <p:spPr bwMode="auto">
            <a:xfrm>
              <a:off x="3977" y="1927"/>
              <a:ext cx="14" cy="17"/>
            </a:xfrm>
            <a:custGeom>
              <a:avLst/>
              <a:gdLst>
                <a:gd name="T0" fmla="*/ 12 w 14"/>
                <a:gd name="T1" fmla="*/ 0 h 17"/>
                <a:gd name="T2" fmla="*/ 0 w 14"/>
                <a:gd name="T3" fmla="*/ 17 h 17"/>
                <a:gd name="T4" fmla="*/ 2 w 14"/>
                <a:gd name="T5" fmla="*/ 17 h 17"/>
                <a:gd name="T6" fmla="*/ 14 w 14"/>
                <a:gd name="T7" fmla="*/ 0 h 17"/>
                <a:gd name="T8" fmla="*/ 12 w 14"/>
                <a:gd name="T9" fmla="*/ 0 h 17"/>
              </a:gdLst>
              <a:ahLst/>
              <a:cxnLst>
                <a:cxn ang="0">
                  <a:pos x="T0" y="T1"/>
                </a:cxn>
                <a:cxn ang="0">
                  <a:pos x="T2" y="T3"/>
                </a:cxn>
                <a:cxn ang="0">
                  <a:pos x="T4" y="T5"/>
                </a:cxn>
                <a:cxn ang="0">
                  <a:pos x="T6" y="T7"/>
                </a:cxn>
                <a:cxn ang="0">
                  <a:pos x="T8" y="T9"/>
                </a:cxn>
              </a:cxnLst>
              <a:rect l="0" t="0" r="r" b="b"/>
              <a:pathLst>
                <a:path w="14" h="17">
                  <a:moveTo>
                    <a:pt x="12" y="0"/>
                  </a:moveTo>
                  <a:lnTo>
                    <a:pt x="0" y="17"/>
                  </a:lnTo>
                  <a:lnTo>
                    <a:pt x="2" y="17"/>
                  </a:lnTo>
                  <a:lnTo>
                    <a:pt x="14" y="0"/>
                  </a:lnTo>
                  <a:lnTo>
                    <a:pt x="12"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37" name="îś1iḑé"/>
            <p:cNvSpPr/>
            <p:nvPr/>
          </p:nvSpPr>
          <p:spPr bwMode="auto">
            <a:xfrm>
              <a:off x="3979" y="1934"/>
              <a:ext cx="12" cy="12"/>
            </a:xfrm>
            <a:custGeom>
              <a:avLst/>
              <a:gdLst>
                <a:gd name="T0" fmla="*/ 10 w 12"/>
                <a:gd name="T1" fmla="*/ 0 h 12"/>
                <a:gd name="T2" fmla="*/ 0 w 12"/>
                <a:gd name="T3" fmla="*/ 12 h 12"/>
                <a:gd name="T4" fmla="*/ 3 w 12"/>
                <a:gd name="T5" fmla="*/ 12 h 12"/>
                <a:gd name="T6" fmla="*/ 12 w 12"/>
                <a:gd name="T7" fmla="*/ 0 h 12"/>
                <a:gd name="T8" fmla="*/ 10 w 12"/>
                <a:gd name="T9" fmla="*/ 0 h 12"/>
              </a:gdLst>
              <a:ahLst/>
              <a:cxnLst>
                <a:cxn ang="0">
                  <a:pos x="T0" y="T1"/>
                </a:cxn>
                <a:cxn ang="0">
                  <a:pos x="T2" y="T3"/>
                </a:cxn>
                <a:cxn ang="0">
                  <a:pos x="T4" y="T5"/>
                </a:cxn>
                <a:cxn ang="0">
                  <a:pos x="T6" y="T7"/>
                </a:cxn>
                <a:cxn ang="0">
                  <a:pos x="T8" y="T9"/>
                </a:cxn>
              </a:cxnLst>
              <a:rect l="0" t="0" r="r" b="b"/>
              <a:pathLst>
                <a:path w="12" h="12">
                  <a:moveTo>
                    <a:pt x="10" y="0"/>
                  </a:moveTo>
                  <a:lnTo>
                    <a:pt x="0" y="12"/>
                  </a:lnTo>
                  <a:lnTo>
                    <a:pt x="3" y="12"/>
                  </a:lnTo>
                  <a:lnTo>
                    <a:pt x="12" y="0"/>
                  </a:lnTo>
                  <a:lnTo>
                    <a:pt x="10"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38" name="iṡḷïdé"/>
            <p:cNvSpPr/>
            <p:nvPr/>
          </p:nvSpPr>
          <p:spPr bwMode="auto">
            <a:xfrm>
              <a:off x="3979" y="1934"/>
              <a:ext cx="12" cy="12"/>
            </a:xfrm>
            <a:custGeom>
              <a:avLst/>
              <a:gdLst>
                <a:gd name="T0" fmla="*/ 10 w 12"/>
                <a:gd name="T1" fmla="*/ 0 h 12"/>
                <a:gd name="T2" fmla="*/ 0 w 12"/>
                <a:gd name="T3" fmla="*/ 12 h 12"/>
                <a:gd name="T4" fmla="*/ 3 w 12"/>
                <a:gd name="T5" fmla="*/ 12 h 12"/>
                <a:gd name="T6" fmla="*/ 12 w 12"/>
                <a:gd name="T7" fmla="*/ 0 h 12"/>
                <a:gd name="T8" fmla="*/ 10 w 12"/>
                <a:gd name="T9" fmla="*/ 0 h 12"/>
              </a:gdLst>
              <a:ahLst/>
              <a:cxnLst>
                <a:cxn ang="0">
                  <a:pos x="T0" y="T1"/>
                </a:cxn>
                <a:cxn ang="0">
                  <a:pos x="T2" y="T3"/>
                </a:cxn>
                <a:cxn ang="0">
                  <a:pos x="T4" y="T5"/>
                </a:cxn>
                <a:cxn ang="0">
                  <a:pos x="T6" y="T7"/>
                </a:cxn>
                <a:cxn ang="0">
                  <a:pos x="T8" y="T9"/>
                </a:cxn>
              </a:cxnLst>
              <a:rect l="0" t="0" r="r" b="b"/>
              <a:pathLst>
                <a:path w="12" h="12">
                  <a:moveTo>
                    <a:pt x="10" y="0"/>
                  </a:moveTo>
                  <a:lnTo>
                    <a:pt x="0" y="12"/>
                  </a:lnTo>
                  <a:lnTo>
                    <a:pt x="3" y="12"/>
                  </a:lnTo>
                  <a:lnTo>
                    <a:pt x="12" y="0"/>
                  </a:lnTo>
                  <a:lnTo>
                    <a:pt x="10"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39" name="îsḻîďe"/>
            <p:cNvSpPr/>
            <p:nvPr/>
          </p:nvSpPr>
          <p:spPr bwMode="auto">
            <a:xfrm>
              <a:off x="3982" y="1939"/>
              <a:ext cx="7" cy="9"/>
            </a:xfrm>
            <a:custGeom>
              <a:avLst/>
              <a:gdLst>
                <a:gd name="T0" fmla="*/ 3 w 3"/>
                <a:gd name="T1" fmla="*/ 0 h 4"/>
                <a:gd name="T2" fmla="*/ 1 w 3"/>
                <a:gd name="T3" fmla="*/ 3 h 4"/>
                <a:gd name="T4" fmla="*/ 0 w 3"/>
                <a:gd name="T5" fmla="*/ 4 h 4"/>
                <a:gd name="T6" fmla="*/ 1 w 3"/>
                <a:gd name="T7" fmla="*/ 4 h 4"/>
                <a:gd name="T8" fmla="*/ 1 w 3"/>
                <a:gd name="T9" fmla="*/ 4 h 4"/>
                <a:gd name="T10" fmla="*/ 1 w 3"/>
                <a:gd name="T11" fmla="*/ 4 h 4"/>
                <a:gd name="T12" fmla="*/ 1 w 3"/>
                <a:gd name="T13" fmla="*/ 3 h 4"/>
                <a:gd name="T14" fmla="*/ 3 w 3"/>
                <a:gd name="T15" fmla="*/ 0 h 4"/>
                <a:gd name="T16" fmla="*/ 3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0"/>
                  </a:moveTo>
                  <a:cubicBezTo>
                    <a:pt x="2" y="1"/>
                    <a:pt x="2" y="2"/>
                    <a:pt x="1" y="3"/>
                  </a:cubicBezTo>
                  <a:cubicBezTo>
                    <a:pt x="0" y="4"/>
                    <a:pt x="0" y="4"/>
                    <a:pt x="0" y="4"/>
                  </a:cubicBezTo>
                  <a:cubicBezTo>
                    <a:pt x="1" y="4"/>
                    <a:pt x="1" y="4"/>
                    <a:pt x="1" y="4"/>
                  </a:cubicBezTo>
                  <a:cubicBezTo>
                    <a:pt x="1" y="4"/>
                    <a:pt x="1" y="4"/>
                    <a:pt x="1" y="4"/>
                  </a:cubicBezTo>
                  <a:cubicBezTo>
                    <a:pt x="1" y="4"/>
                    <a:pt x="1" y="4"/>
                    <a:pt x="1" y="4"/>
                  </a:cubicBezTo>
                  <a:cubicBezTo>
                    <a:pt x="1" y="3"/>
                    <a:pt x="1" y="3"/>
                    <a:pt x="1" y="3"/>
                  </a:cubicBezTo>
                  <a:cubicBezTo>
                    <a:pt x="2" y="2"/>
                    <a:pt x="3" y="1"/>
                    <a:pt x="3" y="0"/>
                  </a:cubicBezTo>
                  <a:cubicBezTo>
                    <a:pt x="3" y="0"/>
                    <a:pt x="3"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40" name="îṩḻíḓè"/>
            <p:cNvSpPr/>
            <p:nvPr/>
          </p:nvSpPr>
          <p:spPr bwMode="auto">
            <a:xfrm>
              <a:off x="3941" y="2075"/>
              <a:ext cx="107" cy="99"/>
            </a:xfrm>
            <a:custGeom>
              <a:avLst/>
              <a:gdLst>
                <a:gd name="T0" fmla="*/ 27 w 45"/>
                <a:gd name="T1" fmla="*/ 31 h 42"/>
                <a:gd name="T2" fmla="*/ 34 w 45"/>
                <a:gd name="T3" fmla="*/ 32 h 42"/>
                <a:gd name="T4" fmla="*/ 24 w 45"/>
                <a:gd name="T5" fmla="*/ 28 h 42"/>
                <a:gd name="T6" fmla="*/ 32 w 45"/>
                <a:gd name="T7" fmla="*/ 32 h 42"/>
                <a:gd name="T8" fmla="*/ 38 w 45"/>
                <a:gd name="T9" fmla="*/ 28 h 42"/>
                <a:gd name="T10" fmla="*/ 31 w 45"/>
                <a:gd name="T11" fmla="*/ 33 h 42"/>
                <a:gd name="T12" fmla="*/ 20 w 45"/>
                <a:gd name="T13" fmla="*/ 29 h 42"/>
                <a:gd name="T14" fmla="*/ 14 w 45"/>
                <a:gd name="T15" fmla="*/ 33 h 42"/>
                <a:gd name="T16" fmla="*/ 14 w 45"/>
                <a:gd name="T17" fmla="*/ 27 h 42"/>
                <a:gd name="T18" fmla="*/ 15 w 45"/>
                <a:gd name="T19" fmla="*/ 26 h 42"/>
                <a:gd name="T20" fmla="*/ 30 w 45"/>
                <a:gd name="T21" fmla="*/ 22 h 42"/>
                <a:gd name="T22" fmla="*/ 27 w 45"/>
                <a:gd name="T23" fmla="*/ 20 h 42"/>
                <a:gd name="T24" fmla="*/ 28 w 45"/>
                <a:gd name="T25" fmla="*/ 18 h 42"/>
                <a:gd name="T26" fmla="*/ 24 w 45"/>
                <a:gd name="T27" fmla="*/ 19 h 42"/>
                <a:gd name="T28" fmla="*/ 13 w 45"/>
                <a:gd name="T29" fmla="*/ 23 h 42"/>
                <a:gd name="T30" fmla="*/ 19 w 45"/>
                <a:gd name="T31" fmla="*/ 20 h 42"/>
                <a:gd name="T32" fmla="*/ 33 w 45"/>
                <a:gd name="T33" fmla="*/ 23 h 42"/>
                <a:gd name="T34" fmla="*/ 21 w 45"/>
                <a:gd name="T35" fmla="*/ 20 h 42"/>
                <a:gd name="T36" fmla="*/ 16 w 45"/>
                <a:gd name="T37" fmla="*/ 16 h 42"/>
                <a:gd name="T38" fmla="*/ 14 w 45"/>
                <a:gd name="T39" fmla="*/ 15 h 42"/>
                <a:gd name="T40" fmla="*/ 9 w 45"/>
                <a:gd name="T41" fmla="*/ 16 h 42"/>
                <a:gd name="T42" fmla="*/ 7 w 45"/>
                <a:gd name="T43" fmla="*/ 15 h 42"/>
                <a:gd name="T44" fmla="*/ 7 w 45"/>
                <a:gd name="T45" fmla="*/ 14 h 42"/>
                <a:gd name="T46" fmla="*/ 6 w 45"/>
                <a:gd name="T47" fmla="*/ 14 h 42"/>
                <a:gd name="T48" fmla="*/ 22 w 45"/>
                <a:gd name="T49" fmla="*/ 12 h 42"/>
                <a:gd name="T50" fmla="*/ 28 w 45"/>
                <a:gd name="T51" fmla="*/ 10 h 42"/>
                <a:gd name="T52" fmla="*/ 34 w 45"/>
                <a:gd name="T53" fmla="*/ 10 h 42"/>
                <a:gd name="T54" fmla="*/ 28 w 45"/>
                <a:gd name="T55" fmla="*/ 9 h 42"/>
                <a:gd name="T56" fmla="*/ 29 w 45"/>
                <a:gd name="T57" fmla="*/ 7 h 42"/>
                <a:gd name="T58" fmla="*/ 14 w 45"/>
                <a:gd name="T59" fmla="*/ 3 h 42"/>
                <a:gd name="T60" fmla="*/ 28 w 45"/>
                <a:gd name="T61" fmla="*/ 6 h 42"/>
                <a:gd name="T62" fmla="*/ 10 w 45"/>
                <a:gd name="T63" fmla="*/ 7 h 42"/>
                <a:gd name="T64" fmla="*/ 15 w 45"/>
                <a:gd name="T65" fmla="*/ 6 h 42"/>
                <a:gd name="T66" fmla="*/ 11 w 45"/>
                <a:gd name="T67" fmla="*/ 6 h 42"/>
                <a:gd name="T68" fmla="*/ 44 w 45"/>
                <a:gd name="T69" fmla="*/ 1 h 42"/>
                <a:gd name="T70" fmla="*/ 37 w 45"/>
                <a:gd name="T71" fmla="*/ 11 h 42"/>
                <a:gd name="T72" fmla="*/ 15 w 45"/>
                <a:gd name="T73" fmla="*/ 2 h 42"/>
                <a:gd name="T74" fmla="*/ 11 w 45"/>
                <a:gd name="T75" fmla="*/ 9 h 42"/>
                <a:gd name="T76" fmla="*/ 16 w 45"/>
                <a:gd name="T77" fmla="*/ 10 h 42"/>
                <a:gd name="T78" fmla="*/ 21 w 45"/>
                <a:gd name="T79" fmla="*/ 11 h 42"/>
                <a:gd name="T80" fmla="*/ 23 w 45"/>
                <a:gd name="T81" fmla="*/ 0 h 42"/>
                <a:gd name="T82" fmla="*/ 3 w 45"/>
                <a:gd name="T83" fmla="*/ 9 h 42"/>
                <a:gd name="T84" fmla="*/ 3 w 45"/>
                <a:gd name="T85" fmla="*/ 12 h 42"/>
                <a:gd name="T86" fmla="*/ 0 w 45"/>
                <a:gd name="T87" fmla="*/ 15 h 42"/>
                <a:gd name="T88" fmla="*/ 0 w 45"/>
                <a:gd name="T89" fmla="*/ 18 h 42"/>
                <a:gd name="T90" fmla="*/ 12 w 45"/>
                <a:gd name="T91" fmla="*/ 23 h 42"/>
                <a:gd name="T92" fmla="*/ 14 w 45"/>
                <a:gd name="T93" fmla="*/ 28 h 42"/>
                <a:gd name="T94" fmla="*/ 2 w 45"/>
                <a:gd name="T95" fmla="*/ 25 h 42"/>
                <a:gd name="T96" fmla="*/ 12 w 45"/>
                <a:gd name="T97" fmla="*/ 32 h 42"/>
                <a:gd name="T98" fmla="*/ 33 w 45"/>
                <a:gd name="T99" fmla="*/ 41 h 42"/>
                <a:gd name="T100" fmla="*/ 37 w 45"/>
                <a:gd name="T101" fmla="*/ 38 h 42"/>
                <a:gd name="T102" fmla="*/ 33 w 45"/>
                <a:gd name="T103" fmla="*/ 38 h 42"/>
                <a:gd name="T104" fmla="*/ 34 w 45"/>
                <a:gd name="T105" fmla="*/ 37 h 42"/>
                <a:gd name="T106" fmla="*/ 39 w 45"/>
                <a:gd name="T107" fmla="*/ 26 h 42"/>
                <a:gd name="T108" fmla="*/ 44 w 45"/>
                <a:gd name="T109" fmla="*/ 21 h 42"/>
                <a:gd name="T110" fmla="*/ 27 w 45"/>
                <a:gd name="T111" fmla="*/ 25 h 42"/>
                <a:gd name="T112" fmla="*/ 24 w 45"/>
                <a:gd name="T113" fmla="*/ 23 h 42"/>
                <a:gd name="T114" fmla="*/ 45 w 45"/>
                <a:gd name="T115" fmla="*/ 7 h 42"/>
                <a:gd name="T116" fmla="*/ 34 w 45"/>
                <a:gd name="T117" fmla="*/ 16 h 42"/>
                <a:gd name="T118" fmla="*/ 37 w 45"/>
                <a:gd name="T119" fmla="*/ 15 h 42"/>
                <a:gd name="T120" fmla="*/ 24 w 45"/>
                <a:gd name="T1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 h="42">
                  <a:moveTo>
                    <a:pt x="30" y="32"/>
                  </a:moveTo>
                  <a:cubicBezTo>
                    <a:pt x="30" y="32"/>
                    <a:pt x="30" y="32"/>
                    <a:pt x="29" y="31"/>
                  </a:cubicBezTo>
                  <a:cubicBezTo>
                    <a:pt x="29" y="31"/>
                    <a:pt x="29" y="31"/>
                    <a:pt x="29" y="31"/>
                  </a:cubicBezTo>
                  <a:cubicBezTo>
                    <a:pt x="30" y="31"/>
                    <a:pt x="30" y="31"/>
                    <a:pt x="31" y="30"/>
                  </a:cubicBezTo>
                  <a:cubicBezTo>
                    <a:pt x="31" y="31"/>
                    <a:pt x="32" y="31"/>
                    <a:pt x="32" y="31"/>
                  </a:cubicBezTo>
                  <a:cubicBezTo>
                    <a:pt x="31" y="31"/>
                    <a:pt x="31" y="31"/>
                    <a:pt x="30" y="32"/>
                  </a:cubicBezTo>
                  <a:moveTo>
                    <a:pt x="35" y="32"/>
                  </a:moveTo>
                  <a:cubicBezTo>
                    <a:pt x="35" y="32"/>
                    <a:pt x="35" y="32"/>
                    <a:pt x="35" y="32"/>
                  </a:cubicBezTo>
                  <a:cubicBezTo>
                    <a:pt x="36" y="31"/>
                    <a:pt x="37" y="31"/>
                    <a:pt x="38" y="30"/>
                  </a:cubicBezTo>
                  <a:cubicBezTo>
                    <a:pt x="38" y="30"/>
                    <a:pt x="38" y="30"/>
                    <a:pt x="38" y="30"/>
                  </a:cubicBezTo>
                  <a:cubicBezTo>
                    <a:pt x="35" y="32"/>
                    <a:pt x="35" y="32"/>
                    <a:pt x="35" y="32"/>
                  </a:cubicBezTo>
                  <a:moveTo>
                    <a:pt x="29" y="31"/>
                  </a:moveTo>
                  <a:cubicBezTo>
                    <a:pt x="28" y="31"/>
                    <a:pt x="28" y="31"/>
                    <a:pt x="27" y="31"/>
                  </a:cubicBezTo>
                  <a:cubicBezTo>
                    <a:pt x="27" y="31"/>
                    <a:pt x="27" y="31"/>
                    <a:pt x="27" y="31"/>
                  </a:cubicBezTo>
                  <a:cubicBezTo>
                    <a:pt x="29" y="30"/>
                    <a:pt x="29" y="30"/>
                    <a:pt x="29" y="30"/>
                  </a:cubicBezTo>
                  <a:cubicBezTo>
                    <a:pt x="29" y="30"/>
                    <a:pt x="30" y="30"/>
                    <a:pt x="30" y="30"/>
                  </a:cubicBezTo>
                  <a:cubicBezTo>
                    <a:pt x="30" y="31"/>
                    <a:pt x="29" y="31"/>
                    <a:pt x="29" y="31"/>
                  </a:cubicBezTo>
                  <a:cubicBezTo>
                    <a:pt x="29" y="31"/>
                    <a:pt x="29" y="31"/>
                    <a:pt x="29" y="31"/>
                  </a:cubicBezTo>
                  <a:moveTo>
                    <a:pt x="27" y="30"/>
                  </a:moveTo>
                  <a:cubicBezTo>
                    <a:pt x="27" y="29"/>
                    <a:pt x="27" y="29"/>
                    <a:pt x="27" y="29"/>
                  </a:cubicBezTo>
                  <a:cubicBezTo>
                    <a:pt x="28" y="29"/>
                    <a:pt x="28" y="30"/>
                    <a:pt x="28" y="30"/>
                  </a:cubicBezTo>
                  <a:cubicBezTo>
                    <a:pt x="27" y="30"/>
                    <a:pt x="27" y="30"/>
                    <a:pt x="27" y="30"/>
                  </a:cubicBezTo>
                  <a:cubicBezTo>
                    <a:pt x="26" y="30"/>
                    <a:pt x="26" y="30"/>
                    <a:pt x="26" y="30"/>
                  </a:cubicBezTo>
                  <a:cubicBezTo>
                    <a:pt x="27" y="29"/>
                    <a:pt x="27" y="29"/>
                    <a:pt x="27" y="29"/>
                  </a:cubicBezTo>
                  <a:cubicBezTo>
                    <a:pt x="27" y="30"/>
                    <a:pt x="27" y="30"/>
                    <a:pt x="27" y="30"/>
                  </a:cubicBezTo>
                  <a:moveTo>
                    <a:pt x="34" y="32"/>
                  </a:moveTo>
                  <a:cubicBezTo>
                    <a:pt x="34" y="32"/>
                    <a:pt x="33" y="32"/>
                    <a:pt x="33" y="32"/>
                  </a:cubicBezTo>
                  <a:cubicBezTo>
                    <a:pt x="35" y="31"/>
                    <a:pt x="36" y="30"/>
                    <a:pt x="38" y="29"/>
                  </a:cubicBezTo>
                  <a:cubicBezTo>
                    <a:pt x="38" y="29"/>
                    <a:pt x="38" y="29"/>
                    <a:pt x="38" y="29"/>
                  </a:cubicBezTo>
                  <a:cubicBezTo>
                    <a:pt x="38" y="30"/>
                    <a:pt x="38" y="30"/>
                    <a:pt x="38" y="30"/>
                  </a:cubicBezTo>
                  <a:cubicBezTo>
                    <a:pt x="37" y="30"/>
                    <a:pt x="35" y="31"/>
                    <a:pt x="34" y="32"/>
                  </a:cubicBezTo>
                  <a:moveTo>
                    <a:pt x="26" y="30"/>
                  </a:moveTo>
                  <a:cubicBezTo>
                    <a:pt x="25" y="30"/>
                    <a:pt x="25" y="30"/>
                    <a:pt x="25" y="30"/>
                  </a:cubicBezTo>
                  <a:cubicBezTo>
                    <a:pt x="26" y="29"/>
                    <a:pt x="26" y="29"/>
                    <a:pt x="26" y="29"/>
                  </a:cubicBezTo>
                  <a:cubicBezTo>
                    <a:pt x="27" y="29"/>
                    <a:pt x="27" y="29"/>
                    <a:pt x="27" y="29"/>
                  </a:cubicBezTo>
                  <a:cubicBezTo>
                    <a:pt x="26" y="29"/>
                    <a:pt x="26" y="30"/>
                    <a:pt x="26" y="30"/>
                  </a:cubicBezTo>
                  <a:moveTo>
                    <a:pt x="24" y="29"/>
                  </a:moveTo>
                  <a:cubicBezTo>
                    <a:pt x="24" y="29"/>
                    <a:pt x="24" y="29"/>
                    <a:pt x="23" y="29"/>
                  </a:cubicBezTo>
                  <a:cubicBezTo>
                    <a:pt x="24" y="28"/>
                    <a:pt x="24" y="28"/>
                    <a:pt x="24" y="28"/>
                  </a:cubicBezTo>
                  <a:cubicBezTo>
                    <a:pt x="25" y="29"/>
                    <a:pt x="25" y="29"/>
                    <a:pt x="25" y="29"/>
                  </a:cubicBezTo>
                  <a:cubicBezTo>
                    <a:pt x="24" y="29"/>
                    <a:pt x="24" y="29"/>
                    <a:pt x="24" y="29"/>
                  </a:cubicBezTo>
                  <a:moveTo>
                    <a:pt x="33" y="31"/>
                  </a:moveTo>
                  <a:cubicBezTo>
                    <a:pt x="33" y="31"/>
                    <a:pt x="33" y="31"/>
                    <a:pt x="33" y="31"/>
                  </a:cubicBezTo>
                  <a:cubicBezTo>
                    <a:pt x="33" y="31"/>
                    <a:pt x="33" y="31"/>
                    <a:pt x="33" y="31"/>
                  </a:cubicBezTo>
                  <a:cubicBezTo>
                    <a:pt x="33" y="31"/>
                    <a:pt x="33" y="31"/>
                    <a:pt x="33" y="31"/>
                  </a:cubicBezTo>
                  <a:cubicBezTo>
                    <a:pt x="33" y="31"/>
                    <a:pt x="33" y="31"/>
                    <a:pt x="33" y="31"/>
                  </a:cubicBezTo>
                  <a:cubicBezTo>
                    <a:pt x="34" y="30"/>
                    <a:pt x="35" y="29"/>
                    <a:pt x="36" y="28"/>
                  </a:cubicBezTo>
                  <a:cubicBezTo>
                    <a:pt x="36" y="28"/>
                    <a:pt x="36" y="28"/>
                    <a:pt x="36" y="28"/>
                  </a:cubicBezTo>
                  <a:cubicBezTo>
                    <a:pt x="37" y="29"/>
                    <a:pt x="37" y="29"/>
                    <a:pt x="37" y="29"/>
                  </a:cubicBezTo>
                  <a:cubicBezTo>
                    <a:pt x="36" y="30"/>
                    <a:pt x="34" y="31"/>
                    <a:pt x="33" y="31"/>
                  </a:cubicBezTo>
                  <a:cubicBezTo>
                    <a:pt x="32" y="32"/>
                    <a:pt x="32" y="32"/>
                    <a:pt x="32" y="32"/>
                  </a:cubicBezTo>
                  <a:cubicBezTo>
                    <a:pt x="32" y="32"/>
                    <a:pt x="32" y="32"/>
                    <a:pt x="32" y="32"/>
                  </a:cubicBezTo>
                  <a:cubicBezTo>
                    <a:pt x="32" y="32"/>
                    <a:pt x="31" y="32"/>
                    <a:pt x="31" y="32"/>
                  </a:cubicBezTo>
                  <a:cubicBezTo>
                    <a:pt x="31" y="32"/>
                    <a:pt x="31" y="32"/>
                    <a:pt x="31" y="32"/>
                  </a:cubicBezTo>
                  <a:cubicBezTo>
                    <a:pt x="31" y="32"/>
                    <a:pt x="32" y="31"/>
                    <a:pt x="33" y="31"/>
                  </a:cubicBezTo>
                  <a:cubicBezTo>
                    <a:pt x="33" y="31"/>
                    <a:pt x="33" y="31"/>
                    <a:pt x="33" y="31"/>
                  </a:cubicBezTo>
                  <a:cubicBezTo>
                    <a:pt x="33" y="31"/>
                    <a:pt x="33" y="31"/>
                    <a:pt x="33" y="31"/>
                  </a:cubicBezTo>
                  <a:moveTo>
                    <a:pt x="35" y="33"/>
                  </a:moveTo>
                  <a:cubicBezTo>
                    <a:pt x="35" y="33"/>
                    <a:pt x="35" y="33"/>
                    <a:pt x="35" y="33"/>
                  </a:cubicBezTo>
                  <a:cubicBezTo>
                    <a:pt x="35" y="33"/>
                    <a:pt x="35" y="33"/>
                    <a:pt x="35" y="33"/>
                  </a:cubicBezTo>
                  <a:cubicBezTo>
                    <a:pt x="39" y="31"/>
                    <a:pt x="39" y="31"/>
                    <a:pt x="39" y="31"/>
                  </a:cubicBezTo>
                  <a:cubicBezTo>
                    <a:pt x="39" y="30"/>
                    <a:pt x="39" y="30"/>
                    <a:pt x="39" y="30"/>
                  </a:cubicBezTo>
                  <a:cubicBezTo>
                    <a:pt x="39" y="30"/>
                    <a:pt x="39" y="30"/>
                    <a:pt x="39" y="30"/>
                  </a:cubicBezTo>
                  <a:cubicBezTo>
                    <a:pt x="39" y="30"/>
                    <a:pt x="39" y="29"/>
                    <a:pt x="39" y="29"/>
                  </a:cubicBezTo>
                  <a:cubicBezTo>
                    <a:pt x="38" y="28"/>
                    <a:pt x="38" y="28"/>
                    <a:pt x="38" y="28"/>
                  </a:cubicBezTo>
                  <a:cubicBezTo>
                    <a:pt x="37" y="28"/>
                    <a:pt x="37" y="28"/>
                    <a:pt x="37" y="28"/>
                  </a:cubicBezTo>
                  <a:cubicBezTo>
                    <a:pt x="38" y="27"/>
                    <a:pt x="38" y="27"/>
                    <a:pt x="38" y="27"/>
                  </a:cubicBezTo>
                  <a:cubicBezTo>
                    <a:pt x="38" y="27"/>
                    <a:pt x="38" y="27"/>
                    <a:pt x="38" y="27"/>
                  </a:cubicBezTo>
                  <a:cubicBezTo>
                    <a:pt x="44" y="29"/>
                    <a:pt x="44" y="29"/>
                    <a:pt x="44" y="29"/>
                  </a:cubicBezTo>
                  <a:cubicBezTo>
                    <a:pt x="43" y="30"/>
                    <a:pt x="41" y="31"/>
                    <a:pt x="39" y="32"/>
                  </a:cubicBezTo>
                  <a:cubicBezTo>
                    <a:pt x="36" y="34"/>
                    <a:pt x="35" y="35"/>
                    <a:pt x="34" y="36"/>
                  </a:cubicBezTo>
                  <a:cubicBezTo>
                    <a:pt x="31" y="34"/>
                    <a:pt x="29" y="33"/>
                    <a:pt x="26" y="32"/>
                  </a:cubicBezTo>
                  <a:cubicBezTo>
                    <a:pt x="24" y="31"/>
                    <a:pt x="22" y="31"/>
                    <a:pt x="21" y="30"/>
                  </a:cubicBezTo>
                  <a:cubicBezTo>
                    <a:pt x="21" y="30"/>
                    <a:pt x="21" y="30"/>
                    <a:pt x="21" y="30"/>
                  </a:cubicBezTo>
                  <a:cubicBezTo>
                    <a:pt x="22" y="29"/>
                    <a:pt x="22" y="29"/>
                    <a:pt x="22" y="29"/>
                  </a:cubicBezTo>
                  <a:cubicBezTo>
                    <a:pt x="22" y="29"/>
                    <a:pt x="22" y="29"/>
                    <a:pt x="22" y="29"/>
                  </a:cubicBezTo>
                  <a:cubicBezTo>
                    <a:pt x="23" y="30"/>
                    <a:pt x="29" y="32"/>
                    <a:pt x="31" y="33"/>
                  </a:cubicBezTo>
                  <a:cubicBezTo>
                    <a:pt x="31" y="33"/>
                    <a:pt x="31" y="33"/>
                    <a:pt x="31" y="33"/>
                  </a:cubicBezTo>
                  <a:cubicBezTo>
                    <a:pt x="31" y="33"/>
                    <a:pt x="31" y="33"/>
                    <a:pt x="31" y="33"/>
                  </a:cubicBezTo>
                  <a:cubicBezTo>
                    <a:pt x="32" y="33"/>
                    <a:pt x="32" y="32"/>
                    <a:pt x="33" y="32"/>
                  </a:cubicBezTo>
                  <a:cubicBezTo>
                    <a:pt x="33" y="32"/>
                    <a:pt x="33" y="32"/>
                    <a:pt x="33" y="32"/>
                  </a:cubicBezTo>
                  <a:cubicBezTo>
                    <a:pt x="33" y="32"/>
                    <a:pt x="34" y="33"/>
                    <a:pt x="34" y="33"/>
                  </a:cubicBezTo>
                  <a:cubicBezTo>
                    <a:pt x="35" y="33"/>
                    <a:pt x="35" y="33"/>
                    <a:pt x="35" y="33"/>
                  </a:cubicBezTo>
                  <a:moveTo>
                    <a:pt x="19" y="27"/>
                  </a:moveTo>
                  <a:cubicBezTo>
                    <a:pt x="19" y="27"/>
                    <a:pt x="19" y="27"/>
                    <a:pt x="19" y="27"/>
                  </a:cubicBezTo>
                  <a:cubicBezTo>
                    <a:pt x="20" y="27"/>
                    <a:pt x="20" y="27"/>
                    <a:pt x="20" y="27"/>
                  </a:cubicBezTo>
                  <a:cubicBezTo>
                    <a:pt x="20" y="27"/>
                    <a:pt x="20" y="27"/>
                    <a:pt x="20" y="27"/>
                  </a:cubicBezTo>
                  <a:cubicBezTo>
                    <a:pt x="21" y="27"/>
                    <a:pt x="22" y="28"/>
                    <a:pt x="23" y="28"/>
                  </a:cubicBezTo>
                  <a:cubicBezTo>
                    <a:pt x="20" y="29"/>
                    <a:pt x="20" y="29"/>
                    <a:pt x="20" y="29"/>
                  </a:cubicBezTo>
                  <a:cubicBezTo>
                    <a:pt x="20" y="29"/>
                    <a:pt x="20" y="29"/>
                    <a:pt x="20" y="29"/>
                  </a:cubicBezTo>
                  <a:cubicBezTo>
                    <a:pt x="20" y="29"/>
                    <a:pt x="20" y="29"/>
                    <a:pt x="20" y="29"/>
                  </a:cubicBezTo>
                  <a:cubicBezTo>
                    <a:pt x="20" y="30"/>
                    <a:pt x="20" y="30"/>
                    <a:pt x="20" y="30"/>
                  </a:cubicBezTo>
                  <a:cubicBezTo>
                    <a:pt x="20" y="30"/>
                    <a:pt x="20" y="30"/>
                    <a:pt x="20" y="30"/>
                  </a:cubicBezTo>
                  <a:cubicBezTo>
                    <a:pt x="20" y="30"/>
                    <a:pt x="20" y="30"/>
                    <a:pt x="20" y="30"/>
                  </a:cubicBezTo>
                  <a:cubicBezTo>
                    <a:pt x="19" y="31"/>
                    <a:pt x="19" y="31"/>
                    <a:pt x="19" y="32"/>
                  </a:cubicBezTo>
                  <a:cubicBezTo>
                    <a:pt x="19" y="32"/>
                    <a:pt x="19" y="32"/>
                    <a:pt x="19" y="32"/>
                  </a:cubicBezTo>
                  <a:cubicBezTo>
                    <a:pt x="19" y="32"/>
                    <a:pt x="19" y="32"/>
                    <a:pt x="19" y="32"/>
                  </a:cubicBezTo>
                  <a:cubicBezTo>
                    <a:pt x="19" y="32"/>
                    <a:pt x="19" y="32"/>
                    <a:pt x="19" y="32"/>
                  </a:cubicBezTo>
                  <a:cubicBezTo>
                    <a:pt x="19" y="33"/>
                    <a:pt x="19" y="34"/>
                    <a:pt x="18" y="35"/>
                  </a:cubicBezTo>
                  <a:cubicBezTo>
                    <a:pt x="18" y="35"/>
                    <a:pt x="18" y="35"/>
                    <a:pt x="18" y="35"/>
                  </a:cubicBezTo>
                  <a:cubicBezTo>
                    <a:pt x="18" y="35"/>
                    <a:pt x="18" y="35"/>
                    <a:pt x="18" y="35"/>
                  </a:cubicBezTo>
                  <a:cubicBezTo>
                    <a:pt x="17" y="35"/>
                    <a:pt x="16" y="34"/>
                    <a:pt x="15" y="34"/>
                  </a:cubicBezTo>
                  <a:cubicBezTo>
                    <a:pt x="15" y="33"/>
                    <a:pt x="15" y="33"/>
                    <a:pt x="15" y="33"/>
                  </a:cubicBezTo>
                  <a:cubicBezTo>
                    <a:pt x="14" y="33"/>
                    <a:pt x="14" y="33"/>
                    <a:pt x="14" y="33"/>
                  </a:cubicBezTo>
                  <a:cubicBezTo>
                    <a:pt x="14" y="31"/>
                    <a:pt x="14" y="31"/>
                    <a:pt x="14" y="31"/>
                  </a:cubicBezTo>
                  <a:cubicBezTo>
                    <a:pt x="14" y="31"/>
                    <a:pt x="14" y="31"/>
                    <a:pt x="14" y="31"/>
                  </a:cubicBezTo>
                  <a:cubicBezTo>
                    <a:pt x="14" y="31"/>
                    <a:pt x="14" y="30"/>
                    <a:pt x="14" y="30"/>
                  </a:cubicBezTo>
                  <a:cubicBezTo>
                    <a:pt x="15" y="29"/>
                    <a:pt x="15" y="29"/>
                    <a:pt x="15" y="29"/>
                  </a:cubicBezTo>
                  <a:cubicBezTo>
                    <a:pt x="15" y="29"/>
                    <a:pt x="15" y="28"/>
                    <a:pt x="15" y="27"/>
                  </a:cubicBezTo>
                  <a:cubicBezTo>
                    <a:pt x="17" y="27"/>
                    <a:pt x="17" y="27"/>
                    <a:pt x="17" y="27"/>
                  </a:cubicBezTo>
                  <a:cubicBezTo>
                    <a:pt x="17" y="27"/>
                    <a:pt x="17" y="27"/>
                    <a:pt x="17" y="27"/>
                  </a:cubicBezTo>
                  <a:cubicBezTo>
                    <a:pt x="17" y="27"/>
                    <a:pt x="18" y="27"/>
                    <a:pt x="18" y="27"/>
                  </a:cubicBezTo>
                  <a:cubicBezTo>
                    <a:pt x="18" y="27"/>
                    <a:pt x="18" y="27"/>
                    <a:pt x="18" y="27"/>
                  </a:cubicBezTo>
                  <a:cubicBezTo>
                    <a:pt x="18" y="27"/>
                    <a:pt x="18" y="27"/>
                    <a:pt x="18" y="27"/>
                  </a:cubicBezTo>
                  <a:cubicBezTo>
                    <a:pt x="19" y="27"/>
                    <a:pt x="19" y="27"/>
                    <a:pt x="19" y="27"/>
                  </a:cubicBezTo>
                  <a:moveTo>
                    <a:pt x="14" y="27"/>
                  </a:moveTo>
                  <a:cubicBezTo>
                    <a:pt x="14" y="27"/>
                    <a:pt x="14" y="27"/>
                    <a:pt x="14" y="27"/>
                  </a:cubicBezTo>
                  <a:cubicBezTo>
                    <a:pt x="12" y="26"/>
                    <a:pt x="10" y="25"/>
                    <a:pt x="8" y="24"/>
                  </a:cubicBezTo>
                  <a:cubicBezTo>
                    <a:pt x="7" y="23"/>
                    <a:pt x="7" y="23"/>
                    <a:pt x="7" y="23"/>
                  </a:cubicBezTo>
                  <a:cubicBezTo>
                    <a:pt x="6" y="23"/>
                    <a:pt x="5" y="22"/>
                    <a:pt x="4" y="22"/>
                  </a:cubicBezTo>
                  <a:cubicBezTo>
                    <a:pt x="4" y="22"/>
                    <a:pt x="4" y="22"/>
                    <a:pt x="4" y="22"/>
                  </a:cubicBezTo>
                  <a:cubicBezTo>
                    <a:pt x="5" y="22"/>
                    <a:pt x="5" y="22"/>
                    <a:pt x="5" y="22"/>
                  </a:cubicBezTo>
                  <a:cubicBezTo>
                    <a:pt x="7" y="22"/>
                    <a:pt x="9" y="23"/>
                    <a:pt x="11" y="24"/>
                  </a:cubicBezTo>
                  <a:cubicBezTo>
                    <a:pt x="11" y="24"/>
                    <a:pt x="11" y="24"/>
                    <a:pt x="11" y="24"/>
                  </a:cubicBezTo>
                  <a:cubicBezTo>
                    <a:pt x="12" y="24"/>
                    <a:pt x="12" y="24"/>
                    <a:pt x="12" y="24"/>
                  </a:cubicBezTo>
                  <a:cubicBezTo>
                    <a:pt x="12" y="24"/>
                    <a:pt x="12" y="25"/>
                    <a:pt x="12" y="25"/>
                  </a:cubicBezTo>
                  <a:cubicBezTo>
                    <a:pt x="13" y="25"/>
                    <a:pt x="13" y="25"/>
                    <a:pt x="14" y="26"/>
                  </a:cubicBezTo>
                  <a:cubicBezTo>
                    <a:pt x="14" y="26"/>
                    <a:pt x="14" y="26"/>
                    <a:pt x="14" y="26"/>
                  </a:cubicBezTo>
                  <a:cubicBezTo>
                    <a:pt x="15" y="26"/>
                    <a:pt x="15" y="26"/>
                    <a:pt x="15" y="26"/>
                  </a:cubicBezTo>
                  <a:cubicBezTo>
                    <a:pt x="15" y="26"/>
                    <a:pt x="15" y="26"/>
                    <a:pt x="15" y="26"/>
                  </a:cubicBezTo>
                  <a:cubicBezTo>
                    <a:pt x="15" y="27"/>
                    <a:pt x="15" y="27"/>
                    <a:pt x="15" y="27"/>
                  </a:cubicBezTo>
                  <a:cubicBezTo>
                    <a:pt x="14" y="27"/>
                    <a:pt x="14" y="27"/>
                    <a:pt x="14" y="27"/>
                  </a:cubicBezTo>
                  <a:moveTo>
                    <a:pt x="24" y="20"/>
                  </a:moveTo>
                  <a:cubicBezTo>
                    <a:pt x="23" y="20"/>
                    <a:pt x="23" y="20"/>
                    <a:pt x="22" y="19"/>
                  </a:cubicBezTo>
                  <a:cubicBezTo>
                    <a:pt x="22" y="19"/>
                    <a:pt x="22" y="19"/>
                    <a:pt x="22" y="19"/>
                  </a:cubicBezTo>
                  <a:cubicBezTo>
                    <a:pt x="22" y="19"/>
                    <a:pt x="22" y="19"/>
                    <a:pt x="22" y="19"/>
                  </a:cubicBezTo>
                  <a:cubicBezTo>
                    <a:pt x="22" y="19"/>
                    <a:pt x="22" y="19"/>
                    <a:pt x="22" y="19"/>
                  </a:cubicBezTo>
                  <a:cubicBezTo>
                    <a:pt x="23"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moveTo>
                    <a:pt x="30" y="22"/>
                  </a:moveTo>
                  <a:cubicBezTo>
                    <a:pt x="31" y="21"/>
                    <a:pt x="33" y="20"/>
                    <a:pt x="34" y="19"/>
                  </a:cubicBezTo>
                  <a:cubicBezTo>
                    <a:pt x="34" y="19"/>
                    <a:pt x="34" y="19"/>
                    <a:pt x="34" y="19"/>
                  </a:cubicBezTo>
                  <a:cubicBezTo>
                    <a:pt x="35" y="19"/>
                    <a:pt x="35" y="19"/>
                    <a:pt x="35" y="19"/>
                  </a:cubicBezTo>
                  <a:cubicBezTo>
                    <a:pt x="34" y="20"/>
                    <a:pt x="33" y="20"/>
                    <a:pt x="32" y="21"/>
                  </a:cubicBezTo>
                  <a:cubicBezTo>
                    <a:pt x="32" y="21"/>
                    <a:pt x="32" y="21"/>
                    <a:pt x="32" y="21"/>
                  </a:cubicBezTo>
                  <a:cubicBezTo>
                    <a:pt x="32" y="21"/>
                    <a:pt x="31" y="21"/>
                    <a:pt x="31" y="21"/>
                  </a:cubicBezTo>
                  <a:cubicBezTo>
                    <a:pt x="31" y="21"/>
                    <a:pt x="30" y="21"/>
                    <a:pt x="30" y="22"/>
                  </a:cubicBezTo>
                  <a:moveTo>
                    <a:pt x="29" y="22"/>
                  </a:moveTo>
                  <a:cubicBezTo>
                    <a:pt x="29" y="22"/>
                    <a:pt x="29" y="22"/>
                    <a:pt x="29" y="22"/>
                  </a:cubicBezTo>
                  <a:cubicBezTo>
                    <a:pt x="28" y="21"/>
                    <a:pt x="27" y="21"/>
                    <a:pt x="26" y="20"/>
                  </a:cubicBezTo>
                  <a:cubicBezTo>
                    <a:pt x="27" y="20"/>
                    <a:pt x="29" y="19"/>
                    <a:pt x="30" y="18"/>
                  </a:cubicBezTo>
                  <a:cubicBezTo>
                    <a:pt x="31" y="19"/>
                    <a:pt x="31" y="19"/>
                    <a:pt x="31" y="19"/>
                  </a:cubicBezTo>
                  <a:cubicBezTo>
                    <a:pt x="27" y="20"/>
                    <a:pt x="27" y="20"/>
                    <a:pt x="27" y="20"/>
                  </a:cubicBezTo>
                  <a:cubicBezTo>
                    <a:pt x="27" y="21"/>
                    <a:pt x="27" y="21"/>
                    <a:pt x="27" y="21"/>
                  </a:cubicBezTo>
                  <a:cubicBezTo>
                    <a:pt x="28" y="21"/>
                    <a:pt x="28" y="21"/>
                    <a:pt x="28" y="21"/>
                  </a:cubicBezTo>
                  <a:cubicBezTo>
                    <a:pt x="28" y="21"/>
                    <a:pt x="28" y="21"/>
                    <a:pt x="28" y="21"/>
                  </a:cubicBezTo>
                  <a:cubicBezTo>
                    <a:pt x="32" y="19"/>
                    <a:pt x="32" y="19"/>
                    <a:pt x="32" y="19"/>
                  </a:cubicBezTo>
                  <a:cubicBezTo>
                    <a:pt x="32" y="19"/>
                    <a:pt x="32" y="19"/>
                    <a:pt x="32" y="19"/>
                  </a:cubicBezTo>
                  <a:cubicBezTo>
                    <a:pt x="32" y="19"/>
                    <a:pt x="33" y="19"/>
                    <a:pt x="33" y="19"/>
                  </a:cubicBezTo>
                  <a:cubicBezTo>
                    <a:pt x="32" y="20"/>
                    <a:pt x="31" y="21"/>
                    <a:pt x="29" y="22"/>
                  </a:cubicBezTo>
                  <a:moveTo>
                    <a:pt x="25" y="20"/>
                  </a:moveTo>
                  <a:cubicBezTo>
                    <a:pt x="25" y="20"/>
                    <a:pt x="25" y="20"/>
                    <a:pt x="24" y="20"/>
                  </a:cubicBezTo>
                  <a:cubicBezTo>
                    <a:pt x="25" y="19"/>
                    <a:pt x="25" y="19"/>
                    <a:pt x="25" y="19"/>
                  </a:cubicBezTo>
                  <a:cubicBezTo>
                    <a:pt x="25" y="19"/>
                    <a:pt x="25" y="19"/>
                    <a:pt x="25" y="19"/>
                  </a:cubicBezTo>
                  <a:cubicBezTo>
                    <a:pt x="26" y="19"/>
                    <a:pt x="27" y="19"/>
                    <a:pt x="27" y="19"/>
                  </a:cubicBezTo>
                  <a:cubicBezTo>
                    <a:pt x="28" y="18"/>
                    <a:pt x="28" y="18"/>
                    <a:pt x="28" y="18"/>
                  </a:cubicBezTo>
                  <a:cubicBezTo>
                    <a:pt x="28" y="18"/>
                    <a:pt x="29" y="18"/>
                    <a:pt x="30" y="18"/>
                  </a:cubicBezTo>
                  <a:cubicBezTo>
                    <a:pt x="28" y="19"/>
                    <a:pt x="27" y="20"/>
                    <a:pt x="25" y="20"/>
                  </a:cubicBezTo>
                  <a:moveTo>
                    <a:pt x="37" y="19"/>
                  </a:moveTo>
                  <a:cubicBezTo>
                    <a:pt x="37" y="19"/>
                    <a:pt x="37" y="19"/>
                    <a:pt x="37" y="19"/>
                  </a:cubicBezTo>
                  <a:cubicBezTo>
                    <a:pt x="37" y="19"/>
                    <a:pt x="37" y="19"/>
                    <a:pt x="37" y="19"/>
                  </a:cubicBezTo>
                  <a:cubicBezTo>
                    <a:pt x="37" y="19"/>
                    <a:pt x="37" y="18"/>
                    <a:pt x="38" y="18"/>
                  </a:cubicBezTo>
                  <a:cubicBezTo>
                    <a:pt x="38" y="18"/>
                    <a:pt x="38" y="18"/>
                    <a:pt x="38" y="18"/>
                  </a:cubicBezTo>
                  <a:cubicBezTo>
                    <a:pt x="39" y="18"/>
                    <a:pt x="39" y="18"/>
                    <a:pt x="39" y="18"/>
                  </a:cubicBezTo>
                  <a:cubicBezTo>
                    <a:pt x="37" y="19"/>
                    <a:pt x="35" y="20"/>
                    <a:pt x="33" y="22"/>
                  </a:cubicBezTo>
                  <a:cubicBezTo>
                    <a:pt x="33" y="22"/>
                    <a:pt x="32" y="22"/>
                    <a:pt x="32" y="22"/>
                  </a:cubicBezTo>
                  <a:cubicBezTo>
                    <a:pt x="33" y="21"/>
                    <a:pt x="34" y="20"/>
                    <a:pt x="36" y="19"/>
                  </a:cubicBezTo>
                  <a:cubicBezTo>
                    <a:pt x="37" y="19"/>
                    <a:pt x="37" y="19"/>
                    <a:pt x="37" y="19"/>
                  </a:cubicBezTo>
                  <a:moveTo>
                    <a:pt x="24" y="19"/>
                  </a:moveTo>
                  <a:cubicBezTo>
                    <a:pt x="24" y="19"/>
                    <a:pt x="23" y="19"/>
                    <a:pt x="23" y="19"/>
                  </a:cubicBezTo>
                  <a:cubicBezTo>
                    <a:pt x="25" y="18"/>
                    <a:pt x="25" y="18"/>
                    <a:pt x="25" y="18"/>
                  </a:cubicBezTo>
                  <a:cubicBezTo>
                    <a:pt x="25" y="18"/>
                    <a:pt x="25" y="18"/>
                    <a:pt x="25" y="18"/>
                  </a:cubicBezTo>
                  <a:cubicBezTo>
                    <a:pt x="26" y="18"/>
                    <a:pt x="26" y="18"/>
                    <a:pt x="27" y="18"/>
                  </a:cubicBezTo>
                  <a:cubicBezTo>
                    <a:pt x="27" y="18"/>
                    <a:pt x="27" y="18"/>
                    <a:pt x="27" y="18"/>
                  </a:cubicBezTo>
                  <a:cubicBezTo>
                    <a:pt x="26" y="19"/>
                    <a:pt x="25" y="19"/>
                    <a:pt x="24" y="19"/>
                  </a:cubicBezTo>
                  <a:cubicBezTo>
                    <a:pt x="24" y="19"/>
                    <a:pt x="24" y="19"/>
                    <a:pt x="24" y="19"/>
                  </a:cubicBezTo>
                  <a:moveTo>
                    <a:pt x="18" y="26"/>
                  </a:moveTo>
                  <a:cubicBezTo>
                    <a:pt x="17" y="26"/>
                    <a:pt x="16" y="26"/>
                    <a:pt x="14" y="25"/>
                  </a:cubicBezTo>
                  <a:cubicBezTo>
                    <a:pt x="14" y="25"/>
                    <a:pt x="14" y="25"/>
                    <a:pt x="14" y="25"/>
                  </a:cubicBezTo>
                  <a:cubicBezTo>
                    <a:pt x="13" y="24"/>
                    <a:pt x="13" y="24"/>
                    <a:pt x="13" y="24"/>
                  </a:cubicBezTo>
                  <a:cubicBezTo>
                    <a:pt x="13" y="23"/>
                    <a:pt x="13" y="23"/>
                    <a:pt x="13" y="23"/>
                  </a:cubicBezTo>
                  <a:cubicBezTo>
                    <a:pt x="13" y="23"/>
                    <a:pt x="13" y="23"/>
                    <a:pt x="13" y="23"/>
                  </a:cubicBezTo>
                  <a:cubicBezTo>
                    <a:pt x="13" y="22"/>
                    <a:pt x="13" y="22"/>
                    <a:pt x="13" y="21"/>
                  </a:cubicBezTo>
                  <a:cubicBezTo>
                    <a:pt x="13" y="21"/>
                    <a:pt x="13" y="21"/>
                    <a:pt x="13" y="21"/>
                  </a:cubicBezTo>
                  <a:cubicBezTo>
                    <a:pt x="13" y="20"/>
                    <a:pt x="13" y="19"/>
                    <a:pt x="14" y="19"/>
                  </a:cubicBezTo>
                  <a:cubicBezTo>
                    <a:pt x="17" y="17"/>
                    <a:pt x="17" y="17"/>
                    <a:pt x="17" y="17"/>
                  </a:cubicBezTo>
                  <a:cubicBezTo>
                    <a:pt x="18" y="17"/>
                    <a:pt x="18" y="17"/>
                    <a:pt x="18" y="17"/>
                  </a:cubicBezTo>
                  <a:cubicBezTo>
                    <a:pt x="19" y="17"/>
                    <a:pt x="20" y="18"/>
                    <a:pt x="22" y="18"/>
                  </a:cubicBezTo>
                  <a:cubicBezTo>
                    <a:pt x="22" y="18"/>
                    <a:pt x="22" y="18"/>
                    <a:pt x="22" y="18"/>
                  </a:cubicBezTo>
                  <a:cubicBezTo>
                    <a:pt x="22" y="18"/>
                    <a:pt x="22" y="18"/>
                    <a:pt x="22" y="18"/>
                  </a:cubicBezTo>
                  <a:cubicBezTo>
                    <a:pt x="23" y="18"/>
                    <a:pt x="23" y="18"/>
                    <a:pt x="23" y="18"/>
                  </a:cubicBezTo>
                  <a:cubicBezTo>
                    <a:pt x="23" y="17"/>
                    <a:pt x="23" y="17"/>
                    <a:pt x="23" y="17"/>
                  </a:cubicBezTo>
                  <a:cubicBezTo>
                    <a:pt x="23" y="17"/>
                    <a:pt x="23" y="17"/>
                    <a:pt x="23" y="17"/>
                  </a:cubicBezTo>
                  <a:cubicBezTo>
                    <a:pt x="24" y="17"/>
                    <a:pt x="24" y="17"/>
                    <a:pt x="24" y="17"/>
                  </a:cubicBezTo>
                  <a:cubicBezTo>
                    <a:pt x="19" y="20"/>
                    <a:pt x="19" y="20"/>
                    <a:pt x="19" y="20"/>
                  </a:cubicBezTo>
                  <a:cubicBezTo>
                    <a:pt x="19" y="20"/>
                    <a:pt x="19" y="20"/>
                    <a:pt x="19" y="20"/>
                  </a:cubicBezTo>
                  <a:cubicBezTo>
                    <a:pt x="19" y="20"/>
                    <a:pt x="19" y="20"/>
                    <a:pt x="19" y="20"/>
                  </a:cubicBezTo>
                  <a:cubicBezTo>
                    <a:pt x="18" y="21"/>
                    <a:pt x="18" y="21"/>
                    <a:pt x="18" y="21"/>
                  </a:cubicBezTo>
                  <a:cubicBezTo>
                    <a:pt x="18" y="21"/>
                    <a:pt x="18" y="21"/>
                    <a:pt x="18" y="21"/>
                  </a:cubicBezTo>
                  <a:cubicBezTo>
                    <a:pt x="18" y="21"/>
                    <a:pt x="18" y="21"/>
                    <a:pt x="18" y="21"/>
                  </a:cubicBezTo>
                  <a:cubicBezTo>
                    <a:pt x="18" y="22"/>
                    <a:pt x="18" y="22"/>
                    <a:pt x="18" y="23"/>
                  </a:cubicBezTo>
                  <a:cubicBezTo>
                    <a:pt x="18" y="23"/>
                    <a:pt x="18" y="23"/>
                    <a:pt x="18" y="23"/>
                  </a:cubicBezTo>
                  <a:cubicBezTo>
                    <a:pt x="18" y="23"/>
                    <a:pt x="18" y="23"/>
                    <a:pt x="18" y="23"/>
                  </a:cubicBezTo>
                  <a:cubicBezTo>
                    <a:pt x="18" y="23"/>
                    <a:pt x="18" y="23"/>
                    <a:pt x="18" y="23"/>
                  </a:cubicBezTo>
                  <a:cubicBezTo>
                    <a:pt x="18" y="24"/>
                    <a:pt x="18" y="25"/>
                    <a:pt x="18" y="26"/>
                  </a:cubicBezTo>
                  <a:cubicBezTo>
                    <a:pt x="18" y="26"/>
                    <a:pt x="18" y="26"/>
                    <a:pt x="18" y="26"/>
                  </a:cubicBezTo>
                  <a:cubicBezTo>
                    <a:pt x="18" y="26"/>
                    <a:pt x="18" y="26"/>
                    <a:pt x="18" y="26"/>
                  </a:cubicBezTo>
                  <a:moveTo>
                    <a:pt x="33" y="23"/>
                  </a:moveTo>
                  <a:cubicBezTo>
                    <a:pt x="34" y="23"/>
                    <a:pt x="34" y="23"/>
                    <a:pt x="34" y="23"/>
                  </a:cubicBezTo>
                  <a:cubicBezTo>
                    <a:pt x="36" y="21"/>
                    <a:pt x="38" y="19"/>
                    <a:pt x="41" y="18"/>
                  </a:cubicBezTo>
                  <a:cubicBezTo>
                    <a:pt x="41" y="18"/>
                    <a:pt x="41" y="18"/>
                    <a:pt x="41" y="18"/>
                  </a:cubicBezTo>
                  <a:cubicBezTo>
                    <a:pt x="40" y="17"/>
                    <a:pt x="40" y="17"/>
                    <a:pt x="40" y="17"/>
                  </a:cubicBezTo>
                  <a:cubicBezTo>
                    <a:pt x="38" y="17"/>
                    <a:pt x="38" y="17"/>
                    <a:pt x="38" y="17"/>
                  </a:cubicBezTo>
                  <a:cubicBezTo>
                    <a:pt x="39" y="17"/>
                    <a:pt x="39" y="17"/>
                    <a:pt x="39" y="17"/>
                  </a:cubicBezTo>
                  <a:cubicBezTo>
                    <a:pt x="43" y="17"/>
                    <a:pt x="43" y="17"/>
                    <a:pt x="43" y="17"/>
                  </a:cubicBezTo>
                  <a:cubicBezTo>
                    <a:pt x="42" y="18"/>
                    <a:pt x="40" y="20"/>
                    <a:pt x="38" y="21"/>
                  </a:cubicBezTo>
                  <a:cubicBezTo>
                    <a:pt x="35" y="23"/>
                    <a:pt x="34" y="24"/>
                    <a:pt x="33" y="25"/>
                  </a:cubicBezTo>
                  <a:cubicBezTo>
                    <a:pt x="31" y="24"/>
                    <a:pt x="28" y="23"/>
                    <a:pt x="25" y="22"/>
                  </a:cubicBezTo>
                  <a:cubicBezTo>
                    <a:pt x="23" y="22"/>
                    <a:pt x="21" y="21"/>
                    <a:pt x="19" y="21"/>
                  </a:cubicBezTo>
                  <a:cubicBezTo>
                    <a:pt x="20" y="20"/>
                    <a:pt x="20" y="20"/>
                    <a:pt x="20" y="20"/>
                  </a:cubicBezTo>
                  <a:cubicBezTo>
                    <a:pt x="21" y="20"/>
                    <a:pt x="21" y="20"/>
                    <a:pt x="21" y="20"/>
                  </a:cubicBezTo>
                  <a:cubicBezTo>
                    <a:pt x="21" y="20"/>
                    <a:pt x="21" y="20"/>
                    <a:pt x="21" y="20"/>
                  </a:cubicBezTo>
                  <a:cubicBezTo>
                    <a:pt x="22" y="20"/>
                    <a:pt x="22" y="20"/>
                    <a:pt x="22" y="20"/>
                  </a:cubicBezTo>
                  <a:cubicBezTo>
                    <a:pt x="23" y="20"/>
                    <a:pt x="24" y="21"/>
                    <a:pt x="25" y="21"/>
                  </a:cubicBezTo>
                  <a:cubicBezTo>
                    <a:pt x="26" y="21"/>
                    <a:pt x="28" y="22"/>
                    <a:pt x="29" y="22"/>
                  </a:cubicBezTo>
                  <a:cubicBezTo>
                    <a:pt x="29" y="22"/>
                    <a:pt x="29" y="22"/>
                    <a:pt x="29" y="22"/>
                  </a:cubicBezTo>
                  <a:cubicBezTo>
                    <a:pt x="30" y="22"/>
                    <a:pt x="30" y="22"/>
                    <a:pt x="30" y="22"/>
                  </a:cubicBezTo>
                  <a:cubicBezTo>
                    <a:pt x="30" y="22"/>
                    <a:pt x="31" y="22"/>
                    <a:pt x="31" y="22"/>
                  </a:cubicBezTo>
                  <a:cubicBezTo>
                    <a:pt x="32" y="22"/>
                    <a:pt x="32" y="22"/>
                    <a:pt x="33" y="23"/>
                  </a:cubicBezTo>
                  <a:cubicBezTo>
                    <a:pt x="33" y="23"/>
                    <a:pt x="33" y="23"/>
                    <a:pt x="33" y="23"/>
                  </a:cubicBezTo>
                  <a:moveTo>
                    <a:pt x="15" y="17"/>
                  </a:moveTo>
                  <a:cubicBezTo>
                    <a:pt x="15" y="17"/>
                    <a:pt x="15" y="17"/>
                    <a:pt x="15" y="17"/>
                  </a:cubicBezTo>
                  <a:cubicBezTo>
                    <a:pt x="14" y="17"/>
                    <a:pt x="14" y="17"/>
                    <a:pt x="14" y="17"/>
                  </a:cubicBezTo>
                  <a:cubicBezTo>
                    <a:pt x="16" y="16"/>
                    <a:pt x="16" y="16"/>
                    <a:pt x="16" y="16"/>
                  </a:cubicBezTo>
                  <a:cubicBezTo>
                    <a:pt x="16" y="17"/>
                    <a:pt x="16" y="17"/>
                    <a:pt x="16" y="17"/>
                  </a:cubicBezTo>
                  <a:cubicBezTo>
                    <a:pt x="15" y="17"/>
                    <a:pt x="15" y="17"/>
                    <a:pt x="15" y="17"/>
                  </a:cubicBezTo>
                  <a:moveTo>
                    <a:pt x="14" y="17"/>
                  </a:moveTo>
                  <a:cubicBezTo>
                    <a:pt x="13" y="17"/>
                    <a:pt x="13" y="17"/>
                    <a:pt x="13" y="17"/>
                  </a:cubicBezTo>
                  <a:cubicBezTo>
                    <a:pt x="13" y="17"/>
                    <a:pt x="13" y="17"/>
                    <a:pt x="13" y="17"/>
                  </a:cubicBezTo>
                  <a:cubicBezTo>
                    <a:pt x="15" y="16"/>
                    <a:pt x="15" y="16"/>
                    <a:pt x="15" y="16"/>
                  </a:cubicBezTo>
                  <a:cubicBezTo>
                    <a:pt x="15" y="16"/>
                    <a:pt x="15" y="16"/>
                    <a:pt x="15" y="16"/>
                  </a:cubicBezTo>
                  <a:cubicBezTo>
                    <a:pt x="16" y="16"/>
                    <a:pt x="16" y="16"/>
                    <a:pt x="16" y="16"/>
                  </a:cubicBezTo>
                  <a:cubicBezTo>
                    <a:pt x="14" y="17"/>
                    <a:pt x="14" y="17"/>
                    <a:pt x="14" y="17"/>
                  </a:cubicBezTo>
                  <a:moveTo>
                    <a:pt x="12" y="17"/>
                  </a:moveTo>
                  <a:cubicBezTo>
                    <a:pt x="11" y="16"/>
                    <a:pt x="11" y="16"/>
                    <a:pt x="11" y="16"/>
                  </a:cubicBezTo>
                  <a:cubicBezTo>
                    <a:pt x="12" y="16"/>
                    <a:pt x="12" y="16"/>
                    <a:pt x="13" y="15"/>
                  </a:cubicBezTo>
                  <a:cubicBezTo>
                    <a:pt x="14" y="15"/>
                    <a:pt x="14" y="15"/>
                    <a:pt x="14" y="15"/>
                  </a:cubicBezTo>
                  <a:cubicBezTo>
                    <a:pt x="14" y="15"/>
                    <a:pt x="14" y="15"/>
                    <a:pt x="14" y="15"/>
                  </a:cubicBezTo>
                  <a:cubicBezTo>
                    <a:pt x="12" y="16"/>
                    <a:pt x="12" y="16"/>
                    <a:pt x="12" y="16"/>
                  </a:cubicBezTo>
                  <a:cubicBezTo>
                    <a:pt x="12" y="17"/>
                    <a:pt x="12" y="17"/>
                    <a:pt x="12" y="17"/>
                  </a:cubicBezTo>
                  <a:moveTo>
                    <a:pt x="11" y="16"/>
                  </a:moveTo>
                  <a:cubicBezTo>
                    <a:pt x="10" y="16"/>
                    <a:pt x="10" y="16"/>
                    <a:pt x="10" y="16"/>
                  </a:cubicBezTo>
                  <a:cubicBezTo>
                    <a:pt x="11" y="15"/>
                    <a:pt x="11" y="15"/>
                    <a:pt x="11" y="15"/>
                  </a:cubicBezTo>
                  <a:cubicBezTo>
                    <a:pt x="11" y="15"/>
                    <a:pt x="11" y="15"/>
                    <a:pt x="11" y="15"/>
                  </a:cubicBezTo>
                  <a:cubicBezTo>
                    <a:pt x="12" y="15"/>
                    <a:pt x="12" y="15"/>
                    <a:pt x="13" y="15"/>
                  </a:cubicBezTo>
                  <a:cubicBezTo>
                    <a:pt x="12" y="15"/>
                    <a:pt x="11" y="16"/>
                    <a:pt x="11" y="16"/>
                  </a:cubicBezTo>
                  <a:cubicBezTo>
                    <a:pt x="11" y="16"/>
                    <a:pt x="11" y="16"/>
                    <a:pt x="11" y="16"/>
                  </a:cubicBezTo>
                  <a:moveTo>
                    <a:pt x="10" y="16"/>
                  </a:moveTo>
                  <a:cubicBezTo>
                    <a:pt x="9" y="16"/>
                    <a:pt x="9" y="16"/>
                    <a:pt x="9" y="16"/>
                  </a:cubicBezTo>
                  <a:cubicBezTo>
                    <a:pt x="9" y="16"/>
                    <a:pt x="9" y="16"/>
                    <a:pt x="9" y="16"/>
                  </a:cubicBezTo>
                  <a:cubicBezTo>
                    <a:pt x="9" y="15"/>
                    <a:pt x="10" y="15"/>
                    <a:pt x="10" y="15"/>
                  </a:cubicBezTo>
                  <a:cubicBezTo>
                    <a:pt x="10" y="15"/>
                    <a:pt x="10" y="15"/>
                    <a:pt x="10" y="15"/>
                  </a:cubicBezTo>
                  <a:cubicBezTo>
                    <a:pt x="11" y="15"/>
                    <a:pt x="11" y="15"/>
                    <a:pt x="11" y="15"/>
                  </a:cubicBezTo>
                  <a:cubicBezTo>
                    <a:pt x="10" y="16"/>
                    <a:pt x="10" y="16"/>
                    <a:pt x="10" y="16"/>
                  </a:cubicBezTo>
                  <a:moveTo>
                    <a:pt x="9" y="16"/>
                  </a:moveTo>
                  <a:cubicBezTo>
                    <a:pt x="8" y="15"/>
                    <a:pt x="8" y="15"/>
                    <a:pt x="8" y="15"/>
                  </a:cubicBezTo>
                  <a:cubicBezTo>
                    <a:pt x="9" y="15"/>
                    <a:pt x="9" y="15"/>
                    <a:pt x="9" y="15"/>
                  </a:cubicBezTo>
                  <a:cubicBezTo>
                    <a:pt x="9" y="15"/>
                    <a:pt x="9" y="15"/>
                    <a:pt x="9" y="15"/>
                  </a:cubicBezTo>
                  <a:cubicBezTo>
                    <a:pt x="9" y="15"/>
                    <a:pt x="9" y="15"/>
                    <a:pt x="9" y="15"/>
                  </a:cubicBezTo>
                  <a:cubicBezTo>
                    <a:pt x="10" y="15"/>
                    <a:pt x="10" y="15"/>
                    <a:pt x="10" y="15"/>
                  </a:cubicBezTo>
                  <a:cubicBezTo>
                    <a:pt x="9" y="15"/>
                    <a:pt x="9" y="15"/>
                    <a:pt x="9" y="16"/>
                  </a:cubicBezTo>
                  <a:moveTo>
                    <a:pt x="8" y="15"/>
                  </a:moveTo>
                  <a:cubicBezTo>
                    <a:pt x="7" y="15"/>
                    <a:pt x="7" y="15"/>
                    <a:pt x="7" y="15"/>
                  </a:cubicBezTo>
                  <a:cubicBezTo>
                    <a:pt x="8" y="15"/>
                    <a:pt x="8" y="15"/>
                    <a:pt x="8" y="15"/>
                  </a:cubicBezTo>
                  <a:cubicBezTo>
                    <a:pt x="9" y="14"/>
                    <a:pt x="9" y="14"/>
                    <a:pt x="9" y="14"/>
                  </a:cubicBezTo>
                  <a:cubicBezTo>
                    <a:pt x="9" y="14"/>
                    <a:pt x="9" y="14"/>
                    <a:pt x="9" y="14"/>
                  </a:cubicBezTo>
                  <a:cubicBezTo>
                    <a:pt x="9" y="14"/>
                    <a:pt x="9" y="14"/>
                    <a:pt x="9" y="14"/>
                  </a:cubicBezTo>
                  <a:cubicBezTo>
                    <a:pt x="9" y="15"/>
                    <a:pt x="8" y="15"/>
                    <a:pt x="8" y="15"/>
                  </a:cubicBezTo>
                  <a:moveTo>
                    <a:pt x="7" y="15"/>
                  </a:moveTo>
                  <a:cubicBezTo>
                    <a:pt x="7" y="15"/>
                    <a:pt x="7" y="15"/>
                    <a:pt x="7" y="15"/>
                  </a:cubicBezTo>
                  <a:cubicBezTo>
                    <a:pt x="7" y="15"/>
                    <a:pt x="7" y="15"/>
                    <a:pt x="7" y="15"/>
                  </a:cubicBezTo>
                  <a:cubicBezTo>
                    <a:pt x="7" y="14"/>
                    <a:pt x="7" y="14"/>
                    <a:pt x="7" y="14"/>
                  </a:cubicBezTo>
                  <a:cubicBezTo>
                    <a:pt x="8" y="14"/>
                    <a:pt x="8" y="14"/>
                    <a:pt x="8" y="14"/>
                  </a:cubicBezTo>
                  <a:cubicBezTo>
                    <a:pt x="8" y="14"/>
                    <a:pt x="8" y="14"/>
                    <a:pt x="8" y="14"/>
                  </a:cubicBezTo>
                  <a:cubicBezTo>
                    <a:pt x="8" y="14"/>
                    <a:pt x="7" y="15"/>
                    <a:pt x="7" y="15"/>
                  </a:cubicBezTo>
                  <a:moveTo>
                    <a:pt x="7" y="14"/>
                  </a:moveTo>
                  <a:cubicBezTo>
                    <a:pt x="7" y="14"/>
                    <a:pt x="7" y="14"/>
                    <a:pt x="7" y="14"/>
                  </a:cubicBezTo>
                  <a:cubicBezTo>
                    <a:pt x="7" y="14"/>
                    <a:pt x="7" y="14"/>
                    <a:pt x="7" y="14"/>
                  </a:cubicBezTo>
                  <a:cubicBezTo>
                    <a:pt x="7" y="14"/>
                    <a:pt x="7" y="14"/>
                    <a:pt x="7" y="14"/>
                  </a:cubicBezTo>
                  <a:moveTo>
                    <a:pt x="13" y="19"/>
                  </a:moveTo>
                  <a:cubicBezTo>
                    <a:pt x="12" y="18"/>
                    <a:pt x="12" y="18"/>
                    <a:pt x="12" y="18"/>
                  </a:cubicBezTo>
                  <a:cubicBezTo>
                    <a:pt x="10" y="18"/>
                    <a:pt x="8" y="17"/>
                    <a:pt x="6" y="16"/>
                  </a:cubicBezTo>
                  <a:cubicBezTo>
                    <a:pt x="6" y="16"/>
                    <a:pt x="5" y="16"/>
                    <a:pt x="5" y="16"/>
                  </a:cubicBezTo>
                  <a:cubicBezTo>
                    <a:pt x="4" y="16"/>
                    <a:pt x="3" y="15"/>
                    <a:pt x="2" y="15"/>
                  </a:cubicBezTo>
                  <a:cubicBezTo>
                    <a:pt x="2" y="15"/>
                    <a:pt x="2" y="15"/>
                    <a:pt x="2" y="15"/>
                  </a:cubicBezTo>
                  <a:cubicBezTo>
                    <a:pt x="3" y="14"/>
                    <a:pt x="4" y="14"/>
                    <a:pt x="4" y="14"/>
                  </a:cubicBezTo>
                  <a:cubicBezTo>
                    <a:pt x="4" y="14"/>
                    <a:pt x="4" y="14"/>
                    <a:pt x="4" y="14"/>
                  </a:cubicBezTo>
                  <a:cubicBezTo>
                    <a:pt x="5" y="14"/>
                    <a:pt x="5" y="14"/>
                    <a:pt x="6" y="14"/>
                  </a:cubicBezTo>
                  <a:cubicBezTo>
                    <a:pt x="6" y="14"/>
                    <a:pt x="6" y="14"/>
                    <a:pt x="6" y="14"/>
                  </a:cubicBezTo>
                  <a:cubicBezTo>
                    <a:pt x="6" y="15"/>
                    <a:pt x="6" y="15"/>
                    <a:pt x="6" y="15"/>
                  </a:cubicBezTo>
                  <a:cubicBezTo>
                    <a:pt x="6" y="15"/>
                    <a:pt x="6" y="15"/>
                    <a:pt x="6" y="15"/>
                  </a:cubicBezTo>
                  <a:cubicBezTo>
                    <a:pt x="6" y="16"/>
                    <a:pt x="6" y="16"/>
                    <a:pt x="6" y="16"/>
                  </a:cubicBezTo>
                  <a:cubicBezTo>
                    <a:pt x="7" y="16"/>
                    <a:pt x="8" y="16"/>
                    <a:pt x="9" y="17"/>
                  </a:cubicBezTo>
                  <a:cubicBezTo>
                    <a:pt x="10" y="17"/>
                    <a:pt x="10" y="17"/>
                    <a:pt x="11" y="17"/>
                  </a:cubicBezTo>
                  <a:cubicBezTo>
                    <a:pt x="11" y="17"/>
                    <a:pt x="12" y="17"/>
                    <a:pt x="12" y="18"/>
                  </a:cubicBezTo>
                  <a:cubicBezTo>
                    <a:pt x="13" y="18"/>
                    <a:pt x="13" y="18"/>
                    <a:pt x="13" y="18"/>
                  </a:cubicBezTo>
                  <a:cubicBezTo>
                    <a:pt x="13" y="18"/>
                    <a:pt x="13" y="18"/>
                    <a:pt x="13" y="18"/>
                  </a:cubicBezTo>
                  <a:cubicBezTo>
                    <a:pt x="13" y="18"/>
                    <a:pt x="13" y="18"/>
                    <a:pt x="13" y="18"/>
                  </a:cubicBezTo>
                  <a:cubicBezTo>
                    <a:pt x="13" y="19"/>
                    <a:pt x="13" y="19"/>
                    <a:pt x="13" y="19"/>
                  </a:cubicBezTo>
                  <a:moveTo>
                    <a:pt x="36" y="15"/>
                  </a:moveTo>
                  <a:cubicBezTo>
                    <a:pt x="34" y="14"/>
                    <a:pt x="31" y="14"/>
                    <a:pt x="27" y="13"/>
                  </a:cubicBezTo>
                  <a:cubicBezTo>
                    <a:pt x="26" y="13"/>
                    <a:pt x="24" y="13"/>
                    <a:pt x="22" y="12"/>
                  </a:cubicBezTo>
                  <a:cubicBezTo>
                    <a:pt x="22" y="12"/>
                    <a:pt x="22" y="12"/>
                    <a:pt x="22" y="12"/>
                  </a:cubicBezTo>
                  <a:cubicBezTo>
                    <a:pt x="24" y="12"/>
                    <a:pt x="26" y="13"/>
                    <a:pt x="28" y="13"/>
                  </a:cubicBezTo>
                  <a:cubicBezTo>
                    <a:pt x="31" y="13"/>
                    <a:pt x="34" y="14"/>
                    <a:pt x="37" y="14"/>
                  </a:cubicBezTo>
                  <a:cubicBezTo>
                    <a:pt x="37" y="14"/>
                    <a:pt x="37" y="14"/>
                    <a:pt x="37" y="14"/>
                  </a:cubicBezTo>
                  <a:cubicBezTo>
                    <a:pt x="37" y="14"/>
                    <a:pt x="37" y="14"/>
                    <a:pt x="37" y="14"/>
                  </a:cubicBezTo>
                  <a:cubicBezTo>
                    <a:pt x="36" y="15"/>
                    <a:pt x="36" y="15"/>
                    <a:pt x="36" y="15"/>
                  </a:cubicBezTo>
                  <a:moveTo>
                    <a:pt x="16" y="9"/>
                  </a:moveTo>
                  <a:cubicBezTo>
                    <a:pt x="14" y="8"/>
                    <a:pt x="14" y="8"/>
                    <a:pt x="14" y="8"/>
                  </a:cubicBezTo>
                  <a:cubicBezTo>
                    <a:pt x="16" y="8"/>
                    <a:pt x="16" y="8"/>
                    <a:pt x="16" y="8"/>
                  </a:cubicBezTo>
                  <a:cubicBezTo>
                    <a:pt x="16" y="9"/>
                    <a:pt x="16" y="9"/>
                    <a:pt x="16" y="9"/>
                  </a:cubicBezTo>
                  <a:cubicBezTo>
                    <a:pt x="16" y="9"/>
                    <a:pt x="16" y="9"/>
                    <a:pt x="16" y="9"/>
                  </a:cubicBezTo>
                  <a:moveTo>
                    <a:pt x="31" y="10"/>
                  </a:moveTo>
                  <a:cubicBezTo>
                    <a:pt x="28" y="10"/>
                    <a:pt x="28" y="10"/>
                    <a:pt x="28" y="10"/>
                  </a:cubicBezTo>
                  <a:cubicBezTo>
                    <a:pt x="38" y="4"/>
                    <a:pt x="38" y="4"/>
                    <a:pt x="38" y="4"/>
                  </a:cubicBezTo>
                  <a:cubicBezTo>
                    <a:pt x="38" y="5"/>
                    <a:pt x="38" y="5"/>
                    <a:pt x="38" y="5"/>
                  </a:cubicBezTo>
                  <a:cubicBezTo>
                    <a:pt x="39" y="5"/>
                    <a:pt x="39" y="5"/>
                    <a:pt x="39" y="5"/>
                  </a:cubicBezTo>
                  <a:cubicBezTo>
                    <a:pt x="38" y="7"/>
                    <a:pt x="37" y="8"/>
                    <a:pt x="36" y="10"/>
                  </a:cubicBezTo>
                  <a:cubicBezTo>
                    <a:pt x="36" y="10"/>
                    <a:pt x="36" y="10"/>
                    <a:pt x="35" y="10"/>
                  </a:cubicBezTo>
                  <a:cubicBezTo>
                    <a:pt x="35" y="10"/>
                    <a:pt x="35" y="10"/>
                    <a:pt x="34" y="10"/>
                  </a:cubicBezTo>
                  <a:cubicBezTo>
                    <a:pt x="35" y="9"/>
                    <a:pt x="36" y="9"/>
                    <a:pt x="36" y="8"/>
                  </a:cubicBezTo>
                  <a:cubicBezTo>
                    <a:pt x="37" y="8"/>
                    <a:pt x="37" y="8"/>
                    <a:pt x="37" y="8"/>
                  </a:cubicBezTo>
                  <a:cubicBezTo>
                    <a:pt x="37" y="8"/>
                    <a:pt x="37" y="8"/>
                    <a:pt x="37" y="8"/>
                  </a:cubicBezTo>
                  <a:cubicBezTo>
                    <a:pt x="37" y="8"/>
                    <a:pt x="37" y="8"/>
                    <a:pt x="37" y="8"/>
                  </a:cubicBezTo>
                  <a:cubicBezTo>
                    <a:pt x="36" y="8"/>
                    <a:pt x="36" y="8"/>
                    <a:pt x="36" y="8"/>
                  </a:cubicBezTo>
                  <a:cubicBezTo>
                    <a:pt x="35" y="9"/>
                    <a:pt x="34" y="9"/>
                    <a:pt x="34" y="10"/>
                  </a:cubicBezTo>
                  <a:cubicBezTo>
                    <a:pt x="34" y="10"/>
                    <a:pt x="34" y="10"/>
                    <a:pt x="34" y="10"/>
                  </a:cubicBezTo>
                  <a:cubicBezTo>
                    <a:pt x="33" y="10"/>
                    <a:pt x="33" y="10"/>
                    <a:pt x="33" y="10"/>
                  </a:cubicBezTo>
                  <a:cubicBezTo>
                    <a:pt x="33" y="10"/>
                    <a:pt x="33" y="10"/>
                    <a:pt x="33" y="10"/>
                  </a:cubicBezTo>
                  <a:cubicBezTo>
                    <a:pt x="33" y="11"/>
                    <a:pt x="33" y="11"/>
                    <a:pt x="33" y="11"/>
                  </a:cubicBezTo>
                  <a:cubicBezTo>
                    <a:pt x="32" y="11"/>
                    <a:pt x="32" y="11"/>
                    <a:pt x="32" y="11"/>
                  </a:cubicBezTo>
                  <a:cubicBezTo>
                    <a:pt x="31" y="10"/>
                    <a:pt x="31" y="10"/>
                    <a:pt x="31" y="10"/>
                  </a:cubicBezTo>
                  <a:cubicBezTo>
                    <a:pt x="31" y="10"/>
                    <a:pt x="31" y="10"/>
                    <a:pt x="31" y="10"/>
                  </a:cubicBezTo>
                  <a:cubicBezTo>
                    <a:pt x="34" y="9"/>
                    <a:pt x="36" y="7"/>
                    <a:pt x="38" y="6"/>
                  </a:cubicBezTo>
                  <a:cubicBezTo>
                    <a:pt x="38" y="5"/>
                    <a:pt x="38" y="5"/>
                    <a:pt x="38" y="5"/>
                  </a:cubicBezTo>
                  <a:cubicBezTo>
                    <a:pt x="38" y="5"/>
                    <a:pt x="38" y="5"/>
                    <a:pt x="38" y="5"/>
                  </a:cubicBezTo>
                  <a:cubicBezTo>
                    <a:pt x="36" y="7"/>
                    <a:pt x="33" y="8"/>
                    <a:pt x="31" y="10"/>
                  </a:cubicBezTo>
                  <a:cubicBezTo>
                    <a:pt x="31" y="10"/>
                    <a:pt x="31" y="10"/>
                    <a:pt x="31" y="10"/>
                  </a:cubicBezTo>
                  <a:moveTo>
                    <a:pt x="28" y="9"/>
                  </a:moveTo>
                  <a:cubicBezTo>
                    <a:pt x="28" y="9"/>
                    <a:pt x="28" y="9"/>
                    <a:pt x="28" y="9"/>
                  </a:cubicBezTo>
                  <a:cubicBezTo>
                    <a:pt x="28" y="8"/>
                    <a:pt x="28" y="8"/>
                    <a:pt x="28" y="8"/>
                  </a:cubicBezTo>
                  <a:cubicBezTo>
                    <a:pt x="31" y="7"/>
                    <a:pt x="33" y="5"/>
                    <a:pt x="36" y="4"/>
                  </a:cubicBezTo>
                  <a:cubicBezTo>
                    <a:pt x="36" y="4"/>
                    <a:pt x="36" y="4"/>
                    <a:pt x="36" y="4"/>
                  </a:cubicBezTo>
                  <a:cubicBezTo>
                    <a:pt x="37" y="4"/>
                    <a:pt x="37" y="4"/>
                    <a:pt x="37" y="4"/>
                  </a:cubicBezTo>
                  <a:cubicBezTo>
                    <a:pt x="37" y="4"/>
                    <a:pt x="37" y="4"/>
                    <a:pt x="37" y="4"/>
                  </a:cubicBezTo>
                  <a:cubicBezTo>
                    <a:pt x="27" y="10"/>
                    <a:pt x="27" y="10"/>
                    <a:pt x="27" y="10"/>
                  </a:cubicBezTo>
                  <a:cubicBezTo>
                    <a:pt x="27" y="10"/>
                    <a:pt x="27" y="10"/>
                    <a:pt x="27" y="10"/>
                  </a:cubicBezTo>
                  <a:cubicBezTo>
                    <a:pt x="26" y="9"/>
                    <a:pt x="26" y="9"/>
                    <a:pt x="26" y="9"/>
                  </a:cubicBezTo>
                  <a:cubicBezTo>
                    <a:pt x="26" y="9"/>
                    <a:pt x="27" y="9"/>
                    <a:pt x="28" y="8"/>
                  </a:cubicBezTo>
                  <a:cubicBezTo>
                    <a:pt x="28" y="8"/>
                    <a:pt x="28" y="8"/>
                    <a:pt x="28" y="8"/>
                  </a:cubicBezTo>
                  <a:cubicBezTo>
                    <a:pt x="28" y="9"/>
                    <a:pt x="28" y="9"/>
                    <a:pt x="28" y="9"/>
                  </a:cubicBezTo>
                  <a:moveTo>
                    <a:pt x="29" y="8"/>
                  </a:moveTo>
                  <a:cubicBezTo>
                    <a:pt x="29" y="7"/>
                    <a:pt x="29" y="7"/>
                    <a:pt x="29" y="7"/>
                  </a:cubicBezTo>
                  <a:cubicBezTo>
                    <a:pt x="29" y="7"/>
                    <a:pt x="29" y="6"/>
                    <a:pt x="30" y="6"/>
                  </a:cubicBezTo>
                  <a:cubicBezTo>
                    <a:pt x="34" y="4"/>
                    <a:pt x="34" y="4"/>
                    <a:pt x="34" y="4"/>
                  </a:cubicBezTo>
                  <a:cubicBezTo>
                    <a:pt x="34" y="4"/>
                    <a:pt x="35" y="4"/>
                    <a:pt x="36" y="4"/>
                  </a:cubicBezTo>
                  <a:cubicBezTo>
                    <a:pt x="33" y="5"/>
                    <a:pt x="31" y="6"/>
                    <a:pt x="29" y="8"/>
                  </a:cubicBezTo>
                  <a:moveTo>
                    <a:pt x="30" y="5"/>
                  </a:moveTo>
                  <a:cubicBezTo>
                    <a:pt x="30" y="4"/>
                    <a:pt x="30" y="4"/>
                    <a:pt x="30" y="4"/>
                  </a:cubicBezTo>
                  <a:cubicBezTo>
                    <a:pt x="30" y="4"/>
                    <a:pt x="31" y="4"/>
                    <a:pt x="31" y="3"/>
                  </a:cubicBezTo>
                  <a:cubicBezTo>
                    <a:pt x="32" y="3"/>
                    <a:pt x="32" y="4"/>
                    <a:pt x="33" y="4"/>
                  </a:cubicBezTo>
                  <a:cubicBezTo>
                    <a:pt x="30" y="5"/>
                    <a:pt x="30" y="5"/>
                    <a:pt x="30" y="5"/>
                  </a:cubicBezTo>
                  <a:moveTo>
                    <a:pt x="11" y="5"/>
                  </a:moveTo>
                  <a:cubicBezTo>
                    <a:pt x="12" y="4"/>
                    <a:pt x="12" y="4"/>
                    <a:pt x="13" y="3"/>
                  </a:cubicBezTo>
                  <a:cubicBezTo>
                    <a:pt x="13" y="3"/>
                    <a:pt x="13" y="3"/>
                    <a:pt x="13" y="3"/>
                  </a:cubicBezTo>
                  <a:cubicBezTo>
                    <a:pt x="14" y="3"/>
                    <a:pt x="14" y="3"/>
                    <a:pt x="14" y="3"/>
                  </a:cubicBezTo>
                  <a:cubicBezTo>
                    <a:pt x="13" y="4"/>
                    <a:pt x="12" y="4"/>
                    <a:pt x="11" y="5"/>
                  </a:cubicBezTo>
                  <a:moveTo>
                    <a:pt x="29" y="4"/>
                  </a:moveTo>
                  <a:cubicBezTo>
                    <a:pt x="29" y="3"/>
                    <a:pt x="29" y="3"/>
                    <a:pt x="29" y="3"/>
                  </a:cubicBezTo>
                  <a:cubicBezTo>
                    <a:pt x="30" y="3"/>
                    <a:pt x="30" y="3"/>
                    <a:pt x="30" y="3"/>
                  </a:cubicBezTo>
                  <a:cubicBezTo>
                    <a:pt x="30" y="4"/>
                    <a:pt x="30" y="4"/>
                    <a:pt x="29" y="4"/>
                  </a:cubicBezTo>
                  <a:moveTo>
                    <a:pt x="24" y="9"/>
                  </a:moveTo>
                  <a:cubicBezTo>
                    <a:pt x="24" y="9"/>
                    <a:pt x="24" y="9"/>
                    <a:pt x="24" y="9"/>
                  </a:cubicBezTo>
                  <a:cubicBezTo>
                    <a:pt x="25" y="8"/>
                    <a:pt x="26" y="6"/>
                    <a:pt x="28" y="3"/>
                  </a:cubicBezTo>
                  <a:cubicBezTo>
                    <a:pt x="28" y="3"/>
                    <a:pt x="28" y="3"/>
                    <a:pt x="28" y="3"/>
                  </a:cubicBezTo>
                  <a:cubicBezTo>
                    <a:pt x="29" y="4"/>
                    <a:pt x="29" y="5"/>
                    <a:pt x="29" y="6"/>
                  </a:cubicBezTo>
                  <a:cubicBezTo>
                    <a:pt x="29" y="6"/>
                    <a:pt x="29" y="6"/>
                    <a:pt x="29" y="6"/>
                  </a:cubicBezTo>
                  <a:cubicBezTo>
                    <a:pt x="28" y="6"/>
                    <a:pt x="28" y="6"/>
                    <a:pt x="28" y="6"/>
                  </a:cubicBezTo>
                  <a:cubicBezTo>
                    <a:pt x="28" y="6"/>
                    <a:pt x="28" y="6"/>
                    <a:pt x="28" y="6"/>
                  </a:cubicBezTo>
                  <a:cubicBezTo>
                    <a:pt x="28" y="7"/>
                    <a:pt x="28" y="7"/>
                    <a:pt x="28" y="7"/>
                  </a:cubicBezTo>
                  <a:cubicBezTo>
                    <a:pt x="28" y="7"/>
                    <a:pt x="28" y="7"/>
                    <a:pt x="28" y="7"/>
                  </a:cubicBezTo>
                  <a:cubicBezTo>
                    <a:pt x="27" y="8"/>
                    <a:pt x="26" y="9"/>
                    <a:pt x="24" y="9"/>
                  </a:cubicBezTo>
                  <a:moveTo>
                    <a:pt x="17" y="8"/>
                  </a:moveTo>
                  <a:cubicBezTo>
                    <a:pt x="16" y="7"/>
                    <a:pt x="16" y="7"/>
                    <a:pt x="16" y="7"/>
                  </a:cubicBezTo>
                  <a:cubicBezTo>
                    <a:pt x="17" y="6"/>
                    <a:pt x="17" y="5"/>
                    <a:pt x="18" y="5"/>
                  </a:cubicBezTo>
                  <a:cubicBezTo>
                    <a:pt x="19" y="4"/>
                    <a:pt x="20" y="3"/>
                    <a:pt x="20" y="3"/>
                  </a:cubicBezTo>
                  <a:cubicBezTo>
                    <a:pt x="19" y="5"/>
                    <a:pt x="18" y="6"/>
                    <a:pt x="17" y="8"/>
                  </a:cubicBezTo>
                  <a:cubicBezTo>
                    <a:pt x="17" y="8"/>
                    <a:pt x="17" y="8"/>
                    <a:pt x="17" y="8"/>
                  </a:cubicBezTo>
                  <a:moveTo>
                    <a:pt x="12" y="8"/>
                  </a:moveTo>
                  <a:cubicBezTo>
                    <a:pt x="12" y="8"/>
                    <a:pt x="12" y="8"/>
                    <a:pt x="12" y="8"/>
                  </a:cubicBezTo>
                  <a:cubicBezTo>
                    <a:pt x="11" y="8"/>
                    <a:pt x="11" y="8"/>
                    <a:pt x="10" y="8"/>
                  </a:cubicBezTo>
                  <a:cubicBezTo>
                    <a:pt x="10" y="7"/>
                    <a:pt x="10" y="7"/>
                    <a:pt x="10" y="7"/>
                  </a:cubicBezTo>
                  <a:cubicBezTo>
                    <a:pt x="13" y="6"/>
                    <a:pt x="15" y="4"/>
                    <a:pt x="18" y="3"/>
                  </a:cubicBezTo>
                  <a:cubicBezTo>
                    <a:pt x="18" y="3"/>
                    <a:pt x="18" y="3"/>
                    <a:pt x="18" y="3"/>
                  </a:cubicBezTo>
                  <a:cubicBezTo>
                    <a:pt x="19" y="3"/>
                    <a:pt x="19" y="3"/>
                    <a:pt x="19" y="3"/>
                  </a:cubicBezTo>
                  <a:cubicBezTo>
                    <a:pt x="19" y="3"/>
                    <a:pt x="18" y="4"/>
                    <a:pt x="17" y="4"/>
                  </a:cubicBezTo>
                  <a:cubicBezTo>
                    <a:pt x="17" y="5"/>
                    <a:pt x="16" y="5"/>
                    <a:pt x="16" y="6"/>
                  </a:cubicBezTo>
                  <a:cubicBezTo>
                    <a:pt x="16" y="7"/>
                    <a:pt x="16" y="7"/>
                    <a:pt x="16" y="7"/>
                  </a:cubicBezTo>
                  <a:cubicBezTo>
                    <a:pt x="15" y="7"/>
                    <a:pt x="15" y="7"/>
                    <a:pt x="15" y="7"/>
                  </a:cubicBezTo>
                  <a:cubicBezTo>
                    <a:pt x="14" y="8"/>
                    <a:pt x="14" y="8"/>
                    <a:pt x="14" y="8"/>
                  </a:cubicBezTo>
                  <a:cubicBezTo>
                    <a:pt x="14" y="8"/>
                    <a:pt x="14" y="8"/>
                    <a:pt x="14" y="8"/>
                  </a:cubicBezTo>
                  <a:cubicBezTo>
                    <a:pt x="13" y="8"/>
                    <a:pt x="13" y="8"/>
                    <a:pt x="13" y="8"/>
                  </a:cubicBezTo>
                  <a:cubicBezTo>
                    <a:pt x="15" y="7"/>
                    <a:pt x="15" y="7"/>
                    <a:pt x="15" y="7"/>
                  </a:cubicBezTo>
                  <a:cubicBezTo>
                    <a:pt x="15" y="6"/>
                    <a:pt x="15" y="6"/>
                    <a:pt x="15" y="6"/>
                  </a:cubicBezTo>
                  <a:cubicBezTo>
                    <a:pt x="15" y="6"/>
                    <a:pt x="15" y="6"/>
                    <a:pt x="15" y="6"/>
                  </a:cubicBezTo>
                  <a:cubicBezTo>
                    <a:pt x="12" y="8"/>
                    <a:pt x="12" y="8"/>
                    <a:pt x="12" y="8"/>
                  </a:cubicBezTo>
                  <a:moveTo>
                    <a:pt x="11" y="6"/>
                  </a:moveTo>
                  <a:cubicBezTo>
                    <a:pt x="11" y="6"/>
                    <a:pt x="11" y="6"/>
                    <a:pt x="11" y="6"/>
                  </a:cubicBezTo>
                  <a:cubicBezTo>
                    <a:pt x="12" y="5"/>
                    <a:pt x="13" y="4"/>
                    <a:pt x="14" y="3"/>
                  </a:cubicBezTo>
                  <a:cubicBezTo>
                    <a:pt x="14" y="3"/>
                    <a:pt x="14" y="3"/>
                    <a:pt x="14" y="3"/>
                  </a:cubicBezTo>
                  <a:cubicBezTo>
                    <a:pt x="15" y="3"/>
                    <a:pt x="15" y="3"/>
                    <a:pt x="15" y="3"/>
                  </a:cubicBezTo>
                  <a:cubicBezTo>
                    <a:pt x="16" y="2"/>
                    <a:pt x="16" y="2"/>
                    <a:pt x="16" y="2"/>
                  </a:cubicBezTo>
                  <a:cubicBezTo>
                    <a:pt x="17" y="3"/>
                    <a:pt x="17" y="3"/>
                    <a:pt x="17" y="3"/>
                  </a:cubicBezTo>
                  <a:cubicBezTo>
                    <a:pt x="15" y="4"/>
                    <a:pt x="13" y="5"/>
                    <a:pt x="10" y="7"/>
                  </a:cubicBezTo>
                  <a:cubicBezTo>
                    <a:pt x="10" y="6"/>
                    <a:pt x="10" y="6"/>
                    <a:pt x="10" y="6"/>
                  </a:cubicBezTo>
                  <a:cubicBezTo>
                    <a:pt x="10" y="6"/>
                    <a:pt x="10" y="6"/>
                    <a:pt x="10" y="6"/>
                  </a:cubicBezTo>
                  <a:cubicBezTo>
                    <a:pt x="10" y="6"/>
                    <a:pt x="10" y="6"/>
                    <a:pt x="10" y="6"/>
                  </a:cubicBezTo>
                  <a:cubicBezTo>
                    <a:pt x="11" y="6"/>
                    <a:pt x="11" y="6"/>
                    <a:pt x="11" y="6"/>
                  </a:cubicBezTo>
                  <a:moveTo>
                    <a:pt x="37" y="11"/>
                  </a:moveTo>
                  <a:cubicBezTo>
                    <a:pt x="37" y="10"/>
                    <a:pt x="37" y="10"/>
                    <a:pt x="37" y="10"/>
                  </a:cubicBezTo>
                  <a:cubicBezTo>
                    <a:pt x="38" y="9"/>
                    <a:pt x="39" y="7"/>
                    <a:pt x="40" y="5"/>
                  </a:cubicBezTo>
                  <a:cubicBezTo>
                    <a:pt x="40" y="5"/>
                    <a:pt x="40" y="5"/>
                    <a:pt x="40" y="5"/>
                  </a:cubicBezTo>
                  <a:cubicBezTo>
                    <a:pt x="40" y="5"/>
                    <a:pt x="40" y="5"/>
                    <a:pt x="40" y="5"/>
                  </a:cubicBezTo>
                  <a:cubicBezTo>
                    <a:pt x="39" y="4"/>
                    <a:pt x="39" y="4"/>
                    <a:pt x="39" y="4"/>
                  </a:cubicBezTo>
                  <a:cubicBezTo>
                    <a:pt x="38" y="3"/>
                    <a:pt x="38" y="3"/>
                    <a:pt x="38" y="3"/>
                  </a:cubicBezTo>
                  <a:cubicBezTo>
                    <a:pt x="38" y="3"/>
                    <a:pt x="38" y="3"/>
                    <a:pt x="38" y="3"/>
                  </a:cubicBezTo>
                  <a:cubicBezTo>
                    <a:pt x="36" y="3"/>
                    <a:pt x="35" y="3"/>
                    <a:pt x="33" y="3"/>
                  </a:cubicBezTo>
                  <a:cubicBezTo>
                    <a:pt x="32" y="3"/>
                    <a:pt x="30" y="3"/>
                    <a:pt x="29" y="2"/>
                  </a:cubicBezTo>
                  <a:cubicBezTo>
                    <a:pt x="29" y="2"/>
                    <a:pt x="29" y="2"/>
                    <a:pt x="29" y="1"/>
                  </a:cubicBezTo>
                  <a:cubicBezTo>
                    <a:pt x="34" y="1"/>
                    <a:pt x="39" y="1"/>
                    <a:pt x="43" y="1"/>
                  </a:cubicBezTo>
                  <a:cubicBezTo>
                    <a:pt x="43" y="1"/>
                    <a:pt x="44" y="1"/>
                    <a:pt x="44" y="1"/>
                  </a:cubicBezTo>
                  <a:cubicBezTo>
                    <a:pt x="42" y="6"/>
                    <a:pt x="39" y="10"/>
                    <a:pt x="36" y="13"/>
                  </a:cubicBezTo>
                  <a:cubicBezTo>
                    <a:pt x="34" y="13"/>
                    <a:pt x="31" y="12"/>
                    <a:pt x="28" y="12"/>
                  </a:cubicBezTo>
                  <a:cubicBezTo>
                    <a:pt x="26" y="12"/>
                    <a:pt x="24" y="11"/>
                    <a:pt x="22" y="11"/>
                  </a:cubicBezTo>
                  <a:cubicBezTo>
                    <a:pt x="22" y="11"/>
                    <a:pt x="23" y="10"/>
                    <a:pt x="23" y="10"/>
                  </a:cubicBezTo>
                  <a:cubicBezTo>
                    <a:pt x="23" y="10"/>
                    <a:pt x="23" y="10"/>
                    <a:pt x="23" y="10"/>
                  </a:cubicBezTo>
                  <a:cubicBezTo>
                    <a:pt x="32" y="11"/>
                    <a:pt x="32" y="11"/>
                    <a:pt x="32" y="11"/>
                  </a:cubicBezTo>
                  <a:cubicBezTo>
                    <a:pt x="33" y="11"/>
                    <a:pt x="33" y="11"/>
                    <a:pt x="33" y="11"/>
                  </a:cubicBezTo>
                  <a:cubicBezTo>
                    <a:pt x="33" y="11"/>
                    <a:pt x="33" y="11"/>
                    <a:pt x="33" y="11"/>
                  </a:cubicBezTo>
                  <a:cubicBezTo>
                    <a:pt x="34" y="11"/>
                    <a:pt x="34" y="11"/>
                    <a:pt x="34" y="11"/>
                  </a:cubicBezTo>
                  <a:cubicBezTo>
                    <a:pt x="34" y="11"/>
                    <a:pt x="34" y="11"/>
                    <a:pt x="34" y="11"/>
                  </a:cubicBezTo>
                  <a:cubicBezTo>
                    <a:pt x="34" y="11"/>
                    <a:pt x="35" y="10"/>
                    <a:pt x="35" y="10"/>
                  </a:cubicBezTo>
                  <a:cubicBezTo>
                    <a:pt x="36" y="10"/>
                    <a:pt x="36" y="10"/>
                    <a:pt x="36" y="11"/>
                  </a:cubicBezTo>
                  <a:cubicBezTo>
                    <a:pt x="37" y="11"/>
                    <a:pt x="37" y="11"/>
                    <a:pt x="37" y="11"/>
                  </a:cubicBezTo>
                  <a:moveTo>
                    <a:pt x="15" y="10"/>
                  </a:moveTo>
                  <a:cubicBezTo>
                    <a:pt x="14" y="10"/>
                    <a:pt x="14" y="10"/>
                    <a:pt x="14" y="10"/>
                  </a:cubicBezTo>
                  <a:cubicBezTo>
                    <a:pt x="12" y="10"/>
                    <a:pt x="10" y="9"/>
                    <a:pt x="8" y="9"/>
                  </a:cubicBezTo>
                  <a:cubicBezTo>
                    <a:pt x="8" y="9"/>
                    <a:pt x="8" y="9"/>
                    <a:pt x="7" y="9"/>
                  </a:cubicBezTo>
                  <a:cubicBezTo>
                    <a:pt x="6" y="8"/>
                    <a:pt x="5" y="8"/>
                    <a:pt x="4" y="8"/>
                  </a:cubicBezTo>
                  <a:cubicBezTo>
                    <a:pt x="7" y="6"/>
                    <a:pt x="10" y="3"/>
                    <a:pt x="13" y="1"/>
                  </a:cubicBezTo>
                  <a:cubicBezTo>
                    <a:pt x="15" y="1"/>
                    <a:pt x="17" y="1"/>
                    <a:pt x="19" y="1"/>
                  </a:cubicBezTo>
                  <a:cubicBezTo>
                    <a:pt x="20" y="1"/>
                    <a:pt x="21" y="1"/>
                    <a:pt x="22" y="1"/>
                  </a:cubicBezTo>
                  <a:cubicBezTo>
                    <a:pt x="21" y="2"/>
                    <a:pt x="21" y="2"/>
                    <a:pt x="21" y="2"/>
                  </a:cubicBezTo>
                  <a:cubicBezTo>
                    <a:pt x="16" y="2"/>
                    <a:pt x="16" y="2"/>
                    <a:pt x="16" y="2"/>
                  </a:cubicBezTo>
                  <a:cubicBezTo>
                    <a:pt x="15" y="2"/>
                    <a:pt x="15" y="2"/>
                    <a:pt x="15" y="2"/>
                  </a:cubicBezTo>
                  <a:cubicBezTo>
                    <a:pt x="15" y="2"/>
                    <a:pt x="15" y="2"/>
                    <a:pt x="15" y="2"/>
                  </a:cubicBezTo>
                  <a:cubicBezTo>
                    <a:pt x="15" y="2"/>
                    <a:pt x="15" y="2"/>
                    <a:pt x="15" y="2"/>
                  </a:cubicBezTo>
                  <a:cubicBezTo>
                    <a:pt x="15" y="2"/>
                    <a:pt x="14" y="3"/>
                    <a:pt x="14" y="3"/>
                  </a:cubicBezTo>
                  <a:cubicBezTo>
                    <a:pt x="13" y="3"/>
                    <a:pt x="13" y="3"/>
                    <a:pt x="13" y="3"/>
                  </a:cubicBezTo>
                  <a:cubicBezTo>
                    <a:pt x="13" y="3"/>
                    <a:pt x="13" y="3"/>
                    <a:pt x="13" y="3"/>
                  </a:cubicBezTo>
                  <a:cubicBezTo>
                    <a:pt x="12" y="3"/>
                    <a:pt x="12" y="3"/>
                    <a:pt x="12" y="3"/>
                  </a:cubicBezTo>
                  <a:cubicBezTo>
                    <a:pt x="11" y="4"/>
                    <a:pt x="10" y="5"/>
                    <a:pt x="9" y="6"/>
                  </a:cubicBezTo>
                  <a:cubicBezTo>
                    <a:pt x="9" y="6"/>
                    <a:pt x="9" y="6"/>
                    <a:pt x="9" y="6"/>
                  </a:cubicBezTo>
                  <a:cubicBezTo>
                    <a:pt x="9" y="6"/>
                    <a:pt x="9" y="6"/>
                    <a:pt x="9" y="6"/>
                  </a:cubicBezTo>
                  <a:cubicBezTo>
                    <a:pt x="9" y="6"/>
                    <a:pt x="9" y="6"/>
                    <a:pt x="9" y="6"/>
                  </a:cubicBezTo>
                  <a:cubicBezTo>
                    <a:pt x="9" y="6"/>
                    <a:pt x="9" y="6"/>
                    <a:pt x="9" y="6"/>
                  </a:cubicBezTo>
                  <a:cubicBezTo>
                    <a:pt x="10" y="7"/>
                    <a:pt x="10" y="7"/>
                    <a:pt x="9" y="7"/>
                  </a:cubicBezTo>
                  <a:cubicBezTo>
                    <a:pt x="9" y="8"/>
                    <a:pt x="9" y="8"/>
                    <a:pt x="9" y="8"/>
                  </a:cubicBezTo>
                  <a:cubicBezTo>
                    <a:pt x="9" y="8"/>
                    <a:pt x="9" y="8"/>
                    <a:pt x="9" y="8"/>
                  </a:cubicBezTo>
                  <a:cubicBezTo>
                    <a:pt x="10" y="8"/>
                    <a:pt x="11" y="9"/>
                    <a:pt x="11" y="9"/>
                  </a:cubicBezTo>
                  <a:cubicBezTo>
                    <a:pt x="12" y="9"/>
                    <a:pt x="12" y="9"/>
                    <a:pt x="12" y="9"/>
                  </a:cubicBezTo>
                  <a:cubicBezTo>
                    <a:pt x="16" y="9"/>
                    <a:pt x="16" y="9"/>
                    <a:pt x="16" y="9"/>
                  </a:cubicBezTo>
                  <a:cubicBezTo>
                    <a:pt x="16" y="9"/>
                    <a:pt x="16" y="9"/>
                    <a:pt x="16" y="9"/>
                  </a:cubicBezTo>
                  <a:cubicBezTo>
                    <a:pt x="15" y="10"/>
                    <a:pt x="15" y="10"/>
                    <a:pt x="15" y="10"/>
                  </a:cubicBezTo>
                  <a:moveTo>
                    <a:pt x="21" y="17"/>
                  </a:moveTo>
                  <a:cubicBezTo>
                    <a:pt x="20" y="17"/>
                    <a:pt x="19" y="17"/>
                    <a:pt x="18" y="16"/>
                  </a:cubicBezTo>
                  <a:cubicBezTo>
                    <a:pt x="17" y="16"/>
                    <a:pt x="17" y="16"/>
                    <a:pt x="17" y="16"/>
                  </a:cubicBezTo>
                  <a:cubicBezTo>
                    <a:pt x="17" y="16"/>
                    <a:pt x="16" y="16"/>
                    <a:pt x="16" y="16"/>
                  </a:cubicBezTo>
                  <a:cubicBezTo>
                    <a:pt x="16" y="14"/>
                    <a:pt x="16" y="14"/>
                    <a:pt x="16" y="14"/>
                  </a:cubicBezTo>
                  <a:cubicBezTo>
                    <a:pt x="16" y="14"/>
                    <a:pt x="16" y="14"/>
                    <a:pt x="16" y="14"/>
                  </a:cubicBezTo>
                  <a:cubicBezTo>
                    <a:pt x="16" y="14"/>
                    <a:pt x="16" y="13"/>
                    <a:pt x="16" y="13"/>
                  </a:cubicBezTo>
                  <a:cubicBezTo>
                    <a:pt x="16" y="12"/>
                    <a:pt x="16" y="12"/>
                    <a:pt x="16" y="12"/>
                  </a:cubicBezTo>
                  <a:cubicBezTo>
                    <a:pt x="16" y="11"/>
                    <a:pt x="16" y="11"/>
                    <a:pt x="16" y="10"/>
                  </a:cubicBezTo>
                  <a:cubicBezTo>
                    <a:pt x="17" y="9"/>
                    <a:pt x="17" y="9"/>
                    <a:pt x="17" y="9"/>
                  </a:cubicBezTo>
                  <a:cubicBezTo>
                    <a:pt x="17" y="9"/>
                    <a:pt x="17" y="9"/>
                    <a:pt x="17" y="9"/>
                  </a:cubicBezTo>
                  <a:cubicBezTo>
                    <a:pt x="17" y="9"/>
                    <a:pt x="17" y="9"/>
                    <a:pt x="17" y="9"/>
                  </a:cubicBezTo>
                  <a:cubicBezTo>
                    <a:pt x="17" y="8"/>
                    <a:pt x="17" y="8"/>
                    <a:pt x="17" y="8"/>
                  </a:cubicBezTo>
                  <a:cubicBezTo>
                    <a:pt x="20" y="5"/>
                    <a:pt x="22" y="3"/>
                    <a:pt x="23" y="1"/>
                  </a:cubicBezTo>
                  <a:cubicBezTo>
                    <a:pt x="23" y="1"/>
                    <a:pt x="23" y="1"/>
                    <a:pt x="23" y="1"/>
                  </a:cubicBezTo>
                  <a:cubicBezTo>
                    <a:pt x="23" y="1"/>
                    <a:pt x="23" y="1"/>
                    <a:pt x="23" y="1"/>
                  </a:cubicBezTo>
                  <a:cubicBezTo>
                    <a:pt x="23" y="1"/>
                    <a:pt x="24" y="0"/>
                    <a:pt x="24" y="0"/>
                  </a:cubicBezTo>
                  <a:cubicBezTo>
                    <a:pt x="24" y="0"/>
                    <a:pt x="24" y="0"/>
                    <a:pt x="24" y="0"/>
                  </a:cubicBezTo>
                  <a:cubicBezTo>
                    <a:pt x="25" y="0"/>
                    <a:pt x="26" y="0"/>
                    <a:pt x="27" y="1"/>
                  </a:cubicBezTo>
                  <a:cubicBezTo>
                    <a:pt x="28" y="1"/>
                    <a:pt x="28" y="1"/>
                    <a:pt x="29" y="1"/>
                  </a:cubicBezTo>
                  <a:cubicBezTo>
                    <a:pt x="26" y="5"/>
                    <a:pt x="24" y="7"/>
                    <a:pt x="22" y="9"/>
                  </a:cubicBezTo>
                  <a:cubicBezTo>
                    <a:pt x="22" y="10"/>
                    <a:pt x="22" y="10"/>
                    <a:pt x="21" y="11"/>
                  </a:cubicBezTo>
                  <a:cubicBezTo>
                    <a:pt x="21" y="11"/>
                    <a:pt x="21" y="11"/>
                    <a:pt x="21" y="11"/>
                  </a:cubicBezTo>
                  <a:cubicBezTo>
                    <a:pt x="21" y="11"/>
                    <a:pt x="21" y="11"/>
                    <a:pt x="21" y="11"/>
                  </a:cubicBezTo>
                  <a:cubicBezTo>
                    <a:pt x="21" y="11"/>
                    <a:pt x="21" y="11"/>
                    <a:pt x="21" y="11"/>
                  </a:cubicBezTo>
                  <a:cubicBezTo>
                    <a:pt x="21" y="12"/>
                    <a:pt x="21" y="13"/>
                    <a:pt x="21" y="14"/>
                  </a:cubicBezTo>
                  <a:cubicBezTo>
                    <a:pt x="21" y="14"/>
                    <a:pt x="21" y="14"/>
                    <a:pt x="21" y="14"/>
                  </a:cubicBezTo>
                  <a:cubicBezTo>
                    <a:pt x="21" y="14"/>
                    <a:pt x="21" y="14"/>
                    <a:pt x="21" y="14"/>
                  </a:cubicBezTo>
                  <a:cubicBezTo>
                    <a:pt x="21" y="14"/>
                    <a:pt x="21" y="14"/>
                    <a:pt x="21" y="14"/>
                  </a:cubicBezTo>
                  <a:cubicBezTo>
                    <a:pt x="21" y="15"/>
                    <a:pt x="21" y="16"/>
                    <a:pt x="21" y="16"/>
                  </a:cubicBezTo>
                  <a:cubicBezTo>
                    <a:pt x="21" y="17"/>
                    <a:pt x="21" y="17"/>
                    <a:pt x="21" y="17"/>
                  </a:cubicBezTo>
                  <a:cubicBezTo>
                    <a:pt x="21" y="17"/>
                    <a:pt x="21" y="17"/>
                    <a:pt x="21" y="17"/>
                  </a:cubicBezTo>
                  <a:moveTo>
                    <a:pt x="24" y="0"/>
                  </a:moveTo>
                  <a:cubicBezTo>
                    <a:pt x="23" y="0"/>
                    <a:pt x="23" y="0"/>
                    <a:pt x="23" y="0"/>
                  </a:cubicBezTo>
                  <a:cubicBezTo>
                    <a:pt x="23" y="0"/>
                    <a:pt x="23" y="0"/>
                    <a:pt x="23" y="0"/>
                  </a:cubicBezTo>
                  <a:cubicBezTo>
                    <a:pt x="23" y="0"/>
                    <a:pt x="23" y="0"/>
                    <a:pt x="23" y="0"/>
                  </a:cubicBezTo>
                  <a:cubicBezTo>
                    <a:pt x="21" y="0"/>
                    <a:pt x="20" y="0"/>
                    <a:pt x="19" y="0"/>
                  </a:cubicBezTo>
                  <a:cubicBezTo>
                    <a:pt x="17" y="0"/>
                    <a:pt x="15" y="0"/>
                    <a:pt x="13" y="0"/>
                  </a:cubicBezTo>
                  <a:cubicBezTo>
                    <a:pt x="13" y="0"/>
                    <a:pt x="13" y="0"/>
                    <a:pt x="13" y="0"/>
                  </a:cubicBezTo>
                  <a:cubicBezTo>
                    <a:pt x="10" y="3"/>
                    <a:pt x="6" y="6"/>
                    <a:pt x="2" y="8"/>
                  </a:cubicBezTo>
                  <a:cubicBezTo>
                    <a:pt x="2" y="9"/>
                    <a:pt x="2" y="9"/>
                    <a:pt x="2" y="9"/>
                  </a:cubicBezTo>
                  <a:cubicBezTo>
                    <a:pt x="2" y="9"/>
                    <a:pt x="2" y="9"/>
                    <a:pt x="2" y="9"/>
                  </a:cubicBezTo>
                  <a:cubicBezTo>
                    <a:pt x="4" y="9"/>
                    <a:pt x="5" y="9"/>
                    <a:pt x="7" y="10"/>
                  </a:cubicBezTo>
                  <a:cubicBezTo>
                    <a:pt x="7" y="10"/>
                    <a:pt x="8" y="10"/>
                    <a:pt x="8" y="10"/>
                  </a:cubicBezTo>
                  <a:cubicBezTo>
                    <a:pt x="10" y="10"/>
                    <a:pt x="12" y="10"/>
                    <a:pt x="14" y="11"/>
                  </a:cubicBezTo>
                  <a:cubicBezTo>
                    <a:pt x="15" y="11"/>
                    <a:pt x="15" y="11"/>
                    <a:pt x="15" y="11"/>
                  </a:cubicBezTo>
                  <a:cubicBezTo>
                    <a:pt x="15" y="11"/>
                    <a:pt x="15" y="11"/>
                    <a:pt x="15" y="11"/>
                  </a:cubicBezTo>
                  <a:cubicBezTo>
                    <a:pt x="9" y="10"/>
                    <a:pt x="5" y="10"/>
                    <a:pt x="3" y="9"/>
                  </a:cubicBezTo>
                  <a:cubicBezTo>
                    <a:pt x="3" y="10"/>
                    <a:pt x="3" y="10"/>
                    <a:pt x="3" y="10"/>
                  </a:cubicBezTo>
                  <a:cubicBezTo>
                    <a:pt x="3" y="10"/>
                    <a:pt x="3" y="10"/>
                    <a:pt x="3" y="10"/>
                  </a:cubicBezTo>
                  <a:cubicBezTo>
                    <a:pt x="5" y="10"/>
                    <a:pt x="9" y="11"/>
                    <a:pt x="15" y="12"/>
                  </a:cubicBezTo>
                  <a:cubicBezTo>
                    <a:pt x="15" y="12"/>
                    <a:pt x="15" y="12"/>
                    <a:pt x="15" y="12"/>
                  </a:cubicBezTo>
                  <a:cubicBezTo>
                    <a:pt x="9" y="11"/>
                    <a:pt x="4" y="11"/>
                    <a:pt x="3" y="11"/>
                  </a:cubicBezTo>
                  <a:cubicBezTo>
                    <a:pt x="3" y="11"/>
                    <a:pt x="3" y="11"/>
                    <a:pt x="3" y="11"/>
                  </a:cubicBezTo>
                  <a:cubicBezTo>
                    <a:pt x="3" y="11"/>
                    <a:pt x="3" y="11"/>
                    <a:pt x="3" y="11"/>
                  </a:cubicBezTo>
                  <a:cubicBezTo>
                    <a:pt x="4" y="11"/>
                    <a:pt x="9" y="12"/>
                    <a:pt x="15" y="13"/>
                  </a:cubicBezTo>
                  <a:cubicBezTo>
                    <a:pt x="15" y="14"/>
                    <a:pt x="15" y="14"/>
                    <a:pt x="15" y="14"/>
                  </a:cubicBezTo>
                  <a:cubicBezTo>
                    <a:pt x="13" y="13"/>
                    <a:pt x="13" y="13"/>
                    <a:pt x="13" y="13"/>
                  </a:cubicBezTo>
                  <a:cubicBezTo>
                    <a:pt x="10" y="13"/>
                    <a:pt x="8" y="12"/>
                    <a:pt x="8" y="12"/>
                  </a:cubicBezTo>
                  <a:cubicBezTo>
                    <a:pt x="6" y="12"/>
                    <a:pt x="5" y="12"/>
                    <a:pt x="3" y="12"/>
                  </a:cubicBezTo>
                  <a:cubicBezTo>
                    <a:pt x="3" y="12"/>
                    <a:pt x="3" y="12"/>
                    <a:pt x="3" y="12"/>
                  </a:cubicBezTo>
                  <a:cubicBezTo>
                    <a:pt x="3" y="12"/>
                    <a:pt x="3" y="12"/>
                    <a:pt x="3" y="12"/>
                  </a:cubicBezTo>
                  <a:cubicBezTo>
                    <a:pt x="5" y="13"/>
                    <a:pt x="6" y="13"/>
                    <a:pt x="8" y="13"/>
                  </a:cubicBezTo>
                  <a:cubicBezTo>
                    <a:pt x="8" y="13"/>
                    <a:pt x="9" y="13"/>
                    <a:pt x="13" y="14"/>
                  </a:cubicBezTo>
                  <a:cubicBezTo>
                    <a:pt x="15" y="14"/>
                    <a:pt x="15" y="14"/>
                    <a:pt x="15" y="14"/>
                  </a:cubicBezTo>
                  <a:cubicBezTo>
                    <a:pt x="15" y="15"/>
                    <a:pt x="15" y="15"/>
                    <a:pt x="15" y="15"/>
                  </a:cubicBezTo>
                  <a:cubicBezTo>
                    <a:pt x="15" y="15"/>
                    <a:pt x="15" y="15"/>
                    <a:pt x="15" y="15"/>
                  </a:cubicBezTo>
                  <a:cubicBezTo>
                    <a:pt x="14" y="15"/>
                    <a:pt x="14" y="15"/>
                    <a:pt x="14" y="15"/>
                  </a:cubicBezTo>
                  <a:cubicBezTo>
                    <a:pt x="10" y="14"/>
                    <a:pt x="7" y="13"/>
                    <a:pt x="4" y="13"/>
                  </a:cubicBezTo>
                  <a:cubicBezTo>
                    <a:pt x="3" y="13"/>
                    <a:pt x="3" y="13"/>
                    <a:pt x="3" y="13"/>
                  </a:cubicBezTo>
                  <a:cubicBezTo>
                    <a:pt x="3" y="13"/>
                    <a:pt x="3" y="13"/>
                    <a:pt x="3" y="13"/>
                  </a:cubicBezTo>
                  <a:cubicBezTo>
                    <a:pt x="3" y="13"/>
                    <a:pt x="3" y="14"/>
                    <a:pt x="2" y="14"/>
                  </a:cubicBezTo>
                  <a:cubicBezTo>
                    <a:pt x="1" y="14"/>
                    <a:pt x="0" y="15"/>
                    <a:pt x="0" y="15"/>
                  </a:cubicBezTo>
                  <a:cubicBezTo>
                    <a:pt x="0" y="15"/>
                    <a:pt x="0" y="15"/>
                    <a:pt x="0" y="15"/>
                  </a:cubicBezTo>
                  <a:cubicBezTo>
                    <a:pt x="0" y="16"/>
                    <a:pt x="0" y="16"/>
                    <a:pt x="0" y="16"/>
                  </a:cubicBezTo>
                  <a:cubicBezTo>
                    <a:pt x="2" y="16"/>
                    <a:pt x="3" y="16"/>
                    <a:pt x="5" y="17"/>
                  </a:cubicBezTo>
                  <a:cubicBezTo>
                    <a:pt x="5" y="17"/>
                    <a:pt x="6" y="17"/>
                    <a:pt x="6" y="17"/>
                  </a:cubicBezTo>
                  <a:cubicBezTo>
                    <a:pt x="8" y="18"/>
                    <a:pt x="10" y="18"/>
                    <a:pt x="12" y="19"/>
                  </a:cubicBezTo>
                  <a:cubicBezTo>
                    <a:pt x="13" y="19"/>
                    <a:pt x="13" y="19"/>
                    <a:pt x="13" y="19"/>
                  </a:cubicBezTo>
                  <a:cubicBezTo>
                    <a:pt x="13" y="20"/>
                    <a:pt x="13" y="20"/>
                    <a:pt x="13" y="20"/>
                  </a:cubicBezTo>
                  <a:cubicBezTo>
                    <a:pt x="7" y="18"/>
                    <a:pt x="3" y="17"/>
                    <a:pt x="1" y="16"/>
                  </a:cubicBezTo>
                  <a:cubicBezTo>
                    <a:pt x="0" y="16"/>
                    <a:pt x="0" y="16"/>
                    <a:pt x="0" y="16"/>
                  </a:cubicBezTo>
                  <a:cubicBezTo>
                    <a:pt x="1" y="17"/>
                    <a:pt x="1" y="17"/>
                    <a:pt x="1" y="17"/>
                  </a:cubicBezTo>
                  <a:cubicBezTo>
                    <a:pt x="3" y="17"/>
                    <a:pt x="7" y="19"/>
                    <a:pt x="13" y="20"/>
                  </a:cubicBezTo>
                  <a:cubicBezTo>
                    <a:pt x="13" y="21"/>
                    <a:pt x="13" y="21"/>
                    <a:pt x="13" y="21"/>
                  </a:cubicBezTo>
                  <a:cubicBezTo>
                    <a:pt x="6" y="19"/>
                    <a:pt x="2" y="17"/>
                    <a:pt x="1" y="17"/>
                  </a:cubicBezTo>
                  <a:cubicBezTo>
                    <a:pt x="0" y="18"/>
                    <a:pt x="0" y="18"/>
                    <a:pt x="0" y="18"/>
                  </a:cubicBezTo>
                  <a:cubicBezTo>
                    <a:pt x="1" y="18"/>
                    <a:pt x="1" y="18"/>
                    <a:pt x="1" y="18"/>
                  </a:cubicBezTo>
                  <a:cubicBezTo>
                    <a:pt x="2" y="18"/>
                    <a:pt x="6" y="20"/>
                    <a:pt x="12" y="22"/>
                  </a:cubicBezTo>
                  <a:cubicBezTo>
                    <a:pt x="12" y="22"/>
                    <a:pt x="12" y="22"/>
                    <a:pt x="12" y="22"/>
                  </a:cubicBezTo>
                  <a:cubicBezTo>
                    <a:pt x="10" y="21"/>
                    <a:pt x="10" y="21"/>
                    <a:pt x="10" y="21"/>
                  </a:cubicBezTo>
                  <a:cubicBezTo>
                    <a:pt x="8" y="20"/>
                    <a:pt x="6" y="20"/>
                    <a:pt x="5" y="20"/>
                  </a:cubicBezTo>
                  <a:cubicBezTo>
                    <a:pt x="4" y="19"/>
                    <a:pt x="2" y="19"/>
                    <a:pt x="1" y="18"/>
                  </a:cubicBezTo>
                  <a:cubicBezTo>
                    <a:pt x="0" y="19"/>
                    <a:pt x="0" y="19"/>
                    <a:pt x="0" y="19"/>
                  </a:cubicBezTo>
                  <a:cubicBezTo>
                    <a:pt x="1" y="19"/>
                    <a:pt x="1" y="19"/>
                    <a:pt x="1" y="19"/>
                  </a:cubicBezTo>
                  <a:cubicBezTo>
                    <a:pt x="2" y="19"/>
                    <a:pt x="4" y="20"/>
                    <a:pt x="5" y="21"/>
                  </a:cubicBezTo>
                  <a:cubicBezTo>
                    <a:pt x="5" y="21"/>
                    <a:pt x="7" y="21"/>
                    <a:pt x="10" y="22"/>
                  </a:cubicBezTo>
                  <a:cubicBezTo>
                    <a:pt x="12" y="23"/>
                    <a:pt x="12" y="23"/>
                    <a:pt x="12" y="23"/>
                  </a:cubicBezTo>
                  <a:cubicBezTo>
                    <a:pt x="12" y="23"/>
                    <a:pt x="12" y="23"/>
                    <a:pt x="12" y="23"/>
                  </a:cubicBezTo>
                  <a:cubicBezTo>
                    <a:pt x="12" y="23"/>
                    <a:pt x="12" y="23"/>
                    <a:pt x="12" y="23"/>
                  </a:cubicBezTo>
                  <a:cubicBezTo>
                    <a:pt x="11" y="23"/>
                    <a:pt x="11" y="23"/>
                    <a:pt x="11" y="23"/>
                  </a:cubicBezTo>
                  <a:cubicBezTo>
                    <a:pt x="7" y="22"/>
                    <a:pt x="4" y="21"/>
                    <a:pt x="1" y="19"/>
                  </a:cubicBezTo>
                  <a:cubicBezTo>
                    <a:pt x="0" y="20"/>
                    <a:pt x="0" y="20"/>
                    <a:pt x="0" y="20"/>
                  </a:cubicBezTo>
                  <a:cubicBezTo>
                    <a:pt x="1" y="20"/>
                    <a:pt x="1" y="20"/>
                    <a:pt x="1" y="20"/>
                  </a:cubicBezTo>
                  <a:cubicBezTo>
                    <a:pt x="2" y="20"/>
                    <a:pt x="3" y="21"/>
                    <a:pt x="4" y="21"/>
                  </a:cubicBezTo>
                  <a:cubicBezTo>
                    <a:pt x="3" y="21"/>
                    <a:pt x="3" y="22"/>
                    <a:pt x="2" y="22"/>
                  </a:cubicBezTo>
                  <a:cubicBezTo>
                    <a:pt x="2" y="22"/>
                    <a:pt x="2" y="22"/>
                    <a:pt x="2" y="22"/>
                  </a:cubicBezTo>
                  <a:cubicBezTo>
                    <a:pt x="2" y="22"/>
                    <a:pt x="2" y="22"/>
                    <a:pt x="2" y="22"/>
                  </a:cubicBezTo>
                  <a:cubicBezTo>
                    <a:pt x="4" y="23"/>
                    <a:pt x="5" y="23"/>
                    <a:pt x="7" y="24"/>
                  </a:cubicBezTo>
                  <a:cubicBezTo>
                    <a:pt x="8" y="25"/>
                    <a:pt x="8" y="25"/>
                    <a:pt x="8" y="25"/>
                  </a:cubicBezTo>
                  <a:cubicBezTo>
                    <a:pt x="10" y="26"/>
                    <a:pt x="11" y="26"/>
                    <a:pt x="13" y="27"/>
                  </a:cubicBezTo>
                  <a:cubicBezTo>
                    <a:pt x="14" y="28"/>
                    <a:pt x="14" y="28"/>
                    <a:pt x="14" y="28"/>
                  </a:cubicBezTo>
                  <a:cubicBezTo>
                    <a:pt x="14" y="28"/>
                    <a:pt x="14" y="28"/>
                    <a:pt x="14" y="28"/>
                  </a:cubicBezTo>
                  <a:cubicBezTo>
                    <a:pt x="9" y="25"/>
                    <a:pt x="5" y="24"/>
                    <a:pt x="3" y="23"/>
                  </a:cubicBezTo>
                  <a:cubicBezTo>
                    <a:pt x="2" y="23"/>
                    <a:pt x="2" y="23"/>
                    <a:pt x="2" y="23"/>
                  </a:cubicBezTo>
                  <a:cubicBezTo>
                    <a:pt x="2" y="24"/>
                    <a:pt x="2" y="24"/>
                    <a:pt x="2" y="24"/>
                  </a:cubicBezTo>
                  <a:cubicBezTo>
                    <a:pt x="5" y="25"/>
                    <a:pt x="8" y="26"/>
                    <a:pt x="14" y="29"/>
                  </a:cubicBezTo>
                  <a:cubicBezTo>
                    <a:pt x="14" y="29"/>
                    <a:pt x="14" y="29"/>
                    <a:pt x="14" y="29"/>
                  </a:cubicBezTo>
                  <a:cubicBezTo>
                    <a:pt x="8" y="26"/>
                    <a:pt x="4" y="25"/>
                    <a:pt x="3" y="24"/>
                  </a:cubicBezTo>
                  <a:cubicBezTo>
                    <a:pt x="2" y="24"/>
                    <a:pt x="2" y="24"/>
                    <a:pt x="2" y="24"/>
                  </a:cubicBezTo>
                  <a:cubicBezTo>
                    <a:pt x="2" y="25"/>
                    <a:pt x="2" y="25"/>
                    <a:pt x="2" y="25"/>
                  </a:cubicBezTo>
                  <a:cubicBezTo>
                    <a:pt x="3" y="25"/>
                    <a:pt x="7" y="27"/>
                    <a:pt x="14" y="30"/>
                  </a:cubicBezTo>
                  <a:cubicBezTo>
                    <a:pt x="13" y="30"/>
                    <a:pt x="13" y="30"/>
                    <a:pt x="13" y="30"/>
                  </a:cubicBezTo>
                  <a:cubicBezTo>
                    <a:pt x="11" y="29"/>
                    <a:pt x="11" y="29"/>
                    <a:pt x="11" y="29"/>
                  </a:cubicBezTo>
                  <a:cubicBezTo>
                    <a:pt x="9" y="28"/>
                    <a:pt x="7" y="27"/>
                    <a:pt x="7" y="27"/>
                  </a:cubicBezTo>
                  <a:cubicBezTo>
                    <a:pt x="5" y="26"/>
                    <a:pt x="4" y="26"/>
                    <a:pt x="2" y="25"/>
                  </a:cubicBezTo>
                  <a:cubicBezTo>
                    <a:pt x="2" y="25"/>
                    <a:pt x="2" y="25"/>
                    <a:pt x="2" y="25"/>
                  </a:cubicBezTo>
                  <a:cubicBezTo>
                    <a:pt x="2" y="26"/>
                    <a:pt x="2" y="26"/>
                    <a:pt x="2" y="26"/>
                  </a:cubicBezTo>
                  <a:cubicBezTo>
                    <a:pt x="3" y="26"/>
                    <a:pt x="5" y="27"/>
                    <a:pt x="6" y="28"/>
                  </a:cubicBezTo>
                  <a:cubicBezTo>
                    <a:pt x="7" y="28"/>
                    <a:pt x="8" y="29"/>
                    <a:pt x="11" y="30"/>
                  </a:cubicBezTo>
                  <a:cubicBezTo>
                    <a:pt x="13" y="31"/>
                    <a:pt x="13" y="31"/>
                    <a:pt x="13" y="31"/>
                  </a:cubicBezTo>
                  <a:cubicBezTo>
                    <a:pt x="13" y="31"/>
                    <a:pt x="13" y="31"/>
                    <a:pt x="13" y="31"/>
                  </a:cubicBezTo>
                  <a:cubicBezTo>
                    <a:pt x="13" y="31"/>
                    <a:pt x="13" y="31"/>
                    <a:pt x="13" y="31"/>
                  </a:cubicBezTo>
                  <a:cubicBezTo>
                    <a:pt x="12" y="31"/>
                    <a:pt x="12" y="31"/>
                    <a:pt x="12" y="31"/>
                  </a:cubicBezTo>
                  <a:cubicBezTo>
                    <a:pt x="9" y="29"/>
                    <a:pt x="5" y="28"/>
                    <a:pt x="2" y="26"/>
                  </a:cubicBezTo>
                  <a:cubicBezTo>
                    <a:pt x="2" y="26"/>
                    <a:pt x="2" y="26"/>
                    <a:pt x="2" y="26"/>
                  </a:cubicBezTo>
                  <a:cubicBezTo>
                    <a:pt x="2" y="27"/>
                    <a:pt x="2" y="27"/>
                    <a:pt x="2" y="27"/>
                  </a:cubicBezTo>
                  <a:cubicBezTo>
                    <a:pt x="5" y="29"/>
                    <a:pt x="8" y="30"/>
                    <a:pt x="11" y="32"/>
                  </a:cubicBezTo>
                  <a:cubicBezTo>
                    <a:pt x="12" y="32"/>
                    <a:pt x="12" y="32"/>
                    <a:pt x="12" y="32"/>
                  </a:cubicBezTo>
                  <a:cubicBezTo>
                    <a:pt x="13" y="32"/>
                    <a:pt x="13" y="32"/>
                    <a:pt x="13" y="32"/>
                  </a:cubicBezTo>
                  <a:cubicBezTo>
                    <a:pt x="13" y="33"/>
                    <a:pt x="13" y="33"/>
                    <a:pt x="13" y="33"/>
                  </a:cubicBezTo>
                  <a:cubicBezTo>
                    <a:pt x="13" y="34"/>
                    <a:pt x="14" y="34"/>
                    <a:pt x="14" y="34"/>
                  </a:cubicBezTo>
                  <a:cubicBezTo>
                    <a:pt x="15" y="34"/>
                    <a:pt x="15" y="34"/>
                    <a:pt x="15" y="34"/>
                  </a:cubicBezTo>
                  <a:cubicBezTo>
                    <a:pt x="16" y="35"/>
                    <a:pt x="17" y="36"/>
                    <a:pt x="18" y="36"/>
                  </a:cubicBezTo>
                  <a:cubicBezTo>
                    <a:pt x="19" y="36"/>
                    <a:pt x="19" y="36"/>
                    <a:pt x="19" y="36"/>
                  </a:cubicBezTo>
                  <a:cubicBezTo>
                    <a:pt x="19" y="36"/>
                    <a:pt x="19" y="36"/>
                    <a:pt x="19" y="36"/>
                  </a:cubicBezTo>
                  <a:cubicBezTo>
                    <a:pt x="19" y="36"/>
                    <a:pt x="19" y="36"/>
                    <a:pt x="20" y="36"/>
                  </a:cubicBezTo>
                  <a:cubicBezTo>
                    <a:pt x="20" y="36"/>
                    <a:pt x="20" y="36"/>
                    <a:pt x="20" y="36"/>
                  </a:cubicBezTo>
                  <a:cubicBezTo>
                    <a:pt x="20" y="36"/>
                    <a:pt x="20" y="36"/>
                    <a:pt x="20" y="36"/>
                  </a:cubicBezTo>
                  <a:cubicBezTo>
                    <a:pt x="24" y="38"/>
                    <a:pt x="30" y="41"/>
                    <a:pt x="32" y="42"/>
                  </a:cubicBezTo>
                  <a:cubicBezTo>
                    <a:pt x="33" y="42"/>
                    <a:pt x="33" y="42"/>
                    <a:pt x="33" y="42"/>
                  </a:cubicBezTo>
                  <a:cubicBezTo>
                    <a:pt x="33" y="41"/>
                    <a:pt x="33" y="41"/>
                    <a:pt x="33" y="41"/>
                  </a:cubicBezTo>
                  <a:cubicBezTo>
                    <a:pt x="34" y="41"/>
                    <a:pt x="37" y="39"/>
                    <a:pt x="39" y="38"/>
                  </a:cubicBezTo>
                  <a:cubicBezTo>
                    <a:pt x="42" y="36"/>
                    <a:pt x="44" y="35"/>
                    <a:pt x="45" y="35"/>
                  </a:cubicBezTo>
                  <a:cubicBezTo>
                    <a:pt x="45" y="34"/>
                    <a:pt x="45" y="34"/>
                    <a:pt x="45" y="34"/>
                  </a:cubicBezTo>
                  <a:cubicBezTo>
                    <a:pt x="44" y="34"/>
                    <a:pt x="44" y="34"/>
                    <a:pt x="44" y="34"/>
                  </a:cubicBezTo>
                  <a:cubicBezTo>
                    <a:pt x="44" y="35"/>
                    <a:pt x="41" y="36"/>
                    <a:pt x="39" y="37"/>
                  </a:cubicBezTo>
                  <a:cubicBezTo>
                    <a:pt x="36" y="38"/>
                    <a:pt x="34" y="40"/>
                    <a:pt x="33" y="41"/>
                  </a:cubicBezTo>
                  <a:cubicBezTo>
                    <a:pt x="30" y="40"/>
                    <a:pt x="23" y="37"/>
                    <a:pt x="19" y="35"/>
                  </a:cubicBezTo>
                  <a:cubicBezTo>
                    <a:pt x="19" y="34"/>
                    <a:pt x="19" y="34"/>
                    <a:pt x="19" y="34"/>
                  </a:cubicBezTo>
                  <a:cubicBezTo>
                    <a:pt x="24" y="36"/>
                    <a:pt x="28" y="38"/>
                    <a:pt x="30" y="39"/>
                  </a:cubicBezTo>
                  <a:cubicBezTo>
                    <a:pt x="32" y="40"/>
                    <a:pt x="33" y="40"/>
                    <a:pt x="33" y="40"/>
                  </a:cubicBezTo>
                  <a:cubicBezTo>
                    <a:pt x="33" y="40"/>
                    <a:pt x="33" y="40"/>
                    <a:pt x="33" y="40"/>
                  </a:cubicBezTo>
                  <a:cubicBezTo>
                    <a:pt x="33" y="40"/>
                    <a:pt x="33" y="40"/>
                    <a:pt x="33" y="40"/>
                  </a:cubicBezTo>
                  <a:cubicBezTo>
                    <a:pt x="34" y="39"/>
                    <a:pt x="35" y="39"/>
                    <a:pt x="37" y="38"/>
                  </a:cubicBezTo>
                  <a:cubicBezTo>
                    <a:pt x="39" y="37"/>
                    <a:pt x="42" y="35"/>
                    <a:pt x="45" y="33"/>
                  </a:cubicBezTo>
                  <a:cubicBezTo>
                    <a:pt x="45" y="32"/>
                    <a:pt x="45" y="32"/>
                    <a:pt x="45" y="32"/>
                  </a:cubicBezTo>
                  <a:cubicBezTo>
                    <a:pt x="44" y="32"/>
                    <a:pt x="44" y="32"/>
                    <a:pt x="44" y="32"/>
                  </a:cubicBezTo>
                  <a:cubicBezTo>
                    <a:pt x="42" y="34"/>
                    <a:pt x="39" y="36"/>
                    <a:pt x="36" y="37"/>
                  </a:cubicBezTo>
                  <a:cubicBezTo>
                    <a:pt x="35" y="38"/>
                    <a:pt x="34" y="39"/>
                    <a:pt x="33" y="39"/>
                  </a:cubicBezTo>
                  <a:cubicBezTo>
                    <a:pt x="32" y="39"/>
                    <a:pt x="32" y="39"/>
                    <a:pt x="31" y="38"/>
                  </a:cubicBezTo>
                  <a:cubicBezTo>
                    <a:pt x="28" y="37"/>
                    <a:pt x="24" y="35"/>
                    <a:pt x="20" y="33"/>
                  </a:cubicBezTo>
                  <a:cubicBezTo>
                    <a:pt x="20" y="33"/>
                    <a:pt x="20" y="33"/>
                    <a:pt x="20" y="33"/>
                  </a:cubicBezTo>
                  <a:cubicBezTo>
                    <a:pt x="22" y="34"/>
                    <a:pt x="25" y="35"/>
                    <a:pt x="27" y="36"/>
                  </a:cubicBezTo>
                  <a:cubicBezTo>
                    <a:pt x="30" y="38"/>
                    <a:pt x="32" y="39"/>
                    <a:pt x="33" y="39"/>
                  </a:cubicBezTo>
                  <a:cubicBezTo>
                    <a:pt x="33" y="39"/>
                    <a:pt x="33" y="39"/>
                    <a:pt x="33" y="39"/>
                  </a:cubicBezTo>
                  <a:cubicBezTo>
                    <a:pt x="33" y="39"/>
                    <a:pt x="33" y="39"/>
                    <a:pt x="33" y="39"/>
                  </a:cubicBezTo>
                  <a:cubicBezTo>
                    <a:pt x="33" y="38"/>
                    <a:pt x="33" y="38"/>
                    <a:pt x="33" y="38"/>
                  </a:cubicBezTo>
                  <a:cubicBezTo>
                    <a:pt x="33" y="38"/>
                    <a:pt x="30" y="37"/>
                    <a:pt x="27" y="35"/>
                  </a:cubicBezTo>
                  <a:cubicBezTo>
                    <a:pt x="25" y="34"/>
                    <a:pt x="22" y="33"/>
                    <a:pt x="20" y="32"/>
                  </a:cubicBezTo>
                  <a:cubicBezTo>
                    <a:pt x="20" y="32"/>
                    <a:pt x="20" y="32"/>
                    <a:pt x="20" y="32"/>
                  </a:cubicBezTo>
                  <a:cubicBezTo>
                    <a:pt x="22" y="32"/>
                    <a:pt x="23" y="33"/>
                    <a:pt x="25" y="34"/>
                  </a:cubicBezTo>
                  <a:cubicBezTo>
                    <a:pt x="28" y="35"/>
                    <a:pt x="31" y="37"/>
                    <a:pt x="33" y="38"/>
                  </a:cubicBezTo>
                  <a:cubicBezTo>
                    <a:pt x="34" y="38"/>
                    <a:pt x="34" y="38"/>
                    <a:pt x="34" y="38"/>
                  </a:cubicBezTo>
                  <a:cubicBezTo>
                    <a:pt x="34" y="38"/>
                    <a:pt x="34" y="38"/>
                    <a:pt x="34" y="38"/>
                  </a:cubicBezTo>
                  <a:cubicBezTo>
                    <a:pt x="35" y="37"/>
                    <a:pt x="35" y="37"/>
                    <a:pt x="36" y="37"/>
                  </a:cubicBezTo>
                  <a:cubicBezTo>
                    <a:pt x="39" y="35"/>
                    <a:pt x="42" y="34"/>
                    <a:pt x="45" y="31"/>
                  </a:cubicBezTo>
                  <a:cubicBezTo>
                    <a:pt x="45" y="30"/>
                    <a:pt x="45" y="30"/>
                    <a:pt x="45" y="30"/>
                  </a:cubicBezTo>
                  <a:cubicBezTo>
                    <a:pt x="45" y="30"/>
                    <a:pt x="45" y="30"/>
                    <a:pt x="45" y="30"/>
                  </a:cubicBezTo>
                  <a:cubicBezTo>
                    <a:pt x="41" y="33"/>
                    <a:pt x="39" y="34"/>
                    <a:pt x="36" y="36"/>
                  </a:cubicBezTo>
                  <a:cubicBezTo>
                    <a:pt x="35" y="36"/>
                    <a:pt x="34" y="37"/>
                    <a:pt x="34" y="37"/>
                  </a:cubicBezTo>
                  <a:cubicBezTo>
                    <a:pt x="31" y="36"/>
                    <a:pt x="28" y="35"/>
                    <a:pt x="25" y="33"/>
                  </a:cubicBezTo>
                  <a:cubicBezTo>
                    <a:pt x="24" y="32"/>
                    <a:pt x="22" y="32"/>
                    <a:pt x="20" y="31"/>
                  </a:cubicBezTo>
                  <a:cubicBezTo>
                    <a:pt x="20" y="31"/>
                    <a:pt x="20" y="31"/>
                    <a:pt x="20" y="31"/>
                  </a:cubicBezTo>
                  <a:cubicBezTo>
                    <a:pt x="22" y="31"/>
                    <a:pt x="24" y="32"/>
                    <a:pt x="26" y="33"/>
                  </a:cubicBezTo>
                  <a:cubicBezTo>
                    <a:pt x="28" y="34"/>
                    <a:pt x="31" y="35"/>
                    <a:pt x="34" y="37"/>
                  </a:cubicBezTo>
                  <a:cubicBezTo>
                    <a:pt x="34" y="37"/>
                    <a:pt x="34" y="37"/>
                    <a:pt x="34" y="37"/>
                  </a:cubicBezTo>
                  <a:cubicBezTo>
                    <a:pt x="34" y="36"/>
                    <a:pt x="34" y="36"/>
                    <a:pt x="34" y="36"/>
                  </a:cubicBezTo>
                  <a:cubicBezTo>
                    <a:pt x="34" y="36"/>
                    <a:pt x="37" y="35"/>
                    <a:pt x="40" y="33"/>
                  </a:cubicBezTo>
                  <a:cubicBezTo>
                    <a:pt x="43" y="31"/>
                    <a:pt x="45" y="30"/>
                    <a:pt x="45" y="30"/>
                  </a:cubicBezTo>
                  <a:cubicBezTo>
                    <a:pt x="45" y="29"/>
                    <a:pt x="45" y="29"/>
                    <a:pt x="45" y="29"/>
                  </a:cubicBezTo>
                  <a:cubicBezTo>
                    <a:pt x="45" y="29"/>
                    <a:pt x="45" y="29"/>
                    <a:pt x="45" y="29"/>
                  </a:cubicBezTo>
                  <a:cubicBezTo>
                    <a:pt x="39" y="27"/>
                    <a:pt x="39" y="27"/>
                    <a:pt x="39" y="27"/>
                  </a:cubicBezTo>
                  <a:cubicBezTo>
                    <a:pt x="39" y="26"/>
                    <a:pt x="39" y="26"/>
                    <a:pt x="39" y="26"/>
                  </a:cubicBezTo>
                  <a:cubicBezTo>
                    <a:pt x="41" y="25"/>
                    <a:pt x="43" y="23"/>
                    <a:pt x="44" y="23"/>
                  </a:cubicBezTo>
                  <a:cubicBezTo>
                    <a:pt x="44" y="22"/>
                    <a:pt x="44" y="22"/>
                    <a:pt x="44" y="22"/>
                  </a:cubicBezTo>
                  <a:cubicBezTo>
                    <a:pt x="43" y="22"/>
                    <a:pt x="43" y="22"/>
                    <a:pt x="43" y="22"/>
                  </a:cubicBezTo>
                  <a:cubicBezTo>
                    <a:pt x="43" y="23"/>
                    <a:pt x="41" y="24"/>
                    <a:pt x="39" y="26"/>
                  </a:cubicBezTo>
                  <a:cubicBezTo>
                    <a:pt x="36" y="27"/>
                    <a:pt x="34" y="29"/>
                    <a:pt x="33" y="30"/>
                  </a:cubicBezTo>
                  <a:cubicBezTo>
                    <a:pt x="30" y="30"/>
                    <a:pt x="23" y="27"/>
                    <a:pt x="19" y="26"/>
                  </a:cubicBezTo>
                  <a:cubicBezTo>
                    <a:pt x="19" y="25"/>
                    <a:pt x="19" y="25"/>
                    <a:pt x="19" y="25"/>
                  </a:cubicBezTo>
                  <a:cubicBezTo>
                    <a:pt x="23" y="26"/>
                    <a:pt x="27" y="28"/>
                    <a:pt x="30" y="29"/>
                  </a:cubicBezTo>
                  <a:cubicBezTo>
                    <a:pt x="32" y="29"/>
                    <a:pt x="33" y="29"/>
                    <a:pt x="33" y="29"/>
                  </a:cubicBezTo>
                  <a:cubicBezTo>
                    <a:pt x="33" y="29"/>
                    <a:pt x="33" y="29"/>
                    <a:pt x="33" y="29"/>
                  </a:cubicBezTo>
                  <a:cubicBezTo>
                    <a:pt x="33" y="29"/>
                    <a:pt x="33" y="29"/>
                    <a:pt x="33" y="29"/>
                  </a:cubicBezTo>
                  <a:cubicBezTo>
                    <a:pt x="34" y="28"/>
                    <a:pt x="35" y="28"/>
                    <a:pt x="36" y="27"/>
                  </a:cubicBezTo>
                  <a:cubicBezTo>
                    <a:pt x="39" y="25"/>
                    <a:pt x="42" y="23"/>
                    <a:pt x="44" y="21"/>
                  </a:cubicBezTo>
                  <a:cubicBezTo>
                    <a:pt x="44" y="20"/>
                    <a:pt x="44" y="20"/>
                    <a:pt x="44" y="20"/>
                  </a:cubicBezTo>
                  <a:cubicBezTo>
                    <a:pt x="43" y="20"/>
                    <a:pt x="43" y="20"/>
                    <a:pt x="43" y="20"/>
                  </a:cubicBezTo>
                  <a:cubicBezTo>
                    <a:pt x="41" y="22"/>
                    <a:pt x="38" y="24"/>
                    <a:pt x="36" y="26"/>
                  </a:cubicBezTo>
                  <a:cubicBezTo>
                    <a:pt x="35" y="27"/>
                    <a:pt x="34" y="28"/>
                    <a:pt x="33" y="28"/>
                  </a:cubicBezTo>
                  <a:cubicBezTo>
                    <a:pt x="32" y="28"/>
                    <a:pt x="32" y="28"/>
                    <a:pt x="30" y="28"/>
                  </a:cubicBezTo>
                  <a:cubicBezTo>
                    <a:pt x="28" y="27"/>
                    <a:pt x="23" y="26"/>
                    <a:pt x="19" y="24"/>
                  </a:cubicBezTo>
                  <a:cubicBezTo>
                    <a:pt x="19" y="24"/>
                    <a:pt x="19" y="24"/>
                    <a:pt x="19" y="24"/>
                  </a:cubicBezTo>
                  <a:cubicBezTo>
                    <a:pt x="22" y="25"/>
                    <a:pt x="24" y="25"/>
                    <a:pt x="26" y="26"/>
                  </a:cubicBezTo>
                  <a:cubicBezTo>
                    <a:pt x="30" y="27"/>
                    <a:pt x="32" y="28"/>
                    <a:pt x="33" y="28"/>
                  </a:cubicBezTo>
                  <a:cubicBezTo>
                    <a:pt x="33" y="28"/>
                    <a:pt x="33" y="28"/>
                    <a:pt x="33" y="28"/>
                  </a:cubicBezTo>
                  <a:cubicBezTo>
                    <a:pt x="33" y="28"/>
                    <a:pt x="33" y="28"/>
                    <a:pt x="33" y="28"/>
                  </a:cubicBezTo>
                  <a:cubicBezTo>
                    <a:pt x="33" y="27"/>
                    <a:pt x="33" y="27"/>
                    <a:pt x="33" y="27"/>
                  </a:cubicBezTo>
                  <a:cubicBezTo>
                    <a:pt x="32" y="27"/>
                    <a:pt x="30" y="26"/>
                    <a:pt x="27" y="25"/>
                  </a:cubicBezTo>
                  <a:cubicBezTo>
                    <a:pt x="24" y="25"/>
                    <a:pt x="22" y="24"/>
                    <a:pt x="19" y="23"/>
                  </a:cubicBezTo>
                  <a:cubicBezTo>
                    <a:pt x="19" y="23"/>
                    <a:pt x="19" y="23"/>
                    <a:pt x="19" y="23"/>
                  </a:cubicBezTo>
                  <a:cubicBezTo>
                    <a:pt x="21" y="23"/>
                    <a:pt x="22" y="24"/>
                    <a:pt x="24" y="24"/>
                  </a:cubicBezTo>
                  <a:cubicBezTo>
                    <a:pt x="27" y="25"/>
                    <a:pt x="31" y="26"/>
                    <a:pt x="33" y="27"/>
                  </a:cubicBezTo>
                  <a:cubicBezTo>
                    <a:pt x="33" y="27"/>
                    <a:pt x="33" y="27"/>
                    <a:pt x="33" y="27"/>
                  </a:cubicBezTo>
                  <a:cubicBezTo>
                    <a:pt x="33" y="27"/>
                    <a:pt x="33" y="27"/>
                    <a:pt x="33" y="27"/>
                  </a:cubicBezTo>
                  <a:cubicBezTo>
                    <a:pt x="34" y="27"/>
                    <a:pt x="35" y="26"/>
                    <a:pt x="36" y="25"/>
                  </a:cubicBezTo>
                  <a:cubicBezTo>
                    <a:pt x="38" y="24"/>
                    <a:pt x="41" y="22"/>
                    <a:pt x="44" y="19"/>
                  </a:cubicBezTo>
                  <a:cubicBezTo>
                    <a:pt x="44" y="18"/>
                    <a:pt x="44" y="18"/>
                    <a:pt x="44" y="18"/>
                  </a:cubicBezTo>
                  <a:cubicBezTo>
                    <a:pt x="43" y="18"/>
                    <a:pt x="43" y="18"/>
                    <a:pt x="43" y="18"/>
                  </a:cubicBezTo>
                  <a:cubicBezTo>
                    <a:pt x="40" y="21"/>
                    <a:pt x="38" y="23"/>
                    <a:pt x="35" y="25"/>
                  </a:cubicBezTo>
                  <a:cubicBezTo>
                    <a:pt x="35" y="25"/>
                    <a:pt x="34" y="26"/>
                    <a:pt x="33" y="26"/>
                  </a:cubicBezTo>
                  <a:cubicBezTo>
                    <a:pt x="31" y="26"/>
                    <a:pt x="28" y="25"/>
                    <a:pt x="24" y="23"/>
                  </a:cubicBezTo>
                  <a:cubicBezTo>
                    <a:pt x="23" y="23"/>
                    <a:pt x="21" y="22"/>
                    <a:pt x="19" y="22"/>
                  </a:cubicBezTo>
                  <a:cubicBezTo>
                    <a:pt x="19" y="21"/>
                    <a:pt x="19" y="21"/>
                    <a:pt x="19" y="21"/>
                  </a:cubicBezTo>
                  <a:cubicBezTo>
                    <a:pt x="21" y="22"/>
                    <a:pt x="23" y="23"/>
                    <a:pt x="25" y="23"/>
                  </a:cubicBezTo>
                  <a:cubicBezTo>
                    <a:pt x="28" y="24"/>
                    <a:pt x="30" y="25"/>
                    <a:pt x="33" y="26"/>
                  </a:cubicBezTo>
                  <a:cubicBezTo>
                    <a:pt x="33" y="26"/>
                    <a:pt x="33" y="26"/>
                    <a:pt x="33" y="26"/>
                  </a:cubicBezTo>
                  <a:cubicBezTo>
                    <a:pt x="34" y="26"/>
                    <a:pt x="34" y="26"/>
                    <a:pt x="34" y="26"/>
                  </a:cubicBezTo>
                  <a:cubicBezTo>
                    <a:pt x="34" y="25"/>
                    <a:pt x="36" y="23"/>
                    <a:pt x="39" y="22"/>
                  </a:cubicBezTo>
                  <a:cubicBezTo>
                    <a:pt x="42" y="19"/>
                    <a:pt x="44" y="18"/>
                    <a:pt x="44" y="17"/>
                  </a:cubicBezTo>
                  <a:cubicBezTo>
                    <a:pt x="44" y="17"/>
                    <a:pt x="44" y="17"/>
                    <a:pt x="44" y="17"/>
                  </a:cubicBezTo>
                  <a:cubicBezTo>
                    <a:pt x="44" y="17"/>
                    <a:pt x="44" y="17"/>
                    <a:pt x="44" y="17"/>
                  </a:cubicBezTo>
                  <a:cubicBezTo>
                    <a:pt x="39" y="16"/>
                    <a:pt x="39" y="16"/>
                    <a:pt x="39" y="16"/>
                  </a:cubicBezTo>
                  <a:cubicBezTo>
                    <a:pt x="42" y="13"/>
                    <a:pt x="45" y="9"/>
                    <a:pt x="45" y="8"/>
                  </a:cubicBezTo>
                  <a:cubicBezTo>
                    <a:pt x="45" y="7"/>
                    <a:pt x="45" y="7"/>
                    <a:pt x="45" y="7"/>
                  </a:cubicBezTo>
                  <a:cubicBezTo>
                    <a:pt x="45" y="8"/>
                    <a:pt x="45" y="8"/>
                    <a:pt x="45" y="8"/>
                  </a:cubicBezTo>
                  <a:cubicBezTo>
                    <a:pt x="44" y="9"/>
                    <a:pt x="38" y="16"/>
                    <a:pt x="36" y="18"/>
                  </a:cubicBezTo>
                  <a:cubicBezTo>
                    <a:pt x="34" y="18"/>
                    <a:pt x="27" y="17"/>
                    <a:pt x="22" y="16"/>
                  </a:cubicBezTo>
                  <a:cubicBezTo>
                    <a:pt x="22" y="16"/>
                    <a:pt x="22" y="16"/>
                    <a:pt x="22" y="16"/>
                  </a:cubicBezTo>
                  <a:cubicBezTo>
                    <a:pt x="26" y="16"/>
                    <a:pt x="31" y="17"/>
                    <a:pt x="34" y="17"/>
                  </a:cubicBezTo>
                  <a:cubicBezTo>
                    <a:pt x="35" y="18"/>
                    <a:pt x="36" y="18"/>
                    <a:pt x="36" y="18"/>
                  </a:cubicBezTo>
                  <a:cubicBezTo>
                    <a:pt x="36" y="18"/>
                    <a:pt x="36" y="18"/>
                    <a:pt x="36" y="18"/>
                  </a:cubicBezTo>
                  <a:cubicBezTo>
                    <a:pt x="37" y="18"/>
                    <a:pt x="37" y="18"/>
                    <a:pt x="37" y="18"/>
                  </a:cubicBezTo>
                  <a:cubicBezTo>
                    <a:pt x="39" y="15"/>
                    <a:pt x="43" y="10"/>
                    <a:pt x="45" y="6"/>
                  </a:cubicBezTo>
                  <a:cubicBezTo>
                    <a:pt x="45" y="5"/>
                    <a:pt x="45" y="5"/>
                    <a:pt x="45" y="5"/>
                  </a:cubicBezTo>
                  <a:cubicBezTo>
                    <a:pt x="45" y="5"/>
                    <a:pt x="45" y="5"/>
                    <a:pt x="45" y="5"/>
                  </a:cubicBezTo>
                  <a:cubicBezTo>
                    <a:pt x="42" y="9"/>
                    <a:pt x="38" y="14"/>
                    <a:pt x="36" y="17"/>
                  </a:cubicBezTo>
                  <a:cubicBezTo>
                    <a:pt x="36" y="17"/>
                    <a:pt x="35" y="17"/>
                    <a:pt x="34" y="16"/>
                  </a:cubicBezTo>
                  <a:cubicBezTo>
                    <a:pt x="31" y="16"/>
                    <a:pt x="26" y="15"/>
                    <a:pt x="22" y="15"/>
                  </a:cubicBezTo>
                  <a:cubicBezTo>
                    <a:pt x="22" y="14"/>
                    <a:pt x="22" y="14"/>
                    <a:pt x="22" y="14"/>
                  </a:cubicBezTo>
                  <a:cubicBezTo>
                    <a:pt x="25" y="15"/>
                    <a:pt x="27" y="15"/>
                    <a:pt x="30" y="16"/>
                  </a:cubicBezTo>
                  <a:cubicBezTo>
                    <a:pt x="34" y="16"/>
                    <a:pt x="36" y="17"/>
                    <a:pt x="36" y="17"/>
                  </a:cubicBezTo>
                  <a:cubicBezTo>
                    <a:pt x="37" y="16"/>
                    <a:pt x="37" y="16"/>
                    <a:pt x="37" y="16"/>
                  </a:cubicBezTo>
                  <a:cubicBezTo>
                    <a:pt x="36" y="16"/>
                    <a:pt x="36" y="16"/>
                    <a:pt x="36" y="16"/>
                  </a:cubicBezTo>
                  <a:cubicBezTo>
                    <a:pt x="36" y="16"/>
                    <a:pt x="33" y="15"/>
                    <a:pt x="30" y="15"/>
                  </a:cubicBezTo>
                  <a:cubicBezTo>
                    <a:pt x="28" y="14"/>
                    <a:pt x="25" y="14"/>
                    <a:pt x="22" y="13"/>
                  </a:cubicBezTo>
                  <a:cubicBezTo>
                    <a:pt x="22" y="13"/>
                    <a:pt x="22" y="13"/>
                    <a:pt x="22" y="13"/>
                  </a:cubicBezTo>
                  <a:cubicBezTo>
                    <a:pt x="24" y="13"/>
                    <a:pt x="25" y="14"/>
                    <a:pt x="27" y="14"/>
                  </a:cubicBezTo>
                  <a:cubicBezTo>
                    <a:pt x="31" y="15"/>
                    <a:pt x="34" y="15"/>
                    <a:pt x="36" y="16"/>
                  </a:cubicBezTo>
                  <a:cubicBezTo>
                    <a:pt x="37" y="16"/>
                    <a:pt x="37" y="16"/>
                    <a:pt x="37" y="16"/>
                  </a:cubicBezTo>
                  <a:cubicBezTo>
                    <a:pt x="37" y="15"/>
                    <a:pt x="37" y="15"/>
                    <a:pt x="37" y="15"/>
                  </a:cubicBezTo>
                  <a:cubicBezTo>
                    <a:pt x="39" y="12"/>
                    <a:pt x="42" y="9"/>
                    <a:pt x="45" y="4"/>
                  </a:cubicBezTo>
                  <a:cubicBezTo>
                    <a:pt x="45" y="3"/>
                    <a:pt x="45" y="3"/>
                    <a:pt x="45" y="3"/>
                  </a:cubicBezTo>
                  <a:cubicBezTo>
                    <a:pt x="44" y="3"/>
                    <a:pt x="44" y="3"/>
                    <a:pt x="44" y="3"/>
                  </a:cubicBezTo>
                  <a:cubicBezTo>
                    <a:pt x="41" y="8"/>
                    <a:pt x="39" y="11"/>
                    <a:pt x="37" y="14"/>
                  </a:cubicBezTo>
                  <a:cubicBezTo>
                    <a:pt x="40" y="10"/>
                    <a:pt x="43" y="6"/>
                    <a:pt x="45" y="1"/>
                  </a:cubicBezTo>
                  <a:cubicBezTo>
                    <a:pt x="45" y="1"/>
                    <a:pt x="45" y="1"/>
                    <a:pt x="45" y="1"/>
                  </a:cubicBezTo>
                  <a:cubicBezTo>
                    <a:pt x="45" y="1"/>
                    <a:pt x="45" y="1"/>
                    <a:pt x="45" y="1"/>
                  </a:cubicBezTo>
                  <a:cubicBezTo>
                    <a:pt x="45" y="1"/>
                    <a:pt x="44" y="1"/>
                    <a:pt x="43" y="1"/>
                  </a:cubicBezTo>
                  <a:cubicBezTo>
                    <a:pt x="39" y="1"/>
                    <a:pt x="35" y="1"/>
                    <a:pt x="30" y="0"/>
                  </a:cubicBezTo>
                  <a:cubicBezTo>
                    <a:pt x="30" y="0"/>
                    <a:pt x="30" y="0"/>
                    <a:pt x="30" y="0"/>
                  </a:cubicBezTo>
                  <a:cubicBezTo>
                    <a:pt x="30" y="0"/>
                    <a:pt x="29" y="0"/>
                    <a:pt x="29" y="0"/>
                  </a:cubicBezTo>
                  <a:cubicBezTo>
                    <a:pt x="28" y="0"/>
                    <a:pt x="28" y="0"/>
                    <a:pt x="28" y="0"/>
                  </a:cubicBezTo>
                  <a:cubicBezTo>
                    <a:pt x="27" y="0"/>
                    <a:pt x="25" y="0"/>
                    <a:pt x="24" y="0"/>
                  </a:cubicBezTo>
                  <a:cubicBezTo>
                    <a:pt x="24" y="0"/>
                    <a:pt x="24" y="0"/>
                    <a:pt x="2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41" name="í$ḷíḓe"/>
            <p:cNvSpPr/>
            <p:nvPr/>
          </p:nvSpPr>
          <p:spPr bwMode="auto">
            <a:xfrm>
              <a:off x="3979" y="2101"/>
              <a:ext cx="12" cy="2"/>
            </a:xfrm>
            <a:custGeom>
              <a:avLst/>
              <a:gdLst>
                <a:gd name="T0" fmla="*/ 3 w 12"/>
                <a:gd name="T1" fmla="*/ 0 h 2"/>
                <a:gd name="T2" fmla="*/ 0 w 12"/>
                <a:gd name="T3" fmla="*/ 0 h 2"/>
                <a:gd name="T4" fmla="*/ 3 w 12"/>
                <a:gd name="T5" fmla="*/ 0 h 2"/>
                <a:gd name="T6" fmla="*/ 10 w 12"/>
                <a:gd name="T7" fmla="*/ 2 h 2"/>
                <a:gd name="T8" fmla="*/ 12 w 12"/>
                <a:gd name="T9" fmla="*/ 2 h 2"/>
                <a:gd name="T10" fmla="*/ 10 w 12"/>
                <a:gd name="T11" fmla="*/ 0 h 2"/>
                <a:gd name="T12" fmla="*/ 3 w 1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2" h="2">
                  <a:moveTo>
                    <a:pt x="3" y="0"/>
                  </a:moveTo>
                  <a:lnTo>
                    <a:pt x="0" y="0"/>
                  </a:lnTo>
                  <a:lnTo>
                    <a:pt x="3" y="0"/>
                  </a:lnTo>
                  <a:lnTo>
                    <a:pt x="10" y="2"/>
                  </a:lnTo>
                  <a:lnTo>
                    <a:pt x="12" y="2"/>
                  </a:lnTo>
                  <a:lnTo>
                    <a:pt x="10" y="0"/>
                  </a:lnTo>
                  <a:lnTo>
                    <a:pt x="3"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42" name="îṥļïḑe"/>
            <p:cNvSpPr/>
            <p:nvPr/>
          </p:nvSpPr>
          <p:spPr bwMode="auto">
            <a:xfrm>
              <a:off x="3979" y="2101"/>
              <a:ext cx="12" cy="2"/>
            </a:xfrm>
            <a:custGeom>
              <a:avLst/>
              <a:gdLst>
                <a:gd name="T0" fmla="*/ 3 w 12"/>
                <a:gd name="T1" fmla="*/ 0 h 2"/>
                <a:gd name="T2" fmla="*/ 0 w 12"/>
                <a:gd name="T3" fmla="*/ 0 h 2"/>
                <a:gd name="T4" fmla="*/ 3 w 12"/>
                <a:gd name="T5" fmla="*/ 0 h 2"/>
                <a:gd name="T6" fmla="*/ 10 w 12"/>
                <a:gd name="T7" fmla="*/ 2 h 2"/>
                <a:gd name="T8" fmla="*/ 12 w 12"/>
                <a:gd name="T9" fmla="*/ 2 h 2"/>
                <a:gd name="T10" fmla="*/ 10 w 12"/>
                <a:gd name="T11" fmla="*/ 0 h 2"/>
                <a:gd name="T12" fmla="*/ 3 w 1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2" h="2">
                  <a:moveTo>
                    <a:pt x="3" y="0"/>
                  </a:moveTo>
                  <a:lnTo>
                    <a:pt x="0" y="0"/>
                  </a:lnTo>
                  <a:lnTo>
                    <a:pt x="3" y="0"/>
                  </a:lnTo>
                  <a:lnTo>
                    <a:pt x="10" y="2"/>
                  </a:lnTo>
                  <a:lnTo>
                    <a:pt x="12" y="2"/>
                  </a:lnTo>
                  <a:lnTo>
                    <a:pt x="10" y="0"/>
                  </a:lnTo>
                  <a:lnTo>
                    <a:pt x="3"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43" name="iŝľiďe"/>
            <p:cNvSpPr/>
            <p:nvPr/>
          </p:nvSpPr>
          <p:spPr bwMode="auto">
            <a:xfrm>
              <a:off x="3974" y="2120"/>
              <a:ext cx="10" cy="5"/>
            </a:xfrm>
            <a:custGeom>
              <a:avLst/>
              <a:gdLst>
                <a:gd name="T0" fmla="*/ 0 w 10"/>
                <a:gd name="T1" fmla="*/ 0 h 5"/>
                <a:gd name="T2" fmla="*/ 0 w 10"/>
                <a:gd name="T3" fmla="*/ 2 h 5"/>
                <a:gd name="T4" fmla="*/ 0 w 10"/>
                <a:gd name="T5" fmla="*/ 2 h 5"/>
                <a:gd name="T6" fmla="*/ 10 w 10"/>
                <a:gd name="T7" fmla="*/ 5 h 5"/>
                <a:gd name="T8" fmla="*/ 10 w 10"/>
                <a:gd name="T9" fmla="*/ 5 h 5"/>
                <a:gd name="T10" fmla="*/ 10 w 10"/>
                <a:gd name="T11" fmla="*/ 5 h 5"/>
                <a:gd name="T12" fmla="*/ 10 w 10"/>
                <a:gd name="T13" fmla="*/ 5 h 5"/>
                <a:gd name="T14" fmla="*/ 0 w 10"/>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5">
                  <a:moveTo>
                    <a:pt x="0" y="0"/>
                  </a:moveTo>
                  <a:lnTo>
                    <a:pt x="0" y="2"/>
                  </a:lnTo>
                  <a:lnTo>
                    <a:pt x="0" y="2"/>
                  </a:lnTo>
                  <a:lnTo>
                    <a:pt x="10" y="5"/>
                  </a:lnTo>
                  <a:lnTo>
                    <a:pt x="10" y="5"/>
                  </a:lnTo>
                  <a:lnTo>
                    <a:pt x="10" y="5"/>
                  </a:lnTo>
                  <a:lnTo>
                    <a:pt x="10" y="5"/>
                  </a:lnTo>
                  <a:lnTo>
                    <a:pt x="0"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44" name="ïSľíḋé"/>
            <p:cNvSpPr/>
            <p:nvPr/>
          </p:nvSpPr>
          <p:spPr bwMode="auto">
            <a:xfrm>
              <a:off x="3974" y="2120"/>
              <a:ext cx="10" cy="5"/>
            </a:xfrm>
            <a:custGeom>
              <a:avLst/>
              <a:gdLst>
                <a:gd name="T0" fmla="*/ 0 w 10"/>
                <a:gd name="T1" fmla="*/ 0 h 5"/>
                <a:gd name="T2" fmla="*/ 0 w 10"/>
                <a:gd name="T3" fmla="*/ 2 h 5"/>
                <a:gd name="T4" fmla="*/ 0 w 10"/>
                <a:gd name="T5" fmla="*/ 2 h 5"/>
                <a:gd name="T6" fmla="*/ 10 w 10"/>
                <a:gd name="T7" fmla="*/ 5 h 5"/>
                <a:gd name="T8" fmla="*/ 10 w 10"/>
                <a:gd name="T9" fmla="*/ 5 h 5"/>
                <a:gd name="T10" fmla="*/ 10 w 10"/>
                <a:gd name="T11" fmla="*/ 5 h 5"/>
                <a:gd name="T12" fmla="*/ 10 w 10"/>
                <a:gd name="T13" fmla="*/ 5 h 5"/>
                <a:gd name="T14" fmla="*/ 0 w 10"/>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5">
                  <a:moveTo>
                    <a:pt x="0" y="0"/>
                  </a:moveTo>
                  <a:lnTo>
                    <a:pt x="0" y="2"/>
                  </a:lnTo>
                  <a:lnTo>
                    <a:pt x="0" y="2"/>
                  </a:lnTo>
                  <a:lnTo>
                    <a:pt x="10" y="5"/>
                  </a:lnTo>
                  <a:lnTo>
                    <a:pt x="10" y="5"/>
                  </a:lnTo>
                  <a:lnTo>
                    <a:pt x="10" y="5"/>
                  </a:lnTo>
                  <a:lnTo>
                    <a:pt x="10" y="5"/>
                  </a:lnTo>
                  <a:lnTo>
                    <a:pt x="0"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45" name="ïṣľidé"/>
            <p:cNvSpPr/>
            <p:nvPr/>
          </p:nvSpPr>
          <p:spPr bwMode="auto">
            <a:xfrm>
              <a:off x="3977" y="2141"/>
              <a:ext cx="9" cy="5"/>
            </a:xfrm>
            <a:custGeom>
              <a:avLst/>
              <a:gdLst>
                <a:gd name="T0" fmla="*/ 0 w 9"/>
                <a:gd name="T1" fmla="*/ 0 h 5"/>
                <a:gd name="T2" fmla="*/ 0 w 9"/>
                <a:gd name="T3" fmla="*/ 0 h 5"/>
                <a:gd name="T4" fmla="*/ 0 w 9"/>
                <a:gd name="T5" fmla="*/ 0 h 5"/>
                <a:gd name="T6" fmla="*/ 9 w 9"/>
                <a:gd name="T7" fmla="*/ 5 h 5"/>
                <a:gd name="T8" fmla="*/ 9 w 9"/>
                <a:gd name="T9" fmla="*/ 5 h 5"/>
                <a:gd name="T10" fmla="*/ 9 w 9"/>
                <a:gd name="T11" fmla="*/ 5 h 5"/>
                <a:gd name="T12" fmla="*/ 9 w 9"/>
                <a:gd name="T13" fmla="*/ 5 h 5"/>
                <a:gd name="T14" fmla="*/ 0 w 9"/>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0" y="0"/>
                  </a:moveTo>
                  <a:lnTo>
                    <a:pt x="0" y="0"/>
                  </a:lnTo>
                  <a:lnTo>
                    <a:pt x="0" y="0"/>
                  </a:lnTo>
                  <a:lnTo>
                    <a:pt x="9" y="5"/>
                  </a:lnTo>
                  <a:lnTo>
                    <a:pt x="9" y="5"/>
                  </a:lnTo>
                  <a:lnTo>
                    <a:pt x="9" y="5"/>
                  </a:lnTo>
                  <a:lnTo>
                    <a:pt x="9" y="5"/>
                  </a:lnTo>
                  <a:lnTo>
                    <a:pt x="0"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46" name="ïSļîḓè"/>
            <p:cNvSpPr/>
            <p:nvPr/>
          </p:nvSpPr>
          <p:spPr bwMode="auto">
            <a:xfrm>
              <a:off x="3977" y="2141"/>
              <a:ext cx="9" cy="5"/>
            </a:xfrm>
            <a:custGeom>
              <a:avLst/>
              <a:gdLst>
                <a:gd name="T0" fmla="*/ 0 w 9"/>
                <a:gd name="T1" fmla="*/ 0 h 5"/>
                <a:gd name="T2" fmla="*/ 0 w 9"/>
                <a:gd name="T3" fmla="*/ 0 h 5"/>
                <a:gd name="T4" fmla="*/ 0 w 9"/>
                <a:gd name="T5" fmla="*/ 0 h 5"/>
                <a:gd name="T6" fmla="*/ 9 w 9"/>
                <a:gd name="T7" fmla="*/ 5 h 5"/>
                <a:gd name="T8" fmla="*/ 9 w 9"/>
                <a:gd name="T9" fmla="*/ 5 h 5"/>
                <a:gd name="T10" fmla="*/ 9 w 9"/>
                <a:gd name="T11" fmla="*/ 5 h 5"/>
                <a:gd name="T12" fmla="*/ 9 w 9"/>
                <a:gd name="T13" fmla="*/ 5 h 5"/>
                <a:gd name="T14" fmla="*/ 0 w 9"/>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0" y="0"/>
                  </a:moveTo>
                  <a:lnTo>
                    <a:pt x="0" y="0"/>
                  </a:lnTo>
                  <a:lnTo>
                    <a:pt x="0" y="0"/>
                  </a:lnTo>
                  <a:lnTo>
                    <a:pt x="9" y="5"/>
                  </a:lnTo>
                  <a:lnTo>
                    <a:pt x="9" y="5"/>
                  </a:lnTo>
                  <a:lnTo>
                    <a:pt x="9" y="5"/>
                  </a:lnTo>
                  <a:lnTo>
                    <a:pt x="9" y="5"/>
                  </a:lnTo>
                  <a:lnTo>
                    <a:pt x="0" y="0"/>
                  </a:ln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47" name="ïṥļîḋé"/>
            <p:cNvSpPr/>
            <p:nvPr/>
          </p:nvSpPr>
          <p:spPr bwMode="auto">
            <a:xfrm>
              <a:off x="3579" y="2310"/>
              <a:ext cx="89" cy="114"/>
            </a:xfrm>
            <a:custGeom>
              <a:avLst/>
              <a:gdLst>
                <a:gd name="T0" fmla="*/ 30 w 37"/>
                <a:gd name="T1" fmla="*/ 41 h 48"/>
                <a:gd name="T2" fmla="*/ 26 w 37"/>
                <a:gd name="T3" fmla="*/ 46 h 48"/>
                <a:gd name="T4" fmla="*/ 28 w 37"/>
                <a:gd name="T5" fmla="*/ 41 h 48"/>
                <a:gd name="T6" fmla="*/ 14 w 37"/>
                <a:gd name="T7" fmla="*/ 41 h 48"/>
                <a:gd name="T8" fmla="*/ 15 w 37"/>
                <a:gd name="T9" fmla="*/ 41 h 48"/>
                <a:gd name="T10" fmla="*/ 17 w 37"/>
                <a:gd name="T11" fmla="*/ 40 h 48"/>
                <a:gd name="T12" fmla="*/ 19 w 37"/>
                <a:gd name="T13" fmla="*/ 39 h 48"/>
                <a:gd name="T14" fmla="*/ 22 w 37"/>
                <a:gd name="T15" fmla="*/ 39 h 48"/>
                <a:gd name="T16" fmla="*/ 29 w 37"/>
                <a:gd name="T17" fmla="*/ 36 h 48"/>
                <a:gd name="T18" fmla="*/ 30 w 37"/>
                <a:gd name="T19" fmla="*/ 35 h 48"/>
                <a:gd name="T20" fmla="*/ 32 w 37"/>
                <a:gd name="T21" fmla="*/ 35 h 48"/>
                <a:gd name="T22" fmla="*/ 8 w 37"/>
                <a:gd name="T23" fmla="*/ 29 h 48"/>
                <a:gd name="T24" fmla="*/ 9 w 37"/>
                <a:gd name="T25" fmla="*/ 30 h 48"/>
                <a:gd name="T26" fmla="*/ 11 w 37"/>
                <a:gd name="T27" fmla="*/ 30 h 48"/>
                <a:gd name="T28" fmla="*/ 18 w 37"/>
                <a:gd name="T29" fmla="*/ 29 h 48"/>
                <a:gd name="T30" fmla="*/ 14 w 37"/>
                <a:gd name="T31" fmla="*/ 29 h 48"/>
                <a:gd name="T32" fmla="*/ 16 w 37"/>
                <a:gd name="T33" fmla="*/ 27 h 48"/>
                <a:gd name="T34" fmla="*/ 25 w 37"/>
                <a:gd name="T35" fmla="*/ 23 h 48"/>
                <a:gd name="T36" fmla="*/ 26 w 37"/>
                <a:gd name="T37" fmla="*/ 24 h 48"/>
                <a:gd name="T38" fmla="*/ 11 w 37"/>
                <a:gd name="T39" fmla="*/ 22 h 48"/>
                <a:gd name="T40" fmla="*/ 28 w 37"/>
                <a:gd name="T41" fmla="*/ 24 h 48"/>
                <a:gd name="T42" fmla="*/ 31 w 37"/>
                <a:gd name="T43" fmla="*/ 23 h 48"/>
                <a:gd name="T44" fmla="*/ 10 w 37"/>
                <a:gd name="T45" fmla="*/ 20 h 48"/>
                <a:gd name="T46" fmla="*/ 8 w 37"/>
                <a:gd name="T47" fmla="*/ 18 h 48"/>
                <a:gd name="T48" fmla="*/ 6 w 37"/>
                <a:gd name="T49" fmla="*/ 17 h 48"/>
                <a:gd name="T50" fmla="*/ 5 w 37"/>
                <a:gd name="T51" fmla="*/ 16 h 48"/>
                <a:gd name="T52" fmla="*/ 3 w 37"/>
                <a:gd name="T53" fmla="*/ 16 h 48"/>
                <a:gd name="T54" fmla="*/ 27 w 37"/>
                <a:gd name="T55" fmla="*/ 13 h 48"/>
                <a:gd name="T56" fmla="*/ 29 w 37"/>
                <a:gd name="T57" fmla="*/ 6 h 48"/>
                <a:gd name="T58" fmla="*/ 29 w 37"/>
                <a:gd name="T59" fmla="*/ 7 h 48"/>
                <a:gd name="T60" fmla="*/ 25 w 37"/>
                <a:gd name="T61" fmla="*/ 17 h 48"/>
                <a:gd name="T62" fmla="*/ 26 w 37"/>
                <a:gd name="T63" fmla="*/ 17 h 48"/>
                <a:gd name="T64" fmla="*/ 24 w 37"/>
                <a:gd name="T65" fmla="*/ 22 h 48"/>
                <a:gd name="T66" fmla="*/ 25 w 37"/>
                <a:gd name="T67" fmla="*/ 27 h 48"/>
                <a:gd name="T68" fmla="*/ 25 w 37"/>
                <a:gd name="T69" fmla="*/ 27 h 48"/>
                <a:gd name="T70" fmla="*/ 27 w 37"/>
                <a:gd name="T71" fmla="*/ 33 h 48"/>
                <a:gd name="T72" fmla="*/ 21 w 37"/>
                <a:gd name="T73" fmla="*/ 35 h 48"/>
                <a:gd name="T74" fmla="*/ 19 w 37"/>
                <a:gd name="T75" fmla="*/ 30 h 48"/>
                <a:gd name="T76" fmla="*/ 17 w 37"/>
                <a:gd name="T77" fmla="*/ 26 h 48"/>
                <a:gd name="T78" fmla="*/ 7 w 37"/>
                <a:gd name="T79" fmla="*/ 24 h 48"/>
                <a:gd name="T80" fmla="*/ 13 w 37"/>
                <a:gd name="T81" fmla="*/ 23 h 48"/>
                <a:gd name="T82" fmla="*/ 19 w 37"/>
                <a:gd name="T83" fmla="*/ 20 h 48"/>
                <a:gd name="T84" fmla="*/ 1 w 37"/>
                <a:gd name="T85" fmla="*/ 11 h 48"/>
                <a:gd name="T86" fmla="*/ 7 w 37"/>
                <a:gd name="T87" fmla="*/ 21 h 48"/>
                <a:gd name="T88" fmla="*/ 7 w 37"/>
                <a:gd name="T89" fmla="*/ 29 h 48"/>
                <a:gd name="T90" fmla="*/ 14 w 37"/>
                <a:gd name="T91" fmla="*/ 30 h 48"/>
                <a:gd name="T92" fmla="*/ 11 w 37"/>
                <a:gd name="T93" fmla="*/ 38 h 48"/>
                <a:gd name="T94" fmla="*/ 24 w 37"/>
                <a:gd name="T95" fmla="*/ 45 h 48"/>
                <a:gd name="T96" fmla="*/ 26 w 37"/>
                <a:gd name="T97" fmla="*/ 48 h 48"/>
                <a:gd name="T98" fmla="*/ 30 w 37"/>
                <a:gd name="T99" fmla="*/ 46 h 48"/>
                <a:gd name="T100" fmla="*/ 31 w 37"/>
                <a:gd name="T101" fmla="*/ 40 h 48"/>
                <a:gd name="T102" fmla="*/ 36 w 37"/>
                <a:gd name="T103" fmla="*/ 30 h 48"/>
                <a:gd name="T104" fmla="*/ 26 w 37"/>
                <a:gd name="T105" fmla="*/ 25 h 48"/>
                <a:gd name="T106" fmla="*/ 31 w 37"/>
                <a:gd name="T107" fmla="*/ 24 h 48"/>
                <a:gd name="T108" fmla="*/ 31 w 37"/>
                <a:gd name="T109" fmla="*/ 14 h 48"/>
                <a:gd name="T110" fmla="*/ 30 w 37"/>
                <a:gd name="T11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 h="48">
                  <a:moveTo>
                    <a:pt x="26" y="47"/>
                  </a:moveTo>
                  <a:cubicBezTo>
                    <a:pt x="24" y="43"/>
                    <a:pt x="24" y="43"/>
                    <a:pt x="24" y="43"/>
                  </a:cubicBezTo>
                  <a:cubicBezTo>
                    <a:pt x="25" y="42"/>
                    <a:pt x="25" y="42"/>
                    <a:pt x="26" y="42"/>
                  </a:cubicBezTo>
                  <a:cubicBezTo>
                    <a:pt x="26" y="43"/>
                    <a:pt x="26" y="45"/>
                    <a:pt x="26" y="46"/>
                  </a:cubicBezTo>
                  <a:cubicBezTo>
                    <a:pt x="26" y="47"/>
                    <a:pt x="26" y="47"/>
                    <a:pt x="26" y="47"/>
                  </a:cubicBezTo>
                  <a:moveTo>
                    <a:pt x="30" y="45"/>
                  </a:moveTo>
                  <a:cubicBezTo>
                    <a:pt x="30" y="44"/>
                    <a:pt x="30" y="42"/>
                    <a:pt x="30" y="41"/>
                  </a:cubicBezTo>
                  <a:cubicBezTo>
                    <a:pt x="30" y="42"/>
                    <a:pt x="30" y="43"/>
                    <a:pt x="31" y="44"/>
                  </a:cubicBezTo>
                  <a:cubicBezTo>
                    <a:pt x="31" y="44"/>
                    <a:pt x="30" y="45"/>
                    <a:pt x="30" y="45"/>
                  </a:cubicBezTo>
                  <a:moveTo>
                    <a:pt x="14" y="41"/>
                  </a:moveTo>
                  <a:cubicBezTo>
                    <a:pt x="14" y="41"/>
                    <a:pt x="14" y="41"/>
                    <a:pt x="14" y="41"/>
                  </a:cubicBezTo>
                  <a:cubicBezTo>
                    <a:pt x="14" y="41"/>
                    <a:pt x="14" y="41"/>
                    <a:pt x="14" y="41"/>
                  </a:cubicBezTo>
                  <a:cubicBezTo>
                    <a:pt x="14" y="41"/>
                    <a:pt x="14" y="41"/>
                    <a:pt x="14" y="41"/>
                  </a:cubicBezTo>
                  <a:moveTo>
                    <a:pt x="26" y="46"/>
                  </a:moveTo>
                  <a:cubicBezTo>
                    <a:pt x="26" y="45"/>
                    <a:pt x="26" y="43"/>
                    <a:pt x="26" y="41"/>
                  </a:cubicBezTo>
                  <a:cubicBezTo>
                    <a:pt x="27" y="41"/>
                    <a:pt x="28" y="41"/>
                    <a:pt x="29" y="41"/>
                  </a:cubicBezTo>
                  <a:cubicBezTo>
                    <a:pt x="29" y="41"/>
                    <a:pt x="29" y="41"/>
                    <a:pt x="29" y="41"/>
                  </a:cubicBezTo>
                  <a:cubicBezTo>
                    <a:pt x="29" y="42"/>
                    <a:pt x="29" y="43"/>
                    <a:pt x="29" y="45"/>
                  </a:cubicBezTo>
                  <a:cubicBezTo>
                    <a:pt x="29" y="45"/>
                    <a:pt x="28" y="45"/>
                    <a:pt x="28" y="46"/>
                  </a:cubicBezTo>
                  <a:cubicBezTo>
                    <a:pt x="28" y="44"/>
                    <a:pt x="28" y="43"/>
                    <a:pt x="28" y="41"/>
                  </a:cubicBezTo>
                  <a:cubicBezTo>
                    <a:pt x="28" y="41"/>
                    <a:pt x="28" y="41"/>
                    <a:pt x="28" y="41"/>
                  </a:cubicBezTo>
                  <a:cubicBezTo>
                    <a:pt x="27" y="41"/>
                    <a:pt x="27" y="41"/>
                    <a:pt x="27" y="41"/>
                  </a:cubicBezTo>
                  <a:cubicBezTo>
                    <a:pt x="27" y="43"/>
                    <a:pt x="27" y="44"/>
                    <a:pt x="27" y="46"/>
                  </a:cubicBezTo>
                  <a:cubicBezTo>
                    <a:pt x="26" y="46"/>
                    <a:pt x="26" y="46"/>
                    <a:pt x="26" y="46"/>
                  </a:cubicBezTo>
                  <a:moveTo>
                    <a:pt x="14" y="41"/>
                  </a:moveTo>
                  <a:cubicBezTo>
                    <a:pt x="14" y="40"/>
                    <a:pt x="13" y="39"/>
                    <a:pt x="12" y="39"/>
                  </a:cubicBezTo>
                  <a:cubicBezTo>
                    <a:pt x="13" y="39"/>
                    <a:pt x="13" y="38"/>
                    <a:pt x="14" y="38"/>
                  </a:cubicBezTo>
                  <a:cubicBezTo>
                    <a:pt x="14" y="39"/>
                    <a:pt x="14" y="40"/>
                    <a:pt x="14" y="41"/>
                  </a:cubicBezTo>
                  <a:moveTo>
                    <a:pt x="14" y="41"/>
                  </a:moveTo>
                  <a:cubicBezTo>
                    <a:pt x="14" y="41"/>
                    <a:pt x="14" y="41"/>
                    <a:pt x="14" y="41"/>
                  </a:cubicBezTo>
                  <a:cubicBezTo>
                    <a:pt x="14" y="40"/>
                    <a:pt x="14" y="39"/>
                    <a:pt x="14" y="38"/>
                  </a:cubicBezTo>
                  <a:cubicBezTo>
                    <a:pt x="14" y="38"/>
                    <a:pt x="15" y="38"/>
                    <a:pt x="15" y="38"/>
                  </a:cubicBezTo>
                  <a:cubicBezTo>
                    <a:pt x="16" y="40"/>
                    <a:pt x="16" y="40"/>
                    <a:pt x="16" y="40"/>
                  </a:cubicBezTo>
                  <a:cubicBezTo>
                    <a:pt x="16" y="40"/>
                    <a:pt x="16" y="40"/>
                    <a:pt x="16" y="40"/>
                  </a:cubicBezTo>
                  <a:cubicBezTo>
                    <a:pt x="15" y="41"/>
                    <a:pt x="15" y="41"/>
                    <a:pt x="15" y="41"/>
                  </a:cubicBezTo>
                  <a:cubicBezTo>
                    <a:pt x="14" y="41"/>
                    <a:pt x="14" y="41"/>
                    <a:pt x="14" y="41"/>
                  </a:cubicBezTo>
                  <a:moveTo>
                    <a:pt x="16" y="40"/>
                  </a:moveTo>
                  <a:cubicBezTo>
                    <a:pt x="16" y="38"/>
                    <a:pt x="16" y="38"/>
                    <a:pt x="16" y="38"/>
                  </a:cubicBezTo>
                  <a:cubicBezTo>
                    <a:pt x="16" y="38"/>
                    <a:pt x="16" y="38"/>
                    <a:pt x="16" y="38"/>
                  </a:cubicBezTo>
                  <a:cubicBezTo>
                    <a:pt x="16" y="37"/>
                    <a:pt x="17" y="37"/>
                    <a:pt x="17" y="37"/>
                  </a:cubicBezTo>
                  <a:cubicBezTo>
                    <a:pt x="17" y="38"/>
                    <a:pt x="17" y="39"/>
                    <a:pt x="17" y="40"/>
                  </a:cubicBezTo>
                  <a:cubicBezTo>
                    <a:pt x="17" y="40"/>
                    <a:pt x="17" y="40"/>
                    <a:pt x="17" y="40"/>
                  </a:cubicBezTo>
                  <a:cubicBezTo>
                    <a:pt x="17" y="40"/>
                    <a:pt x="16" y="40"/>
                    <a:pt x="16" y="40"/>
                  </a:cubicBezTo>
                  <a:moveTo>
                    <a:pt x="18" y="39"/>
                  </a:moveTo>
                  <a:cubicBezTo>
                    <a:pt x="18" y="39"/>
                    <a:pt x="18" y="38"/>
                    <a:pt x="18" y="37"/>
                  </a:cubicBezTo>
                  <a:cubicBezTo>
                    <a:pt x="18" y="37"/>
                    <a:pt x="18" y="37"/>
                    <a:pt x="18" y="37"/>
                  </a:cubicBezTo>
                  <a:cubicBezTo>
                    <a:pt x="18" y="37"/>
                    <a:pt x="19" y="36"/>
                    <a:pt x="20" y="36"/>
                  </a:cubicBezTo>
                  <a:cubicBezTo>
                    <a:pt x="20" y="36"/>
                    <a:pt x="20" y="36"/>
                    <a:pt x="20" y="36"/>
                  </a:cubicBezTo>
                  <a:cubicBezTo>
                    <a:pt x="19" y="39"/>
                    <a:pt x="19" y="39"/>
                    <a:pt x="19" y="39"/>
                  </a:cubicBezTo>
                  <a:cubicBezTo>
                    <a:pt x="19" y="39"/>
                    <a:pt x="18" y="39"/>
                    <a:pt x="18" y="39"/>
                  </a:cubicBezTo>
                  <a:moveTo>
                    <a:pt x="20" y="39"/>
                  </a:moveTo>
                  <a:cubicBezTo>
                    <a:pt x="20" y="36"/>
                    <a:pt x="20" y="36"/>
                    <a:pt x="20" y="36"/>
                  </a:cubicBezTo>
                  <a:cubicBezTo>
                    <a:pt x="20" y="36"/>
                    <a:pt x="20" y="36"/>
                    <a:pt x="20" y="36"/>
                  </a:cubicBezTo>
                  <a:cubicBezTo>
                    <a:pt x="21" y="36"/>
                    <a:pt x="21" y="36"/>
                    <a:pt x="21" y="36"/>
                  </a:cubicBezTo>
                  <a:cubicBezTo>
                    <a:pt x="22" y="37"/>
                    <a:pt x="22" y="39"/>
                    <a:pt x="23" y="40"/>
                  </a:cubicBezTo>
                  <a:cubicBezTo>
                    <a:pt x="22" y="40"/>
                    <a:pt x="22" y="39"/>
                    <a:pt x="22" y="39"/>
                  </a:cubicBezTo>
                  <a:cubicBezTo>
                    <a:pt x="21" y="38"/>
                    <a:pt x="21" y="38"/>
                    <a:pt x="21" y="38"/>
                  </a:cubicBezTo>
                  <a:cubicBezTo>
                    <a:pt x="21" y="39"/>
                    <a:pt x="20" y="39"/>
                    <a:pt x="20" y="39"/>
                  </a:cubicBezTo>
                  <a:moveTo>
                    <a:pt x="29" y="36"/>
                  </a:moveTo>
                  <a:cubicBezTo>
                    <a:pt x="29" y="35"/>
                    <a:pt x="28" y="34"/>
                    <a:pt x="28" y="33"/>
                  </a:cubicBezTo>
                  <a:cubicBezTo>
                    <a:pt x="28" y="33"/>
                    <a:pt x="29" y="33"/>
                    <a:pt x="29" y="33"/>
                  </a:cubicBezTo>
                  <a:cubicBezTo>
                    <a:pt x="30" y="36"/>
                    <a:pt x="30" y="36"/>
                    <a:pt x="30" y="36"/>
                  </a:cubicBezTo>
                  <a:cubicBezTo>
                    <a:pt x="29" y="36"/>
                    <a:pt x="29" y="36"/>
                    <a:pt x="29" y="36"/>
                  </a:cubicBezTo>
                  <a:cubicBezTo>
                    <a:pt x="29" y="36"/>
                    <a:pt x="29" y="36"/>
                    <a:pt x="29" y="36"/>
                  </a:cubicBezTo>
                  <a:moveTo>
                    <a:pt x="30" y="35"/>
                  </a:moveTo>
                  <a:cubicBezTo>
                    <a:pt x="30" y="33"/>
                    <a:pt x="30" y="33"/>
                    <a:pt x="30" y="33"/>
                  </a:cubicBezTo>
                  <a:cubicBezTo>
                    <a:pt x="30" y="32"/>
                    <a:pt x="31" y="32"/>
                    <a:pt x="32" y="32"/>
                  </a:cubicBezTo>
                  <a:cubicBezTo>
                    <a:pt x="32" y="32"/>
                    <a:pt x="32" y="32"/>
                    <a:pt x="32" y="32"/>
                  </a:cubicBezTo>
                  <a:cubicBezTo>
                    <a:pt x="32" y="35"/>
                    <a:pt x="32" y="35"/>
                    <a:pt x="32" y="35"/>
                  </a:cubicBezTo>
                  <a:cubicBezTo>
                    <a:pt x="31" y="35"/>
                    <a:pt x="30" y="35"/>
                    <a:pt x="30" y="35"/>
                  </a:cubicBezTo>
                  <a:moveTo>
                    <a:pt x="32" y="35"/>
                  </a:moveTo>
                  <a:cubicBezTo>
                    <a:pt x="32" y="32"/>
                    <a:pt x="32" y="32"/>
                    <a:pt x="32" y="32"/>
                  </a:cubicBezTo>
                  <a:cubicBezTo>
                    <a:pt x="32" y="32"/>
                    <a:pt x="32" y="32"/>
                    <a:pt x="32" y="32"/>
                  </a:cubicBezTo>
                  <a:cubicBezTo>
                    <a:pt x="33" y="31"/>
                    <a:pt x="33" y="31"/>
                    <a:pt x="34" y="31"/>
                  </a:cubicBezTo>
                  <a:cubicBezTo>
                    <a:pt x="34" y="31"/>
                    <a:pt x="34" y="31"/>
                    <a:pt x="34" y="31"/>
                  </a:cubicBezTo>
                  <a:cubicBezTo>
                    <a:pt x="33" y="32"/>
                    <a:pt x="33" y="33"/>
                    <a:pt x="33" y="34"/>
                  </a:cubicBezTo>
                  <a:cubicBezTo>
                    <a:pt x="33" y="34"/>
                    <a:pt x="32" y="34"/>
                    <a:pt x="32" y="35"/>
                  </a:cubicBezTo>
                  <a:moveTo>
                    <a:pt x="34" y="34"/>
                  </a:moveTo>
                  <a:cubicBezTo>
                    <a:pt x="34" y="33"/>
                    <a:pt x="34" y="32"/>
                    <a:pt x="34" y="31"/>
                  </a:cubicBezTo>
                  <a:cubicBezTo>
                    <a:pt x="34" y="31"/>
                    <a:pt x="34" y="31"/>
                    <a:pt x="34" y="31"/>
                  </a:cubicBezTo>
                  <a:cubicBezTo>
                    <a:pt x="34" y="31"/>
                    <a:pt x="35" y="31"/>
                    <a:pt x="35" y="31"/>
                  </a:cubicBezTo>
                  <a:cubicBezTo>
                    <a:pt x="36" y="33"/>
                    <a:pt x="36" y="33"/>
                    <a:pt x="36" y="33"/>
                  </a:cubicBezTo>
                  <a:cubicBezTo>
                    <a:pt x="35" y="33"/>
                    <a:pt x="35" y="34"/>
                    <a:pt x="34" y="34"/>
                  </a:cubicBezTo>
                  <a:moveTo>
                    <a:pt x="8" y="29"/>
                  </a:moveTo>
                  <a:cubicBezTo>
                    <a:pt x="8" y="29"/>
                    <a:pt x="8" y="29"/>
                    <a:pt x="8" y="29"/>
                  </a:cubicBezTo>
                  <a:cubicBezTo>
                    <a:pt x="9" y="29"/>
                    <a:pt x="9" y="29"/>
                    <a:pt x="9" y="29"/>
                  </a:cubicBezTo>
                  <a:cubicBezTo>
                    <a:pt x="9" y="29"/>
                    <a:pt x="9" y="30"/>
                    <a:pt x="9" y="30"/>
                  </a:cubicBezTo>
                  <a:cubicBezTo>
                    <a:pt x="9" y="31"/>
                    <a:pt x="9" y="31"/>
                    <a:pt x="9" y="31"/>
                  </a:cubicBezTo>
                  <a:cubicBezTo>
                    <a:pt x="8" y="30"/>
                    <a:pt x="8" y="30"/>
                    <a:pt x="8" y="29"/>
                  </a:cubicBezTo>
                  <a:cubicBezTo>
                    <a:pt x="8" y="29"/>
                    <a:pt x="8" y="29"/>
                    <a:pt x="8" y="29"/>
                  </a:cubicBezTo>
                  <a:moveTo>
                    <a:pt x="9" y="30"/>
                  </a:moveTo>
                  <a:cubicBezTo>
                    <a:pt x="9" y="30"/>
                    <a:pt x="9" y="29"/>
                    <a:pt x="9" y="29"/>
                  </a:cubicBezTo>
                  <a:cubicBezTo>
                    <a:pt x="9" y="29"/>
                    <a:pt x="9" y="29"/>
                    <a:pt x="9" y="29"/>
                  </a:cubicBezTo>
                  <a:cubicBezTo>
                    <a:pt x="10" y="28"/>
                    <a:pt x="10" y="28"/>
                    <a:pt x="10" y="28"/>
                  </a:cubicBezTo>
                  <a:cubicBezTo>
                    <a:pt x="10" y="29"/>
                    <a:pt x="10" y="29"/>
                    <a:pt x="10" y="30"/>
                  </a:cubicBezTo>
                  <a:cubicBezTo>
                    <a:pt x="10" y="30"/>
                    <a:pt x="10" y="30"/>
                    <a:pt x="10" y="30"/>
                  </a:cubicBezTo>
                  <a:cubicBezTo>
                    <a:pt x="9" y="30"/>
                    <a:pt x="9" y="30"/>
                    <a:pt x="9" y="30"/>
                  </a:cubicBezTo>
                  <a:moveTo>
                    <a:pt x="11" y="30"/>
                  </a:moveTo>
                  <a:cubicBezTo>
                    <a:pt x="11" y="29"/>
                    <a:pt x="11" y="29"/>
                    <a:pt x="11" y="28"/>
                  </a:cubicBezTo>
                  <a:cubicBezTo>
                    <a:pt x="11" y="28"/>
                    <a:pt x="12" y="28"/>
                    <a:pt x="13" y="28"/>
                  </a:cubicBezTo>
                  <a:cubicBezTo>
                    <a:pt x="13" y="29"/>
                    <a:pt x="13" y="29"/>
                    <a:pt x="13" y="29"/>
                  </a:cubicBezTo>
                  <a:cubicBezTo>
                    <a:pt x="12" y="29"/>
                    <a:pt x="11" y="30"/>
                    <a:pt x="11" y="30"/>
                  </a:cubicBezTo>
                  <a:moveTo>
                    <a:pt x="17" y="29"/>
                  </a:moveTo>
                  <a:cubicBezTo>
                    <a:pt x="17" y="27"/>
                    <a:pt x="17" y="27"/>
                    <a:pt x="17" y="27"/>
                  </a:cubicBezTo>
                  <a:cubicBezTo>
                    <a:pt x="18" y="28"/>
                    <a:pt x="18" y="29"/>
                    <a:pt x="18" y="29"/>
                  </a:cubicBezTo>
                  <a:cubicBezTo>
                    <a:pt x="18" y="29"/>
                    <a:pt x="18" y="29"/>
                    <a:pt x="18" y="29"/>
                  </a:cubicBezTo>
                  <a:cubicBezTo>
                    <a:pt x="18" y="29"/>
                    <a:pt x="17" y="29"/>
                    <a:pt x="17" y="29"/>
                  </a:cubicBezTo>
                  <a:moveTo>
                    <a:pt x="13" y="29"/>
                  </a:moveTo>
                  <a:cubicBezTo>
                    <a:pt x="13" y="27"/>
                    <a:pt x="13" y="27"/>
                    <a:pt x="13" y="27"/>
                  </a:cubicBezTo>
                  <a:cubicBezTo>
                    <a:pt x="14" y="27"/>
                    <a:pt x="15" y="27"/>
                    <a:pt x="15" y="27"/>
                  </a:cubicBezTo>
                  <a:cubicBezTo>
                    <a:pt x="15" y="27"/>
                    <a:pt x="15" y="28"/>
                    <a:pt x="15" y="28"/>
                  </a:cubicBezTo>
                  <a:cubicBezTo>
                    <a:pt x="15" y="28"/>
                    <a:pt x="14" y="29"/>
                    <a:pt x="14" y="29"/>
                  </a:cubicBezTo>
                  <a:cubicBezTo>
                    <a:pt x="13" y="29"/>
                    <a:pt x="13" y="29"/>
                    <a:pt x="13" y="29"/>
                  </a:cubicBezTo>
                  <a:cubicBezTo>
                    <a:pt x="13" y="29"/>
                    <a:pt x="13" y="29"/>
                    <a:pt x="13" y="29"/>
                  </a:cubicBezTo>
                  <a:moveTo>
                    <a:pt x="17" y="29"/>
                  </a:moveTo>
                  <a:cubicBezTo>
                    <a:pt x="16" y="28"/>
                    <a:pt x="16" y="28"/>
                    <a:pt x="16" y="28"/>
                  </a:cubicBezTo>
                  <a:cubicBezTo>
                    <a:pt x="15" y="28"/>
                    <a:pt x="15" y="28"/>
                    <a:pt x="15" y="28"/>
                  </a:cubicBezTo>
                  <a:cubicBezTo>
                    <a:pt x="15" y="28"/>
                    <a:pt x="16" y="27"/>
                    <a:pt x="16" y="27"/>
                  </a:cubicBezTo>
                  <a:cubicBezTo>
                    <a:pt x="16" y="27"/>
                    <a:pt x="16" y="27"/>
                    <a:pt x="16" y="27"/>
                  </a:cubicBezTo>
                  <a:cubicBezTo>
                    <a:pt x="17" y="26"/>
                    <a:pt x="17" y="26"/>
                    <a:pt x="17" y="26"/>
                  </a:cubicBezTo>
                  <a:cubicBezTo>
                    <a:pt x="17" y="27"/>
                    <a:pt x="17" y="27"/>
                    <a:pt x="17" y="27"/>
                  </a:cubicBezTo>
                  <a:cubicBezTo>
                    <a:pt x="17" y="29"/>
                    <a:pt x="17" y="29"/>
                    <a:pt x="17" y="29"/>
                  </a:cubicBezTo>
                  <a:moveTo>
                    <a:pt x="25" y="26"/>
                  </a:moveTo>
                  <a:cubicBezTo>
                    <a:pt x="25" y="26"/>
                    <a:pt x="25" y="25"/>
                    <a:pt x="25" y="24"/>
                  </a:cubicBezTo>
                  <a:cubicBezTo>
                    <a:pt x="25" y="24"/>
                    <a:pt x="25" y="24"/>
                    <a:pt x="25" y="23"/>
                  </a:cubicBezTo>
                  <a:cubicBezTo>
                    <a:pt x="25" y="23"/>
                    <a:pt x="25" y="23"/>
                    <a:pt x="25" y="23"/>
                  </a:cubicBezTo>
                  <a:cubicBezTo>
                    <a:pt x="26" y="23"/>
                    <a:pt x="26" y="23"/>
                    <a:pt x="26" y="23"/>
                  </a:cubicBezTo>
                  <a:cubicBezTo>
                    <a:pt x="26" y="23"/>
                    <a:pt x="26" y="24"/>
                    <a:pt x="26" y="25"/>
                  </a:cubicBezTo>
                  <a:cubicBezTo>
                    <a:pt x="26" y="25"/>
                    <a:pt x="26" y="25"/>
                    <a:pt x="26" y="25"/>
                  </a:cubicBezTo>
                  <a:cubicBezTo>
                    <a:pt x="25" y="25"/>
                    <a:pt x="25" y="25"/>
                    <a:pt x="25" y="25"/>
                  </a:cubicBezTo>
                  <a:cubicBezTo>
                    <a:pt x="25" y="26"/>
                    <a:pt x="25" y="26"/>
                    <a:pt x="25" y="26"/>
                  </a:cubicBezTo>
                  <a:cubicBezTo>
                    <a:pt x="25" y="26"/>
                    <a:pt x="25" y="26"/>
                    <a:pt x="25" y="26"/>
                  </a:cubicBezTo>
                  <a:moveTo>
                    <a:pt x="26" y="24"/>
                  </a:moveTo>
                  <a:cubicBezTo>
                    <a:pt x="26" y="24"/>
                    <a:pt x="26" y="23"/>
                    <a:pt x="26" y="22"/>
                  </a:cubicBezTo>
                  <a:cubicBezTo>
                    <a:pt x="27" y="22"/>
                    <a:pt x="27" y="22"/>
                    <a:pt x="27" y="22"/>
                  </a:cubicBezTo>
                  <a:cubicBezTo>
                    <a:pt x="27" y="22"/>
                    <a:pt x="27" y="22"/>
                    <a:pt x="27" y="22"/>
                  </a:cubicBezTo>
                  <a:cubicBezTo>
                    <a:pt x="27" y="23"/>
                    <a:pt x="27" y="23"/>
                    <a:pt x="27" y="24"/>
                  </a:cubicBezTo>
                  <a:cubicBezTo>
                    <a:pt x="26" y="24"/>
                    <a:pt x="26" y="24"/>
                    <a:pt x="26" y="24"/>
                  </a:cubicBezTo>
                  <a:moveTo>
                    <a:pt x="11" y="22"/>
                  </a:moveTo>
                  <a:cubicBezTo>
                    <a:pt x="11" y="22"/>
                    <a:pt x="11" y="22"/>
                    <a:pt x="11" y="22"/>
                  </a:cubicBezTo>
                  <a:cubicBezTo>
                    <a:pt x="12" y="22"/>
                    <a:pt x="12" y="22"/>
                    <a:pt x="12" y="22"/>
                  </a:cubicBezTo>
                  <a:cubicBezTo>
                    <a:pt x="11" y="22"/>
                    <a:pt x="11" y="22"/>
                    <a:pt x="11" y="22"/>
                  </a:cubicBezTo>
                  <a:moveTo>
                    <a:pt x="28" y="24"/>
                  </a:moveTo>
                  <a:cubicBezTo>
                    <a:pt x="28" y="23"/>
                    <a:pt x="28" y="22"/>
                    <a:pt x="28" y="22"/>
                  </a:cubicBezTo>
                  <a:cubicBezTo>
                    <a:pt x="29" y="21"/>
                    <a:pt x="29" y="21"/>
                    <a:pt x="29" y="21"/>
                  </a:cubicBezTo>
                  <a:cubicBezTo>
                    <a:pt x="29" y="22"/>
                    <a:pt x="29" y="23"/>
                    <a:pt x="29" y="23"/>
                  </a:cubicBezTo>
                  <a:cubicBezTo>
                    <a:pt x="29" y="23"/>
                    <a:pt x="28" y="24"/>
                    <a:pt x="28" y="24"/>
                  </a:cubicBezTo>
                  <a:moveTo>
                    <a:pt x="30" y="23"/>
                  </a:moveTo>
                  <a:cubicBezTo>
                    <a:pt x="30" y="22"/>
                    <a:pt x="30" y="22"/>
                    <a:pt x="30" y="21"/>
                  </a:cubicBezTo>
                  <a:cubicBezTo>
                    <a:pt x="31" y="21"/>
                    <a:pt x="31" y="21"/>
                    <a:pt x="31" y="21"/>
                  </a:cubicBezTo>
                  <a:cubicBezTo>
                    <a:pt x="31" y="23"/>
                    <a:pt x="31" y="23"/>
                    <a:pt x="31" y="23"/>
                  </a:cubicBezTo>
                  <a:cubicBezTo>
                    <a:pt x="30" y="23"/>
                    <a:pt x="30" y="23"/>
                    <a:pt x="30" y="23"/>
                  </a:cubicBezTo>
                  <a:cubicBezTo>
                    <a:pt x="30" y="23"/>
                    <a:pt x="30" y="23"/>
                    <a:pt x="30" y="23"/>
                  </a:cubicBezTo>
                  <a:moveTo>
                    <a:pt x="31" y="23"/>
                  </a:moveTo>
                  <a:cubicBezTo>
                    <a:pt x="32" y="21"/>
                    <a:pt x="32" y="21"/>
                    <a:pt x="32" y="21"/>
                  </a:cubicBezTo>
                  <a:cubicBezTo>
                    <a:pt x="32" y="20"/>
                    <a:pt x="32" y="20"/>
                    <a:pt x="32" y="20"/>
                  </a:cubicBezTo>
                  <a:cubicBezTo>
                    <a:pt x="32" y="21"/>
                    <a:pt x="32" y="22"/>
                    <a:pt x="32" y="22"/>
                  </a:cubicBezTo>
                  <a:cubicBezTo>
                    <a:pt x="31" y="23"/>
                    <a:pt x="31" y="23"/>
                    <a:pt x="31" y="23"/>
                  </a:cubicBezTo>
                  <a:moveTo>
                    <a:pt x="10" y="23"/>
                  </a:moveTo>
                  <a:cubicBezTo>
                    <a:pt x="10" y="23"/>
                    <a:pt x="10" y="23"/>
                    <a:pt x="10" y="23"/>
                  </a:cubicBezTo>
                  <a:cubicBezTo>
                    <a:pt x="10" y="20"/>
                    <a:pt x="10" y="20"/>
                    <a:pt x="10" y="20"/>
                  </a:cubicBezTo>
                  <a:cubicBezTo>
                    <a:pt x="10" y="21"/>
                    <a:pt x="10" y="21"/>
                    <a:pt x="11" y="21"/>
                  </a:cubicBezTo>
                  <a:cubicBezTo>
                    <a:pt x="11" y="21"/>
                    <a:pt x="11" y="21"/>
                    <a:pt x="11" y="21"/>
                  </a:cubicBezTo>
                  <a:cubicBezTo>
                    <a:pt x="11" y="22"/>
                    <a:pt x="11" y="22"/>
                    <a:pt x="11" y="22"/>
                  </a:cubicBezTo>
                  <a:cubicBezTo>
                    <a:pt x="10" y="23"/>
                    <a:pt x="10" y="23"/>
                    <a:pt x="10" y="23"/>
                  </a:cubicBezTo>
                  <a:moveTo>
                    <a:pt x="9" y="22"/>
                  </a:moveTo>
                  <a:cubicBezTo>
                    <a:pt x="9" y="22"/>
                    <a:pt x="8" y="21"/>
                    <a:pt x="8" y="21"/>
                  </a:cubicBezTo>
                  <a:cubicBezTo>
                    <a:pt x="8" y="20"/>
                    <a:pt x="8" y="19"/>
                    <a:pt x="8" y="18"/>
                  </a:cubicBezTo>
                  <a:cubicBezTo>
                    <a:pt x="8" y="19"/>
                    <a:pt x="9" y="19"/>
                    <a:pt x="9" y="20"/>
                  </a:cubicBezTo>
                  <a:cubicBezTo>
                    <a:pt x="9" y="20"/>
                    <a:pt x="9" y="20"/>
                    <a:pt x="9" y="20"/>
                  </a:cubicBezTo>
                  <a:cubicBezTo>
                    <a:pt x="9" y="22"/>
                    <a:pt x="9" y="22"/>
                    <a:pt x="9" y="22"/>
                  </a:cubicBezTo>
                  <a:moveTo>
                    <a:pt x="7" y="20"/>
                  </a:moveTo>
                  <a:cubicBezTo>
                    <a:pt x="7" y="20"/>
                    <a:pt x="6" y="19"/>
                    <a:pt x="6" y="19"/>
                  </a:cubicBezTo>
                  <a:cubicBezTo>
                    <a:pt x="6" y="19"/>
                    <a:pt x="6" y="19"/>
                    <a:pt x="6" y="19"/>
                  </a:cubicBezTo>
                  <a:cubicBezTo>
                    <a:pt x="6" y="17"/>
                    <a:pt x="6" y="17"/>
                    <a:pt x="6" y="17"/>
                  </a:cubicBezTo>
                  <a:cubicBezTo>
                    <a:pt x="6" y="17"/>
                    <a:pt x="7" y="18"/>
                    <a:pt x="7" y="18"/>
                  </a:cubicBezTo>
                  <a:cubicBezTo>
                    <a:pt x="7" y="18"/>
                    <a:pt x="7" y="18"/>
                    <a:pt x="7" y="18"/>
                  </a:cubicBezTo>
                  <a:cubicBezTo>
                    <a:pt x="7" y="19"/>
                    <a:pt x="7" y="19"/>
                    <a:pt x="7" y="20"/>
                  </a:cubicBezTo>
                  <a:moveTo>
                    <a:pt x="5" y="18"/>
                  </a:moveTo>
                  <a:cubicBezTo>
                    <a:pt x="5" y="18"/>
                    <a:pt x="5" y="17"/>
                    <a:pt x="4" y="17"/>
                  </a:cubicBezTo>
                  <a:cubicBezTo>
                    <a:pt x="4" y="16"/>
                    <a:pt x="4" y="16"/>
                    <a:pt x="4" y="15"/>
                  </a:cubicBezTo>
                  <a:cubicBezTo>
                    <a:pt x="4" y="15"/>
                    <a:pt x="5" y="16"/>
                    <a:pt x="5" y="16"/>
                  </a:cubicBezTo>
                  <a:cubicBezTo>
                    <a:pt x="5" y="18"/>
                    <a:pt x="5" y="18"/>
                    <a:pt x="5" y="18"/>
                  </a:cubicBezTo>
                  <a:moveTo>
                    <a:pt x="26" y="16"/>
                  </a:moveTo>
                  <a:cubicBezTo>
                    <a:pt x="27" y="14"/>
                    <a:pt x="27" y="14"/>
                    <a:pt x="27" y="14"/>
                  </a:cubicBezTo>
                  <a:cubicBezTo>
                    <a:pt x="27" y="14"/>
                    <a:pt x="27" y="15"/>
                    <a:pt x="27" y="16"/>
                  </a:cubicBezTo>
                  <a:cubicBezTo>
                    <a:pt x="26" y="16"/>
                    <a:pt x="26" y="16"/>
                    <a:pt x="26" y="16"/>
                  </a:cubicBezTo>
                  <a:moveTo>
                    <a:pt x="4" y="17"/>
                  </a:moveTo>
                  <a:cubicBezTo>
                    <a:pt x="3" y="16"/>
                    <a:pt x="3" y="16"/>
                    <a:pt x="3" y="16"/>
                  </a:cubicBezTo>
                  <a:cubicBezTo>
                    <a:pt x="3" y="16"/>
                    <a:pt x="3" y="16"/>
                    <a:pt x="3" y="16"/>
                  </a:cubicBezTo>
                  <a:cubicBezTo>
                    <a:pt x="3" y="16"/>
                    <a:pt x="3" y="15"/>
                    <a:pt x="3" y="15"/>
                  </a:cubicBezTo>
                  <a:cubicBezTo>
                    <a:pt x="2" y="14"/>
                    <a:pt x="2" y="14"/>
                    <a:pt x="2" y="12"/>
                  </a:cubicBezTo>
                  <a:cubicBezTo>
                    <a:pt x="2" y="13"/>
                    <a:pt x="3" y="14"/>
                    <a:pt x="3" y="14"/>
                  </a:cubicBezTo>
                  <a:cubicBezTo>
                    <a:pt x="3" y="15"/>
                    <a:pt x="4" y="16"/>
                    <a:pt x="4" y="17"/>
                  </a:cubicBezTo>
                  <a:moveTo>
                    <a:pt x="28" y="15"/>
                  </a:moveTo>
                  <a:cubicBezTo>
                    <a:pt x="27" y="14"/>
                    <a:pt x="27" y="13"/>
                    <a:pt x="27" y="13"/>
                  </a:cubicBezTo>
                  <a:cubicBezTo>
                    <a:pt x="28" y="10"/>
                    <a:pt x="28" y="10"/>
                    <a:pt x="28" y="10"/>
                  </a:cubicBezTo>
                  <a:cubicBezTo>
                    <a:pt x="28" y="12"/>
                    <a:pt x="28" y="12"/>
                    <a:pt x="28" y="12"/>
                  </a:cubicBezTo>
                  <a:cubicBezTo>
                    <a:pt x="28" y="12"/>
                    <a:pt x="28" y="12"/>
                    <a:pt x="28" y="12"/>
                  </a:cubicBezTo>
                  <a:cubicBezTo>
                    <a:pt x="28" y="13"/>
                    <a:pt x="28" y="14"/>
                    <a:pt x="28" y="15"/>
                  </a:cubicBezTo>
                  <a:moveTo>
                    <a:pt x="28" y="11"/>
                  </a:moveTo>
                  <a:cubicBezTo>
                    <a:pt x="28" y="9"/>
                    <a:pt x="28" y="9"/>
                    <a:pt x="28" y="9"/>
                  </a:cubicBezTo>
                  <a:cubicBezTo>
                    <a:pt x="29" y="6"/>
                    <a:pt x="29" y="6"/>
                    <a:pt x="29" y="6"/>
                  </a:cubicBezTo>
                  <a:cubicBezTo>
                    <a:pt x="29" y="7"/>
                    <a:pt x="29" y="8"/>
                    <a:pt x="29" y="9"/>
                  </a:cubicBezTo>
                  <a:cubicBezTo>
                    <a:pt x="29" y="10"/>
                    <a:pt x="29" y="11"/>
                    <a:pt x="28" y="11"/>
                  </a:cubicBezTo>
                  <a:moveTo>
                    <a:pt x="29" y="7"/>
                  </a:moveTo>
                  <a:cubicBezTo>
                    <a:pt x="29" y="7"/>
                    <a:pt x="29" y="6"/>
                    <a:pt x="29" y="5"/>
                  </a:cubicBezTo>
                  <a:cubicBezTo>
                    <a:pt x="29" y="3"/>
                    <a:pt x="29" y="3"/>
                    <a:pt x="29" y="3"/>
                  </a:cubicBezTo>
                  <a:cubicBezTo>
                    <a:pt x="29" y="4"/>
                    <a:pt x="29" y="5"/>
                    <a:pt x="30" y="6"/>
                  </a:cubicBezTo>
                  <a:cubicBezTo>
                    <a:pt x="30" y="6"/>
                    <a:pt x="29" y="7"/>
                    <a:pt x="29" y="7"/>
                  </a:cubicBezTo>
                  <a:moveTo>
                    <a:pt x="19" y="20"/>
                  </a:moveTo>
                  <a:cubicBezTo>
                    <a:pt x="19" y="19"/>
                    <a:pt x="19" y="19"/>
                    <a:pt x="19" y="19"/>
                  </a:cubicBezTo>
                  <a:cubicBezTo>
                    <a:pt x="19" y="15"/>
                    <a:pt x="19" y="10"/>
                    <a:pt x="20" y="5"/>
                  </a:cubicBezTo>
                  <a:cubicBezTo>
                    <a:pt x="29" y="1"/>
                    <a:pt x="29" y="1"/>
                    <a:pt x="29" y="1"/>
                  </a:cubicBezTo>
                  <a:cubicBezTo>
                    <a:pt x="25" y="16"/>
                    <a:pt x="25" y="16"/>
                    <a:pt x="25" y="16"/>
                  </a:cubicBezTo>
                  <a:cubicBezTo>
                    <a:pt x="25" y="17"/>
                    <a:pt x="25" y="17"/>
                    <a:pt x="25" y="17"/>
                  </a:cubicBezTo>
                  <a:cubicBezTo>
                    <a:pt x="25" y="17"/>
                    <a:pt x="25" y="17"/>
                    <a:pt x="25" y="17"/>
                  </a:cubicBezTo>
                  <a:cubicBezTo>
                    <a:pt x="25" y="17"/>
                    <a:pt x="25" y="17"/>
                    <a:pt x="25" y="17"/>
                  </a:cubicBezTo>
                  <a:cubicBezTo>
                    <a:pt x="26" y="17"/>
                    <a:pt x="26" y="17"/>
                    <a:pt x="26" y="17"/>
                  </a:cubicBezTo>
                  <a:cubicBezTo>
                    <a:pt x="26" y="17"/>
                    <a:pt x="26" y="17"/>
                    <a:pt x="26" y="17"/>
                  </a:cubicBezTo>
                  <a:cubicBezTo>
                    <a:pt x="26" y="17"/>
                    <a:pt x="26" y="17"/>
                    <a:pt x="26" y="17"/>
                  </a:cubicBezTo>
                  <a:cubicBezTo>
                    <a:pt x="26" y="17"/>
                    <a:pt x="26" y="17"/>
                    <a:pt x="26" y="17"/>
                  </a:cubicBezTo>
                  <a:cubicBezTo>
                    <a:pt x="26" y="17"/>
                    <a:pt x="26" y="17"/>
                    <a:pt x="26" y="17"/>
                  </a:cubicBezTo>
                  <a:cubicBezTo>
                    <a:pt x="26" y="17"/>
                    <a:pt x="26" y="17"/>
                    <a:pt x="26" y="17"/>
                  </a:cubicBezTo>
                  <a:cubicBezTo>
                    <a:pt x="28" y="16"/>
                    <a:pt x="30" y="16"/>
                    <a:pt x="31" y="15"/>
                  </a:cubicBezTo>
                  <a:cubicBezTo>
                    <a:pt x="31" y="16"/>
                    <a:pt x="32" y="18"/>
                    <a:pt x="32" y="19"/>
                  </a:cubicBezTo>
                  <a:cubicBezTo>
                    <a:pt x="32" y="20"/>
                    <a:pt x="32" y="20"/>
                    <a:pt x="32" y="20"/>
                  </a:cubicBezTo>
                  <a:cubicBezTo>
                    <a:pt x="27" y="21"/>
                    <a:pt x="27" y="21"/>
                    <a:pt x="27" y="21"/>
                  </a:cubicBezTo>
                  <a:cubicBezTo>
                    <a:pt x="26" y="21"/>
                    <a:pt x="25" y="22"/>
                    <a:pt x="25" y="22"/>
                  </a:cubicBezTo>
                  <a:cubicBezTo>
                    <a:pt x="25" y="22"/>
                    <a:pt x="25" y="22"/>
                    <a:pt x="25" y="22"/>
                  </a:cubicBezTo>
                  <a:cubicBezTo>
                    <a:pt x="24" y="22"/>
                    <a:pt x="24" y="22"/>
                    <a:pt x="24" y="22"/>
                  </a:cubicBezTo>
                  <a:cubicBezTo>
                    <a:pt x="24" y="22"/>
                    <a:pt x="24" y="22"/>
                    <a:pt x="24" y="22"/>
                  </a:cubicBezTo>
                  <a:cubicBezTo>
                    <a:pt x="24" y="22"/>
                    <a:pt x="24" y="22"/>
                    <a:pt x="24" y="22"/>
                  </a:cubicBezTo>
                  <a:cubicBezTo>
                    <a:pt x="24" y="23"/>
                    <a:pt x="24" y="23"/>
                    <a:pt x="24" y="23"/>
                  </a:cubicBezTo>
                  <a:cubicBezTo>
                    <a:pt x="24" y="23"/>
                    <a:pt x="24" y="24"/>
                    <a:pt x="24" y="24"/>
                  </a:cubicBezTo>
                  <a:cubicBezTo>
                    <a:pt x="24" y="25"/>
                    <a:pt x="24" y="25"/>
                    <a:pt x="25" y="26"/>
                  </a:cubicBezTo>
                  <a:cubicBezTo>
                    <a:pt x="25" y="27"/>
                    <a:pt x="25" y="27"/>
                    <a:pt x="25" y="27"/>
                  </a:cubicBezTo>
                  <a:cubicBezTo>
                    <a:pt x="25" y="27"/>
                    <a:pt x="25" y="27"/>
                    <a:pt x="25" y="27"/>
                  </a:cubicBezTo>
                  <a:cubicBezTo>
                    <a:pt x="25" y="27"/>
                    <a:pt x="25" y="27"/>
                    <a:pt x="25" y="27"/>
                  </a:cubicBezTo>
                  <a:cubicBezTo>
                    <a:pt x="25" y="27"/>
                    <a:pt x="25" y="27"/>
                    <a:pt x="25" y="27"/>
                  </a:cubicBezTo>
                  <a:cubicBezTo>
                    <a:pt x="25" y="27"/>
                    <a:pt x="25" y="27"/>
                    <a:pt x="25" y="27"/>
                  </a:cubicBezTo>
                  <a:cubicBezTo>
                    <a:pt x="25" y="27"/>
                    <a:pt x="25" y="27"/>
                    <a:pt x="25" y="27"/>
                  </a:cubicBezTo>
                  <a:cubicBezTo>
                    <a:pt x="25" y="27"/>
                    <a:pt x="25" y="27"/>
                    <a:pt x="25" y="27"/>
                  </a:cubicBezTo>
                  <a:cubicBezTo>
                    <a:pt x="25" y="27"/>
                    <a:pt x="25" y="27"/>
                    <a:pt x="25" y="27"/>
                  </a:cubicBezTo>
                  <a:cubicBezTo>
                    <a:pt x="25" y="27"/>
                    <a:pt x="25" y="27"/>
                    <a:pt x="25" y="27"/>
                  </a:cubicBezTo>
                  <a:cubicBezTo>
                    <a:pt x="28" y="26"/>
                    <a:pt x="30" y="26"/>
                    <a:pt x="31" y="25"/>
                  </a:cubicBezTo>
                  <a:cubicBezTo>
                    <a:pt x="32" y="25"/>
                    <a:pt x="33" y="25"/>
                    <a:pt x="33" y="25"/>
                  </a:cubicBezTo>
                  <a:cubicBezTo>
                    <a:pt x="34" y="26"/>
                    <a:pt x="35" y="29"/>
                    <a:pt x="35" y="30"/>
                  </a:cubicBezTo>
                  <a:cubicBezTo>
                    <a:pt x="34" y="30"/>
                    <a:pt x="32" y="31"/>
                    <a:pt x="27" y="32"/>
                  </a:cubicBezTo>
                  <a:cubicBezTo>
                    <a:pt x="27" y="32"/>
                    <a:pt x="27" y="32"/>
                    <a:pt x="27" y="32"/>
                  </a:cubicBezTo>
                  <a:cubicBezTo>
                    <a:pt x="27" y="32"/>
                    <a:pt x="27" y="32"/>
                    <a:pt x="27" y="32"/>
                  </a:cubicBezTo>
                  <a:cubicBezTo>
                    <a:pt x="27" y="33"/>
                    <a:pt x="27" y="33"/>
                    <a:pt x="27" y="33"/>
                  </a:cubicBezTo>
                  <a:cubicBezTo>
                    <a:pt x="27" y="33"/>
                    <a:pt x="27" y="33"/>
                    <a:pt x="27" y="33"/>
                  </a:cubicBezTo>
                  <a:cubicBezTo>
                    <a:pt x="27" y="33"/>
                    <a:pt x="27" y="33"/>
                    <a:pt x="27" y="33"/>
                  </a:cubicBezTo>
                  <a:cubicBezTo>
                    <a:pt x="28" y="35"/>
                    <a:pt x="28" y="36"/>
                    <a:pt x="28" y="37"/>
                  </a:cubicBezTo>
                  <a:cubicBezTo>
                    <a:pt x="29" y="38"/>
                    <a:pt x="29" y="38"/>
                    <a:pt x="30" y="40"/>
                  </a:cubicBezTo>
                  <a:cubicBezTo>
                    <a:pt x="28" y="40"/>
                    <a:pt x="26" y="40"/>
                    <a:pt x="24" y="42"/>
                  </a:cubicBezTo>
                  <a:cubicBezTo>
                    <a:pt x="23" y="39"/>
                    <a:pt x="23" y="38"/>
                    <a:pt x="22" y="35"/>
                  </a:cubicBezTo>
                  <a:cubicBezTo>
                    <a:pt x="21" y="35"/>
                    <a:pt x="21" y="35"/>
                    <a:pt x="21" y="35"/>
                  </a:cubicBezTo>
                  <a:cubicBezTo>
                    <a:pt x="21" y="35"/>
                    <a:pt x="21" y="35"/>
                    <a:pt x="21" y="35"/>
                  </a:cubicBezTo>
                  <a:cubicBezTo>
                    <a:pt x="21" y="35"/>
                    <a:pt x="21" y="35"/>
                    <a:pt x="21" y="35"/>
                  </a:cubicBezTo>
                  <a:cubicBezTo>
                    <a:pt x="16" y="36"/>
                    <a:pt x="13" y="37"/>
                    <a:pt x="12" y="38"/>
                  </a:cubicBezTo>
                  <a:cubicBezTo>
                    <a:pt x="12" y="36"/>
                    <a:pt x="11" y="34"/>
                    <a:pt x="11" y="33"/>
                  </a:cubicBezTo>
                  <a:cubicBezTo>
                    <a:pt x="12" y="32"/>
                    <a:pt x="16" y="31"/>
                    <a:pt x="19" y="30"/>
                  </a:cubicBezTo>
                  <a:cubicBezTo>
                    <a:pt x="19" y="30"/>
                    <a:pt x="19" y="30"/>
                    <a:pt x="19" y="30"/>
                  </a:cubicBezTo>
                  <a:cubicBezTo>
                    <a:pt x="19" y="30"/>
                    <a:pt x="19" y="30"/>
                    <a:pt x="19" y="30"/>
                  </a:cubicBezTo>
                  <a:cubicBezTo>
                    <a:pt x="19" y="30"/>
                    <a:pt x="19" y="30"/>
                    <a:pt x="19" y="30"/>
                  </a:cubicBezTo>
                  <a:cubicBezTo>
                    <a:pt x="19" y="29"/>
                    <a:pt x="19" y="29"/>
                    <a:pt x="19" y="29"/>
                  </a:cubicBezTo>
                  <a:cubicBezTo>
                    <a:pt x="19" y="29"/>
                    <a:pt x="19" y="29"/>
                    <a:pt x="19" y="29"/>
                  </a:cubicBezTo>
                  <a:cubicBezTo>
                    <a:pt x="19" y="29"/>
                    <a:pt x="19" y="29"/>
                    <a:pt x="19" y="29"/>
                  </a:cubicBezTo>
                  <a:cubicBezTo>
                    <a:pt x="19" y="27"/>
                    <a:pt x="18" y="26"/>
                    <a:pt x="18" y="26"/>
                  </a:cubicBezTo>
                  <a:cubicBezTo>
                    <a:pt x="17" y="26"/>
                    <a:pt x="17" y="26"/>
                    <a:pt x="17" y="26"/>
                  </a:cubicBezTo>
                  <a:cubicBezTo>
                    <a:pt x="17" y="26"/>
                    <a:pt x="17" y="26"/>
                    <a:pt x="17" y="26"/>
                  </a:cubicBezTo>
                  <a:cubicBezTo>
                    <a:pt x="17" y="25"/>
                    <a:pt x="17" y="25"/>
                    <a:pt x="17" y="25"/>
                  </a:cubicBezTo>
                  <a:cubicBezTo>
                    <a:pt x="17" y="25"/>
                    <a:pt x="17" y="25"/>
                    <a:pt x="17" y="25"/>
                  </a:cubicBezTo>
                  <a:cubicBezTo>
                    <a:pt x="16" y="25"/>
                    <a:pt x="16" y="25"/>
                    <a:pt x="16" y="25"/>
                  </a:cubicBezTo>
                  <a:cubicBezTo>
                    <a:pt x="16" y="25"/>
                    <a:pt x="16" y="25"/>
                    <a:pt x="16" y="25"/>
                  </a:cubicBezTo>
                  <a:cubicBezTo>
                    <a:pt x="16" y="26"/>
                    <a:pt x="16" y="26"/>
                    <a:pt x="16" y="26"/>
                  </a:cubicBezTo>
                  <a:cubicBezTo>
                    <a:pt x="13" y="27"/>
                    <a:pt x="10" y="27"/>
                    <a:pt x="8" y="28"/>
                  </a:cubicBezTo>
                  <a:cubicBezTo>
                    <a:pt x="7" y="27"/>
                    <a:pt x="7" y="26"/>
                    <a:pt x="7" y="24"/>
                  </a:cubicBezTo>
                  <a:cubicBezTo>
                    <a:pt x="8" y="24"/>
                    <a:pt x="9" y="24"/>
                    <a:pt x="9" y="24"/>
                  </a:cubicBezTo>
                  <a:cubicBezTo>
                    <a:pt x="9" y="24"/>
                    <a:pt x="9" y="24"/>
                    <a:pt x="9" y="24"/>
                  </a:cubicBezTo>
                  <a:cubicBezTo>
                    <a:pt x="10" y="24"/>
                    <a:pt x="10" y="24"/>
                    <a:pt x="10" y="24"/>
                  </a:cubicBezTo>
                  <a:cubicBezTo>
                    <a:pt x="10" y="24"/>
                    <a:pt x="10" y="24"/>
                    <a:pt x="10" y="24"/>
                  </a:cubicBezTo>
                  <a:cubicBezTo>
                    <a:pt x="10" y="24"/>
                    <a:pt x="10" y="24"/>
                    <a:pt x="10" y="24"/>
                  </a:cubicBezTo>
                  <a:cubicBezTo>
                    <a:pt x="11" y="23"/>
                    <a:pt x="12" y="23"/>
                    <a:pt x="12" y="23"/>
                  </a:cubicBezTo>
                  <a:cubicBezTo>
                    <a:pt x="13" y="23"/>
                    <a:pt x="13" y="23"/>
                    <a:pt x="13" y="23"/>
                  </a:cubicBezTo>
                  <a:cubicBezTo>
                    <a:pt x="13" y="22"/>
                    <a:pt x="13" y="22"/>
                    <a:pt x="13" y="22"/>
                  </a:cubicBezTo>
                  <a:cubicBezTo>
                    <a:pt x="13" y="22"/>
                    <a:pt x="13" y="22"/>
                    <a:pt x="13" y="22"/>
                  </a:cubicBezTo>
                  <a:cubicBezTo>
                    <a:pt x="13" y="22"/>
                    <a:pt x="13" y="22"/>
                    <a:pt x="13" y="22"/>
                  </a:cubicBezTo>
                  <a:cubicBezTo>
                    <a:pt x="10" y="19"/>
                    <a:pt x="5" y="15"/>
                    <a:pt x="2" y="11"/>
                  </a:cubicBezTo>
                  <a:cubicBezTo>
                    <a:pt x="3" y="10"/>
                    <a:pt x="7" y="9"/>
                    <a:pt x="8" y="9"/>
                  </a:cubicBezTo>
                  <a:cubicBezTo>
                    <a:pt x="9" y="10"/>
                    <a:pt x="16" y="17"/>
                    <a:pt x="18" y="20"/>
                  </a:cubicBezTo>
                  <a:cubicBezTo>
                    <a:pt x="19" y="20"/>
                    <a:pt x="19" y="20"/>
                    <a:pt x="19" y="20"/>
                  </a:cubicBezTo>
                  <a:moveTo>
                    <a:pt x="29" y="0"/>
                  </a:moveTo>
                  <a:cubicBezTo>
                    <a:pt x="20" y="4"/>
                    <a:pt x="20" y="4"/>
                    <a:pt x="20" y="4"/>
                  </a:cubicBezTo>
                  <a:cubicBezTo>
                    <a:pt x="19" y="4"/>
                    <a:pt x="19" y="4"/>
                    <a:pt x="19" y="4"/>
                  </a:cubicBezTo>
                  <a:cubicBezTo>
                    <a:pt x="19" y="9"/>
                    <a:pt x="18" y="14"/>
                    <a:pt x="18" y="18"/>
                  </a:cubicBezTo>
                  <a:cubicBezTo>
                    <a:pt x="15" y="15"/>
                    <a:pt x="9" y="8"/>
                    <a:pt x="9" y="8"/>
                  </a:cubicBezTo>
                  <a:cubicBezTo>
                    <a:pt x="8" y="8"/>
                    <a:pt x="8" y="8"/>
                    <a:pt x="8" y="8"/>
                  </a:cubicBezTo>
                  <a:cubicBezTo>
                    <a:pt x="8" y="8"/>
                    <a:pt x="2" y="9"/>
                    <a:pt x="1" y="11"/>
                  </a:cubicBezTo>
                  <a:cubicBezTo>
                    <a:pt x="1" y="11"/>
                    <a:pt x="1" y="11"/>
                    <a:pt x="1" y="11"/>
                  </a:cubicBezTo>
                  <a:cubicBezTo>
                    <a:pt x="0" y="12"/>
                    <a:pt x="0" y="12"/>
                    <a:pt x="0" y="12"/>
                  </a:cubicBezTo>
                  <a:cubicBezTo>
                    <a:pt x="1" y="14"/>
                    <a:pt x="1" y="14"/>
                    <a:pt x="2" y="15"/>
                  </a:cubicBezTo>
                  <a:cubicBezTo>
                    <a:pt x="2" y="15"/>
                    <a:pt x="2" y="15"/>
                    <a:pt x="2" y="15"/>
                  </a:cubicBezTo>
                  <a:cubicBezTo>
                    <a:pt x="1" y="16"/>
                    <a:pt x="3" y="17"/>
                    <a:pt x="3" y="17"/>
                  </a:cubicBezTo>
                  <a:cubicBezTo>
                    <a:pt x="3" y="18"/>
                    <a:pt x="3" y="18"/>
                    <a:pt x="3" y="18"/>
                  </a:cubicBezTo>
                  <a:cubicBezTo>
                    <a:pt x="4" y="19"/>
                    <a:pt x="6" y="20"/>
                    <a:pt x="7" y="21"/>
                  </a:cubicBezTo>
                  <a:cubicBezTo>
                    <a:pt x="7" y="22"/>
                    <a:pt x="7" y="22"/>
                    <a:pt x="7" y="22"/>
                  </a:cubicBezTo>
                  <a:cubicBezTo>
                    <a:pt x="8" y="22"/>
                    <a:pt x="8" y="22"/>
                    <a:pt x="8" y="22"/>
                  </a:cubicBezTo>
                  <a:cubicBezTo>
                    <a:pt x="8" y="22"/>
                    <a:pt x="8" y="22"/>
                    <a:pt x="8" y="22"/>
                  </a:cubicBezTo>
                  <a:cubicBezTo>
                    <a:pt x="9" y="23"/>
                    <a:pt x="9" y="23"/>
                    <a:pt x="9" y="23"/>
                  </a:cubicBezTo>
                  <a:cubicBezTo>
                    <a:pt x="8" y="23"/>
                    <a:pt x="7" y="23"/>
                    <a:pt x="6" y="24"/>
                  </a:cubicBezTo>
                  <a:cubicBezTo>
                    <a:pt x="6" y="24"/>
                    <a:pt x="6" y="24"/>
                    <a:pt x="6" y="24"/>
                  </a:cubicBezTo>
                  <a:cubicBezTo>
                    <a:pt x="6" y="26"/>
                    <a:pt x="6" y="27"/>
                    <a:pt x="7" y="29"/>
                  </a:cubicBezTo>
                  <a:cubicBezTo>
                    <a:pt x="7" y="29"/>
                    <a:pt x="7" y="29"/>
                    <a:pt x="7" y="29"/>
                  </a:cubicBezTo>
                  <a:cubicBezTo>
                    <a:pt x="7" y="30"/>
                    <a:pt x="7" y="31"/>
                    <a:pt x="8" y="31"/>
                  </a:cubicBezTo>
                  <a:cubicBezTo>
                    <a:pt x="8" y="32"/>
                    <a:pt x="8" y="32"/>
                    <a:pt x="8" y="32"/>
                  </a:cubicBezTo>
                  <a:cubicBezTo>
                    <a:pt x="9" y="32"/>
                    <a:pt x="9" y="32"/>
                    <a:pt x="9" y="32"/>
                  </a:cubicBezTo>
                  <a:cubicBezTo>
                    <a:pt x="9" y="31"/>
                    <a:pt x="10" y="31"/>
                    <a:pt x="11" y="31"/>
                  </a:cubicBezTo>
                  <a:cubicBezTo>
                    <a:pt x="11" y="31"/>
                    <a:pt x="12" y="30"/>
                    <a:pt x="14" y="30"/>
                  </a:cubicBezTo>
                  <a:cubicBezTo>
                    <a:pt x="14" y="30"/>
                    <a:pt x="14" y="30"/>
                    <a:pt x="14" y="30"/>
                  </a:cubicBezTo>
                  <a:cubicBezTo>
                    <a:pt x="16" y="29"/>
                    <a:pt x="16" y="29"/>
                    <a:pt x="16" y="29"/>
                  </a:cubicBezTo>
                  <a:cubicBezTo>
                    <a:pt x="16" y="29"/>
                    <a:pt x="16" y="29"/>
                    <a:pt x="16" y="29"/>
                  </a:cubicBezTo>
                  <a:cubicBezTo>
                    <a:pt x="16" y="30"/>
                    <a:pt x="16" y="30"/>
                    <a:pt x="16" y="30"/>
                  </a:cubicBezTo>
                  <a:cubicBezTo>
                    <a:pt x="12" y="31"/>
                    <a:pt x="10" y="32"/>
                    <a:pt x="10" y="32"/>
                  </a:cubicBezTo>
                  <a:cubicBezTo>
                    <a:pt x="10" y="32"/>
                    <a:pt x="10" y="32"/>
                    <a:pt x="10" y="32"/>
                  </a:cubicBezTo>
                  <a:cubicBezTo>
                    <a:pt x="10" y="33"/>
                    <a:pt x="10" y="33"/>
                    <a:pt x="10" y="33"/>
                  </a:cubicBezTo>
                  <a:cubicBezTo>
                    <a:pt x="10" y="34"/>
                    <a:pt x="11" y="36"/>
                    <a:pt x="11" y="38"/>
                  </a:cubicBezTo>
                  <a:cubicBezTo>
                    <a:pt x="11" y="38"/>
                    <a:pt x="11" y="38"/>
                    <a:pt x="11" y="38"/>
                  </a:cubicBezTo>
                  <a:cubicBezTo>
                    <a:pt x="11" y="39"/>
                    <a:pt x="11" y="39"/>
                    <a:pt x="11" y="39"/>
                  </a:cubicBezTo>
                  <a:cubicBezTo>
                    <a:pt x="12" y="40"/>
                    <a:pt x="13" y="41"/>
                    <a:pt x="14" y="42"/>
                  </a:cubicBezTo>
                  <a:cubicBezTo>
                    <a:pt x="14" y="42"/>
                    <a:pt x="14" y="42"/>
                    <a:pt x="14" y="42"/>
                  </a:cubicBezTo>
                  <a:cubicBezTo>
                    <a:pt x="15" y="42"/>
                    <a:pt x="15" y="42"/>
                    <a:pt x="15" y="42"/>
                  </a:cubicBezTo>
                  <a:cubicBezTo>
                    <a:pt x="17" y="41"/>
                    <a:pt x="19" y="40"/>
                    <a:pt x="21" y="39"/>
                  </a:cubicBezTo>
                  <a:cubicBezTo>
                    <a:pt x="22" y="41"/>
                    <a:pt x="23" y="43"/>
                    <a:pt x="24" y="45"/>
                  </a:cubicBezTo>
                  <a:cubicBezTo>
                    <a:pt x="24" y="46"/>
                    <a:pt x="25" y="47"/>
                    <a:pt x="25" y="47"/>
                  </a:cubicBezTo>
                  <a:cubicBezTo>
                    <a:pt x="25" y="48"/>
                    <a:pt x="25" y="48"/>
                    <a:pt x="25" y="48"/>
                  </a:cubicBezTo>
                  <a:cubicBezTo>
                    <a:pt x="25" y="48"/>
                    <a:pt x="25" y="48"/>
                    <a:pt x="25" y="48"/>
                  </a:cubicBezTo>
                  <a:cubicBezTo>
                    <a:pt x="25" y="47"/>
                    <a:pt x="25" y="47"/>
                    <a:pt x="25" y="47"/>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7"/>
                    <a:pt x="26" y="47"/>
                    <a:pt x="26" y="47"/>
                  </a:cubicBezTo>
                  <a:cubicBezTo>
                    <a:pt x="27" y="47"/>
                    <a:pt x="28" y="46"/>
                    <a:pt x="29" y="46"/>
                  </a:cubicBezTo>
                  <a:cubicBezTo>
                    <a:pt x="29" y="46"/>
                    <a:pt x="29" y="46"/>
                    <a:pt x="29" y="46"/>
                  </a:cubicBezTo>
                  <a:cubicBezTo>
                    <a:pt x="30" y="46"/>
                    <a:pt x="30" y="46"/>
                    <a:pt x="30" y="46"/>
                  </a:cubicBezTo>
                  <a:cubicBezTo>
                    <a:pt x="30" y="46"/>
                    <a:pt x="30" y="46"/>
                    <a:pt x="30" y="46"/>
                  </a:cubicBezTo>
                  <a:cubicBezTo>
                    <a:pt x="30" y="46"/>
                    <a:pt x="30" y="46"/>
                    <a:pt x="30" y="46"/>
                  </a:cubicBezTo>
                  <a:cubicBezTo>
                    <a:pt x="30" y="45"/>
                    <a:pt x="31" y="45"/>
                    <a:pt x="32" y="45"/>
                  </a:cubicBezTo>
                  <a:cubicBezTo>
                    <a:pt x="32" y="44"/>
                    <a:pt x="32" y="44"/>
                    <a:pt x="32" y="44"/>
                  </a:cubicBezTo>
                  <a:cubicBezTo>
                    <a:pt x="32" y="44"/>
                    <a:pt x="32" y="44"/>
                    <a:pt x="32" y="44"/>
                  </a:cubicBezTo>
                  <a:cubicBezTo>
                    <a:pt x="31" y="43"/>
                    <a:pt x="31" y="42"/>
                    <a:pt x="30" y="40"/>
                  </a:cubicBezTo>
                  <a:cubicBezTo>
                    <a:pt x="31" y="40"/>
                    <a:pt x="31" y="40"/>
                    <a:pt x="31" y="40"/>
                  </a:cubicBezTo>
                  <a:cubicBezTo>
                    <a:pt x="31" y="40"/>
                    <a:pt x="31" y="40"/>
                    <a:pt x="31" y="40"/>
                  </a:cubicBezTo>
                  <a:cubicBezTo>
                    <a:pt x="30" y="39"/>
                    <a:pt x="30" y="38"/>
                    <a:pt x="29" y="37"/>
                  </a:cubicBezTo>
                  <a:cubicBezTo>
                    <a:pt x="30" y="37"/>
                    <a:pt x="30" y="37"/>
                    <a:pt x="30" y="37"/>
                  </a:cubicBezTo>
                  <a:cubicBezTo>
                    <a:pt x="30" y="36"/>
                    <a:pt x="35" y="34"/>
                    <a:pt x="36" y="34"/>
                  </a:cubicBezTo>
                  <a:cubicBezTo>
                    <a:pt x="37" y="34"/>
                    <a:pt x="37" y="34"/>
                    <a:pt x="37" y="34"/>
                  </a:cubicBezTo>
                  <a:cubicBezTo>
                    <a:pt x="36" y="30"/>
                    <a:pt x="36" y="30"/>
                    <a:pt x="36" y="30"/>
                  </a:cubicBezTo>
                  <a:cubicBezTo>
                    <a:pt x="36" y="30"/>
                    <a:pt x="36" y="30"/>
                    <a:pt x="36" y="30"/>
                  </a:cubicBezTo>
                  <a:cubicBezTo>
                    <a:pt x="36" y="30"/>
                    <a:pt x="35" y="25"/>
                    <a:pt x="34" y="24"/>
                  </a:cubicBezTo>
                  <a:cubicBezTo>
                    <a:pt x="34" y="23"/>
                    <a:pt x="34" y="23"/>
                    <a:pt x="34" y="23"/>
                  </a:cubicBezTo>
                  <a:cubicBezTo>
                    <a:pt x="33" y="24"/>
                    <a:pt x="33" y="24"/>
                    <a:pt x="33" y="24"/>
                  </a:cubicBezTo>
                  <a:cubicBezTo>
                    <a:pt x="33" y="24"/>
                    <a:pt x="32" y="24"/>
                    <a:pt x="31" y="24"/>
                  </a:cubicBezTo>
                  <a:cubicBezTo>
                    <a:pt x="30" y="25"/>
                    <a:pt x="28" y="25"/>
                    <a:pt x="26" y="26"/>
                  </a:cubicBezTo>
                  <a:cubicBezTo>
                    <a:pt x="26" y="26"/>
                    <a:pt x="26" y="26"/>
                    <a:pt x="26" y="26"/>
                  </a:cubicBezTo>
                  <a:cubicBezTo>
                    <a:pt x="26" y="25"/>
                    <a:pt x="26" y="25"/>
                    <a:pt x="26" y="25"/>
                  </a:cubicBezTo>
                  <a:cubicBezTo>
                    <a:pt x="26" y="25"/>
                    <a:pt x="26" y="25"/>
                    <a:pt x="26" y="25"/>
                  </a:cubicBezTo>
                  <a:cubicBezTo>
                    <a:pt x="26" y="25"/>
                    <a:pt x="26" y="25"/>
                    <a:pt x="26" y="25"/>
                  </a:cubicBezTo>
                  <a:cubicBezTo>
                    <a:pt x="28" y="25"/>
                    <a:pt x="29" y="24"/>
                    <a:pt x="30" y="24"/>
                  </a:cubicBezTo>
                  <a:cubicBezTo>
                    <a:pt x="31" y="24"/>
                    <a:pt x="31" y="24"/>
                    <a:pt x="31" y="24"/>
                  </a:cubicBezTo>
                  <a:cubicBezTo>
                    <a:pt x="31" y="24"/>
                    <a:pt x="31" y="24"/>
                    <a:pt x="31" y="24"/>
                  </a:cubicBezTo>
                  <a:cubicBezTo>
                    <a:pt x="31" y="24"/>
                    <a:pt x="31" y="24"/>
                    <a:pt x="31" y="24"/>
                  </a:cubicBezTo>
                  <a:cubicBezTo>
                    <a:pt x="31" y="24"/>
                    <a:pt x="31" y="24"/>
                    <a:pt x="31" y="24"/>
                  </a:cubicBezTo>
                  <a:cubicBezTo>
                    <a:pt x="32" y="23"/>
                    <a:pt x="32" y="23"/>
                    <a:pt x="33" y="23"/>
                  </a:cubicBezTo>
                  <a:cubicBezTo>
                    <a:pt x="33" y="23"/>
                    <a:pt x="33" y="23"/>
                    <a:pt x="33" y="23"/>
                  </a:cubicBezTo>
                  <a:cubicBezTo>
                    <a:pt x="33" y="22"/>
                    <a:pt x="33" y="21"/>
                    <a:pt x="33" y="20"/>
                  </a:cubicBezTo>
                  <a:cubicBezTo>
                    <a:pt x="33" y="20"/>
                    <a:pt x="33" y="20"/>
                    <a:pt x="33" y="20"/>
                  </a:cubicBezTo>
                  <a:cubicBezTo>
                    <a:pt x="33" y="18"/>
                    <a:pt x="32" y="16"/>
                    <a:pt x="32" y="14"/>
                  </a:cubicBezTo>
                  <a:cubicBezTo>
                    <a:pt x="32" y="14"/>
                    <a:pt x="32" y="14"/>
                    <a:pt x="32" y="14"/>
                  </a:cubicBezTo>
                  <a:cubicBezTo>
                    <a:pt x="31" y="14"/>
                    <a:pt x="31" y="14"/>
                    <a:pt x="31" y="14"/>
                  </a:cubicBezTo>
                  <a:cubicBezTo>
                    <a:pt x="30" y="14"/>
                    <a:pt x="29" y="15"/>
                    <a:pt x="28" y="15"/>
                  </a:cubicBezTo>
                  <a:cubicBezTo>
                    <a:pt x="29" y="14"/>
                    <a:pt x="29" y="13"/>
                    <a:pt x="29" y="12"/>
                  </a:cubicBezTo>
                  <a:cubicBezTo>
                    <a:pt x="29" y="11"/>
                    <a:pt x="30" y="10"/>
                    <a:pt x="30" y="8"/>
                  </a:cubicBezTo>
                  <a:cubicBezTo>
                    <a:pt x="30" y="8"/>
                    <a:pt x="31" y="7"/>
                    <a:pt x="30" y="6"/>
                  </a:cubicBezTo>
                  <a:cubicBezTo>
                    <a:pt x="30" y="4"/>
                    <a:pt x="30" y="2"/>
                    <a:pt x="30" y="1"/>
                  </a:cubicBezTo>
                  <a:cubicBezTo>
                    <a:pt x="30" y="0"/>
                    <a:pt x="30" y="0"/>
                    <a:pt x="30" y="0"/>
                  </a:cubicBezTo>
                  <a:cubicBezTo>
                    <a:pt x="30" y="0"/>
                    <a:pt x="30" y="0"/>
                    <a:pt x="30" y="0"/>
                  </a:cubicBezTo>
                  <a:cubicBezTo>
                    <a:pt x="30" y="0"/>
                    <a:pt x="30" y="0"/>
                    <a:pt x="30" y="0"/>
                  </a:cubicBezTo>
                  <a:cubicBezTo>
                    <a:pt x="29" y="0"/>
                    <a:pt x="29" y="0"/>
                    <a:pt x="29" y="0"/>
                  </a:cubicBezTo>
                  <a:cubicBezTo>
                    <a:pt x="29" y="0"/>
                    <a:pt x="29" y="0"/>
                    <a:pt x="29" y="0"/>
                  </a:cubicBezTo>
                  <a:cubicBezTo>
                    <a:pt x="29" y="0"/>
                    <a:pt x="29" y="0"/>
                    <a:pt x="29"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48" name="iṣļîḑe"/>
            <p:cNvSpPr/>
            <p:nvPr/>
          </p:nvSpPr>
          <p:spPr bwMode="auto">
            <a:xfrm>
              <a:off x="4210" y="2070"/>
              <a:ext cx="76" cy="121"/>
            </a:xfrm>
            <a:custGeom>
              <a:avLst/>
              <a:gdLst>
                <a:gd name="T0" fmla="*/ 24 w 32"/>
                <a:gd name="T1" fmla="*/ 50 h 51"/>
                <a:gd name="T2" fmla="*/ 22 w 32"/>
                <a:gd name="T3" fmla="*/ 49 h 51"/>
                <a:gd name="T4" fmla="*/ 20 w 32"/>
                <a:gd name="T5" fmla="*/ 49 h 51"/>
                <a:gd name="T6" fmla="*/ 28 w 32"/>
                <a:gd name="T7" fmla="*/ 46 h 51"/>
                <a:gd name="T8" fmla="*/ 16 w 32"/>
                <a:gd name="T9" fmla="*/ 48 h 51"/>
                <a:gd name="T10" fmla="*/ 27 w 32"/>
                <a:gd name="T11" fmla="*/ 49 h 51"/>
                <a:gd name="T12" fmla="*/ 29 w 32"/>
                <a:gd name="T13" fmla="*/ 49 h 51"/>
                <a:gd name="T14" fmla="*/ 16 w 32"/>
                <a:gd name="T15" fmla="*/ 48 h 51"/>
                <a:gd name="T16" fmla="*/ 3 w 32"/>
                <a:gd name="T17" fmla="*/ 46 h 51"/>
                <a:gd name="T18" fmla="*/ 12 w 32"/>
                <a:gd name="T19" fmla="*/ 47 h 51"/>
                <a:gd name="T20" fmla="*/ 5 w 32"/>
                <a:gd name="T21" fmla="*/ 45 h 51"/>
                <a:gd name="T22" fmla="*/ 11 w 32"/>
                <a:gd name="T23" fmla="*/ 44 h 51"/>
                <a:gd name="T24" fmla="*/ 9 w 32"/>
                <a:gd name="T25" fmla="*/ 43 h 51"/>
                <a:gd name="T26" fmla="*/ 9 w 32"/>
                <a:gd name="T27" fmla="*/ 47 h 51"/>
                <a:gd name="T28" fmla="*/ 4 w 32"/>
                <a:gd name="T29" fmla="*/ 43 h 51"/>
                <a:gd name="T30" fmla="*/ 2 w 32"/>
                <a:gd name="T31" fmla="*/ 41 h 51"/>
                <a:gd name="T32" fmla="*/ 1 w 32"/>
                <a:gd name="T33" fmla="*/ 39 h 51"/>
                <a:gd name="T34" fmla="*/ 23 w 32"/>
                <a:gd name="T35" fmla="*/ 29 h 51"/>
                <a:gd name="T36" fmla="*/ 22 w 32"/>
                <a:gd name="T37" fmla="*/ 31 h 51"/>
                <a:gd name="T38" fmla="*/ 20 w 32"/>
                <a:gd name="T39" fmla="*/ 31 h 51"/>
                <a:gd name="T40" fmla="*/ 18 w 32"/>
                <a:gd name="T41" fmla="*/ 31 h 51"/>
                <a:gd name="T42" fmla="*/ 16 w 32"/>
                <a:gd name="T43" fmla="*/ 30 h 51"/>
                <a:gd name="T44" fmla="*/ 4 w 32"/>
                <a:gd name="T45" fmla="*/ 28 h 51"/>
                <a:gd name="T46" fmla="*/ 5 w 32"/>
                <a:gd name="T47" fmla="*/ 31 h 51"/>
                <a:gd name="T48" fmla="*/ 7 w 32"/>
                <a:gd name="T49" fmla="*/ 31 h 51"/>
                <a:gd name="T50" fmla="*/ 28 w 32"/>
                <a:gd name="T51" fmla="*/ 15 h 51"/>
                <a:gd name="T52" fmla="*/ 22 w 32"/>
                <a:gd name="T53" fmla="*/ 18 h 51"/>
                <a:gd name="T54" fmla="*/ 20 w 32"/>
                <a:gd name="T55" fmla="*/ 14 h 51"/>
                <a:gd name="T56" fmla="*/ 28 w 32"/>
                <a:gd name="T57" fmla="*/ 14 h 51"/>
                <a:gd name="T58" fmla="*/ 24 w 32"/>
                <a:gd name="T59" fmla="*/ 17 h 51"/>
                <a:gd name="T60" fmla="*/ 26 w 32"/>
                <a:gd name="T61" fmla="*/ 14 h 51"/>
                <a:gd name="T62" fmla="*/ 21 w 32"/>
                <a:gd name="T63" fmla="*/ 11 h 51"/>
                <a:gd name="T64" fmla="*/ 14 w 32"/>
                <a:gd name="T65" fmla="*/ 14 h 51"/>
                <a:gd name="T66" fmla="*/ 21 w 32"/>
                <a:gd name="T67" fmla="*/ 11 h 51"/>
                <a:gd name="T68" fmla="*/ 16 w 32"/>
                <a:gd name="T69" fmla="*/ 11 h 51"/>
                <a:gd name="T70" fmla="*/ 18 w 32"/>
                <a:gd name="T71" fmla="*/ 10 h 51"/>
                <a:gd name="T72" fmla="*/ 7 w 32"/>
                <a:gd name="T73" fmla="*/ 8 h 51"/>
                <a:gd name="T74" fmla="*/ 19 w 32"/>
                <a:gd name="T75" fmla="*/ 9 h 51"/>
                <a:gd name="T76" fmla="*/ 14 w 32"/>
                <a:gd name="T77" fmla="*/ 17 h 51"/>
                <a:gd name="T78" fmla="*/ 16 w 32"/>
                <a:gd name="T79" fmla="*/ 27 h 51"/>
                <a:gd name="T80" fmla="*/ 29 w 32"/>
                <a:gd name="T81" fmla="*/ 38 h 51"/>
                <a:gd name="T82" fmla="*/ 3 w 32"/>
                <a:gd name="T83" fmla="*/ 40 h 51"/>
                <a:gd name="T84" fmla="*/ 9 w 32"/>
                <a:gd name="T85" fmla="*/ 27 h 51"/>
                <a:gd name="T86" fmla="*/ 8 w 32"/>
                <a:gd name="T87" fmla="*/ 27 h 51"/>
                <a:gd name="T88" fmla="*/ 12 w 32"/>
                <a:gd name="T89" fmla="*/ 1 h 51"/>
                <a:gd name="T90" fmla="*/ 1 w 32"/>
                <a:gd name="T91" fmla="*/ 27 h 51"/>
                <a:gd name="T92" fmla="*/ 5 w 32"/>
                <a:gd name="T93" fmla="*/ 32 h 51"/>
                <a:gd name="T94" fmla="*/ 0 w 32"/>
                <a:gd name="T95" fmla="*/ 41 h 51"/>
                <a:gd name="T96" fmla="*/ 4 w 32"/>
                <a:gd name="T97" fmla="*/ 50 h 51"/>
                <a:gd name="T98" fmla="*/ 30 w 32"/>
                <a:gd name="T99" fmla="*/ 50 h 51"/>
                <a:gd name="T100" fmla="*/ 32 w 32"/>
                <a:gd name="T101" fmla="*/ 44 h 51"/>
                <a:gd name="T102" fmla="*/ 30 w 32"/>
                <a:gd name="T103" fmla="*/ 37 h 51"/>
                <a:gd name="T104" fmla="*/ 24 w 32"/>
                <a:gd name="T105" fmla="*/ 32 h 51"/>
                <a:gd name="T106" fmla="*/ 16 w 32"/>
                <a:gd name="T107" fmla="*/ 21 h 51"/>
                <a:gd name="T108" fmla="*/ 20 w 32"/>
                <a:gd name="T109" fmla="*/ 17 h 51"/>
                <a:gd name="T110" fmla="*/ 29 w 32"/>
                <a:gd name="T111" fmla="*/ 1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 h="51">
                  <a:moveTo>
                    <a:pt x="21" y="49"/>
                  </a:moveTo>
                  <a:cubicBezTo>
                    <a:pt x="21" y="49"/>
                    <a:pt x="21" y="49"/>
                    <a:pt x="20" y="49"/>
                  </a:cubicBezTo>
                  <a:cubicBezTo>
                    <a:pt x="20" y="49"/>
                    <a:pt x="21" y="46"/>
                    <a:pt x="22" y="46"/>
                  </a:cubicBezTo>
                  <a:cubicBezTo>
                    <a:pt x="22" y="46"/>
                    <a:pt x="22" y="46"/>
                    <a:pt x="22" y="46"/>
                  </a:cubicBezTo>
                  <a:cubicBezTo>
                    <a:pt x="22" y="46"/>
                    <a:pt x="23" y="46"/>
                    <a:pt x="23" y="46"/>
                  </a:cubicBezTo>
                  <a:cubicBezTo>
                    <a:pt x="22" y="47"/>
                    <a:pt x="22" y="48"/>
                    <a:pt x="21" y="49"/>
                  </a:cubicBezTo>
                  <a:moveTo>
                    <a:pt x="24" y="50"/>
                  </a:moveTo>
                  <a:cubicBezTo>
                    <a:pt x="24" y="49"/>
                    <a:pt x="24" y="49"/>
                    <a:pt x="24" y="49"/>
                  </a:cubicBezTo>
                  <a:cubicBezTo>
                    <a:pt x="24" y="48"/>
                    <a:pt x="25" y="47"/>
                    <a:pt x="26" y="46"/>
                  </a:cubicBezTo>
                  <a:cubicBezTo>
                    <a:pt x="26" y="46"/>
                    <a:pt x="26" y="46"/>
                    <a:pt x="26" y="46"/>
                  </a:cubicBezTo>
                  <a:cubicBezTo>
                    <a:pt x="26" y="46"/>
                    <a:pt x="27" y="46"/>
                    <a:pt x="27" y="46"/>
                  </a:cubicBezTo>
                  <a:cubicBezTo>
                    <a:pt x="26" y="47"/>
                    <a:pt x="26" y="48"/>
                    <a:pt x="25" y="50"/>
                  </a:cubicBezTo>
                  <a:cubicBezTo>
                    <a:pt x="25" y="50"/>
                    <a:pt x="25" y="50"/>
                    <a:pt x="25" y="50"/>
                  </a:cubicBezTo>
                  <a:cubicBezTo>
                    <a:pt x="24" y="50"/>
                    <a:pt x="23" y="50"/>
                    <a:pt x="22" y="49"/>
                  </a:cubicBezTo>
                  <a:cubicBezTo>
                    <a:pt x="22" y="48"/>
                    <a:pt x="23" y="47"/>
                    <a:pt x="24" y="46"/>
                  </a:cubicBezTo>
                  <a:cubicBezTo>
                    <a:pt x="24" y="46"/>
                    <a:pt x="24" y="46"/>
                    <a:pt x="24" y="46"/>
                  </a:cubicBezTo>
                  <a:cubicBezTo>
                    <a:pt x="24" y="46"/>
                    <a:pt x="25" y="46"/>
                    <a:pt x="25" y="46"/>
                  </a:cubicBezTo>
                  <a:cubicBezTo>
                    <a:pt x="25" y="47"/>
                    <a:pt x="24" y="48"/>
                    <a:pt x="23" y="49"/>
                  </a:cubicBezTo>
                  <a:cubicBezTo>
                    <a:pt x="24" y="50"/>
                    <a:pt x="24" y="50"/>
                    <a:pt x="24" y="50"/>
                  </a:cubicBezTo>
                  <a:cubicBezTo>
                    <a:pt x="24" y="50"/>
                    <a:pt x="24" y="50"/>
                    <a:pt x="24" y="50"/>
                  </a:cubicBezTo>
                  <a:moveTo>
                    <a:pt x="20" y="49"/>
                  </a:moveTo>
                  <a:cubicBezTo>
                    <a:pt x="19" y="49"/>
                    <a:pt x="18" y="49"/>
                    <a:pt x="18" y="48"/>
                  </a:cubicBezTo>
                  <a:cubicBezTo>
                    <a:pt x="18" y="47"/>
                    <a:pt x="19" y="47"/>
                    <a:pt x="20" y="46"/>
                  </a:cubicBezTo>
                  <a:cubicBezTo>
                    <a:pt x="20" y="46"/>
                    <a:pt x="20" y="46"/>
                    <a:pt x="20" y="46"/>
                  </a:cubicBezTo>
                  <a:cubicBezTo>
                    <a:pt x="20" y="46"/>
                    <a:pt x="21" y="46"/>
                    <a:pt x="21" y="46"/>
                  </a:cubicBezTo>
                  <a:cubicBezTo>
                    <a:pt x="20" y="49"/>
                    <a:pt x="20" y="49"/>
                    <a:pt x="20" y="49"/>
                  </a:cubicBezTo>
                  <a:moveTo>
                    <a:pt x="26" y="50"/>
                  </a:moveTo>
                  <a:cubicBezTo>
                    <a:pt x="26" y="48"/>
                    <a:pt x="27" y="47"/>
                    <a:pt x="28" y="46"/>
                  </a:cubicBezTo>
                  <a:cubicBezTo>
                    <a:pt x="28" y="45"/>
                    <a:pt x="29" y="45"/>
                    <a:pt x="29" y="45"/>
                  </a:cubicBezTo>
                  <a:cubicBezTo>
                    <a:pt x="28" y="47"/>
                    <a:pt x="28" y="48"/>
                    <a:pt x="27" y="49"/>
                  </a:cubicBezTo>
                  <a:cubicBezTo>
                    <a:pt x="27" y="50"/>
                    <a:pt x="27" y="50"/>
                    <a:pt x="27" y="50"/>
                  </a:cubicBezTo>
                  <a:cubicBezTo>
                    <a:pt x="27" y="50"/>
                    <a:pt x="27" y="50"/>
                    <a:pt x="27" y="50"/>
                  </a:cubicBezTo>
                  <a:cubicBezTo>
                    <a:pt x="27" y="50"/>
                    <a:pt x="26" y="50"/>
                    <a:pt x="26" y="50"/>
                  </a:cubicBezTo>
                  <a:moveTo>
                    <a:pt x="17" y="48"/>
                  </a:moveTo>
                  <a:cubicBezTo>
                    <a:pt x="16" y="48"/>
                    <a:pt x="16" y="48"/>
                    <a:pt x="16" y="48"/>
                  </a:cubicBezTo>
                  <a:cubicBezTo>
                    <a:pt x="16" y="48"/>
                    <a:pt x="16" y="48"/>
                    <a:pt x="16" y="48"/>
                  </a:cubicBezTo>
                  <a:cubicBezTo>
                    <a:pt x="16" y="47"/>
                    <a:pt x="17" y="46"/>
                    <a:pt x="18" y="45"/>
                  </a:cubicBezTo>
                  <a:cubicBezTo>
                    <a:pt x="18" y="45"/>
                    <a:pt x="18" y="45"/>
                    <a:pt x="18" y="45"/>
                  </a:cubicBezTo>
                  <a:cubicBezTo>
                    <a:pt x="19" y="45"/>
                    <a:pt x="19" y="45"/>
                    <a:pt x="19" y="45"/>
                  </a:cubicBezTo>
                  <a:cubicBezTo>
                    <a:pt x="19" y="46"/>
                    <a:pt x="18" y="47"/>
                    <a:pt x="17" y="48"/>
                  </a:cubicBezTo>
                  <a:moveTo>
                    <a:pt x="27" y="49"/>
                  </a:moveTo>
                  <a:cubicBezTo>
                    <a:pt x="27" y="49"/>
                    <a:pt x="27" y="49"/>
                    <a:pt x="27" y="49"/>
                  </a:cubicBezTo>
                  <a:cubicBezTo>
                    <a:pt x="28" y="48"/>
                    <a:pt x="29" y="46"/>
                    <a:pt x="30" y="45"/>
                  </a:cubicBezTo>
                  <a:cubicBezTo>
                    <a:pt x="30" y="45"/>
                    <a:pt x="30" y="45"/>
                    <a:pt x="30" y="45"/>
                  </a:cubicBezTo>
                  <a:cubicBezTo>
                    <a:pt x="30" y="45"/>
                    <a:pt x="30" y="45"/>
                    <a:pt x="31" y="45"/>
                  </a:cubicBezTo>
                  <a:cubicBezTo>
                    <a:pt x="31" y="45"/>
                    <a:pt x="31" y="45"/>
                    <a:pt x="31" y="45"/>
                  </a:cubicBezTo>
                  <a:cubicBezTo>
                    <a:pt x="31" y="45"/>
                    <a:pt x="31" y="45"/>
                    <a:pt x="31" y="45"/>
                  </a:cubicBezTo>
                  <a:cubicBezTo>
                    <a:pt x="29" y="49"/>
                    <a:pt x="29" y="49"/>
                    <a:pt x="29" y="49"/>
                  </a:cubicBezTo>
                  <a:cubicBezTo>
                    <a:pt x="29" y="49"/>
                    <a:pt x="29" y="49"/>
                    <a:pt x="29" y="49"/>
                  </a:cubicBezTo>
                  <a:cubicBezTo>
                    <a:pt x="29" y="49"/>
                    <a:pt x="29" y="49"/>
                    <a:pt x="29" y="49"/>
                  </a:cubicBezTo>
                  <a:cubicBezTo>
                    <a:pt x="29" y="49"/>
                    <a:pt x="29" y="49"/>
                    <a:pt x="29" y="49"/>
                  </a:cubicBezTo>
                  <a:cubicBezTo>
                    <a:pt x="30" y="47"/>
                    <a:pt x="30" y="47"/>
                    <a:pt x="30" y="47"/>
                  </a:cubicBezTo>
                  <a:cubicBezTo>
                    <a:pt x="30" y="48"/>
                    <a:pt x="30" y="48"/>
                    <a:pt x="30" y="48"/>
                  </a:cubicBezTo>
                  <a:cubicBezTo>
                    <a:pt x="30" y="48"/>
                    <a:pt x="30" y="49"/>
                    <a:pt x="30" y="49"/>
                  </a:cubicBezTo>
                  <a:cubicBezTo>
                    <a:pt x="29" y="49"/>
                    <a:pt x="28" y="49"/>
                    <a:pt x="27" y="49"/>
                  </a:cubicBezTo>
                  <a:moveTo>
                    <a:pt x="16" y="48"/>
                  </a:moveTo>
                  <a:cubicBezTo>
                    <a:pt x="15" y="47"/>
                    <a:pt x="14" y="47"/>
                    <a:pt x="13" y="47"/>
                  </a:cubicBezTo>
                  <a:cubicBezTo>
                    <a:pt x="14" y="46"/>
                    <a:pt x="14" y="45"/>
                    <a:pt x="15" y="44"/>
                  </a:cubicBezTo>
                  <a:cubicBezTo>
                    <a:pt x="15" y="44"/>
                    <a:pt x="15" y="44"/>
                    <a:pt x="15" y="44"/>
                  </a:cubicBezTo>
                  <a:cubicBezTo>
                    <a:pt x="16" y="44"/>
                    <a:pt x="16" y="45"/>
                    <a:pt x="17" y="45"/>
                  </a:cubicBezTo>
                  <a:cubicBezTo>
                    <a:pt x="17" y="46"/>
                    <a:pt x="16" y="47"/>
                    <a:pt x="16" y="48"/>
                  </a:cubicBezTo>
                  <a:moveTo>
                    <a:pt x="3" y="48"/>
                  </a:moveTo>
                  <a:cubicBezTo>
                    <a:pt x="3" y="47"/>
                    <a:pt x="3" y="47"/>
                    <a:pt x="3" y="46"/>
                  </a:cubicBezTo>
                  <a:cubicBezTo>
                    <a:pt x="2" y="46"/>
                    <a:pt x="2" y="46"/>
                    <a:pt x="2" y="46"/>
                  </a:cubicBezTo>
                  <a:cubicBezTo>
                    <a:pt x="3" y="45"/>
                    <a:pt x="3" y="44"/>
                    <a:pt x="4" y="44"/>
                  </a:cubicBezTo>
                  <a:cubicBezTo>
                    <a:pt x="4" y="45"/>
                    <a:pt x="4" y="46"/>
                    <a:pt x="3" y="47"/>
                  </a:cubicBezTo>
                  <a:cubicBezTo>
                    <a:pt x="3" y="48"/>
                    <a:pt x="3" y="48"/>
                    <a:pt x="3" y="48"/>
                  </a:cubicBezTo>
                  <a:moveTo>
                    <a:pt x="13" y="47"/>
                  </a:moveTo>
                  <a:cubicBezTo>
                    <a:pt x="13" y="47"/>
                    <a:pt x="13" y="47"/>
                    <a:pt x="13" y="47"/>
                  </a:cubicBezTo>
                  <a:cubicBezTo>
                    <a:pt x="12" y="47"/>
                    <a:pt x="12" y="47"/>
                    <a:pt x="12" y="47"/>
                  </a:cubicBezTo>
                  <a:cubicBezTo>
                    <a:pt x="12" y="46"/>
                    <a:pt x="13" y="45"/>
                    <a:pt x="13" y="44"/>
                  </a:cubicBezTo>
                  <a:cubicBezTo>
                    <a:pt x="13" y="44"/>
                    <a:pt x="13" y="44"/>
                    <a:pt x="13" y="44"/>
                  </a:cubicBezTo>
                  <a:cubicBezTo>
                    <a:pt x="14" y="44"/>
                    <a:pt x="14" y="44"/>
                    <a:pt x="14" y="44"/>
                  </a:cubicBezTo>
                  <a:cubicBezTo>
                    <a:pt x="14" y="45"/>
                    <a:pt x="13" y="46"/>
                    <a:pt x="13" y="47"/>
                  </a:cubicBezTo>
                  <a:moveTo>
                    <a:pt x="4" y="48"/>
                  </a:moveTo>
                  <a:cubicBezTo>
                    <a:pt x="4" y="48"/>
                    <a:pt x="4" y="47"/>
                    <a:pt x="5" y="47"/>
                  </a:cubicBezTo>
                  <a:cubicBezTo>
                    <a:pt x="5" y="46"/>
                    <a:pt x="5" y="46"/>
                    <a:pt x="5" y="45"/>
                  </a:cubicBezTo>
                  <a:cubicBezTo>
                    <a:pt x="5" y="45"/>
                    <a:pt x="5" y="45"/>
                    <a:pt x="5" y="45"/>
                  </a:cubicBezTo>
                  <a:cubicBezTo>
                    <a:pt x="5" y="45"/>
                    <a:pt x="5" y="45"/>
                    <a:pt x="5" y="45"/>
                  </a:cubicBezTo>
                  <a:cubicBezTo>
                    <a:pt x="6" y="45"/>
                    <a:pt x="6" y="44"/>
                    <a:pt x="7" y="44"/>
                  </a:cubicBezTo>
                  <a:cubicBezTo>
                    <a:pt x="6" y="45"/>
                    <a:pt x="5" y="47"/>
                    <a:pt x="4" y="48"/>
                  </a:cubicBezTo>
                  <a:moveTo>
                    <a:pt x="9" y="47"/>
                  </a:moveTo>
                  <a:cubicBezTo>
                    <a:pt x="10" y="47"/>
                    <a:pt x="10" y="47"/>
                    <a:pt x="10" y="47"/>
                  </a:cubicBezTo>
                  <a:cubicBezTo>
                    <a:pt x="11" y="44"/>
                    <a:pt x="11" y="44"/>
                    <a:pt x="11" y="44"/>
                  </a:cubicBezTo>
                  <a:cubicBezTo>
                    <a:pt x="12" y="44"/>
                    <a:pt x="12" y="44"/>
                    <a:pt x="13" y="44"/>
                  </a:cubicBezTo>
                  <a:cubicBezTo>
                    <a:pt x="12" y="45"/>
                    <a:pt x="12" y="46"/>
                    <a:pt x="11" y="47"/>
                  </a:cubicBezTo>
                  <a:cubicBezTo>
                    <a:pt x="11" y="47"/>
                    <a:pt x="10" y="47"/>
                    <a:pt x="9" y="47"/>
                  </a:cubicBezTo>
                  <a:cubicBezTo>
                    <a:pt x="9" y="47"/>
                    <a:pt x="9" y="47"/>
                    <a:pt x="9" y="47"/>
                  </a:cubicBezTo>
                  <a:moveTo>
                    <a:pt x="5" y="48"/>
                  </a:moveTo>
                  <a:cubicBezTo>
                    <a:pt x="6" y="47"/>
                    <a:pt x="7" y="45"/>
                    <a:pt x="7" y="44"/>
                  </a:cubicBezTo>
                  <a:cubicBezTo>
                    <a:pt x="8" y="44"/>
                    <a:pt x="8" y="44"/>
                    <a:pt x="9" y="43"/>
                  </a:cubicBezTo>
                  <a:cubicBezTo>
                    <a:pt x="7" y="47"/>
                    <a:pt x="7" y="47"/>
                    <a:pt x="7" y="47"/>
                  </a:cubicBezTo>
                  <a:cubicBezTo>
                    <a:pt x="7" y="47"/>
                    <a:pt x="7" y="47"/>
                    <a:pt x="7" y="47"/>
                  </a:cubicBezTo>
                  <a:cubicBezTo>
                    <a:pt x="6" y="48"/>
                    <a:pt x="6" y="48"/>
                    <a:pt x="5" y="48"/>
                  </a:cubicBezTo>
                  <a:moveTo>
                    <a:pt x="7" y="47"/>
                  </a:moveTo>
                  <a:cubicBezTo>
                    <a:pt x="9" y="43"/>
                    <a:pt x="9" y="43"/>
                    <a:pt x="9" y="43"/>
                  </a:cubicBezTo>
                  <a:cubicBezTo>
                    <a:pt x="10" y="43"/>
                    <a:pt x="10" y="44"/>
                    <a:pt x="10" y="44"/>
                  </a:cubicBezTo>
                  <a:cubicBezTo>
                    <a:pt x="9" y="47"/>
                    <a:pt x="9" y="47"/>
                    <a:pt x="9" y="47"/>
                  </a:cubicBezTo>
                  <a:cubicBezTo>
                    <a:pt x="9" y="47"/>
                    <a:pt x="9" y="47"/>
                    <a:pt x="9" y="47"/>
                  </a:cubicBezTo>
                  <a:cubicBezTo>
                    <a:pt x="9" y="47"/>
                    <a:pt x="9" y="47"/>
                    <a:pt x="9" y="47"/>
                  </a:cubicBezTo>
                  <a:cubicBezTo>
                    <a:pt x="9" y="47"/>
                    <a:pt x="8" y="47"/>
                    <a:pt x="7" y="47"/>
                  </a:cubicBezTo>
                  <a:moveTo>
                    <a:pt x="2" y="46"/>
                  </a:moveTo>
                  <a:cubicBezTo>
                    <a:pt x="2" y="45"/>
                    <a:pt x="2" y="45"/>
                    <a:pt x="2" y="45"/>
                  </a:cubicBezTo>
                  <a:cubicBezTo>
                    <a:pt x="2" y="44"/>
                    <a:pt x="2" y="43"/>
                    <a:pt x="3" y="42"/>
                  </a:cubicBezTo>
                  <a:cubicBezTo>
                    <a:pt x="3" y="42"/>
                    <a:pt x="3" y="43"/>
                    <a:pt x="4" y="43"/>
                  </a:cubicBezTo>
                  <a:cubicBezTo>
                    <a:pt x="3" y="44"/>
                    <a:pt x="3" y="45"/>
                    <a:pt x="2" y="46"/>
                  </a:cubicBezTo>
                  <a:moveTo>
                    <a:pt x="1" y="44"/>
                  </a:moveTo>
                  <a:cubicBezTo>
                    <a:pt x="1" y="44"/>
                    <a:pt x="1" y="44"/>
                    <a:pt x="1" y="44"/>
                  </a:cubicBezTo>
                  <a:cubicBezTo>
                    <a:pt x="1" y="43"/>
                    <a:pt x="1" y="43"/>
                    <a:pt x="1" y="43"/>
                  </a:cubicBezTo>
                  <a:cubicBezTo>
                    <a:pt x="1" y="43"/>
                    <a:pt x="1" y="43"/>
                    <a:pt x="1" y="43"/>
                  </a:cubicBezTo>
                  <a:cubicBezTo>
                    <a:pt x="1" y="43"/>
                    <a:pt x="1" y="43"/>
                    <a:pt x="1" y="43"/>
                  </a:cubicBezTo>
                  <a:cubicBezTo>
                    <a:pt x="1" y="42"/>
                    <a:pt x="2" y="41"/>
                    <a:pt x="2" y="41"/>
                  </a:cubicBezTo>
                  <a:cubicBezTo>
                    <a:pt x="2" y="41"/>
                    <a:pt x="2" y="41"/>
                    <a:pt x="2" y="41"/>
                  </a:cubicBezTo>
                  <a:cubicBezTo>
                    <a:pt x="3" y="41"/>
                    <a:pt x="3" y="41"/>
                    <a:pt x="3" y="41"/>
                  </a:cubicBezTo>
                  <a:cubicBezTo>
                    <a:pt x="2" y="42"/>
                    <a:pt x="2" y="43"/>
                    <a:pt x="1" y="44"/>
                  </a:cubicBezTo>
                  <a:moveTo>
                    <a:pt x="1" y="42"/>
                  </a:moveTo>
                  <a:cubicBezTo>
                    <a:pt x="1" y="42"/>
                    <a:pt x="1" y="41"/>
                    <a:pt x="1" y="41"/>
                  </a:cubicBezTo>
                  <a:cubicBezTo>
                    <a:pt x="1" y="41"/>
                    <a:pt x="1" y="41"/>
                    <a:pt x="1" y="41"/>
                  </a:cubicBezTo>
                  <a:cubicBezTo>
                    <a:pt x="1" y="40"/>
                    <a:pt x="1" y="40"/>
                    <a:pt x="1" y="39"/>
                  </a:cubicBezTo>
                  <a:cubicBezTo>
                    <a:pt x="1" y="40"/>
                    <a:pt x="2" y="40"/>
                    <a:pt x="2" y="40"/>
                  </a:cubicBezTo>
                  <a:cubicBezTo>
                    <a:pt x="1" y="41"/>
                    <a:pt x="1" y="42"/>
                    <a:pt x="1" y="42"/>
                  </a:cubicBezTo>
                  <a:moveTo>
                    <a:pt x="23" y="31"/>
                  </a:moveTo>
                  <a:cubicBezTo>
                    <a:pt x="22" y="31"/>
                    <a:pt x="22" y="31"/>
                    <a:pt x="22" y="31"/>
                  </a:cubicBezTo>
                  <a:cubicBezTo>
                    <a:pt x="22" y="31"/>
                    <a:pt x="22" y="31"/>
                    <a:pt x="22" y="31"/>
                  </a:cubicBezTo>
                  <a:cubicBezTo>
                    <a:pt x="23" y="30"/>
                    <a:pt x="23" y="29"/>
                    <a:pt x="23" y="29"/>
                  </a:cubicBezTo>
                  <a:cubicBezTo>
                    <a:pt x="23" y="29"/>
                    <a:pt x="23" y="29"/>
                    <a:pt x="23" y="29"/>
                  </a:cubicBezTo>
                  <a:cubicBezTo>
                    <a:pt x="24" y="29"/>
                    <a:pt x="24" y="29"/>
                    <a:pt x="24" y="29"/>
                  </a:cubicBezTo>
                  <a:cubicBezTo>
                    <a:pt x="23" y="30"/>
                    <a:pt x="23" y="30"/>
                    <a:pt x="23" y="31"/>
                  </a:cubicBezTo>
                  <a:moveTo>
                    <a:pt x="22" y="31"/>
                  </a:moveTo>
                  <a:cubicBezTo>
                    <a:pt x="21" y="31"/>
                    <a:pt x="21" y="31"/>
                    <a:pt x="21" y="31"/>
                  </a:cubicBezTo>
                  <a:cubicBezTo>
                    <a:pt x="21" y="30"/>
                    <a:pt x="22" y="29"/>
                    <a:pt x="22" y="29"/>
                  </a:cubicBezTo>
                  <a:cubicBezTo>
                    <a:pt x="23" y="29"/>
                    <a:pt x="23" y="29"/>
                    <a:pt x="23" y="29"/>
                  </a:cubicBezTo>
                  <a:cubicBezTo>
                    <a:pt x="23" y="29"/>
                    <a:pt x="22" y="30"/>
                    <a:pt x="22" y="31"/>
                  </a:cubicBezTo>
                  <a:cubicBezTo>
                    <a:pt x="22" y="31"/>
                    <a:pt x="22" y="31"/>
                    <a:pt x="22" y="31"/>
                  </a:cubicBezTo>
                  <a:moveTo>
                    <a:pt x="20" y="31"/>
                  </a:moveTo>
                  <a:cubicBezTo>
                    <a:pt x="19" y="31"/>
                    <a:pt x="19" y="31"/>
                    <a:pt x="18" y="31"/>
                  </a:cubicBezTo>
                  <a:cubicBezTo>
                    <a:pt x="19" y="30"/>
                    <a:pt x="19" y="30"/>
                    <a:pt x="19" y="30"/>
                  </a:cubicBezTo>
                  <a:cubicBezTo>
                    <a:pt x="19" y="30"/>
                    <a:pt x="20" y="29"/>
                    <a:pt x="20" y="28"/>
                  </a:cubicBezTo>
                  <a:cubicBezTo>
                    <a:pt x="20" y="28"/>
                    <a:pt x="21" y="28"/>
                    <a:pt x="22" y="29"/>
                  </a:cubicBezTo>
                  <a:cubicBezTo>
                    <a:pt x="21" y="29"/>
                    <a:pt x="20" y="30"/>
                    <a:pt x="20" y="31"/>
                  </a:cubicBezTo>
                  <a:moveTo>
                    <a:pt x="18" y="31"/>
                  </a:moveTo>
                  <a:cubicBezTo>
                    <a:pt x="17" y="31"/>
                    <a:pt x="17" y="31"/>
                    <a:pt x="16" y="31"/>
                  </a:cubicBezTo>
                  <a:cubicBezTo>
                    <a:pt x="17" y="30"/>
                    <a:pt x="17" y="29"/>
                    <a:pt x="18" y="28"/>
                  </a:cubicBezTo>
                  <a:cubicBezTo>
                    <a:pt x="18" y="28"/>
                    <a:pt x="18" y="28"/>
                    <a:pt x="18" y="28"/>
                  </a:cubicBezTo>
                  <a:cubicBezTo>
                    <a:pt x="18" y="28"/>
                    <a:pt x="19" y="28"/>
                    <a:pt x="19" y="28"/>
                  </a:cubicBezTo>
                  <a:cubicBezTo>
                    <a:pt x="19" y="29"/>
                    <a:pt x="19" y="29"/>
                    <a:pt x="18" y="30"/>
                  </a:cubicBezTo>
                  <a:cubicBezTo>
                    <a:pt x="18" y="30"/>
                    <a:pt x="18" y="31"/>
                    <a:pt x="18" y="31"/>
                  </a:cubicBezTo>
                  <a:moveTo>
                    <a:pt x="2" y="30"/>
                  </a:moveTo>
                  <a:cubicBezTo>
                    <a:pt x="2" y="29"/>
                    <a:pt x="2" y="29"/>
                    <a:pt x="2" y="28"/>
                  </a:cubicBezTo>
                  <a:cubicBezTo>
                    <a:pt x="3" y="28"/>
                    <a:pt x="3" y="28"/>
                    <a:pt x="3" y="28"/>
                  </a:cubicBezTo>
                  <a:cubicBezTo>
                    <a:pt x="3" y="28"/>
                    <a:pt x="3" y="28"/>
                    <a:pt x="3" y="28"/>
                  </a:cubicBezTo>
                  <a:cubicBezTo>
                    <a:pt x="3" y="29"/>
                    <a:pt x="3" y="29"/>
                    <a:pt x="3" y="29"/>
                  </a:cubicBezTo>
                  <a:cubicBezTo>
                    <a:pt x="2" y="30"/>
                    <a:pt x="2" y="30"/>
                    <a:pt x="2" y="30"/>
                  </a:cubicBezTo>
                  <a:moveTo>
                    <a:pt x="16" y="30"/>
                  </a:moveTo>
                  <a:cubicBezTo>
                    <a:pt x="16" y="30"/>
                    <a:pt x="16" y="29"/>
                    <a:pt x="16" y="28"/>
                  </a:cubicBezTo>
                  <a:cubicBezTo>
                    <a:pt x="17" y="28"/>
                    <a:pt x="17" y="28"/>
                    <a:pt x="17" y="28"/>
                  </a:cubicBezTo>
                  <a:cubicBezTo>
                    <a:pt x="17" y="29"/>
                    <a:pt x="16" y="30"/>
                    <a:pt x="16" y="30"/>
                  </a:cubicBezTo>
                  <a:moveTo>
                    <a:pt x="3" y="31"/>
                  </a:moveTo>
                  <a:cubicBezTo>
                    <a:pt x="3" y="31"/>
                    <a:pt x="3" y="31"/>
                    <a:pt x="3" y="31"/>
                  </a:cubicBezTo>
                  <a:cubicBezTo>
                    <a:pt x="3" y="30"/>
                    <a:pt x="3" y="29"/>
                    <a:pt x="4" y="28"/>
                  </a:cubicBezTo>
                  <a:cubicBezTo>
                    <a:pt x="4" y="28"/>
                    <a:pt x="4" y="28"/>
                    <a:pt x="4" y="28"/>
                  </a:cubicBezTo>
                  <a:cubicBezTo>
                    <a:pt x="3" y="31"/>
                    <a:pt x="3" y="31"/>
                    <a:pt x="3" y="31"/>
                  </a:cubicBezTo>
                  <a:cubicBezTo>
                    <a:pt x="3" y="31"/>
                    <a:pt x="3" y="31"/>
                    <a:pt x="3" y="31"/>
                  </a:cubicBezTo>
                  <a:cubicBezTo>
                    <a:pt x="3" y="31"/>
                    <a:pt x="3" y="31"/>
                    <a:pt x="3" y="31"/>
                  </a:cubicBezTo>
                  <a:moveTo>
                    <a:pt x="4" y="31"/>
                  </a:moveTo>
                  <a:cubicBezTo>
                    <a:pt x="5" y="28"/>
                    <a:pt x="5" y="28"/>
                    <a:pt x="5" y="28"/>
                  </a:cubicBezTo>
                  <a:cubicBezTo>
                    <a:pt x="5" y="28"/>
                    <a:pt x="6" y="28"/>
                    <a:pt x="6" y="28"/>
                  </a:cubicBezTo>
                  <a:cubicBezTo>
                    <a:pt x="6" y="29"/>
                    <a:pt x="5" y="30"/>
                    <a:pt x="5" y="31"/>
                  </a:cubicBezTo>
                  <a:cubicBezTo>
                    <a:pt x="5" y="31"/>
                    <a:pt x="5" y="31"/>
                    <a:pt x="5" y="31"/>
                  </a:cubicBezTo>
                  <a:cubicBezTo>
                    <a:pt x="5" y="31"/>
                    <a:pt x="5" y="31"/>
                    <a:pt x="5" y="31"/>
                  </a:cubicBezTo>
                  <a:cubicBezTo>
                    <a:pt x="4" y="31"/>
                    <a:pt x="4" y="31"/>
                    <a:pt x="4" y="31"/>
                  </a:cubicBezTo>
                  <a:moveTo>
                    <a:pt x="5" y="31"/>
                  </a:moveTo>
                  <a:cubicBezTo>
                    <a:pt x="6" y="30"/>
                    <a:pt x="7" y="29"/>
                    <a:pt x="7" y="28"/>
                  </a:cubicBezTo>
                  <a:cubicBezTo>
                    <a:pt x="8" y="28"/>
                    <a:pt x="8" y="28"/>
                    <a:pt x="8" y="28"/>
                  </a:cubicBezTo>
                  <a:cubicBezTo>
                    <a:pt x="8" y="29"/>
                    <a:pt x="7" y="30"/>
                    <a:pt x="7" y="31"/>
                  </a:cubicBezTo>
                  <a:cubicBezTo>
                    <a:pt x="6" y="31"/>
                    <a:pt x="6" y="31"/>
                    <a:pt x="5" y="31"/>
                  </a:cubicBezTo>
                  <a:moveTo>
                    <a:pt x="7" y="21"/>
                  </a:moveTo>
                  <a:cubicBezTo>
                    <a:pt x="7" y="20"/>
                    <a:pt x="7" y="19"/>
                    <a:pt x="7" y="18"/>
                  </a:cubicBezTo>
                  <a:cubicBezTo>
                    <a:pt x="7" y="19"/>
                    <a:pt x="7" y="20"/>
                    <a:pt x="7" y="21"/>
                  </a:cubicBezTo>
                  <a:cubicBezTo>
                    <a:pt x="7" y="21"/>
                    <a:pt x="7" y="21"/>
                    <a:pt x="7" y="21"/>
                  </a:cubicBezTo>
                  <a:moveTo>
                    <a:pt x="28" y="16"/>
                  </a:moveTo>
                  <a:cubicBezTo>
                    <a:pt x="28" y="15"/>
                    <a:pt x="28" y="15"/>
                    <a:pt x="28" y="15"/>
                  </a:cubicBezTo>
                  <a:cubicBezTo>
                    <a:pt x="28" y="15"/>
                    <a:pt x="28" y="15"/>
                    <a:pt x="28" y="15"/>
                  </a:cubicBezTo>
                  <a:cubicBezTo>
                    <a:pt x="28" y="16"/>
                    <a:pt x="28" y="16"/>
                    <a:pt x="28" y="16"/>
                  </a:cubicBezTo>
                  <a:moveTo>
                    <a:pt x="22" y="17"/>
                  </a:moveTo>
                  <a:cubicBezTo>
                    <a:pt x="22" y="16"/>
                    <a:pt x="22" y="15"/>
                    <a:pt x="22" y="15"/>
                  </a:cubicBezTo>
                  <a:cubicBezTo>
                    <a:pt x="23" y="15"/>
                    <a:pt x="23" y="15"/>
                    <a:pt x="23" y="15"/>
                  </a:cubicBezTo>
                  <a:cubicBezTo>
                    <a:pt x="22" y="15"/>
                    <a:pt x="22" y="16"/>
                    <a:pt x="22" y="17"/>
                  </a:cubicBezTo>
                  <a:moveTo>
                    <a:pt x="22" y="18"/>
                  </a:moveTo>
                  <a:cubicBezTo>
                    <a:pt x="22" y="17"/>
                    <a:pt x="23" y="15"/>
                    <a:pt x="24" y="14"/>
                  </a:cubicBezTo>
                  <a:cubicBezTo>
                    <a:pt x="25" y="14"/>
                    <a:pt x="25" y="14"/>
                    <a:pt x="25" y="14"/>
                  </a:cubicBezTo>
                  <a:cubicBezTo>
                    <a:pt x="24" y="15"/>
                    <a:pt x="23" y="16"/>
                    <a:pt x="23" y="17"/>
                  </a:cubicBezTo>
                  <a:cubicBezTo>
                    <a:pt x="23" y="17"/>
                    <a:pt x="23" y="17"/>
                    <a:pt x="23" y="17"/>
                  </a:cubicBezTo>
                  <a:cubicBezTo>
                    <a:pt x="23" y="17"/>
                    <a:pt x="22" y="17"/>
                    <a:pt x="22" y="18"/>
                  </a:cubicBezTo>
                  <a:moveTo>
                    <a:pt x="21" y="15"/>
                  </a:moveTo>
                  <a:cubicBezTo>
                    <a:pt x="20" y="14"/>
                    <a:pt x="20" y="14"/>
                    <a:pt x="20" y="14"/>
                  </a:cubicBezTo>
                  <a:cubicBezTo>
                    <a:pt x="20" y="14"/>
                    <a:pt x="20" y="14"/>
                    <a:pt x="20" y="14"/>
                  </a:cubicBezTo>
                  <a:cubicBezTo>
                    <a:pt x="21" y="14"/>
                    <a:pt x="21" y="14"/>
                    <a:pt x="21" y="14"/>
                  </a:cubicBezTo>
                  <a:cubicBezTo>
                    <a:pt x="21" y="14"/>
                    <a:pt x="21" y="14"/>
                    <a:pt x="21" y="14"/>
                  </a:cubicBezTo>
                  <a:cubicBezTo>
                    <a:pt x="21" y="14"/>
                    <a:pt x="21" y="14"/>
                    <a:pt x="21" y="14"/>
                  </a:cubicBezTo>
                  <a:cubicBezTo>
                    <a:pt x="21" y="15"/>
                    <a:pt x="21" y="15"/>
                    <a:pt x="21" y="15"/>
                  </a:cubicBezTo>
                  <a:moveTo>
                    <a:pt x="27" y="16"/>
                  </a:moveTo>
                  <a:cubicBezTo>
                    <a:pt x="28" y="14"/>
                    <a:pt x="28" y="14"/>
                    <a:pt x="28" y="14"/>
                  </a:cubicBezTo>
                  <a:cubicBezTo>
                    <a:pt x="29" y="13"/>
                    <a:pt x="29" y="13"/>
                    <a:pt x="29" y="13"/>
                  </a:cubicBezTo>
                  <a:cubicBezTo>
                    <a:pt x="28" y="14"/>
                    <a:pt x="28" y="14"/>
                    <a:pt x="28" y="15"/>
                  </a:cubicBezTo>
                  <a:cubicBezTo>
                    <a:pt x="28" y="15"/>
                    <a:pt x="28" y="15"/>
                    <a:pt x="28" y="15"/>
                  </a:cubicBezTo>
                  <a:cubicBezTo>
                    <a:pt x="27" y="16"/>
                    <a:pt x="27" y="16"/>
                    <a:pt x="27" y="16"/>
                  </a:cubicBezTo>
                  <a:cubicBezTo>
                    <a:pt x="27" y="16"/>
                    <a:pt x="27" y="16"/>
                    <a:pt x="27" y="16"/>
                  </a:cubicBezTo>
                  <a:cubicBezTo>
                    <a:pt x="27" y="16"/>
                    <a:pt x="27" y="16"/>
                    <a:pt x="27" y="16"/>
                  </a:cubicBezTo>
                  <a:moveTo>
                    <a:pt x="24" y="17"/>
                  </a:moveTo>
                  <a:cubicBezTo>
                    <a:pt x="24" y="16"/>
                    <a:pt x="25" y="15"/>
                    <a:pt x="25" y="14"/>
                  </a:cubicBezTo>
                  <a:cubicBezTo>
                    <a:pt x="25" y="14"/>
                    <a:pt x="25" y="14"/>
                    <a:pt x="25" y="14"/>
                  </a:cubicBezTo>
                  <a:cubicBezTo>
                    <a:pt x="28" y="13"/>
                    <a:pt x="28" y="13"/>
                    <a:pt x="28" y="13"/>
                  </a:cubicBezTo>
                  <a:cubicBezTo>
                    <a:pt x="28" y="13"/>
                    <a:pt x="28" y="13"/>
                    <a:pt x="28" y="13"/>
                  </a:cubicBezTo>
                  <a:cubicBezTo>
                    <a:pt x="26" y="16"/>
                    <a:pt x="26" y="16"/>
                    <a:pt x="26" y="16"/>
                  </a:cubicBezTo>
                  <a:cubicBezTo>
                    <a:pt x="25" y="16"/>
                    <a:pt x="25" y="16"/>
                    <a:pt x="25" y="16"/>
                  </a:cubicBezTo>
                  <a:cubicBezTo>
                    <a:pt x="26" y="16"/>
                    <a:pt x="26" y="15"/>
                    <a:pt x="26" y="14"/>
                  </a:cubicBezTo>
                  <a:cubicBezTo>
                    <a:pt x="26" y="14"/>
                    <a:pt x="26" y="14"/>
                    <a:pt x="26" y="14"/>
                  </a:cubicBezTo>
                  <a:cubicBezTo>
                    <a:pt x="26" y="14"/>
                    <a:pt x="26" y="14"/>
                    <a:pt x="26" y="14"/>
                  </a:cubicBezTo>
                  <a:cubicBezTo>
                    <a:pt x="25" y="15"/>
                    <a:pt x="25" y="16"/>
                    <a:pt x="24" y="17"/>
                  </a:cubicBezTo>
                  <a:cubicBezTo>
                    <a:pt x="24" y="17"/>
                    <a:pt x="24" y="17"/>
                    <a:pt x="24" y="17"/>
                  </a:cubicBezTo>
                  <a:moveTo>
                    <a:pt x="20" y="14"/>
                  </a:moveTo>
                  <a:cubicBezTo>
                    <a:pt x="19" y="13"/>
                    <a:pt x="19" y="13"/>
                    <a:pt x="19" y="13"/>
                  </a:cubicBezTo>
                  <a:cubicBezTo>
                    <a:pt x="21" y="11"/>
                    <a:pt x="21" y="11"/>
                    <a:pt x="21" y="11"/>
                  </a:cubicBezTo>
                  <a:cubicBezTo>
                    <a:pt x="21" y="12"/>
                    <a:pt x="21" y="12"/>
                    <a:pt x="21" y="12"/>
                  </a:cubicBezTo>
                  <a:cubicBezTo>
                    <a:pt x="21" y="12"/>
                    <a:pt x="21" y="12"/>
                    <a:pt x="21" y="12"/>
                  </a:cubicBezTo>
                  <a:cubicBezTo>
                    <a:pt x="21" y="13"/>
                    <a:pt x="20" y="13"/>
                    <a:pt x="20" y="14"/>
                  </a:cubicBezTo>
                  <a:moveTo>
                    <a:pt x="14" y="14"/>
                  </a:moveTo>
                  <a:cubicBezTo>
                    <a:pt x="14" y="13"/>
                    <a:pt x="14" y="13"/>
                    <a:pt x="14" y="13"/>
                  </a:cubicBezTo>
                  <a:cubicBezTo>
                    <a:pt x="14" y="12"/>
                    <a:pt x="15" y="12"/>
                    <a:pt x="15" y="11"/>
                  </a:cubicBezTo>
                  <a:cubicBezTo>
                    <a:pt x="15" y="12"/>
                    <a:pt x="15" y="13"/>
                    <a:pt x="14" y="14"/>
                  </a:cubicBezTo>
                  <a:cubicBezTo>
                    <a:pt x="14" y="14"/>
                    <a:pt x="14" y="14"/>
                    <a:pt x="14" y="14"/>
                  </a:cubicBezTo>
                  <a:moveTo>
                    <a:pt x="19" y="13"/>
                  </a:moveTo>
                  <a:cubicBezTo>
                    <a:pt x="19" y="13"/>
                    <a:pt x="19" y="13"/>
                    <a:pt x="19" y="13"/>
                  </a:cubicBezTo>
                  <a:cubicBezTo>
                    <a:pt x="18" y="13"/>
                    <a:pt x="18" y="13"/>
                    <a:pt x="18" y="13"/>
                  </a:cubicBezTo>
                  <a:cubicBezTo>
                    <a:pt x="20" y="10"/>
                    <a:pt x="20" y="10"/>
                    <a:pt x="20" y="10"/>
                  </a:cubicBezTo>
                  <a:cubicBezTo>
                    <a:pt x="20" y="10"/>
                    <a:pt x="20" y="10"/>
                    <a:pt x="20" y="10"/>
                  </a:cubicBezTo>
                  <a:cubicBezTo>
                    <a:pt x="21" y="11"/>
                    <a:pt x="21" y="11"/>
                    <a:pt x="21" y="11"/>
                  </a:cubicBezTo>
                  <a:cubicBezTo>
                    <a:pt x="20" y="11"/>
                    <a:pt x="20" y="11"/>
                    <a:pt x="20" y="11"/>
                  </a:cubicBezTo>
                  <a:cubicBezTo>
                    <a:pt x="19" y="13"/>
                    <a:pt x="19" y="13"/>
                    <a:pt x="19" y="13"/>
                  </a:cubicBezTo>
                  <a:moveTo>
                    <a:pt x="14" y="15"/>
                  </a:moveTo>
                  <a:cubicBezTo>
                    <a:pt x="14" y="15"/>
                    <a:pt x="14" y="15"/>
                    <a:pt x="14" y="15"/>
                  </a:cubicBezTo>
                  <a:cubicBezTo>
                    <a:pt x="15" y="14"/>
                    <a:pt x="15" y="14"/>
                    <a:pt x="15" y="14"/>
                  </a:cubicBezTo>
                  <a:cubicBezTo>
                    <a:pt x="15" y="13"/>
                    <a:pt x="16" y="12"/>
                    <a:pt x="16" y="11"/>
                  </a:cubicBezTo>
                  <a:cubicBezTo>
                    <a:pt x="16" y="11"/>
                    <a:pt x="16" y="11"/>
                    <a:pt x="16" y="11"/>
                  </a:cubicBezTo>
                  <a:cubicBezTo>
                    <a:pt x="16" y="10"/>
                    <a:pt x="17" y="10"/>
                    <a:pt x="17" y="10"/>
                  </a:cubicBezTo>
                  <a:cubicBezTo>
                    <a:pt x="16" y="11"/>
                    <a:pt x="16" y="13"/>
                    <a:pt x="15" y="14"/>
                  </a:cubicBezTo>
                  <a:cubicBezTo>
                    <a:pt x="15" y="14"/>
                    <a:pt x="15" y="15"/>
                    <a:pt x="14" y="15"/>
                  </a:cubicBezTo>
                  <a:moveTo>
                    <a:pt x="16" y="13"/>
                  </a:moveTo>
                  <a:cubicBezTo>
                    <a:pt x="17" y="12"/>
                    <a:pt x="17" y="11"/>
                    <a:pt x="18" y="10"/>
                  </a:cubicBezTo>
                  <a:cubicBezTo>
                    <a:pt x="18" y="10"/>
                    <a:pt x="18" y="10"/>
                    <a:pt x="18" y="10"/>
                  </a:cubicBezTo>
                  <a:cubicBezTo>
                    <a:pt x="18" y="10"/>
                    <a:pt x="18" y="10"/>
                    <a:pt x="18" y="10"/>
                  </a:cubicBezTo>
                  <a:cubicBezTo>
                    <a:pt x="19" y="10"/>
                    <a:pt x="19" y="10"/>
                    <a:pt x="19" y="10"/>
                  </a:cubicBezTo>
                  <a:cubicBezTo>
                    <a:pt x="18" y="13"/>
                    <a:pt x="18" y="13"/>
                    <a:pt x="18" y="13"/>
                  </a:cubicBezTo>
                  <a:cubicBezTo>
                    <a:pt x="17" y="13"/>
                    <a:pt x="17" y="13"/>
                    <a:pt x="17" y="13"/>
                  </a:cubicBezTo>
                  <a:cubicBezTo>
                    <a:pt x="16" y="13"/>
                    <a:pt x="16" y="13"/>
                    <a:pt x="16" y="13"/>
                  </a:cubicBezTo>
                  <a:moveTo>
                    <a:pt x="8" y="22"/>
                  </a:moveTo>
                  <a:cubicBezTo>
                    <a:pt x="8" y="21"/>
                    <a:pt x="8" y="21"/>
                    <a:pt x="8" y="21"/>
                  </a:cubicBezTo>
                  <a:cubicBezTo>
                    <a:pt x="8" y="19"/>
                    <a:pt x="6" y="12"/>
                    <a:pt x="7" y="8"/>
                  </a:cubicBezTo>
                  <a:cubicBezTo>
                    <a:pt x="7" y="6"/>
                    <a:pt x="10" y="3"/>
                    <a:pt x="12" y="2"/>
                  </a:cubicBezTo>
                  <a:cubicBezTo>
                    <a:pt x="13" y="2"/>
                    <a:pt x="15" y="1"/>
                    <a:pt x="17" y="1"/>
                  </a:cubicBezTo>
                  <a:cubicBezTo>
                    <a:pt x="19" y="1"/>
                    <a:pt x="22" y="2"/>
                    <a:pt x="24" y="3"/>
                  </a:cubicBezTo>
                  <a:cubicBezTo>
                    <a:pt x="27" y="5"/>
                    <a:pt x="28" y="8"/>
                    <a:pt x="29" y="12"/>
                  </a:cubicBezTo>
                  <a:cubicBezTo>
                    <a:pt x="22" y="14"/>
                    <a:pt x="22" y="14"/>
                    <a:pt x="22" y="14"/>
                  </a:cubicBezTo>
                  <a:cubicBezTo>
                    <a:pt x="22" y="12"/>
                    <a:pt x="22" y="10"/>
                    <a:pt x="21" y="9"/>
                  </a:cubicBezTo>
                  <a:cubicBezTo>
                    <a:pt x="20" y="9"/>
                    <a:pt x="19" y="9"/>
                    <a:pt x="19" y="9"/>
                  </a:cubicBezTo>
                  <a:cubicBezTo>
                    <a:pt x="18" y="9"/>
                    <a:pt x="18" y="9"/>
                    <a:pt x="18" y="9"/>
                  </a:cubicBezTo>
                  <a:cubicBezTo>
                    <a:pt x="16" y="9"/>
                    <a:pt x="14" y="10"/>
                    <a:pt x="13" y="12"/>
                  </a:cubicBezTo>
                  <a:cubicBezTo>
                    <a:pt x="13" y="13"/>
                    <a:pt x="13" y="14"/>
                    <a:pt x="13" y="15"/>
                  </a:cubicBezTo>
                  <a:cubicBezTo>
                    <a:pt x="13" y="16"/>
                    <a:pt x="13" y="16"/>
                    <a:pt x="13" y="16"/>
                  </a:cubicBezTo>
                  <a:cubicBezTo>
                    <a:pt x="13" y="16"/>
                    <a:pt x="13" y="16"/>
                    <a:pt x="13" y="16"/>
                  </a:cubicBezTo>
                  <a:cubicBezTo>
                    <a:pt x="13" y="16"/>
                    <a:pt x="13" y="16"/>
                    <a:pt x="13" y="16"/>
                  </a:cubicBezTo>
                  <a:cubicBezTo>
                    <a:pt x="13" y="16"/>
                    <a:pt x="14" y="17"/>
                    <a:pt x="14" y="17"/>
                  </a:cubicBezTo>
                  <a:cubicBezTo>
                    <a:pt x="14" y="19"/>
                    <a:pt x="14" y="21"/>
                    <a:pt x="15" y="22"/>
                  </a:cubicBezTo>
                  <a:cubicBezTo>
                    <a:pt x="15" y="22"/>
                    <a:pt x="15" y="22"/>
                    <a:pt x="15" y="22"/>
                  </a:cubicBezTo>
                  <a:cubicBezTo>
                    <a:pt x="16" y="23"/>
                    <a:pt x="16" y="23"/>
                    <a:pt x="16" y="23"/>
                  </a:cubicBezTo>
                  <a:cubicBezTo>
                    <a:pt x="24" y="22"/>
                    <a:pt x="24" y="22"/>
                    <a:pt x="24" y="22"/>
                  </a:cubicBezTo>
                  <a:cubicBezTo>
                    <a:pt x="24" y="24"/>
                    <a:pt x="24" y="26"/>
                    <a:pt x="24" y="28"/>
                  </a:cubicBezTo>
                  <a:cubicBezTo>
                    <a:pt x="22" y="27"/>
                    <a:pt x="20" y="27"/>
                    <a:pt x="18" y="27"/>
                  </a:cubicBezTo>
                  <a:cubicBezTo>
                    <a:pt x="17" y="27"/>
                    <a:pt x="16" y="27"/>
                    <a:pt x="16" y="27"/>
                  </a:cubicBezTo>
                  <a:cubicBezTo>
                    <a:pt x="15" y="28"/>
                    <a:pt x="15" y="28"/>
                    <a:pt x="15" y="28"/>
                  </a:cubicBezTo>
                  <a:cubicBezTo>
                    <a:pt x="15" y="28"/>
                    <a:pt x="15" y="28"/>
                    <a:pt x="15" y="28"/>
                  </a:cubicBezTo>
                  <a:cubicBezTo>
                    <a:pt x="15" y="28"/>
                    <a:pt x="15" y="28"/>
                    <a:pt x="15" y="28"/>
                  </a:cubicBezTo>
                  <a:cubicBezTo>
                    <a:pt x="15" y="31"/>
                    <a:pt x="14" y="34"/>
                    <a:pt x="12" y="36"/>
                  </a:cubicBezTo>
                  <a:cubicBezTo>
                    <a:pt x="12" y="37"/>
                    <a:pt x="12" y="37"/>
                    <a:pt x="12" y="37"/>
                  </a:cubicBezTo>
                  <a:cubicBezTo>
                    <a:pt x="13" y="37"/>
                    <a:pt x="17" y="39"/>
                    <a:pt x="23" y="39"/>
                  </a:cubicBezTo>
                  <a:cubicBezTo>
                    <a:pt x="25" y="39"/>
                    <a:pt x="27" y="39"/>
                    <a:pt x="29" y="38"/>
                  </a:cubicBezTo>
                  <a:cubicBezTo>
                    <a:pt x="30" y="40"/>
                    <a:pt x="30" y="41"/>
                    <a:pt x="31" y="43"/>
                  </a:cubicBezTo>
                  <a:cubicBezTo>
                    <a:pt x="31" y="43"/>
                    <a:pt x="31" y="43"/>
                    <a:pt x="31" y="43"/>
                  </a:cubicBezTo>
                  <a:cubicBezTo>
                    <a:pt x="29" y="44"/>
                    <a:pt x="27" y="45"/>
                    <a:pt x="24" y="45"/>
                  </a:cubicBezTo>
                  <a:cubicBezTo>
                    <a:pt x="22" y="45"/>
                    <a:pt x="20" y="45"/>
                    <a:pt x="18" y="44"/>
                  </a:cubicBezTo>
                  <a:cubicBezTo>
                    <a:pt x="14" y="43"/>
                    <a:pt x="11" y="42"/>
                    <a:pt x="9" y="42"/>
                  </a:cubicBezTo>
                  <a:cubicBezTo>
                    <a:pt x="7" y="42"/>
                    <a:pt x="6" y="43"/>
                    <a:pt x="5" y="44"/>
                  </a:cubicBezTo>
                  <a:cubicBezTo>
                    <a:pt x="5" y="42"/>
                    <a:pt x="4" y="41"/>
                    <a:pt x="3" y="40"/>
                  </a:cubicBezTo>
                  <a:cubicBezTo>
                    <a:pt x="3" y="40"/>
                    <a:pt x="2" y="39"/>
                    <a:pt x="2" y="38"/>
                  </a:cubicBezTo>
                  <a:cubicBezTo>
                    <a:pt x="1" y="38"/>
                    <a:pt x="1" y="38"/>
                    <a:pt x="1" y="38"/>
                  </a:cubicBezTo>
                  <a:cubicBezTo>
                    <a:pt x="2" y="37"/>
                    <a:pt x="2" y="37"/>
                    <a:pt x="2" y="37"/>
                  </a:cubicBezTo>
                  <a:cubicBezTo>
                    <a:pt x="4" y="36"/>
                    <a:pt x="6" y="34"/>
                    <a:pt x="7" y="32"/>
                  </a:cubicBezTo>
                  <a:cubicBezTo>
                    <a:pt x="7" y="32"/>
                    <a:pt x="7" y="32"/>
                    <a:pt x="7" y="32"/>
                  </a:cubicBezTo>
                  <a:cubicBezTo>
                    <a:pt x="8" y="31"/>
                    <a:pt x="9" y="29"/>
                    <a:pt x="9" y="28"/>
                  </a:cubicBezTo>
                  <a:cubicBezTo>
                    <a:pt x="9" y="27"/>
                    <a:pt x="9" y="27"/>
                    <a:pt x="9" y="27"/>
                  </a:cubicBezTo>
                  <a:cubicBezTo>
                    <a:pt x="9" y="27"/>
                    <a:pt x="9" y="27"/>
                    <a:pt x="9" y="27"/>
                  </a:cubicBezTo>
                  <a:cubicBezTo>
                    <a:pt x="9" y="27"/>
                    <a:pt x="9" y="27"/>
                    <a:pt x="9" y="27"/>
                  </a:cubicBezTo>
                  <a:cubicBezTo>
                    <a:pt x="9" y="27"/>
                    <a:pt x="9" y="27"/>
                    <a:pt x="9" y="27"/>
                  </a:cubicBezTo>
                  <a:cubicBezTo>
                    <a:pt x="9" y="27"/>
                    <a:pt x="9" y="27"/>
                    <a:pt x="9" y="27"/>
                  </a:cubicBezTo>
                  <a:cubicBezTo>
                    <a:pt x="9" y="27"/>
                    <a:pt x="9" y="27"/>
                    <a:pt x="9" y="27"/>
                  </a:cubicBezTo>
                  <a:cubicBezTo>
                    <a:pt x="8" y="27"/>
                    <a:pt x="8" y="27"/>
                    <a:pt x="8" y="27"/>
                  </a:cubicBezTo>
                  <a:cubicBezTo>
                    <a:pt x="8" y="27"/>
                    <a:pt x="8" y="27"/>
                    <a:pt x="8" y="27"/>
                  </a:cubicBezTo>
                  <a:cubicBezTo>
                    <a:pt x="6" y="27"/>
                    <a:pt x="5" y="27"/>
                    <a:pt x="2" y="27"/>
                  </a:cubicBezTo>
                  <a:cubicBezTo>
                    <a:pt x="3" y="22"/>
                    <a:pt x="3" y="22"/>
                    <a:pt x="3" y="22"/>
                  </a:cubicBezTo>
                  <a:cubicBezTo>
                    <a:pt x="8" y="22"/>
                    <a:pt x="8" y="22"/>
                    <a:pt x="8" y="22"/>
                  </a:cubicBezTo>
                  <a:cubicBezTo>
                    <a:pt x="8" y="22"/>
                    <a:pt x="8" y="22"/>
                    <a:pt x="8" y="22"/>
                  </a:cubicBezTo>
                  <a:cubicBezTo>
                    <a:pt x="8" y="22"/>
                    <a:pt x="8" y="22"/>
                    <a:pt x="8" y="22"/>
                  </a:cubicBezTo>
                  <a:moveTo>
                    <a:pt x="17" y="0"/>
                  </a:moveTo>
                  <a:cubicBezTo>
                    <a:pt x="15" y="0"/>
                    <a:pt x="13" y="0"/>
                    <a:pt x="12" y="1"/>
                  </a:cubicBezTo>
                  <a:cubicBezTo>
                    <a:pt x="9" y="2"/>
                    <a:pt x="6" y="5"/>
                    <a:pt x="6" y="8"/>
                  </a:cubicBezTo>
                  <a:cubicBezTo>
                    <a:pt x="6" y="9"/>
                    <a:pt x="6" y="9"/>
                    <a:pt x="6" y="9"/>
                  </a:cubicBezTo>
                  <a:cubicBezTo>
                    <a:pt x="6" y="9"/>
                    <a:pt x="6" y="9"/>
                    <a:pt x="6" y="9"/>
                  </a:cubicBezTo>
                  <a:cubicBezTo>
                    <a:pt x="5" y="12"/>
                    <a:pt x="5" y="17"/>
                    <a:pt x="6" y="21"/>
                  </a:cubicBezTo>
                  <a:cubicBezTo>
                    <a:pt x="2" y="21"/>
                    <a:pt x="2" y="21"/>
                    <a:pt x="2" y="21"/>
                  </a:cubicBezTo>
                  <a:cubicBezTo>
                    <a:pt x="1" y="21"/>
                    <a:pt x="1" y="21"/>
                    <a:pt x="1" y="21"/>
                  </a:cubicBezTo>
                  <a:cubicBezTo>
                    <a:pt x="1" y="27"/>
                    <a:pt x="1" y="27"/>
                    <a:pt x="1" y="27"/>
                  </a:cubicBezTo>
                  <a:cubicBezTo>
                    <a:pt x="1" y="28"/>
                    <a:pt x="1" y="28"/>
                    <a:pt x="1" y="28"/>
                  </a:cubicBezTo>
                  <a:cubicBezTo>
                    <a:pt x="1" y="29"/>
                    <a:pt x="1" y="30"/>
                    <a:pt x="1" y="32"/>
                  </a:cubicBezTo>
                  <a:cubicBezTo>
                    <a:pt x="2" y="32"/>
                    <a:pt x="2" y="32"/>
                    <a:pt x="2" y="32"/>
                  </a:cubicBezTo>
                  <a:cubicBezTo>
                    <a:pt x="2" y="32"/>
                    <a:pt x="2" y="32"/>
                    <a:pt x="2" y="32"/>
                  </a:cubicBezTo>
                  <a:cubicBezTo>
                    <a:pt x="2" y="32"/>
                    <a:pt x="2" y="32"/>
                    <a:pt x="2" y="32"/>
                  </a:cubicBezTo>
                  <a:cubicBezTo>
                    <a:pt x="2" y="32"/>
                    <a:pt x="2" y="32"/>
                    <a:pt x="2" y="32"/>
                  </a:cubicBezTo>
                  <a:cubicBezTo>
                    <a:pt x="3" y="32"/>
                    <a:pt x="4" y="32"/>
                    <a:pt x="5" y="32"/>
                  </a:cubicBezTo>
                  <a:cubicBezTo>
                    <a:pt x="5" y="32"/>
                    <a:pt x="5" y="32"/>
                    <a:pt x="6" y="32"/>
                  </a:cubicBezTo>
                  <a:cubicBezTo>
                    <a:pt x="5" y="34"/>
                    <a:pt x="3" y="35"/>
                    <a:pt x="1" y="36"/>
                  </a:cubicBezTo>
                  <a:cubicBezTo>
                    <a:pt x="1" y="37"/>
                    <a:pt x="1" y="37"/>
                    <a:pt x="1" y="37"/>
                  </a:cubicBezTo>
                  <a:cubicBezTo>
                    <a:pt x="1" y="37"/>
                    <a:pt x="1" y="37"/>
                    <a:pt x="1" y="37"/>
                  </a:cubicBezTo>
                  <a:cubicBezTo>
                    <a:pt x="0" y="37"/>
                    <a:pt x="0" y="37"/>
                    <a:pt x="0" y="37"/>
                  </a:cubicBezTo>
                  <a:cubicBezTo>
                    <a:pt x="0" y="39"/>
                    <a:pt x="0" y="39"/>
                    <a:pt x="0" y="40"/>
                  </a:cubicBezTo>
                  <a:cubicBezTo>
                    <a:pt x="0" y="41"/>
                    <a:pt x="0" y="41"/>
                    <a:pt x="0" y="41"/>
                  </a:cubicBezTo>
                  <a:cubicBezTo>
                    <a:pt x="0" y="41"/>
                    <a:pt x="0" y="42"/>
                    <a:pt x="0" y="43"/>
                  </a:cubicBezTo>
                  <a:cubicBezTo>
                    <a:pt x="0" y="43"/>
                    <a:pt x="0" y="44"/>
                    <a:pt x="0" y="44"/>
                  </a:cubicBezTo>
                  <a:cubicBezTo>
                    <a:pt x="1" y="45"/>
                    <a:pt x="1" y="46"/>
                    <a:pt x="2" y="47"/>
                  </a:cubicBezTo>
                  <a:cubicBezTo>
                    <a:pt x="2" y="48"/>
                    <a:pt x="3" y="49"/>
                    <a:pt x="3" y="50"/>
                  </a:cubicBezTo>
                  <a:cubicBezTo>
                    <a:pt x="3" y="50"/>
                    <a:pt x="3" y="50"/>
                    <a:pt x="3" y="50"/>
                  </a:cubicBezTo>
                  <a:cubicBezTo>
                    <a:pt x="4" y="50"/>
                    <a:pt x="4" y="50"/>
                    <a:pt x="4" y="50"/>
                  </a:cubicBezTo>
                  <a:cubicBezTo>
                    <a:pt x="4" y="50"/>
                    <a:pt x="4" y="50"/>
                    <a:pt x="4" y="50"/>
                  </a:cubicBezTo>
                  <a:cubicBezTo>
                    <a:pt x="5" y="49"/>
                    <a:pt x="8" y="48"/>
                    <a:pt x="10" y="48"/>
                  </a:cubicBezTo>
                  <a:cubicBezTo>
                    <a:pt x="10" y="48"/>
                    <a:pt x="11" y="48"/>
                    <a:pt x="12" y="48"/>
                  </a:cubicBezTo>
                  <a:cubicBezTo>
                    <a:pt x="12" y="48"/>
                    <a:pt x="12" y="48"/>
                    <a:pt x="13" y="48"/>
                  </a:cubicBezTo>
                  <a:cubicBezTo>
                    <a:pt x="14" y="48"/>
                    <a:pt x="15" y="49"/>
                    <a:pt x="16" y="49"/>
                  </a:cubicBezTo>
                  <a:cubicBezTo>
                    <a:pt x="16" y="49"/>
                    <a:pt x="17" y="49"/>
                    <a:pt x="17" y="49"/>
                  </a:cubicBezTo>
                  <a:cubicBezTo>
                    <a:pt x="19" y="50"/>
                    <a:pt x="22" y="51"/>
                    <a:pt x="25" y="51"/>
                  </a:cubicBezTo>
                  <a:cubicBezTo>
                    <a:pt x="27" y="51"/>
                    <a:pt x="28" y="51"/>
                    <a:pt x="30" y="50"/>
                  </a:cubicBezTo>
                  <a:cubicBezTo>
                    <a:pt x="30" y="50"/>
                    <a:pt x="30" y="50"/>
                    <a:pt x="30" y="50"/>
                  </a:cubicBezTo>
                  <a:cubicBezTo>
                    <a:pt x="31" y="50"/>
                    <a:pt x="31" y="50"/>
                    <a:pt x="31" y="50"/>
                  </a:cubicBezTo>
                  <a:cubicBezTo>
                    <a:pt x="31" y="50"/>
                    <a:pt x="31" y="50"/>
                    <a:pt x="31" y="50"/>
                  </a:cubicBezTo>
                  <a:cubicBezTo>
                    <a:pt x="31" y="49"/>
                    <a:pt x="31" y="49"/>
                    <a:pt x="31" y="49"/>
                  </a:cubicBezTo>
                  <a:cubicBezTo>
                    <a:pt x="31" y="48"/>
                    <a:pt x="31" y="48"/>
                    <a:pt x="31" y="48"/>
                  </a:cubicBezTo>
                  <a:cubicBezTo>
                    <a:pt x="32" y="47"/>
                    <a:pt x="32" y="46"/>
                    <a:pt x="32" y="44"/>
                  </a:cubicBezTo>
                  <a:cubicBezTo>
                    <a:pt x="32" y="44"/>
                    <a:pt x="32" y="44"/>
                    <a:pt x="32" y="44"/>
                  </a:cubicBezTo>
                  <a:cubicBezTo>
                    <a:pt x="32" y="44"/>
                    <a:pt x="32" y="44"/>
                    <a:pt x="32" y="44"/>
                  </a:cubicBezTo>
                  <a:cubicBezTo>
                    <a:pt x="32" y="43"/>
                    <a:pt x="32" y="43"/>
                    <a:pt x="32" y="43"/>
                  </a:cubicBezTo>
                  <a:cubicBezTo>
                    <a:pt x="32" y="43"/>
                    <a:pt x="32" y="43"/>
                    <a:pt x="32" y="43"/>
                  </a:cubicBezTo>
                  <a:cubicBezTo>
                    <a:pt x="32" y="43"/>
                    <a:pt x="32" y="43"/>
                    <a:pt x="32" y="43"/>
                  </a:cubicBezTo>
                  <a:cubicBezTo>
                    <a:pt x="31" y="41"/>
                    <a:pt x="31" y="40"/>
                    <a:pt x="31" y="38"/>
                  </a:cubicBezTo>
                  <a:cubicBezTo>
                    <a:pt x="30" y="37"/>
                    <a:pt x="30" y="37"/>
                    <a:pt x="30" y="37"/>
                  </a:cubicBezTo>
                  <a:cubicBezTo>
                    <a:pt x="30" y="37"/>
                    <a:pt x="30" y="37"/>
                    <a:pt x="30" y="37"/>
                  </a:cubicBezTo>
                  <a:cubicBezTo>
                    <a:pt x="27" y="38"/>
                    <a:pt x="25" y="38"/>
                    <a:pt x="23" y="38"/>
                  </a:cubicBezTo>
                  <a:cubicBezTo>
                    <a:pt x="18" y="38"/>
                    <a:pt x="15" y="37"/>
                    <a:pt x="13" y="36"/>
                  </a:cubicBezTo>
                  <a:cubicBezTo>
                    <a:pt x="14" y="35"/>
                    <a:pt x="15" y="34"/>
                    <a:pt x="16" y="32"/>
                  </a:cubicBezTo>
                  <a:cubicBezTo>
                    <a:pt x="19" y="32"/>
                    <a:pt x="21" y="32"/>
                    <a:pt x="23" y="32"/>
                  </a:cubicBezTo>
                  <a:cubicBezTo>
                    <a:pt x="24" y="32"/>
                    <a:pt x="24" y="32"/>
                    <a:pt x="24" y="32"/>
                  </a:cubicBezTo>
                  <a:cubicBezTo>
                    <a:pt x="24" y="32"/>
                    <a:pt x="24" y="32"/>
                    <a:pt x="24" y="32"/>
                  </a:cubicBezTo>
                  <a:cubicBezTo>
                    <a:pt x="24" y="32"/>
                    <a:pt x="24" y="32"/>
                    <a:pt x="24" y="32"/>
                  </a:cubicBezTo>
                  <a:cubicBezTo>
                    <a:pt x="24" y="31"/>
                    <a:pt x="25" y="30"/>
                    <a:pt x="25" y="29"/>
                  </a:cubicBezTo>
                  <a:cubicBezTo>
                    <a:pt x="25" y="29"/>
                    <a:pt x="25" y="29"/>
                    <a:pt x="25" y="29"/>
                  </a:cubicBezTo>
                  <a:cubicBezTo>
                    <a:pt x="25" y="28"/>
                    <a:pt x="25" y="28"/>
                    <a:pt x="25" y="28"/>
                  </a:cubicBezTo>
                  <a:cubicBezTo>
                    <a:pt x="25" y="26"/>
                    <a:pt x="25" y="24"/>
                    <a:pt x="25" y="22"/>
                  </a:cubicBezTo>
                  <a:cubicBezTo>
                    <a:pt x="25" y="22"/>
                    <a:pt x="25" y="22"/>
                    <a:pt x="25" y="22"/>
                  </a:cubicBezTo>
                  <a:cubicBezTo>
                    <a:pt x="25" y="21"/>
                    <a:pt x="25" y="21"/>
                    <a:pt x="25" y="21"/>
                  </a:cubicBezTo>
                  <a:cubicBezTo>
                    <a:pt x="16" y="21"/>
                    <a:pt x="16" y="21"/>
                    <a:pt x="16" y="21"/>
                  </a:cubicBezTo>
                  <a:cubicBezTo>
                    <a:pt x="15" y="21"/>
                    <a:pt x="15" y="19"/>
                    <a:pt x="15" y="18"/>
                  </a:cubicBezTo>
                  <a:cubicBezTo>
                    <a:pt x="15" y="17"/>
                    <a:pt x="15" y="17"/>
                    <a:pt x="15" y="17"/>
                  </a:cubicBezTo>
                  <a:cubicBezTo>
                    <a:pt x="15" y="16"/>
                    <a:pt x="16" y="14"/>
                    <a:pt x="17" y="14"/>
                  </a:cubicBezTo>
                  <a:cubicBezTo>
                    <a:pt x="17" y="14"/>
                    <a:pt x="18" y="14"/>
                    <a:pt x="18" y="14"/>
                  </a:cubicBezTo>
                  <a:cubicBezTo>
                    <a:pt x="18" y="14"/>
                    <a:pt x="18" y="14"/>
                    <a:pt x="18" y="14"/>
                  </a:cubicBezTo>
                  <a:cubicBezTo>
                    <a:pt x="19" y="14"/>
                    <a:pt x="19" y="14"/>
                    <a:pt x="19" y="15"/>
                  </a:cubicBezTo>
                  <a:cubicBezTo>
                    <a:pt x="20" y="15"/>
                    <a:pt x="20" y="16"/>
                    <a:pt x="20" y="17"/>
                  </a:cubicBezTo>
                  <a:cubicBezTo>
                    <a:pt x="20" y="18"/>
                    <a:pt x="20" y="18"/>
                    <a:pt x="20" y="18"/>
                  </a:cubicBezTo>
                  <a:cubicBezTo>
                    <a:pt x="21" y="19"/>
                    <a:pt x="21" y="19"/>
                    <a:pt x="21" y="19"/>
                  </a:cubicBezTo>
                  <a:cubicBezTo>
                    <a:pt x="21" y="19"/>
                    <a:pt x="21" y="19"/>
                    <a:pt x="21" y="19"/>
                  </a:cubicBezTo>
                  <a:cubicBezTo>
                    <a:pt x="21" y="19"/>
                    <a:pt x="21" y="19"/>
                    <a:pt x="21" y="19"/>
                  </a:cubicBezTo>
                  <a:cubicBezTo>
                    <a:pt x="21" y="19"/>
                    <a:pt x="21" y="19"/>
                    <a:pt x="21" y="19"/>
                  </a:cubicBezTo>
                  <a:cubicBezTo>
                    <a:pt x="22" y="19"/>
                    <a:pt x="22" y="19"/>
                    <a:pt x="22" y="19"/>
                  </a:cubicBezTo>
                  <a:cubicBezTo>
                    <a:pt x="24" y="18"/>
                    <a:pt x="26" y="17"/>
                    <a:pt x="29" y="16"/>
                  </a:cubicBezTo>
                  <a:cubicBezTo>
                    <a:pt x="29" y="16"/>
                    <a:pt x="29" y="16"/>
                    <a:pt x="29" y="16"/>
                  </a:cubicBezTo>
                  <a:cubicBezTo>
                    <a:pt x="29" y="16"/>
                    <a:pt x="29" y="16"/>
                    <a:pt x="29" y="16"/>
                  </a:cubicBezTo>
                  <a:cubicBezTo>
                    <a:pt x="30" y="15"/>
                    <a:pt x="30" y="13"/>
                    <a:pt x="30" y="12"/>
                  </a:cubicBezTo>
                  <a:cubicBezTo>
                    <a:pt x="30" y="12"/>
                    <a:pt x="30" y="12"/>
                    <a:pt x="30" y="12"/>
                  </a:cubicBezTo>
                  <a:cubicBezTo>
                    <a:pt x="29" y="7"/>
                    <a:pt x="27" y="4"/>
                    <a:pt x="24" y="2"/>
                  </a:cubicBezTo>
                  <a:cubicBezTo>
                    <a:pt x="22" y="1"/>
                    <a:pt x="19" y="0"/>
                    <a:pt x="17"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49" name="îṩļîḓê"/>
            <p:cNvSpPr/>
            <p:nvPr/>
          </p:nvSpPr>
          <p:spPr bwMode="auto">
            <a:xfrm>
              <a:off x="3546" y="2115"/>
              <a:ext cx="105" cy="64"/>
            </a:xfrm>
            <a:custGeom>
              <a:avLst/>
              <a:gdLst>
                <a:gd name="T0" fmla="*/ 35 w 44"/>
                <a:gd name="T1" fmla="*/ 26 h 27"/>
                <a:gd name="T2" fmla="*/ 43 w 44"/>
                <a:gd name="T3" fmla="*/ 14 h 27"/>
                <a:gd name="T4" fmla="*/ 43 w 44"/>
                <a:gd name="T5" fmla="*/ 26 h 27"/>
                <a:gd name="T6" fmla="*/ 35 w 44"/>
                <a:gd name="T7" fmla="*/ 26 h 27"/>
                <a:gd name="T8" fmla="*/ 5 w 44"/>
                <a:gd name="T9" fmla="*/ 26 h 27"/>
                <a:gd name="T10" fmla="*/ 2 w 44"/>
                <a:gd name="T11" fmla="*/ 26 h 27"/>
                <a:gd name="T12" fmla="*/ 2 w 44"/>
                <a:gd name="T13" fmla="*/ 10 h 27"/>
                <a:gd name="T14" fmla="*/ 1 w 44"/>
                <a:gd name="T15" fmla="*/ 8 h 27"/>
                <a:gd name="T16" fmla="*/ 2 w 44"/>
                <a:gd name="T17" fmla="*/ 2 h 27"/>
                <a:gd name="T18" fmla="*/ 2 w 44"/>
                <a:gd name="T19" fmla="*/ 1 h 27"/>
                <a:gd name="T20" fmla="*/ 21 w 44"/>
                <a:gd name="T21" fmla="*/ 1 h 27"/>
                <a:gd name="T22" fmla="*/ 4 w 44"/>
                <a:gd name="T23" fmla="*/ 25 h 27"/>
                <a:gd name="T24" fmla="*/ 5 w 44"/>
                <a:gd name="T25" fmla="*/ 26 h 27"/>
                <a:gd name="T26" fmla="*/ 5 w 44"/>
                <a:gd name="T27" fmla="*/ 26 h 27"/>
                <a:gd name="T28" fmla="*/ 22 w 44"/>
                <a:gd name="T29" fmla="*/ 1 h 27"/>
                <a:gd name="T30" fmla="*/ 30 w 44"/>
                <a:gd name="T31" fmla="*/ 1 h 27"/>
                <a:gd name="T32" fmla="*/ 13 w 44"/>
                <a:gd name="T33" fmla="*/ 25 h 27"/>
                <a:gd name="T34" fmla="*/ 13 w 44"/>
                <a:gd name="T35" fmla="*/ 26 h 27"/>
                <a:gd name="T36" fmla="*/ 11 w 44"/>
                <a:gd name="T37" fmla="*/ 26 h 27"/>
                <a:gd name="T38" fmla="*/ 10 w 44"/>
                <a:gd name="T39" fmla="*/ 26 h 27"/>
                <a:gd name="T40" fmla="*/ 6 w 44"/>
                <a:gd name="T41" fmla="*/ 26 h 27"/>
                <a:gd name="T42" fmla="*/ 5 w 44"/>
                <a:gd name="T43" fmla="*/ 26 h 27"/>
                <a:gd name="T44" fmla="*/ 14 w 44"/>
                <a:gd name="T45" fmla="*/ 26 h 27"/>
                <a:gd name="T46" fmla="*/ 31 w 44"/>
                <a:gd name="T47" fmla="*/ 1 h 27"/>
                <a:gd name="T48" fmla="*/ 38 w 44"/>
                <a:gd name="T49" fmla="*/ 1 h 27"/>
                <a:gd name="T50" fmla="*/ 43 w 44"/>
                <a:gd name="T51" fmla="*/ 1 h 27"/>
                <a:gd name="T52" fmla="*/ 43 w 44"/>
                <a:gd name="T53" fmla="*/ 3 h 27"/>
                <a:gd name="T54" fmla="*/ 43 w 44"/>
                <a:gd name="T55" fmla="*/ 3 h 27"/>
                <a:gd name="T56" fmla="*/ 43 w 44"/>
                <a:gd name="T57" fmla="*/ 13 h 27"/>
                <a:gd name="T58" fmla="*/ 43 w 44"/>
                <a:gd name="T59" fmla="*/ 13 h 27"/>
                <a:gd name="T60" fmla="*/ 34 w 44"/>
                <a:gd name="T61" fmla="*/ 25 h 27"/>
                <a:gd name="T62" fmla="*/ 35 w 44"/>
                <a:gd name="T63" fmla="*/ 26 h 27"/>
                <a:gd name="T64" fmla="*/ 14 w 44"/>
                <a:gd name="T65" fmla="*/ 26 h 27"/>
                <a:gd name="T66" fmla="*/ 22 w 44"/>
                <a:gd name="T67" fmla="*/ 0 h 27"/>
                <a:gd name="T68" fmla="*/ 22 w 44"/>
                <a:gd name="T69" fmla="*/ 0 h 27"/>
                <a:gd name="T70" fmla="*/ 2 w 44"/>
                <a:gd name="T71" fmla="*/ 0 h 27"/>
                <a:gd name="T72" fmla="*/ 1 w 44"/>
                <a:gd name="T73" fmla="*/ 1 h 27"/>
                <a:gd name="T74" fmla="*/ 0 w 44"/>
                <a:gd name="T75" fmla="*/ 8 h 27"/>
                <a:gd name="T76" fmla="*/ 1 w 44"/>
                <a:gd name="T77" fmla="*/ 10 h 27"/>
                <a:gd name="T78" fmla="*/ 1 w 44"/>
                <a:gd name="T79" fmla="*/ 26 h 27"/>
                <a:gd name="T80" fmla="*/ 2 w 44"/>
                <a:gd name="T81" fmla="*/ 27 h 27"/>
                <a:gd name="T82" fmla="*/ 6 w 44"/>
                <a:gd name="T83" fmla="*/ 27 h 27"/>
                <a:gd name="T84" fmla="*/ 10 w 44"/>
                <a:gd name="T85" fmla="*/ 27 h 27"/>
                <a:gd name="T86" fmla="*/ 43 w 44"/>
                <a:gd name="T87" fmla="*/ 27 h 27"/>
                <a:gd name="T88" fmla="*/ 44 w 44"/>
                <a:gd name="T89" fmla="*/ 26 h 27"/>
                <a:gd name="T90" fmla="*/ 44 w 44"/>
                <a:gd name="T91" fmla="*/ 3 h 27"/>
                <a:gd name="T92" fmla="*/ 44 w 44"/>
                <a:gd name="T93" fmla="*/ 3 h 27"/>
                <a:gd name="T94" fmla="*/ 44 w 44"/>
                <a:gd name="T95" fmla="*/ 1 h 27"/>
                <a:gd name="T96" fmla="*/ 43 w 44"/>
                <a:gd name="T97" fmla="*/ 0 h 27"/>
                <a:gd name="T98" fmla="*/ 22 w 44"/>
                <a:gd name="T99" fmla="*/ 0 h 27"/>
                <a:gd name="T100" fmla="*/ 22 w 44"/>
                <a:gd name="T10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27">
                  <a:moveTo>
                    <a:pt x="35" y="26"/>
                  </a:moveTo>
                  <a:cubicBezTo>
                    <a:pt x="38" y="22"/>
                    <a:pt x="40" y="18"/>
                    <a:pt x="43" y="14"/>
                  </a:cubicBezTo>
                  <a:cubicBezTo>
                    <a:pt x="43" y="26"/>
                    <a:pt x="43" y="26"/>
                    <a:pt x="43" y="26"/>
                  </a:cubicBezTo>
                  <a:cubicBezTo>
                    <a:pt x="35" y="26"/>
                    <a:pt x="35" y="26"/>
                    <a:pt x="35" y="26"/>
                  </a:cubicBezTo>
                  <a:moveTo>
                    <a:pt x="5" y="26"/>
                  </a:moveTo>
                  <a:cubicBezTo>
                    <a:pt x="3" y="26"/>
                    <a:pt x="2" y="26"/>
                    <a:pt x="2" y="26"/>
                  </a:cubicBezTo>
                  <a:cubicBezTo>
                    <a:pt x="2" y="10"/>
                    <a:pt x="2" y="10"/>
                    <a:pt x="2" y="10"/>
                  </a:cubicBezTo>
                  <a:cubicBezTo>
                    <a:pt x="2" y="9"/>
                    <a:pt x="2" y="9"/>
                    <a:pt x="1" y="8"/>
                  </a:cubicBezTo>
                  <a:cubicBezTo>
                    <a:pt x="1" y="6"/>
                    <a:pt x="1" y="2"/>
                    <a:pt x="2" y="2"/>
                  </a:cubicBezTo>
                  <a:cubicBezTo>
                    <a:pt x="2" y="1"/>
                    <a:pt x="2" y="1"/>
                    <a:pt x="2" y="1"/>
                  </a:cubicBezTo>
                  <a:cubicBezTo>
                    <a:pt x="21" y="1"/>
                    <a:pt x="21" y="1"/>
                    <a:pt x="21" y="1"/>
                  </a:cubicBezTo>
                  <a:cubicBezTo>
                    <a:pt x="15" y="9"/>
                    <a:pt x="9" y="17"/>
                    <a:pt x="4" y="25"/>
                  </a:cubicBezTo>
                  <a:cubicBezTo>
                    <a:pt x="5" y="26"/>
                    <a:pt x="5" y="26"/>
                    <a:pt x="5" y="26"/>
                  </a:cubicBezTo>
                  <a:moveTo>
                    <a:pt x="5" y="26"/>
                  </a:moveTo>
                  <a:cubicBezTo>
                    <a:pt x="10" y="17"/>
                    <a:pt x="16" y="9"/>
                    <a:pt x="22" y="1"/>
                  </a:cubicBezTo>
                  <a:cubicBezTo>
                    <a:pt x="30" y="1"/>
                    <a:pt x="30" y="1"/>
                    <a:pt x="30" y="1"/>
                  </a:cubicBezTo>
                  <a:cubicBezTo>
                    <a:pt x="24" y="9"/>
                    <a:pt x="18" y="17"/>
                    <a:pt x="13" y="25"/>
                  </a:cubicBezTo>
                  <a:cubicBezTo>
                    <a:pt x="13" y="26"/>
                    <a:pt x="13" y="26"/>
                    <a:pt x="13" y="26"/>
                  </a:cubicBezTo>
                  <a:cubicBezTo>
                    <a:pt x="11" y="26"/>
                    <a:pt x="11" y="26"/>
                    <a:pt x="11" y="26"/>
                  </a:cubicBezTo>
                  <a:cubicBezTo>
                    <a:pt x="10" y="26"/>
                    <a:pt x="10" y="26"/>
                    <a:pt x="10" y="26"/>
                  </a:cubicBezTo>
                  <a:cubicBezTo>
                    <a:pt x="9" y="26"/>
                    <a:pt x="7" y="26"/>
                    <a:pt x="6" y="26"/>
                  </a:cubicBezTo>
                  <a:cubicBezTo>
                    <a:pt x="5" y="26"/>
                    <a:pt x="5" y="26"/>
                    <a:pt x="5" y="26"/>
                  </a:cubicBezTo>
                  <a:moveTo>
                    <a:pt x="14" y="26"/>
                  </a:moveTo>
                  <a:cubicBezTo>
                    <a:pt x="20" y="17"/>
                    <a:pt x="25" y="9"/>
                    <a:pt x="31" y="1"/>
                  </a:cubicBezTo>
                  <a:cubicBezTo>
                    <a:pt x="38" y="1"/>
                    <a:pt x="38" y="1"/>
                    <a:pt x="38" y="1"/>
                  </a:cubicBezTo>
                  <a:cubicBezTo>
                    <a:pt x="43" y="1"/>
                    <a:pt x="43" y="1"/>
                    <a:pt x="43" y="1"/>
                  </a:cubicBezTo>
                  <a:cubicBezTo>
                    <a:pt x="43" y="1"/>
                    <a:pt x="43" y="2"/>
                    <a:pt x="43" y="3"/>
                  </a:cubicBezTo>
                  <a:cubicBezTo>
                    <a:pt x="43" y="3"/>
                    <a:pt x="43" y="3"/>
                    <a:pt x="43" y="3"/>
                  </a:cubicBezTo>
                  <a:cubicBezTo>
                    <a:pt x="43" y="13"/>
                    <a:pt x="43" y="13"/>
                    <a:pt x="43" y="13"/>
                  </a:cubicBezTo>
                  <a:cubicBezTo>
                    <a:pt x="43" y="13"/>
                    <a:pt x="43" y="13"/>
                    <a:pt x="43" y="13"/>
                  </a:cubicBezTo>
                  <a:cubicBezTo>
                    <a:pt x="40" y="17"/>
                    <a:pt x="37" y="21"/>
                    <a:pt x="34" y="25"/>
                  </a:cubicBezTo>
                  <a:cubicBezTo>
                    <a:pt x="35" y="26"/>
                    <a:pt x="35" y="26"/>
                    <a:pt x="35" y="26"/>
                  </a:cubicBezTo>
                  <a:cubicBezTo>
                    <a:pt x="14" y="26"/>
                    <a:pt x="14" y="26"/>
                    <a:pt x="14" y="26"/>
                  </a:cubicBezTo>
                  <a:moveTo>
                    <a:pt x="22" y="0"/>
                  </a:moveTo>
                  <a:cubicBezTo>
                    <a:pt x="22" y="0"/>
                    <a:pt x="22" y="0"/>
                    <a:pt x="22" y="0"/>
                  </a:cubicBezTo>
                  <a:cubicBezTo>
                    <a:pt x="2" y="0"/>
                    <a:pt x="2" y="0"/>
                    <a:pt x="2" y="0"/>
                  </a:cubicBezTo>
                  <a:cubicBezTo>
                    <a:pt x="2" y="0"/>
                    <a:pt x="1" y="1"/>
                    <a:pt x="1" y="1"/>
                  </a:cubicBezTo>
                  <a:cubicBezTo>
                    <a:pt x="0" y="2"/>
                    <a:pt x="0" y="5"/>
                    <a:pt x="0" y="8"/>
                  </a:cubicBezTo>
                  <a:cubicBezTo>
                    <a:pt x="1" y="9"/>
                    <a:pt x="1" y="9"/>
                    <a:pt x="1" y="10"/>
                  </a:cubicBezTo>
                  <a:cubicBezTo>
                    <a:pt x="1" y="26"/>
                    <a:pt x="1" y="26"/>
                    <a:pt x="1" y="26"/>
                  </a:cubicBezTo>
                  <a:cubicBezTo>
                    <a:pt x="1" y="26"/>
                    <a:pt x="1" y="27"/>
                    <a:pt x="2" y="27"/>
                  </a:cubicBezTo>
                  <a:cubicBezTo>
                    <a:pt x="3" y="27"/>
                    <a:pt x="4" y="27"/>
                    <a:pt x="6" y="27"/>
                  </a:cubicBezTo>
                  <a:cubicBezTo>
                    <a:pt x="7" y="27"/>
                    <a:pt x="9" y="27"/>
                    <a:pt x="10" y="27"/>
                  </a:cubicBezTo>
                  <a:cubicBezTo>
                    <a:pt x="43" y="27"/>
                    <a:pt x="43" y="27"/>
                    <a:pt x="43" y="27"/>
                  </a:cubicBezTo>
                  <a:cubicBezTo>
                    <a:pt x="44" y="26"/>
                    <a:pt x="44" y="26"/>
                    <a:pt x="44" y="26"/>
                  </a:cubicBezTo>
                  <a:cubicBezTo>
                    <a:pt x="44" y="3"/>
                    <a:pt x="44" y="3"/>
                    <a:pt x="44" y="3"/>
                  </a:cubicBezTo>
                  <a:cubicBezTo>
                    <a:pt x="44" y="3"/>
                    <a:pt x="44" y="3"/>
                    <a:pt x="44" y="3"/>
                  </a:cubicBezTo>
                  <a:cubicBezTo>
                    <a:pt x="44" y="2"/>
                    <a:pt x="44" y="1"/>
                    <a:pt x="44" y="1"/>
                  </a:cubicBezTo>
                  <a:cubicBezTo>
                    <a:pt x="43" y="0"/>
                    <a:pt x="43" y="0"/>
                    <a:pt x="43" y="0"/>
                  </a:cubicBezTo>
                  <a:cubicBezTo>
                    <a:pt x="22" y="0"/>
                    <a:pt x="22" y="0"/>
                    <a:pt x="22" y="0"/>
                  </a:cubicBezTo>
                  <a:cubicBezTo>
                    <a:pt x="22" y="0"/>
                    <a:pt x="22" y="0"/>
                    <a:pt x="2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50" name="ïşḻiḑe"/>
            <p:cNvSpPr/>
            <p:nvPr/>
          </p:nvSpPr>
          <p:spPr bwMode="auto">
            <a:xfrm>
              <a:off x="3499" y="2267"/>
              <a:ext cx="104" cy="95"/>
            </a:xfrm>
            <a:custGeom>
              <a:avLst/>
              <a:gdLst>
                <a:gd name="T0" fmla="*/ 4 w 44"/>
                <a:gd name="T1" fmla="*/ 36 h 40"/>
                <a:gd name="T2" fmla="*/ 16 w 44"/>
                <a:gd name="T3" fmla="*/ 39 h 40"/>
                <a:gd name="T4" fmla="*/ 16 w 44"/>
                <a:gd name="T5" fmla="*/ 39 h 40"/>
                <a:gd name="T6" fmla="*/ 28 w 44"/>
                <a:gd name="T7" fmla="*/ 34 h 40"/>
                <a:gd name="T8" fmla="*/ 30 w 44"/>
                <a:gd name="T9" fmla="*/ 15 h 40"/>
                <a:gd name="T10" fmla="*/ 35 w 44"/>
                <a:gd name="T11" fmla="*/ 12 h 40"/>
                <a:gd name="T12" fmla="*/ 37 w 44"/>
                <a:gd name="T13" fmla="*/ 20 h 40"/>
                <a:gd name="T14" fmla="*/ 30 w 44"/>
                <a:gd name="T15" fmla="*/ 20 h 40"/>
                <a:gd name="T16" fmla="*/ 35 w 44"/>
                <a:gd name="T17" fmla="*/ 8 h 40"/>
                <a:gd name="T18" fmla="*/ 33 w 44"/>
                <a:gd name="T19" fmla="*/ 26 h 40"/>
                <a:gd name="T20" fmla="*/ 30 w 44"/>
                <a:gd name="T21" fmla="*/ 22 h 40"/>
                <a:gd name="T22" fmla="*/ 39 w 44"/>
                <a:gd name="T23" fmla="*/ 13 h 40"/>
                <a:gd name="T24" fmla="*/ 31 w 44"/>
                <a:gd name="T25" fmla="*/ 12 h 40"/>
                <a:gd name="T26" fmla="*/ 30 w 44"/>
                <a:gd name="T27" fmla="*/ 11 h 40"/>
                <a:gd name="T28" fmla="*/ 29 w 44"/>
                <a:gd name="T29" fmla="*/ 8 h 40"/>
                <a:gd name="T30" fmla="*/ 24 w 44"/>
                <a:gd name="T31" fmla="*/ 15 h 40"/>
                <a:gd name="T32" fmla="*/ 24 w 44"/>
                <a:gd name="T33" fmla="*/ 15 h 40"/>
                <a:gd name="T34" fmla="*/ 29 w 44"/>
                <a:gd name="T35" fmla="*/ 10 h 40"/>
                <a:gd name="T36" fmla="*/ 25 w 44"/>
                <a:gd name="T37" fmla="*/ 22 h 40"/>
                <a:gd name="T38" fmla="*/ 25 w 44"/>
                <a:gd name="T39" fmla="*/ 22 h 40"/>
                <a:gd name="T40" fmla="*/ 28 w 44"/>
                <a:gd name="T41" fmla="*/ 20 h 40"/>
                <a:gd name="T42" fmla="*/ 25 w 44"/>
                <a:gd name="T43" fmla="*/ 26 h 40"/>
                <a:gd name="T44" fmla="*/ 28 w 44"/>
                <a:gd name="T45" fmla="*/ 31 h 40"/>
                <a:gd name="T46" fmla="*/ 24 w 44"/>
                <a:gd name="T47" fmla="*/ 36 h 40"/>
                <a:gd name="T48" fmla="*/ 3 w 44"/>
                <a:gd name="T49" fmla="*/ 32 h 40"/>
                <a:gd name="T50" fmla="*/ 5 w 44"/>
                <a:gd name="T51" fmla="*/ 9 h 40"/>
                <a:gd name="T52" fmla="*/ 27 w 44"/>
                <a:gd name="T53" fmla="*/ 9 h 40"/>
                <a:gd name="T54" fmla="*/ 24 w 44"/>
                <a:gd name="T55" fmla="*/ 12 h 40"/>
                <a:gd name="T56" fmla="*/ 8 w 44"/>
                <a:gd name="T57" fmla="*/ 8 h 40"/>
                <a:gd name="T58" fmla="*/ 16 w 44"/>
                <a:gd name="T59" fmla="*/ 5 h 40"/>
                <a:gd name="T60" fmla="*/ 24 w 44"/>
                <a:gd name="T61" fmla="*/ 7 h 40"/>
                <a:gd name="T62" fmla="*/ 23 w 44"/>
                <a:gd name="T63" fmla="*/ 7 h 40"/>
                <a:gd name="T64" fmla="*/ 9 w 44"/>
                <a:gd name="T65" fmla="*/ 7 h 40"/>
                <a:gd name="T66" fmla="*/ 9 w 44"/>
                <a:gd name="T67" fmla="*/ 8 h 40"/>
                <a:gd name="T68" fmla="*/ 22 w 44"/>
                <a:gd name="T69" fmla="*/ 8 h 40"/>
                <a:gd name="T70" fmla="*/ 13 w 44"/>
                <a:gd name="T71" fmla="*/ 7 h 40"/>
                <a:gd name="T72" fmla="*/ 16 w 44"/>
                <a:gd name="T73" fmla="*/ 8 h 40"/>
                <a:gd name="T74" fmla="*/ 15 w 44"/>
                <a:gd name="T75" fmla="*/ 7 h 40"/>
                <a:gd name="T76" fmla="*/ 18 w 44"/>
                <a:gd name="T77" fmla="*/ 8 h 40"/>
                <a:gd name="T78" fmla="*/ 15 w 44"/>
                <a:gd name="T79" fmla="*/ 6 h 40"/>
                <a:gd name="T80" fmla="*/ 21 w 44"/>
                <a:gd name="T81" fmla="*/ 9 h 40"/>
                <a:gd name="T82" fmla="*/ 2 w 44"/>
                <a:gd name="T83" fmla="*/ 6 h 40"/>
                <a:gd name="T84" fmla="*/ 16 w 44"/>
                <a:gd name="T85" fmla="*/ 1 h 40"/>
                <a:gd name="T86" fmla="*/ 27 w 44"/>
                <a:gd name="T87" fmla="*/ 8 h 40"/>
                <a:gd name="T88" fmla="*/ 4 w 44"/>
                <a:gd name="T89" fmla="*/ 8 h 40"/>
                <a:gd name="T90" fmla="*/ 1 w 44"/>
                <a:gd name="T91" fmla="*/ 5 h 40"/>
                <a:gd name="T92" fmla="*/ 1 w 44"/>
                <a:gd name="T93" fmla="*/ 23 h 40"/>
                <a:gd name="T94" fmla="*/ 3 w 44"/>
                <a:gd name="T95" fmla="*/ 34 h 40"/>
                <a:gd name="T96" fmla="*/ 3 w 44"/>
                <a:gd name="T97" fmla="*/ 36 h 40"/>
                <a:gd name="T98" fmla="*/ 3 w 44"/>
                <a:gd name="T99" fmla="*/ 37 h 40"/>
                <a:gd name="T100" fmla="*/ 28 w 44"/>
                <a:gd name="T101" fmla="*/ 37 h 40"/>
                <a:gd name="T102" fmla="*/ 28 w 44"/>
                <a:gd name="T103" fmla="*/ 35 h 40"/>
                <a:gd name="T104" fmla="*/ 29 w 44"/>
                <a:gd name="T105" fmla="*/ 34 h 40"/>
                <a:gd name="T106" fmla="*/ 29 w 44"/>
                <a:gd name="T107" fmla="*/ 25 h 40"/>
                <a:gd name="T108" fmla="*/ 42 w 44"/>
                <a:gd name="T109" fmla="*/ 11 h 40"/>
                <a:gd name="T110" fmla="*/ 30 w 44"/>
                <a:gd name="T111" fmla="*/ 9 h 40"/>
                <a:gd name="T112" fmla="*/ 30 w 44"/>
                <a:gd name="T113" fmla="*/ 5 h 40"/>
                <a:gd name="T114" fmla="*/ 16 w 44"/>
                <a:gd name="T11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 h="40">
                  <a:moveTo>
                    <a:pt x="16" y="39"/>
                  </a:moveTo>
                  <a:cubicBezTo>
                    <a:pt x="15" y="39"/>
                    <a:pt x="14" y="39"/>
                    <a:pt x="12" y="39"/>
                  </a:cubicBezTo>
                  <a:cubicBezTo>
                    <a:pt x="9" y="39"/>
                    <a:pt x="5" y="37"/>
                    <a:pt x="4" y="36"/>
                  </a:cubicBezTo>
                  <a:cubicBezTo>
                    <a:pt x="4" y="35"/>
                    <a:pt x="4" y="35"/>
                    <a:pt x="4" y="35"/>
                  </a:cubicBezTo>
                  <a:cubicBezTo>
                    <a:pt x="6" y="37"/>
                    <a:pt x="9" y="38"/>
                    <a:pt x="14" y="39"/>
                  </a:cubicBezTo>
                  <a:cubicBezTo>
                    <a:pt x="15" y="39"/>
                    <a:pt x="15" y="39"/>
                    <a:pt x="16" y="39"/>
                  </a:cubicBezTo>
                  <a:cubicBezTo>
                    <a:pt x="20" y="39"/>
                    <a:pt x="24" y="38"/>
                    <a:pt x="27" y="36"/>
                  </a:cubicBezTo>
                  <a:cubicBezTo>
                    <a:pt x="27" y="36"/>
                    <a:pt x="27" y="36"/>
                    <a:pt x="27" y="36"/>
                  </a:cubicBezTo>
                  <a:cubicBezTo>
                    <a:pt x="26" y="37"/>
                    <a:pt x="23" y="39"/>
                    <a:pt x="16" y="39"/>
                  </a:cubicBezTo>
                  <a:moveTo>
                    <a:pt x="24" y="36"/>
                  </a:moveTo>
                  <a:cubicBezTo>
                    <a:pt x="26" y="34"/>
                    <a:pt x="27" y="33"/>
                    <a:pt x="28" y="32"/>
                  </a:cubicBezTo>
                  <a:cubicBezTo>
                    <a:pt x="28" y="32"/>
                    <a:pt x="28" y="33"/>
                    <a:pt x="28" y="34"/>
                  </a:cubicBezTo>
                  <a:cubicBezTo>
                    <a:pt x="27" y="34"/>
                    <a:pt x="26" y="35"/>
                    <a:pt x="24" y="36"/>
                  </a:cubicBezTo>
                  <a:moveTo>
                    <a:pt x="30" y="20"/>
                  </a:moveTo>
                  <a:cubicBezTo>
                    <a:pt x="30" y="19"/>
                    <a:pt x="30" y="17"/>
                    <a:pt x="30" y="15"/>
                  </a:cubicBezTo>
                  <a:cubicBezTo>
                    <a:pt x="30" y="15"/>
                    <a:pt x="30" y="15"/>
                    <a:pt x="30" y="15"/>
                  </a:cubicBezTo>
                  <a:cubicBezTo>
                    <a:pt x="30" y="15"/>
                    <a:pt x="30" y="14"/>
                    <a:pt x="31" y="13"/>
                  </a:cubicBezTo>
                  <a:cubicBezTo>
                    <a:pt x="32" y="12"/>
                    <a:pt x="33" y="12"/>
                    <a:pt x="35" y="12"/>
                  </a:cubicBezTo>
                  <a:cubicBezTo>
                    <a:pt x="35" y="12"/>
                    <a:pt x="35" y="12"/>
                    <a:pt x="35" y="12"/>
                  </a:cubicBezTo>
                  <a:cubicBezTo>
                    <a:pt x="36" y="12"/>
                    <a:pt x="38" y="12"/>
                    <a:pt x="38" y="13"/>
                  </a:cubicBezTo>
                  <a:cubicBezTo>
                    <a:pt x="39" y="16"/>
                    <a:pt x="39" y="18"/>
                    <a:pt x="37" y="20"/>
                  </a:cubicBezTo>
                  <a:cubicBezTo>
                    <a:pt x="36" y="21"/>
                    <a:pt x="35" y="22"/>
                    <a:pt x="33" y="22"/>
                  </a:cubicBezTo>
                  <a:cubicBezTo>
                    <a:pt x="32" y="22"/>
                    <a:pt x="31" y="21"/>
                    <a:pt x="30" y="20"/>
                  </a:cubicBezTo>
                  <a:cubicBezTo>
                    <a:pt x="30" y="20"/>
                    <a:pt x="30" y="20"/>
                    <a:pt x="30" y="20"/>
                  </a:cubicBezTo>
                  <a:moveTo>
                    <a:pt x="30" y="11"/>
                  </a:moveTo>
                  <a:cubicBezTo>
                    <a:pt x="31" y="9"/>
                    <a:pt x="33" y="8"/>
                    <a:pt x="35" y="8"/>
                  </a:cubicBezTo>
                  <a:cubicBezTo>
                    <a:pt x="35" y="8"/>
                    <a:pt x="35" y="8"/>
                    <a:pt x="35" y="8"/>
                  </a:cubicBezTo>
                  <a:cubicBezTo>
                    <a:pt x="38" y="8"/>
                    <a:pt x="40" y="9"/>
                    <a:pt x="41" y="11"/>
                  </a:cubicBezTo>
                  <a:cubicBezTo>
                    <a:pt x="43" y="16"/>
                    <a:pt x="41" y="21"/>
                    <a:pt x="39" y="23"/>
                  </a:cubicBezTo>
                  <a:cubicBezTo>
                    <a:pt x="37" y="25"/>
                    <a:pt x="35" y="26"/>
                    <a:pt x="33" y="26"/>
                  </a:cubicBezTo>
                  <a:cubicBezTo>
                    <a:pt x="32" y="26"/>
                    <a:pt x="31" y="25"/>
                    <a:pt x="30" y="25"/>
                  </a:cubicBezTo>
                  <a:cubicBezTo>
                    <a:pt x="29" y="25"/>
                    <a:pt x="29" y="25"/>
                    <a:pt x="29" y="25"/>
                  </a:cubicBezTo>
                  <a:cubicBezTo>
                    <a:pt x="29" y="24"/>
                    <a:pt x="29" y="23"/>
                    <a:pt x="30" y="22"/>
                  </a:cubicBezTo>
                  <a:cubicBezTo>
                    <a:pt x="31" y="22"/>
                    <a:pt x="32" y="23"/>
                    <a:pt x="33" y="23"/>
                  </a:cubicBezTo>
                  <a:cubicBezTo>
                    <a:pt x="35" y="23"/>
                    <a:pt x="36" y="22"/>
                    <a:pt x="37" y="21"/>
                  </a:cubicBezTo>
                  <a:cubicBezTo>
                    <a:pt x="40" y="19"/>
                    <a:pt x="40" y="16"/>
                    <a:pt x="39" y="13"/>
                  </a:cubicBezTo>
                  <a:cubicBezTo>
                    <a:pt x="38" y="11"/>
                    <a:pt x="37" y="11"/>
                    <a:pt x="35" y="11"/>
                  </a:cubicBezTo>
                  <a:cubicBezTo>
                    <a:pt x="35" y="11"/>
                    <a:pt x="35" y="11"/>
                    <a:pt x="35" y="11"/>
                  </a:cubicBezTo>
                  <a:cubicBezTo>
                    <a:pt x="33" y="11"/>
                    <a:pt x="31" y="12"/>
                    <a:pt x="31" y="12"/>
                  </a:cubicBezTo>
                  <a:cubicBezTo>
                    <a:pt x="30" y="13"/>
                    <a:pt x="30" y="13"/>
                    <a:pt x="30" y="13"/>
                  </a:cubicBezTo>
                  <a:cubicBezTo>
                    <a:pt x="30" y="13"/>
                    <a:pt x="30" y="12"/>
                    <a:pt x="30" y="11"/>
                  </a:cubicBezTo>
                  <a:cubicBezTo>
                    <a:pt x="30" y="11"/>
                    <a:pt x="30" y="11"/>
                    <a:pt x="30" y="11"/>
                  </a:cubicBezTo>
                  <a:moveTo>
                    <a:pt x="24" y="12"/>
                  </a:moveTo>
                  <a:cubicBezTo>
                    <a:pt x="24" y="12"/>
                    <a:pt x="24" y="12"/>
                    <a:pt x="24" y="12"/>
                  </a:cubicBezTo>
                  <a:cubicBezTo>
                    <a:pt x="26" y="11"/>
                    <a:pt x="28" y="9"/>
                    <a:pt x="29" y="8"/>
                  </a:cubicBezTo>
                  <a:cubicBezTo>
                    <a:pt x="29" y="8"/>
                    <a:pt x="29" y="8"/>
                    <a:pt x="29" y="8"/>
                  </a:cubicBezTo>
                  <a:cubicBezTo>
                    <a:pt x="29" y="8"/>
                    <a:pt x="29" y="9"/>
                    <a:pt x="29" y="10"/>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4"/>
                    <a:pt x="25" y="14"/>
                    <a:pt x="25" y="14"/>
                  </a:cubicBezTo>
                  <a:cubicBezTo>
                    <a:pt x="29" y="10"/>
                    <a:pt x="29" y="10"/>
                    <a:pt x="29" y="10"/>
                  </a:cubicBezTo>
                  <a:cubicBezTo>
                    <a:pt x="29" y="12"/>
                    <a:pt x="29" y="14"/>
                    <a:pt x="29" y="16"/>
                  </a:cubicBezTo>
                  <a:cubicBezTo>
                    <a:pt x="29" y="16"/>
                    <a:pt x="29" y="16"/>
                    <a:pt x="29" y="16"/>
                  </a:cubicBezTo>
                  <a:cubicBezTo>
                    <a:pt x="25" y="22"/>
                    <a:pt x="25" y="22"/>
                    <a:pt x="25" y="22"/>
                  </a:cubicBezTo>
                  <a:cubicBezTo>
                    <a:pt x="25" y="22"/>
                    <a:pt x="25" y="22"/>
                    <a:pt x="25" y="22"/>
                  </a:cubicBezTo>
                  <a:cubicBezTo>
                    <a:pt x="25" y="22"/>
                    <a:pt x="25" y="22"/>
                    <a:pt x="25" y="22"/>
                  </a:cubicBezTo>
                  <a:cubicBezTo>
                    <a:pt x="25" y="22"/>
                    <a:pt x="25" y="22"/>
                    <a:pt x="25" y="22"/>
                  </a:cubicBezTo>
                  <a:cubicBezTo>
                    <a:pt x="29" y="17"/>
                    <a:pt x="29" y="17"/>
                    <a:pt x="29" y="17"/>
                  </a:cubicBezTo>
                  <a:cubicBezTo>
                    <a:pt x="29" y="18"/>
                    <a:pt x="29" y="19"/>
                    <a:pt x="29" y="20"/>
                  </a:cubicBezTo>
                  <a:cubicBezTo>
                    <a:pt x="28" y="20"/>
                    <a:pt x="28" y="20"/>
                    <a:pt x="28" y="20"/>
                  </a:cubicBezTo>
                  <a:cubicBezTo>
                    <a:pt x="24" y="25"/>
                    <a:pt x="24" y="25"/>
                    <a:pt x="24" y="25"/>
                  </a:cubicBezTo>
                  <a:cubicBezTo>
                    <a:pt x="24" y="26"/>
                    <a:pt x="24" y="26"/>
                    <a:pt x="24" y="26"/>
                  </a:cubicBezTo>
                  <a:cubicBezTo>
                    <a:pt x="25" y="26"/>
                    <a:pt x="25" y="26"/>
                    <a:pt x="25" y="26"/>
                  </a:cubicBezTo>
                  <a:cubicBezTo>
                    <a:pt x="25" y="26"/>
                    <a:pt x="25" y="26"/>
                    <a:pt x="25" y="26"/>
                  </a:cubicBezTo>
                  <a:cubicBezTo>
                    <a:pt x="29" y="21"/>
                    <a:pt x="29" y="21"/>
                    <a:pt x="29" y="21"/>
                  </a:cubicBezTo>
                  <a:cubicBezTo>
                    <a:pt x="28" y="24"/>
                    <a:pt x="28" y="28"/>
                    <a:pt x="28" y="31"/>
                  </a:cubicBezTo>
                  <a:cubicBezTo>
                    <a:pt x="28" y="31"/>
                    <a:pt x="28" y="31"/>
                    <a:pt x="28" y="31"/>
                  </a:cubicBezTo>
                  <a:cubicBezTo>
                    <a:pt x="26" y="33"/>
                    <a:pt x="25" y="34"/>
                    <a:pt x="24" y="36"/>
                  </a:cubicBezTo>
                  <a:cubicBezTo>
                    <a:pt x="24" y="36"/>
                    <a:pt x="24" y="36"/>
                    <a:pt x="24" y="36"/>
                  </a:cubicBezTo>
                  <a:cubicBezTo>
                    <a:pt x="21" y="37"/>
                    <a:pt x="19" y="38"/>
                    <a:pt x="16" y="38"/>
                  </a:cubicBezTo>
                  <a:cubicBezTo>
                    <a:pt x="15" y="38"/>
                    <a:pt x="15" y="38"/>
                    <a:pt x="14" y="38"/>
                  </a:cubicBezTo>
                  <a:cubicBezTo>
                    <a:pt x="6" y="37"/>
                    <a:pt x="3" y="33"/>
                    <a:pt x="3" y="32"/>
                  </a:cubicBezTo>
                  <a:cubicBezTo>
                    <a:pt x="2" y="29"/>
                    <a:pt x="2" y="26"/>
                    <a:pt x="2" y="23"/>
                  </a:cubicBezTo>
                  <a:cubicBezTo>
                    <a:pt x="2" y="18"/>
                    <a:pt x="2" y="12"/>
                    <a:pt x="1" y="8"/>
                  </a:cubicBezTo>
                  <a:cubicBezTo>
                    <a:pt x="2" y="8"/>
                    <a:pt x="3" y="9"/>
                    <a:pt x="5" y="9"/>
                  </a:cubicBezTo>
                  <a:cubicBezTo>
                    <a:pt x="8" y="10"/>
                    <a:pt x="12" y="10"/>
                    <a:pt x="16" y="10"/>
                  </a:cubicBezTo>
                  <a:cubicBezTo>
                    <a:pt x="18" y="10"/>
                    <a:pt x="20" y="10"/>
                    <a:pt x="23" y="10"/>
                  </a:cubicBezTo>
                  <a:cubicBezTo>
                    <a:pt x="24" y="10"/>
                    <a:pt x="26" y="9"/>
                    <a:pt x="27" y="9"/>
                  </a:cubicBezTo>
                  <a:cubicBezTo>
                    <a:pt x="26" y="10"/>
                    <a:pt x="25" y="11"/>
                    <a:pt x="24" y="12"/>
                  </a:cubicBezTo>
                  <a:cubicBezTo>
                    <a:pt x="24" y="12"/>
                    <a:pt x="24" y="12"/>
                    <a:pt x="24" y="12"/>
                  </a:cubicBezTo>
                  <a:cubicBezTo>
                    <a:pt x="24" y="12"/>
                    <a:pt x="24" y="12"/>
                    <a:pt x="24" y="12"/>
                  </a:cubicBezTo>
                  <a:moveTo>
                    <a:pt x="15" y="9"/>
                  </a:moveTo>
                  <a:cubicBezTo>
                    <a:pt x="13" y="9"/>
                    <a:pt x="11" y="9"/>
                    <a:pt x="9" y="8"/>
                  </a:cubicBezTo>
                  <a:cubicBezTo>
                    <a:pt x="8" y="8"/>
                    <a:pt x="8" y="8"/>
                    <a:pt x="8" y="8"/>
                  </a:cubicBezTo>
                  <a:cubicBezTo>
                    <a:pt x="8" y="7"/>
                    <a:pt x="8" y="7"/>
                    <a:pt x="8" y="7"/>
                  </a:cubicBezTo>
                  <a:cubicBezTo>
                    <a:pt x="9" y="7"/>
                    <a:pt x="9" y="7"/>
                    <a:pt x="9" y="7"/>
                  </a:cubicBezTo>
                  <a:cubicBezTo>
                    <a:pt x="11" y="6"/>
                    <a:pt x="13" y="5"/>
                    <a:pt x="16" y="5"/>
                  </a:cubicBezTo>
                  <a:cubicBezTo>
                    <a:pt x="16" y="5"/>
                    <a:pt x="17" y="5"/>
                    <a:pt x="17" y="5"/>
                  </a:cubicBezTo>
                  <a:cubicBezTo>
                    <a:pt x="20" y="5"/>
                    <a:pt x="21" y="6"/>
                    <a:pt x="24" y="7"/>
                  </a:cubicBezTo>
                  <a:cubicBezTo>
                    <a:pt x="24" y="7"/>
                    <a:pt x="24" y="7"/>
                    <a:pt x="24" y="7"/>
                  </a:cubicBezTo>
                  <a:cubicBezTo>
                    <a:pt x="24" y="7"/>
                    <a:pt x="24" y="7"/>
                    <a:pt x="24" y="7"/>
                  </a:cubicBezTo>
                  <a:cubicBezTo>
                    <a:pt x="24" y="7"/>
                    <a:pt x="24" y="7"/>
                    <a:pt x="24" y="7"/>
                  </a:cubicBezTo>
                  <a:cubicBezTo>
                    <a:pt x="23" y="7"/>
                    <a:pt x="23" y="7"/>
                    <a:pt x="23" y="7"/>
                  </a:cubicBezTo>
                  <a:cubicBezTo>
                    <a:pt x="21" y="6"/>
                    <a:pt x="20" y="6"/>
                    <a:pt x="17" y="6"/>
                  </a:cubicBezTo>
                  <a:cubicBezTo>
                    <a:pt x="17" y="6"/>
                    <a:pt x="16" y="6"/>
                    <a:pt x="16" y="6"/>
                  </a:cubicBezTo>
                  <a:cubicBezTo>
                    <a:pt x="13" y="6"/>
                    <a:pt x="11" y="6"/>
                    <a:pt x="9" y="7"/>
                  </a:cubicBezTo>
                  <a:cubicBezTo>
                    <a:pt x="9" y="7"/>
                    <a:pt x="9" y="7"/>
                    <a:pt x="9" y="7"/>
                  </a:cubicBezTo>
                  <a:cubicBezTo>
                    <a:pt x="9" y="8"/>
                    <a:pt x="9" y="8"/>
                    <a:pt x="9" y="8"/>
                  </a:cubicBezTo>
                  <a:cubicBezTo>
                    <a:pt x="9" y="8"/>
                    <a:pt x="9" y="8"/>
                    <a:pt x="9" y="8"/>
                  </a:cubicBezTo>
                  <a:cubicBezTo>
                    <a:pt x="11" y="8"/>
                    <a:pt x="13" y="9"/>
                    <a:pt x="15" y="9"/>
                  </a:cubicBezTo>
                  <a:cubicBezTo>
                    <a:pt x="17" y="9"/>
                    <a:pt x="19" y="8"/>
                    <a:pt x="21" y="8"/>
                  </a:cubicBezTo>
                  <a:cubicBezTo>
                    <a:pt x="22" y="8"/>
                    <a:pt x="22" y="8"/>
                    <a:pt x="22" y="8"/>
                  </a:cubicBezTo>
                  <a:cubicBezTo>
                    <a:pt x="21" y="8"/>
                    <a:pt x="19" y="7"/>
                    <a:pt x="16" y="7"/>
                  </a:cubicBezTo>
                  <a:cubicBezTo>
                    <a:pt x="16" y="7"/>
                    <a:pt x="15" y="7"/>
                    <a:pt x="15" y="7"/>
                  </a:cubicBezTo>
                  <a:cubicBezTo>
                    <a:pt x="14" y="7"/>
                    <a:pt x="13" y="7"/>
                    <a:pt x="13" y="7"/>
                  </a:cubicBezTo>
                  <a:cubicBezTo>
                    <a:pt x="13" y="7"/>
                    <a:pt x="14" y="8"/>
                    <a:pt x="15" y="8"/>
                  </a:cubicBezTo>
                  <a:cubicBezTo>
                    <a:pt x="16" y="8"/>
                    <a:pt x="17" y="8"/>
                    <a:pt x="17" y="8"/>
                  </a:cubicBezTo>
                  <a:cubicBezTo>
                    <a:pt x="17" y="8"/>
                    <a:pt x="17" y="8"/>
                    <a:pt x="16" y="8"/>
                  </a:cubicBezTo>
                  <a:cubicBezTo>
                    <a:pt x="16" y="8"/>
                    <a:pt x="16" y="8"/>
                    <a:pt x="15" y="8"/>
                  </a:cubicBezTo>
                  <a:cubicBezTo>
                    <a:pt x="15" y="7"/>
                    <a:pt x="15" y="7"/>
                    <a:pt x="15" y="7"/>
                  </a:cubicBezTo>
                  <a:cubicBezTo>
                    <a:pt x="15" y="7"/>
                    <a:pt x="15" y="7"/>
                    <a:pt x="15" y="7"/>
                  </a:cubicBezTo>
                  <a:cubicBezTo>
                    <a:pt x="16" y="7"/>
                    <a:pt x="16" y="7"/>
                    <a:pt x="16" y="7"/>
                  </a:cubicBezTo>
                  <a:cubicBezTo>
                    <a:pt x="17" y="7"/>
                    <a:pt x="18" y="7"/>
                    <a:pt x="18" y="8"/>
                  </a:cubicBezTo>
                  <a:cubicBezTo>
                    <a:pt x="18" y="8"/>
                    <a:pt x="18" y="8"/>
                    <a:pt x="18" y="8"/>
                  </a:cubicBezTo>
                  <a:cubicBezTo>
                    <a:pt x="18" y="8"/>
                    <a:pt x="17" y="8"/>
                    <a:pt x="15" y="8"/>
                  </a:cubicBezTo>
                  <a:cubicBezTo>
                    <a:pt x="13" y="8"/>
                    <a:pt x="12" y="8"/>
                    <a:pt x="12" y="7"/>
                  </a:cubicBezTo>
                  <a:cubicBezTo>
                    <a:pt x="12" y="7"/>
                    <a:pt x="15" y="6"/>
                    <a:pt x="15" y="6"/>
                  </a:cubicBezTo>
                  <a:cubicBezTo>
                    <a:pt x="15" y="6"/>
                    <a:pt x="16" y="6"/>
                    <a:pt x="16" y="6"/>
                  </a:cubicBezTo>
                  <a:cubicBezTo>
                    <a:pt x="19" y="6"/>
                    <a:pt x="22" y="7"/>
                    <a:pt x="22" y="8"/>
                  </a:cubicBezTo>
                  <a:cubicBezTo>
                    <a:pt x="22" y="8"/>
                    <a:pt x="21" y="9"/>
                    <a:pt x="21" y="9"/>
                  </a:cubicBezTo>
                  <a:cubicBezTo>
                    <a:pt x="19" y="9"/>
                    <a:pt x="17" y="9"/>
                    <a:pt x="15" y="9"/>
                  </a:cubicBezTo>
                  <a:moveTo>
                    <a:pt x="4" y="8"/>
                  </a:moveTo>
                  <a:cubicBezTo>
                    <a:pt x="2" y="7"/>
                    <a:pt x="2" y="7"/>
                    <a:pt x="2" y="6"/>
                  </a:cubicBezTo>
                  <a:cubicBezTo>
                    <a:pt x="2" y="5"/>
                    <a:pt x="2" y="5"/>
                    <a:pt x="2" y="5"/>
                  </a:cubicBezTo>
                  <a:cubicBezTo>
                    <a:pt x="3" y="4"/>
                    <a:pt x="7" y="2"/>
                    <a:pt x="9" y="1"/>
                  </a:cubicBezTo>
                  <a:cubicBezTo>
                    <a:pt x="11" y="1"/>
                    <a:pt x="13" y="1"/>
                    <a:pt x="16" y="1"/>
                  </a:cubicBezTo>
                  <a:cubicBezTo>
                    <a:pt x="20" y="1"/>
                    <a:pt x="25" y="1"/>
                    <a:pt x="26" y="2"/>
                  </a:cubicBezTo>
                  <a:cubicBezTo>
                    <a:pt x="28" y="3"/>
                    <a:pt x="29" y="4"/>
                    <a:pt x="29" y="5"/>
                  </a:cubicBezTo>
                  <a:cubicBezTo>
                    <a:pt x="29" y="6"/>
                    <a:pt x="28" y="7"/>
                    <a:pt x="27" y="8"/>
                  </a:cubicBezTo>
                  <a:cubicBezTo>
                    <a:pt x="26" y="5"/>
                    <a:pt x="22" y="4"/>
                    <a:pt x="16" y="4"/>
                  </a:cubicBezTo>
                  <a:cubicBezTo>
                    <a:pt x="15" y="4"/>
                    <a:pt x="14" y="5"/>
                    <a:pt x="13" y="5"/>
                  </a:cubicBezTo>
                  <a:cubicBezTo>
                    <a:pt x="8" y="5"/>
                    <a:pt x="4" y="7"/>
                    <a:pt x="4" y="8"/>
                  </a:cubicBezTo>
                  <a:moveTo>
                    <a:pt x="16" y="0"/>
                  </a:moveTo>
                  <a:cubicBezTo>
                    <a:pt x="13" y="0"/>
                    <a:pt x="11" y="0"/>
                    <a:pt x="9" y="0"/>
                  </a:cubicBezTo>
                  <a:cubicBezTo>
                    <a:pt x="7" y="1"/>
                    <a:pt x="2" y="3"/>
                    <a:pt x="1" y="5"/>
                  </a:cubicBezTo>
                  <a:cubicBezTo>
                    <a:pt x="1" y="5"/>
                    <a:pt x="0" y="6"/>
                    <a:pt x="1" y="6"/>
                  </a:cubicBezTo>
                  <a:cubicBezTo>
                    <a:pt x="0" y="6"/>
                    <a:pt x="0" y="6"/>
                    <a:pt x="0" y="6"/>
                  </a:cubicBezTo>
                  <a:cubicBezTo>
                    <a:pt x="1" y="11"/>
                    <a:pt x="1" y="17"/>
                    <a:pt x="1" y="23"/>
                  </a:cubicBezTo>
                  <a:cubicBezTo>
                    <a:pt x="1" y="27"/>
                    <a:pt x="1" y="30"/>
                    <a:pt x="2" y="32"/>
                  </a:cubicBezTo>
                  <a:cubicBezTo>
                    <a:pt x="2" y="32"/>
                    <a:pt x="2" y="32"/>
                    <a:pt x="2" y="32"/>
                  </a:cubicBezTo>
                  <a:cubicBezTo>
                    <a:pt x="2" y="33"/>
                    <a:pt x="2" y="34"/>
                    <a:pt x="3" y="34"/>
                  </a:cubicBezTo>
                  <a:cubicBezTo>
                    <a:pt x="3" y="34"/>
                    <a:pt x="3" y="34"/>
                    <a:pt x="3" y="34"/>
                  </a:cubicBezTo>
                  <a:cubicBezTo>
                    <a:pt x="3" y="35"/>
                    <a:pt x="3" y="36"/>
                    <a:pt x="3" y="36"/>
                  </a:cubicBezTo>
                  <a:cubicBezTo>
                    <a:pt x="3" y="36"/>
                    <a:pt x="3" y="36"/>
                    <a:pt x="3" y="36"/>
                  </a:cubicBezTo>
                  <a:cubicBezTo>
                    <a:pt x="3" y="36"/>
                    <a:pt x="3" y="36"/>
                    <a:pt x="3" y="36"/>
                  </a:cubicBezTo>
                  <a:cubicBezTo>
                    <a:pt x="3" y="37"/>
                    <a:pt x="3" y="37"/>
                    <a:pt x="3" y="37"/>
                  </a:cubicBezTo>
                  <a:cubicBezTo>
                    <a:pt x="3" y="37"/>
                    <a:pt x="3" y="37"/>
                    <a:pt x="3" y="37"/>
                  </a:cubicBezTo>
                  <a:cubicBezTo>
                    <a:pt x="5" y="38"/>
                    <a:pt x="9" y="40"/>
                    <a:pt x="12" y="40"/>
                  </a:cubicBezTo>
                  <a:cubicBezTo>
                    <a:pt x="14" y="40"/>
                    <a:pt x="15" y="40"/>
                    <a:pt x="16" y="40"/>
                  </a:cubicBezTo>
                  <a:cubicBezTo>
                    <a:pt x="23" y="40"/>
                    <a:pt x="27" y="38"/>
                    <a:pt x="28" y="37"/>
                  </a:cubicBezTo>
                  <a:cubicBezTo>
                    <a:pt x="28" y="37"/>
                    <a:pt x="28" y="37"/>
                    <a:pt x="28" y="37"/>
                  </a:cubicBezTo>
                  <a:cubicBezTo>
                    <a:pt x="28" y="37"/>
                    <a:pt x="28" y="37"/>
                    <a:pt x="28" y="37"/>
                  </a:cubicBezTo>
                  <a:cubicBezTo>
                    <a:pt x="28" y="35"/>
                    <a:pt x="28" y="35"/>
                    <a:pt x="28" y="35"/>
                  </a:cubicBezTo>
                  <a:cubicBezTo>
                    <a:pt x="28" y="35"/>
                    <a:pt x="29" y="35"/>
                    <a:pt x="29" y="34"/>
                  </a:cubicBezTo>
                  <a:cubicBezTo>
                    <a:pt x="29" y="34"/>
                    <a:pt x="29" y="34"/>
                    <a:pt x="29" y="34"/>
                  </a:cubicBezTo>
                  <a:cubicBezTo>
                    <a:pt x="29" y="34"/>
                    <a:pt x="29" y="34"/>
                    <a:pt x="29" y="34"/>
                  </a:cubicBezTo>
                  <a:cubicBezTo>
                    <a:pt x="29" y="34"/>
                    <a:pt x="29" y="34"/>
                    <a:pt x="29" y="34"/>
                  </a:cubicBezTo>
                  <a:cubicBezTo>
                    <a:pt x="29" y="34"/>
                    <a:pt x="29" y="34"/>
                    <a:pt x="29" y="34"/>
                  </a:cubicBezTo>
                  <a:cubicBezTo>
                    <a:pt x="29" y="31"/>
                    <a:pt x="29" y="28"/>
                    <a:pt x="29" y="25"/>
                  </a:cubicBezTo>
                  <a:cubicBezTo>
                    <a:pt x="31" y="26"/>
                    <a:pt x="32" y="27"/>
                    <a:pt x="33" y="27"/>
                  </a:cubicBezTo>
                  <a:cubicBezTo>
                    <a:pt x="35" y="27"/>
                    <a:pt x="38" y="26"/>
                    <a:pt x="39" y="24"/>
                  </a:cubicBezTo>
                  <a:cubicBezTo>
                    <a:pt x="42" y="22"/>
                    <a:pt x="44" y="17"/>
                    <a:pt x="42" y="11"/>
                  </a:cubicBezTo>
                  <a:cubicBezTo>
                    <a:pt x="40" y="8"/>
                    <a:pt x="38" y="7"/>
                    <a:pt x="35" y="7"/>
                  </a:cubicBezTo>
                  <a:cubicBezTo>
                    <a:pt x="35" y="7"/>
                    <a:pt x="35" y="7"/>
                    <a:pt x="35" y="7"/>
                  </a:cubicBezTo>
                  <a:cubicBezTo>
                    <a:pt x="33" y="7"/>
                    <a:pt x="31" y="7"/>
                    <a:pt x="30" y="9"/>
                  </a:cubicBezTo>
                  <a:cubicBezTo>
                    <a:pt x="30" y="9"/>
                    <a:pt x="30" y="9"/>
                    <a:pt x="30" y="9"/>
                  </a:cubicBezTo>
                  <a:cubicBezTo>
                    <a:pt x="30" y="9"/>
                    <a:pt x="30" y="9"/>
                    <a:pt x="30" y="9"/>
                  </a:cubicBezTo>
                  <a:cubicBezTo>
                    <a:pt x="30" y="8"/>
                    <a:pt x="30" y="6"/>
                    <a:pt x="30" y="5"/>
                  </a:cubicBezTo>
                  <a:cubicBezTo>
                    <a:pt x="30" y="5"/>
                    <a:pt x="30" y="5"/>
                    <a:pt x="30" y="5"/>
                  </a:cubicBezTo>
                  <a:cubicBezTo>
                    <a:pt x="30" y="4"/>
                    <a:pt x="30" y="2"/>
                    <a:pt x="26" y="1"/>
                  </a:cubicBezTo>
                  <a:cubicBezTo>
                    <a:pt x="25" y="0"/>
                    <a:pt x="21" y="0"/>
                    <a:pt x="1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51" name="ïṡľïdè"/>
            <p:cNvSpPr/>
            <p:nvPr/>
          </p:nvSpPr>
          <p:spPr bwMode="auto">
            <a:xfrm>
              <a:off x="3396" y="2220"/>
              <a:ext cx="112" cy="78"/>
            </a:xfrm>
            <a:custGeom>
              <a:avLst/>
              <a:gdLst>
                <a:gd name="T0" fmla="*/ 18 w 47"/>
                <a:gd name="T1" fmla="*/ 22 h 33"/>
                <a:gd name="T2" fmla="*/ 17 w 47"/>
                <a:gd name="T3" fmla="*/ 22 h 33"/>
                <a:gd name="T4" fmla="*/ 3 w 47"/>
                <a:gd name="T5" fmla="*/ 19 h 33"/>
                <a:gd name="T6" fmla="*/ 1 w 47"/>
                <a:gd name="T7" fmla="*/ 11 h 33"/>
                <a:gd name="T8" fmla="*/ 16 w 47"/>
                <a:gd name="T9" fmla="*/ 2 h 33"/>
                <a:gd name="T10" fmla="*/ 19 w 47"/>
                <a:gd name="T11" fmla="*/ 2 h 33"/>
                <a:gd name="T12" fmla="*/ 24 w 47"/>
                <a:gd name="T13" fmla="*/ 1 h 33"/>
                <a:gd name="T14" fmla="*/ 32 w 47"/>
                <a:gd name="T15" fmla="*/ 1 h 33"/>
                <a:gd name="T16" fmla="*/ 44 w 47"/>
                <a:gd name="T17" fmla="*/ 7 h 33"/>
                <a:gd name="T18" fmla="*/ 44 w 47"/>
                <a:gd name="T19" fmla="*/ 7 h 33"/>
                <a:gd name="T20" fmla="*/ 41 w 47"/>
                <a:gd name="T21" fmla="*/ 20 h 33"/>
                <a:gd name="T22" fmla="*/ 35 w 47"/>
                <a:gd name="T23" fmla="*/ 27 h 33"/>
                <a:gd name="T24" fmla="*/ 33 w 47"/>
                <a:gd name="T25" fmla="*/ 31 h 33"/>
                <a:gd name="T26" fmla="*/ 34 w 47"/>
                <a:gd name="T27" fmla="*/ 27 h 33"/>
                <a:gd name="T28" fmla="*/ 35 w 47"/>
                <a:gd name="T29" fmla="*/ 22 h 33"/>
                <a:gd name="T30" fmla="*/ 33 w 47"/>
                <a:gd name="T31" fmla="*/ 21 h 33"/>
                <a:gd name="T32" fmla="*/ 31 w 47"/>
                <a:gd name="T33" fmla="*/ 21 h 33"/>
                <a:gd name="T34" fmla="*/ 25 w 47"/>
                <a:gd name="T35" fmla="*/ 22 h 33"/>
                <a:gd name="T36" fmla="*/ 18 w 47"/>
                <a:gd name="T37" fmla="*/ 22 h 33"/>
                <a:gd name="T38" fmla="*/ 32 w 47"/>
                <a:gd name="T39" fmla="*/ 0 h 33"/>
                <a:gd name="T40" fmla="*/ 24 w 47"/>
                <a:gd name="T41" fmla="*/ 0 h 33"/>
                <a:gd name="T42" fmla="*/ 19 w 47"/>
                <a:gd name="T43" fmla="*/ 1 h 33"/>
                <a:gd name="T44" fmla="*/ 16 w 47"/>
                <a:gd name="T45" fmla="*/ 1 h 33"/>
                <a:gd name="T46" fmla="*/ 0 w 47"/>
                <a:gd name="T47" fmla="*/ 11 h 33"/>
                <a:gd name="T48" fmla="*/ 3 w 47"/>
                <a:gd name="T49" fmla="*/ 19 h 33"/>
                <a:gd name="T50" fmla="*/ 17 w 47"/>
                <a:gd name="T51" fmla="*/ 23 h 33"/>
                <a:gd name="T52" fmla="*/ 18 w 47"/>
                <a:gd name="T53" fmla="*/ 23 h 33"/>
                <a:gd name="T54" fmla="*/ 25 w 47"/>
                <a:gd name="T55" fmla="*/ 22 h 33"/>
                <a:gd name="T56" fmla="*/ 31 w 47"/>
                <a:gd name="T57" fmla="*/ 22 h 33"/>
                <a:gd name="T58" fmla="*/ 33 w 47"/>
                <a:gd name="T59" fmla="*/ 22 h 33"/>
                <a:gd name="T60" fmla="*/ 34 w 47"/>
                <a:gd name="T61" fmla="*/ 22 h 33"/>
                <a:gd name="T62" fmla="*/ 33 w 47"/>
                <a:gd name="T63" fmla="*/ 27 h 33"/>
                <a:gd name="T64" fmla="*/ 31 w 47"/>
                <a:gd name="T65" fmla="*/ 32 h 33"/>
                <a:gd name="T66" fmla="*/ 31 w 47"/>
                <a:gd name="T67" fmla="*/ 33 h 33"/>
                <a:gd name="T68" fmla="*/ 32 w 47"/>
                <a:gd name="T69" fmla="*/ 33 h 33"/>
                <a:gd name="T70" fmla="*/ 32 w 47"/>
                <a:gd name="T71" fmla="*/ 33 h 33"/>
                <a:gd name="T72" fmla="*/ 36 w 47"/>
                <a:gd name="T73" fmla="*/ 28 h 33"/>
                <a:gd name="T74" fmla="*/ 41 w 47"/>
                <a:gd name="T75" fmla="*/ 21 h 33"/>
                <a:gd name="T76" fmla="*/ 45 w 47"/>
                <a:gd name="T77" fmla="*/ 7 h 33"/>
                <a:gd name="T78" fmla="*/ 45 w 47"/>
                <a:gd name="T79" fmla="*/ 6 h 33"/>
                <a:gd name="T80" fmla="*/ 45 w 47"/>
                <a:gd name="T81" fmla="*/ 6 h 33"/>
                <a:gd name="T82" fmla="*/ 44 w 47"/>
                <a:gd name="T83" fmla="*/ 5 h 33"/>
                <a:gd name="T84" fmla="*/ 44 w 47"/>
                <a:gd name="T85" fmla="*/ 5 h 33"/>
                <a:gd name="T86" fmla="*/ 32 w 47"/>
                <a:gd name="T8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33">
                  <a:moveTo>
                    <a:pt x="18" y="22"/>
                  </a:moveTo>
                  <a:cubicBezTo>
                    <a:pt x="17" y="22"/>
                    <a:pt x="17" y="22"/>
                    <a:pt x="17" y="22"/>
                  </a:cubicBezTo>
                  <a:cubicBezTo>
                    <a:pt x="12" y="22"/>
                    <a:pt x="6" y="22"/>
                    <a:pt x="3" y="19"/>
                  </a:cubicBezTo>
                  <a:cubicBezTo>
                    <a:pt x="2" y="17"/>
                    <a:pt x="1" y="14"/>
                    <a:pt x="1" y="11"/>
                  </a:cubicBezTo>
                  <a:cubicBezTo>
                    <a:pt x="2" y="2"/>
                    <a:pt x="9" y="2"/>
                    <a:pt x="16" y="2"/>
                  </a:cubicBezTo>
                  <a:cubicBezTo>
                    <a:pt x="17" y="2"/>
                    <a:pt x="18" y="2"/>
                    <a:pt x="19" y="2"/>
                  </a:cubicBezTo>
                  <a:cubicBezTo>
                    <a:pt x="21" y="2"/>
                    <a:pt x="22" y="2"/>
                    <a:pt x="24" y="1"/>
                  </a:cubicBezTo>
                  <a:cubicBezTo>
                    <a:pt x="27" y="1"/>
                    <a:pt x="29" y="1"/>
                    <a:pt x="32" y="1"/>
                  </a:cubicBezTo>
                  <a:cubicBezTo>
                    <a:pt x="38" y="1"/>
                    <a:pt x="42" y="3"/>
                    <a:pt x="44" y="7"/>
                  </a:cubicBezTo>
                  <a:cubicBezTo>
                    <a:pt x="44" y="7"/>
                    <a:pt x="44" y="7"/>
                    <a:pt x="44" y="7"/>
                  </a:cubicBezTo>
                  <a:cubicBezTo>
                    <a:pt x="46" y="12"/>
                    <a:pt x="45" y="17"/>
                    <a:pt x="41" y="20"/>
                  </a:cubicBezTo>
                  <a:cubicBezTo>
                    <a:pt x="40" y="20"/>
                    <a:pt x="39" y="22"/>
                    <a:pt x="35" y="27"/>
                  </a:cubicBezTo>
                  <a:cubicBezTo>
                    <a:pt x="35" y="28"/>
                    <a:pt x="34" y="30"/>
                    <a:pt x="33" y="31"/>
                  </a:cubicBezTo>
                  <a:cubicBezTo>
                    <a:pt x="33" y="29"/>
                    <a:pt x="34" y="28"/>
                    <a:pt x="34" y="27"/>
                  </a:cubicBezTo>
                  <a:cubicBezTo>
                    <a:pt x="35" y="25"/>
                    <a:pt x="35" y="23"/>
                    <a:pt x="35" y="22"/>
                  </a:cubicBezTo>
                  <a:cubicBezTo>
                    <a:pt x="35" y="21"/>
                    <a:pt x="34" y="21"/>
                    <a:pt x="33" y="21"/>
                  </a:cubicBezTo>
                  <a:cubicBezTo>
                    <a:pt x="32" y="21"/>
                    <a:pt x="32" y="21"/>
                    <a:pt x="31" y="21"/>
                  </a:cubicBezTo>
                  <a:cubicBezTo>
                    <a:pt x="29" y="21"/>
                    <a:pt x="27" y="21"/>
                    <a:pt x="25" y="22"/>
                  </a:cubicBezTo>
                  <a:cubicBezTo>
                    <a:pt x="22" y="22"/>
                    <a:pt x="20" y="22"/>
                    <a:pt x="18" y="22"/>
                  </a:cubicBezTo>
                  <a:moveTo>
                    <a:pt x="32" y="0"/>
                  </a:moveTo>
                  <a:cubicBezTo>
                    <a:pt x="29" y="0"/>
                    <a:pt x="27" y="0"/>
                    <a:pt x="24" y="0"/>
                  </a:cubicBezTo>
                  <a:cubicBezTo>
                    <a:pt x="22" y="1"/>
                    <a:pt x="21" y="1"/>
                    <a:pt x="19" y="1"/>
                  </a:cubicBezTo>
                  <a:cubicBezTo>
                    <a:pt x="18" y="1"/>
                    <a:pt x="17" y="1"/>
                    <a:pt x="16" y="1"/>
                  </a:cubicBezTo>
                  <a:cubicBezTo>
                    <a:pt x="9" y="1"/>
                    <a:pt x="1" y="1"/>
                    <a:pt x="0" y="11"/>
                  </a:cubicBezTo>
                  <a:cubicBezTo>
                    <a:pt x="0" y="15"/>
                    <a:pt x="1" y="17"/>
                    <a:pt x="3" y="19"/>
                  </a:cubicBezTo>
                  <a:cubicBezTo>
                    <a:pt x="6" y="23"/>
                    <a:pt x="12" y="23"/>
                    <a:pt x="17" y="23"/>
                  </a:cubicBezTo>
                  <a:cubicBezTo>
                    <a:pt x="18" y="23"/>
                    <a:pt x="18" y="23"/>
                    <a:pt x="18" y="23"/>
                  </a:cubicBezTo>
                  <a:cubicBezTo>
                    <a:pt x="20" y="23"/>
                    <a:pt x="23" y="23"/>
                    <a:pt x="25" y="22"/>
                  </a:cubicBezTo>
                  <a:cubicBezTo>
                    <a:pt x="27" y="22"/>
                    <a:pt x="29" y="22"/>
                    <a:pt x="31" y="22"/>
                  </a:cubicBezTo>
                  <a:cubicBezTo>
                    <a:pt x="32" y="22"/>
                    <a:pt x="32" y="22"/>
                    <a:pt x="33" y="22"/>
                  </a:cubicBezTo>
                  <a:cubicBezTo>
                    <a:pt x="34" y="22"/>
                    <a:pt x="34" y="22"/>
                    <a:pt x="34" y="22"/>
                  </a:cubicBezTo>
                  <a:cubicBezTo>
                    <a:pt x="35" y="23"/>
                    <a:pt x="34" y="25"/>
                    <a:pt x="33" y="27"/>
                  </a:cubicBezTo>
                  <a:cubicBezTo>
                    <a:pt x="33" y="28"/>
                    <a:pt x="32" y="30"/>
                    <a:pt x="31" y="32"/>
                  </a:cubicBezTo>
                  <a:cubicBezTo>
                    <a:pt x="31" y="33"/>
                    <a:pt x="31" y="33"/>
                    <a:pt x="31" y="33"/>
                  </a:cubicBezTo>
                  <a:cubicBezTo>
                    <a:pt x="32" y="33"/>
                    <a:pt x="32" y="33"/>
                    <a:pt x="32" y="33"/>
                  </a:cubicBezTo>
                  <a:cubicBezTo>
                    <a:pt x="32" y="33"/>
                    <a:pt x="32" y="33"/>
                    <a:pt x="32" y="33"/>
                  </a:cubicBezTo>
                  <a:cubicBezTo>
                    <a:pt x="32" y="33"/>
                    <a:pt x="32" y="33"/>
                    <a:pt x="36" y="28"/>
                  </a:cubicBezTo>
                  <a:cubicBezTo>
                    <a:pt x="38" y="25"/>
                    <a:pt x="41" y="21"/>
                    <a:pt x="41" y="21"/>
                  </a:cubicBezTo>
                  <a:cubicBezTo>
                    <a:pt x="46" y="18"/>
                    <a:pt x="47" y="12"/>
                    <a:pt x="45" y="7"/>
                  </a:cubicBezTo>
                  <a:cubicBezTo>
                    <a:pt x="45" y="6"/>
                    <a:pt x="45" y="6"/>
                    <a:pt x="45" y="6"/>
                  </a:cubicBezTo>
                  <a:cubicBezTo>
                    <a:pt x="45" y="6"/>
                    <a:pt x="45" y="6"/>
                    <a:pt x="45" y="6"/>
                  </a:cubicBezTo>
                  <a:cubicBezTo>
                    <a:pt x="44" y="5"/>
                    <a:pt x="44" y="5"/>
                    <a:pt x="44" y="5"/>
                  </a:cubicBezTo>
                  <a:cubicBezTo>
                    <a:pt x="44" y="5"/>
                    <a:pt x="44" y="5"/>
                    <a:pt x="44" y="5"/>
                  </a:cubicBezTo>
                  <a:cubicBezTo>
                    <a:pt x="41" y="0"/>
                    <a:pt x="36" y="0"/>
                    <a:pt x="3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52" name="îṡḻiḋè"/>
            <p:cNvSpPr/>
            <p:nvPr/>
          </p:nvSpPr>
          <p:spPr bwMode="auto">
            <a:xfrm>
              <a:off x="3439" y="2239"/>
              <a:ext cx="12" cy="14"/>
            </a:xfrm>
            <a:custGeom>
              <a:avLst/>
              <a:gdLst>
                <a:gd name="T0" fmla="*/ 3 w 5"/>
                <a:gd name="T1" fmla="*/ 5 h 6"/>
                <a:gd name="T2" fmla="*/ 2 w 5"/>
                <a:gd name="T3" fmla="*/ 4 h 6"/>
                <a:gd name="T4" fmla="*/ 2 w 5"/>
                <a:gd name="T5" fmla="*/ 1 h 6"/>
                <a:gd name="T6" fmla="*/ 3 w 5"/>
                <a:gd name="T7" fmla="*/ 1 h 6"/>
                <a:gd name="T8" fmla="*/ 4 w 5"/>
                <a:gd name="T9" fmla="*/ 1 h 6"/>
                <a:gd name="T10" fmla="*/ 4 w 5"/>
                <a:gd name="T11" fmla="*/ 2 h 6"/>
                <a:gd name="T12" fmla="*/ 4 w 5"/>
                <a:gd name="T13" fmla="*/ 3 h 6"/>
                <a:gd name="T14" fmla="*/ 4 w 5"/>
                <a:gd name="T15" fmla="*/ 4 h 6"/>
                <a:gd name="T16" fmla="*/ 3 w 5"/>
                <a:gd name="T17" fmla="*/ 5 h 6"/>
                <a:gd name="T18" fmla="*/ 3 w 5"/>
                <a:gd name="T19" fmla="*/ 0 h 6"/>
                <a:gd name="T20" fmla="*/ 1 w 5"/>
                <a:gd name="T21" fmla="*/ 1 h 6"/>
                <a:gd name="T22" fmla="*/ 1 w 5"/>
                <a:gd name="T23" fmla="*/ 4 h 6"/>
                <a:gd name="T24" fmla="*/ 3 w 5"/>
                <a:gd name="T25" fmla="*/ 6 h 6"/>
                <a:gd name="T26" fmla="*/ 4 w 5"/>
                <a:gd name="T27" fmla="*/ 5 h 6"/>
                <a:gd name="T28" fmla="*/ 5 w 5"/>
                <a:gd name="T29" fmla="*/ 4 h 6"/>
                <a:gd name="T30" fmla="*/ 5 w 5"/>
                <a:gd name="T31" fmla="*/ 2 h 6"/>
                <a:gd name="T32" fmla="*/ 5 w 5"/>
                <a:gd name="T33" fmla="*/ 1 h 6"/>
                <a:gd name="T34" fmla="*/ 3 w 5"/>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6">
                  <a:moveTo>
                    <a:pt x="3" y="5"/>
                  </a:moveTo>
                  <a:cubicBezTo>
                    <a:pt x="3" y="5"/>
                    <a:pt x="2" y="4"/>
                    <a:pt x="2" y="4"/>
                  </a:cubicBezTo>
                  <a:cubicBezTo>
                    <a:pt x="1" y="3"/>
                    <a:pt x="1" y="2"/>
                    <a:pt x="2" y="1"/>
                  </a:cubicBezTo>
                  <a:cubicBezTo>
                    <a:pt x="2" y="1"/>
                    <a:pt x="3" y="1"/>
                    <a:pt x="3" y="1"/>
                  </a:cubicBezTo>
                  <a:cubicBezTo>
                    <a:pt x="4" y="1"/>
                    <a:pt x="4" y="1"/>
                    <a:pt x="4" y="1"/>
                  </a:cubicBezTo>
                  <a:cubicBezTo>
                    <a:pt x="4" y="2"/>
                    <a:pt x="4" y="2"/>
                    <a:pt x="4" y="2"/>
                  </a:cubicBezTo>
                  <a:cubicBezTo>
                    <a:pt x="4" y="3"/>
                    <a:pt x="4" y="3"/>
                    <a:pt x="4" y="3"/>
                  </a:cubicBezTo>
                  <a:cubicBezTo>
                    <a:pt x="4" y="4"/>
                    <a:pt x="4" y="4"/>
                    <a:pt x="4" y="4"/>
                  </a:cubicBezTo>
                  <a:cubicBezTo>
                    <a:pt x="4" y="5"/>
                    <a:pt x="3" y="5"/>
                    <a:pt x="3" y="5"/>
                  </a:cubicBezTo>
                  <a:moveTo>
                    <a:pt x="3" y="0"/>
                  </a:moveTo>
                  <a:cubicBezTo>
                    <a:pt x="2" y="0"/>
                    <a:pt x="2" y="0"/>
                    <a:pt x="1" y="1"/>
                  </a:cubicBezTo>
                  <a:cubicBezTo>
                    <a:pt x="0" y="2"/>
                    <a:pt x="0" y="3"/>
                    <a:pt x="1" y="4"/>
                  </a:cubicBezTo>
                  <a:cubicBezTo>
                    <a:pt x="1" y="5"/>
                    <a:pt x="2" y="6"/>
                    <a:pt x="3" y="6"/>
                  </a:cubicBezTo>
                  <a:cubicBezTo>
                    <a:pt x="3" y="6"/>
                    <a:pt x="4" y="5"/>
                    <a:pt x="4" y="5"/>
                  </a:cubicBezTo>
                  <a:cubicBezTo>
                    <a:pt x="5" y="5"/>
                    <a:pt x="5" y="4"/>
                    <a:pt x="5" y="4"/>
                  </a:cubicBezTo>
                  <a:cubicBezTo>
                    <a:pt x="5" y="3"/>
                    <a:pt x="5" y="3"/>
                    <a:pt x="5" y="2"/>
                  </a:cubicBezTo>
                  <a:cubicBezTo>
                    <a:pt x="5" y="1"/>
                    <a:pt x="5" y="1"/>
                    <a:pt x="5" y="1"/>
                  </a:cubicBezTo>
                  <a:cubicBezTo>
                    <a:pt x="5" y="0"/>
                    <a:pt x="4" y="0"/>
                    <a:pt x="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53" name="îśḷïḍé"/>
            <p:cNvSpPr/>
            <p:nvPr/>
          </p:nvSpPr>
          <p:spPr bwMode="auto">
            <a:xfrm>
              <a:off x="3461" y="2239"/>
              <a:ext cx="16" cy="21"/>
            </a:xfrm>
            <a:custGeom>
              <a:avLst/>
              <a:gdLst>
                <a:gd name="T0" fmla="*/ 1 w 7"/>
                <a:gd name="T1" fmla="*/ 8 h 9"/>
                <a:gd name="T2" fmla="*/ 1 w 7"/>
                <a:gd name="T3" fmla="*/ 2 h 9"/>
                <a:gd name="T4" fmla="*/ 1 w 7"/>
                <a:gd name="T5" fmla="*/ 2 h 9"/>
                <a:gd name="T6" fmla="*/ 1 w 7"/>
                <a:gd name="T7" fmla="*/ 1 h 9"/>
                <a:gd name="T8" fmla="*/ 6 w 7"/>
                <a:gd name="T9" fmla="*/ 7 h 9"/>
                <a:gd name="T10" fmla="*/ 1 w 7"/>
                <a:gd name="T11" fmla="*/ 8 h 9"/>
                <a:gd name="T12" fmla="*/ 1 w 7"/>
                <a:gd name="T13" fmla="*/ 0 h 9"/>
                <a:gd name="T14" fmla="*/ 1 w 7"/>
                <a:gd name="T15" fmla="*/ 1 h 9"/>
                <a:gd name="T16" fmla="*/ 0 w 7"/>
                <a:gd name="T17" fmla="*/ 1 h 9"/>
                <a:gd name="T18" fmla="*/ 0 w 7"/>
                <a:gd name="T19" fmla="*/ 2 h 9"/>
                <a:gd name="T20" fmla="*/ 0 w 7"/>
                <a:gd name="T21" fmla="*/ 9 h 9"/>
                <a:gd name="T22" fmla="*/ 1 w 7"/>
                <a:gd name="T23" fmla="*/ 9 h 9"/>
                <a:gd name="T24" fmla="*/ 7 w 7"/>
                <a:gd name="T25" fmla="*/ 7 h 9"/>
                <a:gd name="T26" fmla="*/ 7 w 7"/>
                <a:gd name="T27" fmla="*/ 7 h 9"/>
                <a:gd name="T28" fmla="*/ 1 w 7"/>
                <a:gd name="T29" fmla="*/ 0 h 9"/>
                <a:gd name="T30" fmla="*/ 1 w 7"/>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9">
                  <a:moveTo>
                    <a:pt x="1" y="8"/>
                  </a:moveTo>
                  <a:cubicBezTo>
                    <a:pt x="1" y="6"/>
                    <a:pt x="1" y="4"/>
                    <a:pt x="1" y="2"/>
                  </a:cubicBezTo>
                  <a:cubicBezTo>
                    <a:pt x="1" y="2"/>
                    <a:pt x="1" y="2"/>
                    <a:pt x="1" y="2"/>
                  </a:cubicBezTo>
                  <a:cubicBezTo>
                    <a:pt x="1" y="1"/>
                    <a:pt x="1" y="1"/>
                    <a:pt x="1" y="1"/>
                  </a:cubicBezTo>
                  <a:cubicBezTo>
                    <a:pt x="3" y="3"/>
                    <a:pt x="5" y="5"/>
                    <a:pt x="6" y="7"/>
                  </a:cubicBezTo>
                  <a:cubicBezTo>
                    <a:pt x="1" y="8"/>
                    <a:pt x="1" y="8"/>
                    <a:pt x="1" y="8"/>
                  </a:cubicBezTo>
                  <a:moveTo>
                    <a:pt x="1" y="0"/>
                  </a:moveTo>
                  <a:cubicBezTo>
                    <a:pt x="1" y="1"/>
                    <a:pt x="1" y="1"/>
                    <a:pt x="1" y="1"/>
                  </a:cubicBezTo>
                  <a:cubicBezTo>
                    <a:pt x="0" y="1"/>
                    <a:pt x="0" y="1"/>
                    <a:pt x="0" y="1"/>
                  </a:cubicBezTo>
                  <a:cubicBezTo>
                    <a:pt x="0" y="2"/>
                    <a:pt x="0" y="2"/>
                    <a:pt x="0" y="2"/>
                  </a:cubicBezTo>
                  <a:cubicBezTo>
                    <a:pt x="0" y="5"/>
                    <a:pt x="0" y="7"/>
                    <a:pt x="0" y="9"/>
                  </a:cubicBezTo>
                  <a:cubicBezTo>
                    <a:pt x="1" y="9"/>
                    <a:pt x="1" y="9"/>
                    <a:pt x="1" y="9"/>
                  </a:cubicBezTo>
                  <a:cubicBezTo>
                    <a:pt x="7" y="7"/>
                    <a:pt x="7" y="7"/>
                    <a:pt x="7" y="7"/>
                  </a:cubicBezTo>
                  <a:cubicBezTo>
                    <a:pt x="7" y="7"/>
                    <a:pt x="7" y="7"/>
                    <a:pt x="7" y="7"/>
                  </a:cubicBezTo>
                  <a:cubicBezTo>
                    <a:pt x="6" y="4"/>
                    <a:pt x="4" y="2"/>
                    <a:pt x="1" y="0"/>
                  </a:cubicBezTo>
                  <a:cubicBezTo>
                    <a:pt x="1" y="0"/>
                    <a:pt x="1" y="0"/>
                    <a:pt x="1"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54" name="i$1iḑé"/>
            <p:cNvSpPr/>
            <p:nvPr/>
          </p:nvSpPr>
          <p:spPr bwMode="auto">
            <a:xfrm>
              <a:off x="3670" y="2550"/>
              <a:ext cx="88" cy="79"/>
            </a:xfrm>
            <a:custGeom>
              <a:avLst/>
              <a:gdLst>
                <a:gd name="T0" fmla="*/ 29 w 37"/>
                <a:gd name="T1" fmla="*/ 29 h 33"/>
                <a:gd name="T2" fmla="*/ 27 w 37"/>
                <a:gd name="T3" fmla="*/ 30 h 33"/>
                <a:gd name="T4" fmla="*/ 27 w 37"/>
                <a:gd name="T5" fmla="*/ 29 h 33"/>
                <a:gd name="T6" fmla="*/ 9 w 37"/>
                <a:gd name="T7" fmla="*/ 27 h 33"/>
                <a:gd name="T8" fmla="*/ 11 w 37"/>
                <a:gd name="T9" fmla="*/ 26 h 33"/>
                <a:gd name="T10" fmla="*/ 7 w 37"/>
                <a:gd name="T11" fmla="*/ 26 h 33"/>
                <a:gd name="T12" fmla="*/ 33 w 37"/>
                <a:gd name="T13" fmla="*/ 19 h 33"/>
                <a:gd name="T14" fmla="*/ 11 w 37"/>
                <a:gd name="T15" fmla="*/ 19 h 33"/>
                <a:gd name="T16" fmla="*/ 8 w 37"/>
                <a:gd name="T17" fmla="*/ 20 h 33"/>
                <a:gd name="T18" fmla="*/ 13 w 37"/>
                <a:gd name="T19" fmla="*/ 24 h 33"/>
                <a:gd name="T20" fmla="*/ 16 w 37"/>
                <a:gd name="T21" fmla="*/ 31 h 33"/>
                <a:gd name="T22" fmla="*/ 15 w 37"/>
                <a:gd name="T23" fmla="*/ 22 h 33"/>
                <a:gd name="T24" fmla="*/ 14 w 37"/>
                <a:gd name="T25" fmla="*/ 19 h 33"/>
                <a:gd name="T26" fmla="*/ 22 w 37"/>
                <a:gd name="T27" fmla="*/ 28 h 33"/>
                <a:gd name="T28" fmla="*/ 13 w 37"/>
                <a:gd name="T29" fmla="*/ 28 h 33"/>
                <a:gd name="T30" fmla="*/ 12 w 37"/>
                <a:gd name="T31" fmla="*/ 18 h 33"/>
                <a:gd name="T32" fmla="*/ 11 w 37"/>
                <a:gd name="T33" fmla="*/ 17 h 33"/>
                <a:gd name="T34" fmla="*/ 7 w 37"/>
                <a:gd name="T35" fmla="*/ 17 h 33"/>
                <a:gd name="T36" fmla="*/ 9 w 37"/>
                <a:gd name="T37" fmla="*/ 19 h 33"/>
                <a:gd name="T38" fmla="*/ 12 w 37"/>
                <a:gd name="T39" fmla="*/ 17 h 33"/>
                <a:gd name="T40" fmla="*/ 6 w 37"/>
                <a:gd name="T41" fmla="*/ 17 h 33"/>
                <a:gd name="T42" fmla="*/ 33 w 37"/>
                <a:gd name="T43" fmla="*/ 19 h 33"/>
                <a:gd name="T44" fmla="*/ 29 w 37"/>
                <a:gd name="T45" fmla="*/ 15 h 33"/>
                <a:gd name="T46" fmla="*/ 30 w 37"/>
                <a:gd name="T47" fmla="*/ 17 h 33"/>
                <a:gd name="T48" fmla="*/ 31 w 37"/>
                <a:gd name="T49" fmla="*/ 15 h 33"/>
                <a:gd name="T50" fmla="*/ 33 w 37"/>
                <a:gd name="T51" fmla="*/ 15 h 33"/>
                <a:gd name="T52" fmla="*/ 33 w 37"/>
                <a:gd name="T53" fmla="*/ 19 h 33"/>
                <a:gd name="T54" fmla="*/ 18 w 37"/>
                <a:gd name="T55" fmla="*/ 12 h 33"/>
                <a:gd name="T56" fmla="*/ 17 w 37"/>
                <a:gd name="T57" fmla="*/ 11 h 33"/>
                <a:gd name="T58" fmla="*/ 15 w 37"/>
                <a:gd name="T59" fmla="*/ 12 h 33"/>
                <a:gd name="T60" fmla="*/ 22 w 37"/>
                <a:gd name="T61" fmla="*/ 9 h 33"/>
                <a:gd name="T62" fmla="*/ 10 w 37"/>
                <a:gd name="T63" fmla="*/ 9 h 33"/>
                <a:gd name="T64" fmla="*/ 11 w 37"/>
                <a:gd name="T65" fmla="*/ 4 h 33"/>
                <a:gd name="T66" fmla="*/ 19 w 37"/>
                <a:gd name="T67" fmla="*/ 7 h 33"/>
                <a:gd name="T68" fmla="*/ 18 w 37"/>
                <a:gd name="T69" fmla="*/ 7 h 33"/>
                <a:gd name="T70" fmla="*/ 18 w 37"/>
                <a:gd name="T71" fmla="*/ 10 h 33"/>
                <a:gd name="T72" fmla="*/ 13 w 37"/>
                <a:gd name="T73" fmla="*/ 7 h 33"/>
                <a:gd name="T74" fmla="*/ 26 w 37"/>
                <a:gd name="T75" fmla="*/ 12 h 33"/>
                <a:gd name="T76" fmla="*/ 32 w 37"/>
                <a:gd name="T77" fmla="*/ 8 h 33"/>
                <a:gd name="T78" fmla="*/ 22 w 37"/>
                <a:gd name="T79" fmla="*/ 24 h 33"/>
                <a:gd name="T80" fmla="*/ 19 w 37"/>
                <a:gd name="T81" fmla="*/ 16 h 33"/>
                <a:gd name="T82" fmla="*/ 22 w 37"/>
                <a:gd name="T83" fmla="*/ 2 h 33"/>
                <a:gd name="T84" fmla="*/ 27 w 37"/>
                <a:gd name="T85" fmla="*/ 16 h 33"/>
                <a:gd name="T86" fmla="*/ 33 w 37"/>
                <a:gd name="T87" fmla="*/ 21 h 33"/>
                <a:gd name="T88" fmla="*/ 23 w 37"/>
                <a:gd name="T89" fmla="*/ 28 h 33"/>
                <a:gd name="T90" fmla="*/ 13 w 37"/>
                <a:gd name="T91" fmla="*/ 16 h 33"/>
                <a:gd name="T92" fmla="*/ 6 w 37"/>
                <a:gd name="T93" fmla="*/ 12 h 33"/>
                <a:gd name="T94" fmla="*/ 14 w 37"/>
                <a:gd name="T95" fmla="*/ 13 h 33"/>
                <a:gd name="T96" fmla="*/ 19 w 37"/>
                <a:gd name="T97" fmla="*/ 18 h 33"/>
                <a:gd name="T98" fmla="*/ 22 w 37"/>
                <a:gd name="T99" fmla="*/ 1 h 33"/>
                <a:gd name="T100" fmla="*/ 7 w 37"/>
                <a:gd name="T101" fmla="*/ 8 h 33"/>
                <a:gd name="T102" fmla="*/ 6 w 37"/>
                <a:gd name="T103" fmla="*/ 25 h 33"/>
                <a:gd name="T104" fmla="*/ 15 w 37"/>
                <a:gd name="T105" fmla="*/ 33 h 33"/>
                <a:gd name="T106" fmla="*/ 26 w 37"/>
                <a:gd name="T107" fmla="*/ 31 h 33"/>
                <a:gd name="T108" fmla="*/ 29 w 37"/>
                <a:gd name="T109" fmla="*/ 30 h 33"/>
                <a:gd name="T110" fmla="*/ 36 w 37"/>
                <a:gd name="T111" fmla="*/ 22 h 33"/>
                <a:gd name="T112" fmla="*/ 33 w 37"/>
                <a:gd name="T11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 h="33">
                  <a:moveTo>
                    <a:pt x="25" y="30"/>
                  </a:moveTo>
                  <a:cubicBezTo>
                    <a:pt x="25" y="30"/>
                    <a:pt x="24" y="30"/>
                    <a:pt x="24" y="30"/>
                  </a:cubicBezTo>
                  <a:cubicBezTo>
                    <a:pt x="24" y="29"/>
                    <a:pt x="24" y="29"/>
                    <a:pt x="24" y="29"/>
                  </a:cubicBezTo>
                  <a:cubicBezTo>
                    <a:pt x="25" y="29"/>
                    <a:pt x="25" y="29"/>
                    <a:pt x="25" y="29"/>
                  </a:cubicBezTo>
                  <a:cubicBezTo>
                    <a:pt x="25" y="30"/>
                    <a:pt x="25" y="30"/>
                    <a:pt x="25" y="30"/>
                  </a:cubicBezTo>
                  <a:moveTo>
                    <a:pt x="29" y="29"/>
                  </a:moveTo>
                  <a:cubicBezTo>
                    <a:pt x="29" y="29"/>
                    <a:pt x="29" y="29"/>
                    <a:pt x="29" y="29"/>
                  </a:cubicBezTo>
                  <a:cubicBezTo>
                    <a:pt x="30" y="29"/>
                    <a:pt x="30" y="29"/>
                    <a:pt x="30" y="29"/>
                  </a:cubicBezTo>
                  <a:cubicBezTo>
                    <a:pt x="29" y="29"/>
                    <a:pt x="29" y="29"/>
                    <a:pt x="29" y="29"/>
                  </a:cubicBezTo>
                  <a:moveTo>
                    <a:pt x="27" y="30"/>
                  </a:moveTo>
                  <a:cubicBezTo>
                    <a:pt x="26" y="30"/>
                    <a:pt x="26" y="30"/>
                    <a:pt x="26" y="30"/>
                  </a:cubicBezTo>
                  <a:cubicBezTo>
                    <a:pt x="26" y="30"/>
                    <a:pt x="26" y="30"/>
                    <a:pt x="26" y="30"/>
                  </a:cubicBezTo>
                  <a:cubicBezTo>
                    <a:pt x="26" y="30"/>
                    <a:pt x="25" y="29"/>
                    <a:pt x="25" y="29"/>
                  </a:cubicBezTo>
                  <a:cubicBezTo>
                    <a:pt x="25" y="29"/>
                    <a:pt x="25" y="29"/>
                    <a:pt x="25" y="29"/>
                  </a:cubicBezTo>
                  <a:cubicBezTo>
                    <a:pt x="26" y="29"/>
                    <a:pt x="26" y="29"/>
                    <a:pt x="26" y="29"/>
                  </a:cubicBezTo>
                  <a:cubicBezTo>
                    <a:pt x="26" y="29"/>
                    <a:pt x="26" y="29"/>
                    <a:pt x="26" y="29"/>
                  </a:cubicBezTo>
                  <a:cubicBezTo>
                    <a:pt x="27" y="30"/>
                    <a:pt x="27" y="30"/>
                    <a:pt x="27" y="30"/>
                  </a:cubicBezTo>
                  <a:cubicBezTo>
                    <a:pt x="27" y="30"/>
                    <a:pt x="27" y="30"/>
                    <a:pt x="27" y="30"/>
                  </a:cubicBezTo>
                  <a:moveTo>
                    <a:pt x="28" y="29"/>
                  </a:moveTo>
                  <a:cubicBezTo>
                    <a:pt x="28" y="29"/>
                    <a:pt x="28" y="29"/>
                    <a:pt x="28" y="29"/>
                  </a:cubicBezTo>
                  <a:cubicBezTo>
                    <a:pt x="28" y="29"/>
                    <a:pt x="28" y="29"/>
                    <a:pt x="28" y="29"/>
                  </a:cubicBezTo>
                  <a:cubicBezTo>
                    <a:pt x="28" y="29"/>
                    <a:pt x="28" y="29"/>
                    <a:pt x="28" y="29"/>
                  </a:cubicBezTo>
                  <a:cubicBezTo>
                    <a:pt x="28" y="29"/>
                    <a:pt x="28" y="29"/>
                    <a:pt x="28" y="29"/>
                  </a:cubicBezTo>
                  <a:cubicBezTo>
                    <a:pt x="28" y="29"/>
                    <a:pt x="28" y="29"/>
                    <a:pt x="28" y="29"/>
                  </a:cubicBezTo>
                  <a:moveTo>
                    <a:pt x="27" y="30"/>
                  </a:moveTo>
                  <a:cubicBezTo>
                    <a:pt x="27" y="29"/>
                    <a:pt x="27" y="29"/>
                    <a:pt x="27" y="29"/>
                  </a:cubicBezTo>
                  <a:cubicBezTo>
                    <a:pt x="27" y="29"/>
                    <a:pt x="27" y="29"/>
                    <a:pt x="27" y="29"/>
                  </a:cubicBezTo>
                  <a:cubicBezTo>
                    <a:pt x="28" y="30"/>
                    <a:pt x="28" y="30"/>
                    <a:pt x="28" y="30"/>
                  </a:cubicBezTo>
                  <a:cubicBezTo>
                    <a:pt x="27" y="30"/>
                    <a:pt x="27" y="30"/>
                    <a:pt x="27" y="30"/>
                  </a:cubicBezTo>
                  <a:moveTo>
                    <a:pt x="10" y="30"/>
                  </a:moveTo>
                  <a:cubicBezTo>
                    <a:pt x="9" y="29"/>
                    <a:pt x="8" y="28"/>
                    <a:pt x="7" y="27"/>
                  </a:cubicBezTo>
                  <a:cubicBezTo>
                    <a:pt x="7" y="27"/>
                    <a:pt x="7" y="27"/>
                    <a:pt x="7" y="27"/>
                  </a:cubicBezTo>
                  <a:cubicBezTo>
                    <a:pt x="8" y="27"/>
                    <a:pt x="8" y="27"/>
                    <a:pt x="9" y="27"/>
                  </a:cubicBezTo>
                  <a:cubicBezTo>
                    <a:pt x="9" y="27"/>
                    <a:pt x="9" y="27"/>
                    <a:pt x="9" y="27"/>
                  </a:cubicBezTo>
                  <a:cubicBezTo>
                    <a:pt x="9" y="27"/>
                    <a:pt x="9" y="27"/>
                    <a:pt x="9" y="27"/>
                  </a:cubicBezTo>
                  <a:cubicBezTo>
                    <a:pt x="9" y="27"/>
                    <a:pt x="9" y="27"/>
                    <a:pt x="9" y="27"/>
                  </a:cubicBezTo>
                  <a:cubicBezTo>
                    <a:pt x="9" y="27"/>
                    <a:pt x="9" y="27"/>
                    <a:pt x="9" y="27"/>
                  </a:cubicBezTo>
                  <a:cubicBezTo>
                    <a:pt x="10" y="27"/>
                    <a:pt x="10" y="27"/>
                    <a:pt x="10" y="27"/>
                  </a:cubicBezTo>
                  <a:cubicBezTo>
                    <a:pt x="11" y="27"/>
                    <a:pt x="11" y="27"/>
                    <a:pt x="11" y="27"/>
                  </a:cubicBezTo>
                  <a:cubicBezTo>
                    <a:pt x="11" y="27"/>
                    <a:pt x="11" y="27"/>
                    <a:pt x="11" y="27"/>
                  </a:cubicBezTo>
                  <a:cubicBezTo>
                    <a:pt x="11" y="27"/>
                    <a:pt x="11" y="27"/>
                    <a:pt x="11" y="27"/>
                  </a:cubicBezTo>
                  <a:cubicBezTo>
                    <a:pt x="12" y="29"/>
                    <a:pt x="12" y="29"/>
                    <a:pt x="12" y="29"/>
                  </a:cubicBezTo>
                  <a:cubicBezTo>
                    <a:pt x="12" y="29"/>
                    <a:pt x="12" y="29"/>
                    <a:pt x="12" y="29"/>
                  </a:cubicBezTo>
                  <a:cubicBezTo>
                    <a:pt x="11" y="29"/>
                    <a:pt x="11" y="29"/>
                    <a:pt x="10" y="30"/>
                  </a:cubicBezTo>
                  <a:moveTo>
                    <a:pt x="11" y="26"/>
                  </a:moveTo>
                  <a:cubicBezTo>
                    <a:pt x="11" y="26"/>
                    <a:pt x="11" y="26"/>
                    <a:pt x="11" y="26"/>
                  </a:cubicBezTo>
                  <a:cubicBezTo>
                    <a:pt x="10" y="26"/>
                    <a:pt x="10" y="26"/>
                    <a:pt x="10" y="26"/>
                  </a:cubicBezTo>
                  <a:cubicBezTo>
                    <a:pt x="11" y="26"/>
                    <a:pt x="11" y="26"/>
                    <a:pt x="11" y="26"/>
                  </a:cubicBezTo>
                  <a:cubicBezTo>
                    <a:pt x="11" y="26"/>
                    <a:pt x="11" y="26"/>
                    <a:pt x="11" y="26"/>
                  </a:cubicBezTo>
                  <a:moveTo>
                    <a:pt x="7" y="26"/>
                  </a:moveTo>
                  <a:cubicBezTo>
                    <a:pt x="7" y="25"/>
                    <a:pt x="7" y="25"/>
                    <a:pt x="7" y="25"/>
                  </a:cubicBezTo>
                  <a:cubicBezTo>
                    <a:pt x="8" y="25"/>
                    <a:pt x="8" y="25"/>
                    <a:pt x="8" y="25"/>
                  </a:cubicBezTo>
                  <a:cubicBezTo>
                    <a:pt x="8" y="26"/>
                    <a:pt x="8" y="26"/>
                    <a:pt x="8" y="26"/>
                  </a:cubicBezTo>
                  <a:cubicBezTo>
                    <a:pt x="7" y="26"/>
                    <a:pt x="7" y="26"/>
                    <a:pt x="7" y="26"/>
                  </a:cubicBezTo>
                  <a:cubicBezTo>
                    <a:pt x="7" y="26"/>
                    <a:pt x="7" y="26"/>
                    <a:pt x="7" y="26"/>
                  </a:cubicBezTo>
                  <a:moveTo>
                    <a:pt x="10" y="26"/>
                  </a:moveTo>
                  <a:cubicBezTo>
                    <a:pt x="9" y="26"/>
                    <a:pt x="9" y="26"/>
                    <a:pt x="9" y="26"/>
                  </a:cubicBezTo>
                  <a:cubicBezTo>
                    <a:pt x="9" y="25"/>
                    <a:pt x="9" y="25"/>
                    <a:pt x="9" y="25"/>
                  </a:cubicBezTo>
                  <a:cubicBezTo>
                    <a:pt x="9" y="25"/>
                    <a:pt x="9" y="25"/>
                    <a:pt x="9" y="25"/>
                  </a:cubicBezTo>
                  <a:cubicBezTo>
                    <a:pt x="10" y="26"/>
                    <a:pt x="10" y="26"/>
                    <a:pt x="10" y="26"/>
                  </a:cubicBezTo>
                  <a:moveTo>
                    <a:pt x="33" y="19"/>
                  </a:moveTo>
                  <a:cubicBezTo>
                    <a:pt x="33" y="19"/>
                    <a:pt x="33" y="19"/>
                    <a:pt x="33" y="19"/>
                  </a:cubicBezTo>
                  <a:cubicBezTo>
                    <a:pt x="33" y="19"/>
                    <a:pt x="33" y="19"/>
                    <a:pt x="33" y="19"/>
                  </a:cubicBezTo>
                  <a:cubicBezTo>
                    <a:pt x="33" y="19"/>
                    <a:pt x="33" y="19"/>
                    <a:pt x="33" y="19"/>
                  </a:cubicBezTo>
                  <a:moveTo>
                    <a:pt x="16" y="20"/>
                  </a:moveTo>
                  <a:cubicBezTo>
                    <a:pt x="16" y="20"/>
                    <a:pt x="16" y="20"/>
                    <a:pt x="16" y="20"/>
                  </a:cubicBezTo>
                  <a:cubicBezTo>
                    <a:pt x="16" y="20"/>
                    <a:pt x="16" y="20"/>
                    <a:pt x="16" y="20"/>
                  </a:cubicBezTo>
                  <a:cubicBezTo>
                    <a:pt x="15" y="20"/>
                    <a:pt x="15" y="20"/>
                    <a:pt x="15" y="20"/>
                  </a:cubicBezTo>
                  <a:cubicBezTo>
                    <a:pt x="15" y="20"/>
                    <a:pt x="15" y="20"/>
                    <a:pt x="15" y="20"/>
                  </a:cubicBezTo>
                  <a:cubicBezTo>
                    <a:pt x="14" y="18"/>
                    <a:pt x="14" y="18"/>
                    <a:pt x="14" y="18"/>
                  </a:cubicBezTo>
                  <a:cubicBezTo>
                    <a:pt x="15" y="19"/>
                    <a:pt x="15" y="20"/>
                    <a:pt x="16" y="20"/>
                  </a:cubicBezTo>
                  <a:moveTo>
                    <a:pt x="11" y="19"/>
                  </a:moveTo>
                  <a:cubicBezTo>
                    <a:pt x="10" y="18"/>
                    <a:pt x="10" y="18"/>
                    <a:pt x="10" y="18"/>
                  </a:cubicBezTo>
                  <a:cubicBezTo>
                    <a:pt x="10" y="18"/>
                    <a:pt x="10" y="18"/>
                    <a:pt x="10" y="18"/>
                  </a:cubicBezTo>
                  <a:cubicBezTo>
                    <a:pt x="11" y="19"/>
                    <a:pt x="11" y="19"/>
                    <a:pt x="11" y="19"/>
                  </a:cubicBezTo>
                  <a:cubicBezTo>
                    <a:pt x="11" y="19"/>
                    <a:pt x="11" y="19"/>
                    <a:pt x="11" y="19"/>
                  </a:cubicBezTo>
                  <a:moveTo>
                    <a:pt x="7" y="24"/>
                  </a:moveTo>
                  <a:cubicBezTo>
                    <a:pt x="5" y="23"/>
                    <a:pt x="3" y="21"/>
                    <a:pt x="2" y="18"/>
                  </a:cubicBezTo>
                  <a:cubicBezTo>
                    <a:pt x="4" y="19"/>
                    <a:pt x="4" y="19"/>
                    <a:pt x="4" y="19"/>
                  </a:cubicBezTo>
                  <a:cubicBezTo>
                    <a:pt x="4" y="19"/>
                    <a:pt x="4" y="19"/>
                    <a:pt x="4" y="19"/>
                  </a:cubicBezTo>
                  <a:cubicBezTo>
                    <a:pt x="5" y="20"/>
                    <a:pt x="7" y="20"/>
                    <a:pt x="8" y="20"/>
                  </a:cubicBezTo>
                  <a:cubicBezTo>
                    <a:pt x="8" y="21"/>
                    <a:pt x="8" y="21"/>
                    <a:pt x="8" y="21"/>
                  </a:cubicBezTo>
                  <a:cubicBezTo>
                    <a:pt x="8" y="21"/>
                    <a:pt x="8" y="21"/>
                    <a:pt x="8" y="21"/>
                  </a:cubicBezTo>
                  <a:cubicBezTo>
                    <a:pt x="8" y="21"/>
                    <a:pt x="8" y="21"/>
                    <a:pt x="8" y="21"/>
                  </a:cubicBezTo>
                  <a:cubicBezTo>
                    <a:pt x="9" y="21"/>
                    <a:pt x="9" y="21"/>
                    <a:pt x="9" y="21"/>
                  </a:cubicBezTo>
                  <a:cubicBezTo>
                    <a:pt x="9" y="20"/>
                    <a:pt x="9" y="20"/>
                    <a:pt x="9" y="20"/>
                  </a:cubicBezTo>
                  <a:cubicBezTo>
                    <a:pt x="9" y="20"/>
                    <a:pt x="9" y="20"/>
                    <a:pt x="9" y="20"/>
                  </a:cubicBezTo>
                  <a:cubicBezTo>
                    <a:pt x="10" y="20"/>
                    <a:pt x="11" y="20"/>
                    <a:pt x="11" y="20"/>
                  </a:cubicBezTo>
                  <a:cubicBezTo>
                    <a:pt x="12" y="21"/>
                    <a:pt x="13" y="22"/>
                    <a:pt x="13" y="22"/>
                  </a:cubicBezTo>
                  <a:cubicBezTo>
                    <a:pt x="13" y="23"/>
                    <a:pt x="13" y="24"/>
                    <a:pt x="13" y="24"/>
                  </a:cubicBezTo>
                  <a:cubicBezTo>
                    <a:pt x="13" y="25"/>
                    <a:pt x="13" y="25"/>
                    <a:pt x="13" y="25"/>
                  </a:cubicBezTo>
                  <a:cubicBezTo>
                    <a:pt x="14" y="25"/>
                    <a:pt x="14" y="25"/>
                    <a:pt x="14" y="25"/>
                  </a:cubicBezTo>
                  <a:cubicBezTo>
                    <a:pt x="14" y="25"/>
                    <a:pt x="14" y="25"/>
                    <a:pt x="14" y="25"/>
                  </a:cubicBezTo>
                  <a:cubicBezTo>
                    <a:pt x="14" y="25"/>
                    <a:pt x="14" y="25"/>
                    <a:pt x="14" y="25"/>
                  </a:cubicBezTo>
                  <a:cubicBezTo>
                    <a:pt x="14" y="27"/>
                    <a:pt x="14" y="27"/>
                    <a:pt x="14" y="27"/>
                  </a:cubicBezTo>
                  <a:cubicBezTo>
                    <a:pt x="14" y="27"/>
                    <a:pt x="14" y="27"/>
                    <a:pt x="14" y="28"/>
                  </a:cubicBezTo>
                  <a:cubicBezTo>
                    <a:pt x="14" y="28"/>
                    <a:pt x="14" y="29"/>
                    <a:pt x="14" y="29"/>
                  </a:cubicBezTo>
                  <a:cubicBezTo>
                    <a:pt x="15" y="31"/>
                    <a:pt x="15" y="31"/>
                    <a:pt x="15" y="31"/>
                  </a:cubicBezTo>
                  <a:cubicBezTo>
                    <a:pt x="16" y="31"/>
                    <a:pt x="16" y="31"/>
                    <a:pt x="16" y="31"/>
                  </a:cubicBezTo>
                  <a:cubicBezTo>
                    <a:pt x="16" y="31"/>
                    <a:pt x="16" y="31"/>
                    <a:pt x="16" y="31"/>
                  </a:cubicBezTo>
                  <a:cubicBezTo>
                    <a:pt x="16" y="31"/>
                    <a:pt x="16" y="31"/>
                    <a:pt x="16" y="31"/>
                  </a:cubicBezTo>
                  <a:cubicBezTo>
                    <a:pt x="15" y="29"/>
                    <a:pt x="15" y="29"/>
                    <a:pt x="15" y="29"/>
                  </a:cubicBezTo>
                  <a:cubicBezTo>
                    <a:pt x="14" y="28"/>
                    <a:pt x="14" y="28"/>
                    <a:pt x="14" y="28"/>
                  </a:cubicBezTo>
                  <a:cubicBezTo>
                    <a:pt x="15" y="27"/>
                    <a:pt x="15" y="27"/>
                    <a:pt x="15" y="27"/>
                  </a:cubicBezTo>
                  <a:cubicBezTo>
                    <a:pt x="15" y="27"/>
                    <a:pt x="15" y="27"/>
                    <a:pt x="15" y="27"/>
                  </a:cubicBezTo>
                  <a:cubicBezTo>
                    <a:pt x="14" y="25"/>
                    <a:pt x="14" y="25"/>
                    <a:pt x="14" y="25"/>
                  </a:cubicBezTo>
                  <a:cubicBezTo>
                    <a:pt x="14" y="24"/>
                    <a:pt x="14" y="24"/>
                    <a:pt x="14" y="24"/>
                  </a:cubicBezTo>
                  <a:cubicBezTo>
                    <a:pt x="14" y="24"/>
                    <a:pt x="14" y="23"/>
                    <a:pt x="15" y="22"/>
                  </a:cubicBezTo>
                  <a:cubicBezTo>
                    <a:pt x="14" y="22"/>
                    <a:pt x="14" y="22"/>
                    <a:pt x="14" y="22"/>
                  </a:cubicBezTo>
                  <a:cubicBezTo>
                    <a:pt x="13" y="21"/>
                    <a:pt x="13" y="20"/>
                    <a:pt x="12" y="19"/>
                  </a:cubicBezTo>
                  <a:cubicBezTo>
                    <a:pt x="13" y="19"/>
                    <a:pt x="13" y="19"/>
                    <a:pt x="13" y="19"/>
                  </a:cubicBezTo>
                  <a:cubicBezTo>
                    <a:pt x="13" y="19"/>
                    <a:pt x="13" y="19"/>
                    <a:pt x="13" y="19"/>
                  </a:cubicBezTo>
                  <a:cubicBezTo>
                    <a:pt x="13" y="19"/>
                    <a:pt x="13" y="19"/>
                    <a:pt x="13" y="19"/>
                  </a:cubicBezTo>
                  <a:cubicBezTo>
                    <a:pt x="13" y="19"/>
                    <a:pt x="13" y="19"/>
                    <a:pt x="13" y="19"/>
                  </a:cubicBezTo>
                  <a:cubicBezTo>
                    <a:pt x="13" y="19"/>
                    <a:pt x="13" y="19"/>
                    <a:pt x="13" y="19"/>
                  </a:cubicBezTo>
                  <a:cubicBezTo>
                    <a:pt x="14" y="19"/>
                    <a:pt x="14" y="19"/>
                    <a:pt x="14" y="19"/>
                  </a:cubicBezTo>
                  <a:cubicBezTo>
                    <a:pt x="14" y="19"/>
                    <a:pt x="14" y="19"/>
                    <a:pt x="14" y="19"/>
                  </a:cubicBezTo>
                  <a:cubicBezTo>
                    <a:pt x="14" y="19"/>
                    <a:pt x="14" y="19"/>
                    <a:pt x="14" y="19"/>
                  </a:cubicBezTo>
                  <a:cubicBezTo>
                    <a:pt x="14" y="20"/>
                    <a:pt x="15" y="21"/>
                    <a:pt x="15" y="21"/>
                  </a:cubicBezTo>
                  <a:cubicBezTo>
                    <a:pt x="16" y="21"/>
                    <a:pt x="16" y="21"/>
                    <a:pt x="16" y="21"/>
                  </a:cubicBezTo>
                  <a:cubicBezTo>
                    <a:pt x="17" y="21"/>
                    <a:pt x="17" y="21"/>
                    <a:pt x="17" y="21"/>
                  </a:cubicBezTo>
                  <a:cubicBezTo>
                    <a:pt x="17" y="21"/>
                    <a:pt x="17" y="21"/>
                    <a:pt x="17" y="21"/>
                  </a:cubicBezTo>
                  <a:cubicBezTo>
                    <a:pt x="17" y="22"/>
                    <a:pt x="17" y="22"/>
                    <a:pt x="17" y="22"/>
                  </a:cubicBezTo>
                  <a:cubicBezTo>
                    <a:pt x="18" y="22"/>
                    <a:pt x="18" y="22"/>
                    <a:pt x="18" y="22"/>
                  </a:cubicBezTo>
                  <a:cubicBezTo>
                    <a:pt x="19" y="25"/>
                    <a:pt x="19" y="25"/>
                    <a:pt x="19" y="25"/>
                  </a:cubicBezTo>
                  <a:cubicBezTo>
                    <a:pt x="20" y="27"/>
                    <a:pt x="21" y="28"/>
                    <a:pt x="22" y="28"/>
                  </a:cubicBezTo>
                  <a:cubicBezTo>
                    <a:pt x="22" y="29"/>
                    <a:pt x="22" y="30"/>
                    <a:pt x="23" y="30"/>
                  </a:cubicBezTo>
                  <a:cubicBezTo>
                    <a:pt x="22" y="31"/>
                    <a:pt x="20" y="32"/>
                    <a:pt x="19" y="32"/>
                  </a:cubicBezTo>
                  <a:cubicBezTo>
                    <a:pt x="18" y="32"/>
                    <a:pt x="18" y="32"/>
                    <a:pt x="17" y="32"/>
                  </a:cubicBezTo>
                  <a:cubicBezTo>
                    <a:pt x="17" y="32"/>
                    <a:pt x="17" y="32"/>
                    <a:pt x="17" y="32"/>
                  </a:cubicBezTo>
                  <a:cubicBezTo>
                    <a:pt x="16" y="32"/>
                    <a:pt x="16" y="31"/>
                    <a:pt x="15" y="31"/>
                  </a:cubicBezTo>
                  <a:cubicBezTo>
                    <a:pt x="15" y="32"/>
                    <a:pt x="15" y="32"/>
                    <a:pt x="15" y="32"/>
                  </a:cubicBezTo>
                  <a:cubicBezTo>
                    <a:pt x="14" y="29"/>
                    <a:pt x="14" y="29"/>
                    <a:pt x="14" y="29"/>
                  </a:cubicBezTo>
                  <a:cubicBezTo>
                    <a:pt x="13" y="29"/>
                    <a:pt x="13" y="29"/>
                    <a:pt x="13" y="29"/>
                  </a:cubicBezTo>
                  <a:cubicBezTo>
                    <a:pt x="13" y="28"/>
                    <a:pt x="13" y="28"/>
                    <a:pt x="13" y="28"/>
                  </a:cubicBezTo>
                  <a:cubicBezTo>
                    <a:pt x="12" y="26"/>
                    <a:pt x="12" y="26"/>
                    <a:pt x="12" y="26"/>
                  </a:cubicBezTo>
                  <a:cubicBezTo>
                    <a:pt x="12" y="26"/>
                    <a:pt x="12" y="25"/>
                    <a:pt x="11" y="25"/>
                  </a:cubicBezTo>
                  <a:cubicBezTo>
                    <a:pt x="11" y="24"/>
                    <a:pt x="10" y="24"/>
                    <a:pt x="10" y="24"/>
                  </a:cubicBezTo>
                  <a:cubicBezTo>
                    <a:pt x="9" y="24"/>
                    <a:pt x="9" y="24"/>
                    <a:pt x="9" y="24"/>
                  </a:cubicBezTo>
                  <a:cubicBezTo>
                    <a:pt x="8" y="24"/>
                    <a:pt x="8" y="24"/>
                    <a:pt x="7" y="24"/>
                  </a:cubicBezTo>
                  <a:moveTo>
                    <a:pt x="12" y="18"/>
                  </a:moveTo>
                  <a:cubicBezTo>
                    <a:pt x="12" y="18"/>
                    <a:pt x="12" y="18"/>
                    <a:pt x="12" y="18"/>
                  </a:cubicBezTo>
                  <a:cubicBezTo>
                    <a:pt x="13" y="18"/>
                    <a:pt x="13" y="18"/>
                    <a:pt x="13" y="18"/>
                  </a:cubicBezTo>
                  <a:cubicBezTo>
                    <a:pt x="12" y="18"/>
                    <a:pt x="12" y="18"/>
                    <a:pt x="12" y="18"/>
                  </a:cubicBezTo>
                  <a:moveTo>
                    <a:pt x="6" y="18"/>
                  </a:moveTo>
                  <a:cubicBezTo>
                    <a:pt x="5" y="18"/>
                    <a:pt x="5" y="18"/>
                    <a:pt x="5" y="18"/>
                  </a:cubicBezTo>
                  <a:cubicBezTo>
                    <a:pt x="6" y="17"/>
                    <a:pt x="6" y="17"/>
                    <a:pt x="6" y="17"/>
                  </a:cubicBezTo>
                  <a:cubicBezTo>
                    <a:pt x="6" y="18"/>
                    <a:pt x="6" y="18"/>
                    <a:pt x="6" y="18"/>
                  </a:cubicBezTo>
                  <a:moveTo>
                    <a:pt x="11" y="19"/>
                  </a:moveTo>
                  <a:cubicBezTo>
                    <a:pt x="11" y="18"/>
                    <a:pt x="11" y="18"/>
                    <a:pt x="11" y="18"/>
                  </a:cubicBezTo>
                  <a:cubicBezTo>
                    <a:pt x="10" y="17"/>
                    <a:pt x="10" y="17"/>
                    <a:pt x="10" y="17"/>
                  </a:cubicBezTo>
                  <a:cubicBezTo>
                    <a:pt x="11" y="17"/>
                    <a:pt x="11" y="17"/>
                    <a:pt x="11" y="17"/>
                  </a:cubicBezTo>
                  <a:cubicBezTo>
                    <a:pt x="11" y="17"/>
                    <a:pt x="11" y="17"/>
                    <a:pt x="11" y="17"/>
                  </a:cubicBezTo>
                  <a:cubicBezTo>
                    <a:pt x="11" y="17"/>
                    <a:pt x="11" y="17"/>
                    <a:pt x="11" y="17"/>
                  </a:cubicBezTo>
                  <a:cubicBezTo>
                    <a:pt x="11" y="17"/>
                    <a:pt x="11" y="17"/>
                    <a:pt x="11" y="17"/>
                  </a:cubicBezTo>
                  <a:cubicBezTo>
                    <a:pt x="12" y="19"/>
                    <a:pt x="12" y="19"/>
                    <a:pt x="12" y="19"/>
                  </a:cubicBezTo>
                  <a:cubicBezTo>
                    <a:pt x="12" y="19"/>
                    <a:pt x="12" y="19"/>
                    <a:pt x="12" y="19"/>
                  </a:cubicBezTo>
                  <a:cubicBezTo>
                    <a:pt x="11" y="19"/>
                    <a:pt x="11" y="19"/>
                    <a:pt x="11" y="19"/>
                  </a:cubicBezTo>
                  <a:cubicBezTo>
                    <a:pt x="11" y="19"/>
                    <a:pt x="11" y="19"/>
                    <a:pt x="11" y="19"/>
                  </a:cubicBezTo>
                  <a:moveTo>
                    <a:pt x="9" y="19"/>
                  </a:moveTo>
                  <a:cubicBezTo>
                    <a:pt x="8" y="19"/>
                    <a:pt x="8" y="19"/>
                    <a:pt x="8" y="19"/>
                  </a:cubicBezTo>
                  <a:cubicBezTo>
                    <a:pt x="8" y="18"/>
                    <a:pt x="8" y="18"/>
                    <a:pt x="7" y="17"/>
                  </a:cubicBezTo>
                  <a:cubicBezTo>
                    <a:pt x="8" y="17"/>
                    <a:pt x="8" y="17"/>
                    <a:pt x="9" y="17"/>
                  </a:cubicBezTo>
                  <a:cubicBezTo>
                    <a:pt x="9" y="17"/>
                    <a:pt x="9" y="17"/>
                    <a:pt x="9" y="17"/>
                  </a:cubicBezTo>
                  <a:cubicBezTo>
                    <a:pt x="9" y="17"/>
                    <a:pt x="9" y="17"/>
                    <a:pt x="9" y="17"/>
                  </a:cubicBezTo>
                  <a:cubicBezTo>
                    <a:pt x="9" y="18"/>
                    <a:pt x="10" y="18"/>
                    <a:pt x="10" y="19"/>
                  </a:cubicBezTo>
                  <a:cubicBezTo>
                    <a:pt x="9" y="19"/>
                    <a:pt x="9" y="19"/>
                    <a:pt x="9" y="19"/>
                  </a:cubicBezTo>
                  <a:cubicBezTo>
                    <a:pt x="9" y="18"/>
                    <a:pt x="9" y="18"/>
                    <a:pt x="9" y="18"/>
                  </a:cubicBezTo>
                  <a:cubicBezTo>
                    <a:pt x="8" y="17"/>
                    <a:pt x="8" y="17"/>
                    <a:pt x="8" y="17"/>
                  </a:cubicBezTo>
                  <a:cubicBezTo>
                    <a:pt x="8" y="18"/>
                    <a:pt x="8" y="18"/>
                    <a:pt x="8" y="18"/>
                  </a:cubicBezTo>
                  <a:cubicBezTo>
                    <a:pt x="9" y="19"/>
                    <a:pt x="9" y="19"/>
                    <a:pt x="9" y="19"/>
                  </a:cubicBezTo>
                  <a:moveTo>
                    <a:pt x="12" y="18"/>
                  </a:moveTo>
                  <a:cubicBezTo>
                    <a:pt x="12" y="17"/>
                    <a:pt x="12" y="17"/>
                    <a:pt x="12" y="17"/>
                  </a:cubicBezTo>
                  <a:cubicBezTo>
                    <a:pt x="12" y="17"/>
                    <a:pt x="12" y="17"/>
                    <a:pt x="12" y="17"/>
                  </a:cubicBezTo>
                  <a:cubicBezTo>
                    <a:pt x="12" y="17"/>
                    <a:pt x="12" y="17"/>
                    <a:pt x="12" y="17"/>
                  </a:cubicBezTo>
                  <a:cubicBezTo>
                    <a:pt x="12" y="18"/>
                    <a:pt x="12" y="18"/>
                    <a:pt x="12" y="18"/>
                  </a:cubicBezTo>
                  <a:cubicBezTo>
                    <a:pt x="12" y="18"/>
                    <a:pt x="12" y="18"/>
                    <a:pt x="12" y="18"/>
                  </a:cubicBezTo>
                  <a:cubicBezTo>
                    <a:pt x="12" y="18"/>
                    <a:pt x="12" y="18"/>
                    <a:pt x="12" y="18"/>
                  </a:cubicBezTo>
                  <a:moveTo>
                    <a:pt x="13" y="18"/>
                  </a:moveTo>
                  <a:cubicBezTo>
                    <a:pt x="12" y="17"/>
                    <a:pt x="12" y="17"/>
                    <a:pt x="12" y="17"/>
                  </a:cubicBezTo>
                  <a:cubicBezTo>
                    <a:pt x="13" y="17"/>
                    <a:pt x="13" y="17"/>
                    <a:pt x="13" y="17"/>
                  </a:cubicBezTo>
                  <a:cubicBezTo>
                    <a:pt x="13" y="17"/>
                    <a:pt x="13" y="17"/>
                    <a:pt x="13" y="17"/>
                  </a:cubicBezTo>
                  <a:cubicBezTo>
                    <a:pt x="13" y="17"/>
                    <a:pt x="13" y="17"/>
                    <a:pt x="13" y="17"/>
                  </a:cubicBezTo>
                  <a:cubicBezTo>
                    <a:pt x="14" y="18"/>
                    <a:pt x="14" y="18"/>
                    <a:pt x="14" y="18"/>
                  </a:cubicBezTo>
                  <a:cubicBezTo>
                    <a:pt x="13" y="18"/>
                    <a:pt x="13" y="18"/>
                    <a:pt x="13" y="18"/>
                  </a:cubicBezTo>
                  <a:cubicBezTo>
                    <a:pt x="13" y="18"/>
                    <a:pt x="13" y="18"/>
                    <a:pt x="13" y="18"/>
                  </a:cubicBezTo>
                  <a:moveTo>
                    <a:pt x="7" y="19"/>
                  </a:moveTo>
                  <a:cubicBezTo>
                    <a:pt x="7" y="19"/>
                    <a:pt x="7" y="19"/>
                    <a:pt x="7" y="19"/>
                  </a:cubicBezTo>
                  <a:cubicBezTo>
                    <a:pt x="6" y="17"/>
                    <a:pt x="6" y="17"/>
                    <a:pt x="6" y="17"/>
                  </a:cubicBezTo>
                  <a:cubicBezTo>
                    <a:pt x="6" y="17"/>
                    <a:pt x="6" y="17"/>
                    <a:pt x="6" y="17"/>
                  </a:cubicBezTo>
                  <a:cubicBezTo>
                    <a:pt x="6" y="17"/>
                    <a:pt x="6" y="17"/>
                    <a:pt x="6" y="17"/>
                  </a:cubicBezTo>
                  <a:cubicBezTo>
                    <a:pt x="7" y="17"/>
                    <a:pt x="7" y="17"/>
                    <a:pt x="7" y="17"/>
                  </a:cubicBezTo>
                  <a:cubicBezTo>
                    <a:pt x="7" y="17"/>
                    <a:pt x="7" y="17"/>
                    <a:pt x="7" y="17"/>
                  </a:cubicBezTo>
                  <a:cubicBezTo>
                    <a:pt x="7" y="18"/>
                    <a:pt x="7" y="18"/>
                    <a:pt x="7" y="19"/>
                  </a:cubicBezTo>
                  <a:moveTo>
                    <a:pt x="33" y="19"/>
                  </a:moveTo>
                  <a:cubicBezTo>
                    <a:pt x="32" y="18"/>
                    <a:pt x="32" y="18"/>
                    <a:pt x="32" y="18"/>
                  </a:cubicBezTo>
                  <a:cubicBezTo>
                    <a:pt x="32" y="18"/>
                    <a:pt x="32" y="17"/>
                    <a:pt x="32" y="16"/>
                  </a:cubicBezTo>
                  <a:cubicBezTo>
                    <a:pt x="32" y="17"/>
                    <a:pt x="32" y="18"/>
                    <a:pt x="33" y="19"/>
                  </a:cubicBezTo>
                  <a:moveTo>
                    <a:pt x="28" y="16"/>
                  </a:moveTo>
                  <a:cubicBezTo>
                    <a:pt x="28" y="15"/>
                    <a:pt x="28" y="15"/>
                    <a:pt x="28" y="15"/>
                  </a:cubicBezTo>
                  <a:cubicBezTo>
                    <a:pt x="28" y="15"/>
                    <a:pt x="28" y="15"/>
                    <a:pt x="28" y="15"/>
                  </a:cubicBezTo>
                  <a:cubicBezTo>
                    <a:pt x="28" y="15"/>
                    <a:pt x="28" y="15"/>
                    <a:pt x="28" y="15"/>
                  </a:cubicBezTo>
                  <a:cubicBezTo>
                    <a:pt x="28" y="16"/>
                    <a:pt x="28" y="16"/>
                    <a:pt x="28" y="16"/>
                  </a:cubicBezTo>
                  <a:moveTo>
                    <a:pt x="30" y="17"/>
                  </a:moveTo>
                  <a:cubicBezTo>
                    <a:pt x="29" y="17"/>
                    <a:pt x="29" y="17"/>
                    <a:pt x="29" y="17"/>
                  </a:cubicBezTo>
                  <a:cubicBezTo>
                    <a:pt x="29" y="16"/>
                    <a:pt x="29" y="16"/>
                    <a:pt x="29" y="15"/>
                  </a:cubicBezTo>
                  <a:cubicBezTo>
                    <a:pt x="29" y="15"/>
                    <a:pt x="29" y="15"/>
                    <a:pt x="29" y="15"/>
                  </a:cubicBezTo>
                  <a:cubicBezTo>
                    <a:pt x="29" y="16"/>
                    <a:pt x="29" y="16"/>
                    <a:pt x="30" y="17"/>
                  </a:cubicBezTo>
                  <a:moveTo>
                    <a:pt x="34" y="16"/>
                  </a:moveTo>
                  <a:cubicBezTo>
                    <a:pt x="34" y="16"/>
                    <a:pt x="34" y="15"/>
                    <a:pt x="33" y="15"/>
                  </a:cubicBezTo>
                  <a:cubicBezTo>
                    <a:pt x="34" y="15"/>
                    <a:pt x="34" y="15"/>
                    <a:pt x="34" y="15"/>
                  </a:cubicBezTo>
                  <a:cubicBezTo>
                    <a:pt x="35" y="15"/>
                    <a:pt x="35" y="15"/>
                    <a:pt x="35" y="15"/>
                  </a:cubicBezTo>
                  <a:cubicBezTo>
                    <a:pt x="34" y="16"/>
                    <a:pt x="34" y="16"/>
                    <a:pt x="34" y="16"/>
                  </a:cubicBezTo>
                  <a:moveTo>
                    <a:pt x="31" y="17"/>
                  </a:moveTo>
                  <a:cubicBezTo>
                    <a:pt x="30" y="17"/>
                    <a:pt x="30" y="17"/>
                    <a:pt x="30" y="17"/>
                  </a:cubicBezTo>
                  <a:cubicBezTo>
                    <a:pt x="30" y="17"/>
                    <a:pt x="30" y="17"/>
                    <a:pt x="30" y="17"/>
                  </a:cubicBezTo>
                  <a:cubicBezTo>
                    <a:pt x="30" y="17"/>
                    <a:pt x="30" y="16"/>
                    <a:pt x="29" y="15"/>
                  </a:cubicBezTo>
                  <a:cubicBezTo>
                    <a:pt x="30" y="15"/>
                    <a:pt x="30" y="15"/>
                    <a:pt x="30" y="15"/>
                  </a:cubicBezTo>
                  <a:cubicBezTo>
                    <a:pt x="31" y="17"/>
                    <a:pt x="31" y="17"/>
                    <a:pt x="31" y="17"/>
                  </a:cubicBezTo>
                  <a:moveTo>
                    <a:pt x="32" y="18"/>
                  </a:moveTo>
                  <a:cubicBezTo>
                    <a:pt x="31" y="18"/>
                    <a:pt x="31" y="18"/>
                    <a:pt x="31" y="18"/>
                  </a:cubicBezTo>
                  <a:cubicBezTo>
                    <a:pt x="30" y="15"/>
                    <a:pt x="30" y="15"/>
                    <a:pt x="30" y="15"/>
                  </a:cubicBezTo>
                  <a:cubicBezTo>
                    <a:pt x="31" y="15"/>
                    <a:pt x="31" y="15"/>
                    <a:pt x="31" y="15"/>
                  </a:cubicBezTo>
                  <a:cubicBezTo>
                    <a:pt x="31" y="15"/>
                    <a:pt x="31" y="15"/>
                    <a:pt x="31" y="15"/>
                  </a:cubicBezTo>
                  <a:cubicBezTo>
                    <a:pt x="31" y="15"/>
                    <a:pt x="31" y="15"/>
                    <a:pt x="31" y="15"/>
                  </a:cubicBezTo>
                  <a:cubicBezTo>
                    <a:pt x="31" y="15"/>
                    <a:pt x="31" y="15"/>
                    <a:pt x="31" y="15"/>
                  </a:cubicBezTo>
                  <a:cubicBezTo>
                    <a:pt x="31" y="16"/>
                    <a:pt x="31" y="17"/>
                    <a:pt x="32" y="18"/>
                  </a:cubicBezTo>
                  <a:moveTo>
                    <a:pt x="33" y="19"/>
                  </a:moveTo>
                  <a:cubicBezTo>
                    <a:pt x="33" y="17"/>
                    <a:pt x="32" y="16"/>
                    <a:pt x="32" y="14"/>
                  </a:cubicBezTo>
                  <a:cubicBezTo>
                    <a:pt x="32" y="14"/>
                    <a:pt x="32" y="14"/>
                    <a:pt x="32" y="14"/>
                  </a:cubicBezTo>
                  <a:cubicBezTo>
                    <a:pt x="32" y="14"/>
                    <a:pt x="32" y="14"/>
                    <a:pt x="32" y="14"/>
                  </a:cubicBezTo>
                  <a:cubicBezTo>
                    <a:pt x="32" y="14"/>
                    <a:pt x="32" y="14"/>
                    <a:pt x="32" y="14"/>
                  </a:cubicBezTo>
                  <a:cubicBezTo>
                    <a:pt x="33" y="15"/>
                    <a:pt x="33" y="15"/>
                    <a:pt x="33" y="15"/>
                  </a:cubicBezTo>
                  <a:cubicBezTo>
                    <a:pt x="33" y="15"/>
                    <a:pt x="33" y="15"/>
                    <a:pt x="33" y="15"/>
                  </a:cubicBezTo>
                  <a:cubicBezTo>
                    <a:pt x="33" y="16"/>
                    <a:pt x="33" y="16"/>
                    <a:pt x="34" y="17"/>
                  </a:cubicBezTo>
                  <a:cubicBezTo>
                    <a:pt x="34" y="17"/>
                    <a:pt x="34" y="17"/>
                    <a:pt x="34" y="17"/>
                  </a:cubicBezTo>
                  <a:cubicBezTo>
                    <a:pt x="34" y="17"/>
                    <a:pt x="34" y="17"/>
                    <a:pt x="34" y="17"/>
                  </a:cubicBezTo>
                  <a:cubicBezTo>
                    <a:pt x="33" y="15"/>
                    <a:pt x="33" y="15"/>
                    <a:pt x="33" y="15"/>
                  </a:cubicBezTo>
                  <a:cubicBezTo>
                    <a:pt x="33" y="15"/>
                    <a:pt x="33" y="15"/>
                    <a:pt x="33" y="15"/>
                  </a:cubicBezTo>
                  <a:cubicBezTo>
                    <a:pt x="32" y="16"/>
                    <a:pt x="32" y="16"/>
                    <a:pt x="32" y="16"/>
                  </a:cubicBezTo>
                  <a:cubicBezTo>
                    <a:pt x="33" y="18"/>
                    <a:pt x="33" y="18"/>
                    <a:pt x="33" y="18"/>
                  </a:cubicBezTo>
                  <a:cubicBezTo>
                    <a:pt x="33" y="18"/>
                    <a:pt x="33" y="18"/>
                    <a:pt x="33" y="18"/>
                  </a:cubicBezTo>
                  <a:cubicBezTo>
                    <a:pt x="33" y="19"/>
                    <a:pt x="33" y="19"/>
                    <a:pt x="33" y="19"/>
                  </a:cubicBezTo>
                  <a:moveTo>
                    <a:pt x="10" y="17"/>
                  </a:moveTo>
                  <a:cubicBezTo>
                    <a:pt x="9" y="17"/>
                    <a:pt x="9" y="17"/>
                    <a:pt x="9" y="17"/>
                  </a:cubicBezTo>
                  <a:cubicBezTo>
                    <a:pt x="9" y="17"/>
                    <a:pt x="9" y="17"/>
                    <a:pt x="9" y="17"/>
                  </a:cubicBezTo>
                  <a:cubicBezTo>
                    <a:pt x="8" y="17"/>
                    <a:pt x="7" y="16"/>
                    <a:pt x="6" y="16"/>
                  </a:cubicBezTo>
                  <a:cubicBezTo>
                    <a:pt x="6" y="16"/>
                    <a:pt x="6" y="16"/>
                    <a:pt x="6" y="16"/>
                  </a:cubicBezTo>
                  <a:cubicBezTo>
                    <a:pt x="6" y="15"/>
                    <a:pt x="6" y="14"/>
                    <a:pt x="7" y="14"/>
                  </a:cubicBezTo>
                  <a:cubicBezTo>
                    <a:pt x="8" y="15"/>
                    <a:pt x="9" y="16"/>
                    <a:pt x="10" y="17"/>
                  </a:cubicBezTo>
                  <a:moveTo>
                    <a:pt x="18" y="14"/>
                  </a:moveTo>
                  <a:cubicBezTo>
                    <a:pt x="18" y="12"/>
                    <a:pt x="18" y="12"/>
                    <a:pt x="18" y="12"/>
                  </a:cubicBezTo>
                  <a:cubicBezTo>
                    <a:pt x="18" y="13"/>
                    <a:pt x="18" y="13"/>
                    <a:pt x="18" y="13"/>
                  </a:cubicBezTo>
                  <a:cubicBezTo>
                    <a:pt x="18" y="14"/>
                    <a:pt x="18" y="14"/>
                    <a:pt x="18" y="14"/>
                  </a:cubicBezTo>
                  <a:moveTo>
                    <a:pt x="18" y="14"/>
                  </a:moveTo>
                  <a:cubicBezTo>
                    <a:pt x="18" y="14"/>
                    <a:pt x="18" y="14"/>
                    <a:pt x="18" y="14"/>
                  </a:cubicBezTo>
                  <a:cubicBezTo>
                    <a:pt x="18" y="14"/>
                    <a:pt x="17" y="13"/>
                    <a:pt x="17" y="13"/>
                  </a:cubicBezTo>
                  <a:cubicBezTo>
                    <a:pt x="17" y="13"/>
                    <a:pt x="17" y="13"/>
                    <a:pt x="17" y="13"/>
                  </a:cubicBezTo>
                  <a:cubicBezTo>
                    <a:pt x="17" y="13"/>
                    <a:pt x="17" y="13"/>
                    <a:pt x="17" y="13"/>
                  </a:cubicBezTo>
                  <a:cubicBezTo>
                    <a:pt x="16" y="11"/>
                    <a:pt x="16" y="11"/>
                    <a:pt x="16" y="11"/>
                  </a:cubicBezTo>
                  <a:cubicBezTo>
                    <a:pt x="17" y="11"/>
                    <a:pt x="17" y="11"/>
                    <a:pt x="17" y="11"/>
                  </a:cubicBezTo>
                  <a:cubicBezTo>
                    <a:pt x="17" y="11"/>
                    <a:pt x="17" y="11"/>
                    <a:pt x="17" y="11"/>
                  </a:cubicBezTo>
                  <a:cubicBezTo>
                    <a:pt x="17" y="11"/>
                    <a:pt x="17" y="11"/>
                    <a:pt x="17" y="11"/>
                  </a:cubicBezTo>
                  <a:cubicBezTo>
                    <a:pt x="18" y="14"/>
                    <a:pt x="18" y="14"/>
                    <a:pt x="18" y="14"/>
                  </a:cubicBezTo>
                  <a:moveTo>
                    <a:pt x="16" y="13"/>
                  </a:moveTo>
                  <a:cubicBezTo>
                    <a:pt x="16" y="13"/>
                    <a:pt x="16" y="13"/>
                    <a:pt x="16" y="13"/>
                  </a:cubicBezTo>
                  <a:cubicBezTo>
                    <a:pt x="15" y="12"/>
                    <a:pt x="15" y="11"/>
                    <a:pt x="15" y="11"/>
                  </a:cubicBezTo>
                  <a:cubicBezTo>
                    <a:pt x="16" y="11"/>
                    <a:pt x="16" y="11"/>
                    <a:pt x="16" y="11"/>
                  </a:cubicBezTo>
                  <a:cubicBezTo>
                    <a:pt x="16" y="13"/>
                    <a:pt x="16" y="13"/>
                    <a:pt x="16" y="13"/>
                  </a:cubicBezTo>
                  <a:moveTo>
                    <a:pt x="15" y="12"/>
                  </a:moveTo>
                  <a:cubicBezTo>
                    <a:pt x="15" y="12"/>
                    <a:pt x="15" y="12"/>
                    <a:pt x="15" y="12"/>
                  </a:cubicBezTo>
                  <a:cubicBezTo>
                    <a:pt x="15" y="12"/>
                    <a:pt x="15" y="12"/>
                    <a:pt x="15" y="12"/>
                  </a:cubicBezTo>
                  <a:cubicBezTo>
                    <a:pt x="14" y="12"/>
                    <a:pt x="14" y="12"/>
                    <a:pt x="14" y="12"/>
                  </a:cubicBezTo>
                  <a:cubicBezTo>
                    <a:pt x="14" y="12"/>
                    <a:pt x="14" y="12"/>
                    <a:pt x="14" y="12"/>
                  </a:cubicBezTo>
                  <a:cubicBezTo>
                    <a:pt x="14" y="12"/>
                    <a:pt x="14" y="11"/>
                    <a:pt x="14" y="11"/>
                  </a:cubicBezTo>
                  <a:cubicBezTo>
                    <a:pt x="14" y="11"/>
                    <a:pt x="14" y="11"/>
                    <a:pt x="14" y="11"/>
                  </a:cubicBezTo>
                  <a:cubicBezTo>
                    <a:pt x="14" y="11"/>
                    <a:pt x="14" y="11"/>
                    <a:pt x="14" y="11"/>
                  </a:cubicBezTo>
                  <a:cubicBezTo>
                    <a:pt x="15" y="11"/>
                    <a:pt x="15" y="12"/>
                    <a:pt x="15" y="12"/>
                  </a:cubicBezTo>
                  <a:moveTo>
                    <a:pt x="22" y="9"/>
                  </a:moveTo>
                  <a:cubicBezTo>
                    <a:pt x="21" y="8"/>
                    <a:pt x="21" y="8"/>
                    <a:pt x="21" y="8"/>
                  </a:cubicBezTo>
                  <a:cubicBezTo>
                    <a:pt x="22" y="9"/>
                    <a:pt x="22" y="9"/>
                    <a:pt x="22" y="9"/>
                  </a:cubicBezTo>
                  <a:cubicBezTo>
                    <a:pt x="22" y="9"/>
                    <a:pt x="22" y="9"/>
                    <a:pt x="22" y="9"/>
                  </a:cubicBezTo>
                  <a:cubicBezTo>
                    <a:pt x="22" y="9"/>
                    <a:pt x="22" y="9"/>
                    <a:pt x="22" y="9"/>
                  </a:cubicBezTo>
                  <a:moveTo>
                    <a:pt x="11" y="9"/>
                  </a:moveTo>
                  <a:cubicBezTo>
                    <a:pt x="11" y="8"/>
                    <a:pt x="11" y="8"/>
                    <a:pt x="11" y="8"/>
                  </a:cubicBezTo>
                  <a:cubicBezTo>
                    <a:pt x="11" y="9"/>
                    <a:pt x="11" y="9"/>
                    <a:pt x="11" y="9"/>
                  </a:cubicBezTo>
                  <a:cubicBezTo>
                    <a:pt x="11" y="9"/>
                    <a:pt x="11" y="9"/>
                    <a:pt x="11" y="9"/>
                  </a:cubicBezTo>
                  <a:moveTo>
                    <a:pt x="10" y="9"/>
                  </a:moveTo>
                  <a:cubicBezTo>
                    <a:pt x="9" y="8"/>
                    <a:pt x="9" y="8"/>
                    <a:pt x="8" y="8"/>
                  </a:cubicBezTo>
                  <a:cubicBezTo>
                    <a:pt x="9" y="8"/>
                    <a:pt x="9" y="7"/>
                    <a:pt x="9" y="7"/>
                  </a:cubicBezTo>
                  <a:cubicBezTo>
                    <a:pt x="10" y="7"/>
                    <a:pt x="10" y="8"/>
                    <a:pt x="10" y="9"/>
                  </a:cubicBezTo>
                  <a:moveTo>
                    <a:pt x="12" y="7"/>
                  </a:moveTo>
                  <a:cubicBezTo>
                    <a:pt x="11" y="7"/>
                    <a:pt x="11" y="7"/>
                    <a:pt x="11" y="7"/>
                  </a:cubicBezTo>
                  <a:cubicBezTo>
                    <a:pt x="11" y="7"/>
                    <a:pt x="11" y="7"/>
                    <a:pt x="11" y="7"/>
                  </a:cubicBezTo>
                  <a:cubicBezTo>
                    <a:pt x="11" y="7"/>
                    <a:pt x="11" y="7"/>
                    <a:pt x="11" y="7"/>
                  </a:cubicBezTo>
                  <a:cubicBezTo>
                    <a:pt x="10" y="6"/>
                    <a:pt x="10" y="6"/>
                    <a:pt x="10" y="6"/>
                  </a:cubicBezTo>
                  <a:cubicBezTo>
                    <a:pt x="10" y="5"/>
                    <a:pt x="11" y="4"/>
                    <a:pt x="11" y="4"/>
                  </a:cubicBezTo>
                  <a:cubicBezTo>
                    <a:pt x="11" y="4"/>
                    <a:pt x="13" y="4"/>
                    <a:pt x="15" y="4"/>
                  </a:cubicBezTo>
                  <a:cubicBezTo>
                    <a:pt x="18" y="4"/>
                    <a:pt x="19" y="4"/>
                    <a:pt x="20" y="5"/>
                  </a:cubicBezTo>
                  <a:cubicBezTo>
                    <a:pt x="20" y="5"/>
                    <a:pt x="20" y="5"/>
                    <a:pt x="20" y="5"/>
                  </a:cubicBezTo>
                  <a:cubicBezTo>
                    <a:pt x="20" y="6"/>
                    <a:pt x="20" y="6"/>
                    <a:pt x="20" y="6"/>
                  </a:cubicBezTo>
                  <a:cubicBezTo>
                    <a:pt x="21" y="9"/>
                    <a:pt x="21" y="9"/>
                    <a:pt x="21" y="9"/>
                  </a:cubicBezTo>
                  <a:cubicBezTo>
                    <a:pt x="21" y="10"/>
                    <a:pt x="21" y="10"/>
                    <a:pt x="21" y="10"/>
                  </a:cubicBezTo>
                  <a:cubicBezTo>
                    <a:pt x="20" y="7"/>
                    <a:pt x="20" y="7"/>
                    <a:pt x="20" y="7"/>
                  </a:cubicBezTo>
                  <a:cubicBezTo>
                    <a:pt x="19" y="7"/>
                    <a:pt x="19" y="7"/>
                    <a:pt x="19" y="7"/>
                  </a:cubicBezTo>
                  <a:cubicBezTo>
                    <a:pt x="19" y="7"/>
                    <a:pt x="19" y="7"/>
                    <a:pt x="19" y="7"/>
                  </a:cubicBezTo>
                  <a:cubicBezTo>
                    <a:pt x="20" y="10"/>
                    <a:pt x="20" y="10"/>
                    <a:pt x="20" y="10"/>
                  </a:cubicBezTo>
                  <a:cubicBezTo>
                    <a:pt x="21" y="11"/>
                    <a:pt x="21" y="11"/>
                    <a:pt x="21" y="11"/>
                  </a:cubicBezTo>
                  <a:cubicBezTo>
                    <a:pt x="20" y="11"/>
                    <a:pt x="20" y="11"/>
                    <a:pt x="20" y="11"/>
                  </a:cubicBezTo>
                  <a:cubicBezTo>
                    <a:pt x="19" y="11"/>
                    <a:pt x="19" y="11"/>
                    <a:pt x="19" y="11"/>
                  </a:cubicBezTo>
                  <a:cubicBezTo>
                    <a:pt x="19" y="9"/>
                    <a:pt x="18" y="8"/>
                    <a:pt x="19" y="7"/>
                  </a:cubicBezTo>
                  <a:cubicBezTo>
                    <a:pt x="18" y="6"/>
                    <a:pt x="18" y="6"/>
                    <a:pt x="18" y="6"/>
                  </a:cubicBezTo>
                  <a:cubicBezTo>
                    <a:pt x="18" y="6"/>
                    <a:pt x="18" y="6"/>
                    <a:pt x="18" y="6"/>
                  </a:cubicBezTo>
                  <a:cubicBezTo>
                    <a:pt x="18" y="7"/>
                    <a:pt x="18" y="7"/>
                    <a:pt x="18" y="7"/>
                  </a:cubicBezTo>
                  <a:cubicBezTo>
                    <a:pt x="18" y="7"/>
                    <a:pt x="18" y="7"/>
                    <a:pt x="18" y="7"/>
                  </a:cubicBezTo>
                  <a:cubicBezTo>
                    <a:pt x="18" y="8"/>
                    <a:pt x="18" y="10"/>
                    <a:pt x="19" y="11"/>
                  </a:cubicBezTo>
                  <a:cubicBezTo>
                    <a:pt x="19" y="12"/>
                    <a:pt x="19" y="12"/>
                    <a:pt x="19" y="12"/>
                  </a:cubicBezTo>
                  <a:cubicBezTo>
                    <a:pt x="19" y="12"/>
                    <a:pt x="19" y="12"/>
                    <a:pt x="19" y="12"/>
                  </a:cubicBezTo>
                  <a:cubicBezTo>
                    <a:pt x="19" y="12"/>
                    <a:pt x="19" y="12"/>
                    <a:pt x="19" y="12"/>
                  </a:cubicBezTo>
                  <a:cubicBezTo>
                    <a:pt x="17" y="8"/>
                    <a:pt x="17" y="8"/>
                    <a:pt x="17" y="8"/>
                  </a:cubicBezTo>
                  <a:cubicBezTo>
                    <a:pt x="17" y="8"/>
                    <a:pt x="17" y="8"/>
                    <a:pt x="17" y="8"/>
                  </a:cubicBezTo>
                  <a:cubicBezTo>
                    <a:pt x="17" y="8"/>
                    <a:pt x="17" y="8"/>
                    <a:pt x="17" y="8"/>
                  </a:cubicBezTo>
                  <a:cubicBezTo>
                    <a:pt x="18" y="10"/>
                    <a:pt x="18" y="10"/>
                    <a:pt x="18" y="10"/>
                  </a:cubicBezTo>
                  <a:cubicBezTo>
                    <a:pt x="18" y="10"/>
                    <a:pt x="18" y="10"/>
                    <a:pt x="18" y="10"/>
                  </a:cubicBezTo>
                  <a:cubicBezTo>
                    <a:pt x="17" y="10"/>
                    <a:pt x="17" y="10"/>
                    <a:pt x="17" y="10"/>
                  </a:cubicBezTo>
                  <a:cubicBezTo>
                    <a:pt x="14" y="10"/>
                    <a:pt x="14" y="10"/>
                    <a:pt x="14" y="10"/>
                  </a:cubicBezTo>
                  <a:cubicBezTo>
                    <a:pt x="14" y="10"/>
                    <a:pt x="14" y="10"/>
                    <a:pt x="14" y="10"/>
                  </a:cubicBezTo>
                  <a:cubicBezTo>
                    <a:pt x="14" y="10"/>
                    <a:pt x="14" y="10"/>
                    <a:pt x="14" y="10"/>
                  </a:cubicBezTo>
                  <a:cubicBezTo>
                    <a:pt x="14" y="8"/>
                    <a:pt x="14" y="8"/>
                    <a:pt x="14" y="8"/>
                  </a:cubicBezTo>
                  <a:cubicBezTo>
                    <a:pt x="13" y="7"/>
                    <a:pt x="13" y="7"/>
                    <a:pt x="13" y="7"/>
                  </a:cubicBezTo>
                  <a:cubicBezTo>
                    <a:pt x="13" y="7"/>
                    <a:pt x="13" y="7"/>
                    <a:pt x="13" y="7"/>
                  </a:cubicBezTo>
                  <a:cubicBezTo>
                    <a:pt x="13" y="7"/>
                    <a:pt x="13" y="7"/>
                    <a:pt x="13" y="7"/>
                  </a:cubicBezTo>
                  <a:cubicBezTo>
                    <a:pt x="13" y="7"/>
                    <a:pt x="13" y="7"/>
                    <a:pt x="13" y="7"/>
                  </a:cubicBezTo>
                  <a:cubicBezTo>
                    <a:pt x="12" y="7"/>
                    <a:pt x="12" y="7"/>
                    <a:pt x="12" y="7"/>
                  </a:cubicBezTo>
                  <a:cubicBezTo>
                    <a:pt x="12" y="7"/>
                    <a:pt x="12" y="7"/>
                    <a:pt x="12" y="7"/>
                  </a:cubicBezTo>
                  <a:cubicBezTo>
                    <a:pt x="12" y="7"/>
                    <a:pt x="12" y="7"/>
                    <a:pt x="12" y="7"/>
                  </a:cubicBezTo>
                  <a:cubicBezTo>
                    <a:pt x="12" y="7"/>
                    <a:pt x="12" y="7"/>
                    <a:pt x="12" y="7"/>
                  </a:cubicBezTo>
                  <a:cubicBezTo>
                    <a:pt x="12" y="7"/>
                    <a:pt x="12" y="7"/>
                    <a:pt x="12" y="7"/>
                  </a:cubicBezTo>
                  <a:moveTo>
                    <a:pt x="28" y="14"/>
                  </a:moveTo>
                  <a:cubicBezTo>
                    <a:pt x="27" y="14"/>
                    <a:pt x="27" y="14"/>
                    <a:pt x="27" y="14"/>
                  </a:cubicBezTo>
                  <a:cubicBezTo>
                    <a:pt x="27" y="13"/>
                    <a:pt x="26" y="12"/>
                    <a:pt x="26" y="12"/>
                  </a:cubicBezTo>
                  <a:cubicBezTo>
                    <a:pt x="26" y="12"/>
                    <a:pt x="26" y="12"/>
                    <a:pt x="26" y="12"/>
                  </a:cubicBezTo>
                  <a:cubicBezTo>
                    <a:pt x="25" y="11"/>
                    <a:pt x="25" y="11"/>
                    <a:pt x="25" y="10"/>
                  </a:cubicBezTo>
                  <a:cubicBezTo>
                    <a:pt x="25" y="10"/>
                    <a:pt x="25" y="10"/>
                    <a:pt x="25" y="10"/>
                  </a:cubicBezTo>
                  <a:cubicBezTo>
                    <a:pt x="25" y="7"/>
                    <a:pt x="25" y="7"/>
                    <a:pt x="25" y="7"/>
                  </a:cubicBezTo>
                  <a:cubicBezTo>
                    <a:pt x="25" y="7"/>
                    <a:pt x="25" y="6"/>
                    <a:pt x="25" y="6"/>
                  </a:cubicBezTo>
                  <a:cubicBezTo>
                    <a:pt x="25" y="5"/>
                    <a:pt x="25" y="5"/>
                    <a:pt x="24" y="4"/>
                  </a:cubicBezTo>
                  <a:cubicBezTo>
                    <a:pt x="24" y="3"/>
                    <a:pt x="23" y="2"/>
                    <a:pt x="23" y="2"/>
                  </a:cubicBezTo>
                  <a:cubicBezTo>
                    <a:pt x="25" y="3"/>
                    <a:pt x="30" y="5"/>
                    <a:pt x="31" y="7"/>
                  </a:cubicBezTo>
                  <a:cubicBezTo>
                    <a:pt x="31" y="7"/>
                    <a:pt x="31" y="7"/>
                    <a:pt x="31" y="7"/>
                  </a:cubicBezTo>
                  <a:cubicBezTo>
                    <a:pt x="31" y="8"/>
                    <a:pt x="31" y="8"/>
                    <a:pt x="32" y="8"/>
                  </a:cubicBezTo>
                  <a:cubicBezTo>
                    <a:pt x="32" y="9"/>
                    <a:pt x="32" y="9"/>
                    <a:pt x="33" y="9"/>
                  </a:cubicBezTo>
                  <a:cubicBezTo>
                    <a:pt x="33" y="9"/>
                    <a:pt x="33" y="9"/>
                    <a:pt x="33" y="9"/>
                  </a:cubicBezTo>
                  <a:cubicBezTo>
                    <a:pt x="35" y="14"/>
                    <a:pt x="35" y="14"/>
                    <a:pt x="35" y="14"/>
                  </a:cubicBezTo>
                  <a:cubicBezTo>
                    <a:pt x="35" y="14"/>
                    <a:pt x="35" y="14"/>
                    <a:pt x="34" y="14"/>
                  </a:cubicBezTo>
                  <a:cubicBezTo>
                    <a:pt x="34" y="14"/>
                    <a:pt x="33" y="14"/>
                    <a:pt x="33" y="14"/>
                  </a:cubicBezTo>
                  <a:cubicBezTo>
                    <a:pt x="32" y="13"/>
                    <a:pt x="32" y="13"/>
                    <a:pt x="32" y="13"/>
                  </a:cubicBezTo>
                  <a:cubicBezTo>
                    <a:pt x="32" y="13"/>
                    <a:pt x="32" y="13"/>
                    <a:pt x="32" y="13"/>
                  </a:cubicBezTo>
                  <a:cubicBezTo>
                    <a:pt x="28" y="14"/>
                    <a:pt x="28" y="14"/>
                    <a:pt x="28" y="14"/>
                  </a:cubicBezTo>
                  <a:moveTo>
                    <a:pt x="22" y="24"/>
                  </a:moveTo>
                  <a:cubicBezTo>
                    <a:pt x="22" y="24"/>
                    <a:pt x="22" y="24"/>
                    <a:pt x="22" y="24"/>
                  </a:cubicBezTo>
                  <a:cubicBezTo>
                    <a:pt x="22" y="23"/>
                    <a:pt x="22" y="23"/>
                    <a:pt x="22" y="23"/>
                  </a:cubicBezTo>
                  <a:cubicBezTo>
                    <a:pt x="20" y="21"/>
                    <a:pt x="20" y="21"/>
                    <a:pt x="20" y="21"/>
                  </a:cubicBezTo>
                  <a:cubicBezTo>
                    <a:pt x="20" y="21"/>
                    <a:pt x="20" y="20"/>
                    <a:pt x="20" y="20"/>
                  </a:cubicBezTo>
                  <a:cubicBezTo>
                    <a:pt x="20" y="19"/>
                    <a:pt x="20" y="19"/>
                    <a:pt x="20" y="19"/>
                  </a:cubicBezTo>
                  <a:cubicBezTo>
                    <a:pt x="20" y="19"/>
                    <a:pt x="20" y="19"/>
                    <a:pt x="20" y="19"/>
                  </a:cubicBezTo>
                  <a:cubicBezTo>
                    <a:pt x="20" y="18"/>
                    <a:pt x="20" y="18"/>
                    <a:pt x="20" y="18"/>
                  </a:cubicBezTo>
                  <a:cubicBezTo>
                    <a:pt x="20" y="18"/>
                    <a:pt x="20" y="17"/>
                    <a:pt x="20" y="17"/>
                  </a:cubicBezTo>
                  <a:cubicBezTo>
                    <a:pt x="19" y="16"/>
                    <a:pt x="19" y="16"/>
                    <a:pt x="19" y="16"/>
                  </a:cubicBezTo>
                  <a:cubicBezTo>
                    <a:pt x="19" y="15"/>
                    <a:pt x="19" y="14"/>
                    <a:pt x="20" y="14"/>
                  </a:cubicBezTo>
                  <a:cubicBezTo>
                    <a:pt x="20" y="13"/>
                    <a:pt x="20" y="13"/>
                    <a:pt x="20" y="13"/>
                  </a:cubicBezTo>
                  <a:cubicBezTo>
                    <a:pt x="20" y="13"/>
                    <a:pt x="20" y="13"/>
                    <a:pt x="20" y="13"/>
                  </a:cubicBezTo>
                  <a:cubicBezTo>
                    <a:pt x="23" y="10"/>
                    <a:pt x="23" y="10"/>
                    <a:pt x="23" y="10"/>
                  </a:cubicBezTo>
                  <a:cubicBezTo>
                    <a:pt x="23" y="9"/>
                    <a:pt x="23" y="9"/>
                    <a:pt x="23" y="9"/>
                  </a:cubicBezTo>
                  <a:cubicBezTo>
                    <a:pt x="23" y="9"/>
                    <a:pt x="23" y="8"/>
                    <a:pt x="23" y="8"/>
                  </a:cubicBezTo>
                  <a:cubicBezTo>
                    <a:pt x="22" y="7"/>
                    <a:pt x="21" y="5"/>
                    <a:pt x="21" y="4"/>
                  </a:cubicBezTo>
                  <a:cubicBezTo>
                    <a:pt x="21" y="3"/>
                    <a:pt x="22" y="2"/>
                    <a:pt x="22" y="1"/>
                  </a:cubicBezTo>
                  <a:cubicBezTo>
                    <a:pt x="22" y="2"/>
                    <a:pt x="22" y="2"/>
                    <a:pt x="22" y="2"/>
                  </a:cubicBezTo>
                  <a:cubicBezTo>
                    <a:pt x="23" y="3"/>
                    <a:pt x="23" y="4"/>
                    <a:pt x="24" y="4"/>
                  </a:cubicBezTo>
                  <a:cubicBezTo>
                    <a:pt x="24" y="5"/>
                    <a:pt x="25" y="5"/>
                    <a:pt x="25" y="6"/>
                  </a:cubicBezTo>
                  <a:cubicBezTo>
                    <a:pt x="25" y="6"/>
                    <a:pt x="25" y="7"/>
                    <a:pt x="25" y="7"/>
                  </a:cubicBezTo>
                  <a:cubicBezTo>
                    <a:pt x="24" y="9"/>
                    <a:pt x="24" y="9"/>
                    <a:pt x="24" y="9"/>
                  </a:cubicBezTo>
                  <a:cubicBezTo>
                    <a:pt x="24" y="10"/>
                    <a:pt x="24" y="10"/>
                    <a:pt x="24" y="10"/>
                  </a:cubicBezTo>
                  <a:cubicBezTo>
                    <a:pt x="24" y="11"/>
                    <a:pt x="25" y="11"/>
                    <a:pt x="25" y="12"/>
                  </a:cubicBezTo>
                  <a:cubicBezTo>
                    <a:pt x="25" y="12"/>
                    <a:pt x="25" y="12"/>
                    <a:pt x="25" y="12"/>
                  </a:cubicBezTo>
                  <a:cubicBezTo>
                    <a:pt x="25" y="12"/>
                    <a:pt x="25" y="12"/>
                    <a:pt x="25" y="12"/>
                  </a:cubicBezTo>
                  <a:cubicBezTo>
                    <a:pt x="25" y="14"/>
                    <a:pt x="26" y="15"/>
                    <a:pt x="27" y="16"/>
                  </a:cubicBezTo>
                  <a:cubicBezTo>
                    <a:pt x="27" y="17"/>
                    <a:pt x="28" y="17"/>
                    <a:pt x="29" y="18"/>
                  </a:cubicBezTo>
                  <a:cubicBezTo>
                    <a:pt x="29" y="18"/>
                    <a:pt x="29" y="18"/>
                    <a:pt x="29" y="18"/>
                  </a:cubicBezTo>
                  <a:cubicBezTo>
                    <a:pt x="30" y="18"/>
                    <a:pt x="30" y="18"/>
                    <a:pt x="30" y="18"/>
                  </a:cubicBezTo>
                  <a:cubicBezTo>
                    <a:pt x="30" y="18"/>
                    <a:pt x="30" y="18"/>
                    <a:pt x="30" y="18"/>
                  </a:cubicBezTo>
                  <a:cubicBezTo>
                    <a:pt x="30" y="19"/>
                    <a:pt x="30" y="19"/>
                    <a:pt x="30" y="19"/>
                  </a:cubicBezTo>
                  <a:cubicBezTo>
                    <a:pt x="30" y="19"/>
                    <a:pt x="30" y="19"/>
                    <a:pt x="30" y="19"/>
                  </a:cubicBezTo>
                  <a:cubicBezTo>
                    <a:pt x="30" y="19"/>
                    <a:pt x="30" y="19"/>
                    <a:pt x="30" y="19"/>
                  </a:cubicBezTo>
                  <a:cubicBezTo>
                    <a:pt x="31" y="19"/>
                    <a:pt x="32" y="20"/>
                    <a:pt x="33" y="21"/>
                  </a:cubicBezTo>
                  <a:cubicBezTo>
                    <a:pt x="33" y="21"/>
                    <a:pt x="33" y="21"/>
                    <a:pt x="33" y="21"/>
                  </a:cubicBezTo>
                  <a:cubicBezTo>
                    <a:pt x="34" y="21"/>
                    <a:pt x="34" y="21"/>
                    <a:pt x="34" y="21"/>
                  </a:cubicBezTo>
                  <a:cubicBezTo>
                    <a:pt x="35" y="22"/>
                    <a:pt x="35" y="22"/>
                    <a:pt x="35" y="22"/>
                  </a:cubicBezTo>
                  <a:cubicBezTo>
                    <a:pt x="33" y="24"/>
                    <a:pt x="32" y="26"/>
                    <a:pt x="31" y="28"/>
                  </a:cubicBezTo>
                  <a:cubicBezTo>
                    <a:pt x="30" y="28"/>
                    <a:pt x="28" y="27"/>
                    <a:pt x="27" y="27"/>
                  </a:cubicBezTo>
                  <a:cubicBezTo>
                    <a:pt x="26" y="27"/>
                    <a:pt x="26" y="27"/>
                    <a:pt x="25" y="28"/>
                  </a:cubicBezTo>
                  <a:cubicBezTo>
                    <a:pt x="25" y="28"/>
                    <a:pt x="25" y="28"/>
                    <a:pt x="25" y="28"/>
                  </a:cubicBezTo>
                  <a:cubicBezTo>
                    <a:pt x="25" y="28"/>
                    <a:pt x="24" y="28"/>
                    <a:pt x="24" y="28"/>
                  </a:cubicBezTo>
                  <a:cubicBezTo>
                    <a:pt x="24" y="28"/>
                    <a:pt x="24" y="28"/>
                    <a:pt x="24" y="28"/>
                  </a:cubicBezTo>
                  <a:cubicBezTo>
                    <a:pt x="23" y="28"/>
                    <a:pt x="23" y="28"/>
                    <a:pt x="23" y="28"/>
                  </a:cubicBezTo>
                  <a:cubicBezTo>
                    <a:pt x="22" y="27"/>
                    <a:pt x="21" y="26"/>
                    <a:pt x="20" y="25"/>
                  </a:cubicBezTo>
                  <a:cubicBezTo>
                    <a:pt x="19" y="22"/>
                    <a:pt x="19" y="22"/>
                    <a:pt x="19" y="22"/>
                  </a:cubicBezTo>
                  <a:cubicBezTo>
                    <a:pt x="18" y="21"/>
                    <a:pt x="18" y="21"/>
                    <a:pt x="18" y="21"/>
                  </a:cubicBezTo>
                  <a:cubicBezTo>
                    <a:pt x="17" y="21"/>
                    <a:pt x="17" y="21"/>
                    <a:pt x="17" y="21"/>
                  </a:cubicBezTo>
                  <a:cubicBezTo>
                    <a:pt x="17" y="21"/>
                    <a:pt x="17" y="21"/>
                    <a:pt x="17" y="21"/>
                  </a:cubicBezTo>
                  <a:cubicBezTo>
                    <a:pt x="17" y="20"/>
                    <a:pt x="17" y="20"/>
                    <a:pt x="17" y="20"/>
                  </a:cubicBezTo>
                  <a:cubicBezTo>
                    <a:pt x="17" y="20"/>
                    <a:pt x="17" y="20"/>
                    <a:pt x="17" y="20"/>
                  </a:cubicBezTo>
                  <a:cubicBezTo>
                    <a:pt x="16" y="19"/>
                    <a:pt x="15" y="18"/>
                    <a:pt x="14" y="17"/>
                  </a:cubicBezTo>
                  <a:cubicBezTo>
                    <a:pt x="13" y="16"/>
                    <a:pt x="13" y="16"/>
                    <a:pt x="13" y="16"/>
                  </a:cubicBezTo>
                  <a:cubicBezTo>
                    <a:pt x="13" y="16"/>
                    <a:pt x="13" y="16"/>
                    <a:pt x="13" y="16"/>
                  </a:cubicBezTo>
                  <a:cubicBezTo>
                    <a:pt x="13" y="16"/>
                    <a:pt x="13" y="16"/>
                    <a:pt x="13" y="16"/>
                  </a:cubicBezTo>
                  <a:cubicBezTo>
                    <a:pt x="12" y="16"/>
                    <a:pt x="12" y="16"/>
                    <a:pt x="11" y="17"/>
                  </a:cubicBezTo>
                  <a:cubicBezTo>
                    <a:pt x="11" y="16"/>
                    <a:pt x="11" y="16"/>
                    <a:pt x="11" y="16"/>
                  </a:cubicBezTo>
                  <a:cubicBezTo>
                    <a:pt x="11" y="17"/>
                    <a:pt x="11" y="17"/>
                    <a:pt x="11" y="17"/>
                  </a:cubicBezTo>
                  <a:cubicBezTo>
                    <a:pt x="10" y="16"/>
                    <a:pt x="8" y="14"/>
                    <a:pt x="7" y="13"/>
                  </a:cubicBezTo>
                  <a:cubicBezTo>
                    <a:pt x="7" y="13"/>
                    <a:pt x="7" y="13"/>
                    <a:pt x="7" y="13"/>
                  </a:cubicBezTo>
                  <a:cubicBezTo>
                    <a:pt x="7" y="13"/>
                    <a:pt x="7" y="13"/>
                    <a:pt x="7" y="13"/>
                  </a:cubicBezTo>
                  <a:cubicBezTo>
                    <a:pt x="6" y="12"/>
                    <a:pt x="6" y="12"/>
                    <a:pt x="6" y="12"/>
                  </a:cubicBezTo>
                  <a:cubicBezTo>
                    <a:pt x="6" y="11"/>
                    <a:pt x="7" y="10"/>
                    <a:pt x="8" y="9"/>
                  </a:cubicBezTo>
                  <a:cubicBezTo>
                    <a:pt x="9" y="9"/>
                    <a:pt x="9" y="10"/>
                    <a:pt x="10" y="10"/>
                  </a:cubicBezTo>
                  <a:cubicBezTo>
                    <a:pt x="11" y="10"/>
                    <a:pt x="11" y="10"/>
                    <a:pt x="11" y="10"/>
                  </a:cubicBezTo>
                  <a:cubicBezTo>
                    <a:pt x="13" y="9"/>
                    <a:pt x="13" y="9"/>
                    <a:pt x="13" y="9"/>
                  </a:cubicBezTo>
                  <a:cubicBezTo>
                    <a:pt x="13" y="10"/>
                    <a:pt x="13" y="10"/>
                    <a:pt x="13" y="10"/>
                  </a:cubicBezTo>
                  <a:cubicBezTo>
                    <a:pt x="13" y="11"/>
                    <a:pt x="13" y="11"/>
                    <a:pt x="13" y="11"/>
                  </a:cubicBezTo>
                  <a:cubicBezTo>
                    <a:pt x="13" y="11"/>
                    <a:pt x="13" y="11"/>
                    <a:pt x="13" y="11"/>
                  </a:cubicBezTo>
                  <a:cubicBezTo>
                    <a:pt x="13" y="11"/>
                    <a:pt x="14" y="12"/>
                    <a:pt x="14" y="12"/>
                  </a:cubicBezTo>
                  <a:cubicBezTo>
                    <a:pt x="14" y="13"/>
                    <a:pt x="14" y="13"/>
                    <a:pt x="14" y="13"/>
                  </a:cubicBezTo>
                  <a:cubicBezTo>
                    <a:pt x="14" y="13"/>
                    <a:pt x="14" y="13"/>
                    <a:pt x="14" y="13"/>
                  </a:cubicBezTo>
                  <a:cubicBezTo>
                    <a:pt x="15" y="13"/>
                    <a:pt x="15" y="13"/>
                    <a:pt x="15" y="13"/>
                  </a:cubicBezTo>
                  <a:cubicBezTo>
                    <a:pt x="15" y="13"/>
                    <a:pt x="16" y="13"/>
                    <a:pt x="16" y="13"/>
                  </a:cubicBezTo>
                  <a:cubicBezTo>
                    <a:pt x="16" y="14"/>
                    <a:pt x="16" y="14"/>
                    <a:pt x="16" y="14"/>
                  </a:cubicBezTo>
                  <a:cubicBezTo>
                    <a:pt x="17" y="14"/>
                    <a:pt x="17" y="14"/>
                    <a:pt x="17" y="14"/>
                  </a:cubicBezTo>
                  <a:cubicBezTo>
                    <a:pt x="17" y="14"/>
                    <a:pt x="17" y="14"/>
                    <a:pt x="17" y="14"/>
                  </a:cubicBezTo>
                  <a:cubicBezTo>
                    <a:pt x="17" y="15"/>
                    <a:pt x="17" y="15"/>
                    <a:pt x="17" y="15"/>
                  </a:cubicBezTo>
                  <a:cubicBezTo>
                    <a:pt x="19" y="18"/>
                    <a:pt x="19" y="18"/>
                    <a:pt x="19" y="18"/>
                  </a:cubicBezTo>
                  <a:cubicBezTo>
                    <a:pt x="19" y="18"/>
                    <a:pt x="19" y="18"/>
                    <a:pt x="19" y="18"/>
                  </a:cubicBezTo>
                  <a:cubicBezTo>
                    <a:pt x="19" y="18"/>
                    <a:pt x="19" y="18"/>
                    <a:pt x="19" y="18"/>
                  </a:cubicBezTo>
                  <a:cubicBezTo>
                    <a:pt x="19" y="19"/>
                    <a:pt x="18" y="19"/>
                    <a:pt x="18" y="20"/>
                  </a:cubicBezTo>
                  <a:cubicBezTo>
                    <a:pt x="19" y="21"/>
                    <a:pt x="19" y="21"/>
                    <a:pt x="19" y="22"/>
                  </a:cubicBezTo>
                  <a:cubicBezTo>
                    <a:pt x="21" y="24"/>
                    <a:pt x="21" y="24"/>
                    <a:pt x="21" y="24"/>
                  </a:cubicBezTo>
                  <a:cubicBezTo>
                    <a:pt x="22" y="24"/>
                    <a:pt x="22" y="24"/>
                    <a:pt x="22" y="24"/>
                  </a:cubicBezTo>
                  <a:moveTo>
                    <a:pt x="22" y="1"/>
                  </a:moveTo>
                  <a:cubicBezTo>
                    <a:pt x="22" y="1"/>
                    <a:pt x="22" y="1"/>
                    <a:pt x="22" y="1"/>
                  </a:cubicBezTo>
                  <a:cubicBezTo>
                    <a:pt x="22" y="1"/>
                    <a:pt x="22" y="1"/>
                    <a:pt x="22" y="1"/>
                  </a:cubicBezTo>
                  <a:cubicBezTo>
                    <a:pt x="22" y="1"/>
                    <a:pt x="22" y="1"/>
                    <a:pt x="22" y="1"/>
                  </a:cubicBezTo>
                  <a:moveTo>
                    <a:pt x="22" y="0"/>
                  </a:moveTo>
                  <a:cubicBezTo>
                    <a:pt x="22" y="0"/>
                    <a:pt x="22" y="0"/>
                    <a:pt x="22" y="0"/>
                  </a:cubicBezTo>
                  <a:cubicBezTo>
                    <a:pt x="22" y="0"/>
                    <a:pt x="20" y="2"/>
                    <a:pt x="20" y="3"/>
                  </a:cubicBezTo>
                  <a:cubicBezTo>
                    <a:pt x="19" y="3"/>
                    <a:pt x="17" y="3"/>
                    <a:pt x="15" y="3"/>
                  </a:cubicBezTo>
                  <a:cubicBezTo>
                    <a:pt x="13" y="3"/>
                    <a:pt x="10" y="3"/>
                    <a:pt x="10" y="3"/>
                  </a:cubicBezTo>
                  <a:cubicBezTo>
                    <a:pt x="10" y="3"/>
                    <a:pt x="10" y="3"/>
                    <a:pt x="10" y="3"/>
                  </a:cubicBezTo>
                  <a:cubicBezTo>
                    <a:pt x="10" y="3"/>
                    <a:pt x="9" y="6"/>
                    <a:pt x="7" y="8"/>
                  </a:cubicBezTo>
                  <a:cubicBezTo>
                    <a:pt x="7" y="8"/>
                    <a:pt x="7" y="8"/>
                    <a:pt x="7" y="8"/>
                  </a:cubicBezTo>
                  <a:cubicBezTo>
                    <a:pt x="7" y="8"/>
                    <a:pt x="7" y="8"/>
                    <a:pt x="7" y="8"/>
                  </a:cubicBezTo>
                  <a:cubicBezTo>
                    <a:pt x="6" y="9"/>
                    <a:pt x="5" y="10"/>
                    <a:pt x="5" y="12"/>
                  </a:cubicBezTo>
                  <a:cubicBezTo>
                    <a:pt x="5" y="12"/>
                    <a:pt x="5" y="12"/>
                    <a:pt x="5" y="12"/>
                  </a:cubicBezTo>
                  <a:cubicBezTo>
                    <a:pt x="6" y="13"/>
                    <a:pt x="6" y="13"/>
                    <a:pt x="6" y="13"/>
                  </a:cubicBezTo>
                  <a:cubicBezTo>
                    <a:pt x="5" y="14"/>
                    <a:pt x="5" y="15"/>
                    <a:pt x="5" y="16"/>
                  </a:cubicBezTo>
                  <a:cubicBezTo>
                    <a:pt x="5" y="16"/>
                    <a:pt x="4" y="17"/>
                    <a:pt x="4" y="18"/>
                  </a:cubicBezTo>
                  <a:cubicBezTo>
                    <a:pt x="1" y="17"/>
                    <a:pt x="1" y="17"/>
                    <a:pt x="1" y="17"/>
                  </a:cubicBezTo>
                  <a:cubicBezTo>
                    <a:pt x="0" y="17"/>
                    <a:pt x="0" y="17"/>
                    <a:pt x="0" y="17"/>
                  </a:cubicBezTo>
                  <a:cubicBezTo>
                    <a:pt x="0" y="18"/>
                    <a:pt x="0" y="18"/>
                    <a:pt x="0" y="18"/>
                  </a:cubicBezTo>
                  <a:cubicBezTo>
                    <a:pt x="1" y="21"/>
                    <a:pt x="4" y="23"/>
                    <a:pt x="6" y="25"/>
                  </a:cubicBezTo>
                  <a:cubicBezTo>
                    <a:pt x="6" y="25"/>
                    <a:pt x="6" y="25"/>
                    <a:pt x="6" y="25"/>
                  </a:cubicBezTo>
                  <a:cubicBezTo>
                    <a:pt x="6" y="26"/>
                    <a:pt x="6" y="26"/>
                    <a:pt x="6" y="26"/>
                  </a:cubicBezTo>
                  <a:cubicBezTo>
                    <a:pt x="6" y="27"/>
                    <a:pt x="6" y="27"/>
                    <a:pt x="6" y="27"/>
                  </a:cubicBezTo>
                  <a:cubicBezTo>
                    <a:pt x="7" y="28"/>
                    <a:pt x="9" y="29"/>
                    <a:pt x="10" y="31"/>
                  </a:cubicBezTo>
                  <a:cubicBezTo>
                    <a:pt x="10" y="31"/>
                    <a:pt x="10" y="31"/>
                    <a:pt x="10" y="31"/>
                  </a:cubicBezTo>
                  <a:cubicBezTo>
                    <a:pt x="11" y="31"/>
                    <a:pt x="11" y="31"/>
                    <a:pt x="11" y="31"/>
                  </a:cubicBezTo>
                  <a:cubicBezTo>
                    <a:pt x="11" y="30"/>
                    <a:pt x="12" y="30"/>
                    <a:pt x="13" y="29"/>
                  </a:cubicBezTo>
                  <a:cubicBezTo>
                    <a:pt x="14" y="32"/>
                    <a:pt x="14" y="32"/>
                    <a:pt x="14" y="32"/>
                  </a:cubicBezTo>
                  <a:cubicBezTo>
                    <a:pt x="15" y="33"/>
                    <a:pt x="15" y="33"/>
                    <a:pt x="15" y="33"/>
                  </a:cubicBezTo>
                  <a:cubicBezTo>
                    <a:pt x="15" y="33"/>
                    <a:pt x="15" y="33"/>
                    <a:pt x="15" y="33"/>
                  </a:cubicBezTo>
                  <a:cubicBezTo>
                    <a:pt x="16" y="33"/>
                    <a:pt x="16" y="33"/>
                    <a:pt x="17" y="33"/>
                  </a:cubicBezTo>
                  <a:cubicBezTo>
                    <a:pt x="17" y="33"/>
                    <a:pt x="17" y="33"/>
                    <a:pt x="17" y="33"/>
                  </a:cubicBezTo>
                  <a:cubicBezTo>
                    <a:pt x="18" y="33"/>
                    <a:pt x="18" y="33"/>
                    <a:pt x="19" y="33"/>
                  </a:cubicBezTo>
                  <a:cubicBezTo>
                    <a:pt x="21" y="33"/>
                    <a:pt x="23" y="32"/>
                    <a:pt x="24" y="30"/>
                  </a:cubicBezTo>
                  <a:cubicBezTo>
                    <a:pt x="25" y="30"/>
                    <a:pt x="25" y="31"/>
                    <a:pt x="26" y="31"/>
                  </a:cubicBezTo>
                  <a:cubicBezTo>
                    <a:pt x="26" y="31"/>
                    <a:pt x="26" y="31"/>
                    <a:pt x="26" y="31"/>
                  </a:cubicBezTo>
                  <a:cubicBezTo>
                    <a:pt x="26" y="31"/>
                    <a:pt x="26" y="31"/>
                    <a:pt x="26" y="31"/>
                  </a:cubicBezTo>
                  <a:cubicBezTo>
                    <a:pt x="26" y="31"/>
                    <a:pt x="26" y="31"/>
                    <a:pt x="26" y="31"/>
                  </a:cubicBezTo>
                  <a:cubicBezTo>
                    <a:pt x="27" y="31"/>
                    <a:pt x="27" y="31"/>
                    <a:pt x="27" y="31"/>
                  </a:cubicBezTo>
                  <a:cubicBezTo>
                    <a:pt x="27" y="31"/>
                    <a:pt x="27" y="31"/>
                    <a:pt x="27" y="31"/>
                  </a:cubicBezTo>
                  <a:cubicBezTo>
                    <a:pt x="27" y="30"/>
                    <a:pt x="27" y="30"/>
                    <a:pt x="27" y="30"/>
                  </a:cubicBezTo>
                  <a:cubicBezTo>
                    <a:pt x="28" y="30"/>
                    <a:pt x="28" y="30"/>
                    <a:pt x="28" y="30"/>
                  </a:cubicBezTo>
                  <a:cubicBezTo>
                    <a:pt x="28" y="30"/>
                    <a:pt x="28" y="30"/>
                    <a:pt x="28" y="30"/>
                  </a:cubicBezTo>
                  <a:cubicBezTo>
                    <a:pt x="28" y="30"/>
                    <a:pt x="28" y="30"/>
                    <a:pt x="28" y="30"/>
                  </a:cubicBezTo>
                  <a:cubicBezTo>
                    <a:pt x="28" y="30"/>
                    <a:pt x="28" y="30"/>
                    <a:pt x="28" y="30"/>
                  </a:cubicBezTo>
                  <a:cubicBezTo>
                    <a:pt x="29" y="30"/>
                    <a:pt x="29" y="30"/>
                    <a:pt x="29" y="30"/>
                  </a:cubicBezTo>
                  <a:cubicBezTo>
                    <a:pt x="29" y="30"/>
                    <a:pt x="29" y="30"/>
                    <a:pt x="29" y="30"/>
                  </a:cubicBezTo>
                  <a:cubicBezTo>
                    <a:pt x="29" y="30"/>
                    <a:pt x="29" y="30"/>
                    <a:pt x="29" y="30"/>
                  </a:cubicBezTo>
                  <a:cubicBezTo>
                    <a:pt x="29" y="30"/>
                    <a:pt x="29" y="30"/>
                    <a:pt x="29" y="30"/>
                  </a:cubicBezTo>
                  <a:cubicBezTo>
                    <a:pt x="29" y="30"/>
                    <a:pt x="29" y="30"/>
                    <a:pt x="29" y="30"/>
                  </a:cubicBezTo>
                  <a:cubicBezTo>
                    <a:pt x="30" y="30"/>
                    <a:pt x="30" y="30"/>
                    <a:pt x="30" y="30"/>
                  </a:cubicBezTo>
                  <a:cubicBezTo>
                    <a:pt x="30" y="30"/>
                    <a:pt x="30" y="30"/>
                    <a:pt x="30" y="30"/>
                  </a:cubicBezTo>
                  <a:cubicBezTo>
                    <a:pt x="31" y="30"/>
                    <a:pt x="31" y="30"/>
                    <a:pt x="31" y="30"/>
                  </a:cubicBezTo>
                  <a:cubicBezTo>
                    <a:pt x="31" y="29"/>
                    <a:pt x="31" y="29"/>
                    <a:pt x="31" y="29"/>
                  </a:cubicBezTo>
                  <a:cubicBezTo>
                    <a:pt x="33" y="27"/>
                    <a:pt x="34" y="25"/>
                    <a:pt x="36" y="23"/>
                  </a:cubicBezTo>
                  <a:cubicBezTo>
                    <a:pt x="36" y="22"/>
                    <a:pt x="36" y="22"/>
                    <a:pt x="36" y="22"/>
                  </a:cubicBezTo>
                  <a:cubicBezTo>
                    <a:pt x="36" y="22"/>
                    <a:pt x="36" y="22"/>
                    <a:pt x="36" y="22"/>
                  </a:cubicBezTo>
                  <a:cubicBezTo>
                    <a:pt x="34" y="20"/>
                    <a:pt x="34" y="20"/>
                    <a:pt x="34" y="20"/>
                  </a:cubicBezTo>
                  <a:cubicBezTo>
                    <a:pt x="34" y="18"/>
                    <a:pt x="35" y="16"/>
                    <a:pt x="36" y="15"/>
                  </a:cubicBezTo>
                  <a:cubicBezTo>
                    <a:pt x="36" y="15"/>
                    <a:pt x="36" y="15"/>
                    <a:pt x="36" y="15"/>
                  </a:cubicBezTo>
                  <a:cubicBezTo>
                    <a:pt x="37" y="14"/>
                    <a:pt x="37" y="14"/>
                    <a:pt x="37" y="14"/>
                  </a:cubicBezTo>
                  <a:cubicBezTo>
                    <a:pt x="37" y="14"/>
                    <a:pt x="37" y="14"/>
                    <a:pt x="37" y="14"/>
                  </a:cubicBezTo>
                  <a:cubicBezTo>
                    <a:pt x="37" y="14"/>
                    <a:pt x="37" y="14"/>
                    <a:pt x="37" y="14"/>
                  </a:cubicBezTo>
                  <a:cubicBezTo>
                    <a:pt x="34" y="8"/>
                    <a:pt x="34" y="8"/>
                    <a:pt x="34" y="8"/>
                  </a:cubicBezTo>
                  <a:cubicBezTo>
                    <a:pt x="33" y="7"/>
                    <a:pt x="33" y="7"/>
                    <a:pt x="33" y="7"/>
                  </a:cubicBezTo>
                  <a:cubicBezTo>
                    <a:pt x="33" y="8"/>
                    <a:pt x="33" y="8"/>
                    <a:pt x="33" y="8"/>
                  </a:cubicBezTo>
                  <a:cubicBezTo>
                    <a:pt x="32" y="8"/>
                    <a:pt x="32" y="8"/>
                    <a:pt x="32" y="8"/>
                  </a:cubicBezTo>
                  <a:cubicBezTo>
                    <a:pt x="32" y="7"/>
                    <a:pt x="32" y="7"/>
                    <a:pt x="32" y="7"/>
                  </a:cubicBezTo>
                  <a:cubicBezTo>
                    <a:pt x="32" y="6"/>
                    <a:pt x="32" y="6"/>
                    <a:pt x="32" y="6"/>
                  </a:cubicBezTo>
                  <a:cubicBezTo>
                    <a:pt x="30" y="3"/>
                    <a:pt x="23" y="0"/>
                    <a:pt x="22"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55" name="i$ľîḓê"/>
            <p:cNvSpPr/>
            <p:nvPr/>
          </p:nvSpPr>
          <p:spPr bwMode="auto">
            <a:xfrm>
              <a:off x="3993" y="2512"/>
              <a:ext cx="96" cy="105"/>
            </a:xfrm>
            <a:custGeom>
              <a:avLst/>
              <a:gdLst>
                <a:gd name="T0" fmla="*/ 26 w 40"/>
                <a:gd name="T1" fmla="*/ 40 h 44"/>
                <a:gd name="T2" fmla="*/ 22 w 40"/>
                <a:gd name="T3" fmla="*/ 38 h 44"/>
                <a:gd name="T4" fmla="*/ 26 w 40"/>
                <a:gd name="T5" fmla="*/ 38 h 44"/>
                <a:gd name="T6" fmla="*/ 23 w 40"/>
                <a:gd name="T7" fmla="*/ 39 h 44"/>
                <a:gd name="T8" fmla="*/ 22 w 40"/>
                <a:gd name="T9" fmla="*/ 36 h 44"/>
                <a:gd name="T10" fmla="*/ 7 w 40"/>
                <a:gd name="T11" fmla="*/ 35 h 44"/>
                <a:gd name="T12" fmla="*/ 25 w 40"/>
                <a:gd name="T13" fmla="*/ 34 h 44"/>
                <a:gd name="T14" fmla="*/ 8 w 40"/>
                <a:gd name="T15" fmla="*/ 33 h 44"/>
                <a:gd name="T16" fmla="*/ 23 w 40"/>
                <a:gd name="T17" fmla="*/ 33 h 44"/>
                <a:gd name="T18" fmla="*/ 7 w 40"/>
                <a:gd name="T19" fmla="*/ 32 h 44"/>
                <a:gd name="T20" fmla="*/ 28 w 40"/>
                <a:gd name="T21" fmla="*/ 37 h 44"/>
                <a:gd name="T22" fmla="*/ 30 w 40"/>
                <a:gd name="T23" fmla="*/ 27 h 44"/>
                <a:gd name="T24" fmla="*/ 33 w 40"/>
                <a:gd name="T25" fmla="*/ 36 h 44"/>
                <a:gd name="T26" fmla="*/ 25 w 40"/>
                <a:gd name="T27" fmla="*/ 19 h 44"/>
                <a:gd name="T28" fmla="*/ 26 w 40"/>
                <a:gd name="T29" fmla="*/ 18 h 44"/>
                <a:gd name="T30" fmla="*/ 15 w 40"/>
                <a:gd name="T31" fmla="*/ 19 h 44"/>
                <a:gd name="T32" fmla="*/ 16 w 40"/>
                <a:gd name="T33" fmla="*/ 15 h 44"/>
                <a:gd name="T34" fmla="*/ 18 w 40"/>
                <a:gd name="T35" fmla="*/ 15 h 44"/>
                <a:gd name="T36" fmla="*/ 24 w 40"/>
                <a:gd name="T37" fmla="*/ 15 h 44"/>
                <a:gd name="T38" fmla="*/ 7 w 40"/>
                <a:gd name="T39" fmla="*/ 15 h 44"/>
                <a:gd name="T40" fmla="*/ 17 w 40"/>
                <a:gd name="T41" fmla="*/ 14 h 44"/>
                <a:gd name="T42" fmla="*/ 16 w 40"/>
                <a:gd name="T43" fmla="*/ 12 h 44"/>
                <a:gd name="T44" fmla="*/ 17 w 40"/>
                <a:gd name="T45" fmla="*/ 12 h 44"/>
                <a:gd name="T46" fmla="*/ 5 w 40"/>
                <a:gd name="T47" fmla="*/ 11 h 44"/>
                <a:gd name="T48" fmla="*/ 6 w 40"/>
                <a:gd name="T49" fmla="*/ 11 h 44"/>
                <a:gd name="T50" fmla="*/ 27 w 40"/>
                <a:gd name="T51" fmla="*/ 10 h 44"/>
                <a:gd name="T52" fmla="*/ 17 w 40"/>
                <a:gd name="T53" fmla="*/ 11 h 44"/>
                <a:gd name="T54" fmla="*/ 14 w 40"/>
                <a:gd name="T55" fmla="*/ 11 h 44"/>
                <a:gd name="T56" fmla="*/ 29 w 40"/>
                <a:gd name="T57" fmla="*/ 13 h 44"/>
                <a:gd name="T58" fmla="*/ 29 w 40"/>
                <a:gd name="T59" fmla="*/ 11 h 44"/>
                <a:gd name="T60" fmla="*/ 33 w 40"/>
                <a:gd name="T61" fmla="*/ 20 h 44"/>
                <a:gd name="T62" fmla="*/ 26 w 40"/>
                <a:gd name="T63" fmla="*/ 21 h 44"/>
                <a:gd name="T64" fmla="*/ 27 w 40"/>
                <a:gd name="T65" fmla="*/ 20 h 44"/>
                <a:gd name="T66" fmla="*/ 27 w 40"/>
                <a:gd name="T67" fmla="*/ 9 h 44"/>
                <a:gd name="T68" fmla="*/ 16 w 40"/>
                <a:gd name="T69" fmla="*/ 7 h 44"/>
                <a:gd name="T70" fmla="*/ 17 w 40"/>
                <a:gd name="T71" fmla="*/ 7 h 44"/>
                <a:gd name="T72" fmla="*/ 21 w 40"/>
                <a:gd name="T73" fmla="*/ 8 h 44"/>
                <a:gd name="T74" fmla="*/ 25 w 40"/>
                <a:gd name="T75" fmla="*/ 13 h 44"/>
                <a:gd name="T76" fmla="*/ 22 w 40"/>
                <a:gd name="T77" fmla="*/ 18 h 44"/>
                <a:gd name="T78" fmla="*/ 14 w 40"/>
                <a:gd name="T79" fmla="*/ 24 h 44"/>
                <a:gd name="T80" fmla="*/ 18 w 40"/>
                <a:gd name="T81" fmla="*/ 24 h 44"/>
                <a:gd name="T82" fmla="*/ 25 w 40"/>
                <a:gd name="T83" fmla="*/ 22 h 44"/>
                <a:gd name="T84" fmla="*/ 34 w 40"/>
                <a:gd name="T85" fmla="*/ 25 h 44"/>
                <a:gd name="T86" fmla="*/ 21 w 40"/>
                <a:gd name="T87" fmla="*/ 33 h 44"/>
                <a:gd name="T88" fmla="*/ 19 w 40"/>
                <a:gd name="T89" fmla="*/ 40 h 44"/>
                <a:gd name="T90" fmla="*/ 14 w 40"/>
                <a:gd name="T91" fmla="*/ 23 h 44"/>
                <a:gd name="T92" fmla="*/ 18 w 40"/>
                <a:gd name="T93" fmla="*/ 13 h 44"/>
                <a:gd name="T94" fmla="*/ 2 w 40"/>
                <a:gd name="T95" fmla="*/ 21 h 44"/>
                <a:gd name="T96" fmla="*/ 13 w 40"/>
                <a:gd name="T97" fmla="*/ 2 h 44"/>
                <a:gd name="T98" fmla="*/ 13 w 40"/>
                <a:gd name="T99" fmla="*/ 11 h 44"/>
                <a:gd name="T100" fmla="*/ 6 w 40"/>
                <a:gd name="T101" fmla="*/ 19 h 44"/>
                <a:gd name="T102" fmla="*/ 6 w 40"/>
                <a:gd name="T103" fmla="*/ 20 h 44"/>
                <a:gd name="T104" fmla="*/ 13 w 40"/>
                <a:gd name="T105" fmla="*/ 18 h 44"/>
                <a:gd name="T106" fmla="*/ 16 w 40"/>
                <a:gd name="T107" fmla="*/ 16 h 44"/>
                <a:gd name="T108" fmla="*/ 7 w 40"/>
                <a:gd name="T109" fmla="*/ 29 h 44"/>
                <a:gd name="T110" fmla="*/ 1 w 40"/>
                <a:gd name="T111" fmla="*/ 16 h 44"/>
                <a:gd name="T112" fmla="*/ 6 w 40"/>
                <a:gd name="T113" fmla="*/ 32 h 44"/>
                <a:gd name="T114" fmla="*/ 8 w 40"/>
                <a:gd name="T115" fmla="*/ 37 h 44"/>
                <a:gd name="T116" fmla="*/ 9 w 40"/>
                <a:gd name="T117" fmla="*/ 40 h 44"/>
                <a:gd name="T118" fmla="*/ 27 w 40"/>
                <a:gd name="T119" fmla="*/ 41 h 44"/>
                <a:gd name="T120" fmla="*/ 34 w 40"/>
                <a:gd name="T121" fmla="*/ 35 h 44"/>
                <a:gd name="T122" fmla="*/ 33 w 40"/>
                <a:gd name="T123" fmla="*/ 8 h 44"/>
                <a:gd name="T124" fmla="*/ 17 w 40"/>
                <a:gd name="T125"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 h="44">
                  <a:moveTo>
                    <a:pt x="21" y="38"/>
                  </a:moveTo>
                  <a:cubicBezTo>
                    <a:pt x="21" y="38"/>
                    <a:pt x="21" y="38"/>
                    <a:pt x="21" y="38"/>
                  </a:cubicBezTo>
                  <a:cubicBezTo>
                    <a:pt x="22" y="38"/>
                    <a:pt x="22" y="38"/>
                    <a:pt x="22" y="38"/>
                  </a:cubicBezTo>
                  <a:cubicBezTo>
                    <a:pt x="21" y="38"/>
                    <a:pt x="21" y="38"/>
                    <a:pt x="21" y="38"/>
                  </a:cubicBezTo>
                  <a:moveTo>
                    <a:pt x="26" y="40"/>
                  </a:moveTo>
                  <a:cubicBezTo>
                    <a:pt x="26" y="39"/>
                    <a:pt x="25" y="39"/>
                    <a:pt x="25" y="39"/>
                  </a:cubicBezTo>
                  <a:cubicBezTo>
                    <a:pt x="25" y="39"/>
                    <a:pt x="26" y="39"/>
                    <a:pt x="26" y="38"/>
                  </a:cubicBezTo>
                  <a:cubicBezTo>
                    <a:pt x="26" y="39"/>
                    <a:pt x="26" y="39"/>
                    <a:pt x="26" y="40"/>
                  </a:cubicBezTo>
                  <a:moveTo>
                    <a:pt x="9" y="38"/>
                  </a:moveTo>
                  <a:cubicBezTo>
                    <a:pt x="9" y="37"/>
                    <a:pt x="9" y="37"/>
                    <a:pt x="9" y="37"/>
                  </a:cubicBezTo>
                  <a:cubicBezTo>
                    <a:pt x="9" y="37"/>
                    <a:pt x="9" y="37"/>
                    <a:pt x="9" y="37"/>
                  </a:cubicBezTo>
                  <a:cubicBezTo>
                    <a:pt x="9" y="38"/>
                    <a:pt x="9" y="38"/>
                    <a:pt x="9" y="38"/>
                  </a:cubicBezTo>
                  <a:moveTo>
                    <a:pt x="22" y="38"/>
                  </a:moveTo>
                  <a:cubicBezTo>
                    <a:pt x="22" y="38"/>
                    <a:pt x="22" y="38"/>
                    <a:pt x="22" y="38"/>
                  </a:cubicBezTo>
                  <a:cubicBezTo>
                    <a:pt x="23" y="37"/>
                    <a:pt x="23" y="37"/>
                    <a:pt x="24" y="36"/>
                  </a:cubicBezTo>
                  <a:cubicBezTo>
                    <a:pt x="23" y="37"/>
                    <a:pt x="23" y="38"/>
                    <a:pt x="22" y="38"/>
                  </a:cubicBezTo>
                  <a:moveTo>
                    <a:pt x="23" y="39"/>
                  </a:moveTo>
                  <a:cubicBezTo>
                    <a:pt x="23" y="39"/>
                    <a:pt x="22" y="39"/>
                    <a:pt x="22" y="39"/>
                  </a:cubicBezTo>
                  <a:cubicBezTo>
                    <a:pt x="23" y="38"/>
                    <a:pt x="25" y="37"/>
                    <a:pt x="26" y="36"/>
                  </a:cubicBezTo>
                  <a:cubicBezTo>
                    <a:pt x="26" y="36"/>
                    <a:pt x="26" y="36"/>
                    <a:pt x="26" y="36"/>
                  </a:cubicBezTo>
                  <a:cubicBezTo>
                    <a:pt x="26" y="36"/>
                    <a:pt x="26" y="36"/>
                    <a:pt x="26" y="36"/>
                  </a:cubicBezTo>
                  <a:cubicBezTo>
                    <a:pt x="26" y="37"/>
                    <a:pt x="26" y="37"/>
                    <a:pt x="26" y="37"/>
                  </a:cubicBezTo>
                  <a:cubicBezTo>
                    <a:pt x="26" y="37"/>
                    <a:pt x="26" y="37"/>
                    <a:pt x="26" y="37"/>
                  </a:cubicBezTo>
                  <a:cubicBezTo>
                    <a:pt x="26" y="38"/>
                    <a:pt x="26" y="38"/>
                    <a:pt x="26" y="38"/>
                  </a:cubicBezTo>
                  <a:cubicBezTo>
                    <a:pt x="25" y="38"/>
                    <a:pt x="25" y="39"/>
                    <a:pt x="24" y="39"/>
                  </a:cubicBezTo>
                  <a:cubicBezTo>
                    <a:pt x="24" y="39"/>
                    <a:pt x="24" y="39"/>
                    <a:pt x="24" y="39"/>
                  </a:cubicBezTo>
                  <a:cubicBezTo>
                    <a:pt x="24" y="39"/>
                    <a:pt x="24" y="39"/>
                    <a:pt x="24" y="39"/>
                  </a:cubicBezTo>
                  <a:cubicBezTo>
                    <a:pt x="26" y="38"/>
                    <a:pt x="26" y="38"/>
                    <a:pt x="26" y="38"/>
                  </a:cubicBezTo>
                  <a:cubicBezTo>
                    <a:pt x="26" y="37"/>
                    <a:pt x="26" y="37"/>
                    <a:pt x="26" y="37"/>
                  </a:cubicBezTo>
                  <a:cubicBezTo>
                    <a:pt x="25" y="37"/>
                    <a:pt x="25" y="37"/>
                    <a:pt x="25" y="37"/>
                  </a:cubicBezTo>
                  <a:cubicBezTo>
                    <a:pt x="23" y="39"/>
                    <a:pt x="23" y="39"/>
                    <a:pt x="23" y="39"/>
                  </a:cubicBezTo>
                  <a:cubicBezTo>
                    <a:pt x="23" y="39"/>
                    <a:pt x="23" y="39"/>
                    <a:pt x="23" y="39"/>
                  </a:cubicBezTo>
                  <a:moveTo>
                    <a:pt x="8" y="37"/>
                  </a:moveTo>
                  <a:cubicBezTo>
                    <a:pt x="8" y="36"/>
                    <a:pt x="8" y="36"/>
                    <a:pt x="8" y="36"/>
                  </a:cubicBezTo>
                  <a:cubicBezTo>
                    <a:pt x="9" y="35"/>
                    <a:pt x="9" y="35"/>
                    <a:pt x="9" y="35"/>
                  </a:cubicBezTo>
                  <a:cubicBezTo>
                    <a:pt x="9" y="36"/>
                    <a:pt x="9" y="36"/>
                    <a:pt x="9" y="36"/>
                  </a:cubicBezTo>
                  <a:cubicBezTo>
                    <a:pt x="9" y="36"/>
                    <a:pt x="9" y="36"/>
                    <a:pt x="9" y="36"/>
                  </a:cubicBezTo>
                  <a:cubicBezTo>
                    <a:pt x="8" y="37"/>
                    <a:pt x="8" y="37"/>
                    <a:pt x="8" y="37"/>
                  </a:cubicBezTo>
                  <a:moveTo>
                    <a:pt x="22" y="37"/>
                  </a:moveTo>
                  <a:cubicBezTo>
                    <a:pt x="22" y="36"/>
                    <a:pt x="22" y="36"/>
                    <a:pt x="22" y="36"/>
                  </a:cubicBezTo>
                  <a:cubicBezTo>
                    <a:pt x="25" y="34"/>
                    <a:pt x="25" y="34"/>
                    <a:pt x="25" y="34"/>
                  </a:cubicBezTo>
                  <a:cubicBezTo>
                    <a:pt x="26" y="35"/>
                    <a:pt x="26" y="35"/>
                    <a:pt x="26" y="35"/>
                  </a:cubicBezTo>
                  <a:cubicBezTo>
                    <a:pt x="26" y="36"/>
                    <a:pt x="26" y="36"/>
                    <a:pt x="26" y="36"/>
                  </a:cubicBezTo>
                  <a:cubicBezTo>
                    <a:pt x="26" y="35"/>
                    <a:pt x="26" y="35"/>
                    <a:pt x="26" y="35"/>
                  </a:cubicBezTo>
                  <a:cubicBezTo>
                    <a:pt x="25" y="35"/>
                    <a:pt x="25" y="35"/>
                    <a:pt x="25" y="35"/>
                  </a:cubicBezTo>
                  <a:cubicBezTo>
                    <a:pt x="24" y="36"/>
                    <a:pt x="23" y="36"/>
                    <a:pt x="22" y="37"/>
                  </a:cubicBezTo>
                  <a:moveTo>
                    <a:pt x="8" y="36"/>
                  </a:moveTo>
                  <a:cubicBezTo>
                    <a:pt x="7" y="35"/>
                    <a:pt x="7" y="35"/>
                    <a:pt x="7" y="35"/>
                  </a:cubicBezTo>
                  <a:cubicBezTo>
                    <a:pt x="8" y="34"/>
                    <a:pt x="8" y="34"/>
                    <a:pt x="8" y="34"/>
                  </a:cubicBezTo>
                  <a:cubicBezTo>
                    <a:pt x="9" y="34"/>
                    <a:pt x="9" y="34"/>
                    <a:pt x="9" y="34"/>
                  </a:cubicBezTo>
                  <a:cubicBezTo>
                    <a:pt x="8" y="36"/>
                    <a:pt x="8" y="36"/>
                    <a:pt x="8" y="36"/>
                  </a:cubicBezTo>
                  <a:moveTo>
                    <a:pt x="23" y="35"/>
                  </a:moveTo>
                  <a:cubicBezTo>
                    <a:pt x="23" y="35"/>
                    <a:pt x="23" y="35"/>
                    <a:pt x="23" y="35"/>
                  </a:cubicBezTo>
                  <a:cubicBezTo>
                    <a:pt x="23" y="35"/>
                    <a:pt x="23" y="35"/>
                    <a:pt x="23" y="35"/>
                  </a:cubicBezTo>
                  <a:cubicBezTo>
                    <a:pt x="23" y="35"/>
                    <a:pt x="24" y="34"/>
                    <a:pt x="25" y="34"/>
                  </a:cubicBezTo>
                  <a:cubicBezTo>
                    <a:pt x="25" y="34"/>
                    <a:pt x="25" y="34"/>
                    <a:pt x="25" y="34"/>
                  </a:cubicBezTo>
                  <a:cubicBezTo>
                    <a:pt x="23" y="35"/>
                    <a:pt x="23" y="35"/>
                    <a:pt x="23" y="35"/>
                  </a:cubicBezTo>
                  <a:moveTo>
                    <a:pt x="7" y="35"/>
                  </a:moveTo>
                  <a:cubicBezTo>
                    <a:pt x="7" y="35"/>
                    <a:pt x="7" y="35"/>
                    <a:pt x="7" y="35"/>
                  </a:cubicBezTo>
                  <a:cubicBezTo>
                    <a:pt x="7" y="34"/>
                    <a:pt x="7" y="34"/>
                    <a:pt x="7" y="34"/>
                  </a:cubicBezTo>
                  <a:cubicBezTo>
                    <a:pt x="7" y="34"/>
                    <a:pt x="7" y="34"/>
                    <a:pt x="7" y="34"/>
                  </a:cubicBezTo>
                  <a:cubicBezTo>
                    <a:pt x="7" y="33"/>
                    <a:pt x="7" y="33"/>
                    <a:pt x="8" y="33"/>
                  </a:cubicBezTo>
                  <a:cubicBezTo>
                    <a:pt x="8" y="33"/>
                    <a:pt x="8" y="33"/>
                    <a:pt x="8" y="33"/>
                  </a:cubicBezTo>
                  <a:cubicBezTo>
                    <a:pt x="8" y="33"/>
                    <a:pt x="8" y="33"/>
                    <a:pt x="8" y="33"/>
                  </a:cubicBezTo>
                  <a:cubicBezTo>
                    <a:pt x="8" y="33"/>
                    <a:pt x="8" y="33"/>
                    <a:pt x="8" y="33"/>
                  </a:cubicBezTo>
                  <a:cubicBezTo>
                    <a:pt x="7" y="35"/>
                    <a:pt x="7" y="35"/>
                    <a:pt x="7" y="35"/>
                  </a:cubicBezTo>
                  <a:moveTo>
                    <a:pt x="23" y="34"/>
                  </a:moveTo>
                  <a:cubicBezTo>
                    <a:pt x="23" y="34"/>
                    <a:pt x="23" y="34"/>
                    <a:pt x="23" y="34"/>
                  </a:cubicBezTo>
                  <a:cubicBezTo>
                    <a:pt x="23" y="33"/>
                    <a:pt x="24" y="33"/>
                    <a:pt x="24" y="33"/>
                  </a:cubicBezTo>
                  <a:cubicBezTo>
                    <a:pt x="25" y="33"/>
                    <a:pt x="25" y="33"/>
                    <a:pt x="25" y="33"/>
                  </a:cubicBezTo>
                  <a:cubicBezTo>
                    <a:pt x="24" y="33"/>
                    <a:pt x="23" y="34"/>
                    <a:pt x="23" y="34"/>
                  </a:cubicBezTo>
                  <a:moveTo>
                    <a:pt x="23" y="33"/>
                  </a:moveTo>
                  <a:cubicBezTo>
                    <a:pt x="23" y="32"/>
                    <a:pt x="24" y="32"/>
                    <a:pt x="24" y="32"/>
                  </a:cubicBezTo>
                  <a:cubicBezTo>
                    <a:pt x="24" y="31"/>
                    <a:pt x="24" y="31"/>
                    <a:pt x="24" y="31"/>
                  </a:cubicBezTo>
                  <a:cubicBezTo>
                    <a:pt x="24" y="32"/>
                    <a:pt x="24" y="32"/>
                    <a:pt x="24" y="32"/>
                  </a:cubicBezTo>
                  <a:cubicBezTo>
                    <a:pt x="23" y="33"/>
                    <a:pt x="23" y="33"/>
                    <a:pt x="23" y="33"/>
                  </a:cubicBezTo>
                  <a:moveTo>
                    <a:pt x="7" y="33"/>
                  </a:moveTo>
                  <a:cubicBezTo>
                    <a:pt x="6" y="33"/>
                    <a:pt x="6" y="32"/>
                    <a:pt x="6" y="31"/>
                  </a:cubicBezTo>
                  <a:cubicBezTo>
                    <a:pt x="7" y="31"/>
                    <a:pt x="7" y="31"/>
                    <a:pt x="7" y="31"/>
                  </a:cubicBezTo>
                  <a:cubicBezTo>
                    <a:pt x="7" y="31"/>
                    <a:pt x="7" y="32"/>
                    <a:pt x="7" y="32"/>
                  </a:cubicBezTo>
                  <a:cubicBezTo>
                    <a:pt x="7" y="32"/>
                    <a:pt x="7" y="33"/>
                    <a:pt x="7" y="33"/>
                  </a:cubicBezTo>
                  <a:moveTo>
                    <a:pt x="30" y="23"/>
                  </a:moveTo>
                  <a:cubicBezTo>
                    <a:pt x="30" y="23"/>
                    <a:pt x="30" y="23"/>
                    <a:pt x="30" y="23"/>
                  </a:cubicBezTo>
                  <a:cubicBezTo>
                    <a:pt x="31" y="22"/>
                    <a:pt x="31" y="22"/>
                    <a:pt x="31" y="22"/>
                  </a:cubicBezTo>
                  <a:cubicBezTo>
                    <a:pt x="30" y="23"/>
                    <a:pt x="30" y="23"/>
                    <a:pt x="30" y="23"/>
                  </a:cubicBezTo>
                  <a:cubicBezTo>
                    <a:pt x="30" y="23"/>
                    <a:pt x="30" y="23"/>
                    <a:pt x="30" y="23"/>
                  </a:cubicBezTo>
                  <a:moveTo>
                    <a:pt x="28" y="40"/>
                  </a:moveTo>
                  <a:cubicBezTo>
                    <a:pt x="27" y="39"/>
                    <a:pt x="27" y="38"/>
                    <a:pt x="28" y="37"/>
                  </a:cubicBezTo>
                  <a:cubicBezTo>
                    <a:pt x="28" y="36"/>
                    <a:pt x="28" y="36"/>
                    <a:pt x="28" y="36"/>
                  </a:cubicBezTo>
                  <a:cubicBezTo>
                    <a:pt x="28" y="36"/>
                    <a:pt x="28" y="36"/>
                    <a:pt x="28" y="36"/>
                  </a:cubicBezTo>
                  <a:cubicBezTo>
                    <a:pt x="25" y="32"/>
                    <a:pt x="25" y="32"/>
                    <a:pt x="25" y="32"/>
                  </a:cubicBezTo>
                  <a:cubicBezTo>
                    <a:pt x="26" y="31"/>
                    <a:pt x="26" y="31"/>
                    <a:pt x="26" y="31"/>
                  </a:cubicBezTo>
                  <a:cubicBezTo>
                    <a:pt x="27" y="30"/>
                    <a:pt x="27" y="29"/>
                    <a:pt x="28" y="28"/>
                  </a:cubicBezTo>
                  <a:cubicBezTo>
                    <a:pt x="28" y="28"/>
                    <a:pt x="28" y="28"/>
                    <a:pt x="28" y="28"/>
                  </a:cubicBezTo>
                  <a:cubicBezTo>
                    <a:pt x="28" y="28"/>
                    <a:pt x="29" y="27"/>
                    <a:pt x="29" y="27"/>
                  </a:cubicBezTo>
                  <a:cubicBezTo>
                    <a:pt x="30" y="27"/>
                    <a:pt x="30" y="27"/>
                    <a:pt x="30" y="27"/>
                  </a:cubicBezTo>
                  <a:cubicBezTo>
                    <a:pt x="33" y="26"/>
                    <a:pt x="33" y="26"/>
                    <a:pt x="33" y="26"/>
                  </a:cubicBezTo>
                  <a:cubicBezTo>
                    <a:pt x="33" y="26"/>
                    <a:pt x="34" y="26"/>
                    <a:pt x="34" y="26"/>
                  </a:cubicBezTo>
                  <a:cubicBezTo>
                    <a:pt x="35" y="26"/>
                    <a:pt x="36" y="25"/>
                    <a:pt x="36" y="25"/>
                  </a:cubicBezTo>
                  <a:cubicBezTo>
                    <a:pt x="37" y="24"/>
                    <a:pt x="38" y="23"/>
                    <a:pt x="39" y="22"/>
                  </a:cubicBezTo>
                  <a:cubicBezTo>
                    <a:pt x="38" y="25"/>
                    <a:pt x="37" y="31"/>
                    <a:pt x="35" y="33"/>
                  </a:cubicBezTo>
                  <a:cubicBezTo>
                    <a:pt x="34" y="33"/>
                    <a:pt x="34" y="33"/>
                    <a:pt x="34" y="33"/>
                  </a:cubicBezTo>
                  <a:cubicBezTo>
                    <a:pt x="34" y="33"/>
                    <a:pt x="33" y="34"/>
                    <a:pt x="33" y="34"/>
                  </a:cubicBezTo>
                  <a:cubicBezTo>
                    <a:pt x="33" y="35"/>
                    <a:pt x="33" y="35"/>
                    <a:pt x="33" y="36"/>
                  </a:cubicBezTo>
                  <a:cubicBezTo>
                    <a:pt x="28" y="40"/>
                    <a:pt x="28" y="40"/>
                    <a:pt x="28" y="40"/>
                  </a:cubicBezTo>
                  <a:moveTo>
                    <a:pt x="39" y="21"/>
                  </a:moveTo>
                  <a:cubicBezTo>
                    <a:pt x="39" y="21"/>
                    <a:pt x="39" y="21"/>
                    <a:pt x="39" y="21"/>
                  </a:cubicBezTo>
                  <a:cubicBezTo>
                    <a:pt x="39" y="21"/>
                    <a:pt x="39" y="21"/>
                    <a:pt x="39" y="21"/>
                  </a:cubicBezTo>
                  <a:cubicBezTo>
                    <a:pt x="39" y="21"/>
                    <a:pt x="39" y="21"/>
                    <a:pt x="39" y="21"/>
                  </a:cubicBezTo>
                  <a:moveTo>
                    <a:pt x="24" y="20"/>
                  </a:moveTo>
                  <a:cubicBezTo>
                    <a:pt x="23" y="20"/>
                    <a:pt x="23" y="20"/>
                    <a:pt x="23" y="20"/>
                  </a:cubicBezTo>
                  <a:cubicBezTo>
                    <a:pt x="25" y="19"/>
                    <a:pt x="25" y="19"/>
                    <a:pt x="25" y="19"/>
                  </a:cubicBezTo>
                  <a:cubicBezTo>
                    <a:pt x="24" y="20"/>
                    <a:pt x="24" y="20"/>
                    <a:pt x="24" y="20"/>
                  </a:cubicBezTo>
                  <a:moveTo>
                    <a:pt x="22" y="20"/>
                  </a:moveTo>
                  <a:cubicBezTo>
                    <a:pt x="22" y="20"/>
                    <a:pt x="22" y="20"/>
                    <a:pt x="22" y="20"/>
                  </a:cubicBezTo>
                  <a:cubicBezTo>
                    <a:pt x="23" y="20"/>
                    <a:pt x="23" y="19"/>
                    <a:pt x="24" y="18"/>
                  </a:cubicBezTo>
                  <a:cubicBezTo>
                    <a:pt x="24" y="18"/>
                    <a:pt x="24" y="18"/>
                    <a:pt x="24" y="18"/>
                  </a:cubicBezTo>
                  <a:cubicBezTo>
                    <a:pt x="24" y="18"/>
                    <a:pt x="24" y="18"/>
                    <a:pt x="24" y="18"/>
                  </a:cubicBezTo>
                  <a:cubicBezTo>
                    <a:pt x="26" y="17"/>
                    <a:pt x="26" y="17"/>
                    <a:pt x="26" y="17"/>
                  </a:cubicBezTo>
                  <a:cubicBezTo>
                    <a:pt x="26" y="18"/>
                    <a:pt x="26" y="18"/>
                    <a:pt x="26" y="18"/>
                  </a:cubicBezTo>
                  <a:cubicBezTo>
                    <a:pt x="26" y="18"/>
                    <a:pt x="26" y="18"/>
                    <a:pt x="26" y="18"/>
                  </a:cubicBezTo>
                  <a:cubicBezTo>
                    <a:pt x="26" y="18"/>
                    <a:pt x="26" y="18"/>
                    <a:pt x="26" y="18"/>
                  </a:cubicBezTo>
                  <a:cubicBezTo>
                    <a:pt x="22" y="20"/>
                    <a:pt x="22" y="20"/>
                    <a:pt x="22" y="20"/>
                  </a:cubicBezTo>
                  <a:moveTo>
                    <a:pt x="15" y="20"/>
                  </a:moveTo>
                  <a:cubicBezTo>
                    <a:pt x="15" y="20"/>
                    <a:pt x="15" y="20"/>
                    <a:pt x="15" y="20"/>
                  </a:cubicBezTo>
                  <a:cubicBezTo>
                    <a:pt x="15" y="19"/>
                    <a:pt x="15" y="19"/>
                    <a:pt x="15" y="19"/>
                  </a:cubicBezTo>
                  <a:cubicBezTo>
                    <a:pt x="15" y="19"/>
                    <a:pt x="15" y="19"/>
                    <a:pt x="15" y="19"/>
                  </a:cubicBezTo>
                  <a:cubicBezTo>
                    <a:pt x="15" y="19"/>
                    <a:pt x="15" y="19"/>
                    <a:pt x="15" y="19"/>
                  </a:cubicBezTo>
                  <a:cubicBezTo>
                    <a:pt x="17" y="17"/>
                    <a:pt x="17" y="17"/>
                    <a:pt x="17" y="17"/>
                  </a:cubicBezTo>
                  <a:cubicBezTo>
                    <a:pt x="16" y="18"/>
                    <a:pt x="16" y="19"/>
                    <a:pt x="15" y="20"/>
                  </a:cubicBezTo>
                  <a:moveTo>
                    <a:pt x="24" y="17"/>
                  </a:moveTo>
                  <a:cubicBezTo>
                    <a:pt x="24" y="17"/>
                    <a:pt x="24" y="17"/>
                    <a:pt x="24" y="17"/>
                  </a:cubicBezTo>
                  <a:cubicBezTo>
                    <a:pt x="24" y="16"/>
                    <a:pt x="25" y="16"/>
                    <a:pt x="26" y="16"/>
                  </a:cubicBezTo>
                  <a:cubicBezTo>
                    <a:pt x="26" y="16"/>
                    <a:pt x="26" y="16"/>
                    <a:pt x="26" y="16"/>
                  </a:cubicBezTo>
                  <a:cubicBezTo>
                    <a:pt x="24" y="17"/>
                    <a:pt x="24" y="17"/>
                    <a:pt x="24" y="17"/>
                  </a:cubicBezTo>
                  <a:moveTo>
                    <a:pt x="16" y="15"/>
                  </a:moveTo>
                  <a:cubicBezTo>
                    <a:pt x="16" y="15"/>
                    <a:pt x="16" y="15"/>
                    <a:pt x="16" y="15"/>
                  </a:cubicBezTo>
                  <a:cubicBezTo>
                    <a:pt x="16" y="15"/>
                    <a:pt x="16" y="15"/>
                    <a:pt x="16" y="15"/>
                  </a:cubicBezTo>
                  <a:cubicBezTo>
                    <a:pt x="16" y="15"/>
                    <a:pt x="16" y="15"/>
                    <a:pt x="16" y="15"/>
                  </a:cubicBezTo>
                  <a:moveTo>
                    <a:pt x="17" y="16"/>
                  </a:moveTo>
                  <a:cubicBezTo>
                    <a:pt x="17" y="16"/>
                    <a:pt x="17" y="16"/>
                    <a:pt x="17" y="16"/>
                  </a:cubicBezTo>
                  <a:cubicBezTo>
                    <a:pt x="16" y="16"/>
                    <a:pt x="16" y="16"/>
                    <a:pt x="16" y="16"/>
                  </a:cubicBezTo>
                  <a:cubicBezTo>
                    <a:pt x="18" y="14"/>
                    <a:pt x="18" y="14"/>
                    <a:pt x="18" y="14"/>
                  </a:cubicBezTo>
                  <a:cubicBezTo>
                    <a:pt x="18" y="15"/>
                    <a:pt x="18" y="15"/>
                    <a:pt x="18" y="15"/>
                  </a:cubicBezTo>
                  <a:cubicBezTo>
                    <a:pt x="18" y="15"/>
                    <a:pt x="18" y="15"/>
                    <a:pt x="18" y="15"/>
                  </a:cubicBezTo>
                  <a:cubicBezTo>
                    <a:pt x="18" y="15"/>
                    <a:pt x="18" y="15"/>
                    <a:pt x="18" y="15"/>
                  </a:cubicBezTo>
                  <a:cubicBezTo>
                    <a:pt x="17" y="16"/>
                    <a:pt x="17" y="16"/>
                    <a:pt x="17" y="16"/>
                  </a:cubicBezTo>
                  <a:moveTo>
                    <a:pt x="24" y="16"/>
                  </a:moveTo>
                  <a:cubicBezTo>
                    <a:pt x="24" y="16"/>
                    <a:pt x="24" y="16"/>
                    <a:pt x="24" y="16"/>
                  </a:cubicBezTo>
                  <a:cubicBezTo>
                    <a:pt x="24" y="16"/>
                    <a:pt x="24" y="16"/>
                    <a:pt x="24" y="16"/>
                  </a:cubicBezTo>
                  <a:cubicBezTo>
                    <a:pt x="24" y="15"/>
                    <a:pt x="24" y="15"/>
                    <a:pt x="24" y="15"/>
                  </a:cubicBezTo>
                  <a:cubicBezTo>
                    <a:pt x="24" y="15"/>
                    <a:pt x="24" y="15"/>
                    <a:pt x="24" y="15"/>
                  </a:cubicBezTo>
                  <a:cubicBezTo>
                    <a:pt x="25" y="15"/>
                    <a:pt x="25" y="15"/>
                    <a:pt x="25" y="14"/>
                  </a:cubicBezTo>
                  <a:cubicBezTo>
                    <a:pt x="25" y="15"/>
                    <a:pt x="25" y="15"/>
                    <a:pt x="25" y="15"/>
                  </a:cubicBezTo>
                  <a:cubicBezTo>
                    <a:pt x="25" y="15"/>
                    <a:pt x="25" y="15"/>
                    <a:pt x="25" y="15"/>
                  </a:cubicBezTo>
                  <a:cubicBezTo>
                    <a:pt x="25" y="15"/>
                    <a:pt x="24" y="16"/>
                    <a:pt x="24" y="16"/>
                  </a:cubicBezTo>
                  <a:moveTo>
                    <a:pt x="7" y="16"/>
                  </a:moveTo>
                  <a:cubicBezTo>
                    <a:pt x="6" y="15"/>
                    <a:pt x="6" y="15"/>
                    <a:pt x="6" y="15"/>
                  </a:cubicBezTo>
                  <a:cubicBezTo>
                    <a:pt x="7" y="14"/>
                    <a:pt x="7" y="14"/>
                    <a:pt x="7" y="14"/>
                  </a:cubicBezTo>
                  <a:cubicBezTo>
                    <a:pt x="7" y="15"/>
                    <a:pt x="7" y="15"/>
                    <a:pt x="7" y="15"/>
                  </a:cubicBezTo>
                  <a:cubicBezTo>
                    <a:pt x="7" y="16"/>
                    <a:pt x="7" y="16"/>
                    <a:pt x="7" y="16"/>
                  </a:cubicBezTo>
                  <a:moveTo>
                    <a:pt x="17" y="14"/>
                  </a:moveTo>
                  <a:cubicBezTo>
                    <a:pt x="17" y="14"/>
                    <a:pt x="17" y="14"/>
                    <a:pt x="17" y="14"/>
                  </a:cubicBezTo>
                  <a:cubicBezTo>
                    <a:pt x="17" y="14"/>
                    <a:pt x="17" y="14"/>
                    <a:pt x="17" y="14"/>
                  </a:cubicBezTo>
                  <a:cubicBezTo>
                    <a:pt x="18" y="13"/>
                    <a:pt x="18" y="13"/>
                    <a:pt x="18" y="13"/>
                  </a:cubicBezTo>
                  <a:cubicBezTo>
                    <a:pt x="18" y="14"/>
                    <a:pt x="18" y="14"/>
                    <a:pt x="18" y="14"/>
                  </a:cubicBezTo>
                  <a:cubicBezTo>
                    <a:pt x="18" y="14"/>
                    <a:pt x="18" y="14"/>
                    <a:pt x="18" y="14"/>
                  </a:cubicBezTo>
                  <a:cubicBezTo>
                    <a:pt x="17" y="14"/>
                    <a:pt x="17" y="14"/>
                    <a:pt x="17" y="14"/>
                  </a:cubicBezTo>
                  <a:moveTo>
                    <a:pt x="6" y="14"/>
                  </a:moveTo>
                  <a:cubicBezTo>
                    <a:pt x="6" y="13"/>
                    <a:pt x="6" y="13"/>
                    <a:pt x="6" y="13"/>
                  </a:cubicBezTo>
                  <a:cubicBezTo>
                    <a:pt x="7" y="12"/>
                    <a:pt x="7" y="12"/>
                    <a:pt x="7" y="12"/>
                  </a:cubicBezTo>
                  <a:cubicBezTo>
                    <a:pt x="7" y="13"/>
                    <a:pt x="7" y="13"/>
                    <a:pt x="7" y="13"/>
                  </a:cubicBezTo>
                  <a:cubicBezTo>
                    <a:pt x="6" y="14"/>
                    <a:pt x="6" y="14"/>
                    <a:pt x="6" y="14"/>
                  </a:cubicBezTo>
                  <a:moveTo>
                    <a:pt x="15" y="13"/>
                  </a:moveTo>
                  <a:cubicBezTo>
                    <a:pt x="15" y="13"/>
                    <a:pt x="15" y="13"/>
                    <a:pt x="15" y="13"/>
                  </a:cubicBezTo>
                  <a:cubicBezTo>
                    <a:pt x="16" y="12"/>
                    <a:pt x="16" y="12"/>
                    <a:pt x="16" y="12"/>
                  </a:cubicBezTo>
                  <a:cubicBezTo>
                    <a:pt x="16" y="12"/>
                    <a:pt x="16" y="12"/>
                    <a:pt x="16" y="12"/>
                  </a:cubicBezTo>
                  <a:cubicBezTo>
                    <a:pt x="15" y="13"/>
                    <a:pt x="15" y="13"/>
                    <a:pt x="15" y="13"/>
                  </a:cubicBezTo>
                  <a:moveTo>
                    <a:pt x="16" y="14"/>
                  </a:moveTo>
                  <a:cubicBezTo>
                    <a:pt x="16" y="14"/>
                    <a:pt x="16" y="14"/>
                    <a:pt x="16" y="14"/>
                  </a:cubicBezTo>
                  <a:cubicBezTo>
                    <a:pt x="16" y="14"/>
                    <a:pt x="16" y="14"/>
                    <a:pt x="16" y="14"/>
                  </a:cubicBezTo>
                  <a:cubicBezTo>
                    <a:pt x="16" y="14"/>
                    <a:pt x="16" y="14"/>
                    <a:pt x="16" y="14"/>
                  </a:cubicBezTo>
                  <a:cubicBezTo>
                    <a:pt x="16" y="13"/>
                    <a:pt x="16" y="13"/>
                    <a:pt x="16" y="13"/>
                  </a:cubicBezTo>
                  <a:cubicBezTo>
                    <a:pt x="16" y="12"/>
                    <a:pt x="17" y="12"/>
                    <a:pt x="17" y="12"/>
                  </a:cubicBezTo>
                  <a:cubicBezTo>
                    <a:pt x="17" y="13"/>
                    <a:pt x="17" y="13"/>
                    <a:pt x="17" y="13"/>
                  </a:cubicBezTo>
                  <a:cubicBezTo>
                    <a:pt x="17" y="13"/>
                    <a:pt x="17" y="13"/>
                    <a:pt x="17" y="13"/>
                  </a:cubicBezTo>
                  <a:cubicBezTo>
                    <a:pt x="17" y="13"/>
                    <a:pt x="17" y="13"/>
                    <a:pt x="17" y="13"/>
                  </a:cubicBezTo>
                  <a:cubicBezTo>
                    <a:pt x="16" y="14"/>
                    <a:pt x="16" y="14"/>
                    <a:pt x="16" y="14"/>
                  </a:cubicBezTo>
                  <a:moveTo>
                    <a:pt x="4" y="17"/>
                  </a:moveTo>
                  <a:cubicBezTo>
                    <a:pt x="4" y="17"/>
                    <a:pt x="3" y="16"/>
                    <a:pt x="3" y="16"/>
                  </a:cubicBezTo>
                  <a:cubicBezTo>
                    <a:pt x="4" y="14"/>
                    <a:pt x="4" y="13"/>
                    <a:pt x="5" y="11"/>
                  </a:cubicBezTo>
                  <a:cubicBezTo>
                    <a:pt x="5" y="11"/>
                    <a:pt x="5" y="11"/>
                    <a:pt x="5" y="11"/>
                  </a:cubicBezTo>
                  <a:cubicBezTo>
                    <a:pt x="5" y="12"/>
                    <a:pt x="5" y="13"/>
                    <a:pt x="6" y="13"/>
                  </a:cubicBezTo>
                  <a:cubicBezTo>
                    <a:pt x="5" y="13"/>
                    <a:pt x="5" y="13"/>
                    <a:pt x="5" y="13"/>
                  </a:cubicBezTo>
                  <a:cubicBezTo>
                    <a:pt x="5" y="14"/>
                    <a:pt x="5" y="14"/>
                    <a:pt x="5" y="14"/>
                  </a:cubicBezTo>
                  <a:cubicBezTo>
                    <a:pt x="6" y="14"/>
                    <a:pt x="6" y="14"/>
                    <a:pt x="6" y="14"/>
                  </a:cubicBezTo>
                  <a:cubicBezTo>
                    <a:pt x="6" y="15"/>
                    <a:pt x="6" y="15"/>
                    <a:pt x="6" y="16"/>
                  </a:cubicBezTo>
                  <a:cubicBezTo>
                    <a:pt x="4" y="17"/>
                    <a:pt x="4" y="17"/>
                    <a:pt x="4" y="17"/>
                  </a:cubicBezTo>
                  <a:moveTo>
                    <a:pt x="6" y="12"/>
                  </a:moveTo>
                  <a:cubicBezTo>
                    <a:pt x="6" y="11"/>
                    <a:pt x="6" y="11"/>
                    <a:pt x="6" y="11"/>
                  </a:cubicBezTo>
                  <a:cubicBezTo>
                    <a:pt x="6" y="11"/>
                    <a:pt x="6" y="11"/>
                    <a:pt x="6" y="11"/>
                  </a:cubicBezTo>
                  <a:cubicBezTo>
                    <a:pt x="7" y="11"/>
                    <a:pt x="7" y="11"/>
                    <a:pt x="7" y="11"/>
                  </a:cubicBezTo>
                  <a:cubicBezTo>
                    <a:pt x="7" y="12"/>
                    <a:pt x="7" y="12"/>
                    <a:pt x="7" y="12"/>
                  </a:cubicBezTo>
                  <a:cubicBezTo>
                    <a:pt x="6" y="12"/>
                    <a:pt x="6" y="12"/>
                    <a:pt x="6" y="12"/>
                  </a:cubicBezTo>
                  <a:moveTo>
                    <a:pt x="27" y="10"/>
                  </a:moveTo>
                  <a:cubicBezTo>
                    <a:pt x="27" y="10"/>
                    <a:pt x="27" y="10"/>
                    <a:pt x="27" y="10"/>
                  </a:cubicBezTo>
                  <a:cubicBezTo>
                    <a:pt x="27" y="10"/>
                    <a:pt x="27" y="10"/>
                    <a:pt x="28" y="10"/>
                  </a:cubicBezTo>
                  <a:cubicBezTo>
                    <a:pt x="27" y="10"/>
                    <a:pt x="27" y="10"/>
                    <a:pt x="27" y="10"/>
                  </a:cubicBezTo>
                  <a:moveTo>
                    <a:pt x="28" y="9"/>
                  </a:moveTo>
                  <a:cubicBezTo>
                    <a:pt x="28" y="9"/>
                    <a:pt x="28" y="9"/>
                    <a:pt x="28" y="9"/>
                  </a:cubicBezTo>
                  <a:cubicBezTo>
                    <a:pt x="28" y="9"/>
                    <a:pt x="28" y="9"/>
                    <a:pt x="28" y="9"/>
                  </a:cubicBezTo>
                  <a:cubicBezTo>
                    <a:pt x="28" y="9"/>
                    <a:pt x="28" y="9"/>
                    <a:pt x="28" y="9"/>
                  </a:cubicBezTo>
                  <a:moveTo>
                    <a:pt x="14" y="11"/>
                  </a:moveTo>
                  <a:cubicBezTo>
                    <a:pt x="14" y="10"/>
                    <a:pt x="14" y="10"/>
                    <a:pt x="14" y="10"/>
                  </a:cubicBezTo>
                  <a:cubicBezTo>
                    <a:pt x="15" y="10"/>
                    <a:pt x="16" y="9"/>
                    <a:pt x="16" y="9"/>
                  </a:cubicBezTo>
                  <a:cubicBezTo>
                    <a:pt x="16" y="9"/>
                    <a:pt x="16" y="10"/>
                    <a:pt x="17" y="11"/>
                  </a:cubicBezTo>
                  <a:cubicBezTo>
                    <a:pt x="17" y="11"/>
                    <a:pt x="17" y="11"/>
                    <a:pt x="17" y="11"/>
                  </a:cubicBezTo>
                  <a:cubicBezTo>
                    <a:pt x="17" y="11"/>
                    <a:pt x="17" y="11"/>
                    <a:pt x="17" y="11"/>
                  </a:cubicBezTo>
                  <a:cubicBezTo>
                    <a:pt x="16" y="11"/>
                    <a:pt x="15" y="12"/>
                    <a:pt x="15" y="12"/>
                  </a:cubicBezTo>
                  <a:cubicBezTo>
                    <a:pt x="14" y="12"/>
                    <a:pt x="14" y="12"/>
                    <a:pt x="14" y="12"/>
                  </a:cubicBezTo>
                  <a:cubicBezTo>
                    <a:pt x="16" y="10"/>
                    <a:pt x="16" y="10"/>
                    <a:pt x="16" y="10"/>
                  </a:cubicBezTo>
                  <a:cubicBezTo>
                    <a:pt x="16" y="10"/>
                    <a:pt x="16" y="10"/>
                    <a:pt x="16" y="10"/>
                  </a:cubicBezTo>
                  <a:cubicBezTo>
                    <a:pt x="16" y="10"/>
                    <a:pt x="16" y="10"/>
                    <a:pt x="16" y="10"/>
                  </a:cubicBezTo>
                  <a:cubicBezTo>
                    <a:pt x="14" y="11"/>
                    <a:pt x="14" y="11"/>
                    <a:pt x="14" y="11"/>
                  </a:cubicBezTo>
                  <a:moveTo>
                    <a:pt x="27" y="19"/>
                  </a:moveTo>
                  <a:cubicBezTo>
                    <a:pt x="27" y="18"/>
                    <a:pt x="27" y="18"/>
                    <a:pt x="27" y="18"/>
                  </a:cubicBezTo>
                  <a:cubicBezTo>
                    <a:pt x="28" y="18"/>
                    <a:pt x="28" y="18"/>
                    <a:pt x="28" y="18"/>
                  </a:cubicBezTo>
                  <a:cubicBezTo>
                    <a:pt x="27" y="14"/>
                    <a:pt x="27" y="14"/>
                    <a:pt x="27" y="14"/>
                  </a:cubicBezTo>
                  <a:cubicBezTo>
                    <a:pt x="27" y="14"/>
                    <a:pt x="27" y="14"/>
                    <a:pt x="27" y="14"/>
                  </a:cubicBezTo>
                  <a:cubicBezTo>
                    <a:pt x="27" y="14"/>
                    <a:pt x="27" y="14"/>
                    <a:pt x="27" y="14"/>
                  </a:cubicBezTo>
                  <a:cubicBezTo>
                    <a:pt x="29" y="13"/>
                    <a:pt x="29" y="13"/>
                    <a:pt x="29" y="13"/>
                  </a:cubicBezTo>
                  <a:cubicBezTo>
                    <a:pt x="29" y="13"/>
                    <a:pt x="29" y="13"/>
                    <a:pt x="29" y="13"/>
                  </a:cubicBezTo>
                  <a:cubicBezTo>
                    <a:pt x="29" y="12"/>
                    <a:pt x="29" y="12"/>
                    <a:pt x="29" y="12"/>
                  </a:cubicBezTo>
                  <a:cubicBezTo>
                    <a:pt x="29" y="12"/>
                    <a:pt x="29" y="12"/>
                    <a:pt x="29" y="12"/>
                  </a:cubicBezTo>
                  <a:cubicBezTo>
                    <a:pt x="29" y="12"/>
                    <a:pt x="29" y="12"/>
                    <a:pt x="29" y="12"/>
                  </a:cubicBezTo>
                  <a:cubicBezTo>
                    <a:pt x="29" y="12"/>
                    <a:pt x="29" y="12"/>
                    <a:pt x="29" y="12"/>
                  </a:cubicBezTo>
                  <a:cubicBezTo>
                    <a:pt x="29" y="11"/>
                    <a:pt x="29" y="11"/>
                    <a:pt x="29" y="11"/>
                  </a:cubicBezTo>
                  <a:cubicBezTo>
                    <a:pt x="30" y="11"/>
                    <a:pt x="30" y="11"/>
                    <a:pt x="30" y="11"/>
                  </a:cubicBezTo>
                  <a:cubicBezTo>
                    <a:pt x="29" y="11"/>
                    <a:pt x="29" y="11"/>
                    <a:pt x="29" y="11"/>
                  </a:cubicBezTo>
                  <a:cubicBezTo>
                    <a:pt x="29" y="11"/>
                    <a:pt x="29" y="11"/>
                    <a:pt x="29" y="11"/>
                  </a:cubicBezTo>
                  <a:cubicBezTo>
                    <a:pt x="29" y="10"/>
                    <a:pt x="29" y="10"/>
                    <a:pt x="29" y="10"/>
                  </a:cubicBezTo>
                  <a:cubicBezTo>
                    <a:pt x="29" y="10"/>
                    <a:pt x="29" y="10"/>
                    <a:pt x="29" y="10"/>
                  </a:cubicBezTo>
                  <a:cubicBezTo>
                    <a:pt x="29" y="9"/>
                    <a:pt x="29" y="9"/>
                    <a:pt x="29" y="9"/>
                  </a:cubicBezTo>
                  <a:cubicBezTo>
                    <a:pt x="29" y="9"/>
                    <a:pt x="29" y="9"/>
                    <a:pt x="30" y="8"/>
                  </a:cubicBezTo>
                  <a:cubicBezTo>
                    <a:pt x="31" y="9"/>
                    <a:pt x="32" y="9"/>
                    <a:pt x="32" y="9"/>
                  </a:cubicBezTo>
                  <a:cubicBezTo>
                    <a:pt x="33" y="12"/>
                    <a:pt x="35" y="18"/>
                    <a:pt x="34" y="19"/>
                  </a:cubicBezTo>
                  <a:cubicBezTo>
                    <a:pt x="34" y="20"/>
                    <a:pt x="34" y="20"/>
                    <a:pt x="34" y="20"/>
                  </a:cubicBezTo>
                  <a:cubicBezTo>
                    <a:pt x="33" y="20"/>
                    <a:pt x="33" y="20"/>
                    <a:pt x="33" y="20"/>
                  </a:cubicBezTo>
                  <a:cubicBezTo>
                    <a:pt x="29" y="23"/>
                    <a:pt x="29" y="23"/>
                    <a:pt x="29" y="23"/>
                  </a:cubicBezTo>
                  <a:cubicBezTo>
                    <a:pt x="28" y="22"/>
                    <a:pt x="28" y="22"/>
                    <a:pt x="28" y="22"/>
                  </a:cubicBezTo>
                  <a:cubicBezTo>
                    <a:pt x="32" y="20"/>
                    <a:pt x="32" y="20"/>
                    <a:pt x="32" y="20"/>
                  </a:cubicBezTo>
                  <a:cubicBezTo>
                    <a:pt x="32" y="19"/>
                    <a:pt x="32" y="19"/>
                    <a:pt x="32" y="19"/>
                  </a:cubicBezTo>
                  <a:cubicBezTo>
                    <a:pt x="31" y="19"/>
                    <a:pt x="31" y="19"/>
                    <a:pt x="31" y="19"/>
                  </a:cubicBezTo>
                  <a:cubicBezTo>
                    <a:pt x="28" y="22"/>
                    <a:pt x="28" y="22"/>
                    <a:pt x="28" y="22"/>
                  </a:cubicBezTo>
                  <a:cubicBezTo>
                    <a:pt x="28" y="22"/>
                    <a:pt x="28" y="22"/>
                    <a:pt x="28" y="22"/>
                  </a:cubicBezTo>
                  <a:cubicBezTo>
                    <a:pt x="26" y="21"/>
                    <a:pt x="26" y="21"/>
                    <a:pt x="26" y="21"/>
                  </a:cubicBezTo>
                  <a:cubicBezTo>
                    <a:pt x="27" y="21"/>
                    <a:pt x="27" y="21"/>
                    <a:pt x="27" y="21"/>
                  </a:cubicBezTo>
                  <a:cubicBezTo>
                    <a:pt x="28" y="20"/>
                    <a:pt x="29" y="19"/>
                    <a:pt x="31" y="19"/>
                  </a:cubicBezTo>
                  <a:cubicBezTo>
                    <a:pt x="31" y="19"/>
                    <a:pt x="31" y="19"/>
                    <a:pt x="31" y="19"/>
                  </a:cubicBezTo>
                  <a:cubicBezTo>
                    <a:pt x="32" y="18"/>
                    <a:pt x="32" y="18"/>
                    <a:pt x="32" y="18"/>
                  </a:cubicBezTo>
                  <a:cubicBezTo>
                    <a:pt x="32" y="18"/>
                    <a:pt x="32" y="18"/>
                    <a:pt x="32" y="18"/>
                  </a:cubicBezTo>
                  <a:cubicBezTo>
                    <a:pt x="31" y="18"/>
                    <a:pt x="31" y="18"/>
                    <a:pt x="31" y="18"/>
                  </a:cubicBezTo>
                  <a:cubicBezTo>
                    <a:pt x="31" y="18"/>
                    <a:pt x="31" y="18"/>
                    <a:pt x="31" y="18"/>
                  </a:cubicBezTo>
                  <a:cubicBezTo>
                    <a:pt x="29" y="18"/>
                    <a:pt x="28" y="19"/>
                    <a:pt x="27" y="20"/>
                  </a:cubicBezTo>
                  <a:cubicBezTo>
                    <a:pt x="26" y="21"/>
                    <a:pt x="26" y="21"/>
                    <a:pt x="26" y="21"/>
                  </a:cubicBezTo>
                  <a:cubicBezTo>
                    <a:pt x="25" y="21"/>
                    <a:pt x="25" y="21"/>
                    <a:pt x="25" y="21"/>
                  </a:cubicBezTo>
                  <a:cubicBezTo>
                    <a:pt x="25" y="21"/>
                    <a:pt x="25" y="21"/>
                    <a:pt x="25" y="21"/>
                  </a:cubicBezTo>
                  <a:cubicBezTo>
                    <a:pt x="30" y="18"/>
                    <a:pt x="30" y="18"/>
                    <a:pt x="30" y="18"/>
                  </a:cubicBezTo>
                  <a:cubicBezTo>
                    <a:pt x="30" y="17"/>
                    <a:pt x="30" y="17"/>
                    <a:pt x="30" y="17"/>
                  </a:cubicBezTo>
                  <a:cubicBezTo>
                    <a:pt x="29" y="17"/>
                    <a:pt x="29" y="17"/>
                    <a:pt x="29" y="17"/>
                  </a:cubicBezTo>
                  <a:cubicBezTo>
                    <a:pt x="27" y="19"/>
                    <a:pt x="27" y="19"/>
                    <a:pt x="27" y="19"/>
                  </a:cubicBezTo>
                  <a:moveTo>
                    <a:pt x="27" y="9"/>
                  </a:moveTo>
                  <a:cubicBezTo>
                    <a:pt x="27" y="8"/>
                    <a:pt x="27" y="8"/>
                    <a:pt x="27" y="7"/>
                  </a:cubicBezTo>
                  <a:cubicBezTo>
                    <a:pt x="28" y="8"/>
                    <a:pt x="28" y="8"/>
                    <a:pt x="29" y="8"/>
                  </a:cubicBezTo>
                  <a:cubicBezTo>
                    <a:pt x="28" y="8"/>
                    <a:pt x="27" y="9"/>
                    <a:pt x="27" y="9"/>
                  </a:cubicBezTo>
                  <a:moveTo>
                    <a:pt x="14" y="9"/>
                  </a:moveTo>
                  <a:cubicBezTo>
                    <a:pt x="14" y="8"/>
                    <a:pt x="14" y="8"/>
                    <a:pt x="14" y="8"/>
                  </a:cubicBezTo>
                  <a:cubicBezTo>
                    <a:pt x="16" y="7"/>
                    <a:pt x="16" y="7"/>
                    <a:pt x="16" y="7"/>
                  </a:cubicBezTo>
                  <a:cubicBezTo>
                    <a:pt x="16" y="7"/>
                    <a:pt x="16" y="7"/>
                    <a:pt x="16" y="7"/>
                  </a:cubicBezTo>
                  <a:cubicBezTo>
                    <a:pt x="16" y="7"/>
                    <a:pt x="16" y="7"/>
                    <a:pt x="16" y="7"/>
                  </a:cubicBezTo>
                  <a:cubicBezTo>
                    <a:pt x="16" y="8"/>
                    <a:pt x="16" y="8"/>
                    <a:pt x="16" y="8"/>
                  </a:cubicBezTo>
                  <a:cubicBezTo>
                    <a:pt x="16" y="8"/>
                    <a:pt x="16" y="8"/>
                    <a:pt x="16" y="8"/>
                  </a:cubicBezTo>
                  <a:cubicBezTo>
                    <a:pt x="16" y="8"/>
                    <a:pt x="15" y="9"/>
                    <a:pt x="14" y="9"/>
                  </a:cubicBezTo>
                  <a:moveTo>
                    <a:pt x="17" y="12"/>
                  </a:moveTo>
                  <a:cubicBezTo>
                    <a:pt x="17" y="11"/>
                    <a:pt x="17" y="11"/>
                    <a:pt x="17" y="11"/>
                  </a:cubicBezTo>
                  <a:cubicBezTo>
                    <a:pt x="17" y="10"/>
                    <a:pt x="17" y="10"/>
                    <a:pt x="17" y="10"/>
                  </a:cubicBezTo>
                  <a:cubicBezTo>
                    <a:pt x="17" y="9"/>
                    <a:pt x="17" y="8"/>
                    <a:pt x="17" y="7"/>
                  </a:cubicBezTo>
                  <a:cubicBezTo>
                    <a:pt x="17" y="7"/>
                    <a:pt x="17" y="7"/>
                    <a:pt x="17" y="7"/>
                  </a:cubicBezTo>
                  <a:cubicBezTo>
                    <a:pt x="17" y="7"/>
                    <a:pt x="18" y="7"/>
                    <a:pt x="18" y="7"/>
                  </a:cubicBezTo>
                  <a:cubicBezTo>
                    <a:pt x="19" y="7"/>
                    <a:pt x="19" y="7"/>
                    <a:pt x="20" y="7"/>
                  </a:cubicBezTo>
                  <a:cubicBezTo>
                    <a:pt x="19" y="9"/>
                    <a:pt x="18" y="10"/>
                    <a:pt x="17" y="12"/>
                  </a:cubicBezTo>
                  <a:moveTo>
                    <a:pt x="14" y="7"/>
                  </a:moveTo>
                  <a:cubicBezTo>
                    <a:pt x="15" y="7"/>
                    <a:pt x="15" y="7"/>
                    <a:pt x="15" y="7"/>
                  </a:cubicBezTo>
                  <a:cubicBezTo>
                    <a:pt x="16" y="7"/>
                    <a:pt x="16" y="7"/>
                    <a:pt x="16" y="7"/>
                  </a:cubicBezTo>
                  <a:cubicBezTo>
                    <a:pt x="14" y="7"/>
                    <a:pt x="14" y="7"/>
                    <a:pt x="14" y="7"/>
                  </a:cubicBezTo>
                  <a:moveTo>
                    <a:pt x="21" y="8"/>
                  </a:moveTo>
                  <a:cubicBezTo>
                    <a:pt x="21" y="7"/>
                    <a:pt x="21" y="7"/>
                    <a:pt x="21" y="7"/>
                  </a:cubicBezTo>
                  <a:cubicBezTo>
                    <a:pt x="22" y="5"/>
                    <a:pt x="22" y="5"/>
                    <a:pt x="22" y="5"/>
                  </a:cubicBezTo>
                  <a:cubicBezTo>
                    <a:pt x="23" y="5"/>
                    <a:pt x="24" y="6"/>
                    <a:pt x="26" y="7"/>
                  </a:cubicBezTo>
                  <a:cubicBezTo>
                    <a:pt x="26" y="8"/>
                    <a:pt x="25" y="9"/>
                    <a:pt x="25" y="10"/>
                  </a:cubicBezTo>
                  <a:cubicBezTo>
                    <a:pt x="25" y="11"/>
                    <a:pt x="25" y="11"/>
                    <a:pt x="25" y="11"/>
                  </a:cubicBezTo>
                  <a:cubicBezTo>
                    <a:pt x="27" y="12"/>
                    <a:pt x="27" y="12"/>
                    <a:pt x="27" y="12"/>
                  </a:cubicBezTo>
                  <a:cubicBezTo>
                    <a:pt x="26" y="13"/>
                    <a:pt x="26" y="13"/>
                    <a:pt x="26" y="13"/>
                  </a:cubicBezTo>
                  <a:cubicBezTo>
                    <a:pt x="25" y="13"/>
                    <a:pt x="25" y="13"/>
                    <a:pt x="25" y="13"/>
                  </a:cubicBezTo>
                  <a:cubicBezTo>
                    <a:pt x="25" y="14"/>
                    <a:pt x="25" y="14"/>
                    <a:pt x="25" y="14"/>
                  </a:cubicBezTo>
                  <a:cubicBezTo>
                    <a:pt x="25" y="14"/>
                    <a:pt x="24" y="14"/>
                    <a:pt x="24" y="15"/>
                  </a:cubicBezTo>
                  <a:cubicBezTo>
                    <a:pt x="23" y="15"/>
                    <a:pt x="23" y="15"/>
                    <a:pt x="23" y="15"/>
                  </a:cubicBezTo>
                  <a:cubicBezTo>
                    <a:pt x="23" y="16"/>
                    <a:pt x="23" y="16"/>
                    <a:pt x="23" y="16"/>
                  </a:cubicBezTo>
                  <a:cubicBezTo>
                    <a:pt x="23" y="16"/>
                    <a:pt x="23" y="16"/>
                    <a:pt x="23" y="16"/>
                  </a:cubicBezTo>
                  <a:cubicBezTo>
                    <a:pt x="23" y="17"/>
                    <a:pt x="23" y="17"/>
                    <a:pt x="23" y="18"/>
                  </a:cubicBezTo>
                  <a:cubicBezTo>
                    <a:pt x="23" y="18"/>
                    <a:pt x="23" y="18"/>
                    <a:pt x="23" y="18"/>
                  </a:cubicBezTo>
                  <a:cubicBezTo>
                    <a:pt x="22" y="18"/>
                    <a:pt x="22" y="18"/>
                    <a:pt x="22" y="18"/>
                  </a:cubicBezTo>
                  <a:cubicBezTo>
                    <a:pt x="23" y="19"/>
                    <a:pt x="23" y="19"/>
                    <a:pt x="23" y="19"/>
                  </a:cubicBezTo>
                  <a:cubicBezTo>
                    <a:pt x="22" y="19"/>
                    <a:pt x="22" y="19"/>
                    <a:pt x="22" y="19"/>
                  </a:cubicBezTo>
                  <a:cubicBezTo>
                    <a:pt x="18" y="22"/>
                    <a:pt x="18" y="22"/>
                    <a:pt x="18" y="22"/>
                  </a:cubicBezTo>
                  <a:cubicBezTo>
                    <a:pt x="18" y="22"/>
                    <a:pt x="18" y="22"/>
                    <a:pt x="18" y="22"/>
                  </a:cubicBezTo>
                  <a:cubicBezTo>
                    <a:pt x="18" y="22"/>
                    <a:pt x="18" y="22"/>
                    <a:pt x="18" y="22"/>
                  </a:cubicBezTo>
                  <a:cubicBezTo>
                    <a:pt x="18" y="22"/>
                    <a:pt x="18" y="22"/>
                    <a:pt x="17" y="22"/>
                  </a:cubicBezTo>
                  <a:cubicBezTo>
                    <a:pt x="17" y="22"/>
                    <a:pt x="16" y="22"/>
                    <a:pt x="16" y="22"/>
                  </a:cubicBezTo>
                  <a:cubicBezTo>
                    <a:pt x="15" y="23"/>
                    <a:pt x="15" y="23"/>
                    <a:pt x="14" y="24"/>
                  </a:cubicBezTo>
                  <a:cubicBezTo>
                    <a:pt x="12" y="26"/>
                    <a:pt x="12" y="26"/>
                    <a:pt x="12" y="26"/>
                  </a:cubicBezTo>
                  <a:cubicBezTo>
                    <a:pt x="12" y="27"/>
                    <a:pt x="12" y="27"/>
                    <a:pt x="12" y="27"/>
                  </a:cubicBezTo>
                  <a:cubicBezTo>
                    <a:pt x="13" y="28"/>
                    <a:pt x="13" y="28"/>
                    <a:pt x="13" y="28"/>
                  </a:cubicBezTo>
                  <a:cubicBezTo>
                    <a:pt x="13" y="27"/>
                    <a:pt x="13" y="27"/>
                    <a:pt x="13" y="27"/>
                  </a:cubicBezTo>
                  <a:cubicBezTo>
                    <a:pt x="15" y="25"/>
                    <a:pt x="15" y="25"/>
                    <a:pt x="15" y="25"/>
                  </a:cubicBezTo>
                  <a:cubicBezTo>
                    <a:pt x="16" y="24"/>
                    <a:pt x="16" y="24"/>
                    <a:pt x="17" y="24"/>
                  </a:cubicBezTo>
                  <a:cubicBezTo>
                    <a:pt x="17" y="23"/>
                    <a:pt x="17" y="23"/>
                    <a:pt x="17" y="23"/>
                  </a:cubicBezTo>
                  <a:cubicBezTo>
                    <a:pt x="17" y="23"/>
                    <a:pt x="18" y="24"/>
                    <a:pt x="18" y="24"/>
                  </a:cubicBezTo>
                  <a:cubicBezTo>
                    <a:pt x="18" y="24"/>
                    <a:pt x="18" y="24"/>
                    <a:pt x="18" y="24"/>
                  </a:cubicBezTo>
                  <a:cubicBezTo>
                    <a:pt x="19" y="24"/>
                    <a:pt x="19" y="24"/>
                    <a:pt x="19" y="24"/>
                  </a:cubicBezTo>
                  <a:cubicBezTo>
                    <a:pt x="19" y="24"/>
                    <a:pt x="20" y="23"/>
                    <a:pt x="20" y="23"/>
                  </a:cubicBezTo>
                  <a:cubicBezTo>
                    <a:pt x="20" y="22"/>
                    <a:pt x="21" y="22"/>
                    <a:pt x="21" y="22"/>
                  </a:cubicBezTo>
                  <a:cubicBezTo>
                    <a:pt x="22" y="21"/>
                    <a:pt x="22" y="21"/>
                    <a:pt x="23" y="21"/>
                  </a:cubicBezTo>
                  <a:cubicBezTo>
                    <a:pt x="23" y="21"/>
                    <a:pt x="24" y="21"/>
                    <a:pt x="24" y="22"/>
                  </a:cubicBezTo>
                  <a:cubicBezTo>
                    <a:pt x="24" y="22"/>
                    <a:pt x="24" y="22"/>
                    <a:pt x="24" y="22"/>
                  </a:cubicBezTo>
                  <a:cubicBezTo>
                    <a:pt x="25" y="22"/>
                    <a:pt x="25" y="22"/>
                    <a:pt x="25" y="22"/>
                  </a:cubicBezTo>
                  <a:cubicBezTo>
                    <a:pt x="29" y="24"/>
                    <a:pt x="29" y="24"/>
                    <a:pt x="29" y="24"/>
                  </a:cubicBezTo>
                  <a:cubicBezTo>
                    <a:pt x="30" y="24"/>
                    <a:pt x="30" y="24"/>
                    <a:pt x="30" y="24"/>
                  </a:cubicBezTo>
                  <a:cubicBezTo>
                    <a:pt x="30" y="24"/>
                    <a:pt x="31" y="24"/>
                    <a:pt x="31" y="24"/>
                  </a:cubicBezTo>
                  <a:cubicBezTo>
                    <a:pt x="32" y="23"/>
                    <a:pt x="34" y="22"/>
                    <a:pt x="35" y="20"/>
                  </a:cubicBezTo>
                  <a:cubicBezTo>
                    <a:pt x="36" y="20"/>
                    <a:pt x="38" y="21"/>
                    <a:pt x="39" y="21"/>
                  </a:cubicBezTo>
                  <a:cubicBezTo>
                    <a:pt x="38" y="21"/>
                    <a:pt x="38" y="21"/>
                    <a:pt x="38" y="21"/>
                  </a:cubicBezTo>
                  <a:cubicBezTo>
                    <a:pt x="37" y="22"/>
                    <a:pt x="37" y="23"/>
                    <a:pt x="36" y="24"/>
                  </a:cubicBezTo>
                  <a:cubicBezTo>
                    <a:pt x="35" y="25"/>
                    <a:pt x="35" y="25"/>
                    <a:pt x="34" y="25"/>
                  </a:cubicBezTo>
                  <a:cubicBezTo>
                    <a:pt x="34" y="26"/>
                    <a:pt x="33" y="26"/>
                    <a:pt x="33" y="26"/>
                  </a:cubicBezTo>
                  <a:cubicBezTo>
                    <a:pt x="30" y="26"/>
                    <a:pt x="30" y="26"/>
                    <a:pt x="30" y="26"/>
                  </a:cubicBezTo>
                  <a:cubicBezTo>
                    <a:pt x="29" y="26"/>
                    <a:pt x="29" y="26"/>
                    <a:pt x="29" y="26"/>
                  </a:cubicBezTo>
                  <a:cubicBezTo>
                    <a:pt x="28" y="27"/>
                    <a:pt x="28" y="27"/>
                    <a:pt x="28" y="28"/>
                  </a:cubicBezTo>
                  <a:cubicBezTo>
                    <a:pt x="28" y="27"/>
                    <a:pt x="28" y="27"/>
                    <a:pt x="28" y="27"/>
                  </a:cubicBezTo>
                  <a:cubicBezTo>
                    <a:pt x="27" y="27"/>
                    <a:pt x="27" y="27"/>
                    <a:pt x="27" y="27"/>
                  </a:cubicBezTo>
                  <a:cubicBezTo>
                    <a:pt x="25" y="28"/>
                    <a:pt x="24" y="29"/>
                    <a:pt x="23" y="31"/>
                  </a:cubicBezTo>
                  <a:cubicBezTo>
                    <a:pt x="22" y="31"/>
                    <a:pt x="22" y="32"/>
                    <a:pt x="21" y="33"/>
                  </a:cubicBezTo>
                  <a:cubicBezTo>
                    <a:pt x="21" y="34"/>
                    <a:pt x="21" y="34"/>
                    <a:pt x="21" y="34"/>
                  </a:cubicBezTo>
                  <a:cubicBezTo>
                    <a:pt x="21" y="35"/>
                    <a:pt x="21" y="35"/>
                    <a:pt x="21" y="35"/>
                  </a:cubicBezTo>
                  <a:cubicBezTo>
                    <a:pt x="21" y="35"/>
                    <a:pt x="21" y="35"/>
                    <a:pt x="21" y="35"/>
                  </a:cubicBezTo>
                  <a:cubicBezTo>
                    <a:pt x="21" y="35"/>
                    <a:pt x="21" y="35"/>
                    <a:pt x="21" y="35"/>
                  </a:cubicBezTo>
                  <a:cubicBezTo>
                    <a:pt x="21" y="36"/>
                    <a:pt x="21" y="36"/>
                    <a:pt x="21" y="36"/>
                  </a:cubicBezTo>
                  <a:cubicBezTo>
                    <a:pt x="21" y="36"/>
                    <a:pt x="21" y="36"/>
                    <a:pt x="21" y="36"/>
                  </a:cubicBezTo>
                  <a:cubicBezTo>
                    <a:pt x="21" y="37"/>
                    <a:pt x="20" y="38"/>
                    <a:pt x="19" y="39"/>
                  </a:cubicBezTo>
                  <a:cubicBezTo>
                    <a:pt x="19" y="40"/>
                    <a:pt x="19" y="40"/>
                    <a:pt x="19" y="40"/>
                  </a:cubicBezTo>
                  <a:cubicBezTo>
                    <a:pt x="18" y="42"/>
                    <a:pt x="18" y="42"/>
                    <a:pt x="18" y="42"/>
                  </a:cubicBezTo>
                  <a:cubicBezTo>
                    <a:pt x="15" y="41"/>
                    <a:pt x="13" y="40"/>
                    <a:pt x="10" y="39"/>
                  </a:cubicBezTo>
                  <a:cubicBezTo>
                    <a:pt x="11" y="37"/>
                    <a:pt x="10" y="34"/>
                    <a:pt x="9" y="32"/>
                  </a:cubicBezTo>
                  <a:cubicBezTo>
                    <a:pt x="9" y="32"/>
                    <a:pt x="9" y="32"/>
                    <a:pt x="9" y="32"/>
                  </a:cubicBezTo>
                  <a:cubicBezTo>
                    <a:pt x="9" y="32"/>
                    <a:pt x="8" y="31"/>
                    <a:pt x="8" y="31"/>
                  </a:cubicBezTo>
                  <a:cubicBezTo>
                    <a:pt x="9" y="30"/>
                    <a:pt x="9" y="30"/>
                    <a:pt x="9" y="30"/>
                  </a:cubicBezTo>
                  <a:cubicBezTo>
                    <a:pt x="9" y="29"/>
                    <a:pt x="10" y="27"/>
                    <a:pt x="11" y="26"/>
                  </a:cubicBezTo>
                  <a:cubicBezTo>
                    <a:pt x="14" y="23"/>
                    <a:pt x="14" y="23"/>
                    <a:pt x="14" y="23"/>
                  </a:cubicBezTo>
                  <a:cubicBezTo>
                    <a:pt x="15" y="23"/>
                    <a:pt x="15" y="22"/>
                    <a:pt x="15" y="22"/>
                  </a:cubicBezTo>
                  <a:cubicBezTo>
                    <a:pt x="15" y="21"/>
                    <a:pt x="15" y="21"/>
                    <a:pt x="15" y="21"/>
                  </a:cubicBezTo>
                  <a:cubicBezTo>
                    <a:pt x="15" y="21"/>
                    <a:pt x="15" y="21"/>
                    <a:pt x="15" y="21"/>
                  </a:cubicBezTo>
                  <a:cubicBezTo>
                    <a:pt x="15" y="21"/>
                    <a:pt x="15" y="21"/>
                    <a:pt x="15" y="21"/>
                  </a:cubicBezTo>
                  <a:cubicBezTo>
                    <a:pt x="16" y="19"/>
                    <a:pt x="17" y="18"/>
                    <a:pt x="18" y="16"/>
                  </a:cubicBezTo>
                  <a:cubicBezTo>
                    <a:pt x="19" y="16"/>
                    <a:pt x="19" y="16"/>
                    <a:pt x="19" y="16"/>
                  </a:cubicBezTo>
                  <a:cubicBezTo>
                    <a:pt x="19" y="15"/>
                    <a:pt x="19" y="15"/>
                    <a:pt x="19" y="15"/>
                  </a:cubicBezTo>
                  <a:cubicBezTo>
                    <a:pt x="19" y="14"/>
                    <a:pt x="18" y="13"/>
                    <a:pt x="18" y="13"/>
                  </a:cubicBezTo>
                  <a:cubicBezTo>
                    <a:pt x="18" y="13"/>
                    <a:pt x="18" y="13"/>
                    <a:pt x="18" y="13"/>
                  </a:cubicBezTo>
                  <a:cubicBezTo>
                    <a:pt x="18" y="13"/>
                    <a:pt x="18" y="13"/>
                    <a:pt x="18" y="13"/>
                  </a:cubicBezTo>
                  <a:cubicBezTo>
                    <a:pt x="19" y="11"/>
                    <a:pt x="20" y="9"/>
                    <a:pt x="20" y="7"/>
                  </a:cubicBezTo>
                  <a:cubicBezTo>
                    <a:pt x="21" y="8"/>
                    <a:pt x="21" y="8"/>
                    <a:pt x="21" y="8"/>
                  </a:cubicBezTo>
                  <a:moveTo>
                    <a:pt x="6" y="30"/>
                  </a:moveTo>
                  <a:cubicBezTo>
                    <a:pt x="3" y="29"/>
                    <a:pt x="2" y="27"/>
                    <a:pt x="2" y="25"/>
                  </a:cubicBezTo>
                  <a:cubicBezTo>
                    <a:pt x="2" y="24"/>
                    <a:pt x="2" y="24"/>
                    <a:pt x="2" y="24"/>
                  </a:cubicBezTo>
                  <a:cubicBezTo>
                    <a:pt x="2" y="23"/>
                    <a:pt x="2" y="22"/>
                    <a:pt x="2" y="21"/>
                  </a:cubicBezTo>
                  <a:cubicBezTo>
                    <a:pt x="5" y="19"/>
                    <a:pt x="5" y="19"/>
                    <a:pt x="5" y="19"/>
                  </a:cubicBezTo>
                  <a:cubicBezTo>
                    <a:pt x="5" y="19"/>
                    <a:pt x="5" y="19"/>
                    <a:pt x="5" y="19"/>
                  </a:cubicBezTo>
                  <a:cubicBezTo>
                    <a:pt x="5" y="19"/>
                    <a:pt x="5" y="19"/>
                    <a:pt x="5" y="19"/>
                  </a:cubicBezTo>
                  <a:cubicBezTo>
                    <a:pt x="7" y="17"/>
                    <a:pt x="7" y="17"/>
                    <a:pt x="7" y="17"/>
                  </a:cubicBezTo>
                  <a:cubicBezTo>
                    <a:pt x="8" y="17"/>
                    <a:pt x="8" y="16"/>
                    <a:pt x="8" y="15"/>
                  </a:cubicBezTo>
                  <a:cubicBezTo>
                    <a:pt x="9" y="15"/>
                    <a:pt x="9" y="14"/>
                    <a:pt x="9" y="14"/>
                  </a:cubicBezTo>
                  <a:cubicBezTo>
                    <a:pt x="8" y="12"/>
                    <a:pt x="8" y="11"/>
                    <a:pt x="8" y="10"/>
                  </a:cubicBezTo>
                  <a:cubicBezTo>
                    <a:pt x="9" y="7"/>
                    <a:pt x="11" y="5"/>
                    <a:pt x="13" y="2"/>
                  </a:cubicBezTo>
                  <a:cubicBezTo>
                    <a:pt x="13" y="6"/>
                    <a:pt x="13" y="6"/>
                    <a:pt x="13" y="6"/>
                  </a:cubicBezTo>
                  <a:cubicBezTo>
                    <a:pt x="13" y="6"/>
                    <a:pt x="13" y="6"/>
                    <a:pt x="13" y="6"/>
                  </a:cubicBezTo>
                  <a:cubicBezTo>
                    <a:pt x="13" y="7"/>
                    <a:pt x="13" y="9"/>
                    <a:pt x="13" y="10"/>
                  </a:cubicBezTo>
                  <a:cubicBezTo>
                    <a:pt x="12" y="11"/>
                    <a:pt x="12" y="11"/>
                    <a:pt x="12" y="11"/>
                  </a:cubicBezTo>
                  <a:cubicBezTo>
                    <a:pt x="12" y="11"/>
                    <a:pt x="12" y="11"/>
                    <a:pt x="12" y="11"/>
                  </a:cubicBezTo>
                  <a:cubicBezTo>
                    <a:pt x="12" y="11"/>
                    <a:pt x="12" y="11"/>
                    <a:pt x="12" y="11"/>
                  </a:cubicBezTo>
                  <a:cubicBezTo>
                    <a:pt x="12" y="11"/>
                    <a:pt x="12" y="11"/>
                    <a:pt x="12" y="11"/>
                  </a:cubicBezTo>
                  <a:cubicBezTo>
                    <a:pt x="13" y="11"/>
                    <a:pt x="13" y="11"/>
                    <a:pt x="13" y="11"/>
                  </a:cubicBezTo>
                  <a:cubicBezTo>
                    <a:pt x="13" y="12"/>
                    <a:pt x="14" y="13"/>
                    <a:pt x="14" y="14"/>
                  </a:cubicBezTo>
                  <a:cubicBezTo>
                    <a:pt x="13" y="15"/>
                    <a:pt x="12" y="16"/>
                    <a:pt x="12" y="17"/>
                  </a:cubicBezTo>
                  <a:cubicBezTo>
                    <a:pt x="11" y="17"/>
                    <a:pt x="10" y="17"/>
                    <a:pt x="10" y="18"/>
                  </a:cubicBezTo>
                  <a:cubicBezTo>
                    <a:pt x="9" y="18"/>
                    <a:pt x="9" y="18"/>
                    <a:pt x="9" y="18"/>
                  </a:cubicBezTo>
                  <a:cubicBezTo>
                    <a:pt x="9" y="18"/>
                    <a:pt x="9" y="18"/>
                    <a:pt x="9" y="18"/>
                  </a:cubicBezTo>
                  <a:cubicBezTo>
                    <a:pt x="9" y="19"/>
                    <a:pt x="9" y="19"/>
                    <a:pt x="9" y="19"/>
                  </a:cubicBezTo>
                  <a:cubicBezTo>
                    <a:pt x="7" y="19"/>
                    <a:pt x="7" y="19"/>
                    <a:pt x="7" y="19"/>
                  </a:cubicBezTo>
                  <a:cubicBezTo>
                    <a:pt x="7" y="19"/>
                    <a:pt x="7" y="19"/>
                    <a:pt x="6" y="19"/>
                  </a:cubicBezTo>
                  <a:cubicBezTo>
                    <a:pt x="6" y="19"/>
                    <a:pt x="6" y="19"/>
                    <a:pt x="6" y="19"/>
                  </a:cubicBezTo>
                  <a:cubicBezTo>
                    <a:pt x="5" y="19"/>
                    <a:pt x="5" y="20"/>
                    <a:pt x="4" y="20"/>
                  </a:cubicBezTo>
                  <a:cubicBezTo>
                    <a:pt x="3" y="22"/>
                    <a:pt x="3" y="22"/>
                    <a:pt x="3" y="22"/>
                  </a:cubicBezTo>
                  <a:cubicBezTo>
                    <a:pt x="3" y="22"/>
                    <a:pt x="3" y="22"/>
                    <a:pt x="3" y="22"/>
                  </a:cubicBezTo>
                  <a:cubicBezTo>
                    <a:pt x="3" y="22"/>
                    <a:pt x="3" y="22"/>
                    <a:pt x="3" y="22"/>
                  </a:cubicBezTo>
                  <a:cubicBezTo>
                    <a:pt x="3" y="22"/>
                    <a:pt x="3" y="22"/>
                    <a:pt x="3" y="22"/>
                  </a:cubicBezTo>
                  <a:cubicBezTo>
                    <a:pt x="5" y="20"/>
                    <a:pt x="5" y="20"/>
                    <a:pt x="5" y="20"/>
                  </a:cubicBezTo>
                  <a:cubicBezTo>
                    <a:pt x="5" y="20"/>
                    <a:pt x="6" y="20"/>
                    <a:pt x="6" y="20"/>
                  </a:cubicBezTo>
                  <a:cubicBezTo>
                    <a:pt x="7" y="20"/>
                    <a:pt x="7" y="20"/>
                    <a:pt x="7" y="20"/>
                  </a:cubicBezTo>
                  <a:cubicBezTo>
                    <a:pt x="7" y="20"/>
                    <a:pt x="7" y="20"/>
                    <a:pt x="7" y="20"/>
                  </a:cubicBezTo>
                  <a:cubicBezTo>
                    <a:pt x="9" y="19"/>
                    <a:pt x="9" y="19"/>
                    <a:pt x="9" y="19"/>
                  </a:cubicBezTo>
                  <a:cubicBezTo>
                    <a:pt x="9" y="19"/>
                    <a:pt x="9" y="19"/>
                    <a:pt x="9" y="19"/>
                  </a:cubicBezTo>
                  <a:cubicBezTo>
                    <a:pt x="10" y="19"/>
                    <a:pt x="10" y="19"/>
                    <a:pt x="10" y="19"/>
                  </a:cubicBezTo>
                  <a:cubicBezTo>
                    <a:pt x="11" y="19"/>
                    <a:pt x="11" y="18"/>
                    <a:pt x="12" y="18"/>
                  </a:cubicBezTo>
                  <a:cubicBezTo>
                    <a:pt x="12" y="18"/>
                    <a:pt x="12" y="18"/>
                    <a:pt x="12" y="18"/>
                  </a:cubicBezTo>
                  <a:cubicBezTo>
                    <a:pt x="13" y="18"/>
                    <a:pt x="13" y="18"/>
                    <a:pt x="13" y="18"/>
                  </a:cubicBezTo>
                  <a:cubicBezTo>
                    <a:pt x="13" y="17"/>
                    <a:pt x="14" y="16"/>
                    <a:pt x="15" y="15"/>
                  </a:cubicBezTo>
                  <a:cubicBezTo>
                    <a:pt x="16" y="16"/>
                    <a:pt x="16" y="16"/>
                    <a:pt x="16" y="16"/>
                  </a:cubicBezTo>
                  <a:cubicBezTo>
                    <a:pt x="16" y="16"/>
                    <a:pt x="16" y="16"/>
                    <a:pt x="16" y="16"/>
                  </a:cubicBezTo>
                  <a:cubicBezTo>
                    <a:pt x="16" y="16"/>
                    <a:pt x="16" y="16"/>
                    <a:pt x="16" y="16"/>
                  </a:cubicBezTo>
                  <a:cubicBezTo>
                    <a:pt x="16" y="16"/>
                    <a:pt x="16" y="16"/>
                    <a:pt x="16" y="16"/>
                  </a:cubicBezTo>
                  <a:cubicBezTo>
                    <a:pt x="16" y="16"/>
                    <a:pt x="16" y="16"/>
                    <a:pt x="16" y="16"/>
                  </a:cubicBezTo>
                  <a:cubicBezTo>
                    <a:pt x="16" y="16"/>
                    <a:pt x="16" y="16"/>
                    <a:pt x="16" y="16"/>
                  </a:cubicBezTo>
                  <a:cubicBezTo>
                    <a:pt x="16" y="16"/>
                    <a:pt x="16" y="16"/>
                    <a:pt x="16" y="16"/>
                  </a:cubicBezTo>
                  <a:cubicBezTo>
                    <a:pt x="15" y="17"/>
                    <a:pt x="14" y="18"/>
                    <a:pt x="14" y="19"/>
                  </a:cubicBezTo>
                  <a:cubicBezTo>
                    <a:pt x="14" y="20"/>
                    <a:pt x="14" y="20"/>
                    <a:pt x="14" y="20"/>
                  </a:cubicBezTo>
                  <a:cubicBezTo>
                    <a:pt x="14" y="21"/>
                    <a:pt x="14" y="21"/>
                    <a:pt x="14" y="21"/>
                  </a:cubicBezTo>
                  <a:cubicBezTo>
                    <a:pt x="14" y="21"/>
                    <a:pt x="14" y="21"/>
                    <a:pt x="14" y="21"/>
                  </a:cubicBezTo>
                  <a:cubicBezTo>
                    <a:pt x="14" y="21"/>
                    <a:pt x="14" y="21"/>
                    <a:pt x="14" y="21"/>
                  </a:cubicBezTo>
                  <a:cubicBezTo>
                    <a:pt x="13" y="22"/>
                    <a:pt x="13" y="22"/>
                    <a:pt x="13" y="22"/>
                  </a:cubicBezTo>
                  <a:cubicBezTo>
                    <a:pt x="10" y="25"/>
                    <a:pt x="10" y="25"/>
                    <a:pt x="10" y="25"/>
                  </a:cubicBezTo>
                  <a:cubicBezTo>
                    <a:pt x="9" y="26"/>
                    <a:pt x="8" y="27"/>
                    <a:pt x="7" y="29"/>
                  </a:cubicBezTo>
                  <a:cubicBezTo>
                    <a:pt x="7" y="29"/>
                    <a:pt x="6" y="30"/>
                    <a:pt x="6" y="30"/>
                  </a:cubicBezTo>
                  <a:moveTo>
                    <a:pt x="14" y="0"/>
                  </a:moveTo>
                  <a:cubicBezTo>
                    <a:pt x="13" y="0"/>
                    <a:pt x="13" y="0"/>
                    <a:pt x="13" y="0"/>
                  </a:cubicBezTo>
                  <a:cubicBezTo>
                    <a:pt x="10" y="3"/>
                    <a:pt x="8" y="6"/>
                    <a:pt x="7" y="10"/>
                  </a:cubicBezTo>
                  <a:cubicBezTo>
                    <a:pt x="7" y="10"/>
                    <a:pt x="7" y="10"/>
                    <a:pt x="7" y="10"/>
                  </a:cubicBezTo>
                  <a:cubicBezTo>
                    <a:pt x="6" y="9"/>
                    <a:pt x="6" y="9"/>
                    <a:pt x="6" y="9"/>
                  </a:cubicBezTo>
                  <a:cubicBezTo>
                    <a:pt x="5" y="10"/>
                    <a:pt x="5" y="10"/>
                    <a:pt x="5" y="10"/>
                  </a:cubicBezTo>
                  <a:cubicBezTo>
                    <a:pt x="4" y="12"/>
                    <a:pt x="2" y="14"/>
                    <a:pt x="1" y="16"/>
                  </a:cubicBezTo>
                  <a:cubicBezTo>
                    <a:pt x="1" y="16"/>
                    <a:pt x="1" y="16"/>
                    <a:pt x="1" y="16"/>
                  </a:cubicBezTo>
                  <a:cubicBezTo>
                    <a:pt x="1" y="17"/>
                    <a:pt x="1" y="17"/>
                    <a:pt x="1" y="17"/>
                  </a:cubicBezTo>
                  <a:cubicBezTo>
                    <a:pt x="2" y="17"/>
                    <a:pt x="3" y="18"/>
                    <a:pt x="3" y="18"/>
                  </a:cubicBezTo>
                  <a:cubicBezTo>
                    <a:pt x="0" y="21"/>
                    <a:pt x="0" y="21"/>
                    <a:pt x="0" y="21"/>
                  </a:cubicBezTo>
                  <a:cubicBezTo>
                    <a:pt x="0" y="22"/>
                    <a:pt x="0" y="22"/>
                    <a:pt x="0" y="22"/>
                  </a:cubicBezTo>
                  <a:cubicBezTo>
                    <a:pt x="1" y="22"/>
                    <a:pt x="1" y="23"/>
                    <a:pt x="1" y="24"/>
                  </a:cubicBezTo>
                  <a:cubicBezTo>
                    <a:pt x="1" y="25"/>
                    <a:pt x="1" y="25"/>
                    <a:pt x="1" y="25"/>
                  </a:cubicBezTo>
                  <a:cubicBezTo>
                    <a:pt x="1" y="28"/>
                    <a:pt x="3" y="31"/>
                    <a:pt x="6" y="32"/>
                  </a:cubicBezTo>
                  <a:cubicBezTo>
                    <a:pt x="6" y="33"/>
                    <a:pt x="6" y="34"/>
                    <a:pt x="6" y="35"/>
                  </a:cubicBezTo>
                  <a:cubicBezTo>
                    <a:pt x="6" y="35"/>
                    <a:pt x="6" y="35"/>
                    <a:pt x="6" y="35"/>
                  </a:cubicBezTo>
                  <a:cubicBezTo>
                    <a:pt x="7" y="36"/>
                    <a:pt x="7" y="36"/>
                    <a:pt x="7" y="36"/>
                  </a:cubicBezTo>
                  <a:cubicBezTo>
                    <a:pt x="7" y="36"/>
                    <a:pt x="7" y="36"/>
                    <a:pt x="7" y="36"/>
                  </a:cubicBezTo>
                  <a:cubicBezTo>
                    <a:pt x="7" y="37"/>
                    <a:pt x="7" y="37"/>
                    <a:pt x="7" y="37"/>
                  </a:cubicBezTo>
                  <a:cubicBezTo>
                    <a:pt x="7" y="37"/>
                    <a:pt x="7" y="37"/>
                    <a:pt x="7" y="37"/>
                  </a:cubicBezTo>
                  <a:cubicBezTo>
                    <a:pt x="7" y="37"/>
                    <a:pt x="7" y="37"/>
                    <a:pt x="7" y="37"/>
                  </a:cubicBezTo>
                  <a:cubicBezTo>
                    <a:pt x="8" y="37"/>
                    <a:pt x="8" y="37"/>
                    <a:pt x="8" y="37"/>
                  </a:cubicBezTo>
                  <a:cubicBezTo>
                    <a:pt x="8" y="37"/>
                    <a:pt x="8" y="37"/>
                    <a:pt x="8" y="37"/>
                  </a:cubicBezTo>
                  <a:cubicBezTo>
                    <a:pt x="8" y="38"/>
                    <a:pt x="8" y="38"/>
                    <a:pt x="8" y="38"/>
                  </a:cubicBezTo>
                  <a:cubicBezTo>
                    <a:pt x="8" y="38"/>
                    <a:pt x="8" y="38"/>
                    <a:pt x="8" y="38"/>
                  </a:cubicBezTo>
                  <a:cubicBezTo>
                    <a:pt x="8" y="38"/>
                    <a:pt x="8" y="38"/>
                    <a:pt x="8" y="38"/>
                  </a:cubicBezTo>
                  <a:cubicBezTo>
                    <a:pt x="8" y="38"/>
                    <a:pt x="8" y="38"/>
                    <a:pt x="8" y="39"/>
                  </a:cubicBezTo>
                  <a:cubicBezTo>
                    <a:pt x="8" y="39"/>
                    <a:pt x="8" y="39"/>
                    <a:pt x="8" y="39"/>
                  </a:cubicBezTo>
                  <a:cubicBezTo>
                    <a:pt x="8" y="40"/>
                    <a:pt x="8" y="40"/>
                    <a:pt x="8" y="40"/>
                  </a:cubicBezTo>
                  <a:cubicBezTo>
                    <a:pt x="9" y="40"/>
                    <a:pt x="9" y="40"/>
                    <a:pt x="9" y="40"/>
                  </a:cubicBezTo>
                  <a:cubicBezTo>
                    <a:pt x="12" y="41"/>
                    <a:pt x="15" y="42"/>
                    <a:pt x="18" y="44"/>
                  </a:cubicBezTo>
                  <a:cubicBezTo>
                    <a:pt x="18" y="44"/>
                    <a:pt x="18" y="44"/>
                    <a:pt x="18" y="44"/>
                  </a:cubicBezTo>
                  <a:cubicBezTo>
                    <a:pt x="18" y="44"/>
                    <a:pt x="18" y="44"/>
                    <a:pt x="18" y="44"/>
                  </a:cubicBezTo>
                  <a:cubicBezTo>
                    <a:pt x="19" y="43"/>
                    <a:pt x="19" y="43"/>
                    <a:pt x="19" y="43"/>
                  </a:cubicBezTo>
                  <a:cubicBezTo>
                    <a:pt x="21" y="40"/>
                    <a:pt x="21" y="40"/>
                    <a:pt x="21" y="40"/>
                  </a:cubicBezTo>
                  <a:cubicBezTo>
                    <a:pt x="21" y="40"/>
                    <a:pt x="21" y="40"/>
                    <a:pt x="21" y="40"/>
                  </a:cubicBezTo>
                  <a:cubicBezTo>
                    <a:pt x="23" y="40"/>
                    <a:pt x="25" y="41"/>
                    <a:pt x="27" y="41"/>
                  </a:cubicBezTo>
                  <a:cubicBezTo>
                    <a:pt x="27" y="41"/>
                    <a:pt x="27" y="41"/>
                    <a:pt x="27" y="41"/>
                  </a:cubicBezTo>
                  <a:cubicBezTo>
                    <a:pt x="28" y="42"/>
                    <a:pt x="28" y="42"/>
                    <a:pt x="28" y="42"/>
                  </a:cubicBezTo>
                  <a:cubicBezTo>
                    <a:pt x="28" y="41"/>
                    <a:pt x="28" y="41"/>
                    <a:pt x="28" y="41"/>
                  </a:cubicBezTo>
                  <a:cubicBezTo>
                    <a:pt x="28" y="41"/>
                    <a:pt x="28" y="41"/>
                    <a:pt x="28" y="41"/>
                  </a:cubicBezTo>
                  <a:cubicBezTo>
                    <a:pt x="28" y="41"/>
                    <a:pt x="28" y="41"/>
                    <a:pt x="28" y="41"/>
                  </a:cubicBezTo>
                  <a:cubicBezTo>
                    <a:pt x="35" y="37"/>
                    <a:pt x="35" y="37"/>
                    <a:pt x="35" y="37"/>
                  </a:cubicBezTo>
                  <a:cubicBezTo>
                    <a:pt x="35" y="36"/>
                    <a:pt x="35" y="36"/>
                    <a:pt x="35" y="36"/>
                  </a:cubicBezTo>
                  <a:cubicBezTo>
                    <a:pt x="34" y="35"/>
                    <a:pt x="34" y="35"/>
                    <a:pt x="34" y="35"/>
                  </a:cubicBezTo>
                  <a:cubicBezTo>
                    <a:pt x="34" y="35"/>
                    <a:pt x="34" y="35"/>
                    <a:pt x="34" y="35"/>
                  </a:cubicBezTo>
                  <a:cubicBezTo>
                    <a:pt x="34" y="35"/>
                    <a:pt x="34" y="35"/>
                    <a:pt x="34" y="35"/>
                  </a:cubicBezTo>
                  <a:cubicBezTo>
                    <a:pt x="35" y="34"/>
                    <a:pt x="35" y="34"/>
                    <a:pt x="35" y="34"/>
                  </a:cubicBezTo>
                  <a:cubicBezTo>
                    <a:pt x="36" y="34"/>
                    <a:pt x="36" y="34"/>
                    <a:pt x="36" y="34"/>
                  </a:cubicBezTo>
                  <a:cubicBezTo>
                    <a:pt x="39" y="31"/>
                    <a:pt x="40" y="21"/>
                    <a:pt x="40" y="21"/>
                  </a:cubicBezTo>
                  <a:cubicBezTo>
                    <a:pt x="40" y="20"/>
                    <a:pt x="40" y="20"/>
                    <a:pt x="40" y="20"/>
                  </a:cubicBezTo>
                  <a:cubicBezTo>
                    <a:pt x="40" y="20"/>
                    <a:pt x="37" y="19"/>
                    <a:pt x="36" y="19"/>
                  </a:cubicBezTo>
                  <a:cubicBezTo>
                    <a:pt x="36" y="16"/>
                    <a:pt x="34" y="9"/>
                    <a:pt x="33" y="8"/>
                  </a:cubicBezTo>
                  <a:cubicBezTo>
                    <a:pt x="33" y="8"/>
                    <a:pt x="33" y="8"/>
                    <a:pt x="33" y="8"/>
                  </a:cubicBezTo>
                  <a:cubicBezTo>
                    <a:pt x="33" y="8"/>
                    <a:pt x="29" y="7"/>
                    <a:pt x="27" y="6"/>
                  </a:cubicBezTo>
                  <a:cubicBezTo>
                    <a:pt x="26" y="5"/>
                    <a:pt x="26" y="5"/>
                    <a:pt x="26" y="5"/>
                  </a:cubicBezTo>
                  <a:cubicBezTo>
                    <a:pt x="26" y="5"/>
                    <a:pt x="26" y="5"/>
                    <a:pt x="26" y="5"/>
                  </a:cubicBezTo>
                  <a:cubicBezTo>
                    <a:pt x="25" y="5"/>
                    <a:pt x="23" y="4"/>
                    <a:pt x="22" y="4"/>
                  </a:cubicBezTo>
                  <a:cubicBezTo>
                    <a:pt x="21" y="4"/>
                    <a:pt x="21" y="4"/>
                    <a:pt x="21" y="4"/>
                  </a:cubicBezTo>
                  <a:cubicBezTo>
                    <a:pt x="20" y="6"/>
                    <a:pt x="20" y="6"/>
                    <a:pt x="20" y="6"/>
                  </a:cubicBezTo>
                  <a:cubicBezTo>
                    <a:pt x="20" y="5"/>
                    <a:pt x="19" y="5"/>
                    <a:pt x="18" y="5"/>
                  </a:cubicBezTo>
                  <a:cubicBezTo>
                    <a:pt x="18" y="5"/>
                    <a:pt x="17" y="5"/>
                    <a:pt x="17" y="6"/>
                  </a:cubicBezTo>
                  <a:cubicBezTo>
                    <a:pt x="16" y="5"/>
                    <a:pt x="15" y="5"/>
                    <a:pt x="15" y="5"/>
                  </a:cubicBezTo>
                  <a:cubicBezTo>
                    <a:pt x="14" y="1"/>
                    <a:pt x="14" y="1"/>
                    <a:pt x="14" y="1"/>
                  </a:cubicBezTo>
                  <a:cubicBezTo>
                    <a:pt x="14" y="0"/>
                    <a:pt x="14" y="0"/>
                    <a:pt x="14"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56" name="íṧḻíḓê"/>
            <p:cNvSpPr/>
            <p:nvPr/>
          </p:nvSpPr>
          <p:spPr bwMode="auto">
            <a:xfrm>
              <a:off x="4274" y="2091"/>
              <a:ext cx="53" cy="60"/>
            </a:xfrm>
            <a:custGeom>
              <a:avLst/>
              <a:gdLst>
                <a:gd name="T0" fmla="*/ 16 w 22"/>
                <a:gd name="T1" fmla="*/ 15 h 25"/>
                <a:gd name="T2" fmla="*/ 14 w 22"/>
                <a:gd name="T3" fmla="*/ 16 h 25"/>
                <a:gd name="T4" fmla="*/ 8 w 22"/>
                <a:gd name="T5" fmla="*/ 14 h 25"/>
                <a:gd name="T6" fmla="*/ 1 w 22"/>
                <a:gd name="T7" fmla="*/ 24 h 25"/>
                <a:gd name="T8" fmla="*/ 18 w 22"/>
                <a:gd name="T9" fmla="*/ 11 h 25"/>
                <a:gd name="T10" fmla="*/ 17 w 22"/>
                <a:gd name="T11" fmla="*/ 11 h 25"/>
                <a:gd name="T12" fmla="*/ 17 w 22"/>
                <a:gd name="T13" fmla="*/ 11 h 25"/>
                <a:gd name="T14" fmla="*/ 8 w 22"/>
                <a:gd name="T15" fmla="*/ 13 h 25"/>
                <a:gd name="T16" fmla="*/ 10 w 22"/>
                <a:gd name="T17" fmla="*/ 5 h 25"/>
                <a:gd name="T18" fmla="*/ 10 w 22"/>
                <a:gd name="T19" fmla="*/ 6 h 25"/>
                <a:gd name="T20" fmla="*/ 10 w 22"/>
                <a:gd name="T21" fmla="*/ 7 h 25"/>
                <a:gd name="T22" fmla="*/ 15 w 22"/>
                <a:gd name="T23" fmla="*/ 13 h 25"/>
                <a:gd name="T24" fmla="*/ 16 w 22"/>
                <a:gd name="T25" fmla="*/ 13 h 25"/>
                <a:gd name="T26" fmla="*/ 18 w 22"/>
                <a:gd name="T27" fmla="*/ 12 h 25"/>
                <a:gd name="T28" fmla="*/ 15 w 22"/>
                <a:gd name="T29" fmla="*/ 14 h 25"/>
                <a:gd name="T30" fmla="*/ 18 w 22"/>
                <a:gd name="T31" fmla="*/ 14 h 25"/>
                <a:gd name="T32" fmla="*/ 14 w 22"/>
                <a:gd name="T33" fmla="*/ 14 h 25"/>
                <a:gd name="T34" fmla="*/ 17 w 22"/>
                <a:gd name="T35" fmla="*/ 15 h 25"/>
                <a:gd name="T36" fmla="*/ 16 w 22"/>
                <a:gd name="T37" fmla="*/ 15 h 25"/>
                <a:gd name="T38" fmla="*/ 13 w 22"/>
                <a:gd name="T39" fmla="*/ 16 h 25"/>
                <a:gd name="T40" fmla="*/ 11 w 22"/>
                <a:gd name="T41" fmla="*/ 11 h 25"/>
                <a:gd name="T42" fmla="*/ 14 w 22"/>
                <a:gd name="T43" fmla="*/ 3 h 25"/>
                <a:gd name="T44" fmla="*/ 19 w 22"/>
                <a:gd name="T45" fmla="*/ 6 h 25"/>
                <a:gd name="T46" fmla="*/ 19 w 22"/>
                <a:gd name="T47" fmla="*/ 7 h 25"/>
                <a:gd name="T48" fmla="*/ 17 w 22"/>
                <a:gd name="T49" fmla="*/ 7 h 25"/>
                <a:gd name="T50" fmla="*/ 19 w 22"/>
                <a:gd name="T51" fmla="*/ 7 h 25"/>
                <a:gd name="T52" fmla="*/ 16 w 22"/>
                <a:gd name="T53" fmla="*/ 7 h 25"/>
                <a:gd name="T54" fmla="*/ 18 w 22"/>
                <a:gd name="T55" fmla="*/ 9 h 25"/>
                <a:gd name="T56" fmla="*/ 16 w 22"/>
                <a:gd name="T57" fmla="*/ 8 h 25"/>
                <a:gd name="T58" fmla="*/ 17 w 22"/>
                <a:gd name="T59" fmla="*/ 9 h 25"/>
                <a:gd name="T60" fmla="*/ 15 w 22"/>
                <a:gd name="T61" fmla="*/ 9 h 25"/>
                <a:gd name="T62" fmla="*/ 17 w 22"/>
                <a:gd name="T63" fmla="*/ 10 h 25"/>
                <a:gd name="T64" fmla="*/ 15 w 22"/>
                <a:gd name="T65" fmla="*/ 10 h 25"/>
                <a:gd name="T66" fmla="*/ 14 w 22"/>
                <a:gd name="T67" fmla="*/ 11 h 25"/>
                <a:gd name="T68" fmla="*/ 16 w 22"/>
                <a:gd name="T69" fmla="*/ 11 h 25"/>
                <a:gd name="T70" fmla="*/ 14 w 22"/>
                <a:gd name="T71" fmla="*/ 11 h 25"/>
                <a:gd name="T72" fmla="*/ 14 w 22"/>
                <a:gd name="T73" fmla="*/ 12 h 25"/>
                <a:gd name="T74" fmla="*/ 15 w 22"/>
                <a:gd name="T75" fmla="*/ 3 h 25"/>
                <a:gd name="T76" fmla="*/ 20 w 22"/>
                <a:gd name="T77" fmla="*/ 2 h 25"/>
                <a:gd name="T78" fmla="*/ 19 w 22"/>
                <a:gd name="T79" fmla="*/ 5 h 25"/>
                <a:gd name="T80" fmla="*/ 14 w 22"/>
                <a:gd name="T81" fmla="*/ 0 h 25"/>
                <a:gd name="T82" fmla="*/ 11 w 22"/>
                <a:gd name="T83" fmla="*/ 4 h 25"/>
                <a:gd name="T84" fmla="*/ 6 w 22"/>
                <a:gd name="T85" fmla="*/ 9 h 25"/>
                <a:gd name="T86" fmla="*/ 1 w 22"/>
                <a:gd name="T87" fmla="*/ 21 h 25"/>
                <a:gd name="T88" fmla="*/ 0 w 22"/>
                <a:gd name="T89" fmla="*/ 25 h 25"/>
                <a:gd name="T90" fmla="*/ 4 w 22"/>
                <a:gd name="T91" fmla="*/ 23 h 25"/>
                <a:gd name="T92" fmla="*/ 12 w 22"/>
                <a:gd name="T93" fmla="*/ 17 h 25"/>
                <a:gd name="T94" fmla="*/ 19 w 22"/>
                <a:gd name="T95" fmla="*/ 9 h 25"/>
                <a:gd name="T96" fmla="*/ 21 w 22"/>
                <a:gd name="T97" fmla="*/ 5 h 25"/>
                <a:gd name="T98" fmla="*/ 16 w 22"/>
                <a:gd name="T9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25">
                  <a:moveTo>
                    <a:pt x="14" y="16"/>
                  </a:moveTo>
                  <a:cubicBezTo>
                    <a:pt x="13" y="16"/>
                    <a:pt x="13" y="16"/>
                    <a:pt x="13" y="16"/>
                  </a:cubicBezTo>
                  <a:cubicBezTo>
                    <a:pt x="14" y="16"/>
                    <a:pt x="16" y="15"/>
                    <a:pt x="16" y="15"/>
                  </a:cubicBezTo>
                  <a:cubicBezTo>
                    <a:pt x="16" y="16"/>
                    <a:pt x="15" y="16"/>
                    <a:pt x="15" y="16"/>
                  </a:cubicBezTo>
                  <a:cubicBezTo>
                    <a:pt x="15" y="16"/>
                    <a:pt x="15" y="16"/>
                    <a:pt x="15" y="16"/>
                  </a:cubicBezTo>
                  <a:cubicBezTo>
                    <a:pt x="14" y="16"/>
                    <a:pt x="14" y="16"/>
                    <a:pt x="14" y="16"/>
                  </a:cubicBezTo>
                  <a:moveTo>
                    <a:pt x="1" y="24"/>
                  </a:moveTo>
                  <a:cubicBezTo>
                    <a:pt x="1" y="23"/>
                    <a:pt x="2" y="22"/>
                    <a:pt x="2" y="21"/>
                  </a:cubicBezTo>
                  <a:cubicBezTo>
                    <a:pt x="2" y="21"/>
                    <a:pt x="6" y="17"/>
                    <a:pt x="8" y="14"/>
                  </a:cubicBezTo>
                  <a:cubicBezTo>
                    <a:pt x="8" y="15"/>
                    <a:pt x="9" y="15"/>
                    <a:pt x="9" y="15"/>
                  </a:cubicBezTo>
                  <a:cubicBezTo>
                    <a:pt x="3" y="23"/>
                    <a:pt x="3" y="23"/>
                    <a:pt x="3" y="23"/>
                  </a:cubicBezTo>
                  <a:cubicBezTo>
                    <a:pt x="1" y="24"/>
                    <a:pt x="1" y="24"/>
                    <a:pt x="1" y="24"/>
                  </a:cubicBezTo>
                  <a:moveTo>
                    <a:pt x="18" y="11"/>
                  </a:moveTo>
                  <a:cubicBezTo>
                    <a:pt x="18" y="11"/>
                    <a:pt x="18" y="11"/>
                    <a:pt x="18" y="11"/>
                  </a:cubicBezTo>
                  <a:cubicBezTo>
                    <a:pt x="18" y="11"/>
                    <a:pt x="18" y="11"/>
                    <a:pt x="18" y="11"/>
                  </a:cubicBezTo>
                  <a:cubicBezTo>
                    <a:pt x="18" y="11"/>
                    <a:pt x="18" y="11"/>
                    <a:pt x="18" y="11"/>
                  </a:cubicBezTo>
                  <a:cubicBezTo>
                    <a:pt x="18" y="11"/>
                    <a:pt x="18" y="11"/>
                    <a:pt x="18" y="11"/>
                  </a:cubicBezTo>
                  <a:moveTo>
                    <a:pt x="17" y="11"/>
                  </a:moveTo>
                  <a:cubicBezTo>
                    <a:pt x="18" y="10"/>
                    <a:pt x="18" y="10"/>
                    <a:pt x="18" y="10"/>
                  </a:cubicBezTo>
                  <a:cubicBezTo>
                    <a:pt x="18" y="10"/>
                    <a:pt x="18" y="10"/>
                    <a:pt x="18" y="10"/>
                  </a:cubicBezTo>
                  <a:cubicBezTo>
                    <a:pt x="17" y="11"/>
                    <a:pt x="17" y="11"/>
                    <a:pt x="17" y="11"/>
                  </a:cubicBezTo>
                  <a:moveTo>
                    <a:pt x="13" y="16"/>
                  </a:moveTo>
                  <a:cubicBezTo>
                    <a:pt x="13" y="16"/>
                    <a:pt x="13" y="16"/>
                    <a:pt x="13" y="16"/>
                  </a:cubicBezTo>
                  <a:cubicBezTo>
                    <a:pt x="11" y="15"/>
                    <a:pt x="9" y="14"/>
                    <a:pt x="8" y="13"/>
                  </a:cubicBezTo>
                  <a:cubicBezTo>
                    <a:pt x="7" y="12"/>
                    <a:pt x="7" y="11"/>
                    <a:pt x="7" y="9"/>
                  </a:cubicBezTo>
                  <a:cubicBezTo>
                    <a:pt x="7" y="8"/>
                    <a:pt x="7" y="7"/>
                    <a:pt x="8" y="6"/>
                  </a:cubicBezTo>
                  <a:cubicBezTo>
                    <a:pt x="9" y="5"/>
                    <a:pt x="10" y="5"/>
                    <a:pt x="10" y="5"/>
                  </a:cubicBezTo>
                  <a:cubicBezTo>
                    <a:pt x="10" y="5"/>
                    <a:pt x="11" y="5"/>
                    <a:pt x="11" y="5"/>
                  </a:cubicBezTo>
                  <a:cubicBezTo>
                    <a:pt x="10" y="6"/>
                    <a:pt x="10" y="6"/>
                    <a:pt x="10" y="6"/>
                  </a:cubicBezTo>
                  <a:cubicBezTo>
                    <a:pt x="10" y="6"/>
                    <a:pt x="10" y="6"/>
                    <a:pt x="10" y="6"/>
                  </a:cubicBezTo>
                  <a:cubicBezTo>
                    <a:pt x="10" y="7"/>
                    <a:pt x="10" y="7"/>
                    <a:pt x="10" y="7"/>
                  </a:cubicBezTo>
                  <a:cubicBezTo>
                    <a:pt x="10" y="7"/>
                    <a:pt x="10" y="7"/>
                    <a:pt x="10" y="7"/>
                  </a:cubicBezTo>
                  <a:cubicBezTo>
                    <a:pt x="10" y="7"/>
                    <a:pt x="10" y="7"/>
                    <a:pt x="10" y="7"/>
                  </a:cubicBezTo>
                  <a:cubicBezTo>
                    <a:pt x="9" y="8"/>
                    <a:pt x="9" y="10"/>
                    <a:pt x="11" y="12"/>
                  </a:cubicBezTo>
                  <a:cubicBezTo>
                    <a:pt x="11" y="12"/>
                    <a:pt x="13" y="13"/>
                    <a:pt x="14" y="13"/>
                  </a:cubicBezTo>
                  <a:cubicBezTo>
                    <a:pt x="14" y="13"/>
                    <a:pt x="15" y="13"/>
                    <a:pt x="15" y="13"/>
                  </a:cubicBezTo>
                  <a:cubicBezTo>
                    <a:pt x="15" y="13"/>
                    <a:pt x="15" y="13"/>
                    <a:pt x="15" y="13"/>
                  </a:cubicBezTo>
                  <a:cubicBezTo>
                    <a:pt x="15" y="13"/>
                    <a:pt x="15" y="13"/>
                    <a:pt x="15" y="13"/>
                  </a:cubicBezTo>
                  <a:cubicBezTo>
                    <a:pt x="16" y="13"/>
                    <a:pt x="16" y="13"/>
                    <a:pt x="16" y="13"/>
                  </a:cubicBezTo>
                  <a:cubicBezTo>
                    <a:pt x="16" y="12"/>
                    <a:pt x="17" y="12"/>
                    <a:pt x="18" y="12"/>
                  </a:cubicBezTo>
                  <a:cubicBezTo>
                    <a:pt x="18" y="12"/>
                    <a:pt x="18" y="12"/>
                    <a:pt x="18" y="12"/>
                  </a:cubicBezTo>
                  <a:cubicBezTo>
                    <a:pt x="18" y="12"/>
                    <a:pt x="18" y="12"/>
                    <a:pt x="18" y="12"/>
                  </a:cubicBezTo>
                  <a:cubicBezTo>
                    <a:pt x="17" y="13"/>
                    <a:pt x="16" y="13"/>
                    <a:pt x="15" y="13"/>
                  </a:cubicBezTo>
                  <a:cubicBezTo>
                    <a:pt x="14" y="13"/>
                    <a:pt x="14" y="13"/>
                    <a:pt x="14" y="13"/>
                  </a:cubicBezTo>
                  <a:cubicBezTo>
                    <a:pt x="15" y="14"/>
                    <a:pt x="15" y="14"/>
                    <a:pt x="15" y="14"/>
                  </a:cubicBezTo>
                  <a:cubicBezTo>
                    <a:pt x="16" y="13"/>
                    <a:pt x="17" y="13"/>
                    <a:pt x="18" y="13"/>
                  </a:cubicBezTo>
                  <a:cubicBezTo>
                    <a:pt x="18" y="13"/>
                    <a:pt x="18" y="13"/>
                    <a:pt x="18" y="13"/>
                  </a:cubicBezTo>
                  <a:cubicBezTo>
                    <a:pt x="18" y="13"/>
                    <a:pt x="18" y="13"/>
                    <a:pt x="18" y="14"/>
                  </a:cubicBezTo>
                  <a:cubicBezTo>
                    <a:pt x="18" y="13"/>
                    <a:pt x="18" y="13"/>
                    <a:pt x="18" y="13"/>
                  </a:cubicBezTo>
                  <a:cubicBezTo>
                    <a:pt x="16" y="14"/>
                    <a:pt x="15" y="14"/>
                    <a:pt x="14" y="14"/>
                  </a:cubicBezTo>
                  <a:cubicBezTo>
                    <a:pt x="14" y="14"/>
                    <a:pt x="14" y="14"/>
                    <a:pt x="14" y="14"/>
                  </a:cubicBezTo>
                  <a:cubicBezTo>
                    <a:pt x="14" y="15"/>
                    <a:pt x="14" y="15"/>
                    <a:pt x="14" y="15"/>
                  </a:cubicBezTo>
                  <a:cubicBezTo>
                    <a:pt x="15" y="15"/>
                    <a:pt x="17" y="14"/>
                    <a:pt x="18" y="14"/>
                  </a:cubicBezTo>
                  <a:cubicBezTo>
                    <a:pt x="17" y="15"/>
                    <a:pt x="17" y="15"/>
                    <a:pt x="17" y="15"/>
                  </a:cubicBezTo>
                  <a:cubicBezTo>
                    <a:pt x="17" y="15"/>
                    <a:pt x="17" y="15"/>
                    <a:pt x="17" y="15"/>
                  </a:cubicBezTo>
                  <a:cubicBezTo>
                    <a:pt x="17" y="15"/>
                    <a:pt x="17" y="15"/>
                    <a:pt x="17" y="15"/>
                  </a:cubicBezTo>
                  <a:cubicBezTo>
                    <a:pt x="16" y="15"/>
                    <a:pt x="16" y="15"/>
                    <a:pt x="16" y="15"/>
                  </a:cubicBezTo>
                  <a:cubicBezTo>
                    <a:pt x="16" y="15"/>
                    <a:pt x="16" y="15"/>
                    <a:pt x="16" y="15"/>
                  </a:cubicBezTo>
                  <a:cubicBezTo>
                    <a:pt x="13" y="15"/>
                    <a:pt x="13" y="15"/>
                    <a:pt x="13" y="15"/>
                  </a:cubicBezTo>
                  <a:cubicBezTo>
                    <a:pt x="13" y="16"/>
                    <a:pt x="13" y="16"/>
                    <a:pt x="13" y="16"/>
                  </a:cubicBezTo>
                  <a:cubicBezTo>
                    <a:pt x="13" y="16"/>
                    <a:pt x="13" y="16"/>
                    <a:pt x="13" y="16"/>
                  </a:cubicBezTo>
                  <a:moveTo>
                    <a:pt x="14" y="12"/>
                  </a:moveTo>
                  <a:cubicBezTo>
                    <a:pt x="13" y="12"/>
                    <a:pt x="12" y="12"/>
                    <a:pt x="11" y="11"/>
                  </a:cubicBezTo>
                  <a:cubicBezTo>
                    <a:pt x="10" y="10"/>
                    <a:pt x="10" y="8"/>
                    <a:pt x="11" y="7"/>
                  </a:cubicBezTo>
                  <a:cubicBezTo>
                    <a:pt x="11" y="6"/>
                    <a:pt x="12" y="6"/>
                    <a:pt x="12" y="5"/>
                  </a:cubicBezTo>
                  <a:cubicBezTo>
                    <a:pt x="13" y="4"/>
                    <a:pt x="13" y="3"/>
                    <a:pt x="14" y="3"/>
                  </a:cubicBezTo>
                  <a:cubicBezTo>
                    <a:pt x="14" y="3"/>
                    <a:pt x="14" y="3"/>
                    <a:pt x="14" y="3"/>
                  </a:cubicBezTo>
                  <a:cubicBezTo>
                    <a:pt x="14" y="4"/>
                    <a:pt x="14" y="5"/>
                    <a:pt x="15" y="5"/>
                  </a:cubicBezTo>
                  <a:cubicBezTo>
                    <a:pt x="17" y="6"/>
                    <a:pt x="18" y="6"/>
                    <a:pt x="19" y="6"/>
                  </a:cubicBezTo>
                  <a:cubicBezTo>
                    <a:pt x="20" y="6"/>
                    <a:pt x="20" y="6"/>
                    <a:pt x="20" y="6"/>
                  </a:cubicBezTo>
                  <a:cubicBezTo>
                    <a:pt x="19" y="7"/>
                    <a:pt x="19" y="7"/>
                    <a:pt x="19" y="7"/>
                  </a:cubicBezTo>
                  <a:cubicBezTo>
                    <a:pt x="19" y="7"/>
                    <a:pt x="19" y="7"/>
                    <a:pt x="19" y="7"/>
                  </a:cubicBezTo>
                  <a:cubicBezTo>
                    <a:pt x="19" y="7"/>
                    <a:pt x="19" y="7"/>
                    <a:pt x="18" y="7"/>
                  </a:cubicBezTo>
                  <a:cubicBezTo>
                    <a:pt x="18" y="7"/>
                    <a:pt x="17" y="7"/>
                    <a:pt x="17" y="7"/>
                  </a:cubicBezTo>
                  <a:cubicBezTo>
                    <a:pt x="17" y="7"/>
                    <a:pt x="17" y="7"/>
                    <a:pt x="17" y="7"/>
                  </a:cubicBezTo>
                  <a:cubicBezTo>
                    <a:pt x="17" y="7"/>
                    <a:pt x="17" y="7"/>
                    <a:pt x="17" y="7"/>
                  </a:cubicBezTo>
                  <a:cubicBezTo>
                    <a:pt x="17" y="7"/>
                    <a:pt x="18" y="7"/>
                    <a:pt x="18" y="7"/>
                  </a:cubicBezTo>
                  <a:cubicBezTo>
                    <a:pt x="19" y="7"/>
                    <a:pt x="19" y="7"/>
                    <a:pt x="19" y="7"/>
                  </a:cubicBezTo>
                  <a:cubicBezTo>
                    <a:pt x="19" y="8"/>
                    <a:pt x="19" y="8"/>
                    <a:pt x="19" y="8"/>
                  </a:cubicBezTo>
                  <a:cubicBezTo>
                    <a:pt x="18" y="8"/>
                    <a:pt x="17" y="7"/>
                    <a:pt x="17" y="7"/>
                  </a:cubicBezTo>
                  <a:cubicBezTo>
                    <a:pt x="16" y="7"/>
                    <a:pt x="16" y="7"/>
                    <a:pt x="16" y="7"/>
                  </a:cubicBezTo>
                  <a:cubicBezTo>
                    <a:pt x="17" y="8"/>
                    <a:pt x="17" y="8"/>
                    <a:pt x="17" y="8"/>
                  </a:cubicBezTo>
                  <a:cubicBezTo>
                    <a:pt x="17" y="8"/>
                    <a:pt x="18" y="8"/>
                    <a:pt x="18" y="8"/>
                  </a:cubicBezTo>
                  <a:cubicBezTo>
                    <a:pt x="18" y="9"/>
                    <a:pt x="18" y="9"/>
                    <a:pt x="18" y="9"/>
                  </a:cubicBezTo>
                  <a:cubicBezTo>
                    <a:pt x="18" y="8"/>
                    <a:pt x="18" y="8"/>
                    <a:pt x="18" y="8"/>
                  </a:cubicBezTo>
                  <a:cubicBezTo>
                    <a:pt x="18" y="8"/>
                    <a:pt x="17" y="8"/>
                    <a:pt x="17" y="8"/>
                  </a:cubicBezTo>
                  <a:cubicBezTo>
                    <a:pt x="17" y="8"/>
                    <a:pt x="16" y="8"/>
                    <a:pt x="16" y="8"/>
                  </a:cubicBezTo>
                  <a:cubicBezTo>
                    <a:pt x="16" y="9"/>
                    <a:pt x="16" y="9"/>
                    <a:pt x="16" y="9"/>
                  </a:cubicBezTo>
                  <a:cubicBezTo>
                    <a:pt x="16" y="9"/>
                    <a:pt x="16" y="9"/>
                    <a:pt x="16" y="9"/>
                  </a:cubicBezTo>
                  <a:cubicBezTo>
                    <a:pt x="16" y="9"/>
                    <a:pt x="17" y="9"/>
                    <a:pt x="17" y="9"/>
                  </a:cubicBezTo>
                  <a:cubicBezTo>
                    <a:pt x="18" y="9"/>
                    <a:pt x="18" y="9"/>
                    <a:pt x="18" y="9"/>
                  </a:cubicBezTo>
                  <a:cubicBezTo>
                    <a:pt x="17" y="10"/>
                    <a:pt x="17" y="10"/>
                    <a:pt x="17" y="10"/>
                  </a:cubicBezTo>
                  <a:cubicBezTo>
                    <a:pt x="16" y="10"/>
                    <a:pt x="16" y="10"/>
                    <a:pt x="15" y="9"/>
                  </a:cubicBezTo>
                  <a:cubicBezTo>
                    <a:pt x="15" y="10"/>
                    <a:pt x="15" y="10"/>
                    <a:pt x="15" y="10"/>
                  </a:cubicBezTo>
                  <a:cubicBezTo>
                    <a:pt x="15" y="10"/>
                    <a:pt x="15" y="10"/>
                    <a:pt x="15" y="10"/>
                  </a:cubicBezTo>
                  <a:cubicBezTo>
                    <a:pt x="16" y="10"/>
                    <a:pt x="16" y="10"/>
                    <a:pt x="17" y="10"/>
                  </a:cubicBezTo>
                  <a:cubicBezTo>
                    <a:pt x="16" y="11"/>
                    <a:pt x="16" y="11"/>
                    <a:pt x="16" y="11"/>
                  </a:cubicBezTo>
                  <a:cubicBezTo>
                    <a:pt x="16" y="11"/>
                    <a:pt x="16" y="11"/>
                    <a:pt x="16" y="11"/>
                  </a:cubicBezTo>
                  <a:cubicBezTo>
                    <a:pt x="16" y="11"/>
                    <a:pt x="15" y="10"/>
                    <a:pt x="15" y="10"/>
                  </a:cubicBezTo>
                  <a:cubicBezTo>
                    <a:pt x="15" y="10"/>
                    <a:pt x="15" y="10"/>
                    <a:pt x="15" y="10"/>
                  </a:cubicBezTo>
                  <a:cubicBezTo>
                    <a:pt x="15" y="10"/>
                    <a:pt x="15" y="10"/>
                    <a:pt x="15" y="10"/>
                  </a:cubicBezTo>
                  <a:cubicBezTo>
                    <a:pt x="14" y="11"/>
                    <a:pt x="14" y="11"/>
                    <a:pt x="14" y="11"/>
                  </a:cubicBezTo>
                  <a:cubicBezTo>
                    <a:pt x="15" y="11"/>
                    <a:pt x="15" y="11"/>
                    <a:pt x="15" y="11"/>
                  </a:cubicBezTo>
                  <a:cubicBezTo>
                    <a:pt x="15" y="11"/>
                    <a:pt x="15" y="11"/>
                    <a:pt x="16" y="11"/>
                  </a:cubicBezTo>
                  <a:cubicBezTo>
                    <a:pt x="16" y="11"/>
                    <a:pt x="16" y="11"/>
                    <a:pt x="16" y="11"/>
                  </a:cubicBezTo>
                  <a:cubicBezTo>
                    <a:pt x="16" y="11"/>
                    <a:pt x="15" y="11"/>
                    <a:pt x="15" y="11"/>
                  </a:cubicBezTo>
                  <a:cubicBezTo>
                    <a:pt x="15" y="11"/>
                    <a:pt x="14" y="11"/>
                    <a:pt x="14" y="11"/>
                  </a:cubicBezTo>
                  <a:cubicBezTo>
                    <a:pt x="14" y="11"/>
                    <a:pt x="14" y="11"/>
                    <a:pt x="14" y="11"/>
                  </a:cubicBezTo>
                  <a:cubicBezTo>
                    <a:pt x="14" y="12"/>
                    <a:pt x="14" y="12"/>
                    <a:pt x="14" y="12"/>
                  </a:cubicBezTo>
                  <a:cubicBezTo>
                    <a:pt x="15" y="12"/>
                    <a:pt x="15" y="12"/>
                    <a:pt x="15" y="12"/>
                  </a:cubicBezTo>
                  <a:cubicBezTo>
                    <a:pt x="14" y="12"/>
                    <a:pt x="14" y="12"/>
                    <a:pt x="14" y="12"/>
                  </a:cubicBezTo>
                  <a:moveTo>
                    <a:pt x="19" y="5"/>
                  </a:moveTo>
                  <a:cubicBezTo>
                    <a:pt x="18" y="5"/>
                    <a:pt x="17" y="5"/>
                    <a:pt x="16" y="4"/>
                  </a:cubicBezTo>
                  <a:cubicBezTo>
                    <a:pt x="15" y="4"/>
                    <a:pt x="15" y="3"/>
                    <a:pt x="15" y="3"/>
                  </a:cubicBezTo>
                  <a:cubicBezTo>
                    <a:pt x="15" y="2"/>
                    <a:pt x="15" y="2"/>
                    <a:pt x="15" y="1"/>
                  </a:cubicBezTo>
                  <a:cubicBezTo>
                    <a:pt x="15" y="1"/>
                    <a:pt x="16" y="1"/>
                    <a:pt x="16" y="1"/>
                  </a:cubicBezTo>
                  <a:cubicBezTo>
                    <a:pt x="17" y="1"/>
                    <a:pt x="19" y="1"/>
                    <a:pt x="20" y="2"/>
                  </a:cubicBezTo>
                  <a:cubicBezTo>
                    <a:pt x="20" y="3"/>
                    <a:pt x="21" y="4"/>
                    <a:pt x="21" y="4"/>
                  </a:cubicBezTo>
                  <a:cubicBezTo>
                    <a:pt x="21" y="5"/>
                    <a:pt x="20" y="5"/>
                    <a:pt x="20" y="5"/>
                  </a:cubicBezTo>
                  <a:cubicBezTo>
                    <a:pt x="20" y="5"/>
                    <a:pt x="19" y="5"/>
                    <a:pt x="19" y="5"/>
                  </a:cubicBezTo>
                  <a:moveTo>
                    <a:pt x="16" y="0"/>
                  </a:moveTo>
                  <a:cubicBezTo>
                    <a:pt x="16" y="0"/>
                    <a:pt x="15" y="0"/>
                    <a:pt x="14" y="0"/>
                  </a:cubicBezTo>
                  <a:cubicBezTo>
                    <a:pt x="14" y="0"/>
                    <a:pt x="14" y="0"/>
                    <a:pt x="14" y="0"/>
                  </a:cubicBezTo>
                  <a:cubicBezTo>
                    <a:pt x="14" y="1"/>
                    <a:pt x="14" y="1"/>
                    <a:pt x="14" y="1"/>
                  </a:cubicBezTo>
                  <a:cubicBezTo>
                    <a:pt x="14" y="1"/>
                    <a:pt x="14" y="1"/>
                    <a:pt x="14" y="1"/>
                  </a:cubicBezTo>
                  <a:cubicBezTo>
                    <a:pt x="13" y="2"/>
                    <a:pt x="12" y="3"/>
                    <a:pt x="11" y="4"/>
                  </a:cubicBezTo>
                  <a:cubicBezTo>
                    <a:pt x="11" y="4"/>
                    <a:pt x="11" y="4"/>
                    <a:pt x="10" y="4"/>
                  </a:cubicBezTo>
                  <a:cubicBezTo>
                    <a:pt x="9" y="4"/>
                    <a:pt x="8" y="4"/>
                    <a:pt x="8" y="5"/>
                  </a:cubicBezTo>
                  <a:cubicBezTo>
                    <a:pt x="6" y="6"/>
                    <a:pt x="6" y="8"/>
                    <a:pt x="6" y="9"/>
                  </a:cubicBezTo>
                  <a:cubicBezTo>
                    <a:pt x="6" y="11"/>
                    <a:pt x="6" y="12"/>
                    <a:pt x="7" y="14"/>
                  </a:cubicBezTo>
                  <a:cubicBezTo>
                    <a:pt x="5" y="17"/>
                    <a:pt x="1" y="21"/>
                    <a:pt x="1" y="21"/>
                  </a:cubicBezTo>
                  <a:cubicBezTo>
                    <a:pt x="1" y="21"/>
                    <a:pt x="1" y="21"/>
                    <a:pt x="1" y="21"/>
                  </a:cubicBezTo>
                  <a:cubicBezTo>
                    <a:pt x="1" y="21"/>
                    <a:pt x="1" y="21"/>
                    <a:pt x="1" y="21"/>
                  </a:cubicBezTo>
                  <a:cubicBezTo>
                    <a:pt x="1" y="22"/>
                    <a:pt x="0" y="25"/>
                    <a:pt x="0" y="25"/>
                  </a:cubicBezTo>
                  <a:cubicBezTo>
                    <a:pt x="0" y="25"/>
                    <a:pt x="0" y="25"/>
                    <a:pt x="0" y="25"/>
                  </a:cubicBezTo>
                  <a:cubicBezTo>
                    <a:pt x="0" y="25"/>
                    <a:pt x="0" y="25"/>
                    <a:pt x="0" y="25"/>
                  </a:cubicBezTo>
                  <a:cubicBezTo>
                    <a:pt x="0" y="25"/>
                    <a:pt x="0" y="25"/>
                    <a:pt x="0" y="25"/>
                  </a:cubicBezTo>
                  <a:cubicBezTo>
                    <a:pt x="4" y="23"/>
                    <a:pt x="4" y="23"/>
                    <a:pt x="4" y="23"/>
                  </a:cubicBezTo>
                  <a:cubicBezTo>
                    <a:pt x="4" y="23"/>
                    <a:pt x="4" y="23"/>
                    <a:pt x="4" y="23"/>
                  </a:cubicBezTo>
                  <a:cubicBezTo>
                    <a:pt x="10" y="16"/>
                    <a:pt x="10" y="16"/>
                    <a:pt x="10" y="16"/>
                  </a:cubicBezTo>
                  <a:cubicBezTo>
                    <a:pt x="11" y="16"/>
                    <a:pt x="12" y="17"/>
                    <a:pt x="12" y="17"/>
                  </a:cubicBezTo>
                  <a:cubicBezTo>
                    <a:pt x="13" y="17"/>
                    <a:pt x="13" y="17"/>
                    <a:pt x="14" y="17"/>
                  </a:cubicBezTo>
                  <a:cubicBezTo>
                    <a:pt x="15" y="17"/>
                    <a:pt x="17" y="16"/>
                    <a:pt x="18" y="15"/>
                  </a:cubicBezTo>
                  <a:cubicBezTo>
                    <a:pt x="20" y="14"/>
                    <a:pt x="20" y="11"/>
                    <a:pt x="19" y="9"/>
                  </a:cubicBezTo>
                  <a:cubicBezTo>
                    <a:pt x="19" y="9"/>
                    <a:pt x="19" y="8"/>
                    <a:pt x="20" y="8"/>
                  </a:cubicBezTo>
                  <a:cubicBezTo>
                    <a:pt x="20" y="7"/>
                    <a:pt x="21" y="6"/>
                    <a:pt x="21" y="5"/>
                  </a:cubicBezTo>
                  <a:cubicBezTo>
                    <a:pt x="21" y="5"/>
                    <a:pt x="21" y="5"/>
                    <a:pt x="21" y="5"/>
                  </a:cubicBezTo>
                  <a:cubicBezTo>
                    <a:pt x="22" y="4"/>
                    <a:pt x="22" y="4"/>
                    <a:pt x="22" y="4"/>
                  </a:cubicBezTo>
                  <a:cubicBezTo>
                    <a:pt x="22" y="3"/>
                    <a:pt x="21" y="2"/>
                    <a:pt x="20" y="1"/>
                  </a:cubicBezTo>
                  <a:cubicBezTo>
                    <a:pt x="19" y="0"/>
                    <a:pt x="18" y="0"/>
                    <a:pt x="1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57" name="isļiďe"/>
            <p:cNvSpPr/>
            <p:nvPr/>
          </p:nvSpPr>
          <p:spPr bwMode="auto">
            <a:xfrm>
              <a:off x="3432" y="2091"/>
              <a:ext cx="83" cy="117"/>
            </a:xfrm>
            <a:custGeom>
              <a:avLst/>
              <a:gdLst>
                <a:gd name="T0" fmla="*/ 27 w 35"/>
                <a:gd name="T1" fmla="*/ 48 h 49"/>
                <a:gd name="T2" fmla="*/ 24 w 35"/>
                <a:gd name="T3" fmla="*/ 44 h 49"/>
                <a:gd name="T4" fmla="*/ 29 w 35"/>
                <a:gd name="T5" fmla="*/ 48 h 49"/>
                <a:gd name="T6" fmla="*/ 22 w 35"/>
                <a:gd name="T7" fmla="*/ 47 h 49"/>
                <a:gd name="T8" fmla="*/ 30 w 35"/>
                <a:gd name="T9" fmla="*/ 48 h 49"/>
                <a:gd name="T10" fmla="*/ 17 w 35"/>
                <a:gd name="T11" fmla="*/ 46 h 49"/>
                <a:gd name="T12" fmla="*/ 14 w 35"/>
                <a:gd name="T13" fmla="*/ 44 h 49"/>
                <a:gd name="T14" fmla="*/ 13 w 35"/>
                <a:gd name="T15" fmla="*/ 40 h 49"/>
                <a:gd name="T16" fmla="*/ 15 w 35"/>
                <a:gd name="T17" fmla="*/ 41 h 49"/>
                <a:gd name="T18" fmla="*/ 12 w 35"/>
                <a:gd name="T19" fmla="*/ 39 h 49"/>
                <a:gd name="T20" fmla="*/ 11 w 35"/>
                <a:gd name="T21" fmla="*/ 38 h 49"/>
                <a:gd name="T22" fmla="*/ 8 w 35"/>
                <a:gd name="T23" fmla="*/ 36 h 49"/>
                <a:gd name="T24" fmla="*/ 7 w 35"/>
                <a:gd name="T25" fmla="*/ 33 h 49"/>
                <a:gd name="T26" fmla="*/ 3 w 35"/>
                <a:gd name="T27" fmla="*/ 29 h 49"/>
                <a:gd name="T28" fmla="*/ 4 w 35"/>
                <a:gd name="T29" fmla="*/ 29 h 49"/>
                <a:gd name="T30" fmla="*/ 5 w 35"/>
                <a:gd name="T31" fmla="*/ 29 h 49"/>
                <a:gd name="T32" fmla="*/ 20 w 35"/>
                <a:gd name="T33" fmla="*/ 29 h 49"/>
                <a:gd name="T34" fmla="*/ 18 w 35"/>
                <a:gd name="T35" fmla="*/ 29 h 49"/>
                <a:gd name="T36" fmla="*/ 24 w 35"/>
                <a:gd name="T37" fmla="*/ 29 h 49"/>
                <a:gd name="T38" fmla="*/ 23 w 35"/>
                <a:gd name="T39" fmla="*/ 32 h 49"/>
                <a:gd name="T40" fmla="*/ 27 w 35"/>
                <a:gd name="T41" fmla="*/ 29 h 49"/>
                <a:gd name="T42" fmla="*/ 29 w 35"/>
                <a:gd name="T43" fmla="*/ 29 h 49"/>
                <a:gd name="T44" fmla="*/ 1 w 35"/>
                <a:gd name="T45" fmla="*/ 29 h 49"/>
                <a:gd name="T46" fmla="*/ 1 w 35"/>
                <a:gd name="T47" fmla="*/ 23 h 49"/>
                <a:gd name="T48" fmla="*/ 3 w 35"/>
                <a:gd name="T49" fmla="*/ 23 h 49"/>
                <a:gd name="T50" fmla="*/ 22 w 35"/>
                <a:gd name="T51" fmla="*/ 21 h 49"/>
                <a:gd name="T52" fmla="*/ 20 w 35"/>
                <a:gd name="T53" fmla="*/ 23 h 49"/>
                <a:gd name="T54" fmla="*/ 23 w 35"/>
                <a:gd name="T55" fmla="*/ 23 h 49"/>
                <a:gd name="T56" fmla="*/ 16 w 35"/>
                <a:gd name="T57" fmla="*/ 23 h 49"/>
                <a:gd name="T58" fmla="*/ 18 w 35"/>
                <a:gd name="T59" fmla="*/ 23 h 49"/>
                <a:gd name="T60" fmla="*/ 26 w 35"/>
                <a:gd name="T61" fmla="*/ 21 h 49"/>
                <a:gd name="T62" fmla="*/ 28 w 35"/>
                <a:gd name="T63" fmla="*/ 21 h 49"/>
                <a:gd name="T64" fmla="*/ 5 w 35"/>
                <a:gd name="T65" fmla="*/ 21 h 49"/>
                <a:gd name="T66" fmla="*/ 1 w 35"/>
                <a:gd name="T67" fmla="*/ 21 h 49"/>
                <a:gd name="T68" fmla="*/ 18 w 35"/>
                <a:gd name="T69" fmla="*/ 15 h 49"/>
                <a:gd name="T70" fmla="*/ 18 w 35"/>
                <a:gd name="T71" fmla="*/ 14 h 49"/>
                <a:gd name="T72" fmla="*/ 30 w 35"/>
                <a:gd name="T73" fmla="*/ 12 h 49"/>
                <a:gd name="T74" fmla="*/ 22 w 35"/>
                <a:gd name="T75" fmla="*/ 10 h 49"/>
                <a:gd name="T76" fmla="*/ 30 w 35"/>
                <a:gd name="T77" fmla="*/ 10 h 49"/>
                <a:gd name="T78" fmla="*/ 23 w 35"/>
                <a:gd name="T79" fmla="*/ 11 h 49"/>
                <a:gd name="T80" fmla="*/ 28 w 35"/>
                <a:gd name="T81" fmla="*/ 9 h 49"/>
                <a:gd name="T82" fmla="*/ 24 w 35"/>
                <a:gd name="T83" fmla="*/ 11 h 49"/>
                <a:gd name="T84" fmla="*/ 33 w 35"/>
                <a:gd name="T85" fmla="*/ 10 h 49"/>
                <a:gd name="T86" fmla="*/ 16 w 35"/>
                <a:gd name="T87" fmla="*/ 15 h 49"/>
                <a:gd name="T88" fmla="*/ 18 w 35"/>
                <a:gd name="T89" fmla="*/ 20 h 49"/>
                <a:gd name="T90" fmla="*/ 14 w 35"/>
                <a:gd name="T91" fmla="*/ 24 h 49"/>
                <a:gd name="T92" fmla="*/ 19 w 35"/>
                <a:gd name="T93" fmla="*/ 28 h 49"/>
                <a:gd name="T94" fmla="*/ 17 w 35"/>
                <a:gd name="T95" fmla="*/ 32 h 49"/>
                <a:gd name="T96" fmla="*/ 8 w 35"/>
                <a:gd name="T97" fmla="*/ 28 h 49"/>
                <a:gd name="T98" fmla="*/ 3 w 35"/>
                <a:gd name="T99" fmla="*/ 25 h 49"/>
                <a:gd name="T100" fmla="*/ 4 w 35"/>
                <a:gd name="T101" fmla="*/ 20 h 49"/>
                <a:gd name="T102" fmla="*/ 26 w 35"/>
                <a:gd name="T103" fmla="*/ 0 h 49"/>
                <a:gd name="T104" fmla="*/ 2 w 35"/>
                <a:gd name="T105" fmla="*/ 15 h 49"/>
                <a:gd name="T106" fmla="*/ 0 w 35"/>
                <a:gd name="T107" fmla="*/ 24 h 49"/>
                <a:gd name="T108" fmla="*/ 2 w 35"/>
                <a:gd name="T109" fmla="*/ 24 h 49"/>
                <a:gd name="T110" fmla="*/ 1 w 35"/>
                <a:gd name="T111" fmla="*/ 34 h 49"/>
                <a:gd name="T112" fmla="*/ 28 w 35"/>
                <a:gd name="T113" fmla="*/ 49 h 49"/>
                <a:gd name="T114" fmla="*/ 35 w 35"/>
                <a:gd name="T115" fmla="*/ 43 h 49"/>
                <a:gd name="T116" fmla="*/ 28 w 35"/>
                <a:gd name="T117" fmla="*/ 33 h 49"/>
                <a:gd name="T118" fmla="*/ 29 w 35"/>
                <a:gd name="T119" fmla="*/ 23 h 49"/>
                <a:gd name="T120" fmla="*/ 21 w 35"/>
                <a:gd name="T121" fmla="*/ 15 h 49"/>
                <a:gd name="T122" fmla="*/ 34 w 35"/>
                <a:gd name="T123"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 h="49">
                  <a:moveTo>
                    <a:pt x="32" y="48"/>
                  </a:moveTo>
                  <a:cubicBezTo>
                    <a:pt x="32" y="47"/>
                    <a:pt x="33" y="46"/>
                    <a:pt x="33" y="45"/>
                  </a:cubicBezTo>
                  <a:cubicBezTo>
                    <a:pt x="33" y="46"/>
                    <a:pt x="33" y="47"/>
                    <a:pt x="33" y="47"/>
                  </a:cubicBezTo>
                  <a:cubicBezTo>
                    <a:pt x="33" y="48"/>
                    <a:pt x="32" y="48"/>
                    <a:pt x="32" y="48"/>
                  </a:cubicBezTo>
                  <a:moveTo>
                    <a:pt x="27" y="45"/>
                  </a:moveTo>
                  <a:cubicBezTo>
                    <a:pt x="27" y="45"/>
                    <a:pt x="28" y="45"/>
                    <a:pt x="28" y="44"/>
                  </a:cubicBezTo>
                  <a:cubicBezTo>
                    <a:pt x="28" y="46"/>
                    <a:pt x="27" y="47"/>
                    <a:pt x="27" y="48"/>
                  </a:cubicBezTo>
                  <a:cubicBezTo>
                    <a:pt x="26" y="48"/>
                    <a:pt x="25" y="48"/>
                    <a:pt x="25" y="48"/>
                  </a:cubicBezTo>
                  <a:cubicBezTo>
                    <a:pt x="25" y="47"/>
                    <a:pt x="26" y="45"/>
                    <a:pt x="27" y="45"/>
                  </a:cubicBezTo>
                  <a:cubicBezTo>
                    <a:pt x="27" y="45"/>
                    <a:pt x="27" y="45"/>
                    <a:pt x="27" y="45"/>
                  </a:cubicBezTo>
                  <a:moveTo>
                    <a:pt x="24" y="48"/>
                  </a:moveTo>
                  <a:cubicBezTo>
                    <a:pt x="24" y="48"/>
                    <a:pt x="23" y="47"/>
                    <a:pt x="23" y="47"/>
                  </a:cubicBezTo>
                  <a:cubicBezTo>
                    <a:pt x="23" y="46"/>
                    <a:pt x="23" y="45"/>
                    <a:pt x="24" y="44"/>
                  </a:cubicBezTo>
                  <a:cubicBezTo>
                    <a:pt x="24" y="44"/>
                    <a:pt x="24" y="44"/>
                    <a:pt x="24" y="44"/>
                  </a:cubicBezTo>
                  <a:cubicBezTo>
                    <a:pt x="25" y="44"/>
                    <a:pt x="25" y="44"/>
                    <a:pt x="26" y="44"/>
                  </a:cubicBezTo>
                  <a:cubicBezTo>
                    <a:pt x="25" y="45"/>
                    <a:pt x="25" y="46"/>
                    <a:pt x="24" y="48"/>
                  </a:cubicBezTo>
                  <a:moveTo>
                    <a:pt x="28" y="48"/>
                  </a:moveTo>
                  <a:cubicBezTo>
                    <a:pt x="28" y="48"/>
                    <a:pt x="27" y="48"/>
                    <a:pt x="27" y="48"/>
                  </a:cubicBezTo>
                  <a:cubicBezTo>
                    <a:pt x="28" y="47"/>
                    <a:pt x="28" y="45"/>
                    <a:pt x="29" y="44"/>
                  </a:cubicBezTo>
                  <a:cubicBezTo>
                    <a:pt x="30" y="44"/>
                    <a:pt x="31" y="44"/>
                    <a:pt x="31" y="44"/>
                  </a:cubicBezTo>
                  <a:cubicBezTo>
                    <a:pt x="30" y="45"/>
                    <a:pt x="30" y="46"/>
                    <a:pt x="29" y="48"/>
                  </a:cubicBezTo>
                  <a:cubicBezTo>
                    <a:pt x="29" y="48"/>
                    <a:pt x="28" y="48"/>
                    <a:pt x="28" y="48"/>
                  </a:cubicBezTo>
                  <a:moveTo>
                    <a:pt x="22" y="47"/>
                  </a:moveTo>
                  <a:cubicBezTo>
                    <a:pt x="21" y="47"/>
                    <a:pt x="21" y="47"/>
                    <a:pt x="20" y="47"/>
                  </a:cubicBezTo>
                  <a:cubicBezTo>
                    <a:pt x="20" y="47"/>
                    <a:pt x="20" y="47"/>
                    <a:pt x="20" y="47"/>
                  </a:cubicBezTo>
                  <a:cubicBezTo>
                    <a:pt x="22" y="44"/>
                    <a:pt x="22" y="44"/>
                    <a:pt x="22" y="44"/>
                  </a:cubicBezTo>
                  <a:cubicBezTo>
                    <a:pt x="22" y="44"/>
                    <a:pt x="23" y="44"/>
                    <a:pt x="24" y="44"/>
                  </a:cubicBezTo>
                  <a:cubicBezTo>
                    <a:pt x="23" y="45"/>
                    <a:pt x="22" y="46"/>
                    <a:pt x="22" y="47"/>
                  </a:cubicBezTo>
                  <a:moveTo>
                    <a:pt x="20" y="47"/>
                  </a:moveTo>
                  <a:cubicBezTo>
                    <a:pt x="19" y="46"/>
                    <a:pt x="18" y="46"/>
                    <a:pt x="18" y="46"/>
                  </a:cubicBezTo>
                  <a:cubicBezTo>
                    <a:pt x="18" y="45"/>
                    <a:pt x="19" y="44"/>
                    <a:pt x="19" y="43"/>
                  </a:cubicBezTo>
                  <a:cubicBezTo>
                    <a:pt x="20" y="43"/>
                    <a:pt x="21" y="44"/>
                    <a:pt x="21" y="44"/>
                  </a:cubicBezTo>
                  <a:cubicBezTo>
                    <a:pt x="20" y="46"/>
                    <a:pt x="20" y="46"/>
                    <a:pt x="20" y="46"/>
                  </a:cubicBezTo>
                  <a:cubicBezTo>
                    <a:pt x="20" y="47"/>
                    <a:pt x="20" y="47"/>
                    <a:pt x="20" y="47"/>
                  </a:cubicBezTo>
                  <a:moveTo>
                    <a:pt x="30" y="48"/>
                  </a:moveTo>
                  <a:cubicBezTo>
                    <a:pt x="30" y="46"/>
                    <a:pt x="31" y="45"/>
                    <a:pt x="32" y="44"/>
                  </a:cubicBezTo>
                  <a:cubicBezTo>
                    <a:pt x="33" y="44"/>
                    <a:pt x="33" y="43"/>
                    <a:pt x="33" y="43"/>
                  </a:cubicBezTo>
                  <a:cubicBezTo>
                    <a:pt x="33" y="44"/>
                    <a:pt x="33" y="44"/>
                    <a:pt x="33" y="44"/>
                  </a:cubicBezTo>
                  <a:cubicBezTo>
                    <a:pt x="33" y="44"/>
                    <a:pt x="33" y="44"/>
                    <a:pt x="33" y="44"/>
                  </a:cubicBezTo>
                  <a:cubicBezTo>
                    <a:pt x="33" y="45"/>
                    <a:pt x="32" y="46"/>
                    <a:pt x="31" y="48"/>
                  </a:cubicBezTo>
                  <a:cubicBezTo>
                    <a:pt x="31" y="48"/>
                    <a:pt x="30" y="48"/>
                    <a:pt x="30" y="48"/>
                  </a:cubicBezTo>
                  <a:moveTo>
                    <a:pt x="17" y="46"/>
                  </a:moveTo>
                  <a:cubicBezTo>
                    <a:pt x="17" y="45"/>
                    <a:pt x="17" y="45"/>
                    <a:pt x="16" y="45"/>
                  </a:cubicBezTo>
                  <a:cubicBezTo>
                    <a:pt x="17" y="44"/>
                    <a:pt x="17" y="43"/>
                    <a:pt x="18" y="43"/>
                  </a:cubicBezTo>
                  <a:cubicBezTo>
                    <a:pt x="19" y="43"/>
                    <a:pt x="19" y="43"/>
                    <a:pt x="19" y="43"/>
                  </a:cubicBezTo>
                  <a:cubicBezTo>
                    <a:pt x="18" y="44"/>
                    <a:pt x="18" y="45"/>
                    <a:pt x="17" y="46"/>
                  </a:cubicBezTo>
                  <a:cubicBezTo>
                    <a:pt x="17" y="46"/>
                    <a:pt x="17" y="46"/>
                    <a:pt x="17" y="46"/>
                  </a:cubicBezTo>
                  <a:moveTo>
                    <a:pt x="16" y="45"/>
                  </a:moveTo>
                  <a:cubicBezTo>
                    <a:pt x="15" y="45"/>
                    <a:pt x="15" y="44"/>
                    <a:pt x="14" y="44"/>
                  </a:cubicBezTo>
                  <a:cubicBezTo>
                    <a:pt x="15" y="43"/>
                    <a:pt x="15" y="43"/>
                    <a:pt x="16" y="42"/>
                  </a:cubicBezTo>
                  <a:cubicBezTo>
                    <a:pt x="16" y="42"/>
                    <a:pt x="16" y="42"/>
                    <a:pt x="16" y="42"/>
                  </a:cubicBezTo>
                  <a:cubicBezTo>
                    <a:pt x="16" y="42"/>
                    <a:pt x="17" y="42"/>
                    <a:pt x="17" y="42"/>
                  </a:cubicBezTo>
                  <a:cubicBezTo>
                    <a:pt x="17" y="43"/>
                    <a:pt x="16" y="44"/>
                    <a:pt x="16" y="45"/>
                  </a:cubicBezTo>
                  <a:moveTo>
                    <a:pt x="14" y="44"/>
                  </a:moveTo>
                  <a:cubicBezTo>
                    <a:pt x="13" y="43"/>
                    <a:pt x="12" y="42"/>
                    <a:pt x="12" y="42"/>
                  </a:cubicBezTo>
                  <a:cubicBezTo>
                    <a:pt x="12" y="41"/>
                    <a:pt x="12" y="40"/>
                    <a:pt x="13" y="40"/>
                  </a:cubicBezTo>
                  <a:cubicBezTo>
                    <a:pt x="13" y="40"/>
                    <a:pt x="14" y="40"/>
                    <a:pt x="14" y="41"/>
                  </a:cubicBezTo>
                  <a:cubicBezTo>
                    <a:pt x="14" y="41"/>
                    <a:pt x="14" y="41"/>
                    <a:pt x="14" y="41"/>
                  </a:cubicBezTo>
                  <a:cubicBezTo>
                    <a:pt x="14" y="41"/>
                    <a:pt x="13" y="42"/>
                    <a:pt x="13" y="43"/>
                  </a:cubicBezTo>
                  <a:cubicBezTo>
                    <a:pt x="13" y="43"/>
                    <a:pt x="13" y="43"/>
                    <a:pt x="13" y="43"/>
                  </a:cubicBezTo>
                  <a:cubicBezTo>
                    <a:pt x="13" y="43"/>
                    <a:pt x="13" y="43"/>
                    <a:pt x="13" y="43"/>
                  </a:cubicBezTo>
                  <a:cubicBezTo>
                    <a:pt x="14" y="43"/>
                    <a:pt x="14" y="43"/>
                    <a:pt x="14" y="43"/>
                  </a:cubicBezTo>
                  <a:cubicBezTo>
                    <a:pt x="14" y="42"/>
                    <a:pt x="14" y="42"/>
                    <a:pt x="15" y="41"/>
                  </a:cubicBezTo>
                  <a:cubicBezTo>
                    <a:pt x="15" y="42"/>
                    <a:pt x="15" y="42"/>
                    <a:pt x="15" y="42"/>
                  </a:cubicBezTo>
                  <a:cubicBezTo>
                    <a:pt x="15" y="42"/>
                    <a:pt x="15" y="42"/>
                    <a:pt x="15" y="42"/>
                  </a:cubicBezTo>
                  <a:cubicBezTo>
                    <a:pt x="15" y="42"/>
                    <a:pt x="14" y="43"/>
                    <a:pt x="14" y="44"/>
                  </a:cubicBezTo>
                  <a:moveTo>
                    <a:pt x="11" y="41"/>
                  </a:moveTo>
                  <a:cubicBezTo>
                    <a:pt x="11" y="41"/>
                    <a:pt x="11" y="41"/>
                    <a:pt x="10" y="40"/>
                  </a:cubicBezTo>
                  <a:cubicBezTo>
                    <a:pt x="11" y="40"/>
                    <a:pt x="11" y="39"/>
                    <a:pt x="11" y="38"/>
                  </a:cubicBezTo>
                  <a:cubicBezTo>
                    <a:pt x="12" y="39"/>
                    <a:pt x="12" y="39"/>
                    <a:pt x="12" y="39"/>
                  </a:cubicBezTo>
                  <a:cubicBezTo>
                    <a:pt x="12" y="40"/>
                    <a:pt x="12" y="41"/>
                    <a:pt x="11" y="41"/>
                  </a:cubicBezTo>
                  <a:moveTo>
                    <a:pt x="10" y="40"/>
                  </a:moveTo>
                  <a:cubicBezTo>
                    <a:pt x="10" y="39"/>
                    <a:pt x="9" y="39"/>
                    <a:pt x="9" y="39"/>
                  </a:cubicBezTo>
                  <a:cubicBezTo>
                    <a:pt x="9" y="39"/>
                    <a:pt x="9" y="39"/>
                    <a:pt x="9" y="39"/>
                  </a:cubicBezTo>
                  <a:cubicBezTo>
                    <a:pt x="9" y="38"/>
                    <a:pt x="9" y="38"/>
                    <a:pt x="9" y="38"/>
                  </a:cubicBezTo>
                  <a:cubicBezTo>
                    <a:pt x="10" y="37"/>
                    <a:pt x="10" y="37"/>
                    <a:pt x="10" y="37"/>
                  </a:cubicBezTo>
                  <a:cubicBezTo>
                    <a:pt x="11" y="37"/>
                    <a:pt x="11" y="37"/>
                    <a:pt x="11" y="38"/>
                  </a:cubicBezTo>
                  <a:cubicBezTo>
                    <a:pt x="11" y="39"/>
                    <a:pt x="10" y="39"/>
                    <a:pt x="10" y="40"/>
                  </a:cubicBezTo>
                  <a:moveTo>
                    <a:pt x="9" y="38"/>
                  </a:moveTo>
                  <a:cubicBezTo>
                    <a:pt x="9" y="38"/>
                    <a:pt x="8" y="37"/>
                    <a:pt x="8" y="37"/>
                  </a:cubicBezTo>
                  <a:cubicBezTo>
                    <a:pt x="9" y="35"/>
                    <a:pt x="9" y="35"/>
                    <a:pt x="9" y="35"/>
                  </a:cubicBezTo>
                  <a:cubicBezTo>
                    <a:pt x="9" y="35"/>
                    <a:pt x="10" y="36"/>
                    <a:pt x="10" y="36"/>
                  </a:cubicBezTo>
                  <a:cubicBezTo>
                    <a:pt x="9" y="38"/>
                    <a:pt x="9" y="38"/>
                    <a:pt x="9" y="38"/>
                  </a:cubicBezTo>
                  <a:moveTo>
                    <a:pt x="8" y="36"/>
                  </a:moveTo>
                  <a:cubicBezTo>
                    <a:pt x="7" y="35"/>
                    <a:pt x="7" y="35"/>
                    <a:pt x="7" y="35"/>
                  </a:cubicBezTo>
                  <a:cubicBezTo>
                    <a:pt x="8" y="34"/>
                    <a:pt x="8" y="34"/>
                    <a:pt x="8" y="33"/>
                  </a:cubicBezTo>
                  <a:cubicBezTo>
                    <a:pt x="9" y="34"/>
                    <a:pt x="9" y="34"/>
                    <a:pt x="9" y="34"/>
                  </a:cubicBezTo>
                  <a:cubicBezTo>
                    <a:pt x="8" y="34"/>
                    <a:pt x="8" y="34"/>
                    <a:pt x="8" y="34"/>
                  </a:cubicBezTo>
                  <a:cubicBezTo>
                    <a:pt x="8" y="36"/>
                    <a:pt x="8" y="36"/>
                    <a:pt x="8" y="36"/>
                  </a:cubicBezTo>
                  <a:moveTo>
                    <a:pt x="7" y="34"/>
                  </a:moveTo>
                  <a:cubicBezTo>
                    <a:pt x="7" y="33"/>
                    <a:pt x="7" y="33"/>
                    <a:pt x="7" y="33"/>
                  </a:cubicBezTo>
                  <a:cubicBezTo>
                    <a:pt x="7" y="32"/>
                    <a:pt x="7" y="32"/>
                    <a:pt x="7" y="32"/>
                  </a:cubicBezTo>
                  <a:cubicBezTo>
                    <a:pt x="7" y="31"/>
                    <a:pt x="7" y="31"/>
                    <a:pt x="7" y="30"/>
                  </a:cubicBezTo>
                  <a:cubicBezTo>
                    <a:pt x="7" y="31"/>
                    <a:pt x="8" y="32"/>
                    <a:pt x="8" y="33"/>
                  </a:cubicBezTo>
                  <a:cubicBezTo>
                    <a:pt x="8" y="33"/>
                    <a:pt x="8" y="33"/>
                    <a:pt x="8" y="33"/>
                  </a:cubicBezTo>
                  <a:cubicBezTo>
                    <a:pt x="7" y="33"/>
                    <a:pt x="7" y="34"/>
                    <a:pt x="7" y="34"/>
                  </a:cubicBezTo>
                  <a:moveTo>
                    <a:pt x="3" y="29"/>
                  </a:moveTo>
                  <a:cubicBezTo>
                    <a:pt x="3" y="29"/>
                    <a:pt x="3" y="29"/>
                    <a:pt x="3" y="29"/>
                  </a:cubicBezTo>
                  <a:cubicBezTo>
                    <a:pt x="3" y="31"/>
                    <a:pt x="2" y="32"/>
                    <a:pt x="2" y="33"/>
                  </a:cubicBezTo>
                  <a:cubicBezTo>
                    <a:pt x="2" y="33"/>
                    <a:pt x="2" y="33"/>
                    <a:pt x="2" y="33"/>
                  </a:cubicBezTo>
                  <a:cubicBezTo>
                    <a:pt x="2" y="29"/>
                    <a:pt x="2" y="29"/>
                    <a:pt x="2" y="29"/>
                  </a:cubicBezTo>
                  <a:cubicBezTo>
                    <a:pt x="3" y="29"/>
                    <a:pt x="3" y="29"/>
                    <a:pt x="3" y="29"/>
                  </a:cubicBezTo>
                  <a:moveTo>
                    <a:pt x="2" y="33"/>
                  </a:moveTo>
                  <a:cubicBezTo>
                    <a:pt x="3" y="32"/>
                    <a:pt x="3" y="31"/>
                    <a:pt x="4" y="29"/>
                  </a:cubicBezTo>
                  <a:cubicBezTo>
                    <a:pt x="4" y="29"/>
                    <a:pt x="4" y="29"/>
                    <a:pt x="4" y="29"/>
                  </a:cubicBezTo>
                  <a:cubicBezTo>
                    <a:pt x="4" y="29"/>
                    <a:pt x="5" y="29"/>
                    <a:pt x="5" y="29"/>
                  </a:cubicBezTo>
                  <a:cubicBezTo>
                    <a:pt x="5" y="29"/>
                    <a:pt x="5" y="29"/>
                    <a:pt x="5" y="29"/>
                  </a:cubicBezTo>
                  <a:cubicBezTo>
                    <a:pt x="4" y="31"/>
                    <a:pt x="4" y="32"/>
                    <a:pt x="3" y="33"/>
                  </a:cubicBezTo>
                  <a:cubicBezTo>
                    <a:pt x="2" y="33"/>
                    <a:pt x="2" y="33"/>
                    <a:pt x="2" y="33"/>
                  </a:cubicBezTo>
                  <a:moveTo>
                    <a:pt x="4" y="33"/>
                  </a:moveTo>
                  <a:cubicBezTo>
                    <a:pt x="4" y="32"/>
                    <a:pt x="5" y="31"/>
                    <a:pt x="5" y="29"/>
                  </a:cubicBezTo>
                  <a:cubicBezTo>
                    <a:pt x="5" y="29"/>
                    <a:pt x="5" y="29"/>
                    <a:pt x="5" y="29"/>
                  </a:cubicBezTo>
                  <a:cubicBezTo>
                    <a:pt x="6" y="29"/>
                    <a:pt x="6" y="29"/>
                    <a:pt x="6" y="29"/>
                  </a:cubicBezTo>
                  <a:cubicBezTo>
                    <a:pt x="6" y="30"/>
                    <a:pt x="6" y="31"/>
                    <a:pt x="6" y="32"/>
                  </a:cubicBezTo>
                  <a:cubicBezTo>
                    <a:pt x="6" y="33"/>
                    <a:pt x="6" y="33"/>
                    <a:pt x="6" y="33"/>
                  </a:cubicBezTo>
                  <a:cubicBezTo>
                    <a:pt x="4" y="33"/>
                    <a:pt x="4" y="33"/>
                    <a:pt x="4" y="33"/>
                  </a:cubicBezTo>
                  <a:moveTo>
                    <a:pt x="19" y="32"/>
                  </a:moveTo>
                  <a:cubicBezTo>
                    <a:pt x="19" y="32"/>
                    <a:pt x="19" y="32"/>
                    <a:pt x="19" y="32"/>
                  </a:cubicBezTo>
                  <a:cubicBezTo>
                    <a:pt x="19" y="31"/>
                    <a:pt x="20" y="30"/>
                    <a:pt x="20" y="29"/>
                  </a:cubicBezTo>
                  <a:cubicBezTo>
                    <a:pt x="20" y="29"/>
                    <a:pt x="20" y="29"/>
                    <a:pt x="20" y="29"/>
                  </a:cubicBezTo>
                  <a:cubicBezTo>
                    <a:pt x="21" y="29"/>
                    <a:pt x="21" y="29"/>
                    <a:pt x="22" y="29"/>
                  </a:cubicBezTo>
                  <a:cubicBezTo>
                    <a:pt x="21" y="30"/>
                    <a:pt x="21" y="31"/>
                    <a:pt x="20" y="32"/>
                  </a:cubicBezTo>
                  <a:cubicBezTo>
                    <a:pt x="19" y="32"/>
                    <a:pt x="19" y="32"/>
                    <a:pt x="19" y="32"/>
                  </a:cubicBezTo>
                  <a:moveTo>
                    <a:pt x="18" y="32"/>
                  </a:moveTo>
                  <a:cubicBezTo>
                    <a:pt x="17" y="31"/>
                    <a:pt x="17" y="31"/>
                    <a:pt x="17" y="31"/>
                  </a:cubicBezTo>
                  <a:cubicBezTo>
                    <a:pt x="17" y="30"/>
                    <a:pt x="18" y="30"/>
                    <a:pt x="18" y="29"/>
                  </a:cubicBezTo>
                  <a:cubicBezTo>
                    <a:pt x="19" y="29"/>
                    <a:pt x="19" y="29"/>
                    <a:pt x="19" y="29"/>
                  </a:cubicBezTo>
                  <a:cubicBezTo>
                    <a:pt x="19" y="29"/>
                    <a:pt x="19" y="29"/>
                    <a:pt x="20" y="29"/>
                  </a:cubicBezTo>
                  <a:cubicBezTo>
                    <a:pt x="19" y="30"/>
                    <a:pt x="19" y="31"/>
                    <a:pt x="18" y="32"/>
                  </a:cubicBezTo>
                  <a:cubicBezTo>
                    <a:pt x="18" y="32"/>
                    <a:pt x="18" y="32"/>
                    <a:pt x="18" y="32"/>
                  </a:cubicBezTo>
                  <a:moveTo>
                    <a:pt x="21" y="32"/>
                  </a:moveTo>
                  <a:cubicBezTo>
                    <a:pt x="21" y="31"/>
                    <a:pt x="22" y="30"/>
                    <a:pt x="22" y="29"/>
                  </a:cubicBezTo>
                  <a:cubicBezTo>
                    <a:pt x="23" y="29"/>
                    <a:pt x="24" y="29"/>
                    <a:pt x="24" y="29"/>
                  </a:cubicBezTo>
                  <a:cubicBezTo>
                    <a:pt x="23" y="30"/>
                    <a:pt x="23" y="31"/>
                    <a:pt x="22" y="32"/>
                  </a:cubicBezTo>
                  <a:cubicBezTo>
                    <a:pt x="21" y="32"/>
                    <a:pt x="21" y="32"/>
                    <a:pt x="21" y="32"/>
                  </a:cubicBezTo>
                  <a:moveTo>
                    <a:pt x="17" y="30"/>
                  </a:moveTo>
                  <a:cubicBezTo>
                    <a:pt x="16" y="30"/>
                    <a:pt x="16" y="29"/>
                    <a:pt x="16" y="29"/>
                  </a:cubicBezTo>
                  <a:cubicBezTo>
                    <a:pt x="17" y="29"/>
                    <a:pt x="17" y="29"/>
                    <a:pt x="17" y="29"/>
                  </a:cubicBezTo>
                  <a:cubicBezTo>
                    <a:pt x="17" y="29"/>
                    <a:pt x="17" y="30"/>
                    <a:pt x="17" y="30"/>
                  </a:cubicBezTo>
                  <a:moveTo>
                    <a:pt x="23" y="32"/>
                  </a:moveTo>
                  <a:cubicBezTo>
                    <a:pt x="23" y="31"/>
                    <a:pt x="24" y="30"/>
                    <a:pt x="25" y="29"/>
                  </a:cubicBezTo>
                  <a:cubicBezTo>
                    <a:pt x="25" y="29"/>
                    <a:pt x="26" y="29"/>
                    <a:pt x="26" y="29"/>
                  </a:cubicBezTo>
                  <a:cubicBezTo>
                    <a:pt x="25" y="30"/>
                    <a:pt x="25" y="31"/>
                    <a:pt x="24" y="32"/>
                  </a:cubicBezTo>
                  <a:cubicBezTo>
                    <a:pt x="24" y="32"/>
                    <a:pt x="24" y="32"/>
                    <a:pt x="24" y="32"/>
                  </a:cubicBezTo>
                  <a:cubicBezTo>
                    <a:pt x="23" y="32"/>
                    <a:pt x="23" y="32"/>
                    <a:pt x="23" y="32"/>
                  </a:cubicBezTo>
                  <a:moveTo>
                    <a:pt x="25" y="32"/>
                  </a:moveTo>
                  <a:cubicBezTo>
                    <a:pt x="25" y="31"/>
                    <a:pt x="26" y="30"/>
                    <a:pt x="27" y="29"/>
                  </a:cubicBezTo>
                  <a:cubicBezTo>
                    <a:pt x="27" y="29"/>
                    <a:pt x="28" y="29"/>
                    <a:pt x="28" y="29"/>
                  </a:cubicBezTo>
                  <a:cubicBezTo>
                    <a:pt x="28" y="30"/>
                    <a:pt x="27" y="30"/>
                    <a:pt x="27" y="31"/>
                  </a:cubicBezTo>
                  <a:cubicBezTo>
                    <a:pt x="26" y="32"/>
                    <a:pt x="26" y="32"/>
                    <a:pt x="26" y="32"/>
                  </a:cubicBezTo>
                  <a:cubicBezTo>
                    <a:pt x="25" y="32"/>
                    <a:pt x="25" y="32"/>
                    <a:pt x="25" y="32"/>
                  </a:cubicBezTo>
                  <a:moveTo>
                    <a:pt x="27" y="32"/>
                  </a:moveTo>
                  <a:cubicBezTo>
                    <a:pt x="27" y="31"/>
                    <a:pt x="27" y="31"/>
                    <a:pt x="27" y="31"/>
                  </a:cubicBezTo>
                  <a:cubicBezTo>
                    <a:pt x="28" y="31"/>
                    <a:pt x="28" y="30"/>
                    <a:pt x="29" y="29"/>
                  </a:cubicBezTo>
                  <a:cubicBezTo>
                    <a:pt x="29" y="29"/>
                    <a:pt x="29" y="29"/>
                    <a:pt x="29" y="29"/>
                  </a:cubicBezTo>
                  <a:cubicBezTo>
                    <a:pt x="28" y="32"/>
                    <a:pt x="28" y="32"/>
                    <a:pt x="28" y="32"/>
                  </a:cubicBezTo>
                  <a:cubicBezTo>
                    <a:pt x="27" y="32"/>
                    <a:pt x="27" y="32"/>
                    <a:pt x="27" y="32"/>
                  </a:cubicBezTo>
                  <a:moveTo>
                    <a:pt x="1" y="29"/>
                  </a:moveTo>
                  <a:cubicBezTo>
                    <a:pt x="1" y="28"/>
                    <a:pt x="1" y="28"/>
                    <a:pt x="1" y="28"/>
                  </a:cubicBezTo>
                  <a:cubicBezTo>
                    <a:pt x="1" y="28"/>
                    <a:pt x="1" y="28"/>
                    <a:pt x="1" y="28"/>
                  </a:cubicBezTo>
                  <a:cubicBezTo>
                    <a:pt x="1" y="29"/>
                    <a:pt x="1" y="29"/>
                    <a:pt x="1" y="29"/>
                  </a:cubicBezTo>
                  <a:cubicBezTo>
                    <a:pt x="1" y="29"/>
                    <a:pt x="1" y="29"/>
                    <a:pt x="1" y="29"/>
                  </a:cubicBezTo>
                  <a:moveTo>
                    <a:pt x="1" y="23"/>
                  </a:moveTo>
                  <a:cubicBezTo>
                    <a:pt x="2" y="21"/>
                    <a:pt x="2" y="21"/>
                    <a:pt x="2" y="21"/>
                  </a:cubicBezTo>
                  <a:cubicBezTo>
                    <a:pt x="3" y="21"/>
                    <a:pt x="3" y="21"/>
                    <a:pt x="3" y="21"/>
                  </a:cubicBezTo>
                  <a:cubicBezTo>
                    <a:pt x="2" y="23"/>
                    <a:pt x="2" y="23"/>
                    <a:pt x="2" y="23"/>
                  </a:cubicBezTo>
                  <a:cubicBezTo>
                    <a:pt x="2" y="23"/>
                    <a:pt x="2" y="23"/>
                    <a:pt x="2" y="23"/>
                  </a:cubicBezTo>
                  <a:cubicBezTo>
                    <a:pt x="1" y="23"/>
                    <a:pt x="1" y="23"/>
                    <a:pt x="1" y="23"/>
                  </a:cubicBezTo>
                  <a:moveTo>
                    <a:pt x="3" y="23"/>
                  </a:moveTo>
                  <a:cubicBezTo>
                    <a:pt x="4" y="21"/>
                    <a:pt x="4" y="21"/>
                    <a:pt x="4" y="21"/>
                  </a:cubicBezTo>
                  <a:cubicBezTo>
                    <a:pt x="4" y="21"/>
                    <a:pt x="4" y="21"/>
                    <a:pt x="4" y="21"/>
                  </a:cubicBezTo>
                  <a:cubicBezTo>
                    <a:pt x="4" y="21"/>
                    <a:pt x="4" y="21"/>
                    <a:pt x="4" y="21"/>
                  </a:cubicBezTo>
                  <a:cubicBezTo>
                    <a:pt x="5" y="21"/>
                    <a:pt x="5" y="21"/>
                    <a:pt x="5" y="21"/>
                  </a:cubicBezTo>
                  <a:cubicBezTo>
                    <a:pt x="4" y="22"/>
                    <a:pt x="4" y="22"/>
                    <a:pt x="4" y="23"/>
                  </a:cubicBezTo>
                  <a:cubicBezTo>
                    <a:pt x="3" y="23"/>
                    <a:pt x="3" y="23"/>
                    <a:pt x="3" y="23"/>
                  </a:cubicBezTo>
                  <a:moveTo>
                    <a:pt x="22" y="21"/>
                  </a:moveTo>
                  <a:cubicBezTo>
                    <a:pt x="23" y="21"/>
                    <a:pt x="23" y="21"/>
                    <a:pt x="23" y="21"/>
                  </a:cubicBezTo>
                  <a:cubicBezTo>
                    <a:pt x="22" y="23"/>
                    <a:pt x="22" y="23"/>
                    <a:pt x="22" y="23"/>
                  </a:cubicBezTo>
                  <a:cubicBezTo>
                    <a:pt x="22" y="23"/>
                    <a:pt x="22" y="23"/>
                    <a:pt x="22" y="23"/>
                  </a:cubicBezTo>
                  <a:cubicBezTo>
                    <a:pt x="21" y="23"/>
                    <a:pt x="21" y="23"/>
                    <a:pt x="20" y="23"/>
                  </a:cubicBezTo>
                  <a:cubicBezTo>
                    <a:pt x="21" y="21"/>
                    <a:pt x="21" y="21"/>
                    <a:pt x="21" y="21"/>
                  </a:cubicBezTo>
                  <a:cubicBezTo>
                    <a:pt x="22" y="21"/>
                    <a:pt x="22" y="21"/>
                    <a:pt x="22" y="21"/>
                  </a:cubicBezTo>
                  <a:moveTo>
                    <a:pt x="18" y="23"/>
                  </a:moveTo>
                  <a:cubicBezTo>
                    <a:pt x="18" y="23"/>
                    <a:pt x="18" y="23"/>
                    <a:pt x="18" y="23"/>
                  </a:cubicBezTo>
                  <a:cubicBezTo>
                    <a:pt x="19" y="22"/>
                    <a:pt x="19" y="22"/>
                    <a:pt x="20" y="21"/>
                  </a:cubicBezTo>
                  <a:cubicBezTo>
                    <a:pt x="20" y="21"/>
                    <a:pt x="20" y="21"/>
                    <a:pt x="20" y="21"/>
                  </a:cubicBezTo>
                  <a:cubicBezTo>
                    <a:pt x="21" y="21"/>
                    <a:pt x="21" y="21"/>
                    <a:pt x="21" y="21"/>
                  </a:cubicBezTo>
                  <a:cubicBezTo>
                    <a:pt x="20" y="23"/>
                    <a:pt x="20" y="23"/>
                    <a:pt x="20" y="23"/>
                  </a:cubicBezTo>
                  <a:cubicBezTo>
                    <a:pt x="20" y="23"/>
                    <a:pt x="20" y="23"/>
                    <a:pt x="20" y="23"/>
                  </a:cubicBezTo>
                  <a:cubicBezTo>
                    <a:pt x="19" y="23"/>
                    <a:pt x="19" y="23"/>
                    <a:pt x="19" y="23"/>
                  </a:cubicBezTo>
                  <a:cubicBezTo>
                    <a:pt x="18" y="23"/>
                    <a:pt x="18" y="23"/>
                    <a:pt x="18" y="23"/>
                  </a:cubicBezTo>
                  <a:moveTo>
                    <a:pt x="22" y="23"/>
                  </a:moveTo>
                  <a:cubicBezTo>
                    <a:pt x="24" y="21"/>
                    <a:pt x="24" y="21"/>
                    <a:pt x="24" y="21"/>
                  </a:cubicBezTo>
                  <a:cubicBezTo>
                    <a:pt x="24" y="21"/>
                    <a:pt x="25" y="21"/>
                    <a:pt x="25" y="21"/>
                  </a:cubicBezTo>
                  <a:cubicBezTo>
                    <a:pt x="23" y="23"/>
                    <a:pt x="23" y="23"/>
                    <a:pt x="23" y="23"/>
                  </a:cubicBezTo>
                  <a:cubicBezTo>
                    <a:pt x="23" y="23"/>
                    <a:pt x="23" y="23"/>
                    <a:pt x="23" y="23"/>
                  </a:cubicBezTo>
                  <a:cubicBezTo>
                    <a:pt x="23" y="23"/>
                    <a:pt x="23" y="23"/>
                    <a:pt x="22" y="23"/>
                  </a:cubicBezTo>
                  <a:moveTo>
                    <a:pt x="15" y="23"/>
                  </a:moveTo>
                  <a:cubicBezTo>
                    <a:pt x="15" y="23"/>
                    <a:pt x="15" y="23"/>
                    <a:pt x="15" y="23"/>
                  </a:cubicBezTo>
                  <a:cubicBezTo>
                    <a:pt x="16" y="21"/>
                    <a:pt x="16" y="21"/>
                    <a:pt x="16" y="21"/>
                  </a:cubicBezTo>
                  <a:cubicBezTo>
                    <a:pt x="16" y="21"/>
                    <a:pt x="17" y="21"/>
                    <a:pt x="17" y="21"/>
                  </a:cubicBezTo>
                  <a:cubicBezTo>
                    <a:pt x="17" y="22"/>
                    <a:pt x="16" y="22"/>
                    <a:pt x="16" y="23"/>
                  </a:cubicBezTo>
                  <a:cubicBezTo>
                    <a:pt x="16" y="23"/>
                    <a:pt x="16" y="23"/>
                    <a:pt x="16" y="23"/>
                  </a:cubicBezTo>
                  <a:cubicBezTo>
                    <a:pt x="16" y="23"/>
                    <a:pt x="16" y="23"/>
                    <a:pt x="16" y="23"/>
                  </a:cubicBezTo>
                  <a:cubicBezTo>
                    <a:pt x="17" y="23"/>
                    <a:pt x="17" y="23"/>
                    <a:pt x="17" y="23"/>
                  </a:cubicBezTo>
                  <a:cubicBezTo>
                    <a:pt x="17" y="22"/>
                    <a:pt x="17" y="22"/>
                    <a:pt x="18" y="21"/>
                  </a:cubicBezTo>
                  <a:cubicBezTo>
                    <a:pt x="18" y="21"/>
                    <a:pt x="18" y="21"/>
                    <a:pt x="18" y="21"/>
                  </a:cubicBezTo>
                  <a:cubicBezTo>
                    <a:pt x="19" y="21"/>
                    <a:pt x="19" y="21"/>
                    <a:pt x="19" y="21"/>
                  </a:cubicBezTo>
                  <a:cubicBezTo>
                    <a:pt x="19" y="22"/>
                    <a:pt x="18" y="22"/>
                    <a:pt x="18" y="23"/>
                  </a:cubicBezTo>
                  <a:cubicBezTo>
                    <a:pt x="18" y="23"/>
                    <a:pt x="18" y="23"/>
                    <a:pt x="18" y="23"/>
                  </a:cubicBezTo>
                  <a:cubicBezTo>
                    <a:pt x="17" y="23"/>
                    <a:pt x="16" y="23"/>
                    <a:pt x="15" y="23"/>
                  </a:cubicBezTo>
                  <a:moveTo>
                    <a:pt x="15" y="22"/>
                  </a:moveTo>
                  <a:cubicBezTo>
                    <a:pt x="15" y="21"/>
                    <a:pt x="15" y="21"/>
                    <a:pt x="15" y="21"/>
                  </a:cubicBezTo>
                  <a:cubicBezTo>
                    <a:pt x="15" y="21"/>
                    <a:pt x="15" y="21"/>
                    <a:pt x="15" y="21"/>
                  </a:cubicBezTo>
                  <a:cubicBezTo>
                    <a:pt x="15" y="22"/>
                    <a:pt x="15" y="22"/>
                    <a:pt x="15" y="22"/>
                  </a:cubicBezTo>
                  <a:moveTo>
                    <a:pt x="24" y="23"/>
                  </a:moveTo>
                  <a:cubicBezTo>
                    <a:pt x="26" y="21"/>
                    <a:pt x="26" y="21"/>
                    <a:pt x="26" y="21"/>
                  </a:cubicBezTo>
                  <a:cubicBezTo>
                    <a:pt x="27" y="21"/>
                    <a:pt x="28" y="21"/>
                    <a:pt x="28" y="21"/>
                  </a:cubicBezTo>
                  <a:cubicBezTo>
                    <a:pt x="28" y="23"/>
                    <a:pt x="28" y="23"/>
                    <a:pt x="28" y="23"/>
                  </a:cubicBezTo>
                  <a:cubicBezTo>
                    <a:pt x="28" y="23"/>
                    <a:pt x="28" y="23"/>
                    <a:pt x="28" y="23"/>
                  </a:cubicBezTo>
                  <a:cubicBezTo>
                    <a:pt x="27" y="23"/>
                    <a:pt x="27" y="23"/>
                    <a:pt x="26" y="23"/>
                  </a:cubicBezTo>
                  <a:cubicBezTo>
                    <a:pt x="27" y="22"/>
                    <a:pt x="27" y="22"/>
                    <a:pt x="27" y="22"/>
                  </a:cubicBezTo>
                  <a:cubicBezTo>
                    <a:pt x="27" y="22"/>
                    <a:pt x="27" y="22"/>
                    <a:pt x="27" y="22"/>
                  </a:cubicBezTo>
                  <a:cubicBezTo>
                    <a:pt x="28" y="21"/>
                    <a:pt x="28" y="21"/>
                    <a:pt x="28" y="21"/>
                  </a:cubicBezTo>
                  <a:cubicBezTo>
                    <a:pt x="27" y="21"/>
                    <a:pt x="27" y="21"/>
                    <a:pt x="27" y="21"/>
                  </a:cubicBezTo>
                  <a:cubicBezTo>
                    <a:pt x="27" y="21"/>
                    <a:pt x="27" y="21"/>
                    <a:pt x="27" y="21"/>
                  </a:cubicBezTo>
                  <a:cubicBezTo>
                    <a:pt x="27" y="21"/>
                    <a:pt x="27" y="21"/>
                    <a:pt x="27" y="21"/>
                  </a:cubicBezTo>
                  <a:cubicBezTo>
                    <a:pt x="26" y="23"/>
                    <a:pt x="26" y="23"/>
                    <a:pt x="26" y="23"/>
                  </a:cubicBezTo>
                  <a:cubicBezTo>
                    <a:pt x="25" y="23"/>
                    <a:pt x="25" y="23"/>
                    <a:pt x="24" y="23"/>
                  </a:cubicBezTo>
                  <a:moveTo>
                    <a:pt x="4" y="23"/>
                  </a:moveTo>
                  <a:cubicBezTo>
                    <a:pt x="5" y="22"/>
                    <a:pt x="5" y="22"/>
                    <a:pt x="5" y="21"/>
                  </a:cubicBezTo>
                  <a:cubicBezTo>
                    <a:pt x="6" y="21"/>
                    <a:pt x="6" y="21"/>
                    <a:pt x="6" y="21"/>
                  </a:cubicBezTo>
                  <a:cubicBezTo>
                    <a:pt x="6" y="22"/>
                    <a:pt x="6" y="22"/>
                    <a:pt x="6" y="23"/>
                  </a:cubicBezTo>
                  <a:cubicBezTo>
                    <a:pt x="4" y="23"/>
                    <a:pt x="4" y="23"/>
                    <a:pt x="4" y="23"/>
                  </a:cubicBezTo>
                  <a:moveTo>
                    <a:pt x="1" y="21"/>
                  </a:moveTo>
                  <a:cubicBezTo>
                    <a:pt x="1" y="19"/>
                    <a:pt x="1" y="19"/>
                    <a:pt x="1" y="19"/>
                  </a:cubicBezTo>
                  <a:cubicBezTo>
                    <a:pt x="1" y="18"/>
                    <a:pt x="1" y="18"/>
                    <a:pt x="1" y="18"/>
                  </a:cubicBezTo>
                  <a:cubicBezTo>
                    <a:pt x="1" y="19"/>
                    <a:pt x="1" y="20"/>
                    <a:pt x="1" y="21"/>
                  </a:cubicBezTo>
                  <a:cubicBezTo>
                    <a:pt x="1" y="21"/>
                    <a:pt x="1" y="21"/>
                    <a:pt x="1" y="21"/>
                  </a:cubicBezTo>
                  <a:moveTo>
                    <a:pt x="17" y="14"/>
                  </a:moveTo>
                  <a:cubicBezTo>
                    <a:pt x="17" y="14"/>
                    <a:pt x="17" y="14"/>
                    <a:pt x="17" y="14"/>
                  </a:cubicBezTo>
                  <a:cubicBezTo>
                    <a:pt x="17" y="14"/>
                    <a:pt x="17" y="14"/>
                    <a:pt x="17" y="14"/>
                  </a:cubicBezTo>
                  <a:cubicBezTo>
                    <a:pt x="17" y="14"/>
                    <a:pt x="17" y="14"/>
                    <a:pt x="17" y="14"/>
                  </a:cubicBezTo>
                  <a:cubicBezTo>
                    <a:pt x="17" y="14"/>
                    <a:pt x="17" y="14"/>
                    <a:pt x="17" y="14"/>
                  </a:cubicBezTo>
                  <a:moveTo>
                    <a:pt x="18" y="15"/>
                  </a:moveTo>
                  <a:cubicBezTo>
                    <a:pt x="17" y="15"/>
                    <a:pt x="17" y="15"/>
                    <a:pt x="17" y="15"/>
                  </a:cubicBezTo>
                  <a:cubicBezTo>
                    <a:pt x="18" y="12"/>
                    <a:pt x="18" y="12"/>
                    <a:pt x="18" y="12"/>
                  </a:cubicBezTo>
                  <a:cubicBezTo>
                    <a:pt x="18" y="12"/>
                    <a:pt x="18" y="12"/>
                    <a:pt x="18" y="12"/>
                  </a:cubicBezTo>
                  <a:cubicBezTo>
                    <a:pt x="19" y="12"/>
                    <a:pt x="19" y="12"/>
                    <a:pt x="20" y="11"/>
                  </a:cubicBezTo>
                  <a:cubicBezTo>
                    <a:pt x="19" y="12"/>
                    <a:pt x="19" y="13"/>
                    <a:pt x="19" y="13"/>
                  </a:cubicBezTo>
                  <a:cubicBezTo>
                    <a:pt x="19" y="14"/>
                    <a:pt x="19" y="14"/>
                    <a:pt x="19" y="14"/>
                  </a:cubicBezTo>
                  <a:cubicBezTo>
                    <a:pt x="18" y="14"/>
                    <a:pt x="18" y="14"/>
                    <a:pt x="18" y="14"/>
                  </a:cubicBezTo>
                  <a:cubicBezTo>
                    <a:pt x="18" y="15"/>
                    <a:pt x="18" y="15"/>
                    <a:pt x="18" y="15"/>
                  </a:cubicBezTo>
                  <a:moveTo>
                    <a:pt x="31" y="13"/>
                  </a:moveTo>
                  <a:cubicBezTo>
                    <a:pt x="31" y="13"/>
                    <a:pt x="31" y="13"/>
                    <a:pt x="31" y="13"/>
                  </a:cubicBezTo>
                  <a:cubicBezTo>
                    <a:pt x="33" y="11"/>
                    <a:pt x="33" y="11"/>
                    <a:pt x="33" y="11"/>
                  </a:cubicBezTo>
                  <a:cubicBezTo>
                    <a:pt x="33" y="11"/>
                    <a:pt x="33" y="11"/>
                    <a:pt x="33" y="11"/>
                  </a:cubicBezTo>
                  <a:cubicBezTo>
                    <a:pt x="31" y="13"/>
                    <a:pt x="31" y="13"/>
                    <a:pt x="31" y="13"/>
                  </a:cubicBezTo>
                  <a:moveTo>
                    <a:pt x="30" y="12"/>
                  </a:moveTo>
                  <a:cubicBezTo>
                    <a:pt x="29" y="12"/>
                    <a:pt x="29" y="12"/>
                    <a:pt x="29" y="12"/>
                  </a:cubicBezTo>
                  <a:cubicBezTo>
                    <a:pt x="30" y="11"/>
                    <a:pt x="31" y="11"/>
                    <a:pt x="31" y="10"/>
                  </a:cubicBezTo>
                  <a:cubicBezTo>
                    <a:pt x="31" y="10"/>
                    <a:pt x="32" y="10"/>
                    <a:pt x="32" y="11"/>
                  </a:cubicBezTo>
                  <a:cubicBezTo>
                    <a:pt x="30" y="12"/>
                    <a:pt x="30" y="12"/>
                    <a:pt x="30" y="12"/>
                  </a:cubicBezTo>
                  <a:moveTo>
                    <a:pt x="19" y="13"/>
                  </a:moveTo>
                  <a:cubicBezTo>
                    <a:pt x="20" y="12"/>
                    <a:pt x="20" y="11"/>
                    <a:pt x="20" y="11"/>
                  </a:cubicBezTo>
                  <a:cubicBezTo>
                    <a:pt x="21" y="10"/>
                    <a:pt x="21" y="10"/>
                    <a:pt x="22" y="10"/>
                  </a:cubicBezTo>
                  <a:cubicBezTo>
                    <a:pt x="21" y="11"/>
                    <a:pt x="21" y="11"/>
                    <a:pt x="21" y="12"/>
                  </a:cubicBezTo>
                  <a:cubicBezTo>
                    <a:pt x="20" y="12"/>
                    <a:pt x="20" y="13"/>
                    <a:pt x="19" y="13"/>
                  </a:cubicBezTo>
                  <a:moveTo>
                    <a:pt x="29" y="12"/>
                  </a:moveTo>
                  <a:cubicBezTo>
                    <a:pt x="29" y="12"/>
                    <a:pt x="28" y="11"/>
                    <a:pt x="28" y="11"/>
                  </a:cubicBezTo>
                  <a:cubicBezTo>
                    <a:pt x="28" y="11"/>
                    <a:pt x="28" y="10"/>
                    <a:pt x="29" y="10"/>
                  </a:cubicBezTo>
                  <a:cubicBezTo>
                    <a:pt x="29" y="9"/>
                    <a:pt x="29" y="9"/>
                    <a:pt x="29" y="9"/>
                  </a:cubicBezTo>
                  <a:cubicBezTo>
                    <a:pt x="30" y="9"/>
                    <a:pt x="30" y="10"/>
                    <a:pt x="30" y="10"/>
                  </a:cubicBezTo>
                  <a:cubicBezTo>
                    <a:pt x="30" y="10"/>
                    <a:pt x="29" y="11"/>
                    <a:pt x="29" y="12"/>
                  </a:cubicBezTo>
                  <a:moveTo>
                    <a:pt x="22" y="12"/>
                  </a:moveTo>
                  <a:cubicBezTo>
                    <a:pt x="22" y="11"/>
                    <a:pt x="22" y="10"/>
                    <a:pt x="22" y="10"/>
                  </a:cubicBezTo>
                  <a:cubicBezTo>
                    <a:pt x="22" y="10"/>
                    <a:pt x="22" y="10"/>
                    <a:pt x="22" y="10"/>
                  </a:cubicBezTo>
                  <a:cubicBezTo>
                    <a:pt x="23" y="10"/>
                    <a:pt x="23" y="9"/>
                    <a:pt x="24" y="9"/>
                  </a:cubicBezTo>
                  <a:cubicBezTo>
                    <a:pt x="24" y="9"/>
                    <a:pt x="24" y="9"/>
                    <a:pt x="24" y="9"/>
                  </a:cubicBezTo>
                  <a:cubicBezTo>
                    <a:pt x="23" y="11"/>
                    <a:pt x="23" y="11"/>
                    <a:pt x="23" y="11"/>
                  </a:cubicBezTo>
                  <a:cubicBezTo>
                    <a:pt x="22" y="11"/>
                    <a:pt x="22" y="11"/>
                    <a:pt x="22" y="12"/>
                  </a:cubicBezTo>
                  <a:moveTo>
                    <a:pt x="27" y="11"/>
                  </a:moveTo>
                  <a:cubicBezTo>
                    <a:pt x="27" y="11"/>
                    <a:pt x="26" y="11"/>
                    <a:pt x="26" y="11"/>
                  </a:cubicBezTo>
                  <a:cubicBezTo>
                    <a:pt x="27" y="9"/>
                    <a:pt x="27" y="9"/>
                    <a:pt x="27" y="9"/>
                  </a:cubicBezTo>
                  <a:cubicBezTo>
                    <a:pt x="27" y="9"/>
                    <a:pt x="27" y="9"/>
                    <a:pt x="27" y="9"/>
                  </a:cubicBezTo>
                  <a:cubicBezTo>
                    <a:pt x="28" y="9"/>
                    <a:pt x="28" y="9"/>
                    <a:pt x="29" y="9"/>
                  </a:cubicBezTo>
                  <a:cubicBezTo>
                    <a:pt x="28" y="9"/>
                    <a:pt x="28" y="9"/>
                    <a:pt x="28" y="9"/>
                  </a:cubicBezTo>
                  <a:cubicBezTo>
                    <a:pt x="28" y="10"/>
                    <a:pt x="27" y="11"/>
                    <a:pt x="27" y="11"/>
                  </a:cubicBezTo>
                  <a:moveTo>
                    <a:pt x="24" y="11"/>
                  </a:moveTo>
                  <a:cubicBezTo>
                    <a:pt x="25" y="9"/>
                    <a:pt x="25" y="9"/>
                    <a:pt x="25" y="9"/>
                  </a:cubicBezTo>
                  <a:cubicBezTo>
                    <a:pt x="25" y="9"/>
                    <a:pt x="26" y="9"/>
                    <a:pt x="27" y="9"/>
                  </a:cubicBezTo>
                  <a:cubicBezTo>
                    <a:pt x="27" y="9"/>
                    <a:pt x="27" y="9"/>
                    <a:pt x="27" y="9"/>
                  </a:cubicBezTo>
                  <a:cubicBezTo>
                    <a:pt x="25" y="11"/>
                    <a:pt x="25" y="11"/>
                    <a:pt x="25" y="11"/>
                  </a:cubicBezTo>
                  <a:cubicBezTo>
                    <a:pt x="24" y="11"/>
                    <a:pt x="24" y="11"/>
                    <a:pt x="24" y="11"/>
                  </a:cubicBezTo>
                  <a:cubicBezTo>
                    <a:pt x="24" y="11"/>
                    <a:pt x="24" y="11"/>
                    <a:pt x="24" y="11"/>
                  </a:cubicBezTo>
                  <a:moveTo>
                    <a:pt x="7" y="16"/>
                  </a:moveTo>
                  <a:cubicBezTo>
                    <a:pt x="8" y="15"/>
                    <a:pt x="8" y="15"/>
                    <a:pt x="8" y="15"/>
                  </a:cubicBezTo>
                  <a:cubicBezTo>
                    <a:pt x="9" y="10"/>
                    <a:pt x="13" y="5"/>
                    <a:pt x="19" y="3"/>
                  </a:cubicBezTo>
                  <a:cubicBezTo>
                    <a:pt x="21" y="2"/>
                    <a:pt x="23" y="1"/>
                    <a:pt x="26" y="1"/>
                  </a:cubicBezTo>
                  <a:cubicBezTo>
                    <a:pt x="28" y="1"/>
                    <a:pt x="31" y="2"/>
                    <a:pt x="33" y="3"/>
                  </a:cubicBezTo>
                  <a:cubicBezTo>
                    <a:pt x="33" y="5"/>
                    <a:pt x="33" y="8"/>
                    <a:pt x="33" y="10"/>
                  </a:cubicBezTo>
                  <a:cubicBezTo>
                    <a:pt x="31" y="9"/>
                    <a:pt x="29" y="8"/>
                    <a:pt x="26" y="8"/>
                  </a:cubicBezTo>
                  <a:cubicBezTo>
                    <a:pt x="25" y="8"/>
                    <a:pt x="24" y="8"/>
                    <a:pt x="23" y="8"/>
                  </a:cubicBezTo>
                  <a:cubicBezTo>
                    <a:pt x="20" y="9"/>
                    <a:pt x="17" y="12"/>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6"/>
                    <a:pt x="16" y="16"/>
                    <a:pt x="16" y="16"/>
                  </a:cubicBezTo>
                  <a:cubicBezTo>
                    <a:pt x="17" y="16"/>
                    <a:pt x="19" y="16"/>
                    <a:pt x="21" y="16"/>
                  </a:cubicBezTo>
                  <a:cubicBezTo>
                    <a:pt x="23" y="16"/>
                    <a:pt x="25" y="16"/>
                    <a:pt x="28" y="16"/>
                  </a:cubicBezTo>
                  <a:cubicBezTo>
                    <a:pt x="28" y="16"/>
                    <a:pt x="28" y="16"/>
                    <a:pt x="28" y="16"/>
                  </a:cubicBezTo>
                  <a:cubicBezTo>
                    <a:pt x="28" y="17"/>
                    <a:pt x="29" y="19"/>
                    <a:pt x="29" y="20"/>
                  </a:cubicBezTo>
                  <a:cubicBezTo>
                    <a:pt x="26" y="20"/>
                    <a:pt x="24" y="20"/>
                    <a:pt x="22" y="20"/>
                  </a:cubicBezTo>
                  <a:cubicBezTo>
                    <a:pt x="21" y="20"/>
                    <a:pt x="20" y="20"/>
                    <a:pt x="18" y="20"/>
                  </a:cubicBezTo>
                  <a:cubicBezTo>
                    <a:pt x="17" y="20"/>
                    <a:pt x="16" y="20"/>
                    <a:pt x="14" y="20"/>
                  </a:cubicBezTo>
                  <a:cubicBezTo>
                    <a:pt x="14" y="20"/>
                    <a:pt x="14" y="20"/>
                    <a:pt x="14" y="20"/>
                  </a:cubicBezTo>
                  <a:cubicBezTo>
                    <a:pt x="14" y="20"/>
                    <a:pt x="14" y="20"/>
                    <a:pt x="14" y="20"/>
                  </a:cubicBezTo>
                  <a:cubicBezTo>
                    <a:pt x="14" y="20"/>
                    <a:pt x="14" y="20"/>
                    <a:pt x="14" y="20"/>
                  </a:cubicBezTo>
                  <a:cubicBezTo>
                    <a:pt x="14" y="21"/>
                    <a:pt x="14" y="21"/>
                    <a:pt x="14" y="21"/>
                  </a:cubicBezTo>
                  <a:cubicBezTo>
                    <a:pt x="14" y="22"/>
                    <a:pt x="14" y="23"/>
                    <a:pt x="14" y="24"/>
                  </a:cubicBezTo>
                  <a:cubicBezTo>
                    <a:pt x="14" y="24"/>
                    <a:pt x="14" y="24"/>
                    <a:pt x="14" y="24"/>
                  </a:cubicBezTo>
                  <a:cubicBezTo>
                    <a:pt x="14" y="24"/>
                    <a:pt x="14" y="24"/>
                    <a:pt x="14" y="24"/>
                  </a:cubicBezTo>
                  <a:cubicBezTo>
                    <a:pt x="15" y="24"/>
                    <a:pt x="17" y="24"/>
                    <a:pt x="19" y="24"/>
                  </a:cubicBezTo>
                  <a:cubicBezTo>
                    <a:pt x="20" y="24"/>
                    <a:pt x="20" y="24"/>
                    <a:pt x="21" y="24"/>
                  </a:cubicBezTo>
                  <a:cubicBezTo>
                    <a:pt x="24" y="24"/>
                    <a:pt x="27" y="24"/>
                    <a:pt x="28" y="24"/>
                  </a:cubicBezTo>
                  <a:cubicBezTo>
                    <a:pt x="29" y="25"/>
                    <a:pt x="29" y="26"/>
                    <a:pt x="29" y="28"/>
                  </a:cubicBezTo>
                  <a:cubicBezTo>
                    <a:pt x="26" y="28"/>
                    <a:pt x="24" y="28"/>
                    <a:pt x="22" y="28"/>
                  </a:cubicBezTo>
                  <a:cubicBezTo>
                    <a:pt x="21" y="28"/>
                    <a:pt x="20" y="28"/>
                    <a:pt x="19" y="28"/>
                  </a:cubicBezTo>
                  <a:cubicBezTo>
                    <a:pt x="16" y="28"/>
                    <a:pt x="16" y="28"/>
                    <a:pt x="16" y="28"/>
                  </a:cubicBezTo>
                  <a:cubicBezTo>
                    <a:pt x="16" y="28"/>
                    <a:pt x="16" y="28"/>
                    <a:pt x="16" y="28"/>
                  </a:cubicBezTo>
                  <a:cubicBezTo>
                    <a:pt x="15" y="28"/>
                    <a:pt x="15" y="28"/>
                    <a:pt x="15" y="28"/>
                  </a:cubicBezTo>
                  <a:cubicBezTo>
                    <a:pt x="15" y="28"/>
                    <a:pt x="15" y="28"/>
                    <a:pt x="15" y="28"/>
                  </a:cubicBezTo>
                  <a:cubicBezTo>
                    <a:pt x="15" y="29"/>
                    <a:pt x="15" y="29"/>
                    <a:pt x="15" y="29"/>
                  </a:cubicBezTo>
                  <a:cubicBezTo>
                    <a:pt x="15" y="30"/>
                    <a:pt x="16" y="31"/>
                    <a:pt x="17" y="32"/>
                  </a:cubicBezTo>
                  <a:cubicBezTo>
                    <a:pt x="17" y="32"/>
                    <a:pt x="17" y="32"/>
                    <a:pt x="17" y="32"/>
                  </a:cubicBezTo>
                  <a:cubicBezTo>
                    <a:pt x="17" y="33"/>
                    <a:pt x="17" y="33"/>
                    <a:pt x="17" y="33"/>
                  </a:cubicBezTo>
                  <a:cubicBezTo>
                    <a:pt x="19" y="36"/>
                    <a:pt x="22" y="38"/>
                    <a:pt x="26" y="38"/>
                  </a:cubicBezTo>
                  <a:cubicBezTo>
                    <a:pt x="29" y="38"/>
                    <a:pt x="32" y="37"/>
                    <a:pt x="34" y="36"/>
                  </a:cubicBezTo>
                  <a:cubicBezTo>
                    <a:pt x="34" y="38"/>
                    <a:pt x="34" y="40"/>
                    <a:pt x="34" y="42"/>
                  </a:cubicBezTo>
                  <a:cubicBezTo>
                    <a:pt x="32" y="43"/>
                    <a:pt x="29" y="43"/>
                    <a:pt x="27" y="43"/>
                  </a:cubicBezTo>
                  <a:cubicBezTo>
                    <a:pt x="22" y="43"/>
                    <a:pt x="17" y="42"/>
                    <a:pt x="15" y="40"/>
                  </a:cubicBezTo>
                  <a:cubicBezTo>
                    <a:pt x="11" y="37"/>
                    <a:pt x="9" y="33"/>
                    <a:pt x="8" y="28"/>
                  </a:cubicBezTo>
                  <a:cubicBezTo>
                    <a:pt x="8" y="28"/>
                    <a:pt x="8" y="28"/>
                    <a:pt x="8" y="28"/>
                  </a:cubicBezTo>
                  <a:cubicBezTo>
                    <a:pt x="8" y="28"/>
                    <a:pt x="8" y="28"/>
                    <a:pt x="8" y="28"/>
                  </a:cubicBezTo>
                  <a:cubicBezTo>
                    <a:pt x="7" y="28"/>
                    <a:pt x="7" y="28"/>
                    <a:pt x="7" y="28"/>
                  </a:cubicBezTo>
                  <a:cubicBezTo>
                    <a:pt x="6" y="28"/>
                    <a:pt x="6" y="28"/>
                    <a:pt x="6" y="28"/>
                  </a:cubicBezTo>
                  <a:cubicBezTo>
                    <a:pt x="6" y="28"/>
                    <a:pt x="4" y="28"/>
                    <a:pt x="3" y="28"/>
                  </a:cubicBezTo>
                  <a:cubicBezTo>
                    <a:pt x="3" y="28"/>
                    <a:pt x="3" y="28"/>
                    <a:pt x="2" y="28"/>
                  </a:cubicBezTo>
                  <a:cubicBezTo>
                    <a:pt x="2" y="27"/>
                    <a:pt x="2" y="26"/>
                    <a:pt x="3" y="25"/>
                  </a:cubicBezTo>
                  <a:cubicBezTo>
                    <a:pt x="4" y="25"/>
                    <a:pt x="5" y="25"/>
                    <a:pt x="6" y="25"/>
                  </a:cubicBezTo>
                  <a:cubicBezTo>
                    <a:pt x="6" y="25"/>
                    <a:pt x="6" y="25"/>
                    <a:pt x="6" y="25"/>
                  </a:cubicBezTo>
                  <a:cubicBezTo>
                    <a:pt x="7" y="24"/>
                    <a:pt x="7" y="24"/>
                    <a:pt x="7" y="24"/>
                  </a:cubicBezTo>
                  <a:cubicBezTo>
                    <a:pt x="7" y="23"/>
                    <a:pt x="7" y="22"/>
                    <a:pt x="7" y="20"/>
                  </a:cubicBezTo>
                  <a:cubicBezTo>
                    <a:pt x="7" y="20"/>
                    <a:pt x="7" y="20"/>
                    <a:pt x="7" y="20"/>
                  </a:cubicBezTo>
                  <a:cubicBezTo>
                    <a:pt x="6" y="20"/>
                    <a:pt x="6" y="20"/>
                    <a:pt x="6" y="20"/>
                  </a:cubicBezTo>
                  <a:cubicBezTo>
                    <a:pt x="5" y="20"/>
                    <a:pt x="5" y="20"/>
                    <a:pt x="4" y="20"/>
                  </a:cubicBezTo>
                  <a:cubicBezTo>
                    <a:pt x="3" y="20"/>
                    <a:pt x="3" y="20"/>
                    <a:pt x="2" y="20"/>
                  </a:cubicBezTo>
                  <a:cubicBezTo>
                    <a:pt x="2" y="19"/>
                    <a:pt x="2" y="17"/>
                    <a:pt x="3" y="16"/>
                  </a:cubicBezTo>
                  <a:cubicBezTo>
                    <a:pt x="4" y="16"/>
                    <a:pt x="5" y="16"/>
                    <a:pt x="6" y="16"/>
                  </a:cubicBezTo>
                  <a:cubicBezTo>
                    <a:pt x="7" y="16"/>
                    <a:pt x="7" y="16"/>
                    <a:pt x="7" y="16"/>
                  </a:cubicBezTo>
                  <a:cubicBezTo>
                    <a:pt x="7" y="16"/>
                    <a:pt x="7" y="16"/>
                    <a:pt x="7" y="16"/>
                  </a:cubicBezTo>
                  <a:cubicBezTo>
                    <a:pt x="7" y="16"/>
                    <a:pt x="7" y="16"/>
                    <a:pt x="7" y="16"/>
                  </a:cubicBezTo>
                  <a:moveTo>
                    <a:pt x="26" y="0"/>
                  </a:moveTo>
                  <a:cubicBezTo>
                    <a:pt x="23" y="0"/>
                    <a:pt x="21" y="1"/>
                    <a:pt x="18" y="2"/>
                  </a:cubicBezTo>
                  <a:cubicBezTo>
                    <a:pt x="11" y="5"/>
                    <a:pt x="8" y="11"/>
                    <a:pt x="7" y="15"/>
                  </a:cubicBezTo>
                  <a:cubicBezTo>
                    <a:pt x="6" y="15"/>
                    <a:pt x="6" y="15"/>
                    <a:pt x="6" y="15"/>
                  </a:cubicBezTo>
                  <a:cubicBezTo>
                    <a:pt x="5" y="15"/>
                    <a:pt x="3" y="15"/>
                    <a:pt x="2" y="15"/>
                  </a:cubicBezTo>
                  <a:cubicBezTo>
                    <a:pt x="2" y="15"/>
                    <a:pt x="2" y="15"/>
                    <a:pt x="2" y="15"/>
                  </a:cubicBezTo>
                  <a:cubicBezTo>
                    <a:pt x="2" y="15"/>
                    <a:pt x="2" y="15"/>
                    <a:pt x="2" y="15"/>
                  </a:cubicBezTo>
                  <a:cubicBezTo>
                    <a:pt x="2" y="15"/>
                    <a:pt x="2" y="15"/>
                    <a:pt x="2" y="15"/>
                  </a:cubicBezTo>
                  <a:cubicBezTo>
                    <a:pt x="2" y="15"/>
                    <a:pt x="2" y="15"/>
                    <a:pt x="2" y="15"/>
                  </a:cubicBezTo>
                  <a:cubicBezTo>
                    <a:pt x="0" y="19"/>
                    <a:pt x="0" y="19"/>
                    <a:pt x="0" y="19"/>
                  </a:cubicBezTo>
                  <a:cubicBezTo>
                    <a:pt x="0" y="19"/>
                    <a:pt x="0" y="19"/>
                    <a:pt x="0" y="19"/>
                  </a:cubicBezTo>
                  <a:cubicBezTo>
                    <a:pt x="0" y="23"/>
                    <a:pt x="0" y="23"/>
                    <a:pt x="0" y="23"/>
                  </a:cubicBezTo>
                  <a:cubicBezTo>
                    <a:pt x="0" y="23"/>
                    <a:pt x="0" y="23"/>
                    <a:pt x="0" y="23"/>
                  </a:cubicBezTo>
                  <a:cubicBezTo>
                    <a:pt x="0" y="24"/>
                    <a:pt x="0" y="24"/>
                    <a:pt x="0" y="24"/>
                  </a:cubicBezTo>
                  <a:cubicBezTo>
                    <a:pt x="0" y="24"/>
                    <a:pt x="0" y="24"/>
                    <a:pt x="0" y="24"/>
                  </a:cubicBezTo>
                  <a:cubicBezTo>
                    <a:pt x="0" y="24"/>
                    <a:pt x="0" y="24"/>
                    <a:pt x="0" y="24"/>
                  </a:cubicBezTo>
                  <a:cubicBezTo>
                    <a:pt x="0" y="24"/>
                    <a:pt x="0" y="24"/>
                    <a:pt x="0" y="24"/>
                  </a:cubicBezTo>
                  <a:cubicBezTo>
                    <a:pt x="0" y="24"/>
                    <a:pt x="4" y="24"/>
                    <a:pt x="6" y="24"/>
                  </a:cubicBezTo>
                  <a:cubicBezTo>
                    <a:pt x="6" y="24"/>
                    <a:pt x="6" y="24"/>
                    <a:pt x="6" y="24"/>
                  </a:cubicBezTo>
                  <a:cubicBezTo>
                    <a:pt x="5" y="24"/>
                    <a:pt x="3" y="24"/>
                    <a:pt x="2" y="24"/>
                  </a:cubicBezTo>
                  <a:cubicBezTo>
                    <a:pt x="2" y="24"/>
                    <a:pt x="2" y="24"/>
                    <a:pt x="2" y="24"/>
                  </a:cubicBezTo>
                  <a:cubicBezTo>
                    <a:pt x="2" y="24"/>
                    <a:pt x="2" y="24"/>
                    <a:pt x="2" y="24"/>
                  </a:cubicBezTo>
                  <a:cubicBezTo>
                    <a:pt x="0" y="28"/>
                    <a:pt x="0" y="28"/>
                    <a:pt x="0" y="28"/>
                  </a:cubicBezTo>
                  <a:cubicBezTo>
                    <a:pt x="0" y="28"/>
                    <a:pt x="0" y="28"/>
                    <a:pt x="0" y="28"/>
                  </a:cubicBezTo>
                  <a:cubicBezTo>
                    <a:pt x="0" y="34"/>
                    <a:pt x="0" y="34"/>
                    <a:pt x="0" y="34"/>
                  </a:cubicBezTo>
                  <a:cubicBezTo>
                    <a:pt x="0" y="34"/>
                    <a:pt x="0" y="34"/>
                    <a:pt x="0" y="34"/>
                  </a:cubicBezTo>
                  <a:cubicBezTo>
                    <a:pt x="0" y="34"/>
                    <a:pt x="0" y="34"/>
                    <a:pt x="0" y="34"/>
                  </a:cubicBezTo>
                  <a:cubicBezTo>
                    <a:pt x="0" y="34"/>
                    <a:pt x="0" y="34"/>
                    <a:pt x="0" y="34"/>
                  </a:cubicBezTo>
                  <a:cubicBezTo>
                    <a:pt x="1" y="34"/>
                    <a:pt x="1" y="34"/>
                    <a:pt x="1" y="34"/>
                  </a:cubicBezTo>
                  <a:cubicBezTo>
                    <a:pt x="1" y="34"/>
                    <a:pt x="1" y="34"/>
                    <a:pt x="1" y="34"/>
                  </a:cubicBezTo>
                  <a:cubicBezTo>
                    <a:pt x="2" y="35"/>
                    <a:pt x="2" y="35"/>
                    <a:pt x="2" y="35"/>
                  </a:cubicBezTo>
                  <a:cubicBezTo>
                    <a:pt x="2" y="35"/>
                    <a:pt x="2" y="35"/>
                    <a:pt x="2" y="35"/>
                  </a:cubicBezTo>
                  <a:cubicBezTo>
                    <a:pt x="2" y="34"/>
                    <a:pt x="2" y="34"/>
                    <a:pt x="2" y="34"/>
                  </a:cubicBezTo>
                  <a:cubicBezTo>
                    <a:pt x="2" y="34"/>
                    <a:pt x="2" y="34"/>
                    <a:pt x="2" y="34"/>
                  </a:cubicBezTo>
                  <a:cubicBezTo>
                    <a:pt x="3" y="34"/>
                    <a:pt x="5" y="34"/>
                    <a:pt x="6" y="34"/>
                  </a:cubicBezTo>
                  <a:cubicBezTo>
                    <a:pt x="7" y="37"/>
                    <a:pt x="11" y="49"/>
                    <a:pt x="28" y="49"/>
                  </a:cubicBezTo>
                  <a:cubicBezTo>
                    <a:pt x="30" y="49"/>
                    <a:pt x="32" y="49"/>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7"/>
                    <a:pt x="34" y="46"/>
                    <a:pt x="34" y="44"/>
                  </a:cubicBezTo>
                  <a:cubicBezTo>
                    <a:pt x="35" y="44"/>
                    <a:pt x="35" y="43"/>
                    <a:pt x="35" y="43"/>
                  </a:cubicBezTo>
                  <a:cubicBezTo>
                    <a:pt x="35" y="42"/>
                    <a:pt x="35" y="42"/>
                    <a:pt x="35" y="42"/>
                  </a:cubicBezTo>
                  <a:cubicBezTo>
                    <a:pt x="35" y="39"/>
                    <a:pt x="35" y="37"/>
                    <a:pt x="35" y="34"/>
                  </a:cubicBezTo>
                  <a:cubicBezTo>
                    <a:pt x="34" y="34"/>
                    <a:pt x="34" y="34"/>
                    <a:pt x="34" y="34"/>
                  </a:cubicBezTo>
                  <a:cubicBezTo>
                    <a:pt x="34" y="34"/>
                    <a:pt x="34" y="34"/>
                    <a:pt x="34" y="34"/>
                  </a:cubicBezTo>
                  <a:cubicBezTo>
                    <a:pt x="32" y="36"/>
                    <a:pt x="30" y="37"/>
                    <a:pt x="26" y="37"/>
                  </a:cubicBezTo>
                  <a:cubicBezTo>
                    <a:pt x="23" y="37"/>
                    <a:pt x="20" y="35"/>
                    <a:pt x="18" y="33"/>
                  </a:cubicBezTo>
                  <a:cubicBezTo>
                    <a:pt x="28" y="33"/>
                    <a:pt x="28" y="33"/>
                    <a:pt x="28" y="33"/>
                  </a:cubicBezTo>
                  <a:cubicBezTo>
                    <a:pt x="29" y="33"/>
                    <a:pt x="29" y="33"/>
                    <a:pt x="29" y="33"/>
                  </a:cubicBezTo>
                  <a:cubicBezTo>
                    <a:pt x="30" y="29"/>
                    <a:pt x="30" y="29"/>
                    <a:pt x="30" y="29"/>
                  </a:cubicBezTo>
                  <a:cubicBezTo>
                    <a:pt x="30" y="28"/>
                    <a:pt x="30" y="28"/>
                    <a:pt x="30" y="28"/>
                  </a:cubicBezTo>
                  <a:cubicBezTo>
                    <a:pt x="30" y="28"/>
                    <a:pt x="30" y="28"/>
                    <a:pt x="30" y="28"/>
                  </a:cubicBezTo>
                  <a:cubicBezTo>
                    <a:pt x="30" y="27"/>
                    <a:pt x="30" y="25"/>
                    <a:pt x="29" y="23"/>
                  </a:cubicBezTo>
                  <a:cubicBezTo>
                    <a:pt x="29" y="23"/>
                    <a:pt x="29" y="23"/>
                    <a:pt x="29" y="23"/>
                  </a:cubicBezTo>
                  <a:cubicBezTo>
                    <a:pt x="29" y="23"/>
                    <a:pt x="29" y="23"/>
                    <a:pt x="29" y="23"/>
                  </a:cubicBezTo>
                  <a:cubicBezTo>
                    <a:pt x="30" y="21"/>
                    <a:pt x="30" y="21"/>
                    <a:pt x="30" y="21"/>
                  </a:cubicBezTo>
                  <a:cubicBezTo>
                    <a:pt x="30" y="21"/>
                    <a:pt x="30" y="21"/>
                    <a:pt x="30" y="21"/>
                  </a:cubicBezTo>
                  <a:cubicBezTo>
                    <a:pt x="30" y="21"/>
                    <a:pt x="30" y="21"/>
                    <a:pt x="30" y="21"/>
                  </a:cubicBezTo>
                  <a:cubicBezTo>
                    <a:pt x="30" y="19"/>
                    <a:pt x="30" y="17"/>
                    <a:pt x="29" y="15"/>
                  </a:cubicBezTo>
                  <a:cubicBezTo>
                    <a:pt x="29" y="15"/>
                    <a:pt x="29" y="15"/>
                    <a:pt x="29" y="15"/>
                  </a:cubicBezTo>
                  <a:cubicBezTo>
                    <a:pt x="28" y="15"/>
                    <a:pt x="28" y="15"/>
                    <a:pt x="28" y="15"/>
                  </a:cubicBezTo>
                  <a:cubicBezTo>
                    <a:pt x="25" y="15"/>
                    <a:pt x="23" y="15"/>
                    <a:pt x="21" y="15"/>
                  </a:cubicBezTo>
                  <a:cubicBezTo>
                    <a:pt x="20" y="15"/>
                    <a:pt x="20" y="15"/>
                    <a:pt x="19" y="15"/>
                  </a:cubicBezTo>
                  <a:cubicBezTo>
                    <a:pt x="21" y="13"/>
                    <a:pt x="22" y="12"/>
                    <a:pt x="24" y="12"/>
                  </a:cubicBezTo>
                  <a:cubicBezTo>
                    <a:pt x="25" y="12"/>
                    <a:pt x="25" y="12"/>
                    <a:pt x="25" y="12"/>
                  </a:cubicBezTo>
                  <a:cubicBezTo>
                    <a:pt x="27" y="12"/>
                    <a:pt x="29" y="13"/>
                    <a:pt x="31" y="14"/>
                  </a:cubicBezTo>
                  <a:cubicBezTo>
                    <a:pt x="31" y="14"/>
                    <a:pt x="31" y="14"/>
                    <a:pt x="31" y="14"/>
                  </a:cubicBezTo>
                  <a:cubicBezTo>
                    <a:pt x="34" y="12"/>
                    <a:pt x="34" y="12"/>
                    <a:pt x="34" y="12"/>
                  </a:cubicBezTo>
                  <a:cubicBezTo>
                    <a:pt x="34" y="12"/>
                    <a:pt x="34" y="12"/>
                    <a:pt x="34" y="12"/>
                  </a:cubicBezTo>
                  <a:cubicBezTo>
                    <a:pt x="34" y="12"/>
                    <a:pt x="34" y="12"/>
                    <a:pt x="34" y="12"/>
                  </a:cubicBezTo>
                  <a:cubicBezTo>
                    <a:pt x="34" y="11"/>
                    <a:pt x="34" y="11"/>
                    <a:pt x="34" y="11"/>
                  </a:cubicBezTo>
                  <a:cubicBezTo>
                    <a:pt x="34" y="9"/>
                    <a:pt x="34" y="5"/>
                    <a:pt x="35" y="3"/>
                  </a:cubicBezTo>
                  <a:cubicBezTo>
                    <a:pt x="34" y="2"/>
                    <a:pt x="34" y="2"/>
                    <a:pt x="34" y="2"/>
                  </a:cubicBezTo>
                  <a:cubicBezTo>
                    <a:pt x="32" y="1"/>
                    <a:pt x="29" y="0"/>
                    <a:pt x="26"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58" name="íṡlídè"/>
            <p:cNvSpPr/>
            <p:nvPr/>
          </p:nvSpPr>
          <p:spPr bwMode="auto">
            <a:xfrm>
              <a:off x="3344" y="2039"/>
              <a:ext cx="76" cy="169"/>
            </a:xfrm>
            <a:custGeom>
              <a:avLst/>
              <a:gdLst>
                <a:gd name="T0" fmla="*/ 24 w 32"/>
                <a:gd name="T1" fmla="*/ 69 h 71"/>
                <a:gd name="T2" fmla="*/ 26 w 32"/>
                <a:gd name="T3" fmla="*/ 70 h 71"/>
                <a:gd name="T4" fmla="*/ 27 w 32"/>
                <a:gd name="T5" fmla="*/ 69 h 71"/>
                <a:gd name="T6" fmla="*/ 29 w 32"/>
                <a:gd name="T7" fmla="*/ 67 h 71"/>
                <a:gd name="T8" fmla="*/ 29 w 32"/>
                <a:gd name="T9" fmla="*/ 67 h 71"/>
                <a:gd name="T10" fmla="*/ 27 w 32"/>
                <a:gd name="T11" fmla="*/ 66 h 71"/>
                <a:gd name="T12" fmla="*/ 28 w 32"/>
                <a:gd name="T13" fmla="*/ 68 h 71"/>
                <a:gd name="T14" fmla="*/ 27 w 32"/>
                <a:gd name="T15" fmla="*/ 65 h 71"/>
                <a:gd name="T16" fmla="*/ 25 w 32"/>
                <a:gd name="T17" fmla="*/ 61 h 71"/>
                <a:gd name="T18" fmla="*/ 19 w 32"/>
                <a:gd name="T19" fmla="*/ 52 h 71"/>
                <a:gd name="T20" fmla="*/ 20 w 32"/>
                <a:gd name="T21" fmla="*/ 52 h 71"/>
                <a:gd name="T22" fmla="*/ 20 w 32"/>
                <a:gd name="T23" fmla="*/ 50 h 71"/>
                <a:gd name="T24" fmla="*/ 16 w 32"/>
                <a:gd name="T25" fmla="*/ 40 h 71"/>
                <a:gd name="T26" fmla="*/ 19 w 32"/>
                <a:gd name="T27" fmla="*/ 47 h 71"/>
                <a:gd name="T28" fmla="*/ 18 w 32"/>
                <a:gd name="T29" fmla="*/ 45 h 71"/>
                <a:gd name="T30" fmla="*/ 18 w 32"/>
                <a:gd name="T31" fmla="*/ 40 h 71"/>
                <a:gd name="T32" fmla="*/ 17 w 32"/>
                <a:gd name="T33" fmla="*/ 34 h 71"/>
                <a:gd name="T34" fmla="*/ 18 w 32"/>
                <a:gd name="T35" fmla="*/ 39 h 71"/>
                <a:gd name="T36" fmla="*/ 19 w 32"/>
                <a:gd name="T37" fmla="*/ 26 h 71"/>
                <a:gd name="T38" fmla="*/ 19 w 32"/>
                <a:gd name="T39" fmla="*/ 28 h 71"/>
                <a:gd name="T40" fmla="*/ 20 w 32"/>
                <a:gd name="T41" fmla="*/ 32 h 71"/>
                <a:gd name="T42" fmla="*/ 21 w 32"/>
                <a:gd name="T43" fmla="*/ 28 h 71"/>
                <a:gd name="T44" fmla="*/ 21 w 32"/>
                <a:gd name="T45" fmla="*/ 28 h 71"/>
                <a:gd name="T46" fmla="*/ 20 w 32"/>
                <a:gd name="T47" fmla="*/ 28 h 71"/>
                <a:gd name="T48" fmla="*/ 19 w 32"/>
                <a:gd name="T49" fmla="*/ 25 h 71"/>
                <a:gd name="T50" fmla="*/ 21 w 32"/>
                <a:gd name="T51" fmla="*/ 29 h 71"/>
                <a:gd name="T52" fmla="*/ 21 w 32"/>
                <a:gd name="T53" fmla="*/ 21 h 71"/>
                <a:gd name="T54" fmla="*/ 24 w 32"/>
                <a:gd name="T55" fmla="*/ 25 h 71"/>
                <a:gd name="T56" fmla="*/ 25 w 32"/>
                <a:gd name="T57" fmla="*/ 25 h 71"/>
                <a:gd name="T58" fmla="*/ 25 w 32"/>
                <a:gd name="T59" fmla="*/ 21 h 71"/>
                <a:gd name="T60" fmla="*/ 26 w 32"/>
                <a:gd name="T61" fmla="*/ 25 h 71"/>
                <a:gd name="T62" fmla="*/ 27 w 32"/>
                <a:gd name="T63" fmla="*/ 21 h 71"/>
                <a:gd name="T64" fmla="*/ 29 w 32"/>
                <a:gd name="T65" fmla="*/ 24 h 71"/>
                <a:gd name="T66" fmla="*/ 29 w 32"/>
                <a:gd name="T67" fmla="*/ 21 h 71"/>
                <a:gd name="T68" fmla="*/ 31 w 32"/>
                <a:gd name="T69" fmla="*/ 24 h 71"/>
                <a:gd name="T70" fmla="*/ 8 w 32"/>
                <a:gd name="T71" fmla="*/ 23 h 71"/>
                <a:gd name="T72" fmla="*/ 9 w 32"/>
                <a:gd name="T73" fmla="*/ 23 h 71"/>
                <a:gd name="T74" fmla="*/ 7 w 32"/>
                <a:gd name="T75" fmla="*/ 21 h 71"/>
                <a:gd name="T76" fmla="*/ 7 w 32"/>
                <a:gd name="T77" fmla="*/ 23 h 71"/>
                <a:gd name="T78" fmla="*/ 6 w 32"/>
                <a:gd name="T79" fmla="*/ 20 h 71"/>
                <a:gd name="T80" fmla="*/ 25 w 32"/>
                <a:gd name="T81" fmla="*/ 4 h 71"/>
                <a:gd name="T82" fmla="*/ 23 w 32"/>
                <a:gd name="T83" fmla="*/ 69 h 71"/>
                <a:gd name="T84" fmla="*/ 11 w 32"/>
                <a:gd name="T85" fmla="*/ 20 h 71"/>
                <a:gd name="T86" fmla="*/ 16 w 32"/>
                <a:gd name="T87" fmla="*/ 8 h 71"/>
                <a:gd name="T88" fmla="*/ 25 w 32"/>
                <a:gd name="T89" fmla="*/ 20 h 71"/>
                <a:gd name="T90" fmla="*/ 23 w 32"/>
                <a:gd name="T91" fmla="*/ 69 h 71"/>
                <a:gd name="T92" fmla="*/ 15 w 32"/>
                <a:gd name="T93" fmla="*/ 7 h 71"/>
                <a:gd name="T94" fmla="*/ 3 w 32"/>
                <a:gd name="T95" fmla="*/ 20 h 71"/>
                <a:gd name="T96" fmla="*/ 8 w 32"/>
                <a:gd name="T97" fmla="*/ 24 h 71"/>
                <a:gd name="T98" fmla="*/ 23 w 32"/>
                <a:gd name="T99" fmla="*/ 70 h 71"/>
                <a:gd name="T100" fmla="*/ 26 w 32"/>
                <a:gd name="T101" fmla="*/ 71 h 71"/>
                <a:gd name="T102" fmla="*/ 30 w 32"/>
                <a:gd name="T103" fmla="*/ 66 h 71"/>
                <a:gd name="T104" fmla="*/ 23 w 32"/>
                <a:gd name="T105" fmla="*/ 26 h 71"/>
                <a:gd name="T106" fmla="*/ 32 w 32"/>
                <a:gd name="T107" fmla="*/ 25 h 71"/>
                <a:gd name="T108" fmla="*/ 32 w 32"/>
                <a:gd name="T109" fmla="*/ 25 h 71"/>
                <a:gd name="T110" fmla="*/ 32 w 32"/>
                <a:gd name="T111" fmla="*/ 25 h 71"/>
                <a:gd name="T112" fmla="*/ 27 w 32"/>
                <a:gd name="T113" fmla="*/ 6 h 71"/>
                <a:gd name="T114" fmla="*/ 24 w 32"/>
                <a:gd name="T11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 h="71">
                  <a:moveTo>
                    <a:pt x="26" y="70"/>
                  </a:moveTo>
                  <a:cubicBezTo>
                    <a:pt x="25" y="70"/>
                    <a:pt x="25" y="70"/>
                    <a:pt x="25" y="69"/>
                  </a:cubicBezTo>
                  <a:cubicBezTo>
                    <a:pt x="24" y="69"/>
                    <a:pt x="24" y="69"/>
                    <a:pt x="24" y="69"/>
                  </a:cubicBezTo>
                  <a:cubicBezTo>
                    <a:pt x="25" y="69"/>
                    <a:pt x="25" y="69"/>
                    <a:pt x="25" y="69"/>
                  </a:cubicBezTo>
                  <a:cubicBezTo>
                    <a:pt x="26" y="70"/>
                    <a:pt x="26" y="70"/>
                    <a:pt x="26" y="70"/>
                  </a:cubicBezTo>
                  <a:moveTo>
                    <a:pt x="26" y="70"/>
                  </a:moveTo>
                  <a:cubicBezTo>
                    <a:pt x="26" y="68"/>
                    <a:pt x="26" y="68"/>
                    <a:pt x="26" y="68"/>
                  </a:cubicBezTo>
                  <a:cubicBezTo>
                    <a:pt x="26" y="67"/>
                    <a:pt x="26" y="67"/>
                    <a:pt x="26" y="67"/>
                  </a:cubicBezTo>
                  <a:cubicBezTo>
                    <a:pt x="27" y="68"/>
                    <a:pt x="27" y="69"/>
                    <a:pt x="27" y="69"/>
                  </a:cubicBezTo>
                  <a:cubicBezTo>
                    <a:pt x="27" y="69"/>
                    <a:pt x="27" y="69"/>
                    <a:pt x="27" y="69"/>
                  </a:cubicBezTo>
                  <a:cubicBezTo>
                    <a:pt x="26" y="70"/>
                    <a:pt x="26" y="70"/>
                    <a:pt x="26" y="70"/>
                  </a:cubicBezTo>
                  <a:moveTo>
                    <a:pt x="29" y="67"/>
                  </a:moveTo>
                  <a:cubicBezTo>
                    <a:pt x="28" y="66"/>
                    <a:pt x="28" y="66"/>
                    <a:pt x="28" y="66"/>
                  </a:cubicBezTo>
                  <a:cubicBezTo>
                    <a:pt x="29" y="67"/>
                    <a:pt x="29" y="67"/>
                    <a:pt x="29" y="67"/>
                  </a:cubicBezTo>
                  <a:cubicBezTo>
                    <a:pt x="29" y="67"/>
                    <a:pt x="29" y="67"/>
                    <a:pt x="29" y="67"/>
                  </a:cubicBezTo>
                  <a:moveTo>
                    <a:pt x="27" y="69"/>
                  </a:moveTo>
                  <a:cubicBezTo>
                    <a:pt x="27" y="68"/>
                    <a:pt x="27" y="67"/>
                    <a:pt x="27" y="67"/>
                  </a:cubicBezTo>
                  <a:cubicBezTo>
                    <a:pt x="27" y="66"/>
                    <a:pt x="27" y="66"/>
                    <a:pt x="27" y="66"/>
                  </a:cubicBezTo>
                  <a:cubicBezTo>
                    <a:pt x="28" y="66"/>
                    <a:pt x="28" y="66"/>
                    <a:pt x="28" y="66"/>
                  </a:cubicBezTo>
                  <a:cubicBezTo>
                    <a:pt x="28" y="68"/>
                    <a:pt x="28" y="68"/>
                    <a:pt x="28" y="68"/>
                  </a:cubicBezTo>
                  <a:cubicBezTo>
                    <a:pt x="28" y="68"/>
                    <a:pt x="28" y="68"/>
                    <a:pt x="28" y="68"/>
                  </a:cubicBezTo>
                  <a:cubicBezTo>
                    <a:pt x="27" y="69"/>
                    <a:pt x="27" y="69"/>
                    <a:pt x="27" y="69"/>
                  </a:cubicBezTo>
                  <a:moveTo>
                    <a:pt x="28" y="65"/>
                  </a:moveTo>
                  <a:cubicBezTo>
                    <a:pt x="27" y="65"/>
                    <a:pt x="27" y="65"/>
                    <a:pt x="27" y="65"/>
                  </a:cubicBezTo>
                  <a:cubicBezTo>
                    <a:pt x="27" y="64"/>
                    <a:pt x="27" y="64"/>
                    <a:pt x="27" y="64"/>
                  </a:cubicBezTo>
                  <a:cubicBezTo>
                    <a:pt x="25" y="62"/>
                    <a:pt x="22" y="59"/>
                    <a:pt x="19" y="54"/>
                  </a:cubicBezTo>
                  <a:cubicBezTo>
                    <a:pt x="21" y="56"/>
                    <a:pt x="23" y="59"/>
                    <a:pt x="25" y="61"/>
                  </a:cubicBezTo>
                  <a:cubicBezTo>
                    <a:pt x="26" y="62"/>
                    <a:pt x="27" y="63"/>
                    <a:pt x="28" y="65"/>
                  </a:cubicBezTo>
                  <a:moveTo>
                    <a:pt x="23" y="58"/>
                  </a:moveTo>
                  <a:cubicBezTo>
                    <a:pt x="21" y="56"/>
                    <a:pt x="20" y="54"/>
                    <a:pt x="19" y="52"/>
                  </a:cubicBezTo>
                  <a:cubicBezTo>
                    <a:pt x="18" y="50"/>
                    <a:pt x="17" y="48"/>
                    <a:pt x="17" y="46"/>
                  </a:cubicBezTo>
                  <a:cubicBezTo>
                    <a:pt x="17" y="47"/>
                    <a:pt x="18" y="48"/>
                    <a:pt x="18" y="49"/>
                  </a:cubicBezTo>
                  <a:cubicBezTo>
                    <a:pt x="19" y="50"/>
                    <a:pt x="20" y="51"/>
                    <a:pt x="20" y="52"/>
                  </a:cubicBezTo>
                  <a:cubicBezTo>
                    <a:pt x="20" y="53"/>
                    <a:pt x="20" y="53"/>
                    <a:pt x="20" y="53"/>
                  </a:cubicBezTo>
                  <a:cubicBezTo>
                    <a:pt x="21" y="54"/>
                    <a:pt x="22" y="56"/>
                    <a:pt x="23" y="58"/>
                  </a:cubicBezTo>
                  <a:moveTo>
                    <a:pt x="20" y="50"/>
                  </a:moveTo>
                  <a:cubicBezTo>
                    <a:pt x="19" y="49"/>
                    <a:pt x="19" y="49"/>
                    <a:pt x="19" y="48"/>
                  </a:cubicBezTo>
                  <a:cubicBezTo>
                    <a:pt x="18" y="47"/>
                    <a:pt x="17" y="46"/>
                    <a:pt x="17" y="45"/>
                  </a:cubicBezTo>
                  <a:cubicBezTo>
                    <a:pt x="16" y="43"/>
                    <a:pt x="16" y="42"/>
                    <a:pt x="16" y="40"/>
                  </a:cubicBezTo>
                  <a:cubicBezTo>
                    <a:pt x="18" y="46"/>
                    <a:pt x="18" y="46"/>
                    <a:pt x="18" y="46"/>
                  </a:cubicBezTo>
                  <a:cubicBezTo>
                    <a:pt x="19" y="47"/>
                    <a:pt x="19" y="47"/>
                    <a:pt x="19" y="47"/>
                  </a:cubicBezTo>
                  <a:cubicBezTo>
                    <a:pt x="19" y="47"/>
                    <a:pt x="19" y="47"/>
                    <a:pt x="19" y="47"/>
                  </a:cubicBezTo>
                  <a:cubicBezTo>
                    <a:pt x="19" y="47"/>
                    <a:pt x="19" y="47"/>
                    <a:pt x="19" y="47"/>
                  </a:cubicBezTo>
                  <a:cubicBezTo>
                    <a:pt x="19" y="48"/>
                    <a:pt x="19" y="49"/>
                    <a:pt x="20" y="50"/>
                  </a:cubicBezTo>
                  <a:moveTo>
                    <a:pt x="18" y="45"/>
                  </a:moveTo>
                  <a:cubicBezTo>
                    <a:pt x="16" y="39"/>
                    <a:pt x="16" y="39"/>
                    <a:pt x="16" y="39"/>
                  </a:cubicBezTo>
                  <a:cubicBezTo>
                    <a:pt x="16" y="38"/>
                    <a:pt x="16" y="36"/>
                    <a:pt x="16" y="35"/>
                  </a:cubicBezTo>
                  <a:cubicBezTo>
                    <a:pt x="17" y="37"/>
                    <a:pt x="18" y="39"/>
                    <a:pt x="18" y="40"/>
                  </a:cubicBezTo>
                  <a:cubicBezTo>
                    <a:pt x="18" y="42"/>
                    <a:pt x="18" y="43"/>
                    <a:pt x="18" y="45"/>
                  </a:cubicBezTo>
                  <a:moveTo>
                    <a:pt x="18" y="39"/>
                  </a:moveTo>
                  <a:cubicBezTo>
                    <a:pt x="18" y="37"/>
                    <a:pt x="17" y="36"/>
                    <a:pt x="17" y="34"/>
                  </a:cubicBezTo>
                  <a:cubicBezTo>
                    <a:pt x="17" y="33"/>
                    <a:pt x="17" y="31"/>
                    <a:pt x="17" y="30"/>
                  </a:cubicBezTo>
                  <a:cubicBezTo>
                    <a:pt x="19" y="36"/>
                    <a:pt x="19" y="36"/>
                    <a:pt x="19" y="36"/>
                  </a:cubicBezTo>
                  <a:cubicBezTo>
                    <a:pt x="19" y="37"/>
                    <a:pt x="18" y="38"/>
                    <a:pt x="18" y="39"/>
                  </a:cubicBezTo>
                  <a:moveTo>
                    <a:pt x="19" y="34"/>
                  </a:moveTo>
                  <a:cubicBezTo>
                    <a:pt x="18" y="29"/>
                    <a:pt x="18" y="29"/>
                    <a:pt x="18" y="29"/>
                  </a:cubicBezTo>
                  <a:cubicBezTo>
                    <a:pt x="18" y="28"/>
                    <a:pt x="18" y="27"/>
                    <a:pt x="19" y="26"/>
                  </a:cubicBezTo>
                  <a:cubicBezTo>
                    <a:pt x="19" y="26"/>
                    <a:pt x="19" y="27"/>
                    <a:pt x="19" y="27"/>
                  </a:cubicBezTo>
                  <a:cubicBezTo>
                    <a:pt x="19" y="28"/>
                    <a:pt x="19" y="28"/>
                    <a:pt x="19" y="28"/>
                  </a:cubicBezTo>
                  <a:cubicBezTo>
                    <a:pt x="19" y="28"/>
                    <a:pt x="19" y="28"/>
                    <a:pt x="19" y="28"/>
                  </a:cubicBezTo>
                  <a:cubicBezTo>
                    <a:pt x="19" y="29"/>
                    <a:pt x="20" y="30"/>
                    <a:pt x="20" y="31"/>
                  </a:cubicBezTo>
                  <a:cubicBezTo>
                    <a:pt x="20" y="32"/>
                    <a:pt x="20" y="32"/>
                    <a:pt x="20" y="32"/>
                  </a:cubicBezTo>
                  <a:cubicBezTo>
                    <a:pt x="20" y="32"/>
                    <a:pt x="20" y="32"/>
                    <a:pt x="20" y="32"/>
                  </a:cubicBezTo>
                  <a:cubicBezTo>
                    <a:pt x="20" y="32"/>
                    <a:pt x="20" y="32"/>
                    <a:pt x="20" y="32"/>
                  </a:cubicBezTo>
                  <a:cubicBezTo>
                    <a:pt x="19" y="33"/>
                    <a:pt x="19" y="34"/>
                    <a:pt x="19" y="34"/>
                  </a:cubicBezTo>
                  <a:moveTo>
                    <a:pt x="21" y="28"/>
                  </a:moveTo>
                  <a:cubicBezTo>
                    <a:pt x="21" y="26"/>
                    <a:pt x="21" y="24"/>
                    <a:pt x="21" y="23"/>
                  </a:cubicBezTo>
                  <a:cubicBezTo>
                    <a:pt x="22" y="25"/>
                    <a:pt x="22" y="25"/>
                    <a:pt x="22" y="25"/>
                  </a:cubicBezTo>
                  <a:cubicBezTo>
                    <a:pt x="22" y="26"/>
                    <a:pt x="22" y="27"/>
                    <a:pt x="21" y="28"/>
                  </a:cubicBezTo>
                  <a:moveTo>
                    <a:pt x="20" y="31"/>
                  </a:moveTo>
                  <a:cubicBezTo>
                    <a:pt x="20" y="30"/>
                    <a:pt x="20" y="29"/>
                    <a:pt x="20" y="28"/>
                  </a:cubicBezTo>
                  <a:cubicBezTo>
                    <a:pt x="20" y="28"/>
                    <a:pt x="20" y="28"/>
                    <a:pt x="20" y="28"/>
                  </a:cubicBezTo>
                  <a:cubicBezTo>
                    <a:pt x="20" y="27"/>
                    <a:pt x="20" y="27"/>
                    <a:pt x="20" y="27"/>
                  </a:cubicBezTo>
                  <a:cubicBezTo>
                    <a:pt x="20" y="26"/>
                    <a:pt x="19" y="26"/>
                    <a:pt x="19" y="25"/>
                  </a:cubicBezTo>
                  <a:cubicBezTo>
                    <a:pt x="19" y="25"/>
                    <a:pt x="19" y="25"/>
                    <a:pt x="19" y="25"/>
                  </a:cubicBezTo>
                  <a:cubicBezTo>
                    <a:pt x="20" y="24"/>
                    <a:pt x="20" y="23"/>
                    <a:pt x="20" y="22"/>
                  </a:cubicBezTo>
                  <a:cubicBezTo>
                    <a:pt x="20" y="24"/>
                    <a:pt x="20" y="26"/>
                    <a:pt x="21" y="28"/>
                  </a:cubicBezTo>
                  <a:cubicBezTo>
                    <a:pt x="21" y="29"/>
                    <a:pt x="21" y="29"/>
                    <a:pt x="21" y="29"/>
                  </a:cubicBezTo>
                  <a:cubicBezTo>
                    <a:pt x="21" y="29"/>
                    <a:pt x="20" y="30"/>
                    <a:pt x="20" y="31"/>
                  </a:cubicBezTo>
                  <a:moveTo>
                    <a:pt x="23" y="24"/>
                  </a:moveTo>
                  <a:cubicBezTo>
                    <a:pt x="21" y="21"/>
                    <a:pt x="21" y="21"/>
                    <a:pt x="21" y="21"/>
                  </a:cubicBezTo>
                  <a:cubicBezTo>
                    <a:pt x="22" y="21"/>
                    <a:pt x="22" y="21"/>
                    <a:pt x="23" y="21"/>
                  </a:cubicBezTo>
                  <a:cubicBezTo>
                    <a:pt x="23" y="24"/>
                    <a:pt x="23" y="24"/>
                    <a:pt x="23" y="24"/>
                  </a:cubicBezTo>
                  <a:moveTo>
                    <a:pt x="24" y="25"/>
                  </a:moveTo>
                  <a:cubicBezTo>
                    <a:pt x="23" y="21"/>
                    <a:pt x="23" y="21"/>
                    <a:pt x="23" y="21"/>
                  </a:cubicBezTo>
                  <a:cubicBezTo>
                    <a:pt x="24" y="21"/>
                    <a:pt x="24" y="21"/>
                    <a:pt x="25" y="21"/>
                  </a:cubicBezTo>
                  <a:cubicBezTo>
                    <a:pt x="25" y="22"/>
                    <a:pt x="25" y="23"/>
                    <a:pt x="25" y="25"/>
                  </a:cubicBezTo>
                  <a:cubicBezTo>
                    <a:pt x="24" y="25"/>
                    <a:pt x="24" y="25"/>
                    <a:pt x="24" y="25"/>
                  </a:cubicBezTo>
                  <a:moveTo>
                    <a:pt x="26" y="25"/>
                  </a:moveTo>
                  <a:cubicBezTo>
                    <a:pt x="25" y="23"/>
                    <a:pt x="25" y="22"/>
                    <a:pt x="25" y="21"/>
                  </a:cubicBezTo>
                  <a:cubicBezTo>
                    <a:pt x="26" y="21"/>
                    <a:pt x="26" y="21"/>
                    <a:pt x="27" y="21"/>
                  </a:cubicBezTo>
                  <a:cubicBezTo>
                    <a:pt x="27" y="22"/>
                    <a:pt x="26" y="23"/>
                    <a:pt x="26" y="24"/>
                  </a:cubicBezTo>
                  <a:cubicBezTo>
                    <a:pt x="26" y="25"/>
                    <a:pt x="26" y="25"/>
                    <a:pt x="26" y="25"/>
                  </a:cubicBezTo>
                  <a:cubicBezTo>
                    <a:pt x="26" y="25"/>
                    <a:pt x="26" y="25"/>
                    <a:pt x="26" y="25"/>
                  </a:cubicBezTo>
                  <a:moveTo>
                    <a:pt x="27" y="25"/>
                  </a:moveTo>
                  <a:cubicBezTo>
                    <a:pt x="27" y="23"/>
                    <a:pt x="27" y="22"/>
                    <a:pt x="27" y="21"/>
                  </a:cubicBezTo>
                  <a:cubicBezTo>
                    <a:pt x="28" y="21"/>
                    <a:pt x="28" y="21"/>
                    <a:pt x="29" y="21"/>
                  </a:cubicBezTo>
                  <a:cubicBezTo>
                    <a:pt x="29" y="24"/>
                    <a:pt x="29" y="24"/>
                    <a:pt x="29" y="24"/>
                  </a:cubicBezTo>
                  <a:cubicBezTo>
                    <a:pt x="29" y="24"/>
                    <a:pt x="29" y="24"/>
                    <a:pt x="29" y="24"/>
                  </a:cubicBezTo>
                  <a:cubicBezTo>
                    <a:pt x="28" y="24"/>
                    <a:pt x="27" y="24"/>
                    <a:pt x="27" y="25"/>
                  </a:cubicBezTo>
                  <a:moveTo>
                    <a:pt x="29" y="24"/>
                  </a:moveTo>
                  <a:cubicBezTo>
                    <a:pt x="29" y="21"/>
                    <a:pt x="29" y="21"/>
                    <a:pt x="29" y="21"/>
                  </a:cubicBezTo>
                  <a:cubicBezTo>
                    <a:pt x="29" y="21"/>
                    <a:pt x="29" y="21"/>
                    <a:pt x="29" y="21"/>
                  </a:cubicBezTo>
                  <a:cubicBezTo>
                    <a:pt x="30" y="22"/>
                    <a:pt x="30" y="22"/>
                    <a:pt x="30" y="23"/>
                  </a:cubicBezTo>
                  <a:cubicBezTo>
                    <a:pt x="31" y="23"/>
                    <a:pt x="31" y="24"/>
                    <a:pt x="31" y="24"/>
                  </a:cubicBezTo>
                  <a:cubicBezTo>
                    <a:pt x="31" y="24"/>
                    <a:pt x="30" y="24"/>
                    <a:pt x="29" y="24"/>
                  </a:cubicBezTo>
                  <a:moveTo>
                    <a:pt x="9" y="23"/>
                  </a:moveTo>
                  <a:cubicBezTo>
                    <a:pt x="8" y="23"/>
                    <a:pt x="8" y="23"/>
                    <a:pt x="8" y="23"/>
                  </a:cubicBezTo>
                  <a:cubicBezTo>
                    <a:pt x="8" y="23"/>
                    <a:pt x="8" y="22"/>
                    <a:pt x="9" y="21"/>
                  </a:cubicBezTo>
                  <a:cubicBezTo>
                    <a:pt x="10" y="21"/>
                    <a:pt x="10" y="21"/>
                    <a:pt x="10" y="21"/>
                  </a:cubicBezTo>
                  <a:cubicBezTo>
                    <a:pt x="9" y="22"/>
                    <a:pt x="9" y="23"/>
                    <a:pt x="9" y="23"/>
                  </a:cubicBezTo>
                  <a:moveTo>
                    <a:pt x="7" y="23"/>
                  </a:moveTo>
                  <a:cubicBezTo>
                    <a:pt x="6" y="23"/>
                    <a:pt x="6" y="23"/>
                    <a:pt x="6" y="23"/>
                  </a:cubicBezTo>
                  <a:cubicBezTo>
                    <a:pt x="6" y="22"/>
                    <a:pt x="7" y="21"/>
                    <a:pt x="7" y="21"/>
                  </a:cubicBezTo>
                  <a:cubicBezTo>
                    <a:pt x="8" y="21"/>
                    <a:pt x="8" y="21"/>
                    <a:pt x="8" y="21"/>
                  </a:cubicBezTo>
                  <a:cubicBezTo>
                    <a:pt x="8" y="21"/>
                    <a:pt x="8" y="21"/>
                    <a:pt x="8" y="21"/>
                  </a:cubicBezTo>
                  <a:cubicBezTo>
                    <a:pt x="8" y="22"/>
                    <a:pt x="8" y="22"/>
                    <a:pt x="7" y="23"/>
                  </a:cubicBezTo>
                  <a:moveTo>
                    <a:pt x="6" y="23"/>
                  </a:moveTo>
                  <a:cubicBezTo>
                    <a:pt x="5" y="22"/>
                    <a:pt x="5" y="21"/>
                    <a:pt x="4" y="20"/>
                  </a:cubicBezTo>
                  <a:cubicBezTo>
                    <a:pt x="5" y="20"/>
                    <a:pt x="6" y="20"/>
                    <a:pt x="6" y="20"/>
                  </a:cubicBezTo>
                  <a:cubicBezTo>
                    <a:pt x="6" y="21"/>
                    <a:pt x="6" y="22"/>
                    <a:pt x="6" y="23"/>
                  </a:cubicBezTo>
                  <a:moveTo>
                    <a:pt x="27" y="12"/>
                  </a:moveTo>
                  <a:cubicBezTo>
                    <a:pt x="26" y="9"/>
                    <a:pt x="25" y="7"/>
                    <a:pt x="25" y="4"/>
                  </a:cubicBezTo>
                  <a:cubicBezTo>
                    <a:pt x="26" y="6"/>
                    <a:pt x="26" y="6"/>
                    <a:pt x="26" y="6"/>
                  </a:cubicBezTo>
                  <a:cubicBezTo>
                    <a:pt x="26" y="8"/>
                    <a:pt x="27" y="10"/>
                    <a:pt x="27" y="12"/>
                  </a:cubicBezTo>
                  <a:moveTo>
                    <a:pt x="23" y="69"/>
                  </a:moveTo>
                  <a:cubicBezTo>
                    <a:pt x="16" y="63"/>
                    <a:pt x="0" y="42"/>
                    <a:pt x="11" y="21"/>
                  </a:cubicBezTo>
                  <a:cubicBezTo>
                    <a:pt x="11" y="20"/>
                    <a:pt x="11" y="20"/>
                    <a:pt x="11" y="20"/>
                  </a:cubicBezTo>
                  <a:cubicBezTo>
                    <a:pt x="11" y="20"/>
                    <a:pt x="11" y="20"/>
                    <a:pt x="11" y="20"/>
                  </a:cubicBezTo>
                  <a:cubicBezTo>
                    <a:pt x="8" y="20"/>
                    <a:pt x="8" y="20"/>
                    <a:pt x="8" y="20"/>
                  </a:cubicBezTo>
                  <a:cubicBezTo>
                    <a:pt x="7" y="19"/>
                    <a:pt x="6" y="19"/>
                    <a:pt x="5" y="19"/>
                  </a:cubicBezTo>
                  <a:cubicBezTo>
                    <a:pt x="8" y="15"/>
                    <a:pt x="12" y="11"/>
                    <a:pt x="16" y="8"/>
                  </a:cubicBezTo>
                  <a:cubicBezTo>
                    <a:pt x="19" y="5"/>
                    <a:pt x="21" y="3"/>
                    <a:pt x="23" y="1"/>
                  </a:cubicBezTo>
                  <a:cubicBezTo>
                    <a:pt x="24" y="7"/>
                    <a:pt x="26" y="14"/>
                    <a:pt x="29" y="20"/>
                  </a:cubicBezTo>
                  <a:cubicBezTo>
                    <a:pt x="28" y="20"/>
                    <a:pt x="26" y="20"/>
                    <a:pt x="25" y="20"/>
                  </a:cubicBezTo>
                  <a:cubicBezTo>
                    <a:pt x="21" y="20"/>
                    <a:pt x="20" y="20"/>
                    <a:pt x="20" y="21"/>
                  </a:cubicBezTo>
                  <a:cubicBezTo>
                    <a:pt x="9" y="42"/>
                    <a:pt x="19" y="60"/>
                    <a:pt x="27" y="65"/>
                  </a:cubicBezTo>
                  <a:cubicBezTo>
                    <a:pt x="26" y="66"/>
                    <a:pt x="24" y="68"/>
                    <a:pt x="23" y="69"/>
                  </a:cubicBezTo>
                  <a:moveTo>
                    <a:pt x="23" y="0"/>
                  </a:moveTo>
                  <a:cubicBezTo>
                    <a:pt x="23" y="0"/>
                    <a:pt x="23" y="0"/>
                    <a:pt x="23" y="0"/>
                  </a:cubicBezTo>
                  <a:cubicBezTo>
                    <a:pt x="21" y="2"/>
                    <a:pt x="18" y="4"/>
                    <a:pt x="15" y="7"/>
                  </a:cubicBezTo>
                  <a:cubicBezTo>
                    <a:pt x="11" y="11"/>
                    <a:pt x="7" y="15"/>
                    <a:pt x="3" y="19"/>
                  </a:cubicBezTo>
                  <a:cubicBezTo>
                    <a:pt x="3" y="19"/>
                    <a:pt x="3" y="19"/>
                    <a:pt x="3" y="19"/>
                  </a:cubicBezTo>
                  <a:cubicBezTo>
                    <a:pt x="3" y="20"/>
                    <a:pt x="3" y="20"/>
                    <a:pt x="3" y="20"/>
                  </a:cubicBezTo>
                  <a:cubicBezTo>
                    <a:pt x="4" y="21"/>
                    <a:pt x="5" y="23"/>
                    <a:pt x="5" y="24"/>
                  </a:cubicBezTo>
                  <a:cubicBezTo>
                    <a:pt x="6" y="24"/>
                    <a:pt x="6" y="24"/>
                    <a:pt x="6" y="24"/>
                  </a:cubicBezTo>
                  <a:cubicBezTo>
                    <a:pt x="6" y="24"/>
                    <a:pt x="7" y="24"/>
                    <a:pt x="8" y="24"/>
                  </a:cubicBezTo>
                  <a:cubicBezTo>
                    <a:pt x="8" y="24"/>
                    <a:pt x="8" y="24"/>
                    <a:pt x="8" y="24"/>
                  </a:cubicBezTo>
                  <a:cubicBezTo>
                    <a:pt x="2" y="44"/>
                    <a:pt x="14" y="64"/>
                    <a:pt x="23" y="69"/>
                  </a:cubicBezTo>
                  <a:cubicBezTo>
                    <a:pt x="23" y="70"/>
                    <a:pt x="23" y="70"/>
                    <a:pt x="23" y="70"/>
                  </a:cubicBezTo>
                  <a:cubicBezTo>
                    <a:pt x="23" y="70"/>
                    <a:pt x="24" y="70"/>
                    <a:pt x="24" y="70"/>
                  </a:cubicBezTo>
                  <a:cubicBezTo>
                    <a:pt x="25" y="71"/>
                    <a:pt x="25" y="71"/>
                    <a:pt x="26" y="71"/>
                  </a:cubicBezTo>
                  <a:cubicBezTo>
                    <a:pt x="26" y="71"/>
                    <a:pt x="26" y="71"/>
                    <a:pt x="26" y="71"/>
                  </a:cubicBezTo>
                  <a:cubicBezTo>
                    <a:pt x="26" y="71"/>
                    <a:pt x="26" y="71"/>
                    <a:pt x="26" y="71"/>
                  </a:cubicBezTo>
                  <a:cubicBezTo>
                    <a:pt x="27" y="71"/>
                    <a:pt x="29" y="68"/>
                    <a:pt x="30" y="67"/>
                  </a:cubicBezTo>
                  <a:cubicBezTo>
                    <a:pt x="30" y="66"/>
                    <a:pt x="30" y="66"/>
                    <a:pt x="30" y="66"/>
                  </a:cubicBezTo>
                  <a:cubicBezTo>
                    <a:pt x="30" y="66"/>
                    <a:pt x="30" y="66"/>
                    <a:pt x="30" y="66"/>
                  </a:cubicBezTo>
                  <a:cubicBezTo>
                    <a:pt x="29" y="65"/>
                    <a:pt x="29" y="65"/>
                    <a:pt x="29" y="65"/>
                  </a:cubicBezTo>
                  <a:cubicBezTo>
                    <a:pt x="23" y="56"/>
                    <a:pt x="14" y="44"/>
                    <a:pt x="23" y="26"/>
                  </a:cubicBezTo>
                  <a:cubicBezTo>
                    <a:pt x="24" y="26"/>
                    <a:pt x="27" y="26"/>
                    <a:pt x="29" y="25"/>
                  </a:cubicBezTo>
                  <a:cubicBezTo>
                    <a:pt x="30" y="25"/>
                    <a:pt x="31" y="25"/>
                    <a:pt x="32" y="25"/>
                  </a:cubicBezTo>
                  <a:cubicBezTo>
                    <a:pt x="32" y="25"/>
                    <a:pt x="32" y="25"/>
                    <a:pt x="32" y="25"/>
                  </a:cubicBezTo>
                  <a:cubicBezTo>
                    <a:pt x="32" y="25"/>
                    <a:pt x="32" y="25"/>
                    <a:pt x="32" y="25"/>
                  </a:cubicBezTo>
                  <a:cubicBezTo>
                    <a:pt x="32" y="25"/>
                    <a:pt x="32" y="25"/>
                    <a:pt x="32" y="25"/>
                  </a:cubicBezTo>
                  <a:cubicBezTo>
                    <a:pt x="32" y="25"/>
                    <a:pt x="32" y="25"/>
                    <a:pt x="32" y="25"/>
                  </a:cubicBezTo>
                  <a:cubicBezTo>
                    <a:pt x="32" y="25"/>
                    <a:pt x="32" y="25"/>
                    <a:pt x="32" y="25"/>
                  </a:cubicBezTo>
                  <a:cubicBezTo>
                    <a:pt x="32" y="25"/>
                    <a:pt x="32" y="25"/>
                    <a:pt x="32" y="25"/>
                  </a:cubicBezTo>
                  <a:cubicBezTo>
                    <a:pt x="32" y="25"/>
                    <a:pt x="32" y="25"/>
                    <a:pt x="32" y="25"/>
                  </a:cubicBezTo>
                  <a:cubicBezTo>
                    <a:pt x="32" y="25"/>
                    <a:pt x="32" y="25"/>
                    <a:pt x="32" y="25"/>
                  </a:cubicBezTo>
                  <a:cubicBezTo>
                    <a:pt x="32" y="24"/>
                    <a:pt x="32" y="24"/>
                    <a:pt x="32" y="24"/>
                  </a:cubicBezTo>
                  <a:cubicBezTo>
                    <a:pt x="30" y="18"/>
                    <a:pt x="28" y="12"/>
                    <a:pt x="27" y="6"/>
                  </a:cubicBezTo>
                  <a:cubicBezTo>
                    <a:pt x="27" y="6"/>
                    <a:pt x="27" y="6"/>
                    <a:pt x="27" y="6"/>
                  </a:cubicBezTo>
                  <a:cubicBezTo>
                    <a:pt x="24" y="1"/>
                    <a:pt x="24" y="1"/>
                    <a:pt x="24" y="1"/>
                  </a:cubicBezTo>
                  <a:cubicBezTo>
                    <a:pt x="24" y="0"/>
                    <a:pt x="24" y="0"/>
                    <a:pt x="24" y="0"/>
                  </a:cubicBezTo>
                  <a:cubicBezTo>
                    <a:pt x="23" y="0"/>
                    <a:pt x="23" y="0"/>
                    <a:pt x="23"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59" name="iSļíďè"/>
            <p:cNvSpPr/>
            <p:nvPr/>
          </p:nvSpPr>
          <p:spPr bwMode="auto">
            <a:xfrm>
              <a:off x="4046" y="2148"/>
              <a:ext cx="66" cy="67"/>
            </a:xfrm>
            <a:custGeom>
              <a:avLst/>
              <a:gdLst>
                <a:gd name="T0" fmla="*/ 14 w 28"/>
                <a:gd name="T1" fmla="*/ 27 h 28"/>
                <a:gd name="T2" fmla="*/ 12 w 28"/>
                <a:gd name="T3" fmla="*/ 27 h 28"/>
                <a:gd name="T4" fmla="*/ 11 w 28"/>
                <a:gd name="T5" fmla="*/ 27 h 28"/>
                <a:gd name="T6" fmla="*/ 3 w 28"/>
                <a:gd name="T7" fmla="*/ 24 h 28"/>
                <a:gd name="T8" fmla="*/ 2 w 28"/>
                <a:gd name="T9" fmla="*/ 19 h 28"/>
                <a:gd name="T10" fmla="*/ 2 w 28"/>
                <a:gd name="T11" fmla="*/ 16 h 28"/>
                <a:gd name="T12" fmla="*/ 3 w 28"/>
                <a:gd name="T13" fmla="*/ 7 h 28"/>
                <a:gd name="T14" fmla="*/ 13 w 28"/>
                <a:gd name="T15" fmla="*/ 4 h 28"/>
                <a:gd name="T16" fmla="*/ 16 w 28"/>
                <a:gd name="T17" fmla="*/ 4 h 28"/>
                <a:gd name="T18" fmla="*/ 16 w 28"/>
                <a:gd name="T19" fmla="*/ 4 h 28"/>
                <a:gd name="T20" fmla="*/ 21 w 28"/>
                <a:gd name="T21" fmla="*/ 5 h 28"/>
                <a:gd name="T22" fmla="*/ 16 w 28"/>
                <a:gd name="T23" fmla="*/ 13 h 28"/>
                <a:gd name="T24" fmla="*/ 13 w 28"/>
                <a:gd name="T25" fmla="*/ 17 h 28"/>
                <a:gd name="T26" fmla="*/ 12 w 28"/>
                <a:gd name="T27" fmla="*/ 13 h 28"/>
                <a:gd name="T28" fmla="*/ 10 w 28"/>
                <a:gd name="T29" fmla="*/ 9 h 28"/>
                <a:gd name="T30" fmla="*/ 9 w 28"/>
                <a:gd name="T31" fmla="*/ 9 h 28"/>
                <a:gd name="T32" fmla="*/ 9 w 28"/>
                <a:gd name="T33" fmla="*/ 9 h 28"/>
                <a:gd name="T34" fmla="*/ 6 w 28"/>
                <a:gd name="T35" fmla="*/ 12 h 28"/>
                <a:gd name="T36" fmla="*/ 6 w 28"/>
                <a:gd name="T37" fmla="*/ 12 h 28"/>
                <a:gd name="T38" fmla="*/ 6 w 28"/>
                <a:gd name="T39" fmla="*/ 13 h 28"/>
                <a:gd name="T40" fmla="*/ 13 w 28"/>
                <a:gd name="T41" fmla="*/ 22 h 28"/>
                <a:gd name="T42" fmla="*/ 13 w 28"/>
                <a:gd name="T43" fmla="*/ 23 h 28"/>
                <a:gd name="T44" fmla="*/ 14 w 28"/>
                <a:gd name="T45" fmla="*/ 22 h 28"/>
                <a:gd name="T46" fmla="*/ 25 w 28"/>
                <a:gd name="T47" fmla="*/ 8 h 28"/>
                <a:gd name="T48" fmla="*/ 25 w 28"/>
                <a:gd name="T49" fmla="*/ 9 h 28"/>
                <a:gd name="T50" fmla="*/ 25 w 28"/>
                <a:gd name="T51" fmla="*/ 10 h 28"/>
                <a:gd name="T52" fmla="*/ 25 w 28"/>
                <a:gd name="T53" fmla="*/ 21 h 28"/>
                <a:gd name="T54" fmla="*/ 22 w 28"/>
                <a:gd name="T55" fmla="*/ 25 h 28"/>
                <a:gd name="T56" fmla="*/ 14 w 28"/>
                <a:gd name="T57" fmla="*/ 27 h 28"/>
                <a:gd name="T58" fmla="*/ 13 w 28"/>
                <a:gd name="T59" fmla="*/ 18 h 28"/>
                <a:gd name="T60" fmla="*/ 14 w 28"/>
                <a:gd name="T61" fmla="*/ 18 h 28"/>
                <a:gd name="T62" fmla="*/ 17 w 28"/>
                <a:gd name="T63" fmla="*/ 13 h 28"/>
                <a:gd name="T64" fmla="*/ 25 w 28"/>
                <a:gd name="T65" fmla="*/ 2 h 28"/>
                <a:gd name="T66" fmla="*/ 27 w 28"/>
                <a:gd name="T67" fmla="*/ 4 h 28"/>
                <a:gd name="T68" fmla="*/ 13 w 28"/>
                <a:gd name="T69" fmla="*/ 21 h 28"/>
                <a:gd name="T70" fmla="*/ 7 w 28"/>
                <a:gd name="T71" fmla="*/ 13 h 28"/>
                <a:gd name="T72" fmla="*/ 9 w 28"/>
                <a:gd name="T73" fmla="*/ 10 h 28"/>
                <a:gd name="T74" fmla="*/ 11 w 28"/>
                <a:gd name="T75" fmla="*/ 14 h 28"/>
                <a:gd name="T76" fmla="*/ 13 w 28"/>
                <a:gd name="T77" fmla="*/ 18 h 28"/>
                <a:gd name="T78" fmla="*/ 13 w 28"/>
                <a:gd name="T79" fmla="*/ 18 h 28"/>
                <a:gd name="T80" fmla="*/ 25 w 28"/>
                <a:gd name="T81" fmla="*/ 0 h 28"/>
                <a:gd name="T82" fmla="*/ 25 w 28"/>
                <a:gd name="T83" fmla="*/ 1 h 28"/>
                <a:gd name="T84" fmla="*/ 22 w 28"/>
                <a:gd name="T85" fmla="*/ 4 h 28"/>
                <a:gd name="T86" fmla="*/ 16 w 28"/>
                <a:gd name="T87" fmla="*/ 3 h 28"/>
                <a:gd name="T88" fmla="*/ 16 w 28"/>
                <a:gd name="T89" fmla="*/ 3 h 28"/>
                <a:gd name="T90" fmla="*/ 13 w 28"/>
                <a:gd name="T91" fmla="*/ 3 h 28"/>
                <a:gd name="T92" fmla="*/ 2 w 28"/>
                <a:gd name="T93" fmla="*/ 7 h 28"/>
                <a:gd name="T94" fmla="*/ 1 w 28"/>
                <a:gd name="T95" fmla="*/ 16 h 28"/>
                <a:gd name="T96" fmla="*/ 1 w 28"/>
                <a:gd name="T97" fmla="*/ 19 h 28"/>
                <a:gd name="T98" fmla="*/ 2 w 28"/>
                <a:gd name="T99" fmla="*/ 25 h 28"/>
                <a:gd name="T100" fmla="*/ 11 w 28"/>
                <a:gd name="T101" fmla="*/ 28 h 28"/>
                <a:gd name="T102" fmla="*/ 12 w 28"/>
                <a:gd name="T103" fmla="*/ 28 h 28"/>
                <a:gd name="T104" fmla="*/ 14 w 28"/>
                <a:gd name="T105" fmla="*/ 28 h 28"/>
                <a:gd name="T106" fmla="*/ 23 w 28"/>
                <a:gd name="T107" fmla="*/ 26 h 28"/>
                <a:gd name="T108" fmla="*/ 26 w 28"/>
                <a:gd name="T109" fmla="*/ 21 h 28"/>
                <a:gd name="T110" fmla="*/ 26 w 28"/>
                <a:gd name="T111" fmla="*/ 10 h 28"/>
                <a:gd name="T112" fmla="*/ 26 w 28"/>
                <a:gd name="T113" fmla="*/ 9 h 28"/>
                <a:gd name="T114" fmla="*/ 25 w 28"/>
                <a:gd name="T115" fmla="*/ 7 h 28"/>
                <a:gd name="T116" fmla="*/ 28 w 28"/>
                <a:gd name="T117" fmla="*/ 4 h 28"/>
                <a:gd name="T118" fmla="*/ 28 w 28"/>
                <a:gd name="T119" fmla="*/ 4 h 28"/>
                <a:gd name="T120" fmla="*/ 27 w 28"/>
                <a:gd name="T121" fmla="*/ 3 h 28"/>
                <a:gd name="T122" fmla="*/ 26 w 28"/>
                <a:gd name="T123" fmla="*/ 1 h 28"/>
                <a:gd name="T124" fmla="*/ 25 w 28"/>
                <a:gd name="T1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 h="28">
                  <a:moveTo>
                    <a:pt x="14" y="27"/>
                  </a:moveTo>
                  <a:cubicBezTo>
                    <a:pt x="14" y="27"/>
                    <a:pt x="13" y="27"/>
                    <a:pt x="12" y="27"/>
                  </a:cubicBezTo>
                  <a:cubicBezTo>
                    <a:pt x="12" y="27"/>
                    <a:pt x="11" y="27"/>
                    <a:pt x="11" y="27"/>
                  </a:cubicBezTo>
                  <a:cubicBezTo>
                    <a:pt x="8" y="27"/>
                    <a:pt x="4" y="27"/>
                    <a:pt x="3" y="24"/>
                  </a:cubicBezTo>
                  <a:cubicBezTo>
                    <a:pt x="1" y="23"/>
                    <a:pt x="1" y="21"/>
                    <a:pt x="2" y="19"/>
                  </a:cubicBezTo>
                  <a:cubicBezTo>
                    <a:pt x="2" y="18"/>
                    <a:pt x="2" y="17"/>
                    <a:pt x="2" y="16"/>
                  </a:cubicBezTo>
                  <a:cubicBezTo>
                    <a:pt x="2" y="13"/>
                    <a:pt x="2" y="8"/>
                    <a:pt x="3" y="7"/>
                  </a:cubicBezTo>
                  <a:cubicBezTo>
                    <a:pt x="3" y="6"/>
                    <a:pt x="6" y="4"/>
                    <a:pt x="13" y="4"/>
                  </a:cubicBezTo>
                  <a:cubicBezTo>
                    <a:pt x="14" y="4"/>
                    <a:pt x="15" y="4"/>
                    <a:pt x="16" y="4"/>
                  </a:cubicBezTo>
                  <a:cubicBezTo>
                    <a:pt x="16" y="4"/>
                    <a:pt x="16" y="4"/>
                    <a:pt x="16" y="4"/>
                  </a:cubicBezTo>
                  <a:cubicBezTo>
                    <a:pt x="19" y="5"/>
                    <a:pt x="20" y="5"/>
                    <a:pt x="21" y="5"/>
                  </a:cubicBezTo>
                  <a:cubicBezTo>
                    <a:pt x="20" y="8"/>
                    <a:pt x="18" y="10"/>
                    <a:pt x="16" y="13"/>
                  </a:cubicBezTo>
                  <a:cubicBezTo>
                    <a:pt x="15" y="14"/>
                    <a:pt x="14" y="15"/>
                    <a:pt x="13" y="17"/>
                  </a:cubicBezTo>
                  <a:cubicBezTo>
                    <a:pt x="13" y="16"/>
                    <a:pt x="12" y="14"/>
                    <a:pt x="12" y="13"/>
                  </a:cubicBezTo>
                  <a:cubicBezTo>
                    <a:pt x="11" y="12"/>
                    <a:pt x="10" y="10"/>
                    <a:pt x="10" y="9"/>
                  </a:cubicBezTo>
                  <a:cubicBezTo>
                    <a:pt x="9" y="9"/>
                    <a:pt x="9" y="9"/>
                    <a:pt x="9" y="9"/>
                  </a:cubicBezTo>
                  <a:cubicBezTo>
                    <a:pt x="9" y="9"/>
                    <a:pt x="9" y="9"/>
                    <a:pt x="9" y="9"/>
                  </a:cubicBezTo>
                  <a:cubicBezTo>
                    <a:pt x="8" y="10"/>
                    <a:pt x="7" y="11"/>
                    <a:pt x="6" y="12"/>
                  </a:cubicBezTo>
                  <a:cubicBezTo>
                    <a:pt x="6" y="12"/>
                    <a:pt x="6" y="12"/>
                    <a:pt x="6" y="12"/>
                  </a:cubicBezTo>
                  <a:cubicBezTo>
                    <a:pt x="6" y="13"/>
                    <a:pt x="6" y="13"/>
                    <a:pt x="6" y="13"/>
                  </a:cubicBezTo>
                  <a:cubicBezTo>
                    <a:pt x="7" y="14"/>
                    <a:pt x="11" y="19"/>
                    <a:pt x="13" y="22"/>
                  </a:cubicBezTo>
                  <a:cubicBezTo>
                    <a:pt x="13" y="23"/>
                    <a:pt x="13" y="23"/>
                    <a:pt x="13" y="23"/>
                  </a:cubicBezTo>
                  <a:cubicBezTo>
                    <a:pt x="14" y="22"/>
                    <a:pt x="14" y="22"/>
                    <a:pt x="14" y="22"/>
                  </a:cubicBezTo>
                  <a:cubicBezTo>
                    <a:pt x="17" y="17"/>
                    <a:pt x="21" y="12"/>
                    <a:pt x="25" y="8"/>
                  </a:cubicBezTo>
                  <a:cubicBezTo>
                    <a:pt x="25" y="8"/>
                    <a:pt x="25" y="8"/>
                    <a:pt x="25" y="9"/>
                  </a:cubicBezTo>
                  <a:cubicBezTo>
                    <a:pt x="25" y="10"/>
                    <a:pt x="25" y="10"/>
                    <a:pt x="25" y="10"/>
                  </a:cubicBezTo>
                  <a:cubicBezTo>
                    <a:pt x="25" y="14"/>
                    <a:pt x="25" y="17"/>
                    <a:pt x="25" y="21"/>
                  </a:cubicBezTo>
                  <a:cubicBezTo>
                    <a:pt x="24" y="23"/>
                    <a:pt x="24" y="24"/>
                    <a:pt x="22" y="25"/>
                  </a:cubicBezTo>
                  <a:cubicBezTo>
                    <a:pt x="21" y="27"/>
                    <a:pt x="17" y="27"/>
                    <a:pt x="14" y="27"/>
                  </a:cubicBezTo>
                  <a:moveTo>
                    <a:pt x="13" y="18"/>
                  </a:moveTo>
                  <a:cubicBezTo>
                    <a:pt x="14" y="18"/>
                    <a:pt x="14" y="18"/>
                    <a:pt x="14" y="18"/>
                  </a:cubicBezTo>
                  <a:cubicBezTo>
                    <a:pt x="15" y="16"/>
                    <a:pt x="16" y="15"/>
                    <a:pt x="17" y="13"/>
                  </a:cubicBezTo>
                  <a:cubicBezTo>
                    <a:pt x="20" y="9"/>
                    <a:pt x="22" y="6"/>
                    <a:pt x="25" y="2"/>
                  </a:cubicBezTo>
                  <a:cubicBezTo>
                    <a:pt x="25" y="3"/>
                    <a:pt x="26" y="3"/>
                    <a:pt x="27" y="4"/>
                  </a:cubicBezTo>
                  <a:cubicBezTo>
                    <a:pt x="22" y="9"/>
                    <a:pt x="17" y="15"/>
                    <a:pt x="13" y="21"/>
                  </a:cubicBezTo>
                  <a:cubicBezTo>
                    <a:pt x="12" y="18"/>
                    <a:pt x="9" y="14"/>
                    <a:pt x="7" y="13"/>
                  </a:cubicBezTo>
                  <a:cubicBezTo>
                    <a:pt x="8" y="12"/>
                    <a:pt x="8" y="11"/>
                    <a:pt x="9" y="10"/>
                  </a:cubicBezTo>
                  <a:cubicBezTo>
                    <a:pt x="10" y="11"/>
                    <a:pt x="10" y="13"/>
                    <a:pt x="11" y="14"/>
                  </a:cubicBezTo>
                  <a:cubicBezTo>
                    <a:pt x="12" y="15"/>
                    <a:pt x="12" y="17"/>
                    <a:pt x="13" y="18"/>
                  </a:cubicBezTo>
                  <a:cubicBezTo>
                    <a:pt x="13" y="18"/>
                    <a:pt x="13" y="18"/>
                    <a:pt x="13" y="18"/>
                  </a:cubicBezTo>
                  <a:moveTo>
                    <a:pt x="25" y="0"/>
                  </a:moveTo>
                  <a:cubicBezTo>
                    <a:pt x="25" y="1"/>
                    <a:pt x="25" y="1"/>
                    <a:pt x="25" y="1"/>
                  </a:cubicBezTo>
                  <a:cubicBezTo>
                    <a:pt x="24" y="2"/>
                    <a:pt x="23" y="3"/>
                    <a:pt x="22" y="4"/>
                  </a:cubicBezTo>
                  <a:cubicBezTo>
                    <a:pt x="21" y="4"/>
                    <a:pt x="19" y="4"/>
                    <a:pt x="16" y="3"/>
                  </a:cubicBezTo>
                  <a:cubicBezTo>
                    <a:pt x="16" y="3"/>
                    <a:pt x="16" y="3"/>
                    <a:pt x="16" y="3"/>
                  </a:cubicBezTo>
                  <a:cubicBezTo>
                    <a:pt x="15" y="3"/>
                    <a:pt x="14" y="3"/>
                    <a:pt x="13" y="3"/>
                  </a:cubicBezTo>
                  <a:cubicBezTo>
                    <a:pt x="7" y="3"/>
                    <a:pt x="3" y="4"/>
                    <a:pt x="2" y="7"/>
                  </a:cubicBezTo>
                  <a:cubicBezTo>
                    <a:pt x="1" y="8"/>
                    <a:pt x="1" y="12"/>
                    <a:pt x="1" y="16"/>
                  </a:cubicBezTo>
                  <a:cubicBezTo>
                    <a:pt x="1" y="17"/>
                    <a:pt x="1" y="18"/>
                    <a:pt x="1" y="19"/>
                  </a:cubicBezTo>
                  <a:cubicBezTo>
                    <a:pt x="0" y="21"/>
                    <a:pt x="0" y="23"/>
                    <a:pt x="2" y="25"/>
                  </a:cubicBezTo>
                  <a:cubicBezTo>
                    <a:pt x="4" y="28"/>
                    <a:pt x="8" y="28"/>
                    <a:pt x="11" y="28"/>
                  </a:cubicBezTo>
                  <a:cubicBezTo>
                    <a:pt x="11" y="28"/>
                    <a:pt x="12" y="28"/>
                    <a:pt x="12" y="28"/>
                  </a:cubicBezTo>
                  <a:cubicBezTo>
                    <a:pt x="13" y="28"/>
                    <a:pt x="14" y="28"/>
                    <a:pt x="14" y="28"/>
                  </a:cubicBezTo>
                  <a:cubicBezTo>
                    <a:pt x="18" y="28"/>
                    <a:pt x="21" y="28"/>
                    <a:pt x="23" y="26"/>
                  </a:cubicBezTo>
                  <a:cubicBezTo>
                    <a:pt x="25" y="24"/>
                    <a:pt x="25" y="23"/>
                    <a:pt x="26" y="21"/>
                  </a:cubicBezTo>
                  <a:cubicBezTo>
                    <a:pt x="26" y="17"/>
                    <a:pt x="26" y="14"/>
                    <a:pt x="26" y="10"/>
                  </a:cubicBezTo>
                  <a:cubicBezTo>
                    <a:pt x="26" y="9"/>
                    <a:pt x="26" y="9"/>
                    <a:pt x="26" y="9"/>
                  </a:cubicBezTo>
                  <a:cubicBezTo>
                    <a:pt x="26" y="8"/>
                    <a:pt x="26" y="7"/>
                    <a:pt x="25" y="7"/>
                  </a:cubicBezTo>
                  <a:cubicBezTo>
                    <a:pt x="26" y="6"/>
                    <a:pt x="27" y="5"/>
                    <a:pt x="28" y="4"/>
                  </a:cubicBezTo>
                  <a:cubicBezTo>
                    <a:pt x="28" y="4"/>
                    <a:pt x="28" y="4"/>
                    <a:pt x="28" y="4"/>
                  </a:cubicBezTo>
                  <a:cubicBezTo>
                    <a:pt x="27" y="3"/>
                    <a:pt x="27" y="3"/>
                    <a:pt x="27" y="3"/>
                  </a:cubicBezTo>
                  <a:cubicBezTo>
                    <a:pt x="26" y="3"/>
                    <a:pt x="26" y="2"/>
                    <a:pt x="26" y="1"/>
                  </a:cubicBezTo>
                  <a:cubicBezTo>
                    <a:pt x="25" y="0"/>
                    <a:pt x="25" y="0"/>
                    <a:pt x="25" y="0"/>
                  </a:cubicBezTo>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grpSp>
      <p:sp>
        <p:nvSpPr>
          <p:cNvPr id="978" name="Rectangle 526"/>
          <p:cNvSpPr/>
          <p:nvPr/>
        </p:nvSpPr>
        <p:spPr>
          <a:xfrm>
            <a:off x="2590693" y="2698159"/>
            <a:ext cx="8939651" cy="1382112"/>
          </a:xfrm>
          <a:prstGeom prst="roundRect">
            <a:avLst/>
          </a:prstGeom>
          <a:gradFill>
            <a:gsLst>
              <a:gs pos="0">
                <a:srgbClr val="E2E2E2">
                  <a:lumMod val="5000"/>
                  <a:lumOff val="95000"/>
                  <a:alpha val="0"/>
                </a:srgbClr>
              </a:gs>
              <a:gs pos="22000">
                <a:schemeClr val="accent1">
                  <a:lumMod val="20000"/>
                  <a:lumOff val="80000"/>
                </a:schemeClr>
              </a:gs>
            </a:gsLst>
            <a:lin ang="0" scaled="0"/>
          </a:gradFill>
          <a:ln w="9525" cap="flat" cmpd="sng" algn="ctr">
            <a:noFill/>
            <a:prstDash val="solid"/>
          </a:ln>
          <a:effectLst/>
        </p:spPr>
        <p:txBody>
          <a:bodyPr lIns="1368000" tIns="0" rIns="0" bIns="0" rtlCol="0" anchor="ctr" anchorCtr="0"/>
          <a:lstStyle/>
          <a:p>
            <a:pPr marL="196215" lvl="1">
              <a:spcBef>
                <a:spcPct val="0"/>
              </a:spcBef>
              <a:spcAft>
                <a:spcPct val="0"/>
              </a:spcAft>
              <a:buClr>
                <a:schemeClr val="tx2">
                  <a:lumMod val="100000"/>
                </a:schemeClr>
              </a:buClr>
              <a:buSzPct val="100000"/>
            </a:pPr>
            <a:r>
              <a:rPr lang="en-US" altLang="zh-CN" sz="2400" b="1" dirty="0" smtClean="0">
                <a:solidFill>
                  <a:srgbClr val="000000">
                    <a:lumMod val="100000"/>
                  </a:srgbClr>
                </a:solidFill>
              </a:rPr>
              <a:t>XXX</a:t>
            </a:r>
            <a:endParaRPr lang="en-US" altLang="zh-CN" sz="2400" dirty="0">
              <a:solidFill>
                <a:srgbClr val="000000">
                  <a:lumMod val="100000"/>
                </a:srgbClr>
              </a:solidFill>
            </a:endParaRPr>
          </a:p>
        </p:txBody>
      </p:sp>
      <p:sp>
        <p:nvSpPr>
          <p:cNvPr id="979" name="Rectangle 527"/>
          <p:cNvSpPr/>
          <p:nvPr/>
        </p:nvSpPr>
        <p:spPr>
          <a:xfrm>
            <a:off x="2590693" y="4205888"/>
            <a:ext cx="8939651" cy="1382112"/>
          </a:xfrm>
          <a:prstGeom prst="roundRect">
            <a:avLst/>
          </a:prstGeom>
          <a:gradFill>
            <a:gsLst>
              <a:gs pos="0">
                <a:srgbClr val="E2E2E2">
                  <a:lumMod val="5000"/>
                  <a:lumOff val="95000"/>
                  <a:alpha val="0"/>
                </a:srgbClr>
              </a:gs>
              <a:gs pos="22000">
                <a:schemeClr val="accent1">
                  <a:lumMod val="20000"/>
                  <a:lumOff val="80000"/>
                </a:schemeClr>
              </a:gs>
            </a:gsLst>
            <a:lin ang="0" scaled="0"/>
          </a:gradFill>
          <a:ln w="9525" cap="flat" cmpd="sng" algn="ctr">
            <a:noFill/>
            <a:prstDash val="solid"/>
          </a:ln>
          <a:effectLst/>
        </p:spPr>
        <p:txBody>
          <a:bodyPr lIns="1368000" tIns="0" rIns="0" bIns="0" rtlCol="0" anchor="ctr" anchorCtr="0"/>
          <a:lstStyle/>
          <a:p>
            <a:pPr marL="196215" lvl="1">
              <a:spcBef>
                <a:spcPct val="0"/>
              </a:spcBef>
              <a:spcAft>
                <a:spcPct val="0"/>
              </a:spcAft>
              <a:buClr>
                <a:schemeClr val="tx2">
                  <a:lumMod val="100000"/>
                </a:schemeClr>
              </a:buClr>
              <a:buSzPct val="100000"/>
            </a:pPr>
            <a:r>
              <a:rPr lang="en-US" altLang="zh-CN" sz="2400" dirty="0" smtClean="0">
                <a:solidFill>
                  <a:srgbClr val="000000">
                    <a:lumMod val="100000"/>
                  </a:srgbClr>
                </a:solidFill>
              </a:rPr>
              <a:t>XXX</a:t>
            </a:r>
            <a:endParaRPr lang="en-US" altLang="zh-CN" sz="2400" dirty="0" smtClean="0">
              <a:solidFill>
                <a:srgbClr val="000000">
                  <a:lumMod val="100000"/>
                </a:srgbClr>
              </a:solidFill>
            </a:endParaRPr>
          </a:p>
        </p:txBody>
      </p:sp>
      <p:sp>
        <p:nvSpPr>
          <p:cNvPr id="499" name="Rectangle 525"/>
          <p:cNvSpPr/>
          <p:nvPr/>
        </p:nvSpPr>
        <p:spPr>
          <a:xfrm>
            <a:off x="2590693" y="1190430"/>
            <a:ext cx="8939651" cy="1382112"/>
          </a:xfrm>
          <a:prstGeom prst="roundRect">
            <a:avLst/>
          </a:prstGeom>
          <a:gradFill>
            <a:gsLst>
              <a:gs pos="0">
                <a:srgbClr val="E2E2E2">
                  <a:lumMod val="5000"/>
                  <a:lumOff val="95000"/>
                  <a:alpha val="0"/>
                </a:srgbClr>
              </a:gs>
              <a:gs pos="22000">
                <a:schemeClr val="accent1">
                  <a:lumMod val="20000"/>
                  <a:lumOff val="80000"/>
                </a:schemeClr>
              </a:gs>
            </a:gsLst>
            <a:lin ang="0" scaled="0"/>
          </a:gradFill>
          <a:ln w="9525" cap="flat" cmpd="sng" algn="ctr">
            <a:noFill/>
            <a:prstDash val="solid"/>
          </a:ln>
          <a:effectLst/>
        </p:spPr>
        <p:txBody>
          <a:bodyPr lIns="1368000" tIns="0" rIns="0" bIns="0" rtlCol="0" anchor="ctr" anchorCtr="0"/>
          <a:lstStyle/>
          <a:p>
            <a:pPr marL="196215" lvl="1">
              <a:spcBef>
                <a:spcPct val="0"/>
              </a:spcBef>
              <a:spcAft>
                <a:spcPct val="0"/>
              </a:spcAft>
              <a:buClr>
                <a:schemeClr val="tx2">
                  <a:lumMod val="100000"/>
                </a:schemeClr>
              </a:buClr>
              <a:buSzPct val="100000"/>
            </a:pPr>
            <a:r>
              <a:rPr lang="en-US" altLang="zh-CN" sz="2400" b="1" dirty="0" smtClean="0">
                <a:solidFill>
                  <a:srgbClr val="000000">
                    <a:lumMod val="100000"/>
                  </a:srgbClr>
                </a:solidFill>
              </a:rPr>
              <a:t>XXX</a:t>
            </a:r>
            <a:endParaRPr lang="zh-CN" altLang="en-US" sz="2400" dirty="0">
              <a:solidFill>
                <a:srgbClr val="000000">
                  <a:lumMod val="100000"/>
                </a:srgbClr>
              </a:solidFill>
            </a:endParaRPr>
          </a:p>
        </p:txBody>
      </p:sp>
      <p:sp>
        <p:nvSpPr>
          <p:cNvPr id="861" name="îŝľïde"/>
          <p:cNvSpPr/>
          <p:nvPr/>
        </p:nvSpPr>
        <p:spPr bwMode="auto">
          <a:xfrm>
            <a:off x="-1702409" y="6585856"/>
            <a:ext cx="9391" cy="0"/>
          </a:xfrm>
          <a:custGeom>
            <a:avLst/>
            <a:gdLst>
              <a:gd name="T0" fmla="*/ 6 w 6"/>
              <a:gd name="T1" fmla="*/ 0 w 6"/>
              <a:gd name="T2" fmla="*/ 1 w 6"/>
              <a:gd name="T3" fmla="*/ 6 w 6"/>
              <a:gd name="T4" fmla="*/ 6 w 6"/>
            </a:gdLst>
            <a:ahLst/>
            <a:cxnLst>
              <a:cxn ang="0">
                <a:pos x="T0" y="0"/>
              </a:cxn>
              <a:cxn ang="0">
                <a:pos x="T1" y="0"/>
              </a:cxn>
              <a:cxn ang="0">
                <a:pos x="T2" y="0"/>
              </a:cxn>
              <a:cxn ang="0">
                <a:pos x="T3" y="0"/>
              </a:cxn>
              <a:cxn ang="0">
                <a:pos x="T4" y="0"/>
              </a:cxn>
            </a:cxnLst>
            <a:rect l="0" t="0" r="r" b="b"/>
            <a:pathLst>
              <a:path w="6">
                <a:moveTo>
                  <a:pt x="6" y="0"/>
                </a:moveTo>
                <a:cubicBezTo>
                  <a:pt x="4" y="0"/>
                  <a:pt x="2" y="0"/>
                  <a:pt x="0" y="0"/>
                </a:cubicBezTo>
                <a:cubicBezTo>
                  <a:pt x="1" y="0"/>
                  <a:pt x="1" y="0"/>
                  <a:pt x="1" y="0"/>
                </a:cubicBezTo>
                <a:cubicBezTo>
                  <a:pt x="2" y="0"/>
                  <a:pt x="4" y="0"/>
                  <a:pt x="6" y="0"/>
                </a:cubicBezTo>
                <a:cubicBezTo>
                  <a:pt x="6" y="0"/>
                  <a:pt x="6" y="0"/>
                  <a:pt x="6"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grpSp>
        <p:nvGrpSpPr>
          <p:cNvPr id="6" name="组合 5"/>
          <p:cNvGrpSpPr/>
          <p:nvPr/>
        </p:nvGrpSpPr>
        <p:grpSpPr>
          <a:xfrm>
            <a:off x="2003773" y="1582847"/>
            <a:ext cx="1689819" cy="4603277"/>
            <a:chOff x="-1535077" y="1711104"/>
            <a:chExt cx="1689819" cy="4603277"/>
          </a:xfrm>
        </p:grpSpPr>
        <p:grpSp>
          <p:nvGrpSpPr>
            <p:cNvPr id="868" name="Group 522"/>
            <p:cNvGrpSpPr/>
            <p:nvPr/>
          </p:nvGrpSpPr>
          <p:grpSpPr>
            <a:xfrm>
              <a:off x="-1084293" y="4858264"/>
              <a:ext cx="942267" cy="1456117"/>
              <a:chOff x="6233904" y="4878577"/>
              <a:chExt cx="925874" cy="1727788"/>
            </a:xfrm>
          </p:grpSpPr>
          <p:sp>
            <p:nvSpPr>
              <p:cNvPr id="971" name="iṥḷïḓê"/>
              <p:cNvSpPr/>
              <p:nvPr/>
            </p:nvSpPr>
            <p:spPr>
              <a:xfrm rot="5400000">
                <a:off x="6580331" y="6328959"/>
                <a:ext cx="244917" cy="309896"/>
              </a:xfrm>
              <a:custGeom>
                <a:avLst/>
                <a:gdLst>
                  <a:gd name="connsiteX0" fmla="*/ 0 w 245327"/>
                  <a:gd name="connsiteY0" fmla="*/ 0 h 374681"/>
                  <a:gd name="connsiteX1" fmla="*/ 0 w 245327"/>
                  <a:gd name="connsiteY1" fmla="*/ 374681 h 374681"/>
                  <a:gd name="connsiteX2" fmla="*/ 245327 w 245327"/>
                  <a:gd name="connsiteY2" fmla="*/ 218564 h 374681"/>
                  <a:gd name="connsiteX3" fmla="*/ 245327 w 245327"/>
                  <a:gd name="connsiteY3" fmla="*/ 169499 h 374681"/>
                  <a:gd name="connsiteX4" fmla="*/ 0 w 245327"/>
                  <a:gd name="connsiteY4" fmla="*/ 0 h 374681"/>
                  <a:gd name="connsiteX0-1" fmla="*/ 0 w 253793"/>
                  <a:gd name="connsiteY0-2" fmla="*/ 0 h 374681"/>
                  <a:gd name="connsiteX1-3" fmla="*/ 0 w 253793"/>
                  <a:gd name="connsiteY1-4" fmla="*/ 374681 h 374681"/>
                  <a:gd name="connsiteX2-5" fmla="*/ 245327 w 253793"/>
                  <a:gd name="connsiteY2-6" fmla="*/ 218564 h 374681"/>
                  <a:gd name="connsiteX3-7" fmla="*/ 245327 w 253793"/>
                  <a:gd name="connsiteY3-8" fmla="*/ 169499 h 374681"/>
                  <a:gd name="connsiteX4-9" fmla="*/ 0 w 253793"/>
                  <a:gd name="connsiteY4-10" fmla="*/ 0 h 374681"/>
                  <a:gd name="connsiteX0-11" fmla="*/ 0 w 262397"/>
                  <a:gd name="connsiteY0-12" fmla="*/ 0 h 374681"/>
                  <a:gd name="connsiteX1-13" fmla="*/ 0 w 262397"/>
                  <a:gd name="connsiteY1-14" fmla="*/ 374681 h 374681"/>
                  <a:gd name="connsiteX2-15" fmla="*/ 245327 w 262397"/>
                  <a:gd name="connsiteY2-16" fmla="*/ 218564 h 374681"/>
                  <a:gd name="connsiteX3-17" fmla="*/ 245327 w 262397"/>
                  <a:gd name="connsiteY3-18" fmla="*/ 169499 h 374681"/>
                  <a:gd name="connsiteX4-19" fmla="*/ 0 w 262397"/>
                  <a:gd name="connsiteY4-20" fmla="*/ 0 h 374681"/>
                  <a:gd name="connsiteX0-21" fmla="*/ 7408 w 269805"/>
                  <a:gd name="connsiteY0-22" fmla="*/ 0 h 374681"/>
                  <a:gd name="connsiteX1-23" fmla="*/ 7408 w 269805"/>
                  <a:gd name="connsiteY1-24" fmla="*/ 374681 h 374681"/>
                  <a:gd name="connsiteX2-25" fmla="*/ 252735 w 269805"/>
                  <a:gd name="connsiteY2-26" fmla="*/ 218564 h 374681"/>
                  <a:gd name="connsiteX3-27" fmla="*/ 252735 w 269805"/>
                  <a:gd name="connsiteY3-28" fmla="*/ 169499 h 374681"/>
                  <a:gd name="connsiteX4-29" fmla="*/ 7408 w 269805"/>
                  <a:gd name="connsiteY4-30" fmla="*/ 0 h 374681"/>
                  <a:gd name="connsiteX0-31" fmla="*/ 10788 w 273185"/>
                  <a:gd name="connsiteY0-32" fmla="*/ 0 h 374681"/>
                  <a:gd name="connsiteX1-33" fmla="*/ 10788 w 273185"/>
                  <a:gd name="connsiteY1-34" fmla="*/ 374681 h 374681"/>
                  <a:gd name="connsiteX2-35" fmla="*/ 256115 w 273185"/>
                  <a:gd name="connsiteY2-36" fmla="*/ 218564 h 374681"/>
                  <a:gd name="connsiteX3-37" fmla="*/ 256115 w 273185"/>
                  <a:gd name="connsiteY3-38" fmla="*/ 169499 h 374681"/>
                  <a:gd name="connsiteX4-39" fmla="*/ 10788 w 273185"/>
                  <a:gd name="connsiteY4-40" fmla="*/ 0 h 374681"/>
                  <a:gd name="connsiteX0-41" fmla="*/ 10788 w 273185"/>
                  <a:gd name="connsiteY0-42" fmla="*/ 0 h 377538"/>
                  <a:gd name="connsiteX1-43" fmla="*/ 10788 w 273185"/>
                  <a:gd name="connsiteY1-44" fmla="*/ 377538 h 377538"/>
                  <a:gd name="connsiteX2-45" fmla="*/ 256115 w 273185"/>
                  <a:gd name="connsiteY2-46" fmla="*/ 218564 h 377538"/>
                  <a:gd name="connsiteX3-47" fmla="*/ 256115 w 273185"/>
                  <a:gd name="connsiteY3-48" fmla="*/ 169499 h 377538"/>
                  <a:gd name="connsiteX4-49" fmla="*/ 10788 w 273185"/>
                  <a:gd name="connsiteY4-50" fmla="*/ 0 h 37753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73185" h="377538">
                    <a:moveTo>
                      <a:pt x="10788" y="0"/>
                    </a:moveTo>
                    <a:cubicBezTo>
                      <a:pt x="-5880" y="122512"/>
                      <a:pt x="-1118" y="250263"/>
                      <a:pt x="10788" y="377538"/>
                    </a:cubicBezTo>
                    <a:lnTo>
                      <a:pt x="256115" y="218564"/>
                    </a:lnTo>
                    <a:cubicBezTo>
                      <a:pt x="282309" y="202209"/>
                      <a:pt x="275165" y="188236"/>
                      <a:pt x="256115" y="169499"/>
                    </a:cubicBezTo>
                    <a:lnTo>
                      <a:pt x="10788" y="0"/>
                    </a:lnTo>
                    <a:close/>
                  </a:path>
                </a:pathLst>
              </a:custGeom>
              <a:gradFill>
                <a:gsLst>
                  <a:gs pos="2000">
                    <a:srgbClr val="2E2E2E"/>
                  </a:gs>
                  <a:gs pos="42000">
                    <a:srgbClr val="727272"/>
                  </a:gs>
                  <a:gs pos="12000">
                    <a:srgbClr val="555555"/>
                  </a:gs>
                  <a:gs pos="63000">
                    <a:srgbClr val="363636"/>
                  </a:gs>
                  <a:gs pos="100000">
                    <a:srgbClr val="414143"/>
                  </a:gs>
                </a:gsLst>
                <a:lin ang="6600000" scaled="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FFFFFF"/>
                  </a:solidFill>
                  <a:effectLst/>
                  <a:uLnTx/>
                  <a:uFillTx/>
                  <a:cs typeface="+mn-cs"/>
                </a:endParaRPr>
              </a:p>
            </p:txBody>
          </p:sp>
          <p:sp>
            <p:nvSpPr>
              <p:cNvPr id="972" name="işļiḓè"/>
              <p:cNvSpPr/>
              <p:nvPr/>
            </p:nvSpPr>
            <p:spPr bwMode="auto">
              <a:xfrm>
                <a:off x="6233904" y="4878577"/>
                <a:ext cx="404185" cy="998481"/>
              </a:xfrm>
              <a:custGeom>
                <a:avLst/>
                <a:gdLst>
                  <a:gd name="T0" fmla="*/ 0 w 277"/>
                  <a:gd name="T1" fmla="*/ 0 h 628"/>
                  <a:gd name="T2" fmla="*/ 0 w 277"/>
                  <a:gd name="T3" fmla="*/ 580 h 628"/>
                  <a:gd name="T4" fmla="*/ 57 w 277"/>
                  <a:gd name="T5" fmla="*/ 628 h 628"/>
                  <a:gd name="T6" fmla="*/ 277 w 277"/>
                  <a:gd name="T7" fmla="*/ 628 h 628"/>
                  <a:gd name="T8" fmla="*/ 277 w 277"/>
                  <a:gd name="T9" fmla="*/ 73 h 628"/>
                  <a:gd name="T10" fmla="*/ 0 w 277"/>
                  <a:gd name="T11" fmla="*/ 0 h 628"/>
                </a:gdLst>
                <a:ahLst/>
                <a:cxnLst>
                  <a:cxn ang="0">
                    <a:pos x="T0" y="T1"/>
                  </a:cxn>
                  <a:cxn ang="0">
                    <a:pos x="T2" y="T3"/>
                  </a:cxn>
                  <a:cxn ang="0">
                    <a:pos x="T4" y="T5"/>
                  </a:cxn>
                  <a:cxn ang="0">
                    <a:pos x="T6" y="T7"/>
                  </a:cxn>
                  <a:cxn ang="0">
                    <a:pos x="T8" y="T9"/>
                  </a:cxn>
                  <a:cxn ang="0">
                    <a:pos x="T10" y="T11"/>
                  </a:cxn>
                </a:cxnLst>
                <a:rect l="0" t="0" r="r" b="b"/>
                <a:pathLst>
                  <a:path w="277" h="628">
                    <a:moveTo>
                      <a:pt x="0" y="0"/>
                    </a:moveTo>
                    <a:cubicBezTo>
                      <a:pt x="0" y="580"/>
                      <a:pt x="0" y="580"/>
                      <a:pt x="0" y="580"/>
                    </a:cubicBezTo>
                    <a:cubicBezTo>
                      <a:pt x="57" y="628"/>
                      <a:pt x="57" y="628"/>
                      <a:pt x="57" y="628"/>
                    </a:cubicBezTo>
                    <a:cubicBezTo>
                      <a:pt x="277" y="628"/>
                      <a:pt x="277" y="628"/>
                      <a:pt x="277" y="628"/>
                    </a:cubicBezTo>
                    <a:cubicBezTo>
                      <a:pt x="277" y="73"/>
                      <a:pt x="277" y="73"/>
                      <a:pt x="277" y="73"/>
                    </a:cubicBezTo>
                    <a:cubicBezTo>
                      <a:pt x="185" y="51"/>
                      <a:pt x="92" y="25"/>
                      <a:pt x="0" y="0"/>
                    </a:cubicBezTo>
                  </a:path>
                </a:pathLst>
              </a:custGeom>
              <a:solidFill>
                <a:srgbClr val="E2E2E2"/>
              </a:solidFill>
              <a:ln w="25400" cap="flat" cmpd="sng" algn="ctr">
                <a:noFill/>
                <a:prstDash val="solid"/>
              </a:ln>
              <a:effectLst>
                <a:outerShdw blurRad="50800" dist="38100" dir="16200000" rotWithShape="0">
                  <a:prstClr val="black">
                    <a:alpha val="40000"/>
                  </a:prst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FFFFFF"/>
                  </a:solidFill>
                  <a:effectLst/>
                  <a:uLnTx/>
                  <a:uFillTx/>
                  <a:cs typeface="+mn-cs"/>
                </a:endParaRPr>
              </a:p>
            </p:txBody>
          </p:sp>
          <p:sp>
            <p:nvSpPr>
              <p:cNvPr id="973" name="ísľïḓè"/>
              <p:cNvSpPr/>
              <p:nvPr/>
            </p:nvSpPr>
            <p:spPr bwMode="auto">
              <a:xfrm>
                <a:off x="6699975" y="5038249"/>
                <a:ext cx="444789" cy="863423"/>
              </a:xfrm>
              <a:custGeom>
                <a:avLst/>
                <a:gdLst>
                  <a:gd name="T0" fmla="*/ 0 w 305"/>
                  <a:gd name="T1" fmla="*/ 0 h 543"/>
                  <a:gd name="T2" fmla="*/ 0 w 305"/>
                  <a:gd name="T3" fmla="*/ 543 h 543"/>
                  <a:gd name="T4" fmla="*/ 263 w 305"/>
                  <a:gd name="T5" fmla="*/ 543 h 543"/>
                  <a:gd name="T6" fmla="*/ 305 w 305"/>
                  <a:gd name="T7" fmla="*/ 495 h 543"/>
                  <a:gd name="T8" fmla="*/ 305 w 305"/>
                  <a:gd name="T9" fmla="*/ 41 h 543"/>
                  <a:gd name="T10" fmla="*/ 0 w 305"/>
                  <a:gd name="T11" fmla="*/ 0 h 543"/>
                </a:gdLst>
                <a:ahLst/>
                <a:cxnLst>
                  <a:cxn ang="0">
                    <a:pos x="T0" y="T1"/>
                  </a:cxn>
                  <a:cxn ang="0">
                    <a:pos x="T2" y="T3"/>
                  </a:cxn>
                  <a:cxn ang="0">
                    <a:pos x="T4" y="T5"/>
                  </a:cxn>
                  <a:cxn ang="0">
                    <a:pos x="T6" y="T7"/>
                  </a:cxn>
                  <a:cxn ang="0">
                    <a:pos x="T8" y="T9"/>
                  </a:cxn>
                  <a:cxn ang="0">
                    <a:pos x="T10" y="T11"/>
                  </a:cxn>
                </a:cxnLst>
                <a:rect l="0" t="0" r="r" b="b"/>
                <a:pathLst>
                  <a:path w="305" h="543">
                    <a:moveTo>
                      <a:pt x="0" y="0"/>
                    </a:moveTo>
                    <a:cubicBezTo>
                      <a:pt x="0" y="543"/>
                      <a:pt x="0" y="543"/>
                      <a:pt x="0" y="543"/>
                    </a:cubicBezTo>
                    <a:cubicBezTo>
                      <a:pt x="263" y="543"/>
                      <a:pt x="263" y="543"/>
                      <a:pt x="263" y="543"/>
                    </a:cubicBezTo>
                    <a:cubicBezTo>
                      <a:pt x="305" y="495"/>
                      <a:pt x="305" y="495"/>
                      <a:pt x="305" y="495"/>
                    </a:cubicBezTo>
                    <a:cubicBezTo>
                      <a:pt x="305" y="41"/>
                      <a:pt x="305" y="41"/>
                      <a:pt x="305" y="41"/>
                    </a:cubicBezTo>
                    <a:cubicBezTo>
                      <a:pt x="201" y="38"/>
                      <a:pt x="100" y="22"/>
                      <a:pt x="0" y="0"/>
                    </a:cubicBezTo>
                  </a:path>
                </a:pathLst>
              </a:custGeom>
              <a:solidFill>
                <a:schemeClr val="accent1">
                  <a:lumMod val="60000"/>
                  <a:lumOff val="40000"/>
                </a:schemeClr>
              </a:solidFill>
              <a:ln w="25400" cap="flat" cmpd="sng" algn="ctr">
                <a:noFill/>
                <a:prstDash val="solid"/>
              </a:ln>
              <a:effectLst>
                <a:outerShdw blurRad="50800" dist="38100" dir="16200000" rotWithShape="0">
                  <a:prstClr val="black">
                    <a:alpha val="40000"/>
                  </a:prst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FFFFFF"/>
                  </a:solidFill>
                  <a:effectLst/>
                  <a:uLnTx/>
                  <a:uFillTx/>
                  <a:cs typeface="+mn-cs"/>
                </a:endParaRPr>
              </a:p>
            </p:txBody>
          </p:sp>
          <p:sp>
            <p:nvSpPr>
              <p:cNvPr id="974" name="işlïďe"/>
              <p:cNvSpPr/>
              <p:nvPr/>
            </p:nvSpPr>
            <p:spPr bwMode="auto">
              <a:xfrm>
                <a:off x="6461527" y="4945769"/>
                <a:ext cx="230084" cy="956150"/>
              </a:xfrm>
              <a:custGeom>
                <a:avLst/>
                <a:gdLst>
                  <a:gd name="T0" fmla="*/ 0 w 158"/>
                  <a:gd name="T1" fmla="*/ 0 h 602"/>
                  <a:gd name="T2" fmla="*/ 0 w 158"/>
                  <a:gd name="T3" fmla="*/ 602 h 602"/>
                  <a:gd name="T4" fmla="*/ 158 w 158"/>
                  <a:gd name="T5" fmla="*/ 602 h 602"/>
                  <a:gd name="T6" fmla="*/ 158 w 158"/>
                  <a:gd name="T7" fmla="*/ 40 h 602"/>
                  <a:gd name="T8" fmla="*/ 0 w 158"/>
                  <a:gd name="T9" fmla="*/ 0 h 602"/>
                </a:gdLst>
                <a:ahLst/>
                <a:cxnLst>
                  <a:cxn ang="0">
                    <a:pos x="T0" y="T1"/>
                  </a:cxn>
                  <a:cxn ang="0">
                    <a:pos x="T2" y="T3"/>
                  </a:cxn>
                  <a:cxn ang="0">
                    <a:pos x="T4" y="T5"/>
                  </a:cxn>
                  <a:cxn ang="0">
                    <a:pos x="T6" y="T7"/>
                  </a:cxn>
                  <a:cxn ang="0">
                    <a:pos x="T8" y="T9"/>
                  </a:cxn>
                </a:cxnLst>
                <a:rect l="0" t="0" r="r" b="b"/>
                <a:pathLst>
                  <a:path w="158" h="602">
                    <a:moveTo>
                      <a:pt x="0" y="0"/>
                    </a:moveTo>
                    <a:cubicBezTo>
                      <a:pt x="0" y="602"/>
                      <a:pt x="0" y="602"/>
                      <a:pt x="0" y="602"/>
                    </a:cubicBezTo>
                    <a:cubicBezTo>
                      <a:pt x="158" y="602"/>
                      <a:pt x="158" y="602"/>
                      <a:pt x="158" y="602"/>
                    </a:cubicBezTo>
                    <a:cubicBezTo>
                      <a:pt x="158" y="40"/>
                      <a:pt x="158" y="40"/>
                      <a:pt x="158" y="40"/>
                    </a:cubicBezTo>
                    <a:cubicBezTo>
                      <a:pt x="105" y="28"/>
                      <a:pt x="52" y="14"/>
                      <a:pt x="0" y="0"/>
                    </a:cubicBezTo>
                  </a:path>
                </a:pathLst>
              </a:custGeom>
              <a:solidFill>
                <a:schemeClr val="accent1">
                  <a:lumMod val="60000"/>
                  <a:lumOff val="40000"/>
                </a:schemeClr>
              </a:solidFill>
              <a:ln w="25400" cap="flat" cmpd="sng" algn="ctr">
                <a:noFill/>
                <a:prstDash val="solid"/>
              </a:ln>
              <a:effectLst>
                <a:outerShdw blurRad="50800" dist="38100" dir="16200000" rotWithShape="0">
                  <a:prstClr val="black">
                    <a:alpha val="40000"/>
                  </a:prst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FFFFFF"/>
                  </a:solidFill>
                  <a:effectLst/>
                  <a:uLnTx/>
                  <a:uFillTx/>
                  <a:cs typeface="+mn-cs"/>
                </a:endParaRPr>
              </a:p>
            </p:txBody>
          </p:sp>
          <p:sp>
            <p:nvSpPr>
              <p:cNvPr id="975" name="íṧ1ïḑé"/>
              <p:cNvSpPr/>
              <p:nvPr/>
            </p:nvSpPr>
            <p:spPr bwMode="auto">
              <a:xfrm>
                <a:off x="6687305" y="5007586"/>
                <a:ext cx="231930" cy="894333"/>
              </a:xfrm>
              <a:custGeom>
                <a:avLst/>
                <a:gdLst>
                  <a:gd name="T0" fmla="*/ 0 w 159"/>
                  <a:gd name="T1" fmla="*/ 0 h 563"/>
                  <a:gd name="T2" fmla="*/ 0 w 159"/>
                  <a:gd name="T3" fmla="*/ 563 h 563"/>
                  <a:gd name="T4" fmla="*/ 159 w 159"/>
                  <a:gd name="T5" fmla="*/ 563 h 563"/>
                  <a:gd name="T6" fmla="*/ 159 w 159"/>
                  <a:gd name="T7" fmla="*/ 30 h 563"/>
                  <a:gd name="T8" fmla="*/ 0 w 159"/>
                  <a:gd name="T9" fmla="*/ 0 h 563"/>
                </a:gdLst>
                <a:ahLst/>
                <a:cxnLst>
                  <a:cxn ang="0">
                    <a:pos x="T0" y="T1"/>
                  </a:cxn>
                  <a:cxn ang="0">
                    <a:pos x="T2" y="T3"/>
                  </a:cxn>
                  <a:cxn ang="0">
                    <a:pos x="T4" y="T5"/>
                  </a:cxn>
                  <a:cxn ang="0">
                    <a:pos x="T6" y="T7"/>
                  </a:cxn>
                  <a:cxn ang="0">
                    <a:pos x="T8" y="T9"/>
                  </a:cxn>
                </a:cxnLst>
                <a:rect l="0" t="0" r="r" b="b"/>
                <a:pathLst>
                  <a:path w="159" h="563">
                    <a:moveTo>
                      <a:pt x="0" y="0"/>
                    </a:moveTo>
                    <a:cubicBezTo>
                      <a:pt x="0" y="563"/>
                      <a:pt x="0" y="563"/>
                      <a:pt x="0" y="563"/>
                    </a:cubicBezTo>
                    <a:cubicBezTo>
                      <a:pt x="159" y="563"/>
                      <a:pt x="159" y="563"/>
                      <a:pt x="159" y="563"/>
                    </a:cubicBezTo>
                    <a:cubicBezTo>
                      <a:pt x="159" y="30"/>
                      <a:pt x="159" y="30"/>
                      <a:pt x="159" y="30"/>
                    </a:cubicBezTo>
                    <a:cubicBezTo>
                      <a:pt x="106" y="22"/>
                      <a:pt x="53" y="12"/>
                      <a:pt x="0" y="0"/>
                    </a:cubicBezTo>
                  </a:path>
                </a:pathLst>
              </a:custGeom>
              <a:solidFill>
                <a:schemeClr val="bg1">
                  <a:lumMod val="85000"/>
                </a:schemeClr>
              </a:solidFill>
              <a:ln w="25400" cap="flat" cmpd="sng" algn="ctr">
                <a:noFill/>
                <a:prstDash val="solid"/>
              </a:ln>
              <a:effectLst>
                <a:outerShdw blurRad="50800" dist="38100" dir="16200000" rotWithShape="0">
                  <a:prstClr val="black">
                    <a:alpha val="40000"/>
                  </a:prst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FFFFFF"/>
                  </a:solidFill>
                  <a:effectLst/>
                  <a:uLnTx/>
                  <a:uFillTx/>
                  <a:cs typeface="+mn-cs"/>
                </a:endParaRPr>
              </a:p>
            </p:txBody>
          </p:sp>
          <p:sp>
            <p:nvSpPr>
              <p:cNvPr id="976" name="îṧḷíḓè"/>
              <p:cNvSpPr/>
              <p:nvPr/>
            </p:nvSpPr>
            <p:spPr bwMode="auto">
              <a:xfrm>
                <a:off x="6233904" y="5736624"/>
                <a:ext cx="925874" cy="720304"/>
              </a:xfrm>
              <a:custGeom>
                <a:avLst/>
                <a:gdLst>
                  <a:gd name="T0" fmla="*/ 76 w 635"/>
                  <a:gd name="T1" fmla="*/ 55 h 453"/>
                  <a:gd name="T2" fmla="*/ 156 w 635"/>
                  <a:gd name="T3" fmla="*/ 1 h 453"/>
                  <a:gd name="T4" fmla="*/ 230 w 635"/>
                  <a:gd name="T5" fmla="*/ 60 h 453"/>
                  <a:gd name="T6" fmla="*/ 311 w 635"/>
                  <a:gd name="T7" fmla="*/ 0 h 453"/>
                  <a:gd name="T8" fmla="*/ 390 w 635"/>
                  <a:gd name="T9" fmla="*/ 59 h 453"/>
                  <a:gd name="T10" fmla="*/ 469 w 635"/>
                  <a:gd name="T11" fmla="*/ 1 h 453"/>
                  <a:gd name="T12" fmla="*/ 557 w 635"/>
                  <a:gd name="T13" fmla="*/ 53 h 453"/>
                  <a:gd name="T14" fmla="*/ 635 w 635"/>
                  <a:gd name="T15" fmla="*/ 19 h 453"/>
                  <a:gd name="T16" fmla="*/ 635 w 635"/>
                  <a:gd name="T17" fmla="*/ 44 h 453"/>
                  <a:gd name="T18" fmla="*/ 432 w 635"/>
                  <a:gd name="T19" fmla="*/ 394 h 453"/>
                  <a:gd name="T20" fmla="*/ 317 w 635"/>
                  <a:gd name="T21" fmla="*/ 453 h 453"/>
                  <a:gd name="T22" fmla="*/ 208 w 635"/>
                  <a:gd name="T23" fmla="*/ 408 h 453"/>
                  <a:gd name="T24" fmla="*/ 0 w 635"/>
                  <a:gd name="T25" fmla="*/ 47 h 453"/>
                  <a:gd name="T26" fmla="*/ 0 w 635"/>
                  <a:gd name="T27" fmla="*/ 16 h 453"/>
                  <a:gd name="T28" fmla="*/ 76 w 635"/>
                  <a:gd name="T29" fmla="*/ 55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5" h="453">
                    <a:moveTo>
                      <a:pt x="76" y="55"/>
                    </a:moveTo>
                    <a:cubicBezTo>
                      <a:pt x="146" y="51"/>
                      <a:pt x="156" y="1"/>
                      <a:pt x="156" y="1"/>
                    </a:cubicBezTo>
                    <a:cubicBezTo>
                      <a:pt x="156" y="1"/>
                      <a:pt x="167" y="60"/>
                      <a:pt x="230" y="60"/>
                    </a:cubicBezTo>
                    <a:cubicBezTo>
                      <a:pt x="296" y="60"/>
                      <a:pt x="311" y="0"/>
                      <a:pt x="311" y="0"/>
                    </a:cubicBezTo>
                    <a:cubicBezTo>
                      <a:pt x="311" y="0"/>
                      <a:pt x="320" y="59"/>
                      <a:pt x="390" y="59"/>
                    </a:cubicBezTo>
                    <a:cubicBezTo>
                      <a:pt x="453" y="59"/>
                      <a:pt x="469" y="1"/>
                      <a:pt x="469" y="1"/>
                    </a:cubicBezTo>
                    <a:cubicBezTo>
                      <a:pt x="469" y="1"/>
                      <a:pt x="489" y="53"/>
                      <a:pt x="557" y="53"/>
                    </a:cubicBezTo>
                    <a:cubicBezTo>
                      <a:pt x="588" y="53"/>
                      <a:pt x="622" y="47"/>
                      <a:pt x="635" y="19"/>
                    </a:cubicBezTo>
                    <a:cubicBezTo>
                      <a:pt x="634" y="36"/>
                      <a:pt x="635" y="44"/>
                      <a:pt x="635" y="44"/>
                    </a:cubicBezTo>
                    <a:cubicBezTo>
                      <a:pt x="432" y="394"/>
                      <a:pt x="432" y="394"/>
                      <a:pt x="432" y="394"/>
                    </a:cubicBezTo>
                    <a:cubicBezTo>
                      <a:pt x="317" y="453"/>
                      <a:pt x="317" y="453"/>
                      <a:pt x="317" y="453"/>
                    </a:cubicBezTo>
                    <a:cubicBezTo>
                      <a:pt x="208" y="408"/>
                      <a:pt x="208" y="408"/>
                      <a:pt x="208" y="408"/>
                    </a:cubicBezTo>
                    <a:cubicBezTo>
                      <a:pt x="0" y="47"/>
                      <a:pt x="0" y="47"/>
                      <a:pt x="0" y="47"/>
                    </a:cubicBezTo>
                    <a:cubicBezTo>
                      <a:pt x="0" y="47"/>
                      <a:pt x="1" y="34"/>
                      <a:pt x="0" y="16"/>
                    </a:cubicBezTo>
                    <a:cubicBezTo>
                      <a:pt x="4" y="47"/>
                      <a:pt x="40" y="57"/>
                      <a:pt x="76" y="55"/>
                    </a:cubicBezTo>
                  </a:path>
                </a:pathLst>
              </a:custGeom>
              <a:gradFill>
                <a:gsLst>
                  <a:gs pos="0">
                    <a:srgbClr val="ADA795"/>
                  </a:gs>
                  <a:gs pos="78000">
                    <a:srgbClr val="DCDAD3"/>
                  </a:gs>
                  <a:gs pos="50000">
                    <a:srgbClr val="F1F0EF"/>
                  </a:gs>
                  <a:gs pos="17000">
                    <a:srgbClr val="F2F2F2"/>
                  </a:gs>
                  <a:gs pos="31000">
                    <a:srgbClr val="C1BCAF"/>
                  </a:gs>
                  <a:gs pos="100000">
                    <a:srgbClr val="ADA795"/>
                  </a:gs>
                </a:gsLst>
                <a:lin ang="10800000" scaled="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FFFFFF"/>
                  </a:solidFill>
                  <a:effectLst/>
                  <a:uLnTx/>
                  <a:uFillTx/>
                  <a:cs typeface="+mn-cs"/>
                </a:endParaRPr>
              </a:p>
            </p:txBody>
          </p:sp>
        </p:grpSp>
        <p:grpSp>
          <p:nvGrpSpPr>
            <p:cNvPr id="5" name="组合 4"/>
            <p:cNvGrpSpPr/>
            <p:nvPr/>
          </p:nvGrpSpPr>
          <p:grpSpPr>
            <a:xfrm>
              <a:off x="-1535077" y="1711104"/>
              <a:ext cx="1689819" cy="3504799"/>
              <a:chOff x="-1580344" y="2359208"/>
              <a:chExt cx="1689819" cy="2847642"/>
            </a:xfrm>
          </p:grpSpPr>
          <p:sp>
            <p:nvSpPr>
              <p:cNvPr id="922" name="íŝľïḋé"/>
              <p:cNvSpPr/>
              <p:nvPr/>
            </p:nvSpPr>
            <p:spPr bwMode="auto">
              <a:xfrm>
                <a:off x="-1580344" y="3751467"/>
                <a:ext cx="1689819" cy="644844"/>
              </a:xfrm>
              <a:custGeom>
                <a:avLst/>
                <a:gdLst>
                  <a:gd name="T0" fmla="*/ 1122 w 1139"/>
                  <a:gd name="T1" fmla="*/ 399 h 399"/>
                  <a:gd name="T2" fmla="*/ 1122 w 1139"/>
                  <a:gd name="T3" fmla="*/ 265 h 399"/>
                  <a:gd name="T4" fmla="*/ 1122 w 1139"/>
                  <a:gd name="T5" fmla="*/ 265 h 399"/>
                  <a:gd name="T6" fmla="*/ 1119 w 1139"/>
                  <a:gd name="T7" fmla="*/ 269 h 399"/>
                  <a:gd name="T8" fmla="*/ 1115 w 1139"/>
                  <a:gd name="T9" fmla="*/ 273 h 399"/>
                  <a:gd name="T10" fmla="*/ 1108 w 1139"/>
                  <a:gd name="T11" fmla="*/ 276 h 399"/>
                  <a:gd name="T12" fmla="*/ 1099 w 1139"/>
                  <a:gd name="T13" fmla="*/ 280 h 399"/>
                  <a:gd name="T14" fmla="*/ 1088 w 1139"/>
                  <a:gd name="T15" fmla="*/ 283 h 399"/>
                  <a:gd name="T16" fmla="*/ 1079 w 1139"/>
                  <a:gd name="T17" fmla="*/ 285 h 399"/>
                  <a:gd name="T18" fmla="*/ 1079 w 1139"/>
                  <a:gd name="T19" fmla="*/ 248 h 399"/>
                  <a:gd name="T20" fmla="*/ 1075 w 1139"/>
                  <a:gd name="T21" fmla="*/ 249 h 399"/>
                  <a:gd name="T22" fmla="*/ 1058 w 1139"/>
                  <a:gd name="T23" fmla="*/ 252 h 399"/>
                  <a:gd name="T24" fmla="*/ 1037 w 1139"/>
                  <a:gd name="T25" fmla="*/ 256 h 399"/>
                  <a:gd name="T26" fmla="*/ 1011 w 1139"/>
                  <a:gd name="T27" fmla="*/ 259 h 399"/>
                  <a:gd name="T28" fmla="*/ 976 w 1139"/>
                  <a:gd name="T29" fmla="*/ 264 h 399"/>
                  <a:gd name="T30" fmla="*/ 957 w 1139"/>
                  <a:gd name="T31" fmla="*/ 266 h 399"/>
                  <a:gd name="T32" fmla="*/ 957 w 1139"/>
                  <a:gd name="T33" fmla="*/ 228 h 399"/>
                  <a:gd name="T34" fmla="*/ 921 w 1139"/>
                  <a:gd name="T35" fmla="*/ 231 h 399"/>
                  <a:gd name="T36" fmla="*/ 778 w 1139"/>
                  <a:gd name="T37" fmla="*/ 240 h 399"/>
                  <a:gd name="T38" fmla="*/ 777 w 1139"/>
                  <a:gd name="T39" fmla="*/ 240 h 399"/>
                  <a:gd name="T40" fmla="*/ 777 w 1139"/>
                  <a:gd name="T41" fmla="*/ 202 h 399"/>
                  <a:gd name="T42" fmla="*/ 725 w 1139"/>
                  <a:gd name="T43" fmla="*/ 204 h 399"/>
                  <a:gd name="T44" fmla="*/ 662 w 1139"/>
                  <a:gd name="T45" fmla="*/ 205 h 399"/>
                  <a:gd name="T46" fmla="*/ 615 w 1139"/>
                  <a:gd name="T47" fmla="*/ 206 h 399"/>
                  <a:gd name="T48" fmla="*/ 573 w 1139"/>
                  <a:gd name="T49" fmla="*/ 206 h 399"/>
                  <a:gd name="T50" fmla="*/ 560 w 1139"/>
                  <a:gd name="T51" fmla="*/ 206 h 399"/>
                  <a:gd name="T52" fmla="*/ 560 w 1139"/>
                  <a:gd name="T53" fmla="*/ 168 h 399"/>
                  <a:gd name="T54" fmla="*/ 533 w 1139"/>
                  <a:gd name="T55" fmla="*/ 168 h 399"/>
                  <a:gd name="T56" fmla="*/ 495 w 1139"/>
                  <a:gd name="T57" fmla="*/ 168 h 399"/>
                  <a:gd name="T58" fmla="*/ 459 w 1139"/>
                  <a:gd name="T59" fmla="*/ 168 h 399"/>
                  <a:gd name="T60" fmla="*/ 424 w 1139"/>
                  <a:gd name="T61" fmla="*/ 167 h 399"/>
                  <a:gd name="T62" fmla="*/ 390 w 1139"/>
                  <a:gd name="T63" fmla="*/ 166 h 399"/>
                  <a:gd name="T64" fmla="*/ 355 w 1139"/>
                  <a:gd name="T65" fmla="*/ 165 h 399"/>
                  <a:gd name="T66" fmla="*/ 348 w 1139"/>
                  <a:gd name="T67" fmla="*/ 164 h 399"/>
                  <a:gd name="T68" fmla="*/ 348 w 1139"/>
                  <a:gd name="T69" fmla="*/ 127 h 399"/>
                  <a:gd name="T70" fmla="*/ 320 w 1139"/>
                  <a:gd name="T71" fmla="*/ 125 h 399"/>
                  <a:gd name="T72" fmla="*/ 284 w 1139"/>
                  <a:gd name="T73" fmla="*/ 124 h 399"/>
                  <a:gd name="T74" fmla="*/ 247 w 1139"/>
                  <a:gd name="T75" fmla="*/ 121 h 399"/>
                  <a:gd name="T76" fmla="*/ 207 w 1139"/>
                  <a:gd name="T77" fmla="*/ 118 h 399"/>
                  <a:gd name="T78" fmla="*/ 163 w 1139"/>
                  <a:gd name="T79" fmla="*/ 115 h 399"/>
                  <a:gd name="T80" fmla="*/ 163 w 1139"/>
                  <a:gd name="T81" fmla="*/ 77 h 399"/>
                  <a:gd name="T82" fmla="*/ 44 w 1139"/>
                  <a:gd name="T83" fmla="*/ 59 h 399"/>
                  <a:gd name="T84" fmla="*/ 44 w 1139"/>
                  <a:gd name="T85" fmla="*/ 22 h 399"/>
                  <a:gd name="T86" fmla="*/ 0 w 1139"/>
                  <a:gd name="T87" fmla="*/ 0 h 399"/>
                  <a:gd name="T88" fmla="*/ 0 w 1139"/>
                  <a:gd name="T89" fmla="*/ 99 h 399"/>
                  <a:gd name="T90" fmla="*/ 726 w 1139"/>
                  <a:gd name="T91" fmla="*/ 333 h 399"/>
                  <a:gd name="T92" fmla="*/ 1122 w 1139"/>
                  <a:gd name="T93"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39" h="399">
                    <a:moveTo>
                      <a:pt x="1122" y="399"/>
                    </a:moveTo>
                    <a:cubicBezTo>
                      <a:pt x="1122" y="265"/>
                      <a:pt x="1122" y="265"/>
                      <a:pt x="1122" y="265"/>
                    </a:cubicBezTo>
                    <a:cubicBezTo>
                      <a:pt x="1122" y="265"/>
                      <a:pt x="1122" y="265"/>
                      <a:pt x="1122" y="265"/>
                    </a:cubicBezTo>
                    <a:cubicBezTo>
                      <a:pt x="1122" y="266"/>
                      <a:pt x="1120" y="268"/>
                      <a:pt x="1119" y="269"/>
                    </a:cubicBezTo>
                    <a:cubicBezTo>
                      <a:pt x="1118" y="270"/>
                      <a:pt x="1117" y="272"/>
                      <a:pt x="1115" y="273"/>
                    </a:cubicBezTo>
                    <a:cubicBezTo>
                      <a:pt x="1113" y="274"/>
                      <a:pt x="1111" y="275"/>
                      <a:pt x="1108" y="276"/>
                    </a:cubicBezTo>
                    <a:cubicBezTo>
                      <a:pt x="1106" y="277"/>
                      <a:pt x="1103" y="279"/>
                      <a:pt x="1099" y="280"/>
                    </a:cubicBezTo>
                    <a:cubicBezTo>
                      <a:pt x="1096" y="281"/>
                      <a:pt x="1092" y="282"/>
                      <a:pt x="1088" y="283"/>
                    </a:cubicBezTo>
                    <a:cubicBezTo>
                      <a:pt x="1085" y="284"/>
                      <a:pt x="1083" y="285"/>
                      <a:pt x="1079" y="285"/>
                    </a:cubicBezTo>
                    <a:cubicBezTo>
                      <a:pt x="1079" y="248"/>
                      <a:pt x="1079" y="248"/>
                      <a:pt x="1079" y="248"/>
                    </a:cubicBezTo>
                    <a:cubicBezTo>
                      <a:pt x="1078" y="248"/>
                      <a:pt x="1076" y="248"/>
                      <a:pt x="1075" y="249"/>
                    </a:cubicBezTo>
                    <a:cubicBezTo>
                      <a:pt x="1069" y="250"/>
                      <a:pt x="1064" y="251"/>
                      <a:pt x="1058" y="252"/>
                    </a:cubicBezTo>
                    <a:cubicBezTo>
                      <a:pt x="1051" y="253"/>
                      <a:pt x="1044" y="255"/>
                      <a:pt x="1037" y="256"/>
                    </a:cubicBezTo>
                    <a:cubicBezTo>
                      <a:pt x="1029" y="257"/>
                      <a:pt x="1020" y="258"/>
                      <a:pt x="1011" y="259"/>
                    </a:cubicBezTo>
                    <a:cubicBezTo>
                      <a:pt x="1000" y="261"/>
                      <a:pt x="988" y="262"/>
                      <a:pt x="976" y="264"/>
                    </a:cubicBezTo>
                    <a:cubicBezTo>
                      <a:pt x="970" y="264"/>
                      <a:pt x="963" y="265"/>
                      <a:pt x="957" y="266"/>
                    </a:cubicBezTo>
                    <a:cubicBezTo>
                      <a:pt x="957" y="228"/>
                      <a:pt x="957" y="228"/>
                      <a:pt x="957" y="228"/>
                    </a:cubicBezTo>
                    <a:cubicBezTo>
                      <a:pt x="945" y="229"/>
                      <a:pt x="934" y="230"/>
                      <a:pt x="921" y="231"/>
                    </a:cubicBezTo>
                    <a:cubicBezTo>
                      <a:pt x="879" y="235"/>
                      <a:pt x="830" y="238"/>
                      <a:pt x="778" y="240"/>
                    </a:cubicBezTo>
                    <a:cubicBezTo>
                      <a:pt x="777" y="240"/>
                      <a:pt x="777" y="240"/>
                      <a:pt x="777" y="240"/>
                    </a:cubicBezTo>
                    <a:cubicBezTo>
                      <a:pt x="777" y="202"/>
                      <a:pt x="777" y="202"/>
                      <a:pt x="777" y="202"/>
                    </a:cubicBezTo>
                    <a:cubicBezTo>
                      <a:pt x="760" y="203"/>
                      <a:pt x="743" y="203"/>
                      <a:pt x="725" y="204"/>
                    </a:cubicBezTo>
                    <a:cubicBezTo>
                      <a:pt x="705" y="204"/>
                      <a:pt x="684" y="205"/>
                      <a:pt x="662" y="205"/>
                    </a:cubicBezTo>
                    <a:cubicBezTo>
                      <a:pt x="647" y="206"/>
                      <a:pt x="631" y="206"/>
                      <a:pt x="615" y="206"/>
                    </a:cubicBezTo>
                    <a:cubicBezTo>
                      <a:pt x="601" y="206"/>
                      <a:pt x="587" y="206"/>
                      <a:pt x="573" y="206"/>
                    </a:cubicBezTo>
                    <a:cubicBezTo>
                      <a:pt x="568" y="206"/>
                      <a:pt x="564" y="206"/>
                      <a:pt x="560" y="206"/>
                    </a:cubicBezTo>
                    <a:cubicBezTo>
                      <a:pt x="560" y="168"/>
                      <a:pt x="560" y="168"/>
                      <a:pt x="560" y="168"/>
                    </a:cubicBezTo>
                    <a:cubicBezTo>
                      <a:pt x="551" y="168"/>
                      <a:pt x="542" y="168"/>
                      <a:pt x="533" y="168"/>
                    </a:cubicBezTo>
                    <a:cubicBezTo>
                      <a:pt x="520" y="168"/>
                      <a:pt x="508" y="168"/>
                      <a:pt x="495" y="168"/>
                    </a:cubicBezTo>
                    <a:cubicBezTo>
                      <a:pt x="483" y="168"/>
                      <a:pt x="471" y="168"/>
                      <a:pt x="459" y="168"/>
                    </a:cubicBezTo>
                    <a:cubicBezTo>
                      <a:pt x="448" y="167"/>
                      <a:pt x="436" y="167"/>
                      <a:pt x="424" y="167"/>
                    </a:cubicBezTo>
                    <a:cubicBezTo>
                      <a:pt x="413" y="167"/>
                      <a:pt x="401" y="166"/>
                      <a:pt x="390" y="166"/>
                    </a:cubicBezTo>
                    <a:cubicBezTo>
                      <a:pt x="378" y="165"/>
                      <a:pt x="366" y="165"/>
                      <a:pt x="355" y="165"/>
                    </a:cubicBezTo>
                    <a:cubicBezTo>
                      <a:pt x="353" y="165"/>
                      <a:pt x="350" y="164"/>
                      <a:pt x="348" y="164"/>
                    </a:cubicBezTo>
                    <a:cubicBezTo>
                      <a:pt x="348" y="127"/>
                      <a:pt x="348" y="127"/>
                      <a:pt x="348" y="127"/>
                    </a:cubicBezTo>
                    <a:cubicBezTo>
                      <a:pt x="338" y="126"/>
                      <a:pt x="329" y="126"/>
                      <a:pt x="320" y="125"/>
                    </a:cubicBezTo>
                    <a:cubicBezTo>
                      <a:pt x="308" y="125"/>
                      <a:pt x="296" y="124"/>
                      <a:pt x="284" y="124"/>
                    </a:cubicBezTo>
                    <a:cubicBezTo>
                      <a:pt x="272" y="123"/>
                      <a:pt x="259" y="122"/>
                      <a:pt x="247" y="121"/>
                    </a:cubicBezTo>
                    <a:cubicBezTo>
                      <a:pt x="234" y="120"/>
                      <a:pt x="220" y="119"/>
                      <a:pt x="207" y="118"/>
                    </a:cubicBezTo>
                    <a:cubicBezTo>
                      <a:pt x="192" y="117"/>
                      <a:pt x="177" y="116"/>
                      <a:pt x="163" y="115"/>
                    </a:cubicBezTo>
                    <a:cubicBezTo>
                      <a:pt x="163" y="77"/>
                      <a:pt x="163" y="77"/>
                      <a:pt x="163" y="77"/>
                    </a:cubicBezTo>
                    <a:cubicBezTo>
                      <a:pt x="113" y="72"/>
                      <a:pt x="72" y="66"/>
                      <a:pt x="44" y="59"/>
                    </a:cubicBezTo>
                    <a:cubicBezTo>
                      <a:pt x="44" y="22"/>
                      <a:pt x="44" y="22"/>
                      <a:pt x="44" y="22"/>
                    </a:cubicBezTo>
                    <a:cubicBezTo>
                      <a:pt x="16" y="15"/>
                      <a:pt x="0" y="8"/>
                      <a:pt x="0" y="0"/>
                    </a:cubicBezTo>
                    <a:cubicBezTo>
                      <a:pt x="0" y="99"/>
                      <a:pt x="0" y="99"/>
                      <a:pt x="0" y="99"/>
                    </a:cubicBezTo>
                    <a:cubicBezTo>
                      <a:pt x="0" y="229"/>
                      <a:pt x="328" y="293"/>
                      <a:pt x="726" y="333"/>
                    </a:cubicBezTo>
                    <a:cubicBezTo>
                      <a:pt x="1139" y="375"/>
                      <a:pt x="1117" y="385"/>
                      <a:pt x="1122" y="399"/>
                    </a:cubicBezTo>
                    <a:close/>
                  </a:path>
                </a:pathLst>
              </a:custGeom>
              <a:solidFill>
                <a:srgbClr val="E2E2E2"/>
              </a:solidFill>
              <a:ln w="19050">
                <a:noFill/>
              </a:ln>
              <a:effectLst>
                <a:outerShdw blurRad="139700" dist="38100" dir="5400000" algn="t" rotWithShape="0">
                  <a:prstClr val="black">
                    <a:alpha val="30000"/>
                  </a:prstClr>
                </a:outerShdw>
                <a:softEdge rad="0"/>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65" name="ïślíḋe"/>
              <p:cNvSpPr/>
              <p:nvPr/>
            </p:nvSpPr>
            <p:spPr bwMode="auto">
              <a:xfrm>
                <a:off x="-439606" y="5003069"/>
                <a:ext cx="8766" cy="25985"/>
              </a:xfrm>
              <a:custGeom>
                <a:avLst/>
                <a:gdLst>
                  <a:gd name="T0" fmla="*/ 6 w 6"/>
                  <a:gd name="T1" fmla="*/ 0 h 16"/>
                  <a:gd name="T2" fmla="*/ 0 w 6"/>
                  <a:gd name="T3" fmla="*/ 0 h 16"/>
                  <a:gd name="T4" fmla="*/ 0 w 6"/>
                  <a:gd name="T5" fmla="*/ 15 h 16"/>
                  <a:gd name="T6" fmla="*/ 6 w 6"/>
                  <a:gd name="T7" fmla="*/ 16 h 16"/>
                  <a:gd name="T8" fmla="*/ 6 w 6"/>
                  <a:gd name="T9" fmla="*/ 0 h 16"/>
                </a:gdLst>
                <a:ahLst/>
                <a:cxnLst>
                  <a:cxn ang="0">
                    <a:pos x="T0" y="T1"/>
                  </a:cxn>
                  <a:cxn ang="0">
                    <a:pos x="T2" y="T3"/>
                  </a:cxn>
                  <a:cxn ang="0">
                    <a:pos x="T4" y="T5"/>
                  </a:cxn>
                  <a:cxn ang="0">
                    <a:pos x="T6" y="T7"/>
                  </a:cxn>
                  <a:cxn ang="0">
                    <a:pos x="T8" y="T9"/>
                  </a:cxn>
                </a:cxnLst>
                <a:rect l="0" t="0" r="r" b="b"/>
                <a:pathLst>
                  <a:path w="6" h="16">
                    <a:moveTo>
                      <a:pt x="6" y="0"/>
                    </a:moveTo>
                    <a:cubicBezTo>
                      <a:pt x="0" y="0"/>
                      <a:pt x="0" y="0"/>
                      <a:pt x="0" y="0"/>
                    </a:cubicBezTo>
                    <a:cubicBezTo>
                      <a:pt x="0" y="15"/>
                      <a:pt x="0" y="15"/>
                      <a:pt x="0" y="15"/>
                    </a:cubicBezTo>
                    <a:cubicBezTo>
                      <a:pt x="2" y="16"/>
                      <a:pt x="4" y="16"/>
                      <a:pt x="6" y="16"/>
                    </a:cubicBezTo>
                    <a:cubicBezTo>
                      <a:pt x="6" y="0"/>
                      <a:pt x="6" y="0"/>
                      <a:pt x="6"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69" name="iṡḷíḋé"/>
              <p:cNvSpPr/>
              <p:nvPr/>
            </p:nvSpPr>
            <p:spPr bwMode="auto">
              <a:xfrm>
                <a:off x="-748270" y="4291894"/>
                <a:ext cx="279237" cy="59492"/>
              </a:xfrm>
              <a:custGeom>
                <a:avLst/>
                <a:gdLst>
                  <a:gd name="T0" fmla="*/ 0 w 188"/>
                  <a:gd name="T1" fmla="*/ 0 h 37"/>
                  <a:gd name="T2" fmla="*/ 188 w 188"/>
                  <a:gd name="T3" fmla="*/ 4 h 37"/>
                  <a:gd name="T4" fmla="*/ 50 w 188"/>
                  <a:gd name="T5" fmla="*/ 37 h 37"/>
                  <a:gd name="T6" fmla="*/ 0 w 188"/>
                  <a:gd name="T7" fmla="*/ 36 h 37"/>
                  <a:gd name="T8" fmla="*/ 0 w 188"/>
                  <a:gd name="T9" fmla="*/ 0 h 37"/>
                </a:gdLst>
                <a:ahLst/>
                <a:cxnLst>
                  <a:cxn ang="0">
                    <a:pos x="T0" y="T1"/>
                  </a:cxn>
                  <a:cxn ang="0">
                    <a:pos x="T2" y="T3"/>
                  </a:cxn>
                  <a:cxn ang="0">
                    <a:pos x="T4" y="T5"/>
                  </a:cxn>
                  <a:cxn ang="0">
                    <a:pos x="T6" y="T7"/>
                  </a:cxn>
                  <a:cxn ang="0">
                    <a:pos x="T8" y="T9"/>
                  </a:cxn>
                </a:cxnLst>
                <a:rect l="0" t="0" r="r" b="b"/>
                <a:pathLst>
                  <a:path w="188" h="37">
                    <a:moveTo>
                      <a:pt x="0" y="0"/>
                    </a:moveTo>
                    <a:cubicBezTo>
                      <a:pt x="67" y="0"/>
                      <a:pt x="130" y="1"/>
                      <a:pt x="188" y="4"/>
                    </a:cubicBezTo>
                    <a:cubicBezTo>
                      <a:pt x="50" y="37"/>
                      <a:pt x="50" y="37"/>
                      <a:pt x="50" y="37"/>
                    </a:cubicBezTo>
                    <a:cubicBezTo>
                      <a:pt x="34" y="36"/>
                      <a:pt x="18" y="36"/>
                      <a:pt x="0" y="36"/>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70" name="îŝḷidè"/>
              <p:cNvSpPr/>
              <p:nvPr/>
            </p:nvSpPr>
            <p:spPr bwMode="auto">
              <a:xfrm>
                <a:off x="-673765" y="4243344"/>
                <a:ext cx="446402" cy="58125"/>
              </a:xfrm>
              <a:custGeom>
                <a:avLst/>
                <a:gdLst>
                  <a:gd name="T0" fmla="*/ 138 w 301"/>
                  <a:gd name="T1" fmla="*/ 0 h 36"/>
                  <a:gd name="T2" fmla="*/ 301 w 301"/>
                  <a:gd name="T3" fmla="*/ 11 h 36"/>
                  <a:gd name="T4" fmla="*/ 42 w 301"/>
                  <a:gd name="T5" fmla="*/ 36 h 36"/>
                  <a:gd name="T6" fmla="*/ 0 w 301"/>
                  <a:gd name="T7" fmla="*/ 34 h 36"/>
                  <a:gd name="T8" fmla="*/ 138 w 301"/>
                  <a:gd name="T9" fmla="*/ 0 h 36"/>
                </a:gdLst>
                <a:ahLst/>
                <a:cxnLst>
                  <a:cxn ang="0">
                    <a:pos x="T0" y="T1"/>
                  </a:cxn>
                  <a:cxn ang="0">
                    <a:pos x="T2" y="T3"/>
                  </a:cxn>
                  <a:cxn ang="0">
                    <a:pos x="T4" y="T5"/>
                  </a:cxn>
                  <a:cxn ang="0">
                    <a:pos x="T6" y="T7"/>
                  </a:cxn>
                  <a:cxn ang="0">
                    <a:pos x="T8" y="T9"/>
                  </a:cxn>
                </a:cxnLst>
                <a:rect l="0" t="0" r="r" b="b"/>
                <a:pathLst>
                  <a:path w="301" h="36">
                    <a:moveTo>
                      <a:pt x="138" y="0"/>
                    </a:moveTo>
                    <a:cubicBezTo>
                      <a:pt x="199" y="3"/>
                      <a:pt x="254" y="6"/>
                      <a:pt x="301" y="11"/>
                    </a:cubicBezTo>
                    <a:cubicBezTo>
                      <a:pt x="42" y="36"/>
                      <a:pt x="42" y="36"/>
                      <a:pt x="42" y="36"/>
                    </a:cubicBezTo>
                    <a:cubicBezTo>
                      <a:pt x="30" y="35"/>
                      <a:pt x="16" y="34"/>
                      <a:pt x="0" y="34"/>
                    </a:cubicBezTo>
                    <a:lnTo>
                      <a:pt x="13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71" name="íşḻîḍe"/>
              <p:cNvSpPr/>
              <p:nvPr/>
            </p:nvSpPr>
            <p:spPr bwMode="auto">
              <a:xfrm>
                <a:off x="-611781" y="4207784"/>
                <a:ext cx="540316" cy="46500"/>
              </a:xfrm>
              <a:custGeom>
                <a:avLst/>
                <a:gdLst>
                  <a:gd name="T0" fmla="*/ 258 w 364"/>
                  <a:gd name="T1" fmla="*/ 0 h 29"/>
                  <a:gd name="T2" fmla="*/ 364 w 364"/>
                  <a:gd name="T3" fmla="*/ 15 h 29"/>
                  <a:gd name="T4" fmla="*/ 28 w 364"/>
                  <a:gd name="T5" fmla="*/ 29 h 29"/>
                  <a:gd name="T6" fmla="*/ 0 w 364"/>
                  <a:gd name="T7" fmla="*/ 25 h 29"/>
                  <a:gd name="T8" fmla="*/ 258 w 364"/>
                  <a:gd name="T9" fmla="*/ 0 h 29"/>
                </a:gdLst>
                <a:ahLst/>
                <a:cxnLst>
                  <a:cxn ang="0">
                    <a:pos x="T0" y="T1"/>
                  </a:cxn>
                  <a:cxn ang="0">
                    <a:pos x="T2" y="T3"/>
                  </a:cxn>
                  <a:cxn ang="0">
                    <a:pos x="T4" y="T5"/>
                  </a:cxn>
                  <a:cxn ang="0">
                    <a:pos x="T6" y="T7"/>
                  </a:cxn>
                  <a:cxn ang="0">
                    <a:pos x="T8" y="T9"/>
                  </a:cxn>
                </a:cxnLst>
                <a:rect l="0" t="0" r="r" b="b"/>
                <a:pathLst>
                  <a:path w="364" h="29">
                    <a:moveTo>
                      <a:pt x="258" y="0"/>
                    </a:moveTo>
                    <a:cubicBezTo>
                      <a:pt x="303" y="4"/>
                      <a:pt x="339" y="9"/>
                      <a:pt x="364" y="15"/>
                    </a:cubicBezTo>
                    <a:cubicBezTo>
                      <a:pt x="28" y="29"/>
                      <a:pt x="28" y="29"/>
                      <a:pt x="28" y="29"/>
                    </a:cubicBezTo>
                    <a:cubicBezTo>
                      <a:pt x="21" y="28"/>
                      <a:pt x="12" y="26"/>
                      <a:pt x="0" y="25"/>
                    </a:cubicBez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72" name="îṩḻiďe"/>
              <p:cNvSpPr/>
              <p:nvPr/>
            </p:nvSpPr>
            <p:spPr bwMode="auto">
              <a:xfrm>
                <a:off x="-1031263" y="4345232"/>
                <a:ext cx="282993" cy="59492"/>
              </a:xfrm>
              <a:custGeom>
                <a:avLst/>
                <a:gdLst>
                  <a:gd name="T0" fmla="*/ 0 w 191"/>
                  <a:gd name="T1" fmla="*/ 4 h 37"/>
                  <a:gd name="T2" fmla="*/ 141 w 191"/>
                  <a:gd name="T3" fmla="*/ 37 h 37"/>
                  <a:gd name="T4" fmla="*/ 191 w 191"/>
                  <a:gd name="T5" fmla="*/ 36 h 37"/>
                  <a:gd name="T6" fmla="*/ 191 w 191"/>
                  <a:gd name="T7" fmla="*/ 0 h 37"/>
                  <a:gd name="T8" fmla="*/ 0 w 191"/>
                  <a:gd name="T9" fmla="*/ 4 h 37"/>
                </a:gdLst>
                <a:ahLst/>
                <a:cxnLst>
                  <a:cxn ang="0">
                    <a:pos x="T0" y="T1"/>
                  </a:cxn>
                  <a:cxn ang="0">
                    <a:pos x="T2" y="T3"/>
                  </a:cxn>
                  <a:cxn ang="0">
                    <a:pos x="T4" y="T5"/>
                  </a:cxn>
                  <a:cxn ang="0">
                    <a:pos x="T6" y="T7"/>
                  </a:cxn>
                  <a:cxn ang="0">
                    <a:pos x="T8" y="T9"/>
                  </a:cxn>
                </a:cxnLst>
                <a:rect l="0" t="0" r="r" b="b"/>
                <a:pathLst>
                  <a:path w="191" h="37">
                    <a:moveTo>
                      <a:pt x="0" y="4"/>
                    </a:moveTo>
                    <a:cubicBezTo>
                      <a:pt x="141" y="37"/>
                      <a:pt x="141" y="37"/>
                      <a:pt x="141" y="37"/>
                    </a:cubicBezTo>
                    <a:cubicBezTo>
                      <a:pt x="157" y="37"/>
                      <a:pt x="173" y="36"/>
                      <a:pt x="191" y="36"/>
                    </a:cubicBezTo>
                    <a:cubicBezTo>
                      <a:pt x="191" y="0"/>
                      <a:pt x="191" y="0"/>
                      <a:pt x="191" y="0"/>
                    </a:cubicBezTo>
                    <a:cubicBezTo>
                      <a:pt x="123" y="0"/>
                      <a:pt x="59" y="2"/>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73" name="îṣlïďe"/>
              <p:cNvSpPr/>
              <p:nvPr/>
            </p:nvSpPr>
            <p:spPr bwMode="auto">
              <a:xfrm>
                <a:off x="-1267299" y="4404725"/>
                <a:ext cx="445151" cy="58125"/>
              </a:xfrm>
              <a:custGeom>
                <a:avLst/>
                <a:gdLst>
                  <a:gd name="T0" fmla="*/ 159 w 300"/>
                  <a:gd name="T1" fmla="*/ 0 h 36"/>
                  <a:gd name="T2" fmla="*/ 300 w 300"/>
                  <a:gd name="T3" fmla="*/ 33 h 36"/>
                  <a:gd name="T4" fmla="*/ 258 w 300"/>
                  <a:gd name="T5" fmla="*/ 36 h 36"/>
                  <a:gd name="T6" fmla="*/ 0 w 300"/>
                  <a:gd name="T7" fmla="*/ 11 h 36"/>
                  <a:gd name="T8" fmla="*/ 159 w 300"/>
                  <a:gd name="T9" fmla="*/ 0 h 36"/>
                </a:gdLst>
                <a:ahLst/>
                <a:cxnLst>
                  <a:cxn ang="0">
                    <a:pos x="T0" y="T1"/>
                  </a:cxn>
                  <a:cxn ang="0">
                    <a:pos x="T2" y="T3"/>
                  </a:cxn>
                  <a:cxn ang="0">
                    <a:pos x="T4" y="T5"/>
                  </a:cxn>
                  <a:cxn ang="0">
                    <a:pos x="T6" y="T7"/>
                  </a:cxn>
                  <a:cxn ang="0">
                    <a:pos x="T8" y="T9"/>
                  </a:cxn>
                </a:cxnLst>
                <a:rect l="0" t="0" r="r" b="b"/>
                <a:pathLst>
                  <a:path w="300" h="36">
                    <a:moveTo>
                      <a:pt x="159" y="0"/>
                    </a:moveTo>
                    <a:cubicBezTo>
                      <a:pt x="300" y="33"/>
                      <a:pt x="300" y="33"/>
                      <a:pt x="300" y="33"/>
                    </a:cubicBezTo>
                    <a:cubicBezTo>
                      <a:pt x="284" y="34"/>
                      <a:pt x="270" y="35"/>
                      <a:pt x="258" y="36"/>
                    </a:cubicBezTo>
                    <a:cubicBezTo>
                      <a:pt x="0" y="11"/>
                      <a:pt x="0" y="11"/>
                      <a:pt x="0" y="11"/>
                    </a:cubicBezTo>
                    <a:cubicBezTo>
                      <a:pt x="45" y="6"/>
                      <a:pt x="99" y="3"/>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74" name="íṣļïḋê"/>
              <p:cNvSpPr/>
              <p:nvPr/>
            </p:nvSpPr>
            <p:spPr bwMode="auto">
              <a:xfrm>
                <a:off x="-1427580" y="4475842"/>
                <a:ext cx="542821" cy="47184"/>
              </a:xfrm>
              <a:custGeom>
                <a:avLst/>
                <a:gdLst>
                  <a:gd name="T0" fmla="*/ 108 w 366"/>
                  <a:gd name="T1" fmla="*/ 0 h 29"/>
                  <a:gd name="T2" fmla="*/ 366 w 366"/>
                  <a:gd name="T3" fmla="*/ 25 h 29"/>
                  <a:gd name="T4" fmla="*/ 338 w 366"/>
                  <a:gd name="T5" fmla="*/ 29 h 29"/>
                  <a:gd name="T6" fmla="*/ 0 w 366"/>
                  <a:gd name="T7" fmla="*/ 16 h 29"/>
                  <a:gd name="T8" fmla="*/ 108 w 366"/>
                  <a:gd name="T9" fmla="*/ 0 h 29"/>
                </a:gdLst>
                <a:ahLst/>
                <a:cxnLst>
                  <a:cxn ang="0">
                    <a:pos x="T0" y="T1"/>
                  </a:cxn>
                  <a:cxn ang="0">
                    <a:pos x="T2" y="T3"/>
                  </a:cxn>
                  <a:cxn ang="0">
                    <a:pos x="T4" y="T5"/>
                  </a:cxn>
                  <a:cxn ang="0">
                    <a:pos x="T6" y="T7"/>
                  </a:cxn>
                  <a:cxn ang="0">
                    <a:pos x="T8" y="T9"/>
                  </a:cxn>
                </a:cxnLst>
                <a:rect l="0" t="0" r="r" b="b"/>
                <a:pathLst>
                  <a:path w="366" h="29">
                    <a:moveTo>
                      <a:pt x="108" y="0"/>
                    </a:moveTo>
                    <a:cubicBezTo>
                      <a:pt x="366" y="25"/>
                      <a:pt x="366" y="25"/>
                      <a:pt x="366" y="25"/>
                    </a:cubicBezTo>
                    <a:cubicBezTo>
                      <a:pt x="354" y="26"/>
                      <a:pt x="345" y="28"/>
                      <a:pt x="338" y="29"/>
                    </a:cubicBezTo>
                    <a:cubicBezTo>
                      <a:pt x="0" y="16"/>
                      <a:pt x="0" y="16"/>
                      <a:pt x="0" y="16"/>
                    </a:cubicBezTo>
                    <a:cubicBezTo>
                      <a:pt x="25" y="9"/>
                      <a:pt x="62" y="4"/>
                      <a:pt x="108"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75" name="íṧḻïdé"/>
              <p:cNvSpPr/>
              <p:nvPr/>
            </p:nvSpPr>
            <p:spPr bwMode="auto">
              <a:xfrm>
                <a:off x="-1482048" y="4555167"/>
                <a:ext cx="555969" cy="30772"/>
              </a:xfrm>
              <a:custGeom>
                <a:avLst/>
                <a:gdLst>
                  <a:gd name="T0" fmla="*/ 37 w 375"/>
                  <a:gd name="T1" fmla="*/ 0 h 19"/>
                  <a:gd name="T2" fmla="*/ 375 w 375"/>
                  <a:gd name="T3" fmla="*/ 14 h 19"/>
                  <a:gd name="T4" fmla="*/ 365 w 375"/>
                  <a:gd name="T5" fmla="*/ 19 h 19"/>
                  <a:gd name="T6" fmla="*/ 0 w 375"/>
                  <a:gd name="T7" fmla="*/ 19 h 19"/>
                  <a:gd name="T8" fmla="*/ 37 w 375"/>
                  <a:gd name="T9" fmla="*/ 0 h 19"/>
                </a:gdLst>
                <a:ahLst/>
                <a:cxnLst>
                  <a:cxn ang="0">
                    <a:pos x="T0" y="T1"/>
                  </a:cxn>
                  <a:cxn ang="0">
                    <a:pos x="T2" y="T3"/>
                  </a:cxn>
                  <a:cxn ang="0">
                    <a:pos x="T4" y="T5"/>
                  </a:cxn>
                  <a:cxn ang="0">
                    <a:pos x="T6" y="T7"/>
                  </a:cxn>
                  <a:cxn ang="0">
                    <a:pos x="T8" y="T9"/>
                  </a:cxn>
                </a:cxnLst>
                <a:rect l="0" t="0" r="r" b="b"/>
                <a:pathLst>
                  <a:path w="375" h="19">
                    <a:moveTo>
                      <a:pt x="37" y="0"/>
                    </a:moveTo>
                    <a:cubicBezTo>
                      <a:pt x="375" y="14"/>
                      <a:pt x="375" y="14"/>
                      <a:pt x="375" y="14"/>
                    </a:cubicBezTo>
                    <a:cubicBezTo>
                      <a:pt x="369" y="15"/>
                      <a:pt x="365" y="17"/>
                      <a:pt x="365" y="19"/>
                    </a:cubicBezTo>
                    <a:cubicBezTo>
                      <a:pt x="0" y="19"/>
                      <a:pt x="0" y="19"/>
                      <a:pt x="0" y="19"/>
                    </a:cubicBezTo>
                    <a:cubicBezTo>
                      <a:pt x="0" y="12"/>
                      <a:pt x="13" y="6"/>
                      <a:pt x="3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76" name="íŝḻïḑê"/>
              <p:cNvSpPr/>
              <p:nvPr/>
            </p:nvSpPr>
            <p:spPr bwMode="auto">
              <a:xfrm>
                <a:off x="-1482048" y="4585939"/>
                <a:ext cx="540942" cy="53337"/>
              </a:xfrm>
              <a:prstGeom prst="rect">
                <a:avLst/>
              </a:pr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77" name="ïSľîḓe"/>
              <p:cNvSpPr/>
              <p:nvPr/>
            </p:nvSpPr>
            <p:spPr bwMode="auto">
              <a:xfrm>
                <a:off x="-1427580" y="4501828"/>
                <a:ext cx="501499" cy="74537"/>
              </a:xfrm>
              <a:custGeom>
                <a:avLst/>
                <a:gdLst>
                  <a:gd name="T0" fmla="*/ 801 w 801"/>
                  <a:gd name="T1" fmla="*/ 109 h 109"/>
                  <a:gd name="T2" fmla="*/ 0 w 801"/>
                  <a:gd name="T3" fmla="*/ 78 h 109"/>
                  <a:gd name="T4" fmla="*/ 0 w 801"/>
                  <a:gd name="T5" fmla="*/ 0 h 109"/>
                  <a:gd name="T6" fmla="*/ 801 w 801"/>
                  <a:gd name="T7" fmla="*/ 31 h 109"/>
                  <a:gd name="T8" fmla="*/ 801 w 801"/>
                  <a:gd name="T9" fmla="*/ 109 h 109"/>
                </a:gdLst>
                <a:ahLst/>
                <a:cxnLst>
                  <a:cxn ang="0">
                    <a:pos x="T0" y="T1"/>
                  </a:cxn>
                  <a:cxn ang="0">
                    <a:pos x="T2" y="T3"/>
                  </a:cxn>
                  <a:cxn ang="0">
                    <a:pos x="T4" y="T5"/>
                  </a:cxn>
                  <a:cxn ang="0">
                    <a:pos x="T6" y="T7"/>
                  </a:cxn>
                  <a:cxn ang="0">
                    <a:pos x="T8" y="T9"/>
                  </a:cxn>
                </a:cxnLst>
                <a:rect l="0" t="0" r="r" b="b"/>
                <a:pathLst>
                  <a:path w="801" h="109">
                    <a:moveTo>
                      <a:pt x="801" y="109"/>
                    </a:moveTo>
                    <a:lnTo>
                      <a:pt x="0" y="78"/>
                    </a:lnTo>
                    <a:lnTo>
                      <a:pt x="0" y="0"/>
                    </a:lnTo>
                    <a:lnTo>
                      <a:pt x="801" y="31"/>
                    </a:lnTo>
                    <a:lnTo>
                      <a:pt x="801" y="109"/>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78" name="íṧľîḓé"/>
              <p:cNvSpPr/>
              <p:nvPr/>
            </p:nvSpPr>
            <p:spPr bwMode="auto">
              <a:xfrm>
                <a:off x="-1267299" y="4422505"/>
                <a:ext cx="382541" cy="95736"/>
              </a:xfrm>
              <a:custGeom>
                <a:avLst/>
                <a:gdLst>
                  <a:gd name="T0" fmla="*/ 611 w 611"/>
                  <a:gd name="T1" fmla="*/ 140 h 140"/>
                  <a:gd name="T2" fmla="*/ 0 w 611"/>
                  <a:gd name="T3" fmla="*/ 78 h 140"/>
                  <a:gd name="T4" fmla="*/ 0 w 611"/>
                  <a:gd name="T5" fmla="*/ 0 h 140"/>
                  <a:gd name="T6" fmla="*/ 611 w 611"/>
                  <a:gd name="T7" fmla="*/ 59 h 140"/>
                  <a:gd name="T8" fmla="*/ 611 w 611"/>
                  <a:gd name="T9" fmla="*/ 140 h 140"/>
                </a:gdLst>
                <a:ahLst/>
                <a:cxnLst>
                  <a:cxn ang="0">
                    <a:pos x="T0" y="T1"/>
                  </a:cxn>
                  <a:cxn ang="0">
                    <a:pos x="T2" y="T3"/>
                  </a:cxn>
                  <a:cxn ang="0">
                    <a:pos x="T4" y="T5"/>
                  </a:cxn>
                  <a:cxn ang="0">
                    <a:pos x="T6" y="T7"/>
                  </a:cxn>
                  <a:cxn ang="0">
                    <a:pos x="T8" y="T9"/>
                  </a:cxn>
                </a:cxnLst>
                <a:rect l="0" t="0" r="r" b="b"/>
                <a:pathLst>
                  <a:path w="611" h="140">
                    <a:moveTo>
                      <a:pt x="611" y="140"/>
                    </a:moveTo>
                    <a:lnTo>
                      <a:pt x="0" y="78"/>
                    </a:lnTo>
                    <a:lnTo>
                      <a:pt x="0" y="0"/>
                    </a:lnTo>
                    <a:lnTo>
                      <a:pt x="611" y="59"/>
                    </a:lnTo>
                    <a:lnTo>
                      <a:pt x="611" y="140"/>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79" name="íṧḷîḓè"/>
              <p:cNvSpPr/>
              <p:nvPr/>
            </p:nvSpPr>
            <p:spPr bwMode="auto">
              <a:xfrm>
                <a:off x="-1031263" y="4351386"/>
                <a:ext cx="209114" cy="108045"/>
              </a:xfrm>
              <a:custGeom>
                <a:avLst/>
                <a:gdLst>
                  <a:gd name="T0" fmla="*/ 334 w 334"/>
                  <a:gd name="T1" fmla="*/ 158 h 158"/>
                  <a:gd name="T2" fmla="*/ 0 w 334"/>
                  <a:gd name="T3" fmla="*/ 78 h 158"/>
                  <a:gd name="T4" fmla="*/ 0 w 334"/>
                  <a:gd name="T5" fmla="*/ 0 h 158"/>
                  <a:gd name="T6" fmla="*/ 334 w 334"/>
                  <a:gd name="T7" fmla="*/ 78 h 158"/>
                  <a:gd name="T8" fmla="*/ 334 w 334"/>
                  <a:gd name="T9" fmla="*/ 158 h 158"/>
                </a:gdLst>
                <a:ahLst/>
                <a:cxnLst>
                  <a:cxn ang="0">
                    <a:pos x="T0" y="T1"/>
                  </a:cxn>
                  <a:cxn ang="0">
                    <a:pos x="T2" y="T3"/>
                  </a:cxn>
                  <a:cxn ang="0">
                    <a:pos x="T4" y="T5"/>
                  </a:cxn>
                  <a:cxn ang="0">
                    <a:pos x="T6" y="T7"/>
                  </a:cxn>
                  <a:cxn ang="0">
                    <a:pos x="T8" y="T9"/>
                  </a:cxn>
                </a:cxnLst>
                <a:rect l="0" t="0" r="r" b="b"/>
                <a:pathLst>
                  <a:path w="334" h="158">
                    <a:moveTo>
                      <a:pt x="334" y="158"/>
                    </a:moveTo>
                    <a:lnTo>
                      <a:pt x="0" y="78"/>
                    </a:lnTo>
                    <a:lnTo>
                      <a:pt x="0" y="0"/>
                    </a:lnTo>
                    <a:lnTo>
                      <a:pt x="334" y="78"/>
                    </a:lnTo>
                    <a:lnTo>
                      <a:pt x="334" y="158"/>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80" name="ïṩḷiḍé"/>
              <p:cNvSpPr/>
              <p:nvPr/>
            </p:nvSpPr>
            <p:spPr bwMode="auto">
              <a:xfrm>
                <a:off x="-1268552" y="4706974"/>
                <a:ext cx="383794" cy="92316"/>
              </a:xfrm>
              <a:custGeom>
                <a:avLst/>
                <a:gdLst>
                  <a:gd name="T0" fmla="*/ 613 w 613"/>
                  <a:gd name="T1" fmla="*/ 76 h 135"/>
                  <a:gd name="T2" fmla="*/ 0 w 613"/>
                  <a:gd name="T3" fmla="*/ 135 h 135"/>
                  <a:gd name="T4" fmla="*/ 0 w 613"/>
                  <a:gd name="T5" fmla="*/ 57 h 135"/>
                  <a:gd name="T6" fmla="*/ 613 w 613"/>
                  <a:gd name="T7" fmla="*/ 0 h 135"/>
                  <a:gd name="T8" fmla="*/ 613 w 613"/>
                  <a:gd name="T9" fmla="*/ 76 h 135"/>
                </a:gdLst>
                <a:ahLst/>
                <a:cxnLst>
                  <a:cxn ang="0">
                    <a:pos x="T0" y="T1"/>
                  </a:cxn>
                  <a:cxn ang="0">
                    <a:pos x="T2" y="T3"/>
                  </a:cxn>
                  <a:cxn ang="0">
                    <a:pos x="T4" y="T5"/>
                  </a:cxn>
                  <a:cxn ang="0">
                    <a:pos x="T6" y="T7"/>
                  </a:cxn>
                  <a:cxn ang="0">
                    <a:pos x="T8" y="T9"/>
                  </a:cxn>
                </a:cxnLst>
                <a:rect l="0" t="0" r="r" b="b"/>
                <a:pathLst>
                  <a:path w="613" h="135">
                    <a:moveTo>
                      <a:pt x="613" y="76"/>
                    </a:moveTo>
                    <a:lnTo>
                      <a:pt x="0" y="135"/>
                    </a:lnTo>
                    <a:lnTo>
                      <a:pt x="0" y="57"/>
                    </a:lnTo>
                    <a:lnTo>
                      <a:pt x="613" y="0"/>
                    </a:lnTo>
                    <a:lnTo>
                      <a:pt x="613" y="76"/>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81" name="iṣľíďè"/>
              <p:cNvSpPr/>
              <p:nvPr/>
            </p:nvSpPr>
            <p:spPr bwMode="auto">
              <a:xfrm>
                <a:off x="-1026880" y="4763731"/>
                <a:ext cx="204732" cy="106677"/>
              </a:xfrm>
              <a:custGeom>
                <a:avLst/>
                <a:gdLst>
                  <a:gd name="T0" fmla="*/ 327 w 327"/>
                  <a:gd name="T1" fmla="*/ 80 h 156"/>
                  <a:gd name="T2" fmla="*/ 0 w 327"/>
                  <a:gd name="T3" fmla="*/ 156 h 156"/>
                  <a:gd name="T4" fmla="*/ 0 w 327"/>
                  <a:gd name="T5" fmla="*/ 78 h 156"/>
                  <a:gd name="T6" fmla="*/ 327 w 327"/>
                  <a:gd name="T7" fmla="*/ 0 h 156"/>
                  <a:gd name="T8" fmla="*/ 327 w 327"/>
                  <a:gd name="T9" fmla="*/ 80 h 156"/>
                </a:gdLst>
                <a:ahLst/>
                <a:cxnLst>
                  <a:cxn ang="0">
                    <a:pos x="T0" y="T1"/>
                  </a:cxn>
                  <a:cxn ang="0">
                    <a:pos x="T2" y="T3"/>
                  </a:cxn>
                  <a:cxn ang="0">
                    <a:pos x="T4" y="T5"/>
                  </a:cxn>
                  <a:cxn ang="0">
                    <a:pos x="T6" y="T7"/>
                  </a:cxn>
                  <a:cxn ang="0">
                    <a:pos x="T8" y="T9"/>
                  </a:cxn>
                </a:cxnLst>
                <a:rect l="0" t="0" r="r" b="b"/>
                <a:pathLst>
                  <a:path w="327" h="156">
                    <a:moveTo>
                      <a:pt x="327" y="80"/>
                    </a:moveTo>
                    <a:lnTo>
                      <a:pt x="0" y="156"/>
                    </a:lnTo>
                    <a:lnTo>
                      <a:pt x="0" y="78"/>
                    </a:lnTo>
                    <a:lnTo>
                      <a:pt x="327" y="0"/>
                    </a:lnTo>
                    <a:lnTo>
                      <a:pt x="327" y="80"/>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82" name="iṣ1íďê"/>
              <p:cNvSpPr/>
              <p:nvPr/>
            </p:nvSpPr>
            <p:spPr bwMode="auto">
              <a:xfrm>
                <a:off x="-1424448" y="4700820"/>
                <a:ext cx="539690" cy="45132"/>
              </a:xfrm>
              <a:custGeom>
                <a:avLst/>
                <a:gdLst>
                  <a:gd name="T0" fmla="*/ 336 w 364"/>
                  <a:gd name="T1" fmla="*/ 0 h 28"/>
                  <a:gd name="T2" fmla="*/ 364 w 364"/>
                  <a:gd name="T3" fmla="*/ 4 h 28"/>
                  <a:gd name="T4" fmla="*/ 105 w 364"/>
                  <a:gd name="T5" fmla="*/ 28 h 28"/>
                  <a:gd name="T6" fmla="*/ 0 w 364"/>
                  <a:gd name="T7" fmla="*/ 14 h 28"/>
                  <a:gd name="T8" fmla="*/ 336 w 364"/>
                  <a:gd name="T9" fmla="*/ 0 h 28"/>
                </a:gdLst>
                <a:ahLst/>
                <a:cxnLst>
                  <a:cxn ang="0">
                    <a:pos x="T0" y="T1"/>
                  </a:cxn>
                  <a:cxn ang="0">
                    <a:pos x="T2" y="T3"/>
                  </a:cxn>
                  <a:cxn ang="0">
                    <a:pos x="T4" y="T5"/>
                  </a:cxn>
                  <a:cxn ang="0">
                    <a:pos x="T6" y="T7"/>
                  </a:cxn>
                  <a:cxn ang="0">
                    <a:pos x="T8" y="T9"/>
                  </a:cxn>
                </a:cxnLst>
                <a:rect l="0" t="0" r="r" b="b"/>
                <a:pathLst>
                  <a:path w="364" h="28">
                    <a:moveTo>
                      <a:pt x="336" y="0"/>
                    </a:moveTo>
                    <a:cubicBezTo>
                      <a:pt x="343" y="2"/>
                      <a:pt x="353" y="3"/>
                      <a:pt x="364" y="4"/>
                    </a:cubicBezTo>
                    <a:cubicBezTo>
                      <a:pt x="105" y="28"/>
                      <a:pt x="105" y="28"/>
                      <a:pt x="105" y="28"/>
                    </a:cubicBezTo>
                    <a:cubicBezTo>
                      <a:pt x="60" y="24"/>
                      <a:pt x="25" y="20"/>
                      <a:pt x="0" y="14"/>
                    </a:cubicBezTo>
                    <a:lnTo>
                      <a:pt x="33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83" name="îṣḷíḍè"/>
              <p:cNvSpPr/>
              <p:nvPr/>
            </p:nvSpPr>
            <p:spPr bwMode="auto">
              <a:xfrm>
                <a:off x="-1268552" y="4758946"/>
                <a:ext cx="446402" cy="58125"/>
              </a:xfrm>
              <a:custGeom>
                <a:avLst/>
                <a:gdLst>
                  <a:gd name="T0" fmla="*/ 258 w 301"/>
                  <a:gd name="T1" fmla="*/ 0 h 36"/>
                  <a:gd name="T2" fmla="*/ 301 w 301"/>
                  <a:gd name="T3" fmla="*/ 3 h 36"/>
                  <a:gd name="T4" fmla="*/ 163 w 301"/>
                  <a:gd name="T5" fmla="*/ 36 h 36"/>
                  <a:gd name="T6" fmla="*/ 0 w 301"/>
                  <a:gd name="T7" fmla="*/ 25 h 36"/>
                  <a:gd name="T8" fmla="*/ 258 w 301"/>
                  <a:gd name="T9" fmla="*/ 0 h 36"/>
                </a:gdLst>
                <a:ahLst/>
                <a:cxnLst>
                  <a:cxn ang="0">
                    <a:pos x="T0" y="T1"/>
                  </a:cxn>
                  <a:cxn ang="0">
                    <a:pos x="T2" y="T3"/>
                  </a:cxn>
                  <a:cxn ang="0">
                    <a:pos x="T4" y="T5"/>
                  </a:cxn>
                  <a:cxn ang="0">
                    <a:pos x="T6" y="T7"/>
                  </a:cxn>
                  <a:cxn ang="0">
                    <a:pos x="T8" y="T9"/>
                  </a:cxn>
                </a:cxnLst>
                <a:rect l="0" t="0" r="r" b="b"/>
                <a:pathLst>
                  <a:path w="301" h="36">
                    <a:moveTo>
                      <a:pt x="258" y="0"/>
                    </a:moveTo>
                    <a:cubicBezTo>
                      <a:pt x="270" y="1"/>
                      <a:pt x="285" y="2"/>
                      <a:pt x="301" y="3"/>
                    </a:cubicBezTo>
                    <a:cubicBezTo>
                      <a:pt x="163" y="36"/>
                      <a:pt x="163" y="36"/>
                      <a:pt x="163" y="36"/>
                    </a:cubicBezTo>
                    <a:cubicBezTo>
                      <a:pt x="101" y="34"/>
                      <a:pt x="46" y="30"/>
                      <a:pt x="0" y="25"/>
                    </a:cubicBez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84" name="íṥ1iḍè"/>
              <p:cNvSpPr/>
              <p:nvPr/>
            </p:nvSpPr>
            <p:spPr bwMode="auto">
              <a:xfrm>
                <a:off x="-1028132" y="4818438"/>
                <a:ext cx="278610" cy="60176"/>
              </a:xfrm>
              <a:custGeom>
                <a:avLst/>
                <a:gdLst>
                  <a:gd name="T0" fmla="*/ 139 w 188"/>
                  <a:gd name="T1" fmla="*/ 0 h 37"/>
                  <a:gd name="T2" fmla="*/ 188 w 188"/>
                  <a:gd name="T3" fmla="*/ 1 h 37"/>
                  <a:gd name="T4" fmla="*/ 188 w 188"/>
                  <a:gd name="T5" fmla="*/ 37 h 37"/>
                  <a:gd name="T6" fmla="*/ 0 w 188"/>
                  <a:gd name="T7" fmla="*/ 32 h 37"/>
                  <a:gd name="T8" fmla="*/ 139 w 188"/>
                  <a:gd name="T9" fmla="*/ 0 h 37"/>
                </a:gdLst>
                <a:ahLst/>
                <a:cxnLst>
                  <a:cxn ang="0">
                    <a:pos x="T0" y="T1"/>
                  </a:cxn>
                  <a:cxn ang="0">
                    <a:pos x="T2" y="T3"/>
                  </a:cxn>
                  <a:cxn ang="0">
                    <a:pos x="T4" y="T5"/>
                  </a:cxn>
                  <a:cxn ang="0">
                    <a:pos x="T6" y="T7"/>
                  </a:cxn>
                  <a:cxn ang="0">
                    <a:pos x="T8" y="T9"/>
                  </a:cxn>
                </a:cxnLst>
                <a:rect l="0" t="0" r="r" b="b"/>
                <a:pathLst>
                  <a:path w="188" h="37">
                    <a:moveTo>
                      <a:pt x="139" y="0"/>
                    </a:moveTo>
                    <a:cubicBezTo>
                      <a:pt x="154" y="1"/>
                      <a:pt x="171" y="1"/>
                      <a:pt x="188" y="1"/>
                    </a:cubicBezTo>
                    <a:cubicBezTo>
                      <a:pt x="188" y="37"/>
                      <a:pt x="188" y="37"/>
                      <a:pt x="188" y="37"/>
                    </a:cubicBezTo>
                    <a:cubicBezTo>
                      <a:pt x="122" y="37"/>
                      <a:pt x="58" y="35"/>
                      <a:pt x="0" y="32"/>
                    </a:cubicBezTo>
                    <a:lnTo>
                      <a:pt x="139"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85" name="ïṣḻîde"/>
              <p:cNvSpPr/>
              <p:nvPr/>
            </p:nvSpPr>
            <p:spPr bwMode="auto">
              <a:xfrm>
                <a:off x="-571712" y="5016063"/>
                <a:ext cx="557846" cy="29405"/>
              </a:xfrm>
              <a:custGeom>
                <a:avLst/>
                <a:gdLst>
                  <a:gd name="T0" fmla="*/ 10 w 376"/>
                  <a:gd name="T1" fmla="*/ 0 h 18"/>
                  <a:gd name="T2" fmla="*/ 376 w 376"/>
                  <a:gd name="T3" fmla="*/ 0 h 18"/>
                  <a:gd name="T4" fmla="*/ 338 w 376"/>
                  <a:gd name="T5" fmla="*/ 18 h 18"/>
                  <a:gd name="T6" fmla="*/ 0 w 376"/>
                  <a:gd name="T7" fmla="*/ 5 h 18"/>
                  <a:gd name="T8" fmla="*/ 10 w 376"/>
                  <a:gd name="T9" fmla="*/ 0 h 18"/>
                </a:gdLst>
                <a:ahLst/>
                <a:cxnLst>
                  <a:cxn ang="0">
                    <a:pos x="T0" y="T1"/>
                  </a:cxn>
                  <a:cxn ang="0">
                    <a:pos x="T2" y="T3"/>
                  </a:cxn>
                  <a:cxn ang="0">
                    <a:pos x="T4" y="T5"/>
                  </a:cxn>
                  <a:cxn ang="0">
                    <a:pos x="T6" y="T7"/>
                  </a:cxn>
                  <a:cxn ang="0">
                    <a:pos x="T8" y="T9"/>
                  </a:cxn>
                </a:cxnLst>
                <a:rect l="0" t="0" r="r" b="b"/>
                <a:pathLst>
                  <a:path w="376" h="18">
                    <a:moveTo>
                      <a:pt x="10" y="0"/>
                    </a:moveTo>
                    <a:cubicBezTo>
                      <a:pt x="376" y="0"/>
                      <a:pt x="376" y="0"/>
                      <a:pt x="376" y="0"/>
                    </a:cubicBezTo>
                    <a:cubicBezTo>
                      <a:pt x="376" y="6"/>
                      <a:pt x="362" y="13"/>
                      <a:pt x="338" y="18"/>
                    </a:cubicBezTo>
                    <a:cubicBezTo>
                      <a:pt x="0" y="5"/>
                      <a:pt x="0" y="5"/>
                      <a:pt x="0" y="5"/>
                    </a:cubicBezTo>
                    <a:cubicBezTo>
                      <a:pt x="7" y="3"/>
                      <a:pt x="10" y="2"/>
                      <a:pt x="1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86" name="iṧļïḍe"/>
              <p:cNvSpPr/>
              <p:nvPr/>
            </p:nvSpPr>
            <p:spPr bwMode="auto">
              <a:xfrm>
                <a:off x="-613034" y="4968879"/>
                <a:ext cx="542821" cy="48552"/>
              </a:xfrm>
              <a:custGeom>
                <a:avLst/>
                <a:gdLst>
                  <a:gd name="T0" fmla="*/ 28 w 366"/>
                  <a:gd name="T1" fmla="*/ 0 h 30"/>
                  <a:gd name="T2" fmla="*/ 366 w 366"/>
                  <a:gd name="T3" fmla="*/ 14 h 30"/>
                  <a:gd name="T4" fmla="*/ 258 w 366"/>
                  <a:gd name="T5" fmla="*/ 30 h 30"/>
                  <a:gd name="T6" fmla="*/ 0 w 366"/>
                  <a:gd name="T7" fmla="*/ 5 h 30"/>
                  <a:gd name="T8" fmla="*/ 28 w 366"/>
                  <a:gd name="T9" fmla="*/ 0 h 30"/>
                </a:gdLst>
                <a:ahLst/>
                <a:cxnLst>
                  <a:cxn ang="0">
                    <a:pos x="T0" y="T1"/>
                  </a:cxn>
                  <a:cxn ang="0">
                    <a:pos x="T2" y="T3"/>
                  </a:cxn>
                  <a:cxn ang="0">
                    <a:pos x="T4" y="T5"/>
                  </a:cxn>
                  <a:cxn ang="0">
                    <a:pos x="T6" y="T7"/>
                  </a:cxn>
                  <a:cxn ang="0">
                    <a:pos x="T8" y="T9"/>
                  </a:cxn>
                </a:cxnLst>
                <a:rect l="0" t="0" r="r" b="b"/>
                <a:pathLst>
                  <a:path w="366" h="30">
                    <a:moveTo>
                      <a:pt x="28" y="0"/>
                    </a:moveTo>
                    <a:cubicBezTo>
                      <a:pt x="366" y="14"/>
                      <a:pt x="366" y="14"/>
                      <a:pt x="366" y="14"/>
                    </a:cubicBezTo>
                    <a:cubicBezTo>
                      <a:pt x="341" y="20"/>
                      <a:pt x="304" y="25"/>
                      <a:pt x="258" y="30"/>
                    </a:cubicBezTo>
                    <a:cubicBezTo>
                      <a:pt x="0" y="5"/>
                      <a:pt x="0" y="5"/>
                      <a:pt x="0" y="5"/>
                    </a:cubicBezTo>
                    <a:cubicBezTo>
                      <a:pt x="12" y="3"/>
                      <a:pt x="22" y="2"/>
                      <a:pt x="28"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87" name="ïsḷiḑe"/>
              <p:cNvSpPr/>
              <p:nvPr/>
            </p:nvSpPr>
            <p:spPr bwMode="auto">
              <a:xfrm>
                <a:off x="-675642" y="4922379"/>
                <a:ext cx="445151" cy="58125"/>
              </a:xfrm>
              <a:custGeom>
                <a:avLst/>
                <a:gdLst>
                  <a:gd name="T0" fmla="*/ 42 w 300"/>
                  <a:gd name="T1" fmla="*/ 0 h 36"/>
                  <a:gd name="T2" fmla="*/ 300 w 300"/>
                  <a:gd name="T3" fmla="*/ 26 h 36"/>
                  <a:gd name="T4" fmla="*/ 142 w 300"/>
                  <a:gd name="T5" fmla="*/ 36 h 36"/>
                  <a:gd name="T6" fmla="*/ 0 w 300"/>
                  <a:gd name="T7" fmla="*/ 3 h 36"/>
                  <a:gd name="T8" fmla="*/ 42 w 300"/>
                  <a:gd name="T9" fmla="*/ 0 h 36"/>
                </a:gdLst>
                <a:ahLst/>
                <a:cxnLst>
                  <a:cxn ang="0">
                    <a:pos x="T0" y="T1"/>
                  </a:cxn>
                  <a:cxn ang="0">
                    <a:pos x="T2" y="T3"/>
                  </a:cxn>
                  <a:cxn ang="0">
                    <a:pos x="T4" y="T5"/>
                  </a:cxn>
                  <a:cxn ang="0">
                    <a:pos x="T6" y="T7"/>
                  </a:cxn>
                  <a:cxn ang="0">
                    <a:pos x="T8" y="T9"/>
                  </a:cxn>
                </a:cxnLst>
                <a:rect l="0" t="0" r="r" b="b"/>
                <a:pathLst>
                  <a:path w="300" h="36">
                    <a:moveTo>
                      <a:pt x="42" y="0"/>
                    </a:moveTo>
                    <a:cubicBezTo>
                      <a:pt x="300" y="26"/>
                      <a:pt x="300" y="26"/>
                      <a:pt x="300" y="26"/>
                    </a:cubicBezTo>
                    <a:cubicBezTo>
                      <a:pt x="255" y="30"/>
                      <a:pt x="201" y="34"/>
                      <a:pt x="142" y="36"/>
                    </a:cubicBezTo>
                    <a:cubicBezTo>
                      <a:pt x="0" y="3"/>
                      <a:pt x="0" y="3"/>
                      <a:pt x="0" y="3"/>
                    </a:cubicBezTo>
                    <a:cubicBezTo>
                      <a:pt x="16" y="2"/>
                      <a:pt x="30" y="2"/>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88" name="îSḷïďe"/>
              <p:cNvSpPr/>
              <p:nvPr/>
            </p:nvSpPr>
            <p:spPr bwMode="auto">
              <a:xfrm>
                <a:off x="-749522" y="4873827"/>
                <a:ext cx="284871" cy="58125"/>
              </a:xfrm>
              <a:custGeom>
                <a:avLst/>
                <a:gdLst>
                  <a:gd name="T0" fmla="*/ 50 w 192"/>
                  <a:gd name="T1" fmla="*/ 0 h 36"/>
                  <a:gd name="T2" fmla="*/ 192 w 192"/>
                  <a:gd name="T3" fmla="*/ 33 h 36"/>
                  <a:gd name="T4" fmla="*/ 0 w 192"/>
                  <a:gd name="T5" fmla="*/ 36 h 36"/>
                  <a:gd name="T6" fmla="*/ 0 w 192"/>
                  <a:gd name="T7" fmla="*/ 1 h 36"/>
                  <a:gd name="T8" fmla="*/ 50 w 192"/>
                  <a:gd name="T9" fmla="*/ 0 h 36"/>
                </a:gdLst>
                <a:ahLst/>
                <a:cxnLst>
                  <a:cxn ang="0">
                    <a:pos x="T0" y="T1"/>
                  </a:cxn>
                  <a:cxn ang="0">
                    <a:pos x="T2" y="T3"/>
                  </a:cxn>
                  <a:cxn ang="0">
                    <a:pos x="T4" y="T5"/>
                  </a:cxn>
                  <a:cxn ang="0">
                    <a:pos x="T6" y="T7"/>
                  </a:cxn>
                  <a:cxn ang="0">
                    <a:pos x="T8" y="T9"/>
                  </a:cxn>
                </a:cxnLst>
                <a:rect l="0" t="0" r="r" b="b"/>
                <a:pathLst>
                  <a:path w="192" h="36">
                    <a:moveTo>
                      <a:pt x="50" y="0"/>
                    </a:moveTo>
                    <a:cubicBezTo>
                      <a:pt x="192" y="33"/>
                      <a:pt x="192" y="33"/>
                      <a:pt x="192" y="33"/>
                    </a:cubicBezTo>
                    <a:cubicBezTo>
                      <a:pt x="133" y="35"/>
                      <a:pt x="68" y="36"/>
                      <a:pt x="0" y="36"/>
                    </a:cubicBezTo>
                    <a:cubicBezTo>
                      <a:pt x="0" y="1"/>
                      <a:pt x="0" y="1"/>
                      <a:pt x="0" y="1"/>
                    </a:cubicBezTo>
                    <a:cubicBezTo>
                      <a:pt x="18" y="1"/>
                      <a:pt x="35" y="0"/>
                      <a:pt x="5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89" name="îṩ1iḓê"/>
              <p:cNvSpPr/>
              <p:nvPr/>
            </p:nvSpPr>
            <p:spPr bwMode="auto">
              <a:xfrm>
                <a:off x="-943609" y="4248130"/>
                <a:ext cx="386924" cy="436279"/>
              </a:xfrm>
              <a:custGeom>
                <a:avLst/>
                <a:gdLst>
                  <a:gd name="T0" fmla="*/ 251 w 261"/>
                  <a:gd name="T1" fmla="*/ 4 h 270"/>
                  <a:gd name="T2" fmla="*/ 224 w 261"/>
                  <a:gd name="T3" fmla="*/ 0 h 270"/>
                  <a:gd name="T4" fmla="*/ 224 w 261"/>
                  <a:gd name="T5" fmla="*/ 33 h 270"/>
                  <a:gd name="T6" fmla="*/ 214 w 261"/>
                  <a:gd name="T7" fmla="*/ 32 h 270"/>
                  <a:gd name="T8" fmla="*/ 205 w 261"/>
                  <a:gd name="T9" fmla="*/ 32 h 270"/>
                  <a:gd name="T10" fmla="*/ 196 w 261"/>
                  <a:gd name="T11" fmla="*/ 31 h 270"/>
                  <a:gd name="T12" fmla="*/ 188 w 261"/>
                  <a:gd name="T13" fmla="*/ 31 h 270"/>
                  <a:gd name="T14" fmla="*/ 182 w 261"/>
                  <a:gd name="T15" fmla="*/ 31 h 270"/>
                  <a:gd name="T16" fmla="*/ 182 w 261"/>
                  <a:gd name="T17" fmla="*/ 64 h 270"/>
                  <a:gd name="T18" fmla="*/ 180 w 261"/>
                  <a:gd name="T19" fmla="*/ 64 h 270"/>
                  <a:gd name="T20" fmla="*/ 172 w 261"/>
                  <a:gd name="T21" fmla="*/ 63 h 270"/>
                  <a:gd name="T22" fmla="*/ 164 w 261"/>
                  <a:gd name="T23" fmla="*/ 63 h 270"/>
                  <a:gd name="T24" fmla="*/ 156 w 261"/>
                  <a:gd name="T25" fmla="*/ 63 h 270"/>
                  <a:gd name="T26" fmla="*/ 147 w 261"/>
                  <a:gd name="T27" fmla="*/ 63 h 270"/>
                  <a:gd name="T28" fmla="*/ 139 w 261"/>
                  <a:gd name="T29" fmla="*/ 63 h 270"/>
                  <a:gd name="T30" fmla="*/ 132 w 261"/>
                  <a:gd name="T31" fmla="*/ 63 h 270"/>
                  <a:gd name="T32" fmla="*/ 132 w 261"/>
                  <a:gd name="T33" fmla="*/ 96 h 270"/>
                  <a:gd name="T34" fmla="*/ 129 w 261"/>
                  <a:gd name="T35" fmla="*/ 96 h 270"/>
                  <a:gd name="T36" fmla="*/ 120 w 261"/>
                  <a:gd name="T37" fmla="*/ 96 h 270"/>
                  <a:gd name="T38" fmla="*/ 109 w 261"/>
                  <a:gd name="T39" fmla="*/ 96 h 270"/>
                  <a:gd name="T40" fmla="*/ 94 w 261"/>
                  <a:gd name="T41" fmla="*/ 97 h 270"/>
                  <a:gd name="T42" fmla="*/ 82 w 261"/>
                  <a:gd name="T43" fmla="*/ 97 h 270"/>
                  <a:gd name="T44" fmla="*/ 82 w 261"/>
                  <a:gd name="T45" fmla="*/ 130 h 270"/>
                  <a:gd name="T46" fmla="*/ 49 w 261"/>
                  <a:gd name="T47" fmla="*/ 132 h 270"/>
                  <a:gd name="T48" fmla="*/ 40 w 261"/>
                  <a:gd name="T49" fmla="*/ 133 h 270"/>
                  <a:gd name="T50" fmla="*/ 40 w 261"/>
                  <a:gd name="T51" fmla="*/ 166 h 270"/>
                  <a:gd name="T52" fmla="*/ 36 w 261"/>
                  <a:gd name="T53" fmla="*/ 166 h 270"/>
                  <a:gd name="T54" fmla="*/ 28 w 261"/>
                  <a:gd name="T55" fmla="*/ 167 h 270"/>
                  <a:gd name="T56" fmla="*/ 22 w 261"/>
                  <a:gd name="T57" fmla="*/ 168 h 270"/>
                  <a:gd name="T58" fmla="*/ 17 w 261"/>
                  <a:gd name="T59" fmla="*/ 169 h 270"/>
                  <a:gd name="T60" fmla="*/ 13 w 261"/>
                  <a:gd name="T61" fmla="*/ 170 h 270"/>
                  <a:gd name="T62" fmla="*/ 12 w 261"/>
                  <a:gd name="T63" fmla="*/ 170 h 270"/>
                  <a:gd name="T64" fmla="*/ 12 w 261"/>
                  <a:gd name="T65" fmla="*/ 203 h 270"/>
                  <a:gd name="T66" fmla="*/ 12 w 261"/>
                  <a:gd name="T67" fmla="*/ 204 h 270"/>
                  <a:gd name="T68" fmla="*/ 10 w 261"/>
                  <a:gd name="T69" fmla="*/ 204 h 270"/>
                  <a:gd name="T70" fmla="*/ 7 w 261"/>
                  <a:gd name="T71" fmla="*/ 205 h 270"/>
                  <a:gd name="T72" fmla="*/ 5 w 261"/>
                  <a:gd name="T73" fmla="*/ 206 h 270"/>
                  <a:gd name="T74" fmla="*/ 4 w 261"/>
                  <a:gd name="T75" fmla="*/ 207 h 270"/>
                  <a:gd name="T76" fmla="*/ 3 w 261"/>
                  <a:gd name="T77" fmla="*/ 208 h 270"/>
                  <a:gd name="T78" fmla="*/ 2 w 261"/>
                  <a:gd name="T79" fmla="*/ 208 h 270"/>
                  <a:gd name="T80" fmla="*/ 2 w 261"/>
                  <a:gd name="T81" fmla="*/ 242 h 270"/>
                  <a:gd name="T82" fmla="*/ 12 w 261"/>
                  <a:gd name="T83" fmla="*/ 270 h 270"/>
                  <a:gd name="T84" fmla="*/ 112 w 261"/>
                  <a:gd name="T85" fmla="*/ 155 h 270"/>
                  <a:gd name="T86" fmla="*/ 112 w 261"/>
                  <a:gd name="T87" fmla="*/ 155 h 270"/>
                  <a:gd name="T88" fmla="*/ 251 w 261"/>
                  <a:gd name="T89" fmla="*/ 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1" h="270">
                    <a:moveTo>
                      <a:pt x="251" y="4"/>
                    </a:moveTo>
                    <a:cubicBezTo>
                      <a:pt x="244" y="2"/>
                      <a:pt x="235" y="1"/>
                      <a:pt x="224" y="0"/>
                    </a:cubicBezTo>
                    <a:cubicBezTo>
                      <a:pt x="224" y="33"/>
                      <a:pt x="224" y="33"/>
                      <a:pt x="224" y="33"/>
                    </a:cubicBezTo>
                    <a:cubicBezTo>
                      <a:pt x="221" y="33"/>
                      <a:pt x="218" y="33"/>
                      <a:pt x="214" y="32"/>
                    </a:cubicBezTo>
                    <a:cubicBezTo>
                      <a:pt x="211" y="32"/>
                      <a:pt x="208" y="32"/>
                      <a:pt x="205" y="32"/>
                    </a:cubicBezTo>
                    <a:cubicBezTo>
                      <a:pt x="202" y="32"/>
                      <a:pt x="199" y="31"/>
                      <a:pt x="196" y="31"/>
                    </a:cubicBezTo>
                    <a:cubicBezTo>
                      <a:pt x="194" y="31"/>
                      <a:pt x="191" y="31"/>
                      <a:pt x="188" y="31"/>
                    </a:cubicBezTo>
                    <a:cubicBezTo>
                      <a:pt x="186" y="31"/>
                      <a:pt x="184" y="31"/>
                      <a:pt x="182" y="31"/>
                    </a:cubicBezTo>
                    <a:cubicBezTo>
                      <a:pt x="182" y="64"/>
                      <a:pt x="182" y="64"/>
                      <a:pt x="182" y="64"/>
                    </a:cubicBezTo>
                    <a:cubicBezTo>
                      <a:pt x="181" y="64"/>
                      <a:pt x="180" y="64"/>
                      <a:pt x="180" y="64"/>
                    </a:cubicBezTo>
                    <a:cubicBezTo>
                      <a:pt x="177" y="64"/>
                      <a:pt x="174" y="64"/>
                      <a:pt x="172" y="63"/>
                    </a:cubicBezTo>
                    <a:cubicBezTo>
                      <a:pt x="169" y="63"/>
                      <a:pt x="166" y="63"/>
                      <a:pt x="164" y="63"/>
                    </a:cubicBezTo>
                    <a:cubicBezTo>
                      <a:pt x="161" y="63"/>
                      <a:pt x="158" y="63"/>
                      <a:pt x="156" y="63"/>
                    </a:cubicBezTo>
                    <a:cubicBezTo>
                      <a:pt x="153" y="63"/>
                      <a:pt x="150" y="63"/>
                      <a:pt x="147" y="63"/>
                    </a:cubicBezTo>
                    <a:cubicBezTo>
                      <a:pt x="144" y="63"/>
                      <a:pt x="142" y="63"/>
                      <a:pt x="139" y="63"/>
                    </a:cubicBezTo>
                    <a:cubicBezTo>
                      <a:pt x="137" y="63"/>
                      <a:pt x="134" y="63"/>
                      <a:pt x="132" y="63"/>
                    </a:cubicBezTo>
                    <a:cubicBezTo>
                      <a:pt x="132" y="96"/>
                      <a:pt x="132" y="96"/>
                      <a:pt x="132" y="96"/>
                    </a:cubicBezTo>
                    <a:cubicBezTo>
                      <a:pt x="131" y="96"/>
                      <a:pt x="130" y="96"/>
                      <a:pt x="129" y="96"/>
                    </a:cubicBezTo>
                    <a:cubicBezTo>
                      <a:pt x="126" y="96"/>
                      <a:pt x="123" y="96"/>
                      <a:pt x="120" y="96"/>
                    </a:cubicBezTo>
                    <a:cubicBezTo>
                      <a:pt x="116" y="96"/>
                      <a:pt x="112" y="96"/>
                      <a:pt x="109" y="96"/>
                    </a:cubicBezTo>
                    <a:cubicBezTo>
                      <a:pt x="104" y="96"/>
                      <a:pt x="99" y="97"/>
                      <a:pt x="94" y="97"/>
                    </a:cubicBezTo>
                    <a:cubicBezTo>
                      <a:pt x="90" y="97"/>
                      <a:pt x="86" y="97"/>
                      <a:pt x="82" y="97"/>
                    </a:cubicBezTo>
                    <a:cubicBezTo>
                      <a:pt x="82" y="130"/>
                      <a:pt x="82" y="130"/>
                      <a:pt x="82" y="130"/>
                    </a:cubicBezTo>
                    <a:cubicBezTo>
                      <a:pt x="70" y="131"/>
                      <a:pt x="58" y="132"/>
                      <a:pt x="49" y="132"/>
                    </a:cubicBezTo>
                    <a:cubicBezTo>
                      <a:pt x="46" y="133"/>
                      <a:pt x="43" y="133"/>
                      <a:pt x="40" y="133"/>
                    </a:cubicBezTo>
                    <a:cubicBezTo>
                      <a:pt x="40" y="166"/>
                      <a:pt x="40" y="166"/>
                      <a:pt x="40" y="166"/>
                    </a:cubicBezTo>
                    <a:cubicBezTo>
                      <a:pt x="39" y="166"/>
                      <a:pt x="37" y="166"/>
                      <a:pt x="36" y="166"/>
                    </a:cubicBezTo>
                    <a:cubicBezTo>
                      <a:pt x="33" y="167"/>
                      <a:pt x="30" y="167"/>
                      <a:pt x="28" y="167"/>
                    </a:cubicBezTo>
                    <a:cubicBezTo>
                      <a:pt x="26" y="168"/>
                      <a:pt x="24" y="168"/>
                      <a:pt x="22" y="168"/>
                    </a:cubicBezTo>
                    <a:cubicBezTo>
                      <a:pt x="20" y="168"/>
                      <a:pt x="19" y="169"/>
                      <a:pt x="17" y="169"/>
                    </a:cubicBezTo>
                    <a:cubicBezTo>
                      <a:pt x="16" y="169"/>
                      <a:pt x="14" y="170"/>
                      <a:pt x="13" y="170"/>
                    </a:cubicBezTo>
                    <a:cubicBezTo>
                      <a:pt x="12" y="170"/>
                      <a:pt x="12" y="170"/>
                      <a:pt x="12" y="170"/>
                    </a:cubicBezTo>
                    <a:cubicBezTo>
                      <a:pt x="12" y="203"/>
                      <a:pt x="12" y="203"/>
                      <a:pt x="12" y="203"/>
                    </a:cubicBezTo>
                    <a:cubicBezTo>
                      <a:pt x="12" y="204"/>
                      <a:pt x="12" y="204"/>
                      <a:pt x="12" y="204"/>
                    </a:cubicBezTo>
                    <a:cubicBezTo>
                      <a:pt x="11" y="204"/>
                      <a:pt x="11" y="204"/>
                      <a:pt x="10" y="204"/>
                    </a:cubicBezTo>
                    <a:cubicBezTo>
                      <a:pt x="9" y="205"/>
                      <a:pt x="8" y="205"/>
                      <a:pt x="7" y="205"/>
                    </a:cubicBezTo>
                    <a:cubicBezTo>
                      <a:pt x="7" y="205"/>
                      <a:pt x="6" y="206"/>
                      <a:pt x="5" y="206"/>
                    </a:cubicBezTo>
                    <a:cubicBezTo>
                      <a:pt x="5" y="206"/>
                      <a:pt x="4" y="206"/>
                      <a:pt x="4" y="207"/>
                    </a:cubicBezTo>
                    <a:cubicBezTo>
                      <a:pt x="3" y="207"/>
                      <a:pt x="3" y="207"/>
                      <a:pt x="3" y="208"/>
                    </a:cubicBezTo>
                    <a:cubicBezTo>
                      <a:pt x="2" y="208"/>
                      <a:pt x="2" y="208"/>
                      <a:pt x="2" y="208"/>
                    </a:cubicBezTo>
                    <a:cubicBezTo>
                      <a:pt x="2" y="242"/>
                      <a:pt x="2" y="242"/>
                      <a:pt x="2" y="242"/>
                    </a:cubicBezTo>
                    <a:cubicBezTo>
                      <a:pt x="12" y="270"/>
                      <a:pt x="12" y="270"/>
                      <a:pt x="12" y="270"/>
                    </a:cubicBezTo>
                    <a:cubicBezTo>
                      <a:pt x="12" y="270"/>
                      <a:pt x="0" y="206"/>
                      <a:pt x="112" y="155"/>
                    </a:cubicBezTo>
                    <a:cubicBezTo>
                      <a:pt x="112" y="155"/>
                      <a:pt x="112" y="155"/>
                      <a:pt x="112" y="155"/>
                    </a:cubicBezTo>
                    <a:cubicBezTo>
                      <a:pt x="233" y="82"/>
                      <a:pt x="261" y="34"/>
                      <a:pt x="251"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90" name="íSliḍè"/>
              <p:cNvSpPr/>
              <p:nvPr/>
            </p:nvSpPr>
            <p:spPr bwMode="auto">
              <a:xfrm>
                <a:off x="-777696" y="4147608"/>
                <a:ext cx="857118" cy="350801"/>
              </a:xfrm>
              <a:custGeom>
                <a:avLst/>
                <a:gdLst>
                  <a:gd name="T0" fmla="*/ 272 w 578"/>
                  <a:gd name="T1" fmla="*/ 38 h 217"/>
                  <a:gd name="T2" fmla="*/ 274 w 578"/>
                  <a:gd name="T3" fmla="*/ 32 h 217"/>
                  <a:gd name="T4" fmla="*/ 145 w 578"/>
                  <a:gd name="T5" fmla="*/ 0 h 217"/>
                  <a:gd name="T6" fmla="*/ 14 w 578"/>
                  <a:gd name="T7" fmla="*/ 13 h 217"/>
                  <a:gd name="T8" fmla="*/ 139 w 578"/>
                  <a:gd name="T9" fmla="*/ 66 h 217"/>
                  <a:gd name="T10" fmla="*/ 140 w 578"/>
                  <a:gd name="T11" fmla="*/ 69 h 217"/>
                  <a:gd name="T12" fmla="*/ 140 w 578"/>
                  <a:gd name="T13" fmla="*/ 70 h 217"/>
                  <a:gd name="T14" fmla="*/ 140 w 578"/>
                  <a:gd name="T15" fmla="*/ 73 h 217"/>
                  <a:gd name="T16" fmla="*/ 141 w 578"/>
                  <a:gd name="T17" fmla="*/ 74 h 217"/>
                  <a:gd name="T18" fmla="*/ 141 w 578"/>
                  <a:gd name="T19" fmla="*/ 77 h 217"/>
                  <a:gd name="T20" fmla="*/ 141 w 578"/>
                  <a:gd name="T21" fmla="*/ 78 h 217"/>
                  <a:gd name="T22" fmla="*/ 141 w 578"/>
                  <a:gd name="T23" fmla="*/ 81 h 217"/>
                  <a:gd name="T24" fmla="*/ 140 w 578"/>
                  <a:gd name="T25" fmla="*/ 82 h 217"/>
                  <a:gd name="T26" fmla="*/ 140 w 578"/>
                  <a:gd name="T27" fmla="*/ 85 h 217"/>
                  <a:gd name="T28" fmla="*/ 140 w 578"/>
                  <a:gd name="T29" fmla="*/ 87 h 217"/>
                  <a:gd name="T30" fmla="*/ 139 w 578"/>
                  <a:gd name="T31" fmla="*/ 90 h 217"/>
                  <a:gd name="T32" fmla="*/ 139 w 578"/>
                  <a:gd name="T33" fmla="*/ 91 h 217"/>
                  <a:gd name="T34" fmla="*/ 137 w 578"/>
                  <a:gd name="T35" fmla="*/ 95 h 217"/>
                  <a:gd name="T36" fmla="*/ 137 w 578"/>
                  <a:gd name="T37" fmla="*/ 96 h 217"/>
                  <a:gd name="T38" fmla="*/ 135 w 578"/>
                  <a:gd name="T39" fmla="*/ 100 h 217"/>
                  <a:gd name="T40" fmla="*/ 134 w 578"/>
                  <a:gd name="T41" fmla="*/ 101 h 217"/>
                  <a:gd name="T42" fmla="*/ 133 w 578"/>
                  <a:gd name="T43" fmla="*/ 105 h 217"/>
                  <a:gd name="T44" fmla="*/ 132 w 578"/>
                  <a:gd name="T45" fmla="*/ 106 h 217"/>
                  <a:gd name="T46" fmla="*/ 130 w 578"/>
                  <a:gd name="T47" fmla="*/ 110 h 217"/>
                  <a:gd name="T48" fmla="*/ 129 w 578"/>
                  <a:gd name="T49" fmla="*/ 111 h 217"/>
                  <a:gd name="T50" fmla="*/ 125 w 578"/>
                  <a:gd name="T51" fmla="*/ 116 h 217"/>
                  <a:gd name="T52" fmla="*/ 125 w 578"/>
                  <a:gd name="T53" fmla="*/ 117 h 217"/>
                  <a:gd name="T54" fmla="*/ 121 w 578"/>
                  <a:gd name="T55" fmla="*/ 122 h 217"/>
                  <a:gd name="T56" fmla="*/ 120 w 578"/>
                  <a:gd name="T57" fmla="*/ 123 h 217"/>
                  <a:gd name="T58" fmla="*/ 117 w 578"/>
                  <a:gd name="T59" fmla="*/ 127 h 217"/>
                  <a:gd name="T60" fmla="*/ 115 w 578"/>
                  <a:gd name="T61" fmla="*/ 129 h 217"/>
                  <a:gd name="T62" fmla="*/ 111 w 578"/>
                  <a:gd name="T63" fmla="*/ 133 h 217"/>
                  <a:gd name="T64" fmla="*/ 110 w 578"/>
                  <a:gd name="T65" fmla="*/ 135 h 217"/>
                  <a:gd name="T66" fmla="*/ 104 w 578"/>
                  <a:gd name="T67" fmla="*/ 140 h 217"/>
                  <a:gd name="T68" fmla="*/ 103 w 578"/>
                  <a:gd name="T69" fmla="*/ 142 h 217"/>
                  <a:gd name="T70" fmla="*/ 98 w 578"/>
                  <a:gd name="T71" fmla="*/ 146 h 217"/>
                  <a:gd name="T72" fmla="*/ 96 w 578"/>
                  <a:gd name="T73" fmla="*/ 149 h 217"/>
                  <a:gd name="T74" fmla="*/ 91 w 578"/>
                  <a:gd name="T75" fmla="*/ 153 h 217"/>
                  <a:gd name="T76" fmla="*/ 89 w 578"/>
                  <a:gd name="T77" fmla="*/ 155 h 217"/>
                  <a:gd name="T78" fmla="*/ 81 w 578"/>
                  <a:gd name="T79" fmla="*/ 161 h 217"/>
                  <a:gd name="T80" fmla="*/ 80 w 578"/>
                  <a:gd name="T81" fmla="*/ 162 h 217"/>
                  <a:gd name="T82" fmla="*/ 73 w 578"/>
                  <a:gd name="T83" fmla="*/ 168 h 217"/>
                  <a:gd name="T84" fmla="*/ 70 w 578"/>
                  <a:gd name="T85" fmla="*/ 170 h 217"/>
                  <a:gd name="T86" fmla="*/ 64 w 578"/>
                  <a:gd name="T87" fmla="*/ 175 h 217"/>
                  <a:gd name="T88" fmla="*/ 61 w 578"/>
                  <a:gd name="T89" fmla="*/ 177 h 217"/>
                  <a:gd name="T90" fmla="*/ 53 w 578"/>
                  <a:gd name="T91" fmla="*/ 183 h 217"/>
                  <a:gd name="T92" fmla="*/ 51 w 578"/>
                  <a:gd name="T93" fmla="*/ 184 h 217"/>
                  <a:gd name="T94" fmla="*/ 40 w 578"/>
                  <a:gd name="T95" fmla="*/ 191 h 217"/>
                  <a:gd name="T96" fmla="*/ 38 w 578"/>
                  <a:gd name="T97" fmla="*/ 193 h 217"/>
                  <a:gd name="T98" fmla="*/ 29 w 578"/>
                  <a:gd name="T99" fmla="*/ 199 h 217"/>
                  <a:gd name="T100" fmla="*/ 25 w 578"/>
                  <a:gd name="T101" fmla="*/ 202 h 217"/>
                  <a:gd name="T102" fmla="*/ 17 w 578"/>
                  <a:gd name="T103" fmla="*/ 207 h 217"/>
                  <a:gd name="T104" fmla="*/ 13 w 578"/>
                  <a:gd name="T105" fmla="*/ 209 h 217"/>
                  <a:gd name="T106" fmla="*/ 0 w 578"/>
                  <a:gd name="T107" fmla="*/ 217 h 217"/>
                  <a:gd name="T108" fmla="*/ 578 w 578"/>
                  <a:gd name="T109" fmla="*/ 151 h 217"/>
                  <a:gd name="T110" fmla="*/ 514 w 578"/>
                  <a:gd name="T111" fmla="*/ 38 h 217"/>
                  <a:gd name="T112" fmla="*/ 272 w 578"/>
                  <a:gd name="T113" fmla="*/ 3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8" h="217">
                    <a:moveTo>
                      <a:pt x="272" y="38"/>
                    </a:moveTo>
                    <a:cubicBezTo>
                      <a:pt x="274" y="32"/>
                      <a:pt x="274" y="32"/>
                      <a:pt x="274" y="32"/>
                    </a:cubicBezTo>
                    <a:cubicBezTo>
                      <a:pt x="145" y="0"/>
                      <a:pt x="145" y="0"/>
                      <a:pt x="145" y="0"/>
                    </a:cubicBezTo>
                    <a:cubicBezTo>
                      <a:pt x="14" y="13"/>
                      <a:pt x="14" y="13"/>
                      <a:pt x="14" y="13"/>
                    </a:cubicBezTo>
                    <a:cubicBezTo>
                      <a:pt x="14" y="13"/>
                      <a:pt x="123" y="19"/>
                      <a:pt x="139" y="66"/>
                    </a:cubicBezTo>
                    <a:cubicBezTo>
                      <a:pt x="139" y="67"/>
                      <a:pt x="140" y="68"/>
                      <a:pt x="140" y="69"/>
                    </a:cubicBezTo>
                    <a:cubicBezTo>
                      <a:pt x="140" y="70"/>
                      <a:pt x="140" y="70"/>
                      <a:pt x="140" y="70"/>
                    </a:cubicBezTo>
                    <a:cubicBezTo>
                      <a:pt x="140" y="71"/>
                      <a:pt x="140" y="72"/>
                      <a:pt x="140" y="73"/>
                    </a:cubicBezTo>
                    <a:cubicBezTo>
                      <a:pt x="140" y="73"/>
                      <a:pt x="140" y="74"/>
                      <a:pt x="141" y="74"/>
                    </a:cubicBezTo>
                    <a:cubicBezTo>
                      <a:pt x="141" y="75"/>
                      <a:pt x="141" y="76"/>
                      <a:pt x="141" y="77"/>
                    </a:cubicBezTo>
                    <a:cubicBezTo>
                      <a:pt x="141" y="77"/>
                      <a:pt x="141" y="77"/>
                      <a:pt x="141" y="78"/>
                    </a:cubicBezTo>
                    <a:cubicBezTo>
                      <a:pt x="141" y="79"/>
                      <a:pt x="141" y="80"/>
                      <a:pt x="141" y="81"/>
                    </a:cubicBezTo>
                    <a:cubicBezTo>
                      <a:pt x="140" y="82"/>
                      <a:pt x="140" y="82"/>
                      <a:pt x="140" y="82"/>
                    </a:cubicBezTo>
                    <a:cubicBezTo>
                      <a:pt x="140" y="83"/>
                      <a:pt x="140" y="84"/>
                      <a:pt x="140" y="85"/>
                    </a:cubicBezTo>
                    <a:cubicBezTo>
                      <a:pt x="140" y="86"/>
                      <a:pt x="140" y="86"/>
                      <a:pt x="140" y="87"/>
                    </a:cubicBezTo>
                    <a:cubicBezTo>
                      <a:pt x="139" y="88"/>
                      <a:pt x="139" y="89"/>
                      <a:pt x="139" y="90"/>
                    </a:cubicBezTo>
                    <a:cubicBezTo>
                      <a:pt x="139" y="90"/>
                      <a:pt x="139" y="91"/>
                      <a:pt x="139" y="91"/>
                    </a:cubicBezTo>
                    <a:cubicBezTo>
                      <a:pt x="138" y="92"/>
                      <a:pt x="138" y="94"/>
                      <a:pt x="137" y="95"/>
                    </a:cubicBezTo>
                    <a:cubicBezTo>
                      <a:pt x="137" y="96"/>
                      <a:pt x="137" y="96"/>
                      <a:pt x="137" y="96"/>
                    </a:cubicBezTo>
                    <a:cubicBezTo>
                      <a:pt x="136" y="97"/>
                      <a:pt x="136" y="99"/>
                      <a:pt x="135" y="100"/>
                    </a:cubicBezTo>
                    <a:cubicBezTo>
                      <a:pt x="135" y="100"/>
                      <a:pt x="135" y="101"/>
                      <a:pt x="134" y="101"/>
                    </a:cubicBezTo>
                    <a:cubicBezTo>
                      <a:pt x="134" y="103"/>
                      <a:pt x="133" y="104"/>
                      <a:pt x="133" y="105"/>
                    </a:cubicBezTo>
                    <a:cubicBezTo>
                      <a:pt x="132" y="105"/>
                      <a:pt x="132" y="106"/>
                      <a:pt x="132" y="106"/>
                    </a:cubicBezTo>
                    <a:cubicBezTo>
                      <a:pt x="131" y="108"/>
                      <a:pt x="130" y="109"/>
                      <a:pt x="130" y="110"/>
                    </a:cubicBezTo>
                    <a:cubicBezTo>
                      <a:pt x="129" y="110"/>
                      <a:pt x="129" y="111"/>
                      <a:pt x="129" y="111"/>
                    </a:cubicBezTo>
                    <a:cubicBezTo>
                      <a:pt x="128" y="113"/>
                      <a:pt x="127" y="115"/>
                      <a:pt x="125" y="116"/>
                    </a:cubicBezTo>
                    <a:cubicBezTo>
                      <a:pt x="125" y="117"/>
                      <a:pt x="125" y="117"/>
                      <a:pt x="125" y="117"/>
                    </a:cubicBezTo>
                    <a:cubicBezTo>
                      <a:pt x="124" y="119"/>
                      <a:pt x="123" y="120"/>
                      <a:pt x="121" y="122"/>
                    </a:cubicBezTo>
                    <a:cubicBezTo>
                      <a:pt x="121" y="122"/>
                      <a:pt x="120" y="123"/>
                      <a:pt x="120" y="123"/>
                    </a:cubicBezTo>
                    <a:cubicBezTo>
                      <a:pt x="119" y="125"/>
                      <a:pt x="118" y="126"/>
                      <a:pt x="117" y="127"/>
                    </a:cubicBezTo>
                    <a:cubicBezTo>
                      <a:pt x="116" y="128"/>
                      <a:pt x="116" y="128"/>
                      <a:pt x="115" y="129"/>
                    </a:cubicBezTo>
                    <a:cubicBezTo>
                      <a:pt x="114" y="130"/>
                      <a:pt x="113" y="132"/>
                      <a:pt x="111" y="133"/>
                    </a:cubicBezTo>
                    <a:cubicBezTo>
                      <a:pt x="111" y="134"/>
                      <a:pt x="110" y="134"/>
                      <a:pt x="110" y="135"/>
                    </a:cubicBezTo>
                    <a:cubicBezTo>
                      <a:pt x="108" y="137"/>
                      <a:pt x="106" y="138"/>
                      <a:pt x="104" y="140"/>
                    </a:cubicBezTo>
                    <a:cubicBezTo>
                      <a:pt x="104" y="141"/>
                      <a:pt x="103" y="141"/>
                      <a:pt x="103" y="142"/>
                    </a:cubicBezTo>
                    <a:cubicBezTo>
                      <a:pt x="101" y="143"/>
                      <a:pt x="100" y="145"/>
                      <a:pt x="98" y="146"/>
                    </a:cubicBezTo>
                    <a:cubicBezTo>
                      <a:pt x="97" y="147"/>
                      <a:pt x="97" y="148"/>
                      <a:pt x="96" y="149"/>
                    </a:cubicBezTo>
                    <a:cubicBezTo>
                      <a:pt x="94" y="150"/>
                      <a:pt x="92" y="151"/>
                      <a:pt x="91" y="153"/>
                    </a:cubicBezTo>
                    <a:cubicBezTo>
                      <a:pt x="90" y="154"/>
                      <a:pt x="89" y="154"/>
                      <a:pt x="89" y="155"/>
                    </a:cubicBezTo>
                    <a:cubicBezTo>
                      <a:pt x="86" y="157"/>
                      <a:pt x="84" y="159"/>
                      <a:pt x="81" y="161"/>
                    </a:cubicBezTo>
                    <a:cubicBezTo>
                      <a:pt x="80" y="162"/>
                      <a:pt x="80" y="162"/>
                      <a:pt x="80" y="162"/>
                    </a:cubicBezTo>
                    <a:cubicBezTo>
                      <a:pt x="78" y="164"/>
                      <a:pt x="75" y="166"/>
                      <a:pt x="73" y="168"/>
                    </a:cubicBezTo>
                    <a:cubicBezTo>
                      <a:pt x="72" y="169"/>
                      <a:pt x="71" y="169"/>
                      <a:pt x="70" y="170"/>
                    </a:cubicBezTo>
                    <a:cubicBezTo>
                      <a:pt x="68" y="172"/>
                      <a:pt x="66" y="173"/>
                      <a:pt x="64" y="175"/>
                    </a:cubicBezTo>
                    <a:cubicBezTo>
                      <a:pt x="63" y="176"/>
                      <a:pt x="62" y="176"/>
                      <a:pt x="61" y="177"/>
                    </a:cubicBezTo>
                    <a:cubicBezTo>
                      <a:pt x="58" y="179"/>
                      <a:pt x="56" y="181"/>
                      <a:pt x="53" y="183"/>
                    </a:cubicBezTo>
                    <a:cubicBezTo>
                      <a:pt x="52" y="183"/>
                      <a:pt x="52" y="184"/>
                      <a:pt x="51" y="184"/>
                    </a:cubicBezTo>
                    <a:cubicBezTo>
                      <a:pt x="47" y="187"/>
                      <a:pt x="44" y="189"/>
                      <a:pt x="40" y="191"/>
                    </a:cubicBezTo>
                    <a:cubicBezTo>
                      <a:pt x="39" y="192"/>
                      <a:pt x="39" y="193"/>
                      <a:pt x="38" y="193"/>
                    </a:cubicBezTo>
                    <a:cubicBezTo>
                      <a:pt x="35" y="195"/>
                      <a:pt x="32" y="197"/>
                      <a:pt x="29" y="199"/>
                    </a:cubicBezTo>
                    <a:cubicBezTo>
                      <a:pt x="28" y="200"/>
                      <a:pt x="27" y="201"/>
                      <a:pt x="25" y="202"/>
                    </a:cubicBezTo>
                    <a:cubicBezTo>
                      <a:pt x="23" y="203"/>
                      <a:pt x="20" y="205"/>
                      <a:pt x="17" y="207"/>
                    </a:cubicBezTo>
                    <a:cubicBezTo>
                      <a:pt x="16" y="208"/>
                      <a:pt x="14" y="209"/>
                      <a:pt x="13" y="209"/>
                    </a:cubicBezTo>
                    <a:cubicBezTo>
                      <a:pt x="9" y="212"/>
                      <a:pt x="5" y="215"/>
                      <a:pt x="0" y="217"/>
                    </a:cubicBezTo>
                    <a:cubicBezTo>
                      <a:pt x="35" y="202"/>
                      <a:pt x="578" y="176"/>
                      <a:pt x="578" y="151"/>
                    </a:cubicBezTo>
                    <a:cubicBezTo>
                      <a:pt x="514" y="38"/>
                      <a:pt x="514" y="38"/>
                      <a:pt x="514" y="38"/>
                    </a:cubicBezTo>
                    <a:lnTo>
                      <a:pt x="272" y="38"/>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91" name="íṣľïde"/>
              <p:cNvSpPr/>
              <p:nvPr/>
            </p:nvSpPr>
            <p:spPr bwMode="auto">
              <a:xfrm>
                <a:off x="-1482048" y="4637908"/>
                <a:ext cx="1490722" cy="568942"/>
              </a:xfrm>
              <a:custGeom>
                <a:avLst/>
                <a:gdLst>
                  <a:gd name="T0" fmla="*/ 990 w 1005"/>
                  <a:gd name="T1" fmla="*/ 352 h 352"/>
                  <a:gd name="T2" fmla="*/ 990 w 1005"/>
                  <a:gd name="T3" fmla="*/ 233 h 352"/>
                  <a:gd name="T4" fmla="*/ 990 w 1005"/>
                  <a:gd name="T5" fmla="*/ 233 h 352"/>
                  <a:gd name="T6" fmla="*/ 988 w 1005"/>
                  <a:gd name="T7" fmla="*/ 237 h 352"/>
                  <a:gd name="T8" fmla="*/ 984 w 1005"/>
                  <a:gd name="T9" fmla="*/ 240 h 352"/>
                  <a:gd name="T10" fmla="*/ 978 w 1005"/>
                  <a:gd name="T11" fmla="*/ 243 h 352"/>
                  <a:gd name="T12" fmla="*/ 970 w 1005"/>
                  <a:gd name="T13" fmla="*/ 246 h 352"/>
                  <a:gd name="T14" fmla="*/ 960 w 1005"/>
                  <a:gd name="T15" fmla="*/ 249 h 352"/>
                  <a:gd name="T16" fmla="*/ 952 w 1005"/>
                  <a:gd name="T17" fmla="*/ 251 h 352"/>
                  <a:gd name="T18" fmla="*/ 952 w 1005"/>
                  <a:gd name="T19" fmla="*/ 218 h 352"/>
                  <a:gd name="T20" fmla="*/ 948 w 1005"/>
                  <a:gd name="T21" fmla="*/ 219 h 352"/>
                  <a:gd name="T22" fmla="*/ 933 w 1005"/>
                  <a:gd name="T23" fmla="*/ 222 h 352"/>
                  <a:gd name="T24" fmla="*/ 915 w 1005"/>
                  <a:gd name="T25" fmla="*/ 225 h 352"/>
                  <a:gd name="T26" fmla="*/ 892 w 1005"/>
                  <a:gd name="T27" fmla="*/ 228 h 352"/>
                  <a:gd name="T28" fmla="*/ 861 w 1005"/>
                  <a:gd name="T29" fmla="*/ 232 h 352"/>
                  <a:gd name="T30" fmla="*/ 844 w 1005"/>
                  <a:gd name="T31" fmla="*/ 234 h 352"/>
                  <a:gd name="T32" fmla="*/ 844 w 1005"/>
                  <a:gd name="T33" fmla="*/ 200 h 352"/>
                  <a:gd name="T34" fmla="*/ 813 w 1005"/>
                  <a:gd name="T35" fmla="*/ 203 h 352"/>
                  <a:gd name="T36" fmla="*/ 687 w 1005"/>
                  <a:gd name="T37" fmla="*/ 211 h 352"/>
                  <a:gd name="T38" fmla="*/ 686 w 1005"/>
                  <a:gd name="T39" fmla="*/ 211 h 352"/>
                  <a:gd name="T40" fmla="*/ 686 w 1005"/>
                  <a:gd name="T41" fmla="*/ 177 h 352"/>
                  <a:gd name="T42" fmla="*/ 640 w 1005"/>
                  <a:gd name="T43" fmla="*/ 179 h 352"/>
                  <a:gd name="T44" fmla="*/ 584 w 1005"/>
                  <a:gd name="T45" fmla="*/ 180 h 352"/>
                  <a:gd name="T46" fmla="*/ 543 w 1005"/>
                  <a:gd name="T47" fmla="*/ 181 h 352"/>
                  <a:gd name="T48" fmla="*/ 505 w 1005"/>
                  <a:gd name="T49" fmla="*/ 181 h 352"/>
                  <a:gd name="T50" fmla="*/ 494 w 1005"/>
                  <a:gd name="T51" fmla="*/ 181 h 352"/>
                  <a:gd name="T52" fmla="*/ 494 w 1005"/>
                  <a:gd name="T53" fmla="*/ 148 h 352"/>
                  <a:gd name="T54" fmla="*/ 470 w 1005"/>
                  <a:gd name="T55" fmla="*/ 148 h 352"/>
                  <a:gd name="T56" fmla="*/ 437 w 1005"/>
                  <a:gd name="T57" fmla="*/ 148 h 352"/>
                  <a:gd name="T58" fmla="*/ 405 w 1005"/>
                  <a:gd name="T59" fmla="*/ 147 h 352"/>
                  <a:gd name="T60" fmla="*/ 374 w 1005"/>
                  <a:gd name="T61" fmla="*/ 146 h 352"/>
                  <a:gd name="T62" fmla="*/ 344 w 1005"/>
                  <a:gd name="T63" fmla="*/ 146 h 352"/>
                  <a:gd name="T64" fmla="*/ 313 w 1005"/>
                  <a:gd name="T65" fmla="*/ 145 h 352"/>
                  <a:gd name="T66" fmla="*/ 307 w 1005"/>
                  <a:gd name="T67" fmla="*/ 144 h 352"/>
                  <a:gd name="T68" fmla="*/ 307 w 1005"/>
                  <a:gd name="T69" fmla="*/ 111 h 352"/>
                  <a:gd name="T70" fmla="*/ 282 w 1005"/>
                  <a:gd name="T71" fmla="*/ 110 h 352"/>
                  <a:gd name="T72" fmla="*/ 251 w 1005"/>
                  <a:gd name="T73" fmla="*/ 108 h 352"/>
                  <a:gd name="T74" fmla="*/ 218 w 1005"/>
                  <a:gd name="T75" fmla="*/ 106 h 352"/>
                  <a:gd name="T76" fmla="*/ 183 w 1005"/>
                  <a:gd name="T77" fmla="*/ 104 h 352"/>
                  <a:gd name="T78" fmla="*/ 144 w 1005"/>
                  <a:gd name="T79" fmla="*/ 100 h 352"/>
                  <a:gd name="T80" fmla="*/ 144 w 1005"/>
                  <a:gd name="T81" fmla="*/ 67 h 352"/>
                  <a:gd name="T82" fmla="*/ 39 w 1005"/>
                  <a:gd name="T83" fmla="*/ 52 h 352"/>
                  <a:gd name="T84" fmla="*/ 39 w 1005"/>
                  <a:gd name="T85" fmla="*/ 18 h 352"/>
                  <a:gd name="T86" fmla="*/ 0 w 1005"/>
                  <a:gd name="T87" fmla="*/ 0 h 352"/>
                  <a:gd name="T88" fmla="*/ 0 w 1005"/>
                  <a:gd name="T89" fmla="*/ 87 h 352"/>
                  <a:gd name="T90" fmla="*/ 640 w 1005"/>
                  <a:gd name="T91" fmla="*/ 293 h 352"/>
                  <a:gd name="T92" fmla="*/ 990 w 1005"/>
                  <a:gd name="T93"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05" h="352">
                    <a:moveTo>
                      <a:pt x="990" y="352"/>
                    </a:moveTo>
                    <a:cubicBezTo>
                      <a:pt x="990" y="233"/>
                      <a:pt x="990" y="233"/>
                      <a:pt x="990" y="233"/>
                    </a:cubicBezTo>
                    <a:cubicBezTo>
                      <a:pt x="990" y="233"/>
                      <a:pt x="990" y="233"/>
                      <a:pt x="990" y="233"/>
                    </a:cubicBezTo>
                    <a:cubicBezTo>
                      <a:pt x="990" y="234"/>
                      <a:pt x="988" y="235"/>
                      <a:pt x="988" y="237"/>
                    </a:cubicBezTo>
                    <a:cubicBezTo>
                      <a:pt x="987" y="238"/>
                      <a:pt x="985" y="239"/>
                      <a:pt x="984" y="240"/>
                    </a:cubicBezTo>
                    <a:cubicBezTo>
                      <a:pt x="982" y="241"/>
                      <a:pt x="980" y="242"/>
                      <a:pt x="978" y="243"/>
                    </a:cubicBezTo>
                    <a:cubicBezTo>
                      <a:pt x="976" y="244"/>
                      <a:pt x="973" y="245"/>
                      <a:pt x="970" y="246"/>
                    </a:cubicBezTo>
                    <a:cubicBezTo>
                      <a:pt x="967" y="247"/>
                      <a:pt x="964" y="248"/>
                      <a:pt x="960" y="249"/>
                    </a:cubicBezTo>
                    <a:cubicBezTo>
                      <a:pt x="958" y="250"/>
                      <a:pt x="955" y="250"/>
                      <a:pt x="952" y="251"/>
                    </a:cubicBezTo>
                    <a:cubicBezTo>
                      <a:pt x="952" y="218"/>
                      <a:pt x="952" y="218"/>
                      <a:pt x="952" y="218"/>
                    </a:cubicBezTo>
                    <a:cubicBezTo>
                      <a:pt x="951" y="218"/>
                      <a:pt x="950" y="218"/>
                      <a:pt x="948" y="219"/>
                    </a:cubicBezTo>
                    <a:cubicBezTo>
                      <a:pt x="944" y="220"/>
                      <a:pt x="939" y="221"/>
                      <a:pt x="933" y="222"/>
                    </a:cubicBezTo>
                    <a:cubicBezTo>
                      <a:pt x="928" y="223"/>
                      <a:pt x="922" y="224"/>
                      <a:pt x="915" y="225"/>
                    </a:cubicBezTo>
                    <a:cubicBezTo>
                      <a:pt x="908" y="226"/>
                      <a:pt x="900" y="227"/>
                      <a:pt x="892" y="228"/>
                    </a:cubicBezTo>
                    <a:cubicBezTo>
                      <a:pt x="882" y="229"/>
                      <a:pt x="872" y="231"/>
                      <a:pt x="861" y="232"/>
                    </a:cubicBezTo>
                    <a:cubicBezTo>
                      <a:pt x="856" y="233"/>
                      <a:pt x="850" y="233"/>
                      <a:pt x="844" y="234"/>
                    </a:cubicBezTo>
                    <a:cubicBezTo>
                      <a:pt x="844" y="200"/>
                      <a:pt x="844" y="200"/>
                      <a:pt x="844" y="200"/>
                    </a:cubicBezTo>
                    <a:cubicBezTo>
                      <a:pt x="834" y="201"/>
                      <a:pt x="824" y="202"/>
                      <a:pt x="813" y="203"/>
                    </a:cubicBezTo>
                    <a:cubicBezTo>
                      <a:pt x="775" y="206"/>
                      <a:pt x="733" y="209"/>
                      <a:pt x="687" y="211"/>
                    </a:cubicBezTo>
                    <a:cubicBezTo>
                      <a:pt x="686" y="211"/>
                      <a:pt x="686" y="211"/>
                      <a:pt x="686" y="211"/>
                    </a:cubicBezTo>
                    <a:cubicBezTo>
                      <a:pt x="686" y="177"/>
                      <a:pt x="686" y="177"/>
                      <a:pt x="686" y="177"/>
                    </a:cubicBezTo>
                    <a:cubicBezTo>
                      <a:pt x="671" y="178"/>
                      <a:pt x="656" y="179"/>
                      <a:pt x="640" y="179"/>
                    </a:cubicBezTo>
                    <a:cubicBezTo>
                      <a:pt x="622" y="180"/>
                      <a:pt x="603" y="180"/>
                      <a:pt x="584" y="180"/>
                    </a:cubicBezTo>
                    <a:cubicBezTo>
                      <a:pt x="571" y="181"/>
                      <a:pt x="557" y="181"/>
                      <a:pt x="543" y="181"/>
                    </a:cubicBezTo>
                    <a:cubicBezTo>
                      <a:pt x="530" y="181"/>
                      <a:pt x="518" y="181"/>
                      <a:pt x="505" y="181"/>
                    </a:cubicBezTo>
                    <a:cubicBezTo>
                      <a:pt x="501" y="181"/>
                      <a:pt x="498" y="181"/>
                      <a:pt x="494" y="181"/>
                    </a:cubicBezTo>
                    <a:cubicBezTo>
                      <a:pt x="494" y="148"/>
                      <a:pt x="494" y="148"/>
                      <a:pt x="494" y="148"/>
                    </a:cubicBezTo>
                    <a:cubicBezTo>
                      <a:pt x="486" y="148"/>
                      <a:pt x="478" y="148"/>
                      <a:pt x="470" y="148"/>
                    </a:cubicBezTo>
                    <a:cubicBezTo>
                      <a:pt x="459" y="148"/>
                      <a:pt x="448" y="148"/>
                      <a:pt x="437" y="148"/>
                    </a:cubicBezTo>
                    <a:cubicBezTo>
                      <a:pt x="426" y="147"/>
                      <a:pt x="416" y="147"/>
                      <a:pt x="405" y="147"/>
                    </a:cubicBezTo>
                    <a:cubicBezTo>
                      <a:pt x="395" y="147"/>
                      <a:pt x="385" y="147"/>
                      <a:pt x="374" y="146"/>
                    </a:cubicBezTo>
                    <a:cubicBezTo>
                      <a:pt x="364" y="146"/>
                      <a:pt x="354" y="146"/>
                      <a:pt x="344" y="146"/>
                    </a:cubicBezTo>
                    <a:cubicBezTo>
                      <a:pt x="333" y="145"/>
                      <a:pt x="323" y="145"/>
                      <a:pt x="313" y="145"/>
                    </a:cubicBezTo>
                    <a:cubicBezTo>
                      <a:pt x="311" y="144"/>
                      <a:pt x="309" y="144"/>
                      <a:pt x="307" y="144"/>
                    </a:cubicBezTo>
                    <a:cubicBezTo>
                      <a:pt x="307" y="111"/>
                      <a:pt x="307" y="111"/>
                      <a:pt x="307" y="111"/>
                    </a:cubicBezTo>
                    <a:cubicBezTo>
                      <a:pt x="298" y="111"/>
                      <a:pt x="290" y="110"/>
                      <a:pt x="282" y="110"/>
                    </a:cubicBezTo>
                    <a:cubicBezTo>
                      <a:pt x="272" y="109"/>
                      <a:pt x="261" y="109"/>
                      <a:pt x="251" y="108"/>
                    </a:cubicBezTo>
                    <a:cubicBezTo>
                      <a:pt x="240" y="108"/>
                      <a:pt x="229" y="107"/>
                      <a:pt x="218" y="106"/>
                    </a:cubicBezTo>
                    <a:cubicBezTo>
                      <a:pt x="206" y="106"/>
                      <a:pt x="194" y="105"/>
                      <a:pt x="183" y="104"/>
                    </a:cubicBezTo>
                    <a:cubicBezTo>
                      <a:pt x="169" y="103"/>
                      <a:pt x="156" y="102"/>
                      <a:pt x="144" y="100"/>
                    </a:cubicBezTo>
                    <a:cubicBezTo>
                      <a:pt x="144" y="67"/>
                      <a:pt x="144" y="67"/>
                      <a:pt x="144" y="67"/>
                    </a:cubicBezTo>
                    <a:cubicBezTo>
                      <a:pt x="100" y="63"/>
                      <a:pt x="64" y="57"/>
                      <a:pt x="39" y="52"/>
                    </a:cubicBezTo>
                    <a:cubicBezTo>
                      <a:pt x="39" y="18"/>
                      <a:pt x="39" y="18"/>
                      <a:pt x="39" y="18"/>
                    </a:cubicBezTo>
                    <a:cubicBezTo>
                      <a:pt x="14" y="13"/>
                      <a:pt x="0" y="6"/>
                      <a:pt x="0" y="0"/>
                    </a:cubicBezTo>
                    <a:cubicBezTo>
                      <a:pt x="0" y="87"/>
                      <a:pt x="0" y="87"/>
                      <a:pt x="0" y="87"/>
                    </a:cubicBezTo>
                    <a:cubicBezTo>
                      <a:pt x="0" y="201"/>
                      <a:pt x="289" y="258"/>
                      <a:pt x="640" y="293"/>
                    </a:cubicBezTo>
                    <a:cubicBezTo>
                      <a:pt x="1005" y="330"/>
                      <a:pt x="986" y="339"/>
                      <a:pt x="990" y="352"/>
                    </a:cubicBezTo>
                    <a:close/>
                  </a:path>
                </a:pathLst>
              </a:custGeom>
              <a:solidFill>
                <a:srgbClr val="E2E2E2"/>
              </a:solidFill>
              <a:ln w="19050">
                <a:gradFill flip="none" rotWithShape="1">
                  <a:gsLst>
                    <a:gs pos="0">
                      <a:srgbClr val="FFFFFF"/>
                    </a:gs>
                    <a:gs pos="100000">
                      <a:srgbClr val="FFFFFF">
                        <a:lumMod val="85000"/>
                      </a:srgbClr>
                    </a:gs>
                  </a:gsLst>
                  <a:lin ang="2700000" scaled="1"/>
                  <a:tileRect/>
                </a:gradFill>
              </a:ln>
              <a:effectLst>
                <a:outerShdw blurRad="139700" dist="38100" dir="5400000" algn="t" rotWithShape="0">
                  <a:prstClr val="black">
                    <a:alpha val="30000"/>
                  </a:prstClr>
                </a:outerShdw>
                <a:softEdge rad="0"/>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92" name="íšlîḑè"/>
              <p:cNvSpPr/>
              <p:nvPr/>
            </p:nvSpPr>
            <p:spPr bwMode="auto">
              <a:xfrm>
                <a:off x="-1482048" y="4639277"/>
                <a:ext cx="555969" cy="30772"/>
              </a:xfrm>
              <a:custGeom>
                <a:avLst/>
                <a:gdLst>
                  <a:gd name="T0" fmla="*/ 365 w 375"/>
                  <a:gd name="T1" fmla="*/ 0 h 19"/>
                  <a:gd name="T2" fmla="*/ 375 w 375"/>
                  <a:gd name="T3" fmla="*/ 5 h 19"/>
                  <a:gd name="T4" fmla="*/ 39 w 375"/>
                  <a:gd name="T5" fmla="*/ 19 h 19"/>
                  <a:gd name="T6" fmla="*/ 0 w 375"/>
                  <a:gd name="T7" fmla="*/ 0 h 19"/>
                  <a:gd name="T8" fmla="*/ 365 w 375"/>
                  <a:gd name="T9" fmla="*/ 0 h 19"/>
                </a:gdLst>
                <a:ahLst/>
                <a:cxnLst>
                  <a:cxn ang="0">
                    <a:pos x="T0" y="T1"/>
                  </a:cxn>
                  <a:cxn ang="0">
                    <a:pos x="T2" y="T3"/>
                  </a:cxn>
                  <a:cxn ang="0">
                    <a:pos x="T4" y="T5"/>
                  </a:cxn>
                  <a:cxn ang="0">
                    <a:pos x="T6" y="T7"/>
                  </a:cxn>
                  <a:cxn ang="0">
                    <a:pos x="T8" y="T9"/>
                  </a:cxn>
                </a:cxnLst>
                <a:rect l="0" t="0" r="r" b="b"/>
                <a:pathLst>
                  <a:path w="375" h="19">
                    <a:moveTo>
                      <a:pt x="365" y="0"/>
                    </a:moveTo>
                    <a:cubicBezTo>
                      <a:pt x="365" y="2"/>
                      <a:pt x="369" y="3"/>
                      <a:pt x="375" y="5"/>
                    </a:cubicBezTo>
                    <a:cubicBezTo>
                      <a:pt x="39" y="19"/>
                      <a:pt x="39" y="19"/>
                      <a:pt x="39" y="19"/>
                    </a:cubicBezTo>
                    <a:cubicBezTo>
                      <a:pt x="14" y="13"/>
                      <a:pt x="0" y="7"/>
                      <a:pt x="0" y="0"/>
                    </a:cubicBezTo>
                    <a:lnTo>
                      <a:pt x="36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93" name="î$ḻiḑè"/>
              <p:cNvSpPr/>
              <p:nvPr/>
            </p:nvSpPr>
            <p:spPr bwMode="auto">
              <a:xfrm>
                <a:off x="-1424448" y="4647483"/>
                <a:ext cx="498370" cy="75905"/>
              </a:xfrm>
              <a:custGeom>
                <a:avLst/>
                <a:gdLst>
                  <a:gd name="T0" fmla="*/ 796 w 796"/>
                  <a:gd name="T1" fmla="*/ 78 h 111"/>
                  <a:gd name="T2" fmla="*/ 0 w 796"/>
                  <a:gd name="T3" fmla="*/ 111 h 111"/>
                  <a:gd name="T4" fmla="*/ 0 w 796"/>
                  <a:gd name="T5" fmla="*/ 33 h 111"/>
                  <a:gd name="T6" fmla="*/ 796 w 796"/>
                  <a:gd name="T7" fmla="*/ 0 h 111"/>
                  <a:gd name="T8" fmla="*/ 796 w 796"/>
                  <a:gd name="T9" fmla="*/ 78 h 111"/>
                </a:gdLst>
                <a:ahLst/>
                <a:cxnLst>
                  <a:cxn ang="0">
                    <a:pos x="T0" y="T1"/>
                  </a:cxn>
                  <a:cxn ang="0">
                    <a:pos x="T2" y="T3"/>
                  </a:cxn>
                  <a:cxn ang="0">
                    <a:pos x="T4" y="T5"/>
                  </a:cxn>
                  <a:cxn ang="0">
                    <a:pos x="T6" y="T7"/>
                  </a:cxn>
                  <a:cxn ang="0">
                    <a:pos x="T8" y="T9"/>
                  </a:cxn>
                </a:cxnLst>
                <a:rect l="0" t="0" r="r" b="b"/>
                <a:pathLst>
                  <a:path w="796" h="111">
                    <a:moveTo>
                      <a:pt x="796" y="78"/>
                    </a:moveTo>
                    <a:lnTo>
                      <a:pt x="0" y="111"/>
                    </a:lnTo>
                    <a:lnTo>
                      <a:pt x="0" y="33"/>
                    </a:lnTo>
                    <a:lnTo>
                      <a:pt x="796" y="0"/>
                    </a:lnTo>
                    <a:lnTo>
                      <a:pt x="796" y="78"/>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94" name="íSḷîďé"/>
              <p:cNvSpPr/>
              <p:nvPr/>
            </p:nvSpPr>
            <p:spPr bwMode="auto">
              <a:xfrm>
                <a:off x="-748270" y="3366682"/>
                <a:ext cx="316176" cy="67698"/>
              </a:xfrm>
              <a:custGeom>
                <a:avLst/>
                <a:gdLst>
                  <a:gd name="T0" fmla="*/ 0 w 213"/>
                  <a:gd name="T1" fmla="*/ 0 h 42"/>
                  <a:gd name="T2" fmla="*/ 213 w 213"/>
                  <a:gd name="T3" fmla="*/ 5 h 42"/>
                  <a:gd name="T4" fmla="*/ 56 w 213"/>
                  <a:gd name="T5" fmla="*/ 42 h 42"/>
                  <a:gd name="T6" fmla="*/ 0 w 213"/>
                  <a:gd name="T7" fmla="*/ 41 h 42"/>
                  <a:gd name="T8" fmla="*/ 0 w 213"/>
                  <a:gd name="T9" fmla="*/ 0 h 42"/>
                </a:gdLst>
                <a:ahLst/>
                <a:cxnLst>
                  <a:cxn ang="0">
                    <a:pos x="T0" y="T1"/>
                  </a:cxn>
                  <a:cxn ang="0">
                    <a:pos x="T2" y="T3"/>
                  </a:cxn>
                  <a:cxn ang="0">
                    <a:pos x="T4" y="T5"/>
                  </a:cxn>
                  <a:cxn ang="0">
                    <a:pos x="T6" y="T7"/>
                  </a:cxn>
                  <a:cxn ang="0">
                    <a:pos x="T8" y="T9"/>
                  </a:cxn>
                </a:cxnLst>
                <a:rect l="0" t="0" r="r" b="b"/>
                <a:pathLst>
                  <a:path w="213" h="42">
                    <a:moveTo>
                      <a:pt x="0" y="0"/>
                    </a:moveTo>
                    <a:cubicBezTo>
                      <a:pt x="76" y="0"/>
                      <a:pt x="147" y="2"/>
                      <a:pt x="213" y="5"/>
                    </a:cubicBezTo>
                    <a:cubicBezTo>
                      <a:pt x="56" y="42"/>
                      <a:pt x="56" y="42"/>
                      <a:pt x="56" y="42"/>
                    </a:cubicBezTo>
                    <a:cubicBezTo>
                      <a:pt x="39" y="42"/>
                      <a:pt x="20" y="41"/>
                      <a:pt x="0" y="4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95" name="iS1îḍè"/>
              <p:cNvSpPr/>
              <p:nvPr/>
            </p:nvSpPr>
            <p:spPr bwMode="auto">
              <a:xfrm>
                <a:off x="-664999" y="3313344"/>
                <a:ext cx="505881" cy="66330"/>
              </a:xfrm>
              <a:custGeom>
                <a:avLst/>
                <a:gdLst>
                  <a:gd name="T0" fmla="*/ 157 w 341"/>
                  <a:gd name="T1" fmla="*/ 0 h 41"/>
                  <a:gd name="T2" fmla="*/ 341 w 341"/>
                  <a:gd name="T3" fmla="*/ 12 h 41"/>
                  <a:gd name="T4" fmla="*/ 49 w 341"/>
                  <a:gd name="T5" fmla="*/ 41 h 41"/>
                  <a:gd name="T6" fmla="*/ 0 w 341"/>
                  <a:gd name="T7" fmla="*/ 38 h 41"/>
                  <a:gd name="T8" fmla="*/ 157 w 341"/>
                  <a:gd name="T9" fmla="*/ 0 h 41"/>
                </a:gdLst>
                <a:ahLst/>
                <a:cxnLst>
                  <a:cxn ang="0">
                    <a:pos x="T0" y="T1"/>
                  </a:cxn>
                  <a:cxn ang="0">
                    <a:pos x="T2" y="T3"/>
                  </a:cxn>
                  <a:cxn ang="0">
                    <a:pos x="T4" y="T5"/>
                  </a:cxn>
                  <a:cxn ang="0">
                    <a:pos x="T6" y="T7"/>
                  </a:cxn>
                  <a:cxn ang="0">
                    <a:pos x="T8" y="T9"/>
                  </a:cxn>
                </a:cxnLst>
                <a:rect l="0" t="0" r="r" b="b"/>
                <a:pathLst>
                  <a:path w="341" h="41">
                    <a:moveTo>
                      <a:pt x="157" y="0"/>
                    </a:moveTo>
                    <a:cubicBezTo>
                      <a:pt x="226" y="3"/>
                      <a:pt x="289" y="7"/>
                      <a:pt x="341" y="12"/>
                    </a:cubicBezTo>
                    <a:cubicBezTo>
                      <a:pt x="49" y="41"/>
                      <a:pt x="49" y="41"/>
                      <a:pt x="49" y="41"/>
                    </a:cubicBezTo>
                    <a:cubicBezTo>
                      <a:pt x="35" y="39"/>
                      <a:pt x="18" y="38"/>
                      <a:pt x="0" y="38"/>
                    </a:cubicBezTo>
                    <a:lnTo>
                      <a:pt x="157"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96" name="ïŝļíḓê"/>
              <p:cNvSpPr/>
              <p:nvPr/>
            </p:nvSpPr>
            <p:spPr bwMode="auto">
              <a:xfrm>
                <a:off x="-593624" y="3270947"/>
                <a:ext cx="612317" cy="55390"/>
              </a:xfrm>
              <a:custGeom>
                <a:avLst/>
                <a:gdLst>
                  <a:gd name="T0" fmla="*/ 293 w 413"/>
                  <a:gd name="T1" fmla="*/ 0 h 34"/>
                  <a:gd name="T2" fmla="*/ 413 w 413"/>
                  <a:gd name="T3" fmla="*/ 18 h 34"/>
                  <a:gd name="T4" fmla="*/ 32 w 413"/>
                  <a:gd name="T5" fmla="*/ 34 h 34"/>
                  <a:gd name="T6" fmla="*/ 0 w 413"/>
                  <a:gd name="T7" fmla="*/ 29 h 34"/>
                  <a:gd name="T8" fmla="*/ 293 w 413"/>
                  <a:gd name="T9" fmla="*/ 0 h 34"/>
                </a:gdLst>
                <a:ahLst/>
                <a:cxnLst>
                  <a:cxn ang="0">
                    <a:pos x="T0" y="T1"/>
                  </a:cxn>
                  <a:cxn ang="0">
                    <a:pos x="T2" y="T3"/>
                  </a:cxn>
                  <a:cxn ang="0">
                    <a:pos x="T4" y="T5"/>
                  </a:cxn>
                  <a:cxn ang="0">
                    <a:pos x="T6" y="T7"/>
                  </a:cxn>
                  <a:cxn ang="0">
                    <a:pos x="T8" y="T9"/>
                  </a:cxn>
                </a:cxnLst>
                <a:rect l="0" t="0" r="r" b="b"/>
                <a:pathLst>
                  <a:path w="413" h="34">
                    <a:moveTo>
                      <a:pt x="293" y="0"/>
                    </a:moveTo>
                    <a:cubicBezTo>
                      <a:pt x="344" y="5"/>
                      <a:pt x="385" y="11"/>
                      <a:pt x="413" y="18"/>
                    </a:cubicBezTo>
                    <a:cubicBezTo>
                      <a:pt x="32" y="34"/>
                      <a:pt x="32" y="34"/>
                      <a:pt x="32" y="34"/>
                    </a:cubicBezTo>
                    <a:cubicBezTo>
                      <a:pt x="24" y="32"/>
                      <a:pt x="13" y="30"/>
                      <a:pt x="0" y="29"/>
                    </a:cubicBezTo>
                    <a:lnTo>
                      <a:pt x="293"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97" name="îṧḻîḍê"/>
              <p:cNvSpPr/>
              <p:nvPr/>
            </p:nvSpPr>
            <p:spPr bwMode="auto">
              <a:xfrm>
                <a:off x="-546043" y="3238809"/>
                <a:ext cx="629847" cy="34191"/>
              </a:xfrm>
              <a:custGeom>
                <a:avLst/>
                <a:gdLst>
                  <a:gd name="T0" fmla="*/ 381 w 425"/>
                  <a:gd name="T1" fmla="*/ 0 h 21"/>
                  <a:gd name="T2" fmla="*/ 425 w 425"/>
                  <a:gd name="T3" fmla="*/ 21 h 21"/>
                  <a:gd name="T4" fmla="*/ 11 w 425"/>
                  <a:gd name="T5" fmla="*/ 21 h 21"/>
                  <a:gd name="T6" fmla="*/ 0 w 425"/>
                  <a:gd name="T7" fmla="*/ 16 h 21"/>
                  <a:gd name="T8" fmla="*/ 381 w 425"/>
                  <a:gd name="T9" fmla="*/ 0 h 21"/>
                </a:gdLst>
                <a:ahLst/>
                <a:cxnLst>
                  <a:cxn ang="0">
                    <a:pos x="T0" y="T1"/>
                  </a:cxn>
                  <a:cxn ang="0">
                    <a:pos x="T2" y="T3"/>
                  </a:cxn>
                  <a:cxn ang="0">
                    <a:pos x="T4" y="T5"/>
                  </a:cxn>
                  <a:cxn ang="0">
                    <a:pos x="T6" y="T7"/>
                  </a:cxn>
                  <a:cxn ang="0">
                    <a:pos x="T8" y="T9"/>
                  </a:cxn>
                </a:cxnLst>
                <a:rect l="0" t="0" r="r" b="b"/>
                <a:pathLst>
                  <a:path w="425" h="21">
                    <a:moveTo>
                      <a:pt x="381" y="0"/>
                    </a:moveTo>
                    <a:cubicBezTo>
                      <a:pt x="409" y="7"/>
                      <a:pt x="425" y="14"/>
                      <a:pt x="425" y="21"/>
                    </a:cubicBezTo>
                    <a:cubicBezTo>
                      <a:pt x="11" y="21"/>
                      <a:pt x="11" y="21"/>
                      <a:pt x="11" y="21"/>
                    </a:cubicBezTo>
                    <a:cubicBezTo>
                      <a:pt x="11" y="19"/>
                      <a:pt x="7" y="17"/>
                      <a:pt x="0" y="16"/>
                    </a:cubicBezTo>
                    <a:lnTo>
                      <a:pt x="381"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98" name="ïşḻîḑè"/>
              <p:cNvSpPr/>
              <p:nvPr/>
            </p:nvSpPr>
            <p:spPr bwMode="auto">
              <a:xfrm>
                <a:off x="-1070080" y="3428227"/>
                <a:ext cx="321811" cy="67698"/>
              </a:xfrm>
              <a:custGeom>
                <a:avLst/>
                <a:gdLst>
                  <a:gd name="T0" fmla="*/ 217 w 217"/>
                  <a:gd name="T1" fmla="*/ 0 h 42"/>
                  <a:gd name="T2" fmla="*/ 217 w 217"/>
                  <a:gd name="T3" fmla="*/ 41 h 42"/>
                  <a:gd name="T4" fmla="*/ 160 w 217"/>
                  <a:gd name="T5" fmla="*/ 42 h 42"/>
                  <a:gd name="T6" fmla="*/ 0 w 217"/>
                  <a:gd name="T7" fmla="*/ 5 h 42"/>
                  <a:gd name="T8" fmla="*/ 217 w 217"/>
                  <a:gd name="T9" fmla="*/ 0 h 42"/>
                </a:gdLst>
                <a:ahLst/>
                <a:cxnLst>
                  <a:cxn ang="0">
                    <a:pos x="T0" y="T1"/>
                  </a:cxn>
                  <a:cxn ang="0">
                    <a:pos x="T2" y="T3"/>
                  </a:cxn>
                  <a:cxn ang="0">
                    <a:pos x="T4" y="T5"/>
                  </a:cxn>
                  <a:cxn ang="0">
                    <a:pos x="T6" y="T7"/>
                  </a:cxn>
                  <a:cxn ang="0">
                    <a:pos x="T8" y="T9"/>
                  </a:cxn>
                </a:cxnLst>
                <a:rect l="0" t="0" r="r" b="b"/>
                <a:pathLst>
                  <a:path w="217" h="42">
                    <a:moveTo>
                      <a:pt x="217" y="0"/>
                    </a:moveTo>
                    <a:cubicBezTo>
                      <a:pt x="217" y="41"/>
                      <a:pt x="217" y="41"/>
                      <a:pt x="217" y="41"/>
                    </a:cubicBezTo>
                    <a:cubicBezTo>
                      <a:pt x="197" y="41"/>
                      <a:pt x="178" y="41"/>
                      <a:pt x="160" y="42"/>
                    </a:cubicBezTo>
                    <a:cubicBezTo>
                      <a:pt x="0" y="5"/>
                      <a:pt x="0" y="5"/>
                      <a:pt x="0" y="5"/>
                    </a:cubicBezTo>
                    <a:cubicBezTo>
                      <a:pt x="67" y="2"/>
                      <a:pt x="140" y="0"/>
                      <a:pt x="21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899" name="ïṩľïḓè"/>
              <p:cNvSpPr/>
              <p:nvPr/>
            </p:nvSpPr>
            <p:spPr bwMode="auto">
              <a:xfrm>
                <a:off x="-1335543" y="3495925"/>
                <a:ext cx="502751" cy="66330"/>
              </a:xfrm>
              <a:custGeom>
                <a:avLst/>
                <a:gdLst>
                  <a:gd name="T0" fmla="*/ 179 w 339"/>
                  <a:gd name="T1" fmla="*/ 0 h 41"/>
                  <a:gd name="T2" fmla="*/ 339 w 339"/>
                  <a:gd name="T3" fmla="*/ 38 h 41"/>
                  <a:gd name="T4" fmla="*/ 292 w 339"/>
                  <a:gd name="T5" fmla="*/ 41 h 41"/>
                  <a:gd name="T6" fmla="*/ 0 w 339"/>
                  <a:gd name="T7" fmla="*/ 12 h 41"/>
                  <a:gd name="T8" fmla="*/ 179 w 339"/>
                  <a:gd name="T9" fmla="*/ 0 h 41"/>
                </a:gdLst>
                <a:ahLst/>
                <a:cxnLst>
                  <a:cxn ang="0">
                    <a:pos x="T0" y="T1"/>
                  </a:cxn>
                  <a:cxn ang="0">
                    <a:pos x="T2" y="T3"/>
                  </a:cxn>
                  <a:cxn ang="0">
                    <a:pos x="T4" y="T5"/>
                  </a:cxn>
                  <a:cxn ang="0">
                    <a:pos x="T6" y="T7"/>
                  </a:cxn>
                  <a:cxn ang="0">
                    <a:pos x="T8" y="T9"/>
                  </a:cxn>
                </a:cxnLst>
                <a:rect l="0" t="0" r="r" b="b"/>
                <a:pathLst>
                  <a:path w="339" h="41">
                    <a:moveTo>
                      <a:pt x="179" y="0"/>
                    </a:moveTo>
                    <a:cubicBezTo>
                      <a:pt x="339" y="38"/>
                      <a:pt x="339" y="38"/>
                      <a:pt x="339" y="38"/>
                    </a:cubicBezTo>
                    <a:cubicBezTo>
                      <a:pt x="322" y="38"/>
                      <a:pt x="306" y="40"/>
                      <a:pt x="292" y="41"/>
                    </a:cubicBezTo>
                    <a:cubicBezTo>
                      <a:pt x="0" y="12"/>
                      <a:pt x="0" y="12"/>
                      <a:pt x="0" y="12"/>
                    </a:cubicBezTo>
                    <a:cubicBezTo>
                      <a:pt x="51" y="7"/>
                      <a:pt x="112" y="3"/>
                      <a:pt x="179"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00" name="îŝḷïďe"/>
              <p:cNvSpPr/>
              <p:nvPr/>
            </p:nvSpPr>
            <p:spPr bwMode="auto">
              <a:xfrm>
                <a:off x="-1517735" y="3575249"/>
                <a:ext cx="615449" cy="54706"/>
              </a:xfrm>
              <a:custGeom>
                <a:avLst/>
                <a:gdLst>
                  <a:gd name="T0" fmla="*/ 123 w 415"/>
                  <a:gd name="T1" fmla="*/ 0 h 34"/>
                  <a:gd name="T2" fmla="*/ 415 w 415"/>
                  <a:gd name="T3" fmla="*/ 29 h 34"/>
                  <a:gd name="T4" fmla="*/ 383 w 415"/>
                  <a:gd name="T5" fmla="*/ 34 h 34"/>
                  <a:gd name="T6" fmla="*/ 0 w 415"/>
                  <a:gd name="T7" fmla="*/ 18 h 34"/>
                  <a:gd name="T8" fmla="*/ 123 w 415"/>
                  <a:gd name="T9" fmla="*/ 0 h 34"/>
                </a:gdLst>
                <a:ahLst/>
                <a:cxnLst>
                  <a:cxn ang="0">
                    <a:pos x="T0" y="T1"/>
                  </a:cxn>
                  <a:cxn ang="0">
                    <a:pos x="T2" y="T3"/>
                  </a:cxn>
                  <a:cxn ang="0">
                    <a:pos x="T4" y="T5"/>
                  </a:cxn>
                  <a:cxn ang="0">
                    <a:pos x="T6" y="T7"/>
                  </a:cxn>
                  <a:cxn ang="0">
                    <a:pos x="T8" y="T9"/>
                  </a:cxn>
                </a:cxnLst>
                <a:rect l="0" t="0" r="r" b="b"/>
                <a:pathLst>
                  <a:path w="415" h="34">
                    <a:moveTo>
                      <a:pt x="123" y="0"/>
                    </a:moveTo>
                    <a:cubicBezTo>
                      <a:pt x="415" y="29"/>
                      <a:pt x="415" y="29"/>
                      <a:pt x="415" y="29"/>
                    </a:cubicBezTo>
                    <a:cubicBezTo>
                      <a:pt x="401" y="30"/>
                      <a:pt x="391" y="32"/>
                      <a:pt x="383" y="34"/>
                    </a:cubicBezTo>
                    <a:cubicBezTo>
                      <a:pt x="0" y="18"/>
                      <a:pt x="0" y="18"/>
                      <a:pt x="0" y="18"/>
                    </a:cubicBezTo>
                    <a:cubicBezTo>
                      <a:pt x="28" y="11"/>
                      <a:pt x="70" y="5"/>
                      <a:pt x="123"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01" name="iŝľïḓê"/>
              <p:cNvSpPr/>
              <p:nvPr/>
            </p:nvSpPr>
            <p:spPr bwMode="auto">
              <a:xfrm>
                <a:off x="-1580344" y="3665512"/>
                <a:ext cx="630474" cy="34191"/>
              </a:xfrm>
              <a:custGeom>
                <a:avLst/>
                <a:gdLst>
                  <a:gd name="T0" fmla="*/ 42 w 425"/>
                  <a:gd name="T1" fmla="*/ 0 h 21"/>
                  <a:gd name="T2" fmla="*/ 0 w 425"/>
                  <a:gd name="T3" fmla="*/ 21 h 21"/>
                  <a:gd name="T4" fmla="*/ 414 w 425"/>
                  <a:gd name="T5" fmla="*/ 21 h 21"/>
                  <a:gd name="T6" fmla="*/ 425 w 425"/>
                  <a:gd name="T7" fmla="*/ 16 h 21"/>
                  <a:gd name="T8" fmla="*/ 42 w 425"/>
                  <a:gd name="T9" fmla="*/ 0 h 21"/>
                </a:gdLst>
                <a:ahLst/>
                <a:cxnLst>
                  <a:cxn ang="0">
                    <a:pos x="T0" y="T1"/>
                  </a:cxn>
                  <a:cxn ang="0">
                    <a:pos x="T2" y="T3"/>
                  </a:cxn>
                  <a:cxn ang="0">
                    <a:pos x="T4" y="T5"/>
                  </a:cxn>
                  <a:cxn ang="0">
                    <a:pos x="T6" y="T7"/>
                  </a:cxn>
                  <a:cxn ang="0">
                    <a:pos x="T8" y="T9"/>
                  </a:cxn>
                </a:cxnLst>
                <a:rect l="0" t="0" r="r" b="b"/>
                <a:pathLst>
                  <a:path w="425" h="21">
                    <a:moveTo>
                      <a:pt x="42" y="0"/>
                    </a:moveTo>
                    <a:cubicBezTo>
                      <a:pt x="15" y="7"/>
                      <a:pt x="0" y="14"/>
                      <a:pt x="0" y="21"/>
                    </a:cubicBezTo>
                    <a:cubicBezTo>
                      <a:pt x="414" y="21"/>
                      <a:pt x="414" y="21"/>
                      <a:pt x="414" y="21"/>
                    </a:cubicBezTo>
                    <a:cubicBezTo>
                      <a:pt x="414" y="19"/>
                      <a:pt x="418" y="18"/>
                      <a:pt x="425" y="16"/>
                    </a:cubicBez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02" name="î$ľïḍê"/>
              <p:cNvSpPr/>
              <p:nvPr/>
            </p:nvSpPr>
            <p:spPr bwMode="auto">
              <a:xfrm>
                <a:off x="-1580344" y="3699705"/>
                <a:ext cx="614195" cy="61545"/>
              </a:xfrm>
              <a:prstGeom prst="rect">
                <a:avLst/>
              </a:pr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03" name="íṧļïďê"/>
              <p:cNvSpPr/>
              <p:nvPr/>
            </p:nvSpPr>
            <p:spPr bwMode="auto">
              <a:xfrm>
                <a:off x="-1517735" y="3606020"/>
                <a:ext cx="567865" cy="85477"/>
              </a:xfrm>
              <a:custGeom>
                <a:avLst/>
                <a:gdLst>
                  <a:gd name="T0" fmla="*/ 907 w 907"/>
                  <a:gd name="T1" fmla="*/ 125 h 125"/>
                  <a:gd name="T2" fmla="*/ 0 w 907"/>
                  <a:gd name="T3" fmla="*/ 87 h 125"/>
                  <a:gd name="T4" fmla="*/ 0 w 907"/>
                  <a:gd name="T5" fmla="*/ 0 h 125"/>
                  <a:gd name="T6" fmla="*/ 907 w 907"/>
                  <a:gd name="T7" fmla="*/ 35 h 125"/>
                  <a:gd name="T8" fmla="*/ 907 w 907"/>
                  <a:gd name="T9" fmla="*/ 125 h 125"/>
                </a:gdLst>
                <a:ahLst/>
                <a:cxnLst>
                  <a:cxn ang="0">
                    <a:pos x="T0" y="T1"/>
                  </a:cxn>
                  <a:cxn ang="0">
                    <a:pos x="T2" y="T3"/>
                  </a:cxn>
                  <a:cxn ang="0">
                    <a:pos x="T4" y="T5"/>
                  </a:cxn>
                  <a:cxn ang="0">
                    <a:pos x="T6" y="T7"/>
                  </a:cxn>
                  <a:cxn ang="0">
                    <a:pos x="T8" y="T9"/>
                  </a:cxn>
                </a:cxnLst>
                <a:rect l="0" t="0" r="r" b="b"/>
                <a:pathLst>
                  <a:path w="907" h="125">
                    <a:moveTo>
                      <a:pt x="907" y="125"/>
                    </a:moveTo>
                    <a:lnTo>
                      <a:pt x="0" y="87"/>
                    </a:lnTo>
                    <a:lnTo>
                      <a:pt x="0" y="0"/>
                    </a:lnTo>
                    <a:lnTo>
                      <a:pt x="907" y="35"/>
                    </a:lnTo>
                    <a:lnTo>
                      <a:pt x="907" y="125"/>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04" name="ïśľîḓe"/>
              <p:cNvSpPr/>
              <p:nvPr/>
            </p:nvSpPr>
            <p:spPr bwMode="auto">
              <a:xfrm>
                <a:off x="-1335543" y="3515072"/>
                <a:ext cx="433255" cy="108728"/>
              </a:xfrm>
              <a:custGeom>
                <a:avLst/>
                <a:gdLst>
                  <a:gd name="T0" fmla="*/ 692 w 692"/>
                  <a:gd name="T1" fmla="*/ 159 h 159"/>
                  <a:gd name="T2" fmla="*/ 0 w 692"/>
                  <a:gd name="T3" fmla="*/ 88 h 159"/>
                  <a:gd name="T4" fmla="*/ 0 w 692"/>
                  <a:gd name="T5" fmla="*/ 0 h 159"/>
                  <a:gd name="T6" fmla="*/ 692 w 692"/>
                  <a:gd name="T7" fmla="*/ 69 h 159"/>
                  <a:gd name="T8" fmla="*/ 692 w 692"/>
                  <a:gd name="T9" fmla="*/ 159 h 159"/>
                </a:gdLst>
                <a:ahLst/>
                <a:cxnLst>
                  <a:cxn ang="0">
                    <a:pos x="T0" y="T1"/>
                  </a:cxn>
                  <a:cxn ang="0">
                    <a:pos x="T2" y="T3"/>
                  </a:cxn>
                  <a:cxn ang="0">
                    <a:pos x="T4" y="T5"/>
                  </a:cxn>
                  <a:cxn ang="0">
                    <a:pos x="T6" y="T7"/>
                  </a:cxn>
                  <a:cxn ang="0">
                    <a:pos x="T8" y="T9"/>
                  </a:cxn>
                </a:cxnLst>
                <a:rect l="0" t="0" r="r" b="b"/>
                <a:pathLst>
                  <a:path w="692" h="159">
                    <a:moveTo>
                      <a:pt x="692" y="159"/>
                    </a:moveTo>
                    <a:lnTo>
                      <a:pt x="0" y="88"/>
                    </a:lnTo>
                    <a:lnTo>
                      <a:pt x="0" y="0"/>
                    </a:lnTo>
                    <a:lnTo>
                      <a:pt x="692" y="69"/>
                    </a:lnTo>
                    <a:lnTo>
                      <a:pt x="692" y="159"/>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05" name="ïsḻiďe"/>
              <p:cNvSpPr/>
              <p:nvPr/>
            </p:nvSpPr>
            <p:spPr bwMode="auto">
              <a:xfrm>
                <a:off x="-1070080" y="3434381"/>
                <a:ext cx="237288" cy="123087"/>
              </a:xfrm>
              <a:custGeom>
                <a:avLst/>
                <a:gdLst>
                  <a:gd name="T0" fmla="*/ 379 w 379"/>
                  <a:gd name="T1" fmla="*/ 180 h 180"/>
                  <a:gd name="T2" fmla="*/ 0 w 379"/>
                  <a:gd name="T3" fmla="*/ 90 h 180"/>
                  <a:gd name="T4" fmla="*/ 0 w 379"/>
                  <a:gd name="T5" fmla="*/ 0 h 180"/>
                  <a:gd name="T6" fmla="*/ 379 w 379"/>
                  <a:gd name="T7" fmla="*/ 90 h 180"/>
                  <a:gd name="T8" fmla="*/ 379 w 379"/>
                  <a:gd name="T9" fmla="*/ 180 h 180"/>
                </a:gdLst>
                <a:ahLst/>
                <a:cxnLst>
                  <a:cxn ang="0">
                    <a:pos x="T0" y="T1"/>
                  </a:cxn>
                  <a:cxn ang="0">
                    <a:pos x="T2" y="T3"/>
                  </a:cxn>
                  <a:cxn ang="0">
                    <a:pos x="T4" y="T5"/>
                  </a:cxn>
                  <a:cxn ang="0">
                    <a:pos x="T6" y="T7"/>
                  </a:cxn>
                  <a:cxn ang="0">
                    <a:pos x="T8" y="T9"/>
                  </a:cxn>
                </a:cxnLst>
                <a:rect l="0" t="0" r="r" b="b"/>
                <a:pathLst>
                  <a:path w="379" h="180">
                    <a:moveTo>
                      <a:pt x="379" y="180"/>
                    </a:moveTo>
                    <a:lnTo>
                      <a:pt x="0" y="90"/>
                    </a:lnTo>
                    <a:lnTo>
                      <a:pt x="0" y="0"/>
                    </a:lnTo>
                    <a:lnTo>
                      <a:pt x="379" y="90"/>
                    </a:lnTo>
                    <a:lnTo>
                      <a:pt x="379" y="180"/>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06" name="išḻïḑé"/>
              <p:cNvSpPr/>
              <p:nvPr/>
            </p:nvSpPr>
            <p:spPr bwMode="auto">
              <a:xfrm>
                <a:off x="-1338675" y="3838519"/>
                <a:ext cx="436385" cy="106677"/>
              </a:xfrm>
              <a:custGeom>
                <a:avLst/>
                <a:gdLst>
                  <a:gd name="T0" fmla="*/ 697 w 697"/>
                  <a:gd name="T1" fmla="*/ 88 h 156"/>
                  <a:gd name="T2" fmla="*/ 0 w 697"/>
                  <a:gd name="T3" fmla="*/ 156 h 156"/>
                  <a:gd name="T4" fmla="*/ 0 w 697"/>
                  <a:gd name="T5" fmla="*/ 69 h 156"/>
                  <a:gd name="T6" fmla="*/ 697 w 697"/>
                  <a:gd name="T7" fmla="*/ 0 h 156"/>
                  <a:gd name="T8" fmla="*/ 697 w 697"/>
                  <a:gd name="T9" fmla="*/ 88 h 156"/>
                </a:gdLst>
                <a:ahLst/>
                <a:cxnLst>
                  <a:cxn ang="0">
                    <a:pos x="T0" y="T1"/>
                  </a:cxn>
                  <a:cxn ang="0">
                    <a:pos x="T2" y="T3"/>
                  </a:cxn>
                  <a:cxn ang="0">
                    <a:pos x="T4" y="T5"/>
                  </a:cxn>
                  <a:cxn ang="0">
                    <a:pos x="T6" y="T7"/>
                  </a:cxn>
                  <a:cxn ang="0">
                    <a:pos x="T8" y="T9"/>
                  </a:cxn>
                </a:cxnLst>
                <a:rect l="0" t="0" r="r" b="b"/>
                <a:pathLst>
                  <a:path w="697" h="156">
                    <a:moveTo>
                      <a:pt x="697" y="88"/>
                    </a:moveTo>
                    <a:lnTo>
                      <a:pt x="0" y="156"/>
                    </a:lnTo>
                    <a:lnTo>
                      <a:pt x="0" y="69"/>
                    </a:lnTo>
                    <a:lnTo>
                      <a:pt x="697" y="0"/>
                    </a:lnTo>
                    <a:lnTo>
                      <a:pt x="697" y="88"/>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07" name="îšlidè"/>
              <p:cNvSpPr/>
              <p:nvPr/>
            </p:nvSpPr>
            <p:spPr bwMode="auto">
              <a:xfrm>
                <a:off x="-1063819" y="3904850"/>
                <a:ext cx="231027" cy="121721"/>
              </a:xfrm>
              <a:custGeom>
                <a:avLst/>
                <a:gdLst>
                  <a:gd name="T0" fmla="*/ 369 w 369"/>
                  <a:gd name="T1" fmla="*/ 88 h 178"/>
                  <a:gd name="T2" fmla="*/ 0 w 369"/>
                  <a:gd name="T3" fmla="*/ 178 h 178"/>
                  <a:gd name="T4" fmla="*/ 0 w 369"/>
                  <a:gd name="T5" fmla="*/ 88 h 178"/>
                  <a:gd name="T6" fmla="*/ 369 w 369"/>
                  <a:gd name="T7" fmla="*/ 0 h 178"/>
                  <a:gd name="T8" fmla="*/ 369 w 369"/>
                  <a:gd name="T9" fmla="*/ 88 h 178"/>
                </a:gdLst>
                <a:ahLst/>
                <a:cxnLst>
                  <a:cxn ang="0">
                    <a:pos x="T0" y="T1"/>
                  </a:cxn>
                  <a:cxn ang="0">
                    <a:pos x="T2" y="T3"/>
                  </a:cxn>
                  <a:cxn ang="0">
                    <a:pos x="T4" y="T5"/>
                  </a:cxn>
                  <a:cxn ang="0">
                    <a:pos x="T6" y="T7"/>
                  </a:cxn>
                  <a:cxn ang="0">
                    <a:pos x="T8" y="T9"/>
                  </a:cxn>
                </a:cxnLst>
                <a:rect l="0" t="0" r="r" b="b"/>
                <a:pathLst>
                  <a:path w="369" h="178">
                    <a:moveTo>
                      <a:pt x="369" y="88"/>
                    </a:moveTo>
                    <a:lnTo>
                      <a:pt x="0" y="178"/>
                    </a:lnTo>
                    <a:lnTo>
                      <a:pt x="0" y="88"/>
                    </a:lnTo>
                    <a:lnTo>
                      <a:pt x="369" y="0"/>
                    </a:lnTo>
                    <a:lnTo>
                      <a:pt x="369" y="88"/>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08" name="iş1îḍê"/>
              <p:cNvSpPr/>
              <p:nvPr/>
            </p:nvSpPr>
            <p:spPr bwMode="auto">
              <a:xfrm>
                <a:off x="-1515230" y="3830999"/>
                <a:ext cx="612943" cy="54706"/>
              </a:xfrm>
              <a:custGeom>
                <a:avLst/>
                <a:gdLst>
                  <a:gd name="T0" fmla="*/ 382 w 413"/>
                  <a:gd name="T1" fmla="*/ 0 h 34"/>
                  <a:gd name="T2" fmla="*/ 413 w 413"/>
                  <a:gd name="T3" fmla="*/ 5 h 34"/>
                  <a:gd name="T4" fmla="*/ 121 w 413"/>
                  <a:gd name="T5" fmla="*/ 34 h 34"/>
                  <a:gd name="T6" fmla="*/ 0 w 413"/>
                  <a:gd name="T7" fmla="*/ 16 h 34"/>
                  <a:gd name="T8" fmla="*/ 382 w 413"/>
                  <a:gd name="T9" fmla="*/ 0 h 34"/>
                </a:gdLst>
                <a:ahLst/>
                <a:cxnLst>
                  <a:cxn ang="0">
                    <a:pos x="T0" y="T1"/>
                  </a:cxn>
                  <a:cxn ang="0">
                    <a:pos x="T2" y="T3"/>
                  </a:cxn>
                  <a:cxn ang="0">
                    <a:pos x="T4" y="T5"/>
                  </a:cxn>
                  <a:cxn ang="0">
                    <a:pos x="T6" y="T7"/>
                  </a:cxn>
                  <a:cxn ang="0">
                    <a:pos x="T8" y="T9"/>
                  </a:cxn>
                </a:cxnLst>
                <a:rect l="0" t="0" r="r" b="b"/>
                <a:pathLst>
                  <a:path w="413" h="34">
                    <a:moveTo>
                      <a:pt x="382" y="0"/>
                    </a:moveTo>
                    <a:cubicBezTo>
                      <a:pt x="389" y="2"/>
                      <a:pt x="400" y="4"/>
                      <a:pt x="413" y="5"/>
                    </a:cubicBezTo>
                    <a:cubicBezTo>
                      <a:pt x="121" y="34"/>
                      <a:pt x="121" y="34"/>
                      <a:pt x="121" y="34"/>
                    </a:cubicBezTo>
                    <a:cubicBezTo>
                      <a:pt x="70" y="29"/>
                      <a:pt x="28" y="23"/>
                      <a:pt x="0" y="16"/>
                    </a:cubicBezTo>
                    <a:lnTo>
                      <a:pt x="382"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09" name="ïŝḷïďé"/>
              <p:cNvSpPr/>
              <p:nvPr/>
            </p:nvSpPr>
            <p:spPr bwMode="auto">
              <a:xfrm>
                <a:off x="-1338675" y="3898697"/>
                <a:ext cx="505881" cy="66330"/>
              </a:xfrm>
              <a:custGeom>
                <a:avLst/>
                <a:gdLst>
                  <a:gd name="T0" fmla="*/ 293 w 341"/>
                  <a:gd name="T1" fmla="*/ 0 h 41"/>
                  <a:gd name="T2" fmla="*/ 341 w 341"/>
                  <a:gd name="T3" fmla="*/ 4 h 41"/>
                  <a:gd name="T4" fmla="*/ 185 w 341"/>
                  <a:gd name="T5" fmla="*/ 41 h 41"/>
                  <a:gd name="T6" fmla="*/ 0 w 341"/>
                  <a:gd name="T7" fmla="*/ 29 h 41"/>
                  <a:gd name="T8" fmla="*/ 293 w 341"/>
                  <a:gd name="T9" fmla="*/ 0 h 41"/>
                </a:gdLst>
                <a:ahLst/>
                <a:cxnLst>
                  <a:cxn ang="0">
                    <a:pos x="T0" y="T1"/>
                  </a:cxn>
                  <a:cxn ang="0">
                    <a:pos x="T2" y="T3"/>
                  </a:cxn>
                  <a:cxn ang="0">
                    <a:pos x="T4" y="T5"/>
                  </a:cxn>
                  <a:cxn ang="0">
                    <a:pos x="T6" y="T7"/>
                  </a:cxn>
                  <a:cxn ang="0">
                    <a:pos x="T8" y="T9"/>
                  </a:cxn>
                </a:cxnLst>
                <a:rect l="0" t="0" r="r" b="b"/>
                <a:pathLst>
                  <a:path w="341" h="41">
                    <a:moveTo>
                      <a:pt x="293" y="0"/>
                    </a:moveTo>
                    <a:cubicBezTo>
                      <a:pt x="306" y="2"/>
                      <a:pt x="323" y="3"/>
                      <a:pt x="341" y="4"/>
                    </a:cubicBezTo>
                    <a:cubicBezTo>
                      <a:pt x="185" y="41"/>
                      <a:pt x="185" y="41"/>
                      <a:pt x="185" y="41"/>
                    </a:cubicBezTo>
                    <a:cubicBezTo>
                      <a:pt x="115" y="39"/>
                      <a:pt x="52" y="34"/>
                      <a:pt x="0" y="29"/>
                    </a:cubicBezTo>
                    <a:lnTo>
                      <a:pt x="293"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10" name="îṩḻídé"/>
              <p:cNvSpPr/>
              <p:nvPr/>
            </p:nvSpPr>
            <p:spPr bwMode="auto">
              <a:xfrm>
                <a:off x="-1063819" y="3965028"/>
                <a:ext cx="314298" cy="67698"/>
              </a:xfrm>
              <a:custGeom>
                <a:avLst/>
                <a:gdLst>
                  <a:gd name="T0" fmla="*/ 156 w 212"/>
                  <a:gd name="T1" fmla="*/ 0 h 42"/>
                  <a:gd name="T2" fmla="*/ 212 w 212"/>
                  <a:gd name="T3" fmla="*/ 1 h 42"/>
                  <a:gd name="T4" fmla="*/ 212 w 212"/>
                  <a:gd name="T5" fmla="*/ 42 h 42"/>
                  <a:gd name="T6" fmla="*/ 0 w 212"/>
                  <a:gd name="T7" fmla="*/ 38 h 42"/>
                  <a:gd name="T8" fmla="*/ 156 w 212"/>
                  <a:gd name="T9" fmla="*/ 0 h 42"/>
                </a:gdLst>
                <a:ahLst/>
                <a:cxnLst>
                  <a:cxn ang="0">
                    <a:pos x="T0" y="T1"/>
                  </a:cxn>
                  <a:cxn ang="0">
                    <a:pos x="T2" y="T3"/>
                  </a:cxn>
                  <a:cxn ang="0">
                    <a:pos x="T4" y="T5"/>
                  </a:cxn>
                  <a:cxn ang="0">
                    <a:pos x="T6" y="T7"/>
                  </a:cxn>
                  <a:cxn ang="0">
                    <a:pos x="T8" y="T9"/>
                  </a:cxn>
                </a:cxnLst>
                <a:rect l="0" t="0" r="r" b="b"/>
                <a:pathLst>
                  <a:path w="212" h="42">
                    <a:moveTo>
                      <a:pt x="156" y="0"/>
                    </a:moveTo>
                    <a:cubicBezTo>
                      <a:pt x="173" y="1"/>
                      <a:pt x="192" y="1"/>
                      <a:pt x="212" y="1"/>
                    </a:cubicBezTo>
                    <a:cubicBezTo>
                      <a:pt x="212" y="42"/>
                      <a:pt x="212" y="42"/>
                      <a:pt x="212" y="42"/>
                    </a:cubicBezTo>
                    <a:cubicBezTo>
                      <a:pt x="137" y="42"/>
                      <a:pt x="65" y="41"/>
                      <a:pt x="0" y="38"/>
                    </a:cubicBezTo>
                    <a:lnTo>
                      <a:pt x="15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11" name="ïṥlíḓé"/>
              <p:cNvSpPr/>
              <p:nvPr/>
            </p:nvSpPr>
            <p:spPr bwMode="auto">
              <a:xfrm>
                <a:off x="-547920" y="4187954"/>
                <a:ext cx="631726" cy="34191"/>
              </a:xfrm>
              <a:custGeom>
                <a:avLst/>
                <a:gdLst>
                  <a:gd name="T0" fmla="*/ 11 w 426"/>
                  <a:gd name="T1" fmla="*/ 0 h 21"/>
                  <a:gd name="T2" fmla="*/ 426 w 426"/>
                  <a:gd name="T3" fmla="*/ 0 h 21"/>
                  <a:gd name="T4" fmla="*/ 383 w 426"/>
                  <a:gd name="T5" fmla="*/ 21 h 21"/>
                  <a:gd name="T6" fmla="*/ 0 w 426"/>
                  <a:gd name="T7" fmla="*/ 6 h 21"/>
                  <a:gd name="T8" fmla="*/ 11 w 426"/>
                  <a:gd name="T9" fmla="*/ 0 h 21"/>
                </a:gdLst>
                <a:ahLst/>
                <a:cxnLst>
                  <a:cxn ang="0">
                    <a:pos x="T0" y="T1"/>
                  </a:cxn>
                  <a:cxn ang="0">
                    <a:pos x="T2" y="T3"/>
                  </a:cxn>
                  <a:cxn ang="0">
                    <a:pos x="T4" y="T5"/>
                  </a:cxn>
                  <a:cxn ang="0">
                    <a:pos x="T6" y="T7"/>
                  </a:cxn>
                  <a:cxn ang="0">
                    <a:pos x="T8" y="T9"/>
                  </a:cxn>
                </a:cxnLst>
                <a:rect l="0" t="0" r="r" b="b"/>
                <a:pathLst>
                  <a:path w="426" h="21">
                    <a:moveTo>
                      <a:pt x="11" y="0"/>
                    </a:moveTo>
                    <a:cubicBezTo>
                      <a:pt x="426" y="0"/>
                      <a:pt x="426" y="0"/>
                      <a:pt x="426" y="0"/>
                    </a:cubicBezTo>
                    <a:cubicBezTo>
                      <a:pt x="426" y="8"/>
                      <a:pt x="410" y="15"/>
                      <a:pt x="383" y="21"/>
                    </a:cubicBezTo>
                    <a:cubicBezTo>
                      <a:pt x="0" y="6"/>
                      <a:pt x="0" y="6"/>
                      <a:pt x="0" y="6"/>
                    </a:cubicBezTo>
                    <a:cubicBezTo>
                      <a:pt x="7" y="4"/>
                      <a:pt x="11" y="2"/>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12" name="ïṣlïḋê"/>
              <p:cNvSpPr/>
              <p:nvPr/>
            </p:nvSpPr>
            <p:spPr bwMode="auto">
              <a:xfrm>
                <a:off x="-595503" y="4136667"/>
                <a:ext cx="615449" cy="53337"/>
              </a:xfrm>
              <a:custGeom>
                <a:avLst/>
                <a:gdLst>
                  <a:gd name="T0" fmla="*/ 32 w 415"/>
                  <a:gd name="T1" fmla="*/ 0 h 33"/>
                  <a:gd name="T2" fmla="*/ 415 w 415"/>
                  <a:gd name="T3" fmla="*/ 15 h 33"/>
                  <a:gd name="T4" fmla="*/ 293 w 415"/>
                  <a:gd name="T5" fmla="*/ 33 h 33"/>
                  <a:gd name="T6" fmla="*/ 0 w 415"/>
                  <a:gd name="T7" fmla="*/ 5 h 33"/>
                  <a:gd name="T8" fmla="*/ 32 w 415"/>
                  <a:gd name="T9" fmla="*/ 0 h 33"/>
                </a:gdLst>
                <a:ahLst/>
                <a:cxnLst>
                  <a:cxn ang="0">
                    <a:pos x="T0" y="T1"/>
                  </a:cxn>
                  <a:cxn ang="0">
                    <a:pos x="T2" y="T3"/>
                  </a:cxn>
                  <a:cxn ang="0">
                    <a:pos x="T4" y="T5"/>
                  </a:cxn>
                  <a:cxn ang="0">
                    <a:pos x="T6" y="T7"/>
                  </a:cxn>
                  <a:cxn ang="0">
                    <a:pos x="T8" y="T9"/>
                  </a:cxn>
                </a:cxnLst>
                <a:rect l="0" t="0" r="r" b="b"/>
                <a:pathLst>
                  <a:path w="415" h="33">
                    <a:moveTo>
                      <a:pt x="32" y="0"/>
                    </a:moveTo>
                    <a:cubicBezTo>
                      <a:pt x="415" y="15"/>
                      <a:pt x="415" y="15"/>
                      <a:pt x="415" y="15"/>
                    </a:cubicBezTo>
                    <a:cubicBezTo>
                      <a:pt x="387" y="22"/>
                      <a:pt x="345" y="28"/>
                      <a:pt x="293" y="33"/>
                    </a:cubicBezTo>
                    <a:cubicBezTo>
                      <a:pt x="0" y="5"/>
                      <a:pt x="0" y="5"/>
                      <a:pt x="0" y="5"/>
                    </a:cubicBezTo>
                    <a:cubicBezTo>
                      <a:pt x="14" y="3"/>
                      <a:pt x="25" y="2"/>
                      <a:pt x="32"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13" name="îŝliḑê"/>
              <p:cNvSpPr/>
              <p:nvPr/>
            </p:nvSpPr>
            <p:spPr bwMode="auto">
              <a:xfrm>
                <a:off x="-664999" y="4082645"/>
                <a:ext cx="504004" cy="66330"/>
              </a:xfrm>
              <a:custGeom>
                <a:avLst/>
                <a:gdLst>
                  <a:gd name="T0" fmla="*/ 47 w 340"/>
                  <a:gd name="T1" fmla="*/ 0 h 41"/>
                  <a:gd name="T2" fmla="*/ 340 w 340"/>
                  <a:gd name="T3" fmla="*/ 29 h 41"/>
                  <a:gd name="T4" fmla="*/ 160 w 340"/>
                  <a:gd name="T5" fmla="*/ 41 h 41"/>
                  <a:gd name="T6" fmla="*/ 0 w 340"/>
                  <a:gd name="T7" fmla="*/ 3 h 41"/>
                  <a:gd name="T8" fmla="*/ 47 w 340"/>
                  <a:gd name="T9" fmla="*/ 0 h 41"/>
                </a:gdLst>
                <a:ahLst/>
                <a:cxnLst>
                  <a:cxn ang="0">
                    <a:pos x="T0" y="T1"/>
                  </a:cxn>
                  <a:cxn ang="0">
                    <a:pos x="T2" y="T3"/>
                  </a:cxn>
                  <a:cxn ang="0">
                    <a:pos x="T4" y="T5"/>
                  </a:cxn>
                  <a:cxn ang="0">
                    <a:pos x="T6" y="T7"/>
                  </a:cxn>
                  <a:cxn ang="0">
                    <a:pos x="T8" y="T9"/>
                  </a:cxn>
                </a:cxnLst>
                <a:rect l="0" t="0" r="r" b="b"/>
                <a:pathLst>
                  <a:path w="340" h="41">
                    <a:moveTo>
                      <a:pt x="47" y="0"/>
                    </a:moveTo>
                    <a:cubicBezTo>
                      <a:pt x="340" y="29"/>
                      <a:pt x="340" y="29"/>
                      <a:pt x="340" y="29"/>
                    </a:cubicBezTo>
                    <a:cubicBezTo>
                      <a:pt x="289" y="34"/>
                      <a:pt x="228" y="38"/>
                      <a:pt x="160" y="41"/>
                    </a:cubicBezTo>
                    <a:cubicBezTo>
                      <a:pt x="0" y="3"/>
                      <a:pt x="0" y="3"/>
                      <a:pt x="0" y="3"/>
                    </a:cubicBezTo>
                    <a:cubicBezTo>
                      <a:pt x="18" y="2"/>
                      <a:pt x="34" y="1"/>
                      <a:pt x="4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14" name="ïśḷiḋe"/>
              <p:cNvSpPr/>
              <p:nvPr/>
            </p:nvSpPr>
            <p:spPr bwMode="auto">
              <a:xfrm>
                <a:off x="-749522" y="4026571"/>
                <a:ext cx="321811" cy="67698"/>
              </a:xfrm>
              <a:custGeom>
                <a:avLst/>
                <a:gdLst>
                  <a:gd name="T0" fmla="*/ 57 w 217"/>
                  <a:gd name="T1" fmla="*/ 0 h 42"/>
                  <a:gd name="T2" fmla="*/ 217 w 217"/>
                  <a:gd name="T3" fmla="*/ 38 h 42"/>
                  <a:gd name="T4" fmla="*/ 0 w 217"/>
                  <a:gd name="T5" fmla="*/ 42 h 42"/>
                  <a:gd name="T6" fmla="*/ 0 w 217"/>
                  <a:gd name="T7" fmla="*/ 1 h 42"/>
                  <a:gd name="T8" fmla="*/ 57 w 217"/>
                  <a:gd name="T9" fmla="*/ 0 h 42"/>
                </a:gdLst>
                <a:ahLst/>
                <a:cxnLst>
                  <a:cxn ang="0">
                    <a:pos x="T0" y="T1"/>
                  </a:cxn>
                  <a:cxn ang="0">
                    <a:pos x="T2" y="T3"/>
                  </a:cxn>
                  <a:cxn ang="0">
                    <a:pos x="T4" y="T5"/>
                  </a:cxn>
                  <a:cxn ang="0">
                    <a:pos x="T6" y="T7"/>
                  </a:cxn>
                  <a:cxn ang="0">
                    <a:pos x="T8" y="T9"/>
                  </a:cxn>
                </a:cxnLst>
                <a:rect l="0" t="0" r="r" b="b"/>
                <a:pathLst>
                  <a:path w="217" h="42">
                    <a:moveTo>
                      <a:pt x="57" y="0"/>
                    </a:moveTo>
                    <a:cubicBezTo>
                      <a:pt x="217" y="38"/>
                      <a:pt x="217" y="38"/>
                      <a:pt x="217" y="38"/>
                    </a:cubicBezTo>
                    <a:cubicBezTo>
                      <a:pt x="150" y="40"/>
                      <a:pt x="77" y="42"/>
                      <a:pt x="0" y="42"/>
                    </a:cubicBezTo>
                    <a:cubicBezTo>
                      <a:pt x="0" y="1"/>
                      <a:pt x="0" y="1"/>
                      <a:pt x="0" y="1"/>
                    </a:cubicBezTo>
                    <a:cubicBezTo>
                      <a:pt x="20" y="1"/>
                      <a:pt x="39" y="1"/>
                      <a:pt x="5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15" name="ïṧlidè"/>
              <p:cNvSpPr/>
              <p:nvPr/>
            </p:nvSpPr>
            <p:spPr bwMode="auto">
              <a:xfrm>
                <a:off x="-547920" y="3204617"/>
                <a:ext cx="631726" cy="34191"/>
              </a:xfrm>
              <a:custGeom>
                <a:avLst/>
                <a:gdLst>
                  <a:gd name="T0" fmla="*/ 11 w 426"/>
                  <a:gd name="T1" fmla="*/ 0 h 21"/>
                  <a:gd name="T2" fmla="*/ 426 w 426"/>
                  <a:gd name="T3" fmla="*/ 0 h 21"/>
                  <a:gd name="T4" fmla="*/ 383 w 426"/>
                  <a:gd name="T5" fmla="*/ 21 h 21"/>
                  <a:gd name="T6" fmla="*/ 0 w 426"/>
                  <a:gd name="T7" fmla="*/ 6 h 21"/>
                  <a:gd name="T8" fmla="*/ 11 w 426"/>
                  <a:gd name="T9" fmla="*/ 0 h 21"/>
                </a:gdLst>
                <a:ahLst/>
                <a:cxnLst>
                  <a:cxn ang="0">
                    <a:pos x="T0" y="T1"/>
                  </a:cxn>
                  <a:cxn ang="0">
                    <a:pos x="T2" y="T3"/>
                  </a:cxn>
                  <a:cxn ang="0">
                    <a:pos x="T4" y="T5"/>
                  </a:cxn>
                  <a:cxn ang="0">
                    <a:pos x="T6" y="T7"/>
                  </a:cxn>
                  <a:cxn ang="0">
                    <a:pos x="T8" y="T9"/>
                  </a:cxn>
                </a:cxnLst>
                <a:rect l="0" t="0" r="r" b="b"/>
                <a:pathLst>
                  <a:path w="426" h="21">
                    <a:moveTo>
                      <a:pt x="11" y="0"/>
                    </a:moveTo>
                    <a:cubicBezTo>
                      <a:pt x="426" y="0"/>
                      <a:pt x="426" y="0"/>
                      <a:pt x="426" y="0"/>
                    </a:cubicBezTo>
                    <a:cubicBezTo>
                      <a:pt x="426" y="7"/>
                      <a:pt x="410" y="15"/>
                      <a:pt x="383" y="21"/>
                    </a:cubicBezTo>
                    <a:cubicBezTo>
                      <a:pt x="0" y="6"/>
                      <a:pt x="0" y="6"/>
                      <a:pt x="0" y="6"/>
                    </a:cubicBezTo>
                    <a:cubicBezTo>
                      <a:pt x="7" y="4"/>
                      <a:pt x="11" y="2"/>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16" name="îṥľide"/>
              <p:cNvSpPr/>
              <p:nvPr/>
            </p:nvSpPr>
            <p:spPr bwMode="auto">
              <a:xfrm>
                <a:off x="-595503" y="3153330"/>
                <a:ext cx="615449" cy="53337"/>
              </a:xfrm>
              <a:custGeom>
                <a:avLst/>
                <a:gdLst>
                  <a:gd name="T0" fmla="*/ 32 w 415"/>
                  <a:gd name="T1" fmla="*/ 0 h 33"/>
                  <a:gd name="T2" fmla="*/ 415 w 415"/>
                  <a:gd name="T3" fmla="*/ 15 h 33"/>
                  <a:gd name="T4" fmla="*/ 293 w 415"/>
                  <a:gd name="T5" fmla="*/ 33 h 33"/>
                  <a:gd name="T6" fmla="*/ 0 w 415"/>
                  <a:gd name="T7" fmla="*/ 4 h 33"/>
                  <a:gd name="T8" fmla="*/ 32 w 415"/>
                  <a:gd name="T9" fmla="*/ 0 h 33"/>
                </a:gdLst>
                <a:ahLst/>
                <a:cxnLst>
                  <a:cxn ang="0">
                    <a:pos x="T0" y="T1"/>
                  </a:cxn>
                  <a:cxn ang="0">
                    <a:pos x="T2" y="T3"/>
                  </a:cxn>
                  <a:cxn ang="0">
                    <a:pos x="T4" y="T5"/>
                  </a:cxn>
                  <a:cxn ang="0">
                    <a:pos x="T6" y="T7"/>
                  </a:cxn>
                  <a:cxn ang="0">
                    <a:pos x="T8" y="T9"/>
                  </a:cxn>
                </a:cxnLst>
                <a:rect l="0" t="0" r="r" b="b"/>
                <a:pathLst>
                  <a:path w="415" h="33">
                    <a:moveTo>
                      <a:pt x="32" y="0"/>
                    </a:moveTo>
                    <a:cubicBezTo>
                      <a:pt x="415" y="15"/>
                      <a:pt x="415" y="15"/>
                      <a:pt x="415" y="15"/>
                    </a:cubicBezTo>
                    <a:cubicBezTo>
                      <a:pt x="387" y="22"/>
                      <a:pt x="345" y="28"/>
                      <a:pt x="293" y="33"/>
                    </a:cubicBezTo>
                    <a:cubicBezTo>
                      <a:pt x="0" y="4"/>
                      <a:pt x="0" y="4"/>
                      <a:pt x="0" y="4"/>
                    </a:cubicBezTo>
                    <a:cubicBezTo>
                      <a:pt x="14" y="3"/>
                      <a:pt x="25" y="2"/>
                      <a:pt x="32"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17" name="iSļïďê"/>
              <p:cNvSpPr/>
              <p:nvPr/>
            </p:nvSpPr>
            <p:spPr bwMode="auto">
              <a:xfrm>
                <a:off x="-664999" y="3099992"/>
                <a:ext cx="504004" cy="64279"/>
              </a:xfrm>
              <a:custGeom>
                <a:avLst/>
                <a:gdLst>
                  <a:gd name="T0" fmla="*/ 47 w 340"/>
                  <a:gd name="T1" fmla="*/ 0 h 40"/>
                  <a:gd name="T2" fmla="*/ 340 w 340"/>
                  <a:gd name="T3" fmla="*/ 29 h 40"/>
                  <a:gd name="T4" fmla="*/ 160 w 340"/>
                  <a:gd name="T5" fmla="*/ 40 h 40"/>
                  <a:gd name="T6" fmla="*/ 0 w 340"/>
                  <a:gd name="T7" fmla="*/ 3 h 40"/>
                  <a:gd name="T8" fmla="*/ 47 w 340"/>
                  <a:gd name="T9" fmla="*/ 0 h 40"/>
                </a:gdLst>
                <a:ahLst/>
                <a:cxnLst>
                  <a:cxn ang="0">
                    <a:pos x="T0" y="T1"/>
                  </a:cxn>
                  <a:cxn ang="0">
                    <a:pos x="T2" y="T3"/>
                  </a:cxn>
                  <a:cxn ang="0">
                    <a:pos x="T4" y="T5"/>
                  </a:cxn>
                  <a:cxn ang="0">
                    <a:pos x="T6" y="T7"/>
                  </a:cxn>
                  <a:cxn ang="0">
                    <a:pos x="T8" y="T9"/>
                  </a:cxn>
                </a:cxnLst>
                <a:rect l="0" t="0" r="r" b="b"/>
                <a:pathLst>
                  <a:path w="340" h="40">
                    <a:moveTo>
                      <a:pt x="47" y="0"/>
                    </a:moveTo>
                    <a:cubicBezTo>
                      <a:pt x="340" y="29"/>
                      <a:pt x="340" y="29"/>
                      <a:pt x="340" y="29"/>
                    </a:cubicBezTo>
                    <a:cubicBezTo>
                      <a:pt x="289" y="34"/>
                      <a:pt x="228" y="38"/>
                      <a:pt x="160" y="40"/>
                    </a:cubicBezTo>
                    <a:cubicBezTo>
                      <a:pt x="0" y="3"/>
                      <a:pt x="0" y="3"/>
                      <a:pt x="0" y="3"/>
                    </a:cubicBezTo>
                    <a:cubicBezTo>
                      <a:pt x="18" y="2"/>
                      <a:pt x="34" y="1"/>
                      <a:pt x="4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18" name="îṩļiḍè"/>
              <p:cNvSpPr/>
              <p:nvPr/>
            </p:nvSpPr>
            <p:spPr bwMode="auto">
              <a:xfrm>
                <a:off x="-749522" y="3043234"/>
                <a:ext cx="321811" cy="67698"/>
              </a:xfrm>
              <a:custGeom>
                <a:avLst/>
                <a:gdLst>
                  <a:gd name="T0" fmla="*/ 57 w 217"/>
                  <a:gd name="T1" fmla="*/ 0 h 42"/>
                  <a:gd name="T2" fmla="*/ 217 w 217"/>
                  <a:gd name="T3" fmla="*/ 37 h 42"/>
                  <a:gd name="T4" fmla="*/ 0 w 217"/>
                  <a:gd name="T5" fmla="*/ 42 h 42"/>
                  <a:gd name="T6" fmla="*/ 0 w 217"/>
                  <a:gd name="T7" fmla="*/ 1 h 42"/>
                  <a:gd name="T8" fmla="*/ 57 w 217"/>
                  <a:gd name="T9" fmla="*/ 0 h 42"/>
                </a:gdLst>
                <a:ahLst/>
                <a:cxnLst>
                  <a:cxn ang="0">
                    <a:pos x="T0" y="T1"/>
                  </a:cxn>
                  <a:cxn ang="0">
                    <a:pos x="T2" y="T3"/>
                  </a:cxn>
                  <a:cxn ang="0">
                    <a:pos x="T4" y="T5"/>
                  </a:cxn>
                  <a:cxn ang="0">
                    <a:pos x="T6" y="T7"/>
                  </a:cxn>
                  <a:cxn ang="0">
                    <a:pos x="T8" y="T9"/>
                  </a:cxn>
                </a:cxnLst>
                <a:rect l="0" t="0" r="r" b="b"/>
                <a:pathLst>
                  <a:path w="217" h="42">
                    <a:moveTo>
                      <a:pt x="57" y="0"/>
                    </a:moveTo>
                    <a:cubicBezTo>
                      <a:pt x="217" y="37"/>
                      <a:pt x="217" y="37"/>
                      <a:pt x="217" y="37"/>
                    </a:cubicBezTo>
                    <a:cubicBezTo>
                      <a:pt x="150" y="40"/>
                      <a:pt x="77" y="42"/>
                      <a:pt x="0" y="42"/>
                    </a:cubicBezTo>
                    <a:cubicBezTo>
                      <a:pt x="0" y="1"/>
                      <a:pt x="0" y="1"/>
                      <a:pt x="0" y="1"/>
                    </a:cubicBezTo>
                    <a:cubicBezTo>
                      <a:pt x="20" y="1"/>
                      <a:pt x="39" y="1"/>
                      <a:pt x="5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19" name="ïṩlîdé"/>
              <p:cNvSpPr/>
              <p:nvPr/>
            </p:nvSpPr>
            <p:spPr bwMode="auto">
              <a:xfrm>
                <a:off x="-969279" y="3318131"/>
                <a:ext cx="437637" cy="495089"/>
              </a:xfrm>
              <a:custGeom>
                <a:avLst/>
                <a:gdLst>
                  <a:gd name="T0" fmla="*/ 284 w 295"/>
                  <a:gd name="T1" fmla="*/ 4 h 306"/>
                  <a:gd name="T2" fmla="*/ 253 w 295"/>
                  <a:gd name="T3" fmla="*/ 0 h 306"/>
                  <a:gd name="T4" fmla="*/ 253 w 295"/>
                  <a:gd name="T5" fmla="*/ 38 h 306"/>
                  <a:gd name="T6" fmla="*/ 242 w 295"/>
                  <a:gd name="T7" fmla="*/ 37 h 306"/>
                  <a:gd name="T8" fmla="*/ 232 w 295"/>
                  <a:gd name="T9" fmla="*/ 36 h 306"/>
                  <a:gd name="T10" fmla="*/ 222 w 295"/>
                  <a:gd name="T11" fmla="*/ 35 h 306"/>
                  <a:gd name="T12" fmla="*/ 213 w 295"/>
                  <a:gd name="T13" fmla="*/ 35 h 306"/>
                  <a:gd name="T14" fmla="*/ 205 w 295"/>
                  <a:gd name="T15" fmla="*/ 35 h 306"/>
                  <a:gd name="T16" fmla="*/ 205 w 295"/>
                  <a:gd name="T17" fmla="*/ 72 h 306"/>
                  <a:gd name="T18" fmla="*/ 203 w 295"/>
                  <a:gd name="T19" fmla="*/ 72 h 306"/>
                  <a:gd name="T20" fmla="*/ 194 w 295"/>
                  <a:gd name="T21" fmla="*/ 72 h 306"/>
                  <a:gd name="T22" fmla="*/ 185 w 295"/>
                  <a:gd name="T23" fmla="*/ 72 h 306"/>
                  <a:gd name="T24" fmla="*/ 176 w 295"/>
                  <a:gd name="T25" fmla="*/ 71 h 306"/>
                  <a:gd name="T26" fmla="*/ 166 w 295"/>
                  <a:gd name="T27" fmla="*/ 71 h 306"/>
                  <a:gd name="T28" fmla="*/ 156 w 295"/>
                  <a:gd name="T29" fmla="*/ 71 h 306"/>
                  <a:gd name="T30" fmla="*/ 149 w 295"/>
                  <a:gd name="T31" fmla="*/ 71 h 306"/>
                  <a:gd name="T32" fmla="*/ 149 w 295"/>
                  <a:gd name="T33" fmla="*/ 109 h 306"/>
                  <a:gd name="T34" fmla="*/ 146 w 295"/>
                  <a:gd name="T35" fmla="*/ 109 h 306"/>
                  <a:gd name="T36" fmla="*/ 135 w 295"/>
                  <a:gd name="T37" fmla="*/ 109 h 306"/>
                  <a:gd name="T38" fmla="*/ 122 w 295"/>
                  <a:gd name="T39" fmla="*/ 109 h 306"/>
                  <a:gd name="T40" fmla="*/ 106 w 295"/>
                  <a:gd name="T41" fmla="*/ 110 h 306"/>
                  <a:gd name="T42" fmla="*/ 92 w 295"/>
                  <a:gd name="T43" fmla="*/ 110 h 306"/>
                  <a:gd name="T44" fmla="*/ 92 w 295"/>
                  <a:gd name="T45" fmla="*/ 148 h 306"/>
                  <a:gd name="T46" fmla="*/ 54 w 295"/>
                  <a:gd name="T47" fmla="*/ 150 h 306"/>
                  <a:gd name="T48" fmla="*/ 45 w 295"/>
                  <a:gd name="T49" fmla="*/ 151 h 306"/>
                  <a:gd name="T50" fmla="*/ 45 w 295"/>
                  <a:gd name="T51" fmla="*/ 188 h 306"/>
                  <a:gd name="T52" fmla="*/ 40 w 295"/>
                  <a:gd name="T53" fmla="*/ 188 h 306"/>
                  <a:gd name="T54" fmla="*/ 31 w 295"/>
                  <a:gd name="T55" fmla="*/ 190 h 306"/>
                  <a:gd name="T56" fmla="*/ 24 w 295"/>
                  <a:gd name="T57" fmla="*/ 191 h 306"/>
                  <a:gd name="T58" fmla="*/ 19 w 295"/>
                  <a:gd name="T59" fmla="*/ 192 h 306"/>
                  <a:gd name="T60" fmla="*/ 14 w 295"/>
                  <a:gd name="T61" fmla="*/ 192 h 306"/>
                  <a:gd name="T62" fmla="*/ 13 w 295"/>
                  <a:gd name="T63" fmla="*/ 193 h 306"/>
                  <a:gd name="T64" fmla="*/ 13 w 295"/>
                  <a:gd name="T65" fmla="*/ 231 h 306"/>
                  <a:gd name="T66" fmla="*/ 13 w 295"/>
                  <a:gd name="T67" fmla="*/ 231 h 306"/>
                  <a:gd name="T68" fmla="*/ 11 w 295"/>
                  <a:gd name="T69" fmla="*/ 231 h 306"/>
                  <a:gd name="T70" fmla="*/ 8 w 295"/>
                  <a:gd name="T71" fmla="*/ 232 h 306"/>
                  <a:gd name="T72" fmla="*/ 5 w 295"/>
                  <a:gd name="T73" fmla="*/ 233 h 306"/>
                  <a:gd name="T74" fmla="*/ 4 w 295"/>
                  <a:gd name="T75" fmla="*/ 234 h 306"/>
                  <a:gd name="T76" fmla="*/ 2 w 295"/>
                  <a:gd name="T77" fmla="*/ 235 h 306"/>
                  <a:gd name="T78" fmla="*/ 2 w 295"/>
                  <a:gd name="T79" fmla="*/ 236 h 306"/>
                  <a:gd name="T80" fmla="*/ 2 w 295"/>
                  <a:gd name="T81" fmla="*/ 274 h 306"/>
                  <a:gd name="T82" fmla="*/ 13 w 295"/>
                  <a:gd name="T83" fmla="*/ 306 h 306"/>
                  <a:gd name="T84" fmla="*/ 127 w 295"/>
                  <a:gd name="T85" fmla="*/ 176 h 306"/>
                  <a:gd name="T86" fmla="*/ 127 w 295"/>
                  <a:gd name="T87" fmla="*/ 176 h 306"/>
                  <a:gd name="T88" fmla="*/ 284 w 295"/>
                  <a:gd name="T89" fmla="*/ 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5" h="306">
                    <a:moveTo>
                      <a:pt x="284" y="4"/>
                    </a:moveTo>
                    <a:cubicBezTo>
                      <a:pt x="276" y="3"/>
                      <a:pt x="266" y="1"/>
                      <a:pt x="253" y="0"/>
                    </a:cubicBezTo>
                    <a:cubicBezTo>
                      <a:pt x="253" y="38"/>
                      <a:pt x="253" y="38"/>
                      <a:pt x="253" y="38"/>
                    </a:cubicBezTo>
                    <a:cubicBezTo>
                      <a:pt x="250" y="37"/>
                      <a:pt x="246" y="37"/>
                      <a:pt x="242" y="37"/>
                    </a:cubicBezTo>
                    <a:cubicBezTo>
                      <a:pt x="239" y="36"/>
                      <a:pt x="235" y="36"/>
                      <a:pt x="232" y="36"/>
                    </a:cubicBezTo>
                    <a:cubicBezTo>
                      <a:pt x="228" y="36"/>
                      <a:pt x="225" y="36"/>
                      <a:pt x="222" y="35"/>
                    </a:cubicBezTo>
                    <a:cubicBezTo>
                      <a:pt x="219" y="35"/>
                      <a:pt x="216" y="35"/>
                      <a:pt x="213" y="35"/>
                    </a:cubicBezTo>
                    <a:cubicBezTo>
                      <a:pt x="210" y="35"/>
                      <a:pt x="208" y="35"/>
                      <a:pt x="205" y="35"/>
                    </a:cubicBezTo>
                    <a:cubicBezTo>
                      <a:pt x="205" y="72"/>
                      <a:pt x="205" y="72"/>
                      <a:pt x="205" y="72"/>
                    </a:cubicBezTo>
                    <a:cubicBezTo>
                      <a:pt x="204" y="72"/>
                      <a:pt x="204" y="72"/>
                      <a:pt x="203" y="72"/>
                    </a:cubicBezTo>
                    <a:cubicBezTo>
                      <a:pt x="200" y="72"/>
                      <a:pt x="197" y="72"/>
                      <a:pt x="194" y="72"/>
                    </a:cubicBezTo>
                    <a:cubicBezTo>
                      <a:pt x="191" y="72"/>
                      <a:pt x="188" y="72"/>
                      <a:pt x="185" y="72"/>
                    </a:cubicBezTo>
                    <a:cubicBezTo>
                      <a:pt x="182" y="72"/>
                      <a:pt x="179" y="71"/>
                      <a:pt x="176" y="71"/>
                    </a:cubicBezTo>
                    <a:cubicBezTo>
                      <a:pt x="173" y="71"/>
                      <a:pt x="169" y="71"/>
                      <a:pt x="166" y="71"/>
                    </a:cubicBezTo>
                    <a:cubicBezTo>
                      <a:pt x="163" y="71"/>
                      <a:pt x="160" y="71"/>
                      <a:pt x="156" y="71"/>
                    </a:cubicBezTo>
                    <a:cubicBezTo>
                      <a:pt x="154" y="71"/>
                      <a:pt x="152" y="71"/>
                      <a:pt x="149" y="71"/>
                    </a:cubicBezTo>
                    <a:cubicBezTo>
                      <a:pt x="149" y="109"/>
                      <a:pt x="149" y="109"/>
                      <a:pt x="149" y="109"/>
                    </a:cubicBezTo>
                    <a:cubicBezTo>
                      <a:pt x="148" y="109"/>
                      <a:pt x="147" y="109"/>
                      <a:pt x="146" y="109"/>
                    </a:cubicBezTo>
                    <a:cubicBezTo>
                      <a:pt x="142" y="109"/>
                      <a:pt x="139" y="109"/>
                      <a:pt x="135" y="109"/>
                    </a:cubicBezTo>
                    <a:cubicBezTo>
                      <a:pt x="131" y="109"/>
                      <a:pt x="126" y="109"/>
                      <a:pt x="122" y="109"/>
                    </a:cubicBezTo>
                    <a:cubicBezTo>
                      <a:pt x="117" y="109"/>
                      <a:pt x="111" y="109"/>
                      <a:pt x="106" y="110"/>
                    </a:cubicBezTo>
                    <a:cubicBezTo>
                      <a:pt x="101" y="110"/>
                      <a:pt x="97" y="110"/>
                      <a:pt x="92" y="110"/>
                    </a:cubicBezTo>
                    <a:cubicBezTo>
                      <a:pt x="92" y="148"/>
                      <a:pt x="92" y="148"/>
                      <a:pt x="92" y="148"/>
                    </a:cubicBezTo>
                    <a:cubicBezTo>
                      <a:pt x="78" y="148"/>
                      <a:pt x="66" y="149"/>
                      <a:pt x="54" y="150"/>
                    </a:cubicBezTo>
                    <a:cubicBezTo>
                      <a:pt x="51" y="150"/>
                      <a:pt x="48" y="151"/>
                      <a:pt x="45" y="151"/>
                    </a:cubicBezTo>
                    <a:cubicBezTo>
                      <a:pt x="45" y="188"/>
                      <a:pt x="45" y="188"/>
                      <a:pt x="45" y="188"/>
                    </a:cubicBezTo>
                    <a:cubicBezTo>
                      <a:pt x="43" y="188"/>
                      <a:pt x="42" y="188"/>
                      <a:pt x="40" y="188"/>
                    </a:cubicBezTo>
                    <a:cubicBezTo>
                      <a:pt x="37" y="189"/>
                      <a:pt x="34" y="189"/>
                      <a:pt x="31" y="190"/>
                    </a:cubicBezTo>
                    <a:cubicBezTo>
                      <a:pt x="29" y="190"/>
                      <a:pt x="26" y="190"/>
                      <a:pt x="24" y="191"/>
                    </a:cubicBezTo>
                    <a:cubicBezTo>
                      <a:pt x="22" y="191"/>
                      <a:pt x="20" y="191"/>
                      <a:pt x="19" y="192"/>
                    </a:cubicBezTo>
                    <a:cubicBezTo>
                      <a:pt x="17" y="192"/>
                      <a:pt x="16" y="192"/>
                      <a:pt x="14" y="192"/>
                    </a:cubicBezTo>
                    <a:cubicBezTo>
                      <a:pt x="14" y="193"/>
                      <a:pt x="13" y="193"/>
                      <a:pt x="13" y="193"/>
                    </a:cubicBezTo>
                    <a:cubicBezTo>
                      <a:pt x="13" y="231"/>
                      <a:pt x="13" y="231"/>
                      <a:pt x="13" y="231"/>
                    </a:cubicBezTo>
                    <a:cubicBezTo>
                      <a:pt x="13" y="231"/>
                      <a:pt x="13" y="231"/>
                      <a:pt x="13" y="231"/>
                    </a:cubicBezTo>
                    <a:cubicBezTo>
                      <a:pt x="12" y="231"/>
                      <a:pt x="11" y="231"/>
                      <a:pt x="11" y="231"/>
                    </a:cubicBezTo>
                    <a:cubicBezTo>
                      <a:pt x="10" y="232"/>
                      <a:pt x="9" y="232"/>
                      <a:pt x="8" y="232"/>
                    </a:cubicBezTo>
                    <a:cubicBezTo>
                      <a:pt x="7" y="233"/>
                      <a:pt x="6" y="233"/>
                      <a:pt x="5" y="233"/>
                    </a:cubicBezTo>
                    <a:cubicBezTo>
                      <a:pt x="5" y="234"/>
                      <a:pt x="4" y="234"/>
                      <a:pt x="4" y="234"/>
                    </a:cubicBezTo>
                    <a:cubicBezTo>
                      <a:pt x="3" y="234"/>
                      <a:pt x="3" y="235"/>
                      <a:pt x="2" y="235"/>
                    </a:cubicBezTo>
                    <a:cubicBezTo>
                      <a:pt x="2" y="236"/>
                      <a:pt x="2" y="236"/>
                      <a:pt x="2" y="236"/>
                    </a:cubicBezTo>
                    <a:cubicBezTo>
                      <a:pt x="2" y="274"/>
                      <a:pt x="2" y="274"/>
                      <a:pt x="2" y="274"/>
                    </a:cubicBezTo>
                    <a:cubicBezTo>
                      <a:pt x="13" y="306"/>
                      <a:pt x="13" y="306"/>
                      <a:pt x="13" y="306"/>
                    </a:cubicBezTo>
                    <a:cubicBezTo>
                      <a:pt x="13" y="306"/>
                      <a:pt x="0" y="233"/>
                      <a:pt x="127" y="176"/>
                    </a:cubicBezTo>
                    <a:cubicBezTo>
                      <a:pt x="127" y="176"/>
                      <a:pt x="127" y="176"/>
                      <a:pt x="127" y="176"/>
                    </a:cubicBezTo>
                    <a:cubicBezTo>
                      <a:pt x="263" y="92"/>
                      <a:pt x="295" y="39"/>
                      <a:pt x="284" y="4"/>
                    </a:cubicBezTo>
                    <a:close/>
                  </a:path>
                </a:pathLst>
              </a:custGeom>
              <a:gradFill>
                <a:gsLst>
                  <a:gs pos="100000">
                    <a:srgbClr val="FFFFFF"/>
                  </a:gs>
                  <a:gs pos="0">
                    <a:srgbClr val="FFFFFF">
                      <a:lumMod val="95000"/>
                    </a:srgbClr>
                  </a:gs>
                </a:gsLst>
                <a:lin ang="2700000" scaled="1"/>
              </a:gradFill>
              <a:ln w="19050">
                <a:noFill/>
              </a:ln>
              <a:effectLst>
                <a:outerShdw blurRad="139700" dist="38100" dir="5400000" algn="t" rotWithShape="0">
                  <a:prstClr val="black">
                    <a:alpha val="30000"/>
                  </a:prstClr>
                </a:outerShdw>
                <a:softEdge rad="0"/>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20" name="íŝḻíḓe"/>
              <p:cNvSpPr/>
              <p:nvPr/>
            </p:nvSpPr>
            <p:spPr bwMode="auto">
              <a:xfrm>
                <a:off x="-1580344" y="3761248"/>
                <a:ext cx="631726" cy="34191"/>
              </a:xfrm>
              <a:custGeom>
                <a:avLst/>
                <a:gdLst>
                  <a:gd name="T0" fmla="*/ 414 w 426"/>
                  <a:gd name="T1" fmla="*/ 0 h 21"/>
                  <a:gd name="T2" fmla="*/ 426 w 426"/>
                  <a:gd name="T3" fmla="*/ 6 h 21"/>
                  <a:gd name="T4" fmla="*/ 44 w 426"/>
                  <a:gd name="T5" fmla="*/ 21 h 21"/>
                  <a:gd name="T6" fmla="*/ 0 w 426"/>
                  <a:gd name="T7" fmla="*/ 0 h 21"/>
                  <a:gd name="T8" fmla="*/ 414 w 426"/>
                  <a:gd name="T9" fmla="*/ 0 h 21"/>
                </a:gdLst>
                <a:ahLst/>
                <a:cxnLst>
                  <a:cxn ang="0">
                    <a:pos x="T0" y="T1"/>
                  </a:cxn>
                  <a:cxn ang="0">
                    <a:pos x="T2" y="T3"/>
                  </a:cxn>
                  <a:cxn ang="0">
                    <a:pos x="T4" y="T5"/>
                  </a:cxn>
                  <a:cxn ang="0">
                    <a:pos x="T6" y="T7"/>
                  </a:cxn>
                  <a:cxn ang="0">
                    <a:pos x="T8" y="T9"/>
                  </a:cxn>
                </a:cxnLst>
                <a:rect l="0" t="0" r="r" b="b"/>
                <a:pathLst>
                  <a:path w="426" h="21">
                    <a:moveTo>
                      <a:pt x="414" y="0"/>
                    </a:moveTo>
                    <a:cubicBezTo>
                      <a:pt x="414" y="2"/>
                      <a:pt x="418" y="4"/>
                      <a:pt x="426" y="6"/>
                    </a:cubicBezTo>
                    <a:cubicBezTo>
                      <a:pt x="44" y="21"/>
                      <a:pt x="44" y="21"/>
                      <a:pt x="44" y="21"/>
                    </a:cubicBezTo>
                    <a:cubicBezTo>
                      <a:pt x="16" y="15"/>
                      <a:pt x="0" y="8"/>
                      <a:pt x="0" y="0"/>
                    </a:cubicBezTo>
                    <a:lnTo>
                      <a:pt x="414"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21" name="îṩḷïḑe"/>
              <p:cNvSpPr/>
              <p:nvPr/>
            </p:nvSpPr>
            <p:spPr bwMode="auto">
              <a:xfrm>
                <a:off x="-1515230" y="3769306"/>
                <a:ext cx="566612" cy="85477"/>
              </a:xfrm>
              <a:custGeom>
                <a:avLst/>
                <a:gdLst>
                  <a:gd name="T0" fmla="*/ 905 w 905"/>
                  <a:gd name="T1" fmla="*/ 88 h 125"/>
                  <a:gd name="T2" fmla="*/ 0 w 905"/>
                  <a:gd name="T3" fmla="*/ 125 h 125"/>
                  <a:gd name="T4" fmla="*/ 0 w 905"/>
                  <a:gd name="T5" fmla="*/ 36 h 125"/>
                  <a:gd name="T6" fmla="*/ 905 w 905"/>
                  <a:gd name="T7" fmla="*/ 0 h 125"/>
                  <a:gd name="T8" fmla="*/ 905 w 905"/>
                  <a:gd name="T9" fmla="*/ 88 h 125"/>
                </a:gdLst>
                <a:ahLst/>
                <a:cxnLst>
                  <a:cxn ang="0">
                    <a:pos x="T0" y="T1"/>
                  </a:cxn>
                  <a:cxn ang="0">
                    <a:pos x="T2" y="T3"/>
                  </a:cxn>
                  <a:cxn ang="0">
                    <a:pos x="T4" y="T5"/>
                  </a:cxn>
                  <a:cxn ang="0">
                    <a:pos x="T6" y="T7"/>
                  </a:cxn>
                  <a:cxn ang="0">
                    <a:pos x="T8" y="T9"/>
                  </a:cxn>
                </a:cxnLst>
                <a:rect l="0" t="0" r="r" b="b"/>
                <a:pathLst>
                  <a:path w="905" h="125">
                    <a:moveTo>
                      <a:pt x="905" y="88"/>
                    </a:moveTo>
                    <a:lnTo>
                      <a:pt x="0" y="125"/>
                    </a:lnTo>
                    <a:lnTo>
                      <a:pt x="0" y="36"/>
                    </a:lnTo>
                    <a:lnTo>
                      <a:pt x="905" y="0"/>
                    </a:lnTo>
                    <a:lnTo>
                      <a:pt x="905" y="88"/>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23" name="işľïḓé"/>
              <p:cNvSpPr/>
              <p:nvPr/>
            </p:nvSpPr>
            <p:spPr bwMode="auto">
              <a:xfrm>
                <a:off x="-788530" y="3204617"/>
                <a:ext cx="863379" cy="397985"/>
              </a:xfrm>
              <a:custGeom>
                <a:avLst/>
                <a:gdLst>
                  <a:gd name="T0" fmla="*/ 308 w 582"/>
                  <a:gd name="T1" fmla="*/ 42 h 246"/>
                  <a:gd name="T2" fmla="*/ 310 w 582"/>
                  <a:gd name="T3" fmla="*/ 36 h 246"/>
                  <a:gd name="T4" fmla="*/ 163 w 582"/>
                  <a:gd name="T5" fmla="*/ 0 h 246"/>
                  <a:gd name="T6" fmla="*/ 15 w 582"/>
                  <a:gd name="T7" fmla="*/ 14 h 246"/>
                  <a:gd name="T8" fmla="*/ 157 w 582"/>
                  <a:gd name="T9" fmla="*/ 74 h 246"/>
                  <a:gd name="T10" fmla="*/ 158 w 582"/>
                  <a:gd name="T11" fmla="*/ 78 h 246"/>
                  <a:gd name="T12" fmla="*/ 158 w 582"/>
                  <a:gd name="T13" fmla="*/ 79 h 246"/>
                  <a:gd name="T14" fmla="*/ 158 w 582"/>
                  <a:gd name="T15" fmla="*/ 82 h 246"/>
                  <a:gd name="T16" fmla="*/ 159 w 582"/>
                  <a:gd name="T17" fmla="*/ 84 h 246"/>
                  <a:gd name="T18" fmla="*/ 159 w 582"/>
                  <a:gd name="T19" fmla="*/ 87 h 246"/>
                  <a:gd name="T20" fmla="*/ 159 w 582"/>
                  <a:gd name="T21" fmla="*/ 88 h 246"/>
                  <a:gd name="T22" fmla="*/ 159 w 582"/>
                  <a:gd name="T23" fmla="*/ 92 h 246"/>
                  <a:gd name="T24" fmla="*/ 158 w 582"/>
                  <a:gd name="T25" fmla="*/ 93 h 246"/>
                  <a:gd name="T26" fmla="*/ 158 w 582"/>
                  <a:gd name="T27" fmla="*/ 97 h 246"/>
                  <a:gd name="T28" fmla="*/ 158 w 582"/>
                  <a:gd name="T29" fmla="*/ 98 h 246"/>
                  <a:gd name="T30" fmla="*/ 157 w 582"/>
                  <a:gd name="T31" fmla="*/ 101 h 246"/>
                  <a:gd name="T32" fmla="*/ 156 w 582"/>
                  <a:gd name="T33" fmla="*/ 103 h 246"/>
                  <a:gd name="T34" fmla="*/ 155 w 582"/>
                  <a:gd name="T35" fmla="*/ 107 h 246"/>
                  <a:gd name="T36" fmla="*/ 155 w 582"/>
                  <a:gd name="T37" fmla="*/ 108 h 246"/>
                  <a:gd name="T38" fmla="*/ 152 w 582"/>
                  <a:gd name="T39" fmla="*/ 113 h 246"/>
                  <a:gd name="T40" fmla="*/ 152 w 582"/>
                  <a:gd name="T41" fmla="*/ 115 h 246"/>
                  <a:gd name="T42" fmla="*/ 150 w 582"/>
                  <a:gd name="T43" fmla="*/ 118 h 246"/>
                  <a:gd name="T44" fmla="*/ 149 w 582"/>
                  <a:gd name="T45" fmla="*/ 120 h 246"/>
                  <a:gd name="T46" fmla="*/ 146 w 582"/>
                  <a:gd name="T47" fmla="*/ 124 h 246"/>
                  <a:gd name="T48" fmla="*/ 145 w 582"/>
                  <a:gd name="T49" fmla="*/ 126 h 246"/>
                  <a:gd name="T50" fmla="*/ 141 w 582"/>
                  <a:gd name="T51" fmla="*/ 132 h 246"/>
                  <a:gd name="T52" fmla="*/ 141 w 582"/>
                  <a:gd name="T53" fmla="*/ 133 h 246"/>
                  <a:gd name="T54" fmla="*/ 137 w 582"/>
                  <a:gd name="T55" fmla="*/ 138 h 246"/>
                  <a:gd name="T56" fmla="*/ 135 w 582"/>
                  <a:gd name="T57" fmla="*/ 140 h 246"/>
                  <a:gd name="T58" fmla="*/ 132 w 582"/>
                  <a:gd name="T59" fmla="*/ 144 h 246"/>
                  <a:gd name="T60" fmla="*/ 130 w 582"/>
                  <a:gd name="T61" fmla="*/ 146 h 246"/>
                  <a:gd name="T62" fmla="*/ 125 w 582"/>
                  <a:gd name="T63" fmla="*/ 151 h 246"/>
                  <a:gd name="T64" fmla="*/ 124 w 582"/>
                  <a:gd name="T65" fmla="*/ 152 h 246"/>
                  <a:gd name="T66" fmla="*/ 118 w 582"/>
                  <a:gd name="T67" fmla="*/ 159 h 246"/>
                  <a:gd name="T68" fmla="*/ 116 w 582"/>
                  <a:gd name="T69" fmla="*/ 161 h 246"/>
                  <a:gd name="T70" fmla="*/ 110 w 582"/>
                  <a:gd name="T71" fmla="*/ 166 h 246"/>
                  <a:gd name="T72" fmla="*/ 108 w 582"/>
                  <a:gd name="T73" fmla="*/ 168 h 246"/>
                  <a:gd name="T74" fmla="*/ 102 w 582"/>
                  <a:gd name="T75" fmla="*/ 173 h 246"/>
                  <a:gd name="T76" fmla="*/ 100 w 582"/>
                  <a:gd name="T77" fmla="*/ 175 h 246"/>
                  <a:gd name="T78" fmla="*/ 91 w 582"/>
                  <a:gd name="T79" fmla="*/ 182 h 246"/>
                  <a:gd name="T80" fmla="*/ 90 w 582"/>
                  <a:gd name="T81" fmla="*/ 183 h 246"/>
                  <a:gd name="T82" fmla="*/ 82 w 582"/>
                  <a:gd name="T83" fmla="*/ 190 h 246"/>
                  <a:gd name="T84" fmla="*/ 79 w 582"/>
                  <a:gd name="T85" fmla="*/ 192 h 246"/>
                  <a:gd name="T86" fmla="*/ 71 w 582"/>
                  <a:gd name="T87" fmla="*/ 198 h 246"/>
                  <a:gd name="T88" fmla="*/ 68 w 582"/>
                  <a:gd name="T89" fmla="*/ 200 h 246"/>
                  <a:gd name="T90" fmla="*/ 59 w 582"/>
                  <a:gd name="T91" fmla="*/ 207 h 246"/>
                  <a:gd name="T92" fmla="*/ 57 w 582"/>
                  <a:gd name="T93" fmla="*/ 209 h 246"/>
                  <a:gd name="T94" fmla="*/ 45 w 582"/>
                  <a:gd name="T95" fmla="*/ 217 h 246"/>
                  <a:gd name="T96" fmla="*/ 42 w 582"/>
                  <a:gd name="T97" fmla="*/ 219 h 246"/>
                  <a:gd name="T98" fmla="*/ 32 w 582"/>
                  <a:gd name="T99" fmla="*/ 225 h 246"/>
                  <a:gd name="T100" fmla="*/ 28 w 582"/>
                  <a:gd name="T101" fmla="*/ 228 h 246"/>
                  <a:gd name="T102" fmla="*/ 18 w 582"/>
                  <a:gd name="T103" fmla="*/ 234 h 246"/>
                  <a:gd name="T104" fmla="*/ 14 w 582"/>
                  <a:gd name="T105" fmla="*/ 237 h 246"/>
                  <a:gd name="T106" fmla="*/ 0 w 582"/>
                  <a:gd name="T107" fmla="*/ 246 h 246"/>
                  <a:gd name="T108" fmla="*/ 582 w 582"/>
                  <a:gd name="T109" fmla="*/ 138 h 246"/>
                  <a:gd name="T110" fmla="*/ 582 w 582"/>
                  <a:gd name="T111" fmla="*/ 42 h 246"/>
                  <a:gd name="T112" fmla="*/ 308 w 582"/>
                  <a:gd name="T113" fmla="*/ 4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82" h="246">
                    <a:moveTo>
                      <a:pt x="308" y="42"/>
                    </a:moveTo>
                    <a:cubicBezTo>
                      <a:pt x="310" y="36"/>
                      <a:pt x="310" y="36"/>
                      <a:pt x="310" y="36"/>
                    </a:cubicBezTo>
                    <a:cubicBezTo>
                      <a:pt x="163" y="0"/>
                      <a:pt x="163" y="0"/>
                      <a:pt x="163" y="0"/>
                    </a:cubicBezTo>
                    <a:cubicBezTo>
                      <a:pt x="15" y="14"/>
                      <a:pt x="15" y="14"/>
                      <a:pt x="15" y="14"/>
                    </a:cubicBezTo>
                    <a:cubicBezTo>
                      <a:pt x="15" y="14"/>
                      <a:pt x="139" y="21"/>
                      <a:pt x="157" y="74"/>
                    </a:cubicBezTo>
                    <a:cubicBezTo>
                      <a:pt x="157" y="76"/>
                      <a:pt x="157" y="77"/>
                      <a:pt x="158" y="78"/>
                    </a:cubicBezTo>
                    <a:cubicBezTo>
                      <a:pt x="158" y="79"/>
                      <a:pt x="158" y="79"/>
                      <a:pt x="158" y="79"/>
                    </a:cubicBezTo>
                    <a:cubicBezTo>
                      <a:pt x="158" y="80"/>
                      <a:pt x="158" y="81"/>
                      <a:pt x="158" y="82"/>
                    </a:cubicBezTo>
                    <a:cubicBezTo>
                      <a:pt x="158" y="83"/>
                      <a:pt x="159" y="83"/>
                      <a:pt x="159" y="84"/>
                    </a:cubicBezTo>
                    <a:cubicBezTo>
                      <a:pt x="159" y="85"/>
                      <a:pt x="159" y="86"/>
                      <a:pt x="159" y="87"/>
                    </a:cubicBezTo>
                    <a:cubicBezTo>
                      <a:pt x="159" y="87"/>
                      <a:pt x="159" y="87"/>
                      <a:pt x="159" y="88"/>
                    </a:cubicBezTo>
                    <a:cubicBezTo>
                      <a:pt x="159" y="89"/>
                      <a:pt x="159" y="91"/>
                      <a:pt x="159" y="92"/>
                    </a:cubicBezTo>
                    <a:cubicBezTo>
                      <a:pt x="159" y="92"/>
                      <a:pt x="158" y="93"/>
                      <a:pt x="158" y="93"/>
                    </a:cubicBezTo>
                    <a:cubicBezTo>
                      <a:pt x="158" y="94"/>
                      <a:pt x="158" y="96"/>
                      <a:pt x="158" y="97"/>
                    </a:cubicBezTo>
                    <a:cubicBezTo>
                      <a:pt x="158" y="97"/>
                      <a:pt x="158" y="98"/>
                      <a:pt x="158" y="98"/>
                    </a:cubicBezTo>
                    <a:cubicBezTo>
                      <a:pt x="157" y="99"/>
                      <a:pt x="157" y="100"/>
                      <a:pt x="157" y="101"/>
                    </a:cubicBezTo>
                    <a:cubicBezTo>
                      <a:pt x="157" y="102"/>
                      <a:pt x="156" y="103"/>
                      <a:pt x="156" y="103"/>
                    </a:cubicBezTo>
                    <a:cubicBezTo>
                      <a:pt x="156" y="104"/>
                      <a:pt x="155" y="106"/>
                      <a:pt x="155" y="107"/>
                    </a:cubicBezTo>
                    <a:cubicBezTo>
                      <a:pt x="155" y="108"/>
                      <a:pt x="155" y="108"/>
                      <a:pt x="155" y="108"/>
                    </a:cubicBezTo>
                    <a:cubicBezTo>
                      <a:pt x="154" y="110"/>
                      <a:pt x="153" y="111"/>
                      <a:pt x="152" y="113"/>
                    </a:cubicBezTo>
                    <a:cubicBezTo>
                      <a:pt x="152" y="114"/>
                      <a:pt x="152" y="114"/>
                      <a:pt x="152" y="115"/>
                    </a:cubicBezTo>
                    <a:cubicBezTo>
                      <a:pt x="151" y="116"/>
                      <a:pt x="150" y="117"/>
                      <a:pt x="150" y="118"/>
                    </a:cubicBezTo>
                    <a:cubicBezTo>
                      <a:pt x="149" y="119"/>
                      <a:pt x="149" y="120"/>
                      <a:pt x="149" y="120"/>
                    </a:cubicBezTo>
                    <a:cubicBezTo>
                      <a:pt x="148" y="122"/>
                      <a:pt x="147" y="123"/>
                      <a:pt x="146" y="124"/>
                    </a:cubicBezTo>
                    <a:cubicBezTo>
                      <a:pt x="146" y="125"/>
                      <a:pt x="146" y="125"/>
                      <a:pt x="145" y="126"/>
                    </a:cubicBezTo>
                    <a:cubicBezTo>
                      <a:pt x="144" y="128"/>
                      <a:pt x="143" y="130"/>
                      <a:pt x="141" y="132"/>
                    </a:cubicBezTo>
                    <a:cubicBezTo>
                      <a:pt x="141" y="133"/>
                      <a:pt x="141" y="133"/>
                      <a:pt x="141" y="133"/>
                    </a:cubicBezTo>
                    <a:cubicBezTo>
                      <a:pt x="139" y="134"/>
                      <a:pt x="138" y="136"/>
                      <a:pt x="137" y="138"/>
                    </a:cubicBezTo>
                    <a:cubicBezTo>
                      <a:pt x="136" y="138"/>
                      <a:pt x="136" y="139"/>
                      <a:pt x="135" y="140"/>
                    </a:cubicBezTo>
                    <a:cubicBezTo>
                      <a:pt x="134" y="141"/>
                      <a:pt x="133" y="142"/>
                      <a:pt x="132" y="144"/>
                    </a:cubicBezTo>
                    <a:cubicBezTo>
                      <a:pt x="131" y="145"/>
                      <a:pt x="131" y="145"/>
                      <a:pt x="130" y="146"/>
                    </a:cubicBezTo>
                    <a:cubicBezTo>
                      <a:pt x="128" y="148"/>
                      <a:pt x="127" y="149"/>
                      <a:pt x="125" y="151"/>
                    </a:cubicBezTo>
                    <a:cubicBezTo>
                      <a:pt x="125" y="151"/>
                      <a:pt x="124" y="152"/>
                      <a:pt x="124" y="152"/>
                    </a:cubicBezTo>
                    <a:cubicBezTo>
                      <a:pt x="122" y="154"/>
                      <a:pt x="120" y="157"/>
                      <a:pt x="118" y="159"/>
                    </a:cubicBezTo>
                    <a:cubicBezTo>
                      <a:pt x="117" y="159"/>
                      <a:pt x="116" y="160"/>
                      <a:pt x="116" y="161"/>
                    </a:cubicBezTo>
                    <a:cubicBezTo>
                      <a:pt x="114" y="162"/>
                      <a:pt x="112" y="164"/>
                      <a:pt x="110" y="166"/>
                    </a:cubicBezTo>
                    <a:cubicBezTo>
                      <a:pt x="110" y="167"/>
                      <a:pt x="109" y="167"/>
                      <a:pt x="108" y="168"/>
                    </a:cubicBezTo>
                    <a:cubicBezTo>
                      <a:pt x="106" y="170"/>
                      <a:pt x="104" y="171"/>
                      <a:pt x="102" y="173"/>
                    </a:cubicBezTo>
                    <a:cubicBezTo>
                      <a:pt x="101" y="174"/>
                      <a:pt x="101" y="175"/>
                      <a:pt x="100" y="175"/>
                    </a:cubicBezTo>
                    <a:cubicBezTo>
                      <a:pt x="97" y="178"/>
                      <a:pt x="94" y="180"/>
                      <a:pt x="91" y="182"/>
                    </a:cubicBezTo>
                    <a:cubicBezTo>
                      <a:pt x="90" y="183"/>
                      <a:pt x="90" y="183"/>
                      <a:pt x="90" y="183"/>
                    </a:cubicBezTo>
                    <a:cubicBezTo>
                      <a:pt x="88" y="185"/>
                      <a:pt x="85" y="188"/>
                      <a:pt x="82" y="190"/>
                    </a:cubicBezTo>
                    <a:cubicBezTo>
                      <a:pt x="81" y="191"/>
                      <a:pt x="80" y="192"/>
                      <a:pt x="79" y="192"/>
                    </a:cubicBezTo>
                    <a:cubicBezTo>
                      <a:pt x="76" y="194"/>
                      <a:pt x="74" y="196"/>
                      <a:pt x="71" y="198"/>
                    </a:cubicBezTo>
                    <a:cubicBezTo>
                      <a:pt x="70" y="199"/>
                      <a:pt x="69" y="200"/>
                      <a:pt x="68" y="200"/>
                    </a:cubicBezTo>
                    <a:cubicBezTo>
                      <a:pt x="65" y="203"/>
                      <a:pt x="62" y="205"/>
                      <a:pt x="59" y="207"/>
                    </a:cubicBezTo>
                    <a:cubicBezTo>
                      <a:pt x="58" y="207"/>
                      <a:pt x="58" y="208"/>
                      <a:pt x="57" y="209"/>
                    </a:cubicBezTo>
                    <a:cubicBezTo>
                      <a:pt x="53" y="211"/>
                      <a:pt x="49" y="214"/>
                      <a:pt x="45" y="217"/>
                    </a:cubicBezTo>
                    <a:cubicBezTo>
                      <a:pt x="44" y="217"/>
                      <a:pt x="43" y="218"/>
                      <a:pt x="42" y="219"/>
                    </a:cubicBezTo>
                    <a:cubicBezTo>
                      <a:pt x="39" y="221"/>
                      <a:pt x="36" y="223"/>
                      <a:pt x="32" y="225"/>
                    </a:cubicBezTo>
                    <a:cubicBezTo>
                      <a:pt x="31" y="226"/>
                      <a:pt x="29" y="227"/>
                      <a:pt x="28" y="228"/>
                    </a:cubicBezTo>
                    <a:cubicBezTo>
                      <a:pt x="25" y="230"/>
                      <a:pt x="22" y="232"/>
                      <a:pt x="18" y="234"/>
                    </a:cubicBezTo>
                    <a:cubicBezTo>
                      <a:pt x="17" y="235"/>
                      <a:pt x="16" y="236"/>
                      <a:pt x="14" y="237"/>
                    </a:cubicBezTo>
                    <a:cubicBezTo>
                      <a:pt x="9" y="240"/>
                      <a:pt x="5" y="243"/>
                      <a:pt x="0" y="246"/>
                    </a:cubicBezTo>
                    <a:cubicBezTo>
                      <a:pt x="38" y="229"/>
                      <a:pt x="582" y="166"/>
                      <a:pt x="582" y="138"/>
                    </a:cubicBezTo>
                    <a:cubicBezTo>
                      <a:pt x="582" y="42"/>
                      <a:pt x="582" y="42"/>
                      <a:pt x="582" y="42"/>
                    </a:cubicBezTo>
                    <a:lnTo>
                      <a:pt x="308" y="42"/>
                    </a:lnTo>
                    <a:close/>
                  </a:path>
                </a:pathLst>
              </a:custGeom>
              <a:solidFill>
                <a:srgbClr val="E2E2E2"/>
              </a:solidFill>
              <a:ln w="19050">
                <a:noFill/>
              </a:ln>
              <a:effectLst>
                <a:outerShdw blurRad="139700" dist="38100" dir="5400000" algn="t" rotWithShape="0">
                  <a:prstClr val="black">
                    <a:alpha val="30000"/>
                  </a:prstClr>
                </a:outerShdw>
                <a:softEdge rad="0"/>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32" name="íşḻîḍe"/>
              <p:cNvSpPr/>
              <p:nvPr/>
            </p:nvSpPr>
            <p:spPr bwMode="auto">
              <a:xfrm>
                <a:off x="-611781" y="3248862"/>
                <a:ext cx="540316" cy="46500"/>
              </a:xfrm>
              <a:custGeom>
                <a:avLst/>
                <a:gdLst>
                  <a:gd name="T0" fmla="*/ 258 w 364"/>
                  <a:gd name="T1" fmla="*/ 0 h 29"/>
                  <a:gd name="T2" fmla="*/ 364 w 364"/>
                  <a:gd name="T3" fmla="*/ 15 h 29"/>
                  <a:gd name="T4" fmla="*/ 28 w 364"/>
                  <a:gd name="T5" fmla="*/ 29 h 29"/>
                  <a:gd name="T6" fmla="*/ 0 w 364"/>
                  <a:gd name="T7" fmla="*/ 25 h 29"/>
                  <a:gd name="T8" fmla="*/ 258 w 364"/>
                  <a:gd name="T9" fmla="*/ 0 h 29"/>
                </a:gdLst>
                <a:ahLst/>
                <a:cxnLst>
                  <a:cxn ang="0">
                    <a:pos x="T0" y="T1"/>
                  </a:cxn>
                  <a:cxn ang="0">
                    <a:pos x="T2" y="T3"/>
                  </a:cxn>
                  <a:cxn ang="0">
                    <a:pos x="T4" y="T5"/>
                  </a:cxn>
                  <a:cxn ang="0">
                    <a:pos x="T6" y="T7"/>
                  </a:cxn>
                  <a:cxn ang="0">
                    <a:pos x="T8" y="T9"/>
                  </a:cxn>
                </a:cxnLst>
                <a:rect l="0" t="0" r="r" b="b"/>
                <a:pathLst>
                  <a:path w="364" h="29">
                    <a:moveTo>
                      <a:pt x="258" y="0"/>
                    </a:moveTo>
                    <a:cubicBezTo>
                      <a:pt x="303" y="4"/>
                      <a:pt x="339" y="9"/>
                      <a:pt x="364" y="15"/>
                    </a:cubicBezTo>
                    <a:cubicBezTo>
                      <a:pt x="28" y="29"/>
                      <a:pt x="28" y="29"/>
                      <a:pt x="28" y="29"/>
                    </a:cubicBezTo>
                    <a:cubicBezTo>
                      <a:pt x="21" y="28"/>
                      <a:pt x="12" y="26"/>
                      <a:pt x="0" y="25"/>
                    </a:cubicBez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37" name="ïşḻîḑè"/>
              <p:cNvSpPr/>
              <p:nvPr/>
            </p:nvSpPr>
            <p:spPr bwMode="auto">
              <a:xfrm>
                <a:off x="-1070080" y="2469306"/>
                <a:ext cx="321811" cy="67698"/>
              </a:xfrm>
              <a:custGeom>
                <a:avLst/>
                <a:gdLst>
                  <a:gd name="T0" fmla="*/ 217 w 217"/>
                  <a:gd name="T1" fmla="*/ 0 h 42"/>
                  <a:gd name="T2" fmla="*/ 217 w 217"/>
                  <a:gd name="T3" fmla="*/ 41 h 42"/>
                  <a:gd name="T4" fmla="*/ 160 w 217"/>
                  <a:gd name="T5" fmla="*/ 42 h 42"/>
                  <a:gd name="T6" fmla="*/ 0 w 217"/>
                  <a:gd name="T7" fmla="*/ 5 h 42"/>
                  <a:gd name="T8" fmla="*/ 217 w 217"/>
                  <a:gd name="T9" fmla="*/ 0 h 42"/>
                </a:gdLst>
                <a:ahLst/>
                <a:cxnLst>
                  <a:cxn ang="0">
                    <a:pos x="T0" y="T1"/>
                  </a:cxn>
                  <a:cxn ang="0">
                    <a:pos x="T2" y="T3"/>
                  </a:cxn>
                  <a:cxn ang="0">
                    <a:pos x="T4" y="T5"/>
                  </a:cxn>
                  <a:cxn ang="0">
                    <a:pos x="T6" y="T7"/>
                  </a:cxn>
                  <a:cxn ang="0">
                    <a:pos x="T8" y="T9"/>
                  </a:cxn>
                </a:cxnLst>
                <a:rect l="0" t="0" r="r" b="b"/>
                <a:pathLst>
                  <a:path w="217" h="42">
                    <a:moveTo>
                      <a:pt x="217" y="0"/>
                    </a:moveTo>
                    <a:cubicBezTo>
                      <a:pt x="217" y="41"/>
                      <a:pt x="217" y="41"/>
                      <a:pt x="217" y="41"/>
                    </a:cubicBezTo>
                    <a:cubicBezTo>
                      <a:pt x="197" y="41"/>
                      <a:pt x="178" y="41"/>
                      <a:pt x="160" y="42"/>
                    </a:cubicBezTo>
                    <a:cubicBezTo>
                      <a:pt x="0" y="5"/>
                      <a:pt x="0" y="5"/>
                      <a:pt x="0" y="5"/>
                    </a:cubicBezTo>
                    <a:cubicBezTo>
                      <a:pt x="67" y="2"/>
                      <a:pt x="140" y="0"/>
                      <a:pt x="21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38" name="ïṩľïḓè"/>
              <p:cNvSpPr/>
              <p:nvPr/>
            </p:nvSpPr>
            <p:spPr bwMode="auto">
              <a:xfrm>
                <a:off x="-1335543" y="2537002"/>
                <a:ext cx="502751" cy="66330"/>
              </a:xfrm>
              <a:custGeom>
                <a:avLst/>
                <a:gdLst>
                  <a:gd name="T0" fmla="*/ 179 w 339"/>
                  <a:gd name="T1" fmla="*/ 0 h 41"/>
                  <a:gd name="T2" fmla="*/ 339 w 339"/>
                  <a:gd name="T3" fmla="*/ 38 h 41"/>
                  <a:gd name="T4" fmla="*/ 292 w 339"/>
                  <a:gd name="T5" fmla="*/ 41 h 41"/>
                  <a:gd name="T6" fmla="*/ 0 w 339"/>
                  <a:gd name="T7" fmla="*/ 12 h 41"/>
                  <a:gd name="T8" fmla="*/ 179 w 339"/>
                  <a:gd name="T9" fmla="*/ 0 h 41"/>
                </a:gdLst>
                <a:ahLst/>
                <a:cxnLst>
                  <a:cxn ang="0">
                    <a:pos x="T0" y="T1"/>
                  </a:cxn>
                  <a:cxn ang="0">
                    <a:pos x="T2" y="T3"/>
                  </a:cxn>
                  <a:cxn ang="0">
                    <a:pos x="T4" y="T5"/>
                  </a:cxn>
                  <a:cxn ang="0">
                    <a:pos x="T6" y="T7"/>
                  </a:cxn>
                  <a:cxn ang="0">
                    <a:pos x="T8" y="T9"/>
                  </a:cxn>
                </a:cxnLst>
                <a:rect l="0" t="0" r="r" b="b"/>
                <a:pathLst>
                  <a:path w="339" h="41">
                    <a:moveTo>
                      <a:pt x="179" y="0"/>
                    </a:moveTo>
                    <a:cubicBezTo>
                      <a:pt x="339" y="38"/>
                      <a:pt x="339" y="38"/>
                      <a:pt x="339" y="38"/>
                    </a:cubicBezTo>
                    <a:cubicBezTo>
                      <a:pt x="322" y="38"/>
                      <a:pt x="306" y="40"/>
                      <a:pt x="292" y="41"/>
                    </a:cubicBezTo>
                    <a:cubicBezTo>
                      <a:pt x="0" y="12"/>
                      <a:pt x="0" y="12"/>
                      <a:pt x="0" y="12"/>
                    </a:cubicBezTo>
                    <a:cubicBezTo>
                      <a:pt x="51" y="7"/>
                      <a:pt x="112" y="3"/>
                      <a:pt x="179"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39" name="îŝḷïďe"/>
              <p:cNvSpPr/>
              <p:nvPr/>
            </p:nvSpPr>
            <p:spPr bwMode="auto">
              <a:xfrm>
                <a:off x="-1517735" y="2616327"/>
                <a:ext cx="615449" cy="54706"/>
              </a:xfrm>
              <a:custGeom>
                <a:avLst/>
                <a:gdLst>
                  <a:gd name="T0" fmla="*/ 123 w 415"/>
                  <a:gd name="T1" fmla="*/ 0 h 34"/>
                  <a:gd name="T2" fmla="*/ 415 w 415"/>
                  <a:gd name="T3" fmla="*/ 29 h 34"/>
                  <a:gd name="T4" fmla="*/ 383 w 415"/>
                  <a:gd name="T5" fmla="*/ 34 h 34"/>
                  <a:gd name="T6" fmla="*/ 0 w 415"/>
                  <a:gd name="T7" fmla="*/ 18 h 34"/>
                  <a:gd name="T8" fmla="*/ 123 w 415"/>
                  <a:gd name="T9" fmla="*/ 0 h 34"/>
                </a:gdLst>
                <a:ahLst/>
                <a:cxnLst>
                  <a:cxn ang="0">
                    <a:pos x="T0" y="T1"/>
                  </a:cxn>
                  <a:cxn ang="0">
                    <a:pos x="T2" y="T3"/>
                  </a:cxn>
                  <a:cxn ang="0">
                    <a:pos x="T4" y="T5"/>
                  </a:cxn>
                  <a:cxn ang="0">
                    <a:pos x="T6" y="T7"/>
                  </a:cxn>
                  <a:cxn ang="0">
                    <a:pos x="T8" y="T9"/>
                  </a:cxn>
                </a:cxnLst>
                <a:rect l="0" t="0" r="r" b="b"/>
                <a:pathLst>
                  <a:path w="415" h="34">
                    <a:moveTo>
                      <a:pt x="123" y="0"/>
                    </a:moveTo>
                    <a:cubicBezTo>
                      <a:pt x="415" y="29"/>
                      <a:pt x="415" y="29"/>
                      <a:pt x="415" y="29"/>
                    </a:cubicBezTo>
                    <a:cubicBezTo>
                      <a:pt x="401" y="30"/>
                      <a:pt x="391" y="32"/>
                      <a:pt x="383" y="34"/>
                    </a:cubicBezTo>
                    <a:cubicBezTo>
                      <a:pt x="0" y="18"/>
                      <a:pt x="0" y="18"/>
                      <a:pt x="0" y="18"/>
                    </a:cubicBezTo>
                    <a:cubicBezTo>
                      <a:pt x="28" y="11"/>
                      <a:pt x="70" y="5"/>
                      <a:pt x="123"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40" name="iŝľïḓê"/>
              <p:cNvSpPr/>
              <p:nvPr/>
            </p:nvSpPr>
            <p:spPr bwMode="auto">
              <a:xfrm>
                <a:off x="-1580344" y="2706590"/>
                <a:ext cx="630474" cy="34191"/>
              </a:xfrm>
              <a:custGeom>
                <a:avLst/>
                <a:gdLst>
                  <a:gd name="T0" fmla="*/ 42 w 425"/>
                  <a:gd name="T1" fmla="*/ 0 h 21"/>
                  <a:gd name="T2" fmla="*/ 0 w 425"/>
                  <a:gd name="T3" fmla="*/ 21 h 21"/>
                  <a:gd name="T4" fmla="*/ 414 w 425"/>
                  <a:gd name="T5" fmla="*/ 21 h 21"/>
                  <a:gd name="T6" fmla="*/ 425 w 425"/>
                  <a:gd name="T7" fmla="*/ 16 h 21"/>
                  <a:gd name="T8" fmla="*/ 42 w 425"/>
                  <a:gd name="T9" fmla="*/ 0 h 21"/>
                </a:gdLst>
                <a:ahLst/>
                <a:cxnLst>
                  <a:cxn ang="0">
                    <a:pos x="T0" y="T1"/>
                  </a:cxn>
                  <a:cxn ang="0">
                    <a:pos x="T2" y="T3"/>
                  </a:cxn>
                  <a:cxn ang="0">
                    <a:pos x="T4" y="T5"/>
                  </a:cxn>
                  <a:cxn ang="0">
                    <a:pos x="T6" y="T7"/>
                  </a:cxn>
                  <a:cxn ang="0">
                    <a:pos x="T8" y="T9"/>
                  </a:cxn>
                </a:cxnLst>
                <a:rect l="0" t="0" r="r" b="b"/>
                <a:pathLst>
                  <a:path w="425" h="21">
                    <a:moveTo>
                      <a:pt x="42" y="0"/>
                    </a:moveTo>
                    <a:cubicBezTo>
                      <a:pt x="15" y="7"/>
                      <a:pt x="0" y="14"/>
                      <a:pt x="0" y="21"/>
                    </a:cubicBezTo>
                    <a:cubicBezTo>
                      <a:pt x="414" y="21"/>
                      <a:pt x="414" y="21"/>
                      <a:pt x="414" y="21"/>
                    </a:cubicBezTo>
                    <a:cubicBezTo>
                      <a:pt x="414" y="19"/>
                      <a:pt x="418" y="18"/>
                      <a:pt x="425" y="16"/>
                    </a:cubicBez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41" name="î$ľïḍê"/>
              <p:cNvSpPr/>
              <p:nvPr/>
            </p:nvSpPr>
            <p:spPr bwMode="auto">
              <a:xfrm>
                <a:off x="-1580344" y="2740783"/>
                <a:ext cx="614195" cy="61545"/>
              </a:xfrm>
              <a:prstGeom prst="rect">
                <a:avLst/>
              </a:pr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42" name="íṧļïďê"/>
              <p:cNvSpPr/>
              <p:nvPr/>
            </p:nvSpPr>
            <p:spPr bwMode="auto">
              <a:xfrm>
                <a:off x="-1517735" y="2647098"/>
                <a:ext cx="567865" cy="85477"/>
              </a:xfrm>
              <a:custGeom>
                <a:avLst/>
                <a:gdLst>
                  <a:gd name="T0" fmla="*/ 907 w 907"/>
                  <a:gd name="T1" fmla="*/ 125 h 125"/>
                  <a:gd name="T2" fmla="*/ 0 w 907"/>
                  <a:gd name="T3" fmla="*/ 87 h 125"/>
                  <a:gd name="T4" fmla="*/ 0 w 907"/>
                  <a:gd name="T5" fmla="*/ 0 h 125"/>
                  <a:gd name="T6" fmla="*/ 907 w 907"/>
                  <a:gd name="T7" fmla="*/ 35 h 125"/>
                  <a:gd name="T8" fmla="*/ 907 w 907"/>
                  <a:gd name="T9" fmla="*/ 125 h 125"/>
                </a:gdLst>
                <a:ahLst/>
                <a:cxnLst>
                  <a:cxn ang="0">
                    <a:pos x="T0" y="T1"/>
                  </a:cxn>
                  <a:cxn ang="0">
                    <a:pos x="T2" y="T3"/>
                  </a:cxn>
                  <a:cxn ang="0">
                    <a:pos x="T4" y="T5"/>
                  </a:cxn>
                  <a:cxn ang="0">
                    <a:pos x="T6" y="T7"/>
                  </a:cxn>
                  <a:cxn ang="0">
                    <a:pos x="T8" y="T9"/>
                  </a:cxn>
                </a:cxnLst>
                <a:rect l="0" t="0" r="r" b="b"/>
                <a:pathLst>
                  <a:path w="907" h="125">
                    <a:moveTo>
                      <a:pt x="907" y="125"/>
                    </a:moveTo>
                    <a:lnTo>
                      <a:pt x="0" y="87"/>
                    </a:lnTo>
                    <a:lnTo>
                      <a:pt x="0" y="0"/>
                    </a:lnTo>
                    <a:lnTo>
                      <a:pt x="907" y="35"/>
                    </a:lnTo>
                    <a:lnTo>
                      <a:pt x="907" y="125"/>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43" name="ïśľîḓe"/>
              <p:cNvSpPr/>
              <p:nvPr/>
            </p:nvSpPr>
            <p:spPr bwMode="auto">
              <a:xfrm>
                <a:off x="-1335543" y="2556150"/>
                <a:ext cx="433255" cy="108728"/>
              </a:xfrm>
              <a:custGeom>
                <a:avLst/>
                <a:gdLst>
                  <a:gd name="T0" fmla="*/ 692 w 692"/>
                  <a:gd name="T1" fmla="*/ 159 h 159"/>
                  <a:gd name="T2" fmla="*/ 0 w 692"/>
                  <a:gd name="T3" fmla="*/ 88 h 159"/>
                  <a:gd name="T4" fmla="*/ 0 w 692"/>
                  <a:gd name="T5" fmla="*/ 0 h 159"/>
                  <a:gd name="T6" fmla="*/ 692 w 692"/>
                  <a:gd name="T7" fmla="*/ 69 h 159"/>
                  <a:gd name="T8" fmla="*/ 692 w 692"/>
                  <a:gd name="T9" fmla="*/ 159 h 159"/>
                </a:gdLst>
                <a:ahLst/>
                <a:cxnLst>
                  <a:cxn ang="0">
                    <a:pos x="T0" y="T1"/>
                  </a:cxn>
                  <a:cxn ang="0">
                    <a:pos x="T2" y="T3"/>
                  </a:cxn>
                  <a:cxn ang="0">
                    <a:pos x="T4" y="T5"/>
                  </a:cxn>
                  <a:cxn ang="0">
                    <a:pos x="T6" y="T7"/>
                  </a:cxn>
                  <a:cxn ang="0">
                    <a:pos x="T8" y="T9"/>
                  </a:cxn>
                </a:cxnLst>
                <a:rect l="0" t="0" r="r" b="b"/>
                <a:pathLst>
                  <a:path w="692" h="159">
                    <a:moveTo>
                      <a:pt x="692" y="159"/>
                    </a:moveTo>
                    <a:lnTo>
                      <a:pt x="0" y="88"/>
                    </a:lnTo>
                    <a:lnTo>
                      <a:pt x="0" y="0"/>
                    </a:lnTo>
                    <a:lnTo>
                      <a:pt x="692" y="69"/>
                    </a:lnTo>
                    <a:lnTo>
                      <a:pt x="692" y="159"/>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44" name="ïsḻiďe"/>
              <p:cNvSpPr/>
              <p:nvPr/>
            </p:nvSpPr>
            <p:spPr bwMode="auto">
              <a:xfrm>
                <a:off x="-1070080" y="2475459"/>
                <a:ext cx="237288" cy="123087"/>
              </a:xfrm>
              <a:custGeom>
                <a:avLst/>
                <a:gdLst>
                  <a:gd name="T0" fmla="*/ 379 w 379"/>
                  <a:gd name="T1" fmla="*/ 180 h 180"/>
                  <a:gd name="T2" fmla="*/ 0 w 379"/>
                  <a:gd name="T3" fmla="*/ 90 h 180"/>
                  <a:gd name="T4" fmla="*/ 0 w 379"/>
                  <a:gd name="T5" fmla="*/ 0 h 180"/>
                  <a:gd name="T6" fmla="*/ 379 w 379"/>
                  <a:gd name="T7" fmla="*/ 90 h 180"/>
                  <a:gd name="T8" fmla="*/ 379 w 379"/>
                  <a:gd name="T9" fmla="*/ 180 h 180"/>
                </a:gdLst>
                <a:ahLst/>
                <a:cxnLst>
                  <a:cxn ang="0">
                    <a:pos x="T0" y="T1"/>
                  </a:cxn>
                  <a:cxn ang="0">
                    <a:pos x="T2" y="T3"/>
                  </a:cxn>
                  <a:cxn ang="0">
                    <a:pos x="T4" y="T5"/>
                  </a:cxn>
                  <a:cxn ang="0">
                    <a:pos x="T6" y="T7"/>
                  </a:cxn>
                  <a:cxn ang="0">
                    <a:pos x="T8" y="T9"/>
                  </a:cxn>
                </a:cxnLst>
                <a:rect l="0" t="0" r="r" b="b"/>
                <a:pathLst>
                  <a:path w="379" h="180">
                    <a:moveTo>
                      <a:pt x="379" y="180"/>
                    </a:moveTo>
                    <a:lnTo>
                      <a:pt x="0" y="90"/>
                    </a:lnTo>
                    <a:lnTo>
                      <a:pt x="0" y="0"/>
                    </a:lnTo>
                    <a:lnTo>
                      <a:pt x="379" y="90"/>
                    </a:lnTo>
                    <a:lnTo>
                      <a:pt x="379" y="180"/>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45" name="išḻïḑé"/>
              <p:cNvSpPr/>
              <p:nvPr/>
            </p:nvSpPr>
            <p:spPr bwMode="auto">
              <a:xfrm>
                <a:off x="-1338675" y="2879597"/>
                <a:ext cx="436385" cy="106677"/>
              </a:xfrm>
              <a:custGeom>
                <a:avLst/>
                <a:gdLst>
                  <a:gd name="T0" fmla="*/ 697 w 697"/>
                  <a:gd name="T1" fmla="*/ 88 h 156"/>
                  <a:gd name="T2" fmla="*/ 0 w 697"/>
                  <a:gd name="T3" fmla="*/ 156 h 156"/>
                  <a:gd name="T4" fmla="*/ 0 w 697"/>
                  <a:gd name="T5" fmla="*/ 69 h 156"/>
                  <a:gd name="T6" fmla="*/ 697 w 697"/>
                  <a:gd name="T7" fmla="*/ 0 h 156"/>
                  <a:gd name="T8" fmla="*/ 697 w 697"/>
                  <a:gd name="T9" fmla="*/ 88 h 156"/>
                </a:gdLst>
                <a:ahLst/>
                <a:cxnLst>
                  <a:cxn ang="0">
                    <a:pos x="T0" y="T1"/>
                  </a:cxn>
                  <a:cxn ang="0">
                    <a:pos x="T2" y="T3"/>
                  </a:cxn>
                  <a:cxn ang="0">
                    <a:pos x="T4" y="T5"/>
                  </a:cxn>
                  <a:cxn ang="0">
                    <a:pos x="T6" y="T7"/>
                  </a:cxn>
                  <a:cxn ang="0">
                    <a:pos x="T8" y="T9"/>
                  </a:cxn>
                </a:cxnLst>
                <a:rect l="0" t="0" r="r" b="b"/>
                <a:pathLst>
                  <a:path w="697" h="156">
                    <a:moveTo>
                      <a:pt x="697" y="88"/>
                    </a:moveTo>
                    <a:lnTo>
                      <a:pt x="0" y="156"/>
                    </a:lnTo>
                    <a:lnTo>
                      <a:pt x="0" y="69"/>
                    </a:lnTo>
                    <a:lnTo>
                      <a:pt x="697" y="0"/>
                    </a:lnTo>
                    <a:lnTo>
                      <a:pt x="697" y="88"/>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46" name="îšlidè"/>
              <p:cNvSpPr/>
              <p:nvPr/>
            </p:nvSpPr>
            <p:spPr bwMode="auto">
              <a:xfrm>
                <a:off x="-1063819" y="2945928"/>
                <a:ext cx="231027" cy="121721"/>
              </a:xfrm>
              <a:custGeom>
                <a:avLst/>
                <a:gdLst>
                  <a:gd name="T0" fmla="*/ 369 w 369"/>
                  <a:gd name="T1" fmla="*/ 88 h 178"/>
                  <a:gd name="T2" fmla="*/ 0 w 369"/>
                  <a:gd name="T3" fmla="*/ 178 h 178"/>
                  <a:gd name="T4" fmla="*/ 0 w 369"/>
                  <a:gd name="T5" fmla="*/ 88 h 178"/>
                  <a:gd name="T6" fmla="*/ 369 w 369"/>
                  <a:gd name="T7" fmla="*/ 0 h 178"/>
                  <a:gd name="T8" fmla="*/ 369 w 369"/>
                  <a:gd name="T9" fmla="*/ 88 h 178"/>
                </a:gdLst>
                <a:ahLst/>
                <a:cxnLst>
                  <a:cxn ang="0">
                    <a:pos x="T0" y="T1"/>
                  </a:cxn>
                  <a:cxn ang="0">
                    <a:pos x="T2" y="T3"/>
                  </a:cxn>
                  <a:cxn ang="0">
                    <a:pos x="T4" y="T5"/>
                  </a:cxn>
                  <a:cxn ang="0">
                    <a:pos x="T6" y="T7"/>
                  </a:cxn>
                  <a:cxn ang="0">
                    <a:pos x="T8" y="T9"/>
                  </a:cxn>
                </a:cxnLst>
                <a:rect l="0" t="0" r="r" b="b"/>
                <a:pathLst>
                  <a:path w="369" h="178">
                    <a:moveTo>
                      <a:pt x="369" y="88"/>
                    </a:moveTo>
                    <a:lnTo>
                      <a:pt x="0" y="178"/>
                    </a:lnTo>
                    <a:lnTo>
                      <a:pt x="0" y="88"/>
                    </a:lnTo>
                    <a:lnTo>
                      <a:pt x="369" y="0"/>
                    </a:lnTo>
                    <a:lnTo>
                      <a:pt x="369" y="88"/>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47" name="iş1îḍê"/>
              <p:cNvSpPr/>
              <p:nvPr/>
            </p:nvSpPr>
            <p:spPr bwMode="auto">
              <a:xfrm>
                <a:off x="-1515230" y="2872076"/>
                <a:ext cx="612943" cy="54706"/>
              </a:xfrm>
              <a:custGeom>
                <a:avLst/>
                <a:gdLst>
                  <a:gd name="T0" fmla="*/ 382 w 413"/>
                  <a:gd name="T1" fmla="*/ 0 h 34"/>
                  <a:gd name="T2" fmla="*/ 413 w 413"/>
                  <a:gd name="T3" fmla="*/ 5 h 34"/>
                  <a:gd name="T4" fmla="*/ 121 w 413"/>
                  <a:gd name="T5" fmla="*/ 34 h 34"/>
                  <a:gd name="T6" fmla="*/ 0 w 413"/>
                  <a:gd name="T7" fmla="*/ 16 h 34"/>
                  <a:gd name="T8" fmla="*/ 382 w 413"/>
                  <a:gd name="T9" fmla="*/ 0 h 34"/>
                </a:gdLst>
                <a:ahLst/>
                <a:cxnLst>
                  <a:cxn ang="0">
                    <a:pos x="T0" y="T1"/>
                  </a:cxn>
                  <a:cxn ang="0">
                    <a:pos x="T2" y="T3"/>
                  </a:cxn>
                  <a:cxn ang="0">
                    <a:pos x="T4" y="T5"/>
                  </a:cxn>
                  <a:cxn ang="0">
                    <a:pos x="T6" y="T7"/>
                  </a:cxn>
                  <a:cxn ang="0">
                    <a:pos x="T8" y="T9"/>
                  </a:cxn>
                </a:cxnLst>
                <a:rect l="0" t="0" r="r" b="b"/>
                <a:pathLst>
                  <a:path w="413" h="34">
                    <a:moveTo>
                      <a:pt x="382" y="0"/>
                    </a:moveTo>
                    <a:cubicBezTo>
                      <a:pt x="389" y="2"/>
                      <a:pt x="400" y="4"/>
                      <a:pt x="413" y="5"/>
                    </a:cubicBezTo>
                    <a:cubicBezTo>
                      <a:pt x="121" y="34"/>
                      <a:pt x="121" y="34"/>
                      <a:pt x="121" y="34"/>
                    </a:cubicBezTo>
                    <a:cubicBezTo>
                      <a:pt x="70" y="29"/>
                      <a:pt x="28" y="23"/>
                      <a:pt x="0" y="16"/>
                    </a:cubicBezTo>
                    <a:lnTo>
                      <a:pt x="382"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48" name="ïŝḷïďé"/>
              <p:cNvSpPr/>
              <p:nvPr/>
            </p:nvSpPr>
            <p:spPr bwMode="auto">
              <a:xfrm>
                <a:off x="-1338675" y="2939774"/>
                <a:ext cx="505881" cy="66330"/>
              </a:xfrm>
              <a:custGeom>
                <a:avLst/>
                <a:gdLst>
                  <a:gd name="T0" fmla="*/ 293 w 341"/>
                  <a:gd name="T1" fmla="*/ 0 h 41"/>
                  <a:gd name="T2" fmla="*/ 341 w 341"/>
                  <a:gd name="T3" fmla="*/ 4 h 41"/>
                  <a:gd name="T4" fmla="*/ 185 w 341"/>
                  <a:gd name="T5" fmla="*/ 41 h 41"/>
                  <a:gd name="T6" fmla="*/ 0 w 341"/>
                  <a:gd name="T7" fmla="*/ 29 h 41"/>
                  <a:gd name="T8" fmla="*/ 293 w 341"/>
                  <a:gd name="T9" fmla="*/ 0 h 41"/>
                </a:gdLst>
                <a:ahLst/>
                <a:cxnLst>
                  <a:cxn ang="0">
                    <a:pos x="T0" y="T1"/>
                  </a:cxn>
                  <a:cxn ang="0">
                    <a:pos x="T2" y="T3"/>
                  </a:cxn>
                  <a:cxn ang="0">
                    <a:pos x="T4" y="T5"/>
                  </a:cxn>
                  <a:cxn ang="0">
                    <a:pos x="T6" y="T7"/>
                  </a:cxn>
                  <a:cxn ang="0">
                    <a:pos x="T8" y="T9"/>
                  </a:cxn>
                </a:cxnLst>
                <a:rect l="0" t="0" r="r" b="b"/>
                <a:pathLst>
                  <a:path w="341" h="41">
                    <a:moveTo>
                      <a:pt x="293" y="0"/>
                    </a:moveTo>
                    <a:cubicBezTo>
                      <a:pt x="306" y="2"/>
                      <a:pt x="323" y="3"/>
                      <a:pt x="341" y="4"/>
                    </a:cubicBezTo>
                    <a:cubicBezTo>
                      <a:pt x="185" y="41"/>
                      <a:pt x="185" y="41"/>
                      <a:pt x="185" y="41"/>
                    </a:cubicBezTo>
                    <a:cubicBezTo>
                      <a:pt x="115" y="39"/>
                      <a:pt x="52" y="34"/>
                      <a:pt x="0" y="29"/>
                    </a:cubicBezTo>
                    <a:lnTo>
                      <a:pt x="293"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49" name="îṩḻídé"/>
              <p:cNvSpPr/>
              <p:nvPr/>
            </p:nvSpPr>
            <p:spPr bwMode="auto">
              <a:xfrm>
                <a:off x="-1063819" y="3006105"/>
                <a:ext cx="314298" cy="67698"/>
              </a:xfrm>
              <a:custGeom>
                <a:avLst/>
                <a:gdLst>
                  <a:gd name="T0" fmla="*/ 156 w 212"/>
                  <a:gd name="T1" fmla="*/ 0 h 42"/>
                  <a:gd name="T2" fmla="*/ 212 w 212"/>
                  <a:gd name="T3" fmla="*/ 1 h 42"/>
                  <a:gd name="T4" fmla="*/ 212 w 212"/>
                  <a:gd name="T5" fmla="*/ 42 h 42"/>
                  <a:gd name="T6" fmla="*/ 0 w 212"/>
                  <a:gd name="T7" fmla="*/ 38 h 42"/>
                  <a:gd name="T8" fmla="*/ 156 w 212"/>
                  <a:gd name="T9" fmla="*/ 0 h 42"/>
                </a:gdLst>
                <a:ahLst/>
                <a:cxnLst>
                  <a:cxn ang="0">
                    <a:pos x="T0" y="T1"/>
                  </a:cxn>
                  <a:cxn ang="0">
                    <a:pos x="T2" y="T3"/>
                  </a:cxn>
                  <a:cxn ang="0">
                    <a:pos x="T4" y="T5"/>
                  </a:cxn>
                  <a:cxn ang="0">
                    <a:pos x="T6" y="T7"/>
                  </a:cxn>
                  <a:cxn ang="0">
                    <a:pos x="T8" y="T9"/>
                  </a:cxn>
                </a:cxnLst>
                <a:rect l="0" t="0" r="r" b="b"/>
                <a:pathLst>
                  <a:path w="212" h="42">
                    <a:moveTo>
                      <a:pt x="156" y="0"/>
                    </a:moveTo>
                    <a:cubicBezTo>
                      <a:pt x="173" y="1"/>
                      <a:pt x="192" y="1"/>
                      <a:pt x="212" y="1"/>
                    </a:cubicBezTo>
                    <a:cubicBezTo>
                      <a:pt x="212" y="42"/>
                      <a:pt x="212" y="42"/>
                      <a:pt x="212" y="42"/>
                    </a:cubicBezTo>
                    <a:cubicBezTo>
                      <a:pt x="137" y="42"/>
                      <a:pt x="65" y="41"/>
                      <a:pt x="0" y="38"/>
                    </a:cubicBezTo>
                    <a:lnTo>
                      <a:pt x="15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50" name="ïṥlíḓé"/>
              <p:cNvSpPr/>
              <p:nvPr/>
            </p:nvSpPr>
            <p:spPr bwMode="auto">
              <a:xfrm>
                <a:off x="-547920" y="3229032"/>
                <a:ext cx="631726" cy="34191"/>
              </a:xfrm>
              <a:custGeom>
                <a:avLst/>
                <a:gdLst>
                  <a:gd name="T0" fmla="*/ 11 w 426"/>
                  <a:gd name="T1" fmla="*/ 0 h 21"/>
                  <a:gd name="T2" fmla="*/ 426 w 426"/>
                  <a:gd name="T3" fmla="*/ 0 h 21"/>
                  <a:gd name="T4" fmla="*/ 383 w 426"/>
                  <a:gd name="T5" fmla="*/ 21 h 21"/>
                  <a:gd name="T6" fmla="*/ 0 w 426"/>
                  <a:gd name="T7" fmla="*/ 6 h 21"/>
                  <a:gd name="T8" fmla="*/ 11 w 426"/>
                  <a:gd name="T9" fmla="*/ 0 h 21"/>
                </a:gdLst>
                <a:ahLst/>
                <a:cxnLst>
                  <a:cxn ang="0">
                    <a:pos x="T0" y="T1"/>
                  </a:cxn>
                  <a:cxn ang="0">
                    <a:pos x="T2" y="T3"/>
                  </a:cxn>
                  <a:cxn ang="0">
                    <a:pos x="T4" y="T5"/>
                  </a:cxn>
                  <a:cxn ang="0">
                    <a:pos x="T6" y="T7"/>
                  </a:cxn>
                  <a:cxn ang="0">
                    <a:pos x="T8" y="T9"/>
                  </a:cxn>
                </a:cxnLst>
                <a:rect l="0" t="0" r="r" b="b"/>
                <a:pathLst>
                  <a:path w="426" h="21">
                    <a:moveTo>
                      <a:pt x="11" y="0"/>
                    </a:moveTo>
                    <a:cubicBezTo>
                      <a:pt x="426" y="0"/>
                      <a:pt x="426" y="0"/>
                      <a:pt x="426" y="0"/>
                    </a:cubicBezTo>
                    <a:cubicBezTo>
                      <a:pt x="426" y="8"/>
                      <a:pt x="410" y="15"/>
                      <a:pt x="383" y="21"/>
                    </a:cubicBezTo>
                    <a:cubicBezTo>
                      <a:pt x="0" y="6"/>
                      <a:pt x="0" y="6"/>
                      <a:pt x="0" y="6"/>
                    </a:cubicBezTo>
                    <a:cubicBezTo>
                      <a:pt x="7" y="4"/>
                      <a:pt x="11" y="2"/>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51" name="ïṣlïḋê"/>
              <p:cNvSpPr/>
              <p:nvPr/>
            </p:nvSpPr>
            <p:spPr bwMode="auto">
              <a:xfrm>
                <a:off x="-595503" y="3177744"/>
                <a:ext cx="615449" cy="53337"/>
              </a:xfrm>
              <a:custGeom>
                <a:avLst/>
                <a:gdLst>
                  <a:gd name="T0" fmla="*/ 32 w 415"/>
                  <a:gd name="T1" fmla="*/ 0 h 33"/>
                  <a:gd name="T2" fmla="*/ 415 w 415"/>
                  <a:gd name="T3" fmla="*/ 15 h 33"/>
                  <a:gd name="T4" fmla="*/ 293 w 415"/>
                  <a:gd name="T5" fmla="*/ 33 h 33"/>
                  <a:gd name="T6" fmla="*/ 0 w 415"/>
                  <a:gd name="T7" fmla="*/ 5 h 33"/>
                  <a:gd name="T8" fmla="*/ 32 w 415"/>
                  <a:gd name="T9" fmla="*/ 0 h 33"/>
                </a:gdLst>
                <a:ahLst/>
                <a:cxnLst>
                  <a:cxn ang="0">
                    <a:pos x="T0" y="T1"/>
                  </a:cxn>
                  <a:cxn ang="0">
                    <a:pos x="T2" y="T3"/>
                  </a:cxn>
                  <a:cxn ang="0">
                    <a:pos x="T4" y="T5"/>
                  </a:cxn>
                  <a:cxn ang="0">
                    <a:pos x="T6" y="T7"/>
                  </a:cxn>
                  <a:cxn ang="0">
                    <a:pos x="T8" y="T9"/>
                  </a:cxn>
                </a:cxnLst>
                <a:rect l="0" t="0" r="r" b="b"/>
                <a:pathLst>
                  <a:path w="415" h="33">
                    <a:moveTo>
                      <a:pt x="32" y="0"/>
                    </a:moveTo>
                    <a:cubicBezTo>
                      <a:pt x="415" y="15"/>
                      <a:pt x="415" y="15"/>
                      <a:pt x="415" y="15"/>
                    </a:cubicBezTo>
                    <a:cubicBezTo>
                      <a:pt x="387" y="22"/>
                      <a:pt x="345" y="28"/>
                      <a:pt x="293" y="33"/>
                    </a:cubicBezTo>
                    <a:cubicBezTo>
                      <a:pt x="0" y="5"/>
                      <a:pt x="0" y="5"/>
                      <a:pt x="0" y="5"/>
                    </a:cubicBezTo>
                    <a:cubicBezTo>
                      <a:pt x="14" y="3"/>
                      <a:pt x="25" y="2"/>
                      <a:pt x="32"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52" name="îŝliḑê"/>
              <p:cNvSpPr/>
              <p:nvPr/>
            </p:nvSpPr>
            <p:spPr bwMode="auto">
              <a:xfrm>
                <a:off x="-664999" y="3123721"/>
                <a:ext cx="504004" cy="66330"/>
              </a:xfrm>
              <a:custGeom>
                <a:avLst/>
                <a:gdLst>
                  <a:gd name="T0" fmla="*/ 47 w 340"/>
                  <a:gd name="T1" fmla="*/ 0 h 41"/>
                  <a:gd name="T2" fmla="*/ 340 w 340"/>
                  <a:gd name="T3" fmla="*/ 29 h 41"/>
                  <a:gd name="T4" fmla="*/ 160 w 340"/>
                  <a:gd name="T5" fmla="*/ 41 h 41"/>
                  <a:gd name="T6" fmla="*/ 0 w 340"/>
                  <a:gd name="T7" fmla="*/ 3 h 41"/>
                  <a:gd name="T8" fmla="*/ 47 w 340"/>
                  <a:gd name="T9" fmla="*/ 0 h 41"/>
                </a:gdLst>
                <a:ahLst/>
                <a:cxnLst>
                  <a:cxn ang="0">
                    <a:pos x="T0" y="T1"/>
                  </a:cxn>
                  <a:cxn ang="0">
                    <a:pos x="T2" y="T3"/>
                  </a:cxn>
                  <a:cxn ang="0">
                    <a:pos x="T4" y="T5"/>
                  </a:cxn>
                  <a:cxn ang="0">
                    <a:pos x="T6" y="T7"/>
                  </a:cxn>
                  <a:cxn ang="0">
                    <a:pos x="T8" y="T9"/>
                  </a:cxn>
                </a:cxnLst>
                <a:rect l="0" t="0" r="r" b="b"/>
                <a:pathLst>
                  <a:path w="340" h="41">
                    <a:moveTo>
                      <a:pt x="47" y="0"/>
                    </a:moveTo>
                    <a:cubicBezTo>
                      <a:pt x="340" y="29"/>
                      <a:pt x="340" y="29"/>
                      <a:pt x="340" y="29"/>
                    </a:cubicBezTo>
                    <a:cubicBezTo>
                      <a:pt x="289" y="34"/>
                      <a:pt x="228" y="38"/>
                      <a:pt x="160" y="41"/>
                    </a:cubicBezTo>
                    <a:cubicBezTo>
                      <a:pt x="0" y="3"/>
                      <a:pt x="0" y="3"/>
                      <a:pt x="0" y="3"/>
                    </a:cubicBezTo>
                    <a:cubicBezTo>
                      <a:pt x="18" y="2"/>
                      <a:pt x="34" y="1"/>
                      <a:pt x="4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53" name="ïśḷiḋe"/>
              <p:cNvSpPr/>
              <p:nvPr/>
            </p:nvSpPr>
            <p:spPr bwMode="auto">
              <a:xfrm>
                <a:off x="-749522" y="3067650"/>
                <a:ext cx="321811" cy="67698"/>
              </a:xfrm>
              <a:custGeom>
                <a:avLst/>
                <a:gdLst>
                  <a:gd name="T0" fmla="*/ 57 w 217"/>
                  <a:gd name="T1" fmla="*/ 0 h 42"/>
                  <a:gd name="T2" fmla="*/ 217 w 217"/>
                  <a:gd name="T3" fmla="*/ 38 h 42"/>
                  <a:gd name="T4" fmla="*/ 0 w 217"/>
                  <a:gd name="T5" fmla="*/ 42 h 42"/>
                  <a:gd name="T6" fmla="*/ 0 w 217"/>
                  <a:gd name="T7" fmla="*/ 1 h 42"/>
                  <a:gd name="T8" fmla="*/ 57 w 217"/>
                  <a:gd name="T9" fmla="*/ 0 h 42"/>
                </a:gdLst>
                <a:ahLst/>
                <a:cxnLst>
                  <a:cxn ang="0">
                    <a:pos x="T0" y="T1"/>
                  </a:cxn>
                  <a:cxn ang="0">
                    <a:pos x="T2" y="T3"/>
                  </a:cxn>
                  <a:cxn ang="0">
                    <a:pos x="T4" y="T5"/>
                  </a:cxn>
                  <a:cxn ang="0">
                    <a:pos x="T6" y="T7"/>
                  </a:cxn>
                  <a:cxn ang="0">
                    <a:pos x="T8" y="T9"/>
                  </a:cxn>
                </a:cxnLst>
                <a:rect l="0" t="0" r="r" b="b"/>
                <a:pathLst>
                  <a:path w="217" h="42">
                    <a:moveTo>
                      <a:pt x="57" y="0"/>
                    </a:moveTo>
                    <a:cubicBezTo>
                      <a:pt x="217" y="38"/>
                      <a:pt x="217" y="38"/>
                      <a:pt x="217" y="38"/>
                    </a:cubicBezTo>
                    <a:cubicBezTo>
                      <a:pt x="150" y="40"/>
                      <a:pt x="77" y="42"/>
                      <a:pt x="0" y="42"/>
                    </a:cubicBezTo>
                    <a:cubicBezTo>
                      <a:pt x="0" y="1"/>
                      <a:pt x="0" y="1"/>
                      <a:pt x="0" y="1"/>
                    </a:cubicBezTo>
                    <a:cubicBezTo>
                      <a:pt x="20" y="1"/>
                      <a:pt x="39" y="1"/>
                      <a:pt x="5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63" name="ïṩlîdé"/>
              <p:cNvSpPr/>
              <p:nvPr/>
            </p:nvSpPr>
            <p:spPr bwMode="auto">
              <a:xfrm>
                <a:off x="-969279" y="2359208"/>
                <a:ext cx="437637" cy="495089"/>
              </a:xfrm>
              <a:custGeom>
                <a:avLst/>
                <a:gdLst>
                  <a:gd name="T0" fmla="*/ 284 w 295"/>
                  <a:gd name="T1" fmla="*/ 4 h 306"/>
                  <a:gd name="T2" fmla="*/ 253 w 295"/>
                  <a:gd name="T3" fmla="*/ 0 h 306"/>
                  <a:gd name="T4" fmla="*/ 253 w 295"/>
                  <a:gd name="T5" fmla="*/ 38 h 306"/>
                  <a:gd name="T6" fmla="*/ 242 w 295"/>
                  <a:gd name="T7" fmla="*/ 37 h 306"/>
                  <a:gd name="T8" fmla="*/ 232 w 295"/>
                  <a:gd name="T9" fmla="*/ 36 h 306"/>
                  <a:gd name="T10" fmla="*/ 222 w 295"/>
                  <a:gd name="T11" fmla="*/ 35 h 306"/>
                  <a:gd name="T12" fmla="*/ 213 w 295"/>
                  <a:gd name="T13" fmla="*/ 35 h 306"/>
                  <a:gd name="T14" fmla="*/ 205 w 295"/>
                  <a:gd name="T15" fmla="*/ 35 h 306"/>
                  <a:gd name="T16" fmla="*/ 205 w 295"/>
                  <a:gd name="T17" fmla="*/ 72 h 306"/>
                  <a:gd name="T18" fmla="*/ 203 w 295"/>
                  <a:gd name="T19" fmla="*/ 72 h 306"/>
                  <a:gd name="T20" fmla="*/ 194 w 295"/>
                  <a:gd name="T21" fmla="*/ 72 h 306"/>
                  <a:gd name="T22" fmla="*/ 185 w 295"/>
                  <a:gd name="T23" fmla="*/ 72 h 306"/>
                  <a:gd name="T24" fmla="*/ 176 w 295"/>
                  <a:gd name="T25" fmla="*/ 71 h 306"/>
                  <a:gd name="T26" fmla="*/ 166 w 295"/>
                  <a:gd name="T27" fmla="*/ 71 h 306"/>
                  <a:gd name="T28" fmla="*/ 156 w 295"/>
                  <a:gd name="T29" fmla="*/ 71 h 306"/>
                  <a:gd name="T30" fmla="*/ 149 w 295"/>
                  <a:gd name="T31" fmla="*/ 71 h 306"/>
                  <a:gd name="T32" fmla="*/ 149 w 295"/>
                  <a:gd name="T33" fmla="*/ 109 h 306"/>
                  <a:gd name="T34" fmla="*/ 146 w 295"/>
                  <a:gd name="T35" fmla="*/ 109 h 306"/>
                  <a:gd name="T36" fmla="*/ 135 w 295"/>
                  <a:gd name="T37" fmla="*/ 109 h 306"/>
                  <a:gd name="T38" fmla="*/ 122 w 295"/>
                  <a:gd name="T39" fmla="*/ 109 h 306"/>
                  <a:gd name="T40" fmla="*/ 106 w 295"/>
                  <a:gd name="T41" fmla="*/ 110 h 306"/>
                  <a:gd name="T42" fmla="*/ 92 w 295"/>
                  <a:gd name="T43" fmla="*/ 110 h 306"/>
                  <a:gd name="T44" fmla="*/ 92 w 295"/>
                  <a:gd name="T45" fmla="*/ 148 h 306"/>
                  <a:gd name="T46" fmla="*/ 54 w 295"/>
                  <a:gd name="T47" fmla="*/ 150 h 306"/>
                  <a:gd name="T48" fmla="*/ 45 w 295"/>
                  <a:gd name="T49" fmla="*/ 151 h 306"/>
                  <a:gd name="T50" fmla="*/ 45 w 295"/>
                  <a:gd name="T51" fmla="*/ 188 h 306"/>
                  <a:gd name="T52" fmla="*/ 40 w 295"/>
                  <a:gd name="T53" fmla="*/ 188 h 306"/>
                  <a:gd name="T54" fmla="*/ 31 w 295"/>
                  <a:gd name="T55" fmla="*/ 190 h 306"/>
                  <a:gd name="T56" fmla="*/ 24 w 295"/>
                  <a:gd name="T57" fmla="*/ 191 h 306"/>
                  <a:gd name="T58" fmla="*/ 19 w 295"/>
                  <a:gd name="T59" fmla="*/ 192 h 306"/>
                  <a:gd name="T60" fmla="*/ 14 w 295"/>
                  <a:gd name="T61" fmla="*/ 192 h 306"/>
                  <a:gd name="T62" fmla="*/ 13 w 295"/>
                  <a:gd name="T63" fmla="*/ 193 h 306"/>
                  <a:gd name="T64" fmla="*/ 13 w 295"/>
                  <a:gd name="T65" fmla="*/ 231 h 306"/>
                  <a:gd name="T66" fmla="*/ 13 w 295"/>
                  <a:gd name="T67" fmla="*/ 231 h 306"/>
                  <a:gd name="T68" fmla="*/ 11 w 295"/>
                  <a:gd name="T69" fmla="*/ 231 h 306"/>
                  <a:gd name="T70" fmla="*/ 8 w 295"/>
                  <a:gd name="T71" fmla="*/ 232 h 306"/>
                  <a:gd name="T72" fmla="*/ 5 w 295"/>
                  <a:gd name="T73" fmla="*/ 233 h 306"/>
                  <a:gd name="T74" fmla="*/ 4 w 295"/>
                  <a:gd name="T75" fmla="*/ 234 h 306"/>
                  <a:gd name="T76" fmla="*/ 2 w 295"/>
                  <a:gd name="T77" fmla="*/ 235 h 306"/>
                  <a:gd name="T78" fmla="*/ 2 w 295"/>
                  <a:gd name="T79" fmla="*/ 236 h 306"/>
                  <a:gd name="T80" fmla="*/ 2 w 295"/>
                  <a:gd name="T81" fmla="*/ 274 h 306"/>
                  <a:gd name="T82" fmla="*/ 13 w 295"/>
                  <a:gd name="T83" fmla="*/ 306 h 306"/>
                  <a:gd name="T84" fmla="*/ 127 w 295"/>
                  <a:gd name="T85" fmla="*/ 176 h 306"/>
                  <a:gd name="T86" fmla="*/ 127 w 295"/>
                  <a:gd name="T87" fmla="*/ 176 h 306"/>
                  <a:gd name="T88" fmla="*/ 284 w 295"/>
                  <a:gd name="T89" fmla="*/ 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5" h="306">
                    <a:moveTo>
                      <a:pt x="284" y="4"/>
                    </a:moveTo>
                    <a:cubicBezTo>
                      <a:pt x="276" y="3"/>
                      <a:pt x="266" y="1"/>
                      <a:pt x="253" y="0"/>
                    </a:cubicBezTo>
                    <a:cubicBezTo>
                      <a:pt x="253" y="38"/>
                      <a:pt x="253" y="38"/>
                      <a:pt x="253" y="38"/>
                    </a:cubicBezTo>
                    <a:cubicBezTo>
                      <a:pt x="250" y="37"/>
                      <a:pt x="246" y="37"/>
                      <a:pt x="242" y="37"/>
                    </a:cubicBezTo>
                    <a:cubicBezTo>
                      <a:pt x="239" y="36"/>
                      <a:pt x="235" y="36"/>
                      <a:pt x="232" y="36"/>
                    </a:cubicBezTo>
                    <a:cubicBezTo>
                      <a:pt x="228" y="36"/>
                      <a:pt x="225" y="36"/>
                      <a:pt x="222" y="35"/>
                    </a:cubicBezTo>
                    <a:cubicBezTo>
                      <a:pt x="219" y="35"/>
                      <a:pt x="216" y="35"/>
                      <a:pt x="213" y="35"/>
                    </a:cubicBezTo>
                    <a:cubicBezTo>
                      <a:pt x="210" y="35"/>
                      <a:pt x="208" y="35"/>
                      <a:pt x="205" y="35"/>
                    </a:cubicBezTo>
                    <a:cubicBezTo>
                      <a:pt x="205" y="72"/>
                      <a:pt x="205" y="72"/>
                      <a:pt x="205" y="72"/>
                    </a:cubicBezTo>
                    <a:cubicBezTo>
                      <a:pt x="204" y="72"/>
                      <a:pt x="204" y="72"/>
                      <a:pt x="203" y="72"/>
                    </a:cubicBezTo>
                    <a:cubicBezTo>
                      <a:pt x="200" y="72"/>
                      <a:pt x="197" y="72"/>
                      <a:pt x="194" y="72"/>
                    </a:cubicBezTo>
                    <a:cubicBezTo>
                      <a:pt x="191" y="72"/>
                      <a:pt x="188" y="72"/>
                      <a:pt x="185" y="72"/>
                    </a:cubicBezTo>
                    <a:cubicBezTo>
                      <a:pt x="182" y="72"/>
                      <a:pt x="179" y="71"/>
                      <a:pt x="176" y="71"/>
                    </a:cubicBezTo>
                    <a:cubicBezTo>
                      <a:pt x="173" y="71"/>
                      <a:pt x="169" y="71"/>
                      <a:pt x="166" y="71"/>
                    </a:cubicBezTo>
                    <a:cubicBezTo>
                      <a:pt x="163" y="71"/>
                      <a:pt x="160" y="71"/>
                      <a:pt x="156" y="71"/>
                    </a:cubicBezTo>
                    <a:cubicBezTo>
                      <a:pt x="154" y="71"/>
                      <a:pt x="152" y="71"/>
                      <a:pt x="149" y="71"/>
                    </a:cubicBezTo>
                    <a:cubicBezTo>
                      <a:pt x="149" y="109"/>
                      <a:pt x="149" y="109"/>
                      <a:pt x="149" y="109"/>
                    </a:cubicBezTo>
                    <a:cubicBezTo>
                      <a:pt x="148" y="109"/>
                      <a:pt x="147" y="109"/>
                      <a:pt x="146" y="109"/>
                    </a:cubicBezTo>
                    <a:cubicBezTo>
                      <a:pt x="142" y="109"/>
                      <a:pt x="139" y="109"/>
                      <a:pt x="135" y="109"/>
                    </a:cubicBezTo>
                    <a:cubicBezTo>
                      <a:pt x="131" y="109"/>
                      <a:pt x="126" y="109"/>
                      <a:pt x="122" y="109"/>
                    </a:cubicBezTo>
                    <a:cubicBezTo>
                      <a:pt x="117" y="109"/>
                      <a:pt x="111" y="109"/>
                      <a:pt x="106" y="110"/>
                    </a:cubicBezTo>
                    <a:cubicBezTo>
                      <a:pt x="101" y="110"/>
                      <a:pt x="97" y="110"/>
                      <a:pt x="92" y="110"/>
                    </a:cubicBezTo>
                    <a:cubicBezTo>
                      <a:pt x="92" y="148"/>
                      <a:pt x="92" y="148"/>
                      <a:pt x="92" y="148"/>
                    </a:cubicBezTo>
                    <a:cubicBezTo>
                      <a:pt x="78" y="148"/>
                      <a:pt x="66" y="149"/>
                      <a:pt x="54" y="150"/>
                    </a:cubicBezTo>
                    <a:cubicBezTo>
                      <a:pt x="51" y="150"/>
                      <a:pt x="48" y="151"/>
                      <a:pt x="45" y="151"/>
                    </a:cubicBezTo>
                    <a:cubicBezTo>
                      <a:pt x="45" y="188"/>
                      <a:pt x="45" y="188"/>
                      <a:pt x="45" y="188"/>
                    </a:cubicBezTo>
                    <a:cubicBezTo>
                      <a:pt x="43" y="188"/>
                      <a:pt x="42" y="188"/>
                      <a:pt x="40" y="188"/>
                    </a:cubicBezTo>
                    <a:cubicBezTo>
                      <a:pt x="37" y="189"/>
                      <a:pt x="34" y="189"/>
                      <a:pt x="31" y="190"/>
                    </a:cubicBezTo>
                    <a:cubicBezTo>
                      <a:pt x="29" y="190"/>
                      <a:pt x="26" y="190"/>
                      <a:pt x="24" y="191"/>
                    </a:cubicBezTo>
                    <a:cubicBezTo>
                      <a:pt x="22" y="191"/>
                      <a:pt x="20" y="191"/>
                      <a:pt x="19" y="192"/>
                    </a:cubicBezTo>
                    <a:cubicBezTo>
                      <a:pt x="17" y="192"/>
                      <a:pt x="16" y="192"/>
                      <a:pt x="14" y="192"/>
                    </a:cubicBezTo>
                    <a:cubicBezTo>
                      <a:pt x="14" y="193"/>
                      <a:pt x="13" y="193"/>
                      <a:pt x="13" y="193"/>
                    </a:cubicBezTo>
                    <a:cubicBezTo>
                      <a:pt x="13" y="231"/>
                      <a:pt x="13" y="231"/>
                      <a:pt x="13" y="231"/>
                    </a:cubicBezTo>
                    <a:cubicBezTo>
                      <a:pt x="13" y="231"/>
                      <a:pt x="13" y="231"/>
                      <a:pt x="13" y="231"/>
                    </a:cubicBezTo>
                    <a:cubicBezTo>
                      <a:pt x="12" y="231"/>
                      <a:pt x="11" y="231"/>
                      <a:pt x="11" y="231"/>
                    </a:cubicBezTo>
                    <a:cubicBezTo>
                      <a:pt x="10" y="232"/>
                      <a:pt x="9" y="232"/>
                      <a:pt x="8" y="232"/>
                    </a:cubicBezTo>
                    <a:cubicBezTo>
                      <a:pt x="7" y="233"/>
                      <a:pt x="6" y="233"/>
                      <a:pt x="5" y="233"/>
                    </a:cubicBezTo>
                    <a:cubicBezTo>
                      <a:pt x="5" y="234"/>
                      <a:pt x="4" y="234"/>
                      <a:pt x="4" y="234"/>
                    </a:cubicBezTo>
                    <a:cubicBezTo>
                      <a:pt x="3" y="234"/>
                      <a:pt x="3" y="235"/>
                      <a:pt x="2" y="235"/>
                    </a:cubicBezTo>
                    <a:cubicBezTo>
                      <a:pt x="2" y="236"/>
                      <a:pt x="2" y="236"/>
                      <a:pt x="2" y="236"/>
                    </a:cubicBezTo>
                    <a:cubicBezTo>
                      <a:pt x="2" y="274"/>
                      <a:pt x="2" y="274"/>
                      <a:pt x="2" y="274"/>
                    </a:cubicBezTo>
                    <a:cubicBezTo>
                      <a:pt x="13" y="306"/>
                      <a:pt x="13" y="306"/>
                      <a:pt x="13" y="306"/>
                    </a:cubicBezTo>
                    <a:cubicBezTo>
                      <a:pt x="13" y="306"/>
                      <a:pt x="0" y="233"/>
                      <a:pt x="127" y="176"/>
                    </a:cubicBezTo>
                    <a:cubicBezTo>
                      <a:pt x="127" y="176"/>
                      <a:pt x="127" y="176"/>
                      <a:pt x="127" y="176"/>
                    </a:cubicBezTo>
                    <a:cubicBezTo>
                      <a:pt x="263" y="92"/>
                      <a:pt x="295" y="39"/>
                      <a:pt x="284" y="4"/>
                    </a:cubicBezTo>
                    <a:close/>
                  </a:path>
                </a:pathLst>
              </a:custGeom>
              <a:gradFill>
                <a:gsLst>
                  <a:gs pos="100000">
                    <a:srgbClr val="FFFFFF"/>
                  </a:gs>
                  <a:gs pos="0">
                    <a:srgbClr val="FFFFFF">
                      <a:lumMod val="95000"/>
                    </a:srgbClr>
                  </a:gs>
                </a:gsLst>
                <a:lin ang="2700000" scaled="1"/>
              </a:gradFill>
              <a:ln w="19050">
                <a:noFill/>
              </a:ln>
              <a:effectLst>
                <a:outerShdw blurRad="139700" dist="38100" dir="5400000" algn="t" rotWithShape="0">
                  <a:prstClr val="black">
                    <a:alpha val="30000"/>
                  </a:prstClr>
                </a:outerShdw>
                <a:softEdge rad="0"/>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66" name="íŝḻíḓe"/>
              <p:cNvSpPr/>
              <p:nvPr/>
            </p:nvSpPr>
            <p:spPr bwMode="auto">
              <a:xfrm>
                <a:off x="-1580344" y="2802326"/>
                <a:ext cx="631726" cy="34191"/>
              </a:xfrm>
              <a:custGeom>
                <a:avLst/>
                <a:gdLst>
                  <a:gd name="T0" fmla="*/ 414 w 426"/>
                  <a:gd name="T1" fmla="*/ 0 h 21"/>
                  <a:gd name="T2" fmla="*/ 426 w 426"/>
                  <a:gd name="T3" fmla="*/ 6 h 21"/>
                  <a:gd name="T4" fmla="*/ 44 w 426"/>
                  <a:gd name="T5" fmla="*/ 21 h 21"/>
                  <a:gd name="T6" fmla="*/ 0 w 426"/>
                  <a:gd name="T7" fmla="*/ 0 h 21"/>
                  <a:gd name="T8" fmla="*/ 414 w 426"/>
                  <a:gd name="T9" fmla="*/ 0 h 21"/>
                </a:gdLst>
                <a:ahLst/>
                <a:cxnLst>
                  <a:cxn ang="0">
                    <a:pos x="T0" y="T1"/>
                  </a:cxn>
                  <a:cxn ang="0">
                    <a:pos x="T2" y="T3"/>
                  </a:cxn>
                  <a:cxn ang="0">
                    <a:pos x="T4" y="T5"/>
                  </a:cxn>
                  <a:cxn ang="0">
                    <a:pos x="T6" y="T7"/>
                  </a:cxn>
                  <a:cxn ang="0">
                    <a:pos x="T8" y="T9"/>
                  </a:cxn>
                </a:cxnLst>
                <a:rect l="0" t="0" r="r" b="b"/>
                <a:pathLst>
                  <a:path w="426" h="21">
                    <a:moveTo>
                      <a:pt x="414" y="0"/>
                    </a:moveTo>
                    <a:cubicBezTo>
                      <a:pt x="414" y="2"/>
                      <a:pt x="418" y="4"/>
                      <a:pt x="426" y="6"/>
                    </a:cubicBezTo>
                    <a:cubicBezTo>
                      <a:pt x="44" y="21"/>
                      <a:pt x="44" y="21"/>
                      <a:pt x="44" y="21"/>
                    </a:cubicBezTo>
                    <a:cubicBezTo>
                      <a:pt x="16" y="15"/>
                      <a:pt x="0" y="8"/>
                      <a:pt x="0" y="0"/>
                    </a:cubicBezTo>
                    <a:lnTo>
                      <a:pt x="414"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67" name="îṩḷïḑe"/>
              <p:cNvSpPr/>
              <p:nvPr/>
            </p:nvSpPr>
            <p:spPr bwMode="auto">
              <a:xfrm>
                <a:off x="-1515230" y="2810384"/>
                <a:ext cx="566612" cy="85477"/>
              </a:xfrm>
              <a:custGeom>
                <a:avLst/>
                <a:gdLst>
                  <a:gd name="T0" fmla="*/ 905 w 905"/>
                  <a:gd name="T1" fmla="*/ 88 h 125"/>
                  <a:gd name="T2" fmla="*/ 0 w 905"/>
                  <a:gd name="T3" fmla="*/ 125 h 125"/>
                  <a:gd name="T4" fmla="*/ 0 w 905"/>
                  <a:gd name="T5" fmla="*/ 36 h 125"/>
                  <a:gd name="T6" fmla="*/ 905 w 905"/>
                  <a:gd name="T7" fmla="*/ 0 h 125"/>
                  <a:gd name="T8" fmla="*/ 905 w 905"/>
                  <a:gd name="T9" fmla="*/ 88 h 125"/>
                </a:gdLst>
                <a:ahLst/>
                <a:cxnLst>
                  <a:cxn ang="0">
                    <a:pos x="T0" y="T1"/>
                  </a:cxn>
                  <a:cxn ang="0">
                    <a:pos x="T2" y="T3"/>
                  </a:cxn>
                  <a:cxn ang="0">
                    <a:pos x="T4" y="T5"/>
                  </a:cxn>
                  <a:cxn ang="0">
                    <a:pos x="T6" y="T7"/>
                  </a:cxn>
                  <a:cxn ang="0">
                    <a:pos x="T8" y="T9"/>
                  </a:cxn>
                </a:cxnLst>
                <a:rect l="0" t="0" r="r" b="b"/>
                <a:pathLst>
                  <a:path w="905" h="125">
                    <a:moveTo>
                      <a:pt x="905" y="88"/>
                    </a:moveTo>
                    <a:lnTo>
                      <a:pt x="0" y="125"/>
                    </a:lnTo>
                    <a:lnTo>
                      <a:pt x="0" y="36"/>
                    </a:lnTo>
                    <a:lnTo>
                      <a:pt x="905" y="0"/>
                    </a:lnTo>
                    <a:lnTo>
                      <a:pt x="905" y="88"/>
                    </a:lnTo>
                    <a:close/>
                  </a:path>
                </a:pathLst>
              </a:custGeom>
              <a:solidFill>
                <a:srgbClr val="FFFFFF">
                  <a:lumMod val="85000"/>
                </a:srgbClr>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sp>
            <p:nvSpPr>
              <p:cNvPr id="968" name="íŝľïḋé"/>
              <p:cNvSpPr/>
              <p:nvPr/>
            </p:nvSpPr>
            <p:spPr bwMode="auto">
              <a:xfrm>
                <a:off x="-1580344" y="2792543"/>
                <a:ext cx="1689819" cy="644844"/>
              </a:xfrm>
              <a:custGeom>
                <a:avLst/>
                <a:gdLst>
                  <a:gd name="T0" fmla="*/ 1122 w 1139"/>
                  <a:gd name="T1" fmla="*/ 399 h 399"/>
                  <a:gd name="T2" fmla="*/ 1122 w 1139"/>
                  <a:gd name="T3" fmla="*/ 265 h 399"/>
                  <a:gd name="T4" fmla="*/ 1122 w 1139"/>
                  <a:gd name="T5" fmla="*/ 265 h 399"/>
                  <a:gd name="T6" fmla="*/ 1119 w 1139"/>
                  <a:gd name="T7" fmla="*/ 269 h 399"/>
                  <a:gd name="T8" fmla="*/ 1115 w 1139"/>
                  <a:gd name="T9" fmla="*/ 273 h 399"/>
                  <a:gd name="T10" fmla="*/ 1108 w 1139"/>
                  <a:gd name="T11" fmla="*/ 276 h 399"/>
                  <a:gd name="T12" fmla="*/ 1099 w 1139"/>
                  <a:gd name="T13" fmla="*/ 280 h 399"/>
                  <a:gd name="T14" fmla="*/ 1088 w 1139"/>
                  <a:gd name="T15" fmla="*/ 283 h 399"/>
                  <a:gd name="T16" fmla="*/ 1079 w 1139"/>
                  <a:gd name="T17" fmla="*/ 285 h 399"/>
                  <a:gd name="T18" fmla="*/ 1079 w 1139"/>
                  <a:gd name="T19" fmla="*/ 248 h 399"/>
                  <a:gd name="T20" fmla="*/ 1075 w 1139"/>
                  <a:gd name="T21" fmla="*/ 249 h 399"/>
                  <a:gd name="T22" fmla="*/ 1058 w 1139"/>
                  <a:gd name="T23" fmla="*/ 252 h 399"/>
                  <a:gd name="T24" fmla="*/ 1037 w 1139"/>
                  <a:gd name="T25" fmla="*/ 256 h 399"/>
                  <a:gd name="T26" fmla="*/ 1011 w 1139"/>
                  <a:gd name="T27" fmla="*/ 259 h 399"/>
                  <a:gd name="T28" fmla="*/ 976 w 1139"/>
                  <a:gd name="T29" fmla="*/ 264 h 399"/>
                  <a:gd name="T30" fmla="*/ 957 w 1139"/>
                  <a:gd name="T31" fmla="*/ 266 h 399"/>
                  <a:gd name="T32" fmla="*/ 957 w 1139"/>
                  <a:gd name="T33" fmla="*/ 228 h 399"/>
                  <a:gd name="T34" fmla="*/ 921 w 1139"/>
                  <a:gd name="T35" fmla="*/ 231 h 399"/>
                  <a:gd name="T36" fmla="*/ 778 w 1139"/>
                  <a:gd name="T37" fmla="*/ 240 h 399"/>
                  <a:gd name="T38" fmla="*/ 777 w 1139"/>
                  <a:gd name="T39" fmla="*/ 240 h 399"/>
                  <a:gd name="T40" fmla="*/ 777 w 1139"/>
                  <a:gd name="T41" fmla="*/ 202 h 399"/>
                  <a:gd name="T42" fmla="*/ 725 w 1139"/>
                  <a:gd name="T43" fmla="*/ 204 h 399"/>
                  <a:gd name="T44" fmla="*/ 662 w 1139"/>
                  <a:gd name="T45" fmla="*/ 205 h 399"/>
                  <a:gd name="T46" fmla="*/ 615 w 1139"/>
                  <a:gd name="T47" fmla="*/ 206 h 399"/>
                  <a:gd name="T48" fmla="*/ 573 w 1139"/>
                  <a:gd name="T49" fmla="*/ 206 h 399"/>
                  <a:gd name="T50" fmla="*/ 560 w 1139"/>
                  <a:gd name="T51" fmla="*/ 206 h 399"/>
                  <a:gd name="T52" fmla="*/ 560 w 1139"/>
                  <a:gd name="T53" fmla="*/ 168 h 399"/>
                  <a:gd name="T54" fmla="*/ 533 w 1139"/>
                  <a:gd name="T55" fmla="*/ 168 h 399"/>
                  <a:gd name="T56" fmla="*/ 495 w 1139"/>
                  <a:gd name="T57" fmla="*/ 168 h 399"/>
                  <a:gd name="T58" fmla="*/ 459 w 1139"/>
                  <a:gd name="T59" fmla="*/ 168 h 399"/>
                  <a:gd name="T60" fmla="*/ 424 w 1139"/>
                  <a:gd name="T61" fmla="*/ 167 h 399"/>
                  <a:gd name="T62" fmla="*/ 390 w 1139"/>
                  <a:gd name="T63" fmla="*/ 166 h 399"/>
                  <a:gd name="T64" fmla="*/ 355 w 1139"/>
                  <a:gd name="T65" fmla="*/ 165 h 399"/>
                  <a:gd name="T66" fmla="*/ 348 w 1139"/>
                  <a:gd name="T67" fmla="*/ 164 h 399"/>
                  <a:gd name="T68" fmla="*/ 348 w 1139"/>
                  <a:gd name="T69" fmla="*/ 127 h 399"/>
                  <a:gd name="T70" fmla="*/ 320 w 1139"/>
                  <a:gd name="T71" fmla="*/ 125 h 399"/>
                  <a:gd name="T72" fmla="*/ 284 w 1139"/>
                  <a:gd name="T73" fmla="*/ 124 h 399"/>
                  <a:gd name="T74" fmla="*/ 247 w 1139"/>
                  <a:gd name="T75" fmla="*/ 121 h 399"/>
                  <a:gd name="T76" fmla="*/ 207 w 1139"/>
                  <a:gd name="T77" fmla="*/ 118 h 399"/>
                  <a:gd name="T78" fmla="*/ 163 w 1139"/>
                  <a:gd name="T79" fmla="*/ 115 h 399"/>
                  <a:gd name="T80" fmla="*/ 163 w 1139"/>
                  <a:gd name="T81" fmla="*/ 77 h 399"/>
                  <a:gd name="T82" fmla="*/ 44 w 1139"/>
                  <a:gd name="T83" fmla="*/ 59 h 399"/>
                  <a:gd name="T84" fmla="*/ 44 w 1139"/>
                  <a:gd name="T85" fmla="*/ 22 h 399"/>
                  <a:gd name="T86" fmla="*/ 0 w 1139"/>
                  <a:gd name="T87" fmla="*/ 0 h 399"/>
                  <a:gd name="T88" fmla="*/ 0 w 1139"/>
                  <a:gd name="T89" fmla="*/ 99 h 399"/>
                  <a:gd name="T90" fmla="*/ 726 w 1139"/>
                  <a:gd name="T91" fmla="*/ 333 h 399"/>
                  <a:gd name="T92" fmla="*/ 1122 w 1139"/>
                  <a:gd name="T93"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39" h="399">
                    <a:moveTo>
                      <a:pt x="1122" y="399"/>
                    </a:moveTo>
                    <a:cubicBezTo>
                      <a:pt x="1122" y="265"/>
                      <a:pt x="1122" y="265"/>
                      <a:pt x="1122" y="265"/>
                    </a:cubicBezTo>
                    <a:cubicBezTo>
                      <a:pt x="1122" y="265"/>
                      <a:pt x="1122" y="265"/>
                      <a:pt x="1122" y="265"/>
                    </a:cubicBezTo>
                    <a:cubicBezTo>
                      <a:pt x="1122" y="266"/>
                      <a:pt x="1120" y="268"/>
                      <a:pt x="1119" y="269"/>
                    </a:cubicBezTo>
                    <a:cubicBezTo>
                      <a:pt x="1118" y="270"/>
                      <a:pt x="1117" y="272"/>
                      <a:pt x="1115" y="273"/>
                    </a:cubicBezTo>
                    <a:cubicBezTo>
                      <a:pt x="1113" y="274"/>
                      <a:pt x="1111" y="275"/>
                      <a:pt x="1108" y="276"/>
                    </a:cubicBezTo>
                    <a:cubicBezTo>
                      <a:pt x="1106" y="277"/>
                      <a:pt x="1103" y="279"/>
                      <a:pt x="1099" y="280"/>
                    </a:cubicBezTo>
                    <a:cubicBezTo>
                      <a:pt x="1096" y="281"/>
                      <a:pt x="1092" y="282"/>
                      <a:pt x="1088" y="283"/>
                    </a:cubicBezTo>
                    <a:cubicBezTo>
                      <a:pt x="1085" y="284"/>
                      <a:pt x="1083" y="285"/>
                      <a:pt x="1079" y="285"/>
                    </a:cubicBezTo>
                    <a:cubicBezTo>
                      <a:pt x="1079" y="248"/>
                      <a:pt x="1079" y="248"/>
                      <a:pt x="1079" y="248"/>
                    </a:cubicBezTo>
                    <a:cubicBezTo>
                      <a:pt x="1078" y="248"/>
                      <a:pt x="1076" y="248"/>
                      <a:pt x="1075" y="249"/>
                    </a:cubicBezTo>
                    <a:cubicBezTo>
                      <a:pt x="1069" y="250"/>
                      <a:pt x="1064" y="251"/>
                      <a:pt x="1058" y="252"/>
                    </a:cubicBezTo>
                    <a:cubicBezTo>
                      <a:pt x="1051" y="253"/>
                      <a:pt x="1044" y="255"/>
                      <a:pt x="1037" y="256"/>
                    </a:cubicBezTo>
                    <a:cubicBezTo>
                      <a:pt x="1029" y="257"/>
                      <a:pt x="1020" y="258"/>
                      <a:pt x="1011" y="259"/>
                    </a:cubicBezTo>
                    <a:cubicBezTo>
                      <a:pt x="1000" y="261"/>
                      <a:pt x="988" y="262"/>
                      <a:pt x="976" y="264"/>
                    </a:cubicBezTo>
                    <a:cubicBezTo>
                      <a:pt x="970" y="264"/>
                      <a:pt x="963" y="265"/>
                      <a:pt x="957" y="266"/>
                    </a:cubicBezTo>
                    <a:cubicBezTo>
                      <a:pt x="957" y="228"/>
                      <a:pt x="957" y="228"/>
                      <a:pt x="957" y="228"/>
                    </a:cubicBezTo>
                    <a:cubicBezTo>
                      <a:pt x="945" y="229"/>
                      <a:pt x="934" y="230"/>
                      <a:pt x="921" y="231"/>
                    </a:cubicBezTo>
                    <a:cubicBezTo>
                      <a:pt x="879" y="235"/>
                      <a:pt x="830" y="238"/>
                      <a:pt x="778" y="240"/>
                    </a:cubicBezTo>
                    <a:cubicBezTo>
                      <a:pt x="777" y="240"/>
                      <a:pt x="777" y="240"/>
                      <a:pt x="777" y="240"/>
                    </a:cubicBezTo>
                    <a:cubicBezTo>
                      <a:pt x="777" y="202"/>
                      <a:pt x="777" y="202"/>
                      <a:pt x="777" y="202"/>
                    </a:cubicBezTo>
                    <a:cubicBezTo>
                      <a:pt x="760" y="203"/>
                      <a:pt x="743" y="203"/>
                      <a:pt x="725" y="204"/>
                    </a:cubicBezTo>
                    <a:cubicBezTo>
                      <a:pt x="705" y="204"/>
                      <a:pt x="684" y="205"/>
                      <a:pt x="662" y="205"/>
                    </a:cubicBezTo>
                    <a:cubicBezTo>
                      <a:pt x="647" y="206"/>
                      <a:pt x="631" y="206"/>
                      <a:pt x="615" y="206"/>
                    </a:cubicBezTo>
                    <a:cubicBezTo>
                      <a:pt x="601" y="206"/>
                      <a:pt x="587" y="206"/>
                      <a:pt x="573" y="206"/>
                    </a:cubicBezTo>
                    <a:cubicBezTo>
                      <a:pt x="568" y="206"/>
                      <a:pt x="564" y="206"/>
                      <a:pt x="560" y="206"/>
                    </a:cubicBezTo>
                    <a:cubicBezTo>
                      <a:pt x="560" y="168"/>
                      <a:pt x="560" y="168"/>
                      <a:pt x="560" y="168"/>
                    </a:cubicBezTo>
                    <a:cubicBezTo>
                      <a:pt x="551" y="168"/>
                      <a:pt x="542" y="168"/>
                      <a:pt x="533" y="168"/>
                    </a:cubicBezTo>
                    <a:cubicBezTo>
                      <a:pt x="520" y="168"/>
                      <a:pt x="508" y="168"/>
                      <a:pt x="495" y="168"/>
                    </a:cubicBezTo>
                    <a:cubicBezTo>
                      <a:pt x="483" y="168"/>
                      <a:pt x="471" y="168"/>
                      <a:pt x="459" y="168"/>
                    </a:cubicBezTo>
                    <a:cubicBezTo>
                      <a:pt x="448" y="167"/>
                      <a:pt x="436" y="167"/>
                      <a:pt x="424" y="167"/>
                    </a:cubicBezTo>
                    <a:cubicBezTo>
                      <a:pt x="413" y="167"/>
                      <a:pt x="401" y="166"/>
                      <a:pt x="390" y="166"/>
                    </a:cubicBezTo>
                    <a:cubicBezTo>
                      <a:pt x="378" y="165"/>
                      <a:pt x="366" y="165"/>
                      <a:pt x="355" y="165"/>
                    </a:cubicBezTo>
                    <a:cubicBezTo>
                      <a:pt x="353" y="165"/>
                      <a:pt x="350" y="164"/>
                      <a:pt x="348" y="164"/>
                    </a:cubicBezTo>
                    <a:cubicBezTo>
                      <a:pt x="348" y="127"/>
                      <a:pt x="348" y="127"/>
                      <a:pt x="348" y="127"/>
                    </a:cubicBezTo>
                    <a:cubicBezTo>
                      <a:pt x="338" y="126"/>
                      <a:pt x="329" y="126"/>
                      <a:pt x="320" y="125"/>
                    </a:cubicBezTo>
                    <a:cubicBezTo>
                      <a:pt x="308" y="125"/>
                      <a:pt x="296" y="124"/>
                      <a:pt x="284" y="124"/>
                    </a:cubicBezTo>
                    <a:cubicBezTo>
                      <a:pt x="272" y="123"/>
                      <a:pt x="259" y="122"/>
                      <a:pt x="247" y="121"/>
                    </a:cubicBezTo>
                    <a:cubicBezTo>
                      <a:pt x="234" y="120"/>
                      <a:pt x="220" y="119"/>
                      <a:pt x="207" y="118"/>
                    </a:cubicBezTo>
                    <a:cubicBezTo>
                      <a:pt x="192" y="117"/>
                      <a:pt x="177" y="116"/>
                      <a:pt x="163" y="115"/>
                    </a:cubicBezTo>
                    <a:cubicBezTo>
                      <a:pt x="163" y="77"/>
                      <a:pt x="163" y="77"/>
                      <a:pt x="163" y="77"/>
                    </a:cubicBezTo>
                    <a:cubicBezTo>
                      <a:pt x="113" y="72"/>
                      <a:pt x="72" y="66"/>
                      <a:pt x="44" y="59"/>
                    </a:cubicBezTo>
                    <a:cubicBezTo>
                      <a:pt x="44" y="22"/>
                      <a:pt x="44" y="22"/>
                      <a:pt x="44" y="22"/>
                    </a:cubicBezTo>
                    <a:cubicBezTo>
                      <a:pt x="16" y="15"/>
                      <a:pt x="0" y="8"/>
                      <a:pt x="0" y="0"/>
                    </a:cubicBezTo>
                    <a:cubicBezTo>
                      <a:pt x="0" y="99"/>
                      <a:pt x="0" y="99"/>
                      <a:pt x="0" y="99"/>
                    </a:cubicBezTo>
                    <a:cubicBezTo>
                      <a:pt x="0" y="229"/>
                      <a:pt x="328" y="293"/>
                      <a:pt x="726" y="333"/>
                    </a:cubicBezTo>
                    <a:cubicBezTo>
                      <a:pt x="1139" y="375"/>
                      <a:pt x="1117" y="385"/>
                      <a:pt x="1122" y="399"/>
                    </a:cubicBezTo>
                    <a:close/>
                  </a:path>
                </a:pathLst>
              </a:custGeom>
              <a:solidFill>
                <a:srgbClr val="E2E2E2"/>
              </a:solidFill>
              <a:ln w="19050">
                <a:noFill/>
              </a:ln>
              <a:effectLst>
                <a:outerShdw blurRad="139700" dist="38100" dir="5400000" algn="t" rotWithShape="0">
                  <a:prstClr val="black">
                    <a:alpha val="30000"/>
                  </a:prstClr>
                </a:outerShdw>
                <a:softEdge rad="0"/>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noProof="0" smtClean="0">
                  <a:ln>
                    <a:noFill/>
                  </a:ln>
                  <a:solidFill>
                    <a:srgbClr val="000000"/>
                  </a:solidFill>
                  <a:effectLst/>
                  <a:uLnTx/>
                  <a:uFillTx/>
                </a:endParaRPr>
              </a:p>
            </p:txBody>
          </p:sp>
        </p:grpSp>
      </p:grpSp>
      <p:sp>
        <p:nvSpPr>
          <p:cNvPr id="981" name="Oval 517"/>
          <p:cNvSpPr/>
          <p:nvPr/>
        </p:nvSpPr>
        <p:spPr>
          <a:xfrm>
            <a:off x="2267331" y="1302731"/>
            <a:ext cx="1157510" cy="1157510"/>
          </a:xfrm>
          <a:prstGeom prst="ellipse">
            <a:avLst/>
          </a:prstGeom>
          <a:solidFill>
            <a:srgbClr val="FE5817">
              <a:alpha val="69804"/>
            </a:srgbClr>
          </a:solidFill>
          <a:ln w="19050" cap="flat" cmpd="sng" algn="ctr">
            <a:solidFill>
              <a:schemeClr val="bg1"/>
            </a:solidFill>
            <a:prstDash val="solid"/>
            <a:round/>
            <a:headEnd type="none" w="med" len="med"/>
            <a:tailEnd type="none" w="med" len="med"/>
          </a:ln>
          <a:effectLst/>
        </p:spPr>
        <p:txBody>
          <a:bodyPr wrap="none" lIns="0" tIns="0" r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3800" b="1" i="0" u="none" strike="noStrike" kern="0" cap="none" spc="0" normalizeH="0" noProof="0" dirty="0" smtClean="0">
                <a:ln>
                  <a:noFill/>
                </a:ln>
                <a:solidFill>
                  <a:srgbClr val="FFFFFF"/>
                </a:solidFill>
                <a:effectLst/>
                <a:uLnTx/>
                <a:uFillTx/>
                <a:cs typeface="Arial" panose="020B0604020202020204" pitchFamily="34" charset="0"/>
              </a:rPr>
              <a:t>1</a:t>
            </a:r>
            <a:endParaRPr kumimoji="0" lang="en-US" sz="2000" b="0" i="0" u="none" strike="noStrike" kern="0" cap="none" spc="0" normalizeH="0" noProof="0" dirty="0" smtClean="0">
              <a:ln>
                <a:noFill/>
              </a:ln>
              <a:solidFill>
                <a:srgbClr val="FFFFFF"/>
              </a:solidFill>
              <a:effectLst/>
              <a:uLnTx/>
              <a:uFillTx/>
              <a:cs typeface="Arial" panose="020B0604020202020204" pitchFamily="34" charset="0"/>
            </a:endParaRPr>
          </a:p>
        </p:txBody>
      </p:sp>
      <p:sp>
        <p:nvSpPr>
          <p:cNvPr id="982" name="Oval 518"/>
          <p:cNvSpPr/>
          <p:nvPr/>
        </p:nvSpPr>
        <p:spPr>
          <a:xfrm>
            <a:off x="2267331" y="2810460"/>
            <a:ext cx="1157510" cy="1157510"/>
          </a:xfrm>
          <a:prstGeom prst="ellipse">
            <a:avLst/>
          </a:prstGeom>
          <a:solidFill>
            <a:srgbClr val="FE5817">
              <a:alpha val="69804"/>
            </a:srgbClr>
          </a:solidFill>
          <a:ln w="19050" cap="flat" cmpd="sng" algn="ctr">
            <a:solidFill>
              <a:schemeClr val="bg1"/>
            </a:solidFill>
            <a:prstDash val="solid"/>
            <a:round/>
            <a:headEnd type="none" w="med" len="med"/>
            <a:tailEnd type="none" w="med" len="med"/>
          </a:ln>
          <a:effectLst/>
        </p:spPr>
        <p:txBody>
          <a:bodyPr wrap="none" lIns="0" tIns="0" r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3800" b="1" i="0" u="none" strike="noStrike" kern="0" cap="none" spc="0" normalizeH="0" noProof="0" dirty="0" smtClean="0">
                <a:ln>
                  <a:noFill/>
                </a:ln>
                <a:solidFill>
                  <a:srgbClr val="FFFFFF"/>
                </a:solidFill>
                <a:effectLst/>
                <a:uLnTx/>
                <a:uFillTx/>
                <a:cs typeface="Arial" panose="020B0604020202020204" pitchFamily="34" charset="0"/>
              </a:rPr>
              <a:t>2</a:t>
            </a:r>
            <a:endParaRPr kumimoji="0" lang="en-US" sz="1800" b="0" i="0" u="none" strike="noStrike" kern="0" cap="none" spc="0" normalizeH="0" noProof="0" dirty="0" smtClean="0">
              <a:ln>
                <a:noFill/>
              </a:ln>
              <a:solidFill>
                <a:srgbClr val="FFFFFF"/>
              </a:solidFill>
              <a:effectLst/>
              <a:uLnTx/>
              <a:uFillTx/>
              <a:cs typeface="Arial" panose="020B0604020202020204" pitchFamily="34" charset="0"/>
            </a:endParaRPr>
          </a:p>
        </p:txBody>
      </p:sp>
      <p:sp>
        <p:nvSpPr>
          <p:cNvPr id="983" name="Oval 519"/>
          <p:cNvSpPr/>
          <p:nvPr/>
        </p:nvSpPr>
        <p:spPr>
          <a:xfrm>
            <a:off x="2267331" y="4318189"/>
            <a:ext cx="1157510" cy="1157510"/>
          </a:xfrm>
          <a:prstGeom prst="ellipse">
            <a:avLst/>
          </a:prstGeom>
          <a:solidFill>
            <a:srgbClr val="FE5817">
              <a:alpha val="69804"/>
            </a:srgbClr>
          </a:solidFill>
          <a:ln w="19050" cap="flat" cmpd="sng" algn="ctr">
            <a:solidFill>
              <a:schemeClr val="bg1"/>
            </a:solidFill>
            <a:prstDash val="solid"/>
            <a:round/>
            <a:headEnd type="none" w="med" len="med"/>
            <a:tailEnd type="none" w="med" len="med"/>
          </a:ln>
          <a:effectLst/>
        </p:spPr>
        <p:txBody>
          <a:bodyPr wrap="none" lIns="0" tIns="0" r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800" b="1" i="0" u="none" strike="noStrike" kern="0" cap="none" spc="0" normalizeH="0" noProof="0" dirty="0" smtClean="0">
                <a:ln>
                  <a:noFill/>
                </a:ln>
                <a:solidFill>
                  <a:srgbClr val="FFFFFF"/>
                </a:solidFill>
                <a:effectLst/>
                <a:uLnTx/>
                <a:uFillTx/>
                <a:cs typeface="Arial" panose="020B0604020202020204" pitchFamily="34" charset="0"/>
              </a:rPr>
              <a:t>3</a:t>
            </a:r>
            <a:endParaRPr kumimoji="0" lang="en-US" sz="1800" b="0" i="0" u="none" strike="noStrike" kern="0" cap="none" spc="0" normalizeH="0" noProof="0" dirty="0" smtClean="0">
              <a:ln>
                <a:noFill/>
              </a:ln>
              <a:solidFill>
                <a:srgbClr val="FFFFFF"/>
              </a:solidFill>
              <a:effectLst/>
              <a:uLnTx/>
              <a:uFillTx/>
              <a:cs typeface="Arial" panose="020B0604020202020204" pitchFamily="34" charset="0"/>
            </a:endParaRPr>
          </a:p>
        </p:txBody>
      </p:sp>
      <p:sp>
        <p:nvSpPr>
          <p:cNvPr id="305"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smtClean="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301" name="图片 30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 name="对象 9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400" name="think-cell Slide" r:id="rId2" imgW="12700" imgH="12700" progId="TCLayout.ActiveDocument.1">
                  <p:embed/>
                </p:oleObj>
              </mc:Choice>
              <mc:Fallback>
                <p:oleObj name="think-cell Slide" r:id="rId2" imgW="12700" imgH="12700" progId="TCLayout.ActiveDocument.1">
                  <p:embed/>
                  <p:pic>
                    <p:nvPicPr>
                      <p:cNvPr id="0" name="对象 91" hidden="1"/>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75" name="Group 55"/>
          <p:cNvGrpSpPr/>
          <p:nvPr/>
        </p:nvGrpSpPr>
        <p:grpSpPr>
          <a:xfrm>
            <a:off x="1676400" y="1353671"/>
            <a:ext cx="3245130" cy="822698"/>
            <a:chOff x="3390596" y="2917344"/>
            <a:chExt cx="6942805" cy="1764172"/>
          </a:xfrm>
        </p:grpSpPr>
        <p:cxnSp>
          <p:nvCxnSpPr>
            <p:cNvPr id="76" name="Straight Connector 7"/>
            <p:cNvCxnSpPr/>
            <p:nvPr/>
          </p:nvCxnSpPr>
          <p:spPr>
            <a:xfrm flipH="1">
              <a:off x="3390596" y="2924341"/>
              <a:ext cx="6942805" cy="0"/>
            </a:xfrm>
            <a:prstGeom prst="line">
              <a:avLst/>
            </a:prstGeom>
            <a:noFill/>
            <a:ln w="10795" cap="flat" cmpd="sng" algn="ctr">
              <a:solidFill>
                <a:sysClr val="window" lastClr="FFFFFF">
                  <a:lumMod val="85000"/>
                </a:sysClr>
              </a:solidFill>
              <a:prstDash val="solid"/>
            </a:ln>
            <a:effectLst/>
          </p:spPr>
        </p:cxnSp>
        <p:cxnSp>
          <p:nvCxnSpPr>
            <p:cNvPr id="77" name="Straight Connector 44"/>
            <p:cNvCxnSpPr>
              <a:stCxn id="72" idx="4"/>
            </p:cNvCxnSpPr>
            <p:nvPr/>
          </p:nvCxnSpPr>
          <p:spPr>
            <a:xfrm flipH="1" flipV="1">
              <a:off x="3390596" y="2917344"/>
              <a:ext cx="0" cy="1764172"/>
            </a:xfrm>
            <a:prstGeom prst="line">
              <a:avLst/>
            </a:prstGeom>
            <a:noFill/>
            <a:ln w="10795" cap="flat" cmpd="sng" algn="ctr">
              <a:solidFill>
                <a:sysClr val="window" lastClr="FFFFFF">
                  <a:lumMod val="85000"/>
                </a:sysClr>
              </a:solidFill>
              <a:prstDash val="solid"/>
            </a:ln>
            <a:effectLst/>
          </p:spPr>
        </p:cxnSp>
        <p:cxnSp>
          <p:nvCxnSpPr>
            <p:cNvPr id="78" name="Straight Connector 56"/>
            <p:cNvCxnSpPr/>
            <p:nvPr/>
          </p:nvCxnSpPr>
          <p:spPr>
            <a:xfrm flipV="1">
              <a:off x="10307088" y="2924341"/>
              <a:ext cx="0" cy="444974"/>
            </a:xfrm>
            <a:prstGeom prst="line">
              <a:avLst/>
            </a:prstGeom>
            <a:noFill/>
            <a:ln w="10795" cap="flat" cmpd="sng" algn="ctr">
              <a:solidFill>
                <a:sysClr val="window" lastClr="FFFFFF">
                  <a:lumMod val="85000"/>
                </a:sysClr>
              </a:solidFill>
              <a:prstDash val="solid"/>
            </a:ln>
            <a:effectLst/>
          </p:spPr>
        </p:cxnSp>
      </p:grpSp>
      <p:sp>
        <p:nvSpPr>
          <p:cNvPr id="47" name="Freeform 1"/>
          <p:cNvSpPr>
            <a:spLocks noChangeArrowheads="1"/>
          </p:cNvSpPr>
          <p:nvPr/>
        </p:nvSpPr>
        <p:spPr bwMode="auto">
          <a:xfrm>
            <a:off x="4320307" y="1636308"/>
            <a:ext cx="1683045" cy="1939488"/>
          </a:xfrm>
          <a:custGeom>
            <a:avLst/>
            <a:gdLst>
              <a:gd name="T0" fmla="*/ 13311 w 13312"/>
              <a:gd name="T1" fmla="*/ 11531 h 15376"/>
              <a:gd name="T2" fmla="*/ 6656 w 13312"/>
              <a:gd name="T3" fmla="*/ 15375 h 15376"/>
              <a:gd name="T4" fmla="*/ 0 w 13312"/>
              <a:gd name="T5" fmla="*/ 11531 h 15376"/>
              <a:gd name="T6" fmla="*/ 0 w 13312"/>
              <a:gd name="T7" fmla="*/ 3844 h 15376"/>
              <a:gd name="T8" fmla="*/ 6656 w 13312"/>
              <a:gd name="T9" fmla="*/ 0 h 15376"/>
              <a:gd name="T10" fmla="*/ 13311 w 13312"/>
              <a:gd name="T11" fmla="*/ 3844 h 15376"/>
              <a:gd name="T12" fmla="*/ 13311 w 13312"/>
              <a:gd name="T13" fmla="*/ 11531 h 15376"/>
            </a:gdLst>
            <a:ahLst/>
            <a:cxnLst>
              <a:cxn ang="0">
                <a:pos x="T0" y="T1"/>
              </a:cxn>
              <a:cxn ang="0">
                <a:pos x="T2" y="T3"/>
              </a:cxn>
              <a:cxn ang="0">
                <a:pos x="T4" y="T5"/>
              </a:cxn>
              <a:cxn ang="0">
                <a:pos x="T6" y="T7"/>
              </a:cxn>
              <a:cxn ang="0">
                <a:pos x="T8" y="T9"/>
              </a:cxn>
              <a:cxn ang="0">
                <a:pos x="T10" y="T11"/>
              </a:cxn>
              <a:cxn ang="0">
                <a:pos x="T12" y="T13"/>
              </a:cxn>
            </a:cxnLst>
            <a:rect l="0" t="0" r="r" b="b"/>
            <a:pathLst>
              <a:path w="13312" h="15376">
                <a:moveTo>
                  <a:pt x="13311" y="11531"/>
                </a:moveTo>
                <a:lnTo>
                  <a:pt x="6656" y="15375"/>
                </a:lnTo>
                <a:lnTo>
                  <a:pt x="0" y="11531"/>
                </a:lnTo>
                <a:lnTo>
                  <a:pt x="0" y="3844"/>
                </a:lnTo>
                <a:lnTo>
                  <a:pt x="6656" y="0"/>
                </a:lnTo>
                <a:lnTo>
                  <a:pt x="13311" y="3844"/>
                </a:lnTo>
                <a:lnTo>
                  <a:pt x="13311" y="11531"/>
                </a:lnTo>
              </a:path>
            </a:pathLst>
          </a:custGeom>
          <a:solidFill>
            <a:schemeClr val="accent1"/>
          </a:solidFill>
          <a:ln>
            <a:no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noProof="0" dirty="0" smtClean="0">
              <a:ln>
                <a:noFill/>
              </a:ln>
              <a:solidFill>
                <a:srgbClr val="575757"/>
              </a:solidFill>
              <a:effectLst/>
              <a:uLnTx/>
              <a:uFillTx/>
            </a:endParaRPr>
          </a:p>
        </p:txBody>
      </p:sp>
      <p:sp>
        <p:nvSpPr>
          <p:cNvPr id="48" name="Freeform 1"/>
          <p:cNvSpPr>
            <a:spLocks noChangeArrowheads="1"/>
          </p:cNvSpPr>
          <p:nvPr/>
        </p:nvSpPr>
        <p:spPr bwMode="auto">
          <a:xfrm>
            <a:off x="6072034" y="1636308"/>
            <a:ext cx="1683045" cy="1939488"/>
          </a:xfrm>
          <a:custGeom>
            <a:avLst/>
            <a:gdLst>
              <a:gd name="T0" fmla="*/ 13311 w 13312"/>
              <a:gd name="T1" fmla="*/ 11531 h 15376"/>
              <a:gd name="T2" fmla="*/ 6656 w 13312"/>
              <a:gd name="T3" fmla="*/ 15375 h 15376"/>
              <a:gd name="T4" fmla="*/ 0 w 13312"/>
              <a:gd name="T5" fmla="*/ 11531 h 15376"/>
              <a:gd name="T6" fmla="*/ 0 w 13312"/>
              <a:gd name="T7" fmla="*/ 3844 h 15376"/>
              <a:gd name="T8" fmla="*/ 6656 w 13312"/>
              <a:gd name="T9" fmla="*/ 0 h 15376"/>
              <a:gd name="T10" fmla="*/ 13311 w 13312"/>
              <a:gd name="T11" fmla="*/ 3844 h 15376"/>
              <a:gd name="T12" fmla="*/ 13311 w 13312"/>
              <a:gd name="T13" fmla="*/ 11531 h 15376"/>
            </a:gdLst>
            <a:ahLst/>
            <a:cxnLst>
              <a:cxn ang="0">
                <a:pos x="T0" y="T1"/>
              </a:cxn>
              <a:cxn ang="0">
                <a:pos x="T2" y="T3"/>
              </a:cxn>
              <a:cxn ang="0">
                <a:pos x="T4" y="T5"/>
              </a:cxn>
              <a:cxn ang="0">
                <a:pos x="T6" y="T7"/>
              </a:cxn>
              <a:cxn ang="0">
                <a:pos x="T8" y="T9"/>
              </a:cxn>
              <a:cxn ang="0">
                <a:pos x="T10" y="T11"/>
              </a:cxn>
              <a:cxn ang="0">
                <a:pos x="T12" y="T13"/>
              </a:cxn>
            </a:cxnLst>
            <a:rect l="0" t="0" r="r" b="b"/>
            <a:pathLst>
              <a:path w="13312" h="15376">
                <a:moveTo>
                  <a:pt x="13311" y="11531"/>
                </a:moveTo>
                <a:lnTo>
                  <a:pt x="6656" y="15375"/>
                </a:lnTo>
                <a:lnTo>
                  <a:pt x="0" y="11531"/>
                </a:lnTo>
                <a:lnTo>
                  <a:pt x="0" y="3844"/>
                </a:lnTo>
                <a:lnTo>
                  <a:pt x="6656" y="0"/>
                </a:lnTo>
                <a:lnTo>
                  <a:pt x="13311" y="3844"/>
                </a:lnTo>
                <a:lnTo>
                  <a:pt x="13311" y="11531"/>
                </a:lnTo>
              </a:path>
            </a:pathLst>
          </a:custGeom>
          <a:solidFill>
            <a:srgbClr val="FE5817"/>
          </a:solidFill>
          <a:ln>
            <a:no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noProof="0" dirty="0" smtClean="0">
              <a:ln>
                <a:noFill/>
              </a:ln>
              <a:solidFill>
                <a:srgbClr val="575757"/>
              </a:solidFill>
              <a:effectLst/>
              <a:uLnTx/>
              <a:uFillTx/>
            </a:endParaRPr>
          </a:p>
        </p:txBody>
      </p:sp>
      <p:sp>
        <p:nvSpPr>
          <p:cNvPr id="49" name="Freeform 1"/>
          <p:cNvSpPr>
            <a:spLocks noChangeArrowheads="1"/>
          </p:cNvSpPr>
          <p:nvPr/>
        </p:nvSpPr>
        <p:spPr bwMode="auto">
          <a:xfrm>
            <a:off x="4320307" y="3575795"/>
            <a:ext cx="1683045" cy="1939488"/>
          </a:xfrm>
          <a:custGeom>
            <a:avLst/>
            <a:gdLst>
              <a:gd name="T0" fmla="*/ 13311 w 13312"/>
              <a:gd name="T1" fmla="*/ 11531 h 15376"/>
              <a:gd name="T2" fmla="*/ 6656 w 13312"/>
              <a:gd name="T3" fmla="*/ 15375 h 15376"/>
              <a:gd name="T4" fmla="*/ 0 w 13312"/>
              <a:gd name="T5" fmla="*/ 11531 h 15376"/>
              <a:gd name="T6" fmla="*/ 0 w 13312"/>
              <a:gd name="T7" fmla="*/ 3844 h 15376"/>
              <a:gd name="T8" fmla="*/ 6656 w 13312"/>
              <a:gd name="T9" fmla="*/ 0 h 15376"/>
              <a:gd name="T10" fmla="*/ 13311 w 13312"/>
              <a:gd name="T11" fmla="*/ 3844 h 15376"/>
              <a:gd name="T12" fmla="*/ 13311 w 13312"/>
              <a:gd name="T13" fmla="*/ 11531 h 15376"/>
            </a:gdLst>
            <a:ahLst/>
            <a:cxnLst>
              <a:cxn ang="0">
                <a:pos x="T0" y="T1"/>
              </a:cxn>
              <a:cxn ang="0">
                <a:pos x="T2" y="T3"/>
              </a:cxn>
              <a:cxn ang="0">
                <a:pos x="T4" y="T5"/>
              </a:cxn>
              <a:cxn ang="0">
                <a:pos x="T6" y="T7"/>
              </a:cxn>
              <a:cxn ang="0">
                <a:pos x="T8" y="T9"/>
              </a:cxn>
              <a:cxn ang="0">
                <a:pos x="T10" y="T11"/>
              </a:cxn>
              <a:cxn ang="0">
                <a:pos x="T12" y="T13"/>
              </a:cxn>
            </a:cxnLst>
            <a:rect l="0" t="0" r="r" b="b"/>
            <a:pathLst>
              <a:path w="13312" h="15376">
                <a:moveTo>
                  <a:pt x="13311" y="11531"/>
                </a:moveTo>
                <a:lnTo>
                  <a:pt x="6656" y="15375"/>
                </a:lnTo>
                <a:lnTo>
                  <a:pt x="0" y="11531"/>
                </a:lnTo>
                <a:lnTo>
                  <a:pt x="0" y="3844"/>
                </a:lnTo>
                <a:lnTo>
                  <a:pt x="6656" y="0"/>
                </a:lnTo>
                <a:lnTo>
                  <a:pt x="13311" y="3844"/>
                </a:lnTo>
                <a:lnTo>
                  <a:pt x="13311" y="11531"/>
                </a:lnTo>
              </a:path>
            </a:pathLst>
          </a:custGeom>
          <a:solidFill>
            <a:srgbClr val="FF976D"/>
          </a:solidFill>
          <a:ln>
            <a:no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noProof="0" dirty="0" smtClean="0">
              <a:ln>
                <a:noFill/>
              </a:ln>
              <a:solidFill>
                <a:srgbClr val="575757"/>
              </a:solidFill>
              <a:effectLst/>
              <a:uLnTx/>
              <a:uFillTx/>
            </a:endParaRPr>
          </a:p>
        </p:txBody>
      </p:sp>
      <p:sp>
        <p:nvSpPr>
          <p:cNvPr id="50" name="Freeform 1"/>
          <p:cNvSpPr>
            <a:spLocks noChangeArrowheads="1"/>
          </p:cNvSpPr>
          <p:nvPr/>
        </p:nvSpPr>
        <p:spPr bwMode="auto">
          <a:xfrm>
            <a:off x="6072034" y="3575795"/>
            <a:ext cx="1683045" cy="1939488"/>
          </a:xfrm>
          <a:custGeom>
            <a:avLst/>
            <a:gdLst>
              <a:gd name="T0" fmla="*/ 13311 w 13312"/>
              <a:gd name="T1" fmla="*/ 11531 h 15376"/>
              <a:gd name="T2" fmla="*/ 6656 w 13312"/>
              <a:gd name="T3" fmla="*/ 15375 h 15376"/>
              <a:gd name="T4" fmla="*/ 0 w 13312"/>
              <a:gd name="T5" fmla="*/ 11531 h 15376"/>
              <a:gd name="T6" fmla="*/ 0 w 13312"/>
              <a:gd name="T7" fmla="*/ 3844 h 15376"/>
              <a:gd name="T8" fmla="*/ 6656 w 13312"/>
              <a:gd name="T9" fmla="*/ 0 h 15376"/>
              <a:gd name="T10" fmla="*/ 13311 w 13312"/>
              <a:gd name="T11" fmla="*/ 3844 h 15376"/>
              <a:gd name="T12" fmla="*/ 13311 w 13312"/>
              <a:gd name="T13" fmla="*/ 11531 h 15376"/>
            </a:gdLst>
            <a:ahLst/>
            <a:cxnLst>
              <a:cxn ang="0">
                <a:pos x="T0" y="T1"/>
              </a:cxn>
              <a:cxn ang="0">
                <a:pos x="T2" y="T3"/>
              </a:cxn>
              <a:cxn ang="0">
                <a:pos x="T4" y="T5"/>
              </a:cxn>
              <a:cxn ang="0">
                <a:pos x="T6" y="T7"/>
              </a:cxn>
              <a:cxn ang="0">
                <a:pos x="T8" y="T9"/>
              </a:cxn>
              <a:cxn ang="0">
                <a:pos x="T10" y="T11"/>
              </a:cxn>
              <a:cxn ang="0">
                <a:pos x="T12" y="T13"/>
              </a:cxn>
            </a:cxnLst>
            <a:rect l="0" t="0" r="r" b="b"/>
            <a:pathLst>
              <a:path w="13312" h="15376">
                <a:moveTo>
                  <a:pt x="13311" y="11531"/>
                </a:moveTo>
                <a:lnTo>
                  <a:pt x="6656" y="15375"/>
                </a:lnTo>
                <a:lnTo>
                  <a:pt x="0" y="11531"/>
                </a:lnTo>
                <a:lnTo>
                  <a:pt x="0" y="3844"/>
                </a:lnTo>
                <a:lnTo>
                  <a:pt x="6656" y="0"/>
                </a:lnTo>
                <a:lnTo>
                  <a:pt x="13311" y="3844"/>
                </a:lnTo>
                <a:lnTo>
                  <a:pt x="13311" y="11531"/>
                </a:lnTo>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cs typeface="+mn-ea"/>
            </a:endParaRPr>
          </a:p>
        </p:txBody>
      </p:sp>
      <p:sp>
        <p:nvSpPr>
          <p:cNvPr id="52" name="TextBox 16"/>
          <p:cNvSpPr txBox="1"/>
          <p:nvPr/>
        </p:nvSpPr>
        <p:spPr>
          <a:xfrm>
            <a:off x="2121702" y="4409668"/>
            <a:ext cx="2031325" cy="461665"/>
          </a:xfrm>
          <a:prstGeom prst="rect">
            <a:avLst/>
          </a:prstGeom>
          <a:noFill/>
        </p:spPr>
        <p:txBody>
          <a:bodyPr wrap="none" rtlCol="0">
            <a:spAutoFit/>
          </a:bodyPr>
          <a:lstStyle/>
          <a:p>
            <a:r>
              <a:rPr lang="zh-CN" altLang="en-US" sz="2400" b="1" dirty="0">
                <a:solidFill>
                  <a:schemeClr val="accent1">
                    <a:lumMod val="50000"/>
                  </a:schemeClr>
                </a:solidFill>
                <a:cs typeface="Arial" panose="020B0604020202020204" pitchFamily="34" charset="0"/>
              </a:rPr>
              <a:t>设定具体目标</a:t>
            </a:r>
            <a:endParaRPr lang="zh-CN" altLang="en-US" sz="2400" b="1" dirty="0">
              <a:solidFill>
                <a:schemeClr val="accent1">
                  <a:lumMod val="50000"/>
                </a:schemeClr>
              </a:solidFill>
              <a:cs typeface="Arial" panose="020B0604020202020204" pitchFamily="34" charset="0"/>
            </a:endParaRPr>
          </a:p>
        </p:txBody>
      </p:sp>
      <p:grpSp>
        <p:nvGrpSpPr>
          <p:cNvPr id="54" name="Group 45"/>
          <p:cNvGrpSpPr/>
          <p:nvPr/>
        </p:nvGrpSpPr>
        <p:grpSpPr>
          <a:xfrm flipV="1">
            <a:off x="1696402" y="4997232"/>
            <a:ext cx="3467712" cy="847756"/>
            <a:chOff x="2905233" y="2908823"/>
            <a:chExt cx="7419009" cy="1565956"/>
          </a:xfrm>
        </p:grpSpPr>
        <p:cxnSp>
          <p:nvCxnSpPr>
            <p:cNvPr id="55" name="Straight Connector 46"/>
            <p:cNvCxnSpPr/>
            <p:nvPr/>
          </p:nvCxnSpPr>
          <p:spPr>
            <a:xfrm flipH="1">
              <a:off x="2918048" y="2924341"/>
              <a:ext cx="7406194" cy="0"/>
            </a:xfrm>
            <a:prstGeom prst="lin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47"/>
            <p:cNvCxnSpPr>
              <a:stCxn id="51" idx="1"/>
            </p:cNvCxnSpPr>
            <p:nvPr/>
          </p:nvCxnSpPr>
          <p:spPr>
            <a:xfrm flipH="1" flipV="1">
              <a:off x="2905233" y="2908823"/>
              <a:ext cx="7929" cy="1565956"/>
            </a:xfrm>
            <a:prstGeom prst="lin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48"/>
            <p:cNvCxnSpPr/>
            <p:nvPr/>
          </p:nvCxnSpPr>
          <p:spPr>
            <a:xfrm flipV="1">
              <a:off x="10324242" y="2924341"/>
              <a:ext cx="0" cy="599083"/>
            </a:xfrm>
            <a:prstGeom prst="lin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cxnSp>
      </p:grpSp>
      <p:sp>
        <p:nvSpPr>
          <p:cNvPr id="58" name="Freeform 1"/>
          <p:cNvSpPr>
            <a:spLocks noChangeArrowheads="1"/>
          </p:cNvSpPr>
          <p:nvPr/>
        </p:nvSpPr>
        <p:spPr bwMode="auto">
          <a:xfrm>
            <a:off x="10167450" y="4249524"/>
            <a:ext cx="648887" cy="747757"/>
          </a:xfrm>
          <a:custGeom>
            <a:avLst/>
            <a:gdLst>
              <a:gd name="T0" fmla="*/ 13311 w 13312"/>
              <a:gd name="T1" fmla="*/ 11531 h 15376"/>
              <a:gd name="T2" fmla="*/ 6656 w 13312"/>
              <a:gd name="T3" fmla="*/ 15375 h 15376"/>
              <a:gd name="T4" fmla="*/ 0 w 13312"/>
              <a:gd name="T5" fmla="*/ 11531 h 15376"/>
              <a:gd name="T6" fmla="*/ 0 w 13312"/>
              <a:gd name="T7" fmla="*/ 3844 h 15376"/>
              <a:gd name="T8" fmla="*/ 6656 w 13312"/>
              <a:gd name="T9" fmla="*/ 0 h 15376"/>
              <a:gd name="T10" fmla="*/ 13311 w 13312"/>
              <a:gd name="T11" fmla="*/ 3844 h 15376"/>
              <a:gd name="T12" fmla="*/ 13311 w 13312"/>
              <a:gd name="T13" fmla="*/ 11531 h 15376"/>
            </a:gdLst>
            <a:ahLst/>
            <a:cxnLst>
              <a:cxn ang="0">
                <a:pos x="T0" y="T1"/>
              </a:cxn>
              <a:cxn ang="0">
                <a:pos x="T2" y="T3"/>
              </a:cxn>
              <a:cxn ang="0">
                <a:pos x="T4" y="T5"/>
              </a:cxn>
              <a:cxn ang="0">
                <a:pos x="T6" y="T7"/>
              </a:cxn>
              <a:cxn ang="0">
                <a:pos x="T8" y="T9"/>
              </a:cxn>
              <a:cxn ang="0">
                <a:pos x="T10" y="T11"/>
              </a:cxn>
              <a:cxn ang="0">
                <a:pos x="T12" y="T13"/>
              </a:cxn>
            </a:cxnLst>
            <a:rect l="0" t="0" r="r" b="b"/>
            <a:pathLst>
              <a:path w="13312" h="15376">
                <a:moveTo>
                  <a:pt x="13311" y="11531"/>
                </a:moveTo>
                <a:lnTo>
                  <a:pt x="6656" y="15375"/>
                </a:lnTo>
                <a:lnTo>
                  <a:pt x="0" y="11531"/>
                </a:lnTo>
                <a:lnTo>
                  <a:pt x="0" y="3844"/>
                </a:lnTo>
                <a:lnTo>
                  <a:pt x="6656" y="0"/>
                </a:lnTo>
                <a:lnTo>
                  <a:pt x="13311" y="3844"/>
                </a:lnTo>
                <a:lnTo>
                  <a:pt x="13311" y="11531"/>
                </a:lnTo>
              </a:path>
            </a:pathLst>
          </a:custGeom>
          <a:solidFill>
            <a:schemeClr val="tx2">
              <a:lumMod val="75000"/>
            </a:schemeClr>
          </a:solidFill>
          <a:ln>
            <a:noFill/>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2400" b="0" i="0" u="none" strike="noStrike" kern="0" cap="none" spc="0" normalizeH="0" noProof="0" dirty="0" smtClean="0">
                <a:ln>
                  <a:noFill/>
                </a:ln>
                <a:solidFill>
                  <a:srgbClr val="FFFFFF"/>
                </a:solidFill>
                <a:effectLst/>
                <a:uLnTx/>
                <a:uFillTx/>
              </a:rPr>
              <a:t>4</a:t>
            </a:r>
            <a:endParaRPr kumimoji="0" lang="en-US" sz="2400" b="0" i="0" u="none" strike="noStrike" kern="0" cap="none" spc="0" normalizeH="0" noProof="0" dirty="0" smtClean="0">
              <a:ln>
                <a:noFill/>
              </a:ln>
              <a:solidFill>
                <a:srgbClr val="FFFFFF"/>
              </a:solidFill>
              <a:effectLst/>
              <a:uLnTx/>
              <a:uFillTx/>
            </a:endParaRPr>
          </a:p>
        </p:txBody>
      </p:sp>
      <p:sp>
        <p:nvSpPr>
          <p:cNvPr id="59" name="TextBox 25"/>
          <p:cNvSpPr txBox="1"/>
          <p:nvPr/>
        </p:nvSpPr>
        <p:spPr>
          <a:xfrm>
            <a:off x="8048184" y="4391254"/>
            <a:ext cx="2031325" cy="461665"/>
          </a:xfrm>
          <a:prstGeom prst="rect">
            <a:avLst/>
          </a:prstGeom>
          <a:noFill/>
        </p:spPr>
        <p:txBody>
          <a:bodyPr wrap="none" rtlCol="0">
            <a:spAutoFit/>
          </a:bodyPr>
          <a:lstStyle/>
          <a:p>
            <a:pPr algn="r"/>
            <a:r>
              <a:rPr lang="zh-CN" altLang="en-US" sz="2400" b="1" dirty="0">
                <a:solidFill>
                  <a:schemeClr val="accent1">
                    <a:lumMod val="50000"/>
                  </a:schemeClr>
                </a:solidFill>
                <a:cs typeface="Arial" panose="020B0604020202020204" pitchFamily="34" charset="0"/>
              </a:rPr>
              <a:t>讨论所需资源</a:t>
            </a:r>
            <a:endParaRPr lang="zh-CN" altLang="en-US" sz="2400" b="1" dirty="0">
              <a:solidFill>
                <a:schemeClr val="accent1">
                  <a:lumMod val="50000"/>
                </a:schemeClr>
              </a:solidFill>
              <a:cs typeface="Arial" panose="020B0604020202020204" pitchFamily="34" charset="0"/>
            </a:endParaRPr>
          </a:p>
        </p:txBody>
      </p:sp>
      <p:grpSp>
        <p:nvGrpSpPr>
          <p:cNvPr id="61" name="Group 51"/>
          <p:cNvGrpSpPr/>
          <p:nvPr/>
        </p:nvGrpSpPr>
        <p:grpSpPr>
          <a:xfrm flipH="1" flipV="1">
            <a:off x="6899232" y="4997233"/>
            <a:ext cx="3606316" cy="839354"/>
            <a:chOff x="2913160" y="2924341"/>
            <a:chExt cx="7411082" cy="1550438"/>
          </a:xfrm>
        </p:grpSpPr>
        <p:cxnSp>
          <p:nvCxnSpPr>
            <p:cNvPr id="62" name="Straight Connector 52"/>
            <p:cNvCxnSpPr/>
            <p:nvPr/>
          </p:nvCxnSpPr>
          <p:spPr>
            <a:xfrm flipH="1">
              <a:off x="2918048" y="2924341"/>
              <a:ext cx="7406194" cy="0"/>
            </a:xfrm>
            <a:prstGeom prst="line">
              <a:avLst/>
            </a:prstGeom>
            <a:noFill/>
            <a:ln w="10795" cap="flat" cmpd="sng" algn="ctr">
              <a:solidFill>
                <a:sysClr val="window" lastClr="FFFFFF">
                  <a:lumMod val="85000"/>
                </a:sysClr>
              </a:solidFill>
              <a:prstDash val="solid"/>
            </a:ln>
            <a:effectLst/>
          </p:spPr>
        </p:cxnSp>
        <p:cxnSp>
          <p:nvCxnSpPr>
            <p:cNvPr id="63" name="Straight Connector 54"/>
            <p:cNvCxnSpPr/>
            <p:nvPr/>
          </p:nvCxnSpPr>
          <p:spPr>
            <a:xfrm flipV="1">
              <a:off x="2913160" y="2924341"/>
              <a:ext cx="4888" cy="1550438"/>
            </a:xfrm>
            <a:prstGeom prst="line">
              <a:avLst/>
            </a:prstGeom>
            <a:noFill/>
            <a:ln w="10795" cap="flat" cmpd="sng" algn="ctr">
              <a:solidFill>
                <a:sysClr val="window" lastClr="FFFFFF">
                  <a:lumMod val="85000"/>
                </a:sysClr>
              </a:solidFill>
              <a:prstDash val="solid"/>
            </a:ln>
            <a:effectLst/>
          </p:spPr>
        </p:cxnSp>
        <p:cxnSp>
          <p:nvCxnSpPr>
            <p:cNvPr id="64" name="Straight Connector 57"/>
            <p:cNvCxnSpPr/>
            <p:nvPr/>
          </p:nvCxnSpPr>
          <p:spPr>
            <a:xfrm flipV="1">
              <a:off x="10324242" y="2924341"/>
              <a:ext cx="0" cy="599083"/>
            </a:xfrm>
            <a:prstGeom prst="line">
              <a:avLst/>
            </a:prstGeom>
            <a:noFill/>
            <a:ln w="10795" cap="flat" cmpd="sng" algn="ctr">
              <a:solidFill>
                <a:sysClr val="window" lastClr="FFFFFF">
                  <a:lumMod val="85000"/>
                </a:sysClr>
              </a:solidFill>
              <a:prstDash val="solid"/>
            </a:ln>
            <a:effectLst/>
          </p:spPr>
        </p:cxnSp>
      </p:grpSp>
      <p:sp>
        <p:nvSpPr>
          <p:cNvPr id="65" name="Freeform 1"/>
          <p:cNvSpPr>
            <a:spLocks noChangeArrowheads="1"/>
          </p:cNvSpPr>
          <p:nvPr/>
        </p:nvSpPr>
        <p:spPr bwMode="auto">
          <a:xfrm>
            <a:off x="10167450" y="2176369"/>
            <a:ext cx="648887" cy="747756"/>
          </a:xfrm>
          <a:custGeom>
            <a:avLst/>
            <a:gdLst>
              <a:gd name="T0" fmla="*/ 13311 w 13312"/>
              <a:gd name="T1" fmla="*/ 11531 h 15376"/>
              <a:gd name="T2" fmla="*/ 6656 w 13312"/>
              <a:gd name="T3" fmla="*/ 15375 h 15376"/>
              <a:gd name="T4" fmla="*/ 0 w 13312"/>
              <a:gd name="T5" fmla="*/ 11531 h 15376"/>
              <a:gd name="T6" fmla="*/ 0 w 13312"/>
              <a:gd name="T7" fmla="*/ 3844 h 15376"/>
              <a:gd name="T8" fmla="*/ 6656 w 13312"/>
              <a:gd name="T9" fmla="*/ 0 h 15376"/>
              <a:gd name="T10" fmla="*/ 13311 w 13312"/>
              <a:gd name="T11" fmla="*/ 3844 h 15376"/>
              <a:gd name="T12" fmla="*/ 13311 w 13312"/>
              <a:gd name="T13" fmla="*/ 11531 h 15376"/>
            </a:gdLst>
            <a:ahLst/>
            <a:cxnLst>
              <a:cxn ang="0">
                <a:pos x="T0" y="T1"/>
              </a:cxn>
              <a:cxn ang="0">
                <a:pos x="T2" y="T3"/>
              </a:cxn>
              <a:cxn ang="0">
                <a:pos x="T4" y="T5"/>
              </a:cxn>
              <a:cxn ang="0">
                <a:pos x="T6" y="T7"/>
              </a:cxn>
              <a:cxn ang="0">
                <a:pos x="T8" y="T9"/>
              </a:cxn>
              <a:cxn ang="0">
                <a:pos x="T10" y="T11"/>
              </a:cxn>
              <a:cxn ang="0">
                <a:pos x="T12" y="T13"/>
              </a:cxn>
            </a:cxnLst>
            <a:rect l="0" t="0" r="r" b="b"/>
            <a:pathLst>
              <a:path w="13312" h="15376">
                <a:moveTo>
                  <a:pt x="13311" y="11531"/>
                </a:moveTo>
                <a:lnTo>
                  <a:pt x="6656" y="15375"/>
                </a:lnTo>
                <a:lnTo>
                  <a:pt x="0" y="11531"/>
                </a:lnTo>
                <a:lnTo>
                  <a:pt x="0" y="3844"/>
                </a:lnTo>
                <a:lnTo>
                  <a:pt x="6656" y="0"/>
                </a:lnTo>
                <a:lnTo>
                  <a:pt x="13311" y="3844"/>
                </a:lnTo>
                <a:lnTo>
                  <a:pt x="13311" y="11531"/>
                </a:lnTo>
              </a:path>
            </a:pathLst>
          </a:custGeom>
          <a:solidFill>
            <a:srgbClr val="FE5817"/>
          </a:solidFill>
          <a:ln>
            <a:solidFill>
              <a:srgbClr val="FE5817"/>
            </a:solidFill>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2400" b="0" i="0" u="none" strike="noStrike" kern="0" cap="none" spc="0" normalizeH="0" noProof="0" dirty="0" smtClean="0">
                <a:ln>
                  <a:noFill/>
                </a:ln>
                <a:solidFill>
                  <a:srgbClr val="FFFFFF"/>
                </a:solidFill>
                <a:effectLst/>
                <a:uLnTx/>
                <a:uFillTx/>
              </a:rPr>
              <a:t>2</a:t>
            </a:r>
            <a:endParaRPr kumimoji="0" lang="en-US" sz="2400" b="0" i="0" u="none" strike="noStrike" kern="0" cap="none" spc="0" normalizeH="0" noProof="0" dirty="0" smtClean="0">
              <a:ln>
                <a:noFill/>
              </a:ln>
              <a:solidFill>
                <a:srgbClr val="FFFFFF"/>
              </a:solidFill>
              <a:effectLst/>
              <a:uLnTx/>
              <a:uFillTx/>
            </a:endParaRPr>
          </a:p>
        </p:txBody>
      </p:sp>
      <p:sp>
        <p:nvSpPr>
          <p:cNvPr id="66" name="TextBox 34"/>
          <p:cNvSpPr txBox="1"/>
          <p:nvPr/>
        </p:nvSpPr>
        <p:spPr>
          <a:xfrm>
            <a:off x="8663736" y="2349904"/>
            <a:ext cx="1415773" cy="461665"/>
          </a:xfrm>
          <a:prstGeom prst="rect">
            <a:avLst/>
          </a:prstGeom>
          <a:noFill/>
        </p:spPr>
        <p:txBody>
          <a:bodyPr wrap="none" rtlCol="0">
            <a:spAutoFit/>
          </a:bodyPr>
          <a:lstStyle/>
          <a:p>
            <a:pPr algn="r"/>
            <a:r>
              <a:rPr lang="zh-CN" altLang="en-US" sz="2400" b="1" dirty="0">
                <a:solidFill>
                  <a:schemeClr val="accent1">
                    <a:lumMod val="50000"/>
                  </a:schemeClr>
                </a:solidFill>
                <a:cs typeface="Arial" panose="020B0604020202020204" pitchFamily="34" charset="0"/>
              </a:rPr>
              <a:t>明确分工</a:t>
            </a:r>
            <a:endParaRPr lang="zh-CN" altLang="en-US" sz="2400" b="1" dirty="0">
              <a:solidFill>
                <a:schemeClr val="accent1">
                  <a:lumMod val="50000"/>
                </a:schemeClr>
              </a:solidFill>
              <a:cs typeface="Arial" panose="020B0604020202020204" pitchFamily="34" charset="0"/>
            </a:endParaRPr>
          </a:p>
        </p:txBody>
      </p:sp>
      <p:grpSp>
        <p:nvGrpSpPr>
          <p:cNvPr id="68" name="Group 64"/>
          <p:cNvGrpSpPr/>
          <p:nvPr/>
        </p:nvGrpSpPr>
        <p:grpSpPr>
          <a:xfrm flipH="1">
            <a:off x="6899232" y="1356934"/>
            <a:ext cx="3606316" cy="819436"/>
            <a:chOff x="2918048" y="2924341"/>
            <a:chExt cx="7406194" cy="1757177"/>
          </a:xfrm>
        </p:grpSpPr>
        <p:cxnSp>
          <p:nvCxnSpPr>
            <p:cNvPr id="69" name="Straight Connector 65"/>
            <p:cNvCxnSpPr/>
            <p:nvPr/>
          </p:nvCxnSpPr>
          <p:spPr>
            <a:xfrm flipH="1">
              <a:off x="2918048" y="2924341"/>
              <a:ext cx="7406194" cy="0"/>
            </a:xfrm>
            <a:prstGeom prst="line">
              <a:avLst/>
            </a:prstGeom>
            <a:noFill/>
            <a:ln w="10795" cap="flat" cmpd="sng" algn="ctr">
              <a:solidFill>
                <a:sysClr val="window" lastClr="FFFFFF">
                  <a:lumMod val="85000"/>
                </a:sysClr>
              </a:solidFill>
              <a:prstDash val="solid"/>
            </a:ln>
            <a:effectLst/>
          </p:spPr>
        </p:cxnSp>
        <p:cxnSp>
          <p:nvCxnSpPr>
            <p:cNvPr id="70" name="Straight Connector 66"/>
            <p:cNvCxnSpPr/>
            <p:nvPr/>
          </p:nvCxnSpPr>
          <p:spPr>
            <a:xfrm flipV="1">
              <a:off x="2918048" y="2924341"/>
              <a:ext cx="0" cy="1757177"/>
            </a:xfrm>
            <a:prstGeom prst="line">
              <a:avLst/>
            </a:prstGeom>
            <a:noFill/>
            <a:ln w="10795" cap="flat" cmpd="sng" algn="ctr">
              <a:solidFill>
                <a:sysClr val="window" lastClr="FFFFFF">
                  <a:lumMod val="85000"/>
                </a:sysClr>
              </a:solidFill>
              <a:prstDash val="solid"/>
            </a:ln>
            <a:effectLst/>
          </p:spPr>
        </p:cxnSp>
        <p:cxnSp>
          <p:nvCxnSpPr>
            <p:cNvPr id="71" name="Straight Connector 67"/>
            <p:cNvCxnSpPr/>
            <p:nvPr/>
          </p:nvCxnSpPr>
          <p:spPr>
            <a:xfrm flipV="1">
              <a:off x="10324242" y="2924341"/>
              <a:ext cx="0" cy="599083"/>
            </a:xfrm>
            <a:prstGeom prst="line">
              <a:avLst/>
            </a:prstGeom>
            <a:noFill/>
            <a:ln w="10795" cap="flat" cmpd="sng" algn="ctr">
              <a:solidFill>
                <a:sysClr val="window" lastClr="FFFFFF">
                  <a:lumMod val="85000"/>
                </a:sysClr>
              </a:solidFill>
              <a:prstDash val="solid"/>
            </a:ln>
            <a:effectLst/>
          </p:spPr>
        </p:cxnSp>
      </p:grpSp>
      <p:sp>
        <p:nvSpPr>
          <p:cNvPr id="72" name="Freeform 1"/>
          <p:cNvSpPr>
            <a:spLocks noChangeArrowheads="1"/>
          </p:cNvSpPr>
          <p:nvPr/>
        </p:nvSpPr>
        <p:spPr bwMode="auto">
          <a:xfrm>
            <a:off x="1375664" y="2176369"/>
            <a:ext cx="648887" cy="747756"/>
          </a:xfrm>
          <a:custGeom>
            <a:avLst/>
            <a:gdLst>
              <a:gd name="T0" fmla="*/ 13311 w 13312"/>
              <a:gd name="T1" fmla="*/ 11531 h 15376"/>
              <a:gd name="T2" fmla="*/ 6656 w 13312"/>
              <a:gd name="T3" fmla="*/ 15375 h 15376"/>
              <a:gd name="T4" fmla="*/ 0 w 13312"/>
              <a:gd name="T5" fmla="*/ 11531 h 15376"/>
              <a:gd name="T6" fmla="*/ 0 w 13312"/>
              <a:gd name="T7" fmla="*/ 3844 h 15376"/>
              <a:gd name="T8" fmla="*/ 6656 w 13312"/>
              <a:gd name="T9" fmla="*/ 0 h 15376"/>
              <a:gd name="T10" fmla="*/ 13311 w 13312"/>
              <a:gd name="T11" fmla="*/ 3844 h 15376"/>
              <a:gd name="T12" fmla="*/ 13311 w 13312"/>
              <a:gd name="T13" fmla="*/ 11531 h 15376"/>
            </a:gdLst>
            <a:ahLst/>
            <a:cxnLst>
              <a:cxn ang="0">
                <a:pos x="T0" y="T1"/>
              </a:cxn>
              <a:cxn ang="0">
                <a:pos x="T2" y="T3"/>
              </a:cxn>
              <a:cxn ang="0">
                <a:pos x="T4" y="T5"/>
              </a:cxn>
              <a:cxn ang="0">
                <a:pos x="T6" y="T7"/>
              </a:cxn>
              <a:cxn ang="0">
                <a:pos x="T8" y="T9"/>
              </a:cxn>
              <a:cxn ang="0">
                <a:pos x="T10" y="T11"/>
              </a:cxn>
              <a:cxn ang="0">
                <a:pos x="T12" y="T13"/>
              </a:cxn>
            </a:cxnLst>
            <a:rect l="0" t="0" r="r" b="b"/>
            <a:pathLst>
              <a:path w="13312" h="15376">
                <a:moveTo>
                  <a:pt x="13311" y="11531"/>
                </a:moveTo>
                <a:lnTo>
                  <a:pt x="6656" y="15375"/>
                </a:lnTo>
                <a:lnTo>
                  <a:pt x="0" y="11531"/>
                </a:lnTo>
                <a:lnTo>
                  <a:pt x="0" y="3844"/>
                </a:lnTo>
                <a:lnTo>
                  <a:pt x="6656" y="0"/>
                </a:lnTo>
                <a:lnTo>
                  <a:pt x="13311" y="3844"/>
                </a:lnTo>
                <a:lnTo>
                  <a:pt x="13311" y="11531"/>
                </a:lnTo>
              </a:path>
            </a:pathLst>
          </a:custGeom>
          <a:solidFill>
            <a:schemeClr val="accent1"/>
          </a:solidFill>
          <a:ln>
            <a:noFill/>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2400" b="0" i="0" u="none" strike="noStrike" kern="0" cap="none" spc="0" normalizeH="0" noProof="0" dirty="0" smtClean="0">
                <a:ln>
                  <a:noFill/>
                </a:ln>
                <a:solidFill>
                  <a:srgbClr val="FFFFFF"/>
                </a:solidFill>
                <a:effectLst/>
                <a:uLnTx/>
                <a:uFillTx/>
              </a:rPr>
              <a:t>1</a:t>
            </a:r>
            <a:endParaRPr kumimoji="0" lang="en-US" sz="2400" b="0" i="0" u="none" strike="noStrike" kern="0" cap="none" spc="0" normalizeH="0" noProof="0" dirty="0" smtClean="0">
              <a:ln>
                <a:noFill/>
              </a:ln>
              <a:solidFill>
                <a:srgbClr val="FFFFFF"/>
              </a:solidFill>
              <a:effectLst/>
              <a:uLnTx/>
              <a:uFillTx/>
            </a:endParaRPr>
          </a:p>
        </p:txBody>
      </p:sp>
      <p:sp>
        <p:nvSpPr>
          <p:cNvPr id="73" name="TextBox 43"/>
          <p:cNvSpPr txBox="1"/>
          <p:nvPr/>
        </p:nvSpPr>
        <p:spPr>
          <a:xfrm>
            <a:off x="2121702" y="2166006"/>
            <a:ext cx="1959772" cy="830997"/>
          </a:xfrm>
          <a:prstGeom prst="rect">
            <a:avLst/>
          </a:prstGeom>
          <a:noFill/>
        </p:spPr>
        <p:txBody>
          <a:bodyPr wrap="square" rtlCol="0">
            <a:spAutoFit/>
          </a:bodyPr>
          <a:lstStyle/>
          <a:p>
            <a:r>
              <a:rPr lang="zh-CN" altLang="en-US" sz="2400" b="1" dirty="0">
                <a:solidFill>
                  <a:schemeClr val="accent1">
                    <a:lumMod val="50000"/>
                  </a:schemeClr>
                </a:solidFill>
                <a:cs typeface="Arial" panose="020B0604020202020204" pitchFamily="34" charset="0"/>
              </a:rPr>
              <a:t>梳理项目优先排序</a:t>
            </a:r>
            <a:endParaRPr lang="zh-CN" altLang="en-US" sz="2400" b="1" dirty="0">
              <a:solidFill>
                <a:schemeClr val="accent1">
                  <a:lumMod val="50000"/>
                </a:schemeClr>
              </a:solidFill>
              <a:cs typeface="Arial" panose="020B0604020202020204" pitchFamily="34" charset="0"/>
            </a:endParaRPr>
          </a:p>
        </p:txBody>
      </p:sp>
      <p:sp>
        <p:nvSpPr>
          <p:cNvPr id="51" name="Freeform 1"/>
          <p:cNvSpPr>
            <a:spLocks noChangeArrowheads="1"/>
          </p:cNvSpPr>
          <p:nvPr/>
        </p:nvSpPr>
        <p:spPr bwMode="auto">
          <a:xfrm>
            <a:off x="1375664" y="4249524"/>
            <a:ext cx="648887" cy="747757"/>
          </a:xfrm>
          <a:custGeom>
            <a:avLst/>
            <a:gdLst>
              <a:gd name="T0" fmla="*/ 13311 w 13312"/>
              <a:gd name="T1" fmla="*/ 11531 h 15376"/>
              <a:gd name="T2" fmla="*/ 6656 w 13312"/>
              <a:gd name="T3" fmla="*/ 15375 h 15376"/>
              <a:gd name="T4" fmla="*/ 0 w 13312"/>
              <a:gd name="T5" fmla="*/ 11531 h 15376"/>
              <a:gd name="T6" fmla="*/ 0 w 13312"/>
              <a:gd name="T7" fmla="*/ 3844 h 15376"/>
              <a:gd name="T8" fmla="*/ 6656 w 13312"/>
              <a:gd name="T9" fmla="*/ 0 h 15376"/>
              <a:gd name="T10" fmla="*/ 13311 w 13312"/>
              <a:gd name="T11" fmla="*/ 3844 h 15376"/>
              <a:gd name="T12" fmla="*/ 13311 w 13312"/>
              <a:gd name="T13" fmla="*/ 11531 h 15376"/>
            </a:gdLst>
            <a:ahLst/>
            <a:cxnLst>
              <a:cxn ang="0">
                <a:pos x="T0" y="T1"/>
              </a:cxn>
              <a:cxn ang="0">
                <a:pos x="T2" y="T3"/>
              </a:cxn>
              <a:cxn ang="0">
                <a:pos x="T4" y="T5"/>
              </a:cxn>
              <a:cxn ang="0">
                <a:pos x="T6" y="T7"/>
              </a:cxn>
              <a:cxn ang="0">
                <a:pos x="T8" y="T9"/>
              </a:cxn>
              <a:cxn ang="0">
                <a:pos x="T10" y="T11"/>
              </a:cxn>
              <a:cxn ang="0">
                <a:pos x="T12" y="T13"/>
              </a:cxn>
            </a:cxnLst>
            <a:rect l="0" t="0" r="r" b="b"/>
            <a:pathLst>
              <a:path w="13312" h="15376">
                <a:moveTo>
                  <a:pt x="13311" y="11531"/>
                </a:moveTo>
                <a:lnTo>
                  <a:pt x="6656" y="15375"/>
                </a:lnTo>
                <a:lnTo>
                  <a:pt x="0" y="11531"/>
                </a:lnTo>
                <a:lnTo>
                  <a:pt x="0" y="3844"/>
                </a:lnTo>
                <a:lnTo>
                  <a:pt x="6656" y="0"/>
                </a:lnTo>
                <a:lnTo>
                  <a:pt x="13311" y="3844"/>
                </a:lnTo>
                <a:lnTo>
                  <a:pt x="13311" y="11531"/>
                </a:lnTo>
              </a:path>
            </a:pathLst>
          </a:custGeom>
          <a:solidFill>
            <a:srgbClr val="FEA07A"/>
          </a:solidFill>
          <a:ln>
            <a:noFill/>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2400" b="0" i="0" u="none" strike="noStrike" kern="0" cap="none" spc="0" normalizeH="0" noProof="0" dirty="0" smtClean="0">
                <a:ln>
                  <a:noFill/>
                </a:ln>
                <a:solidFill>
                  <a:srgbClr val="FFFFFF"/>
                </a:solidFill>
                <a:effectLst/>
                <a:uLnTx/>
                <a:uFillTx/>
              </a:rPr>
              <a:t>3</a:t>
            </a:r>
            <a:endParaRPr kumimoji="0" lang="en-US" sz="2400" b="0" i="0" u="none" strike="noStrike" kern="0" cap="none" spc="0" normalizeH="0" noProof="0" dirty="0" smtClean="0">
              <a:ln>
                <a:noFill/>
              </a:ln>
              <a:solidFill>
                <a:srgbClr val="FFFFFF"/>
              </a:solidFill>
              <a:effectLst/>
              <a:uLnTx/>
              <a:uFillTx/>
            </a:endParaRPr>
          </a:p>
        </p:txBody>
      </p:sp>
      <p:grpSp>
        <p:nvGrpSpPr>
          <p:cNvPr id="97" name="Group 121"/>
          <p:cNvGrpSpPr/>
          <p:nvPr/>
        </p:nvGrpSpPr>
        <p:grpSpPr>
          <a:xfrm>
            <a:off x="6675393" y="4230743"/>
            <a:ext cx="575134" cy="606000"/>
            <a:chOff x="4672013" y="3128963"/>
            <a:chExt cx="561975" cy="592137"/>
          </a:xfrm>
          <a:solidFill>
            <a:schemeClr val="accent1"/>
          </a:solidFill>
        </p:grpSpPr>
        <p:sp>
          <p:nvSpPr>
            <p:cNvPr id="98" name="Freeform 6"/>
            <p:cNvSpPr>
              <a:spLocks noEditPoints="1"/>
            </p:cNvSpPr>
            <p:nvPr/>
          </p:nvSpPr>
          <p:spPr bwMode="auto">
            <a:xfrm>
              <a:off x="4989513" y="3476625"/>
              <a:ext cx="244475" cy="244475"/>
            </a:xfrm>
            <a:custGeom>
              <a:avLst/>
              <a:gdLst>
                <a:gd name="T0" fmla="*/ 115 w 1390"/>
                <a:gd name="T1" fmla="*/ 116 h 1383"/>
                <a:gd name="T2" fmla="*/ 115 w 1390"/>
                <a:gd name="T3" fmla="*/ 1268 h 1383"/>
                <a:gd name="T4" fmla="*/ 1273 w 1390"/>
                <a:gd name="T5" fmla="*/ 1268 h 1383"/>
                <a:gd name="T6" fmla="*/ 1273 w 1390"/>
                <a:gd name="T7" fmla="*/ 116 h 1383"/>
                <a:gd name="T8" fmla="*/ 115 w 1390"/>
                <a:gd name="T9" fmla="*/ 116 h 1383"/>
                <a:gd name="T10" fmla="*/ 0 w 1390"/>
                <a:gd name="T11" fmla="*/ 0 h 1383"/>
                <a:gd name="T12" fmla="*/ 1390 w 1390"/>
                <a:gd name="T13" fmla="*/ 0 h 1383"/>
                <a:gd name="T14" fmla="*/ 1390 w 1390"/>
                <a:gd name="T15" fmla="*/ 1383 h 1383"/>
                <a:gd name="T16" fmla="*/ 0 w 1390"/>
                <a:gd name="T17" fmla="*/ 1383 h 1383"/>
                <a:gd name="T18" fmla="*/ 0 w 1390"/>
                <a:gd name="T19" fmla="*/ 0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0" h="1383">
                  <a:moveTo>
                    <a:pt x="115" y="116"/>
                  </a:moveTo>
                  <a:lnTo>
                    <a:pt x="115" y="1268"/>
                  </a:lnTo>
                  <a:lnTo>
                    <a:pt x="1273" y="1268"/>
                  </a:lnTo>
                  <a:lnTo>
                    <a:pt x="1273" y="116"/>
                  </a:lnTo>
                  <a:lnTo>
                    <a:pt x="115" y="116"/>
                  </a:lnTo>
                  <a:close/>
                  <a:moveTo>
                    <a:pt x="0" y="0"/>
                  </a:moveTo>
                  <a:lnTo>
                    <a:pt x="1390" y="0"/>
                  </a:lnTo>
                  <a:lnTo>
                    <a:pt x="1390" y="1383"/>
                  </a:lnTo>
                  <a:lnTo>
                    <a:pt x="0" y="1383"/>
                  </a:lnTo>
                  <a:lnTo>
                    <a:pt x="0" y="0"/>
                  </a:lnTo>
                  <a:close/>
                </a:path>
              </a:pathLst>
            </a:custGeom>
            <a:solidFill>
              <a:srgbClr val="FFFFFF"/>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sp>
          <p:nvSpPr>
            <p:cNvPr id="99" name="Rectangle 7"/>
            <p:cNvSpPr>
              <a:spLocks noChangeArrowheads="1"/>
            </p:cNvSpPr>
            <p:nvPr/>
          </p:nvSpPr>
          <p:spPr bwMode="auto">
            <a:xfrm>
              <a:off x="5100638" y="3487738"/>
              <a:ext cx="20638" cy="161925"/>
            </a:xfrm>
            <a:prstGeom prst="rect">
              <a:avLst/>
            </a:prstGeom>
            <a:solidFill>
              <a:srgbClr val="FFFFFF"/>
            </a:solidFill>
            <a:ln w="0">
              <a:noFill/>
              <a:prstDash val="solid"/>
              <a:miter lim="800000"/>
            </a:ln>
            <a:extLst>
              <a:ext uri="{91240B29-F687-4F45-9708-019B960494DF}">
                <a14:hiddenLine xmlns:a14="http://schemas.microsoft.com/office/drawing/2010/main" w="0">
                  <a:solidFill>
                    <a:srgbClr val="000000"/>
                  </a:solidFill>
                  <a:prstDash val="solid"/>
                  <a:miter lim="800000"/>
                  <a:headEnd/>
                  <a:tailEnd/>
                </a14:hiddenLine>
              </a:ext>
            </a:extLst>
          </p:spPr>
          <p:txBody>
            <a:bodyPr vert="horz" wrap="square" lIns="91440" tIns="45720" rIns="91440" bIns="45720" numCol="1" anchor="t" anchorCtr="0" compatLnSpc="1"/>
            <a:lstStyle/>
            <a:p>
              <a:endParaRPr lang="en-US" dirty="0"/>
            </a:p>
          </p:txBody>
        </p:sp>
        <p:sp>
          <p:nvSpPr>
            <p:cNvPr id="100" name="Freeform 8"/>
            <p:cNvSpPr/>
            <p:nvPr/>
          </p:nvSpPr>
          <p:spPr bwMode="auto">
            <a:xfrm>
              <a:off x="5043488" y="3581400"/>
              <a:ext cx="136525" cy="82550"/>
            </a:xfrm>
            <a:custGeom>
              <a:avLst/>
              <a:gdLst>
                <a:gd name="T0" fmla="*/ 81 w 776"/>
                <a:gd name="T1" fmla="*/ 0 h 468"/>
                <a:gd name="T2" fmla="*/ 388 w 776"/>
                <a:gd name="T3" fmla="*/ 305 h 468"/>
                <a:gd name="T4" fmla="*/ 695 w 776"/>
                <a:gd name="T5" fmla="*/ 0 h 468"/>
                <a:gd name="T6" fmla="*/ 776 w 776"/>
                <a:gd name="T7" fmla="*/ 82 h 468"/>
                <a:gd name="T8" fmla="*/ 388 w 776"/>
                <a:gd name="T9" fmla="*/ 468 h 468"/>
                <a:gd name="T10" fmla="*/ 0 w 776"/>
                <a:gd name="T11" fmla="*/ 82 h 468"/>
                <a:gd name="T12" fmla="*/ 81 w 776"/>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776" h="468">
                  <a:moveTo>
                    <a:pt x="81" y="0"/>
                  </a:moveTo>
                  <a:lnTo>
                    <a:pt x="388" y="305"/>
                  </a:lnTo>
                  <a:lnTo>
                    <a:pt x="695" y="0"/>
                  </a:lnTo>
                  <a:lnTo>
                    <a:pt x="776" y="82"/>
                  </a:lnTo>
                  <a:lnTo>
                    <a:pt x="388" y="468"/>
                  </a:lnTo>
                  <a:lnTo>
                    <a:pt x="0" y="82"/>
                  </a:lnTo>
                  <a:lnTo>
                    <a:pt x="81" y="0"/>
                  </a:lnTo>
                  <a:close/>
                </a:path>
              </a:pathLst>
            </a:custGeom>
            <a:solidFill>
              <a:srgbClr val="FFFFFF"/>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sp>
          <p:nvSpPr>
            <p:cNvPr id="101" name="Freeform 9"/>
            <p:cNvSpPr/>
            <p:nvPr/>
          </p:nvSpPr>
          <p:spPr bwMode="auto">
            <a:xfrm>
              <a:off x="4672013" y="3414713"/>
              <a:ext cx="285750" cy="152400"/>
            </a:xfrm>
            <a:custGeom>
              <a:avLst/>
              <a:gdLst>
                <a:gd name="T0" fmla="*/ 0 w 1622"/>
                <a:gd name="T1" fmla="*/ 0 h 871"/>
                <a:gd name="T2" fmla="*/ 48 w 1622"/>
                <a:gd name="T3" fmla="*/ 31 h 871"/>
                <a:gd name="T4" fmla="*/ 102 w 1622"/>
                <a:gd name="T5" fmla="*/ 60 h 871"/>
                <a:gd name="T6" fmla="*/ 160 w 1622"/>
                <a:gd name="T7" fmla="*/ 86 h 871"/>
                <a:gd name="T8" fmla="*/ 222 w 1622"/>
                <a:gd name="T9" fmla="*/ 112 h 871"/>
                <a:gd name="T10" fmla="*/ 290 w 1622"/>
                <a:gd name="T11" fmla="*/ 136 h 871"/>
                <a:gd name="T12" fmla="*/ 365 w 1622"/>
                <a:gd name="T13" fmla="*/ 160 h 871"/>
                <a:gd name="T14" fmla="*/ 447 w 1622"/>
                <a:gd name="T15" fmla="*/ 183 h 871"/>
                <a:gd name="T16" fmla="*/ 534 w 1622"/>
                <a:gd name="T17" fmla="*/ 205 h 871"/>
                <a:gd name="T18" fmla="*/ 627 w 1622"/>
                <a:gd name="T19" fmla="*/ 224 h 871"/>
                <a:gd name="T20" fmla="*/ 726 w 1622"/>
                <a:gd name="T21" fmla="*/ 242 h 871"/>
                <a:gd name="T22" fmla="*/ 829 w 1622"/>
                <a:gd name="T23" fmla="*/ 257 h 871"/>
                <a:gd name="T24" fmla="*/ 938 w 1622"/>
                <a:gd name="T25" fmla="*/ 269 h 871"/>
                <a:gd name="T26" fmla="*/ 1052 w 1622"/>
                <a:gd name="T27" fmla="*/ 280 h 871"/>
                <a:gd name="T28" fmla="*/ 1172 w 1622"/>
                <a:gd name="T29" fmla="*/ 287 h 871"/>
                <a:gd name="T30" fmla="*/ 1298 w 1622"/>
                <a:gd name="T31" fmla="*/ 292 h 871"/>
                <a:gd name="T32" fmla="*/ 1449 w 1622"/>
                <a:gd name="T33" fmla="*/ 295 h 871"/>
                <a:gd name="T34" fmla="*/ 1524 w 1622"/>
                <a:gd name="T35" fmla="*/ 295 h 871"/>
                <a:gd name="T36" fmla="*/ 1600 w 1622"/>
                <a:gd name="T37" fmla="*/ 292 h 871"/>
                <a:gd name="T38" fmla="*/ 1622 w 1622"/>
                <a:gd name="T39" fmla="*/ 291 h 871"/>
                <a:gd name="T40" fmla="*/ 1622 w 1622"/>
                <a:gd name="T41" fmla="*/ 867 h 871"/>
                <a:gd name="T42" fmla="*/ 1537 w 1622"/>
                <a:gd name="T43" fmla="*/ 869 h 871"/>
                <a:gd name="T44" fmla="*/ 1449 w 1622"/>
                <a:gd name="T45" fmla="*/ 871 h 871"/>
                <a:gd name="T46" fmla="*/ 1322 w 1622"/>
                <a:gd name="T47" fmla="*/ 869 h 871"/>
                <a:gd name="T48" fmla="*/ 1199 w 1622"/>
                <a:gd name="T49" fmla="*/ 864 h 871"/>
                <a:gd name="T50" fmla="*/ 1080 w 1622"/>
                <a:gd name="T51" fmla="*/ 857 h 871"/>
                <a:gd name="T52" fmla="*/ 966 w 1622"/>
                <a:gd name="T53" fmla="*/ 846 h 871"/>
                <a:gd name="T54" fmla="*/ 855 w 1622"/>
                <a:gd name="T55" fmla="*/ 834 h 871"/>
                <a:gd name="T56" fmla="*/ 751 w 1622"/>
                <a:gd name="T57" fmla="*/ 818 h 871"/>
                <a:gd name="T58" fmla="*/ 652 w 1622"/>
                <a:gd name="T59" fmla="*/ 800 h 871"/>
                <a:gd name="T60" fmla="*/ 557 w 1622"/>
                <a:gd name="T61" fmla="*/ 781 h 871"/>
                <a:gd name="T62" fmla="*/ 469 w 1622"/>
                <a:gd name="T63" fmla="*/ 759 h 871"/>
                <a:gd name="T64" fmla="*/ 386 w 1622"/>
                <a:gd name="T65" fmla="*/ 736 h 871"/>
                <a:gd name="T66" fmla="*/ 311 w 1622"/>
                <a:gd name="T67" fmla="*/ 711 h 871"/>
                <a:gd name="T68" fmla="*/ 241 w 1622"/>
                <a:gd name="T69" fmla="*/ 686 h 871"/>
                <a:gd name="T70" fmla="*/ 179 w 1622"/>
                <a:gd name="T71" fmla="*/ 659 h 871"/>
                <a:gd name="T72" fmla="*/ 123 w 1622"/>
                <a:gd name="T73" fmla="*/ 631 h 871"/>
                <a:gd name="T74" fmla="*/ 75 w 1622"/>
                <a:gd name="T75" fmla="*/ 601 h 871"/>
                <a:gd name="T76" fmla="*/ 34 w 1622"/>
                <a:gd name="T77" fmla="*/ 572 h 871"/>
                <a:gd name="T78" fmla="*/ 0 w 1622"/>
                <a:gd name="T79" fmla="*/ 542 h 871"/>
                <a:gd name="T80" fmla="*/ 0 w 1622"/>
                <a:gd name="T81" fmla="*/ 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22" h="871">
                  <a:moveTo>
                    <a:pt x="0" y="0"/>
                  </a:moveTo>
                  <a:lnTo>
                    <a:pt x="48" y="31"/>
                  </a:lnTo>
                  <a:lnTo>
                    <a:pt x="102" y="60"/>
                  </a:lnTo>
                  <a:lnTo>
                    <a:pt x="160" y="86"/>
                  </a:lnTo>
                  <a:lnTo>
                    <a:pt x="222" y="112"/>
                  </a:lnTo>
                  <a:lnTo>
                    <a:pt x="290" y="136"/>
                  </a:lnTo>
                  <a:lnTo>
                    <a:pt x="365" y="160"/>
                  </a:lnTo>
                  <a:lnTo>
                    <a:pt x="447" y="183"/>
                  </a:lnTo>
                  <a:lnTo>
                    <a:pt x="534" y="205"/>
                  </a:lnTo>
                  <a:lnTo>
                    <a:pt x="627" y="224"/>
                  </a:lnTo>
                  <a:lnTo>
                    <a:pt x="726" y="242"/>
                  </a:lnTo>
                  <a:lnTo>
                    <a:pt x="829" y="257"/>
                  </a:lnTo>
                  <a:lnTo>
                    <a:pt x="938" y="269"/>
                  </a:lnTo>
                  <a:lnTo>
                    <a:pt x="1052" y="280"/>
                  </a:lnTo>
                  <a:lnTo>
                    <a:pt x="1172" y="287"/>
                  </a:lnTo>
                  <a:lnTo>
                    <a:pt x="1298" y="292"/>
                  </a:lnTo>
                  <a:lnTo>
                    <a:pt x="1449" y="295"/>
                  </a:lnTo>
                  <a:lnTo>
                    <a:pt x="1524" y="295"/>
                  </a:lnTo>
                  <a:lnTo>
                    <a:pt x="1600" y="292"/>
                  </a:lnTo>
                  <a:lnTo>
                    <a:pt x="1622" y="291"/>
                  </a:lnTo>
                  <a:lnTo>
                    <a:pt x="1622" y="867"/>
                  </a:lnTo>
                  <a:lnTo>
                    <a:pt x="1537" y="869"/>
                  </a:lnTo>
                  <a:lnTo>
                    <a:pt x="1449" y="871"/>
                  </a:lnTo>
                  <a:lnTo>
                    <a:pt x="1322" y="869"/>
                  </a:lnTo>
                  <a:lnTo>
                    <a:pt x="1199" y="864"/>
                  </a:lnTo>
                  <a:lnTo>
                    <a:pt x="1080" y="857"/>
                  </a:lnTo>
                  <a:lnTo>
                    <a:pt x="966" y="846"/>
                  </a:lnTo>
                  <a:lnTo>
                    <a:pt x="855" y="834"/>
                  </a:lnTo>
                  <a:lnTo>
                    <a:pt x="751" y="818"/>
                  </a:lnTo>
                  <a:lnTo>
                    <a:pt x="652" y="800"/>
                  </a:lnTo>
                  <a:lnTo>
                    <a:pt x="557" y="781"/>
                  </a:lnTo>
                  <a:lnTo>
                    <a:pt x="469" y="759"/>
                  </a:lnTo>
                  <a:lnTo>
                    <a:pt x="386" y="736"/>
                  </a:lnTo>
                  <a:lnTo>
                    <a:pt x="311" y="711"/>
                  </a:lnTo>
                  <a:lnTo>
                    <a:pt x="241" y="686"/>
                  </a:lnTo>
                  <a:lnTo>
                    <a:pt x="179" y="659"/>
                  </a:lnTo>
                  <a:lnTo>
                    <a:pt x="123" y="631"/>
                  </a:lnTo>
                  <a:lnTo>
                    <a:pt x="75" y="601"/>
                  </a:lnTo>
                  <a:lnTo>
                    <a:pt x="34" y="572"/>
                  </a:lnTo>
                  <a:lnTo>
                    <a:pt x="0" y="542"/>
                  </a:lnTo>
                  <a:lnTo>
                    <a:pt x="0" y="0"/>
                  </a:lnTo>
                  <a:close/>
                </a:path>
              </a:pathLst>
            </a:custGeom>
            <a:solidFill>
              <a:srgbClr val="FFFFFF"/>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sp>
          <p:nvSpPr>
            <p:cNvPr id="102" name="Freeform 10"/>
            <p:cNvSpPr/>
            <p:nvPr/>
          </p:nvSpPr>
          <p:spPr bwMode="auto">
            <a:xfrm>
              <a:off x="4672013" y="3281363"/>
              <a:ext cx="511175" cy="152400"/>
            </a:xfrm>
            <a:custGeom>
              <a:avLst/>
              <a:gdLst>
                <a:gd name="T0" fmla="*/ 54 w 2897"/>
                <a:gd name="T1" fmla="*/ 34 h 870"/>
                <a:gd name="T2" fmla="*/ 177 w 2897"/>
                <a:gd name="T3" fmla="*/ 93 h 870"/>
                <a:gd name="T4" fmla="*/ 322 w 2897"/>
                <a:gd name="T5" fmla="*/ 147 h 870"/>
                <a:gd name="T6" fmla="*/ 484 w 2897"/>
                <a:gd name="T7" fmla="*/ 191 h 870"/>
                <a:gd name="T8" fmla="*/ 662 w 2897"/>
                <a:gd name="T9" fmla="*/ 228 h 870"/>
                <a:gd name="T10" fmla="*/ 850 w 2897"/>
                <a:gd name="T11" fmla="*/ 257 h 870"/>
                <a:gd name="T12" fmla="*/ 1046 w 2897"/>
                <a:gd name="T13" fmla="*/ 278 h 870"/>
                <a:gd name="T14" fmla="*/ 1247 w 2897"/>
                <a:gd name="T15" fmla="*/ 290 h 870"/>
                <a:gd name="T16" fmla="*/ 1449 w 2897"/>
                <a:gd name="T17" fmla="*/ 294 h 870"/>
                <a:gd name="T18" fmla="*/ 1650 w 2897"/>
                <a:gd name="T19" fmla="*/ 290 h 870"/>
                <a:gd name="T20" fmla="*/ 1852 w 2897"/>
                <a:gd name="T21" fmla="*/ 278 h 870"/>
                <a:gd name="T22" fmla="*/ 2047 w 2897"/>
                <a:gd name="T23" fmla="*/ 257 h 870"/>
                <a:gd name="T24" fmla="*/ 2235 w 2897"/>
                <a:gd name="T25" fmla="*/ 228 h 870"/>
                <a:gd name="T26" fmla="*/ 2413 w 2897"/>
                <a:gd name="T27" fmla="*/ 191 h 870"/>
                <a:gd name="T28" fmla="*/ 2575 w 2897"/>
                <a:gd name="T29" fmla="*/ 147 h 870"/>
                <a:gd name="T30" fmla="*/ 2720 w 2897"/>
                <a:gd name="T31" fmla="*/ 93 h 870"/>
                <a:gd name="T32" fmla="*/ 2844 w 2897"/>
                <a:gd name="T33" fmla="*/ 34 h 870"/>
                <a:gd name="T34" fmla="*/ 2897 w 2897"/>
                <a:gd name="T35" fmla="*/ 542 h 870"/>
                <a:gd name="T36" fmla="*/ 2825 w 2897"/>
                <a:gd name="T37" fmla="*/ 600 h 870"/>
                <a:gd name="T38" fmla="*/ 2723 w 2897"/>
                <a:gd name="T39" fmla="*/ 657 h 870"/>
                <a:gd name="T40" fmla="*/ 2593 w 2897"/>
                <a:gd name="T41" fmla="*/ 709 h 870"/>
                <a:gd name="T42" fmla="*/ 2438 w 2897"/>
                <a:gd name="T43" fmla="*/ 756 h 870"/>
                <a:gd name="T44" fmla="*/ 2260 w 2897"/>
                <a:gd name="T45" fmla="*/ 797 h 870"/>
                <a:gd name="T46" fmla="*/ 2061 w 2897"/>
                <a:gd name="T47" fmla="*/ 831 h 870"/>
                <a:gd name="T48" fmla="*/ 1842 w 2897"/>
                <a:gd name="T49" fmla="*/ 855 h 870"/>
                <a:gd name="T50" fmla="*/ 1606 w 2897"/>
                <a:gd name="T51" fmla="*/ 868 h 870"/>
                <a:gd name="T52" fmla="*/ 1528 w 2897"/>
                <a:gd name="T53" fmla="*/ 870 h 870"/>
                <a:gd name="T54" fmla="*/ 1369 w 2897"/>
                <a:gd name="T55" fmla="*/ 870 h 870"/>
                <a:gd name="T56" fmla="*/ 1291 w 2897"/>
                <a:gd name="T57" fmla="*/ 868 h 870"/>
                <a:gd name="T58" fmla="*/ 1055 w 2897"/>
                <a:gd name="T59" fmla="*/ 855 h 870"/>
                <a:gd name="T60" fmla="*/ 836 w 2897"/>
                <a:gd name="T61" fmla="*/ 831 h 870"/>
                <a:gd name="T62" fmla="*/ 637 w 2897"/>
                <a:gd name="T63" fmla="*/ 797 h 870"/>
                <a:gd name="T64" fmla="*/ 459 w 2897"/>
                <a:gd name="T65" fmla="*/ 756 h 870"/>
                <a:gd name="T66" fmla="*/ 304 w 2897"/>
                <a:gd name="T67" fmla="*/ 709 h 870"/>
                <a:gd name="T68" fmla="*/ 175 w 2897"/>
                <a:gd name="T69" fmla="*/ 657 h 870"/>
                <a:gd name="T70" fmla="*/ 73 w 2897"/>
                <a:gd name="T71" fmla="*/ 600 h 870"/>
                <a:gd name="T72" fmla="*/ 0 w 2897"/>
                <a:gd name="T73" fmla="*/ 542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97" h="870">
                  <a:moveTo>
                    <a:pt x="0" y="0"/>
                  </a:moveTo>
                  <a:lnTo>
                    <a:pt x="54" y="34"/>
                  </a:lnTo>
                  <a:lnTo>
                    <a:pt x="113" y="64"/>
                  </a:lnTo>
                  <a:lnTo>
                    <a:pt x="177" y="93"/>
                  </a:lnTo>
                  <a:lnTo>
                    <a:pt x="247" y="121"/>
                  </a:lnTo>
                  <a:lnTo>
                    <a:pt x="322" y="147"/>
                  </a:lnTo>
                  <a:lnTo>
                    <a:pt x="401" y="170"/>
                  </a:lnTo>
                  <a:lnTo>
                    <a:pt x="484" y="191"/>
                  </a:lnTo>
                  <a:lnTo>
                    <a:pt x="572" y="211"/>
                  </a:lnTo>
                  <a:lnTo>
                    <a:pt x="662" y="228"/>
                  </a:lnTo>
                  <a:lnTo>
                    <a:pt x="755" y="243"/>
                  </a:lnTo>
                  <a:lnTo>
                    <a:pt x="850" y="257"/>
                  </a:lnTo>
                  <a:lnTo>
                    <a:pt x="948" y="268"/>
                  </a:lnTo>
                  <a:lnTo>
                    <a:pt x="1046" y="278"/>
                  </a:lnTo>
                  <a:lnTo>
                    <a:pt x="1146" y="285"/>
                  </a:lnTo>
                  <a:lnTo>
                    <a:pt x="1247" y="290"/>
                  </a:lnTo>
                  <a:lnTo>
                    <a:pt x="1348" y="293"/>
                  </a:lnTo>
                  <a:lnTo>
                    <a:pt x="1449" y="294"/>
                  </a:lnTo>
                  <a:lnTo>
                    <a:pt x="1549" y="293"/>
                  </a:lnTo>
                  <a:lnTo>
                    <a:pt x="1650" y="290"/>
                  </a:lnTo>
                  <a:lnTo>
                    <a:pt x="1751" y="285"/>
                  </a:lnTo>
                  <a:lnTo>
                    <a:pt x="1852" y="278"/>
                  </a:lnTo>
                  <a:lnTo>
                    <a:pt x="1949" y="268"/>
                  </a:lnTo>
                  <a:lnTo>
                    <a:pt x="2047" y="257"/>
                  </a:lnTo>
                  <a:lnTo>
                    <a:pt x="2142" y="243"/>
                  </a:lnTo>
                  <a:lnTo>
                    <a:pt x="2235" y="228"/>
                  </a:lnTo>
                  <a:lnTo>
                    <a:pt x="2325" y="211"/>
                  </a:lnTo>
                  <a:lnTo>
                    <a:pt x="2413" y="191"/>
                  </a:lnTo>
                  <a:lnTo>
                    <a:pt x="2496" y="170"/>
                  </a:lnTo>
                  <a:lnTo>
                    <a:pt x="2575" y="147"/>
                  </a:lnTo>
                  <a:lnTo>
                    <a:pt x="2650" y="121"/>
                  </a:lnTo>
                  <a:lnTo>
                    <a:pt x="2720" y="93"/>
                  </a:lnTo>
                  <a:lnTo>
                    <a:pt x="2785" y="64"/>
                  </a:lnTo>
                  <a:lnTo>
                    <a:pt x="2844" y="34"/>
                  </a:lnTo>
                  <a:lnTo>
                    <a:pt x="2897" y="0"/>
                  </a:lnTo>
                  <a:lnTo>
                    <a:pt x="2897" y="542"/>
                  </a:lnTo>
                  <a:lnTo>
                    <a:pt x="2865" y="571"/>
                  </a:lnTo>
                  <a:lnTo>
                    <a:pt x="2825" y="600"/>
                  </a:lnTo>
                  <a:lnTo>
                    <a:pt x="2777" y="628"/>
                  </a:lnTo>
                  <a:lnTo>
                    <a:pt x="2723" y="657"/>
                  </a:lnTo>
                  <a:lnTo>
                    <a:pt x="2661" y="684"/>
                  </a:lnTo>
                  <a:lnTo>
                    <a:pt x="2593" y="709"/>
                  </a:lnTo>
                  <a:lnTo>
                    <a:pt x="2519" y="733"/>
                  </a:lnTo>
                  <a:lnTo>
                    <a:pt x="2438" y="756"/>
                  </a:lnTo>
                  <a:lnTo>
                    <a:pt x="2352" y="778"/>
                  </a:lnTo>
                  <a:lnTo>
                    <a:pt x="2260" y="797"/>
                  </a:lnTo>
                  <a:lnTo>
                    <a:pt x="2163" y="815"/>
                  </a:lnTo>
                  <a:lnTo>
                    <a:pt x="2061" y="831"/>
                  </a:lnTo>
                  <a:lnTo>
                    <a:pt x="1954" y="844"/>
                  </a:lnTo>
                  <a:lnTo>
                    <a:pt x="1842" y="855"/>
                  </a:lnTo>
                  <a:lnTo>
                    <a:pt x="1726" y="863"/>
                  </a:lnTo>
                  <a:lnTo>
                    <a:pt x="1606" y="868"/>
                  </a:lnTo>
                  <a:lnTo>
                    <a:pt x="1586" y="868"/>
                  </a:lnTo>
                  <a:lnTo>
                    <a:pt x="1528" y="870"/>
                  </a:lnTo>
                  <a:lnTo>
                    <a:pt x="1449" y="870"/>
                  </a:lnTo>
                  <a:lnTo>
                    <a:pt x="1369" y="870"/>
                  </a:lnTo>
                  <a:lnTo>
                    <a:pt x="1311" y="868"/>
                  </a:lnTo>
                  <a:lnTo>
                    <a:pt x="1291" y="868"/>
                  </a:lnTo>
                  <a:lnTo>
                    <a:pt x="1171" y="863"/>
                  </a:lnTo>
                  <a:lnTo>
                    <a:pt x="1055" y="855"/>
                  </a:lnTo>
                  <a:lnTo>
                    <a:pt x="944" y="844"/>
                  </a:lnTo>
                  <a:lnTo>
                    <a:pt x="836" y="831"/>
                  </a:lnTo>
                  <a:lnTo>
                    <a:pt x="734" y="815"/>
                  </a:lnTo>
                  <a:lnTo>
                    <a:pt x="637" y="797"/>
                  </a:lnTo>
                  <a:lnTo>
                    <a:pt x="546" y="778"/>
                  </a:lnTo>
                  <a:lnTo>
                    <a:pt x="459" y="756"/>
                  </a:lnTo>
                  <a:lnTo>
                    <a:pt x="378" y="733"/>
                  </a:lnTo>
                  <a:lnTo>
                    <a:pt x="304" y="709"/>
                  </a:lnTo>
                  <a:lnTo>
                    <a:pt x="236" y="683"/>
                  </a:lnTo>
                  <a:lnTo>
                    <a:pt x="175" y="657"/>
                  </a:lnTo>
                  <a:lnTo>
                    <a:pt x="120" y="628"/>
                  </a:lnTo>
                  <a:lnTo>
                    <a:pt x="73" y="600"/>
                  </a:lnTo>
                  <a:lnTo>
                    <a:pt x="33" y="571"/>
                  </a:lnTo>
                  <a:lnTo>
                    <a:pt x="0" y="542"/>
                  </a:lnTo>
                  <a:lnTo>
                    <a:pt x="0" y="0"/>
                  </a:lnTo>
                  <a:close/>
                </a:path>
              </a:pathLst>
            </a:custGeom>
            <a:solidFill>
              <a:srgbClr val="FFFFFF"/>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sp>
          <p:nvSpPr>
            <p:cNvPr id="103" name="Freeform 11"/>
            <p:cNvSpPr/>
            <p:nvPr/>
          </p:nvSpPr>
          <p:spPr bwMode="auto">
            <a:xfrm>
              <a:off x="4672013" y="3128963"/>
              <a:ext cx="511175" cy="173038"/>
            </a:xfrm>
            <a:custGeom>
              <a:avLst/>
              <a:gdLst>
                <a:gd name="T0" fmla="*/ 1566 w 2897"/>
                <a:gd name="T1" fmla="*/ 3 h 980"/>
                <a:gd name="T2" fmla="*/ 1786 w 2897"/>
                <a:gd name="T3" fmla="*/ 14 h 980"/>
                <a:gd name="T4" fmla="*/ 1986 w 2897"/>
                <a:gd name="T5" fmla="*/ 36 h 980"/>
                <a:gd name="T6" fmla="*/ 2169 w 2897"/>
                <a:gd name="T7" fmla="*/ 67 h 980"/>
                <a:gd name="T8" fmla="*/ 2331 w 2897"/>
                <a:gd name="T9" fmla="*/ 107 h 980"/>
                <a:gd name="T10" fmla="*/ 2473 w 2897"/>
                <a:gd name="T11" fmla="*/ 153 h 980"/>
                <a:gd name="T12" fmla="*/ 2595 w 2897"/>
                <a:gd name="T13" fmla="*/ 207 h 980"/>
                <a:gd name="T14" fmla="*/ 2697 w 2897"/>
                <a:gd name="T15" fmla="*/ 265 h 980"/>
                <a:gd name="T16" fmla="*/ 2778 w 2897"/>
                <a:gd name="T17" fmla="*/ 327 h 980"/>
                <a:gd name="T18" fmla="*/ 2838 w 2897"/>
                <a:gd name="T19" fmla="*/ 392 h 980"/>
                <a:gd name="T20" fmla="*/ 2877 w 2897"/>
                <a:gd name="T21" fmla="*/ 459 h 980"/>
                <a:gd name="T22" fmla="*/ 2894 w 2897"/>
                <a:gd name="T23" fmla="*/ 505 h 980"/>
                <a:gd name="T24" fmla="*/ 2897 w 2897"/>
                <a:gd name="T25" fmla="*/ 652 h 980"/>
                <a:gd name="T26" fmla="*/ 2824 w 2897"/>
                <a:gd name="T27" fmla="*/ 712 h 980"/>
                <a:gd name="T28" fmla="*/ 2719 w 2897"/>
                <a:gd name="T29" fmla="*/ 768 h 980"/>
                <a:gd name="T30" fmla="*/ 2588 w 2897"/>
                <a:gd name="T31" fmla="*/ 821 h 980"/>
                <a:gd name="T32" fmla="*/ 2430 w 2897"/>
                <a:gd name="T33" fmla="*/ 869 h 980"/>
                <a:gd name="T34" fmla="*/ 2248 w 2897"/>
                <a:gd name="T35" fmla="*/ 909 h 980"/>
                <a:gd name="T36" fmla="*/ 2043 w 2897"/>
                <a:gd name="T37" fmla="*/ 943 h 980"/>
                <a:gd name="T38" fmla="*/ 1819 w 2897"/>
                <a:gd name="T39" fmla="*/ 966 h 980"/>
                <a:gd name="T40" fmla="*/ 1577 w 2897"/>
                <a:gd name="T41" fmla="*/ 979 h 980"/>
                <a:gd name="T42" fmla="*/ 1321 w 2897"/>
                <a:gd name="T43" fmla="*/ 979 h 980"/>
                <a:gd name="T44" fmla="*/ 1078 w 2897"/>
                <a:gd name="T45" fmla="*/ 966 h 980"/>
                <a:gd name="T46" fmla="*/ 854 w 2897"/>
                <a:gd name="T47" fmla="*/ 943 h 980"/>
                <a:gd name="T48" fmla="*/ 650 w 2897"/>
                <a:gd name="T49" fmla="*/ 909 h 980"/>
                <a:gd name="T50" fmla="*/ 468 w 2897"/>
                <a:gd name="T51" fmla="*/ 869 h 980"/>
                <a:gd name="T52" fmla="*/ 310 w 2897"/>
                <a:gd name="T53" fmla="*/ 821 h 980"/>
                <a:gd name="T54" fmla="*/ 178 w 2897"/>
                <a:gd name="T55" fmla="*/ 768 h 980"/>
                <a:gd name="T56" fmla="*/ 74 w 2897"/>
                <a:gd name="T57" fmla="*/ 712 h 980"/>
                <a:gd name="T58" fmla="*/ 0 w 2897"/>
                <a:gd name="T59" fmla="*/ 652 h 980"/>
                <a:gd name="T60" fmla="*/ 3 w 2897"/>
                <a:gd name="T61" fmla="*/ 504 h 980"/>
                <a:gd name="T62" fmla="*/ 21 w 2897"/>
                <a:gd name="T63" fmla="*/ 456 h 980"/>
                <a:gd name="T64" fmla="*/ 64 w 2897"/>
                <a:gd name="T65" fmla="*/ 386 h 980"/>
                <a:gd name="T66" fmla="*/ 129 w 2897"/>
                <a:gd name="T67" fmla="*/ 318 h 980"/>
                <a:gd name="T68" fmla="*/ 218 w 2897"/>
                <a:gd name="T69" fmla="*/ 254 h 980"/>
                <a:gd name="T70" fmla="*/ 329 w 2897"/>
                <a:gd name="T71" fmla="*/ 194 h 980"/>
                <a:gd name="T72" fmla="*/ 461 w 2897"/>
                <a:gd name="T73" fmla="*/ 140 h 980"/>
                <a:gd name="T74" fmla="*/ 616 w 2897"/>
                <a:gd name="T75" fmla="*/ 94 h 980"/>
                <a:gd name="T76" fmla="*/ 793 w 2897"/>
                <a:gd name="T77" fmla="*/ 55 h 980"/>
                <a:gd name="T78" fmla="*/ 991 w 2897"/>
                <a:gd name="T79" fmla="*/ 26 h 980"/>
                <a:gd name="T80" fmla="*/ 1209 w 2897"/>
                <a:gd name="T81" fmla="*/ 7 h 980"/>
                <a:gd name="T82" fmla="*/ 1449 w 2897"/>
                <a:gd name="T83" fmla="*/ 0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97" h="980">
                  <a:moveTo>
                    <a:pt x="1449" y="0"/>
                  </a:moveTo>
                  <a:lnTo>
                    <a:pt x="1566" y="3"/>
                  </a:lnTo>
                  <a:lnTo>
                    <a:pt x="1678" y="7"/>
                  </a:lnTo>
                  <a:lnTo>
                    <a:pt x="1786" y="14"/>
                  </a:lnTo>
                  <a:lnTo>
                    <a:pt x="1888" y="23"/>
                  </a:lnTo>
                  <a:lnTo>
                    <a:pt x="1986" y="36"/>
                  </a:lnTo>
                  <a:lnTo>
                    <a:pt x="2080" y="51"/>
                  </a:lnTo>
                  <a:lnTo>
                    <a:pt x="2169" y="67"/>
                  </a:lnTo>
                  <a:lnTo>
                    <a:pt x="2252" y="86"/>
                  </a:lnTo>
                  <a:lnTo>
                    <a:pt x="2331" y="107"/>
                  </a:lnTo>
                  <a:lnTo>
                    <a:pt x="2404" y="129"/>
                  </a:lnTo>
                  <a:lnTo>
                    <a:pt x="2473" y="153"/>
                  </a:lnTo>
                  <a:lnTo>
                    <a:pt x="2536" y="180"/>
                  </a:lnTo>
                  <a:lnTo>
                    <a:pt x="2595" y="207"/>
                  </a:lnTo>
                  <a:lnTo>
                    <a:pt x="2649" y="235"/>
                  </a:lnTo>
                  <a:lnTo>
                    <a:pt x="2697" y="265"/>
                  </a:lnTo>
                  <a:lnTo>
                    <a:pt x="2740" y="296"/>
                  </a:lnTo>
                  <a:lnTo>
                    <a:pt x="2778" y="327"/>
                  </a:lnTo>
                  <a:lnTo>
                    <a:pt x="2811" y="360"/>
                  </a:lnTo>
                  <a:lnTo>
                    <a:pt x="2838" y="392"/>
                  </a:lnTo>
                  <a:lnTo>
                    <a:pt x="2861" y="426"/>
                  </a:lnTo>
                  <a:lnTo>
                    <a:pt x="2877" y="459"/>
                  </a:lnTo>
                  <a:lnTo>
                    <a:pt x="2889" y="493"/>
                  </a:lnTo>
                  <a:lnTo>
                    <a:pt x="2894" y="505"/>
                  </a:lnTo>
                  <a:lnTo>
                    <a:pt x="2897" y="519"/>
                  </a:lnTo>
                  <a:lnTo>
                    <a:pt x="2897" y="652"/>
                  </a:lnTo>
                  <a:lnTo>
                    <a:pt x="2864" y="681"/>
                  </a:lnTo>
                  <a:lnTo>
                    <a:pt x="2824" y="712"/>
                  </a:lnTo>
                  <a:lnTo>
                    <a:pt x="2775" y="740"/>
                  </a:lnTo>
                  <a:lnTo>
                    <a:pt x="2719" y="768"/>
                  </a:lnTo>
                  <a:lnTo>
                    <a:pt x="2657" y="795"/>
                  </a:lnTo>
                  <a:lnTo>
                    <a:pt x="2588" y="821"/>
                  </a:lnTo>
                  <a:lnTo>
                    <a:pt x="2512" y="846"/>
                  </a:lnTo>
                  <a:lnTo>
                    <a:pt x="2430" y="869"/>
                  </a:lnTo>
                  <a:lnTo>
                    <a:pt x="2341" y="891"/>
                  </a:lnTo>
                  <a:lnTo>
                    <a:pt x="2248" y="909"/>
                  </a:lnTo>
                  <a:lnTo>
                    <a:pt x="2149" y="927"/>
                  </a:lnTo>
                  <a:lnTo>
                    <a:pt x="2043" y="943"/>
                  </a:lnTo>
                  <a:lnTo>
                    <a:pt x="1934" y="956"/>
                  </a:lnTo>
                  <a:lnTo>
                    <a:pt x="1819" y="966"/>
                  </a:lnTo>
                  <a:lnTo>
                    <a:pt x="1700" y="973"/>
                  </a:lnTo>
                  <a:lnTo>
                    <a:pt x="1577" y="979"/>
                  </a:lnTo>
                  <a:lnTo>
                    <a:pt x="1449" y="980"/>
                  </a:lnTo>
                  <a:lnTo>
                    <a:pt x="1321" y="979"/>
                  </a:lnTo>
                  <a:lnTo>
                    <a:pt x="1197" y="973"/>
                  </a:lnTo>
                  <a:lnTo>
                    <a:pt x="1078" y="966"/>
                  </a:lnTo>
                  <a:lnTo>
                    <a:pt x="964" y="956"/>
                  </a:lnTo>
                  <a:lnTo>
                    <a:pt x="854" y="943"/>
                  </a:lnTo>
                  <a:lnTo>
                    <a:pt x="749" y="927"/>
                  </a:lnTo>
                  <a:lnTo>
                    <a:pt x="650" y="909"/>
                  </a:lnTo>
                  <a:lnTo>
                    <a:pt x="556" y="891"/>
                  </a:lnTo>
                  <a:lnTo>
                    <a:pt x="468" y="869"/>
                  </a:lnTo>
                  <a:lnTo>
                    <a:pt x="385" y="846"/>
                  </a:lnTo>
                  <a:lnTo>
                    <a:pt x="310" y="821"/>
                  </a:lnTo>
                  <a:lnTo>
                    <a:pt x="240" y="795"/>
                  </a:lnTo>
                  <a:lnTo>
                    <a:pt x="178" y="768"/>
                  </a:lnTo>
                  <a:lnTo>
                    <a:pt x="122" y="740"/>
                  </a:lnTo>
                  <a:lnTo>
                    <a:pt x="74" y="712"/>
                  </a:lnTo>
                  <a:lnTo>
                    <a:pt x="34" y="681"/>
                  </a:lnTo>
                  <a:lnTo>
                    <a:pt x="0" y="652"/>
                  </a:lnTo>
                  <a:lnTo>
                    <a:pt x="0" y="519"/>
                  </a:lnTo>
                  <a:lnTo>
                    <a:pt x="3" y="504"/>
                  </a:lnTo>
                  <a:lnTo>
                    <a:pt x="9" y="491"/>
                  </a:lnTo>
                  <a:lnTo>
                    <a:pt x="21" y="456"/>
                  </a:lnTo>
                  <a:lnTo>
                    <a:pt x="40" y="420"/>
                  </a:lnTo>
                  <a:lnTo>
                    <a:pt x="64" y="386"/>
                  </a:lnTo>
                  <a:lnTo>
                    <a:pt x="94" y="351"/>
                  </a:lnTo>
                  <a:lnTo>
                    <a:pt x="129" y="318"/>
                  </a:lnTo>
                  <a:lnTo>
                    <a:pt x="171" y="285"/>
                  </a:lnTo>
                  <a:lnTo>
                    <a:pt x="218" y="254"/>
                  </a:lnTo>
                  <a:lnTo>
                    <a:pt x="271" y="223"/>
                  </a:lnTo>
                  <a:lnTo>
                    <a:pt x="329" y="194"/>
                  </a:lnTo>
                  <a:lnTo>
                    <a:pt x="393" y="166"/>
                  </a:lnTo>
                  <a:lnTo>
                    <a:pt x="461" y="140"/>
                  </a:lnTo>
                  <a:lnTo>
                    <a:pt x="536" y="116"/>
                  </a:lnTo>
                  <a:lnTo>
                    <a:pt x="616" y="94"/>
                  </a:lnTo>
                  <a:lnTo>
                    <a:pt x="702" y="73"/>
                  </a:lnTo>
                  <a:lnTo>
                    <a:pt x="793" y="55"/>
                  </a:lnTo>
                  <a:lnTo>
                    <a:pt x="889" y="39"/>
                  </a:lnTo>
                  <a:lnTo>
                    <a:pt x="991" y="26"/>
                  </a:lnTo>
                  <a:lnTo>
                    <a:pt x="1097" y="15"/>
                  </a:lnTo>
                  <a:lnTo>
                    <a:pt x="1209" y="7"/>
                  </a:lnTo>
                  <a:lnTo>
                    <a:pt x="1326" y="3"/>
                  </a:lnTo>
                  <a:lnTo>
                    <a:pt x="1449" y="0"/>
                  </a:lnTo>
                  <a:close/>
                </a:path>
              </a:pathLst>
            </a:custGeom>
            <a:solidFill>
              <a:srgbClr val="FFFFFF"/>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sp>
          <p:nvSpPr>
            <p:cNvPr id="104" name="Freeform 12"/>
            <p:cNvSpPr/>
            <p:nvPr/>
          </p:nvSpPr>
          <p:spPr bwMode="auto">
            <a:xfrm>
              <a:off x="4672013" y="3546475"/>
              <a:ext cx="285750" cy="174625"/>
            </a:xfrm>
            <a:custGeom>
              <a:avLst/>
              <a:gdLst>
                <a:gd name="T0" fmla="*/ 0 w 1622"/>
                <a:gd name="T1" fmla="*/ 0 h 991"/>
                <a:gd name="T2" fmla="*/ 48 w 1622"/>
                <a:gd name="T3" fmla="*/ 31 h 991"/>
                <a:gd name="T4" fmla="*/ 102 w 1622"/>
                <a:gd name="T5" fmla="*/ 61 h 991"/>
                <a:gd name="T6" fmla="*/ 162 w 1622"/>
                <a:gd name="T7" fmla="*/ 90 h 991"/>
                <a:gd name="T8" fmla="*/ 227 w 1622"/>
                <a:gd name="T9" fmla="*/ 117 h 991"/>
                <a:gd name="T10" fmla="*/ 298 w 1622"/>
                <a:gd name="T11" fmla="*/ 145 h 991"/>
                <a:gd name="T12" fmla="*/ 376 w 1622"/>
                <a:gd name="T13" fmla="*/ 169 h 991"/>
                <a:gd name="T14" fmla="*/ 458 w 1622"/>
                <a:gd name="T15" fmla="*/ 192 h 991"/>
                <a:gd name="T16" fmla="*/ 547 w 1622"/>
                <a:gd name="T17" fmla="*/ 213 h 991"/>
                <a:gd name="T18" fmla="*/ 640 w 1622"/>
                <a:gd name="T19" fmla="*/ 233 h 991"/>
                <a:gd name="T20" fmla="*/ 739 w 1622"/>
                <a:gd name="T21" fmla="*/ 249 h 991"/>
                <a:gd name="T22" fmla="*/ 845 w 1622"/>
                <a:gd name="T23" fmla="*/ 264 h 991"/>
                <a:gd name="T24" fmla="*/ 954 w 1622"/>
                <a:gd name="T25" fmla="*/ 276 h 991"/>
                <a:gd name="T26" fmla="*/ 1070 w 1622"/>
                <a:gd name="T27" fmla="*/ 287 h 991"/>
                <a:gd name="T28" fmla="*/ 1191 w 1622"/>
                <a:gd name="T29" fmla="*/ 294 h 991"/>
                <a:gd name="T30" fmla="*/ 1318 w 1622"/>
                <a:gd name="T31" fmla="*/ 298 h 991"/>
                <a:gd name="T32" fmla="*/ 1449 w 1622"/>
                <a:gd name="T33" fmla="*/ 300 h 991"/>
                <a:gd name="T34" fmla="*/ 1537 w 1622"/>
                <a:gd name="T35" fmla="*/ 298 h 991"/>
                <a:gd name="T36" fmla="*/ 1622 w 1622"/>
                <a:gd name="T37" fmla="*/ 296 h 991"/>
                <a:gd name="T38" fmla="*/ 1622 w 1622"/>
                <a:gd name="T39" fmla="*/ 987 h 991"/>
                <a:gd name="T40" fmla="*/ 1537 w 1622"/>
                <a:gd name="T41" fmla="*/ 990 h 991"/>
                <a:gd name="T42" fmla="*/ 1449 w 1622"/>
                <a:gd name="T43" fmla="*/ 991 h 991"/>
                <a:gd name="T44" fmla="*/ 1341 w 1622"/>
                <a:gd name="T45" fmla="*/ 990 h 991"/>
                <a:gd name="T46" fmla="*/ 1235 w 1622"/>
                <a:gd name="T47" fmla="*/ 986 h 991"/>
                <a:gd name="T48" fmla="*/ 1133 w 1622"/>
                <a:gd name="T49" fmla="*/ 978 h 991"/>
                <a:gd name="T50" fmla="*/ 1033 w 1622"/>
                <a:gd name="T51" fmla="*/ 969 h 991"/>
                <a:gd name="T52" fmla="*/ 936 w 1622"/>
                <a:gd name="T53" fmla="*/ 957 h 991"/>
                <a:gd name="T54" fmla="*/ 843 w 1622"/>
                <a:gd name="T55" fmla="*/ 943 h 991"/>
                <a:gd name="T56" fmla="*/ 752 w 1622"/>
                <a:gd name="T57" fmla="*/ 926 h 991"/>
                <a:gd name="T58" fmla="*/ 666 w 1622"/>
                <a:gd name="T59" fmla="*/ 907 h 991"/>
                <a:gd name="T60" fmla="*/ 583 w 1622"/>
                <a:gd name="T61" fmla="*/ 886 h 991"/>
                <a:gd name="T62" fmla="*/ 505 w 1622"/>
                <a:gd name="T63" fmla="*/ 863 h 991"/>
                <a:gd name="T64" fmla="*/ 432 w 1622"/>
                <a:gd name="T65" fmla="*/ 838 h 991"/>
                <a:gd name="T66" fmla="*/ 363 w 1622"/>
                <a:gd name="T67" fmla="*/ 811 h 991"/>
                <a:gd name="T68" fmla="*/ 300 w 1622"/>
                <a:gd name="T69" fmla="*/ 782 h 991"/>
                <a:gd name="T70" fmla="*/ 242 w 1622"/>
                <a:gd name="T71" fmla="*/ 752 h 991"/>
                <a:gd name="T72" fmla="*/ 190 w 1622"/>
                <a:gd name="T73" fmla="*/ 719 h 991"/>
                <a:gd name="T74" fmla="*/ 143 w 1622"/>
                <a:gd name="T75" fmla="*/ 686 h 991"/>
                <a:gd name="T76" fmla="*/ 103 w 1622"/>
                <a:gd name="T77" fmla="*/ 651 h 991"/>
                <a:gd name="T78" fmla="*/ 68 w 1622"/>
                <a:gd name="T79" fmla="*/ 615 h 991"/>
                <a:gd name="T80" fmla="*/ 41 w 1622"/>
                <a:gd name="T81" fmla="*/ 577 h 991"/>
                <a:gd name="T82" fmla="*/ 21 w 1622"/>
                <a:gd name="T83" fmla="*/ 538 h 991"/>
                <a:gd name="T84" fmla="*/ 7 w 1622"/>
                <a:gd name="T85" fmla="*/ 499 h 991"/>
                <a:gd name="T86" fmla="*/ 2 w 1622"/>
                <a:gd name="T87" fmla="*/ 486 h 991"/>
                <a:gd name="T88" fmla="*/ 0 w 1622"/>
                <a:gd name="T89" fmla="*/ 472 h 991"/>
                <a:gd name="T90" fmla="*/ 0 w 1622"/>
                <a:gd name="T91" fmla="*/ 0 h 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22" h="991">
                  <a:moveTo>
                    <a:pt x="0" y="0"/>
                  </a:moveTo>
                  <a:lnTo>
                    <a:pt x="48" y="31"/>
                  </a:lnTo>
                  <a:lnTo>
                    <a:pt x="102" y="61"/>
                  </a:lnTo>
                  <a:lnTo>
                    <a:pt x="162" y="90"/>
                  </a:lnTo>
                  <a:lnTo>
                    <a:pt x="227" y="117"/>
                  </a:lnTo>
                  <a:lnTo>
                    <a:pt x="298" y="145"/>
                  </a:lnTo>
                  <a:lnTo>
                    <a:pt x="376" y="169"/>
                  </a:lnTo>
                  <a:lnTo>
                    <a:pt x="458" y="192"/>
                  </a:lnTo>
                  <a:lnTo>
                    <a:pt x="547" y="213"/>
                  </a:lnTo>
                  <a:lnTo>
                    <a:pt x="640" y="233"/>
                  </a:lnTo>
                  <a:lnTo>
                    <a:pt x="739" y="249"/>
                  </a:lnTo>
                  <a:lnTo>
                    <a:pt x="845" y="264"/>
                  </a:lnTo>
                  <a:lnTo>
                    <a:pt x="954" y="276"/>
                  </a:lnTo>
                  <a:lnTo>
                    <a:pt x="1070" y="287"/>
                  </a:lnTo>
                  <a:lnTo>
                    <a:pt x="1191" y="294"/>
                  </a:lnTo>
                  <a:lnTo>
                    <a:pt x="1318" y="298"/>
                  </a:lnTo>
                  <a:lnTo>
                    <a:pt x="1449" y="300"/>
                  </a:lnTo>
                  <a:lnTo>
                    <a:pt x="1537" y="298"/>
                  </a:lnTo>
                  <a:lnTo>
                    <a:pt x="1622" y="296"/>
                  </a:lnTo>
                  <a:lnTo>
                    <a:pt x="1622" y="987"/>
                  </a:lnTo>
                  <a:lnTo>
                    <a:pt x="1537" y="990"/>
                  </a:lnTo>
                  <a:lnTo>
                    <a:pt x="1449" y="991"/>
                  </a:lnTo>
                  <a:lnTo>
                    <a:pt x="1341" y="990"/>
                  </a:lnTo>
                  <a:lnTo>
                    <a:pt x="1235" y="986"/>
                  </a:lnTo>
                  <a:lnTo>
                    <a:pt x="1133" y="978"/>
                  </a:lnTo>
                  <a:lnTo>
                    <a:pt x="1033" y="969"/>
                  </a:lnTo>
                  <a:lnTo>
                    <a:pt x="936" y="957"/>
                  </a:lnTo>
                  <a:lnTo>
                    <a:pt x="843" y="943"/>
                  </a:lnTo>
                  <a:lnTo>
                    <a:pt x="752" y="926"/>
                  </a:lnTo>
                  <a:lnTo>
                    <a:pt x="666" y="907"/>
                  </a:lnTo>
                  <a:lnTo>
                    <a:pt x="583" y="886"/>
                  </a:lnTo>
                  <a:lnTo>
                    <a:pt x="505" y="863"/>
                  </a:lnTo>
                  <a:lnTo>
                    <a:pt x="432" y="838"/>
                  </a:lnTo>
                  <a:lnTo>
                    <a:pt x="363" y="811"/>
                  </a:lnTo>
                  <a:lnTo>
                    <a:pt x="300" y="782"/>
                  </a:lnTo>
                  <a:lnTo>
                    <a:pt x="242" y="752"/>
                  </a:lnTo>
                  <a:lnTo>
                    <a:pt x="190" y="719"/>
                  </a:lnTo>
                  <a:lnTo>
                    <a:pt x="143" y="686"/>
                  </a:lnTo>
                  <a:lnTo>
                    <a:pt x="103" y="651"/>
                  </a:lnTo>
                  <a:lnTo>
                    <a:pt x="68" y="615"/>
                  </a:lnTo>
                  <a:lnTo>
                    <a:pt x="41" y="577"/>
                  </a:lnTo>
                  <a:lnTo>
                    <a:pt x="21" y="538"/>
                  </a:lnTo>
                  <a:lnTo>
                    <a:pt x="7" y="499"/>
                  </a:lnTo>
                  <a:lnTo>
                    <a:pt x="2" y="486"/>
                  </a:lnTo>
                  <a:lnTo>
                    <a:pt x="0" y="472"/>
                  </a:lnTo>
                  <a:lnTo>
                    <a:pt x="0" y="0"/>
                  </a:lnTo>
                  <a:close/>
                </a:path>
              </a:pathLst>
            </a:custGeom>
            <a:solidFill>
              <a:srgbClr val="FFFFFF"/>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grpSp>
      <p:grpSp>
        <p:nvGrpSpPr>
          <p:cNvPr id="105" name="Group 378"/>
          <p:cNvGrpSpPr/>
          <p:nvPr/>
        </p:nvGrpSpPr>
        <p:grpSpPr>
          <a:xfrm>
            <a:off x="6536366" y="2238629"/>
            <a:ext cx="751143" cy="746618"/>
            <a:chOff x="1644650" y="419101"/>
            <a:chExt cx="6061075" cy="6024562"/>
          </a:xfrm>
          <a:solidFill>
            <a:schemeClr val="accent1"/>
          </a:solidFill>
        </p:grpSpPr>
        <p:sp>
          <p:nvSpPr>
            <p:cNvPr id="106" name="Freeform 19"/>
            <p:cNvSpPr>
              <a:spLocks noEditPoints="1"/>
            </p:cNvSpPr>
            <p:nvPr/>
          </p:nvSpPr>
          <p:spPr bwMode="auto">
            <a:xfrm>
              <a:off x="1644650" y="2709863"/>
              <a:ext cx="3551238" cy="3733800"/>
            </a:xfrm>
            <a:custGeom>
              <a:avLst/>
              <a:gdLst>
                <a:gd name="T0" fmla="*/ 796 w 945"/>
                <a:gd name="T1" fmla="*/ 486 h 994"/>
                <a:gd name="T2" fmla="*/ 490 w 945"/>
                <a:gd name="T3" fmla="*/ 226 h 994"/>
                <a:gd name="T4" fmla="*/ 483 w 945"/>
                <a:gd name="T5" fmla="*/ 162 h 994"/>
                <a:gd name="T6" fmla="*/ 482 w 945"/>
                <a:gd name="T7" fmla="*/ 112 h 994"/>
                <a:gd name="T8" fmla="*/ 16 w 945"/>
                <a:gd name="T9" fmla="*/ 0 h 994"/>
                <a:gd name="T10" fmla="*/ 9 w 945"/>
                <a:gd name="T11" fmla="*/ 72 h 994"/>
                <a:gd name="T12" fmla="*/ 21 w 945"/>
                <a:gd name="T13" fmla="*/ 324 h 994"/>
                <a:gd name="T14" fmla="*/ 872 w 945"/>
                <a:gd name="T15" fmla="*/ 962 h 994"/>
                <a:gd name="T16" fmla="*/ 945 w 945"/>
                <a:gd name="T17" fmla="*/ 956 h 994"/>
                <a:gd name="T18" fmla="*/ 846 w 945"/>
                <a:gd name="T19" fmla="*/ 487 h 994"/>
                <a:gd name="T20" fmla="*/ 796 w 945"/>
                <a:gd name="T21" fmla="*/ 486 h 994"/>
                <a:gd name="T22" fmla="*/ 131 w 945"/>
                <a:gd name="T23" fmla="*/ 159 h 994"/>
                <a:gd name="T24" fmla="*/ 201 w 945"/>
                <a:gd name="T25" fmla="*/ 176 h 994"/>
                <a:gd name="T26" fmla="*/ 137 w 945"/>
                <a:gd name="T27" fmla="*/ 241 h 994"/>
                <a:gd name="T28" fmla="*/ 131 w 945"/>
                <a:gd name="T29" fmla="*/ 159 h 994"/>
                <a:gd name="T30" fmla="*/ 150 w 945"/>
                <a:gd name="T31" fmla="*/ 317 h 994"/>
                <a:gd name="T32" fmla="*/ 274 w 945"/>
                <a:gd name="T33" fmla="*/ 194 h 994"/>
                <a:gd name="T34" fmla="*/ 346 w 945"/>
                <a:gd name="T35" fmla="*/ 211 h 994"/>
                <a:gd name="T36" fmla="*/ 171 w 945"/>
                <a:gd name="T37" fmla="*/ 386 h 994"/>
                <a:gd name="T38" fmla="*/ 150 w 945"/>
                <a:gd name="T39" fmla="*/ 317 h 994"/>
                <a:gd name="T40" fmla="*/ 228 w 945"/>
                <a:gd name="T41" fmla="*/ 507 h 994"/>
                <a:gd name="T42" fmla="*/ 197 w 945"/>
                <a:gd name="T43" fmla="*/ 449 h 994"/>
                <a:gd name="T44" fmla="*/ 371 w 945"/>
                <a:gd name="T45" fmla="*/ 276 h 994"/>
                <a:gd name="T46" fmla="*/ 394 w 945"/>
                <a:gd name="T47" fmla="*/ 342 h 994"/>
                <a:gd name="T48" fmla="*/ 228 w 945"/>
                <a:gd name="T49" fmla="*/ 507 h 994"/>
                <a:gd name="T50" fmla="*/ 264 w 945"/>
                <a:gd name="T51" fmla="*/ 561 h 994"/>
                <a:gd name="T52" fmla="*/ 425 w 945"/>
                <a:gd name="T53" fmla="*/ 400 h 994"/>
                <a:gd name="T54" fmla="*/ 462 w 945"/>
                <a:gd name="T55" fmla="*/ 452 h 994"/>
                <a:gd name="T56" fmla="*/ 304 w 945"/>
                <a:gd name="T57" fmla="*/ 610 h 994"/>
                <a:gd name="T58" fmla="*/ 264 w 945"/>
                <a:gd name="T59" fmla="*/ 561 h 994"/>
                <a:gd name="T60" fmla="*/ 349 w 945"/>
                <a:gd name="T61" fmla="*/ 655 h 994"/>
                <a:gd name="T62" fmla="*/ 507 w 945"/>
                <a:gd name="T63" fmla="*/ 498 h 994"/>
                <a:gd name="T64" fmla="*/ 556 w 945"/>
                <a:gd name="T65" fmla="*/ 536 h 994"/>
                <a:gd name="T66" fmla="*/ 397 w 945"/>
                <a:gd name="T67" fmla="*/ 696 h 994"/>
                <a:gd name="T68" fmla="*/ 349 w 945"/>
                <a:gd name="T69" fmla="*/ 655 h 994"/>
                <a:gd name="T70" fmla="*/ 450 w 945"/>
                <a:gd name="T71" fmla="*/ 733 h 994"/>
                <a:gd name="T72" fmla="*/ 614 w 945"/>
                <a:gd name="T73" fmla="*/ 569 h 994"/>
                <a:gd name="T74" fmla="*/ 678 w 945"/>
                <a:gd name="T75" fmla="*/ 594 h 994"/>
                <a:gd name="T76" fmla="*/ 507 w 945"/>
                <a:gd name="T77" fmla="*/ 765 h 994"/>
                <a:gd name="T78" fmla="*/ 450 w 945"/>
                <a:gd name="T79" fmla="*/ 733 h 994"/>
                <a:gd name="T80" fmla="*/ 569 w 945"/>
                <a:gd name="T81" fmla="*/ 792 h 994"/>
                <a:gd name="T82" fmla="*/ 743 w 945"/>
                <a:gd name="T83" fmla="*/ 619 h 994"/>
                <a:gd name="T84" fmla="*/ 758 w 945"/>
                <a:gd name="T85" fmla="*/ 692 h 994"/>
                <a:gd name="T86" fmla="*/ 636 w 945"/>
                <a:gd name="T87" fmla="*/ 814 h 994"/>
                <a:gd name="T88" fmla="*/ 569 w 945"/>
                <a:gd name="T89" fmla="*/ 792 h 994"/>
                <a:gd name="T90" fmla="*/ 711 w 945"/>
                <a:gd name="T91" fmla="*/ 830 h 994"/>
                <a:gd name="T92" fmla="*/ 774 w 945"/>
                <a:gd name="T93" fmla="*/ 767 h 994"/>
                <a:gd name="T94" fmla="*/ 789 w 945"/>
                <a:gd name="T95" fmla="*/ 837 h 994"/>
                <a:gd name="T96" fmla="*/ 711 w 945"/>
                <a:gd name="T97" fmla="*/ 830 h 994"/>
                <a:gd name="T98" fmla="*/ 711 w 945"/>
                <a:gd name="T99" fmla="*/ 830 h 994"/>
                <a:gd name="T100" fmla="*/ 711 w 945"/>
                <a:gd name="T101" fmla="*/ 83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5" h="994">
                  <a:moveTo>
                    <a:pt x="796" y="486"/>
                  </a:moveTo>
                  <a:cubicBezTo>
                    <a:pt x="647" y="479"/>
                    <a:pt x="520" y="373"/>
                    <a:pt x="490" y="226"/>
                  </a:cubicBezTo>
                  <a:cubicBezTo>
                    <a:pt x="485" y="205"/>
                    <a:pt x="483" y="183"/>
                    <a:pt x="483" y="162"/>
                  </a:cubicBezTo>
                  <a:cubicBezTo>
                    <a:pt x="482" y="112"/>
                    <a:pt x="482" y="112"/>
                    <a:pt x="482" y="112"/>
                  </a:cubicBezTo>
                  <a:cubicBezTo>
                    <a:pt x="16" y="0"/>
                    <a:pt x="16" y="0"/>
                    <a:pt x="16" y="0"/>
                  </a:cubicBezTo>
                  <a:cubicBezTo>
                    <a:pt x="9" y="72"/>
                    <a:pt x="9" y="72"/>
                    <a:pt x="9" y="72"/>
                  </a:cubicBezTo>
                  <a:cubicBezTo>
                    <a:pt x="0" y="157"/>
                    <a:pt x="4" y="241"/>
                    <a:pt x="21" y="324"/>
                  </a:cubicBezTo>
                  <a:cubicBezTo>
                    <a:pt x="104" y="719"/>
                    <a:pt x="470" y="994"/>
                    <a:pt x="872" y="962"/>
                  </a:cubicBezTo>
                  <a:cubicBezTo>
                    <a:pt x="945" y="956"/>
                    <a:pt x="945" y="956"/>
                    <a:pt x="945" y="956"/>
                  </a:cubicBezTo>
                  <a:cubicBezTo>
                    <a:pt x="846" y="487"/>
                    <a:pt x="846" y="487"/>
                    <a:pt x="846" y="487"/>
                  </a:cubicBezTo>
                  <a:lnTo>
                    <a:pt x="796" y="486"/>
                  </a:lnTo>
                  <a:close/>
                  <a:moveTo>
                    <a:pt x="131" y="159"/>
                  </a:moveTo>
                  <a:cubicBezTo>
                    <a:pt x="201" y="176"/>
                    <a:pt x="201" y="176"/>
                    <a:pt x="201" y="176"/>
                  </a:cubicBezTo>
                  <a:cubicBezTo>
                    <a:pt x="137" y="241"/>
                    <a:pt x="137" y="241"/>
                    <a:pt x="137" y="241"/>
                  </a:cubicBezTo>
                  <a:cubicBezTo>
                    <a:pt x="133" y="214"/>
                    <a:pt x="131" y="186"/>
                    <a:pt x="131" y="159"/>
                  </a:cubicBezTo>
                  <a:close/>
                  <a:moveTo>
                    <a:pt x="150" y="317"/>
                  </a:moveTo>
                  <a:cubicBezTo>
                    <a:pt x="274" y="194"/>
                    <a:pt x="274" y="194"/>
                    <a:pt x="274" y="194"/>
                  </a:cubicBezTo>
                  <a:cubicBezTo>
                    <a:pt x="346" y="211"/>
                    <a:pt x="346" y="211"/>
                    <a:pt x="346" y="211"/>
                  </a:cubicBezTo>
                  <a:cubicBezTo>
                    <a:pt x="171" y="386"/>
                    <a:pt x="171" y="386"/>
                    <a:pt x="171" y="386"/>
                  </a:cubicBezTo>
                  <a:cubicBezTo>
                    <a:pt x="163" y="363"/>
                    <a:pt x="156" y="341"/>
                    <a:pt x="150" y="317"/>
                  </a:cubicBezTo>
                  <a:close/>
                  <a:moveTo>
                    <a:pt x="228" y="507"/>
                  </a:moveTo>
                  <a:cubicBezTo>
                    <a:pt x="217" y="488"/>
                    <a:pt x="207" y="469"/>
                    <a:pt x="197" y="449"/>
                  </a:cubicBezTo>
                  <a:cubicBezTo>
                    <a:pt x="371" y="276"/>
                    <a:pt x="371" y="276"/>
                    <a:pt x="371" y="276"/>
                  </a:cubicBezTo>
                  <a:cubicBezTo>
                    <a:pt x="377" y="299"/>
                    <a:pt x="385" y="320"/>
                    <a:pt x="394" y="342"/>
                  </a:cubicBezTo>
                  <a:lnTo>
                    <a:pt x="228" y="507"/>
                  </a:lnTo>
                  <a:close/>
                  <a:moveTo>
                    <a:pt x="264" y="561"/>
                  </a:moveTo>
                  <a:cubicBezTo>
                    <a:pt x="425" y="400"/>
                    <a:pt x="425" y="400"/>
                    <a:pt x="425" y="400"/>
                  </a:cubicBezTo>
                  <a:cubicBezTo>
                    <a:pt x="436" y="418"/>
                    <a:pt x="449" y="436"/>
                    <a:pt x="462" y="452"/>
                  </a:cubicBezTo>
                  <a:cubicBezTo>
                    <a:pt x="304" y="610"/>
                    <a:pt x="304" y="610"/>
                    <a:pt x="304" y="610"/>
                  </a:cubicBezTo>
                  <a:cubicBezTo>
                    <a:pt x="290" y="594"/>
                    <a:pt x="277" y="578"/>
                    <a:pt x="264" y="561"/>
                  </a:cubicBezTo>
                  <a:close/>
                  <a:moveTo>
                    <a:pt x="349" y="655"/>
                  </a:moveTo>
                  <a:cubicBezTo>
                    <a:pt x="507" y="498"/>
                    <a:pt x="507" y="498"/>
                    <a:pt x="507" y="498"/>
                  </a:cubicBezTo>
                  <a:cubicBezTo>
                    <a:pt x="522" y="512"/>
                    <a:pt x="539" y="525"/>
                    <a:pt x="556" y="536"/>
                  </a:cubicBezTo>
                  <a:cubicBezTo>
                    <a:pt x="397" y="696"/>
                    <a:pt x="397" y="696"/>
                    <a:pt x="397" y="696"/>
                  </a:cubicBezTo>
                  <a:cubicBezTo>
                    <a:pt x="380" y="683"/>
                    <a:pt x="364" y="670"/>
                    <a:pt x="349" y="655"/>
                  </a:cubicBezTo>
                  <a:close/>
                  <a:moveTo>
                    <a:pt x="450" y="733"/>
                  </a:moveTo>
                  <a:cubicBezTo>
                    <a:pt x="614" y="569"/>
                    <a:pt x="614" y="569"/>
                    <a:pt x="614" y="569"/>
                  </a:cubicBezTo>
                  <a:cubicBezTo>
                    <a:pt x="635" y="579"/>
                    <a:pt x="656" y="587"/>
                    <a:pt x="678" y="594"/>
                  </a:cubicBezTo>
                  <a:cubicBezTo>
                    <a:pt x="507" y="765"/>
                    <a:pt x="507" y="765"/>
                    <a:pt x="507" y="765"/>
                  </a:cubicBezTo>
                  <a:cubicBezTo>
                    <a:pt x="487" y="755"/>
                    <a:pt x="468" y="744"/>
                    <a:pt x="450" y="733"/>
                  </a:cubicBezTo>
                  <a:close/>
                  <a:moveTo>
                    <a:pt x="569" y="792"/>
                  </a:moveTo>
                  <a:cubicBezTo>
                    <a:pt x="743" y="619"/>
                    <a:pt x="743" y="619"/>
                    <a:pt x="743" y="619"/>
                  </a:cubicBezTo>
                  <a:cubicBezTo>
                    <a:pt x="758" y="692"/>
                    <a:pt x="758" y="692"/>
                    <a:pt x="758" y="692"/>
                  </a:cubicBezTo>
                  <a:cubicBezTo>
                    <a:pt x="636" y="814"/>
                    <a:pt x="636" y="814"/>
                    <a:pt x="636" y="814"/>
                  </a:cubicBezTo>
                  <a:cubicBezTo>
                    <a:pt x="614" y="808"/>
                    <a:pt x="591" y="801"/>
                    <a:pt x="569" y="792"/>
                  </a:cubicBezTo>
                  <a:close/>
                  <a:moveTo>
                    <a:pt x="711" y="830"/>
                  </a:moveTo>
                  <a:cubicBezTo>
                    <a:pt x="774" y="767"/>
                    <a:pt x="774" y="767"/>
                    <a:pt x="774" y="767"/>
                  </a:cubicBezTo>
                  <a:cubicBezTo>
                    <a:pt x="789" y="837"/>
                    <a:pt x="789" y="837"/>
                    <a:pt x="789" y="837"/>
                  </a:cubicBezTo>
                  <a:cubicBezTo>
                    <a:pt x="763" y="836"/>
                    <a:pt x="737" y="833"/>
                    <a:pt x="711" y="830"/>
                  </a:cubicBezTo>
                  <a:close/>
                  <a:moveTo>
                    <a:pt x="711" y="830"/>
                  </a:moveTo>
                  <a:cubicBezTo>
                    <a:pt x="711" y="830"/>
                    <a:pt x="711" y="830"/>
                    <a:pt x="711" y="830"/>
                  </a:cubicBezTo>
                </a:path>
              </a:pathLst>
            </a:custGeom>
            <a:solidFill>
              <a:srgbClr val="FFFFFF"/>
            </a:solidFill>
            <a:ln>
              <a:noFill/>
            </a:ln>
            <a:extLst>
              <a:ext uri="{91240B29-F687-4F45-9708-019B960494DF}">
                <a14:hiddenLine xmlns:a14="http://schemas.microsoft.com/office/drawing/2010/main" w="9525">
                  <a:solidFill>
                    <a:srgbClr val="177B57"/>
                  </a:solidFill>
                  <a:round/>
                </a14:hiddenLine>
              </a:ext>
            </a:extLst>
          </p:spPr>
          <p:txBody>
            <a:bodyPr vert="horz" wrap="square" lIns="91440" tIns="45720" rIns="91440" bIns="45720" numCol="1" anchor="t" anchorCtr="0" compatLnSpc="1"/>
            <a:lstStyle/>
            <a:p>
              <a:endParaRPr lang="en-US" dirty="0"/>
            </a:p>
          </p:txBody>
        </p:sp>
        <p:sp>
          <p:nvSpPr>
            <p:cNvPr id="107" name="Freeform 20"/>
            <p:cNvSpPr>
              <a:spLocks noEditPoints="1"/>
            </p:cNvSpPr>
            <p:nvPr/>
          </p:nvSpPr>
          <p:spPr bwMode="auto">
            <a:xfrm>
              <a:off x="4470400" y="419101"/>
              <a:ext cx="3235325" cy="5518150"/>
            </a:xfrm>
            <a:custGeom>
              <a:avLst/>
              <a:gdLst>
                <a:gd name="T0" fmla="*/ 784 w 861"/>
                <a:gd name="T1" fmla="*/ 616 h 1469"/>
                <a:gd name="T2" fmla="*/ 0 w 861"/>
                <a:gd name="T3" fmla="*/ 29 h 1469"/>
                <a:gd name="T4" fmla="*/ 74 w 861"/>
                <a:gd name="T5" fmla="*/ 378 h 1469"/>
                <a:gd name="T6" fmla="*/ 440 w 861"/>
                <a:gd name="T7" fmla="*/ 688 h 1469"/>
                <a:gd name="T8" fmla="*/ 229 w 861"/>
                <a:gd name="T9" fmla="*/ 1120 h 1469"/>
                <a:gd name="T10" fmla="*/ 302 w 861"/>
                <a:gd name="T11" fmla="*/ 1469 h 1469"/>
                <a:gd name="T12" fmla="*/ 784 w 861"/>
                <a:gd name="T13" fmla="*/ 616 h 1469"/>
                <a:gd name="T14" fmla="*/ 784 w 861"/>
                <a:gd name="T15" fmla="*/ 616 h 1469"/>
                <a:gd name="T16" fmla="*/ 784 w 861"/>
                <a:gd name="T17" fmla="*/ 616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1" h="1469">
                  <a:moveTo>
                    <a:pt x="784" y="616"/>
                  </a:moveTo>
                  <a:cubicBezTo>
                    <a:pt x="707" y="247"/>
                    <a:pt x="367" y="0"/>
                    <a:pt x="0" y="29"/>
                  </a:cubicBezTo>
                  <a:cubicBezTo>
                    <a:pt x="74" y="378"/>
                    <a:pt x="74" y="378"/>
                    <a:pt x="74" y="378"/>
                  </a:cubicBezTo>
                  <a:cubicBezTo>
                    <a:pt x="248" y="385"/>
                    <a:pt x="403" y="509"/>
                    <a:pt x="440" y="688"/>
                  </a:cubicBezTo>
                  <a:cubicBezTo>
                    <a:pt x="478" y="867"/>
                    <a:pt x="387" y="1043"/>
                    <a:pt x="229" y="1120"/>
                  </a:cubicBezTo>
                  <a:cubicBezTo>
                    <a:pt x="302" y="1469"/>
                    <a:pt x="302" y="1469"/>
                    <a:pt x="302" y="1469"/>
                  </a:cubicBezTo>
                  <a:cubicBezTo>
                    <a:pt x="650" y="1348"/>
                    <a:pt x="861" y="985"/>
                    <a:pt x="784" y="616"/>
                  </a:cubicBezTo>
                  <a:close/>
                  <a:moveTo>
                    <a:pt x="784" y="616"/>
                  </a:moveTo>
                  <a:cubicBezTo>
                    <a:pt x="784" y="616"/>
                    <a:pt x="784" y="616"/>
                    <a:pt x="784" y="616"/>
                  </a:cubicBezTo>
                </a:path>
              </a:pathLst>
            </a:custGeom>
            <a:solidFill>
              <a:srgbClr val="FFFFFF"/>
            </a:solidFill>
            <a:ln>
              <a:noFill/>
            </a:ln>
            <a:extLst>
              <a:ext uri="{91240B29-F687-4F45-9708-019B960494DF}">
                <a14:hiddenLine xmlns:a14="http://schemas.microsoft.com/office/drawing/2010/main" w="9525">
                  <a:solidFill>
                    <a:srgbClr val="177B57"/>
                  </a:solidFill>
                  <a:round/>
                </a14:hiddenLine>
              </a:ext>
            </a:extLst>
          </p:spPr>
          <p:txBody>
            <a:bodyPr vert="horz" wrap="square" lIns="91440" tIns="45720" rIns="91440" bIns="45720" numCol="1" anchor="t" anchorCtr="0" compatLnSpc="1"/>
            <a:lstStyle/>
            <a:p>
              <a:endParaRPr lang="en-US" dirty="0"/>
            </a:p>
          </p:txBody>
        </p:sp>
        <p:sp>
          <p:nvSpPr>
            <p:cNvPr id="108" name="Freeform 21"/>
            <p:cNvSpPr>
              <a:spLocks noEditPoints="1"/>
            </p:cNvSpPr>
            <p:nvPr/>
          </p:nvSpPr>
          <p:spPr bwMode="auto">
            <a:xfrm>
              <a:off x="2084388" y="674688"/>
              <a:ext cx="1957388" cy="1944688"/>
            </a:xfrm>
            <a:custGeom>
              <a:avLst/>
              <a:gdLst>
                <a:gd name="T0" fmla="*/ 521 w 521"/>
                <a:gd name="T1" fmla="*/ 349 h 518"/>
                <a:gd name="T2" fmla="*/ 448 w 521"/>
                <a:gd name="T3" fmla="*/ 0 h 518"/>
                <a:gd name="T4" fmla="*/ 0 w 521"/>
                <a:gd name="T5" fmla="*/ 435 h 518"/>
                <a:gd name="T6" fmla="*/ 347 w 521"/>
                <a:gd name="T7" fmla="*/ 518 h 518"/>
                <a:gd name="T8" fmla="*/ 521 w 521"/>
                <a:gd name="T9" fmla="*/ 349 h 518"/>
                <a:gd name="T10" fmla="*/ 521 w 521"/>
                <a:gd name="T11" fmla="*/ 349 h 518"/>
                <a:gd name="T12" fmla="*/ 521 w 521"/>
                <a:gd name="T13" fmla="*/ 349 h 518"/>
              </a:gdLst>
              <a:ahLst/>
              <a:cxnLst>
                <a:cxn ang="0">
                  <a:pos x="T0" y="T1"/>
                </a:cxn>
                <a:cxn ang="0">
                  <a:pos x="T2" y="T3"/>
                </a:cxn>
                <a:cxn ang="0">
                  <a:pos x="T4" y="T5"/>
                </a:cxn>
                <a:cxn ang="0">
                  <a:pos x="T6" y="T7"/>
                </a:cxn>
                <a:cxn ang="0">
                  <a:pos x="T8" y="T9"/>
                </a:cxn>
                <a:cxn ang="0">
                  <a:pos x="T10" y="T11"/>
                </a:cxn>
                <a:cxn ang="0">
                  <a:pos x="T12" y="T13"/>
                </a:cxn>
              </a:cxnLst>
              <a:rect l="0" t="0" r="r" b="b"/>
              <a:pathLst>
                <a:path w="521" h="518">
                  <a:moveTo>
                    <a:pt x="521" y="349"/>
                  </a:moveTo>
                  <a:cubicBezTo>
                    <a:pt x="448" y="0"/>
                    <a:pt x="448" y="0"/>
                    <a:pt x="448" y="0"/>
                  </a:cubicBezTo>
                  <a:cubicBezTo>
                    <a:pt x="237" y="74"/>
                    <a:pt x="77" y="236"/>
                    <a:pt x="0" y="435"/>
                  </a:cubicBezTo>
                  <a:cubicBezTo>
                    <a:pt x="347" y="518"/>
                    <a:pt x="347" y="518"/>
                    <a:pt x="347" y="518"/>
                  </a:cubicBezTo>
                  <a:cubicBezTo>
                    <a:pt x="385" y="446"/>
                    <a:pt x="445" y="386"/>
                    <a:pt x="521" y="349"/>
                  </a:cubicBezTo>
                  <a:close/>
                  <a:moveTo>
                    <a:pt x="521" y="349"/>
                  </a:moveTo>
                  <a:cubicBezTo>
                    <a:pt x="521" y="349"/>
                    <a:pt x="521" y="349"/>
                    <a:pt x="521" y="349"/>
                  </a:cubicBezTo>
                </a:path>
              </a:pathLst>
            </a:custGeom>
            <a:solidFill>
              <a:srgbClr val="FFFFFF"/>
            </a:solidFill>
            <a:ln>
              <a:noFill/>
            </a:ln>
            <a:extLst>
              <a:ext uri="{91240B29-F687-4F45-9708-019B960494DF}">
                <a14:hiddenLine xmlns:a14="http://schemas.microsoft.com/office/drawing/2010/main" w="9525">
                  <a:solidFill>
                    <a:srgbClr val="177B57"/>
                  </a:solidFill>
                  <a:round/>
                </a14:hiddenLine>
              </a:ext>
            </a:extLst>
          </p:spPr>
          <p:txBody>
            <a:bodyPr vert="horz" wrap="square" lIns="91440" tIns="45720" rIns="91440" bIns="45720" numCol="1" anchor="t" anchorCtr="0" compatLnSpc="1"/>
            <a:lstStyle/>
            <a:p>
              <a:endParaRPr lang="en-US" dirty="0"/>
            </a:p>
          </p:txBody>
        </p:sp>
      </p:grpSp>
      <p:grpSp>
        <p:nvGrpSpPr>
          <p:cNvPr id="127" name="组合 126"/>
          <p:cNvGrpSpPr/>
          <p:nvPr/>
        </p:nvGrpSpPr>
        <p:grpSpPr>
          <a:xfrm>
            <a:off x="4672297" y="4415023"/>
            <a:ext cx="1089924" cy="363166"/>
            <a:chOff x="4717121" y="4468811"/>
            <a:chExt cx="989460" cy="329691"/>
          </a:xfrm>
        </p:grpSpPr>
        <p:grpSp>
          <p:nvGrpSpPr>
            <p:cNvPr id="109" name="Group 98"/>
            <p:cNvGrpSpPr/>
            <p:nvPr/>
          </p:nvGrpSpPr>
          <p:grpSpPr>
            <a:xfrm>
              <a:off x="4717121" y="4468811"/>
              <a:ext cx="329820" cy="329691"/>
              <a:chOff x="4826760" y="1402649"/>
              <a:chExt cx="329820" cy="329691"/>
            </a:xfrm>
          </p:grpSpPr>
          <p:cxnSp>
            <p:nvCxnSpPr>
              <p:cNvPr id="110" name="Straight Connector 99"/>
              <p:cNvCxnSpPr/>
              <p:nvPr/>
            </p:nvCxnSpPr>
            <p:spPr>
              <a:xfrm>
                <a:off x="4826760" y="1405632"/>
                <a:ext cx="73823" cy="326708"/>
              </a:xfrm>
              <a:prstGeom prst="line">
                <a:avLst/>
              </a:prstGeom>
              <a:noFill/>
              <a:ln w="28575" cap="rnd" cmpd="sng" algn="ctr">
                <a:solidFill>
                  <a:srgbClr val="FFFFFF"/>
                </a:solidFill>
                <a:prstDash val="solid"/>
                <a:round/>
                <a:headEnd type="none" w="med" len="med"/>
                <a:tailEnd type="none" w="med" len="med"/>
              </a:ln>
              <a:effectLst/>
            </p:spPr>
          </p:cxnSp>
          <p:sp>
            <p:nvSpPr>
              <p:cNvPr id="111" name="Freeform 100"/>
              <p:cNvSpPr/>
              <p:nvPr/>
            </p:nvSpPr>
            <p:spPr>
              <a:xfrm>
                <a:off x="4858924" y="1402649"/>
                <a:ext cx="297656" cy="201666"/>
              </a:xfrm>
              <a:custGeom>
                <a:avLst/>
                <a:gdLst>
                  <a:gd name="connsiteX0" fmla="*/ 0 w 297656"/>
                  <a:gd name="connsiteY0" fmla="*/ 0 h 192881"/>
                  <a:gd name="connsiteX1" fmla="*/ 47625 w 297656"/>
                  <a:gd name="connsiteY1" fmla="*/ 178594 h 192881"/>
                  <a:gd name="connsiteX2" fmla="*/ 297656 w 297656"/>
                  <a:gd name="connsiteY2" fmla="*/ 192881 h 192881"/>
                  <a:gd name="connsiteX3" fmla="*/ 221456 w 297656"/>
                  <a:gd name="connsiteY3" fmla="*/ 80962 h 192881"/>
                  <a:gd name="connsiteX4" fmla="*/ 247650 w 297656"/>
                  <a:gd name="connsiteY4" fmla="*/ 2381 h 192881"/>
                  <a:gd name="connsiteX5" fmla="*/ 164306 w 297656"/>
                  <a:gd name="connsiteY5" fmla="*/ 16669 h 192881"/>
                  <a:gd name="connsiteX6" fmla="*/ 0 w 297656"/>
                  <a:gd name="connsiteY6" fmla="*/ 0 h 192881"/>
                  <a:gd name="connsiteX0-1" fmla="*/ 0 w 297656"/>
                  <a:gd name="connsiteY0-2" fmla="*/ 0 h 192881"/>
                  <a:gd name="connsiteX1-3" fmla="*/ 47625 w 297656"/>
                  <a:gd name="connsiteY1-4" fmla="*/ 178594 h 192881"/>
                  <a:gd name="connsiteX2-5" fmla="*/ 297656 w 297656"/>
                  <a:gd name="connsiteY2-6" fmla="*/ 192881 h 192881"/>
                  <a:gd name="connsiteX3-7" fmla="*/ 221456 w 297656"/>
                  <a:gd name="connsiteY3-8" fmla="*/ 80962 h 192881"/>
                  <a:gd name="connsiteX4-9" fmla="*/ 257175 w 297656"/>
                  <a:gd name="connsiteY4-10" fmla="*/ 14287 h 192881"/>
                  <a:gd name="connsiteX5-11" fmla="*/ 164306 w 297656"/>
                  <a:gd name="connsiteY5-12" fmla="*/ 16669 h 192881"/>
                  <a:gd name="connsiteX6-13" fmla="*/ 0 w 297656"/>
                  <a:gd name="connsiteY6-14" fmla="*/ 0 h 192881"/>
                  <a:gd name="connsiteX0-15" fmla="*/ 0 w 297656"/>
                  <a:gd name="connsiteY0-16" fmla="*/ 0 h 192881"/>
                  <a:gd name="connsiteX1-17" fmla="*/ 47625 w 297656"/>
                  <a:gd name="connsiteY1-18" fmla="*/ 178594 h 192881"/>
                  <a:gd name="connsiteX2-19" fmla="*/ 297656 w 297656"/>
                  <a:gd name="connsiteY2-20" fmla="*/ 192881 h 192881"/>
                  <a:gd name="connsiteX3-21" fmla="*/ 221456 w 297656"/>
                  <a:gd name="connsiteY3-22" fmla="*/ 80962 h 192881"/>
                  <a:gd name="connsiteX4-23" fmla="*/ 257175 w 297656"/>
                  <a:gd name="connsiteY4-24" fmla="*/ 14287 h 192881"/>
                  <a:gd name="connsiteX5-25" fmla="*/ 164306 w 297656"/>
                  <a:gd name="connsiteY5-26" fmla="*/ 16669 h 192881"/>
                  <a:gd name="connsiteX6-27" fmla="*/ 0 w 297656"/>
                  <a:gd name="connsiteY6-28" fmla="*/ 0 h 192881"/>
                  <a:gd name="connsiteX0-29" fmla="*/ 0 w 297656"/>
                  <a:gd name="connsiteY0-30" fmla="*/ 8224 h 201105"/>
                  <a:gd name="connsiteX1-31" fmla="*/ 47625 w 297656"/>
                  <a:gd name="connsiteY1-32" fmla="*/ 186818 h 201105"/>
                  <a:gd name="connsiteX2-33" fmla="*/ 297656 w 297656"/>
                  <a:gd name="connsiteY2-34" fmla="*/ 201105 h 201105"/>
                  <a:gd name="connsiteX3-35" fmla="*/ 221456 w 297656"/>
                  <a:gd name="connsiteY3-36" fmla="*/ 89186 h 201105"/>
                  <a:gd name="connsiteX4-37" fmla="*/ 257175 w 297656"/>
                  <a:gd name="connsiteY4-38" fmla="*/ 22511 h 201105"/>
                  <a:gd name="connsiteX5-39" fmla="*/ 164306 w 297656"/>
                  <a:gd name="connsiteY5-40" fmla="*/ 24893 h 201105"/>
                  <a:gd name="connsiteX6-41" fmla="*/ 0 w 297656"/>
                  <a:gd name="connsiteY6-42" fmla="*/ 8224 h 201105"/>
                  <a:gd name="connsiteX0-43" fmla="*/ 0 w 297656"/>
                  <a:gd name="connsiteY0-44" fmla="*/ 8224 h 201105"/>
                  <a:gd name="connsiteX1-45" fmla="*/ 47625 w 297656"/>
                  <a:gd name="connsiteY1-46" fmla="*/ 186818 h 201105"/>
                  <a:gd name="connsiteX2-47" fmla="*/ 297656 w 297656"/>
                  <a:gd name="connsiteY2-48" fmla="*/ 201105 h 201105"/>
                  <a:gd name="connsiteX3-49" fmla="*/ 221456 w 297656"/>
                  <a:gd name="connsiteY3-50" fmla="*/ 89186 h 201105"/>
                  <a:gd name="connsiteX4-51" fmla="*/ 257175 w 297656"/>
                  <a:gd name="connsiteY4-52" fmla="*/ 22511 h 201105"/>
                  <a:gd name="connsiteX5-53" fmla="*/ 164306 w 297656"/>
                  <a:gd name="connsiteY5-54" fmla="*/ 24893 h 201105"/>
                  <a:gd name="connsiteX6-55" fmla="*/ 0 w 297656"/>
                  <a:gd name="connsiteY6-56" fmla="*/ 8224 h 201105"/>
                  <a:gd name="connsiteX0-57" fmla="*/ 0 w 297656"/>
                  <a:gd name="connsiteY0-58" fmla="*/ 8224 h 201105"/>
                  <a:gd name="connsiteX1-59" fmla="*/ 47625 w 297656"/>
                  <a:gd name="connsiteY1-60" fmla="*/ 186818 h 201105"/>
                  <a:gd name="connsiteX2-61" fmla="*/ 297656 w 297656"/>
                  <a:gd name="connsiteY2-62" fmla="*/ 201105 h 201105"/>
                  <a:gd name="connsiteX3-63" fmla="*/ 221456 w 297656"/>
                  <a:gd name="connsiteY3-64" fmla="*/ 89186 h 201105"/>
                  <a:gd name="connsiteX4-65" fmla="*/ 257175 w 297656"/>
                  <a:gd name="connsiteY4-66" fmla="*/ 22511 h 201105"/>
                  <a:gd name="connsiteX5-67" fmla="*/ 164306 w 297656"/>
                  <a:gd name="connsiteY5-68" fmla="*/ 24893 h 201105"/>
                  <a:gd name="connsiteX6-69" fmla="*/ 0 w 297656"/>
                  <a:gd name="connsiteY6-70" fmla="*/ 8224 h 201105"/>
                  <a:gd name="connsiteX0-71" fmla="*/ 0 w 297656"/>
                  <a:gd name="connsiteY0-72" fmla="*/ 8224 h 201105"/>
                  <a:gd name="connsiteX1-73" fmla="*/ 47625 w 297656"/>
                  <a:gd name="connsiteY1-74" fmla="*/ 186818 h 201105"/>
                  <a:gd name="connsiteX2-75" fmla="*/ 297656 w 297656"/>
                  <a:gd name="connsiteY2-76" fmla="*/ 201105 h 201105"/>
                  <a:gd name="connsiteX3-77" fmla="*/ 221456 w 297656"/>
                  <a:gd name="connsiteY3-78" fmla="*/ 89186 h 201105"/>
                  <a:gd name="connsiteX4-79" fmla="*/ 257175 w 297656"/>
                  <a:gd name="connsiteY4-80" fmla="*/ 22511 h 201105"/>
                  <a:gd name="connsiteX5-81" fmla="*/ 164306 w 297656"/>
                  <a:gd name="connsiteY5-82" fmla="*/ 24893 h 201105"/>
                  <a:gd name="connsiteX6-83" fmla="*/ 0 w 297656"/>
                  <a:gd name="connsiteY6-84" fmla="*/ 8224 h 201105"/>
                  <a:gd name="connsiteX0-85" fmla="*/ 0 w 297656"/>
                  <a:gd name="connsiteY0-86" fmla="*/ 8224 h 201105"/>
                  <a:gd name="connsiteX1-87" fmla="*/ 47625 w 297656"/>
                  <a:gd name="connsiteY1-88" fmla="*/ 186818 h 201105"/>
                  <a:gd name="connsiteX2-89" fmla="*/ 297656 w 297656"/>
                  <a:gd name="connsiteY2-90" fmla="*/ 201105 h 201105"/>
                  <a:gd name="connsiteX3-91" fmla="*/ 221456 w 297656"/>
                  <a:gd name="connsiteY3-92" fmla="*/ 89186 h 201105"/>
                  <a:gd name="connsiteX4-93" fmla="*/ 257175 w 297656"/>
                  <a:gd name="connsiteY4-94" fmla="*/ 22511 h 201105"/>
                  <a:gd name="connsiteX5-95" fmla="*/ 164306 w 297656"/>
                  <a:gd name="connsiteY5-96" fmla="*/ 24893 h 201105"/>
                  <a:gd name="connsiteX6-97" fmla="*/ 0 w 297656"/>
                  <a:gd name="connsiteY6-98" fmla="*/ 8224 h 201105"/>
                  <a:gd name="connsiteX0-99" fmla="*/ 0 w 297656"/>
                  <a:gd name="connsiteY0-100" fmla="*/ 8224 h 201629"/>
                  <a:gd name="connsiteX1-101" fmla="*/ 47625 w 297656"/>
                  <a:gd name="connsiteY1-102" fmla="*/ 186818 h 201629"/>
                  <a:gd name="connsiteX2-103" fmla="*/ 297656 w 297656"/>
                  <a:gd name="connsiteY2-104" fmla="*/ 201105 h 201629"/>
                  <a:gd name="connsiteX3-105" fmla="*/ 221456 w 297656"/>
                  <a:gd name="connsiteY3-106" fmla="*/ 89186 h 201629"/>
                  <a:gd name="connsiteX4-107" fmla="*/ 257175 w 297656"/>
                  <a:gd name="connsiteY4-108" fmla="*/ 22511 h 201629"/>
                  <a:gd name="connsiteX5-109" fmla="*/ 164306 w 297656"/>
                  <a:gd name="connsiteY5-110" fmla="*/ 24893 h 201629"/>
                  <a:gd name="connsiteX6-111" fmla="*/ 0 w 297656"/>
                  <a:gd name="connsiteY6-112" fmla="*/ 8224 h 201629"/>
                  <a:gd name="connsiteX0-113" fmla="*/ 0 w 297656"/>
                  <a:gd name="connsiteY0-114" fmla="*/ 8224 h 201629"/>
                  <a:gd name="connsiteX1-115" fmla="*/ 47625 w 297656"/>
                  <a:gd name="connsiteY1-116" fmla="*/ 186818 h 201629"/>
                  <a:gd name="connsiteX2-117" fmla="*/ 297656 w 297656"/>
                  <a:gd name="connsiteY2-118" fmla="*/ 201105 h 201629"/>
                  <a:gd name="connsiteX3-119" fmla="*/ 221456 w 297656"/>
                  <a:gd name="connsiteY3-120" fmla="*/ 89186 h 201629"/>
                  <a:gd name="connsiteX4-121" fmla="*/ 257175 w 297656"/>
                  <a:gd name="connsiteY4-122" fmla="*/ 22511 h 201629"/>
                  <a:gd name="connsiteX5-123" fmla="*/ 164306 w 297656"/>
                  <a:gd name="connsiteY5-124" fmla="*/ 24893 h 201629"/>
                  <a:gd name="connsiteX6-125" fmla="*/ 0 w 297656"/>
                  <a:gd name="connsiteY6-126" fmla="*/ 8224 h 201629"/>
                  <a:gd name="connsiteX0-127" fmla="*/ 0 w 297656"/>
                  <a:gd name="connsiteY0-128" fmla="*/ 8224 h 201629"/>
                  <a:gd name="connsiteX1-129" fmla="*/ 47625 w 297656"/>
                  <a:gd name="connsiteY1-130" fmla="*/ 186818 h 201629"/>
                  <a:gd name="connsiteX2-131" fmla="*/ 297656 w 297656"/>
                  <a:gd name="connsiteY2-132" fmla="*/ 201105 h 201629"/>
                  <a:gd name="connsiteX3-133" fmla="*/ 223838 w 297656"/>
                  <a:gd name="connsiteY3-134" fmla="*/ 98711 h 201629"/>
                  <a:gd name="connsiteX4-135" fmla="*/ 257175 w 297656"/>
                  <a:gd name="connsiteY4-136" fmla="*/ 22511 h 201629"/>
                  <a:gd name="connsiteX5-137" fmla="*/ 164306 w 297656"/>
                  <a:gd name="connsiteY5-138" fmla="*/ 24893 h 201629"/>
                  <a:gd name="connsiteX6-139" fmla="*/ 0 w 297656"/>
                  <a:gd name="connsiteY6-140" fmla="*/ 8224 h 201629"/>
                  <a:gd name="connsiteX0-141" fmla="*/ 0 w 297656"/>
                  <a:gd name="connsiteY0-142" fmla="*/ 8224 h 201472"/>
                  <a:gd name="connsiteX1-143" fmla="*/ 80963 w 297656"/>
                  <a:gd name="connsiteY1-144" fmla="*/ 155861 h 201472"/>
                  <a:gd name="connsiteX2-145" fmla="*/ 297656 w 297656"/>
                  <a:gd name="connsiteY2-146" fmla="*/ 201105 h 201472"/>
                  <a:gd name="connsiteX3-147" fmla="*/ 223838 w 297656"/>
                  <a:gd name="connsiteY3-148" fmla="*/ 98711 h 201472"/>
                  <a:gd name="connsiteX4-149" fmla="*/ 257175 w 297656"/>
                  <a:gd name="connsiteY4-150" fmla="*/ 22511 h 201472"/>
                  <a:gd name="connsiteX5-151" fmla="*/ 164306 w 297656"/>
                  <a:gd name="connsiteY5-152" fmla="*/ 24893 h 201472"/>
                  <a:gd name="connsiteX6-153" fmla="*/ 0 w 297656"/>
                  <a:gd name="connsiteY6-154" fmla="*/ 8224 h 201472"/>
                  <a:gd name="connsiteX0-155" fmla="*/ 0 w 297656"/>
                  <a:gd name="connsiteY0-156" fmla="*/ 8224 h 201509"/>
                  <a:gd name="connsiteX1-157" fmla="*/ 38100 w 297656"/>
                  <a:gd name="connsiteY1-158" fmla="*/ 165386 h 201509"/>
                  <a:gd name="connsiteX2-159" fmla="*/ 297656 w 297656"/>
                  <a:gd name="connsiteY2-160" fmla="*/ 201105 h 201509"/>
                  <a:gd name="connsiteX3-161" fmla="*/ 223838 w 297656"/>
                  <a:gd name="connsiteY3-162" fmla="*/ 98711 h 201509"/>
                  <a:gd name="connsiteX4-163" fmla="*/ 257175 w 297656"/>
                  <a:gd name="connsiteY4-164" fmla="*/ 22511 h 201509"/>
                  <a:gd name="connsiteX5-165" fmla="*/ 164306 w 297656"/>
                  <a:gd name="connsiteY5-166" fmla="*/ 24893 h 201509"/>
                  <a:gd name="connsiteX6-167" fmla="*/ 0 w 297656"/>
                  <a:gd name="connsiteY6-168" fmla="*/ 8224 h 201509"/>
                  <a:gd name="connsiteX0-169" fmla="*/ 0 w 297656"/>
                  <a:gd name="connsiteY0-170" fmla="*/ 8224 h 201520"/>
                  <a:gd name="connsiteX1-171" fmla="*/ 123825 w 297656"/>
                  <a:gd name="connsiteY1-172" fmla="*/ 167767 h 201520"/>
                  <a:gd name="connsiteX2-173" fmla="*/ 297656 w 297656"/>
                  <a:gd name="connsiteY2-174" fmla="*/ 201105 h 201520"/>
                  <a:gd name="connsiteX3-175" fmla="*/ 223838 w 297656"/>
                  <a:gd name="connsiteY3-176" fmla="*/ 98711 h 201520"/>
                  <a:gd name="connsiteX4-177" fmla="*/ 257175 w 297656"/>
                  <a:gd name="connsiteY4-178" fmla="*/ 22511 h 201520"/>
                  <a:gd name="connsiteX5-179" fmla="*/ 164306 w 297656"/>
                  <a:gd name="connsiteY5-180" fmla="*/ 24893 h 201520"/>
                  <a:gd name="connsiteX6-181" fmla="*/ 0 w 297656"/>
                  <a:gd name="connsiteY6-182" fmla="*/ 8224 h 201520"/>
                  <a:gd name="connsiteX0-183" fmla="*/ 0 w 297656"/>
                  <a:gd name="connsiteY0-184" fmla="*/ 8224 h 201629"/>
                  <a:gd name="connsiteX1-185" fmla="*/ 45244 w 297656"/>
                  <a:gd name="connsiteY1-186" fmla="*/ 186817 h 201629"/>
                  <a:gd name="connsiteX2-187" fmla="*/ 297656 w 297656"/>
                  <a:gd name="connsiteY2-188" fmla="*/ 201105 h 201629"/>
                  <a:gd name="connsiteX3-189" fmla="*/ 223838 w 297656"/>
                  <a:gd name="connsiteY3-190" fmla="*/ 98711 h 201629"/>
                  <a:gd name="connsiteX4-191" fmla="*/ 257175 w 297656"/>
                  <a:gd name="connsiteY4-192" fmla="*/ 22511 h 201629"/>
                  <a:gd name="connsiteX5-193" fmla="*/ 164306 w 297656"/>
                  <a:gd name="connsiteY5-194" fmla="*/ 24893 h 201629"/>
                  <a:gd name="connsiteX6-195" fmla="*/ 0 w 297656"/>
                  <a:gd name="connsiteY6-196" fmla="*/ 8224 h 201629"/>
                  <a:gd name="connsiteX0-197" fmla="*/ 0 w 297656"/>
                  <a:gd name="connsiteY0-198" fmla="*/ 8224 h 201409"/>
                  <a:gd name="connsiteX1-199" fmla="*/ 90488 w 297656"/>
                  <a:gd name="connsiteY1-200" fmla="*/ 134430 h 201409"/>
                  <a:gd name="connsiteX2-201" fmla="*/ 297656 w 297656"/>
                  <a:gd name="connsiteY2-202" fmla="*/ 201105 h 201409"/>
                  <a:gd name="connsiteX3-203" fmla="*/ 223838 w 297656"/>
                  <a:gd name="connsiteY3-204" fmla="*/ 98711 h 201409"/>
                  <a:gd name="connsiteX4-205" fmla="*/ 257175 w 297656"/>
                  <a:gd name="connsiteY4-206" fmla="*/ 22511 h 201409"/>
                  <a:gd name="connsiteX5-207" fmla="*/ 164306 w 297656"/>
                  <a:gd name="connsiteY5-208" fmla="*/ 24893 h 201409"/>
                  <a:gd name="connsiteX6-209" fmla="*/ 0 w 297656"/>
                  <a:gd name="connsiteY6-210" fmla="*/ 8224 h 201409"/>
                  <a:gd name="connsiteX0-211" fmla="*/ 0 w 297656"/>
                  <a:gd name="connsiteY0-212" fmla="*/ 8224 h 201666"/>
                  <a:gd name="connsiteX1-213" fmla="*/ 42863 w 297656"/>
                  <a:gd name="connsiteY1-214" fmla="*/ 191580 h 201666"/>
                  <a:gd name="connsiteX2-215" fmla="*/ 297656 w 297656"/>
                  <a:gd name="connsiteY2-216" fmla="*/ 201105 h 201666"/>
                  <a:gd name="connsiteX3-217" fmla="*/ 223838 w 297656"/>
                  <a:gd name="connsiteY3-218" fmla="*/ 98711 h 201666"/>
                  <a:gd name="connsiteX4-219" fmla="*/ 257175 w 297656"/>
                  <a:gd name="connsiteY4-220" fmla="*/ 22511 h 201666"/>
                  <a:gd name="connsiteX5-221" fmla="*/ 164306 w 297656"/>
                  <a:gd name="connsiteY5-222" fmla="*/ 24893 h 201666"/>
                  <a:gd name="connsiteX6-223" fmla="*/ 0 w 297656"/>
                  <a:gd name="connsiteY6-224" fmla="*/ 8224 h 20166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297656" h="201666">
                    <a:moveTo>
                      <a:pt x="0" y="8224"/>
                    </a:moveTo>
                    <a:lnTo>
                      <a:pt x="42863" y="191580"/>
                    </a:lnTo>
                    <a:cubicBezTo>
                      <a:pt x="116683" y="143955"/>
                      <a:pt x="188118" y="208250"/>
                      <a:pt x="297656" y="201105"/>
                    </a:cubicBezTo>
                    <a:lnTo>
                      <a:pt x="223838" y="98711"/>
                    </a:lnTo>
                    <a:lnTo>
                      <a:pt x="257175" y="22511"/>
                    </a:lnTo>
                    <a:cubicBezTo>
                      <a:pt x="226219" y="35211"/>
                      <a:pt x="195262" y="36006"/>
                      <a:pt x="164306" y="24893"/>
                    </a:cubicBezTo>
                    <a:cubicBezTo>
                      <a:pt x="109537" y="287"/>
                      <a:pt x="61913" y="-7651"/>
                      <a:pt x="0" y="8224"/>
                    </a:cubicBezTo>
                    <a:close/>
                  </a:path>
                </a:pathLst>
              </a:custGeom>
              <a:solidFill>
                <a:srgbClr val="FFFFFF"/>
              </a:solidFill>
              <a:ln w="25400" cap="flat" cmpd="sng" algn="ctr">
                <a:noFill/>
                <a:prstDash val="solid"/>
              </a:ln>
              <a:effectLst/>
            </p:spPr>
            <p:txBody>
              <a:bodyPr rtlCol="0" anchor="ctr"/>
              <a:lstStyle/>
              <a:p>
                <a:pPr algn="ctr" defTabSz="914400"/>
                <a:endParaRPr lang="en-US" kern="0">
                  <a:solidFill>
                    <a:srgbClr val="FFFFFF"/>
                  </a:solidFill>
                </a:endParaRPr>
              </a:p>
            </p:txBody>
          </p:sp>
        </p:grpSp>
        <p:grpSp>
          <p:nvGrpSpPr>
            <p:cNvPr id="112" name="Group 101"/>
            <p:cNvGrpSpPr/>
            <p:nvPr/>
          </p:nvGrpSpPr>
          <p:grpSpPr>
            <a:xfrm>
              <a:off x="5046941" y="4468811"/>
              <a:ext cx="329820" cy="329691"/>
              <a:chOff x="4826760" y="1402649"/>
              <a:chExt cx="329820" cy="329691"/>
            </a:xfrm>
          </p:grpSpPr>
          <p:cxnSp>
            <p:nvCxnSpPr>
              <p:cNvPr id="113" name="Straight Connector 102"/>
              <p:cNvCxnSpPr/>
              <p:nvPr/>
            </p:nvCxnSpPr>
            <p:spPr>
              <a:xfrm>
                <a:off x="4826760" y="1405632"/>
                <a:ext cx="73823" cy="326708"/>
              </a:xfrm>
              <a:prstGeom prst="line">
                <a:avLst/>
              </a:prstGeom>
              <a:noFill/>
              <a:ln w="28575" cap="rnd" cmpd="sng" algn="ctr">
                <a:solidFill>
                  <a:srgbClr val="FFFFFF"/>
                </a:solidFill>
                <a:prstDash val="solid"/>
                <a:round/>
                <a:headEnd type="none" w="med" len="med"/>
                <a:tailEnd type="none" w="med" len="med"/>
              </a:ln>
              <a:effectLst/>
            </p:spPr>
          </p:cxnSp>
          <p:sp>
            <p:nvSpPr>
              <p:cNvPr id="114" name="Freeform 103"/>
              <p:cNvSpPr/>
              <p:nvPr/>
            </p:nvSpPr>
            <p:spPr>
              <a:xfrm>
                <a:off x="4858924" y="1402649"/>
                <a:ext cx="297656" cy="201666"/>
              </a:xfrm>
              <a:custGeom>
                <a:avLst/>
                <a:gdLst>
                  <a:gd name="connsiteX0" fmla="*/ 0 w 297656"/>
                  <a:gd name="connsiteY0" fmla="*/ 0 h 192881"/>
                  <a:gd name="connsiteX1" fmla="*/ 47625 w 297656"/>
                  <a:gd name="connsiteY1" fmla="*/ 178594 h 192881"/>
                  <a:gd name="connsiteX2" fmla="*/ 297656 w 297656"/>
                  <a:gd name="connsiteY2" fmla="*/ 192881 h 192881"/>
                  <a:gd name="connsiteX3" fmla="*/ 221456 w 297656"/>
                  <a:gd name="connsiteY3" fmla="*/ 80962 h 192881"/>
                  <a:gd name="connsiteX4" fmla="*/ 247650 w 297656"/>
                  <a:gd name="connsiteY4" fmla="*/ 2381 h 192881"/>
                  <a:gd name="connsiteX5" fmla="*/ 164306 w 297656"/>
                  <a:gd name="connsiteY5" fmla="*/ 16669 h 192881"/>
                  <a:gd name="connsiteX6" fmla="*/ 0 w 297656"/>
                  <a:gd name="connsiteY6" fmla="*/ 0 h 192881"/>
                  <a:gd name="connsiteX0-1" fmla="*/ 0 w 297656"/>
                  <a:gd name="connsiteY0-2" fmla="*/ 0 h 192881"/>
                  <a:gd name="connsiteX1-3" fmla="*/ 47625 w 297656"/>
                  <a:gd name="connsiteY1-4" fmla="*/ 178594 h 192881"/>
                  <a:gd name="connsiteX2-5" fmla="*/ 297656 w 297656"/>
                  <a:gd name="connsiteY2-6" fmla="*/ 192881 h 192881"/>
                  <a:gd name="connsiteX3-7" fmla="*/ 221456 w 297656"/>
                  <a:gd name="connsiteY3-8" fmla="*/ 80962 h 192881"/>
                  <a:gd name="connsiteX4-9" fmla="*/ 257175 w 297656"/>
                  <a:gd name="connsiteY4-10" fmla="*/ 14287 h 192881"/>
                  <a:gd name="connsiteX5-11" fmla="*/ 164306 w 297656"/>
                  <a:gd name="connsiteY5-12" fmla="*/ 16669 h 192881"/>
                  <a:gd name="connsiteX6-13" fmla="*/ 0 w 297656"/>
                  <a:gd name="connsiteY6-14" fmla="*/ 0 h 192881"/>
                  <a:gd name="connsiteX0-15" fmla="*/ 0 w 297656"/>
                  <a:gd name="connsiteY0-16" fmla="*/ 0 h 192881"/>
                  <a:gd name="connsiteX1-17" fmla="*/ 47625 w 297656"/>
                  <a:gd name="connsiteY1-18" fmla="*/ 178594 h 192881"/>
                  <a:gd name="connsiteX2-19" fmla="*/ 297656 w 297656"/>
                  <a:gd name="connsiteY2-20" fmla="*/ 192881 h 192881"/>
                  <a:gd name="connsiteX3-21" fmla="*/ 221456 w 297656"/>
                  <a:gd name="connsiteY3-22" fmla="*/ 80962 h 192881"/>
                  <a:gd name="connsiteX4-23" fmla="*/ 257175 w 297656"/>
                  <a:gd name="connsiteY4-24" fmla="*/ 14287 h 192881"/>
                  <a:gd name="connsiteX5-25" fmla="*/ 164306 w 297656"/>
                  <a:gd name="connsiteY5-26" fmla="*/ 16669 h 192881"/>
                  <a:gd name="connsiteX6-27" fmla="*/ 0 w 297656"/>
                  <a:gd name="connsiteY6-28" fmla="*/ 0 h 192881"/>
                  <a:gd name="connsiteX0-29" fmla="*/ 0 w 297656"/>
                  <a:gd name="connsiteY0-30" fmla="*/ 8224 h 201105"/>
                  <a:gd name="connsiteX1-31" fmla="*/ 47625 w 297656"/>
                  <a:gd name="connsiteY1-32" fmla="*/ 186818 h 201105"/>
                  <a:gd name="connsiteX2-33" fmla="*/ 297656 w 297656"/>
                  <a:gd name="connsiteY2-34" fmla="*/ 201105 h 201105"/>
                  <a:gd name="connsiteX3-35" fmla="*/ 221456 w 297656"/>
                  <a:gd name="connsiteY3-36" fmla="*/ 89186 h 201105"/>
                  <a:gd name="connsiteX4-37" fmla="*/ 257175 w 297656"/>
                  <a:gd name="connsiteY4-38" fmla="*/ 22511 h 201105"/>
                  <a:gd name="connsiteX5-39" fmla="*/ 164306 w 297656"/>
                  <a:gd name="connsiteY5-40" fmla="*/ 24893 h 201105"/>
                  <a:gd name="connsiteX6-41" fmla="*/ 0 w 297656"/>
                  <a:gd name="connsiteY6-42" fmla="*/ 8224 h 201105"/>
                  <a:gd name="connsiteX0-43" fmla="*/ 0 w 297656"/>
                  <a:gd name="connsiteY0-44" fmla="*/ 8224 h 201105"/>
                  <a:gd name="connsiteX1-45" fmla="*/ 47625 w 297656"/>
                  <a:gd name="connsiteY1-46" fmla="*/ 186818 h 201105"/>
                  <a:gd name="connsiteX2-47" fmla="*/ 297656 w 297656"/>
                  <a:gd name="connsiteY2-48" fmla="*/ 201105 h 201105"/>
                  <a:gd name="connsiteX3-49" fmla="*/ 221456 w 297656"/>
                  <a:gd name="connsiteY3-50" fmla="*/ 89186 h 201105"/>
                  <a:gd name="connsiteX4-51" fmla="*/ 257175 w 297656"/>
                  <a:gd name="connsiteY4-52" fmla="*/ 22511 h 201105"/>
                  <a:gd name="connsiteX5-53" fmla="*/ 164306 w 297656"/>
                  <a:gd name="connsiteY5-54" fmla="*/ 24893 h 201105"/>
                  <a:gd name="connsiteX6-55" fmla="*/ 0 w 297656"/>
                  <a:gd name="connsiteY6-56" fmla="*/ 8224 h 201105"/>
                  <a:gd name="connsiteX0-57" fmla="*/ 0 w 297656"/>
                  <a:gd name="connsiteY0-58" fmla="*/ 8224 h 201105"/>
                  <a:gd name="connsiteX1-59" fmla="*/ 47625 w 297656"/>
                  <a:gd name="connsiteY1-60" fmla="*/ 186818 h 201105"/>
                  <a:gd name="connsiteX2-61" fmla="*/ 297656 w 297656"/>
                  <a:gd name="connsiteY2-62" fmla="*/ 201105 h 201105"/>
                  <a:gd name="connsiteX3-63" fmla="*/ 221456 w 297656"/>
                  <a:gd name="connsiteY3-64" fmla="*/ 89186 h 201105"/>
                  <a:gd name="connsiteX4-65" fmla="*/ 257175 w 297656"/>
                  <a:gd name="connsiteY4-66" fmla="*/ 22511 h 201105"/>
                  <a:gd name="connsiteX5-67" fmla="*/ 164306 w 297656"/>
                  <a:gd name="connsiteY5-68" fmla="*/ 24893 h 201105"/>
                  <a:gd name="connsiteX6-69" fmla="*/ 0 w 297656"/>
                  <a:gd name="connsiteY6-70" fmla="*/ 8224 h 201105"/>
                  <a:gd name="connsiteX0-71" fmla="*/ 0 w 297656"/>
                  <a:gd name="connsiteY0-72" fmla="*/ 8224 h 201105"/>
                  <a:gd name="connsiteX1-73" fmla="*/ 47625 w 297656"/>
                  <a:gd name="connsiteY1-74" fmla="*/ 186818 h 201105"/>
                  <a:gd name="connsiteX2-75" fmla="*/ 297656 w 297656"/>
                  <a:gd name="connsiteY2-76" fmla="*/ 201105 h 201105"/>
                  <a:gd name="connsiteX3-77" fmla="*/ 221456 w 297656"/>
                  <a:gd name="connsiteY3-78" fmla="*/ 89186 h 201105"/>
                  <a:gd name="connsiteX4-79" fmla="*/ 257175 w 297656"/>
                  <a:gd name="connsiteY4-80" fmla="*/ 22511 h 201105"/>
                  <a:gd name="connsiteX5-81" fmla="*/ 164306 w 297656"/>
                  <a:gd name="connsiteY5-82" fmla="*/ 24893 h 201105"/>
                  <a:gd name="connsiteX6-83" fmla="*/ 0 w 297656"/>
                  <a:gd name="connsiteY6-84" fmla="*/ 8224 h 201105"/>
                  <a:gd name="connsiteX0-85" fmla="*/ 0 w 297656"/>
                  <a:gd name="connsiteY0-86" fmla="*/ 8224 h 201105"/>
                  <a:gd name="connsiteX1-87" fmla="*/ 47625 w 297656"/>
                  <a:gd name="connsiteY1-88" fmla="*/ 186818 h 201105"/>
                  <a:gd name="connsiteX2-89" fmla="*/ 297656 w 297656"/>
                  <a:gd name="connsiteY2-90" fmla="*/ 201105 h 201105"/>
                  <a:gd name="connsiteX3-91" fmla="*/ 221456 w 297656"/>
                  <a:gd name="connsiteY3-92" fmla="*/ 89186 h 201105"/>
                  <a:gd name="connsiteX4-93" fmla="*/ 257175 w 297656"/>
                  <a:gd name="connsiteY4-94" fmla="*/ 22511 h 201105"/>
                  <a:gd name="connsiteX5-95" fmla="*/ 164306 w 297656"/>
                  <a:gd name="connsiteY5-96" fmla="*/ 24893 h 201105"/>
                  <a:gd name="connsiteX6-97" fmla="*/ 0 w 297656"/>
                  <a:gd name="connsiteY6-98" fmla="*/ 8224 h 201105"/>
                  <a:gd name="connsiteX0-99" fmla="*/ 0 w 297656"/>
                  <a:gd name="connsiteY0-100" fmla="*/ 8224 h 201629"/>
                  <a:gd name="connsiteX1-101" fmla="*/ 47625 w 297656"/>
                  <a:gd name="connsiteY1-102" fmla="*/ 186818 h 201629"/>
                  <a:gd name="connsiteX2-103" fmla="*/ 297656 w 297656"/>
                  <a:gd name="connsiteY2-104" fmla="*/ 201105 h 201629"/>
                  <a:gd name="connsiteX3-105" fmla="*/ 221456 w 297656"/>
                  <a:gd name="connsiteY3-106" fmla="*/ 89186 h 201629"/>
                  <a:gd name="connsiteX4-107" fmla="*/ 257175 w 297656"/>
                  <a:gd name="connsiteY4-108" fmla="*/ 22511 h 201629"/>
                  <a:gd name="connsiteX5-109" fmla="*/ 164306 w 297656"/>
                  <a:gd name="connsiteY5-110" fmla="*/ 24893 h 201629"/>
                  <a:gd name="connsiteX6-111" fmla="*/ 0 w 297656"/>
                  <a:gd name="connsiteY6-112" fmla="*/ 8224 h 201629"/>
                  <a:gd name="connsiteX0-113" fmla="*/ 0 w 297656"/>
                  <a:gd name="connsiteY0-114" fmla="*/ 8224 h 201629"/>
                  <a:gd name="connsiteX1-115" fmla="*/ 47625 w 297656"/>
                  <a:gd name="connsiteY1-116" fmla="*/ 186818 h 201629"/>
                  <a:gd name="connsiteX2-117" fmla="*/ 297656 w 297656"/>
                  <a:gd name="connsiteY2-118" fmla="*/ 201105 h 201629"/>
                  <a:gd name="connsiteX3-119" fmla="*/ 221456 w 297656"/>
                  <a:gd name="connsiteY3-120" fmla="*/ 89186 h 201629"/>
                  <a:gd name="connsiteX4-121" fmla="*/ 257175 w 297656"/>
                  <a:gd name="connsiteY4-122" fmla="*/ 22511 h 201629"/>
                  <a:gd name="connsiteX5-123" fmla="*/ 164306 w 297656"/>
                  <a:gd name="connsiteY5-124" fmla="*/ 24893 h 201629"/>
                  <a:gd name="connsiteX6-125" fmla="*/ 0 w 297656"/>
                  <a:gd name="connsiteY6-126" fmla="*/ 8224 h 201629"/>
                  <a:gd name="connsiteX0-127" fmla="*/ 0 w 297656"/>
                  <a:gd name="connsiteY0-128" fmla="*/ 8224 h 201629"/>
                  <a:gd name="connsiteX1-129" fmla="*/ 47625 w 297656"/>
                  <a:gd name="connsiteY1-130" fmla="*/ 186818 h 201629"/>
                  <a:gd name="connsiteX2-131" fmla="*/ 297656 w 297656"/>
                  <a:gd name="connsiteY2-132" fmla="*/ 201105 h 201629"/>
                  <a:gd name="connsiteX3-133" fmla="*/ 223838 w 297656"/>
                  <a:gd name="connsiteY3-134" fmla="*/ 98711 h 201629"/>
                  <a:gd name="connsiteX4-135" fmla="*/ 257175 w 297656"/>
                  <a:gd name="connsiteY4-136" fmla="*/ 22511 h 201629"/>
                  <a:gd name="connsiteX5-137" fmla="*/ 164306 w 297656"/>
                  <a:gd name="connsiteY5-138" fmla="*/ 24893 h 201629"/>
                  <a:gd name="connsiteX6-139" fmla="*/ 0 w 297656"/>
                  <a:gd name="connsiteY6-140" fmla="*/ 8224 h 201629"/>
                  <a:gd name="connsiteX0-141" fmla="*/ 0 w 297656"/>
                  <a:gd name="connsiteY0-142" fmla="*/ 8224 h 201472"/>
                  <a:gd name="connsiteX1-143" fmla="*/ 80963 w 297656"/>
                  <a:gd name="connsiteY1-144" fmla="*/ 155861 h 201472"/>
                  <a:gd name="connsiteX2-145" fmla="*/ 297656 w 297656"/>
                  <a:gd name="connsiteY2-146" fmla="*/ 201105 h 201472"/>
                  <a:gd name="connsiteX3-147" fmla="*/ 223838 w 297656"/>
                  <a:gd name="connsiteY3-148" fmla="*/ 98711 h 201472"/>
                  <a:gd name="connsiteX4-149" fmla="*/ 257175 w 297656"/>
                  <a:gd name="connsiteY4-150" fmla="*/ 22511 h 201472"/>
                  <a:gd name="connsiteX5-151" fmla="*/ 164306 w 297656"/>
                  <a:gd name="connsiteY5-152" fmla="*/ 24893 h 201472"/>
                  <a:gd name="connsiteX6-153" fmla="*/ 0 w 297656"/>
                  <a:gd name="connsiteY6-154" fmla="*/ 8224 h 201472"/>
                  <a:gd name="connsiteX0-155" fmla="*/ 0 w 297656"/>
                  <a:gd name="connsiteY0-156" fmla="*/ 8224 h 201509"/>
                  <a:gd name="connsiteX1-157" fmla="*/ 38100 w 297656"/>
                  <a:gd name="connsiteY1-158" fmla="*/ 165386 h 201509"/>
                  <a:gd name="connsiteX2-159" fmla="*/ 297656 w 297656"/>
                  <a:gd name="connsiteY2-160" fmla="*/ 201105 h 201509"/>
                  <a:gd name="connsiteX3-161" fmla="*/ 223838 w 297656"/>
                  <a:gd name="connsiteY3-162" fmla="*/ 98711 h 201509"/>
                  <a:gd name="connsiteX4-163" fmla="*/ 257175 w 297656"/>
                  <a:gd name="connsiteY4-164" fmla="*/ 22511 h 201509"/>
                  <a:gd name="connsiteX5-165" fmla="*/ 164306 w 297656"/>
                  <a:gd name="connsiteY5-166" fmla="*/ 24893 h 201509"/>
                  <a:gd name="connsiteX6-167" fmla="*/ 0 w 297656"/>
                  <a:gd name="connsiteY6-168" fmla="*/ 8224 h 201509"/>
                  <a:gd name="connsiteX0-169" fmla="*/ 0 w 297656"/>
                  <a:gd name="connsiteY0-170" fmla="*/ 8224 h 201520"/>
                  <a:gd name="connsiteX1-171" fmla="*/ 123825 w 297656"/>
                  <a:gd name="connsiteY1-172" fmla="*/ 167767 h 201520"/>
                  <a:gd name="connsiteX2-173" fmla="*/ 297656 w 297656"/>
                  <a:gd name="connsiteY2-174" fmla="*/ 201105 h 201520"/>
                  <a:gd name="connsiteX3-175" fmla="*/ 223838 w 297656"/>
                  <a:gd name="connsiteY3-176" fmla="*/ 98711 h 201520"/>
                  <a:gd name="connsiteX4-177" fmla="*/ 257175 w 297656"/>
                  <a:gd name="connsiteY4-178" fmla="*/ 22511 h 201520"/>
                  <a:gd name="connsiteX5-179" fmla="*/ 164306 w 297656"/>
                  <a:gd name="connsiteY5-180" fmla="*/ 24893 h 201520"/>
                  <a:gd name="connsiteX6-181" fmla="*/ 0 w 297656"/>
                  <a:gd name="connsiteY6-182" fmla="*/ 8224 h 201520"/>
                  <a:gd name="connsiteX0-183" fmla="*/ 0 w 297656"/>
                  <a:gd name="connsiteY0-184" fmla="*/ 8224 h 201629"/>
                  <a:gd name="connsiteX1-185" fmla="*/ 45244 w 297656"/>
                  <a:gd name="connsiteY1-186" fmla="*/ 186817 h 201629"/>
                  <a:gd name="connsiteX2-187" fmla="*/ 297656 w 297656"/>
                  <a:gd name="connsiteY2-188" fmla="*/ 201105 h 201629"/>
                  <a:gd name="connsiteX3-189" fmla="*/ 223838 w 297656"/>
                  <a:gd name="connsiteY3-190" fmla="*/ 98711 h 201629"/>
                  <a:gd name="connsiteX4-191" fmla="*/ 257175 w 297656"/>
                  <a:gd name="connsiteY4-192" fmla="*/ 22511 h 201629"/>
                  <a:gd name="connsiteX5-193" fmla="*/ 164306 w 297656"/>
                  <a:gd name="connsiteY5-194" fmla="*/ 24893 h 201629"/>
                  <a:gd name="connsiteX6-195" fmla="*/ 0 w 297656"/>
                  <a:gd name="connsiteY6-196" fmla="*/ 8224 h 201629"/>
                  <a:gd name="connsiteX0-197" fmla="*/ 0 w 297656"/>
                  <a:gd name="connsiteY0-198" fmla="*/ 8224 h 201409"/>
                  <a:gd name="connsiteX1-199" fmla="*/ 90488 w 297656"/>
                  <a:gd name="connsiteY1-200" fmla="*/ 134430 h 201409"/>
                  <a:gd name="connsiteX2-201" fmla="*/ 297656 w 297656"/>
                  <a:gd name="connsiteY2-202" fmla="*/ 201105 h 201409"/>
                  <a:gd name="connsiteX3-203" fmla="*/ 223838 w 297656"/>
                  <a:gd name="connsiteY3-204" fmla="*/ 98711 h 201409"/>
                  <a:gd name="connsiteX4-205" fmla="*/ 257175 w 297656"/>
                  <a:gd name="connsiteY4-206" fmla="*/ 22511 h 201409"/>
                  <a:gd name="connsiteX5-207" fmla="*/ 164306 w 297656"/>
                  <a:gd name="connsiteY5-208" fmla="*/ 24893 h 201409"/>
                  <a:gd name="connsiteX6-209" fmla="*/ 0 w 297656"/>
                  <a:gd name="connsiteY6-210" fmla="*/ 8224 h 201409"/>
                  <a:gd name="connsiteX0-211" fmla="*/ 0 w 297656"/>
                  <a:gd name="connsiteY0-212" fmla="*/ 8224 h 201666"/>
                  <a:gd name="connsiteX1-213" fmla="*/ 42863 w 297656"/>
                  <a:gd name="connsiteY1-214" fmla="*/ 191580 h 201666"/>
                  <a:gd name="connsiteX2-215" fmla="*/ 297656 w 297656"/>
                  <a:gd name="connsiteY2-216" fmla="*/ 201105 h 201666"/>
                  <a:gd name="connsiteX3-217" fmla="*/ 223838 w 297656"/>
                  <a:gd name="connsiteY3-218" fmla="*/ 98711 h 201666"/>
                  <a:gd name="connsiteX4-219" fmla="*/ 257175 w 297656"/>
                  <a:gd name="connsiteY4-220" fmla="*/ 22511 h 201666"/>
                  <a:gd name="connsiteX5-221" fmla="*/ 164306 w 297656"/>
                  <a:gd name="connsiteY5-222" fmla="*/ 24893 h 201666"/>
                  <a:gd name="connsiteX6-223" fmla="*/ 0 w 297656"/>
                  <a:gd name="connsiteY6-224" fmla="*/ 8224 h 20166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297656" h="201666">
                    <a:moveTo>
                      <a:pt x="0" y="8224"/>
                    </a:moveTo>
                    <a:lnTo>
                      <a:pt x="42863" y="191580"/>
                    </a:lnTo>
                    <a:cubicBezTo>
                      <a:pt x="116683" y="143955"/>
                      <a:pt x="188118" y="208250"/>
                      <a:pt x="297656" y="201105"/>
                    </a:cubicBezTo>
                    <a:lnTo>
                      <a:pt x="223838" y="98711"/>
                    </a:lnTo>
                    <a:lnTo>
                      <a:pt x="257175" y="22511"/>
                    </a:lnTo>
                    <a:cubicBezTo>
                      <a:pt x="226219" y="35211"/>
                      <a:pt x="195262" y="36006"/>
                      <a:pt x="164306" y="24893"/>
                    </a:cubicBezTo>
                    <a:cubicBezTo>
                      <a:pt x="109537" y="287"/>
                      <a:pt x="61913" y="-7651"/>
                      <a:pt x="0" y="8224"/>
                    </a:cubicBezTo>
                    <a:close/>
                  </a:path>
                </a:pathLst>
              </a:custGeom>
              <a:solidFill>
                <a:srgbClr val="FFFFFF"/>
              </a:solidFill>
              <a:ln w="25400" cap="flat" cmpd="sng" algn="ctr">
                <a:noFill/>
                <a:prstDash val="solid"/>
              </a:ln>
              <a:effectLst/>
            </p:spPr>
            <p:txBody>
              <a:bodyPr rtlCol="0" anchor="ctr"/>
              <a:lstStyle/>
              <a:p>
                <a:pPr algn="ctr" defTabSz="914400"/>
                <a:endParaRPr lang="en-US" kern="0">
                  <a:solidFill>
                    <a:srgbClr val="FFFFFF"/>
                  </a:solidFill>
                </a:endParaRPr>
              </a:p>
            </p:txBody>
          </p:sp>
        </p:grpSp>
        <p:grpSp>
          <p:nvGrpSpPr>
            <p:cNvPr id="115" name="Group 104"/>
            <p:cNvGrpSpPr/>
            <p:nvPr/>
          </p:nvGrpSpPr>
          <p:grpSpPr>
            <a:xfrm>
              <a:off x="5376761" y="4468811"/>
              <a:ext cx="329820" cy="329691"/>
              <a:chOff x="4826760" y="1402649"/>
              <a:chExt cx="329820" cy="329691"/>
            </a:xfrm>
          </p:grpSpPr>
          <p:cxnSp>
            <p:nvCxnSpPr>
              <p:cNvPr id="116" name="Straight Connector 105"/>
              <p:cNvCxnSpPr/>
              <p:nvPr/>
            </p:nvCxnSpPr>
            <p:spPr>
              <a:xfrm>
                <a:off x="4826760" y="1405632"/>
                <a:ext cx="73823" cy="326708"/>
              </a:xfrm>
              <a:prstGeom prst="line">
                <a:avLst/>
              </a:prstGeom>
              <a:noFill/>
              <a:ln w="28575" cap="rnd" cmpd="sng" algn="ctr">
                <a:solidFill>
                  <a:srgbClr val="FFFFFF"/>
                </a:solidFill>
                <a:prstDash val="solid"/>
                <a:round/>
                <a:headEnd type="none" w="med" len="med"/>
                <a:tailEnd type="none" w="med" len="med"/>
              </a:ln>
              <a:effectLst/>
            </p:spPr>
          </p:cxnSp>
          <p:sp>
            <p:nvSpPr>
              <p:cNvPr id="117" name="Freeform 106"/>
              <p:cNvSpPr/>
              <p:nvPr/>
            </p:nvSpPr>
            <p:spPr>
              <a:xfrm>
                <a:off x="4858924" y="1402649"/>
                <a:ext cx="297656" cy="201666"/>
              </a:xfrm>
              <a:custGeom>
                <a:avLst/>
                <a:gdLst>
                  <a:gd name="connsiteX0" fmla="*/ 0 w 297656"/>
                  <a:gd name="connsiteY0" fmla="*/ 0 h 192881"/>
                  <a:gd name="connsiteX1" fmla="*/ 47625 w 297656"/>
                  <a:gd name="connsiteY1" fmla="*/ 178594 h 192881"/>
                  <a:gd name="connsiteX2" fmla="*/ 297656 w 297656"/>
                  <a:gd name="connsiteY2" fmla="*/ 192881 h 192881"/>
                  <a:gd name="connsiteX3" fmla="*/ 221456 w 297656"/>
                  <a:gd name="connsiteY3" fmla="*/ 80962 h 192881"/>
                  <a:gd name="connsiteX4" fmla="*/ 247650 w 297656"/>
                  <a:gd name="connsiteY4" fmla="*/ 2381 h 192881"/>
                  <a:gd name="connsiteX5" fmla="*/ 164306 w 297656"/>
                  <a:gd name="connsiteY5" fmla="*/ 16669 h 192881"/>
                  <a:gd name="connsiteX6" fmla="*/ 0 w 297656"/>
                  <a:gd name="connsiteY6" fmla="*/ 0 h 192881"/>
                  <a:gd name="connsiteX0-1" fmla="*/ 0 w 297656"/>
                  <a:gd name="connsiteY0-2" fmla="*/ 0 h 192881"/>
                  <a:gd name="connsiteX1-3" fmla="*/ 47625 w 297656"/>
                  <a:gd name="connsiteY1-4" fmla="*/ 178594 h 192881"/>
                  <a:gd name="connsiteX2-5" fmla="*/ 297656 w 297656"/>
                  <a:gd name="connsiteY2-6" fmla="*/ 192881 h 192881"/>
                  <a:gd name="connsiteX3-7" fmla="*/ 221456 w 297656"/>
                  <a:gd name="connsiteY3-8" fmla="*/ 80962 h 192881"/>
                  <a:gd name="connsiteX4-9" fmla="*/ 257175 w 297656"/>
                  <a:gd name="connsiteY4-10" fmla="*/ 14287 h 192881"/>
                  <a:gd name="connsiteX5-11" fmla="*/ 164306 w 297656"/>
                  <a:gd name="connsiteY5-12" fmla="*/ 16669 h 192881"/>
                  <a:gd name="connsiteX6-13" fmla="*/ 0 w 297656"/>
                  <a:gd name="connsiteY6-14" fmla="*/ 0 h 192881"/>
                  <a:gd name="connsiteX0-15" fmla="*/ 0 w 297656"/>
                  <a:gd name="connsiteY0-16" fmla="*/ 0 h 192881"/>
                  <a:gd name="connsiteX1-17" fmla="*/ 47625 w 297656"/>
                  <a:gd name="connsiteY1-18" fmla="*/ 178594 h 192881"/>
                  <a:gd name="connsiteX2-19" fmla="*/ 297656 w 297656"/>
                  <a:gd name="connsiteY2-20" fmla="*/ 192881 h 192881"/>
                  <a:gd name="connsiteX3-21" fmla="*/ 221456 w 297656"/>
                  <a:gd name="connsiteY3-22" fmla="*/ 80962 h 192881"/>
                  <a:gd name="connsiteX4-23" fmla="*/ 257175 w 297656"/>
                  <a:gd name="connsiteY4-24" fmla="*/ 14287 h 192881"/>
                  <a:gd name="connsiteX5-25" fmla="*/ 164306 w 297656"/>
                  <a:gd name="connsiteY5-26" fmla="*/ 16669 h 192881"/>
                  <a:gd name="connsiteX6-27" fmla="*/ 0 w 297656"/>
                  <a:gd name="connsiteY6-28" fmla="*/ 0 h 192881"/>
                  <a:gd name="connsiteX0-29" fmla="*/ 0 w 297656"/>
                  <a:gd name="connsiteY0-30" fmla="*/ 8224 h 201105"/>
                  <a:gd name="connsiteX1-31" fmla="*/ 47625 w 297656"/>
                  <a:gd name="connsiteY1-32" fmla="*/ 186818 h 201105"/>
                  <a:gd name="connsiteX2-33" fmla="*/ 297656 w 297656"/>
                  <a:gd name="connsiteY2-34" fmla="*/ 201105 h 201105"/>
                  <a:gd name="connsiteX3-35" fmla="*/ 221456 w 297656"/>
                  <a:gd name="connsiteY3-36" fmla="*/ 89186 h 201105"/>
                  <a:gd name="connsiteX4-37" fmla="*/ 257175 w 297656"/>
                  <a:gd name="connsiteY4-38" fmla="*/ 22511 h 201105"/>
                  <a:gd name="connsiteX5-39" fmla="*/ 164306 w 297656"/>
                  <a:gd name="connsiteY5-40" fmla="*/ 24893 h 201105"/>
                  <a:gd name="connsiteX6-41" fmla="*/ 0 w 297656"/>
                  <a:gd name="connsiteY6-42" fmla="*/ 8224 h 201105"/>
                  <a:gd name="connsiteX0-43" fmla="*/ 0 w 297656"/>
                  <a:gd name="connsiteY0-44" fmla="*/ 8224 h 201105"/>
                  <a:gd name="connsiteX1-45" fmla="*/ 47625 w 297656"/>
                  <a:gd name="connsiteY1-46" fmla="*/ 186818 h 201105"/>
                  <a:gd name="connsiteX2-47" fmla="*/ 297656 w 297656"/>
                  <a:gd name="connsiteY2-48" fmla="*/ 201105 h 201105"/>
                  <a:gd name="connsiteX3-49" fmla="*/ 221456 w 297656"/>
                  <a:gd name="connsiteY3-50" fmla="*/ 89186 h 201105"/>
                  <a:gd name="connsiteX4-51" fmla="*/ 257175 w 297656"/>
                  <a:gd name="connsiteY4-52" fmla="*/ 22511 h 201105"/>
                  <a:gd name="connsiteX5-53" fmla="*/ 164306 w 297656"/>
                  <a:gd name="connsiteY5-54" fmla="*/ 24893 h 201105"/>
                  <a:gd name="connsiteX6-55" fmla="*/ 0 w 297656"/>
                  <a:gd name="connsiteY6-56" fmla="*/ 8224 h 201105"/>
                  <a:gd name="connsiteX0-57" fmla="*/ 0 w 297656"/>
                  <a:gd name="connsiteY0-58" fmla="*/ 8224 h 201105"/>
                  <a:gd name="connsiteX1-59" fmla="*/ 47625 w 297656"/>
                  <a:gd name="connsiteY1-60" fmla="*/ 186818 h 201105"/>
                  <a:gd name="connsiteX2-61" fmla="*/ 297656 w 297656"/>
                  <a:gd name="connsiteY2-62" fmla="*/ 201105 h 201105"/>
                  <a:gd name="connsiteX3-63" fmla="*/ 221456 w 297656"/>
                  <a:gd name="connsiteY3-64" fmla="*/ 89186 h 201105"/>
                  <a:gd name="connsiteX4-65" fmla="*/ 257175 w 297656"/>
                  <a:gd name="connsiteY4-66" fmla="*/ 22511 h 201105"/>
                  <a:gd name="connsiteX5-67" fmla="*/ 164306 w 297656"/>
                  <a:gd name="connsiteY5-68" fmla="*/ 24893 h 201105"/>
                  <a:gd name="connsiteX6-69" fmla="*/ 0 w 297656"/>
                  <a:gd name="connsiteY6-70" fmla="*/ 8224 h 201105"/>
                  <a:gd name="connsiteX0-71" fmla="*/ 0 w 297656"/>
                  <a:gd name="connsiteY0-72" fmla="*/ 8224 h 201105"/>
                  <a:gd name="connsiteX1-73" fmla="*/ 47625 w 297656"/>
                  <a:gd name="connsiteY1-74" fmla="*/ 186818 h 201105"/>
                  <a:gd name="connsiteX2-75" fmla="*/ 297656 w 297656"/>
                  <a:gd name="connsiteY2-76" fmla="*/ 201105 h 201105"/>
                  <a:gd name="connsiteX3-77" fmla="*/ 221456 w 297656"/>
                  <a:gd name="connsiteY3-78" fmla="*/ 89186 h 201105"/>
                  <a:gd name="connsiteX4-79" fmla="*/ 257175 w 297656"/>
                  <a:gd name="connsiteY4-80" fmla="*/ 22511 h 201105"/>
                  <a:gd name="connsiteX5-81" fmla="*/ 164306 w 297656"/>
                  <a:gd name="connsiteY5-82" fmla="*/ 24893 h 201105"/>
                  <a:gd name="connsiteX6-83" fmla="*/ 0 w 297656"/>
                  <a:gd name="connsiteY6-84" fmla="*/ 8224 h 201105"/>
                  <a:gd name="connsiteX0-85" fmla="*/ 0 w 297656"/>
                  <a:gd name="connsiteY0-86" fmla="*/ 8224 h 201105"/>
                  <a:gd name="connsiteX1-87" fmla="*/ 47625 w 297656"/>
                  <a:gd name="connsiteY1-88" fmla="*/ 186818 h 201105"/>
                  <a:gd name="connsiteX2-89" fmla="*/ 297656 w 297656"/>
                  <a:gd name="connsiteY2-90" fmla="*/ 201105 h 201105"/>
                  <a:gd name="connsiteX3-91" fmla="*/ 221456 w 297656"/>
                  <a:gd name="connsiteY3-92" fmla="*/ 89186 h 201105"/>
                  <a:gd name="connsiteX4-93" fmla="*/ 257175 w 297656"/>
                  <a:gd name="connsiteY4-94" fmla="*/ 22511 h 201105"/>
                  <a:gd name="connsiteX5-95" fmla="*/ 164306 w 297656"/>
                  <a:gd name="connsiteY5-96" fmla="*/ 24893 h 201105"/>
                  <a:gd name="connsiteX6-97" fmla="*/ 0 w 297656"/>
                  <a:gd name="connsiteY6-98" fmla="*/ 8224 h 201105"/>
                  <a:gd name="connsiteX0-99" fmla="*/ 0 w 297656"/>
                  <a:gd name="connsiteY0-100" fmla="*/ 8224 h 201629"/>
                  <a:gd name="connsiteX1-101" fmla="*/ 47625 w 297656"/>
                  <a:gd name="connsiteY1-102" fmla="*/ 186818 h 201629"/>
                  <a:gd name="connsiteX2-103" fmla="*/ 297656 w 297656"/>
                  <a:gd name="connsiteY2-104" fmla="*/ 201105 h 201629"/>
                  <a:gd name="connsiteX3-105" fmla="*/ 221456 w 297656"/>
                  <a:gd name="connsiteY3-106" fmla="*/ 89186 h 201629"/>
                  <a:gd name="connsiteX4-107" fmla="*/ 257175 w 297656"/>
                  <a:gd name="connsiteY4-108" fmla="*/ 22511 h 201629"/>
                  <a:gd name="connsiteX5-109" fmla="*/ 164306 w 297656"/>
                  <a:gd name="connsiteY5-110" fmla="*/ 24893 h 201629"/>
                  <a:gd name="connsiteX6-111" fmla="*/ 0 w 297656"/>
                  <a:gd name="connsiteY6-112" fmla="*/ 8224 h 201629"/>
                  <a:gd name="connsiteX0-113" fmla="*/ 0 w 297656"/>
                  <a:gd name="connsiteY0-114" fmla="*/ 8224 h 201629"/>
                  <a:gd name="connsiteX1-115" fmla="*/ 47625 w 297656"/>
                  <a:gd name="connsiteY1-116" fmla="*/ 186818 h 201629"/>
                  <a:gd name="connsiteX2-117" fmla="*/ 297656 w 297656"/>
                  <a:gd name="connsiteY2-118" fmla="*/ 201105 h 201629"/>
                  <a:gd name="connsiteX3-119" fmla="*/ 221456 w 297656"/>
                  <a:gd name="connsiteY3-120" fmla="*/ 89186 h 201629"/>
                  <a:gd name="connsiteX4-121" fmla="*/ 257175 w 297656"/>
                  <a:gd name="connsiteY4-122" fmla="*/ 22511 h 201629"/>
                  <a:gd name="connsiteX5-123" fmla="*/ 164306 w 297656"/>
                  <a:gd name="connsiteY5-124" fmla="*/ 24893 h 201629"/>
                  <a:gd name="connsiteX6-125" fmla="*/ 0 w 297656"/>
                  <a:gd name="connsiteY6-126" fmla="*/ 8224 h 201629"/>
                  <a:gd name="connsiteX0-127" fmla="*/ 0 w 297656"/>
                  <a:gd name="connsiteY0-128" fmla="*/ 8224 h 201629"/>
                  <a:gd name="connsiteX1-129" fmla="*/ 47625 w 297656"/>
                  <a:gd name="connsiteY1-130" fmla="*/ 186818 h 201629"/>
                  <a:gd name="connsiteX2-131" fmla="*/ 297656 w 297656"/>
                  <a:gd name="connsiteY2-132" fmla="*/ 201105 h 201629"/>
                  <a:gd name="connsiteX3-133" fmla="*/ 223838 w 297656"/>
                  <a:gd name="connsiteY3-134" fmla="*/ 98711 h 201629"/>
                  <a:gd name="connsiteX4-135" fmla="*/ 257175 w 297656"/>
                  <a:gd name="connsiteY4-136" fmla="*/ 22511 h 201629"/>
                  <a:gd name="connsiteX5-137" fmla="*/ 164306 w 297656"/>
                  <a:gd name="connsiteY5-138" fmla="*/ 24893 h 201629"/>
                  <a:gd name="connsiteX6-139" fmla="*/ 0 w 297656"/>
                  <a:gd name="connsiteY6-140" fmla="*/ 8224 h 201629"/>
                  <a:gd name="connsiteX0-141" fmla="*/ 0 w 297656"/>
                  <a:gd name="connsiteY0-142" fmla="*/ 8224 h 201472"/>
                  <a:gd name="connsiteX1-143" fmla="*/ 80963 w 297656"/>
                  <a:gd name="connsiteY1-144" fmla="*/ 155861 h 201472"/>
                  <a:gd name="connsiteX2-145" fmla="*/ 297656 w 297656"/>
                  <a:gd name="connsiteY2-146" fmla="*/ 201105 h 201472"/>
                  <a:gd name="connsiteX3-147" fmla="*/ 223838 w 297656"/>
                  <a:gd name="connsiteY3-148" fmla="*/ 98711 h 201472"/>
                  <a:gd name="connsiteX4-149" fmla="*/ 257175 w 297656"/>
                  <a:gd name="connsiteY4-150" fmla="*/ 22511 h 201472"/>
                  <a:gd name="connsiteX5-151" fmla="*/ 164306 w 297656"/>
                  <a:gd name="connsiteY5-152" fmla="*/ 24893 h 201472"/>
                  <a:gd name="connsiteX6-153" fmla="*/ 0 w 297656"/>
                  <a:gd name="connsiteY6-154" fmla="*/ 8224 h 201472"/>
                  <a:gd name="connsiteX0-155" fmla="*/ 0 w 297656"/>
                  <a:gd name="connsiteY0-156" fmla="*/ 8224 h 201509"/>
                  <a:gd name="connsiteX1-157" fmla="*/ 38100 w 297656"/>
                  <a:gd name="connsiteY1-158" fmla="*/ 165386 h 201509"/>
                  <a:gd name="connsiteX2-159" fmla="*/ 297656 w 297656"/>
                  <a:gd name="connsiteY2-160" fmla="*/ 201105 h 201509"/>
                  <a:gd name="connsiteX3-161" fmla="*/ 223838 w 297656"/>
                  <a:gd name="connsiteY3-162" fmla="*/ 98711 h 201509"/>
                  <a:gd name="connsiteX4-163" fmla="*/ 257175 w 297656"/>
                  <a:gd name="connsiteY4-164" fmla="*/ 22511 h 201509"/>
                  <a:gd name="connsiteX5-165" fmla="*/ 164306 w 297656"/>
                  <a:gd name="connsiteY5-166" fmla="*/ 24893 h 201509"/>
                  <a:gd name="connsiteX6-167" fmla="*/ 0 w 297656"/>
                  <a:gd name="connsiteY6-168" fmla="*/ 8224 h 201509"/>
                  <a:gd name="connsiteX0-169" fmla="*/ 0 w 297656"/>
                  <a:gd name="connsiteY0-170" fmla="*/ 8224 h 201520"/>
                  <a:gd name="connsiteX1-171" fmla="*/ 123825 w 297656"/>
                  <a:gd name="connsiteY1-172" fmla="*/ 167767 h 201520"/>
                  <a:gd name="connsiteX2-173" fmla="*/ 297656 w 297656"/>
                  <a:gd name="connsiteY2-174" fmla="*/ 201105 h 201520"/>
                  <a:gd name="connsiteX3-175" fmla="*/ 223838 w 297656"/>
                  <a:gd name="connsiteY3-176" fmla="*/ 98711 h 201520"/>
                  <a:gd name="connsiteX4-177" fmla="*/ 257175 w 297656"/>
                  <a:gd name="connsiteY4-178" fmla="*/ 22511 h 201520"/>
                  <a:gd name="connsiteX5-179" fmla="*/ 164306 w 297656"/>
                  <a:gd name="connsiteY5-180" fmla="*/ 24893 h 201520"/>
                  <a:gd name="connsiteX6-181" fmla="*/ 0 w 297656"/>
                  <a:gd name="connsiteY6-182" fmla="*/ 8224 h 201520"/>
                  <a:gd name="connsiteX0-183" fmla="*/ 0 w 297656"/>
                  <a:gd name="connsiteY0-184" fmla="*/ 8224 h 201629"/>
                  <a:gd name="connsiteX1-185" fmla="*/ 45244 w 297656"/>
                  <a:gd name="connsiteY1-186" fmla="*/ 186817 h 201629"/>
                  <a:gd name="connsiteX2-187" fmla="*/ 297656 w 297656"/>
                  <a:gd name="connsiteY2-188" fmla="*/ 201105 h 201629"/>
                  <a:gd name="connsiteX3-189" fmla="*/ 223838 w 297656"/>
                  <a:gd name="connsiteY3-190" fmla="*/ 98711 h 201629"/>
                  <a:gd name="connsiteX4-191" fmla="*/ 257175 w 297656"/>
                  <a:gd name="connsiteY4-192" fmla="*/ 22511 h 201629"/>
                  <a:gd name="connsiteX5-193" fmla="*/ 164306 w 297656"/>
                  <a:gd name="connsiteY5-194" fmla="*/ 24893 h 201629"/>
                  <a:gd name="connsiteX6-195" fmla="*/ 0 w 297656"/>
                  <a:gd name="connsiteY6-196" fmla="*/ 8224 h 201629"/>
                  <a:gd name="connsiteX0-197" fmla="*/ 0 w 297656"/>
                  <a:gd name="connsiteY0-198" fmla="*/ 8224 h 201409"/>
                  <a:gd name="connsiteX1-199" fmla="*/ 90488 w 297656"/>
                  <a:gd name="connsiteY1-200" fmla="*/ 134430 h 201409"/>
                  <a:gd name="connsiteX2-201" fmla="*/ 297656 w 297656"/>
                  <a:gd name="connsiteY2-202" fmla="*/ 201105 h 201409"/>
                  <a:gd name="connsiteX3-203" fmla="*/ 223838 w 297656"/>
                  <a:gd name="connsiteY3-204" fmla="*/ 98711 h 201409"/>
                  <a:gd name="connsiteX4-205" fmla="*/ 257175 w 297656"/>
                  <a:gd name="connsiteY4-206" fmla="*/ 22511 h 201409"/>
                  <a:gd name="connsiteX5-207" fmla="*/ 164306 w 297656"/>
                  <a:gd name="connsiteY5-208" fmla="*/ 24893 h 201409"/>
                  <a:gd name="connsiteX6-209" fmla="*/ 0 w 297656"/>
                  <a:gd name="connsiteY6-210" fmla="*/ 8224 h 201409"/>
                  <a:gd name="connsiteX0-211" fmla="*/ 0 w 297656"/>
                  <a:gd name="connsiteY0-212" fmla="*/ 8224 h 201666"/>
                  <a:gd name="connsiteX1-213" fmla="*/ 42863 w 297656"/>
                  <a:gd name="connsiteY1-214" fmla="*/ 191580 h 201666"/>
                  <a:gd name="connsiteX2-215" fmla="*/ 297656 w 297656"/>
                  <a:gd name="connsiteY2-216" fmla="*/ 201105 h 201666"/>
                  <a:gd name="connsiteX3-217" fmla="*/ 223838 w 297656"/>
                  <a:gd name="connsiteY3-218" fmla="*/ 98711 h 201666"/>
                  <a:gd name="connsiteX4-219" fmla="*/ 257175 w 297656"/>
                  <a:gd name="connsiteY4-220" fmla="*/ 22511 h 201666"/>
                  <a:gd name="connsiteX5-221" fmla="*/ 164306 w 297656"/>
                  <a:gd name="connsiteY5-222" fmla="*/ 24893 h 201666"/>
                  <a:gd name="connsiteX6-223" fmla="*/ 0 w 297656"/>
                  <a:gd name="connsiteY6-224" fmla="*/ 8224 h 20166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297656" h="201666">
                    <a:moveTo>
                      <a:pt x="0" y="8224"/>
                    </a:moveTo>
                    <a:lnTo>
                      <a:pt x="42863" y="191580"/>
                    </a:lnTo>
                    <a:cubicBezTo>
                      <a:pt x="116683" y="143955"/>
                      <a:pt x="188118" y="208250"/>
                      <a:pt x="297656" y="201105"/>
                    </a:cubicBezTo>
                    <a:lnTo>
                      <a:pt x="223838" y="98711"/>
                    </a:lnTo>
                    <a:lnTo>
                      <a:pt x="257175" y="22511"/>
                    </a:lnTo>
                    <a:cubicBezTo>
                      <a:pt x="226219" y="35211"/>
                      <a:pt x="195262" y="36006"/>
                      <a:pt x="164306" y="24893"/>
                    </a:cubicBezTo>
                    <a:cubicBezTo>
                      <a:pt x="109537" y="287"/>
                      <a:pt x="61913" y="-7651"/>
                      <a:pt x="0" y="8224"/>
                    </a:cubicBezTo>
                    <a:close/>
                  </a:path>
                </a:pathLst>
              </a:custGeom>
              <a:solidFill>
                <a:srgbClr val="FFFFFF"/>
              </a:solidFill>
              <a:ln w="25400" cap="flat" cmpd="sng" algn="ctr">
                <a:noFill/>
                <a:prstDash val="solid"/>
              </a:ln>
              <a:effectLst/>
            </p:spPr>
            <p:txBody>
              <a:bodyPr rtlCol="0" anchor="ctr"/>
              <a:lstStyle/>
              <a:p>
                <a:pPr algn="ctr" defTabSz="914400"/>
                <a:endParaRPr lang="en-US" kern="0">
                  <a:solidFill>
                    <a:srgbClr val="FFFFFF"/>
                  </a:solidFill>
                </a:endParaRPr>
              </a:p>
            </p:txBody>
          </p:sp>
        </p:grpSp>
      </p:grpSp>
      <p:grpSp>
        <p:nvGrpSpPr>
          <p:cNvPr id="118" name="组合 117"/>
          <p:cNvGrpSpPr/>
          <p:nvPr/>
        </p:nvGrpSpPr>
        <p:grpSpPr>
          <a:xfrm>
            <a:off x="4810757" y="2323940"/>
            <a:ext cx="796312" cy="571660"/>
            <a:chOff x="1863724" y="4588868"/>
            <a:chExt cx="630238" cy="452438"/>
          </a:xfrm>
        </p:grpSpPr>
        <p:sp>
          <p:nvSpPr>
            <p:cNvPr id="119" name="Freeform 240"/>
            <p:cNvSpPr>
              <a:spLocks noEditPoints="1"/>
            </p:cNvSpPr>
            <p:nvPr/>
          </p:nvSpPr>
          <p:spPr bwMode="auto">
            <a:xfrm>
              <a:off x="1863724" y="4588868"/>
              <a:ext cx="512763" cy="452438"/>
            </a:xfrm>
            <a:custGeom>
              <a:avLst/>
              <a:gdLst>
                <a:gd name="T0" fmla="*/ 283 w 293"/>
                <a:gd name="T1" fmla="*/ 0 h 259"/>
                <a:gd name="T2" fmla="*/ 10 w 293"/>
                <a:gd name="T3" fmla="*/ 0 h 259"/>
                <a:gd name="T4" fmla="*/ 0 w 293"/>
                <a:gd name="T5" fmla="*/ 9 h 259"/>
                <a:gd name="T6" fmla="*/ 0 w 293"/>
                <a:gd name="T7" fmla="*/ 250 h 259"/>
                <a:gd name="T8" fmla="*/ 10 w 293"/>
                <a:gd name="T9" fmla="*/ 259 h 259"/>
                <a:gd name="T10" fmla="*/ 283 w 293"/>
                <a:gd name="T11" fmla="*/ 259 h 259"/>
                <a:gd name="T12" fmla="*/ 293 w 293"/>
                <a:gd name="T13" fmla="*/ 250 h 259"/>
                <a:gd name="T14" fmla="*/ 293 w 293"/>
                <a:gd name="T15" fmla="*/ 9 h 259"/>
                <a:gd name="T16" fmla="*/ 283 w 293"/>
                <a:gd name="T17" fmla="*/ 0 h 259"/>
                <a:gd name="T18" fmla="*/ 225 w 293"/>
                <a:gd name="T19" fmla="*/ 20 h 259"/>
                <a:gd name="T20" fmla="*/ 238 w 293"/>
                <a:gd name="T21" fmla="*/ 32 h 259"/>
                <a:gd name="T22" fmla="*/ 225 w 293"/>
                <a:gd name="T23" fmla="*/ 44 h 259"/>
                <a:gd name="T24" fmla="*/ 213 w 293"/>
                <a:gd name="T25" fmla="*/ 32 h 259"/>
                <a:gd name="T26" fmla="*/ 225 w 293"/>
                <a:gd name="T27" fmla="*/ 20 h 259"/>
                <a:gd name="T28" fmla="*/ 189 w 293"/>
                <a:gd name="T29" fmla="*/ 20 h 259"/>
                <a:gd name="T30" fmla="*/ 201 w 293"/>
                <a:gd name="T31" fmla="*/ 32 h 259"/>
                <a:gd name="T32" fmla="*/ 189 w 293"/>
                <a:gd name="T33" fmla="*/ 44 h 259"/>
                <a:gd name="T34" fmla="*/ 177 w 293"/>
                <a:gd name="T35" fmla="*/ 32 h 259"/>
                <a:gd name="T36" fmla="*/ 189 w 293"/>
                <a:gd name="T37" fmla="*/ 20 h 259"/>
                <a:gd name="T38" fmla="*/ 274 w 293"/>
                <a:gd name="T39" fmla="*/ 241 h 259"/>
                <a:gd name="T40" fmla="*/ 19 w 293"/>
                <a:gd name="T41" fmla="*/ 241 h 259"/>
                <a:gd name="T42" fmla="*/ 19 w 293"/>
                <a:gd name="T43" fmla="*/ 65 h 259"/>
                <a:gd name="T44" fmla="*/ 274 w 293"/>
                <a:gd name="T45" fmla="*/ 65 h 259"/>
                <a:gd name="T46" fmla="*/ 274 w 293"/>
                <a:gd name="T47" fmla="*/ 241 h 259"/>
                <a:gd name="T48" fmla="*/ 262 w 293"/>
                <a:gd name="T49" fmla="*/ 44 h 259"/>
                <a:gd name="T50" fmla="*/ 249 w 293"/>
                <a:gd name="T51" fmla="*/ 32 h 259"/>
                <a:gd name="T52" fmla="*/ 262 w 293"/>
                <a:gd name="T53" fmla="*/ 20 h 259"/>
                <a:gd name="T54" fmla="*/ 274 w 293"/>
                <a:gd name="T55" fmla="*/ 32 h 259"/>
                <a:gd name="T56" fmla="*/ 262 w 293"/>
                <a:gd name="T57" fmla="*/ 44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3" h="259">
                  <a:moveTo>
                    <a:pt x="283" y="0"/>
                  </a:moveTo>
                  <a:cubicBezTo>
                    <a:pt x="10" y="0"/>
                    <a:pt x="10" y="0"/>
                    <a:pt x="10" y="0"/>
                  </a:cubicBezTo>
                  <a:cubicBezTo>
                    <a:pt x="4" y="0"/>
                    <a:pt x="0" y="4"/>
                    <a:pt x="0" y="9"/>
                  </a:cubicBezTo>
                  <a:cubicBezTo>
                    <a:pt x="0" y="250"/>
                    <a:pt x="0" y="250"/>
                    <a:pt x="0" y="250"/>
                  </a:cubicBezTo>
                  <a:cubicBezTo>
                    <a:pt x="0" y="255"/>
                    <a:pt x="4" y="259"/>
                    <a:pt x="10" y="259"/>
                  </a:cubicBezTo>
                  <a:cubicBezTo>
                    <a:pt x="283" y="259"/>
                    <a:pt x="283" y="259"/>
                    <a:pt x="283" y="259"/>
                  </a:cubicBezTo>
                  <a:cubicBezTo>
                    <a:pt x="288" y="259"/>
                    <a:pt x="293" y="255"/>
                    <a:pt x="293" y="250"/>
                  </a:cubicBezTo>
                  <a:cubicBezTo>
                    <a:pt x="293" y="9"/>
                    <a:pt x="293" y="9"/>
                    <a:pt x="293" y="9"/>
                  </a:cubicBezTo>
                  <a:cubicBezTo>
                    <a:pt x="293" y="4"/>
                    <a:pt x="288" y="0"/>
                    <a:pt x="283" y="0"/>
                  </a:cubicBezTo>
                  <a:close/>
                  <a:moveTo>
                    <a:pt x="225" y="20"/>
                  </a:moveTo>
                  <a:cubicBezTo>
                    <a:pt x="232" y="20"/>
                    <a:pt x="238" y="25"/>
                    <a:pt x="238" y="32"/>
                  </a:cubicBezTo>
                  <a:cubicBezTo>
                    <a:pt x="238" y="39"/>
                    <a:pt x="232" y="44"/>
                    <a:pt x="225" y="44"/>
                  </a:cubicBezTo>
                  <a:cubicBezTo>
                    <a:pt x="218" y="44"/>
                    <a:pt x="213" y="39"/>
                    <a:pt x="213" y="32"/>
                  </a:cubicBezTo>
                  <a:cubicBezTo>
                    <a:pt x="213" y="25"/>
                    <a:pt x="218" y="20"/>
                    <a:pt x="225" y="20"/>
                  </a:cubicBezTo>
                  <a:close/>
                  <a:moveTo>
                    <a:pt x="189" y="20"/>
                  </a:moveTo>
                  <a:cubicBezTo>
                    <a:pt x="196" y="20"/>
                    <a:pt x="201" y="25"/>
                    <a:pt x="201" y="32"/>
                  </a:cubicBezTo>
                  <a:cubicBezTo>
                    <a:pt x="201" y="39"/>
                    <a:pt x="196" y="44"/>
                    <a:pt x="189" y="44"/>
                  </a:cubicBezTo>
                  <a:cubicBezTo>
                    <a:pt x="182" y="44"/>
                    <a:pt x="177" y="39"/>
                    <a:pt x="177" y="32"/>
                  </a:cubicBezTo>
                  <a:cubicBezTo>
                    <a:pt x="177" y="25"/>
                    <a:pt x="182" y="20"/>
                    <a:pt x="189" y="20"/>
                  </a:cubicBezTo>
                  <a:close/>
                  <a:moveTo>
                    <a:pt x="274" y="241"/>
                  </a:moveTo>
                  <a:cubicBezTo>
                    <a:pt x="19" y="241"/>
                    <a:pt x="19" y="241"/>
                    <a:pt x="19" y="241"/>
                  </a:cubicBezTo>
                  <a:cubicBezTo>
                    <a:pt x="19" y="65"/>
                    <a:pt x="19" y="65"/>
                    <a:pt x="19" y="65"/>
                  </a:cubicBezTo>
                  <a:cubicBezTo>
                    <a:pt x="274" y="65"/>
                    <a:pt x="274" y="65"/>
                    <a:pt x="274" y="65"/>
                  </a:cubicBezTo>
                  <a:lnTo>
                    <a:pt x="274" y="241"/>
                  </a:lnTo>
                  <a:close/>
                  <a:moveTo>
                    <a:pt x="262" y="44"/>
                  </a:moveTo>
                  <a:cubicBezTo>
                    <a:pt x="255" y="44"/>
                    <a:pt x="249" y="39"/>
                    <a:pt x="249" y="32"/>
                  </a:cubicBezTo>
                  <a:cubicBezTo>
                    <a:pt x="249" y="25"/>
                    <a:pt x="255" y="20"/>
                    <a:pt x="262" y="20"/>
                  </a:cubicBezTo>
                  <a:cubicBezTo>
                    <a:pt x="269" y="20"/>
                    <a:pt x="274" y="25"/>
                    <a:pt x="274" y="32"/>
                  </a:cubicBezTo>
                  <a:cubicBezTo>
                    <a:pt x="274" y="39"/>
                    <a:pt x="269" y="44"/>
                    <a:pt x="262" y="44"/>
                  </a:cubicBezTo>
                  <a:close/>
                </a:path>
              </a:pathLst>
            </a:custGeom>
            <a:solidFill>
              <a:srgbClr val="FFFFFF"/>
            </a:solidFill>
            <a:ln>
              <a:noFill/>
            </a:ln>
          </p:spPr>
          <p:txBody>
            <a:bodyPr vert="horz" wrap="square" lIns="91440" tIns="45720" rIns="91440" bIns="45720" numCol="1" anchor="t" anchorCtr="0" compatLnSpc="1"/>
            <a:lstStyle/>
            <a:p>
              <a:endParaRPr lang="en-US"/>
            </a:p>
          </p:txBody>
        </p:sp>
        <p:sp>
          <p:nvSpPr>
            <p:cNvPr id="120" name="Freeform 241"/>
            <p:cNvSpPr/>
            <p:nvPr/>
          </p:nvSpPr>
          <p:spPr bwMode="auto">
            <a:xfrm>
              <a:off x="2211387" y="4895256"/>
              <a:ext cx="47625" cy="49213"/>
            </a:xfrm>
            <a:custGeom>
              <a:avLst/>
              <a:gdLst>
                <a:gd name="T0" fmla="*/ 9 w 30"/>
                <a:gd name="T1" fmla="*/ 0 h 31"/>
                <a:gd name="T2" fmla="*/ 8 w 30"/>
                <a:gd name="T3" fmla="*/ 2 h 31"/>
                <a:gd name="T4" fmla="*/ 0 w 30"/>
                <a:gd name="T5" fmla="*/ 31 h 31"/>
                <a:gd name="T6" fmla="*/ 28 w 30"/>
                <a:gd name="T7" fmla="*/ 22 h 31"/>
                <a:gd name="T8" fmla="*/ 30 w 30"/>
                <a:gd name="T9" fmla="*/ 22 h 31"/>
                <a:gd name="T10" fmla="*/ 9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9" y="0"/>
                  </a:moveTo>
                  <a:lnTo>
                    <a:pt x="8" y="2"/>
                  </a:lnTo>
                  <a:lnTo>
                    <a:pt x="0" y="31"/>
                  </a:lnTo>
                  <a:lnTo>
                    <a:pt x="28" y="22"/>
                  </a:lnTo>
                  <a:lnTo>
                    <a:pt x="30" y="22"/>
                  </a:lnTo>
                  <a:lnTo>
                    <a:pt x="9" y="0"/>
                  </a:lnTo>
                  <a:close/>
                </a:path>
              </a:pathLst>
            </a:custGeom>
            <a:solidFill>
              <a:srgbClr val="FFFFFF"/>
            </a:solidFill>
            <a:ln>
              <a:noFill/>
            </a:ln>
          </p:spPr>
          <p:txBody>
            <a:bodyPr vert="horz" wrap="square" lIns="91440" tIns="45720" rIns="91440" bIns="45720" numCol="1" anchor="t" anchorCtr="0" compatLnSpc="1"/>
            <a:lstStyle/>
            <a:p>
              <a:endParaRPr lang="en-US"/>
            </a:p>
          </p:txBody>
        </p:sp>
        <p:sp>
          <p:nvSpPr>
            <p:cNvPr id="121" name="Freeform 242"/>
            <p:cNvSpPr/>
            <p:nvPr/>
          </p:nvSpPr>
          <p:spPr bwMode="auto">
            <a:xfrm>
              <a:off x="2401887" y="4661893"/>
              <a:ext cx="92075" cy="90488"/>
            </a:xfrm>
            <a:custGeom>
              <a:avLst/>
              <a:gdLst>
                <a:gd name="T0" fmla="*/ 39 w 52"/>
                <a:gd name="T1" fmla="*/ 51 h 51"/>
                <a:gd name="T2" fmla="*/ 49 w 52"/>
                <a:gd name="T3" fmla="*/ 42 h 51"/>
                <a:gd name="T4" fmla="*/ 49 w 52"/>
                <a:gd name="T5" fmla="*/ 29 h 51"/>
                <a:gd name="T6" fmla="*/ 23 w 52"/>
                <a:gd name="T7" fmla="*/ 3 h 51"/>
                <a:gd name="T8" fmla="*/ 10 w 52"/>
                <a:gd name="T9" fmla="*/ 3 h 51"/>
                <a:gd name="T10" fmla="*/ 0 w 52"/>
                <a:gd name="T11" fmla="*/ 13 h 51"/>
                <a:gd name="T12" fmla="*/ 39 w 52"/>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39" y="51"/>
                  </a:moveTo>
                  <a:cubicBezTo>
                    <a:pt x="49" y="42"/>
                    <a:pt x="49" y="42"/>
                    <a:pt x="49" y="42"/>
                  </a:cubicBezTo>
                  <a:cubicBezTo>
                    <a:pt x="52" y="38"/>
                    <a:pt x="52" y="33"/>
                    <a:pt x="49" y="29"/>
                  </a:cubicBezTo>
                  <a:cubicBezTo>
                    <a:pt x="23" y="3"/>
                    <a:pt x="23" y="3"/>
                    <a:pt x="23" y="3"/>
                  </a:cubicBezTo>
                  <a:cubicBezTo>
                    <a:pt x="19" y="0"/>
                    <a:pt x="14" y="0"/>
                    <a:pt x="10" y="3"/>
                  </a:cubicBezTo>
                  <a:cubicBezTo>
                    <a:pt x="0" y="13"/>
                    <a:pt x="0" y="13"/>
                    <a:pt x="0" y="13"/>
                  </a:cubicBezTo>
                  <a:lnTo>
                    <a:pt x="39" y="51"/>
                  </a:lnTo>
                  <a:close/>
                </a:path>
              </a:pathLst>
            </a:custGeom>
            <a:solidFill>
              <a:srgbClr val="FFFFFF"/>
            </a:solidFill>
            <a:ln>
              <a:noFill/>
            </a:ln>
          </p:spPr>
          <p:txBody>
            <a:bodyPr vert="horz" wrap="square" lIns="91440" tIns="45720" rIns="91440" bIns="45720" numCol="1" anchor="t" anchorCtr="0" compatLnSpc="1"/>
            <a:lstStyle/>
            <a:p>
              <a:endParaRPr lang="en-US"/>
            </a:p>
          </p:txBody>
        </p:sp>
        <p:sp>
          <p:nvSpPr>
            <p:cNvPr id="122" name="Freeform 243"/>
            <p:cNvSpPr/>
            <p:nvPr/>
          </p:nvSpPr>
          <p:spPr bwMode="auto">
            <a:xfrm>
              <a:off x="2247899" y="4692056"/>
              <a:ext cx="214313" cy="215900"/>
            </a:xfrm>
            <a:custGeom>
              <a:avLst/>
              <a:gdLst>
                <a:gd name="T0" fmla="*/ 84 w 122"/>
                <a:gd name="T1" fmla="*/ 0 h 123"/>
                <a:gd name="T2" fmla="*/ 83 w 122"/>
                <a:gd name="T3" fmla="*/ 1 h 123"/>
                <a:gd name="T4" fmla="*/ 4 w 122"/>
                <a:gd name="T5" fmla="*/ 81 h 123"/>
                <a:gd name="T6" fmla="*/ 4 w 122"/>
                <a:gd name="T7" fmla="*/ 94 h 123"/>
                <a:gd name="T8" fmla="*/ 5 w 122"/>
                <a:gd name="T9" fmla="*/ 95 h 123"/>
                <a:gd name="T10" fmla="*/ 14 w 122"/>
                <a:gd name="T11" fmla="*/ 97 h 123"/>
                <a:gd name="T12" fmla="*/ 16 w 122"/>
                <a:gd name="T13" fmla="*/ 106 h 123"/>
                <a:gd name="T14" fmla="*/ 17 w 122"/>
                <a:gd name="T15" fmla="*/ 107 h 123"/>
                <a:gd name="T16" fmla="*/ 26 w 122"/>
                <a:gd name="T17" fmla="*/ 109 h 123"/>
                <a:gd name="T18" fmla="*/ 28 w 122"/>
                <a:gd name="T19" fmla="*/ 118 h 123"/>
                <a:gd name="T20" fmla="*/ 29 w 122"/>
                <a:gd name="T21" fmla="*/ 119 h 123"/>
                <a:gd name="T22" fmla="*/ 42 w 122"/>
                <a:gd name="T23" fmla="*/ 119 h 123"/>
                <a:gd name="T24" fmla="*/ 122 w 122"/>
                <a:gd name="T25" fmla="*/ 40 h 123"/>
                <a:gd name="T26" fmla="*/ 122 w 122"/>
                <a:gd name="T27" fmla="*/ 39 h 123"/>
                <a:gd name="T28" fmla="*/ 84 w 122"/>
                <a:gd name="T2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 h="123">
                  <a:moveTo>
                    <a:pt x="84" y="0"/>
                  </a:moveTo>
                  <a:cubicBezTo>
                    <a:pt x="84" y="1"/>
                    <a:pt x="84" y="1"/>
                    <a:pt x="83" y="1"/>
                  </a:cubicBezTo>
                  <a:cubicBezTo>
                    <a:pt x="4" y="81"/>
                    <a:pt x="4" y="81"/>
                    <a:pt x="4" y="81"/>
                  </a:cubicBezTo>
                  <a:cubicBezTo>
                    <a:pt x="0" y="84"/>
                    <a:pt x="0" y="90"/>
                    <a:pt x="4" y="94"/>
                  </a:cubicBezTo>
                  <a:cubicBezTo>
                    <a:pt x="5" y="95"/>
                    <a:pt x="5" y="95"/>
                    <a:pt x="5" y="95"/>
                  </a:cubicBezTo>
                  <a:cubicBezTo>
                    <a:pt x="7" y="97"/>
                    <a:pt x="11" y="98"/>
                    <a:pt x="14" y="97"/>
                  </a:cubicBezTo>
                  <a:cubicBezTo>
                    <a:pt x="13" y="100"/>
                    <a:pt x="13" y="103"/>
                    <a:pt x="16" y="106"/>
                  </a:cubicBezTo>
                  <a:cubicBezTo>
                    <a:pt x="17" y="107"/>
                    <a:pt x="17" y="107"/>
                    <a:pt x="17" y="107"/>
                  </a:cubicBezTo>
                  <a:cubicBezTo>
                    <a:pt x="19" y="109"/>
                    <a:pt x="23" y="110"/>
                    <a:pt x="26" y="109"/>
                  </a:cubicBezTo>
                  <a:cubicBezTo>
                    <a:pt x="25" y="112"/>
                    <a:pt x="26" y="116"/>
                    <a:pt x="28" y="118"/>
                  </a:cubicBezTo>
                  <a:cubicBezTo>
                    <a:pt x="29" y="119"/>
                    <a:pt x="29" y="119"/>
                    <a:pt x="29" y="119"/>
                  </a:cubicBezTo>
                  <a:cubicBezTo>
                    <a:pt x="33" y="123"/>
                    <a:pt x="39" y="123"/>
                    <a:pt x="42" y="119"/>
                  </a:cubicBezTo>
                  <a:cubicBezTo>
                    <a:pt x="122" y="40"/>
                    <a:pt x="122" y="40"/>
                    <a:pt x="122" y="40"/>
                  </a:cubicBezTo>
                  <a:cubicBezTo>
                    <a:pt x="122" y="39"/>
                    <a:pt x="122" y="39"/>
                    <a:pt x="122" y="39"/>
                  </a:cubicBezTo>
                  <a:lnTo>
                    <a:pt x="84" y="0"/>
                  </a:lnTo>
                  <a:close/>
                </a:path>
              </a:pathLst>
            </a:custGeom>
            <a:solidFill>
              <a:srgbClr val="FFFFFF"/>
            </a:solidFill>
            <a:ln>
              <a:noFill/>
            </a:ln>
          </p:spPr>
          <p:txBody>
            <a:bodyPr vert="horz" wrap="square" lIns="91440" tIns="45720" rIns="91440" bIns="45720" numCol="1" anchor="t" anchorCtr="0" compatLnSpc="1"/>
            <a:lstStyle/>
            <a:p>
              <a:endParaRPr lang="en-US"/>
            </a:p>
          </p:txBody>
        </p:sp>
        <p:sp>
          <p:nvSpPr>
            <p:cNvPr id="123" name="Rectangle 244"/>
            <p:cNvSpPr>
              <a:spLocks noChangeArrowheads="1"/>
            </p:cNvSpPr>
            <p:nvPr/>
          </p:nvSpPr>
          <p:spPr bwMode="auto">
            <a:xfrm>
              <a:off x="1931987" y="4763493"/>
              <a:ext cx="166688" cy="17463"/>
            </a:xfrm>
            <a:prstGeom prst="rect">
              <a:avLst/>
            </a:prstGeom>
            <a:solidFill>
              <a:srgbClr val="FFFFFF"/>
            </a:solidFill>
            <a:ln>
              <a:noFill/>
            </a:ln>
          </p:spPr>
          <p:txBody>
            <a:bodyPr vert="horz" wrap="square" lIns="91440" tIns="45720" rIns="91440" bIns="45720" numCol="1" anchor="t" anchorCtr="0" compatLnSpc="1"/>
            <a:lstStyle/>
            <a:p>
              <a:endParaRPr lang="en-US"/>
            </a:p>
          </p:txBody>
        </p:sp>
        <p:sp>
          <p:nvSpPr>
            <p:cNvPr id="124" name="Rectangle 245"/>
            <p:cNvSpPr>
              <a:spLocks noChangeArrowheads="1"/>
            </p:cNvSpPr>
            <p:nvPr/>
          </p:nvSpPr>
          <p:spPr bwMode="auto">
            <a:xfrm>
              <a:off x="1931987" y="4817468"/>
              <a:ext cx="261938" cy="15875"/>
            </a:xfrm>
            <a:prstGeom prst="rect">
              <a:avLst/>
            </a:prstGeom>
            <a:solidFill>
              <a:srgbClr val="FFFFFF"/>
            </a:solidFill>
            <a:ln>
              <a:noFill/>
            </a:ln>
          </p:spPr>
          <p:txBody>
            <a:bodyPr vert="horz" wrap="square" lIns="91440" tIns="45720" rIns="91440" bIns="45720" numCol="1" anchor="t" anchorCtr="0" compatLnSpc="1"/>
            <a:lstStyle/>
            <a:p>
              <a:endParaRPr lang="en-US"/>
            </a:p>
          </p:txBody>
        </p:sp>
        <p:sp>
          <p:nvSpPr>
            <p:cNvPr id="125" name="Rectangle 246"/>
            <p:cNvSpPr>
              <a:spLocks noChangeArrowheads="1"/>
            </p:cNvSpPr>
            <p:nvPr/>
          </p:nvSpPr>
          <p:spPr bwMode="auto">
            <a:xfrm>
              <a:off x="1931987" y="4873031"/>
              <a:ext cx="261938" cy="14288"/>
            </a:xfrm>
            <a:prstGeom prst="rect">
              <a:avLst/>
            </a:prstGeom>
            <a:solidFill>
              <a:srgbClr val="FFFFFF"/>
            </a:solidFill>
            <a:ln>
              <a:noFill/>
            </a:ln>
          </p:spPr>
          <p:txBody>
            <a:bodyPr vert="horz" wrap="square" lIns="91440" tIns="45720" rIns="91440" bIns="45720" numCol="1" anchor="t" anchorCtr="0" compatLnSpc="1"/>
            <a:lstStyle/>
            <a:p>
              <a:endParaRPr lang="en-US"/>
            </a:p>
          </p:txBody>
        </p:sp>
        <p:sp>
          <p:nvSpPr>
            <p:cNvPr id="126" name="Rectangle 247"/>
            <p:cNvSpPr>
              <a:spLocks noChangeArrowheads="1"/>
            </p:cNvSpPr>
            <p:nvPr/>
          </p:nvSpPr>
          <p:spPr bwMode="auto">
            <a:xfrm>
              <a:off x="1931987" y="4927006"/>
              <a:ext cx="261938" cy="15875"/>
            </a:xfrm>
            <a:prstGeom prst="rect">
              <a:avLst/>
            </a:prstGeom>
            <a:solidFill>
              <a:srgbClr val="FFFFFF"/>
            </a:solidFill>
            <a:ln>
              <a:noFill/>
            </a:ln>
          </p:spPr>
          <p:txBody>
            <a:bodyPr vert="horz" wrap="square" lIns="91440" tIns="45720" rIns="91440" bIns="45720" numCol="1" anchor="t" anchorCtr="0" compatLnSpc="1"/>
            <a:lstStyle/>
            <a:p>
              <a:endParaRPr lang="en-US"/>
            </a:p>
          </p:txBody>
        </p:sp>
      </p:grpSp>
      <p:sp>
        <p:nvSpPr>
          <p:cNvPr id="80"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79" name="图片 7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2467" name="think-cell Slide" r:id="rId2" imgW="12700" imgH="12700" progId="TCLayout.ActiveDocument.1">
                  <p:embed/>
                </p:oleObj>
              </mc:Choice>
              <mc:Fallback>
                <p:oleObj name="think-cell Slide" r:id="rId2" imgW="12700" imgH="12700" progId="TCLayout.ActiveDocument.1">
                  <p:embed/>
                  <p:pic>
                    <p:nvPicPr>
                      <p:cNvPr id="0" name="对象 2" hidden="1"/>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82" name="组合 81"/>
          <p:cNvGrpSpPr/>
          <p:nvPr/>
        </p:nvGrpSpPr>
        <p:grpSpPr>
          <a:xfrm>
            <a:off x="439721" y="853692"/>
            <a:ext cx="5380166" cy="5371188"/>
            <a:chOff x="353659" y="982784"/>
            <a:chExt cx="5198090" cy="5189416"/>
          </a:xfrm>
          <a:effectLst/>
        </p:grpSpPr>
        <p:sp>
          <p:nvSpPr>
            <p:cNvPr id="21" name="五边形 20"/>
            <p:cNvSpPr/>
            <p:nvPr/>
          </p:nvSpPr>
          <p:spPr>
            <a:xfrm>
              <a:off x="353659" y="982784"/>
              <a:ext cx="5198090" cy="5189416"/>
            </a:xfrm>
            <a:prstGeom prst="homePlate">
              <a:avLst>
                <a:gd name="adj" fmla="val 0"/>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err="1" smtClean="0">
                <a:solidFill>
                  <a:schemeClr val="tx1"/>
                </a:solidFill>
                <a:latin typeface="Arial" panose="020B0604020202020204" pitchFamily="34" charset="0"/>
                <a:ea typeface="+mj-ea"/>
              </a:endParaRPr>
            </a:p>
          </p:txBody>
        </p:sp>
        <p:grpSp>
          <p:nvGrpSpPr>
            <p:cNvPr id="68" name="组合 67"/>
            <p:cNvGrpSpPr/>
            <p:nvPr/>
          </p:nvGrpSpPr>
          <p:grpSpPr>
            <a:xfrm>
              <a:off x="1244642" y="1807291"/>
              <a:ext cx="3564026" cy="3564020"/>
              <a:chOff x="1329746" y="1838604"/>
              <a:chExt cx="3389616" cy="3389611"/>
            </a:xfrm>
          </p:grpSpPr>
          <p:sp>
            <p:nvSpPr>
              <p:cNvPr id="49" name="íSļïdê"/>
              <p:cNvSpPr/>
              <p:nvPr/>
            </p:nvSpPr>
            <p:spPr>
              <a:xfrm rot="2700000">
                <a:off x="1600417" y="1838603"/>
                <a:ext cx="1021237" cy="1562579"/>
              </a:xfrm>
              <a:custGeom>
                <a:avLst/>
                <a:gdLst>
                  <a:gd name="connsiteX0" fmla="*/ 149731 w 1079485"/>
                  <a:gd name="connsiteY0" fmla="*/ 468724 h 1651702"/>
                  <a:gd name="connsiteX1" fmla="*/ 997140 w 1079485"/>
                  <a:gd name="connsiteY1" fmla="*/ 19102 h 1651702"/>
                  <a:gd name="connsiteX2" fmla="*/ 1079485 w 1079485"/>
                  <a:gd name="connsiteY2" fmla="*/ 0 h 1651702"/>
                  <a:gd name="connsiteX3" fmla="*/ 1059952 w 1079485"/>
                  <a:gd name="connsiteY3" fmla="*/ 84207 h 1651702"/>
                  <a:gd name="connsiteX4" fmla="*/ 987851 w 1079485"/>
                  <a:gd name="connsiteY4" fmla="*/ 825850 h 1651702"/>
                  <a:gd name="connsiteX5" fmla="*/ 1059952 w 1079485"/>
                  <a:gd name="connsiteY5" fmla="*/ 1567494 h 1651702"/>
                  <a:gd name="connsiteX6" fmla="*/ 1079485 w 1079485"/>
                  <a:gd name="connsiteY6" fmla="*/ 1651702 h 1651702"/>
                  <a:gd name="connsiteX7" fmla="*/ 997140 w 1079485"/>
                  <a:gd name="connsiteY7" fmla="*/ 1632600 h 1651702"/>
                  <a:gd name="connsiteX8" fmla="*/ 0 w 1079485"/>
                  <a:gd name="connsiteY8" fmla="*/ 825850 h 1651702"/>
                  <a:gd name="connsiteX9" fmla="*/ 149731 w 1079485"/>
                  <a:gd name="connsiteY9" fmla="*/ 468724 h 1651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485" h="1651702">
                    <a:moveTo>
                      <a:pt x="149731" y="468724"/>
                    </a:moveTo>
                    <a:cubicBezTo>
                      <a:pt x="318458" y="276633"/>
                      <a:pt x="619177" y="117971"/>
                      <a:pt x="997140" y="19102"/>
                    </a:cubicBezTo>
                    <a:lnTo>
                      <a:pt x="1079485" y="0"/>
                    </a:lnTo>
                    <a:lnTo>
                      <a:pt x="1059952" y="84207"/>
                    </a:lnTo>
                    <a:cubicBezTo>
                      <a:pt x="1013525" y="312158"/>
                      <a:pt x="987851" y="562778"/>
                      <a:pt x="987851" y="825850"/>
                    </a:cubicBezTo>
                    <a:cubicBezTo>
                      <a:pt x="987851" y="1088922"/>
                      <a:pt x="1013525" y="1339542"/>
                      <a:pt x="1059952" y="1567494"/>
                    </a:cubicBezTo>
                    <a:lnTo>
                      <a:pt x="1079485" y="1651702"/>
                    </a:lnTo>
                    <a:lnTo>
                      <a:pt x="997140" y="1632600"/>
                    </a:lnTo>
                    <a:cubicBezTo>
                      <a:pt x="403199" y="1477234"/>
                      <a:pt x="0" y="1174216"/>
                      <a:pt x="0" y="825850"/>
                    </a:cubicBezTo>
                    <a:cubicBezTo>
                      <a:pt x="0" y="699172"/>
                      <a:pt x="53316" y="578490"/>
                      <a:pt x="149731" y="468724"/>
                    </a:cubicBezTo>
                    <a:close/>
                  </a:path>
                </a:pathLst>
              </a:custGeom>
              <a:solidFill>
                <a:srgbClr val="FE5817"/>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47" name="íṡḷïḋe"/>
              <p:cNvSpPr/>
              <p:nvPr/>
            </p:nvSpPr>
            <p:spPr>
              <a:xfrm rot="2700000">
                <a:off x="3321716" y="3234737"/>
                <a:ext cx="370909" cy="1562581"/>
              </a:xfrm>
              <a:custGeom>
                <a:avLst/>
                <a:gdLst>
                  <a:gd name="connsiteX0" fmla="*/ 1 w 392065"/>
                  <a:gd name="connsiteY0" fmla="*/ 300431 h 1651703"/>
                  <a:gd name="connsiteX1" fmla="*/ 300432 w 392065"/>
                  <a:gd name="connsiteY1" fmla="*/ 0 h 1651703"/>
                  <a:gd name="connsiteX2" fmla="*/ 319965 w 392065"/>
                  <a:gd name="connsiteY2" fmla="*/ 84208 h 1651703"/>
                  <a:gd name="connsiteX3" fmla="*/ 392065 w 392065"/>
                  <a:gd name="connsiteY3" fmla="*/ 825851 h 1651703"/>
                  <a:gd name="connsiteX4" fmla="*/ 319965 w 392065"/>
                  <a:gd name="connsiteY4" fmla="*/ 1567495 h 1651703"/>
                  <a:gd name="connsiteX5" fmla="*/ 300432 w 392065"/>
                  <a:gd name="connsiteY5" fmla="*/ 1651703 h 1651703"/>
                  <a:gd name="connsiteX6" fmla="*/ 0 w 392065"/>
                  <a:gd name="connsiteY6" fmla="*/ 1351271 h 1651703"/>
                  <a:gd name="connsiteX7" fmla="*/ 12427 w 392065"/>
                  <a:gd name="connsiteY7" fmla="*/ 1297695 h 1651703"/>
                  <a:gd name="connsiteX8" fmla="*/ 58298 w 392065"/>
                  <a:gd name="connsiteY8" fmla="*/ 825849 h 1651703"/>
                  <a:gd name="connsiteX9" fmla="*/ 12427 w 392065"/>
                  <a:gd name="connsiteY9" fmla="*/ 354003 h 165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065" h="1651703">
                    <a:moveTo>
                      <a:pt x="1" y="300431"/>
                    </a:moveTo>
                    <a:lnTo>
                      <a:pt x="300432" y="0"/>
                    </a:lnTo>
                    <a:lnTo>
                      <a:pt x="319965" y="84208"/>
                    </a:lnTo>
                    <a:cubicBezTo>
                      <a:pt x="366392" y="312160"/>
                      <a:pt x="392065" y="562779"/>
                      <a:pt x="392065" y="825851"/>
                    </a:cubicBezTo>
                    <a:cubicBezTo>
                      <a:pt x="392065" y="1088923"/>
                      <a:pt x="366392" y="1339545"/>
                      <a:pt x="319965" y="1567495"/>
                    </a:cubicBezTo>
                    <a:lnTo>
                      <a:pt x="300432" y="1651703"/>
                    </a:lnTo>
                    <a:lnTo>
                      <a:pt x="0" y="1351271"/>
                    </a:lnTo>
                    <a:lnTo>
                      <a:pt x="12427" y="1297695"/>
                    </a:lnTo>
                    <a:cubicBezTo>
                      <a:pt x="41964" y="1152669"/>
                      <a:pt x="58298" y="993220"/>
                      <a:pt x="58298" y="825849"/>
                    </a:cubicBezTo>
                    <a:cubicBezTo>
                      <a:pt x="58298" y="658479"/>
                      <a:pt x="41965" y="499030"/>
                      <a:pt x="12427" y="354003"/>
                    </a:cubicBezTo>
                    <a:close/>
                  </a:path>
                </a:pathLst>
              </a:custGeom>
              <a:solidFill>
                <a:schemeClr val="accent4">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48" name="işļíḓè"/>
              <p:cNvSpPr/>
              <p:nvPr/>
            </p:nvSpPr>
            <p:spPr>
              <a:xfrm rot="2700000">
                <a:off x="3156781" y="2109274"/>
                <a:ext cx="1562580" cy="1021240"/>
              </a:xfrm>
              <a:custGeom>
                <a:avLst/>
                <a:gdLst>
                  <a:gd name="connsiteX0" fmla="*/ 468725 w 1651703"/>
                  <a:gd name="connsiteY0" fmla="*/ 149730 h 1079487"/>
                  <a:gd name="connsiteX1" fmla="*/ 825851 w 1651703"/>
                  <a:gd name="connsiteY1" fmla="*/ 0 h 1079487"/>
                  <a:gd name="connsiteX2" fmla="*/ 1632601 w 1651703"/>
                  <a:gd name="connsiteY2" fmla="*/ 997140 h 1079487"/>
                  <a:gd name="connsiteX3" fmla="*/ 1651703 w 1651703"/>
                  <a:gd name="connsiteY3" fmla="*/ 1079486 h 1079487"/>
                  <a:gd name="connsiteX4" fmla="*/ 1567495 w 1651703"/>
                  <a:gd name="connsiteY4" fmla="*/ 1059954 h 1079487"/>
                  <a:gd name="connsiteX5" fmla="*/ 825852 w 1651703"/>
                  <a:gd name="connsiteY5" fmla="*/ 987853 h 1079487"/>
                  <a:gd name="connsiteX6" fmla="*/ 84209 w 1651703"/>
                  <a:gd name="connsiteY6" fmla="*/ 1059954 h 1079487"/>
                  <a:gd name="connsiteX7" fmla="*/ 0 w 1651703"/>
                  <a:gd name="connsiteY7" fmla="*/ 1079487 h 1079487"/>
                  <a:gd name="connsiteX8" fmla="*/ 19102 w 1651703"/>
                  <a:gd name="connsiteY8" fmla="*/ 997141 h 1079487"/>
                  <a:gd name="connsiteX9" fmla="*/ 468725 w 1651703"/>
                  <a:gd name="connsiteY9" fmla="*/ 149730 h 107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1703" h="1079487">
                    <a:moveTo>
                      <a:pt x="468725" y="149730"/>
                    </a:moveTo>
                    <a:cubicBezTo>
                      <a:pt x="578491" y="53316"/>
                      <a:pt x="699173" y="0"/>
                      <a:pt x="825851" y="0"/>
                    </a:cubicBezTo>
                    <a:cubicBezTo>
                      <a:pt x="1174217" y="1"/>
                      <a:pt x="1477235" y="403199"/>
                      <a:pt x="1632601" y="997140"/>
                    </a:cubicBezTo>
                    <a:lnTo>
                      <a:pt x="1651703" y="1079486"/>
                    </a:lnTo>
                    <a:lnTo>
                      <a:pt x="1567495" y="1059954"/>
                    </a:lnTo>
                    <a:cubicBezTo>
                      <a:pt x="1339544" y="1013526"/>
                      <a:pt x="1088924" y="987853"/>
                      <a:pt x="825852" y="987853"/>
                    </a:cubicBezTo>
                    <a:cubicBezTo>
                      <a:pt x="562780" y="987853"/>
                      <a:pt x="312160" y="1013526"/>
                      <a:pt x="84209" y="1059954"/>
                    </a:cubicBezTo>
                    <a:lnTo>
                      <a:pt x="0" y="1079487"/>
                    </a:lnTo>
                    <a:lnTo>
                      <a:pt x="19102" y="997141"/>
                    </a:lnTo>
                    <a:cubicBezTo>
                      <a:pt x="117971" y="619178"/>
                      <a:pt x="276634" y="318458"/>
                      <a:pt x="468725" y="149730"/>
                    </a:cubicBezTo>
                    <a:close/>
                  </a:path>
                </a:pathLst>
              </a:custGeom>
              <a:solidFill>
                <a:srgbClr val="FFC3AB"/>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50" name="iṧ1íḍe"/>
              <p:cNvSpPr/>
              <p:nvPr/>
            </p:nvSpPr>
            <p:spPr>
              <a:xfrm rot="2700000">
                <a:off x="1329745" y="3936307"/>
                <a:ext cx="1562579" cy="1021238"/>
              </a:xfrm>
              <a:custGeom>
                <a:avLst/>
                <a:gdLst>
                  <a:gd name="connsiteX0" fmla="*/ 0 w 1651702"/>
                  <a:gd name="connsiteY0" fmla="*/ 0 h 1079485"/>
                  <a:gd name="connsiteX1" fmla="*/ 84209 w 1651702"/>
                  <a:gd name="connsiteY1" fmla="*/ 19533 h 1079485"/>
                  <a:gd name="connsiteX2" fmla="*/ 825852 w 1651702"/>
                  <a:gd name="connsiteY2" fmla="*/ 91634 h 1079485"/>
                  <a:gd name="connsiteX3" fmla="*/ 1567495 w 1651702"/>
                  <a:gd name="connsiteY3" fmla="*/ 19533 h 1079485"/>
                  <a:gd name="connsiteX4" fmla="*/ 1651702 w 1651702"/>
                  <a:gd name="connsiteY4" fmla="*/ 1 h 1079485"/>
                  <a:gd name="connsiteX5" fmla="*/ 1632601 w 1651702"/>
                  <a:gd name="connsiteY5" fmla="*/ 82346 h 1079485"/>
                  <a:gd name="connsiteX6" fmla="*/ 825852 w 1651702"/>
                  <a:gd name="connsiteY6" fmla="*/ 1079485 h 1079485"/>
                  <a:gd name="connsiteX7" fmla="*/ 19102 w 1651702"/>
                  <a:gd name="connsiteY7" fmla="*/ 82345 h 1079485"/>
                  <a:gd name="connsiteX8" fmla="*/ 0 w 1651702"/>
                  <a:gd name="connsiteY8" fmla="*/ 0 h 107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702" h="1079485">
                    <a:moveTo>
                      <a:pt x="0" y="0"/>
                    </a:moveTo>
                    <a:lnTo>
                      <a:pt x="84209" y="19533"/>
                    </a:lnTo>
                    <a:cubicBezTo>
                      <a:pt x="312160" y="65961"/>
                      <a:pt x="562780" y="91634"/>
                      <a:pt x="825852" y="91634"/>
                    </a:cubicBezTo>
                    <a:cubicBezTo>
                      <a:pt x="1088924" y="91634"/>
                      <a:pt x="1339544" y="65961"/>
                      <a:pt x="1567495" y="19533"/>
                    </a:cubicBezTo>
                    <a:lnTo>
                      <a:pt x="1651702" y="1"/>
                    </a:lnTo>
                    <a:lnTo>
                      <a:pt x="1632601" y="82346"/>
                    </a:lnTo>
                    <a:cubicBezTo>
                      <a:pt x="1477235" y="676287"/>
                      <a:pt x="1174217" y="1079485"/>
                      <a:pt x="825852" y="1079485"/>
                    </a:cubicBezTo>
                    <a:cubicBezTo>
                      <a:pt x="477487" y="1079486"/>
                      <a:pt x="174469" y="676287"/>
                      <a:pt x="19102" y="82345"/>
                    </a:cubicBezTo>
                    <a:lnTo>
                      <a:pt x="0" y="0"/>
                    </a:lnTo>
                    <a:close/>
                  </a:path>
                </a:pathLst>
              </a:custGeom>
              <a:solidFill>
                <a:schemeClr val="accent5"/>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51" name="ï$ḻîḓe"/>
              <p:cNvSpPr/>
              <p:nvPr/>
            </p:nvSpPr>
            <p:spPr>
              <a:xfrm rot="2700000">
                <a:off x="3427451" y="3665636"/>
                <a:ext cx="1021239" cy="1562582"/>
              </a:xfrm>
              <a:custGeom>
                <a:avLst/>
                <a:gdLst>
                  <a:gd name="connsiteX0" fmla="*/ 1 w 1079487"/>
                  <a:gd name="connsiteY0" fmla="*/ 0 h 1651704"/>
                  <a:gd name="connsiteX1" fmla="*/ 82347 w 1079487"/>
                  <a:gd name="connsiteY1" fmla="*/ 19102 h 1651704"/>
                  <a:gd name="connsiteX2" fmla="*/ 1079487 w 1079487"/>
                  <a:gd name="connsiteY2" fmla="*/ 825852 h 1651704"/>
                  <a:gd name="connsiteX3" fmla="*/ 82347 w 1079487"/>
                  <a:gd name="connsiteY3" fmla="*/ 1632602 h 1651704"/>
                  <a:gd name="connsiteX4" fmla="*/ 0 w 1079487"/>
                  <a:gd name="connsiteY4" fmla="*/ 1651704 h 1651704"/>
                  <a:gd name="connsiteX5" fmla="*/ 19534 w 1079487"/>
                  <a:gd name="connsiteY5" fmla="*/ 1567495 h 1651704"/>
                  <a:gd name="connsiteX6" fmla="*/ 91634 w 1079487"/>
                  <a:gd name="connsiteY6" fmla="*/ 825851 h 1651704"/>
                  <a:gd name="connsiteX7" fmla="*/ 19534 w 1079487"/>
                  <a:gd name="connsiteY7" fmla="*/ 84208 h 1651704"/>
                  <a:gd name="connsiteX8" fmla="*/ 1 w 1079487"/>
                  <a:gd name="connsiteY8" fmla="*/ 0 h 165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487" h="1651704">
                    <a:moveTo>
                      <a:pt x="1" y="0"/>
                    </a:moveTo>
                    <a:lnTo>
                      <a:pt x="82347" y="19102"/>
                    </a:lnTo>
                    <a:cubicBezTo>
                      <a:pt x="676289" y="174469"/>
                      <a:pt x="1079487" y="477487"/>
                      <a:pt x="1079487" y="825852"/>
                    </a:cubicBezTo>
                    <a:cubicBezTo>
                      <a:pt x="1079487" y="1174217"/>
                      <a:pt x="676289" y="1477235"/>
                      <a:pt x="82347" y="1632602"/>
                    </a:cubicBezTo>
                    <a:lnTo>
                      <a:pt x="0" y="1651704"/>
                    </a:lnTo>
                    <a:lnTo>
                      <a:pt x="19534" y="1567495"/>
                    </a:lnTo>
                    <a:cubicBezTo>
                      <a:pt x="65961" y="1339544"/>
                      <a:pt x="91634" y="1088923"/>
                      <a:pt x="91634" y="825851"/>
                    </a:cubicBezTo>
                    <a:cubicBezTo>
                      <a:pt x="91634" y="562779"/>
                      <a:pt x="65961" y="312159"/>
                      <a:pt x="19534" y="84208"/>
                    </a:cubicBezTo>
                    <a:lnTo>
                      <a:pt x="1" y="0"/>
                    </a:lnTo>
                    <a:close/>
                  </a:path>
                </a:pathLst>
              </a:custGeom>
              <a:solidFill>
                <a:srgbClr val="FF976D"/>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52" name="ïs1iďê"/>
              <p:cNvSpPr/>
              <p:nvPr/>
            </p:nvSpPr>
            <p:spPr>
              <a:xfrm rot="2700000">
                <a:off x="1760646" y="3830569"/>
                <a:ext cx="1562579" cy="370911"/>
              </a:xfrm>
              <a:custGeom>
                <a:avLst/>
                <a:gdLst>
                  <a:gd name="connsiteX0" fmla="*/ 0 w 1651702"/>
                  <a:gd name="connsiteY0" fmla="*/ 300432 h 392066"/>
                  <a:gd name="connsiteX1" fmla="*/ 300433 w 1651702"/>
                  <a:gd name="connsiteY1" fmla="*/ 0 h 392066"/>
                  <a:gd name="connsiteX2" fmla="*/ 354004 w 1651702"/>
                  <a:gd name="connsiteY2" fmla="*/ 12426 h 392066"/>
                  <a:gd name="connsiteX3" fmla="*/ 825850 w 1651702"/>
                  <a:gd name="connsiteY3" fmla="*/ 58298 h 392066"/>
                  <a:gd name="connsiteX4" fmla="*/ 1297695 w 1651702"/>
                  <a:gd name="connsiteY4" fmla="*/ 12426 h 392066"/>
                  <a:gd name="connsiteX5" fmla="*/ 1351269 w 1651702"/>
                  <a:gd name="connsiteY5" fmla="*/ 0 h 392066"/>
                  <a:gd name="connsiteX6" fmla="*/ 1651702 w 1651702"/>
                  <a:gd name="connsiteY6" fmla="*/ 300433 h 392066"/>
                  <a:gd name="connsiteX7" fmla="*/ 1567494 w 1651702"/>
                  <a:gd name="connsiteY7" fmla="*/ 319965 h 392066"/>
                  <a:gd name="connsiteX8" fmla="*/ 825851 w 1651702"/>
                  <a:gd name="connsiteY8" fmla="*/ 392066 h 392066"/>
                  <a:gd name="connsiteX9" fmla="*/ 84208 w 1651702"/>
                  <a:gd name="connsiteY9" fmla="*/ 319965 h 39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1702" h="392066">
                    <a:moveTo>
                      <a:pt x="0" y="300432"/>
                    </a:moveTo>
                    <a:lnTo>
                      <a:pt x="300433" y="0"/>
                    </a:lnTo>
                    <a:lnTo>
                      <a:pt x="354004" y="12426"/>
                    </a:lnTo>
                    <a:cubicBezTo>
                      <a:pt x="499031" y="41964"/>
                      <a:pt x="658479" y="58298"/>
                      <a:pt x="825850" y="58298"/>
                    </a:cubicBezTo>
                    <a:cubicBezTo>
                      <a:pt x="993220" y="58298"/>
                      <a:pt x="1152670" y="41964"/>
                      <a:pt x="1297695" y="12426"/>
                    </a:cubicBezTo>
                    <a:lnTo>
                      <a:pt x="1351269" y="0"/>
                    </a:lnTo>
                    <a:lnTo>
                      <a:pt x="1651702" y="300433"/>
                    </a:lnTo>
                    <a:lnTo>
                      <a:pt x="1567494" y="319965"/>
                    </a:lnTo>
                    <a:cubicBezTo>
                      <a:pt x="1339543" y="366393"/>
                      <a:pt x="1088923" y="392066"/>
                      <a:pt x="825851" y="392066"/>
                    </a:cubicBezTo>
                    <a:cubicBezTo>
                      <a:pt x="562779" y="392066"/>
                      <a:pt x="312159" y="366393"/>
                      <a:pt x="84208" y="319965"/>
                    </a:cubicBezTo>
                    <a:close/>
                  </a:path>
                </a:pathLst>
              </a:custGeom>
              <a:solidFill>
                <a:schemeClr val="accent5">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53" name="ïṥļiḑê"/>
              <p:cNvSpPr/>
              <p:nvPr/>
            </p:nvSpPr>
            <p:spPr>
              <a:xfrm rot="2700000">
                <a:off x="2356477" y="2269499"/>
                <a:ext cx="370913" cy="1562581"/>
              </a:xfrm>
              <a:custGeom>
                <a:avLst/>
                <a:gdLst>
                  <a:gd name="connsiteX0" fmla="*/ 91633 w 392068"/>
                  <a:gd name="connsiteY0" fmla="*/ 1 h 1651703"/>
                  <a:gd name="connsiteX1" fmla="*/ 91635 w 392068"/>
                  <a:gd name="connsiteY1" fmla="*/ 0 h 1651703"/>
                  <a:gd name="connsiteX2" fmla="*/ 392064 w 392068"/>
                  <a:gd name="connsiteY2" fmla="*/ 300430 h 1651703"/>
                  <a:gd name="connsiteX3" fmla="*/ 392064 w 392068"/>
                  <a:gd name="connsiteY3" fmla="*/ 300430 h 1651703"/>
                  <a:gd name="connsiteX4" fmla="*/ 379637 w 392068"/>
                  <a:gd name="connsiteY4" fmla="*/ 354004 h 1651703"/>
                  <a:gd name="connsiteX5" fmla="*/ 333765 w 392068"/>
                  <a:gd name="connsiteY5" fmla="*/ 825849 h 1651703"/>
                  <a:gd name="connsiteX6" fmla="*/ 379637 w 392068"/>
                  <a:gd name="connsiteY6" fmla="*/ 1297695 h 1651703"/>
                  <a:gd name="connsiteX7" fmla="*/ 392064 w 392068"/>
                  <a:gd name="connsiteY7" fmla="*/ 1351270 h 1651703"/>
                  <a:gd name="connsiteX8" fmla="*/ 392068 w 392068"/>
                  <a:gd name="connsiteY8" fmla="*/ 1351271 h 1651703"/>
                  <a:gd name="connsiteX9" fmla="*/ 91635 w 392068"/>
                  <a:gd name="connsiteY9" fmla="*/ 1651703 h 1651703"/>
                  <a:gd name="connsiteX10" fmla="*/ 91634 w 392068"/>
                  <a:gd name="connsiteY10" fmla="*/ 1651703 h 1651703"/>
                  <a:gd name="connsiteX11" fmla="*/ 72101 w 392068"/>
                  <a:gd name="connsiteY11" fmla="*/ 1567495 h 1651703"/>
                  <a:gd name="connsiteX12" fmla="*/ 0 w 392068"/>
                  <a:gd name="connsiteY12" fmla="*/ 825851 h 1651703"/>
                  <a:gd name="connsiteX13" fmla="*/ 72101 w 392068"/>
                  <a:gd name="connsiteY13" fmla="*/ 84208 h 165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2068" h="1651703">
                    <a:moveTo>
                      <a:pt x="91633" y="1"/>
                    </a:moveTo>
                    <a:lnTo>
                      <a:pt x="91635" y="0"/>
                    </a:lnTo>
                    <a:lnTo>
                      <a:pt x="392064" y="300430"/>
                    </a:lnTo>
                    <a:lnTo>
                      <a:pt x="392064" y="300430"/>
                    </a:lnTo>
                    <a:lnTo>
                      <a:pt x="379637" y="354004"/>
                    </a:lnTo>
                    <a:cubicBezTo>
                      <a:pt x="350099" y="499030"/>
                      <a:pt x="333765" y="658479"/>
                      <a:pt x="333765" y="825849"/>
                    </a:cubicBezTo>
                    <a:cubicBezTo>
                      <a:pt x="333765" y="993220"/>
                      <a:pt x="350099" y="1152668"/>
                      <a:pt x="379637" y="1297695"/>
                    </a:cubicBezTo>
                    <a:lnTo>
                      <a:pt x="392064" y="1351270"/>
                    </a:lnTo>
                    <a:lnTo>
                      <a:pt x="392068" y="1351271"/>
                    </a:lnTo>
                    <a:lnTo>
                      <a:pt x="91635" y="1651703"/>
                    </a:lnTo>
                    <a:lnTo>
                      <a:pt x="91634" y="1651703"/>
                    </a:lnTo>
                    <a:lnTo>
                      <a:pt x="72101" y="1567495"/>
                    </a:lnTo>
                    <a:cubicBezTo>
                      <a:pt x="25674" y="1339543"/>
                      <a:pt x="0" y="1088923"/>
                      <a:pt x="0" y="825851"/>
                    </a:cubicBezTo>
                    <a:cubicBezTo>
                      <a:pt x="0" y="562779"/>
                      <a:pt x="25674" y="312160"/>
                      <a:pt x="72101" y="84208"/>
                    </a:cubicBezTo>
                    <a:close/>
                  </a:path>
                </a:pathLst>
              </a:custGeom>
              <a:solidFill>
                <a:schemeClr val="accent1">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54" name="îṧľïḋè"/>
              <p:cNvSpPr/>
              <p:nvPr/>
            </p:nvSpPr>
            <p:spPr>
              <a:xfrm rot="2700000">
                <a:off x="2725880" y="2865332"/>
                <a:ext cx="1562580" cy="370914"/>
              </a:xfrm>
              <a:custGeom>
                <a:avLst/>
                <a:gdLst>
                  <a:gd name="connsiteX0" fmla="*/ 0 w 1651704"/>
                  <a:gd name="connsiteY0" fmla="*/ 91634 h 392069"/>
                  <a:gd name="connsiteX1" fmla="*/ 84209 w 1651704"/>
                  <a:gd name="connsiteY1" fmla="*/ 72101 h 392069"/>
                  <a:gd name="connsiteX2" fmla="*/ 825852 w 1651704"/>
                  <a:gd name="connsiteY2" fmla="*/ 0 h 392069"/>
                  <a:gd name="connsiteX3" fmla="*/ 1567495 w 1651704"/>
                  <a:gd name="connsiteY3" fmla="*/ 72101 h 392069"/>
                  <a:gd name="connsiteX4" fmla="*/ 1651703 w 1651704"/>
                  <a:gd name="connsiteY4" fmla="*/ 91633 h 392069"/>
                  <a:gd name="connsiteX5" fmla="*/ 1651704 w 1651704"/>
                  <a:gd name="connsiteY5" fmla="*/ 91638 h 392069"/>
                  <a:gd name="connsiteX6" fmla="*/ 1351273 w 1651704"/>
                  <a:gd name="connsiteY6" fmla="*/ 392069 h 392069"/>
                  <a:gd name="connsiteX7" fmla="*/ 1351271 w 1651704"/>
                  <a:gd name="connsiteY7" fmla="*/ 392062 h 392069"/>
                  <a:gd name="connsiteX8" fmla="*/ 1297696 w 1651704"/>
                  <a:gd name="connsiteY8" fmla="*/ 379636 h 392069"/>
                  <a:gd name="connsiteX9" fmla="*/ 825851 w 1651704"/>
                  <a:gd name="connsiteY9" fmla="*/ 333764 h 392069"/>
                  <a:gd name="connsiteX10" fmla="*/ 354005 w 1651704"/>
                  <a:gd name="connsiteY10" fmla="*/ 379636 h 392069"/>
                  <a:gd name="connsiteX11" fmla="*/ 300430 w 1651704"/>
                  <a:gd name="connsiteY11" fmla="*/ 392063 h 392069"/>
                  <a:gd name="connsiteX12" fmla="*/ 300430 w 1651704"/>
                  <a:gd name="connsiteY12" fmla="*/ 392064 h 39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704" h="392069">
                    <a:moveTo>
                      <a:pt x="0" y="91634"/>
                    </a:moveTo>
                    <a:lnTo>
                      <a:pt x="84209" y="72101"/>
                    </a:lnTo>
                    <a:cubicBezTo>
                      <a:pt x="312160" y="25673"/>
                      <a:pt x="562780" y="0"/>
                      <a:pt x="825852" y="0"/>
                    </a:cubicBezTo>
                    <a:cubicBezTo>
                      <a:pt x="1088924" y="0"/>
                      <a:pt x="1339544" y="25674"/>
                      <a:pt x="1567495" y="72101"/>
                    </a:cubicBezTo>
                    <a:lnTo>
                      <a:pt x="1651703" y="91633"/>
                    </a:lnTo>
                    <a:lnTo>
                      <a:pt x="1651704" y="91638"/>
                    </a:lnTo>
                    <a:lnTo>
                      <a:pt x="1351273" y="392069"/>
                    </a:lnTo>
                    <a:lnTo>
                      <a:pt x="1351271" y="392062"/>
                    </a:lnTo>
                    <a:lnTo>
                      <a:pt x="1297696" y="379636"/>
                    </a:lnTo>
                    <a:cubicBezTo>
                      <a:pt x="1152671" y="350098"/>
                      <a:pt x="993221" y="333764"/>
                      <a:pt x="825851" y="333764"/>
                    </a:cubicBezTo>
                    <a:cubicBezTo>
                      <a:pt x="658480" y="333764"/>
                      <a:pt x="499032" y="350097"/>
                      <a:pt x="354005" y="379636"/>
                    </a:cubicBezTo>
                    <a:lnTo>
                      <a:pt x="300430" y="392063"/>
                    </a:lnTo>
                    <a:lnTo>
                      <a:pt x="300430" y="392064"/>
                    </a:lnTo>
                    <a:close/>
                  </a:path>
                </a:pathLst>
              </a:custGeom>
              <a:solidFill>
                <a:srgbClr val="FF976D"/>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60" name="Freeform 182"/>
              <p:cNvSpPr>
                <a:spLocks noEditPoints="1"/>
              </p:cNvSpPr>
              <p:nvPr/>
            </p:nvSpPr>
            <p:spPr bwMode="auto">
              <a:xfrm>
                <a:off x="2798435" y="3066113"/>
                <a:ext cx="482648" cy="603308"/>
              </a:xfrm>
              <a:custGeom>
                <a:avLst/>
                <a:gdLst>
                  <a:gd name="T0" fmla="*/ 177 w 208"/>
                  <a:gd name="T1" fmla="*/ 156 h 260"/>
                  <a:gd name="T2" fmla="*/ 176 w 208"/>
                  <a:gd name="T3" fmla="*/ 152 h 260"/>
                  <a:gd name="T4" fmla="*/ 170 w 208"/>
                  <a:gd name="T5" fmla="*/ 146 h 260"/>
                  <a:gd name="T6" fmla="*/ 167 w 208"/>
                  <a:gd name="T7" fmla="*/ 146 h 260"/>
                  <a:gd name="T8" fmla="*/ 159 w 208"/>
                  <a:gd name="T9" fmla="*/ 148 h 260"/>
                  <a:gd name="T10" fmla="*/ 156 w 208"/>
                  <a:gd name="T11" fmla="*/ 156 h 260"/>
                  <a:gd name="T12" fmla="*/ 31 w 208"/>
                  <a:gd name="T13" fmla="*/ 260 h 260"/>
                  <a:gd name="T14" fmla="*/ 26 w 208"/>
                  <a:gd name="T15" fmla="*/ 224 h 260"/>
                  <a:gd name="T16" fmla="*/ 20 w 208"/>
                  <a:gd name="T17" fmla="*/ 223 h 260"/>
                  <a:gd name="T18" fmla="*/ 11 w 208"/>
                  <a:gd name="T19" fmla="*/ 219 h 260"/>
                  <a:gd name="T20" fmla="*/ 4 w 208"/>
                  <a:gd name="T21" fmla="*/ 212 h 260"/>
                  <a:gd name="T22" fmla="*/ 0 w 208"/>
                  <a:gd name="T23" fmla="*/ 203 h 260"/>
                  <a:gd name="T24" fmla="*/ 0 w 208"/>
                  <a:gd name="T25" fmla="*/ 151 h 260"/>
                  <a:gd name="T26" fmla="*/ 0 w 208"/>
                  <a:gd name="T27" fmla="*/ 115 h 260"/>
                  <a:gd name="T28" fmla="*/ 0 w 208"/>
                  <a:gd name="T29" fmla="*/ 115 h 260"/>
                  <a:gd name="T30" fmla="*/ 9 w 208"/>
                  <a:gd name="T31" fmla="*/ 99 h 260"/>
                  <a:gd name="T32" fmla="*/ 21 w 208"/>
                  <a:gd name="T33" fmla="*/ 94 h 260"/>
                  <a:gd name="T34" fmla="*/ 117 w 208"/>
                  <a:gd name="T35" fmla="*/ 94 h 260"/>
                  <a:gd name="T36" fmla="*/ 39 w 208"/>
                  <a:gd name="T37" fmla="*/ 221 h 260"/>
                  <a:gd name="T38" fmla="*/ 56 w 208"/>
                  <a:gd name="T39" fmla="*/ 221 h 260"/>
                  <a:gd name="T40" fmla="*/ 73 w 208"/>
                  <a:gd name="T41" fmla="*/ 219 h 260"/>
                  <a:gd name="T42" fmla="*/ 92 w 208"/>
                  <a:gd name="T43" fmla="*/ 211 h 260"/>
                  <a:gd name="T44" fmla="*/ 113 w 208"/>
                  <a:gd name="T45" fmla="*/ 197 h 260"/>
                  <a:gd name="T46" fmla="*/ 131 w 208"/>
                  <a:gd name="T47" fmla="*/ 173 h 260"/>
                  <a:gd name="T48" fmla="*/ 146 w 208"/>
                  <a:gd name="T49" fmla="*/ 139 h 260"/>
                  <a:gd name="T50" fmla="*/ 154 w 208"/>
                  <a:gd name="T51" fmla="*/ 94 h 260"/>
                  <a:gd name="T52" fmla="*/ 182 w 208"/>
                  <a:gd name="T53" fmla="*/ 94 h 260"/>
                  <a:gd name="T54" fmla="*/ 191 w 208"/>
                  <a:gd name="T55" fmla="*/ 95 h 260"/>
                  <a:gd name="T56" fmla="*/ 200 w 208"/>
                  <a:gd name="T57" fmla="*/ 102 h 260"/>
                  <a:gd name="T58" fmla="*/ 206 w 208"/>
                  <a:gd name="T59" fmla="*/ 109 h 260"/>
                  <a:gd name="T60" fmla="*/ 208 w 208"/>
                  <a:gd name="T61" fmla="*/ 120 h 260"/>
                  <a:gd name="T62" fmla="*/ 177 w 208"/>
                  <a:gd name="T63" fmla="*/ 260 h 260"/>
                  <a:gd name="T64" fmla="*/ 47 w 208"/>
                  <a:gd name="T65" fmla="*/ 146 h 260"/>
                  <a:gd name="T66" fmla="*/ 31 w 208"/>
                  <a:gd name="T67" fmla="*/ 177 h 260"/>
                  <a:gd name="T68" fmla="*/ 103 w 208"/>
                  <a:gd name="T69" fmla="*/ 82 h 260"/>
                  <a:gd name="T70" fmla="*/ 94 w 208"/>
                  <a:gd name="T71" fmla="*/ 81 h 260"/>
                  <a:gd name="T72" fmla="*/ 79 w 208"/>
                  <a:gd name="T73" fmla="*/ 76 h 260"/>
                  <a:gd name="T74" fmla="*/ 69 w 208"/>
                  <a:gd name="T75" fmla="*/ 64 h 260"/>
                  <a:gd name="T76" fmla="*/ 63 w 208"/>
                  <a:gd name="T77" fmla="*/ 50 h 260"/>
                  <a:gd name="T78" fmla="*/ 61 w 208"/>
                  <a:gd name="T79" fmla="*/ 41 h 260"/>
                  <a:gd name="T80" fmla="*/ 65 w 208"/>
                  <a:gd name="T81" fmla="*/ 25 h 260"/>
                  <a:gd name="T82" fmla="*/ 73 w 208"/>
                  <a:gd name="T83" fmla="*/ 12 h 260"/>
                  <a:gd name="T84" fmla="*/ 87 w 208"/>
                  <a:gd name="T85" fmla="*/ 3 h 260"/>
                  <a:gd name="T86" fmla="*/ 103 w 208"/>
                  <a:gd name="T87" fmla="*/ 0 h 260"/>
                  <a:gd name="T88" fmla="*/ 111 w 208"/>
                  <a:gd name="T89" fmla="*/ 0 h 260"/>
                  <a:gd name="T90" fmla="*/ 126 w 208"/>
                  <a:gd name="T91" fmla="*/ 7 h 260"/>
                  <a:gd name="T92" fmla="*/ 137 w 208"/>
                  <a:gd name="T93" fmla="*/ 19 h 260"/>
                  <a:gd name="T94" fmla="*/ 143 w 208"/>
                  <a:gd name="T95" fmla="*/ 33 h 260"/>
                  <a:gd name="T96" fmla="*/ 144 w 208"/>
                  <a:gd name="T97" fmla="*/ 41 h 260"/>
                  <a:gd name="T98" fmla="*/ 141 w 208"/>
                  <a:gd name="T99" fmla="*/ 57 h 260"/>
                  <a:gd name="T100" fmla="*/ 131 w 208"/>
                  <a:gd name="T101" fmla="*/ 70 h 260"/>
                  <a:gd name="T102" fmla="*/ 118 w 208"/>
                  <a:gd name="T103" fmla="*/ 80 h 260"/>
                  <a:gd name="T104" fmla="*/ 103 w 208"/>
                  <a:gd name="T105" fmla="*/ 8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260">
                    <a:moveTo>
                      <a:pt x="177" y="260"/>
                    </a:moveTo>
                    <a:lnTo>
                      <a:pt x="177" y="156"/>
                    </a:lnTo>
                    <a:lnTo>
                      <a:pt x="177" y="156"/>
                    </a:lnTo>
                    <a:lnTo>
                      <a:pt x="176" y="152"/>
                    </a:lnTo>
                    <a:lnTo>
                      <a:pt x="173" y="148"/>
                    </a:lnTo>
                    <a:lnTo>
                      <a:pt x="170" y="146"/>
                    </a:lnTo>
                    <a:lnTo>
                      <a:pt x="167" y="146"/>
                    </a:lnTo>
                    <a:lnTo>
                      <a:pt x="167" y="146"/>
                    </a:lnTo>
                    <a:lnTo>
                      <a:pt x="161" y="146"/>
                    </a:lnTo>
                    <a:lnTo>
                      <a:pt x="159" y="148"/>
                    </a:lnTo>
                    <a:lnTo>
                      <a:pt x="156" y="152"/>
                    </a:lnTo>
                    <a:lnTo>
                      <a:pt x="156" y="156"/>
                    </a:lnTo>
                    <a:lnTo>
                      <a:pt x="156" y="260"/>
                    </a:lnTo>
                    <a:lnTo>
                      <a:pt x="31" y="260"/>
                    </a:lnTo>
                    <a:lnTo>
                      <a:pt x="31" y="224"/>
                    </a:lnTo>
                    <a:lnTo>
                      <a:pt x="26" y="224"/>
                    </a:lnTo>
                    <a:lnTo>
                      <a:pt x="26" y="224"/>
                    </a:lnTo>
                    <a:lnTo>
                      <a:pt x="20" y="223"/>
                    </a:lnTo>
                    <a:lnTo>
                      <a:pt x="16" y="221"/>
                    </a:lnTo>
                    <a:lnTo>
                      <a:pt x="11" y="219"/>
                    </a:lnTo>
                    <a:lnTo>
                      <a:pt x="7" y="216"/>
                    </a:lnTo>
                    <a:lnTo>
                      <a:pt x="4" y="212"/>
                    </a:lnTo>
                    <a:lnTo>
                      <a:pt x="1" y="207"/>
                    </a:lnTo>
                    <a:lnTo>
                      <a:pt x="0" y="203"/>
                    </a:lnTo>
                    <a:lnTo>
                      <a:pt x="0" y="198"/>
                    </a:lnTo>
                    <a:lnTo>
                      <a:pt x="0" y="151"/>
                    </a:lnTo>
                    <a:lnTo>
                      <a:pt x="0" y="120"/>
                    </a:lnTo>
                    <a:lnTo>
                      <a:pt x="0" y="115"/>
                    </a:lnTo>
                    <a:lnTo>
                      <a:pt x="0" y="115"/>
                    </a:lnTo>
                    <a:lnTo>
                      <a:pt x="0" y="115"/>
                    </a:lnTo>
                    <a:lnTo>
                      <a:pt x="3" y="106"/>
                    </a:lnTo>
                    <a:lnTo>
                      <a:pt x="9" y="99"/>
                    </a:lnTo>
                    <a:lnTo>
                      <a:pt x="17" y="95"/>
                    </a:lnTo>
                    <a:lnTo>
                      <a:pt x="21" y="94"/>
                    </a:lnTo>
                    <a:lnTo>
                      <a:pt x="26" y="94"/>
                    </a:lnTo>
                    <a:lnTo>
                      <a:pt x="117" y="94"/>
                    </a:lnTo>
                    <a:lnTo>
                      <a:pt x="39" y="221"/>
                    </a:lnTo>
                    <a:lnTo>
                      <a:pt x="39" y="221"/>
                    </a:lnTo>
                    <a:lnTo>
                      <a:pt x="44" y="223"/>
                    </a:lnTo>
                    <a:lnTo>
                      <a:pt x="56" y="221"/>
                    </a:lnTo>
                    <a:lnTo>
                      <a:pt x="64" y="221"/>
                    </a:lnTo>
                    <a:lnTo>
                      <a:pt x="73" y="219"/>
                    </a:lnTo>
                    <a:lnTo>
                      <a:pt x="82" y="216"/>
                    </a:lnTo>
                    <a:lnTo>
                      <a:pt x="92" y="211"/>
                    </a:lnTo>
                    <a:lnTo>
                      <a:pt x="103" y="204"/>
                    </a:lnTo>
                    <a:lnTo>
                      <a:pt x="113" y="197"/>
                    </a:lnTo>
                    <a:lnTo>
                      <a:pt x="122" y="186"/>
                    </a:lnTo>
                    <a:lnTo>
                      <a:pt x="131" y="173"/>
                    </a:lnTo>
                    <a:lnTo>
                      <a:pt x="139" y="158"/>
                    </a:lnTo>
                    <a:lnTo>
                      <a:pt x="146" y="139"/>
                    </a:lnTo>
                    <a:lnTo>
                      <a:pt x="150" y="119"/>
                    </a:lnTo>
                    <a:lnTo>
                      <a:pt x="154" y="94"/>
                    </a:lnTo>
                    <a:lnTo>
                      <a:pt x="182" y="94"/>
                    </a:lnTo>
                    <a:lnTo>
                      <a:pt x="182" y="94"/>
                    </a:lnTo>
                    <a:lnTo>
                      <a:pt x="187" y="94"/>
                    </a:lnTo>
                    <a:lnTo>
                      <a:pt x="191" y="95"/>
                    </a:lnTo>
                    <a:lnTo>
                      <a:pt x="196" y="98"/>
                    </a:lnTo>
                    <a:lnTo>
                      <a:pt x="200" y="102"/>
                    </a:lnTo>
                    <a:lnTo>
                      <a:pt x="203" y="104"/>
                    </a:lnTo>
                    <a:lnTo>
                      <a:pt x="206" y="109"/>
                    </a:lnTo>
                    <a:lnTo>
                      <a:pt x="207" y="115"/>
                    </a:lnTo>
                    <a:lnTo>
                      <a:pt x="208" y="120"/>
                    </a:lnTo>
                    <a:lnTo>
                      <a:pt x="208" y="260"/>
                    </a:lnTo>
                    <a:lnTo>
                      <a:pt x="177" y="260"/>
                    </a:lnTo>
                    <a:close/>
                    <a:moveTo>
                      <a:pt x="47" y="177"/>
                    </a:moveTo>
                    <a:lnTo>
                      <a:pt x="47" y="146"/>
                    </a:lnTo>
                    <a:lnTo>
                      <a:pt x="31" y="146"/>
                    </a:lnTo>
                    <a:lnTo>
                      <a:pt x="31" y="177"/>
                    </a:lnTo>
                    <a:lnTo>
                      <a:pt x="47" y="177"/>
                    </a:lnTo>
                    <a:close/>
                    <a:moveTo>
                      <a:pt x="103" y="82"/>
                    </a:moveTo>
                    <a:lnTo>
                      <a:pt x="103" y="82"/>
                    </a:lnTo>
                    <a:lnTo>
                      <a:pt x="94" y="81"/>
                    </a:lnTo>
                    <a:lnTo>
                      <a:pt x="87" y="80"/>
                    </a:lnTo>
                    <a:lnTo>
                      <a:pt x="79" y="76"/>
                    </a:lnTo>
                    <a:lnTo>
                      <a:pt x="73" y="70"/>
                    </a:lnTo>
                    <a:lnTo>
                      <a:pt x="69" y="64"/>
                    </a:lnTo>
                    <a:lnTo>
                      <a:pt x="65" y="57"/>
                    </a:lnTo>
                    <a:lnTo>
                      <a:pt x="63" y="50"/>
                    </a:lnTo>
                    <a:lnTo>
                      <a:pt x="61" y="41"/>
                    </a:lnTo>
                    <a:lnTo>
                      <a:pt x="61" y="41"/>
                    </a:lnTo>
                    <a:lnTo>
                      <a:pt x="63" y="33"/>
                    </a:lnTo>
                    <a:lnTo>
                      <a:pt x="65" y="25"/>
                    </a:lnTo>
                    <a:lnTo>
                      <a:pt x="69" y="19"/>
                    </a:lnTo>
                    <a:lnTo>
                      <a:pt x="73" y="12"/>
                    </a:lnTo>
                    <a:lnTo>
                      <a:pt x="79" y="7"/>
                    </a:lnTo>
                    <a:lnTo>
                      <a:pt x="87" y="3"/>
                    </a:lnTo>
                    <a:lnTo>
                      <a:pt x="94" y="0"/>
                    </a:lnTo>
                    <a:lnTo>
                      <a:pt x="103" y="0"/>
                    </a:lnTo>
                    <a:lnTo>
                      <a:pt x="103" y="0"/>
                    </a:lnTo>
                    <a:lnTo>
                      <a:pt x="111" y="0"/>
                    </a:lnTo>
                    <a:lnTo>
                      <a:pt x="118" y="3"/>
                    </a:lnTo>
                    <a:lnTo>
                      <a:pt x="126" y="7"/>
                    </a:lnTo>
                    <a:lnTo>
                      <a:pt x="131" y="12"/>
                    </a:lnTo>
                    <a:lnTo>
                      <a:pt x="137" y="19"/>
                    </a:lnTo>
                    <a:lnTo>
                      <a:pt x="141" y="25"/>
                    </a:lnTo>
                    <a:lnTo>
                      <a:pt x="143" y="33"/>
                    </a:lnTo>
                    <a:lnTo>
                      <a:pt x="144" y="41"/>
                    </a:lnTo>
                    <a:lnTo>
                      <a:pt x="144" y="41"/>
                    </a:lnTo>
                    <a:lnTo>
                      <a:pt x="143" y="50"/>
                    </a:lnTo>
                    <a:lnTo>
                      <a:pt x="141" y="57"/>
                    </a:lnTo>
                    <a:lnTo>
                      <a:pt x="137" y="64"/>
                    </a:lnTo>
                    <a:lnTo>
                      <a:pt x="131" y="70"/>
                    </a:lnTo>
                    <a:lnTo>
                      <a:pt x="126" y="76"/>
                    </a:lnTo>
                    <a:lnTo>
                      <a:pt x="118" y="80"/>
                    </a:lnTo>
                    <a:lnTo>
                      <a:pt x="111" y="81"/>
                    </a:lnTo>
                    <a:lnTo>
                      <a:pt x="103" y="82"/>
                    </a:lnTo>
                    <a:lnTo>
                      <a:pt x="103" y="82"/>
                    </a:lnTo>
                    <a:close/>
                  </a:path>
                </a:pathLst>
              </a:custGeom>
              <a:solidFill>
                <a:schemeClr val="accent1">
                  <a:lumMod val="50000"/>
                </a:schemeClr>
              </a:solidFill>
              <a:ln>
                <a:noFill/>
              </a:ln>
            </p:spPr>
            <p:txBody>
              <a:bodyPr vert="horz" wrap="square" lIns="91440" tIns="45720" rIns="91440" bIns="45720" numCol="1" anchor="t" anchorCtr="0" compatLnSpc="1"/>
              <a:lstStyle/>
              <a:p>
                <a:endParaRPr lang="zh-CN" altLang="en-US"/>
              </a:p>
            </p:txBody>
          </p:sp>
          <p:sp>
            <p:nvSpPr>
              <p:cNvPr id="61" name="文本框 60"/>
              <p:cNvSpPr txBox="1"/>
              <p:nvPr/>
            </p:nvSpPr>
            <p:spPr>
              <a:xfrm>
                <a:off x="2623535" y="3727100"/>
                <a:ext cx="813585" cy="254528"/>
              </a:xfrm>
              <a:prstGeom prst="rect">
                <a:avLst/>
              </a:prstGeom>
              <a:noFill/>
            </p:spPr>
            <p:txBody>
              <a:bodyPr wrap="square" lIns="0" tIns="0" rIns="0" bIns="0" rtlCol="0">
                <a:spAutoFit/>
              </a:bodyPr>
              <a:lstStyle/>
              <a:p>
                <a:pPr algn="ctr"/>
                <a:r>
                  <a:rPr lang="en-US" altLang="zh-CN" b="1" dirty="0" smtClean="0"/>
                  <a:t>XX</a:t>
                </a:r>
                <a:endParaRPr lang="zh-CN" altLang="en-US" b="1" dirty="0"/>
              </a:p>
            </p:txBody>
          </p:sp>
          <p:sp>
            <p:nvSpPr>
              <p:cNvPr id="62" name="矩形 61"/>
              <p:cNvSpPr/>
              <p:nvPr/>
            </p:nvSpPr>
            <p:spPr>
              <a:xfrm>
                <a:off x="3288713" y="2246588"/>
                <a:ext cx="1186468" cy="584766"/>
              </a:xfrm>
              <a:prstGeom prst="rect">
                <a:avLst/>
              </a:prstGeom>
              <a:noFill/>
              <a:ln w="9525">
                <a:noFill/>
              </a:ln>
              <a:extLst>
                <a:ext uri="{909E8E84-426E-40DD-AFC4-6F175D3DCCD1}">
                  <a14:hiddenFill xmlns:a14="http://schemas.microsoft.com/office/drawing/2010/main">
                    <a:solidFill>
                      <a:srgbClr val="CCEC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800" b="1" smtClean="0">
                    <a:solidFill>
                      <a:schemeClr val="tx1"/>
                    </a:solidFill>
                  </a:rPr>
                  <a:t>X</a:t>
                </a:r>
                <a:endParaRPr lang="zh-CN" altLang="en-US" sz="1800" b="1" dirty="0" smtClean="0">
                  <a:solidFill>
                    <a:schemeClr val="tx1"/>
                  </a:solidFill>
                </a:endParaRPr>
              </a:p>
            </p:txBody>
          </p:sp>
          <p:sp>
            <p:nvSpPr>
              <p:cNvPr id="63" name="矩形 62"/>
              <p:cNvSpPr/>
              <p:nvPr/>
            </p:nvSpPr>
            <p:spPr>
              <a:xfrm>
                <a:off x="1589470" y="2268104"/>
                <a:ext cx="1186468" cy="584766"/>
              </a:xfrm>
              <a:prstGeom prst="rect">
                <a:avLst/>
              </a:prstGeom>
              <a:noFill/>
              <a:ln w="9525">
                <a:noFill/>
              </a:ln>
              <a:extLst>
                <a:ext uri="{909E8E84-426E-40DD-AFC4-6F175D3DCCD1}">
                  <a14:hiddenFill xmlns:a14="http://schemas.microsoft.com/office/drawing/2010/main">
                    <a:solidFill>
                      <a:srgbClr val="CCEC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b="1" smtClean="0">
                    <a:solidFill>
                      <a:schemeClr val="bg1"/>
                    </a:solidFill>
                  </a:rPr>
                  <a:t>X</a:t>
                </a:r>
                <a:endParaRPr lang="zh-CN" altLang="en-US" sz="1800" b="1" dirty="0" smtClean="0">
                  <a:solidFill>
                    <a:schemeClr val="bg1"/>
                  </a:solidFill>
                </a:endParaRPr>
              </a:p>
            </p:txBody>
          </p:sp>
          <p:sp>
            <p:nvSpPr>
              <p:cNvPr id="64" name="矩形 63"/>
              <p:cNvSpPr/>
              <p:nvPr/>
            </p:nvSpPr>
            <p:spPr>
              <a:xfrm>
                <a:off x="1556940" y="4159357"/>
                <a:ext cx="1186468" cy="584766"/>
              </a:xfrm>
              <a:prstGeom prst="rect">
                <a:avLst/>
              </a:prstGeom>
              <a:noFill/>
              <a:ln w="9525">
                <a:noFill/>
              </a:ln>
              <a:extLst>
                <a:ext uri="{909E8E84-426E-40DD-AFC4-6F175D3DCCD1}">
                  <a14:hiddenFill xmlns:a14="http://schemas.microsoft.com/office/drawing/2010/main">
                    <a:solidFill>
                      <a:srgbClr val="CCEC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b="1" smtClean="0">
                    <a:solidFill>
                      <a:schemeClr val="bg1"/>
                    </a:solidFill>
                  </a:rPr>
                  <a:t>X</a:t>
                </a:r>
                <a:endParaRPr lang="zh-CN" altLang="en-US" sz="1800" b="1" dirty="0" smtClean="0">
                  <a:solidFill>
                    <a:schemeClr val="bg1"/>
                  </a:solidFill>
                </a:endParaRPr>
              </a:p>
            </p:txBody>
          </p:sp>
          <p:sp>
            <p:nvSpPr>
              <p:cNvPr id="65" name="矩形 64"/>
              <p:cNvSpPr/>
              <p:nvPr/>
            </p:nvSpPr>
            <p:spPr>
              <a:xfrm>
                <a:off x="3332001" y="4223904"/>
                <a:ext cx="1186468" cy="584766"/>
              </a:xfrm>
              <a:prstGeom prst="rect">
                <a:avLst/>
              </a:prstGeom>
              <a:noFill/>
              <a:ln w="9525">
                <a:noFill/>
              </a:ln>
              <a:extLst>
                <a:ext uri="{909E8E84-426E-40DD-AFC4-6F175D3DCCD1}">
                  <a14:hiddenFill xmlns:a14="http://schemas.microsoft.com/office/drawing/2010/main">
                    <a:solidFill>
                      <a:srgbClr val="CCEC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b="1" smtClean="0">
                    <a:solidFill>
                      <a:schemeClr val="bg1"/>
                    </a:solidFill>
                  </a:rPr>
                  <a:t>X</a:t>
                </a:r>
                <a:endParaRPr lang="zh-CN" altLang="en-US" sz="1800" b="1" dirty="0" smtClean="0">
                  <a:solidFill>
                    <a:schemeClr val="bg1"/>
                  </a:solidFill>
                </a:endParaRPr>
              </a:p>
            </p:txBody>
          </p:sp>
        </p:grpSp>
        <p:sp>
          <p:nvSpPr>
            <p:cNvPr id="69" name="矩形 68"/>
            <p:cNvSpPr/>
            <p:nvPr/>
          </p:nvSpPr>
          <p:spPr>
            <a:xfrm>
              <a:off x="411982" y="1062935"/>
              <a:ext cx="2471068" cy="611077"/>
            </a:xfrm>
            <a:prstGeom prst="rect">
              <a:avLst/>
            </a:prstGeom>
          </p:spPr>
          <p:txBody>
            <a:bodyPr wrap="square">
              <a:spAutoFit/>
            </a:bodyPr>
            <a:lstStyle/>
            <a:p>
              <a:pPr marL="0" lvl="1" defTabSz="533400">
                <a:lnSpc>
                  <a:spcPct val="90000"/>
                </a:lnSpc>
                <a:spcBef>
                  <a:spcPct val="0"/>
                </a:spcBef>
                <a:spcAft>
                  <a:spcPct val="15000"/>
                </a:spcAft>
              </a:pPr>
              <a:r>
                <a:rPr lang="en-US" altLang="zh-CN" b="1" smtClean="0"/>
                <a:t>X</a:t>
              </a:r>
              <a:endParaRPr lang="en-US" altLang="zh-CN" dirty="0">
                <a:latin typeface="Arial" panose="020B0604020202020204" pitchFamily="34" charset="0"/>
              </a:endParaRPr>
            </a:p>
            <a:p>
              <a:pPr marL="0" lvl="1" defTabSz="533400">
                <a:lnSpc>
                  <a:spcPct val="90000"/>
                </a:lnSpc>
                <a:spcBef>
                  <a:spcPct val="0"/>
                </a:spcBef>
                <a:spcAft>
                  <a:spcPct val="15000"/>
                </a:spcAft>
              </a:pPr>
              <a:endParaRPr lang="zh-CN" altLang="en-US" dirty="0"/>
            </a:p>
          </p:txBody>
        </p:sp>
        <p:sp>
          <p:nvSpPr>
            <p:cNvPr id="70" name="矩形 69"/>
            <p:cNvSpPr/>
            <p:nvPr/>
          </p:nvSpPr>
          <p:spPr>
            <a:xfrm>
              <a:off x="3281082" y="1062935"/>
              <a:ext cx="2168031" cy="624458"/>
            </a:xfrm>
            <a:prstGeom prst="rect">
              <a:avLst/>
            </a:prstGeom>
          </p:spPr>
          <p:txBody>
            <a:bodyPr wrap="square">
              <a:spAutoFit/>
            </a:bodyPr>
            <a:lstStyle/>
            <a:p>
              <a:r>
                <a:rPr lang="en-US" altLang="zh-CN" smtClean="0">
                  <a:solidFill>
                    <a:schemeClr val="tx1"/>
                  </a:solidFill>
                  <a:latin typeface="Arial" panose="020B0604020202020204" pitchFamily="34" charset="0"/>
                </a:rPr>
                <a:t>X</a:t>
              </a:r>
              <a:endParaRPr lang="en-US" altLang="zh-CN" b="1" dirty="0">
                <a:latin typeface="Arial" panose="020B0604020202020204" pitchFamily="34" charset="0"/>
                <a:ea typeface="华文楷体" panose="02010600040101010101" charset="-122"/>
              </a:endParaRPr>
            </a:p>
            <a:p>
              <a:endParaRPr lang="en-US" altLang="zh-CN" dirty="0">
                <a:solidFill>
                  <a:schemeClr val="tx1"/>
                </a:solidFill>
                <a:latin typeface="Arial" panose="020B0604020202020204" pitchFamily="34" charset="0"/>
              </a:endParaRPr>
            </a:p>
          </p:txBody>
        </p:sp>
        <p:sp>
          <p:nvSpPr>
            <p:cNvPr id="71" name="矩形 70"/>
            <p:cNvSpPr/>
            <p:nvPr/>
          </p:nvSpPr>
          <p:spPr>
            <a:xfrm>
              <a:off x="411982" y="5123749"/>
              <a:ext cx="2471068" cy="356833"/>
            </a:xfrm>
            <a:prstGeom prst="rect">
              <a:avLst/>
            </a:prstGeom>
          </p:spPr>
          <p:txBody>
            <a:bodyPr wrap="square">
              <a:spAutoFit/>
            </a:bodyPr>
            <a:lstStyle/>
            <a:p>
              <a:r>
                <a:rPr lang="en-US" altLang="zh-CN" smtClean="0">
                  <a:solidFill>
                    <a:schemeClr val="tx1"/>
                  </a:solidFill>
                  <a:latin typeface="Arial" panose="020B0604020202020204" pitchFamily="34" charset="0"/>
                </a:rPr>
                <a:t>X</a:t>
              </a:r>
              <a:endParaRPr lang="en-US" altLang="zh-CN" dirty="0">
                <a:solidFill>
                  <a:schemeClr val="tx1"/>
                </a:solidFill>
                <a:latin typeface="Arial" panose="020B0604020202020204" pitchFamily="34" charset="0"/>
              </a:endParaRPr>
            </a:p>
          </p:txBody>
        </p:sp>
        <p:sp>
          <p:nvSpPr>
            <p:cNvPr id="72" name="矩形 71"/>
            <p:cNvSpPr/>
            <p:nvPr/>
          </p:nvSpPr>
          <p:spPr>
            <a:xfrm>
              <a:off x="3281082" y="5123749"/>
              <a:ext cx="2168031" cy="356833"/>
            </a:xfrm>
            <a:prstGeom prst="rect">
              <a:avLst/>
            </a:prstGeom>
          </p:spPr>
          <p:txBody>
            <a:bodyPr wrap="square">
              <a:spAutoFit/>
            </a:bodyPr>
            <a:lstStyle/>
            <a:p>
              <a:r>
                <a:rPr lang="en-US" altLang="zh-TW" smtClean="0">
                  <a:solidFill>
                    <a:schemeClr val="tx1"/>
                  </a:solidFill>
                  <a:latin typeface="Arial" panose="020B0604020202020204" pitchFamily="34" charset="0"/>
                </a:rPr>
                <a:t>X</a:t>
              </a:r>
              <a:endParaRPr lang="en-US" altLang="zh-CN" b="1" dirty="0">
                <a:solidFill>
                  <a:schemeClr val="tx1"/>
                </a:solidFill>
                <a:latin typeface="Arial" panose="020B0604020202020204" pitchFamily="34" charset="0"/>
              </a:endParaRPr>
            </a:p>
          </p:txBody>
        </p:sp>
        <p:cxnSp>
          <p:nvCxnSpPr>
            <p:cNvPr id="74" name="直接连接符 73"/>
            <p:cNvCxnSpPr/>
            <p:nvPr/>
          </p:nvCxnSpPr>
          <p:spPr>
            <a:xfrm flipV="1">
              <a:off x="3033657" y="1086522"/>
              <a:ext cx="0" cy="1183342"/>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V="1">
              <a:off x="3033657" y="4883972"/>
              <a:ext cx="0" cy="1172583"/>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484094" y="3593054"/>
              <a:ext cx="12801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a:off x="4260028" y="3593054"/>
              <a:ext cx="12801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grpSp>
      <p:sp>
        <p:nvSpPr>
          <p:cNvPr id="84" name="五边形 83"/>
          <p:cNvSpPr/>
          <p:nvPr/>
        </p:nvSpPr>
        <p:spPr>
          <a:xfrm>
            <a:off x="6345670" y="853692"/>
            <a:ext cx="5380166" cy="5371188"/>
          </a:xfrm>
          <a:prstGeom prst="homePlate">
            <a:avLst>
              <a:gd name="adj" fmla="val 0"/>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err="1" smtClean="0">
              <a:solidFill>
                <a:schemeClr val="tx1"/>
              </a:solidFill>
              <a:latin typeface="Arial" panose="020B0604020202020204" pitchFamily="34" charset="0"/>
              <a:ea typeface="+mj-ea"/>
            </a:endParaRPr>
          </a:p>
        </p:txBody>
      </p:sp>
      <p:grpSp>
        <p:nvGrpSpPr>
          <p:cNvPr id="85" name="组合 84"/>
          <p:cNvGrpSpPr/>
          <p:nvPr/>
        </p:nvGrpSpPr>
        <p:grpSpPr>
          <a:xfrm>
            <a:off x="7267862" y="1707079"/>
            <a:ext cx="3688865" cy="3688859"/>
            <a:chOff x="1329746" y="1838604"/>
            <a:chExt cx="3389616" cy="3389611"/>
          </a:xfrm>
        </p:grpSpPr>
        <p:sp>
          <p:nvSpPr>
            <p:cNvPr id="94" name="íSļïdê"/>
            <p:cNvSpPr/>
            <p:nvPr/>
          </p:nvSpPr>
          <p:spPr>
            <a:xfrm rot="2700000">
              <a:off x="1600417" y="1838603"/>
              <a:ext cx="1021237" cy="1562579"/>
            </a:xfrm>
            <a:custGeom>
              <a:avLst/>
              <a:gdLst>
                <a:gd name="connsiteX0" fmla="*/ 149731 w 1079485"/>
                <a:gd name="connsiteY0" fmla="*/ 468724 h 1651702"/>
                <a:gd name="connsiteX1" fmla="*/ 997140 w 1079485"/>
                <a:gd name="connsiteY1" fmla="*/ 19102 h 1651702"/>
                <a:gd name="connsiteX2" fmla="*/ 1079485 w 1079485"/>
                <a:gd name="connsiteY2" fmla="*/ 0 h 1651702"/>
                <a:gd name="connsiteX3" fmla="*/ 1059952 w 1079485"/>
                <a:gd name="connsiteY3" fmla="*/ 84207 h 1651702"/>
                <a:gd name="connsiteX4" fmla="*/ 987851 w 1079485"/>
                <a:gd name="connsiteY4" fmla="*/ 825850 h 1651702"/>
                <a:gd name="connsiteX5" fmla="*/ 1059952 w 1079485"/>
                <a:gd name="connsiteY5" fmla="*/ 1567494 h 1651702"/>
                <a:gd name="connsiteX6" fmla="*/ 1079485 w 1079485"/>
                <a:gd name="connsiteY6" fmla="*/ 1651702 h 1651702"/>
                <a:gd name="connsiteX7" fmla="*/ 997140 w 1079485"/>
                <a:gd name="connsiteY7" fmla="*/ 1632600 h 1651702"/>
                <a:gd name="connsiteX8" fmla="*/ 0 w 1079485"/>
                <a:gd name="connsiteY8" fmla="*/ 825850 h 1651702"/>
                <a:gd name="connsiteX9" fmla="*/ 149731 w 1079485"/>
                <a:gd name="connsiteY9" fmla="*/ 468724 h 1651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485" h="1651702">
                  <a:moveTo>
                    <a:pt x="149731" y="468724"/>
                  </a:moveTo>
                  <a:cubicBezTo>
                    <a:pt x="318458" y="276633"/>
                    <a:pt x="619177" y="117971"/>
                    <a:pt x="997140" y="19102"/>
                  </a:cubicBezTo>
                  <a:lnTo>
                    <a:pt x="1079485" y="0"/>
                  </a:lnTo>
                  <a:lnTo>
                    <a:pt x="1059952" y="84207"/>
                  </a:lnTo>
                  <a:cubicBezTo>
                    <a:pt x="1013525" y="312158"/>
                    <a:pt x="987851" y="562778"/>
                    <a:pt x="987851" y="825850"/>
                  </a:cubicBezTo>
                  <a:cubicBezTo>
                    <a:pt x="987851" y="1088922"/>
                    <a:pt x="1013525" y="1339542"/>
                    <a:pt x="1059952" y="1567494"/>
                  </a:cubicBezTo>
                  <a:lnTo>
                    <a:pt x="1079485" y="1651702"/>
                  </a:lnTo>
                  <a:lnTo>
                    <a:pt x="997140" y="1632600"/>
                  </a:lnTo>
                  <a:cubicBezTo>
                    <a:pt x="403199" y="1477234"/>
                    <a:pt x="0" y="1174216"/>
                    <a:pt x="0" y="825850"/>
                  </a:cubicBezTo>
                  <a:cubicBezTo>
                    <a:pt x="0" y="699172"/>
                    <a:pt x="53316" y="578490"/>
                    <a:pt x="149731" y="468724"/>
                  </a:cubicBezTo>
                  <a:close/>
                </a:path>
              </a:pathLst>
            </a:custGeom>
            <a:solidFill>
              <a:srgbClr val="FE5817"/>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95" name="íṡḷïḋe"/>
            <p:cNvSpPr/>
            <p:nvPr/>
          </p:nvSpPr>
          <p:spPr>
            <a:xfrm rot="2700000">
              <a:off x="3321716" y="3234737"/>
              <a:ext cx="370909" cy="1562581"/>
            </a:xfrm>
            <a:custGeom>
              <a:avLst/>
              <a:gdLst>
                <a:gd name="connsiteX0" fmla="*/ 1 w 392065"/>
                <a:gd name="connsiteY0" fmla="*/ 300431 h 1651703"/>
                <a:gd name="connsiteX1" fmla="*/ 300432 w 392065"/>
                <a:gd name="connsiteY1" fmla="*/ 0 h 1651703"/>
                <a:gd name="connsiteX2" fmla="*/ 319965 w 392065"/>
                <a:gd name="connsiteY2" fmla="*/ 84208 h 1651703"/>
                <a:gd name="connsiteX3" fmla="*/ 392065 w 392065"/>
                <a:gd name="connsiteY3" fmla="*/ 825851 h 1651703"/>
                <a:gd name="connsiteX4" fmla="*/ 319965 w 392065"/>
                <a:gd name="connsiteY4" fmla="*/ 1567495 h 1651703"/>
                <a:gd name="connsiteX5" fmla="*/ 300432 w 392065"/>
                <a:gd name="connsiteY5" fmla="*/ 1651703 h 1651703"/>
                <a:gd name="connsiteX6" fmla="*/ 0 w 392065"/>
                <a:gd name="connsiteY6" fmla="*/ 1351271 h 1651703"/>
                <a:gd name="connsiteX7" fmla="*/ 12427 w 392065"/>
                <a:gd name="connsiteY7" fmla="*/ 1297695 h 1651703"/>
                <a:gd name="connsiteX8" fmla="*/ 58298 w 392065"/>
                <a:gd name="connsiteY8" fmla="*/ 825849 h 1651703"/>
                <a:gd name="connsiteX9" fmla="*/ 12427 w 392065"/>
                <a:gd name="connsiteY9" fmla="*/ 354003 h 165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065" h="1651703">
                  <a:moveTo>
                    <a:pt x="1" y="300431"/>
                  </a:moveTo>
                  <a:lnTo>
                    <a:pt x="300432" y="0"/>
                  </a:lnTo>
                  <a:lnTo>
                    <a:pt x="319965" y="84208"/>
                  </a:lnTo>
                  <a:cubicBezTo>
                    <a:pt x="366392" y="312160"/>
                    <a:pt x="392065" y="562779"/>
                    <a:pt x="392065" y="825851"/>
                  </a:cubicBezTo>
                  <a:cubicBezTo>
                    <a:pt x="392065" y="1088923"/>
                    <a:pt x="366392" y="1339545"/>
                    <a:pt x="319965" y="1567495"/>
                  </a:cubicBezTo>
                  <a:lnTo>
                    <a:pt x="300432" y="1651703"/>
                  </a:lnTo>
                  <a:lnTo>
                    <a:pt x="0" y="1351271"/>
                  </a:lnTo>
                  <a:lnTo>
                    <a:pt x="12427" y="1297695"/>
                  </a:lnTo>
                  <a:cubicBezTo>
                    <a:pt x="41964" y="1152669"/>
                    <a:pt x="58298" y="993220"/>
                    <a:pt x="58298" y="825849"/>
                  </a:cubicBezTo>
                  <a:cubicBezTo>
                    <a:pt x="58298" y="658479"/>
                    <a:pt x="41965" y="499030"/>
                    <a:pt x="12427" y="354003"/>
                  </a:cubicBezTo>
                  <a:close/>
                </a:path>
              </a:pathLst>
            </a:custGeom>
            <a:solidFill>
              <a:schemeClr val="accent4">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96" name="işļíḓè"/>
            <p:cNvSpPr/>
            <p:nvPr/>
          </p:nvSpPr>
          <p:spPr>
            <a:xfrm rot="2700000">
              <a:off x="3156781" y="2109274"/>
              <a:ext cx="1562580" cy="1021240"/>
            </a:xfrm>
            <a:custGeom>
              <a:avLst/>
              <a:gdLst>
                <a:gd name="connsiteX0" fmla="*/ 468725 w 1651703"/>
                <a:gd name="connsiteY0" fmla="*/ 149730 h 1079487"/>
                <a:gd name="connsiteX1" fmla="*/ 825851 w 1651703"/>
                <a:gd name="connsiteY1" fmla="*/ 0 h 1079487"/>
                <a:gd name="connsiteX2" fmla="*/ 1632601 w 1651703"/>
                <a:gd name="connsiteY2" fmla="*/ 997140 h 1079487"/>
                <a:gd name="connsiteX3" fmla="*/ 1651703 w 1651703"/>
                <a:gd name="connsiteY3" fmla="*/ 1079486 h 1079487"/>
                <a:gd name="connsiteX4" fmla="*/ 1567495 w 1651703"/>
                <a:gd name="connsiteY4" fmla="*/ 1059954 h 1079487"/>
                <a:gd name="connsiteX5" fmla="*/ 825852 w 1651703"/>
                <a:gd name="connsiteY5" fmla="*/ 987853 h 1079487"/>
                <a:gd name="connsiteX6" fmla="*/ 84209 w 1651703"/>
                <a:gd name="connsiteY6" fmla="*/ 1059954 h 1079487"/>
                <a:gd name="connsiteX7" fmla="*/ 0 w 1651703"/>
                <a:gd name="connsiteY7" fmla="*/ 1079487 h 1079487"/>
                <a:gd name="connsiteX8" fmla="*/ 19102 w 1651703"/>
                <a:gd name="connsiteY8" fmla="*/ 997141 h 1079487"/>
                <a:gd name="connsiteX9" fmla="*/ 468725 w 1651703"/>
                <a:gd name="connsiteY9" fmla="*/ 149730 h 107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1703" h="1079487">
                  <a:moveTo>
                    <a:pt x="468725" y="149730"/>
                  </a:moveTo>
                  <a:cubicBezTo>
                    <a:pt x="578491" y="53316"/>
                    <a:pt x="699173" y="0"/>
                    <a:pt x="825851" y="0"/>
                  </a:cubicBezTo>
                  <a:cubicBezTo>
                    <a:pt x="1174217" y="1"/>
                    <a:pt x="1477235" y="403199"/>
                    <a:pt x="1632601" y="997140"/>
                  </a:cubicBezTo>
                  <a:lnTo>
                    <a:pt x="1651703" y="1079486"/>
                  </a:lnTo>
                  <a:lnTo>
                    <a:pt x="1567495" y="1059954"/>
                  </a:lnTo>
                  <a:cubicBezTo>
                    <a:pt x="1339544" y="1013526"/>
                    <a:pt x="1088924" y="987853"/>
                    <a:pt x="825852" y="987853"/>
                  </a:cubicBezTo>
                  <a:cubicBezTo>
                    <a:pt x="562780" y="987853"/>
                    <a:pt x="312160" y="1013526"/>
                    <a:pt x="84209" y="1059954"/>
                  </a:cubicBezTo>
                  <a:lnTo>
                    <a:pt x="0" y="1079487"/>
                  </a:lnTo>
                  <a:lnTo>
                    <a:pt x="19102" y="997141"/>
                  </a:lnTo>
                  <a:cubicBezTo>
                    <a:pt x="117971" y="619178"/>
                    <a:pt x="276634" y="318458"/>
                    <a:pt x="468725" y="149730"/>
                  </a:cubicBezTo>
                  <a:close/>
                </a:path>
              </a:pathLst>
            </a:custGeom>
            <a:solidFill>
              <a:srgbClr val="FFC3AB"/>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97" name="iṧ1íḍe"/>
            <p:cNvSpPr/>
            <p:nvPr/>
          </p:nvSpPr>
          <p:spPr>
            <a:xfrm rot="2700000">
              <a:off x="1329745" y="3936307"/>
              <a:ext cx="1562579" cy="1021238"/>
            </a:xfrm>
            <a:custGeom>
              <a:avLst/>
              <a:gdLst>
                <a:gd name="connsiteX0" fmla="*/ 0 w 1651702"/>
                <a:gd name="connsiteY0" fmla="*/ 0 h 1079485"/>
                <a:gd name="connsiteX1" fmla="*/ 84209 w 1651702"/>
                <a:gd name="connsiteY1" fmla="*/ 19533 h 1079485"/>
                <a:gd name="connsiteX2" fmla="*/ 825852 w 1651702"/>
                <a:gd name="connsiteY2" fmla="*/ 91634 h 1079485"/>
                <a:gd name="connsiteX3" fmla="*/ 1567495 w 1651702"/>
                <a:gd name="connsiteY3" fmla="*/ 19533 h 1079485"/>
                <a:gd name="connsiteX4" fmla="*/ 1651702 w 1651702"/>
                <a:gd name="connsiteY4" fmla="*/ 1 h 1079485"/>
                <a:gd name="connsiteX5" fmla="*/ 1632601 w 1651702"/>
                <a:gd name="connsiteY5" fmla="*/ 82346 h 1079485"/>
                <a:gd name="connsiteX6" fmla="*/ 825852 w 1651702"/>
                <a:gd name="connsiteY6" fmla="*/ 1079485 h 1079485"/>
                <a:gd name="connsiteX7" fmla="*/ 19102 w 1651702"/>
                <a:gd name="connsiteY7" fmla="*/ 82345 h 1079485"/>
                <a:gd name="connsiteX8" fmla="*/ 0 w 1651702"/>
                <a:gd name="connsiteY8" fmla="*/ 0 h 107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702" h="1079485">
                  <a:moveTo>
                    <a:pt x="0" y="0"/>
                  </a:moveTo>
                  <a:lnTo>
                    <a:pt x="84209" y="19533"/>
                  </a:lnTo>
                  <a:cubicBezTo>
                    <a:pt x="312160" y="65961"/>
                    <a:pt x="562780" y="91634"/>
                    <a:pt x="825852" y="91634"/>
                  </a:cubicBezTo>
                  <a:cubicBezTo>
                    <a:pt x="1088924" y="91634"/>
                    <a:pt x="1339544" y="65961"/>
                    <a:pt x="1567495" y="19533"/>
                  </a:cubicBezTo>
                  <a:lnTo>
                    <a:pt x="1651702" y="1"/>
                  </a:lnTo>
                  <a:lnTo>
                    <a:pt x="1632601" y="82346"/>
                  </a:lnTo>
                  <a:cubicBezTo>
                    <a:pt x="1477235" y="676287"/>
                    <a:pt x="1174217" y="1079485"/>
                    <a:pt x="825852" y="1079485"/>
                  </a:cubicBezTo>
                  <a:cubicBezTo>
                    <a:pt x="477487" y="1079486"/>
                    <a:pt x="174469" y="676287"/>
                    <a:pt x="19102" y="82345"/>
                  </a:cubicBezTo>
                  <a:lnTo>
                    <a:pt x="0" y="0"/>
                  </a:lnTo>
                  <a:close/>
                </a:path>
              </a:pathLst>
            </a:custGeom>
            <a:solidFill>
              <a:schemeClr val="accent5"/>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98" name="ï$ḻîḓe"/>
            <p:cNvSpPr/>
            <p:nvPr/>
          </p:nvSpPr>
          <p:spPr>
            <a:xfrm rot="2700000">
              <a:off x="3427451" y="3665636"/>
              <a:ext cx="1021239" cy="1562582"/>
            </a:xfrm>
            <a:custGeom>
              <a:avLst/>
              <a:gdLst>
                <a:gd name="connsiteX0" fmla="*/ 1 w 1079487"/>
                <a:gd name="connsiteY0" fmla="*/ 0 h 1651704"/>
                <a:gd name="connsiteX1" fmla="*/ 82347 w 1079487"/>
                <a:gd name="connsiteY1" fmla="*/ 19102 h 1651704"/>
                <a:gd name="connsiteX2" fmla="*/ 1079487 w 1079487"/>
                <a:gd name="connsiteY2" fmla="*/ 825852 h 1651704"/>
                <a:gd name="connsiteX3" fmla="*/ 82347 w 1079487"/>
                <a:gd name="connsiteY3" fmla="*/ 1632602 h 1651704"/>
                <a:gd name="connsiteX4" fmla="*/ 0 w 1079487"/>
                <a:gd name="connsiteY4" fmla="*/ 1651704 h 1651704"/>
                <a:gd name="connsiteX5" fmla="*/ 19534 w 1079487"/>
                <a:gd name="connsiteY5" fmla="*/ 1567495 h 1651704"/>
                <a:gd name="connsiteX6" fmla="*/ 91634 w 1079487"/>
                <a:gd name="connsiteY6" fmla="*/ 825851 h 1651704"/>
                <a:gd name="connsiteX7" fmla="*/ 19534 w 1079487"/>
                <a:gd name="connsiteY7" fmla="*/ 84208 h 1651704"/>
                <a:gd name="connsiteX8" fmla="*/ 1 w 1079487"/>
                <a:gd name="connsiteY8" fmla="*/ 0 h 165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487" h="1651704">
                  <a:moveTo>
                    <a:pt x="1" y="0"/>
                  </a:moveTo>
                  <a:lnTo>
                    <a:pt x="82347" y="19102"/>
                  </a:lnTo>
                  <a:cubicBezTo>
                    <a:pt x="676289" y="174469"/>
                    <a:pt x="1079487" y="477487"/>
                    <a:pt x="1079487" y="825852"/>
                  </a:cubicBezTo>
                  <a:cubicBezTo>
                    <a:pt x="1079487" y="1174217"/>
                    <a:pt x="676289" y="1477235"/>
                    <a:pt x="82347" y="1632602"/>
                  </a:cubicBezTo>
                  <a:lnTo>
                    <a:pt x="0" y="1651704"/>
                  </a:lnTo>
                  <a:lnTo>
                    <a:pt x="19534" y="1567495"/>
                  </a:lnTo>
                  <a:cubicBezTo>
                    <a:pt x="65961" y="1339544"/>
                    <a:pt x="91634" y="1088923"/>
                    <a:pt x="91634" y="825851"/>
                  </a:cubicBezTo>
                  <a:cubicBezTo>
                    <a:pt x="91634" y="562779"/>
                    <a:pt x="65961" y="312159"/>
                    <a:pt x="19534" y="84208"/>
                  </a:cubicBezTo>
                  <a:lnTo>
                    <a:pt x="1" y="0"/>
                  </a:lnTo>
                  <a:close/>
                </a:path>
              </a:pathLst>
            </a:custGeom>
            <a:solidFill>
              <a:srgbClr val="FF976D"/>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99" name="ïs1iďê"/>
            <p:cNvSpPr/>
            <p:nvPr/>
          </p:nvSpPr>
          <p:spPr>
            <a:xfrm rot="2700000">
              <a:off x="1760646" y="3830569"/>
              <a:ext cx="1562579" cy="370911"/>
            </a:xfrm>
            <a:custGeom>
              <a:avLst/>
              <a:gdLst>
                <a:gd name="connsiteX0" fmla="*/ 0 w 1651702"/>
                <a:gd name="connsiteY0" fmla="*/ 300432 h 392066"/>
                <a:gd name="connsiteX1" fmla="*/ 300433 w 1651702"/>
                <a:gd name="connsiteY1" fmla="*/ 0 h 392066"/>
                <a:gd name="connsiteX2" fmla="*/ 354004 w 1651702"/>
                <a:gd name="connsiteY2" fmla="*/ 12426 h 392066"/>
                <a:gd name="connsiteX3" fmla="*/ 825850 w 1651702"/>
                <a:gd name="connsiteY3" fmla="*/ 58298 h 392066"/>
                <a:gd name="connsiteX4" fmla="*/ 1297695 w 1651702"/>
                <a:gd name="connsiteY4" fmla="*/ 12426 h 392066"/>
                <a:gd name="connsiteX5" fmla="*/ 1351269 w 1651702"/>
                <a:gd name="connsiteY5" fmla="*/ 0 h 392066"/>
                <a:gd name="connsiteX6" fmla="*/ 1651702 w 1651702"/>
                <a:gd name="connsiteY6" fmla="*/ 300433 h 392066"/>
                <a:gd name="connsiteX7" fmla="*/ 1567494 w 1651702"/>
                <a:gd name="connsiteY7" fmla="*/ 319965 h 392066"/>
                <a:gd name="connsiteX8" fmla="*/ 825851 w 1651702"/>
                <a:gd name="connsiteY8" fmla="*/ 392066 h 392066"/>
                <a:gd name="connsiteX9" fmla="*/ 84208 w 1651702"/>
                <a:gd name="connsiteY9" fmla="*/ 319965 h 39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1702" h="392066">
                  <a:moveTo>
                    <a:pt x="0" y="300432"/>
                  </a:moveTo>
                  <a:lnTo>
                    <a:pt x="300433" y="0"/>
                  </a:lnTo>
                  <a:lnTo>
                    <a:pt x="354004" y="12426"/>
                  </a:lnTo>
                  <a:cubicBezTo>
                    <a:pt x="499031" y="41964"/>
                    <a:pt x="658479" y="58298"/>
                    <a:pt x="825850" y="58298"/>
                  </a:cubicBezTo>
                  <a:cubicBezTo>
                    <a:pt x="993220" y="58298"/>
                    <a:pt x="1152670" y="41964"/>
                    <a:pt x="1297695" y="12426"/>
                  </a:cubicBezTo>
                  <a:lnTo>
                    <a:pt x="1351269" y="0"/>
                  </a:lnTo>
                  <a:lnTo>
                    <a:pt x="1651702" y="300433"/>
                  </a:lnTo>
                  <a:lnTo>
                    <a:pt x="1567494" y="319965"/>
                  </a:lnTo>
                  <a:cubicBezTo>
                    <a:pt x="1339543" y="366393"/>
                    <a:pt x="1088923" y="392066"/>
                    <a:pt x="825851" y="392066"/>
                  </a:cubicBezTo>
                  <a:cubicBezTo>
                    <a:pt x="562779" y="392066"/>
                    <a:pt x="312159" y="366393"/>
                    <a:pt x="84208" y="319965"/>
                  </a:cubicBezTo>
                  <a:close/>
                </a:path>
              </a:pathLst>
            </a:custGeom>
            <a:solidFill>
              <a:schemeClr val="accent5">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00" name="ïṥļiḑê"/>
            <p:cNvSpPr/>
            <p:nvPr/>
          </p:nvSpPr>
          <p:spPr>
            <a:xfrm rot="2700000">
              <a:off x="2356477" y="2269499"/>
              <a:ext cx="370913" cy="1562581"/>
            </a:xfrm>
            <a:custGeom>
              <a:avLst/>
              <a:gdLst>
                <a:gd name="connsiteX0" fmla="*/ 91633 w 392068"/>
                <a:gd name="connsiteY0" fmla="*/ 1 h 1651703"/>
                <a:gd name="connsiteX1" fmla="*/ 91635 w 392068"/>
                <a:gd name="connsiteY1" fmla="*/ 0 h 1651703"/>
                <a:gd name="connsiteX2" fmla="*/ 392064 w 392068"/>
                <a:gd name="connsiteY2" fmla="*/ 300430 h 1651703"/>
                <a:gd name="connsiteX3" fmla="*/ 392064 w 392068"/>
                <a:gd name="connsiteY3" fmla="*/ 300430 h 1651703"/>
                <a:gd name="connsiteX4" fmla="*/ 379637 w 392068"/>
                <a:gd name="connsiteY4" fmla="*/ 354004 h 1651703"/>
                <a:gd name="connsiteX5" fmla="*/ 333765 w 392068"/>
                <a:gd name="connsiteY5" fmla="*/ 825849 h 1651703"/>
                <a:gd name="connsiteX6" fmla="*/ 379637 w 392068"/>
                <a:gd name="connsiteY6" fmla="*/ 1297695 h 1651703"/>
                <a:gd name="connsiteX7" fmla="*/ 392064 w 392068"/>
                <a:gd name="connsiteY7" fmla="*/ 1351270 h 1651703"/>
                <a:gd name="connsiteX8" fmla="*/ 392068 w 392068"/>
                <a:gd name="connsiteY8" fmla="*/ 1351271 h 1651703"/>
                <a:gd name="connsiteX9" fmla="*/ 91635 w 392068"/>
                <a:gd name="connsiteY9" fmla="*/ 1651703 h 1651703"/>
                <a:gd name="connsiteX10" fmla="*/ 91634 w 392068"/>
                <a:gd name="connsiteY10" fmla="*/ 1651703 h 1651703"/>
                <a:gd name="connsiteX11" fmla="*/ 72101 w 392068"/>
                <a:gd name="connsiteY11" fmla="*/ 1567495 h 1651703"/>
                <a:gd name="connsiteX12" fmla="*/ 0 w 392068"/>
                <a:gd name="connsiteY12" fmla="*/ 825851 h 1651703"/>
                <a:gd name="connsiteX13" fmla="*/ 72101 w 392068"/>
                <a:gd name="connsiteY13" fmla="*/ 84208 h 165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2068" h="1651703">
                  <a:moveTo>
                    <a:pt x="91633" y="1"/>
                  </a:moveTo>
                  <a:lnTo>
                    <a:pt x="91635" y="0"/>
                  </a:lnTo>
                  <a:lnTo>
                    <a:pt x="392064" y="300430"/>
                  </a:lnTo>
                  <a:lnTo>
                    <a:pt x="392064" y="300430"/>
                  </a:lnTo>
                  <a:lnTo>
                    <a:pt x="379637" y="354004"/>
                  </a:lnTo>
                  <a:cubicBezTo>
                    <a:pt x="350099" y="499030"/>
                    <a:pt x="333765" y="658479"/>
                    <a:pt x="333765" y="825849"/>
                  </a:cubicBezTo>
                  <a:cubicBezTo>
                    <a:pt x="333765" y="993220"/>
                    <a:pt x="350099" y="1152668"/>
                    <a:pt x="379637" y="1297695"/>
                  </a:cubicBezTo>
                  <a:lnTo>
                    <a:pt x="392064" y="1351270"/>
                  </a:lnTo>
                  <a:lnTo>
                    <a:pt x="392068" y="1351271"/>
                  </a:lnTo>
                  <a:lnTo>
                    <a:pt x="91635" y="1651703"/>
                  </a:lnTo>
                  <a:lnTo>
                    <a:pt x="91634" y="1651703"/>
                  </a:lnTo>
                  <a:lnTo>
                    <a:pt x="72101" y="1567495"/>
                  </a:lnTo>
                  <a:cubicBezTo>
                    <a:pt x="25674" y="1339543"/>
                    <a:pt x="0" y="1088923"/>
                    <a:pt x="0" y="825851"/>
                  </a:cubicBezTo>
                  <a:cubicBezTo>
                    <a:pt x="0" y="562779"/>
                    <a:pt x="25674" y="312160"/>
                    <a:pt x="72101" y="84208"/>
                  </a:cubicBezTo>
                  <a:close/>
                </a:path>
              </a:pathLst>
            </a:custGeom>
            <a:solidFill>
              <a:schemeClr val="accent1">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01" name="îṧľïḋè"/>
            <p:cNvSpPr/>
            <p:nvPr/>
          </p:nvSpPr>
          <p:spPr>
            <a:xfrm rot="2700000">
              <a:off x="2725880" y="2865332"/>
              <a:ext cx="1562580" cy="370914"/>
            </a:xfrm>
            <a:custGeom>
              <a:avLst/>
              <a:gdLst>
                <a:gd name="connsiteX0" fmla="*/ 0 w 1651704"/>
                <a:gd name="connsiteY0" fmla="*/ 91634 h 392069"/>
                <a:gd name="connsiteX1" fmla="*/ 84209 w 1651704"/>
                <a:gd name="connsiteY1" fmla="*/ 72101 h 392069"/>
                <a:gd name="connsiteX2" fmla="*/ 825852 w 1651704"/>
                <a:gd name="connsiteY2" fmla="*/ 0 h 392069"/>
                <a:gd name="connsiteX3" fmla="*/ 1567495 w 1651704"/>
                <a:gd name="connsiteY3" fmla="*/ 72101 h 392069"/>
                <a:gd name="connsiteX4" fmla="*/ 1651703 w 1651704"/>
                <a:gd name="connsiteY4" fmla="*/ 91633 h 392069"/>
                <a:gd name="connsiteX5" fmla="*/ 1651704 w 1651704"/>
                <a:gd name="connsiteY5" fmla="*/ 91638 h 392069"/>
                <a:gd name="connsiteX6" fmla="*/ 1351273 w 1651704"/>
                <a:gd name="connsiteY6" fmla="*/ 392069 h 392069"/>
                <a:gd name="connsiteX7" fmla="*/ 1351271 w 1651704"/>
                <a:gd name="connsiteY7" fmla="*/ 392062 h 392069"/>
                <a:gd name="connsiteX8" fmla="*/ 1297696 w 1651704"/>
                <a:gd name="connsiteY8" fmla="*/ 379636 h 392069"/>
                <a:gd name="connsiteX9" fmla="*/ 825851 w 1651704"/>
                <a:gd name="connsiteY9" fmla="*/ 333764 h 392069"/>
                <a:gd name="connsiteX10" fmla="*/ 354005 w 1651704"/>
                <a:gd name="connsiteY10" fmla="*/ 379636 h 392069"/>
                <a:gd name="connsiteX11" fmla="*/ 300430 w 1651704"/>
                <a:gd name="connsiteY11" fmla="*/ 392063 h 392069"/>
                <a:gd name="connsiteX12" fmla="*/ 300430 w 1651704"/>
                <a:gd name="connsiteY12" fmla="*/ 392064 h 39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1704" h="392069">
                  <a:moveTo>
                    <a:pt x="0" y="91634"/>
                  </a:moveTo>
                  <a:lnTo>
                    <a:pt x="84209" y="72101"/>
                  </a:lnTo>
                  <a:cubicBezTo>
                    <a:pt x="312160" y="25673"/>
                    <a:pt x="562780" y="0"/>
                    <a:pt x="825852" y="0"/>
                  </a:cubicBezTo>
                  <a:cubicBezTo>
                    <a:pt x="1088924" y="0"/>
                    <a:pt x="1339544" y="25674"/>
                    <a:pt x="1567495" y="72101"/>
                  </a:cubicBezTo>
                  <a:lnTo>
                    <a:pt x="1651703" y="91633"/>
                  </a:lnTo>
                  <a:lnTo>
                    <a:pt x="1651704" y="91638"/>
                  </a:lnTo>
                  <a:lnTo>
                    <a:pt x="1351273" y="392069"/>
                  </a:lnTo>
                  <a:lnTo>
                    <a:pt x="1351271" y="392062"/>
                  </a:lnTo>
                  <a:lnTo>
                    <a:pt x="1297696" y="379636"/>
                  </a:lnTo>
                  <a:cubicBezTo>
                    <a:pt x="1152671" y="350098"/>
                    <a:pt x="993221" y="333764"/>
                    <a:pt x="825851" y="333764"/>
                  </a:cubicBezTo>
                  <a:cubicBezTo>
                    <a:pt x="658480" y="333764"/>
                    <a:pt x="499032" y="350097"/>
                    <a:pt x="354005" y="379636"/>
                  </a:cubicBezTo>
                  <a:lnTo>
                    <a:pt x="300430" y="392063"/>
                  </a:lnTo>
                  <a:lnTo>
                    <a:pt x="300430" y="392064"/>
                  </a:lnTo>
                  <a:close/>
                </a:path>
              </a:pathLst>
            </a:custGeom>
            <a:solidFill>
              <a:srgbClr val="FF976D"/>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03" name="文本框 102"/>
            <p:cNvSpPr txBox="1"/>
            <p:nvPr/>
          </p:nvSpPr>
          <p:spPr>
            <a:xfrm>
              <a:off x="2623535" y="3727100"/>
              <a:ext cx="813585" cy="254528"/>
            </a:xfrm>
            <a:prstGeom prst="rect">
              <a:avLst/>
            </a:prstGeom>
            <a:noFill/>
          </p:spPr>
          <p:txBody>
            <a:bodyPr wrap="square" lIns="0" tIns="0" rIns="0" bIns="0" rtlCol="0">
              <a:spAutoFit/>
            </a:bodyPr>
            <a:lstStyle/>
            <a:p>
              <a:pPr algn="ctr"/>
              <a:r>
                <a:rPr lang="en-US" altLang="zh-CN" b="1" dirty="0" smtClean="0"/>
                <a:t>XX</a:t>
              </a:r>
              <a:endParaRPr lang="zh-CN" altLang="en-US" b="1" dirty="0"/>
            </a:p>
          </p:txBody>
        </p:sp>
        <p:sp>
          <p:nvSpPr>
            <p:cNvPr id="104" name="矩形 103"/>
            <p:cNvSpPr/>
            <p:nvPr/>
          </p:nvSpPr>
          <p:spPr>
            <a:xfrm>
              <a:off x="3288713" y="2246588"/>
              <a:ext cx="1186468" cy="584766"/>
            </a:xfrm>
            <a:prstGeom prst="rect">
              <a:avLst/>
            </a:prstGeom>
            <a:noFill/>
            <a:ln w="9525">
              <a:noFill/>
            </a:ln>
            <a:extLst>
              <a:ext uri="{909E8E84-426E-40DD-AFC4-6F175D3DCCD1}">
                <a14:hiddenFill xmlns:a14="http://schemas.microsoft.com/office/drawing/2010/main">
                  <a:solidFill>
                    <a:srgbClr val="CCEC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smtClean="0">
                  <a:solidFill>
                    <a:schemeClr val="tx1"/>
                  </a:solidFill>
                </a:rPr>
                <a:t>X</a:t>
              </a:r>
              <a:endParaRPr lang="zh-TW" altLang="en-US" b="1" dirty="0">
                <a:solidFill>
                  <a:schemeClr val="tx1"/>
                </a:solidFill>
              </a:endParaRPr>
            </a:p>
          </p:txBody>
        </p:sp>
        <p:sp>
          <p:nvSpPr>
            <p:cNvPr id="105" name="矩形 104"/>
            <p:cNvSpPr/>
            <p:nvPr/>
          </p:nvSpPr>
          <p:spPr>
            <a:xfrm>
              <a:off x="1589470" y="2268104"/>
              <a:ext cx="1186468" cy="584766"/>
            </a:xfrm>
            <a:prstGeom prst="rect">
              <a:avLst/>
            </a:prstGeom>
            <a:noFill/>
            <a:ln w="9525">
              <a:noFill/>
            </a:ln>
            <a:extLst>
              <a:ext uri="{909E8E84-426E-40DD-AFC4-6F175D3DCCD1}">
                <a14:hiddenFill xmlns:a14="http://schemas.microsoft.com/office/drawing/2010/main">
                  <a:solidFill>
                    <a:srgbClr val="CCEC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smtClean="0">
                  <a:solidFill>
                    <a:schemeClr val="bg1"/>
                  </a:solidFill>
                </a:rPr>
                <a:t>X</a:t>
              </a:r>
              <a:endParaRPr lang="zh-CN" altLang="en-US" b="1" dirty="0">
                <a:solidFill>
                  <a:schemeClr val="bg1"/>
                </a:solidFill>
              </a:endParaRPr>
            </a:p>
          </p:txBody>
        </p:sp>
        <p:sp>
          <p:nvSpPr>
            <p:cNvPr id="106" name="矩形 105"/>
            <p:cNvSpPr/>
            <p:nvPr/>
          </p:nvSpPr>
          <p:spPr>
            <a:xfrm>
              <a:off x="1556940" y="4159357"/>
              <a:ext cx="1186468" cy="584766"/>
            </a:xfrm>
            <a:prstGeom prst="rect">
              <a:avLst/>
            </a:prstGeom>
            <a:noFill/>
            <a:ln w="9525">
              <a:noFill/>
            </a:ln>
            <a:extLst>
              <a:ext uri="{909E8E84-426E-40DD-AFC4-6F175D3DCCD1}">
                <a14:hiddenFill xmlns:a14="http://schemas.microsoft.com/office/drawing/2010/main">
                  <a:solidFill>
                    <a:srgbClr val="CCEC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smtClean="0">
                  <a:solidFill>
                    <a:schemeClr val="bg1"/>
                  </a:solidFill>
                </a:rPr>
                <a:t>X</a:t>
              </a:r>
              <a:endParaRPr lang="zh-CN" altLang="en-US" b="1" dirty="0">
                <a:solidFill>
                  <a:schemeClr val="bg1"/>
                </a:solidFill>
              </a:endParaRPr>
            </a:p>
          </p:txBody>
        </p:sp>
        <p:sp>
          <p:nvSpPr>
            <p:cNvPr id="107" name="矩形 106"/>
            <p:cNvSpPr/>
            <p:nvPr/>
          </p:nvSpPr>
          <p:spPr>
            <a:xfrm>
              <a:off x="3332001" y="4223904"/>
              <a:ext cx="1186468" cy="584766"/>
            </a:xfrm>
            <a:prstGeom prst="rect">
              <a:avLst/>
            </a:prstGeom>
            <a:noFill/>
            <a:ln w="9525">
              <a:noFill/>
            </a:ln>
            <a:extLst>
              <a:ext uri="{909E8E84-426E-40DD-AFC4-6F175D3DCCD1}">
                <a14:hiddenFill xmlns:a14="http://schemas.microsoft.com/office/drawing/2010/main">
                  <a:solidFill>
                    <a:srgbClr val="CCEC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smtClean="0">
                  <a:solidFill>
                    <a:schemeClr val="bg1"/>
                  </a:solidFill>
                </a:rPr>
                <a:t>X</a:t>
              </a:r>
              <a:endParaRPr lang="zh-CN" altLang="en-US" b="1" dirty="0">
                <a:solidFill>
                  <a:schemeClr val="bg1"/>
                </a:solidFill>
              </a:endParaRPr>
            </a:p>
          </p:txBody>
        </p:sp>
      </p:grpSp>
      <p:sp>
        <p:nvSpPr>
          <p:cNvPr id="86" name="矩形 85"/>
          <p:cNvSpPr/>
          <p:nvPr/>
        </p:nvSpPr>
        <p:spPr>
          <a:xfrm>
            <a:off x="6406036" y="947409"/>
            <a:ext cx="2557623" cy="369332"/>
          </a:xfrm>
          <a:prstGeom prst="rect">
            <a:avLst/>
          </a:prstGeom>
        </p:spPr>
        <p:txBody>
          <a:bodyPr wrap="square">
            <a:spAutoFit/>
          </a:bodyPr>
          <a:lstStyle/>
          <a:p>
            <a:r>
              <a:rPr lang="en-US" altLang="zh-CN" b="1" smtClean="0"/>
              <a:t>X</a:t>
            </a:r>
            <a:endParaRPr lang="en-US" altLang="zh-CN" dirty="0"/>
          </a:p>
        </p:txBody>
      </p:sp>
      <p:sp>
        <p:nvSpPr>
          <p:cNvPr id="87" name="矩形 86"/>
          <p:cNvSpPr/>
          <p:nvPr/>
        </p:nvSpPr>
        <p:spPr>
          <a:xfrm>
            <a:off x="9176274" y="947409"/>
            <a:ext cx="2506531" cy="369332"/>
          </a:xfrm>
          <a:prstGeom prst="rect">
            <a:avLst/>
          </a:prstGeom>
        </p:spPr>
        <p:txBody>
          <a:bodyPr wrap="square">
            <a:spAutoFit/>
          </a:bodyPr>
          <a:lstStyle/>
          <a:p>
            <a:r>
              <a:rPr lang="en-US" altLang="zh-CN" smtClean="0">
                <a:latin typeface="Arial" panose="020B0604020202020204" pitchFamily="34" charset="0"/>
                <a:ea typeface="华文楷体" panose="02010600040101010101" charset="-122"/>
              </a:rPr>
              <a:t>X</a:t>
            </a:r>
            <a:endParaRPr lang="en-US" altLang="zh-TW" dirty="0">
              <a:latin typeface="Arial" panose="020B0604020202020204" pitchFamily="34" charset="0"/>
              <a:ea typeface="华文楷体" panose="02010600040101010101" charset="-122"/>
            </a:endParaRPr>
          </a:p>
        </p:txBody>
      </p:sp>
      <p:sp>
        <p:nvSpPr>
          <p:cNvPr id="88" name="矩形 87"/>
          <p:cNvSpPr/>
          <p:nvPr/>
        </p:nvSpPr>
        <p:spPr>
          <a:xfrm>
            <a:off x="6406036" y="5139704"/>
            <a:ext cx="2557623" cy="369332"/>
          </a:xfrm>
          <a:prstGeom prst="rect">
            <a:avLst/>
          </a:prstGeom>
        </p:spPr>
        <p:txBody>
          <a:bodyPr wrap="square">
            <a:spAutoFit/>
          </a:bodyPr>
          <a:lstStyle/>
          <a:p>
            <a:r>
              <a:rPr lang="en-US" altLang="zh-CN" smtClean="0"/>
              <a:t>X</a:t>
            </a:r>
            <a:endParaRPr lang="en-US" altLang="zh-CN" b="1" dirty="0"/>
          </a:p>
        </p:txBody>
      </p:sp>
      <p:sp>
        <p:nvSpPr>
          <p:cNvPr id="89" name="矩形 88"/>
          <p:cNvSpPr/>
          <p:nvPr/>
        </p:nvSpPr>
        <p:spPr>
          <a:xfrm>
            <a:off x="9375633" y="5139704"/>
            <a:ext cx="2243972" cy="369332"/>
          </a:xfrm>
          <a:prstGeom prst="rect">
            <a:avLst/>
          </a:prstGeom>
        </p:spPr>
        <p:txBody>
          <a:bodyPr wrap="square">
            <a:spAutoFit/>
          </a:bodyPr>
          <a:lstStyle/>
          <a:p>
            <a:r>
              <a:rPr lang="en-US" altLang="zh-CN" smtClean="0">
                <a:latin typeface="Arial" panose="020B0604020202020204" pitchFamily="34" charset="0"/>
                <a:ea typeface="华文楷体" panose="02010600040101010101" charset="-122"/>
              </a:rPr>
              <a:t>X</a:t>
            </a:r>
            <a:endParaRPr lang="zh-CN" altLang="en-US" dirty="0">
              <a:latin typeface="Arial" panose="020B0604020202020204" pitchFamily="34" charset="0"/>
              <a:ea typeface="华文楷体" panose="02010600040101010101" charset="-122"/>
            </a:endParaRPr>
          </a:p>
        </p:txBody>
      </p:sp>
      <p:cxnSp>
        <p:nvCxnSpPr>
          <p:cNvPr id="90" name="直接连接符 89"/>
          <p:cNvCxnSpPr/>
          <p:nvPr/>
        </p:nvCxnSpPr>
        <p:spPr>
          <a:xfrm flipV="1">
            <a:off x="9119542" y="961064"/>
            <a:ext cx="0" cy="1224791"/>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flipV="1">
            <a:off x="9119542" y="4891529"/>
            <a:ext cx="0" cy="1213656"/>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6480674" y="3555393"/>
            <a:ext cx="132500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a:off x="10388869" y="3555393"/>
            <a:ext cx="132500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grpSp>
        <p:nvGrpSpPr>
          <p:cNvPr id="112" name="组合 111"/>
          <p:cNvGrpSpPr/>
          <p:nvPr/>
        </p:nvGrpSpPr>
        <p:grpSpPr>
          <a:xfrm>
            <a:off x="8862058" y="3060543"/>
            <a:ext cx="550883" cy="640152"/>
            <a:chOff x="11785283" y="3442970"/>
            <a:chExt cx="744538" cy="865188"/>
          </a:xfrm>
          <a:solidFill>
            <a:schemeClr val="accent1">
              <a:lumMod val="50000"/>
            </a:schemeClr>
          </a:solidFill>
        </p:grpSpPr>
        <p:sp>
          <p:nvSpPr>
            <p:cNvPr id="113" name="Freeform 6"/>
            <p:cNvSpPr>
              <a:spLocks noEditPoints="1"/>
            </p:cNvSpPr>
            <p:nvPr/>
          </p:nvSpPr>
          <p:spPr bwMode="auto">
            <a:xfrm>
              <a:off x="11785283" y="3442970"/>
              <a:ext cx="744538" cy="865188"/>
            </a:xfrm>
            <a:custGeom>
              <a:avLst/>
              <a:gdLst>
                <a:gd name="T0" fmla="*/ 1159 w 2815"/>
                <a:gd name="T1" fmla="*/ 346 h 3265"/>
                <a:gd name="T2" fmla="*/ 1159 w 2815"/>
                <a:gd name="T3" fmla="*/ 674 h 3265"/>
                <a:gd name="T4" fmla="*/ 1459 w 2815"/>
                <a:gd name="T5" fmla="*/ 812 h 3265"/>
                <a:gd name="T6" fmla="*/ 1709 w 2815"/>
                <a:gd name="T7" fmla="*/ 596 h 3265"/>
                <a:gd name="T8" fmla="*/ 1615 w 2815"/>
                <a:gd name="T9" fmla="*/ 281 h 3265"/>
                <a:gd name="T10" fmla="*/ 1486 w 2815"/>
                <a:gd name="T11" fmla="*/ 2 h 3265"/>
                <a:gd name="T12" fmla="*/ 1905 w 2815"/>
                <a:gd name="T13" fmla="*/ 145 h 3265"/>
                <a:gd name="T14" fmla="*/ 1908 w 2815"/>
                <a:gd name="T15" fmla="*/ 387 h 3265"/>
                <a:gd name="T16" fmla="*/ 1922 w 2815"/>
                <a:gd name="T17" fmla="*/ 525 h 3265"/>
                <a:gd name="T18" fmla="*/ 2125 w 2815"/>
                <a:gd name="T19" fmla="*/ 760 h 3265"/>
                <a:gd name="T20" fmla="*/ 2075 w 2815"/>
                <a:gd name="T21" fmla="*/ 1183 h 3265"/>
                <a:gd name="T22" fmla="*/ 2000 w 2815"/>
                <a:gd name="T23" fmla="*/ 1444 h 3265"/>
                <a:gd name="T24" fmla="*/ 1869 w 2815"/>
                <a:gd name="T25" fmla="*/ 1615 h 3265"/>
                <a:gd name="T26" fmla="*/ 1719 w 2815"/>
                <a:gd name="T27" fmla="*/ 1721 h 3265"/>
                <a:gd name="T28" fmla="*/ 1751 w 2815"/>
                <a:gd name="T29" fmla="*/ 1875 h 3265"/>
                <a:gd name="T30" fmla="*/ 1825 w 2815"/>
                <a:gd name="T31" fmla="*/ 2112 h 3265"/>
                <a:gd name="T32" fmla="*/ 1573 w 2815"/>
                <a:gd name="T33" fmla="*/ 2319 h 3265"/>
                <a:gd name="T34" fmla="*/ 1439 w 2815"/>
                <a:gd name="T35" fmla="*/ 2631 h 3265"/>
                <a:gd name="T36" fmla="*/ 1826 w 2815"/>
                <a:gd name="T37" fmla="*/ 3060 h 3265"/>
                <a:gd name="T38" fmla="*/ 1625 w 2815"/>
                <a:gd name="T39" fmla="*/ 2767 h 3265"/>
                <a:gd name="T40" fmla="*/ 1681 w 2815"/>
                <a:gd name="T41" fmla="*/ 2531 h 3265"/>
                <a:gd name="T42" fmla="*/ 1857 w 2815"/>
                <a:gd name="T43" fmla="*/ 2355 h 3265"/>
                <a:gd name="T44" fmla="*/ 2106 w 2815"/>
                <a:gd name="T45" fmla="*/ 2425 h 3265"/>
                <a:gd name="T46" fmla="*/ 2213 w 2815"/>
                <a:gd name="T47" fmla="*/ 2664 h 3265"/>
                <a:gd name="T48" fmla="*/ 2236 w 2815"/>
                <a:gd name="T49" fmla="*/ 2846 h 3265"/>
                <a:gd name="T50" fmla="*/ 2438 w 2815"/>
                <a:gd name="T51" fmla="*/ 2784 h 3265"/>
                <a:gd name="T52" fmla="*/ 2359 w 2815"/>
                <a:gd name="T53" fmla="*/ 2456 h 3265"/>
                <a:gd name="T54" fmla="*/ 2123 w 2815"/>
                <a:gd name="T55" fmla="*/ 2196 h 3265"/>
                <a:gd name="T56" fmla="*/ 2085 w 2815"/>
                <a:gd name="T57" fmla="*/ 1963 h 3265"/>
                <a:gd name="T58" fmla="*/ 2371 w 2815"/>
                <a:gd name="T59" fmla="*/ 2008 h 3265"/>
                <a:gd name="T60" fmla="*/ 2646 w 2815"/>
                <a:gd name="T61" fmla="*/ 2305 h 3265"/>
                <a:gd name="T62" fmla="*/ 2748 w 2815"/>
                <a:gd name="T63" fmla="*/ 2654 h 3265"/>
                <a:gd name="T64" fmla="*/ 2804 w 2815"/>
                <a:gd name="T65" fmla="*/ 3066 h 3265"/>
                <a:gd name="T66" fmla="*/ 2810 w 2815"/>
                <a:gd name="T67" fmla="*/ 3265 h 3265"/>
                <a:gd name="T68" fmla="*/ 15 w 2815"/>
                <a:gd name="T69" fmla="*/ 3108 h 3265"/>
                <a:gd name="T70" fmla="*/ 72 w 2815"/>
                <a:gd name="T71" fmla="*/ 2708 h 3265"/>
                <a:gd name="T72" fmla="*/ 169 w 2815"/>
                <a:gd name="T73" fmla="*/ 2335 h 3265"/>
                <a:gd name="T74" fmla="*/ 428 w 2815"/>
                <a:gd name="T75" fmla="*/ 2029 h 3265"/>
                <a:gd name="T76" fmla="*/ 616 w 2815"/>
                <a:gd name="T77" fmla="*/ 2041 h 3265"/>
                <a:gd name="T78" fmla="*/ 496 w 2815"/>
                <a:gd name="T79" fmla="*/ 2520 h 3265"/>
                <a:gd name="T80" fmla="*/ 393 w 2815"/>
                <a:gd name="T81" fmla="*/ 2799 h 3265"/>
                <a:gd name="T82" fmla="*/ 610 w 2815"/>
                <a:gd name="T83" fmla="*/ 3046 h 3265"/>
                <a:gd name="T84" fmla="*/ 928 w 2815"/>
                <a:gd name="T85" fmla="*/ 2955 h 3265"/>
                <a:gd name="T86" fmla="*/ 985 w 2815"/>
                <a:gd name="T87" fmla="*/ 2667 h 3265"/>
                <a:gd name="T88" fmla="*/ 800 w 2815"/>
                <a:gd name="T89" fmla="*/ 2245 h 3265"/>
                <a:gd name="T90" fmla="*/ 857 w 2815"/>
                <a:gd name="T91" fmla="*/ 1988 h 3265"/>
                <a:gd name="T92" fmla="*/ 1052 w 2815"/>
                <a:gd name="T93" fmla="*/ 1901 h 3265"/>
                <a:gd name="T94" fmla="*/ 1091 w 2815"/>
                <a:gd name="T95" fmla="*/ 1732 h 3265"/>
                <a:gd name="T96" fmla="*/ 941 w 2815"/>
                <a:gd name="T97" fmla="*/ 1621 h 3265"/>
                <a:gd name="T98" fmla="*/ 811 w 2815"/>
                <a:gd name="T99" fmla="*/ 1462 h 3265"/>
                <a:gd name="T100" fmla="*/ 738 w 2815"/>
                <a:gd name="T101" fmla="*/ 1179 h 3265"/>
                <a:gd name="T102" fmla="*/ 691 w 2815"/>
                <a:gd name="T103" fmla="*/ 729 h 3265"/>
                <a:gd name="T104" fmla="*/ 882 w 2815"/>
                <a:gd name="T105" fmla="*/ 529 h 3265"/>
                <a:gd name="T106" fmla="*/ 738 w 2815"/>
                <a:gd name="T107" fmla="*/ 409 h 3265"/>
                <a:gd name="T108" fmla="*/ 961 w 2815"/>
                <a:gd name="T109" fmla="*/ 120 h 3265"/>
                <a:gd name="T110" fmla="*/ 1415 w 2815"/>
                <a:gd name="T111" fmla="*/ 0 h 3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15" h="3265">
                  <a:moveTo>
                    <a:pt x="1415" y="204"/>
                  </a:moveTo>
                  <a:lnTo>
                    <a:pt x="1371" y="208"/>
                  </a:lnTo>
                  <a:lnTo>
                    <a:pt x="1328" y="217"/>
                  </a:lnTo>
                  <a:lnTo>
                    <a:pt x="1288" y="234"/>
                  </a:lnTo>
                  <a:lnTo>
                    <a:pt x="1250" y="255"/>
                  </a:lnTo>
                  <a:lnTo>
                    <a:pt x="1215" y="281"/>
                  </a:lnTo>
                  <a:lnTo>
                    <a:pt x="1185" y="311"/>
                  </a:lnTo>
                  <a:lnTo>
                    <a:pt x="1159" y="346"/>
                  </a:lnTo>
                  <a:lnTo>
                    <a:pt x="1137" y="384"/>
                  </a:lnTo>
                  <a:lnTo>
                    <a:pt x="1121" y="424"/>
                  </a:lnTo>
                  <a:lnTo>
                    <a:pt x="1111" y="466"/>
                  </a:lnTo>
                  <a:lnTo>
                    <a:pt x="1108" y="510"/>
                  </a:lnTo>
                  <a:lnTo>
                    <a:pt x="1111" y="554"/>
                  </a:lnTo>
                  <a:lnTo>
                    <a:pt x="1121" y="596"/>
                  </a:lnTo>
                  <a:lnTo>
                    <a:pt x="1137" y="637"/>
                  </a:lnTo>
                  <a:lnTo>
                    <a:pt x="1159" y="674"/>
                  </a:lnTo>
                  <a:lnTo>
                    <a:pt x="1185" y="708"/>
                  </a:lnTo>
                  <a:lnTo>
                    <a:pt x="1215" y="739"/>
                  </a:lnTo>
                  <a:lnTo>
                    <a:pt x="1250" y="765"/>
                  </a:lnTo>
                  <a:lnTo>
                    <a:pt x="1288" y="786"/>
                  </a:lnTo>
                  <a:lnTo>
                    <a:pt x="1328" y="803"/>
                  </a:lnTo>
                  <a:lnTo>
                    <a:pt x="1371" y="812"/>
                  </a:lnTo>
                  <a:lnTo>
                    <a:pt x="1415" y="816"/>
                  </a:lnTo>
                  <a:lnTo>
                    <a:pt x="1459" y="812"/>
                  </a:lnTo>
                  <a:lnTo>
                    <a:pt x="1501" y="803"/>
                  </a:lnTo>
                  <a:lnTo>
                    <a:pt x="1543" y="786"/>
                  </a:lnTo>
                  <a:lnTo>
                    <a:pt x="1580" y="765"/>
                  </a:lnTo>
                  <a:lnTo>
                    <a:pt x="1615" y="739"/>
                  </a:lnTo>
                  <a:lnTo>
                    <a:pt x="1645" y="708"/>
                  </a:lnTo>
                  <a:lnTo>
                    <a:pt x="1671" y="674"/>
                  </a:lnTo>
                  <a:lnTo>
                    <a:pt x="1693" y="637"/>
                  </a:lnTo>
                  <a:lnTo>
                    <a:pt x="1709" y="596"/>
                  </a:lnTo>
                  <a:lnTo>
                    <a:pt x="1719" y="554"/>
                  </a:lnTo>
                  <a:lnTo>
                    <a:pt x="1722" y="510"/>
                  </a:lnTo>
                  <a:lnTo>
                    <a:pt x="1719" y="466"/>
                  </a:lnTo>
                  <a:lnTo>
                    <a:pt x="1709" y="424"/>
                  </a:lnTo>
                  <a:lnTo>
                    <a:pt x="1693" y="384"/>
                  </a:lnTo>
                  <a:lnTo>
                    <a:pt x="1671" y="346"/>
                  </a:lnTo>
                  <a:lnTo>
                    <a:pt x="1645" y="311"/>
                  </a:lnTo>
                  <a:lnTo>
                    <a:pt x="1615" y="281"/>
                  </a:lnTo>
                  <a:lnTo>
                    <a:pt x="1580" y="255"/>
                  </a:lnTo>
                  <a:lnTo>
                    <a:pt x="1543" y="234"/>
                  </a:lnTo>
                  <a:lnTo>
                    <a:pt x="1501" y="217"/>
                  </a:lnTo>
                  <a:lnTo>
                    <a:pt x="1459" y="208"/>
                  </a:lnTo>
                  <a:lnTo>
                    <a:pt x="1415" y="204"/>
                  </a:lnTo>
                  <a:close/>
                  <a:moveTo>
                    <a:pt x="1415" y="0"/>
                  </a:moveTo>
                  <a:lnTo>
                    <a:pt x="1415" y="0"/>
                  </a:lnTo>
                  <a:lnTo>
                    <a:pt x="1486" y="2"/>
                  </a:lnTo>
                  <a:lnTo>
                    <a:pt x="1553" y="9"/>
                  </a:lnTo>
                  <a:lnTo>
                    <a:pt x="1616" y="18"/>
                  </a:lnTo>
                  <a:lnTo>
                    <a:pt x="1673" y="32"/>
                  </a:lnTo>
                  <a:lnTo>
                    <a:pt x="1728" y="49"/>
                  </a:lnTo>
                  <a:lnTo>
                    <a:pt x="1778" y="69"/>
                  </a:lnTo>
                  <a:lnTo>
                    <a:pt x="1825" y="92"/>
                  </a:lnTo>
                  <a:lnTo>
                    <a:pt x="1866" y="117"/>
                  </a:lnTo>
                  <a:lnTo>
                    <a:pt x="1905" y="145"/>
                  </a:lnTo>
                  <a:lnTo>
                    <a:pt x="1940" y="175"/>
                  </a:lnTo>
                  <a:lnTo>
                    <a:pt x="1970" y="208"/>
                  </a:lnTo>
                  <a:lnTo>
                    <a:pt x="1998" y="241"/>
                  </a:lnTo>
                  <a:lnTo>
                    <a:pt x="2021" y="276"/>
                  </a:lnTo>
                  <a:lnTo>
                    <a:pt x="2041" y="312"/>
                  </a:lnTo>
                  <a:lnTo>
                    <a:pt x="2058" y="349"/>
                  </a:lnTo>
                  <a:lnTo>
                    <a:pt x="2071" y="387"/>
                  </a:lnTo>
                  <a:lnTo>
                    <a:pt x="1908" y="387"/>
                  </a:lnTo>
                  <a:lnTo>
                    <a:pt x="1916" y="407"/>
                  </a:lnTo>
                  <a:lnTo>
                    <a:pt x="1922" y="423"/>
                  </a:lnTo>
                  <a:lnTo>
                    <a:pt x="1926" y="439"/>
                  </a:lnTo>
                  <a:lnTo>
                    <a:pt x="1927" y="454"/>
                  </a:lnTo>
                  <a:lnTo>
                    <a:pt x="1928" y="472"/>
                  </a:lnTo>
                  <a:lnTo>
                    <a:pt x="1928" y="490"/>
                  </a:lnTo>
                  <a:lnTo>
                    <a:pt x="1927" y="508"/>
                  </a:lnTo>
                  <a:lnTo>
                    <a:pt x="1922" y="525"/>
                  </a:lnTo>
                  <a:lnTo>
                    <a:pt x="1918" y="541"/>
                  </a:lnTo>
                  <a:lnTo>
                    <a:pt x="1913" y="556"/>
                  </a:lnTo>
                  <a:lnTo>
                    <a:pt x="1909" y="573"/>
                  </a:lnTo>
                  <a:lnTo>
                    <a:pt x="1908" y="592"/>
                  </a:lnTo>
                  <a:lnTo>
                    <a:pt x="2112" y="592"/>
                  </a:lnTo>
                  <a:lnTo>
                    <a:pt x="2119" y="648"/>
                  </a:lnTo>
                  <a:lnTo>
                    <a:pt x="2124" y="704"/>
                  </a:lnTo>
                  <a:lnTo>
                    <a:pt x="2125" y="760"/>
                  </a:lnTo>
                  <a:lnTo>
                    <a:pt x="2124" y="818"/>
                  </a:lnTo>
                  <a:lnTo>
                    <a:pt x="2122" y="873"/>
                  </a:lnTo>
                  <a:lnTo>
                    <a:pt x="2117" y="929"/>
                  </a:lnTo>
                  <a:lnTo>
                    <a:pt x="2111" y="983"/>
                  </a:lnTo>
                  <a:lnTo>
                    <a:pt x="2103" y="1036"/>
                  </a:lnTo>
                  <a:lnTo>
                    <a:pt x="2094" y="1087"/>
                  </a:lnTo>
                  <a:lnTo>
                    <a:pt x="2085" y="1137"/>
                  </a:lnTo>
                  <a:lnTo>
                    <a:pt x="2075" y="1183"/>
                  </a:lnTo>
                  <a:lnTo>
                    <a:pt x="2064" y="1228"/>
                  </a:lnTo>
                  <a:lnTo>
                    <a:pt x="2053" y="1270"/>
                  </a:lnTo>
                  <a:lnTo>
                    <a:pt x="2042" y="1309"/>
                  </a:lnTo>
                  <a:lnTo>
                    <a:pt x="2032" y="1343"/>
                  </a:lnTo>
                  <a:lnTo>
                    <a:pt x="2023" y="1375"/>
                  </a:lnTo>
                  <a:lnTo>
                    <a:pt x="2014" y="1403"/>
                  </a:lnTo>
                  <a:lnTo>
                    <a:pt x="2006" y="1426"/>
                  </a:lnTo>
                  <a:lnTo>
                    <a:pt x="2000" y="1444"/>
                  </a:lnTo>
                  <a:lnTo>
                    <a:pt x="1994" y="1458"/>
                  </a:lnTo>
                  <a:lnTo>
                    <a:pt x="1991" y="1467"/>
                  </a:lnTo>
                  <a:lnTo>
                    <a:pt x="1990" y="1469"/>
                  </a:lnTo>
                  <a:lnTo>
                    <a:pt x="1967" y="1508"/>
                  </a:lnTo>
                  <a:lnTo>
                    <a:pt x="1942" y="1541"/>
                  </a:lnTo>
                  <a:lnTo>
                    <a:pt x="1918" y="1571"/>
                  </a:lnTo>
                  <a:lnTo>
                    <a:pt x="1893" y="1594"/>
                  </a:lnTo>
                  <a:lnTo>
                    <a:pt x="1869" y="1615"/>
                  </a:lnTo>
                  <a:lnTo>
                    <a:pt x="1845" y="1632"/>
                  </a:lnTo>
                  <a:lnTo>
                    <a:pt x="1822" y="1647"/>
                  </a:lnTo>
                  <a:lnTo>
                    <a:pt x="1801" y="1660"/>
                  </a:lnTo>
                  <a:lnTo>
                    <a:pt x="1780" y="1672"/>
                  </a:lnTo>
                  <a:lnTo>
                    <a:pt x="1761" y="1683"/>
                  </a:lnTo>
                  <a:lnTo>
                    <a:pt x="1744" y="1695"/>
                  </a:lnTo>
                  <a:lnTo>
                    <a:pt x="1730" y="1707"/>
                  </a:lnTo>
                  <a:lnTo>
                    <a:pt x="1719" y="1721"/>
                  </a:lnTo>
                  <a:lnTo>
                    <a:pt x="1710" y="1736"/>
                  </a:lnTo>
                  <a:lnTo>
                    <a:pt x="1705" y="1753"/>
                  </a:lnTo>
                  <a:lnTo>
                    <a:pt x="1703" y="1775"/>
                  </a:lnTo>
                  <a:lnTo>
                    <a:pt x="1705" y="1800"/>
                  </a:lnTo>
                  <a:lnTo>
                    <a:pt x="1711" y="1823"/>
                  </a:lnTo>
                  <a:lnTo>
                    <a:pt x="1722" y="1842"/>
                  </a:lnTo>
                  <a:lnTo>
                    <a:pt x="1735" y="1859"/>
                  </a:lnTo>
                  <a:lnTo>
                    <a:pt x="1751" y="1875"/>
                  </a:lnTo>
                  <a:lnTo>
                    <a:pt x="1767" y="1888"/>
                  </a:lnTo>
                  <a:lnTo>
                    <a:pt x="1784" y="1897"/>
                  </a:lnTo>
                  <a:lnTo>
                    <a:pt x="1793" y="1919"/>
                  </a:lnTo>
                  <a:lnTo>
                    <a:pt x="1802" y="1946"/>
                  </a:lnTo>
                  <a:lnTo>
                    <a:pt x="1809" y="1981"/>
                  </a:lnTo>
                  <a:lnTo>
                    <a:pt x="1816" y="2020"/>
                  </a:lnTo>
                  <a:lnTo>
                    <a:pt x="1821" y="2064"/>
                  </a:lnTo>
                  <a:lnTo>
                    <a:pt x="1825" y="2112"/>
                  </a:lnTo>
                  <a:lnTo>
                    <a:pt x="1826" y="2162"/>
                  </a:lnTo>
                  <a:lnTo>
                    <a:pt x="1780" y="2173"/>
                  </a:lnTo>
                  <a:lnTo>
                    <a:pt x="1739" y="2188"/>
                  </a:lnTo>
                  <a:lnTo>
                    <a:pt x="1699" y="2208"/>
                  </a:lnTo>
                  <a:lnTo>
                    <a:pt x="1663" y="2232"/>
                  </a:lnTo>
                  <a:lnTo>
                    <a:pt x="1631" y="2258"/>
                  </a:lnTo>
                  <a:lnTo>
                    <a:pt x="1600" y="2287"/>
                  </a:lnTo>
                  <a:lnTo>
                    <a:pt x="1573" y="2319"/>
                  </a:lnTo>
                  <a:lnTo>
                    <a:pt x="1548" y="2354"/>
                  </a:lnTo>
                  <a:lnTo>
                    <a:pt x="1526" y="2391"/>
                  </a:lnTo>
                  <a:lnTo>
                    <a:pt x="1507" y="2429"/>
                  </a:lnTo>
                  <a:lnTo>
                    <a:pt x="1488" y="2467"/>
                  </a:lnTo>
                  <a:lnTo>
                    <a:pt x="1473" y="2508"/>
                  </a:lnTo>
                  <a:lnTo>
                    <a:pt x="1460" y="2549"/>
                  </a:lnTo>
                  <a:lnTo>
                    <a:pt x="1448" y="2590"/>
                  </a:lnTo>
                  <a:lnTo>
                    <a:pt x="1439" y="2631"/>
                  </a:lnTo>
                  <a:lnTo>
                    <a:pt x="1432" y="2672"/>
                  </a:lnTo>
                  <a:lnTo>
                    <a:pt x="1425" y="2711"/>
                  </a:lnTo>
                  <a:lnTo>
                    <a:pt x="1421" y="2750"/>
                  </a:lnTo>
                  <a:lnTo>
                    <a:pt x="1418" y="2788"/>
                  </a:lnTo>
                  <a:lnTo>
                    <a:pt x="1415" y="2822"/>
                  </a:lnTo>
                  <a:lnTo>
                    <a:pt x="1415" y="2856"/>
                  </a:lnTo>
                  <a:lnTo>
                    <a:pt x="1415" y="3060"/>
                  </a:lnTo>
                  <a:lnTo>
                    <a:pt x="1826" y="3060"/>
                  </a:lnTo>
                  <a:lnTo>
                    <a:pt x="1826" y="2856"/>
                  </a:lnTo>
                  <a:lnTo>
                    <a:pt x="1620" y="2856"/>
                  </a:lnTo>
                  <a:lnTo>
                    <a:pt x="1620" y="2850"/>
                  </a:lnTo>
                  <a:lnTo>
                    <a:pt x="1620" y="2842"/>
                  </a:lnTo>
                  <a:lnTo>
                    <a:pt x="1621" y="2828"/>
                  </a:lnTo>
                  <a:lnTo>
                    <a:pt x="1622" y="2811"/>
                  </a:lnTo>
                  <a:lnTo>
                    <a:pt x="1623" y="2791"/>
                  </a:lnTo>
                  <a:lnTo>
                    <a:pt x="1625" y="2767"/>
                  </a:lnTo>
                  <a:lnTo>
                    <a:pt x="1628" y="2742"/>
                  </a:lnTo>
                  <a:lnTo>
                    <a:pt x="1632" y="2715"/>
                  </a:lnTo>
                  <a:lnTo>
                    <a:pt x="1636" y="2686"/>
                  </a:lnTo>
                  <a:lnTo>
                    <a:pt x="1643" y="2656"/>
                  </a:lnTo>
                  <a:lnTo>
                    <a:pt x="1650" y="2624"/>
                  </a:lnTo>
                  <a:lnTo>
                    <a:pt x="1659" y="2593"/>
                  </a:lnTo>
                  <a:lnTo>
                    <a:pt x="1669" y="2563"/>
                  </a:lnTo>
                  <a:lnTo>
                    <a:pt x="1681" y="2531"/>
                  </a:lnTo>
                  <a:lnTo>
                    <a:pt x="1695" y="2502"/>
                  </a:lnTo>
                  <a:lnTo>
                    <a:pt x="1711" y="2474"/>
                  </a:lnTo>
                  <a:lnTo>
                    <a:pt x="1730" y="2447"/>
                  </a:lnTo>
                  <a:lnTo>
                    <a:pt x="1751" y="2423"/>
                  </a:lnTo>
                  <a:lnTo>
                    <a:pt x="1773" y="2400"/>
                  </a:lnTo>
                  <a:lnTo>
                    <a:pt x="1798" y="2382"/>
                  </a:lnTo>
                  <a:lnTo>
                    <a:pt x="1827" y="2367"/>
                  </a:lnTo>
                  <a:lnTo>
                    <a:pt x="1857" y="2355"/>
                  </a:lnTo>
                  <a:lnTo>
                    <a:pt x="1891" y="2348"/>
                  </a:lnTo>
                  <a:lnTo>
                    <a:pt x="1928" y="2345"/>
                  </a:lnTo>
                  <a:lnTo>
                    <a:pt x="1965" y="2348"/>
                  </a:lnTo>
                  <a:lnTo>
                    <a:pt x="1999" y="2356"/>
                  </a:lnTo>
                  <a:lnTo>
                    <a:pt x="2029" y="2368"/>
                  </a:lnTo>
                  <a:lnTo>
                    <a:pt x="2057" y="2383"/>
                  </a:lnTo>
                  <a:lnTo>
                    <a:pt x="2083" y="2403"/>
                  </a:lnTo>
                  <a:lnTo>
                    <a:pt x="2106" y="2425"/>
                  </a:lnTo>
                  <a:lnTo>
                    <a:pt x="2126" y="2450"/>
                  </a:lnTo>
                  <a:lnTo>
                    <a:pt x="2144" y="2478"/>
                  </a:lnTo>
                  <a:lnTo>
                    <a:pt x="2161" y="2508"/>
                  </a:lnTo>
                  <a:lnTo>
                    <a:pt x="2175" y="2538"/>
                  </a:lnTo>
                  <a:lnTo>
                    <a:pt x="2187" y="2569"/>
                  </a:lnTo>
                  <a:lnTo>
                    <a:pt x="2197" y="2601"/>
                  </a:lnTo>
                  <a:lnTo>
                    <a:pt x="2206" y="2633"/>
                  </a:lnTo>
                  <a:lnTo>
                    <a:pt x="2213" y="2664"/>
                  </a:lnTo>
                  <a:lnTo>
                    <a:pt x="2219" y="2695"/>
                  </a:lnTo>
                  <a:lnTo>
                    <a:pt x="2224" y="2724"/>
                  </a:lnTo>
                  <a:lnTo>
                    <a:pt x="2228" y="2751"/>
                  </a:lnTo>
                  <a:lnTo>
                    <a:pt x="2230" y="2776"/>
                  </a:lnTo>
                  <a:lnTo>
                    <a:pt x="2233" y="2799"/>
                  </a:lnTo>
                  <a:lnTo>
                    <a:pt x="2234" y="2818"/>
                  </a:lnTo>
                  <a:lnTo>
                    <a:pt x="2235" y="2834"/>
                  </a:lnTo>
                  <a:lnTo>
                    <a:pt x="2236" y="2846"/>
                  </a:lnTo>
                  <a:lnTo>
                    <a:pt x="2236" y="2854"/>
                  </a:lnTo>
                  <a:lnTo>
                    <a:pt x="2236" y="2856"/>
                  </a:lnTo>
                  <a:lnTo>
                    <a:pt x="2031" y="2856"/>
                  </a:lnTo>
                  <a:lnTo>
                    <a:pt x="2031" y="3060"/>
                  </a:lnTo>
                  <a:lnTo>
                    <a:pt x="2441" y="3060"/>
                  </a:lnTo>
                  <a:lnTo>
                    <a:pt x="2441" y="2856"/>
                  </a:lnTo>
                  <a:lnTo>
                    <a:pt x="2440" y="2821"/>
                  </a:lnTo>
                  <a:lnTo>
                    <a:pt x="2438" y="2784"/>
                  </a:lnTo>
                  <a:lnTo>
                    <a:pt x="2435" y="2746"/>
                  </a:lnTo>
                  <a:lnTo>
                    <a:pt x="2429" y="2705"/>
                  </a:lnTo>
                  <a:lnTo>
                    <a:pt x="2423" y="2664"/>
                  </a:lnTo>
                  <a:lnTo>
                    <a:pt x="2414" y="2622"/>
                  </a:lnTo>
                  <a:lnTo>
                    <a:pt x="2403" y="2580"/>
                  </a:lnTo>
                  <a:lnTo>
                    <a:pt x="2391" y="2539"/>
                  </a:lnTo>
                  <a:lnTo>
                    <a:pt x="2376" y="2497"/>
                  </a:lnTo>
                  <a:lnTo>
                    <a:pt x="2359" y="2456"/>
                  </a:lnTo>
                  <a:lnTo>
                    <a:pt x="2339" y="2416"/>
                  </a:lnTo>
                  <a:lnTo>
                    <a:pt x="2317" y="2378"/>
                  </a:lnTo>
                  <a:lnTo>
                    <a:pt x="2292" y="2341"/>
                  </a:lnTo>
                  <a:lnTo>
                    <a:pt x="2264" y="2306"/>
                  </a:lnTo>
                  <a:lnTo>
                    <a:pt x="2234" y="2274"/>
                  </a:lnTo>
                  <a:lnTo>
                    <a:pt x="2200" y="2245"/>
                  </a:lnTo>
                  <a:lnTo>
                    <a:pt x="2163" y="2219"/>
                  </a:lnTo>
                  <a:lnTo>
                    <a:pt x="2123" y="2196"/>
                  </a:lnTo>
                  <a:lnTo>
                    <a:pt x="2078" y="2176"/>
                  </a:lnTo>
                  <a:lnTo>
                    <a:pt x="2031" y="2162"/>
                  </a:lnTo>
                  <a:lnTo>
                    <a:pt x="2031" y="2105"/>
                  </a:lnTo>
                  <a:lnTo>
                    <a:pt x="2028" y="2053"/>
                  </a:lnTo>
                  <a:lnTo>
                    <a:pt x="2023" y="2004"/>
                  </a:lnTo>
                  <a:lnTo>
                    <a:pt x="2011" y="1958"/>
                  </a:lnTo>
                  <a:lnTo>
                    <a:pt x="2048" y="1961"/>
                  </a:lnTo>
                  <a:lnTo>
                    <a:pt x="2085" y="1963"/>
                  </a:lnTo>
                  <a:lnTo>
                    <a:pt x="2122" y="1964"/>
                  </a:lnTo>
                  <a:lnTo>
                    <a:pt x="2157" y="1966"/>
                  </a:lnTo>
                  <a:lnTo>
                    <a:pt x="2193" y="1968"/>
                  </a:lnTo>
                  <a:lnTo>
                    <a:pt x="2229" y="1972"/>
                  </a:lnTo>
                  <a:lnTo>
                    <a:pt x="2265" y="1976"/>
                  </a:lnTo>
                  <a:lnTo>
                    <a:pt x="2301" y="1984"/>
                  </a:lnTo>
                  <a:lnTo>
                    <a:pt x="2336" y="1995"/>
                  </a:lnTo>
                  <a:lnTo>
                    <a:pt x="2371" y="2008"/>
                  </a:lnTo>
                  <a:lnTo>
                    <a:pt x="2405" y="2025"/>
                  </a:lnTo>
                  <a:lnTo>
                    <a:pt x="2440" y="2048"/>
                  </a:lnTo>
                  <a:lnTo>
                    <a:pt x="2475" y="2075"/>
                  </a:lnTo>
                  <a:lnTo>
                    <a:pt x="2509" y="2107"/>
                  </a:lnTo>
                  <a:lnTo>
                    <a:pt x="2544" y="2146"/>
                  </a:lnTo>
                  <a:lnTo>
                    <a:pt x="2577" y="2192"/>
                  </a:lnTo>
                  <a:lnTo>
                    <a:pt x="2612" y="2245"/>
                  </a:lnTo>
                  <a:lnTo>
                    <a:pt x="2646" y="2305"/>
                  </a:lnTo>
                  <a:lnTo>
                    <a:pt x="2661" y="2335"/>
                  </a:lnTo>
                  <a:lnTo>
                    <a:pt x="2675" y="2371"/>
                  </a:lnTo>
                  <a:lnTo>
                    <a:pt x="2689" y="2411"/>
                  </a:lnTo>
                  <a:lnTo>
                    <a:pt x="2703" y="2454"/>
                  </a:lnTo>
                  <a:lnTo>
                    <a:pt x="2714" y="2501"/>
                  </a:lnTo>
                  <a:lnTo>
                    <a:pt x="2726" y="2550"/>
                  </a:lnTo>
                  <a:lnTo>
                    <a:pt x="2737" y="2601"/>
                  </a:lnTo>
                  <a:lnTo>
                    <a:pt x="2748" y="2654"/>
                  </a:lnTo>
                  <a:lnTo>
                    <a:pt x="2758" y="2708"/>
                  </a:lnTo>
                  <a:lnTo>
                    <a:pt x="2767" y="2762"/>
                  </a:lnTo>
                  <a:lnTo>
                    <a:pt x="2774" y="2816"/>
                  </a:lnTo>
                  <a:lnTo>
                    <a:pt x="2782" y="2869"/>
                  </a:lnTo>
                  <a:lnTo>
                    <a:pt x="2788" y="2921"/>
                  </a:lnTo>
                  <a:lnTo>
                    <a:pt x="2795" y="2972"/>
                  </a:lnTo>
                  <a:lnTo>
                    <a:pt x="2799" y="3020"/>
                  </a:lnTo>
                  <a:lnTo>
                    <a:pt x="2804" y="3066"/>
                  </a:lnTo>
                  <a:lnTo>
                    <a:pt x="2808" y="3108"/>
                  </a:lnTo>
                  <a:lnTo>
                    <a:pt x="2810" y="3146"/>
                  </a:lnTo>
                  <a:lnTo>
                    <a:pt x="2812" y="3180"/>
                  </a:lnTo>
                  <a:lnTo>
                    <a:pt x="2813" y="3209"/>
                  </a:lnTo>
                  <a:lnTo>
                    <a:pt x="2815" y="3232"/>
                  </a:lnTo>
                  <a:lnTo>
                    <a:pt x="2813" y="3250"/>
                  </a:lnTo>
                  <a:lnTo>
                    <a:pt x="2812" y="3260"/>
                  </a:lnTo>
                  <a:lnTo>
                    <a:pt x="2810" y="3265"/>
                  </a:lnTo>
                  <a:lnTo>
                    <a:pt x="0" y="3265"/>
                  </a:lnTo>
                  <a:lnTo>
                    <a:pt x="0" y="3260"/>
                  </a:lnTo>
                  <a:lnTo>
                    <a:pt x="1" y="3250"/>
                  </a:lnTo>
                  <a:lnTo>
                    <a:pt x="2" y="3232"/>
                  </a:lnTo>
                  <a:lnTo>
                    <a:pt x="4" y="3209"/>
                  </a:lnTo>
                  <a:lnTo>
                    <a:pt x="8" y="3180"/>
                  </a:lnTo>
                  <a:lnTo>
                    <a:pt x="11" y="3146"/>
                  </a:lnTo>
                  <a:lnTo>
                    <a:pt x="15" y="3108"/>
                  </a:lnTo>
                  <a:lnTo>
                    <a:pt x="20" y="3066"/>
                  </a:lnTo>
                  <a:lnTo>
                    <a:pt x="25" y="3020"/>
                  </a:lnTo>
                  <a:lnTo>
                    <a:pt x="32" y="2972"/>
                  </a:lnTo>
                  <a:lnTo>
                    <a:pt x="38" y="2921"/>
                  </a:lnTo>
                  <a:lnTo>
                    <a:pt x="46" y="2869"/>
                  </a:lnTo>
                  <a:lnTo>
                    <a:pt x="53" y="2816"/>
                  </a:lnTo>
                  <a:lnTo>
                    <a:pt x="62" y="2762"/>
                  </a:lnTo>
                  <a:lnTo>
                    <a:pt x="72" y="2708"/>
                  </a:lnTo>
                  <a:lnTo>
                    <a:pt x="82" y="2654"/>
                  </a:lnTo>
                  <a:lnTo>
                    <a:pt x="91" y="2601"/>
                  </a:lnTo>
                  <a:lnTo>
                    <a:pt x="103" y="2550"/>
                  </a:lnTo>
                  <a:lnTo>
                    <a:pt x="115" y="2501"/>
                  </a:lnTo>
                  <a:lnTo>
                    <a:pt x="127" y="2454"/>
                  </a:lnTo>
                  <a:lnTo>
                    <a:pt x="140" y="2411"/>
                  </a:lnTo>
                  <a:lnTo>
                    <a:pt x="154" y="2371"/>
                  </a:lnTo>
                  <a:lnTo>
                    <a:pt x="169" y="2335"/>
                  </a:lnTo>
                  <a:lnTo>
                    <a:pt x="184" y="2305"/>
                  </a:lnTo>
                  <a:lnTo>
                    <a:pt x="218" y="2248"/>
                  </a:lnTo>
                  <a:lnTo>
                    <a:pt x="251" y="2197"/>
                  </a:lnTo>
                  <a:lnTo>
                    <a:pt x="286" y="2153"/>
                  </a:lnTo>
                  <a:lnTo>
                    <a:pt x="322" y="2114"/>
                  </a:lnTo>
                  <a:lnTo>
                    <a:pt x="357" y="2080"/>
                  </a:lnTo>
                  <a:lnTo>
                    <a:pt x="393" y="2052"/>
                  </a:lnTo>
                  <a:lnTo>
                    <a:pt x="428" y="2029"/>
                  </a:lnTo>
                  <a:lnTo>
                    <a:pt x="463" y="2010"/>
                  </a:lnTo>
                  <a:lnTo>
                    <a:pt x="498" y="1994"/>
                  </a:lnTo>
                  <a:lnTo>
                    <a:pt x="533" y="1982"/>
                  </a:lnTo>
                  <a:lnTo>
                    <a:pt x="568" y="1972"/>
                  </a:lnTo>
                  <a:lnTo>
                    <a:pt x="602" y="1964"/>
                  </a:lnTo>
                  <a:lnTo>
                    <a:pt x="635" y="1958"/>
                  </a:lnTo>
                  <a:lnTo>
                    <a:pt x="626" y="1999"/>
                  </a:lnTo>
                  <a:lnTo>
                    <a:pt x="616" y="2041"/>
                  </a:lnTo>
                  <a:lnTo>
                    <a:pt x="607" y="2083"/>
                  </a:lnTo>
                  <a:lnTo>
                    <a:pt x="601" y="2128"/>
                  </a:lnTo>
                  <a:lnTo>
                    <a:pt x="596" y="2174"/>
                  </a:lnTo>
                  <a:lnTo>
                    <a:pt x="594" y="2223"/>
                  </a:lnTo>
                  <a:lnTo>
                    <a:pt x="594" y="2469"/>
                  </a:lnTo>
                  <a:lnTo>
                    <a:pt x="559" y="2483"/>
                  </a:lnTo>
                  <a:lnTo>
                    <a:pt x="525" y="2500"/>
                  </a:lnTo>
                  <a:lnTo>
                    <a:pt x="496" y="2520"/>
                  </a:lnTo>
                  <a:lnTo>
                    <a:pt x="469" y="2545"/>
                  </a:lnTo>
                  <a:lnTo>
                    <a:pt x="446" y="2572"/>
                  </a:lnTo>
                  <a:lnTo>
                    <a:pt x="426" y="2604"/>
                  </a:lnTo>
                  <a:lnTo>
                    <a:pt x="410" y="2637"/>
                  </a:lnTo>
                  <a:lnTo>
                    <a:pt x="399" y="2673"/>
                  </a:lnTo>
                  <a:lnTo>
                    <a:pt x="392" y="2712"/>
                  </a:lnTo>
                  <a:lnTo>
                    <a:pt x="389" y="2754"/>
                  </a:lnTo>
                  <a:lnTo>
                    <a:pt x="393" y="2799"/>
                  </a:lnTo>
                  <a:lnTo>
                    <a:pt x="403" y="2841"/>
                  </a:lnTo>
                  <a:lnTo>
                    <a:pt x="419" y="2881"/>
                  </a:lnTo>
                  <a:lnTo>
                    <a:pt x="441" y="2919"/>
                  </a:lnTo>
                  <a:lnTo>
                    <a:pt x="467" y="2952"/>
                  </a:lnTo>
                  <a:lnTo>
                    <a:pt x="497" y="2984"/>
                  </a:lnTo>
                  <a:lnTo>
                    <a:pt x="532" y="3009"/>
                  </a:lnTo>
                  <a:lnTo>
                    <a:pt x="569" y="3031"/>
                  </a:lnTo>
                  <a:lnTo>
                    <a:pt x="610" y="3046"/>
                  </a:lnTo>
                  <a:lnTo>
                    <a:pt x="653" y="3057"/>
                  </a:lnTo>
                  <a:lnTo>
                    <a:pt x="696" y="3060"/>
                  </a:lnTo>
                  <a:lnTo>
                    <a:pt x="741" y="3057"/>
                  </a:lnTo>
                  <a:lnTo>
                    <a:pt x="783" y="3046"/>
                  </a:lnTo>
                  <a:lnTo>
                    <a:pt x="825" y="3031"/>
                  </a:lnTo>
                  <a:lnTo>
                    <a:pt x="862" y="3011"/>
                  </a:lnTo>
                  <a:lnTo>
                    <a:pt x="896" y="2985"/>
                  </a:lnTo>
                  <a:lnTo>
                    <a:pt x="928" y="2955"/>
                  </a:lnTo>
                  <a:lnTo>
                    <a:pt x="954" y="2923"/>
                  </a:lnTo>
                  <a:lnTo>
                    <a:pt x="976" y="2888"/>
                  </a:lnTo>
                  <a:lnTo>
                    <a:pt x="992" y="2852"/>
                  </a:lnTo>
                  <a:lnTo>
                    <a:pt x="1002" y="2813"/>
                  </a:lnTo>
                  <a:lnTo>
                    <a:pt x="1005" y="2774"/>
                  </a:lnTo>
                  <a:lnTo>
                    <a:pt x="1003" y="2738"/>
                  </a:lnTo>
                  <a:lnTo>
                    <a:pt x="995" y="2701"/>
                  </a:lnTo>
                  <a:lnTo>
                    <a:pt x="985" y="2667"/>
                  </a:lnTo>
                  <a:lnTo>
                    <a:pt x="968" y="2633"/>
                  </a:lnTo>
                  <a:lnTo>
                    <a:pt x="949" y="2601"/>
                  </a:lnTo>
                  <a:lnTo>
                    <a:pt x="926" y="2572"/>
                  </a:lnTo>
                  <a:lnTo>
                    <a:pt x="899" y="2545"/>
                  </a:lnTo>
                  <a:lnTo>
                    <a:pt x="868" y="2523"/>
                  </a:lnTo>
                  <a:lnTo>
                    <a:pt x="836" y="2504"/>
                  </a:lnTo>
                  <a:lnTo>
                    <a:pt x="800" y="2489"/>
                  </a:lnTo>
                  <a:lnTo>
                    <a:pt x="800" y="2245"/>
                  </a:lnTo>
                  <a:lnTo>
                    <a:pt x="801" y="2198"/>
                  </a:lnTo>
                  <a:lnTo>
                    <a:pt x="804" y="2156"/>
                  </a:lnTo>
                  <a:lnTo>
                    <a:pt x="809" y="2118"/>
                  </a:lnTo>
                  <a:lnTo>
                    <a:pt x="817" y="2085"/>
                  </a:lnTo>
                  <a:lnTo>
                    <a:pt x="826" y="2055"/>
                  </a:lnTo>
                  <a:lnTo>
                    <a:pt x="836" y="2029"/>
                  </a:lnTo>
                  <a:lnTo>
                    <a:pt x="846" y="2008"/>
                  </a:lnTo>
                  <a:lnTo>
                    <a:pt x="857" y="1988"/>
                  </a:lnTo>
                  <a:lnTo>
                    <a:pt x="869" y="1972"/>
                  </a:lnTo>
                  <a:lnTo>
                    <a:pt x="882" y="1958"/>
                  </a:lnTo>
                  <a:lnTo>
                    <a:pt x="915" y="1953"/>
                  </a:lnTo>
                  <a:lnTo>
                    <a:pt x="947" y="1945"/>
                  </a:lnTo>
                  <a:lnTo>
                    <a:pt x="977" y="1936"/>
                  </a:lnTo>
                  <a:lnTo>
                    <a:pt x="1004" y="1927"/>
                  </a:lnTo>
                  <a:lnTo>
                    <a:pt x="1029" y="1915"/>
                  </a:lnTo>
                  <a:lnTo>
                    <a:pt x="1052" y="1901"/>
                  </a:lnTo>
                  <a:lnTo>
                    <a:pt x="1071" y="1884"/>
                  </a:lnTo>
                  <a:lnTo>
                    <a:pt x="1086" y="1866"/>
                  </a:lnTo>
                  <a:lnTo>
                    <a:pt x="1098" y="1845"/>
                  </a:lnTo>
                  <a:lnTo>
                    <a:pt x="1105" y="1822"/>
                  </a:lnTo>
                  <a:lnTo>
                    <a:pt x="1108" y="1795"/>
                  </a:lnTo>
                  <a:lnTo>
                    <a:pt x="1105" y="1771"/>
                  </a:lnTo>
                  <a:lnTo>
                    <a:pt x="1100" y="1749"/>
                  </a:lnTo>
                  <a:lnTo>
                    <a:pt x="1091" y="1732"/>
                  </a:lnTo>
                  <a:lnTo>
                    <a:pt x="1080" y="1716"/>
                  </a:lnTo>
                  <a:lnTo>
                    <a:pt x="1065" y="1702"/>
                  </a:lnTo>
                  <a:lnTo>
                    <a:pt x="1049" y="1690"/>
                  </a:lnTo>
                  <a:lnTo>
                    <a:pt x="1030" y="1678"/>
                  </a:lnTo>
                  <a:lnTo>
                    <a:pt x="1010" y="1665"/>
                  </a:lnTo>
                  <a:lnTo>
                    <a:pt x="988" y="1653"/>
                  </a:lnTo>
                  <a:lnTo>
                    <a:pt x="965" y="1638"/>
                  </a:lnTo>
                  <a:lnTo>
                    <a:pt x="941" y="1621"/>
                  </a:lnTo>
                  <a:lnTo>
                    <a:pt x="917" y="1603"/>
                  </a:lnTo>
                  <a:lnTo>
                    <a:pt x="892" y="1581"/>
                  </a:lnTo>
                  <a:lnTo>
                    <a:pt x="868" y="1556"/>
                  </a:lnTo>
                  <a:lnTo>
                    <a:pt x="843" y="1525"/>
                  </a:lnTo>
                  <a:lnTo>
                    <a:pt x="820" y="1490"/>
                  </a:lnTo>
                  <a:lnTo>
                    <a:pt x="819" y="1486"/>
                  </a:lnTo>
                  <a:lnTo>
                    <a:pt x="816" y="1477"/>
                  </a:lnTo>
                  <a:lnTo>
                    <a:pt x="811" y="1462"/>
                  </a:lnTo>
                  <a:lnTo>
                    <a:pt x="805" y="1442"/>
                  </a:lnTo>
                  <a:lnTo>
                    <a:pt x="797" y="1417"/>
                  </a:lnTo>
                  <a:lnTo>
                    <a:pt x="789" y="1387"/>
                  </a:lnTo>
                  <a:lnTo>
                    <a:pt x="779" y="1352"/>
                  </a:lnTo>
                  <a:lnTo>
                    <a:pt x="769" y="1314"/>
                  </a:lnTo>
                  <a:lnTo>
                    <a:pt x="758" y="1272"/>
                  </a:lnTo>
                  <a:lnTo>
                    <a:pt x="749" y="1228"/>
                  </a:lnTo>
                  <a:lnTo>
                    <a:pt x="738" y="1179"/>
                  </a:lnTo>
                  <a:lnTo>
                    <a:pt x="728" y="1128"/>
                  </a:lnTo>
                  <a:lnTo>
                    <a:pt x="719" y="1075"/>
                  </a:lnTo>
                  <a:lnTo>
                    <a:pt x="710" y="1021"/>
                  </a:lnTo>
                  <a:lnTo>
                    <a:pt x="703" y="964"/>
                  </a:lnTo>
                  <a:lnTo>
                    <a:pt x="697" y="906"/>
                  </a:lnTo>
                  <a:lnTo>
                    <a:pt x="693" y="848"/>
                  </a:lnTo>
                  <a:lnTo>
                    <a:pt x="691" y="788"/>
                  </a:lnTo>
                  <a:lnTo>
                    <a:pt x="691" y="729"/>
                  </a:lnTo>
                  <a:lnTo>
                    <a:pt x="692" y="671"/>
                  </a:lnTo>
                  <a:lnTo>
                    <a:pt x="696" y="611"/>
                  </a:lnTo>
                  <a:lnTo>
                    <a:pt x="902" y="611"/>
                  </a:lnTo>
                  <a:lnTo>
                    <a:pt x="893" y="593"/>
                  </a:lnTo>
                  <a:lnTo>
                    <a:pt x="888" y="576"/>
                  </a:lnTo>
                  <a:lnTo>
                    <a:pt x="885" y="560"/>
                  </a:lnTo>
                  <a:lnTo>
                    <a:pt x="882" y="545"/>
                  </a:lnTo>
                  <a:lnTo>
                    <a:pt x="882" y="529"/>
                  </a:lnTo>
                  <a:lnTo>
                    <a:pt x="882" y="510"/>
                  </a:lnTo>
                  <a:lnTo>
                    <a:pt x="883" y="491"/>
                  </a:lnTo>
                  <a:lnTo>
                    <a:pt x="887" y="475"/>
                  </a:lnTo>
                  <a:lnTo>
                    <a:pt x="892" y="460"/>
                  </a:lnTo>
                  <a:lnTo>
                    <a:pt x="896" y="443"/>
                  </a:lnTo>
                  <a:lnTo>
                    <a:pt x="901" y="427"/>
                  </a:lnTo>
                  <a:lnTo>
                    <a:pt x="902" y="409"/>
                  </a:lnTo>
                  <a:lnTo>
                    <a:pt x="738" y="409"/>
                  </a:lnTo>
                  <a:lnTo>
                    <a:pt x="755" y="367"/>
                  </a:lnTo>
                  <a:lnTo>
                    <a:pt x="775" y="327"/>
                  </a:lnTo>
                  <a:lnTo>
                    <a:pt x="797" y="288"/>
                  </a:lnTo>
                  <a:lnTo>
                    <a:pt x="824" y="250"/>
                  </a:lnTo>
                  <a:lnTo>
                    <a:pt x="853" y="214"/>
                  </a:lnTo>
                  <a:lnTo>
                    <a:pt x="886" y="181"/>
                  </a:lnTo>
                  <a:lnTo>
                    <a:pt x="922" y="149"/>
                  </a:lnTo>
                  <a:lnTo>
                    <a:pt x="961" y="120"/>
                  </a:lnTo>
                  <a:lnTo>
                    <a:pt x="1004" y="94"/>
                  </a:lnTo>
                  <a:lnTo>
                    <a:pt x="1051" y="70"/>
                  </a:lnTo>
                  <a:lnTo>
                    <a:pt x="1102" y="50"/>
                  </a:lnTo>
                  <a:lnTo>
                    <a:pt x="1157" y="32"/>
                  </a:lnTo>
                  <a:lnTo>
                    <a:pt x="1215" y="18"/>
                  </a:lnTo>
                  <a:lnTo>
                    <a:pt x="1277" y="9"/>
                  </a:lnTo>
                  <a:lnTo>
                    <a:pt x="1345" y="2"/>
                  </a:lnTo>
                  <a:lnTo>
                    <a:pt x="1415" y="0"/>
                  </a:lnTo>
                  <a:close/>
                </a:path>
              </a:pathLst>
            </a:custGeom>
            <a:grpFill/>
            <a:ln w="0">
              <a:noFill/>
              <a:prstDash val="solid"/>
              <a:round/>
            </a:ln>
            <a:extLst>
              <a:ext uri="{91240B29-F687-4F45-9708-019B960494DF}">
                <a14:hiddenLine xmlns:a14="http://schemas.microsoft.com/office/drawing/2010/main" w="0">
                  <a:solidFill>
                    <a:srgbClr val="444444"/>
                  </a:solidFill>
                  <a:prstDash val="solid"/>
                  <a:round/>
                </a14:hiddenLine>
              </a:ext>
            </a:extLst>
          </p:spPr>
          <p:txBody>
            <a:bodyPr vert="horz" wrap="square" lIns="91440" tIns="45720" rIns="91440" bIns="45720" numCol="1" anchor="t" anchorCtr="0" compatLnSpc="1"/>
            <a:lstStyle/>
            <a:p>
              <a:endParaRPr lang="en-US"/>
            </a:p>
          </p:txBody>
        </p:sp>
        <p:sp>
          <p:nvSpPr>
            <p:cNvPr id="114" name="Freeform 7"/>
            <p:cNvSpPr/>
            <p:nvPr/>
          </p:nvSpPr>
          <p:spPr bwMode="auto">
            <a:xfrm>
              <a:off x="11942446" y="4144645"/>
              <a:ext cx="53975" cy="53975"/>
            </a:xfrm>
            <a:custGeom>
              <a:avLst/>
              <a:gdLst>
                <a:gd name="T0" fmla="*/ 102 w 206"/>
                <a:gd name="T1" fmla="*/ 0 h 205"/>
                <a:gd name="T2" fmla="*/ 126 w 206"/>
                <a:gd name="T3" fmla="*/ 4 h 205"/>
                <a:gd name="T4" fmla="*/ 148 w 206"/>
                <a:gd name="T5" fmla="*/ 11 h 205"/>
                <a:gd name="T6" fmla="*/ 168 w 206"/>
                <a:gd name="T7" fmla="*/ 23 h 205"/>
                <a:gd name="T8" fmla="*/ 183 w 206"/>
                <a:gd name="T9" fmla="*/ 39 h 205"/>
                <a:gd name="T10" fmla="*/ 196 w 206"/>
                <a:gd name="T11" fmla="*/ 58 h 205"/>
                <a:gd name="T12" fmla="*/ 203 w 206"/>
                <a:gd name="T13" fmla="*/ 79 h 205"/>
                <a:gd name="T14" fmla="*/ 206 w 206"/>
                <a:gd name="T15" fmla="*/ 103 h 205"/>
                <a:gd name="T16" fmla="*/ 203 w 206"/>
                <a:gd name="T17" fmla="*/ 127 h 205"/>
                <a:gd name="T18" fmla="*/ 196 w 206"/>
                <a:gd name="T19" fmla="*/ 148 h 205"/>
                <a:gd name="T20" fmla="*/ 183 w 206"/>
                <a:gd name="T21" fmla="*/ 167 h 205"/>
                <a:gd name="T22" fmla="*/ 168 w 206"/>
                <a:gd name="T23" fmla="*/ 182 h 205"/>
                <a:gd name="T24" fmla="*/ 148 w 206"/>
                <a:gd name="T25" fmla="*/ 194 h 205"/>
                <a:gd name="T26" fmla="*/ 126 w 206"/>
                <a:gd name="T27" fmla="*/ 202 h 205"/>
                <a:gd name="T28" fmla="*/ 102 w 206"/>
                <a:gd name="T29" fmla="*/ 205 h 205"/>
                <a:gd name="T30" fmla="*/ 79 w 206"/>
                <a:gd name="T31" fmla="*/ 202 h 205"/>
                <a:gd name="T32" fmla="*/ 58 w 206"/>
                <a:gd name="T33" fmla="*/ 194 h 205"/>
                <a:gd name="T34" fmla="*/ 39 w 206"/>
                <a:gd name="T35" fmla="*/ 182 h 205"/>
                <a:gd name="T36" fmla="*/ 23 w 206"/>
                <a:gd name="T37" fmla="*/ 167 h 205"/>
                <a:gd name="T38" fmla="*/ 11 w 206"/>
                <a:gd name="T39" fmla="*/ 148 h 205"/>
                <a:gd name="T40" fmla="*/ 3 w 206"/>
                <a:gd name="T41" fmla="*/ 127 h 205"/>
                <a:gd name="T42" fmla="*/ 0 w 206"/>
                <a:gd name="T43" fmla="*/ 103 h 205"/>
                <a:gd name="T44" fmla="*/ 3 w 206"/>
                <a:gd name="T45" fmla="*/ 79 h 205"/>
                <a:gd name="T46" fmla="*/ 11 w 206"/>
                <a:gd name="T47" fmla="*/ 58 h 205"/>
                <a:gd name="T48" fmla="*/ 23 w 206"/>
                <a:gd name="T49" fmla="*/ 39 h 205"/>
                <a:gd name="T50" fmla="*/ 39 w 206"/>
                <a:gd name="T51" fmla="*/ 23 h 205"/>
                <a:gd name="T52" fmla="*/ 58 w 206"/>
                <a:gd name="T53" fmla="*/ 11 h 205"/>
                <a:gd name="T54" fmla="*/ 79 w 206"/>
                <a:gd name="T55" fmla="*/ 4 h 205"/>
                <a:gd name="T56" fmla="*/ 102 w 206"/>
                <a:gd name="T5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6" h="205">
                  <a:moveTo>
                    <a:pt x="102" y="0"/>
                  </a:moveTo>
                  <a:lnTo>
                    <a:pt x="126" y="4"/>
                  </a:lnTo>
                  <a:lnTo>
                    <a:pt x="148" y="11"/>
                  </a:lnTo>
                  <a:lnTo>
                    <a:pt x="168" y="23"/>
                  </a:lnTo>
                  <a:lnTo>
                    <a:pt x="183" y="39"/>
                  </a:lnTo>
                  <a:lnTo>
                    <a:pt x="196" y="58"/>
                  </a:lnTo>
                  <a:lnTo>
                    <a:pt x="203" y="79"/>
                  </a:lnTo>
                  <a:lnTo>
                    <a:pt x="206" y="103"/>
                  </a:lnTo>
                  <a:lnTo>
                    <a:pt x="203" y="127"/>
                  </a:lnTo>
                  <a:lnTo>
                    <a:pt x="196" y="148"/>
                  </a:lnTo>
                  <a:lnTo>
                    <a:pt x="183" y="167"/>
                  </a:lnTo>
                  <a:lnTo>
                    <a:pt x="168" y="182"/>
                  </a:lnTo>
                  <a:lnTo>
                    <a:pt x="148" y="194"/>
                  </a:lnTo>
                  <a:lnTo>
                    <a:pt x="126" y="202"/>
                  </a:lnTo>
                  <a:lnTo>
                    <a:pt x="102" y="205"/>
                  </a:lnTo>
                  <a:lnTo>
                    <a:pt x="79" y="202"/>
                  </a:lnTo>
                  <a:lnTo>
                    <a:pt x="58" y="194"/>
                  </a:lnTo>
                  <a:lnTo>
                    <a:pt x="39" y="182"/>
                  </a:lnTo>
                  <a:lnTo>
                    <a:pt x="23" y="167"/>
                  </a:lnTo>
                  <a:lnTo>
                    <a:pt x="11" y="148"/>
                  </a:lnTo>
                  <a:lnTo>
                    <a:pt x="3" y="127"/>
                  </a:lnTo>
                  <a:lnTo>
                    <a:pt x="0" y="103"/>
                  </a:lnTo>
                  <a:lnTo>
                    <a:pt x="3" y="79"/>
                  </a:lnTo>
                  <a:lnTo>
                    <a:pt x="11" y="58"/>
                  </a:lnTo>
                  <a:lnTo>
                    <a:pt x="23" y="39"/>
                  </a:lnTo>
                  <a:lnTo>
                    <a:pt x="39" y="23"/>
                  </a:lnTo>
                  <a:lnTo>
                    <a:pt x="58" y="11"/>
                  </a:lnTo>
                  <a:lnTo>
                    <a:pt x="79" y="4"/>
                  </a:lnTo>
                  <a:lnTo>
                    <a:pt x="102" y="0"/>
                  </a:lnTo>
                  <a:close/>
                </a:path>
              </a:pathLst>
            </a:custGeom>
            <a:grpFill/>
            <a:ln w="0">
              <a:noFill/>
              <a:prstDash val="solid"/>
              <a:round/>
            </a:ln>
            <a:extLst>
              <a:ext uri="{91240B29-F687-4F45-9708-019B960494DF}">
                <a14:hiddenLine xmlns:a14="http://schemas.microsoft.com/office/drawing/2010/main" w="0">
                  <a:solidFill>
                    <a:srgbClr val="444444"/>
                  </a:solidFill>
                  <a:prstDash val="solid"/>
                  <a:round/>
                </a14:hiddenLine>
              </a:ext>
            </a:extLst>
          </p:spPr>
          <p:txBody>
            <a:bodyPr vert="horz" wrap="square" lIns="91440" tIns="45720" rIns="91440" bIns="45720" numCol="1" anchor="t" anchorCtr="0" compatLnSpc="1"/>
            <a:lstStyle/>
            <a:p>
              <a:endParaRPr lang="en-US"/>
            </a:p>
          </p:txBody>
        </p:sp>
      </p:grpSp>
      <p:pic>
        <p:nvPicPr>
          <p:cNvPr id="57" name="图片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5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614406" name="think-cell Slide" r:id="rId2" imgW="12700" imgH="12700" progId="TCLayout.ActiveDocument.1">
                  <p:embed/>
                </p:oleObj>
              </mc:Choice>
              <mc:Fallback>
                <p:oleObj name="think-cell Slide" r:id="rId2" imgW="12700" imgH="12700" progId="TCLayout.ActiveDocument.1">
                  <p:embed/>
                  <p:pic>
                    <p:nvPicPr>
                      <p:cNvPr id="0" name="Object 19" hidden="1"/>
                      <p:cNvPicPr/>
                      <p:nvPr/>
                    </p:nvPicPr>
                    <p:blipFill>
                      <a:blip r:embed="rId3"/>
                      <a:stretch>
                        <a:fillRect/>
                      </a:stretch>
                    </p:blipFill>
                    <p:spPr>
                      <a:xfrm>
                        <a:off x="1525891" y="1621"/>
                        <a:ext cx="1619" cy="1619"/>
                      </a:xfrm>
                      <a:prstGeom prst="rect">
                        <a:avLst/>
                      </a:prstGeom>
                    </p:spPr>
                  </p:pic>
                </p:oleObj>
              </mc:Fallback>
            </mc:AlternateContent>
          </a:graphicData>
        </a:graphic>
      </p:graphicFrame>
      <p:grpSp>
        <p:nvGrpSpPr>
          <p:cNvPr id="3" name="组合 2"/>
          <p:cNvGrpSpPr/>
          <p:nvPr/>
        </p:nvGrpSpPr>
        <p:grpSpPr>
          <a:xfrm>
            <a:off x="636104" y="765313"/>
            <a:ext cx="10883348" cy="5568422"/>
            <a:chOff x="1767363" y="677430"/>
            <a:chExt cx="8677084" cy="5636427"/>
          </a:xfrm>
        </p:grpSpPr>
        <p:sp>
          <p:nvSpPr>
            <p:cNvPr id="11" name="Rectangle 5"/>
            <p:cNvSpPr>
              <a:spLocks noChangeArrowheads="1"/>
            </p:cNvSpPr>
            <p:nvPr/>
          </p:nvSpPr>
          <p:spPr bwMode="auto">
            <a:xfrm>
              <a:off x="3477582" y="677432"/>
              <a:ext cx="6947056" cy="1586466"/>
            </a:xfrm>
            <a:prstGeom prst="rect">
              <a:avLst/>
            </a:prstGeom>
            <a:solidFill>
              <a:schemeClr val="bg1"/>
            </a:solidFill>
            <a:ln w="19050">
              <a:solidFill>
                <a:srgbClr val="FE5817"/>
              </a:solidFill>
              <a:miter lim="800000"/>
            </a:ln>
            <a:effectLst/>
          </p:spPr>
          <p:txBody>
            <a:bodyPr wrap="none" anchor="ctr"/>
            <a:lstStyle/>
            <a:p>
              <a:endParaRPr lang="en-US" sz="1430" dirty="0"/>
            </a:p>
          </p:txBody>
        </p:sp>
        <p:sp>
          <p:nvSpPr>
            <p:cNvPr id="12" name="Rectangle 5"/>
            <p:cNvSpPr>
              <a:spLocks noChangeArrowheads="1"/>
            </p:cNvSpPr>
            <p:nvPr/>
          </p:nvSpPr>
          <p:spPr bwMode="auto">
            <a:xfrm>
              <a:off x="1767363" y="677432"/>
              <a:ext cx="1610256" cy="1586466"/>
            </a:xfrm>
            <a:prstGeom prst="rect">
              <a:avLst/>
            </a:prstGeom>
            <a:solidFill>
              <a:schemeClr val="bg1"/>
            </a:solidFill>
            <a:ln w="19050">
              <a:solidFill>
                <a:srgbClr val="FE5817"/>
              </a:solidFill>
              <a:miter lim="800000"/>
            </a:ln>
            <a:effectLst/>
          </p:spPr>
          <p:txBody>
            <a:bodyPr wrap="none" anchor="ctr"/>
            <a:lstStyle/>
            <a:p>
              <a:endParaRPr lang="en-US" sz="1430" dirty="0"/>
            </a:p>
          </p:txBody>
        </p:sp>
        <p:sp>
          <p:nvSpPr>
            <p:cNvPr id="13" name="Rectangle 6"/>
            <p:cNvSpPr>
              <a:spLocks noChangeArrowheads="1"/>
            </p:cNvSpPr>
            <p:nvPr/>
          </p:nvSpPr>
          <p:spPr bwMode="auto">
            <a:xfrm>
              <a:off x="3477582" y="677430"/>
              <a:ext cx="6947056" cy="330581"/>
            </a:xfrm>
            <a:prstGeom prst="rect">
              <a:avLst/>
            </a:prstGeom>
            <a:solidFill>
              <a:srgbClr val="FE5817"/>
            </a:solidFill>
            <a:ln w="9525">
              <a:noFill/>
              <a:miter lim="800000"/>
            </a:ln>
            <a:effectLst/>
          </p:spPr>
          <p:txBody>
            <a:bodyPr wrap="none" anchor="ctr"/>
            <a:lstStyle/>
            <a:p>
              <a:r>
                <a:rPr lang="zh-CN" altLang="en-US" sz="1430" b="1" dirty="0">
                  <a:solidFill>
                    <a:schemeClr val="bg1"/>
                  </a:solidFill>
                </a:rPr>
                <a:t>移动与缩放</a:t>
              </a:r>
              <a:endParaRPr lang="en-US" sz="1430" b="1" dirty="0">
                <a:solidFill>
                  <a:schemeClr val="bg1"/>
                </a:solidFill>
              </a:endParaRPr>
            </a:p>
          </p:txBody>
        </p:sp>
        <p:sp>
          <p:nvSpPr>
            <p:cNvPr id="14" name="Rectangle 6"/>
            <p:cNvSpPr>
              <a:spLocks noChangeArrowheads="1"/>
            </p:cNvSpPr>
            <p:nvPr/>
          </p:nvSpPr>
          <p:spPr bwMode="auto">
            <a:xfrm>
              <a:off x="1767363" y="677430"/>
              <a:ext cx="1610256" cy="330581"/>
            </a:xfrm>
            <a:prstGeom prst="rect">
              <a:avLst/>
            </a:prstGeom>
            <a:solidFill>
              <a:srgbClr val="FE5817"/>
            </a:solidFill>
            <a:ln w="9525">
              <a:noFill/>
              <a:miter lim="800000"/>
            </a:ln>
            <a:effectLst/>
          </p:spPr>
          <p:txBody>
            <a:bodyPr wrap="none" anchor="ctr"/>
            <a:lstStyle/>
            <a:p>
              <a:r>
                <a:rPr lang="zh-CN" altLang="en-US" sz="1430" b="1" dirty="0">
                  <a:solidFill>
                    <a:schemeClr val="bg1"/>
                  </a:solidFill>
                </a:rPr>
                <a:t>最基础的快捷键</a:t>
              </a:r>
              <a:endParaRPr lang="en-US" sz="1430" b="1" dirty="0">
                <a:solidFill>
                  <a:schemeClr val="bg1"/>
                </a:solidFill>
              </a:endParaRPr>
            </a:p>
          </p:txBody>
        </p:sp>
        <p:sp>
          <p:nvSpPr>
            <p:cNvPr id="6" name="Rectangle 6"/>
            <p:cNvSpPr txBox="1"/>
            <p:nvPr/>
          </p:nvSpPr>
          <p:spPr>
            <a:xfrm>
              <a:off x="1938587" y="1140617"/>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C</a:t>
              </a:r>
              <a:endParaRPr lang="en-US" altLang="zh-CN" sz="1430" b="1" dirty="0"/>
            </a:p>
          </p:txBody>
        </p:sp>
        <p:sp>
          <p:nvSpPr>
            <p:cNvPr id="21" name="Rectangle 6"/>
            <p:cNvSpPr txBox="1"/>
            <p:nvPr/>
          </p:nvSpPr>
          <p:spPr>
            <a:xfrm>
              <a:off x="1938587" y="1415853"/>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V</a:t>
              </a:r>
              <a:endParaRPr lang="en-US" altLang="zh-CN" sz="1430" b="1" dirty="0"/>
            </a:p>
          </p:txBody>
        </p:sp>
        <p:sp>
          <p:nvSpPr>
            <p:cNvPr id="22" name="Rectangle 6"/>
            <p:cNvSpPr txBox="1"/>
            <p:nvPr/>
          </p:nvSpPr>
          <p:spPr>
            <a:xfrm>
              <a:off x="1938587" y="1691089"/>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X</a:t>
              </a:r>
              <a:endParaRPr lang="en-US" altLang="zh-CN" sz="1430" b="1" dirty="0"/>
            </a:p>
          </p:txBody>
        </p:sp>
        <p:sp>
          <p:nvSpPr>
            <p:cNvPr id="23" name="Rectangle 6"/>
            <p:cNvSpPr txBox="1"/>
            <p:nvPr/>
          </p:nvSpPr>
          <p:spPr>
            <a:xfrm>
              <a:off x="1938587" y="1966327"/>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A</a:t>
              </a:r>
              <a:endParaRPr lang="en-US" altLang="zh-CN" sz="1430" b="1" dirty="0"/>
            </a:p>
          </p:txBody>
        </p:sp>
        <p:sp>
          <p:nvSpPr>
            <p:cNvPr id="25" name="Rectangle 6"/>
            <p:cNvSpPr txBox="1"/>
            <p:nvPr/>
          </p:nvSpPr>
          <p:spPr>
            <a:xfrm>
              <a:off x="2827131" y="1140617"/>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复制</a:t>
              </a:r>
              <a:endParaRPr lang="en-US" altLang="zh-CN" sz="1430" dirty="0"/>
            </a:p>
          </p:txBody>
        </p:sp>
        <p:sp>
          <p:nvSpPr>
            <p:cNvPr id="26" name="Rectangle 6"/>
            <p:cNvSpPr txBox="1"/>
            <p:nvPr/>
          </p:nvSpPr>
          <p:spPr>
            <a:xfrm>
              <a:off x="2827131" y="1415853"/>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粘贴</a:t>
              </a:r>
              <a:endParaRPr lang="en-US" altLang="zh-CN" sz="1430" dirty="0"/>
            </a:p>
          </p:txBody>
        </p:sp>
        <p:sp>
          <p:nvSpPr>
            <p:cNvPr id="27" name="Rectangle 6"/>
            <p:cNvSpPr txBox="1"/>
            <p:nvPr/>
          </p:nvSpPr>
          <p:spPr>
            <a:xfrm>
              <a:off x="2827131" y="1691089"/>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剪切</a:t>
              </a:r>
              <a:endParaRPr lang="en-US" altLang="zh-CN" sz="1430" dirty="0"/>
            </a:p>
          </p:txBody>
        </p:sp>
        <p:sp>
          <p:nvSpPr>
            <p:cNvPr id="28" name="Rectangle 6"/>
            <p:cNvSpPr txBox="1"/>
            <p:nvPr/>
          </p:nvSpPr>
          <p:spPr>
            <a:xfrm>
              <a:off x="2827131" y="1966327"/>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全选</a:t>
              </a:r>
              <a:endParaRPr lang="en-US" altLang="zh-CN" sz="1430" dirty="0"/>
            </a:p>
          </p:txBody>
        </p:sp>
        <p:sp>
          <p:nvSpPr>
            <p:cNvPr id="29" name="Rectangle 6"/>
            <p:cNvSpPr txBox="1"/>
            <p:nvPr/>
          </p:nvSpPr>
          <p:spPr>
            <a:xfrm>
              <a:off x="3560168" y="1096189"/>
              <a:ext cx="1394606" cy="22420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r>
                <a:rPr lang="zh-CN" altLang="en-US" sz="1430" b="1" dirty="0"/>
                <a:t>移动（拖曳内部）</a:t>
              </a:r>
              <a:endParaRPr lang="zh-CN" altLang="en-US" sz="1430" b="1" dirty="0"/>
            </a:p>
          </p:txBody>
        </p:sp>
        <p:sp>
          <p:nvSpPr>
            <p:cNvPr id="30" name="Rectangle 6"/>
            <p:cNvSpPr txBox="1"/>
            <p:nvPr/>
          </p:nvSpPr>
          <p:spPr>
            <a:xfrm>
              <a:off x="3560168" y="1415853"/>
              <a:ext cx="1294644"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a:t>CTRL+</a:t>
              </a:r>
              <a:r>
                <a:rPr lang="zh-CN" altLang="en-US" sz="1430" b="1" dirty="0"/>
                <a:t>拖曳</a:t>
              </a:r>
              <a:endParaRPr lang="en-US" altLang="zh-CN" sz="1430" b="1" dirty="0"/>
            </a:p>
          </p:txBody>
        </p:sp>
        <p:sp>
          <p:nvSpPr>
            <p:cNvPr id="31" name="Rectangle 6"/>
            <p:cNvSpPr txBox="1"/>
            <p:nvPr/>
          </p:nvSpPr>
          <p:spPr>
            <a:xfrm>
              <a:off x="3560168" y="1691089"/>
              <a:ext cx="1072507"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a:t>SHIFT+</a:t>
              </a:r>
              <a:r>
                <a:rPr lang="zh-CN" altLang="en-US" sz="1430" b="1" dirty="0"/>
                <a:t>拖曳</a:t>
              </a:r>
              <a:endParaRPr lang="en-US" altLang="zh-CN" sz="1430" b="1" dirty="0"/>
            </a:p>
          </p:txBody>
        </p:sp>
        <p:sp>
          <p:nvSpPr>
            <p:cNvPr id="34" name="Rectangle 6"/>
            <p:cNvSpPr txBox="1"/>
            <p:nvPr/>
          </p:nvSpPr>
          <p:spPr>
            <a:xfrm>
              <a:off x="5237317" y="1415853"/>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复制</a:t>
              </a:r>
              <a:endParaRPr lang="en-US" altLang="zh-CN" sz="1430" dirty="0"/>
            </a:p>
          </p:txBody>
        </p:sp>
        <p:sp>
          <p:nvSpPr>
            <p:cNvPr id="35" name="Rectangle 6"/>
            <p:cNvSpPr txBox="1"/>
            <p:nvPr/>
          </p:nvSpPr>
          <p:spPr>
            <a:xfrm>
              <a:off x="5237317" y="1691089"/>
              <a:ext cx="117106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水平</a:t>
              </a:r>
              <a:r>
                <a:rPr lang="en-US" altLang="zh-CN" sz="1430" dirty="0"/>
                <a:t>/</a:t>
              </a:r>
              <a:r>
                <a:rPr lang="zh-CN" altLang="en-US" sz="1430" dirty="0"/>
                <a:t>垂直移动</a:t>
              </a:r>
              <a:endParaRPr lang="en-US" altLang="zh-CN" sz="1430" dirty="0"/>
            </a:p>
          </p:txBody>
        </p:sp>
        <p:sp>
          <p:nvSpPr>
            <p:cNvPr id="32" name="Rectangle 6"/>
            <p:cNvSpPr txBox="1"/>
            <p:nvPr/>
          </p:nvSpPr>
          <p:spPr>
            <a:xfrm>
              <a:off x="3560167" y="1966327"/>
              <a:ext cx="1683384"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SHIFT</a:t>
              </a:r>
              <a:r>
                <a:rPr lang="en-US" altLang="zh-CN" sz="1430" b="1" dirty="0"/>
                <a:t>+</a:t>
              </a:r>
              <a:r>
                <a:rPr lang="zh-CN" altLang="en-US" sz="1430" b="1" dirty="0"/>
                <a:t>拖曳</a:t>
              </a:r>
              <a:endParaRPr lang="en-US" altLang="zh-CN" sz="1430" b="1" dirty="0"/>
            </a:p>
          </p:txBody>
        </p:sp>
        <p:sp>
          <p:nvSpPr>
            <p:cNvPr id="36" name="Rectangle 6"/>
            <p:cNvSpPr txBox="1"/>
            <p:nvPr/>
          </p:nvSpPr>
          <p:spPr>
            <a:xfrm>
              <a:off x="5237317" y="1966327"/>
              <a:ext cx="117106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水平</a:t>
              </a:r>
              <a:r>
                <a:rPr lang="en-US" altLang="zh-CN" sz="1430" dirty="0"/>
                <a:t>/</a:t>
              </a:r>
              <a:r>
                <a:rPr lang="zh-CN" altLang="en-US" sz="1430" dirty="0"/>
                <a:t>垂直复制</a:t>
              </a:r>
              <a:endParaRPr lang="en-US" altLang="zh-CN" sz="1430" dirty="0"/>
            </a:p>
          </p:txBody>
        </p:sp>
        <p:sp>
          <p:nvSpPr>
            <p:cNvPr id="39" name="Rectangle 6"/>
            <p:cNvSpPr txBox="1"/>
            <p:nvPr/>
          </p:nvSpPr>
          <p:spPr>
            <a:xfrm>
              <a:off x="6529848" y="1096189"/>
              <a:ext cx="1394606" cy="22420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r>
                <a:rPr lang="zh-CN" altLang="en-US" sz="1430" b="1" dirty="0"/>
                <a:t>缩放（拖曳边框）</a:t>
              </a:r>
              <a:endParaRPr lang="zh-CN" altLang="en-US" sz="1430" b="1" dirty="0"/>
            </a:p>
          </p:txBody>
        </p:sp>
        <p:sp>
          <p:nvSpPr>
            <p:cNvPr id="48" name="Rectangle 6"/>
            <p:cNvSpPr txBox="1"/>
            <p:nvPr/>
          </p:nvSpPr>
          <p:spPr>
            <a:xfrm>
              <a:off x="6529848" y="1415853"/>
              <a:ext cx="1294644"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a:t>CTRL+</a:t>
              </a:r>
              <a:r>
                <a:rPr lang="zh-CN" altLang="en-US" sz="1430" b="1" dirty="0"/>
                <a:t>拖曳</a:t>
              </a:r>
              <a:endParaRPr lang="en-US" altLang="zh-CN" sz="1430" b="1" dirty="0"/>
            </a:p>
          </p:txBody>
        </p:sp>
        <p:sp>
          <p:nvSpPr>
            <p:cNvPr id="49" name="Rectangle 6"/>
            <p:cNvSpPr txBox="1"/>
            <p:nvPr/>
          </p:nvSpPr>
          <p:spPr>
            <a:xfrm>
              <a:off x="6529849" y="1691089"/>
              <a:ext cx="1072507"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a:t>SHIFT+</a:t>
              </a:r>
              <a:r>
                <a:rPr lang="zh-CN" altLang="en-US" sz="1430" b="1" dirty="0"/>
                <a:t>拖曳</a:t>
              </a:r>
              <a:endParaRPr lang="en-US" altLang="zh-CN" sz="1430" b="1" dirty="0"/>
            </a:p>
          </p:txBody>
        </p:sp>
        <p:sp>
          <p:nvSpPr>
            <p:cNvPr id="51" name="Rectangle 6"/>
            <p:cNvSpPr txBox="1"/>
            <p:nvPr/>
          </p:nvSpPr>
          <p:spPr>
            <a:xfrm>
              <a:off x="8206998" y="1415853"/>
              <a:ext cx="1491634"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latin typeface="+mn-ea"/>
                </a:rPr>
                <a:t>以图形为中心缩放</a:t>
              </a:r>
              <a:endParaRPr lang="en-US" altLang="zh-CN" sz="1430" dirty="0">
                <a:latin typeface="+mn-ea"/>
              </a:endParaRPr>
            </a:p>
          </p:txBody>
        </p:sp>
        <p:sp>
          <p:nvSpPr>
            <p:cNvPr id="52" name="Rectangle 6"/>
            <p:cNvSpPr txBox="1"/>
            <p:nvPr/>
          </p:nvSpPr>
          <p:spPr>
            <a:xfrm>
              <a:off x="8206997" y="1691089"/>
              <a:ext cx="1118725"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latin typeface="+mn-ea"/>
                </a:rPr>
                <a:t>保持比例缩放</a:t>
              </a:r>
              <a:endParaRPr lang="en-US" altLang="zh-CN" sz="1430" dirty="0">
                <a:latin typeface="+mn-ea"/>
              </a:endParaRPr>
            </a:p>
          </p:txBody>
        </p:sp>
        <p:sp>
          <p:nvSpPr>
            <p:cNvPr id="50" name="Rectangle 6"/>
            <p:cNvSpPr txBox="1"/>
            <p:nvPr/>
          </p:nvSpPr>
          <p:spPr>
            <a:xfrm>
              <a:off x="6529848" y="1966327"/>
              <a:ext cx="1683384"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SHIFT</a:t>
              </a:r>
              <a:r>
                <a:rPr lang="en-US" altLang="zh-CN" sz="1430" b="1" dirty="0"/>
                <a:t>+</a:t>
              </a:r>
              <a:r>
                <a:rPr lang="zh-CN" altLang="en-US" sz="1430" b="1" dirty="0"/>
                <a:t>拖曳</a:t>
              </a:r>
              <a:endParaRPr lang="en-US" altLang="zh-CN" sz="1430" b="1" dirty="0"/>
            </a:p>
          </p:txBody>
        </p:sp>
        <p:sp>
          <p:nvSpPr>
            <p:cNvPr id="53" name="Rectangle 6"/>
            <p:cNvSpPr txBox="1"/>
            <p:nvPr/>
          </p:nvSpPr>
          <p:spPr>
            <a:xfrm>
              <a:off x="8206997" y="1966327"/>
              <a:ext cx="2237450"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latin typeface="+mn-ea"/>
                </a:rPr>
                <a:t>以图形为中心保持比例缩放</a:t>
              </a:r>
              <a:endParaRPr lang="en-US" altLang="zh-CN" sz="1430" dirty="0">
                <a:latin typeface="+mn-ea"/>
              </a:endParaRPr>
            </a:p>
          </p:txBody>
        </p:sp>
        <p:cxnSp>
          <p:nvCxnSpPr>
            <p:cNvPr id="55" name="Straight Connector 54"/>
            <p:cNvCxnSpPr/>
            <p:nvPr/>
          </p:nvCxnSpPr>
          <p:spPr>
            <a:xfrm>
              <a:off x="3560167" y="1338455"/>
              <a:ext cx="2796717"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529848" y="1338455"/>
              <a:ext cx="3822988"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8" name="Rectangle 5"/>
            <p:cNvSpPr>
              <a:spLocks noChangeArrowheads="1"/>
            </p:cNvSpPr>
            <p:nvPr/>
          </p:nvSpPr>
          <p:spPr bwMode="auto">
            <a:xfrm>
              <a:off x="8931400" y="4278294"/>
              <a:ext cx="1493237" cy="2035563"/>
            </a:xfrm>
            <a:prstGeom prst="rect">
              <a:avLst/>
            </a:prstGeom>
            <a:solidFill>
              <a:schemeClr val="bg1"/>
            </a:solidFill>
            <a:ln w="19050">
              <a:solidFill>
                <a:srgbClr val="FE5817"/>
              </a:solidFill>
              <a:miter lim="800000"/>
            </a:ln>
            <a:effectLst/>
          </p:spPr>
          <p:txBody>
            <a:bodyPr wrap="none" anchor="ctr"/>
            <a:lstStyle/>
            <a:p>
              <a:endParaRPr lang="en-US" sz="1430" dirty="0"/>
            </a:p>
          </p:txBody>
        </p:sp>
        <p:sp>
          <p:nvSpPr>
            <p:cNvPr id="9" name="Rectangle 6"/>
            <p:cNvSpPr>
              <a:spLocks noChangeArrowheads="1"/>
            </p:cNvSpPr>
            <p:nvPr/>
          </p:nvSpPr>
          <p:spPr bwMode="auto">
            <a:xfrm>
              <a:off x="8931400" y="4278294"/>
              <a:ext cx="1493237" cy="330581"/>
            </a:xfrm>
            <a:prstGeom prst="rect">
              <a:avLst/>
            </a:prstGeom>
            <a:solidFill>
              <a:srgbClr val="FE5817"/>
            </a:solidFill>
            <a:ln w="9525">
              <a:noFill/>
              <a:miter lim="800000"/>
            </a:ln>
            <a:effectLst/>
          </p:spPr>
          <p:txBody>
            <a:bodyPr wrap="none" anchor="ctr"/>
            <a:lstStyle/>
            <a:p>
              <a:r>
                <a:rPr lang="zh-CN" altLang="en-US" sz="1430" b="1" dirty="0">
                  <a:solidFill>
                    <a:schemeClr val="bg1"/>
                  </a:solidFill>
                </a:rPr>
                <a:t>快速访问工具栏</a:t>
              </a:r>
              <a:endParaRPr lang="zh-CN" altLang="en-US" sz="1430" b="1" dirty="0">
                <a:solidFill>
                  <a:schemeClr val="bg1"/>
                </a:solidFill>
              </a:endParaRPr>
            </a:p>
          </p:txBody>
        </p:sp>
        <p:sp>
          <p:nvSpPr>
            <p:cNvPr id="10" name="Rectangle 5"/>
            <p:cNvSpPr>
              <a:spLocks noChangeArrowheads="1"/>
            </p:cNvSpPr>
            <p:nvPr/>
          </p:nvSpPr>
          <p:spPr bwMode="auto">
            <a:xfrm>
              <a:off x="1767363" y="4278294"/>
              <a:ext cx="4109292" cy="2035563"/>
            </a:xfrm>
            <a:prstGeom prst="rect">
              <a:avLst/>
            </a:prstGeom>
            <a:solidFill>
              <a:schemeClr val="bg1"/>
            </a:solidFill>
            <a:ln w="19050">
              <a:solidFill>
                <a:srgbClr val="FE5817"/>
              </a:solidFill>
              <a:miter lim="800000"/>
            </a:ln>
            <a:effectLst/>
          </p:spPr>
          <p:txBody>
            <a:bodyPr wrap="none" anchor="ctr"/>
            <a:lstStyle/>
            <a:p>
              <a:endParaRPr lang="en-US" sz="1430" dirty="0"/>
            </a:p>
          </p:txBody>
        </p:sp>
        <p:sp>
          <p:nvSpPr>
            <p:cNvPr id="17" name="Rectangle 6"/>
            <p:cNvSpPr>
              <a:spLocks noChangeArrowheads="1"/>
            </p:cNvSpPr>
            <p:nvPr/>
          </p:nvSpPr>
          <p:spPr bwMode="auto">
            <a:xfrm>
              <a:off x="1767363" y="4278294"/>
              <a:ext cx="4109292" cy="330581"/>
            </a:xfrm>
            <a:prstGeom prst="rect">
              <a:avLst/>
            </a:prstGeom>
            <a:solidFill>
              <a:srgbClr val="FE5817"/>
            </a:solidFill>
            <a:ln w="9525">
              <a:noFill/>
              <a:miter lim="800000"/>
            </a:ln>
            <a:effectLst/>
          </p:spPr>
          <p:txBody>
            <a:bodyPr wrap="none" anchor="ctr"/>
            <a:lstStyle/>
            <a:p>
              <a:r>
                <a:rPr lang="zh-CN" altLang="en-US" sz="1430" b="1" dirty="0">
                  <a:solidFill>
                    <a:schemeClr val="bg1"/>
                  </a:solidFill>
                </a:rPr>
                <a:t>右键组合键</a:t>
              </a:r>
              <a:endParaRPr lang="en-US" sz="1430" b="1" dirty="0">
                <a:solidFill>
                  <a:schemeClr val="bg1"/>
                </a:solidFill>
              </a:endParaRPr>
            </a:p>
          </p:txBody>
        </p:sp>
        <p:sp>
          <p:nvSpPr>
            <p:cNvPr id="18" name="Rectangle 5"/>
            <p:cNvSpPr>
              <a:spLocks noChangeArrowheads="1"/>
            </p:cNvSpPr>
            <p:nvPr/>
          </p:nvSpPr>
          <p:spPr bwMode="auto">
            <a:xfrm>
              <a:off x="5932188" y="4278294"/>
              <a:ext cx="2938865" cy="2035563"/>
            </a:xfrm>
            <a:prstGeom prst="rect">
              <a:avLst/>
            </a:prstGeom>
            <a:solidFill>
              <a:schemeClr val="bg1"/>
            </a:solidFill>
            <a:ln w="19050">
              <a:solidFill>
                <a:srgbClr val="FE5817"/>
              </a:solidFill>
              <a:miter lim="800000"/>
            </a:ln>
            <a:effectLst/>
          </p:spPr>
          <p:txBody>
            <a:bodyPr wrap="none" anchor="ctr"/>
            <a:lstStyle/>
            <a:p>
              <a:endParaRPr lang="en-US" sz="1430" dirty="0"/>
            </a:p>
          </p:txBody>
        </p:sp>
        <p:sp>
          <p:nvSpPr>
            <p:cNvPr id="19" name="Rectangle 6"/>
            <p:cNvSpPr>
              <a:spLocks noChangeArrowheads="1"/>
            </p:cNvSpPr>
            <p:nvPr/>
          </p:nvSpPr>
          <p:spPr bwMode="auto">
            <a:xfrm>
              <a:off x="5932188" y="4278294"/>
              <a:ext cx="2938865" cy="330581"/>
            </a:xfrm>
            <a:prstGeom prst="rect">
              <a:avLst/>
            </a:prstGeom>
            <a:solidFill>
              <a:srgbClr val="FE5817"/>
            </a:solidFill>
            <a:ln w="9525">
              <a:noFill/>
              <a:miter lim="800000"/>
            </a:ln>
            <a:effectLst/>
          </p:spPr>
          <p:txBody>
            <a:bodyPr wrap="none" anchor="ctr"/>
            <a:lstStyle/>
            <a:p>
              <a:r>
                <a:rPr lang="zh-CN" altLang="en-US" sz="1430" b="1" dirty="0">
                  <a:solidFill>
                    <a:schemeClr val="bg1"/>
                  </a:solidFill>
                </a:rPr>
                <a:t>其它常用快捷键</a:t>
              </a:r>
              <a:endParaRPr lang="zh-CN" altLang="en-US" sz="1430" b="1" dirty="0">
                <a:solidFill>
                  <a:schemeClr val="bg1"/>
                </a:solidFill>
              </a:endParaRPr>
            </a:p>
          </p:txBody>
        </p:sp>
        <p:sp>
          <p:nvSpPr>
            <p:cNvPr id="61" name="Rectangle 6"/>
            <p:cNvSpPr txBox="1"/>
            <p:nvPr/>
          </p:nvSpPr>
          <p:spPr>
            <a:xfrm>
              <a:off x="1849730" y="4728125"/>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图形</a:t>
              </a:r>
              <a:endParaRPr lang="en-US" altLang="zh-CN" sz="1430" b="1" dirty="0"/>
            </a:p>
          </p:txBody>
        </p:sp>
        <p:sp>
          <p:nvSpPr>
            <p:cNvPr id="62" name="Rectangle 6"/>
            <p:cNvSpPr txBox="1"/>
            <p:nvPr/>
          </p:nvSpPr>
          <p:spPr>
            <a:xfrm>
              <a:off x="3941832" y="4728125"/>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表格</a:t>
              </a:r>
              <a:endParaRPr lang="en-US" altLang="zh-CN" sz="1430" b="1" dirty="0"/>
            </a:p>
          </p:txBody>
        </p:sp>
        <p:sp>
          <p:nvSpPr>
            <p:cNvPr id="63" name="Rectangle 6"/>
            <p:cNvSpPr txBox="1"/>
            <p:nvPr/>
          </p:nvSpPr>
          <p:spPr>
            <a:xfrm>
              <a:off x="1849730" y="4972475"/>
              <a:ext cx="93297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右键</a:t>
              </a:r>
              <a:r>
                <a:rPr lang="en-US" altLang="zh-CN" sz="1430" b="1" dirty="0"/>
                <a:t>+</a:t>
              </a:r>
              <a:r>
                <a:rPr lang="en-US" altLang="zh-CN" sz="1430" b="1" dirty="0" err="1"/>
                <a:t>G+G</a:t>
              </a:r>
              <a:endParaRPr lang="en-US" altLang="zh-CN" sz="1430" b="1" dirty="0"/>
            </a:p>
          </p:txBody>
        </p:sp>
        <p:sp>
          <p:nvSpPr>
            <p:cNvPr id="65" name="Rectangle 6"/>
            <p:cNvSpPr txBox="1"/>
            <p:nvPr/>
          </p:nvSpPr>
          <p:spPr>
            <a:xfrm>
              <a:off x="1849730" y="5509388"/>
              <a:ext cx="93297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右键</a:t>
              </a:r>
              <a:r>
                <a:rPr lang="en-US" altLang="zh-CN" sz="1430" b="1" dirty="0"/>
                <a:t>+</a:t>
              </a:r>
              <a:r>
                <a:rPr lang="en-US" altLang="zh-CN" sz="1430" b="1" dirty="0" err="1"/>
                <a:t>R+R</a:t>
              </a:r>
              <a:endParaRPr lang="en-US" altLang="zh-CN" sz="1430" b="1" dirty="0"/>
            </a:p>
          </p:txBody>
        </p:sp>
        <p:sp>
          <p:nvSpPr>
            <p:cNvPr id="66" name="Rectangle 6"/>
            <p:cNvSpPr txBox="1"/>
            <p:nvPr/>
          </p:nvSpPr>
          <p:spPr>
            <a:xfrm>
              <a:off x="1849730" y="5777844"/>
              <a:ext cx="93297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右键</a:t>
              </a:r>
              <a:r>
                <a:rPr lang="en-US" altLang="zh-CN" sz="1430" b="1" dirty="0"/>
                <a:t>+</a:t>
              </a:r>
              <a:r>
                <a:rPr lang="en-US" altLang="zh-CN" sz="1430" b="1" dirty="0" err="1"/>
                <a:t>K+K</a:t>
              </a:r>
              <a:endParaRPr lang="en-US" altLang="zh-CN" sz="1430" b="1" dirty="0"/>
            </a:p>
          </p:txBody>
        </p:sp>
        <p:sp>
          <p:nvSpPr>
            <p:cNvPr id="67" name="Rectangle 6"/>
            <p:cNvSpPr txBox="1"/>
            <p:nvPr/>
          </p:nvSpPr>
          <p:spPr>
            <a:xfrm>
              <a:off x="3004844" y="4972475"/>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组合</a:t>
              </a:r>
              <a:endParaRPr lang="en-US" altLang="zh-CN" sz="1430" dirty="0"/>
            </a:p>
          </p:txBody>
        </p:sp>
        <p:sp>
          <p:nvSpPr>
            <p:cNvPr id="64" name="Rectangle 6"/>
            <p:cNvSpPr txBox="1"/>
            <p:nvPr/>
          </p:nvSpPr>
          <p:spPr>
            <a:xfrm>
              <a:off x="1849730" y="5240932"/>
              <a:ext cx="93297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右键</a:t>
              </a:r>
              <a:r>
                <a:rPr lang="en-US" altLang="zh-CN" sz="1430" b="1" dirty="0"/>
                <a:t>+</a:t>
              </a:r>
              <a:r>
                <a:rPr lang="en-US" altLang="zh-CN" sz="1430" b="1" dirty="0" err="1"/>
                <a:t>G+U</a:t>
              </a:r>
              <a:endParaRPr lang="en-US" altLang="zh-CN" sz="1430" b="1" dirty="0"/>
            </a:p>
          </p:txBody>
        </p:sp>
        <p:sp>
          <p:nvSpPr>
            <p:cNvPr id="68" name="Rectangle 6"/>
            <p:cNvSpPr txBox="1"/>
            <p:nvPr/>
          </p:nvSpPr>
          <p:spPr>
            <a:xfrm>
              <a:off x="3004845" y="5240932"/>
              <a:ext cx="745816"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取消组合</a:t>
              </a:r>
              <a:endParaRPr lang="en-US" altLang="zh-CN" sz="1430" dirty="0"/>
            </a:p>
          </p:txBody>
        </p:sp>
        <p:sp>
          <p:nvSpPr>
            <p:cNvPr id="69" name="Rectangle 6"/>
            <p:cNvSpPr txBox="1"/>
            <p:nvPr/>
          </p:nvSpPr>
          <p:spPr>
            <a:xfrm>
              <a:off x="3004845" y="5509388"/>
              <a:ext cx="745816"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置于顶层</a:t>
              </a:r>
              <a:endParaRPr lang="en-US" altLang="zh-CN" sz="1430" dirty="0"/>
            </a:p>
          </p:txBody>
        </p:sp>
        <p:sp>
          <p:nvSpPr>
            <p:cNvPr id="70" name="Rectangle 6"/>
            <p:cNvSpPr txBox="1"/>
            <p:nvPr/>
          </p:nvSpPr>
          <p:spPr>
            <a:xfrm>
              <a:off x="3004845" y="5777844"/>
              <a:ext cx="745816"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置于底层</a:t>
              </a:r>
              <a:endParaRPr lang="en-US" altLang="zh-CN" sz="1430" dirty="0"/>
            </a:p>
          </p:txBody>
        </p:sp>
        <p:sp>
          <p:nvSpPr>
            <p:cNvPr id="71" name="Rectangle 6"/>
            <p:cNvSpPr txBox="1"/>
            <p:nvPr/>
          </p:nvSpPr>
          <p:spPr>
            <a:xfrm>
              <a:off x="1849730" y="6046301"/>
              <a:ext cx="93297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右键</a:t>
              </a:r>
              <a:r>
                <a:rPr lang="en-US" altLang="zh-CN" sz="1430" b="1" dirty="0"/>
                <a:t>+O</a:t>
              </a:r>
              <a:endParaRPr lang="en-US" altLang="zh-CN" sz="1430" b="1" dirty="0"/>
            </a:p>
          </p:txBody>
        </p:sp>
        <p:sp>
          <p:nvSpPr>
            <p:cNvPr id="72" name="Rectangle 6"/>
            <p:cNvSpPr txBox="1"/>
            <p:nvPr/>
          </p:nvSpPr>
          <p:spPr>
            <a:xfrm>
              <a:off x="3004845" y="6046301"/>
              <a:ext cx="745816"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形状格式</a:t>
              </a:r>
              <a:endParaRPr lang="en-US" altLang="zh-CN" sz="1430" dirty="0"/>
            </a:p>
          </p:txBody>
        </p:sp>
        <p:cxnSp>
          <p:nvCxnSpPr>
            <p:cNvPr id="73" name="Straight Connector 72"/>
            <p:cNvCxnSpPr/>
            <p:nvPr/>
          </p:nvCxnSpPr>
          <p:spPr>
            <a:xfrm>
              <a:off x="1849730" y="4926421"/>
              <a:ext cx="1887846"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74" name="Rectangle 6"/>
            <p:cNvSpPr txBox="1"/>
            <p:nvPr/>
          </p:nvSpPr>
          <p:spPr>
            <a:xfrm>
              <a:off x="3932944" y="4972475"/>
              <a:ext cx="93297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右键</a:t>
              </a:r>
              <a:r>
                <a:rPr lang="en-US" altLang="zh-CN" sz="1430" b="1" dirty="0"/>
                <a:t>+I</a:t>
              </a:r>
              <a:endParaRPr lang="en-US" altLang="zh-CN" sz="1430" b="1" dirty="0"/>
            </a:p>
          </p:txBody>
        </p:sp>
        <p:sp>
          <p:nvSpPr>
            <p:cNvPr id="75" name="Rectangle 6"/>
            <p:cNvSpPr txBox="1"/>
            <p:nvPr/>
          </p:nvSpPr>
          <p:spPr>
            <a:xfrm>
              <a:off x="3932944" y="5240932"/>
              <a:ext cx="93297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右键</a:t>
              </a:r>
              <a:r>
                <a:rPr lang="en-US" altLang="zh-CN" sz="1430" b="1" dirty="0"/>
                <a:t>+R</a:t>
              </a:r>
              <a:endParaRPr lang="en-US" altLang="zh-CN" sz="1430" b="1" dirty="0"/>
            </a:p>
          </p:txBody>
        </p:sp>
        <p:sp>
          <p:nvSpPr>
            <p:cNvPr id="76" name="Rectangle 6"/>
            <p:cNvSpPr txBox="1"/>
            <p:nvPr/>
          </p:nvSpPr>
          <p:spPr>
            <a:xfrm>
              <a:off x="3932944" y="5509388"/>
              <a:ext cx="93297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右键</a:t>
              </a:r>
              <a:r>
                <a:rPr lang="en-US" altLang="zh-CN" sz="1430" b="1" dirty="0"/>
                <a:t>+C</a:t>
              </a:r>
              <a:endParaRPr lang="en-US" altLang="zh-CN" sz="1430" b="1" dirty="0"/>
            </a:p>
          </p:txBody>
        </p:sp>
        <p:sp>
          <p:nvSpPr>
            <p:cNvPr id="77" name="Rectangle 6"/>
            <p:cNvSpPr txBox="1"/>
            <p:nvPr/>
          </p:nvSpPr>
          <p:spPr>
            <a:xfrm>
              <a:off x="3932944" y="5777844"/>
              <a:ext cx="93297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右键</a:t>
              </a:r>
              <a:r>
                <a:rPr lang="en-US" altLang="zh-CN" sz="1430" b="1" dirty="0"/>
                <a:t>+M</a:t>
              </a:r>
              <a:endParaRPr lang="en-US" altLang="zh-CN" sz="1430" b="1" dirty="0"/>
            </a:p>
          </p:txBody>
        </p:sp>
        <p:sp>
          <p:nvSpPr>
            <p:cNvPr id="78" name="Rectangle 6"/>
            <p:cNvSpPr txBox="1"/>
            <p:nvPr/>
          </p:nvSpPr>
          <p:spPr>
            <a:xfrm>
              <a:off x="4832595" y="4972475"/>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插入</a:t>
              </a:r>
              <a:endParaRPr lang="en-US" altLang="zh-CN" sz="1430" dirty="0"/>
            </a:p>
          </p:txBody>
        </p:sp>
        <p:sp>
          <p:nvSpPr>
            <p:cNvPr id="79" name="Rectangle 6"/>
            <p:cNvSpPr txBox="1"/>
            <p:nvPr/>
          </p:nvSpPr>
          <p:spPr>
            <a:xfrm>
              <a:off x="4832596" y="5240932"/>
              <a:ext cx="559362"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删除行</a:t>
              </a:r>
              <a:endParaRPr lang="en-US" altLang="zh-CN" sz="1430" dirty="0"/>
            </a:p>
          </p:txBody>
        </p:sp>
        <p:sp>
          <p:nvSpPr>
            <p:cNvPr id="80" name="Rectangle 6"/>
            <p:cNvSpPr txBox="1"/>
            <p:nvPr/>
          </p:nvSpPr>
          <p:spPr>
            <a:xfrm>
              <a:off x="4832596" y="5509388"/>
              <a:ext cx="559362"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删除列</a:t>
              </a:r>
              <a:endParaRPr lang="en-US" altLang="zh-CN" sz="1430" dirty="0"/>
            </a:p>
          </p:txBody>
        </p:sp>
        <p:sp>
          <p:nvSpPr>
            <p:cNvPr id="81" name="Rectangle 6"/>
            <p:cNvSpPr txBox="1"/>
            <p:nvPr/>
          </p:nvSpPr>
          <p:spPr>
            <a:xfrm>
              <a:off x="4832595" y="5777844"/>
              <a:ext cx="932271"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合并单元格</a:t>
              </a:r>
              <a:endParaRPr lang="en-US" altLang="zh-CN" sz="1430" dirty="0"/>
            </a:p>
          </p:txBody>
        </p:sp>
        <p:sp>
          <p:nvSpPr>
            <p:cNvPr id="82" name="Rectangle 6"/>
            <p:cNvSpPr txBox="1"/>
            <p:nvPr/>
          </p:nvSpPr>
          <p:spPr>
            <a:xfrm>
              <a:off x="3932944" y="6046301"/>
              <a:ext cx="93297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b="1" dirty="0"/>
                <a:t>右键</a:t>
              </a:r>
              <a:r>
                <a:rPr lang="en-US" altLang="zh-CN" sz="1430" b="1" dirty="0"/>
                <a:t>+E</a:t>
              </a:r>
              <a:endParaRPr lang="en-US" altLang="zh-CN" sz="1430" b="1" dirty="0"/>
            </a:p>
          </p:txBody>
        </p:sp>
        <p:sp>
          <p:nvSpPr>
            <p:cNvPr id="83" name="Rectangle 6"/>
            <p:cNvSpPr txBox="1"/>
            <p:nvPr/>
          </p:nvSpPr>
          <p:spPr>
            <a:xfrm>
              <a:off x="4832595" y="6046301"/>
              <a:ext cx="932271"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拆分单元格</a:t>
              </a:r>
              <a:endParaRPr lang="en-US" altLang="zh-CN" sz="1430" dirty="0"/>
            </a:p>
          </p:txBody>
        </p:sp>
        <p:cxnSp>
          <p:nvCxnSpPr>
            <p:cNvPr id="86" name="Straight Connector 85"/>
            <p:cNvCxnSpPr/>
            <p:nvPr/>
          </p:nvCxnSpPr>
          <p:spPr>
            <a:xfrm>
              <a:off x="3932945" y="4926421"/>
              <a:ext cx="1815566"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pic>
          <p:nvPicPr>
            <p:cNvPr id="87"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r="87328" b="97164"/>
            <a:stretch>
              <a:fillRect/>
            </a:stretch>
          </p:blipFill>
          <p:spPr bwMode="auto">
            <a:xfrm>
              <a:off x="9019887" y="4778872"/>
              <a:ext cx="1194563" cy="211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8" name="TextBox 87"/>
            <p:cNvSpPr txBox="1"/>
            <p:nvPr/>
          </p:nvSpPr>
          <p:spPr>
            <a:xfrm>
              <a:off x="9311564" y="5952413"/>
              <a:ext cx="833352" cy="224203"/>
            </a:xfrm>
            <a:prstGeom prst="rect">
              <a:avLst/>
            </a:prstGeom>
            <a:noFill/>
            <a:effectLst/>
          </p:spPr>
          <p:txBody>
            <a:bodyPr wrap="none" lIns="0" tIns="0" rIns="0" bIns="0" rtlCol="0">
              <a:spAutoFit/>
            </a:bodyPr>
            <a:lstStyle/>
            <a:p>
              <a:pPr algn="ctr"/>
              <a:r>
                <a:rPr lang="en-US" altLang="zh-CN" sz="1430" b="1" dirty="0"/>
                <a:t>ALT+</a:t>
              </a:r>
              <a:r>
                <a:rPr lang="zh-CN" altLang="en-US" sz="1430" b="1" dirty="0"/>
                <a:t>数字</a:t>
              </a:r>
              <a:endParaRPr lang="zh-CN" altLang="en-US" sz="1430" b="1" dirty="0"/>
            </a:p>
          </p:txBody>
        </p:sp>
        <p:cxnSp>
          <p:nvCxnSpPr>
            <p:cNvPr id="89" name="肘形连接符 51"/>
            <p:cNvCxnSpPr>
              <a:stCxn id="87" idx="2"/>
              <a:endCxn id="90" idx="0"/>
            </p:cNvCxnSpPr>
            <p:nvPr/>
          </p:nvCxnSpPr>
          <p:spPr>
            <a:xfrm rot="5400000">
              <a:off x="9275157" y="4941010"/>
              <a:ext cx="292511" cy="391513"/>
            </a:xfrm>
            <a:prstGeom prst="bentConnector3">
              <a:avLst>
                <a:gd name="adj1" fmla="val 50000"/>
              </a:avLst>
            </a:prstGeom>
            <a:ln w="19050">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039200" y="5283021"/>
              <a:ext cx="372910" cy="448406"/>
            </a:xfrm>
            <a:prstGeom prst="rect">
              <a:avLst/>
            </a:prstGeom>
            <a:noFill/>
            <a:effectLst/>
          </p:spPr>
          <p:txBody>
            <a:bodyPr wrap="none" lIns="0" tIns="0" rIns="0" bIns="0" rtlCol="0">
              <a:spAutoFit/>
            </a:bodyPr>
            <a:lstStyle/>
            <a:p>
              <a:pPr algn="ctr"/>
              <a:r>
                <a:rPr lang="zh-CN" altLang="en-US" sz="1430" b="1" dirty="0"/>
                <a:t>对齐</a:t>
              </a:r>
              <a:endParaRPr lang="en-US" altLang="zh-CN" sz="1430" b="1" dirty="0"/>
            </a:p>
            <a:p>
              <a:pPr algn="ctr"/>
              <a:r>
                <a:rPr lang="zh-CN" altLang="en-US" sz="1430" b="1" dirty="0"/>
                <a:t>图形</a:t>
              </a:r>
              <a:endParaRPr lang="zh-CN" altLang="en-US" sz="1430" b="1" dirty="0"/>
            </a:p>
          </p:txBody>
        </p:sp>
        <p:sp>
          <p:nvSpPr>
            <p:cNvPr id="91" name="TextBox 90"/>
            <p:cNvSpPr txBox="1"/>
            <p:nvPr/>
          </p:nvSpPr>
          <p:spPr>
            <a:xfrm>
              <a:off x="9979569" y="5283021"/>
              <a:ext cx="372910" cy="224203"/>
            </a:xfrm>
            <a:prstGeom prst="rect">
              <a:avLst/>
            </a:prstGeom>
            <a:noFill/>
            <a:effectLst/>
          </p:spPr>
          <p:txBody>
            <a:bodyPr wrap="none" lIns="0" tIns="0" rIns="0" bIns="0" rtlCol="0">
              <a:spAutoFit/>
            </a:bodyPr>
            <a:lstStyle/>
            <a:p>
              <a:pPr algn="ctr"/>
              <a:r>
                <a:rPr lang="zh-CN" altLang="en-US" sz="1430" b="1" dirty="0"/>
                <a:t>对齐</a:t>
              </a:r>
              <a:endParaRPr lang="zh-CN" altLang="en-US" sz="1430" b="1" dirty="0"/>
            </a:p>
          </p:txBody>
        </p:sp>
        <p:cxnSp>
          <p:nvCxnSpPr>
            <p:cNvPr id="92" name="肘形连接符 66"/>
            <p:cNvCxnSpPr>
              <a:endCxn id="91" idx="0"/>
            </p:cNvCxnSpPr>
            <p:nvPr/>
          </p:nvCxnSpPr>
          <p:spPr>
            <a:xfrm rot="16200000" flipH="1">
              <a:off x="9945014" y="5062011"/>
              <a:ext cx="316209" cy="125810"/>
            </a:xfrm>
            <a:prstGeom prst="bentConnector3">
              <a:avLst>
                <a:gd name="adj1" fmla="val 50000"/>
              </a:avLst>
            </a:prstGeom>
            <a:ln w="19050">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9511229" y="5283021"/>
              <a:ext cx="372910" cy="448406"/>
            </a:xfrm>
            <a:prstGeom prst="rect">
              <a:avLst/>
            </a:prstGeom>
            <a:noFill/>
            <a:effectLst/>
          </p:spPr>
          <p:txBody>
            <a:bodyPr wrap="none" lIns="0" tIns="0" rIns="0" bIns="0" rtlCol="0">
              <a:spAutoFit/>
            </a:bodyPr>
            <a:lstStyle/>
            <a:p>
              <a:pPr algn="ctr"/>
              <a:r>
                <a:rPr lang="zh-CN" altLang="en-US" sz="1430" b="1" dirty="0"/>
                <a:t>对齐</a:t>
              </a:r>
              <a:endParaRPr lang="en-US" altLang="zh-CN" sz="1430" b="1" dirty="0"/>
            </a:p>
            <a:p>
              <a:pPr algn="ctr"/>
              <a:r>
                <a:rPr lang="zh-CN" altLang="en-US" sz="1430" b="1" dirty="0"/>
                <a:t>网格</a:t>
              </a:r>
              <a:endParaRPr lang="zh-CN" altLang="en-US" sz="1430" b="1" dirty="0"/>
            </a:p>
          </p:txBody>
        </p:sp>
        <p:cxnSp>
          <p:nvCxnSpPr>
            <p:cNvPr id="94" name="肘形连接符 72"/>
            <p:cNvCxnSpPr>
              <a:endCxn id="93" idx="0"/>
            </p:cNvCxnSpPr>
            <p:nvPr/>
          </p:nvCxnSpPr>
          <p:spPr>
            <a:xfrm rot="5400000">
              <a:off x="9583165" y="5081332"/>
              <a:ext cx="316209" cy="87170"/>
            </a:xfrm>
            <a:prstGeom prst="bentConnector3">
              <a:avLst>
                <a:gd name="adj1" fmla="val 50000"/>
              </a:avLst>
            </a:prstGeom>
            <a:ln w="19050">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97" name="Rectangle 6"/>
            <p:cNvSpPr txBox="1"/>
            <p:nvPr/>
          </p:nvSpPr>
          <p:spPr>
            <a:xfrm>
              <a:off x="6047542" y="4728125"/>
              <a:ext cx="219165"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a:t>F2</a:t>
              </a:r>
              <a:endParaRPr lang="en-US" altLang="zh-CN" sz="1430" b="1" dirty="0"/>
            </a:p>
          </p:txBody>
        </p:sp>
        <p:sp>
          <p:nvSpPr>
            <p:cNvPr id="98" name="Rectangle 6"/>
            <p:cNvSpPr txBox="1"/>
            <p:nvPr/>
          </p:nvSpPr>
          <p:spPr>
            <a:xfrm>
              <a:off x="6047543" y="4991760"/>
              <a:ext cx="219165"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a:t>F4</a:t>
              </a:r>
              <a:endParaRPr lang="en-US" altLang="zh-CN" sz="1430" b="1" dirty="0"/>
            </a:p>
          </p:txBody>
        </p:sp>
        <p:sp>
          <p:nvSpPr>
            <p:cNvPr id="99" name="Rectangle 6"/>
            <p:cNvSpPr txBox="1"/>
            <p:nvPr/>
          </p:nvSpPr>
          <p:spPr>
            <a:xfrm>
              <a:off x="6047543" y="5519031"/>
              <a:ext cx="870120"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a:t>SHIFT+F5</a:t>
              </a:r>
              <a:endParaRPr lang="en-US" altLang="zh-CN" sz="1430" b="1" dirty="0"/>
            </a:p>
          </p:txBody>
        </p:sp>
        <p:sp>
          <p:nvSpPr>
            <p:cNvPr id="100" name="Rectangle 6"/>
            <p:cNvSpPr txBox="1"/>
            <p:nvPr/>
          </p:nvSpPr>
          <p:spPr>
            <a:xfrm>
              <a:off x="6047544" y="5782666"/>
              <a:ext cx="829231"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a:t>CTRL+F6</a:t>
              </a:r>
              <a:endParaRPr lang="en-US" altLang="zh-CN" sz="1430" b="1" dirty="0"/>
            </a:p>
          </p:txBody>
        </p:sp>
        <p:sp>
          <p:nvSpPr>
            <p:cNvPr id="101" name="Rectangle 6"/>
            <p:cNvSpPr txBox="1"/>
            <p:nvPr/>
          </p:nvSpPr>
          <p:spPr>
            <a:xfrm>
              <a:off x="7535874" y="4991760"/>
              <a:ext cx="745816"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重复操作</a:t>
              </a:r>
              <a:endParaRPr lang="en-US" altLang="zh-CN" sz="1430" dirty="0"/>
            </a:p>
          </p:txBody>
        </p:sp>
        <p:sp>
          <p:nvSpPr>
            <p:cNvPr id="102" name="Rectangle 6"/>
            <p:cNvSpPr txBox="1"/>
            <p:nvPr/>
          </p:nvSpPr>
          <p:spPr>
            <a:xfrm>
              <a:off x="6047543" y="5255396"/>
              <a:ext cx="219165"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a:t>F5</a:t>
              </a:r>
              <a:endParaRPr lang="en-US" altLang="zh-CN" sz="1430" b="1" dirty="0"/>
            </a:p>
          </p:txBody>
        </p:sp>
        <p:sp>
          <p:nvSpPr>
            <p:cNvPr id="103" name="Rectangle 6"/>
            <p:cNvSpPr txBox="1"/>
            <p:nvPr/>
          </p:nvSpPr>
          <p:spPr>
            <a:xfrm>
              <a:off x="7535873" y="5255396"/>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放映</a:t>
              </a:r>
              <a:endParaRPr lang="en-US" altLang="zh-CN" sz="1430" dirty="0"/>
            </a:p>
          </p:txBody>
        </p:sp>
        <p:sp>
          <p:nvSpPr>
            <p:cNvPr id="104" name="Rectangle 6"/>
            <p:cNvSpPr txBox="1"/>
            <p:nvPr/>
          </p:nvSpPr>
          <p:spPr>
            <a:xfrm>
              <a:off x="7535873" y="5519031"/>
              <a:ext cx="130517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从本页开始放映</a:t>
              </a:r>
              <a:endParaRPr lang="en-US" altLang="zh-CN" sz="1430" dirty="0"/>
            </a:p>
          </p:txBody>
        </p:sp>
        <p:sp>
          <p:nvSpPr>
            <p:cNvPr id="105" name="Rectangle 6"/>
            <p:cNvSpPr txBox="1"/>
            <p:nvPr/>
          </p:nvSpPr>
          <p:spPr>
            <a:xfrm>
              <a:off x="7535873" y="5782666"/>
              <a:ext cx="1108912"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切换不同</a:t>
              </a:r>
              <a:r>
                <a:rPr lang="en-US" altLang="zh-CN" sz="1430" dirty="0" err="1"/>
                <a:t>PPT</a:t>
              </a:r>
              <a:endParaRPr lang="en-US" altLang="zh-CN" sz="1430" dirty="0"/>
            </a:p>
          </p:txBody>
        </p:sp>
        <p:sp>
          <p:nvSpPr>
            <p:cNvPr id="106" name="Rectangle 6"/>
            <p:cNvSpPr txBox="1"/>
            <p:nvPr/>
          </p:nvSpPr>
          <p:spPr>
            <a:xfrm>
              <a:off x="6047544" y="6046301"/>
              <a:ext cx="1484306"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ALT+SHIFT</a:t>
              </a:r>
              <a:r>
                <a:rPr lang="en-US" altLang="zh-CN" sz="1430" b="1" dirty="0"/>
                <a:t>+</a:t>
              </a:r>
              <a:r>
                <a:rPr lang="zh-CN" altLang="en-US" sz="1430" b="1" dirty="0"/>
                <a:t>箭头</a:t>
              </a:r>
              <a:endParaRPr lang="en-US" altLang="zh-CN" sz="1430" b="1" dirty="0"/>
            </a:p>
          </p:txBody>
        </p:sp>
        <p:sp>
          <p:nvSpPr>
            <p:cNvPr id="107" name="Rectangle 6"/>
            <p:cNvSpPr txBox="1"/>
            <p:nvPr/>
          </p:nvSpPr>
          <p:spPr>
            <a:xfrm>
              <a:off x="7535873" y="6046301"/>
              <a:ext cx="1118725"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调整文字次序</a:t>
              </a:r>
              <a:endParaRPr lang="en-US" altLang="zh-CN" sz="1430" dirty="0"/>
            </a:p>
          </p:txBody>
        </p:sp>
        <p:sp>
          <p:nvSpPr>
            <p:cNvPr id="108" name="Rectangle 6"/>
            <p:cNvSpPr txBox="1"/>
            <p:nvPr/>
          </p:nvSpPr>
          <p:spPr>
            <a:xfrm>
              <a:off x="7535873" y="4728125"/>
              <a:ext cx="1171063"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编辑文字</a:t>
              </a:r>
              <a:r>
                <a:rPr lang="en-US" altLang="zh-CN" sz="1430" dirty="0"/>
                <a:t>/</a:t>
              </a:r>
              <a:r>
                <a:rPr lang="zh-CN" altLang="en-US" sz="1430" dirty="0"/>
                <a:t>形状</a:t>
              </a:r>
              <a:endParaRPr lang="en-US" altLang="zh-CN" sz="1430" dirty="0"/>
            </a:p>
          </p:txBody>
        </p:sp>
        <p:sp>
          <p:nvSpPr>
            <p:cNvPr id="15" name="Rectangle 14"/>
            <p:cNvSpPr>
              <a:spLocks noChangeArrowheads="1"/>
            </p:cNvSpPr>
            <p:nvPr/>
          </p:nvSpPr>
          <p:spPr bwMode="auto">
            <a:xfrm>
              <a:off x="1767363" y="2376395"/>
              <a:ext cx="8657274" cy="1789402"/>
            </a:xfrm>
            <a:prstGeom prst="rect">
              <a:avLst/>
            </a:prstGeom>
            <a:solidFill>
              <a:schemeClr val="bg1"/>
            </a:solidFill>
            <a:ln w="19050">
              <a:solidFill>
                <a:srgbClr val="FE5817"/>
              </a:solidFill>
              <a:miter lim="800000"/>
            </a:ln>
            <a:effectLst/>
          </p:spPr>
          <p:txBody>
            <a:bodyPr wrap="none" anchor="ctr"/>
            <a:lstStyle/>
            <a:p>
              <a:endParaRPr lang="en-US" sz="1430" dirty="0"/>
            </a:p>
          </p:txBody>
        </p:sp>
        <p:sp>
          <p:nvSpPr>
            <p:cNvPr id="16" name="Rectangle 15"/>
            <p:cNvSpPr>
              <a:spLocks noChangeArrowheads="1"/>
            </p:cNvSpPr>
            <p:nvPr/>
          </p:nvSpPr>
          <p:spPr bwMode="auto">
            <a:xfrm>
              <a:off x="1767363" y="2376393"/>
              <a:ext cx="8657274" cy="330581"/>
            </a:xfrm>
            <a:prstGeom prst="rect">
              <a:avLst/>
            </a:prstGeom>
            <a:solidFill>
              <a:srgbClr val="FE5817"/>
            </a:solidFill>
            <a:ln w="9525">
              <a:noFill/>
              <a:miter lim="800000"/>
            </a:ln>
            <a:effectLst/>
          </p:spPr>
          <p:txBody>
            <a:bodyPr wrap="none" anchor="ctr"/>
            <a:lstStyle/>
            <a:p>
              <a:r>
                <a:rPr lang="en-US" altLang="zh-CN" sz="1430" b="1" dirty="0">
                  <a:solidFill>
                    <a:schemeClr val="bg1"/>
                  </a:solidFill>
                </a:rPr>
                <a:t>CTRL</a:t>
              </a:r>
              <a:r>
                <a:rPr lang="zh-CN" altLang="en-US" sz="1430" b="1" dirty="0">
                  <a:solidFill>
                    <a:schemeClr val="bg1"/>
                  </a:solidFill>
                </a:rPr>
                <a:t>的扩展应用</a:t>
              </a:r>
              <a:endParaRPr lang="en-US" sz="1430" b="1" dirty="0">
                <a:solidFill>
                  <a:schemeClr val="bg1"/>
                </a:solidFill>
              </a:endParaRPr>
            </a:p>
          </p:txBody>
        </p:sp>
        <p:sp>
          <p:nvSpPr>
            <p:cNvPr id="113" name="Rectangle 6"/>
            <p:cNvSpPr txBox="1"/>
            <p:nvPr/>
          </p:nvSpPr>
          <p:spPr>
            <a:xfrm>
              <a:off x="1938587" y="2812936"/>
              <a:ext cx="1394606" cy="22420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r>
                <a:rPr lang="zh-CN" altLang="en-US" sz="1430" b="1" dirty="0"/>
                <a:t>文字格式</a:t>
              </a:r>
              <a:endParaRPr lang="zh-CN" altLang="en-US" sz="1430" b="1" dirty="0"/>
            </a:p>
          </p:txBody>
        </p:sp>
        <p:sp>
          <p:nvSpPr>
            <p:cNvPr id="114" name="Rectangle 6"/>
            <p:cNvSpPr txBox="1"/>
            <p:nvPr/>
          </p:nvSpPr>
          <p:spPr>
            <a:xfrm>
              <a:off x="1938587" y="3132600"/>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B</a:t>
              </a:r>
              <a:endParaRPr lang="en-US" altLang="zh-CN" sz="1430" b="1" dirty="0"/>
            </a:p>
          </p:txBody>
        </p:sp>
        <p:sp>
          <p:nvSpPr>
            <p:cNvPr id="115" name="Rectangle 6"/>
            <p:cNvSpPr txBox="1"/>
            <p:nvPr/>
          </p:nvSpPr>
          <p:spPr>
            <a:xfrm>
              <a:off x="1938587" y="3407836"/>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I</a:t>
              </a:r>
              <a:endParaRPr lang="en-US" altLang="zh-CN" sz="1430" b="1" dirty="0"/>
            </a:p>
          </p:txBody>
        </p:sp>
        <p:sp>
          <p:nvSpPr>
            <p:cNvPr id="116" name="Rectangle 6"/>
            <p:cNvSpPr txBox="1"/>
            <p:nvPr/>
          </p:nvSpPr>
          <p:spPr>
            <a:xfrm>
              <a:off x="2827131" y="3132600"/>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加粗</a:t>
              </a:r>
              <a:endParaRPr lang="en-US" altLang="zh-CN" sz="1430" dirty="0"/>
            </a:p>
          </p:txBody>
        </p:sp>
        <p:sp>
          <p:nvSpPr>
            <p:cNvPr id="117" name="Rectangle 6"/>
            <p:cNvSpPr txBox="1"/>
            <p:nvPr/>
          </p:nvSpPr>
          <p:spPr>
            <a:xfrm>
              <a:off x="2827131" y="3407836"/>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斜体</a:t>
              </a:r>
              <a:endParaRPr lang="en-US" altLang="zh-CN" sz="1430" dirty="0"/>
            </a:p>
          </p:txBody>
        </p:sp>
        <p:sp>
          <p:nvSpPr>
            <p:cNvPr id="118" name="Rectangle 6"/>
            <p:cNvSpPr txBox="1"/>
            <p:nvPr/>
          </p:nvSpPr>
          <p:spPr>
            <a:xfrm>
              <a:off x="1938587" y="3683074"/>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U</a:t>
              </a:r>
              <a:endParaRPr lang="en-US" altLang="zh-CN" sz="1430" b="1" dirty="0"/>
            </a:p>
          </p:txBody>
        </p:sp>
        <p:sp>
          <p:nvSpPr>
            <p:cNvPr id="119" name="Rectangle 6"/>
            <p:cNvSpPr txBox="1"/>
            <p:nvPr/>
          </p:nvSpPr>
          <p:spPr>
            <a:xfrm>
              <a:off x="2827131" y="3683074"/>
              <a:ext cx="559362"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下划线</a:t>
              </a:r>
              <a:endParaRPr lang="en-US" altLang="zh-CN" sz="1430" dirty="0"/>
            </a:p>
          </p:txBody>
        </p:sp>
        <p:cxnSp>
          <p:nvCxnSpPr>
            <p:cNvPr id="120" name="Straight Connector 119"/>
            <p:cNvCxnSpPr/>
            <p:nvPr/>
          </p:nvCxnSpPr>
          <p:spPr>
            <a:xfrm>
              <a:off x="1938587" y="3055202"/>
              <a:ext cx="1438093"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10" name="TextBox 109"/>
            <p:cNvSpPr txBox="1"/>
            <p:nvPr/>
          </p:nvSpPr>
          <p:spPr>
            <a:xfrm>
              <a:off x="3721677" y="2812936"/>
              <a:ext cx="1696904" cy="224203"/>
            </a:xfrm>
            <a:prstGeom prst="rect">
              <a:avLst/>
            </a:prstGeom>
            <a:noFill/>
            <a:effectLst/>
          </p:spPr>
          <p:txBody>
            <a:bodyPr wrap="square" lIns="0" tIns="0" rIns="0" bIns="0" rtlCol="0">
              <a:spAutoFit/>
            </a:bodyPr>
            <a:lstStyle/>
            <a:p>
              <a:r>
                <a:rPr lang="zh-CN" altLang="en-US" sz="1430" b="1" dirty="0"/>
                <a:t>文字大小</a:t>
              </a:r>
              <a:endParaRPr lang="zh-CN" altLang="en-US" sz="1430" b="1" dirty="0"/>
            </a:p>
          </p:txBody>
        </p:sp>
        <p:sp>
          <p:nvSpPr>
            <p:cNvPr id="123" name="Rectangle 6"/>
            <p:cNvSpPr txBox="1"/>
            <p:nvPr/>
          </p:nvSpPr>
          <p:spPr>
            <a:xfrm>
              <a:off x="3727141" y="3132600"/>
              <a:ext cx="1398407"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a:t>CTRL+“[” or “]”</a:t>
              </a:r>
              <a:endParaRPr lang="en-US" altLang="zh-CN" sz="1430" b="1" dirty="0"/>
            </a:p>
          </p:txBody>
        </p:sp>
        <p:sp>
          <p:nvSpPr>
            <p:cNvPr id="124" name="Rectangle 6"/>
            <p:cNvSpPr txBox="1"/>
            <p:nvPr/>
          </p:nvSpPr>
          <p:spPr>
            <a:xfrm>
              <a:off x="3727142" y="3407836"/>
              <a:ext cx="719647"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a:t>CTRL+=</a:t>
              </a:r>
              <a:endParaRPr lang="en-US" altLang="zh-CN" sz="1430" b="1" dirty="0"/>
            </a:p>
          </p:txBody>
        </p:sp>
        <p:sp>
          <p:nvSpPr>
            <p:cNvPr id="125" name="Rectangle 6"/>
            <p:cNvSpPr txBox="1"/>
            <p:nvPr/>
          </p:nvSpPr>
          <p:spPr>
            <a:xfrm>
              <a:off x="5272966" y="3132600"/>
              <a:ext cx="745816"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改变字号</a:t>
              </a:r>
              <a:endParaRPr lang="en-US" altLang="zh-CN" sz="1430" dirty="0"/>
            </a:p>
          </p:txBody>
        </p:sp>
        <p:sp>
          <p:nvSpPr>
            <p:cNvPr id="126" name="Rectangle 6"/>
            <p:cNvSpPr txBox="1"/>
            <p:nvPr/>
          </p:nvSpPr>
          <p:spPr>
            <a:xfrm>
              <a:off x="5272966" y="3407836"/>
              <a:ext cx="745816"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文字下标</a:t>
              </a:r>
              <a:endParaRPr lang="en-US" altLang="zh-CN" sz="1430" dirty="0"/>
            </a:p>
          </p:txBody>
        </p:sp>
        <p:sp>
          <p:nvSpPr>
            <p:cNvPr id="127" name="Rectangle 6"/>
            <p:cNvSpPr txBox="1"/>
            <p:nvPr/>
          </p:nvSpPr>
          <p:spPr>
            <a:xfrm>
              <a:off x="3727141" y="3683074"/>
              <a:ext cx="1370601"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SHIFT</a:t>
              </a:r>
              <a:r>
                <a:rPr lang="en-US" altLang="zh-CN" sz="1430" b="1" dirty="0"/>
                <a:t>+=</a:t>
              </a:r>
              <a:endParaRPr lang="en-US" altLang="zh-CN" sz="1430" b="1" dirty="0"/>
            </a:p>
          </p:txBody>
        </p:sp>
        <p:sp>
          <p:nvSpPr>
            <p:cNvPr id="128" name="Rectangle 6"/>
            <p:cNvSpPr txBox="1"/>
            <p:nvPr/>
          </p:nvSpPr>
          <p:spPr>
            <a:xfrm>
              <a:off x="5272966" y="3683074"/>
              <a:ext cx="745816"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文字上标</a:t>
              </a:r>
              <a:endParaRPr lang="en-US" altLang="zh-CN" sz="1430" dirty="0"/>
            </a:p>
          </p:txBody>
        </p:sp>
        <p:cxnSp>
          <p:nvCxnSpPr>
            <p:cNvPr id="130" name="Straight Connector 129"/>
            <p:cNvCxnSpPr/>
            <p:nvPr/>
          </p:nvCxnSpPr>
          <p:spPr>
            <a:xfrm>
              <a:off x="3727141" y="3055202"/>
              <a:ext cx="2278556"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6350695" y="2812936"/>
              <a:ext cx="1696904" cy="224203"/>
            </a:xfrm>
            <a:prstGeom prst="rect">
              <a:avLst/>
            </a:prstGeom>
            <a:noFill/>
            <a:effectLst/>
          </p:spPr>
          <p:txBody>
            <a:bodyPr wrap="square" lIns="0" tIns="0" rIns="0" bIns="0" rtlCol="0">
              <a:spAutoFit/>
            </a:bodyPr>
            <a:lstStyle/>
            <a:p>
              <a:r>
                <a:rPr lang="zh-CN" altLang="en-US" sz="1430" b="1" dirty="0"/>
                <a:t>文字对齐</a:t>
              </a:r>
              <a:endParaRPr lang="zh-CN" altLang="en-US" sz="1430" b="1" dirty="0"/>
            </a:p>
          </p:txBody>
        </p:sp>
        <p:sp>
          <p:nvSpPr>
            <p:cNvPr id="133" name="Rectangle 6"/>
            <p:cNvSpPr txBox="1"/>
            <p:nvPr/>
          </p:nvSpPr>
          <p:spPr>
            <a:xfrm>
              <a:off x="6353831" y="3132600"/>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L</a:t>
              </a:r>
              <a:endParaRPr lang="en-US" altLang="zh-CN" sz="1430" b="1" dirty="0"/>
            </a:p>
          </p:txBody>
        </p:sp>
        <p:sp>
          <p:nvSpPr>
            <p:cNvPr id="134" name="Rectangle 6"/>
            <p:cNvSpPr txBox="1"/>
            <p:nvPr/>
          </p:nvSpPr>
          <p:spPr>
            <a:xfrm>
              <a:off x="6353831" y="3407836"/>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R</a:t>
              </a:r>
              <a:endParaRPr lang="en-US" altLang="zh-CN" sz="1430" b="1" dirty="0"/>
            </a:p>
          </p:txBody>
        </p:sp>
        <p:sp>
          <p:nvSpPr>
            <p:cNvPr id="135" name="Rectangle 6"/>
            <p:cNvSpPr txBox="1"/>
            <p:nvPr/>
          </p:nvSpPr>
          <p:spPr>
            <a:xfrm>
              <a:off x="7242375" y="3132600"/>
              <a:ext cx="559362"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左对齐</a:t>
              </a:r>
              <a:endParaRPr lang="en-US" altLang="zh-CN" sz="1430" dirty="0"/>
            </a:p>
          </p:txBody>
        </p:sp>
        <p:sp>
          <p:nvSpPr>
            <p:cNvPr id="136" name="Rectangle 6"/>
            <p:cNvSpPr txBox="1"/>
            <p:nvPr/>
          </p:nvSpPr>
          <p:spPr>
            <a:xfrm>
              <a:off x="7242375" y="3407836"/>
              <a:ext cx="559362"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右对齐</a:t>
              </a:r>
              <a:endParaRPr lang="en-US" altLang="zh-CN" sz="1430" dirty="0"/>
            </a:p>
          </p:txBody>
        </p:sp>
        <p:sp>
          <p:nvSpPr>
            <p:cNvPr id="137" name="Rectangle 6"/>
            <p:cNvSpPr txBox="1"/>
            <p:nvPr/>
          </p:nvSpPr>
          <p:spPr>
            <a:xfrm>
              <a:off x="6353831" y="3683074"/>
              <a:ext cx="74637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E</a:t>
              </a:r>
              <a:endParaRPr lang="en-US" altLang="zh-CN" sz="1430" b="1" dirty="0"/>
            </a:p>
          </p:txBody>
        </p:sp>
        <p:sp>
          <p:nvSpPr>
            <p:cNvPr id="138" name="Rectangle 6"/>
            <p:cNvSpPr txBox="1"/>
            <p:nvPr/>
          </p:nvSpPr>
          <p:spPr>
            <a:xfrm>
              <a:off x="7242375" y="3683074"/>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居中</a:t>
              </a:r>
              <a:endParaRPr lang="en-US" altLang="zh-CN" sz="1430" dirty="0"/>
            </a:p>
          </p:txBody>
        </p:sp>
        <p:cxnSp>
          <p:nvCxnSpPr>
            <p:cNvPr id="139" name="Straight Connector 138"/>
            <p:cNvCxnSpPr/>
            <p:nvPr/>
          </p:nvCxnSpPr>
          <p:spPr>
            <a:xfrm>
              <a:off x="6353831" y="3055202"/>
              <a:ext cx="1438093"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8392596" y="2812936"/>
              <a:ext cx="1696904" cy="224203"/>
            </a:xfrm>
            <a:prstGeom prst="rect">
              <a:avLst/>
            </a:prstGeom>
            <a:noFill/>
            <a:effectLst/>
          </p:spPr>
          <p:txBody>
            <a:bodyPr wrap="square" lIns="0" tIns="0" rIns="0" bIns="0" rtlCol="0">
              <a:spAutoFit/>
            </a:bodyPr>
            <a:lstStyle/>
            <a:p>
              <a:r>
                <a:rPr lang="en-US" altLang="zh-CN" sz="1430" b="1" dirty="0"/>
                <a:t>PPT</a:t>
              </a:r>
              <a:r>
                <a:rPr lang="zh-CN" altLang="en-US" sz="1430" b="1" dirty="0"/>
                <a:t>常用功能</a:t>
              </a:r>
              <a:endParaRPr lang="zh-CN" altLang="en-US" sz="1430" b="1" dirty="0"/>
            </a:p>
          </p:txBody>
        </p:sp>
        <p:cxnSp>
          <p:nvCxnSpPr>
            <p:cNvPr id="140" name="Straight Connector 139"/>
            <p:cNvCxnSpPr/>
            <p:nvPr/>
          </p:nvCxnSpPr>
          <p:spPr>
            <a:xfrm>
              <a:off x="8392595" y="3055202"/>
              <a:ext cx="1849693"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42" name="Rectangle 6"/>
            <p:cNvSpPr txBox="1"/>
            <p:nvPr/>
          </p:nvSpPr>
          <p:spPr>
            <a:xfrm>
              <a:off x="8396739" y="3132600"/>
              <a:ext cx="73436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S</a:t>
              </a:r>
              <a:endParaRPr lang="en-US" altLang="zh-CN" sz="1430" b="1" dirty="0"/>
            </a:p>
          </p:txBody>
        </p:sp>
        <p:sp>
          <p:nvSpPr>
            <p:cNvPr id="143" name="Rectangle 6"/>
            <p:cNvSpPr txBox="1"/>
            <p:nvPr/>
          </p:nvSpPr>
          <p:spPr>
            <a:xfrm>
              <a:off x="8396739" y="3407836"/>
              <a:ext cx="724555"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Z</a:t>
              </a:r>
              <a:endParaRPr lang="en-US" altLang="zh-CN" sz="1430" b="1" dirty="0"/>
            </a:p>
          </p:txBody>
        </p:sp>
        <p:sp>
          <p:nvSpPr>
            <p:cNvPr id="144" name="Rectangle 6"/>
            <p:cNvSpPr txBox="1"/>
            <p:nvPr/>
          </p:nvSpPr>
          <p:spPr>
            <a:xfrm>
              <a:off x="9462996" y="3132600"/>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保存</a:t>
              </a:r>
              <a:endParaRPr lang="en-US" altLang="zh-CN" sz="1430" dirty="0"/>
            </a:p>
          </p:txBody>
        </p:sp>
        <p:sp>
          <p:nvSpPr>
            <p:cNvPr id="145" name="Rectangle 6"/>
            <p:cNvSpPr txBox="1"/>
            <p:nvPr/>
          </p:nvSpPr>
          <p:spPr>
            <a:xfrm>
              <a:off x="9462996" y="3407836"/>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撤销</a:t>
              </a:r>
              <a:endParaRPr lang="en-US" altLang="zh-CN" sz="1430" dirty="0"/>
            </a:p>
          </p:txBody>
        </p:sp>
        <p:sp>
          <p:nvSpPr>
            <p:cNvPr id="146" name="Rectangle 6"/>
            <p:cNvSpPr txBox="1"/>
            <p:nvPr/>
          </p:nvSpPr>
          <p:spPr>
            <a:xfrm>
              <a:off x="8396739" y="3683074"/>
              <a:ext cx="734368"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Y</a:t>
              </a:r>
              <a:endParaRPr lang="en-US" altLang="zh-CN" sz="1430" b="1" dirty="0"/>
            </a:p>
          </p:txBody>
        </p:sp>
        <p:sp>
          <p:nvSpPr>
            <p:cNvPr id="147" name="Rectangle 6"/>
            <p:cNvSpPr txBox="1"/>
            <p:nvPr/>
          </p:nvSpPr>
          <p:spPr>
            <a:xfrm>
              <a:off x="9462996" y="3683074"/>
              <a:ext cx="372909"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重复</a:t>
              </a:r>
              <a:endParaRPr lang="en-US" altLang="zh-CN" sz="1430" dirty="0"/>
            </a:p>
          </p:txBody>
        </p:sp>
        <p:sp>
          <p:nvSpPr>
            <p:cNvPr id="148" name="Rectangle 6"/>
            <p:cNvSpPr txBox="1"/>
            <p:nvPr/>
          </p:nvSpPr>
          <p:spPr>
            <a:xfrm>
              <a:off x="8396739" y="3925528"/>
              <a:ext cx="912644"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en-US" altLang="zh-CN" sz="1430" b="1" dirty="0" err="1"/>
                <a:t>CTRL+F</a:t>
              </a:r>
              <a:r>
                <a:rPr lang="en-US" altLang="zh-CN" sz="1430" b="1" dirty="0"/>
                <a:t>/H</a:t>
              </a:r>
              <a:endParaRPr lang="en-US" altLang="zh-CN" sz="1430" b="1" dirty="0"/>
            </a:p>
          </p:txBody>
        </p:sp>
        <p:sp>
          <p:nvSpPr>
            <p:cNvPr id="149" name="Rectangle 6"/>
            <p:cNvSpPr txBox="1"/>
            <p:nvPr/>
          </p:nvSpPr>
          <p:spPr>
            <a:xfrm>
              <a:off x="9462997" y="3925528"/>
              <a:ext cx="798154" cy="2017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0">
                <a:lnSpc>
                  <a:spcPct val="90000"/>
                </a:lnSpc>
                <a:spcBef>
                  <a:spcPct val="15000"/>
                </a:spcBef>
              </a:pPr>
              <a:r>
                <a:rPr lang="zh-CN" altLang="en-US" sz="1430" dirty="0"/>
                <a:t>查找</a:t>
              </a:r>
              <a:r>
                <a:rPr lang="en-US" altLang="zh-CN" sz="1430" dirty="0"/>
                <a:t>/</a:t>
              </a:r>
              <a:r>
                <a:rPr lang="zh-CN" altLang="en-US" sz="1430" dirty="0"/>
                <a:t>替换</a:t>
              </a:r>
              <a:endParaRPr lang="en-US" altLang="zh-CN" sz="1430" dirty="0"/>
            </a:p>
          </p:txBody>
        </p:sp>
      </p:grpSp>
      <p:sp>
        <p:nvSpPr>
          <p:cNvPr id="12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en-US" altLang="zh-CN" sz="2400" dirty="0"/>
              <a:t>PowerPoint</a:t>
            </a:r>
            <a:r>
              <a:rPr lang="zh-CN" altLang="en-US" sz="2400" dirty="0"/>
              <a:t>最常用快捷键</a:t>
            </a:r>
            <a:endParaRPr lang="zh-CN" altLang="en-US" sz="2400" dirty="0">
              <a:solidFill>
                <a:prstClr val="black"/>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424" name="think-cell Slide" r:id="rId2" imgW="12700" imgH="12700" progId="TCLayout.ActiveDocument.1">
                  <p:embed/>
                </p:oleObj>
              </mc:Choice>
              <mc:Fallback>
                <p:oleObj name="think-cell Slide" r:id="rId2" imgW="12700" imgH="12700" progId="TCLayout.ActiveDocument.1">
                  <p:embed/>
                  <p:pic>
                    <p:nvPicPr>
                      <p:cNvPr id="0" name="对象 1"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 name="Freeform 15"/>
          <p:cNvSpPr>
            <a:spLocks noChangeAspect="1" noEditPoints="1"/>
          </p:cNvSpPr>
          <p:nvPr/>
        </p:nvSpPr>
        <p:spPr bwMode="auto">
          <a:xfrm>
            <a:off x="5730751" y="3283388"/>
            <a:ext cx="684501" cy="498619"/>
          </a:xfrm>
          <a:custGeom>
            <a:avLst/>
            <a:gdLst>
              <a:gd name="T0" fmla="*/ 275 w 326"/>
              <a:gd name="T1" fmla="*/ 25 h 237"/>
              <a:gd name="T2" fmla="*/ 49 w 326"/>
              <a:gd name="T3" fmla="*/ 163 h 237"/>
              <a:gd name="T4" fmla="*/ 162 w 326"/>
              <a:gd name="T5" fmla="*/ 127 h 237"/>
              <a:gd name="T6" fmla="*/ 222 w 326"/>
              <a:gd name="T7" fmla="*/ 134 h 237"/>
              <a:gd name="T8" fmla="*/ 162 w 326"/>
              <a:gd name="T9" fmla="*/ 127 h 237"/>
              <a:gd name="T10" fmla="*/ 162 w 326"/>
              <a:gd name="T11" fmla="*/ 116 h 237"/>
              <a:gd name="T12" fmla="*/ 222 w 326"/>
              <a:gd name="T13" fmla="*/ 108 h 237"/>
              <a:gd name="T14" fmla="*/ 162 w 326"/>
              <a:gd name="T15" fmla="*/ 86 h 237"/>
              <a:gd name="T16" fmla="*/ 263 w 326"/>
              <a:gd name="T17" fmla="*/ 94 h 237"/>
              <a:gd name="T18" fmla="*/ 162 w 326"/>
              <a:gd name="T19" fmla="*/ 86 h 237"/>
              <a:gd name="T20" fmla="*/ 162 w 326"/>
              <a:gd name="T21" fmla="*/ 74 h 237"/>
              <a:gd name="T22" fmla="*/ 263 w 326"/>
              <a:gd name="T23" fmla="*/ 66 h 237"/>
              <a:gd name="T24" fmla="*/ 162 w 326"/>
              <a:gd name="T25" fmla="*/ 45 h 237"/>
              <a:gd name="T26" fmla="*/ 263 w 326"/>
              <a:gd name="T27" fmla="*/ 53 h 237"/>
              <a:gd name="T28" fmla="*/ 162 w 326"/>
              <a:gd name="T29" fmla="*/ 45 h 237"/>
              <a:gd name="T30" fmla="*/ 93 w 326"/>
              <a:gd name="T31" fmla="*/ 43 h 237"/>
              <a:gd name="T32" fmla="*/ 91 w 326"/>
              <a:gd name="T33" fmla="*/ 44 h 237"/>
              <a:gd name="T34" fmla="*/ 90 w 326"/>
              <a:gd name="T35" fmla="*/ 44 h 237"/>
              <a:gd name="T36" fmla="*/ 89 w 326"/>
              <a:gd name="T37" fmla="*/ 45 h 237"/>
              <a:gd name="T38" fmla="*/ 88 w 326"/>
              <a:gd name="T39" fmla="*/ 45 h 237"/>
              <a:gd name="T40" fmla="*/ 88 w 326"/>
              <a:gd name="T41" fmla="*/ 45 h 237"/>
              <a:gd name="T42" fmla="*/ 87 w 326"/>
              <a:gd name="T43" fmla="*/ 46 h 237"/>
              <a:gd name="T44" fmla="*/ 87 w 326"/>
              <a:gd name="T45" fmla="*/ 46 h 237"/>
              <a:gd name="T46" fmla="*/ 86 w 326"/>
              <a:gd name="T47" fmla="*/ 47 h 237"/>
              <a:gd name="T48" fmla="*/ 85 w 326"/>
              <a:gd name="T49" fmla="*/ 47 h 237"/>
              <a:gd name="T50" fmla="*/ 85 w 326"/>
              <a:gd name="T51" fmla="*/ 47 h 237"/>
              <a:gd name="T52" fmla="*/ 84 w 326"/>
              <a:gd name="T53" fmla="*/ 48 h 237"/>
              <a:gd name="T54" fmla="*/ 84 w 326"/>
              <a:gd name="T55" fmla="*/ 48 h 237"/>
              <a:gd name="T56" fmla="*/ 83 w 326"/>
              <a:gd name="T57" fmla="*/ 49 h 237"/>
              <a:gd name="T58" fmla="*/ 83 w 326"/>
              <a:gd name="T59" fmla="*/ 49 h 237"/>
              <a:gd name="T60" fmla="*/ 82 w 326"/>
              <a:gd name="T61" fmla="*/ 50 h 237"/>
              <a:gd name="T62" fmla="*/ 82 w 326"/>
              <a:gd name="T63" fmla="*/ 50 h 237"/>
              <a:gd name="T64" fmla="*/ 72 w 326"/>
              <a:gd name="T65" fmla="*/ 69 h 237"/>
              <a:gd name="T66" fmla="*/ 144 w 326"/>
              <a:gd name="T67" fmla="*/ 105 h 237"/>
              <a:gd name="T68" fmla="*/ 93 w 326"/>
              <a:gd name="T69" fmla="*/ 43 h 237"/>
              <a:gd name="T70" fmla="*/ 80 w 326"/>
              <a:gd name="T71" fmla="*/ 69 h 237"/>
              <a:gd name="T72" fmla="*/ 106 w 326"/>
              <a:gd name="T73" fmla="*/ 102 h 237"/>
              <a:gd name="T74" fmla="*/ 132 w 326"/>
              <a:gd name="T75" fmla="*/ 71 h 237"/>
              <a:gd name="T76" fmla="*/ 113 w 326"/>
              <a:gd name="T77" fmla="*/ 64 h 237"/>
              <a:gd name="T78" fmla="*/ 109 w 326"/>
              <a:gd name="T79" fmla="*/ 72 h 237"/>
              <a:gd name="T80" fmla="*/ 106 w 326"/>
              <a:gd name="T81" fmla="*/ 72 h 237"/>
              <a:gd name="T82" fmla="*/ 116 w 326"/>
              <a:gd name="T83" fmla="*/ 77 h 237"/>
              <a:gd name="T84" fmla="*/ 116 w 326"/>
              <a:gd name="T85" fmla="*/ 84 h 237"/>
              <a:gd name="T86" fmla="*/ 116 w 326"/>
              <a:gd name="T87" fmla="*/ 77 h 237"/>
              <a:gd name="T88" fmla="*/ 91 w 326"/>
              <a:gd name="T89" fmla="*/ 81 h 237"/>
              <a:gd name="T90" fmla="*/ 98 w 326"/>
              <a:gd name="T91" fmla="*/ 81 h 237"/>
              <a:gd name="T92" fmla="*/ 148 w 326"/>
              <a:gd name="T93" fmla="*/ 149 h 237"/>
              <a:gd name="T94" fmla="*/ 93 w 326"/>
              <a:gd name="T95" fmla="*/ 142 h 237"/>
              <a:gd name="T96" fmla="*/ 63 w 326"/>
              <a:gd name="T97" fmla="*/ 149 h 237"/>
              <a:gd name="T98" fmla="*/ 145 w 326"/>
              <a:gd name="T99" fmla="*/ 199 h 237"/>
              <a:gd name="T100" fmla="*/ 191 w 326"/>
              <a:gd name="T101" fmla="*/ 219 h 237"/>
              <a:gd name="T102" fmla="*/ 145 w 326"/>
              <a:gd name="T103" fmla="*/ 199 h 237"/>
              <a:gd name="T104" fmla="*/ 26 w 326"/>
              <a:gd name="T105" fmla="*/ 24 h 237"/>
              <a:gd name="T106" fmla="*/ 43 w 326"/>
              <a:gd name="T107" fmla="*/ 182 h 237"/>
              <a:gd name="T108" fmla="*/ 0 w 326"/>
              <a:gd name="T109" fmla="*/ 216 h 237"/>
              <a:gd name="T110" fmla="*/ 326 w 326"/>
              <a:gd name="T111" fmla="*/ 237 h 237"/>
              <a:gd name="T112" fmla="*/ 279 w 326"/>
              <a:gd name="T113" fmla="*/ 182 h 237"/>
              <a:gd name="T114" fmla="*/ 298 w 326"/>
              <a:gd name="T115" fmla="*/ 24 h 237"/>
              <a:gd name="T116" fmla="*/ 50 w 326"/>
              <a:gd name="T11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237">
                <a:moveTo>
                  <a:pt x="49" y="25"/>
                </a:moveTo>
                <a:cubicBezTo>
                  <a:pt x="275" y="25"/>
                  <a:pt x="275" y="25"/>
                  <a:pt x="275" y="25"/>
                </a:cubicBezTo>
                <a:cubicBezTo>
                  <a:pt x="275" y="163"/>
                  <a:pt x="275" y="163"/>
                  <a:pt x="275" y="163"/>
                </a:cubicBezTo>
                <a:cubicBezTo>
                  <a:pt x="49" y="163"/>
                  <a:pt x="49" y="163"/>
                  <a:pt x="49" y="163"/>
                </a:cubicBezTo>
                <a:cubicBezTo>
                  <a:pt x="49" y="25"/>
                  <a:pt x="49" y="25"/>
                  <a:pt x="49" y="25"/>
                </a:cubicBezTo>
                <a:close/>
                <a:moveTo>
                  <a:pt x="162" y="127"/>
                </a:moveTo>
                <a:cubicBezTo>
                  <a:pt x="162" y="134"/>
                  <a:pt x="162" y="134"/>
                  <a:pt x="162" y="134"/>
                </a:cubicBezTo>
                <a:cubicBezTo>
                  <a:pt x="222" y="134"/>
                  <a:pt x="222" y="134"/>
                  <a:pt x="222" y="134"/>
                </a:cubicBezTo>
                <a:cubicBezTo>
                  <a:pt x="222" y="127"/>
                  <a:pt x="222" y="127"/>
                  <a:pt x="222" y="127"/>
                </a:cubicBezTo>
                <a:cubicBezTo>
                  <a:pt x="162" y="127"/>
                  <a:pt x="162" y="127"/>
                  <a:pt x="162" y="127"/>
                </a:cubicBezTo>
                <a:close/>
                <a:moveTo>
                  <a:pt x="162" y="108"/>
                </a:moveTo>
                <a:cubicBezTo>
                  <a:pt x="162" y="116"/>
                  <a:pt x="162" y="116"/>
                  <a:pt x="162" y="116"/>
                </a:cubicBezTo>
                <a:cubicBezTo>
                  <a:pt x="222" y="116"/>
                  <a:pt x="222" y="116"/>
                  <a:pt x="222" y="116"/>
                </a:cubicBezTo>
                <a:cubicBezTo>
                  <a:pt x="222" y="108"/>
                  <a:pt x="222" y="108"/>
                  <a:pt x="222" y="108"/>
                </a:cubicBezTo>
                <a:cubicBezTo>
                  <a:pt x="162" y="108"/>
                  <a:pt x="162" y="108"/>
                  <a:pt x="162" y="108"/>
                </a:cubicBezTo>
                <a:close/>
                <a:moveTo>
                  <a:pt x="162" y="86"/>
                </a:moveTo>
                <a:cubicBezTo>
                  <a:pt x="162" y="94"/>
                  <a:pt x="162" y="94"/>
                  <a:pt x="162" y="94"/>
                </a:cubicBezTo>
                <a:cubicBezTo>
                  <a:pt x="263" y="94"/>
                  <a:pt x="263" y="94"/>
                  <a:pt x="263" y="94"/>
                </a:cubicBezTo>
                <a:cubicBezTo>
                  <a:pt x="263" y="86"/>
                  <a:pt x="263" y="86"/>
                  <a:pt x="263" y="86"/>
                </a:cubicBezTo>
                <a:cubicBezTo>
                  <a:pt x="162" y="86"/>
                  <a:pt x="162" y="86"/>
                  <a:pt x="162" y="86"/>
                </a:cubicBezTo>
                <a:close/>
                <a:moveTo>
                  <a:pt x="162" y="66"/>
                </a:moveTo>
                <a:cubicBezTo>
                  <a:pt x="162" y="74"/>
                  <a:pt x="162" y="74"/>
                  <a:pt x="162" y="74"/>
                </a:cubicBezTo>
                <a:cubicBezTo>
                  <a:pt x="263" y="74"/>
                  <a:pt x="263" y="74"/>
                  <a:pt x="263" y="74"/>
                </a:cubicBezTo>
                <a:cubicBezTo>
                  <a:pt x="263" y="66"/>
                  <a:pt x="263" y="66"/>
                  <a:pt x="263" y="66"/>
                </a:cubicBezTo>
                <a:cubicBezTo>
                  <a:pt x="162" y="66"/>
                  <a:pt x="162" y="66"/>
                  <a:pt x="162" y="66"/>
                </a:cubicBezTo>
                <a:close/>
                <a:moveTo>
                  <a:pt x="162" y="45"/>
                </a:moveTo>
                <a:cubicBezTo>
                  <a:pt x="162" y="53"/>
                  <a:pt x="162" y="53"/>
                  <a:pt x="162" y="53"/>
                </a:cubicBezTo>
                <a:cubicBezTo>
                  <a:pt x="263" y="53"/>
                  <a:pt x="263" y="53"/>
                  <a:pt x="263" y="53"/>
                </a:cubicBezTo>
                <a:cubicBezTo>
                  <a:pt x="263" y="45"/>
                  <a:pt x="263" y="45"/>
                  <a:pt x="263" y="45"/>
                </a:cubicBezTo>
                <a:cubicBezTo>
                  <a:pt x="162" y="45"/>
                  <a:pt x="162" y="45"/>
                  <a:pt x="162" y="45"/>
                </a:cubicBezTo>
                <a:close/>
                <a:moveTo>
                  <a:pt x="93" y="43"/>
                </a:moveTo>
                <a:cubicBezTo>
                  <a:pt x="93" y="43"/>
                  <a:pt x="93" y="43"/>
                  <a:pt x="93" y="43"/>
                </a:cubicBezTo>
                <a:cubicBezTo>
                  <a:pt x="92" y="43"/>
                  <a:pt x="91" y="43"/>
                  <a:pt x="91" y="44"/>
                </a:cubicBezTo>
                <a:cubicBezTo>
                  <a:pt x="91" y="44"/>
                  <a:pt x="91" y="44"/>
                  <a:pt x="91" y="44"/>
                </a:cubicBezTo>
                <a:cubicBezTo>
                  <a:pt x="91" y="44"/>
                  <a:pt x="90" y="44"/>
                  <a:pt x="90" y="44"/>
                </a:cubicBezTo>
                <a:cubicBezTo>
                  <a:pt x="90" y="44"/>
                  <a:pt x="90" y="44"/>
                  <a:pt x="90" y="44"/>
                </a:cubicBezTo>
                <a:cubicBezTo>
                  <a:pt x="90" y="44"/>
                  <a:pt x="89" y="45"/>
                  <a:pt x="89" y="45"/>
                </a:cubicBezTo>
                <a:cubicBezTo>
                  <a:pt x="89" y="45"/>
                  <a:pt x="89" y="45"/>
                  <a:pt x="89" y="45"/>
                </a:cubicBezTo>
                <a:cubicBezTo>
                  <a:pt x="89" y="45"/>
                  <a:pt x="89" y="45"/>
                  <a:pt x="88" y="45"/>
                </a:cubicBezTo>
                <a:cubicBezTo>
                  <a:pt x="88" y="45"/>
                  <a:pt x="88" y="45"/>
                  <a:pt x="88" y="45"/>
                </a:cubicBezTo>
                <a:cubicBezTo>
                  <a:pt x="88" y="45"/>
                  <a:pt x="88" y="45"/>
                  <a:pt x="88" y="45"/>
                </a:cubicBezTo>
                <a:cubicBezTo>
                  <a:pt x="88" y="45"/>
                  <a:pt x="88" y="45"/>
                  <a:pt x="88" y="45"/>
                </a:cubicBezTo>
                <a:cubicBezTo>
                  <a:pt x="88" y="46"/>
                  <a:pt x="87" y="46"/>
                  <a:pt x="87" y="46"/>
                </a:cubicBezTo>
                <a:cubicBezTo>
                  <a:pt x="87" y="46"/>
                  <a:pt x="87" y="46"/>
                  <a:pt x="87" y="46"/>
                </a:cubicBezTo>
                <a:cubicBezTo>
                  <a:pt x="87" y="46"/>
                  <a:pt x="87" y="46"/>
                  <a:pt x="87" y="46"/>
                </a:cubicBezTo>
                <a:cubicBezTo>
                  <a:pt x="87" y="46"/>
                  <a:pt x="87" y="46"/>
                  <a:pt x="87" y="46"/>
                </a:cubicBezTo>
                <a:cubicBezTo>
                  <a:pt x="86" y="46"/>
                  <a:pt x="86" y="46"/>
                  <a:pt x="86" y="47"/>
                </a:cubicBezTo>
                <a:cubicBezTo>
                  <a:pt x="86" y="47"/>
                  <a:pt x="86" y="47"/>
                  <a:pt x="86" y="47"/>
                </a:cubicBezTo>
                <a:cubicBezTo>
                  <a:pt x="86" y="47"/>
                  <a:pt x="86" y="47"/>
                  <a:pt x="86" y="47"/>
                </a:cubicBezTo>
                <a:cubicBezTo>
                  <a:pt x="85" y="47"/>
                  <a:pt x="85" y="47"/>
                  <a:pt x="85" y="47"/>
                </a:cubicBezTo>
                <a:cubicBezTo>
                  <a:pt x="85" y="47"/>
                  <a:pt x="85" y="47"/>
                  <a:pt x="85" y="47"/>
                </a:cubicBezTo>
                <a:cubicBezTo>
                  <a:pt x="85" y="47"/>
                  <a:pt x="85" y="47"/>
                  <a:pt x="85" y="47"/>
                </a:cubicBezTo>
                <a:cubicBezTo>
                  <a:pt x="85" y="48"/>
                  <a:pt x="85" y="48"/>
                  <a:pt x="84" y="48"/>
                </a:cubicBezTo>
                <a:cubicBezTo>
                  <a:pt x="84" y="48"/>
                  <a:pt x="84" y="48"/>
                  <a:pt x="84" y="48"/>
                </a:cubicBezTo>
                <a:cubicBezTo>
                  <a:pt x="84" y="48"/>
                  <a:pt x="84" y="48"/>
                  <a:pt x="84" y="48"/>
                </a:cubicBezTo>
                <a:cubicBezTo>
                  <a:pt x="84" y="48"/>
                  <a:pt x="84" y="48"/>
                  <a:pt x="84" y="48"/>
                </a:cubicBezTo>
                <a:cubicBezTo>
                  <a:pt x="83" y="49"/>
                  <a:pt x="83" y="49"/>
                  <a:pt x="83" y="49"/>
                </a:cubicBezTo>
                <a:cubicBezTo>
                  <a:pt x="83" y="49"/>
                  <a:pt x="83" y="49"/>
                  <a:pt x="83" y="49"/>
                </a:cubicBezTo>
                <a:cubicBezTo>
                  <a:pt x="83" y="49"/>
                  <a:pt x="83" y="49"/>
                  <a:pt x="83" y="49"/>
                </a:cubicBezTo>
                <a:cubicBezTo>
                  <a:pt x="83" y="49"/>
                  <a:pt x="83" y="49"/>
                  <a:pt x="83" y="49"/>
                </a:cubicBezTo>
                <a:cubicBezTo>
                  <a:pt x="83" y="49"/>
                  <a:pt x="83" y="49"/>
                  <a:pt x="82" y="50"/>
                </a:cubicBezTo>
                <a:cubicBezTo>
                  <a:pt x="82" y="50"/>
                  <a:pt x="82" y="50"/>
                  <a:pt x="82" y="50"/>
                </a:cubicBezTo>
                <a:cubicBezTo>
                  <a:pt x="82" y="50"/>
                  <a:pt x="82" y="50"/>
                  <a:pt x="82" y="50"/>
                </a:cubicBezTo>
                <a:cubicBezTo>
                  <a:pt x="82" y="50"/>
                  <a:pt x="82" y="50"/>
                  <a:pt x="82" y="50"/>
                </a:cubicBezTo>
                <a:cubicBezTo>
                  <a:pt x="77" y="55"/>
                  <a:pt x="73" y="62"/>
                  <a:pt x="72" y="69"/>
                </a:cubicBezTo>
                <a:cubicBezTo>
                  <a:pt x="72" y="69"/>
                  <a:pt x="72" y="69"/>
                  <a:pt x="72" y="69"/>
                </a:cubicBezTo>
                <a:cubicBezTo>
                  <a:pt x="70" y="81"/>
                  <a:pt x="82" y="98"/>
                  <a:pt x="66" y="105"/>
                </a:cubicBezTo>
                <a:cubicBezTo>
                  <a:pt x="144" y="105"/>
                  <a:pt x="144" y="105"/>
                  <a:pt x="144" y="105"/>
                </a:cubicBezTo>
                <a:cubicBezTo>
                  <a:pt x="151" y="82"/>
                  <a:pt x="142" y="39"/>
                  <a:pt x="106" y="40"/>
                </a:cubicBezTo>
                <a:cubicBezTo>
                  <a:pt x="101" y="40"/>
                  <a:pt x="97" y="41"/>
                  <a:pt x="93" y="43"/>
                </a:cubicBezTo>
                <a:close/>
                <a:moveTo>
                  <a:pt x="80" y="71"/>
                </a:moveTo>
                <a:cubicBezTo>
                  <a:pt x="80" y="71"/>
                  <a:pt x="80" y="70"/>
                  <a:pt x="80" y="69"/>
                </a:cubicBezTo>
                <a:cubicBezTo>
                  <a:pt x="80" y="71"/>
                  <a:pt x="79" y="73"/>
                  <a:pt x="79" y="75"/>
                </a:cubicBezTo>
                <a:cubicBezTo>
                  <a:pt x="79" y="90"/>
                  <a:pt x="91" y="102"/>
                  <a:pt x="106" y="102"/>
                </a:cubicBezTo>
                <a:cubicBezTo>
                  <a:pt x="120" y="102"/>
                  <a:pt x="132" y="90"/>
                  <a:pt x="132" y="75"/>
                </a:cubicBezTo>
                <a:cubicBezTo>
                  <a:pt x="132" y="74"/>
                  <a:pt x="132" y="72"/>
                  <a:pt x="132" y="71"/>
                </a:cubicBezTo>
                <a:cubicBezTo>
                  <a:pt x="116" y="72"/>
                  <a:pt x="116" y="72"/>
                  <a:pt x="116" y="72"/>
                </a:cubicBezTo>
                <a:cubicBezTo>
                  <a:pt x="113" y="64"/>
                  <a:pt x="113" y="64"/>
                  <a:pt x="113" y="64"/>
                </a:cubicBezTo>
                <a:cubicBezTo>
                  <a:pt x="111" y="72"/>
                  <a:pt x="111" y="72"/>
                  <a:pt x="111" y="72"/>
                </a:cubicBezTo>
                <a:cubicBezTo>
                  <a:pt x="109" y="72"/>
                  <a:pt x="109" y="72"/>
                  <a:pt x="109" y="72"/>
                </a:cubicBezTo>
                <a:cubicBezTo>
                  <a:pt x="108" y="56"/>
                  <a:pt x="108" y="56"/>
                  <a:pt x="108" y="56"/>
                </a:cubicBezTo>
                <a:cubicBezTo>
                  <a:pt x="106" y="72"/>
                  <a:pt x="106" y="72"/>
                  <a:pt x="106" y="72"/>
                </a:cubicBezTo>
                <a:cubicBezTo>
                  <a:pt x="80" y="71"/>
                  <a:pt x="80" y="71"/>
                  <a:pt x="80" y="71"/>
                </a:cubicBezTo>
                <a:close/>
                <a:moveTo>
                  <a:pt x="116" y="77"/>
                </a:moveTo>
                <a:cubicBezTo>
                  <a:pt x="114" y="77"/>
                  <a:pt x="112" y="79"/>
                  <a:pt x="112" y="81"/>
                </a:cubicBezTo>
                <a:cubicBezTo>
                  <a:pt x="112" y="83"/>
                  <a:pt x="114" y="84"/>
                  <a:pt x="116" y="84"/>
                </a:cubicBezTo>
                <a:cubicBezTo>
                  <a:pt x="118" y="84"/>
                  <a:pt x="120" y="83"/>
                  <a:pt x="120" y="81"/>
                </a:cubicBezTo>
                <a:cubicBezTo>
                  <a:pt x="120" y="79"/>
                  <a:pt x="118" y="77"/>
                  <a:pt x="116" y="77"/>
                </a:cubicBezTo>
                <a:close/>
                <a:moveTo>
                  <a:pt x="95" y="77"/>
                </a:moveTo>
                <a:cubicBezTo>
                  <a:pt x="93" y="77"/>
                  <a:pt x="91" y="79"/>
                  <a:pt x="91" y="81"/>
                </a:cubicBezTo>
                <a:cubicBezTo>
                  <a:pt x="91" y="83"/>
                  <a:pt x="93" y="84"/>
                  <a:pt x="95" y="84"/>
                </a:cubicBezTo>
                <a:cubicBezTo>
                  <a:pt x="97" y="84"/>
                  <a:pt x="98" y="83"/>
                  <a:pt x="98" y="81"/>
                </a:cubicBezTo>
                <a:cubicBezTo>
                  <a:pt x="98" y="79"/>
                  <a:pt x="97" y="77"/>
                  <a:pt x="95" y="77"/>
                </a:cubicBezTo>
                <a:close/>
                <a:moveTo>
                  <a:pt x="148" y="149"/>
                </a:moveTo>
                <a:cubicBezTo>
                  <a:pt x="147" y="129"/>
                  <a:pt x="135" y="112"/>
                  <a:pt x="118" y="107"/>
                </a:cubicBezTo>
                <a:cubicBezTo>
                  <a:pt x="93" y="142"/>
                  <a:pt x="93" y="142"/>
                  <a:pt x="93" y="142"/>
                </a:cubicBezTo>
                <a:cubicBezTo>
                  <a:pt x="93" y="106"/>
                  <a:pt x="93" y="106"/>
                  <a:pt x="93" y="106"/>
                </a:cubicBezTo>
                <a:cubicBezTo>
                  <a:pt x="76" y="112"/>
                  <a:pt x="64" y="129"/>
                  <a:pt x="63" y="149"/>
                </a:cubicBezTo>
                <a:cubicBezTo>
                  <a:pt x="148" y="149"/>
                  <a:pt x="148" y="149"/>
                  <a:pt x="148" y="149"/>
                </a:cubicBezTo>
                <a:close/>
                <a:moveTo>
                  <a:pt x="145" y="199"/>
                </a:moveTo>
                <a:cubicBezTo>
                  <a:pt x="179" y="199"/>
                  <a:pt x="179" y="199"/>
                  <a:pt x="179" y="199"/>
                </a:cubicBezTo>
                <a:cubicBezTo>
                  <a:pt x="191" y="219"/>
                  <a:pt x="191" y="219"/>
                  <a:pt x="191" y="219"/>
                </a:cubicBezTo>
                <a:cubicBezTo>
                  <a:pt x="134" y="219"/>
                  <a:pt x="134" y="219"/>
                  <a:pt x="134" y="219"/>
                </a:cubicBezTo>
                <a:cubicBezTo>
                  <a:pt x="145" y="199"/>
                  <a:pt x="145" y="199"/>
                  <a:pt x="145" y="199"/>
                </a:cubicBezTo>
                <a:close/>
                <a:moveTo>
                  <a:pt x="50" y="0"/>
                </a:moveTo>
                <a:cubicBezTo>
                  <a:pt x="37" y="0"/>
                  <a:pt x="26" y="11"/>
                  <a:pt x="26" y="24"/>
                </a:cubicBezTo>
                <a:cubicBezTo>
                  <a:pt x="26" y="159"/>
                  <a:pt x="26" y="159"/>
                  <a:pt x="26" y="159"/>
                </a:cubicBezTo>
                <a:cubicBezTo>
                  <a:pt x="26" y="170"/>
                  <a:pt x="33" y="179"/>
                  <a:pt x="43" y="182"/>
                </a:cubicBezTo>
                <a:cubicBezTo>
                  <a:pt x="43" y="182"/>
                  <a:pt x="43" y="182"/>
                  <a:pt x="43" y="182"/>
                </a:cubicBezTo>
                <a:cubicBezTo>
                  <a:pt x="0" y="216"/>
                  <a:pt x="0" y="216"/>
                  <a:pt x="0" y="216"/>
                </a:cubicBezTo>
                <a:cubicBezTo>
                  <a:pt x="0" y="237"/>
                  <a:pt x="0" y="237"/>
                  <a:pt x="0" y="237"/>
                </a:cubicBezTo>
                <a:cubicBezTo>
                  <a:pt x="326" y="237"/>
                  <a:pt x="326" y="237"/>
                  <a:pt x="326" y="237"/>
                </a:cubicBezTo>
                <a:cubicBezTo>
                  <a:pt x="326" y="216"/>
                  <a:pt x="326" y="216"/>
                  <a:pt x="326" y="216"/>
                </a:cubicBezTo>
                <a:cubicBezTo>
                  <a:pt x="279" y="182"/>
                  <a:pt x="279" y="182"/>
                  <a:pt x="279" y="182"/>
                </a:cubicBezTo>
                <a:cubicBezTo>
                  <a:pt x="290" y="180"/>
                  <a:pt x="298" y="170"/>
                  <a:pt x="298" y="159"/>
                </a:cubicBezTo>
                <a:cubicBezTo>
                  <a:pt x="298" y="24"/>
                  <a:pt x="298" y="24"/>
                  <a:pt x="298" y="24"/>
                </a:cubicBezTo>
                <a:cubicBezTo>
                  <a:pt x="298" y="11"/>
                  <a:pt x="287" y="0"/>
                  <a:pt x="274" y="0"/>
                </a:cubicBezTo>
                <a:lnTo>
                  <a:pt x="50" y="0"/>
                </a:lnTo>
                <a:close/>
              </a:path>
            </a:pathLst>
          </a:custGeom>
          <a:solidFill>
            <a:schemeClr val="accent1"/>
          </a:solidFill>
          <a:ln>
            <a:noFill/>
          </a:ln>
        </p:spPr>
        <p:txBody>
          <a:bodyPr vert="horz" wrap="square" lIns="121882" tIns="60941" rIns="121882" bIns="60941" numCol="1" anchor="t" anchorCtr="0" compatLnSpc="1"/>
          <a:lstStyle/>
          <a:p>
            <a:endParaRPr lang="zh-CN" altLang="en-US" sz="2400">
              <a:solidFill>
                <a:prstClr val="black"/>
              </a:solidFill>
            </a:endParaRPr>
          </a:p>
        </p:txBody>
      </p:sp>
      <p:sp>
        <p:nvSpPr>
          <p:cNvPr id="6" name="矩形 28"/>
          <p:cNvSpPr/>
          <p:nvPr/>
        </p:nvSpPr>
        <p:spPr>
          <a:xfrm rot="2700000">
            <a:off x="5171786" y="2251833"/>
            <a:ext cx="3168353" cy="1212318"/>
          </a:xfrm>
          <a:custGeom>
            <a:avLst/>
            <a:gdLst/>
            <a:ahLst/>
            <a:cxnLst/>
            <a:rect l="l" t="t" r="r" b="b"/>
            <a:pathLst>
              <a:path w="2376264" h="909519">
                <a:moveTo>
                  <a:pt x="0" y="0"/>
                </a:moveTo>
                <a:lnTo>
                  <a:pt x="2376264" y="0"/>
                </a:lnTo>
                <a:lnTo>
                  <a:pt x="2376264" y="478604"/>
                </a:lnTo>
                <a:lnTo>
                  <a:pt x="0" y="90951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sp>
        <p:nvSpPr>
          <p:cNvPr id="7" name="矩形 28"/>
          <p:cNvSpPr/>
          <p:nvPr/>
        </p:nvSpPr>
        <p:spPr>
          <a:xfrm rot="8100000">
            <a:off x="5172488" y="3634293"/>
            <a:ext cx="3167375" cy="1212692"/>
          </a:xfrm>
          <a:custGeom>
            <a:avLst/>
            <a:gdLst/>
            <a:ahLst/>
            <a:cxnLst/>
            <a:rect l="l" t="t" r="r" b="b"/>
            <a:pathLst>
              <a:path w="2376264" h="909519">
                <a:moveTo>
                  <a:pt x="0" y="0"/>
                </a:moveTo>
                <a:lnTo>
                  <a:pt x="2376264" y="0"/>
                </a:lnTo>
                <a:lnTo>
                  <a:pt x="2376264" y="478604"/>
                </a:lnTo>
                <a:lnTo>
                  <a:pt x="0" y="909519"/>
                </a:lnTo>
                <a:close/>
              </a:path>
            </a:pathLst>
          </a:cu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sp>
        <p:nvSpPr>
          <p:cNvPr id="8" name="矩形 28"/>
          <p:cNvSpPr/>
          <p:nvPr/>
        </p:nvSpPr>
        <p:spPr>
          <a:xfrm rot="13500000">
            <a:off x="3789352" y="3634267"/>
            <a:ext cx="3168353" cy="1212318"/>
          </a:xfrm>
          <a:custGeom>
            <a:avLst/>
            <a:gdLst/>
            <a:ahLst/>
            <a:cxnLst/>
            <a:rect l="l" t="t" r="r" b="b"/>
            <a:pathLst>
              <a:path w="2376264" h="909519">
                <a:moveTo>
                  <a:pt x="0" y="0"/>
                </a:moveTo>
                <a:lnTo>
                  <a:pt x="2376264" y="0"/>
                </a:lnTo>
                <a:lnTo>
                  <a:pt x="2376264" y="478604"/>
                </a:lnTo>
                <a:lnTo>
                  <a:pt x="0" y="909519"/>
                </a:lnTo>
                <a:close/>
              </a:path>
            </a:pathLst>
          </a:cu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sp>
        <p:nvSpPr>
          <p:cNvPr id="9" name="矩形 28"/>
          <p:cNvSpPr/>
          <p:nvPr/>
        </p:nvSpPr>
        <p:spPr>
          <a:xfrm rot="18900000">
            <a:off x="3944350" y="2624086"/>
            <a:ext cx="2112635" cy="1212692"/>
          </a:xfrm>
          <a:custGeom>
            <a:avLst/>
            <a:gdLst/>
            <a:ahLst/>
            <a:cxnLst/>
            <a:rect l="l" t="t" r="r" b="b"/>
            <a:pathLst>
              <a:path w="1567916" h="909519">
                <a:moveTo>
                  <a:pt x="1567916" y="625191"/>
                </a:moveTo>
                <a:lnTo>
                  <a:pt x="0" y="909519"/>
                </a:lnTo>
                <a:lnTo>
                  <a:pt x="0" y="0"/>
                </a:lnTo>
                <a:lnTo>
                  <a:pt x="1454543" y="0"/>
                </a:lnTo>
                <a:close/>
              </a:path>
            </a:pathLst>
          </a:custGeom>
          <a:solidFill>
            <a:srgbClr val="FEAB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sp>
        <p:nvSpPr>
          <p:cNvPr id="10" name="矩形 9"/>
          <p:cNvSpPr/>
          <p:nvPr/>
        </p:nvSpPr>
        <p:spPr>
          <a:xfrm>
            <a:off x="5735753" y="1746859"/>
            <a:ext cx="559769" cy="584647"/>
          </a:xfrm>
          <a:prstGeom prst="rect">
            <a:avLst/>
          </a:prstGeom>
          <a:effectLst>
            <a:outerShdw blurRad="25400" dist="25400" dir="2700000" algn="tl" rotWithShape="0">
              <a:prstClr val="black">
                <a:alpha val="40000"/>
              </a:prstClr>
            </a:outerShdw>
          </a:effectLst>
        </p:spPr>
        <p:txBody>
          <a:bodyPr wrap="none">
            <a:spAutoFit/>
          </a:bodyPr>
          <a:lstStyle/>
          <a:p>
            <a:pPr>
              <a:defRPr/>
            </a:pPr>
            <a:r>
              <a:rPr lang="en-US" altLang="zh-CN" sz="3200" kern="0" dirty="0">
                <a:solidFill>
                  <a:sysClr val="window" lastClr="FFFFFF"/>
                </a:solidFill>
                <a:latin typeface="Impact" panose="020B0806030902050204" pitchFamily="34" charset="0"/>
                <a:ea typeface="华文楷体" panose="02010600040101010101" charset="-122"/>
              </a:rPr>
              <a:t>01</a:t>
            </a:r>
            <a:endParaRPr lang="zh-CN" altLang="en-US" sz="3200" kern="0" dirty="0">
              <a:solidFill>
                <a:sysClr val="window" lastClr="FFFFFF"/>
              </a:solidFill>
              <a:latin typeface="Impact" panose="020B0806030902050204" pitchFamily="34" charset="0"/>
              <a:ea typeface="华文楷体" panose="02010600040101010101" charset="-122"/>
            </a:endParaRPr>
          </a:p>
        </p:txBody>
      </p:sp>
      <p:cxnSp>
        <p:nvCxnSpPr>
          <p:cNvPr id="11" name="直接连接符 10"/>
          <p:cNvCxnSpPr/>
          <p:nvPr/>
        </p:nvCxnSpPr>
        <p:spPr>
          <a:xfrm flipH="1">
            <a:off x="3730346" y="1980278"/>
            <a:ext cx="1276162" cy="0"/>
          </a:xfrm>
          <a:prstGeom prst="line">
            <a:avLst/>
          </a:prstGeom>
          <a:ln>
            <a:solidFill>
              <a:schemeClr val="tx1"/>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4204235" y="3241431"/>
            <a:ext cx="609462" cy="584647"/>
          </a:xfrm>
          <a:prstGeom prst="rect">
            <a:avLst/>
          </a:prstGeom>
          <a:effectLst>
            <a:outerShdw blurRad="25400" dist="25400" dir="2700000" algn="tl" rotWithShape="0">
              <a:prstClr val="black">
                <a:alpha val="40000"/>
              </a:prstClr>
            </a:outerShdw>
          </a:effectLst>
        </p:spPr>
        <p:txBody>
          <a:bodyPr wrap="none">
            <a:spAutoFit/>
          </a:bodyPr>
          <a:lstStyle/>
          <a:p>
            <a:pPr>
              <a:defRPr/>
            </a:pPr>
            <a:r>
              <a:rPr lang="en-US" altLang="zh-CN" sz="3200" kern="0" dirty="0">
                <a:solidFill>
                  <a:sysClr val="window" lastClr="FFFFFF"/>
                </a:solidFill>
                <a:latin typeface="Impact" panose="020B0806030902050204" pitchFamily="34" charset="0"/>
                <a:ea typeface="华文楷体" panose="02010600040101010101" charset="-122"/>
              </a:rPr>
              <a:t>02</a:t>
            </a:r>
            <a:endParaRPr lang="zh-CN" altLang="en-US" sz="3200" kern="0" dirty="0">
              <a:solidFill>
                <a:sysClr val="window" lastClr="FFFFFF"/>
              </a:solidFill>
              <a:latin typeface="Impact" panose="020B0806030902050204" pitchFamily="34" charset="0"/>
              <a:ea typeface="华文楷体" panose="02010600040101010101" charset="-122"/>
            </a:endParaRPr>
          </a:p>
        </p:txBody>
      </p:sp>
      <p:cxnSp>
        <p:nvCxnSpPr>
          <p:cNvPr id="13" name="直接连接符 12"/>
          <p:cNvCxnSpPr/>
          <p:nvPr/>
        </p:nvCxnSpPr>
        <p:spPr>
          <a:xfrm flipH="1">
            <a:off x="3730346" y="4087160"/>
            <a:ext cx="524325" cy="0"/>
          </a:xfrm>
          <a:prstGeom prst="line">
            <a:avLst/>
          </a:prstGeom>
          <a:ln>
            <a:solidFill>
              <a:schemeClr val="tx1"/>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sp>
        <p:nvSpPr>
          <p:cNvPr id="14" name="矩形 13"/>
          <p:cNvSpPr/>
          <p:nvPr/>
        </p:nvSpPr>
        <p:spPr>
          <a:xfrm>
            <a:off x="5686608" y="4721194"/>
            <a:ext cx="622286" cy="584647"/>
          </a:xfrm>
          <a:prstGeom prst="rect">
            <a:avLst/>
          </a:prstGeom>
          <a:effectLst>
            <a:outerShdw blurRad="25400" dist="25400" dir="2700000" algn="tl" rotWithShape="0">
              <a:prstClr val="black">
                <a:alpha val="40000"/>
              </a:prstClr>
            </a:outerShdw>
          </a:effectLst>
        </p:spPr>
        <p:txBody>
          <a:bodyPr wrap="none">
            <a:spAutoFit/>
          </a:bodyPr>
          <a:lstStyle/>
          <a:p>
            <a:pPr>
              <a:defRPr/>
            </a:pPr>
            <a:r>
              <a:rPr lang="en-US" altLang="zh-CN" sz="3200" kern="0" dirty="0">
                <a:solidFill>
                  <a:sysClr val="window" lastClr="FFFFFF"/>
                </a:solidFill>
                <a:latin typeface="Impact" panose="020B0806030902050204" pitchFamily="34" charset="0"/>
                <a:ea typeface="华文楷体" panose="02010600040101010101" charset="-122"/>
              </a:rPr>
              <a:t>03</a:t>
            </a:r>
            <a:endParaRPr lang="zh-CN" altLang="en-US" sz="3200" kern="0" dirty="0">
              <a:solidFill>
                <a:sysClr val="window" lastClr="FFFFFF"/>
              </a:solidFill>
              <a:latin typeface="Impact" panose="020B0806030902050204" pitchFamily="34" charset="0"/>
              <a:ea typeface="华文楷体" panose="02010600040101010101" charset="-122"/>
            </a:endParaRPr>
          </a:p>
        </p:txBody>
      </p:sp>
      <p:cxnSp>
        <p:nvCxnSpPr>
          <p:cNvPr id="15" name="直接连接符 14"/>
          <p:cNvCxnSpPr/>
          <p:nvPr/>
        </p:nvCxnSpPr>
        <p:spPr>
          <a:xfrm flipH="1">
            <a:off x="7061271" y="5201244"/>
            <a:ext cx="1276162" cy="0"/>
          </a:xfrm>
          <a:prstGeom prst="line">
            <a:avLst/>
          </a:prstGeom>
          <a:ln>
            <a:solidFill>
              <a:schemeClr val="tx1"/>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7357267" y="3224923"/>
            <a:ext cx="609462" cy="584647"/>
          </a:xfrm>
          <a:prstGeom prst="rect">
            <a:avLst/>
          </a:prstGeom>
          <a:effectLst>
            <a:outerShdw blurRad="25400" dist="25400" dir="2700000" algn="tl" rotWithShape="0">
              <a:prstClr val="black">
                <a:alpha val="40000"/>
              </a:prstClr>
            </a:outerShdw>
          </a:effectLst>
        </p:spPr>
        <p:txBody>
          <a:bodyPr wrap="none">
            <a:spAutoFit/>
          </a:bodyPr>
          <a:lstStyle/>
          <a:p>
            <a:pPr>
              <a:defRPr/>
            </a:pPr>
            <a:r>
              <a:rPr lang="en-US" altLang="zh-CN" sz="3200" kern="0" dirty="0">
                <a:solidFill>
                  <a:sysClr val="window" lastClr="FFFFFF"/>
                </a:solidFill>
                <a:latin typeface="Impact" panose="020B0806030902050204" pitchFamily="34" charset="0"/>
                <a:ea typeface="华文楷体" panose="02010600040101010101" charset="-122"/>
              </a:rPr>
              <a:t>04</a:t>
            </a:r>
            <a:endParaRPr lang="zh-CN" altLang="en-US" sz="3200" kern="0" dirty="0">
              <a:solidFill>
                <a:sysClr val="window" lastClr="FFFFFF"/>
              </a:solidFill>
              <a:latin typeface="Impact" panose="020B0806030902050204" pitchFamily="34" charset="0"/>
              <a:ea typeface="华文楷体" panose="02010600040101010101" charset="-122"/>
            </a:endParaRPr>
          </a:p>
        </p:txBody>
      </p:sp>
      <p:cxnSp>
        <p:nvCxnSpPr>
          <p:cNvPr id="17" name="直接连接符 16"/>
          <p:cNvCxnSpPr/>
          <p:nvPr/>
        </p:nvCxnSpPr>
        <p:spPr>
          <a:xfrm flipH="1">
            <a:off x="7813111" y="2857776"/>
            <a:ext cx="524325" cy="0"/>
          </a:xfrm>
          <a:prstGeom prst="line">
            <a:avLst/>
          </a:prstGeom>
          <a:ln>
            <a:solidFill>
              <a:schemeClr val="tx1"/>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sp>
        <p:nvSpPr>
          <p:cNvPr id="18" name="išľíďè"/>
          <p:cNvSpPr/>
          <p:nvPr/>
        </p:nvSpPr>
        <p:spPr bwMode="auto">
          <a:xfrm>
            <a:off x="898670" y="2181640"/>
            <a:ext cx="277559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lvl="0"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19" name="iSlíďè"/>
          <p:cNvSpPr txBox="1"/>
          <p:nvPr/>
        </p:nvSpPr>
        <p:spPr bwMode="auto">
          <a:xfrm>
            <a:off x="1404539" y="1781954"/>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r" defTabSz="913765" rtl="0" eaLnBrk="1" fontAlgn="auto" latinLnBrk="0" hangingPunct="1">
              <a:spcBef>
                <a:spcPct val="0"/>
              </a:spcBef>
              <a:spcAft>
                <a:spcPts val="0"/>
              </a:spcAft>
              <a:buClrTx/>
              <a:buSzTx/>
              <a:buFontTx/>
              <a:buNone/>
              <a:defRPr/>
            </a:pPr>
            <a:r>
              <a:rPr kumimoji="0" lang="zh-CN" altLang="en-US" sz="2000" b="1" i="0" u="none" strike="noStrike" kern="1200" cap="none" spc="0" normalizeH="0" baseline="0" noProof="0" dirty="0">
                <a:ln>
                  <a:noFill/>
                </a:ln>
                <a:solidFill>
                  <a:schemeClr val="bg2">
                    <a:lumMod val="10000"/>
                  </a:schemeClr>
                </a:solidFill>
                <a:effectLst/>
                <a:uLnTx/>
                <a:uFillTx/>
              </a:rPr>
              <a:t>标题文本预设</a:t>
            </a:r>
            <a:endParaRPr kumimoji="0" lang="zh-CN" altLang="en-US" sz="2000" b="1" i="0" u="none" strike="noStrike" kern="1200" cap="none" spc="0" normalizeH="0" baseline="0" noProof="0" dirty="0">
              <a:ln>
                <a:noFill/>
              </a:ln>
              <a:solidFill>
                <a:schemeClr val="bg2">
                  <a:lumMod val="10000"/>
                </a:schemeClr>
              </a:solidFill>
              <a:effectLst/>
              <a:uLnTx/>
              <a:uFillTx/>
            </a:endParaRPr>
          </a:p>
        </p:txBody>
      </p:sp>
      <p:sp>
        <p:nvSpPr>
          <p:cNvPr id="20" name="išľíďè"/>
          <p:cNvSpPr/>
          <p:nvPr/>
        </p:nvSpPr>
        <p:spPr bwMode="auto">
          <a:xfrm>
            <a:off x="1251857" y="4286931"/>
            <a:ext cx="277559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lvl="0"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21" name="iSlíďè"/>
          <p:cNvSpPr txBox="1"/>
          <p:nvPr/>
        </p:nvSpPr>
        <p:spPr bwMode="auto">
          <a:xfrm>
            <a:off x="1550897" y="3876359"/>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r" defTabSz="913765" rtl="0" eaLnBrk="1" fontAlgn="auto" latinLnBrk="0" hangingPunct="1">
              <a:spcBef>
                <a:spcPct val="0"/>
              </a:spcBef>
              <a:spcAft>
                <a:spcPts val="0"/>
              </a:spcAft>
              <a:buClrTx/>
              <a:buSzTx/>
              <a:buFontTx/>
              <a:buNone/>
              <a:defRPr/>
            </a:pPr>
            <a:r>
              <a:rPr kumimoji="0" lang="zh-CN" altLang="en-US" sz="2000" b="1" i="0" u="none" strike="noStrike" kern="1200" cap="none" spc="0" normalizeH="0" baseline="0" noProof="0" dirty="0">
                <a:ln>
                  <a:noFill/>
                </a:ln>
                <a:solidFill>
                  <a:schemeClr val="bg2">
                    <a:lumMod val="10000"/>
                  </a:schemeClr>
                </a:solidFill>
                <a:effectLst/>
                <a:uLnTx/>
                <a:uFillTx/>
              </a:rPr>
              <a:t>标题文本预设</a:t>
            </a:r>
            <a:endParaRPr kumimoji="0" lang="zh-CN" altLang="en-US" sz="2000" b="1" i="0" u="none" strike="noStrike" kern="1200" cap="none" spc="0" normalizeH="0" baseline="0" noProof="0" dirty="0">
              <a:ln>
                <a:noFill/>
              </a:ln>
              <a:solidFill>
                <a:schemeClr val="bg2">
                  <a:lumMod val="10000"/>
                </a:schemeClr>
              </a:solidFill>
              <a:effectLst/>
              <a:uLnTx/>
              <a:uFillTx/>
            </a:endParaRPr>
          </a:p>
        </p:txBody>
      </p:sp>
      <p:sp>
        <p:nvSpPr>
          <p:cNvPr id="22" name="išľíďè"/>
          <p:cNvSpPr/>
          <p:nvPr/>
        </p:nvSpPr>
        <p:spPr bwMode="auto">
          <a:xfrm>
            <a:off x="8478675" y="3029416"/>
            <a:ext cx="2929553"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lvl="0"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23" name="iSlíďè"/>
          <p:cNvSpPr txBox="1"/>
          <p:nvPr/>
        </p:nvSpPr>
        <p:spPr bwMode="auto">
          <a:xfrm>
            <a:off x="8451682" y="2695044"/>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000" b="1" i="0" u="none" strike="noStrike" kern="1200" cap="none" spc="0" normalizeH="0" baseline="0" noProof="0" dirty="0">
                <a:ln>
                  <a:noFill/>
                </a:ln>
                <a:solidFill>
                  <a:schemeClr val="bg2">
                    <a:lumMod val="10000"/>
                  </a:schemeClr>
                </a:solidFill>
                <a:effectLst/>
                <a:uLnTx/>
                <a:uFillTx/>
              </a:rPr>
              <a:t>标题文本预设</a:t>
            </a:r>
            <a:endParaRPr kumimoji="0" lang="zh-CN" altLang="en-US" sz="2000" b="1" i="0" u="none" strike="noStrike" kern="1200" cap="none" spc="0" normalizeH="0" baseline="0" noProof="0" dirty="0">
              <a:ln>
                <a:noFill/>
              </a:ln>
              <a:solidFill>
                <a:schemeClr val="bg2">
                  <a:lumMod val="10000"/>
                </a:schemeClr>
              </a:solidFill>
              <a:effectLst/>
              <a:uLnTx/>
              <a:uFillTx/>
            </a:endParaRPr>
          </a:p>
        </p:txBody>
      </p:sp>
      <p:sp>
        <p:nvSpPr>
          <p:cNvPr id="24" name="išľíďè"/>
          <p:cNvSpPr/>
          <p:nvPr/>
        </p:nvSpPr>
        <p:spPr bwMode="auto">
          <a:xfrm>
            <a:off x="8511603" y="5362366"/>
            <a:ext cx="2929553"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lvl="0"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25" name="iSlíďè"/>
          <p:cNvSpPr txBox="1"/>
          <p:nvPr/>
        </p:nvSpPr>
        <p:spPr bwMode="auto">
          <a:xfrm>
            <a:off x="8484610" y="5027994"/>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000" b="1" i="0" u="none" strike="noStrike" kern="1200" cap="none" spc="0" normalizeH="0" baseline="0" noProof="0" dirty="0">
                <a:ln>
                  <a:noFill/>
                </a:ln>
                <a:solidFill>
                  <a:schemeClr val="bg2">
                    <a:lumMod val="10000"/>
                  </a:schemeClr>
                </a:solidFill>
                <a:effectLst/>
                <a:uLnTx/>
                <a:uFillTx/>
              </a:rPr>
              <a:t>标题文本预设</a:t>
            </a:r>
            <a:endParaRPr kumimoji="0" lang="zh-CN" altLang="en-US" sz="2000" b="1" i="0" u="none" strike="noStrike" kern="1200" cap="none" spc="0" normalizeH="0" baseline="0" noProof="0" dirty="0">
              <a:ln>
                <a:noFill/>
              </a:ln>
              <a:solidFill>
                <a:schemeClr val="bg2">
                  <a:lumMod val="10000"/>
                </a:schemeClr>
              </a:solidFill>
              <a:effectLst/>
              <a:uLnTx/>
              <a:uFillTx/>
            </a:endParaRPr>
          </a:p>
        </p:txBody>
      </p:sp>
      <p:sp>
        <p:nvSpPr>
          <p:cNvPr id="3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30" name="图片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54448" name="think-cell Slide" r:id="rId2" imgW="12700" imgH="12700" progId="TCLayout.ActiveDocument.1">
                  <p:embed/>
                </p:oleObj>
              </mc:Choice>
              <mc:Fallback>
                <p:oleObj name="think-cell Slide" r:id="rId2" imgW="12700" imgH="12700" progId="TCLayout.ActiveDocument.1">
                  <p:embed/>
                  <p:pic>
                    <p:nvPicPr>
                      <p:cNvPr id="0" name="对象 4" hidden="1"/>
                      <p:cNvPicPr/>
                      <p:nvPr/>
                    </p:nvPicPr>
                    <p:blipFill>
                      <a:blip r:embed="rId3"/>
                      <a:stretch>
                        <a:fillRect/>
                      </a:stretch>
                    </p:blipFill>
                    <p:spPr>
                      <a:xfrm>
                        <a:off x="2118" y="2118"/>
                        <a:ext cx="2116" cy="2116"/>
                      </a:xfrm>
                      <a:prstGeom prst="rect">
                        <a:avLst/>
                      </a:prstGeom>
                    </p:spPr>
                  </p:pic>
                </p:oleObj>
              </mc:Fallback>
            </mc:AlternateContent>
          </a:graphicData>
        </a:graphic>
      </p:graphicFrame>
      <p:sp>
        <p:nvSpPr>
          <p:cNvPr id="81" name="Trapezoid 49"/>
          <p:cNvSpPr/>
          <p:nvPr/>
        </p:nvSpPr>
        <p:spPr>
          <a:xfrm>
            <a:off x="84083" y="5184040"/>
            <a:ext cx="12023835" cy="1089456"/>
          </a:xfrm>
          <a:prstGeom prst="trapezoid">
            <a:avLst>
              <a:gd name="adj" fmla="val 101106"/>
            </a:avLst>
          </a:prstGeom>
          <a:solidFill>
            <a:srgbClr val="E2E2E2"/>
          </a:solidFill>
          <a:ln w="9525" cap="flat" cmpd="sng" algn="ctr">
            <a:solidFill>
              <a:srgbClr val="E2E2E2"/>
            </a:solidFill>
            <a:prstDash val="solid"/>
          </a:ln>
          <a:effectLst/>
        </p:spPr>
        <p:txBody>
          <a:bodyPr tIns="120000" bIns="120000" rtlCol="0" anchor="ctr" anchorCtr="0"/>
          <a:lstStyle/>
          <a:p>
            <a:pPr algn="ctr" defTabSz="1219200">
              <a:defRPr/>
            </a:pPr>
            <a:endParaRPr lang="en-US" sz="1600" kern="0" dirty="0">
              <a:solidFill>
                <a:srgbClr val="000000"/>
              </a:solidFill>
              <a:latin typeface="Arial" panose="020B0604020202020204"/>
              <a:cs typeface="Arial" panose="020B0604020202020204" pitchFamily="34" charset="0"/>
            </a:endParaRPr>
          </a:p>
        </p:txBody>
      </p:sp>
      <p:sp>
        <p:nvSpPr>
          <p:cNvPr id="83" name="Right Triangle 6"/>
          <p:cNvSpPr/>
          <p:nvPr/>
        </p:nvSpPr>
        <p:spPr>
          <a:xfrm flipH="1" flipV="1">
            <a:off x="5128537" y="996301"/>
            <a:ext cx="777392" cy="773505"/>
          </a:xfrm>
          <a:prstGeom prst="rtTriangle">
            <a:avLst/>
          </a:prstGeom>
          <a:solidFill>
            <a:srgbClr val="FE5817"/>
          </a:solidFill>
          <a:ln w="9525" cap="flat" cmpd="sng" algn="ctr">
            <a:solidFill>
              <a:srgbClr val="FFFFFF"/>
            </a:solidFill>
            <a:prstDash val="solid"/>
          </a:ln>
          <a:effectLst/>
        </p:spPr>
        <p:txBody>
          <a:bodyPr tIns="120000" bIns="120000" rtlCol="0" anchor="ctr" anchorCtr="0"/>
          <a:lstStyle/>
          <a:p>
            <a:pPr algn="ctr" defTabSz="1219200">
              <a:defRPr/>
            </a:pPr>
            <a:endParaRPr lang="en-US" sz="1600" kern="0" dirty="0">
              <a:solidFill>
                <a:srgbClr val="000000"/>
              </a:solidFill>
              <a:latin typeface="Arial" panose="020B0604020202020204"/>
              <a:cs typeface="Arial" panose="020B0604020202020204" pitchFamily="34" charset="0"/>
            </a:endParaRPr>
          </a:p>
        </p:txBody>
      </p:sp>
      <p:sp>
        <p:nvSpPr>
          <p:cNvPr id="82" name="Snip Single Corner Rectangle 2"/>
          <p:cNvSpPr/>
          <p:nvPr/>
        </p:nvSpPr>
        <p:spPr>
          <a:xfrm>
            <a:off x="1044868" y="996303"/>
            <a:ext cx="4861065" cy="5050536"/>
          </a:xfrm>
          <a:prstGeom prst="snip1Rect">
            <a:avLst>
              <a:gd name="adj" fmla="val 17696"/>
            </a:avLst>
          </a:prstGeom>
          <a:solidFill>
            <a:srgbClr val="FFFFFF"/>
          </a:solidFill>
          <a:ln w="9525" cap="flat" cmpd="sng" algn="ctr">
            <a:solidFill>
              <a:srgbClr val="808080"/>
            </a:solidFill>
            <a:prstDash val="solid"/>
            <a:round/>
            <a:headEnd type="none" w="med" len="med"/>
            <a:tailEnd type="none" w="med" len="med"/>
          </a:ln>
          <a:effectLst/>
        </p:spPr>
        <p:txBody>
          <a:bodyPr tIns="120000" bIns="120000" rtlCol="0" anchor="ctr" anchorCtr="0"/>
          <a:lstStyle/>
          <a:p>
            <a:pPr algn="ctr" defTabSz="1219200">
              <a:defRPr/>
            </a:pPr>
            <a:endParaRPr lang="en-US" sz="1600" kern="0" dirty="0">
              <a:solidFill>
                <a:srgbClr val="000000"/>
              </a:solidFill>
              <a:latin typeface="Arial" panose="020B0604020202020204"/>
              <a:cs typeface="Arial" panose="020B0604020202020204" pitchFamily="34" charset="0"/>
            </a:endParaRPr>
          </a:p>
        </p:txBody>
      </p:sp>
      <p:sp>
        <p:nvSpPr>
          <p:cNvPr id="84" name="Rectangle 15"/>
          <p:cNvSpPr/>
          <p:nvPr/>
        </p:nvSpPr>
        <p:spPr>
          <a:xfrm>
            <a:off x="1162131" y="1128566"/>
            <a:ext cx="4051707" cy="461665"/>
          </a:xfrm>
          <a:prstGeom prst="rect">
            <a:avLst/>
          </a:prstGeom>
        </p:spPr>
        <p:txBody>
          <a:bodyPr wrap="square">
            <a:spAutoFit/>
          </a:bodyPr>
          <a:lstStyle/>
          <a:p>
            <a:pPr defTabSz="1219200"/>
            <a:r>
              <a:rPr lang="zh-CN" altLang="en-US" sz="2400" b="1" dirty="0">
                <a:solidFill>
                  <a:schemeClr val="accent1">
                    <a:lumMod val="75000"/>
                  </a:schemeClr>
                </a:solidFill>
                <a:cs typeface="Arial" panose="020B0604020202020204" pitchFamily="34" charset="0"/>
              </a:rPr>
              <a:t>内部欺诈的严重性</a:t>
            </a:r>
            <a:endParaRPr lang="zh-CN" altLang="en-US" sz="2400" b="1" dirty="0">
              <a:solidFill>
                <a:schemeClr val="accent1">
                  <a:lumMod val="75000"/>
                </a:schemeClr>
              </a:solidFill>
              <a:cs typeface="Arial" panose="020B0604020202020204" pitchFamily="34" charset="0"/>
            </a:endParaRPr>
          </a:p>
        </p:txBody>
      </p:sp>
      <p:sp>
        <p:nvSpPr>
          <p:cNvPr id="85" name="Rounded Rectangle 17"/>
          <p:cNvSpPr/>
          <p:nvPr/>
        </p:nvSpPr>
        <p:spPr>
          <a:xfrm>
            <a:off x="1328738" y="1793973"/>
            <a:ext cx="4344609" cy="1274073"/>
          </a:xfrm>
          <a:prstGeom prst="roundRect">
            <a:avLst>
              <a:gd name="adj" fmla="val 6921"/>
            </a:avLst>
          </a:prstGeom>
          <a:gradFill flip="none" rotWithShape="1">
            <a:gsLst>
              <a:gs pos="0">
                <a:srgbClr val="E2E2E2">
                  <a:lumMod val="97000"/>
                  <a:lumOff val="3000"/>
                  <a:alpha val="0"/>
                </a:srgbClr>
              </a:gs>
              <a:gs pos="100000">
                <a:srgbClr val="E2E2E2">
                  <a:lumMod val="60000"/>
                  <a:lumOff val="40000"/>
                </a:srgbClr>
              </a:gs>
            </a:gsLst>
            <a:lin ang="0" scaled="0"/>
            <a:tileRect/>
          </a:gradFill>
          <a:ln w="9525" cap="flat" cmpd="sng" algn="ctr">
            <a:noFill/>
            <a:prstDash val="solid"/>
          </a:ln>
          <a:effectLst/>
        </p:spPr>
        <p:txBody>
          <a:bodyPr lIns="47984" tIns="120000" rIns="47984" bIns="120000" rtlCol="0" anchor="ctr" anchorCtr="0"/>
          <a:lstStyle/>
          <a:p>
            <a:r>
              <a:rPr lang="en-US" altLang="zh-CN" sz="1600" dirty="0"/>
              <a:t>2014</a:t>
            </a:r>
            <a:r>
              <a:rPr lang="zh-CN" altLang="en-US" sz="1600" dirty="0"/>
              <a:t>年，全球银行业因欺诈而蒙受损失预计</a:t>
            </a:r>
            <a:r>
              <a:rPr lang="zh-CN" altLang="en-US" sz="1600" dirty="0" smtClean="0"/>
              <a:t>达</a:t>
            </a:r>
            <a:r>
              <a:rPr lang="en-US" altLang="zh-CN" sz="2135" b="1" dirty="0" smtClean="0">
                <a:solidFill>
                  <a:schemeClr val="accent1">
                    <a:lumMod val="75000"/>
                  </a:schemeClr>
                </a:solidFill>
              </a:rPr>
              <a:t>XX</a:t>
            </a:r>
            <a:r>
              <a:rPr lang="zh-CN" altLang="en-US" sz="2135" b="1" dirty="0" smtClean="0">
                <a:solidFill>
                  <a:schemeClr val="accent1">
                    <a:lumMod val="75000"/>
                  </a:schemeClr>
                </a:solidFill>
              </a:rPr>
              <a:t>亿</a:t>
            </a:r>
            <a:r>
              <a:rPr lang="zh-CN" altLang="en-US" sz="2135" b="1" dirty="0">
                <a:solidFill>
                  <a:schemeClr val="accent1">
                    <a:lumMod val="75000"/>
                  </a:schemeClr>
                </a:solidFill>
              </a:rPr>
              <a:t>美元</a:t>
            </a:r>
            <a:r>
              <a:rPr lang="zh-CN" altLang="en-US" sz="1600" dirty="0"/>
              <a:t>，</a:t>
            </a:r>
            <a:r>
              <a:rPr lang="zh-CN" altLang="en-US" sz="1600" dirty="0" smtClean="0"/>
              <a:t>其中</a:t>
            </a:r>
            <a:r>
              <a:rPr lang="en-US" altLang="zh-CN" sz="2135" b="1" dirty="0" smtClean="0">
                <a:solidFill>
                  <a:schemeClr val="accent1">
                    <a:lumMod val="75000"/>
                  </a:schemeClr>
                </a:solidFill>
              </a:rPr>
              <a:t>XX%</a:t>
            </a:r>
            <a:r>
              <a:rPr lang="zh-CN" altLang="en-US" sz="1600" dirty="0"/>
              <a:t>源于内部。大部分仍未被发现。</a:t>
            </a:r>
            <a:endParaRPr lang="zh-CN" altLang="en-US" sz="1600" dirty="0"/>
          </a:p>
          <a:p>
            <a:pPr algn="r"/>
            <a:r>
              <a:rPr lang="en-US" altLang="zh-CN" sz="1600" dirty="0"/>
              <a:t>——</a:t>
            </a:r>
            <a:r>
              <a:rPr lang="en-US" altLang="zh-CN" sz="1600" dirty="0" err="1"/>
              <a:t>注册舞弊审核师协会</a:t>
            </a:r>
            <a:r>
              <a:rPr lang="en-US" altLang="zh-CN" sz="1600" dirty="0"/>
              <a:t>(ACFE)</a:t>
            </a:r>
            <a:endParaRPr lang="en-US" altLang="zh-CN" sz="1600" dirty="0"/>
          </a:p>
        </p:txBody>
      </p:sp>
      <p:sp>
        <p:nvSpPr>
          <p:cNvPr id="86" name="Rounded Rectangle 18"/>
          <p:cNvSpPr/>
          <p:nvPr/>
        </p:nvSpPr>
        <p:spPr>
          <a:xfrm>
            <a:off x="1328738" y="3225869"/>
            <a:ext cx="4344609" cy="1274073"/>
          </a:xfrm>
          <a:prstGeom prst="roundRect">
            <a:avLst>
              <a:gd name="adj" fmla="val 7895"/>
            </a:avLst>
          </a:prstGeom>
          <a:gradFill flip="none" rotWithShape="1">
            <a:gsLst>
              <a:gs pos="0">
                <a:srgbClr val="E2E2E2">
                  <a:lumMod val="97000"/>
                  <a:lumOff val="3000"/>
                  <a:alpha val="0"/>
                </a:srgbClr>
              </a:gs>
              <a:gs pos="100000">
                <a:srgbClr val="E2E2E2">
                  <a:lumMod val="60000"/>
                  <a:lumOff val="40000"/>
                </a:srgbClr>
              </a:gs>
            </a:gsLst>
            <a:lin ang="0" scaled="0"/>
            <a:tileRect/>
          </a:gradFill>
          <a:ln w="9525" cap="flat" cmpd="sng" algn="ctr">
            <a:noFill/>
            <a:prstDash val="solid"/>
          </a:ln>
          <a:effectLst/>
        </p:spPr>
        <p:txBody>
          <a:bodyPr lIns="48000" tIns="0" rIns="1200000" bIns="48000" rtlCol="0" anchor="ctr" anchorCtr="0"/>
          <a:lstStyle/>
          <a:p>
            <a:pPr algn="just"/>
            <a:r>
              <a:rPr lang="zh-CN" altLang="en-US" sz="1600" dirty="0"/>
              <a:t>平均而言，一家银行因欺诈而蒙受的损失占总收入的</a:t>
            </a:r>
            <a:endParaRPr lang="en-US" altLang="zh-CN" sz="1600" dirty="0"/>
          </a:p>
        </p:txBody>
      </p:sp>
      <p:sp>
        <p:nvSpPr>
          <p:cNvPr id="87" name="Rounded Rectangle 19"/>
          <p:cNvSpPr/>
          <p:nvPr/>
        </p:nvSpPr>
        <p:spPr>
          <a:xfrm>
            <a:off x="1328738" y="4674444"/>
            <a:ext cx="4344609" cy="1274073"/>
          </a:xfrm>
          <a:prstGeom prst="roundRect">
            <a:avLst>
              <a:gd name="adj" fmla="val 4971"/>
            </a:avLst>
          </a:prstGeom>
          <a:gradFill flip="none" rotWithShape="1">
            <a:gsLst>
              <a:gs pos="0">
                <a:srgbClr val="E2E2E2">
                  <a:lumMod val="97000"/>
                  <a:lumOff val="3000"/>
                  <a:alpha val="0"/>
                </a:srgbClr>
              </a:gs>
              <a:gs pos="100000">
                <a:srgbClr val="E2E2E2">
                  <a:lumMod val="60000"/>
                  <a:lumOff val="40000"/>
                </a:srgbClr>
              </a:gs>
            </a:gsLst>
            <a:lin ang="0" scaled="0"/>
            <a:tileRect/>
          </a:gradFill>
          <a:ln w="9525" cap="flat" cmpd="sng" algn="ctr">
            <a:noFill/>
            <a:prstDash val="solid"/>
          </a:ln>
          <a:effectLst/>
        </p:spPr>
        <p:txBody>
          <a:bodyPr lIns="48000" tIns="0" rIns="1200000" bIns="48000" rtlCol="0" anchor="ctr" anchorCtr="0"/>
          <a:lstStyle/>
          <a:p>
            <a:pPr algn="just"/>
            <a:r>
              <a:rPr lang="zh-CN" altLang="en-US" sz="1600" dirty="0"/>
              <a:t>金融机构因欺诈所蒙受损失金额达</a:t>
            </a:r>
            <a:r>
              <a:rPr lang="en-US" altLang="zh-CN" sz="1600" dirty="0" smtClean="0"/>
              <a:t>$</a:t>
            </a:r>
            <a:r>
              <a:rPr lang="en-US" altLang="zh-CN" sz="1600" dirty="0" err="1" smtClean="0"/>
              <a:t>XXm</a:t>
            </a:r>
            <a:r>
              <a:rPr lang="en-US" altLang="zh-CN" sz="1600" dirty="0" smtClean="0"/>
              <a:t>-$</a:t>
            </a:r>
            <a:r>
              <a:rPr lang="en-US" altLang="zh-CN" sz="1600" dirty="0" err="1" smtClean="0"/>
              <a:t>XXXm</a:t>
            </a:r>
            <a:r>
              <a:rPr lang="zh-CN" altLang="en-US" sz="1600" dirty="0"/>
              <a:t>的案例数量增加了</a:t>
            </a:r>
            <a:endParaRPr lang="en-US" altLang="zh-CN" sz="1600" dirty="0"/>
          </a:p>
        </p:txBody>
      </p:sp>
      <p:cxnSp>
        <p:nvCxnSpPr>
          <p:cNvPr id="88" name="Straight Connector 23"/>
          <p:cNvCxnSpPr/>
          <p:nvPr/>
        </p:nvCxnSpPr>
        <p:spPr>
          <a:xfrm>
            <a:off x="1405376" y="3123713"/>
            <a:ext cx="4267971" cy="0"/>
          </a:xfrm>
          <a:prstGeom prst="line">
            <a:avLst/>
          </a:prstGeom>
          <a:noFill/>
          <a:ln w="9525" cap="flat" cmpd="sng" algn="ctr">
            <a:solidFill>
              <a:srgbClr val="808080"/>
            </a:solidFill>
            <a:prstDash val="dash"/>
          </a:ln>
          <a:effectLst/>
        </p:spPr>
      </p:cxnSp>
      <p:cxnSp>
        <p:nvCxnSpPr>
          <p:cNvPr id="89" name="Straight Connector 24"/>
          <p:cNvCxnSpPr/>
          <p:nvPr/>
        </p:nvCxnSpPr>
        <p:spPr>
          <a:xfrm>
            <a:off x="1405376" y="4582221"/>
            <a:ext cx="4267971" cy="0"/>
          </a:xfrm>
          <a:prstGeom prst="line">
            <a:avLst/>
          </a:prstGeom>
          <a:noFill/>
          <a:ln w="9525" cap="flat" cmpd="sng" algn="ctr">
            <a:solidFill>
              <a:srgbClr val="808080"/>
            </a:solidFill>
            <a:prstDash val="dash"/>
          </a:ln>
          <a:effectLst/>
        </p:spPr>
      </p:cxnSp>
      <p:sp>
        <p:nvSpPr>
          <p:cNvPr id="122" name="Oval 92"/>
          <p:cNvSpPr>
            <a:spLocks noChangeArrowheads="1"/>
          </p:cNvSpPr>
          <p:nvPr/>
        </p:nvSpPr>
        <p:spPr bwMode="auto">
          <a:xfrm>
            <a:off x="5735190" y="1111962"/>
            <a:ext cx="42772" cy="48850"/>
          </a:xfrm>
          <a:prstGeom prst="ellipse">
            <a:avLst/>
          </a:prstGeom>
          <a:solidFill>
            <a:schemeClr val="bg1"/>
          </a:solidFill>
          <a:ln>
            <a:noFill/>
          </a:ln>
        </p:spPr>
        <p:txBody>
          <a:bodyPr vert="horz" wrap="square" lIns="121920" tIns="60960" rIns="121920" bIns="60960" numCol="1" anchor="t" anchorCtr="0" compatLnSpc="1"/>
          <a:lstStyle/>
          <a:p>
            <a:endParaRPr lang="en-US" sz="2400"/>
          </a:p>
        </p:txBody>
      </p:sp>
      <p:sp>
        <p:nvSpPr>
          <p:cNvPr id="123" name="Freeform 93"/>
          <p:cNvSpPr>
            <a:spLocks noEditPoints="1"/>
          </p:cNvSpPr>
          <p:nvPr/>
        </p:nvSpPr>
        <p:spPr bwMode="auto">
          <a:xfrm>
            <a:off x="5702528" y="1146230"/>
            <a:ext cx="129871" cy="221646"/>
          </a:xfrm>
          <a:custGeom>
            <a:avLst/>
            <a:gdLst>
              <a:gd name="T0" fmla="*/ 83 w 84"/>
              <a:gd name="T1" fmla="*/ 42 h 153"/>
              <a:gd name="T2" fmla="*/ 83 w 84"/>
              <a:gd name="T3" fmla="*/ 42 h 153"/>
              <a:gd name="T4" fmla="*/ 83 w 84"/>
              <a:gd name="T5" fmla="*/ 42 h 153"/>
              <a:gd name="T6" fmla="*/ 60 w 84"/>
              <a:gd name="T7" fmla="*/ 17 h 153"/>
              <a:gd name="T8" fmla="*/ 54 w 84"/>
              <a:gd name="T9" fmla="*/ 14 h 153"/>
              <a:gd name="T10" fmla="*/ 47 w 84"/>
              <a:gd name="T11" fmla="*/ 14 h 153"/>
              <a:gd name="T12" fmla="*/ 52 w 84"/>
              <a:gd name="T13" fmla="*/ 18 h 153"/>
              <a:gd name="T14" fmla="*/ 45 w 84"/>
              <a:gd name="T15" fmla="*/ 21 h 153"/>
              <a:gd name="T16" fmla="*/ 48 w 84"/>
              <a:gd name="T17" fmla="*/ 27 h 153"/>
              <a:gd name="T18" fmla="*/ 39 w 84"/>
              <a:gd name="T19" fmla="*/ 47 h 153"/>
              <a:gd name="T20" fmla="*/ 38 w 84"/>
              <a:gd name="T21" fmla="*/ 19 h 153"/>
              <a:gd name="T22" fmla="*/ 39 w 84"/>
              <a:gd name="T23" fmla="*/ 18 h 153"/>
              <a:gd name="T24" fmla="*/ 37 w 84"/>
              <a:gd name="T25" fmla="*/ 11 h 153"/>
              <a:gd name="T26" fmla="*/ 32 w 84"/>
              <a:gd name="T27" fmla="*/ 11 h 153"/>
              <a:gd name="T28" fmla="*/ 30 w 84"/>
              <a:gd name="T29" fmla="*/ 18 h 153"/>
              <a:gd name="T30" fmla="*/ 31 w 84"/>
              <a:gd name="T31" fmla="*/ 19 h 153"/>
              <a:gd name="T32" fmla="*/ 30 w 84"/>
              <a:gd name="T33" fmla="*/ 47 h 153"/>
              <a:gd name="T34" fmla="*/ 20 w 84"/>
              <a:gd name="T35" fmla="*/ 27 h 153"/>
              <a:gd name="T36" fmla="*/ 24 w 84"/>
              <a:gd name="T37" fmla="*/ 21 h 153"/>
              <a:gd name="T38" fmla="*/ 17 w 84"/>
              <a:gd name="T39" fmla="*/ 18 h 153"/>
              <a:gd name="T40" fmla="*/ 23 w 84"/>
              <a:gd name="T41" fmla="*/ 13 h 153"/>
              <a:gd name="T42" fmla="*/ 22 w 84"/>
              <a:gd name="T43" fmla="*/ 12 h 153"/>
              <a:gd name="T44" fmla="*/ 6 w 84"/>
              <a:gd name="T45" fmla="*/ 5 h 153"/>
              <a:gd name="T46" fmla="*/ 0 w 84"/>
              <a:gd name="T47" fmla="*/ 0 h 153"/>
              <a:gd name="T48" fmla="*/ 0 w 84"/>
              <a:gd name="T49" fmla="*/ 21 h 153"/>
              <a:gd name="T50" fmla="*/ 13 w 84"/>
              <a:gd name="T51" fmla="*/ 26 h 153"/>
              <a:gd name="T52" fmla="*/ 11 w 84"/>
              <a:gd name="T53" fmla="*/ 87 h 153"/>
              <a:gd name="T54" fmla="*/ 11 w 84"/>
              <a:gd name="T55" fmla="*/ 87 h 153"/>
              <a:gd name="T56" fmla="*/ 13 w 84"/>
              <a:gd name="T57" fmla="*/ 87 h 153"/>
              <a:gd name="T58" fmla="*/ 15 w 84"/>
              <a:gd name="T59" fmla="*/ 153 h 153"/>
              <a:gd name="T60" fmla="*/ 34 w 84"/>
              <a:gd name="T61" fmla="*/ 153 h 153"/>
              <a:gd name="T62" fmla="*/ 34 w 84"/>
              <a:gd name="T63" fmla="*/ 87 h 153"/>
              <a:gd name="T64" fmla="*/ 36 w 84"/>
              <a:gd name="T65" fmla="*/ 87 h 153"/>
              <a:gd name="T66" fmla="*/ 38 w 84"/>
              <a:gd name="T67" fmla="*/ 153 h 153"/>
              <a:gd name="T68" fmla="*/ 57 w 84"/>
              <a:gd name="T69" fmla="*/ 153 h 153"/>
              <a:gd name="T70" fmla="*/ 57 w 84"/>
              <a:gd name="T71" fmla="*/ 87 h 153"/>
              <a:gd name="T72" fmla="*/ 59 w 84"/>
              <a:gd name="T73" fmla="*/ 87 h 153"/>
              <a:gd name="T74" fmla="*/ 59 w 84"/>
              <a:gd name="T75" fmla="*/ 87 h 153"/>
              <a:gd name="T76" fmla="*/ 58 w 84"/>
              <a:gd name="T77" fmla="*/ 77 h 153"/>
              <a:gd name="T78" fmla="*/ 69 w 84"/>
              <a:gd name="T79" fmla="*/ 82 h 153"/>
              <a:gd name="T80" fmla="*/ 77 w 84"/>
              <a:gd name="T81" fmla="*/ 67 h 153"/>
              <a:gd name="T82" fmla="*/ 80 w 84"/>
              <a:gd name="T83" fmla="*/ 60 h 153"/>
              <a:gd name="T84" fmla="*/ 82 w 84"/>
              <a:gd name="T85" fmla="*/ 56 h 153"/>
              <a:gd name="T86" fmla="*/ 83 w 84"/>
              <a:gd name="T87" fmla="*/ 54 h 153"/>
              <a:gd name="T88" fmla="*/ 84 w 84"/>
              <a:gd name="T89" fmla="*/ 53 h 153"/>
              <a:gd name="T90" fmla="*/ 84 w 84"/>
              <a:gd name="T91" fmla="*/ 52 h 153"/>
              <a:gd name="T92" fmla="*/ 83 w 84"/>
              <a:gd name="T93" fmla="*/ 42 h 153"/>
              <a:gd name="T94" fmla="*/ 65 w 84"/>
              <a:gd name="T95" fmla="*/ 51 h 153"/>
              <a:gd name="T96" fmla="*/ 60 w 84"/>
              <a:gd name="T97" fmla="*/ 58 h 153"/>
              <a:gd name="T98" fmla="*/ 58 w 84"/>
              <a:gd name="T99" fmla="*/ 62 h 153"/>
              <a:gd name="T100" fmla="*/ 57 w 84"/>
              <a:gd name="T101" fmla="*/ 39 h 153"/>
              <a:gd name="T102" fmla="*/ 66 w 84"/>
              <a:gd name="T103" fmla="*/ 49 h 153"/>
              <a:gd name="T104" fmla="*/ 65 w 84"/>
              <a:gd name="T105"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 h="153">
                <a:moveTo>
                  <a:pt x="83" y="42"/>
                </a:moveTo>
                <a:cubicBezTo>
                  <a:pt x="83" y="42"/>
                  <a:pt x="83" y="42"/>
                  <a:pt x="83" y="42"/>
                </a:cubicBezTo>
                <a:cubicBezTo>
                  <a:pt x="83" y="42"/>
                  <a:pt x="83" y="42"/>
                  <a:pt x="83" y="42"/>
                </a:cubicBezTo>
                <a:cubicBezTo>
                  <a:pt x="60" y="17"/>
                  <a:pt x="60" y="17"/>
                  <a:pt x="60" y="17"/>
                </a:cubicBezTo>
                <a:cubicBezTo>
                  <a:pt x="58" y="15"/>
                  <a:pt x="56" y="14"/>
                  <a:pt x="54" y="14"/>
                </a:cubicBezTo>
                <a:cubicBezTo>
                  <a:pt x="54" y="14"/>
                  <a:pt x="49" y="14"/>
                  <a:pt x="47" y="14"/>
                </a:cubicBezTo>
                <a:cubicBezTo>
                  <a:pt x="52" y="18"/>
                  <a:pt x="52" y="18"/>
                  <a:pt x="52" y="18"/>
                </a:cubicBezTo>
                <a:cubicBezTo>
                  <a:pt x="45" y="21"/>
                  <a:pt x="45" y="21"/>
                  <a:pt x="45" y="21"/>
                </a:cubicBezTo>
                <a:cubicBezTo>
                  <a:pt x="48" y="27"/>
                  <a:pt x="48" y="27"/>
                  <a:pt x="48" y="27"/>
                </a:cubicBezTo>
                <a:cubicBezTo>
                  <a:pt x="39" y="47"/>
                  <a:pt x="39" y="47"/>
                  <a:pt x="39" y="47"/>
                </a:cubicBezTo>
                <a:cubicBezTo>
                  <a:pt x="38" y="19"/>
                  <a:pt x="38" y="19"/>
                  <a:pt x="38" y="19"/>
                </a:cubicBezTo>
                <a:cubicBezTo>
                  <a:pt x="39" y="18"/>
                  <a:pt x="39" y="18"/>
                  <a:pt x="39" y="18"/>
                </a:cubicBezTo>
                <a:cubicBezTo>
                  <a:pt x="37" y="11"/>
                  <a:pt x="37" y="11"/>
                  <a:pt x="37" y="11"/>
                </a:cubicBezTo>
                <a:cubicBezTo>
                  <a:pt x="32" y="11"/>
                  <a:pt x="32" y="11"/>
                  <a:pt x="32" y="11"/>
                </a:cubicBezTo>
                <a:cubicBezTo>
                  <a:pt x="30" y="18"/>
                  <a:pt x="30" y="18"/>
                  <a:pt x="30" y="18"/>
                </a:cubicBezTo>
                <a:cubicBezTo>
                  <a:pt x="31" y="19"/>
                  <a:pt x="31" y="19"/>
                  <a:pt x="31" y="19"/>
                </a:cubicBezTo>
                <a:cubicBezTo>
                  <a:pt x="30" y="47"/>
                  <a:pt x="30" y="47"/>
                  <a:pt x="30" y="47"/>
                </a:cubicBezTo>
                <a:cubicBezTo>
                  <a:pt x="20" y="27"/>
                  <a:pt x="20" y="27"/>
                  <a:pt x="20" y="27"/>
                </a:cubicBezTo>
                <a:cubicBezTo>
                  <a:pt x="24" y="21"/>
                  <a:pt x="24" y="21"/>
                  <a:pt x="24" y="21"/>
                </a:cubicBezTo>
                <a:cubicBezTo>
                  <a:pt x="17" y="18"/>
                  <a:pt x="17" y="18"/>
                  <a:pt x="17" y="18"/>
                </a:cubicBezTo>
                <a:cubicBezTo>
                  <a:pt x="23" y="13"/>
                  <a:pt x="23" y="13"/>
                  <a:pt x="23" y="13"/>
                </a:cubicBezTo>
                <a:cubicBezTo>
                  <a:pt x="22" y="12"/>
                  <a:pt x="22" y="12"/>
                  <a:pt x="22" y="12"/>
                </a:cubicBezTo>
                <a:cubicBezTo>
                  <a:pt x="16" y="9"/>
                  <a:pt x="8" y="6"/>
                  <a:pt x="6" y="5"/>
                </a:cubicBezTo>
                <a:cubicBezTo>
                  <a:pt x="0" y="0"/>
                  <a:pt x="0" y="0"/>
                  <a:pt x="0" y="0"/>
                </a:cubicBezTo>
                <a:cubicBezTo>
                  <a:pt x="0" y="21"/>
                  <a:pt x="0" y="21"/>
                  <a:pt x="0" y="21"/>
                </a:cubicBezTo>
                <a:cubicBezTo>
                  <a:pt x="5" y="23"/>
                  <a:pt x="9" y="24"/>
                  <a:pt x="13" y="26"/>
                </a:cubicBezTo>
                <a:cubicBezTo>
                  <a:pt x="12" y="46"/>
                  <a:pt x="11" y="66"/>
                  <a:pt x="11" y="87"/>
                </a:cubicBezTo>
                <a:cubicBezTo>
                  <a:pt x="11" y="87"/>
                  <a:pt x="11" y="87"/>
                  <a:pt x="11" y="87"/>
                </a:cubicBezTo>
                <a:cubicBezTo>
                  <a:pt x="12" y="87"/>
                  <a:pt x="12" y="87"/>
                  <a:pt x="13" y="87"/>
                </a:cubicBezTo>
                <a:cubicBezTo>
                  <a:pt x="15" y="153"/>
                  <a:pt x="15" y="153"/>
                  <a:pt x="15" y="153"/>
                </a:cubicBezTo>
                <a:cubicBezTo>
                  <a:pt x="34" y="153"/>
                  <a:pt x="34" y="153"/>
                  <a:pt x="34" y="153"/>
                </a:cubicBezTo>
                <a:cubicBezTo>
                  <a:pt x="34" y="134"/>
                  <a:pt x="34" y="100"/>
                  <a:pt x="34" y="87"/>
                </a:cubicBezTo>
                <a:cubicBezTo>
                  <a:pt x="34" y="87"/>
                  <a:pt x="35" y="87"/>
                  <a:pt x="36" y="87"/>
                </a:cubicBezTo>
                <a:cubicBezTo>
                  <a:pt x="38" y="153"/>
                  <a:pt x="38" y="153"/>
                  <a:pt x="38" y="153"/>
                </a:cubicBezTo>
                <a:cubicBezTo>
                  <a:pt x="57" y="153"/>
                  <a:pt x="57" y="153"/>
                  <a:pt x="57" y="153"/>
                </a:cubicBezTo>
                <a:cubicBezTo>
                  <a:pt x="57" y="134"/>
                  <a:pt x="57" y="100"/>
                  <a:pt x="57" y="87"/>
                </a:cubicBezTo>
                <a:cubicBezTo>
                  <a:pt x="57" y="87"/>
                  <a:pt x="58" y="87"/>
                  <a:pt x="59" y="87"/>
                </a:cubicBezTo>
                <a:cubicBezTo>
                  <a:pt x="59" y="87"/>
                  <a:pt x="59" y="87"/>
                  <a:pt x="59" y="87"/>
                </a:cubicBezTo>
                <a:cubicBezTo>
                  <a:pt x="59" y="83"/>
                  <a:pt x="58" y="80"/>
                  <a:pt x="58" y="77"/>
                </a:cubicBezTo>
                <a:cubicBezTo>
                  <a:pt x="62" y="79"/>
                  <a:pt x="65" y="81"/>
                  <a:pt x="69" y="82"/>
                </a:cubicBezTo>
                <a:cubicBezTo>
                  <a:pt x="77" y="67"/>
                  <a:pt x="77" y="67"/>
                  <a:pt x="77" y="67"/>
                </a:cubicBezTo>
                <a:cubicBezTo>
                  <a:pt x="80" y="60"/>
                  <a:pt x="80" y="60"/>
                  <a:pt x="80" y="60"/>
                </a:cubicBezTo>
                <a:cubicBezTo>
                  <a:pt x="82" y="56"/>
                  <a:pt x="82" y="56"/>
                  <a:pt x="82" y="56"/>
                </a:cubicBezTo>
                <a:cubicBezTo>
                  <a:pt x="83" y="54"/>
                  <a:pt x="83" y="54"/>
                  <a:pt x="83" y="54"/>
                </a:cubicBezTo>
                <a:cubicBezTo>
                  <a:pt x="84" y="53"/>
                  <a:pt x="84" y="53"/>
                  <a:pt x="84" y="53"/>
                </a:cubicBezTo>
                <a:cubicBezTo>
                  <a:pt x="84" y="52"/>
                  <a:pt x="84" y="52"/>
                  <a:pt x="84" y="52"/>
                </a:cubicBezTo>
                <a:lnTo>
                  <a:pt x="83" y="42"/>
                </a:lnTo>
                <a:close/>
                <a:moveTo>
                  <a:pt x="65" y="51"/>
                </a:moveTo>
                <a:cubicBezTo>
                  <a:pt x="60" y="58"/>
                  <a:pt x="60" y="58"/>
                  <a:pt x="60" y="58"/>
                </a:cubicBezTo>
                <a:cubicBezTo>
                  <a:pt x="58" y="62"/>
                  <a:pt x="58" y="62"/>
                  <a:pt x="58" y="62"/>
                </a:cubicBezTo>
                <a:cubicBezTo>
                  <a:pt x="58" y="54"/>
                  <a:pt x="58" y="47"/>
                  <a:pt x="57" y="39"/>
                </a:cubicBezTo>
                <a:cubicBezTo>
                  <a:pt x="66" y="49"/>
                  <a:pt x="66" y="49"/>
                  <a:pt x="66" y="49"/>
                </a:cubicBezTo>
                <a:lnTo>
                  <a:pt x="65" y="51"/>
                </a:ln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124" name="Freeform 94"/>
          <p:cNvSpPr/>
          <p:nvPr/>
        </p:nvSpPr>
        <p:spPr bwMode="auto">
          <a:xfrm>
            <a:off x="5583544" y="1150605"/>
            <a:ext cx="95653" cy="10207"/>
          </a:xfrm>
          <a:custGeom>
            <a:avLst/>
            <a:gdLst>
              <a:gd name="T0" fmla="*/ 58 w 62"/>
              <a:gd name="T1" fmla="*/ 7 h 7"/>
              <a:gd name="T2" fmla="*/ 4 w 62"/>
              <a:gd name="T3" fmla="*/ 7 h 7"/>
              <a:gd name="T4" fmla="*/ 0 w 62"/>
              <a:gd name="T5" fmla="*/ 4 h 7"/>
              <a:gd name="T6" fmla="*/ 4 w 62"/>
              <a:gd name="T7" fmla="*/ 0 h 7"/>
              <a:gd name="T8" fmla="*/ 58 w 62"/>
              <a:gd name="T9" fmla="*/ 0 h 7"/>
              <a:gd name="T10" fmla="*/ 62 w 62"/>
              <a:gd name="T11" fmla="*/ 4 h 7"/>
              <a:gd name="T12" fmla="*/ 58 w 6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2" h="7">
                <a:moveTo>
                  <a:pt x="58" y="7"/>
                </a:moveTo>
                <a:cubicBezTo>
                  <a:pt x="4" y="7"/>
                  <a:pt x="4" y="7"/>
                  <a:pt x="4" y="7"/>
                </a:cubicBezTo>
                <a:cubicBezTo>
                  <a:pt x="2" y="7"/>
                  <a:pt x="0" y="6"/>
                  <a:pt x="0" y="4"/>
                </a:cubicBezTo>
                <a:cubicBezTo>
                  <a:pt x="0" y="2"/>
                  <a:pt x="2" y="0"/>
                  <a:pt x="4" y="0"/>
                </a:cubicBezTo>
                <a:cubicBezTo>
                  <a:pt x="58" y="0"/>
                  <a:pt x="58" y="0"/>
                  <a:pt x="58" y="0"/>
                </a:cubicBezTo>
                <a:cubicBezTo>
                  <a:pt x="61" y="0"/>
                  <a:pt x="62" y="2"/>
                  <a:pt x="62" y="4"/>
                </a:cubicBezTo>
                <a:cubicBezTo>
                  <a:pt x="62" y="6"/>
                  <a:pt x="61" y="7"/>
                  <a:pt x="58" y="7"/>
                </a:cubicBez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125" name="Freeform 95"/>
          <p:cNvSpPr/>
          <p:nvPr/>
        </p:nvSpPr>
        <p:spPr bwMode="auto">
          <a:xfrm>
            <a:off x="5583544" y="1173936"/>
            <a:ext cx="95653" cy="10207"/>
          </a:xfrm>
          <a:custGeom>
            <a:avLst/>
            <a:gdLst>
              <a:gd name="T0" fmla="*/ 58 w 62"/>
              <a:gd name="T1" fmla="*/ 7 h 7"/>
              <a:gd name="T2" fmla="*/ 4 w 62"/>
              <a:gd name="T3" fmla="*/ 7 h 7"/>
              <a:gd name="T4" fmla="*/ 0 w 62"/>
              <a:gd name="T5" fmla="*/ 4 h 7"/>
              <a:gd name="T6" fmla="*/ 4 w 62"/>
              <a:gd name="T7" fmla="*/ 0 h 7"/>
              <a:gd name="T8" fmla="*/ 58 w 62"/>
              <a:gd name="T9" fmla="*/ 0 h 7"/>
              <a:gd name="T10" fmla="*/ 62 w 62"/>
              <a:gd name="T11" fmla="*/ 4 h 7"/>
              <a:gd name="T12" fmla="*/ 58 w 6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2" h="7">
                <a:moveTo>
                  <a:pt x="58" y="7"/>
                </a:moveTo>
                <a:cubicBezTo>
                  <a:pt x="4" y="7"/>
                  <a:pt x="4" y="7"/>
                  <a:pt x="4" y="7"/>
                </a:cubicBezTo>
                <a:cubicBezTo>
                  <a:pt x="2" y="7"/>
                  <a:pt x="0" y="6"/>
                  <a:pt x="0" y="4"/>
                </a:cubicBezTo>
                <a:cubicBezTo>
                  <a:pt x="0" y="1"/>
                  <a:pt x="2" y="0"/>
                  <a:pt x="4" y="0"/>
                </a:cubicBezTo>
                <a:cubicBezTo>
                  <a:pt x="58" y="0"/>
                  <a:pt x="58" y="0"/>
                  <a:pt x="58" y="0"/>
                </a:cubicBezTo>
                <a:cubicBezTo>
                  <a:pt x="61" y="0"/>
                  <a:pt x="62" y="1"/>
                  <a:pt x="62" y="4"/>
                </a:cubicBezTo>
                <a:cubicBezTo>
                  <a:pt x="62" y="6"/>
                  <a:pt x="61" y="7"/>
                  <a:pt x="58" y="7"/>
                </a:cubicBez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126" name="Freeform 96"/>
          <p:cNvSpPr/>
          <p:nvPr/>
        </p:nvSpPr>
        <p:spPr bwMode="auto">
          <a:xfrm>
            <a:off x="5583544" y="1197267"/>
            <a:ext cx="95653" cy="10207"/>
          </a:xfrm>
          <a:custGeom>
            <a:avLst/>
            <a:gdLst>
              <a:gd name="T0" fmla="*/ 58 w 62"/>
              <a:gd name="T1" fmla="*/ 7 h 7"/>
              <a:gd name="T2" fmla="*/ 4 w 62"/>
              <a:gd name="T3" fmla="*/ 7 h 7"/>
              <a:gd name="T4" fmla="*/ 0 w 62"/>
              <a:gd name="T5" fmla="*/ 3 h 7"/>
              <a:gd name="T6" fmla="*/ 4 w 62"/>
              <a:gd name="T7" fmla="*/ 0 h 7"/>
              <a:gd name="T8" fmla="*/ 58 w 62"/>
              <a:gd name="T9" fmla="*/ 0 h 7"/>
              <a:gd name="T10" fmla="*/ 62 w 62"/>
              <a:gd name="T11" fmla="*/ 3 h 7"/>
              <a:gd name="T12" fmla="*/ 58 w 6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2" h="7">
                <a:moveTo>
                  <a:pt x="58" y="7"/>
                </a:moveTo>
                <a:cubicBezTo>
                  <a:pt x="4" y="7"/>
                  <a:pt x="4" y="7"/>
                  <a:pt x="4" y="7"/>
                </a:cubicBezTo>
                <a:cubicBezTo>
                  <a:pt x="2" y="7"/>
                  <a:pt x="0" y="5"/>
                  <a:pt x="0" y="3"/>
                </a:cubicBezTo>
                <a:cubicBezTo>
                  <a:pt x="0" y="1"/>
                  <a:pt x="2" y="0"/>
                  <a:pt x="4" y="0"/>
                </a:cubicBezTo>
                <a:cubicBezTo>
                  <a:pt x="58" y="0"/>
                  <a:pt x="58" y="0"/>
                  <a:pt x="58" y="0"/>
                </a:cubicBezTo>
                <a:cubicBezTo>
                  <a:pt x="61" y="0"/>
                  <a:pt x="62" y="1"/>
                  <a:pt x="62" y="3"/>
                </a:cubicBezTo>
                <a:cubicBezTo>
                  <a:pt x="62" y="5"/>
                  <a:pt x="61" y="7"/>
                  <a:pt x="58" y="7"/>
                </a:cubicBez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127" name="Freeform 97"/>
          <p:cNvSpPr/>
          <p:nvPr/>
        </p:nvSpPr>
        <p:spPr bwMode="auto">
          <a:xfrm>
            <a:off x="5583544" y="1220598"/>
            <a:ext cx="95653" cy="9479"/>
          </a:xfrm>
          <a:custGeom>
            <a:avLst/>
            <a:gdLst>
              <a:gd name="T0" fmla="*/ 58 w 62"/>
              <a:gd name="T1" fmla="*/ 7 h 7"/>
              <a:gd name="T2" fmla="*/ 4 w 62"/>
              <a:gd name="T3" fmla="*/ 7 h 7"/>
              <a:gd name="T4" fmla="*/ 0 w 62"/>
              <a:gd name="T5" fmla="*/ 3 h 7"/>
              <a:gd name="T6" fmla="*/ 4 w 62"/>
              <a:gd name="T7" fmla="*/ 0 h 7"/>
              <a:gd name="T8" fmla="*/ 58 w 62"/>
              <a:gd name="T9" fmla="*/ 0 h 7"/>
              <a:gd name="T10" fmla="*/ 62 w 62"/>
              <a:gd name="T11" fmla="*/ 3 h 7"/>
              <a:gd name="T12" fmla="*/ 58 w 6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2" h="7">
                <a:moveTo>
                  <a:pt x="58" y="7"/>
                </a:moveTo>
                <a:cubicBezTo>
                  <a:pt x="4" y="7"/>
                  <a:pt x="4" y="7"/>
                  <a:pt x="4" y="7"/>
                </a:cubicBezTo>
                <a:cubicBezTo>
                  <a:pt x="2" y="7"/>
                  <a:pt x="0" y="5"/>
                  <a:pt x="0" y="3"/>
                </a:cubicBezTo>
                <a:cubicBezTo>
                  <a:pt x="0" y="1"/>
                  <a:pt x="2" y="0"/>
                  <a:pt x="4" y="0"/>
                </a:cubicBezTo>
                <a:cubicBezTo>
                  <a:pt x="58" y="0"/>
                  <a:pt x="58" y="0"/>
                  <a:pt x="58" y="0"/>
                </a:cubicBezTo>
                <a:cubicBezTo>
                  <a:pt x="61" y="0"/>
                  <a:pt x="62" y="1"/>
                  <a:pt x="62" y="3"/>
                </a:cubicBezTo>
                <a:cubicBezTo>
                  <a:pt x="62" y="5"/>
                  <a:pt x="61" y="7"/>
                  <a:pt x="58" y="7"/>
                </a:cubicBez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128" name="Freeform 98"/>
          <p:cNvSpPr>
            <a:spLocks noEditPoints="1"/>
          </p:cNvSpPr>
          <p:nvPr/>
        </p:nvSpPr>
        <p:spPr bwMode="auto">
          <a:xfrm>
            <a:off x="5558658" y="1090089"/>
            <a:ext cx="151646" cy="177901"/>
          </a:xfrm>
          <a:custGeom>
            <a:avLst/>
            <a:gdLst>
              <a:gd name="T0" fmla="*/ 93 w 98"/>
              <a:gd name="T1" fmla="*/ 0 h 123"/>
              <a:gd name="T2" fmla="*/ 27 w 98"/>
              <a:gd name="T3" fmla="*/ 0 h 123"/>
              <a:gd name="T4" fmla="*/ 24 w 98"/>
              <a:gd name="T5" fmla="*/ 2 h 123"/>
              <a:gd name="T6" fmla="*/ 1 w 98"/>
              <a:gd name="T7" fmla="*/ 24 h 123"/>
              <a:gd name="T8" fmla="*/ 0 w 98"/>
              <a:gd name="T9" fmla="*/ 27 h 123"/>
              <a:gd name="T10" fmla="*/ 0 w 98"/>
              <a:gd name="T11" fmla="*/ 118 h 123"/>
              <a:gd name="T12" fmla="*/ 5 w 98"/>
              <a:gd name="T13" fmla="*/ 123 h 123"/>
              <a:gd name="T14" fmla="*/ 93 w 98"/>
              <a:gd name="T15" fmla="*/ 123 h 123"/>
              <a:gd name="T16" fmla="*/ 98 w 98"/>
              <a:gd name="T17" fmla="*/ 118 h 123"/>
              <a:gd name="T18" fmla="*/ 98 w 98"/>
              <a:gd name="T19" fmla="*/ 5 h 123"/>
              <a:gd name="T20" fmla="*/ 93 w 98"/>
              <a:gd name="T21" fmla="*/ 0 h 123"/>
              <a:gd name="T22" fmla="*/ 24 w 98"/>
              <a:gd name="T23" fmla="*/ 15 h 123"/>
              <a:gd name="T24" fmla="*/ 24 w 98"/>
              <a:gd name="T25" fmla="*/ 23 h 123"/>
              <a:gd name="T26" fmla="*/ 16 w 98"/>
              <a:gd name="T27" fmla="*/ 23 h 123"/>
              <a:gd name="T28" fmla="*/ 24 w 98"/>
              <a:gd name="T29" fmla="*/ 15 h 123"/>
              <a:gd name="T30" fmla="*/ 88 w 98"/>
              <a:gd name="T31" fmla="*/ 113 h 123"/>
              <a:gd name="T32" fmla="*/ 10 w 98"/>
              <a:gd name="T33" fmla="*/ 113 h 123"/>
              <a:gd name="T34" fmla="*/ 10 w 98"/>
              <a:gd name="T35" fmla="*/ 31 h 123"/>
              <a:gd name="T36" fmla="*/ 28 w 98"/>
              <a:gd name="T37" fmla="*/ 31 h 123"/>
              <a:gd name="T38" fmla="*/ 32 w 98"/>
              <a:gd name="T39" fmla="*/ 27 h 123"/>
              <a:gd name="T40" fmla="*/ 32 w 98"/>
              <a:gd name="T41" fmla="*/ 10 h 123"/>
              <a:gd name="T42" fmla="*/ 88 w 98"/>
              <a:gd name="T43" fmla="*/ 10 h 123"/>
              <a:gd name="T44" fmla="*/ 88 w 98"/>
              <a:gd name="T45"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123">
                <a:moveTo>
                  <a:pt x="93" y="0"/>
                </a:moveTo>
                <a:cubicBezTo>
                  <a:pt x="27" y="0"/>
                  <a:pt x="27" y="0"/>
                  <a:pt x="27" y="0"/>
                </a:cubicBezTo>
                <a:cubicBezTo>
                  <a:pt x="26" y="0"/>
                  <a:pt x="25" y="1"/>
                  <a:pt x="24" y="2"/>
                </a:cubicBezTo>
                <a:cubicBezTo>
                  <a:pt x="1" y="24"/>
                  <a:pt x="1" y="24"/>
                  <a:pt x="1" y="24"/>
                </a:cubicBezTo>
                <a:cubicBezTo>
                  <a:pt x="0" y="25"/>
                  <a:pt x="0" y="26"/>
                  <a:pt x="0" y="27"/>
                </a:cubicBezTo>
                <a:cubicBezTo>
                  <a:pt x="0" y="118"/>
                  <a:pt x="0" y="118"/>
                  <a:pt x="0" y="118"/>
                </a:cubicBezTo>
                <a:cubicBezTo>
                  <a:pt x="0" y="121"/>
                  <a:pt x="2" y="123"/>
                  <a:pt x="5" y="123"/>
                </a:cubicBezTo>
                <a:cubicBezTo>
                  <a:pt x="93" y="123"/>
                  <a:pt x="93" y="123"/>
                  <a:pt x="93" y="123"/>
                </a:cubicBezTo>
                <a:cubicBezTo>
                  <a:pt x="95" y="123"/>
                  <a:pt x="98" y="121"/>
                  <a:pt x="98" y="118"/>
                </a:cubicBezTo>
                <a:cubicBezTo>
                  <a:pt x="98" y="5"/>
                  <a:pt x="98" y="5"/>
                  <a:pt x="98" y="5"/>
                </a:cubicBezTo>
                <a:cubicBezTo>
                  <a:pt x="98" y="3"/>
                  <a:pt x="95" y="0"/>
                  <a:pt x="93" y="0"/>
                </a:cubicBezTo>
                <a:close/>
                <a:moveTo>
                  <a:pt x="24" y="15"/>
                </a:moveTo>
                <a:cubicBezTo>
                  <a:pt x="24" y="23"/>
                  <a:pt x="24" y="23"/>
                  <a:pt x="24" y="23"/>
                </a:cubicBezTo>
                <a:cubicBezTo>
                  <a:pt x="16" y="23"/>
                  <a:pt x="16" y="23"/>
                  <a:pt x="16" y="23"/>
                </a:cubicBezTo>
                <a:lnTo>
                  <a:pt x="24" y="15"/>
                </a:lnTo>
                <a:close/>
                <a:moveTo>
                  <a:pt x="88" y="113"/>
                </a:moveTo>
                <a:cubicBezTo>
                  <a:pt x="10" y="113"/>
                  <a:pt x="10" y="113"/>
                  <a:pt x="10" y="113"/>
                </a:cubicBezTo>
                <a:cubicBezTo>
                  <a:pt x="10" y="31"/>
                  <a:pt x="10" y="31"/>
                  <a:pt x="10" y="31"/>
                </a:cubicBezTo>
                <a:cubicBezTo>
                  <a:pt x="28" y="31"/>
                  <a:pt x="28" y="31"/>
                  <a:pt x="28" y="31"/>
                </a:cubicBezTo>
                <a:cubicBezTo>
                  <a:pt x="30" y="31"/>
                  <a:pt x="32" y="29"/>
                  <a:pt x="32" y="27"/>
                </a:cubicBezTo>
                <a:cubicBezTo>
                  <a:pt x="32" y="10"/>
                  <a:pt x="32" y="10"/>
                  <a:pt x="32" y="10"/>
                </a:cubicBezTo>
                <a:cubicBezTo>
                  <a:pt x="88" y="10"/>
                  <a:pt x="88" y="10"/>
                  <a:pt x="88" y="10"/>
                </a:cubicBezTo>
                <a:lnTo>
                  <a:pt x="88" y="113"/>
                </a:lnTo>
                <a:close/>
              </a:path>
            </a:pathLst>
          </a:custGeom>
          <a:solidFill>
            <a:schemeClr val="bg1"/>
          </a:solidFill>
          <a:ln>
            <a:noFill/>
          </a:ln>
        </p:spPr>
        <p:txBody>
          <a:bodyPr vert="horz" wrap="square" lIns="121920" tIns="60960" rIns="121920" bIns="60960" numCol="1" anchor="t" anchorCtr="0" compatLnSpc="1"/>
          <a:lstStyle/>
          <a:p>
            <a:endParaRPr lang="en-US" sz="2400"/>
          </a:p>
        </p:txBody>
      </p:sp>
      <p:sp>
        <p:nvSpPr>
          <p:cNvPr id="129" name="Right Triangle 6"/>
          <p:cNvSpPr/>
          <p:nvPr/>
        </p:nvSpPr>
        <p:spPr>
          <a:xfrm flipH="1" flipV="1">
            <a:off x="10369741" y="1006133"/>
            <a:ext cx="777392" cy="773505"/>
          </a:xfrm>
          <a:prstGeom prst="rtTriangle">
            <a:avLst/>
          </a:prstGeom>
          <a:solidFill>
            <a:srgbClr val="FE5817"/>
          </a:solidFill>
          <a:ln w="9525" cap="flat" cmpd="sng" algn="ctr">
            <a:solidFill>
              <a:srgbClr val="FFFFFF"/>
            </a:solidFill>
            <a:prstDash val="solid"/>
          </a:ln>
          <a:effectLst/>
        </p:spPr>
        <p:txBody>
          <a:bodyPr tIns="120000" bIns="120000" rtlCol="0" anchor="ctr" anchorCtr="0"/>
          <a:lstStyle/>
          <a:p>
            <a:pPr algn="ctr" defTabSz="1219200">
              <a:defRPr/>
            </a:pPr>
            <a:endParaRPr lang="en-US" sz="1600" kern="0" dirty="0">
              <a:solidFill>
                <a:srgbClr val="000000"/>
              </a:solidFill>
              <a:latin typeface="Arial" panose="020B0604020202020204"/>
              <a:cs typeface="Arial" panose="020B0604020202020204" pitchFamily="34" charset="0"/>
            </a:endParaRPr>
          </a:p>
        </p:txBody>
      </p:sp>
      <p:sp>
        <p:nvSpPr>
          <p:cNvPr id="93" name="Snip Single Corner Rectangle 32"/>
          <p:cNvSpPr/>
          <p:nvPr/>
        </p:nvSpPr>
        <p:spPr>
          <a:xfrm>
            <a:off x="6276292" y="996303"/>
            <a:ext cx="4861065" cy="5050536"/>
          </a:xfrm>
          <a:prstGeom prst="snip1Rect">
            <a:avLst>
              <a:gd name="adj" fmla="val 17916"/>
            </a:avLst>
          </a:prstGeom>
          <a:solidFill>
            <a:srgbClr val="FFFFFF"/>
          </a:solidFill>
          <a:ln w="9525" cap="flat" cmpd="sng" algn="ctr">
            <a:solidFill>
              <a:srgbClr val="808080"/>
            </a:solidFill>
            <a:prstDash val="solid"/>
            <a:round/>
            <a:headEnd type="none" w="med" len="med"/>
            <a:tailEnd type="none" w="med" len="med"/>
          </a:ln>
          <a:effectLst/>
        </p:spPr>
        <p:txBody>
          <a:bodyPr tIns="120000" bIns="120000" rtlCol="0" anchor="ctr" anchorCtr="0"/>
          <a:lstStyle/>
          <a:p>
            <a:pPr algn="ctr" defTabSz="1219200">
              <a:defRPr/>
            </a:pPr>
            <a:endParaRPr lang="en-US" sz="1600" kern="0" dirty="0">
              <a:solidFill>
                <a:srgbClr val="000000"/>
              </a:solidFill>
              <a:latin typeface="Arial" panose="020B0604020202020204"/>
              <a:cs typeface="Arial" panose="020B0604020202020204" pitchFamily="34" charset="0"/>
            </a:endParaRPr>
          </a:p>
        </p:txBody>
      </p:sp>
      <p:sp>
        <p:nvSpPr>
          <p:cNvPr id="95" name="Rectangle 34"/>
          <p:cNvSpPr/>
          <p:nvPr/>
        </p:nvSpPr>
        <p:spPr>
          <a:xfrm>
            <a:off x="6393555" y="1128566"/>
            <a:ext cx="3648707" cy="461665"/>
          </a:xfrm>
          <a:prstGeom prst="rect">
            <a:avLst/>
          </a:prstGeom>
        </p:spPr>
        <p:txBody>
          <a:bodyPr wrap="square">
            <a:spAutoFit/>
          </a:bodyPr>
          <a:lstStyle/>
          <a:p>
            <a:pPr defTabSz="1219200"/>
            <a:r>
              <a:rPr lang="en-US" altLang="zh-CN" sz="2400" b="1" dirty="0" smtClean="0">
                <a:solidFill>
                  <a:schemeClr val="accent1">
                    <a:lumMod val="75000"/>
                  </a:schemeClr>
                </a:solidFill>
                <a:cs typeface="Arial" panose="020B0604020202020204" pitchFamily="34" charset="0"/>
              </a:rPr>
              <a:t>xx</a:t>
            </a:r>
            <a:r>
              <a:rPr lang="zh-CN" altLang="en-US" sz="2400" b="1" dirty="0" smtClean="0">
                <a:solidFill>
                  <a:schemeClr val="accent1">
                    <a:lumMod val="75000"/>
                  </a:schemeClr>
                </a:solidFill>
                <a:cs typeface="Arial" panose="020B0604020202020204" pitchFamily="34" charset="0"/>
              </a:rPr>
              <a:t>巨额</a:t>
            </a:r>
            <a:r>
              <a:rPr lang="zh-CN" altLang="en-US" sz="2400" b="1" dirty="0">
                <a:solidFill>
                  <a:schemeClr val="accent1">
                    <a:lumMod val="75000"/>
                  </a:schemeClr>
                </a:solidFill>
                <a:cs typeface="Arial" panose="020B0604020202020204" pitchFamily="34" charset="0"/>
              </a:rPr>
              <a:t>损失案例</a:t>
            </a:r>
            <a:endParaRPr lang="zh-CN" altLang="en-US" sz="2400" b="1" dirty="0">
              <a:solidFill>
                <a:schemeClr val="accent1">
                  <a:lumMod val="75000"/>
                </a:schemeClr>
              </a:solidFill>
              <a:cs typeface="Arial" panose="020B0604020202020204" pitchFamily="34" charset="0"/>
            </a:endParaRPr>
          </a:p>
        </p:txBody>
      </p:sp>
      <p:sp>
        <p:nvSpPr>
          <p:cNvPr id="96" name="Rounded Rectangle 35"/>
          <p:cNvSpPr/>
          <p:nvPr/>
        </p:nvSpPr>
        <p:spPr>
          <a:xfrm>
            <a:off x="6560164" y="1793973"/>
            <a:ext cx="4344609" cy="1274073"/>
          </a:xfrm>
          <a:prstGeom prst="roundRect">
            <a:avLst>
              <a:gd name="adj" fmla="val 8870"/>
            </a:avLst>
          </a:prstGeom>
          <a:gradFill flip="none" rotWithShape="1">
            <a:gsLst>
              <a:gs pos="0">
                <a:srgbClr val="E2E2E2">
                  <a:lumMod val="97000"/>
                  <a:lumOff val="3000"/>
                  <a:alpha val="0"/>
                </a:srgbClr>
              </a:gs>
              <a:gs pos="100000">
                <a:srgbClr val="E2E2E2">
                  <a:lumMod val="60000"/>
                  <a:lumOff val="40000"/>
                </a:srgbClr>
              </a:gs>
            </a:gsLst>
            <a:lin ang="0" scaled="0"/>
            <a:tileRect/>
          </a:gradFill>
          <a:ln w="9525" cap="flat" cmpd="sng" algn="ctr">
            <a:noFill/>
            <a:prstDash val="solid"/>
          </a:ln>
          <a:effectLst/>
        </p:spPr>
        <p:txBody>
          <a:bodyPr lIns="48000" tIns="0" rIns="1200000" bIns="48000" rtlCol="0" anchor="b" anchorCtr="0"/>
          <a:lstStyle/>
          <a:p>
            <a:pPr algn="just"/>
            <a:r>
              <a:rPr lang="en-US" altLang="zh-CN" sz="1600" dirty="0" smtClean="0"/>
              <a:t>xx</a:t>
            </a:r>
            <a:r>
              <a:rPr lang="zh-CN" altLang="en-US" sz="1600" dirty="0" smtClean="0"/>
              <a:t>导致损失</a:t>
            </a:r>
            <a:endParaRPr lang="en-US" altLang="zh-CN" sz="1600" dirty="0" smtClean="0"/>
          </a:p>
          <a:p>
            <a:pPr algn="just"/>
            <a:endParaRPr lang="en-US" altLang="zh-CN" sz="1600" dirty="0"/>
          </a:p>
          <a:p>
            <a:pPr algn="just"/>
            <a:endParaRPr lang="zh-CN" altLang="en-US" sz="1600" dirty="0"/>
          </a:p>
        </p:txBody>
      </p:sp>
      <p:sp>
        <p:nvSpPr>
          <p:cNvPr id="97" name="Rounded Rectangle 36"/>
          <p:cNvSpPr/>
          <p:nvPr/>
        </p:nvSpPr>
        <p:spPr>
          <a:xfrm>
            <a:off x="6560164" y="3215930"/>
            <a:ext cx="4344609" cy="1274073"/>
          </a:xfrm>
          <a:prstGeom prst="roundRect">
            <a:avLst>
              <a:gd name="adj" fmla="val 4971"/>
            </a:avLst>
          </a:prstGeom>
          <a:gradFill flip="none" rotWithShape="1">
            <a:gsLst>
              <a:gs pos="0">
                <a:srgbClr val="E2E2E2">
                  <a:lumMod val="97000"/>
                  <a:lumOff val="3000"/>
                  <a:alpha val="0"/>
                </a:srgbClr>
              </a:gs>
              <a:gs pos="100000">
                <a:srgbClr val="E2E2E2">
                  <a:lumMod val="60000"/>
                  <a:lumOff val="40000"/>
                </a:srgbClr>
              </a:gs>
            </a:gsLst>
            <a:lin ang="0" scaled="0"/>
            <a:tileRect/>
          </a:gradFill>
          <a:ln w="9525" cap="flat" cmpd="sng" algn="ctr">
            <a:noFill/>
            <a:prstDash val="solid"/>
          </a:ln>
          <a:effectLst/>
        </p:spPr>
        <p:txBody>
          <a:bodyPr lIns="48000" tIns="0" rIns="1200000" bIns="48000" rtlCol="0" anchor="b" anchorCtr="0"/>
          <a:lstStyle/>
          <a:p>
            <a:pPr algn="just"/>
            <a:r>
              <a:rPr lang="en-US" altLang="zh-CN" sz="1600" dirty="0" smtClean="0"/>
              <a:t>xx</a:t>
            </a:r>
            <a:r>
              <a:rPr lang="zh-CN" altLang="en-US" sz="1600" dirty="0" smtClean="0"/>
              <a:t>窃取资金</a:t>
            </a:r>
            <a:endParaRPr lang="en-US" altLang="zh-CN" sz="1600" dirty="0" smtClean="0"/>
          </a:p>
          <a:p>
            <a:pPr algn="just"/>
            <a:endParaRPr lang="en-US" altLang="zh-CN" sz="1600" dirty="0"/>
          </a:p>
          <a:p>
            <a:pPr algn="just"/>
            <a:endParaRPr lang="zh-CN" altLang="en-US" sz="1600" dirty="0"/>
          </a:p>
        </p:txBody>
      </p:sp>
      <p:sp>
        <p:nvSpPr>
          <p:cNvPr id="98" name="Rounded Rectangle 37"/>
          <p:cNvSpPr/>
          <p:nvPr/>
        </p:nvSpPr>
        <p:spPr>
          <a:xfrm>
            <a:off x="6560164" y="4674444"/>
            <a:ext cx="4344609" cy="1274073"/>
          </a:xfrm>
          <a:prstGeom prst="roundRect">
            <a:avLst>
              <a:gd name="adj" fmla="val 6921"/>
            </a:avLst>
          </a:prstGeom>
          <a:gradFill flip="none" rotWithShape="1">
            <a:gsLst>
              <a:gs pos="0">
                <a:srgbClr val="E2E2E2">
                  <a:lumMod val="97000"/>
                  <a:lumOff val="3000"/>
                  <a:alpha val="0"/>
                </a:srgbClr>
              </a:gs>
              <a:gs pos="100000">
                <a:srgbClr val="E2E2E2">
                  <a:lumMod val="60000"/>
                  <a:lumOff val="40000"/>
                </a:srgbClr>
              </a:gs>
            </a:gsLst>
            <a:lin ang="0" scaled="0"/>
            <a:tileRect/>
          </a:gradFill>
          <a:ln w="9525" cap="flat" cmpd="sng" algn="ctr">
            <a:noFill/>
            <a:prstDash val="solid"/>
          </a:ln>
          <a:effectLst/>
        </p:spPr>
        <p:txBody>
          <a:bodyPr lIns="48000" tIns="0" rIns="1200000" bIns="48000" rtlCol="0" anchor="b" anchorCtr="0"/>
          <a:lstStyle/>
          <a:p>
            <a:pPr lvl="0" algn="just"/>
            <a:r>
              <a:rPr lang="en-US" altLang="zh-CN" sz="1600" dirty="0" smtClean="0">
                <a:sym typeface="+mn-ea"/>
              </a:rPr>
              <a:t>xx</a:t>
            </a:r>
            <a:r>
              <a:rPr lang="zh-CN" altLang="en-US" sz="1600" dirty="0" smtClean="0">
                <a:sym typeface="+mn-ea"/>
              </a:rPr>
              <a:t>转移财产</a:t>
            </a:r>
            <a:endParaRPr lang="en-US" altLang="zh-CN" sz="1600" dirty="0" smtClean="0">
              <a:sym typeface="+mn-ea"/>
            </a:endParaRPr>
          </a:p>
          <a:p>
            <a:pPr lvl="0" algn="just"/>
            <a:endParaRPr lang="en-US" altLang="zh-CN" sz="1600" dirty="0">
              <a:sym typeface="+mn-ea"/>
            </a:endParaRPr>
          </a:p>
          <a:p>
            <a:pPr lvl="0" algn="just"/>
            <a:endParaRPr lang="zh-CN" altLang="en-US" sz="1600" dirty="0">
              <a:sym typeface="+mn-ea"/>
            </a:endParaRPr>
          </a:p>
        </p:txBody>
      </p:sp>
      <p:cxnSp>
        <p:nvCxnSpPr>
          <p:cNvPr id="99" name="Straight Connector 38"/>
          <p:cNvCxnSpPr/>
          <p:nvPr/>
        </p:nvCxnSpPr>
        <p:spPr>
          <a:xfrm>
            <a:off x="6636800" y="3123713"/>
            <a:ext cx="4267971" cy="0"/>
          </a:xfrm>
          <a:prstGeom prst="line">
            <a:avLst/>
          </a:prstGeom>
          <a:noFill/>
          <a:ln w="9525" cap="flat" cmpd="sng" algn="ctr">
            <a:solidFill>
              <a:srgbClr val="808080"/>
            </a:solidFill>
            <a:prstDash val="dash"/>
          </a:ln>
          <a:effectLst/>
        </p:spPr>
      </p:cxnSp>
      <p:cxnSp>
        <p:nvCxnSpPr>
          <p:cNvPr id="100" name="Straight Connector 39"/>
          <p:cNvCxnSpPr/>
          <p:nvPr/>
        </p:nvCxnSpPr>
        <p:spPr>
          <a:xfrm>
            <a:off x="6636800" y="4582221"/>
            <a:ext cx="4267971" cy="0"/>
          </a:xfrm>
          <a:prstGeom prst="line">
            <a:avLst/>
          </a:prstGeom>
          <a:noFill/>
          <a:ln w="9525" cap="flat" cmpd="sng" algn="ctr">
            <a:solidFill>
              <a:srgbClr val="808080"/>
            </a:solidFill>
            <a:prstDash val="dash"/>
          </a:ln>
          <a:effectLst/>
        </p:spPr>
      </p:cxnSp>
      <p:sp>
        <p:nvSpPr>
          <p:cNvPr id="120" name="Freeform 9"/>
          <p:cNvSpPr>
            <a:spLocks noEditPoints="1"/>
          </p:cNvSpPr>
          <p:nvPr/>
        </p:nvSpPr>
        <p:spPr bwMode="auto">
          <a:xfrm>
            <a:off x="10763048" y="1082505"/>
            <a:ext cx="313761" cy="254683"/>
          </a:xfrm>
          <a:custGeom>
            <a:avLst/>
            <a:gdLst>
              <a:gd name="T0" fmla="*/ 272 w 792"/>
              <a:gd name="T1" fmla="*/ 33 h 684"/>
              <a:gd name="T2" fmla="*/ 328 w 792"/>
              <a:gd name="T3" fmla="*/ 77 h 684"/>
              <a:gd name="T4" fmla="*/ 349 w 792"/>
              <a:gd name="T5" fmla="*/ 54 h 684"/>
              <a:gd name="T6" fmla="*/ 738 w 792"/>
              <a:gd name="T7" fmla="*/ 75 h 684"/>
              <a:gd name="T8" fmla="*/ 725 w 792"/>
              <a:gd name="T9" fmla="*/ 354 h 684"/>
              <a:gd name="T10" fmla="*/ 760 w 792"/>
              <a:gd name="T11" fmla="*/ 410 h 684"/>
              <a:gd name="T12" fmla="*/ 792 w 792"/>
              <a:gd name="T13" fmla="*/ 33 h 684"/>
              <a:gd name="T14" fmla="*/ 304 w 792"/>
              <a:gd name="T15" fmla="*/ 0 h 684"/>
              <a:gd name="T16" fmla="*/ 218 w 792"/>
              <a:gd name="T17" fmla="*/ 185 h 684"/>
              <a:gd name="T18" fmla="*/ 599 w 792"/>
              <a:gd name="T19" fmla="*/ 165 h 684"/>
              <a:gd name="T20" fmla="*/ 628 w 792"/>
              <a:gd name="T21" fmla="*/ 452 h 684"/>
              <a:gd name="T22" fmla="*/ 610 w 792"/>
              <a:gd name="T23" fmla="*/ 464 h 684"/>
              <a:gd name="T24" fmla="*/ 649 w 792"/>
              <a:gd name="T25" fmla="*/ 518 h 684"/>
              <a:gd name="T26" fmla="*/ 682 w 792"/>
              <a:gd name="T27" fmla="*/ 138 h 684"/>
              <a:gd name="T28" fmla="*/ 196 w 792"/>
              <a:gd name="T29" fmla="*/ 108 h 684"/>
              <a:gd name="T30" fmla="*/ 164 w 792"/>
              <a:gd name="T31" fmla="*/ 185 h 684"/>
              <a:gd name="T32" fmla="*/ 507 w 792"/>
              <a:gd name="T33" fmla="*/ 300 h 684"/>
              <a:gd name="T34" fmla="*/ 310 w 792"/>
              <a:gd name="T35" fmla="*/ 301 h 684"/>
              <a:gd name="T36" fmla="*/ 230 w 792"/>
              <a:gd name="T37" fmla="*/ 218 h 684"/>
              <a:gd name="T38" fmla="*/ 0 w 792"/>
              <a:gd name="T39" fmla="*/ 285 h 684"/>
              <a:gd name="T40" fmla="*/ 0 w 792"/>
              <a:gd name="T41" fmla="*/ 410 h 684"/>
              <a:gd name="T42" fmla="*/ 37 w 792"/>
              <a:gd name="T43" fmla="*/ 682 h 684"/>
              <a:gd name="T44" fmla="*/ 586 w 792"/>
              <a:gd name="T45" fmla="*/ 657 h 684"/>
              <a:gd name="T46" fmla="*/ 622 w 792"/>
              <a:gd name="T47" fmla="*/ 558 h 684"/>
              <a:gd name="T48" fmla="*/ 574 w 792"/>
              <a:gd name="T49" fmla="*/ 549 h 684"/>
              <a:gd name="T50" fmla="*/ 382 w 792"/>
              <a:gd name="T51" fmla="*/ 518 h 684"/>
              <a:gd name="T52" fmla="*/ 328 w 792"/>
              <a:gd name="T53" fmla="*/ 575 h 684"/>
              <a:gd name="T54" fmla="*/ 272 w 792"/>
              <a:gd name="T55" fmla="*/ 518 h 684"/>
              <a:gd name="T56" fmla="*/ 218 w 792"/>
              <a:gd name="T57" fmla="*/ 464 h 684"/>
              <a:gd name="T58" fmla="*/ 272 w 792"/>
              <a:gd name="T59" fmla="*/ 411 h 684"/>
              <a:gd name="T60" fmla="*/ 327 w 792"/>
              <a:gd name="T61" fmla="*/ 411 h 684"/>
              <a:gd name="T62" fmla="*/ 328 w 792"/>
              <a:gd name="T63" fmla="*/ 464 h 684"/>
              <a:gd name="T64" fmla="*/ 382 w 792"/>
              <a:gd name="T65" fmla="*/ 518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2" h="684">
                <a:moveTo>
                  <a:pt x="304" y="0"/>
                </a:moveTo>
                <a:cubicBezTo>
                  <a:pt x="286" y="0"/>
                  <a:pt x="272" y="15"/>
                  <a:pt x="272" y="33"/>
                </a:cubicBezTo>
                <a:cubicBezTo>
                  <a:pt x="272" y="77"/>
                  <a:pt x="272" y="77"/>
                  <a:pt x="272" y="77"/>
                </a:cubicBezTo>
                <a:cubicBezTo>
                  <a:pt x="328" y="77"/>
                  <a:pt x="328" y="77"/>
                  <a:pt x="328" y="77"/>
                </a:cubicBezTo>
                <a:cubicBezTo>
                  <a:pt x="328" y="75"/>
                  <a:pt x="328" y="75"/>
                  <a:pt x="328" y="75"/>
                </a:cubicBezTo>
                <a:cubicBezTo>
                  <a:pt x="328" y="63"/>
                  <a:pt x="337" y="54"/>
                  <a:pt x="349" y="54"/>
                </a:cubicBezTo>
                <a:cubicBezTo>
                  <a:pt x="718" y="54"/>
                  <a:pt x="718" y="54"/>
                  <a:pt x="718" y="54"/>
                </a:cubicBezTo>
                <a:cubicBezTo>
                  <a:pt x="729" y="54"/>
                  <a:pt x="738" y="63"/>
                  <a:pt x="738" y="75"/>
                </a:cubicBezTo>
                <a:cubicBezTo>
                  <a:pt x="738" y="341"/>
                  <a:pt x="738" y="341"/>
                  <a:pt x="738" y="341"/>
                </a:cubicBezTo>
                <a:cubicBezTo>
                  <a:pt x="738" y="348"/>
                  <a:pt x="732" y="354"/>
                  <a:pt x="725" y="354"/>
                </a:cubicBezTo>
                <a:cubicBezTo>
                  <a:pt x="725" y="410"/>
                  <a:pt x="725" y="410"/>
                  <a:pt x="725" y="410"/>
                </a:cubicBezTo>
                <a:cubicBezTo>
                  <a:pt x="760" y="410"/>
                  <a:pt x="760" y="410"/>
                  <a:pt x="760" y="410"/>
                </a:cubicBezTo>
                <a:cubicBezTo>
                  <a:pt x="777" y="410"/>
                  <a:pt x="792" y="396"/>
                  <a:pt x="792" y="378"/>
                </a:cubicBezTo>
                <a:cubicBezTo>
                  <a:pt x="792" y="33"/>
                  <a:pt x="792" y="33"/>
                  <a:pt x="792" y="33"/>
                </a:cubicBezTo>
                <a:cubicBezTo>
                  <a:pt x="792" y="15"/>
                  <a:pt x="778" y="0"/>
                  <a:pt x="760" y="0"/>
                </a:cubicBezTo>
                <a:lnTo>
                  <a:pt x="304" y="0"/>
                </a:lnTo>
                <a:close/>
                <a:moveTo>
                  <a:pt x="164" y="185"/>
                </a:moveTo>
                <a:cubicBezTo>
                  <a:pt x="218" y="185"/>
                  <a:pt x="218" y="185"/>
                  <a:pt x="218" y="185"/>
                </a:cubicBezTo>
                <a:cubicBezTo>
                  <a:pt x="218" y="174"/>
                  <a:pt x="227" y="165"/>
                  <a:pt x="238" y="165"/>
                </a:cubicBezTo>
                <a:cubicBezTo>
                  <a:pt x="599" y="165"/>
                  <a:pt x="599" y="165"/>
                  <a:pt x="599" y="165"/>
                </a:cubicBezTo>
                <a:cubicBezTo>
                  <a:pt x="615" y="165"/>
                  <a:pt x="628" y="177"/>
                  <a:pt x="628" y="193"/>
                </a:cubicBezTo>
                <a:cubicBezTo>
                  <a:pt x="628" y="452"/>
                  <a:pt x="628" y="452"/>
                  <a:pt x="628" y="452"/>
                </a:cubicBezTo>
                <a:cubicBezTo>
                  <a:pt x="628" y="459"/>
                  <a:pt x="622" y="464"/>
                  <a:pt x="615" y="464"/>
                </a:cubicBezTo>
                <a:cubicBezTo>
                  <a:pt x="610" y="464"/>
                  <a:pt x="610" y="464"/>
                  <a:pt x="610" y="464"/>
                </a:cubicBezTo>
                <a:cubicBezTo>
                  <a:pt x="610" y="518"/>
                  <a:pt x="610" y="518"/>
                  <a:pt x="610" y="518"/>
                </a:cubicBezTo>
                <a:cubicBezTo>
                  <a:pt x="649" y="518"/>
                  <a:pt x="649" y="518"/>
                  <a:pt x="649" y="518"/>
                </a:cubicBezTo>
                <a:cubicBezTo>
                  <a:pt x="667" y="518"/>
                  <a:pt x="682" y="504"/>
                  <a:pt x="682" y="486"/>
                </a:cubicBezTo>
                <a:cubicBezTo>
                  <a:pt x="682" y="138"/>
                  <a:pt x="682" y="138"/>
                  <a:pt x="682" y="138"/>
                </a:cubicBezTo>
                <a:cubicBezTo>
                  <a:pt x="682" y="121"/>
                  <a:pt x="669" y="108"/>
                  <a:pt x="652" y="108"/>
                </a:cubicBezTo>
                <a:cubicBezTo>
                  <a:pt x="196" y="108"/>
                  <a:pt x="196" y="108"/>
                  <a:pt x="196" y="108"/>
                </a:cubicBezTo>
                <a:cubicBezTo>
                  <a:pt x="179" y="108"/>
                  <a:pt x="164" y="123"/>
                  <a:pt x="164" y="140"/>
                </a:cubicBezTo>
                <a:lnTo>
                  <a:pt x="164" y="185"/>
                </a:lnTo>
                <a:close/>
                <a:moveTo>
                  <a:pt x="574" y="367"/>
                </a:moveTo>
                <a:cubicBezTo>
                  <a:pt x="574" y="330"/>
                  <a:pt x="544" y="300"/>
                  <a:pt x="507" y="300"/>
                </a:cubicBezTo>
                <a:cubicBezTo>
                  <a:pt x="310" y="300"/>
                  <a:pt x="310" y="300"/>
                  <a:pt x="310" y="300"/>
                </a:cubicBezTo>
                <a:cubicBezTo>
                  <a:pt x="310" y="301"/>
                  <a:pt x="310" y="301"/>
                  <a:pt x="310" y="301"/>
                </a:cubicBezTo>
                <a:cubicBezTo>
                  <a:pt x="290" y="257"/>
                  <a:pt x="290" y="257"/>
                  <a:pt x="290" y="257"/>
                </a:cubicBezTo>
                <a:cubicBezTo>
                  <a:pt x="279" y="234"/>
                  <a:pt x="256" y="218"/>
                  <a:pt x="230" y="218"/>
                </a:cubicBezTo>
                <a:cubicBezTo>
                  <a:pt x="67" y="218"/>
                  <a:pt x="67" y="218"/>
                  <a:pt x="67" y="218"/>
                </a:cubicBezTo>
                <a:cubicBezTo>
                  <a:pt x="30" y="218"/>
                  <a:pt x="0" y="248"/>
                  <a:pt x="0" y="285"/>
                </a:cubicBezTo>
                <a:cubicBezTo>
                  <a:pt x="0" y="300"/>
                  <a:pt x="0" y="300"/>
                  <a:pt x="0" y="300"/>
                </a:cubicBezTo>
                <a:cubicBezTo>
                  <a:pt x="0" y="410"/>
                  <a:pt x="0" y="410"/>
                  <a:pt x="0" y="410"/>
                </a:cubicBezTo>
                <a:cubicBezTo>
                  <a:pt x="0" y="645"/>
                  <a:pt x="0" y="645"/>
                  <a:pt x="0" y="645"/>
                </a:cubicBezTo>
                <a:cubicBezTo>
                  <a:pt x="0" y="666"/>
                  <a:pt x="17" y="682"/>
                  <a:pt x="37" y="682"/>
                </a:cubicBezTo>
                <a:cubicBezTo>
                  <a:pt x="543" y="684"/>
                  <a:pt x="543" y="684"/>
                  <a:pt x="543" y="684"/>
                </a:cubicBezTo>
                <a:cubicBezTo>
                  <a:pt x="562" y="684"/>
                  <a:pt x="578" y="674"/>
                  <a:pt x="586" y="657"/>
                </a:cubicBezTo>
                <a:cubicBezTo>
                  <a:pt x="623" y="577"/>
                  <a:pt x="623" y="577"/>
                  <a:pt x="623" y="577"/>
                </a:cubicBezTo>
                <a:cubicBezTo>
                  <a:pt x="626" y="571"/>
                  <a:pt x="625" y="564"/>
                  <a:pt x="622" y="558"/>
                </a:cubicBezTo>
                <a:cubicBezTo>
                  <a:pt x="618" y="552"/>
                  <a:pt x="612" y="549"/>
                  <a:pt x="605" y="549"/>
                </a:cubicBezTo>
                <a:cubicBezTo>
                  <a:pt x="574" y="549"/>
                  <a:pt x="574" y="549"/>
                  <a:pt x="574" y="549"/>
                </a:cubicBezTo>
                <a:lnTo>
                  <a:pt x="574" y="367"/>
                </a:lnTo>
                <a:close/>
                <a:moveTo>
                  <a:pt x="382" y="518"/>
                </a:moveTo>
                <a:cubicBezTo>
                  <a:pt x="328" y="518"/>
                  <a:pt x="328" y="518"/>
                  <a:pt x="328" y="518"/>
                </a:cubicBezTo>
                <a:cubicBezTo>
                  <a:pt x="328" y="575"/>
                  <a:pt x="328" y="575"/>
                  <a:pt x="328" y="575"/>
                </a:cubicBezTo>
                <a:cubicBezTo>
                  <a:pt x="272" y="575"/>
                  <a:pt x="272" y="575"/>
                  <a:pt x="272" y="575"/>
                </a:cubicBezTo>
                <a:cubicBezTo>
                  <a:pt x="272" y="518"/>
                  <a:pt x="272" y="518"/>
                  <a:pt x="272" y="518"/>
                </a:cubicBezTo>
                <a:cubicBezTo>
                  <a:pt x="218" y="518"/>
                  <a:pt x="218" y="518"/>
                  <a:pt x="218" y="518"/>
                </a:cubicBezTo>
                <a:cubicBezTo>
                  <a:pt x="218" y="464"/>
                  <a:pt x="218" y="464"/>
                  <a:pt x="218" y="464"/>
                </a:cubicBezTo>
                <a:cubicBezTo>
                  <a:pt x="272" y="464"/>
                  <a:pt x="272" y="464"/>
                  <a:pt x="272" y="464"/>
                </a:cubicBezTo>
                <a:cubicBezTo>
                  <a:pt x="272" y="411"/>
                  <a:pt x="272" y="411"/>
                  <a:pt x="272" y="411"/>
                </a:cubicBezTo>
                <a:cubicBezTo>
                  <a:pt x="272" y="411"/>
                  <a:pt x="272" y="411"/>
                  <a:pt x="273" y="411"/>
                </a:cubicBezTo>
                <a:cubicBezTo>
                  <a:pt x="327" y="411"/>
                  <a:pt x="327" y="411"/>
                  <a:pt x="327" y="411"/>
                </a:cubicBezTo>
                <a:cubicBezTo>
                  <a:pt x="328" y="411"/>
                  <a:pt x="328" y="411"/>
                  <a:pt x="328" y="411"/>
                </a:cubicBezTo>
                <a:cubicBezTo>
                  <a:pt x="328" y="464"/>
                  <a:pt x="328" y="464"/>
                  <a:pt x="328" y="464"/>
                </a:cubicBezTo>
                <a:cubicBezTo>
                  <a:pt x="382" y="464"/>
                  <a:pt x="382" y="464"/>
                  <a:pt x="382" y="464"/>
                </a:cubicBezTo>
                <a:lnTo>
                  <a:pt x="382" y="518"/>
                </a:lnTo>
                <a:close/>
              </a:path>
            </a:pathLst>
          </a:custGeom>
          <a:solidFill>
            <a:schemeClr val="bg1"/>
          </a:solidFill>
          <a:ln>
            <a:noFill/>
          </a:ln>
        </p:spPr>
        <p:txBody>
          <a:bodyPr vert="horz" wrap="square" lIns="121920" tIns="60960" rIns="121920" bIns="60960" numCol="1" anchor="t" anchorCtr="0" compatLnSpc="1"/>
          <a:lstStyle/>
          <a:p>
            <a:endParaRPr lang="en-US" sz="2400" dirty="0"/>
          </a:p>
        </p:txBody>
      </p:sp>
      <p:pic>
        <p:nvPicPr>
          <p:cNvPr id="130" name="图片 129"/>
          <p:cNvPicPr>
            <a:picLocks noChangeAspect="1"/>
          </p:cNvPicPr>
          <p:nvPr/>
        </p:nvPicPr>
        <p:blipFill>
          <a:blip r:embed="rId4"/>
          <a:stretch>
            <a:fillRect/>
          </a:stretch>
        </p:blipFill>
        <p:spPr>
          <a:xfrm>
            <a:off x="6638675" y="1877555"/>
            <a:ext cx="1759543" cy="320317"/>
          </a:xfrm>
          <a:prstGeom prst="rect">
            <a:avLst/>
          </a:prstGeom>
        </p:spPr>
      </p:pic>
      <p:pic>
        <p:nvPicPr>
          <p:cNvPr id="131" name="图片 130"/>
          <p:cNvPicPr>
            <a:picLocks noChangeAspect="1"/>
          </p:cNvPicPr>
          <p:nvPr/>
        </p:nvPicPr>
        <p:blipFill>
          <a:blip r:embed="rId5"/>
          <a:stretch>
            <a:fillRect/>
          </a:stretch>
        </p:blipFill>
        <p:spPr>
          <a:xfrm>
            <a:off x="6691111" y="3268217"/>
            <a:ext cx="1319075" cy="334225"/>
          </a:xfrm>
          <a:prstGeom prst="rect">
            <a:avLst/>
          </a:prstGeom>
        </p:spPr>
      </p:pic>
      <p:pic>
        <p:nvPicPr>
          <p:cNvPr id="132" name="图片 131"/>
          <p:cNvPicPr>
            <a:picLocks noChangeAspect="1"/>
          </p:cNvPicPr>
          <p:nvPr/>
        </p:nvPicPr>
        <p:blipFill>
          <a:blip r:embed="rId6">
            <a:clrChange>
              <a:clrFrom>
                <a:srgbClr val="000000">
                  <a:alpha val="100000"/>
                </a:srgbClr>
              </a:clrFrom>
              <a:clrTo>
                <a:srgbClr val="000000">
                  <a:alpha val="100000"/>
                  <a:alpha val="0"/>
                </a:srgbClr>
              </a:clrTo>
            </a:clrChange>
          </a:blip>
          <a:stretch>
            <a:fillRect/>
          </a:stretch>
        </p:blipFill>
        <p:spPr>
          <a:xfrm>
            <a:off x="6683102" y="4712708"/>
            <a:ext cx="1547317" cy="337713"/>
          </a:xfrm>
          <a:prstGeom prst="rect">
            <a:avLst/>
          </a:prstGeom>
        </p:spPr>
      </p:pic>
      <p:sp>
        <p:nvSpPr>
          <p:cNvPr id="133" name="文本框 51"/>
          <p:cNvSpPr txBox="1"/>
          <p:nvPr/>
        </p:nvSpPr>
        <p:spPr>
          <a:xfrm>
            <a:off x="9894004" y="3357840"/>
            <a:ext cx="977219" cy="978053"/>
          </a:xfrm>
          <a:prstGeom prst="ellipse">
            <a:avLst/>
          </a:prstGeom>
          <a:solidFill>
            <a:srgbClr val="FFFFFF"/>
          </a:solidFill>
          <a:ln w="25400">
            <a:gradFill>
              <a:gsLst>
                <a:gs pos="0">
                  <a:schemeClr val="accent1">
                    <a:lumMod val="50000"/>
                  </a:schemeClr>
                </a:gs>
                <a:gs pos="100000">
                  <a:schemeClr val="accent1"/>
                </a:gs>
              </a:gsLst>
              <a:lin ang="5400000" scaled="1"/>
            </a:gradFill>
          </a:ln>
        </p:spPr>
        <p:txBody>
          <a:bodyPr wrap="none" lIns="0" tIns="0" rIns="0" bIns="0" rtlCol="0" anchor="ctr">
            <a:noAutofit/>
          </a:bodyPr>
          <a:lstStyle/>
          <a:p>
            <a:pPr algn="ctr"/>
            <a:r>
              <a:rPr lang="en-US" altLang="zh-CN" sz="2400" b="1" dirty="0" smtClean="0">
                <a:solidFill>
                  <a:schemeClr val="accent1">
                    <a:lumMod val="75000"/>
                  </a:schemeClr>
                </a:solidFill>
                <a:latin typeface="+mj-lt"/>
                <a:ea typeface="+mj-ea"/>
              </a:rPr>
              <a:t>$XX</a:t>
            </a:r>
            <a:r>
              <a:rPr lang="zh-CN" altLang="en-US" sz="1465" b="1" dirty="0" smtClean="0">
                <a:solidFill>
                  <a:schemeClr val="accent1">
                    <a:lumMod val="75000"/>
                  </a:schemeClr>
                </a:solidFill>
                <a:latin typeface="+mj-lt"/>
                <a:ea typeface="+mj-ea"/>
              </a:rPr>
              <a:t>万</a:t>
            </a:r>
            <a:endParaRPr lang="zh-CN" altLang="en-US" sz="1465" b="1" dirty="0">
              <a:solidFill>
                <a:schemeClr val="accent1">
                  <a:lumMod val="75000"/>
                </a:schemeClr>
              </a:solidFill>
              <a:latin typeface="+mj-lt"/>
              <a:ea typeface="+mj-ea"/>
            </a:endParaRPr>
          </a:p>
        </p:txBody>
      </p:sp>
      <p:sp>
        <p:nvSpPr>
          <p:cNvPr id="134" name="文本框 51"/>
          <p:cNvSpPr txBox="1"/>
          <p:nvPr/>
        </p:nvSpPr>
        <p:spPr>
          <a:xfrm>
            <a:off x="9894004" y="4810959"/>
            <a:ext cx="977219" cy="978053"/>
          </a:xfrm>
          <a:prstGeom prst="ellipse">
            <a:avLst/>
          </a:prstGeom>
          <a:solidFill>
            <a:srgbClr val="FFFFFF"/>
          </a:solidFill>
          <a:ln w="25400">
            <a:gradFill>
              <a:gsLst>
                <a:gs pos="0">
                  <a:schemeClr val="accent1">
                    <a:lumMod val="50000"/>
                  </a:schemeClr>
                </a:gs>
                <a:gs pos="100000">
                  <a:schemeClr val="accent1"/>
                </a:gs>
              </a:gsLst>
              <a:lin ang="5400000" scaled="1"/>
            </a:gradFill>
          </a:ln>
        </p:spPr>
        <p:txBody>
          <a:bodyPr wrap="none" lIns="0" tIns="0" rIns="0" bIns="0" rtlCol="0" anchor="ctr">
            <a:noAutofit/>
          </a:bodyPr>
          <a:lstStyle/>
          <a:p>
            <a:pPr algn="ctr"/>
            <a:r>
              <a:rPr lang="en-US" altLang="zh-CN" sz="2400" b="1" dirty="0" smtClean="0">
                <a:solidFill>
                  <a:schemeClr val="accent1">
                    <a:lumMod val="75000"/>
                  </a:schemeClr>
                </a:solidFill>
                <a:latin typeface="+mj-lt"/>
                <a:ea typeface="+mj-ea"/>
              </a:rPr>
              <a:t>£XX</a:t>
            </a:r>
            <a:r>
              <a:rPr lang="zh-CN" altLang="en-US" sz="1465" b="1" dirty="0" smtClean="0">
                <a:solidFill>
                  <a:schemeClr val="accent1">
                    <a:lumMod val="75000"/>
                  </a:schemeClr>
                </a:solidFill>
                <a:latin typeface="+mj-lt"/>
                <a:ea typeface="+mj-ea"/>
              </a:rPr>
              <a:t>万</a:t>
            </a:r>
            <a:endParaRPr lang="zh-CN" altLang="en-US" sz="1465" b="1" dirty="0">
              <a:solidFill>
                <a:schemeClr val="accent1">
                  <a:lumMod val="75000"/>
                </a:schemeClr>
              </a:solidFill>
              <a:latin typeface="+mj-lt"/>
              <a:ea typeface="+mj-ea"/>
            </a:endParaRPr>
          </a:p>
        </p:txBody>
      </p:sp>
      <p:sp>
        <p:nvSpPr>
          <p:cNvPr id="135" name="文本框 51"/>
          <p:cNvSpPr txBox="1"/>
          <p:nvPr/>
        </p:nvSpPr>
        <p:spPr>
          <a:xfrm>
            <a:off x="9894004" y="1927003"/>
            <a:ext cx="977219" cy="978053"/>
          </a:xfrm>
          <a:prstGeom prst="ellipse">
            <a:avLst/>
          </a:prstGeom>
          <a:solidFill>
            <a:srgbClr val="FFFFFF"/>
          </a:solidFill>
          <a:ln w="25400">
            <a:gradFill>
              <a:gsLst>
                <a:gs pos="0">
                  <a:schemeClr val="accent1">
                    <a:lumMod val="50000"/>
                  </a:schemeClr>
                </a:gs>
                <a:gs pos="100000">
                  <a:schemeClr val="accent1"/>
                </a:gs>
              </a:gsLst>
              <a:lin ang="5400000" scaled="1"/>
            </a:gradFill>
          </a:ln>
        </p:spPr>
        <p:txBody>
          <a:bodyPr wrap="none" lIns="0" tIns="0" rIns="0" bIns="0" rtlCol="0" anchor="ctr">
            <a:noAutofit/>
          </a:bodyPr>
          <a:lstStyle/>
          <a:p>
            <a:pPr algn="ctr"/>
            <a:r>
              <a:rPr lang="zh-CN" altLang="en-US" sz="2400" b="1" dirty="0" smtClean="0">
                <a:solidFill>
                  <a:schemeClr val="accent1">
                    <a:lumMod val="75000"/>
                  </a:schemeClr>
                </a:solidFill>
                <a:latin typeface="+mj-lt"/>
                <a:ea typeface="+mj-ea"/>
              </a:rPr>
              <a:t>€</a:t>
            </a:r>
            <a:r>
              <a:rPr lang="en-US" altLang="zh-CN" sz="2400" b="1" dirty="0" smtClean="0">
                <a:solidFill>
                  <a:schemeClr val="accent1">
                    <a:lumMod val="75000"/>
                  </a:schemeClr>
                </a:solidFill>
                <a:latin typeface="+mj-lt"/>
                <a:ea typeface="+mj-ea"/>
              </a:rPr>
              <a:t>XX</a:t>
            </a:r>
            <a:r>
              <a:rPr lang="zh-CN" altLang="en-US" sz="1465" b="1" dirty="0" smtClean="0">
                <a:solidFill>
                  <a:schemeClr val="accent1">
                    <a:lumMod val="75000"/>
                  </a:schemeClr>
                </a:solidFill>
                <a:latin typeface="+mj-lt"/>
                <a:ea typeface="+mj-ea"/>
              </a:rPr>
              <a:t>亿</a:t>
            </a:r>
            <a:endParaRPr lang="zh-CN" altLang="en-US" sz="1465" b="1" dirty="0">
              <a:solidFill>
                <a:schemeClr val="accent1">
                  <a:lumMod val="75000"/>
                </a:schemeClr>
              </a:solidFill>
              <a:latin typeface="+mj-lt"/>
              <a:ea typeface="+mj-ea"/>
            </a:endParaRPr>
          </a:p>
        </p:txBody>
      </p:sp>
      <p:sp>
        <p:nvSpPr>
          <p:cNvPr id="136" name="文本框 51"/>
          <p:cNvSpPr txBox="1"/>
          <p:nvPr/>
        </p:nvSpPr>
        <p:spPr>
          <a:xfrm>
            <a:off x="4604248" y="3357840"/>
            <a:ext cx="977219" cy="978053"/>
          </a:xfrm>
          <a:prstGeom prst="ellipse">
            <a:avLst/>
          </a:prstGeom>
          <a:solidFill>
            <a:srgbClr val="FFFFFF"/>
          </a:solidFill>
          <a:ln w="25400">
            <a:gradFill>
              <a:gsLst>
                <a:gs pos="0">
                  <a:schemeClr val="accent1">
                    <a:lumMod val="50000"/>
                  </a:schemeClr>
                </a:gs>
                <a:gs pos="100000">
                  <a:schemeClr val="accent1"/>
                </a:gs>
              </a:gsLst>
              <a:lin ang="5400000" scaled="1"/>
            </a:gradFill>
          </a:ln>
        </p:spPr>
        <p:txBody>
          <a:bodyPr wrap="none" lIns="0" tIns="0" rIns="0" bIns="0" rtlCol="0" anchor="ctr">
            <a:noAutofit/>
          </a:bodyPr>
          <a:lstStyle/>
          <a:p>
            <a:pPr algn="ctr"/>
            <a:r>
              <a:rPr lang="en-US" altLang="zh-CN" sz="2400" b="1" dirty="0" smtClean="0">
                <a:solidFill>
                  <a:schemeClr val="accent1">
                    <a:lumMod val="75000"/>
                  </a:schemeClr>
                </a:solidFill>
                <a:latin typeface="+mj-lt"/>
                <a:ea typeface="+mj-ea"/>
              </a:rPr>
              <a:t>XX</a:t>
            </a:r>
            <a:r>
              <a:rPr lang="en-US" altLang="zh-CN" sz="1600" b="1" dirty="0" smtClean="0">
                <a:solidFill>
                  <a:schemeClr val="accent1">
                    <a:lumMod val="75000"/>
                  </a:schemeClr>
                </a:solidFill>
                <a:latin typeface="+mj-lt"/>
                <a:ea typeface="+mj-ea"/>
              </a:rPr>
              <a:t>%</a:t>
            </a:r>
            <a:endParaRPr lang="en-US" altLang="zh-CN" sz="2400" b="1" dirty="0">
              <a:solidFill>
                <a:schemeClr val="accent1">
                  <a:lumMod val="75000"/>
                </a:schemeClr>
              </a:solidFill>
              <a:latin typeface="+mj-lt"/>
              <a:ea typeface="+mj-ea"/>
            </a:endParaRPr>
          </a:p>
        </p:txBody>
      </p:sp>
      <p:sp>
        <p:nvSpPr>
          <p:cNvPr id="137" name="文本框 51"/>
          <p:cNvSpPr txBox="1"/>
          <p:nvPr/>
        </p:nvSpPr>
        <p:spPr>
          <a:xfrm>
            <a:off x="4604248" y="4810959"/>
            <a:ext cx="977219" cy="978053"/>
          </a:xfrm>
          <a:prstGeom prst="ellipse">
            <a:avLst/>
          </a:prstGeom>
          <a:solidFill>
            <a:srgbClr val="FFFFFF"/>
          </a:solidFill>
          <a:ln w="25400">
            <a:gradFill>
              <a:gsLst>
                <a:gs pos="0">
                  <a:schemeClr val="accent1">
                    <a:lumMod val="50000"/>
                  </a:schemeClr>
                </a:gs>
                <a:gs pos="100000">
                  <a:schemeClr val="accent1"/>
                </a:gs>
              </a:gsLst>
              <a:lin ang="5400000" scaled="1"/>
            </a:gradFill>
          </a:ln>
        </p:spPr>
        <p:txBody>
          <a:bodyPr wrap="none" lIns="0" tIns="0" rIns="0" bIns="0" rtlCol="0" anchor="ctr">
            <a:noAutofit/>
          </a:bodyPr>
          <a:lstStyle/>
          <a:p>
            <a:pPr algn="ctr"/>
            <a:r>
              <a:rPr lang="en-US" altLang="zh-CN" sz="2400" b="1" dirty="0" smtClean="0">
                <a:solidFill>
                  <a:schemeClr val="accent1">
                    <a:lumMod val="75000"/>
                  </a:schemeClr>
                </a:solidFill>
              </a:rPr>
              <a:t>XX</a:t>
            </a:r>
            <a:r>
              <a:rPr lang="en-US" altLang="zh-CN" sz="1600" b="1" dirty="0" smtClean="0">
                <a:solidFill>
                  <a:schemeClr val="accent1">
                    <a:lumMod val="75000"/>
                  </a:schemeClr>
                </a:solidFill>
              </a:rPr>
              <a:t>%</a:t>
            </a:r>
            <a:endParaRPr lang="en-US" altLang="zh-CN" sz="2400" b="1" dirty="0">
              <a:solidFill>
                <a:schemeClr val="accent1">
                  <a:lumMod val="75000"/>
                </a:schemeClr>
              </a:solidFill>
            </a:endParaRPr>
          </a:p>
        </p:txBody>
      </p:sp>
      <p:sp>
        <p:nvSpPr>
          <p:cNvPr id="4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43" name="图片 4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对象 4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472" name="think-cell Slide" r:id="rId2" imgW="12700" imgH="12700" progId="TCLayout.ActiveDocument.1">
                  <p:embed/>
                </p:oleObj>
              </mc:Choice>
              <mc:Fallback>
                <p:oleObj name="think-cell Slide" r:id="rId2" imgW="12700" imgH="12700" progId="TCLayout.ActiveDocument.1">
                  <p:embed/>
                  <p:pic>
                    <p:nvPicPr>
                      <p:cNvPr id="0" name="对象 43"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 name="Rectangle 51"/>
          <p:cNvSpPr/>
          <p:nvPr/>
        </p:nvSpPr>
        <p:spPr>
          <a:xfrm>
            <a:off x="-1" y="3226508"/>
            <a:ext cx="12204465" cy="208031"/>
          </a:xfrm>
          <a:prstGeom prst="rect">
            <a:avLst/>
          </a:prstGeom>
          <a:solidFill>
            <a:schemeClr val="tx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smtClean="0">
              <a:solidFill>
                <a:srgbClr val="FFFFFF"/>
              </a:solidFill>
            </a:endParaRPr>
          </a:p>
        </p:txBody>
      </p:sp>
      <p:sp>
        <p:nvSpPr>
          <p:cNvPr id="5" name="Rectangle 9"/>
          <p:cNvSpPr/>
          <p:nvPr/>
        </p:nvSpPr>
        <p:spPr>
          <a:xfrm>
            <a:off x="-1" y="3254244"/>
            <a:ext cx="12204465" cy="208031"/>
          </a:xfrm>
          <a:prstGeom prst="rect">
            <a:avLst/>
          </a:prstGeom>
          <a:solidFill>
            <a:schemeClr val="accent1">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smtClean="0">
              <a:solidFill>
                <a:srgbClr val="FFFFFF"/>
              </a:solidFill>
            </a:endParaRPr>
          </a:p>
        </p:txBody>
      </p:sp>
      <p:sp>
        <p:nvSpPr>
          <p:cNvPr id="6" name="Rectangle 123"/>
          <p:cNvSpPr/>
          <p:nvPr/>
        </p:nvSpPr>
        <p:spPr>
          <a:xfrm>
            <a:off x="442696" y="4034857"/>
            <a:ext cx="2607001" cy="1526367"/>
          </a:xfrm>
          <a:prstGeom prst="rect">
            <a:avLst/>
          </a:prstGeom>
        </p:spPr>
        <p:txBody>
          <a:bodyPr wrap="square" lIns="0" rIns="0">
            <a:noAutofit/>
          </a:bodyPr>
          <a:lstStyle/>
          <a:p>
            <a:pPr algn="ctr"/>
            <a:r>
              <a:rPr lang="en-US" altLang="zh-CN" sz="2000" b="1" kern="0" dirty="0" smtClean="0">
                <a:solidFill>
                  <a:schemeClr val="accent1">
                    <a:lumMod val="75000"/>
                  </a:schemeClr>
                </a:solidFill>
              </a:rPr>
              <a:t>Ensure adequate of AMS structure and compliance to AMS process </a:t>
            </a:r>
            <a:endParaRPr lang="en-US" altLang="zh-CN" sz="2000" b="1" kern="0" dirty="0">
              <a:solidFill>
                <a:schemeClr val="accent1">
                  <a:lumMod val="75000"/>
                </a:schemeClr>
              </a:solidFill>
            </a:endParaRPr>
          </a:p>
        </p:txBody>
      </p:sp>
      <p:sp>
        <p:nvSpPr>
          <p:cNvPr id="7" name="Rectangle 124"/>
          <p:cNvSpPr/>
          <p:nvPr/>
        </p:nvSpPr>
        <p:spPr>
          <a:xfrm>
            <a:off x="3314359" y="4034857"/>
            <a:ext cx="2607001" cy="1526367"/>
          </a:xfrm>
          <a:prstGeom prst="rect">
            <a:avLst/>
          </a:prstGeom>
        </p:spPr>
        <p:txBody>
          <a:bodyPr wrap="square" lIns="0" rIns="0">
            <a:noAutofit/>
          </a:bodyPr>
          <a:lstStyle/>
          <a:p>
            <a:pPr algn="ctr"/>
            <a:r>
              <a:rPr lang="en-US" altLang="zh-CN" sz="2000" b="1" kern="0" dirty="0" smtClean="0">
                <a:solidFill>
                  <a:schemeClr val="accent1">
                    <a:lumMod val="75000"/>
                  </a:schemeClr>
                </a:solidFill>
              </a:rPr>
              <a:t>Rationalize antimicrobial drug use</a:t>
            </a:r>
            <a:endParaRPr lang="en-US" altLang="zh-CN" sz="2000" b="1" kern="0" dirty="0">
              <a:solidFill>
                <a:schemeClr val="accent1">
                  <a:lumMod val="75000"/>
                </a:schemeClr>
              </a:solidFill>
            </a:endParaRPr>
          </a:p>
        </p:txBody>
      </p:sp>
      <p:sp>
        <p:nvSpPr>
          <p:cNvPr id="8" name="Rectangle 125"/>
          <p:cNvSpPr/>
          <p:nvPr/>
        </p:nvSpPr>
        <p:spPr>
          <a:xfrm>
            <a:off x="6186020" y="4034857"/>
            <a:ext cx="2662216" cy="1526367"/>
          </a:xfrm>
          <a:prstGeom prst="rect">
            <a:avLst/>
          </a:prstGeom>
        </p:spPr>
        <p:txBody>
          <a:bodyPr wrap="square" lIns="0" rIns="0">
            <a:noAutofit/>
          </a:bodyPr>
          <a:lstStyle/>
          <a:p>
            <a:pPr algn="ctr"/>
            <a:r>
              <a:rPr lang="en-US" altLang="zh-CN" sz="2000" b="1" kern="0" dirty="0" smtClean="0">
                <a:solidFill>
                  <a:schemeClr val="accent1">
                    <a:lumMod val="75000"/>
                  </a:schemeClr>
                </a:solidFill>
              </a:rPr>
              <a:t>Slow the emergency of major drug resistance microbial</a:t>
            </a:r>
            <a:endParaRPr lang="en-US" altLang="zh-CN" sz="2000" b="1" kern="0" dirty="0">
              <a:solidFill>
                <a:schemeClr val="accent1">
                  <a:lumMod val="75000"/>
                </a:schemeClr>
              </a:solidFill>
            </a:endParaRPr>
          </a:p>
        </p:txBody>
      </p:sp>
      <p:sp>
        <p:nvSpPr>
          <p:cNvPr id="9" name="Rectangle 126"/>
          <p:cNvSpPr/>
          <p:nvPr/>
        </p:nvSpPr>
        <p:spPr>
          <a:xfrm>
            <a:off x="9057685" y="4034857"/>
            <a:ext cx="2607001" cy="1526367"/>
          </a:xfrm>
          <a:prstGeom prst="rect">
            <a:avLst/>
          </a:prstGeom>
        </p:spPr>
        <p:txBody>
          <a:bodyPr wrap="square" lIns="0" rIns="0">
            <a:noAutofit/>
          </a:bodyPr>
          <a:lstStyle/>
          <a:p>
            <a:pPr algn="ctr"/>
            <a:r>
              <a:rPr lang="en-US" altLang="zh-CN" sz="2000" b="1" kern="0" dirty="0" smtClean="0">
                <a:solidFill>
                  <a:schemeClr val="accent1">
                    <a:lumMod val="75000"/>
                  </a:schemeClr>
                </a:solidFill>
              </a:rPr>
              <a:t>Improve infection related outcome and reduce cost</a:t>
            </a:r>
            <a:endParaRPr lang="en-US" altLang="zh-CN" sz="2000" b="1" kern="0" dirty="0">
              <a:solidFill>
                <a:schemeClr val="accent1">
                  <a:lumMod val="75000"/>
                </a:schemeClr>
              </a:solidFill>
            </a:endParaRPr>
          </a:p>
        </p:txBody>
      </p:sp>
      <p:sp>
        <p:nvSpPr>
          <p:cNvPr id="10" name="AutoShape 31"/>
          <p:cNvSpPr/>
          <p:nvPr/>
        </p:nvSpPr>
        <p:spPr bwMode="auto">
          <a:xfrm>
            <a:off x="1004989" y="2209502"/>
            <a:ext cx="1482417" cy="1666361"/>
          </a:xfrm>
          <a:custGeom>
            <a:avLst/>
            <a:gdLst>
              <a:gd name="T0" fmla="*/ 2147483646 w 19679"/>
              <a:gd name="T1" fmla="*/ 2147483646 h 21600"/>
              <a:gd name="T2" fmla="*/ 2147483646 w 19679"/>
              <a:gd name="T3" fmla="*/ 2147483646 h 21600"/>
              <a:gd name="T4" fmla="*/ 2147483646 w 19679"/>
              <a:gd name="T5" fmla="*/ 2147483646 h 21600"/>
              <a:gd name="T6" fmla="*/ 2147483646 w 19679"/>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21600">
                <a:moveTo>
                  <a:pt x="9839" y="0"/>
                </a:moveTo>
                <a:cubicBezTo>
                  <a:pt x="7321" y="0"/>
                  <a:pt x="4803" y="937"/>
                  <a:pt x="2882" y="2813"/>
                </a:cubicBezTo>
                <a:cubicBezTo>
                  <a:pt x="-961" y="6566"/>
                  <a:pt x="-961" y="12653"/>
                  <a:pt x="2882" y="16406"/>
                </a:cubicBezTo>
                <a:cubicBezTo>
                  <a:pt x="4480" y="17967"/>
                  <a:pt x="6493" y="18867"/>
                  <a:pt x="8574" y="19129"/>
                </a:cubicBezTo>
                <a:lnTo>
                  <a:pt x="9839" y="21600"/>
                </a:lnTo>
                <a:lnTo>
                  <a:pt x="11104" y="19129"/>
                </a:lnTo>
                <a:cubicBezTo>
                  <a:pt x="13185" y="18867"/>
                  <a:pt x="15198" y="17967"/>
                  <a:pt x="16796" y="16406"/>
                </a:cubicBezTo>
                <a:cubicBezTo>
                  <a:pt x="20639" y="12653"/>
                  <a:pt x="20639" y="6566"/>
                  <a:pt x="16796" y="2813"/>
                </a:cubicBezTo>
                <a:cubicBezTo>
                  <a:pt x="14875" y="937"/>
                  <a:pt x="12357" y="0"/>
                  <a:pt x="9839" y="0"/>
                </a:cubicBezTo>
                <a:close/>
              </a:path>
            </a:pathLst>
          </a:cu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2000" b="1" kern="0">
              <a:solidFill>
                <a:schemeClr val="bg1"/>
              </a:solidFill>
            </a:endParaRPr>
          </a:p>
        </p:txBody>
      </p:sp>
      <p:sp>
        <p:nvSpPr>
          <p:cNvPr id="11" name="Oval 32"/>
          <p:cNvSpPr/>
          <p:nvPr/>
        </p:nvSpPr>
        <p:spPr bwMode="auto">
          <a:xfrm>
            <a:off x="1179855" y="2384362"/>
            <a:ext cx="1132685" cy="1132861"/>
          </a:xfrm>
          <a:prstGeom prst="ellipse">
            <a:avLst/>
          </a:prstGeom>
          <a:solidFill>
            <a:srgbClr val="FFFFFF"/>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nchor="ctr"/>
          <a:lstStyle/>
          <a:p>
            <a:endParaRPr lang="en-US" altLang="en-US" sz="3200" b="0">
              <a:solidFill>
                <a:srgbClr val="FFFFFF"/>
              </a:solidFill>
              <a:latin typeface="Arial" panose="020B0604020202020204" pitchFamily="34" charset="0"/>
              <a:sym typeface="Arial" panose="020B0604020202020204" pitchFamily="34" charset="0"/>
            </a:endParaRPr>
          </a:p>
        </p:txBody>
      </p:sp>
      <p:grpSp>
        <p:nvGrpSpPr>
          <p:cNvPr id="12" name="bcgIcons_Simplicity"/>
          <p:cNvGrpSpPr>
            <a:grpSpLocks noChangeAspect="1"/>
          </p:cNvGrpSpPr>
          <p:nvPr/>
        </p:nvGrpSpPr>
        <p:grpSpPr bwMode="auto">
          <a:xfrm>
            <a:off x="1162329" y="2378778"/>
            <a:ext cx="1150212" cy="1151277"/>
            <a:chOff x="1682" y="0"/>
            <a:chExt cx="4316" cy="4320"/>
          </a:xfrm>
        </p:grpSpPr>
        <p:sp>
          <p:nvSpPr>
            <p:cNvPr id="13" name="AutoShape 23"/>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p>
          </p:txBody>
        </p:sp>
        <p:sp>
          <p:nvSpPr>
            <p:cNvPr id="14" name="Freeform 25"/>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5" name="Freeform 26"/>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16" name="AutoShape 31"/>
          <p:cNvSpPr/>
          <p:nvPr/>
        </p:nvSpPr>
        <p:spPr bwMode="auto">
          <a:xfrm>
            <a:off x="3876650" y="2209502"/>
            <a:ext cx="1482417" cy="1666361"/>
          </a:xfrm>
          <a:custGeom>
            <a:avLst/>
            <a:gdLst>
              <a:gd name="T0" fmla="*/ 2147483646 w 19679"/>
              <a:gd name="T1" fmla="*/ 2147483646 h 21600"/>
              <a:gd name="T2" fmla="*/ 2147483646 w 19679"/>
              <a:gd name="T3" fmla="*/ 2147483646 h 21600"/>
              <a:gd name="T4" fmla="*/ 2147483646 w 19679"/>
              <a:gd name="T5" fmla="*/ 2147483646 h 21600"/>
              <a:gd name="T6" fmla="*/ 2147483646 w 19679"/>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21600">
                <a:moveTo>
                  <a:pt x="9839" y="0"/>
                </a:moveTo>
                <a:cubicBezTo>
                  <a:pt x="7321" y="0"/>
                  <a:pt x="4803" y="937"/>
                  <a:pt x="2882" y="2813"/>
                </a:cubicBezTo>
                <a:cubicBezTo>
                  <a:pt x="-961" y="6566"/>
                  <a:pt x="-961" y="12653"/>
                  <a:pt x="2882" y="16406"/>
                </a:cubicBezTo>
                <a:cubicBezTo>
                  <a:pt x="4480" y="17967"/>
                  <a:pt x="6493" y="18867"/>
                  <a:pt x="8574" y="19129"/>
                </a:cubicBezTo>
                <a:lnTo>
                  <a:pt x="9839" y="21600"/>
                </a:lnTo>
                <a:lnTo>
                  <a:pt x="11104" y="19129"/>
                </a:lnTo>
                <a:cubicBezTo>
                  <a:pt x="13185" y="18867"/>
                  <a:pt x="15198" y="17967"/>
                  <a:pt x="16796" y="16406"/>
                </a:cubicBezTo>
                <a:cubicBezTo>
                  <a:pt x="20639" y="12653"/>
                  <a:pt x="20639" y="6566"/>
                  <a:pt x="16796" y="2813"/>
                </a:cubicBezTo>
                <a:cubicBezTo>
                  <a:pt x="14875" y="937"/>
                  <a:pt x="12357" y="0"/>
                  <a:pt x="9839" y="0"/>
                </a:cubicBezTo>
                <a:close/>
              </a:path>
            </a:pathLst>
          </a:cu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2000" b="1" kern="0">
              <a:solidFill>
                <a:schemeClr val="bg1"/>
              </a:solidFill>
            </a:endParaRPr>
          </a:p>
        </p:txBody>
      </p:sp>
      <p:sp>
        <p:nvSpPr>
          <p:cNvPr id="17" name="Oval 32"/>
          <p:cNvSpPr/>
          <p:nvPr/>
        </p:nvSpPr>
        <p:spPr bwMode="auto">
          <a:xfrm>
            <a:off x="4051516" y="2384362"/>
            <a:ext cx="1132685" cy="1132861"/>
          </a:xfrm>
          <a:prstGeom prst="ellipse">
            <a:avLst/>
          </a:prstGeom>
          <a:solidFill>
            <a:srgbClr val="FFFFFF"/>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nchor="ctr"/>
          <a:lstStyle/>
          <a:p>
            <a:endParaRPr lang="en-US" altLang="en-US" sz="3200" b="0">
              <a:solidFill>
                <a:srgbClr val="FFFFFF"/>
              </a:solidFill>
              <a:latin typeface="Arial" panose="020B0604020202020204" pitchFamily="34" charset="0"/>
              <a:sym typeface="Arial" panose="020B0604020202020204" pitchFamily="34" charset="0"/>
            </a:endParaRPr>
          </a:p>
        </p:txBody>
      </p:sp>
      <p:grpSp>
        <p:nvGrpSpPr>
          <p:cNvPr id="18" name="bcgIcons_Syringe"/>
          <p:cNvGrpSpPr>
            <a:grpSpLocks noChangeAspect="1"/>
          </p:cNvGrpSpPr>
          <p:nvPr/>
        </p:nvGrpSpPr>
        <p:grpSpPr bwMode="auto">
          <a:xfrm>
            <a:off x="4169252" y="2434395"/>
            <a:ext cx="987024" cy="987938"/>
            <a:chOff x="1682" y="0"/>
            <a:chExt cx="4316" cy="4320"/>
          </a:xfrm>
        </p:grpSpPr>
        <p:sp>
          <p:nvSpPr>
            <p:cNvPr id="19" name="AutoShape 18"/>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p>
          </p:txBody>
        </p:sp>
        <p:sp>
          <p:nvSpPr>
            <p:cNvPr id="20" name="Freeform 20"/>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1" name="Freeform 21"/>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22" name="AutoShape 31"/>
          <p:cNvSpPr/>
          <p:nvPr/>
        </p:nvSpPr>
        <p:spPr bwMode="auto">
          <a:xfrm>
            <a:off x="9619976" y="2209502"/>
            <a:ext cx="1482417" cy="1666361"/>
          </a:xfrm>
          <a:custGeom>
            <a:avLst/>
            <a:gdLst>
              <a:gd name="T0" fmla="*/ 2147483646 w 19679"/>
              <a:gd name="T1" fmla="*/ 2147483646 h 21600"/>
              <a:gd name="T2" fmla="*/ 2147483646 w 19679"/>
              <a:gd name="T3" fmla="*/ 2147483646 h 21600"/>
              <a:gd name="T4" fmla="*/ 2147483646 w 19679"/>
              <a:gd name="T5" fmla="*/ 2147483646 h 21600"/>
              <a:gd name="T6" fmla="*/ 2147483646 w 19679"/>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21600">
                <a:moveTo>
                  <a:pt x="9839" y="0"/>
                </a:moveTo>
                <a:cubicBezTo>
                  <a:pt x="7321" y="0"/>
                  <a:pt x="4803" y="937"/>
                  <a:pt x="2882" y="2813"/>
                </a:cubicBezTo>
                <a:cubicBezTo>
                  <a:pt x="-961" y="6566"/>
                  <a:pt x="-961" y="12653"/>
                  <a:pt x="2882" y="16406"/>
                </a:cubicBezTo>
                <a:cubicBezTo>
                  <a:pt x="4480" y="17967"/>
                  <a:pt x="6493" y="18867"/>
                  <a:pt x="8574" y="19129"/>
                </a:cubicBezTo>
                <a:lnTo>
                  <a:pt x="9839" y="21600"/>
                </a:lnTo>
                <a:lnTo>
                  <a:pt x="11104" y="19129"/>
                </a:lnTo>
                <a:cubicBezTo>
                  <a:pt x="13185" y="18867"/>
                  <a:pt x="15198" y="17967"/>
                  <a:pt x="16796" y="16406"/>
                </a:cubicBezTo>
                <a:cubicBezTo>
                  <a:pt x="20639" y="12653"/>
                  <a:pt x="20639" y="6566"/>
                  <a:pt x="16796" y="2813"/>
                </a:cubicBezTo>
                <a:cubicBezTo>
                  <a:pt x="14875" y="937"/>
                  <a:pt x="12357" y="0"/>
                  <a:pt x="9839" y="0"/>
                </a:cubicBezTo>
                <a:close/>
              </a:path>
            </a:pathLst>
          </a:cu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2000" b="1" kern="0">
              <a:solidFill>
                <a:schemeClr val="bg1"/>
              </a:solidFill>
            </a:endParaRPr>
          </a:p>
        </p:txBody>
      </p:sp>
      <p:sp>
        <p:nvSpPr>
          <p:cNvPr id="23" name="Oval 32"/>
          <p:cNvSpPr/>
          <p:nvPr/>
        </p:nvSpPr>
        <p:spPr bwMode="auto">
          <a:xfrm>
            <a:off x="9794842" y="2384362"/>
            <a:ext cx="1132685" cy="1132861"/>
          </a:xfrm>
          <a:prstGeom prst="ellipse">
            <a:avLst/>
          </a:prstGeom>
          <a:solidFill>
            <a:srgbClr val="FFFFFF"/>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nchor="ctr"/>
          <a:lstStyle/>
          <a:p>
            <a:endParaRPr lang="en-US" altLang="en-US" sz="3200" b="0">
              <a:solidFill>
                <a:srgbClr val="FFFFFF"/>
              </a:solidFill>
              <a:latin typeface="Arial" panose="020B0604020202020204" pitchFamily="34" charset="0"/>
              <a:sym typeface="Arial" panose="020B0604020202020204" pitchFamily="34" charset="0"/>
            </a:endParaRPr>
          </a:p>
        </p:txBody>
      </p:sp>
      <p:grpSp>
        <p:nvGrpSpPr>
          <p:cNvPr id="24" name="bcgIcons_FinanceUSD"/>
          <p:cNvGrpSpPr>
            <a:grpSpLocks noChangeAspect="1"/>
          </p:cNvGrpSpPr>
          <p:nvPr/>
        </p:nvGrpSpPr>
        <p:grpSpPr bwMode="auto">
          <a:xfrm>
            <a:off x="9887512" y="2465573"/>
            <a:ext cx="947344" cy="948222"/>
            <a:chOff x="1682" y="0"/>
            <a:chExt cx="4316" cy="4320"/>
          </a:xfrm>
        </p:grpSpPr>
        <p:sp>
          <p:nvSpPr>
            <p:cNvPr id="25" name="AutoShape 14"/>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p>
          </p:txBody>
        </p:sp>
        <p:sp>
          <p:nvSpPr>
            <p:cNvPr id="26" name="Freeform 16"/>
            <p:cNvSpPr>
              <a:spLocks noEditPoints="1"/>
            </p:cNvSpPr>
            <p:nvPr/>
          </p:nvSpPr>
          <p:spPr bwMode="auto">
            <a:xfrm>
              <a:off x="2167" y="1329"/>
              <a:ext cx="3050" cy="1365"/>
            </a:xfrm>
            <a:custGeom>
              <a:avLst/>
              <a:gdLst>
                <a:gd name="T0" fmla="*/ 547 w 1628"/>
                <a:gd name="T1" fmla="*/ 364 h 728"/>
                <a:gd name="T2" fmla="*/ 713 w 1628"/>
                <a:gd name="T3" fmla="*/ 722 h 728"/>
                <a:gd name="T4" fmla="*/ 711 w 1628"/>
                <a:gd name="T5" fmla="*/ 728 h 728"/>
                <a:gd name="T6" fmla="*/ 114 w 1628"/>
                <a:gd name="T7" fmla="*/ 728 h 728"/>
                <a:gd name="T8" fmla="*/ 111 w 1628"/>
                <a:gd name="T9" fmla="*/ 724 h 728"/>
                <a:gd name="T10" fmla="*/ 115 w 1628"/>
                <a:gd name="T11" fmla="*/ 699 h 728"/>
                <a:gd name="T12" fmla="*/ 115 w 1628"/>
                <a:gd name="T13" fmla="*/ 699 h 728"/>
                <a:gd name="T14" fmla="*/ 31 w 1628"/>
                <a:gd name="T15" fmla="*/ 614 h 728"/>
                <a:gd name="T16" fmla="*/ 5 w 1628"/>
                <a:gd name="T17" fmla="*/ 618 h 728"/>
                <a:gd name="T18" fmla="*/ 0 w 1628"/>
                <a:gd name="T19" fmla="*/ 615 h 728"/>
                <a:gd name="T20" fmla="*/ 0 w 1628"/>
                <a:gd name="T21" fmla="*/ 115 h 728"/>
                <a:gd name="T22" fmla="*/ 5 w 1628"/>
                <a:gd name="T23" fmla="*/ 111 h 728"/>
                <a:gd name="T24" fmla="*/ 31 w 1628"/>
                <a:gd name="T25" fmla="*/ 116 h 728"/>
                <a:gd name="T26" fmla="*/ 115 w 1628"/>
                <a:gd name="T27" fmla="*/ 31 h 728"/>
                <a:gd name="T28" fmla="*/ 115 w 1628"/>
                <a:gd name="T29" fmla="*/ 31 h 728"/>
                <a:gd name="T30" fmla="*/ 111 w 1628"/>
                <a:gd name="T31" fmla="*/ 4 h 728"/>
                <a:gd name="T32" fmla="*/ 113 w 1628"/>
                <a:gd name="T33" fmla="*/ 0 h 728"/>
                <a:gd name="T34" fmla="*/ 711 w 1628"/>
                <a:gd name="T35" fmla="*/ 0 h 728"/>
                <a:gd name="T36" fmla="*/ 713 w 1628"/>
                <a:gd name="T37" fmla="*/ 6 h 728"/>
                <a:gd name="T38" fmla="*/ 547 w 1628"/>
                <a:gd name="T39" fmla="*/ 364 h 728"/>
                <a:gd name="T40" fmla="*/ 916 w 1628"/>
                <a:gd name="T41" fmla="*/ 728 h 728"/>
                <a:gd name="T42" fmla="*/ 1512 w 1628"/>
                <a:gd name="T43" fmla="*/ 728 h 728"/>
                <a:gd name="T44" fmla="*/ 1516 w 1628"/>
                <a:gd name="T45" fmla="*/ 724 h 728"/>
                <a:gd name="T46" fmla="*/ 1512 w 1628"/>
                <a:gd name="T47" fmla="*/ 699 h 728"/>
                <a:gd name="T48" fmla="*/ 1512 w 1628"/>
                <a:gd name="T49" fmla="*/ 699 h 728"/>
                <a:gd name="T50" fmla="*/ 1596 w 1628"/>
                <a:gd name="T51" fmla="*/ 614 h 728"/>
                <a:gd name="T52" fmla="*/ 1596 w 1628"/>
                <a:gd name="T53" fmla="*/ 614 h 728"/>
                <a:gd name="T54" fmla="*/ 1624 w 1628"/>
                <a:gd name="T55" fmla="*/ 619 h 728"/>
                <a:gd name="T56" fmla="*/ 1628 w 1628"/>
                <a:gd name="T57" fmla="*/ 616 h 728"/>
                <a:gd name="T58" fmla="*/ 1628 w 1628"/>
                <a:gd name="T59" fmla="*/ 114 h 728"/>
                <a:gd name="T60" fmla="*/ 1624 w 1628"/>
                <a:gd name="T61" fmla="*/ 110 h 728"/>
                <a:gd name="T62" fmla="*/ 1596 w 1628"/>
                <a:gd name="T63" fmla="*/ 116 h 728"/>
                <a:gd name="T64" fmla="*/ 1596 w 1628"/>
                <a:gd name="T65" fmla="*/ 116 h 728"/>
                <a:gd name="T66" fmla="*/ 1512 w 1628"/>
                <a:gd name="T67" fmla="*/ 31 h 728"/>
                <a:gd name="T68" fmla="*/ 1512 w 1628"/>
                <a:gd name="T69" fmla="*/ 31 h 728"/>
                <a:gd name="T70" fmla="*/ 1516 w 1628"/>
                <a:gd name="T71" fmla="*/ 4 h 728"/>
                <a:gd name="T72" fmla="*/ 1513 w 1628"/>
                <a:gd name="T73" fmla="*/ 0 h 728"/>
                <a:gd name="T74" fmla="*/ 916 w 1628"/>
                <a:gd name="T75" fmla="*/ 0 h 728"/>
                <a:gd name="T76" fmla="*/ 914 w 1628"/>
                <a:gd name="T77" fmla="*/ 6 h 728"/>
                <a:gd name="T78" fmla="*/ 1081 w 1628"/>
                <a:gd name="T79" fmla="*/ 364 h 728"/>
                <a:gd name="T80" fmla="*/ 914 w 1628"/>
                <a:gd name="T81" fmla="*/ 722 h 728"/>
                <a:gd name="T82" fmla="*/ 916 w 1628"/>
                <a:gd name="T8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8" h="728">
                  <a:moveTo>
                    <a:pt x="547" y="364"/>
                  </a:moveTo>
                  <a:cubicBezTo>
                    <a:pt x="547" y="522"/>
                    <a:pt x="628" y="659"/>
                    <a:pt x="713" y="722"/>
                  </a:cubicBezTo>
                  <a:cubicBezTo>
                    <a:pt x="716" y="724"/>
                    <a:pt x="715" y="728"/>
                    <a:pt x="711" y="728"/>
                  </a:cubicBezTo>
                  <a:cubicBezTo>
                    <a:pt x="711" y="728"/>
                    <a:pt x="711" y="728"/>
                    <a:pt x="114" y="728"/>
                  </a:cubicBezTo>
                  <a:cubicBezTo>
                    <a:pt x="112" y="728"/>
                    <a:pt x="111" y="725"/>
                    <a:pt x="111" y="724"/>
                  </a:cubicBezTo>
                  <a:cubicBezTo>
                    <a:pt x="113" y="716"/>
                    <a:pt x="115" y="707"/>
                    <a:pt x="115" y="699"/>
                  </a:cubicBezTo>
                  <a:cubicBezTo>
                    <a:pt x="115" y="699"/>
                    <a:pt x="115" y="699"/>
                    <a:pt x="115" y="699"/>
                  </a:cubicBezTo>
                  <a:cubicBezTo>
                    <a:pt x="115" y="652"/>
                    <a:pt x="77" y="614"/>
                    <a:pt x="31" y="614"/>
                  </a:cubicBezTo>
                  <a:cubicBezTo>
                    <a:pt x="22" y="614"/>
                    <a:pt x="12" y="616"/>
                    <a:pt x="5" y="618"/>
                  </a:cubicBezTo>
                  <a:cubicBezTo>
                    <a:pt x="2" y="619"/>
                    <a:pt x="0" y="618"/>
                    <a:pt x="0" y="615"/>
                  </a:cubicBezTo>
                  <a:cubicBezTo>
                    <a:pt x="0" y="615"/>
                    <a:pt x="0" y="615"/>
                    <a:pt x="0" y="115"/>
                  </a:cubicBezTo>
                  <a:cubicBezTo>
                    <a:pt x="0" y="112"/>
                    <a:pt x="2" y="110"/>
                    <a:pt x="5" y="111"/>
                  </a:cubicBezTo>
                  <a:cubicBezTo>
                    <a:pt x="12" y="114"/>
                    <a:pt x="22" y="116"/>
                    <a:pt x="31" y="116"/>
                  </a:cubicBezTo>
                  <a:cubicBezTo>
                    <a:pt x="77" y="116"/>
                    <a:pt x="115" y="78"/>
                    <a:pt x="115" y="31"/>
                  </a:cubicBezTo>
                  <a:cubicBezTo>
                    <a:pt x="115" y="31"/>
                    <a:pt x="115" y="31"/>
                    <a:pt x="115" y="31"/>
                  </a:cubicBezTo>
                  <a:cubicBezTo>
                    <a:pt x="115" y="21"/>
                    <a:pt x="113" y="13"/>
                    <a:pt x="111" y="4"/>
                  </a:cubicBezTo>
                  <a:cubicBezTo>
                    <a:pt x="110" y="2"/>
                    <a:pt x="111" y="0"/>
                    <a:pt x="113" y="0"/>
                  </a:cubicBezTo>
                  <a:cubicBezTo>
                    <a:pt x="113" y="0"/>
                    <a:pt x="113" y="0"/>
                    <a:pt x="711" y="0"/>
                  </a:cubicBezTo>
                  <a:cubicBezTo>
                    <a:pt x="715" y="0"/>
                    <a:pt x="716" y="3"/>
                    <a:pt x="713" y="6"/>
                  </a:cubicBezTo>
                  <a:cubicBezTo>
                    <a:pt x="628" y="68"/>
                    <a:pt x="547" y="206"/>
                    <a:pt x="547" y="364"/>
                  </a:cubicBezTo>
                  <a:close/>
                  <a:moveTo>
                    <a:pt x="916" y="728"/>
                  </a:moveTo>
                  <a:cubicBezTo>
                    <a:pt x="1512" y="728"/>
                    <a:pt x="1512" y="728"/>
                    <a:pt x="1512" y="728"/>
                  </a:cubicBezTo>
                  <a:cubicBezTo>
                    <a:pt x="1515" y="728"/>
                    <a:pt x="1516" y="725"/>
                    <a:pt x="1516" y="724"/>
                  </a:cubicBezTo>
                  <a:cubicBezTo>
                    <a:pt x="1513" y="716"/>
                    <a:pt x="1512" y="707"/>
                    <a:pt x="1512" y="699"/>
                  </a:cubicBezTo>
                  <a:cubicBezTo>
                    <a:pt x="1512" y="699"/>
                    <a:pt x="1512" y="699"/>
                    <a:pt x="1512" y="699"/>
                  </a:cubicBezTo>
                  <a:cubicBezTo>
                    <a:pt x="1512" y="652"/>
                    <a:pt x="1549" y="614"/>
                    <a:pt x="1596" y="614"/>
                  </a:cubicBezTo>
                  <a:cubicBezTo>
                    <a:pt x="1596" y="614"/>
                    <a:pt x="1596" y="614"/>
                    <a:pt x="1596" y="614"/>
                  </a:cubicBezTo>
                  <a:cubicBezTo>
                    <a:pt x="1605" y="614"/>
                    <a:pt x="1616" y="616"/>
                    <a:pt x="1624" y="619"/>
                  </a:cubicBezTo>
                  <a:cubicBezTo>
                    <a:pt x="1627" y="620"/>
                    <a:pt x="1628" y="618"/>
                    <a:pt x="1628" y="616"/>
                  </a:cubicBezTo>
                  <a:cubicBezTo>
                    <a:pt x="1628" y="114"/>
                    <a:pt x="1628" y="114"/>
                    <a:pt x="1628" y="114"/>
                  </a:cubicBezTo>
                  <a:cubicBezTo>
                    <a:pt x="1628" y="111"/>
                    <a:pt x="1627" y="110"/>
                    <a:pt x="1624" y="110"/>
                  </a:cubicBezTo>
                  <a:cubicBezTo>
                    <a:pt x="1616" y="114"/>
                    <a:pt x="1605" y="116"/>
                    <a:pt x="1596" y="116"/>
                  </a:cubicBezTo>
                  <a:cubicBezTo>
                    <a:pt x="1596" y="116"/>
                    <a:pt x="1596" y="116"/>
                    <a:pt x="1596" y="116"/>
                  </a:cubicBezTo>
                  <a:cubicBezTo>
                    <a:pt x="1549" y="116"/>
                    <a:pt x="1512" y="78"/>
                    <a:pt x="1512" y="31"/>
                  </a:cubicBezTo>
                  <a:cubicBezTo>
                    <a:pt x="1512" y="31"/>
                    <a:pt x="1512" y="31"/>
                    <a:pt x="1512" y="31"/>
                  </a:cubicBezTo>
                  <a:cubicBezTo>
                    <a:pt x="1512" y="21"/>
                    <a:pt x="1514" y="13"/>
                    <a:pt x="1516" y="4"/>
                  </a:cubicBezTo>
                  <a:cubicBezTo>
                    <a:pt x="1517" y="2"/>
                    <a:pt x="1516" y="0"/>
                    <a:pt x="1513" y="0"/>
                  </a:cubicBezTo>
                  <a:cubicBezTo>
                    <a:pt x="916" y="0"/>
                    <a:pt x="916" y="0"/>
                    <a:pt x="916" y="0"/>
                  </a:cubicBezTo>
                  <a:cubicBezTo>
                    <a:pt x="913" y="0"/>
                    <a:pt x="912" y="3"/>
                    <a:pt x="914" y="6"/>
                  </a:cubicBezTo>
                  <a:cubicBezTo>
                    <a:pt x="1000" y="68"/>
                    <a:pt x="1081" y="206"/>
                    <a:pt x="1081" y="364"/>
                  </a:cubicBezTo>
                  <a:cubicBezTo>
                    <a:pt x="1081" y="522"/>
                    <a:pt x="1000" y="659"/>
                    <a:pt x="914" y="722"/>
                  </a:cubicBezTo>
                  <a:cubicBezTo>
                    <a:pt x="912" y="724"/>
                    <a:pt x="913" y="728"/>
                    <a:pt x="916" y="728"/>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7" name="Freeform 17"/>
            <p:cNvSpPr>
              <a:spLocks noEditPoints="1"/>
            </p:cNvSpPr>
            <p:nvPr/>
          </p:nvSpPr>
          <p:spPr bwMode="auto">
            <a:xfrm>
              <a:off x="2015" y="1187"/>
              <a:ext cx="3646" cy="1942"/>
            </a:xfrm>
            <a:custGeom>
              <a:avLst/>
              <a:gdLst>
                <a:gd name="T0" fmla="*/ 1768 w 1946"/>
                <a:gd name="T1" fmla="*/ 880 h 1036"/>
                <a:gd name="T2" fmla="*/ 22 w 1946"/>
                <a:gd name="T3" fmla="*/ 880 h 1036"/>
                <a:gd name="T4" fmla="*/ 0 w 1946"/>
                <a:gd name="T5" fmla="*/ 858 h 1036"/>
                <a:gd name="T6" fmla="*/ 0 w 1946"/>
                <a:gd name="T7" fmla="*/ 22 h 1036"/>
                <a:gd name="T8" fmla="*/ 22 w 1946"/>
                <a:gd name="T9" fmla="*/ 0 h 1036"/>
                <a:gd name="T10" fmla="*/ 1768 w 1946"/>
                <a:gd name="T11" fmla="*/ 0 h 1036"/>
                <a:gd name="T12" fmla="*/ 1790 w 1946"/>
                <a:gd name="T13" fmla="*/ 22 h 1036"/>
                <a:gd name="T14" fmla="*/ 1790 w 1946"/>
                <a:gd name="T15" fmla="*/ 858 h 1036"/>
                <a:gd name="T16" fmla="*/ 1768 w 1946"/>
                <a:gd name="T17" fmla="*/ 880 h 1036"/>
                <a:gd name="T18" fmla="*/ 44 w 1946"/>
                <a:gd name="T19" fmla="*/ 836 h 1036"/>
                <a:gd name="T20" fmla="*/ 1746 w 1946"/>
                <a:gd name="T21" fmla="*/ 836 h 1036"/>
                <a:gd name="T22" fmla="*/ 1746 w 1946"/>
                <a:gd name="T23" fmla="*/ 44 h 1036"/>
                <a:gd name="T24" fmla="*/ 44 w 1946"/>
                <a:gd name="T25" fmla="*/ 44 h 1036"/>
                <a:gd name="T26" fmla="*/ 44 w 1946"/>
                <a:gd name="T27" fmla="*/ 836 h 1036"/>
                <a:gd name="T28" fmla="*/ 1868 w 1946"/>
                <a:gd name="T29" fmla="*/ 936 h 1036"/>
                <a:gd name="T30" fmla="*/ 1868 w 1946"/>
                <a:gd name="T31" fmla="*/ 100 h 1036"/>
                <a:gd name="T32" fmla="*/ 1846 w 1946"/>
                <a:gd name="T33" fmla="*/ 78 h 1036"/>
                <a:gd name="T34" fmla="*/ 1824 w 1946"/>
                <a:gd name="T35" fmla="*/ 100 h 1036"/>
                <a:gd name="T36" fmla="*/ 1824 w 1946"/>
                <a:gd name="T37" fmla="*/ 914 h 1036"/>
                <a:gd name="T38" fmla="*/ 100 w 1946"/>
                <a:gd name="T39" fmla="*/ 914 h 1036"/>
                <a:gd name="T40" fmla="*/ 78 w 1946"/>
                <a:gd name="T41" fmla="*/ 936 h 1036"/>
                <a:gd name="T42" fmla="*/ 100 w 1946"/>
                <a:gd name="T43" fmla="*/ 958 h 1036"/>
                <a:gd name="T44" fmla="*/ 1846 w 1946"/>
                <a:gd name="T45" fmla="*/ 958 h 1036"/>
                <a:gd name="T46" fmla="*/ 1868 w 1946"/>
                <a:gd name="T47" fmla="*/ 936 h 1036"/>
                <a:gd name="T48" fmla="*/ 1946 w 1946"/>
                <a:gd name="T49" fmla="*/ 1014 h 1036"/>
                <a:gd name="T50" fmla="*/ 1946 w 1946"/>
                <a:gd name="T51" fmla="*/ 178 h 1036"/>
                <a:gd name="T52" fmla="*/ 1924 w 1946"/>
                <a:gd name="T53" fmla="*/ 156 h 1036"/>
                <a:gd name="T54" fmla="*/ 1902 w 1946"/>
                <a:gd name="T55" fmla="*/ 178 h 1036"/>
                <a:gd name="T56" fmla="*/ 1902 w 1946"/>
                <a:gd name="T57" fmla="*/ 992 h 1036"/>
                <a:gd name="T58" fmla="*/ 178 w 1946"/>
                <a:gd name="T59" fmla="*/ 992 h 1036"/>
                <a:gd name="T60" fmla="*/ 156 w 1946"/>
                <a:gd name="T61" fmla="*/ 1014 h 1036"/>
                <a:gd name="T62" fmla="*/ 178 w 1946"/>
                <a:gd name="T63" fmla="*/ 1036 h 1036"/>
                <a:gd name="T64" fmla="*/ 1924 w 1946"/>
                <a:gd name="T65" fmla="*/ 1036 h 1036"/>
                <a:gd name="T66" fmla="*/ 1946 w 1946"/>
                <a:gd name="T67" fmla="*/ 1014 h 1036"/>
                <a:gd name="T68" fmla="*/ 862 w 1946"/>
                <a:gd name="T69" fmla="*/ 632 h 1036"/>
                <a:gd name="T70" fmla="*/ 779 w 1946"/>
                <a:gd name="T71" fmla="*/ 605 h 1036"/>
                <a:gd name="T72" fmla="*/ 804 w 1946"/>
                <a:gd name="T73" fmla="*/ 544 h 1036"/>
                <a:gd name="T74" fmla="*/ 883 w 1946"/>
                <a:gd name="T75" fmla="*/ 572 h 1036"/>
                <a:gd name="T76" fmla="*/ 943 w 1946"/>
                <a:gd name="T77" fmla="*/ 531 h 1036"/>
                <a:gd name="T78" fmla="*/ 928 w 1946"/>
                <a:gd name="T79" fmla="*/ 492 h 1036"/>
                <a:gd name="T80" fmla="*/ 870 w 1946"/>
                <a:gd name="T81" fmla="*/ 452 h 1036"/>
                <a:gd name="T82" fmla="*/ 812 w 1946"/>
                <a:gd name="T83" fmla="*/ 417 h 1036"/>
                <a:gd name="T84" fmla="*/ 788 w 1946"/>
                <a:gd name="T85" fmla="*/ 383 h 1036"/>
                <a:gd name="T86" fmla="*/ 780 w 1946"/>
                <a:gd name="T87" fmla="*/ 339 h 1036"/>
                <a:gd name="T88" fmla="*/ 802 w 1946"/>
                <a:gd name="T89" fmla="*/ 276 h 1036"/>
                <a:gd name="T90" fmla="*/ 862 w 1946"/>
                <a:gd name="T91" fmla="*/ 240 h 1036"/>
                <a:gd name="T92" fmla="*/ 862 w 1946"/>
                <a:gd name="T93" fmla="*/ 193 h 1036"/>
                <a:gd name="T94" fmla="*/ 922 w 1946"/>
                <a:gd name="T95" fmla="*/ 193 h 1036"/>
                <a:gd name="T96" fmla="*/ 922 w 1946"/>
                <a:gd name="T97" fmla="*/ 237 h 1036"/>
                <a:gd name="T98" fmla="*/ 993 w 1946"/>
                <a:gd name="T99" fmla="*/ 261 h 1036"/>
                <a:gd name="T100" fmla="*/ 973 w 1946"/>
                <a:gd name="T101" fmla="*/ 320 h 1036"/>
                <a:gd name="T102" fmla="*/ 897 w 1946"/>
                <a:gd name="T103" fmla="*/ 294 h 1036"/>
                <a:gd name="T104" fmla="*/ 861 w 1946"/>
                <a:gd name="T105" fmla="*/ 307 h 1036"/>
                <a:gd name="T106" fmla="*/ 848 w 1946"/>
                <a:gd name="T107" fmla="*/ 339 h 1036"/>
                <a:gd name="T108" fmla="*/ 921 w 1946"/>
                <a:gd name="T109" fmla="*/ 407 h 1036"/>
                <a:gd name="T110" fmla="*/ 976 w 1946"/>
                <a:gd name="T111" fmla="*/ 442 h 1036"/>
                <a:gd name="T112" fmla="*/ 1002 w 1946"/>
                <a:gd name="T113" fmla="*/ 479 h 1036"/>
                <a:gd name="T114" fmla="*/ 1011 w 1946"/>
                <a:gd name="T115" fmla="*/ 526 h 1036"/>
                <a:gd name="T116" fmla="*/ 987 w 1946"/>
                <a:gd name="T117" fmla="*/ 590 h 1036"/>
                <a:gd name="T118" fmla="*/ 922 w 1946"/>
                <a:gd name="T119" fmla="*/ 627 h 1036"/>
                <a:gd name="T120" fmla="*/ 922 w 1946"/>
                <a:gd name="T121" fmla="*/ 687 h 1036"/>
                <a:gd name="T122" fmla="*/ 862 w 1946"/>
                <a:gd name="T123" fmla="*/ 687 h 1036"/>
                <a:gd name="T124" fmla="*/ 862 w 1946"/>
                <a:gd name="T125" fmla="*/ 632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6" h="1036">
                  <a:moveTo>
                    <a:pt x="1768" y="880"/>
                  </a:moveTo>
                  <a:cubicBezTo>
                    <a:pt x="22" y="880"/>
                    <a:pt x="22" y="880"/>
                    <a:pt x="22" y="880"/>
                  </a:cubicBezTo>
                  <a:cubicBezTo>
                    <a:pt x="10" y="880"/>
                    <a:pt x="0" y="870"/>
                    <a:pt x="0" y="858"/>
                  </a:cubicBezTo>
                  <a:cubicBezTo>
                    <a:pt x="0" y="22"/>
                    <a:pt x="0" y="22"/>
                    <a:pt x="0" y="22"/>
                  </a:cubicBezTo>
                  <a:cubicBezTo>
                    <a:pt x="0" y="10"/>
                    <a:pt x="10" y="0"/>
                    <a:pt x="22" y="0"/>
                  </a:cubicBezTo>
                  <a:cubicBezTo>
                    <a:pt x="1768" y="0"/>
                    <a:pt x="1768" y="0"/>
                    <a:pt x="1768" y="0"/>
                  </a:cubicBezTo>
                  <a:cubicBezTo>
                    <a:pt x="1780" y="0"/>
                    <a:pt x="1790" y="10"/>
                    <a:pt x="1790" y="22"/>
                  </a:cubicBezTo>
                  <a:cubicBezTo>
                    <a:pt x="1790" y="858"/>
                    <a:pt x="1790" y="858"/>
                    <a:pt x="1790" y="858"/>
                  </a:cubicBezTo>
                  <a:cubicBezTo>
                    <a:pt x="1790" y="870"/>
                    <a:pt x="1780" y="880"/>
                    <a:pt x="1768" y="880"/>
                  </a:cubicBezTo>
                  <a:close/>
                  <a:moveTo>
                    <a:pt x="44" y="836"/>
                  </a:moveTo>
                  <a:cubicBezTo>
                    <a:pt x="1746" y="836"/>
                    <a:pt x="1746" y="836"/>
                    <a:pt x="1746" y="836"/>
                  </a:cubicBezTo>
                  <a:cubicBezTo>
                    <a:pt x="1746" y="44"/>
                    <a:pt x="1746" y="44"/>
                    <a:pt x="1746" y="44"/>
                  </a:cubicBezTo>
                  <a:cubicBezTo>
                    <a:pt x="44" y="44"/>
                    <a:pt x="44" y="44"/>
                    <a:pt x="44" y="44"/>
                  </a:cubicBezTo>
                  <a:lnTo>
                    <a:pt x="44" y="836"/>
                  </a:lnTo>
                  <a:close/>
                  <a:moveTo>
                    <a:pt x="1868" y="936"/>
                  </a:moveTo>
                  <a:cubicBezTo>
                    <a:pt x="1868" y="100"/>
                    <a:pt x="1868" y="100"/>
                    <a:pt x="1868" y="100"/>
                  </a:cubicBezTo>
                  <a:cubicBezTo>
                    <a:pt x="1868" y="88"/>
                    <a:pt x="1858" y="78"/>
                    <a:pt x="1846" y="78"/>
                  </a:cubicBezTo>
                  <a:cubicBezTo>
                    <a:pt x="1834" y="78"/>
                    <a:pt x="1824" y="88"/>
                    <a:pt x="1824" y="100"/>
                  </a:cubicBezTo>
                  <a:cubicBezTo>
                    <a:pt x="1824" y="914"/>
                    <a:pt x="1824" y="914"/>
                    <a:pt x="1824" y="914"/>
                  </a:cubicBezTo>
                  <a:cubicBezTo>
                    <a:pt x="100" y="914"/>
                    <a:pt x="100" y="914"/>
                    <a:pt x="100" y="914"/>
                  </a:cubicBezTo>
                  <a:cubicBezTo>
                    <a:pt x="88" y="914"/>
                    <a:pt x="78" y="924"/>
                    <a:pt x="78" y="936"/>
                  </a:cubicBezTo>
                  <a:cubicBezTo>
                    <a:pt x="78" y="948"/>
                    <a:pt x="88" y="958"/>
                    <a:pt x="100" y="958"/>
                  </a:cubicBezTo>
                  <a:cubicBezTo>
                    <a:pt x="1846" y="958"/>
                    <a:pt x="1846" y="958"/>
                    <a:pt x="1846" y="958"/>
                  </a:cubicBezTo>
                  <a:cubicBezTo>
                    <a:pt x="1858" y="958"/>
                    <a:pt x="1868" y="948"/>
                    <a:pt x="1868" y="936"/>
                  </a:cubicBezTo>
                  <a:close/>
                  <a:moveTo>
                    <a:pt x="1946" y="1014"/>
                  </a:moveTo>
                  <a:cubicBezTo>
                    <a:pt x="1946" y="178"/>
                    <a:pt x="1946" y="178"/>
                    <a:pt x="1946" y="178"/>
                  </a:cubicBezTo>
                  <a:cubicBezTo>
                    <a:pt x="1946" y="166"/>
                    <a:pt x="1936" y="156"/>
                    <a:pt x="1924" y="156"/>
                  </a:cubicBezTo>
                  <a:cubicBezTo>
                    <a:pt x="1912" y="156"/>
                    <a:pt x="1902" y="166"/>
                    <a:pt x="1902" y="178"/>
                  </a:cubicBezTo>
                  <a:cubicBezTo>
                    <a:pt x="1902" y="992"/>
                    <a:pt x="1902" y="992"/>
                    <a:pt x="1902" y="992"/>
                  </a:cubicBezTo>
                  <a:cubicBezTo>
                    <a:pt x="178" y="992"/>
                    <a:pt x="178" y="992"/>
                    <a:pt x="178" y="992"/>
                  </a:cubicBezTo>
                  <a:cubicBezTo>
                    <a:pt x="166" y="992"/>
                    <a:pt x="156" y="1002"/>
                    <a:pt x="156" y="1014"/>
                  </a:cubicBezTo>
                  <a:cubicBezTo>
                    <a:pt x="156" y="1026"/>
                    <a:pt x="166" y="1036"/>
                    <a:pt x="178" y="1036"/>
                  </a:cubicBezTo>
                  <a:cubicBezTo>
                    <a:pt x="1924" y="1036"/>
                    <a:pt x="1924" y="1036"/>
                    <a:pt x="1924" y="1036"/>
                  </a:cubicBezTo>
                  <a:cubicBezTo>
                    <a:pt x="1936" y="1036"/>
                    <a:pt x="1946" y="1026"/>
                    <a:pt x="1946" y="1014"/>
                  </a:cubicBezTo>
                  <a:close/>
                  <a:moveTo>
                    <a:pt x="862" y="632"/>
                  </a:moveTo>
                  <a:cubicBezTo>
                    <a:pt x="832" y="630"/>
                    <a:pt x="804" y="621"/>
                    <a:pt x="779" y="605"/>
                  </a:cubicBezTo>
                  <a:cubicBezTo>
                    <a:pt x="804" y="544"/>
                    <a:pt x="804" y="544"/>
                    <a:pt x="804" y="544"/>
                  </a:cubicBezTo>
                  <a:cubicBezTo>
                    <a:pt x="831" y="563"/>
                    <a:pt x="857" y="572"/>
                    <a:pt x="883" y="572"/>
                  </a:cubicBezTo>
                  <a:cubicBezTo>
                    <a:pt x="923" y="572"/>
                    <a:pt x="943" y="558"/>
                    <a:pt x="943" y="531"/>
                  </a:cubicBezTo>
                  <a:cubicBezTo>
                    <a:pt x="943" y="517"/>
                    <a:pt x="938" y="504"/>
                    <a:pt x="928" y="492"/>
                  </a:cubicBezTo>
                  <a:cubicBezTo>
                    <a:pt x="918" y="480"/>
                    <a:pt x="898" y="466"/>
                    <a:pt x="870" y="452"/>
                  </a:cubicBezTo>
                  <a:cubicBezTo>
                    <a:pt x="841" y="438"/>
                    <a:pt x="822" y="426"/>
                    <a:pt x="812" y="417"/>
                  </a:cubicBezTo>
                  <a:cubicBezTo>
                    <a:pt x="801" y="407"/>
                    <a:pt x="793" y="396"/>
                    <a:pt x="788" y="383"/>
                  </a:cubicBezTo>
                  <a:cubicBezTo>
                    <a:pt x="783" y="370"/>
                    <a:pt x="780" y="355"/>
                    <a:pt x="780" y="339"/>
                  </a:cubicBezTo>
                  <a:cubicBezTo>
                    <a:pt x="780" y="315"/>
                    <a:pt x="787" y="295"/>
                    <a:pt x="802" y="276"/>
                  </a:cubicBezTo>
                  <a:cubicBezTo>
                    <a:pt x="817" y="258"/>
                    <a:pt x="837" y="246"/>
                    <a:pt x="862" y="240"/>
                  </a:cubicBezTo>
                  <a:cubicBezTo>
                    <a:pt x="862" y="193"/>
                    <a:pt x="862" y="193"/>
                    <a:pt x="862" y="193"/>
                  </a:cubicBezTo>
                  <a:cubicBezTo>
                    <a:pt x="922" y="193"/>
                    <a:pt x="922" y="193"/>
                    <a:pt x="922" y="193"/>
                  </a:cubicBezTo>
                  <a:cubicBezTo>
                    <a:pt x="922" y="237"/>
                    <a:pt x="922" y="237"/>
                    <a:pt x="922" y="237"/>
                  </a:cubicBezTo>
                  <a:cubicBezTo>
                    <a:pt x="954" y="241"/>
                    <a:pt x="978" y="248"/>
                    <a:pt x="993" y="261"/>
                  </a:cubicBezTo>
                  <a:cubicBezTo>
                    <a:pt x="973" y="320"/>
                    <a:pt x="973" y="320"/>
                    <a:pt x="973" y="320"/>
                  </a:cubicBezTo>
                  <a:cubicBezTo>
                    <a:pt x="949" y="302"/>
                    <a:pt x="924" y="294"/>
                    <a:pt x="897" y="294"/>
                  </a:cubicBezTo>
                  <a:cubicBezTo>
                    <a:pt x="882" y="294"/>
                    <a:pt x="869" y="298"/>
                    <a:pt x="861" y="307"/>
                  </a:cubicBezTo>
                  <a:cubicBezTo>
                    <a:pt x="852" y="315"/>
                    <a:pt x="848" y="326"/>
                    <a:pt x="848" y="339"/>
                  </a:cubicBezTo>
                  <a:cubicBezTo>
                    <a:pt x="848" y="361"/>
                    <a:pt x="872" y="383"/>
                    <a:pt x="921" y="407"/>
                  </a:cubicBezTo>
                  <a:cubicBezTo>
                    <a:pt x="946" y="420"/>
                    <a:pt x="965" y="431"/>
                    <a:pt x="976" y="442"/>
                  </a:cubicBezTo>
                  <a:cubicBezTo>
                    <a:pt x="988" y="452"/>
                    <a:pt x="996" y="465"/>
                    <a:pt x="1002" y="479"/>
                  </a:cubicBezTo>
                  <a:cubicBezTo>
                    <a:pt x="1008" y="493"/>
                    <a:pt x="1011" y="508"/>
                    <a:pt x="1011" y="526"/>
                  </a:cubicBezTo>
                  <a:cubicBezTo>
                    <a:pt x="1011" y="550"/>
                    <a:pt x="1003" y="571"/>
                    <a:pt x="987" y="590"/>
                  </a:cubicBezTo>
                  <a:cubicBezTo>
                    <a:pt x="972" y="608"/>
                    <a:pt x="950" y="620"/>
                    <a:pt x="922" y="627"/>
                  </a:cubicBezTo>
                  <a:cubicBezTo>
                    <a:pt x="922" y="687"/>
                    <a:pt x="922" y="687"/>
                    <a:pt x="922" y="687"/>
                  </a:cubicBezTo>
                  <a:cubicBezTo>
                    <a:pt x="862" y="687"/>
                    <a:pt x="862" y="687"/>
                    <a:pt x="862" y="687"/>
                  </a:cubicBezTo>
                  <a:lnTo>
                    <a:pt x="862" y="632"/>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cxnSp>
        <p:nvCxnSpPr>
          <p:cNvPr id="28" name="Straight Connector 12"/>
          <p:cNvCxnSpPr/>
          <p:nvPr/>
        </p:nvCxnSpPr>
        <p:spPr>
          <a:xfrm>
            <a:off x="3182028" y="3804099"/>
            <a:ext cx="0" cy="1900014"/>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9" name="Straight Connector 56"/>
          <p:cNvCxnSpPr/>
          <p:nvPr/>
        </p:nvCxnSpPr>
        <p:spPr>
          <a:xfrm>
            <a:off x="6053690" y="3804099"/>
            <a:ext cx="0" cy="1900014"/>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0" name="Straight Connector 57"/>
          <p:cNvCxnSpPr/>
          <p:nvPr/>
        </p:nvCxnSpPr>
        <p:spPr>
          <a:xfrm>
            <a:off x="8925352" y="3804099"/>
            <a:ext cx="0" cy="1900014"/>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31" name="Rectangle 10"/>
          <p:cNvSpPr/>
          <p:nvPr/>
        </p:nvSpPr>
        <p:spPr>
          <a:xfrm>
            <a:off x="-1" y="1222186"/>
            <a:ext cx="12204464" cy="583635"/>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r>
              <a:rPr lang="en-US" sz="2000" b="1" kern="0" dirty="0">
                <a:solidFill>
                  <a:schemeClr val="bg1"/>
                </a:solidFill>
              </a:rPr>
              <a:t>Control drug resistance, RELIEVE the burden from infection</a:t>
            </a:r>
            <a:endParaRPr lang="en-US" sz="2000" b="1" kern="0" dirty="0">
              <a:solidFill>
                <a:schemeClr val="bg1"/>
              </a:solidFill>
            </a:endParaRPr>
          </a:p>
        </p:txBody>
      </p:sp>
      <p:sp>
        <p:nvSpPr>
          <p:cNvPr id="32" name="AutoShape 31"/>
          <p:cNvSpPr/>
          <p:nvPr/>
        </p:nvSpPr>
        <p:spPr bwMode="auto">
          <a:xfrm>
            <a:off x="6775921" y="2209502"/>
            <a:ext cx="1482417" cy="1666361"/>
          </a:xfrm>
          <a:custGeom>
            <a:avLst/>
            <a:gdLst>
              <a:gd name="T0" fmla="*/ 2147483646 w 19679"/>
              <a:gd name="T1" fmla="*/ 2147483646 h 21600"/>
              <a:gd name="T2" fmla="*/ 2147483646 w 19679"/>
              <a:gd name="T3" fmla="*/ 2147483646 h 21600"/>
              <a:gd name="T4" fmla="*/ 2147483646 w 19679"/>
              <a:gd name="T5" fmla="*/ 2147483646 h 21600"/>
              <a:gd name="T6" fmla="*/ 2147483646 w 19679"/>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21600">
                <a:moveTo>
                  <a:pt x="9839" y="0"/>
                </a:moveTo>
                <a:cubicBezTo>
                  <a:pt x="7321" y="0"/>
                  <a:pt x="4803" y="937"/>
                  <a:pt x="2882" y="2813"/>
                </a:cubicBezTo>
                <a:cubicBezTo>
                  <a:pt x="-961" y="6566"/>
                  <a:pt x="-961" y="12653"/>
                  <a:pt x="2882" y="16406"/>
                </a:cubicBezTo>
                <a:cubicBezTo>
                  <a:pt x="4480" y="17967"/>
                  <a:pt x="6493" y="18867"/>
                  <a:pt x="8574" y="19129"/>
                </a:cubicBezTo>
                <a:lnTo>
                  <a:pt x="9839" y="21600"/>
                </a:lnTo>
                <a:lnTo>
                  <a:pt x="11104" y="19129"/>
                </a:lnTo>
                <a:cubicBezTo>
                  <a:pt x="13185" y="18867"/>
                  <a:pt x="15198" y="17967"/>
                  <a:pt x="16796" y="16406"/>
                </a:cubicBezTo>
                <a:cubicBezTo>
                  <a:pt x="20639" y="12653"/>
                  <a:pt x="20639" y="6566"/>
                  <a:pt x="16796" y="2813"/>
                </a:cubicBezTo>
                <a:cubicBezTo>
                  <a:pt x="14875" y="937"/>
                  <a:pt x="12357" y="0"/>
                  <a:pt x="9839" y="0"/>
                </a:cubicBezTo>
                <a:close/>
              </a:path>
            </a:pathLst>
          </a:cu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2000" b="1" kern="0">
              <a:solidFill>
                <a:schemeClr val="bg1"/>
              </a:solidFill>
            </a:endParaRPr>
          </a:p>
        </p:txBody>
      </p:sp>
      <p:sp>
        <p:nvSpPr>
          <p:cNvPr id="33" name="Oval 32"/>
          <p:cNvSpPr/>
          <p:nvPr/>
        </p:nvSpPr>
        <p:spPr bwMode="auto">
          <a:xfrm>
            <a:off x="6950786" y="2384362"/>
            <a:ext cx="1132685" cy="1132861"/>
          </a:xfrm>
          <a:prstGeom prst="ellipse">
            <a:avLst/>
          </a:prstGeom>
          <a:solidFill>
            <a:srgbClr val="FFFFFF"/>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nchor="ctr"/>
          <a:lstStyle/>
          <a:p>
            <a:endParaRPr lang="en-US" altLang="en-US" sz="3200" b="0">
              <a:solidFill>
                <a:srgbClr val="FFFFFF"/>
              </a:solidFill>
              <a:latin typeface="Arial" panose="020B0604020202020204" pitchFamily="34" charset="0"/>
              <a:sym typeface="Arial" panose="020B0604020202020204" pitchFamily="34" charset="0"/>
            </a:endParaRPr>
          </a:p>
        </p:txBody>
      </p:sp>
      <p:grpSp>
        <p:nvGrpSpPr>
          <p:cNvPr id="34" name="组合 33"/>
          <p:cNvGrpSpPr/>
          <p:nvPr/>
        </p:nvGrpSpPr>
        <p:grpSpPr>
          <a:xfrm>
            <a:off x="7143201" y="2556096"/>
            <a:ext cx="723680" cy="719910"/>
            <a:chOff x="5351930" y="1916798"/>
            <a:chExt cx="542206" cy="539381"/>
          </a:xfrm>
        </p:grpSpPr>
        <p:sp>
          <p:nvSpPr>
            <p:cNvPr id="35" name="Freeform 6"/>
            <p:cNvSpPr/>
            <p:nvPr/>
          </p:nvSpPr>
          <p:spPr bwMode="auto">
            <a:xfrm>
              <a:off x="5649861" y="2141304"/>
              <a:ext cx="18356" cy="18356"/>
            </a:xfrm>
            <a:custGeom>
              <a:avLst/>
              <a:gdLst>
                <a:gd name="T0" fmla="*/ 58 w 116"/>
                <a:gd name="T1" fmla="*/ 0 h 115"/>
                <a:gd name="T2" fmla="*/ 76 w 116"/>
                <a:gd name="T3" fmla="*/ 3 h 115"/>
                <a:gd name="T4" fmla="*/ 92 w 116"/>
                <a:gd name="T5" fmla="*/ 11 h 115"/>
                <a:gd name="T6" fmla="*/ 105 w 116"/>
                <a:gd name="T7" fmla="*/ 23 h 115"/>
                <a:gd name="T8" fmla="*/ 114 w 116"/>
                <a:gd name="T9" fmla="*/ 39 h 115"/>
                <a:gd name="T10" fmla="*/ 116 w 116"/>
                <a:gd name="T11" fmla="*/ 57 h 115"/>
                <a:gd name="T12" fmla="*/ 114 w 116"/>
                <a:gd name="T13" fmla="*/ 75 h 115"/>
                <a:gd name="T14" fmla="*/ 105 w 116"/>
                <a:gd name="T15" fmla="*/ 91 h 115"/>
                <a:gd name="T16" fmla="*/ 92 w 116"/>
                <a:gd name="T17" fmla="*/ 103 h 115"/>
                <a:gd name="T18" fmla="*/ 76 w 116"/>
                <a:gd name="T19" fmla="*/ 111 h 115"/>
                <a:gd name="T20" fmla="*/ 58 w 116"/>
                <a:gd name="T21" fmla="*/ 115 h 115"/>
                <a:gd name="T22" fmla="*/ 40 w 116"/>
                <a:gd name="T23" fmla="*/ 111 h 115"/>
                <a:gd name="T24" fmla="*/ 25 w 116"/>
                <a:gd name="T25" fmla="*/ 103 h 115"/>
                <a:gd name="T26" fmla="*/ 12 w 116"/>
                <a:gd name="T27" fmla="*/ 91 h 115"/>
                <a:gd name="T28" fmla="*/ 3 w 116"/>
                <a:gd name="T29" fmla="*/ 75 h 115"/>
                <a:gd name="T30" fmla="*/ 0 w 116"/>
                <a:gd name="T31" fmla="*/ 57 h 115"/>
                <a:gd name="T32" fmla="*/ 3 w 116"/>
                <a:gd name="T33" fmla="*/ 39 h 115"/>
                <a:gd name="T34" fmla="*/ 12 w 116"/>
                <a:gd name="T35" fmla="*/ 23 h 115"/>
                <a:gd name="T36" fmla="*/ 25 w 116"/>
                <a:gd name="T37" fmla="*/ 11 h 115"/>
                <a:gd name="T38" fmla="*/ 40 w 116"/>
                <a:gd name="T39" fmla="*/ 3 h 115"/>
                <a:gd name="T40" fmla="*/ 58 w 116"/>
                <a:gd name="T4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115">
                  <a:moveTo>
                    <a:pt x="58" y="0"/>
                  </a:moveTo>
                  <a:lnTo>
                    <a:pt x="76" y="3"/>
                  </a:lnTo>
                  <a:lnTo>
                    <a:pt x="92" y="11"/>
                  </a:lnTo>
                  <a:lnTo>
                    <a:pt x="105" y="23"/>
                  </a:lnTo>
                  <a:lnTo>
                    <a:pt x="114" y="39"/>
                  </a:lnTo>
                  <a:lnTo>
                    <a:pt x="116" y="57"/>
                  </a:lnTo>
                  <a:lnTo>
                    <a:pt x="114" y="75"/>
                  </a:lnTo>
                  <a:lnTo>
                    <a:pt x="105" y="91"/>
                  </a:lnTo>
                  <a:lnTo>
                    <a:pt x="92" y="103"/>
                  </a:lnTo>
                  <a:lnTo>
                    <a:pt x="76" y="111"/>
                  </a:lnTo>
                  <a:lnTo>
                    <a:pt x="58" y="115"/>
                  </a:lnTo>
                  <a:lnTo>
                    <a:pt x="40" y="111"/>
                  </a:lnTo>
                  <a:lnTo>
                    <a:pt x="25" y="103"/>
                  </a:lnTo>
                  <a:lnTo>
                    <a:pt x="12" y="91"/>
                  </a:lnTo>
                  <a:lnTo>
                    <a:pt x="3" y="75"/>
                  </a:lnTo>
                  <a:lnTo>
                    <a:pt x="0" y="57"/>
                  </a:lnTo>
                  <a:lnTo>
                    <a:pt x="3" y="39"/>
                  </a:lnTo>
                  <a:lnTo>
                    <a:pt x="12" y="23"/>
                  </a:lnTo>
                  <a:lnTo>
                    <a:pt x="25" y="11"/>
                  </a:lnTo>
                  <a:lnTo>
                    <a:pt x="40" y="3"/>
                  </a:lnTo>
                  <a:lnTo>
                    <a:pt x="58" y="0"/>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p>
          </p:txBody>
        </p:sp>
        <p:sp>
          <p:nvSpPr>
            <p:cNvPr id="36" name="Freeform 7"/>
            <p:cNvSpPr/>
            <p:nvPr/>
          </p:nvSpPr>
          <p:spPr bwMode="auto">
            <a:xfrm>
              <a:off x="5551022" y="2250028"/>
              <a:ext cx="18356" cy="16944"/>
            </a:xfrm>
            <a:custGeom>
              <a:avLst/>
              <a:gdLst>
                <a:gd name="T0" fmla="*/ 58 w 116"/>
                <a:gd name="T1" fmla="*/ 0 h 114"/>
                <a:gd name="T2" fmla="*/ 76 w 116"/>
                <a:gd name="T3" fmla="*/ 2 h 114"/>
                <a:gd name="T4" fmla="*/ 92 w 116"/>
                <a:gd name="T5" fmla="*/ 11 h 114"/>
                <a:gd name="T6" fmla="*/ 104 w 116"/>
                <a:gd name="T7" fmla="*/ 23 h 114"/>
                <a:gd name="T8" fmla="*/ 112 w 116"/>
                <a:gd name="T9" fmla="*/ 38 h 114"/>
                <a:gd name="T10" fmla="*/ 116 w 116"/>
                <a:gd name="T11" fmla="*/ 56 h 114"/>
                <a:gd name="T12" fmla="*/ 112 w 116"/>
                <a:gd name="T13" fmla="*/ 74 h 114"/>
                <a:gd name="T14" fmla="*/ 104 w 116"/>
                <a:gd name="T15" fmla="*/ 90 h 114"/>
                <a:gd name="T16" fmla="*/ 92 w 116"/>
                <a:gd name="T17" fmla="*/ 103 h 114"/>
                <a:gd name="T18" fmla="*/ 76 w 116"/>
                <a:gd name="T19" fmla="*/ 112 h 114"/>
                <a:gd name="T20" fmla="*/ 58 w 116"/>
                <a:gd name="T21" fmla="*/ 114 h 114"/>
                <a:gd name="T22" fmla="*/ 40 w 116"/>
                <a:gd name="T23" fmla="*/ 112 h 114"/>
                <a:gd name="T24" fmla="*/ 24 w 116"/>
                <a:gd name="T25" fmla="*/ 103 h 114"/>
                <a:gd name="T26" fmla="*/ 11 w 116"/>
                <a:gd name="T27" fmla="*/ 90 h 114"/>
                <a:gd name="T28" fmla="*/ 3 w 116"/>
                <a:gd name="T29" fmla="*/ 74 h 114"/>
                <a:gd name="T30" fmla="*/ 0 w 116"/>
                <a:gd name="T31" fmla="*/ 56 h 114"/>
                <a:gd name="T32" fmla="*/ 3 w 116"/>
                <a:gd name="T33" fmla="*/ 38 h 114"/>
                <a:gd name="T34" fmla="*/ 11 w 116"/>
                <a:gd name="T35" fmla="*/ 23 h 114"/>
                <a:gd name="T36" fmla="*/ 24 w 116"/>
                <a:gd name="T37" fmla="*/ 11 h 114"/>
                <a:gd name="T38" fmla="*/ 40 w 116"/>
                <a:gd name="T39" fmla="*/ 2 h 114"/>
                <a:gd name="T40" fmla="*/ 58 w 116"/>
                <a:gd name="T4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114">
                  <a:moveTo>
                    <a:pt x="58" y="0"/>
                  </a:moveTo>
                  <a:lnTo>
                    <a:pt x="76" y="2"/>
                  </a:lnTo>
                  <a:lnTo>
                    <a:pt x="92" y="11"/>
                  </a:lnTo>
                  <a:lnTo>
                    <a:pt x="104" y="23"/>
                  </a:lnTo>
                  <a:lnTo>
                    <a:pt x="112" y="38"/>
                  </a:lnTo>
                  <a:lnTo>
                    <a:pt x="116" y="56"/>
                  </a:lnTo>
                  <a:lnTo>
                    <a:pt x="112" y="74"/>
                  </a:lnTo>
                  <a:lnTo>
                    <a:pt x="104" y="90"/>
                  </a:lnTo>
                  <a:lnTo>
                    <a:pt x="92" y="103"/>
                  </a:lnTo>
                  <a:lnTo>
                    <a:pt x="76" y="112"/>
                  </a:lnTo>
                  <a:lnTo>
                    <a:pt x="58" y="114"/>
                  </a:lnTo>
                  <a:lnTo>
                    <a:pt x="40" y="112"/>
                  </a:lnTo>
                  <a:lnTo>
                    <a:pt x="24" y="103"/>
                  </a:lnTo>
                  <a:lnTo>
                    <a:pt x="11" y="90"/>
                  </a:lnTo>
                  <a:lnTo>
                    <a:pt x="3" y="74"/>
                  </a:lnTo>
                  <a:lnTo>
                    <a:pt x="0" y="56"/>
                  </a:lnTo>
                  <a:lnTo>
                    <a:pt x="3" y="38"/>
                  </a:lnTo>
                  <a:lnTo>
                    <a:pt x="11" y="23"/>
                  </a:lnTo>
                  <a:lnTo>
                    <a:pt x="24" y="11"/>
                  </a:lnTo>
                  <a:lnTo>
                    <a:pt x="40" y="2"/>
                  </a:lnTo>
                  <a:lnTo>
                    <a:pt x="58" y="0"/>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p>
          </p:txBody>
        </p:sp>
        <p:sp>
          <p:nvSpPr>
            <p:cNvPr id="37" name="Freeform 8"/>
            <p:cNvSpPr/>
            <p:nvPr/>
          </p:nvSpPr>
          <p:spPr bwMode="auto">
            <a:xfrm>
              <a:off x="5731757" y="2276856"/>
              <a:ext cx="18356" cy="16944"/>
            </a:xfrm>
            <a:custGeom>
              <a:avLst/>
              <a:gdLst>
                <a:gd name="T0" fmla="*/ 58 w 115"/>
                <a:gd name="T1" fmla="*/ 0 h 115"/>
                <a:gd name="T2" fmla="*/ 76 w 115"/>
                <a:gd name="T3" fmla="*/ 3 h 115"/>
                <a:gd name="T4" fmla="*/ 92 w 115"/>
                <a:gd name="T5" fmla="*/ 12 h 115"/>
                <a:gd name="T6" fmla="*/ 105 w 115"/>
                <a:gd name="T7" fmla="*/ 24 h 115"/>
                <a:gd name="T8" fmla="*/ 112 w 115"/>
                <a:gd name="T9" fmla="*/ 39 h 115"/>
                <a:gd name="T10" fmla="*/ 115 w 115"/>
                <a:gd name="T11" fmla="*/ 58 h 115"/>
                <a:gd name="T12" fmla="*/ 112 w 115"/>
                <a:gd name="T13" fmla="*/ 76 h 115"/>
                <a:gd name="T14" fmla="*/ 105 w 115"/>
                <a:gd name="T15" fmla="*/ 92 h 115"/>
                <a:gd name="T16" fmla="*/ 92 w 115"/>
                <a:gd name="T17" fmla="*/ 104 h 115"/>
                <a:gd name="T18" fmla="*/ 76 w 115"/>
                <a:gd name="T19" fmla="*/ 112 h 115"/>
                <a:gd name="T20" fmla="*/ 58 w 115"/>
                <a:gd name="T21" fmla="*/ 115 h 115"/>
                <a:gd name="T22" fmla="*/ 39 w 115"/>
                <a:gd name="T23" fmla="*/ 112 h 115"/>
                <a:gd name="T24" fmla="*/ 23 w 115"/>
                <a:gd name="T25" fmla="*/ 104 h 115"/>
                <a:gd name="T26" fmla="*/ 12 w 115"/>
                <a:gd name="T27" fmla="*/ 92 h 115"/>
                <a:gd name="T28" fmla="*/ 3 w 115"/>
                <a:gd name="T29" fmla="*/ 76 h 115"/>
                <a:gd name="T30" fmla="*/ 0 w 115"/>
                <a:gd name="T31" fmla="*/ 58 h 115"/>
                <a:gd name="T32" fmla="*/ 3 w 115"/>
                <a:gd name="T33" fmla="*/ 39 h 115"/>
                <a:gd name="T34" fmla="*/ 12 w 115"/>
                <a:gd name="T35" fmla="*/ 24 h 115"/>
                <a:gd name="T36" fmla="*/ 23 w 115"/>
                <a:gd name="T37" fmla="*/ 12 h 115"/>
                <a:gd name="T38" fmla="*/ 39 w 115"/>
                <a:gd name="T39" fmla="*/ 3 h 115"/>
                <a:gd name="T40" fmla="*/ 58 w 115"/>
                <a:gd name="T4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15">
                  <a:moveTo>
                    <a:pt x="58" y="0"/>
                  </a:moveTo>
                  <a:lnTo>
                    <a:pt x="76" y="3"/>
                  </a:lnTo>
                  <a:lnTo>
                    <a:pt x="92" y="12"/>
                  </a:lnTo>
                  <a:lnTo>
                    <a:pt x="105" y="24"/>
                  </a:lnTo>
                  <a:lnTo>
                    <a:pt x="112" y="39"/>
                  </a:lnTo>
                  <a:lnTo>
                    <a:pt x="115" y="58"/>
                  </a:lnTo>
                  <a:lnTo>
                    <a:pt x="112" y="76"/>
                  </a:lnTo>
                  <a:lnTo>
                    <a:pt x="105" y="92"/>
                  </a:lnTo>
                  <a:lnTo>
                    <a:pt x="92" y="104"/>
                  </a:lnTo>
                  <a:lnTo>
                    <a:pt x="76" y="112"/>
                  </a:lnTo>
                  <a:lnTo>
                    <a:pt x="58" y="115"/>
                  </a:lnTo>
                  <a:lnTo>
                    <a:pt x="39" y="112"/>
                  </a:lnTo>
                  <a:lnTo>
                    <a:pt x="23" y="104"/>
                  </a:lnTo>
                  <a:lnTo>
                    <a:pt x="12" y="92"/>
                  </a:lnTo>
                  <a:lnTo>
                    <a:pt x="3" y="76"/>
                  </a:lnTo>
                  <a:lnTo>
                    <a:pt x="0" y="58"/>
                  </a:lnTo>
                  <a:lnTo>
                    <a:pt x="3" y="39"/>
                  </a:lnTo>
                  <a:lnTo>
                    <a:pt x="12" y="24"/>
                  </a:lnTo>
                  <a:lnTo>
                    <a:pt x="23" y="12"/>
                  </a:lnTo>
                  <a:lnTo>
                    <a:pt x="39" y="3"/>
                  </a:lnTo>
                  <a:lnTo>
                    <a:pt x="58" y="0"/>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p>
          </p:txBody>
        </p:sp>
        <p:sp>
          <p:nvSpPr>
            <p:cNvPr id="38" name="Freeform 9"/>
            <p:cNvSpPr/>
            <p:nvPr/>
          </p:nvSpPr>
          <p:spPr bwMode="auto">
            <a:xfrm>
              <a:off x="5795296" y="2186488"/>
              <a:ext cx="16944" cy="18356"/>
            </a:xfrm>
            <a:custGeom>
              <a:avLst/>
              <a:gdLst>
                <a:gd name="T0" fmla="*/ 58 w 114"/>
                <a:gd name="T1" fmla="*/ 0 h 114"/>
                <a:gd name="T2" fmla="*/ 76 w 114"/>
                <a:gd name="T3" fmla="*/ 2 h 114"/>
                <a:gd name="T4" fmla="*/ 91 w 114"/>
                <a:gd name="T5" fmla="*/ 11 h 114"/>
                <a:gd name="T6" fmla="*/ 104 w 114"/>
                <a:gd name="T7" fmla="*/ 23 h 114"/>
                <a:gd name="T8" fmla="*/ 111 w 114"/>
                <a:gd name="T9" fmla="*/ 38 h 114"/>
                <a:gd name="T10" fmla="*/ 114 w 114"/>
                <a:gd name="T11" fmla="*/ 56 h 114"/>
                <a:gd name="T12" fmla="*/ 111 w 114"/>
                <a:gd name="T13" fmla="*/ 74 h 114"/>
                <a:gd name="T14" fmla="*/ 104 w 114"/>
                <a:gd name="T15" fmla="*/ 90 h 114"/>
                <a:gd name="T16" fmla="*/ 91 w 114"/>
                <a:gd name="T17" fmla="*/ 103 h 114"/>
                <a:gd name="T18" fmla="*/ 76 w 114"/>
                <a:gd name="T19" fmla="*/ 111 h 114"/>
                <a:gd name="T20" fmla="*/ 58 w 114"/>
                <a:gd name="T21" fmla="*/ 114 h 114"/>
                <a:gd name="T22" fmla="*/ 40 w 114"/>
                <a:gd name="T23" fmla="*/ 111 h 114"/>
                <a:gd name="T24" fmla="*/ 23 w 114"/>
                <a:gd name="T25" fmla="*/ 103 h 114"/>
                <a:gd name="T26" fmla="*/ 11 w 114"/>
                <a:gd name="T27" fmla="*/ 90 h 114"/>
                <a:gd name="T28" fmla="*/ 2 w 114"/>
                <a:gd name="T29" fmla="*/ 74 h 114"/>
                <a:gd name="T30" fmla="*/ 0 w 114"/>
                <a:gd name="T31" fmla="*/ 56 h 114"/>
                <a:gd name="T32" fmla="*/ 2 w 114"/>
                <a:gd name="T33" fmla="*/ 38 h 114"/>
                <a:gd name="T34" fmla="*/ 11 w 114"/>
                <a:gd name="T35" fmla="*/ 23 h 114"/>
                <a:gd name="T36" fmla="*/ 23 w 114"/>
                <a:gd name="T37" fmla="*/ 11 h 114"/>
                <a:gd name="T38" fmla="*/ 40 w 114"/>
                <a:gd name="T39" fmla="*/ 2 h 114"/>
                <a:gd name="T40" fmla="*/ 58 w 114"/>
                <a:gd name="T4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 h="114">
                  <a:moveTo>
                    <a:pt x="58" y="0"/>
                  </a:moveTo>
                  <a:lnTo>
                    <a:pt x="76" y="2"/>
                  </a:lnTo>
                  <a:lnTo>
                    <a:pt x="91" y="11"/>
                  </a:lnTo>
                  <a:lnTo>
                    <a:pt x="104" y="23"/>
                  </a:lnTo>
                  <a:lnTo>
                    <a:pt x="111" y="38"/>
                  </a:lnTo>
                  <a:lnTo>
                    <a:pt x="114" y="56"/>
                  </a:lnTo>
                  <a:lnTo>
                    <a:pt x="111" y="74"/>
                  </a:lnTo>
                  <a:lnTo>
                    <a:pt x="104" y="90"/>
                  </a:lnTo>
                  <a:lnTo>
                    <a:pt x="91" y="103"/>
                  </a:lnTo>
                  <a:lnTo>
                    <a:pt x="76" y="111"/>
                  </a:lnTo>
                  <a:lnTo>
                    <a:pt x="58" y="114"/>
                  </a:lnTo>
                  <a:lnTo>
                    <a:pt x="40" y="111"/>
                  </a:lnTo>
                  <a:lnTo>
                    <a:pt x="23" y="103"/>
                  </a:lnTo>
                  <a:lnTo>
                    <a:pt x="11" y="90"/>
                  </a:lnTo>
                  <a:lnTo>
                    <a:pt x="2" y="74"/>
                  </a:lnTo>
                  <a:lnTo>
                    <a:pt x="0" y="56"/>
                  </a:lnTo>
                  <a:lnTo>
                    <a:pt x="2" y="38"/>
                  </a:lnTo>
                  <a:lnTo>
                    <a:pt x="11" y="23"/>
                  </a:lnTo>
                  <a:lnTo>
                    <a:pt x="23" y="11"/>
                  </a:lnTo>
                  <a:lnTo>
                    <a:pt x="40" y="2"/>
                  </a:lnTo>
                  <a:lnTo>
                    <a:pt x="58" y="0"/>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p>
          </p:txBody>
        </p:sp>
        <p:sp>
          <p:nvSpPr>
            <p:cNvPr id="39" name="Freeform 10"/>
            <p:cNvSpPr/>
            <p:nvPr/>
          </p:nvSpPr>
          <p:spPr bwMode="auto">
            <a:xfrm>
              <a:off x="5695045" y="2106005"/>
              <a:ext cx="18356" cy="16944"/>
            </a:xfrm>
            <a:custGeom>
              <a:avLst/>
              <a:gdLst>
                <a:gd name="T0" fmla="*/ 58 w 115"/>
                <a:gd name="T1" fmla="*/ 0 h 114"/>
                <a:gd name="T2" fmla="*/ 76 w 115"/>
                <a:gd name="T3" fmla="*/ 2 h 114"/>
                <a:gd name="T4" fmla="*/ 92 w 115"/>
                <a:gd name="T5" fmla="*/ 11 h 114"/>
                <a:gd name="T6" fmla="*/ 104 w 115"/>
                <a:gd name="T7" fmla="*/ 23 h 114"/>
                <a:gd name="T8" fmla="*/ 112 w 115"/>
                <a:gd name="T9" fmla="*/ 38 h 114"/>
                <a:gd name="T10" fmla="*/ 115 w 115"/>
                <a:gd name="T11" fmla="*/ 56 h 114"/>
                <a:gd name="T12" fmla="*/ 112 w 115"/>
                <a:gd name="T13" fmla="*/ 74 h 114"/>
                <a:gd name="T14" fmla="*/ 104 w 115"/>
                <a:gd name="T15" fmla="*/ 90 h 114"/>
                <a:gd name="T16" fmla="*/ 92 w 115"/>
                <a:gd name="T17" fmla="*/ 103 h 114"/>
                <a:gd name="T18" fmla="*/ 76 w 115"/>
                <a:gd name="T19" fmla="*/ 112 h 114"/>
                <a:gd name="T20" fmla="*/ 58 w 115"/>
                <a:gd name="T21" fmla="*/ 114 h 114"/>
                <a:gd name="T22" fmla="*/ 39 w 115"/>
                <a:gd name="T23" fmla="*/ 112 h 114"/>
                <a:gd name="T24" fmla="*/ 23 w 115"/>
                <a:gd name="T25" fmla="*/ 103 h 114"/>
                <a:gd name="T26" fmla="*/ 11 w 115"/>
                <a:gd name="T27" fmla="*/ 90 h 114"/>
                <a:gd name="T28" fmla="*/ 3 w 115"/>
                <a:gd name="T29" fmla="*/ 74 h 114"/>
                <a:gd name="T30" fmla="*/ 0 w 115"/>
                <a:gd name="T31" fmla="*/ 56 h 114"/>
                <a:gd name="T32" fmla="*/ 3 w 115"/>
                <a:gd name="T33" fmla="*/ 38 h 114"/>
                <a:gd name="T34" fmla="*/ 11 w 115"/>
                <a:gd name="T35" fmla="*/ 23 h 114"/>
                <a:gd name="T36" fmla="*/ 23 w 115"/>
                <a:gd name="T37" fmla="*/ 11 h 114"/>
                <a:gd name="T38" fmla="*/ 39 w 115"/>
                <a:gd name="T39" fmla="*/ 2 h 114"/>
                <a:gd name="T40" fmla="*/ 58 w 115"/>
                <a:gd name="T4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14">
                  <a:moveTo>
                    <a:pt x="58" y="0"/>
                  </a:moveTo>
                  <a:lnTo>
                    <a:pt x="76" y="2"/>
                  </a:lnTo>
                  <a:lnTo>
                    <a:pt x="92" y="11"/>
                  </a:lnTo>
                  <a:lnTo>
                    <a:pt x="104" y="23"/>
                  </a:lnTo>
                  <a:lnTo>
                    <a:pt x="112" y="38"/>
                  </a:lnTo>
                  <a:lnTo>
                    <a:pt x="115" y="56"/>
                  </a:lnTo>
                  <a:lnTo>
                    <a:pt x="112" y="74"/>
                  </a:lnTo>
                  <a:lnTo>
                    <a:pt x="104" y="90"/>
                  </a:lnTo>
                  <a:lnTo>
                    <a:pt x="92" y="103"/>
                  </a:lnTo>
                  <a:lnTo>
                    <a:pt x="76" y="112"/>
                  </a:lnTo>
                  <a:lnTo>
                    <a:pt x="58" y="114"/>
                  </a:lnTo>
                  <a:lnTo>
                    <a:pt x="39" y="112"/>
                  </a:lnTo>
                  <a:lnTo>
                    <a:pt x="23" y="103"/>
                  </a:lnTo>
                  <a:lnTo>
                    <a:pt x="11" y="90"/>
                  </a:lnTo>
                  <a:lnTo>
                    <a:pt x="3" y="74"/>
                  </a:lnTo>
                  <a:lnTo>
                    <a:pt x="0" y="56"/>
                  </a:lnTo>
                  <a:lnTo>
                    <a:pt x="3" y="38"/>
                  </a:lnTo>
                  <a:lnTo>
                    <a:pt x="11" y="23"/>
                  </a:lnTo>
                  <a:lnTo>
                    <a:pt x="23" y="11"/>
                  </a:lnTo>
                  <a:lnTo>
                    <a:pt x="39" y="2"/>
                  </a:lnTo>
                  <a:lnTo>
                    <a:pt x="58" y="0"/>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p>
          </p:txBody>
        </p:sp>
        <p:sp>
          <p:nvSpPr>
            <p:cNvPr id="40" name="Freeform 11"/>
            <p:cNvSpPr>
              <a:spLocks noEditPoints="1"/>
            </p:cNvSpPr>
            <p:nvPr/>
          </p:nvSpPr>
          <p:spPr bwMode="auto">
            <a:xfrm>
              <a:off x="5351930" y="1916798"/>
              <a:ext cx="542206" cy="539381"/>
            </a:xfrm>
            <a:custGeom>
              <a:avLst/>
              <a:gdLst>
                <a:gd name="T0" fmla="*/ 1330 w 3455"/>
                <a:gd name="T1" fmla="*/ 501 h 3439"/>
                <a:gd name="T2" fmla="*/ 1500 w 3455"/>
                <a:gd name="T3" fmla="*/ 1074 h 3439"/>
                <a:gd name="T4" fmla="*/ 989 w 3455"/>
                <a:gd name="T5" fmla="*/ 1049 h 3439"/>
                <a:gd name="T6" fmla="*/ 757 w 3455"/>
                <a:gd name="T7" fmla="*/ 420 h 3439"/>
                <a:gd name="T8" fmla="*/ 230 w 3455"/>
                <a:gd name="T9" fmla="*/ 792 h 3439"/>
                <a:gd name="T10" fmla="*/ 790 w 3455"/>
                <a:gd name="T11" fmla="*/ 1176 h 3439"/>
                <a:gd name="T12" fmla="*/ 902 w 3455"/>
                <a:gd name="T13" fmla="*/ 1688 h 3439"/>
                <a:gd name="T14" fmla="*/ 434 w 3455"/>
                <a:gd name="T15" fmla="*/ 1929 h 3439"/>
                <a:gd name="T16" fmla="*/ 148 w 3455"/>
                <a:gd name="T17" fmla="*/ 2202 h 3439"/>
                <a:gd name="T18" fmla="*/ 571 w 3455"/>
                <a:gd name="T19" fmla="*/ 2128 h 3439"/>
                <a:gd name="T20" fmla="*/ 1091 w 3455"/>
                <a:gd name="T21" fmla="*/ 2555 h 3439"/>
                <a:gd name="T22" fmla="*/ 771 w 3455"/>
                <a:gd name="T23" fmla="*/ 2759 h 3439"/>
                <a:gd name="T24" fmla="*/ 714 w 3455"/>
                <a:gd name="T25" fmla="*/ 3238 h 3439"/>
                <a:gd name="T26" fmla="*/ 1086 w 3455"/>
                <a:gd name="T27" fmla="*/ 2934 h 3439"/>
                <a:gd name="T28" fmla="*/ 1485 w 3455"/>
                <a:gd name="T29" fmla="*/ 2829 h 3439"/>
                <a:gd name="T30" fmla="*/ 1812 w 3455"/>
                <a:gd name="T31" fmla="*/ 3323 h 3439"/>
                <a:gd name="T32" fmla="*/ 2130 w 3455"/>
                <a:gd name="T33" fmla="*/ 2880 h 3439"/>
                <a:gd name="T34" fmla="*/ 2623 w 3455"/>
                <a:gd name="T35" fmla="*/ 2648 h 3439"/>
                <a:gd name="T36" fmla="*/ 2776 w 3455"/>
                <a:gd name="T37" fmla="*/ 3204 h 3439"/>
                <a:gd name="T38" fmla="*/ 3283 w 3455"/>
                <a:gd name="T39" fmla="*/ 2961 h 3439"/>
                <a:gd name="T40" fmla="*/ 2782 w 3455"/>
                <a:gd name="T41" fmla="*/ 2625 h 3439"/>
                <a:gd name="T42" fmla="*/ 2736 w 3455"/>
                <a:gd name="T43" fmla="*/ 2087 h 3439"/>
                <a:gd name="T44" fmla="*/ 3299 w 3455"/>
                <a:gd name="T45" fmla="*/ 1924 h 3439"/>
                <a:gd name="T46" fmla="*/ 3005 w 3455"/>
                <a:gd name="T47" fmla="*/ 1494 h 3439"/>
                <a:gd name="T48" fmla="*/ 2576 w 3455"/>
                <a:gd name="T49" fmla="*/ 1478 h 3439"/>
                <a:gd name="T50" fmla="*/ 2663 w 3455"/>
                <a:gd name="T51" fmla="*/ 762 h 3439"/>
                <a:gd name="T52" fmla="*/ 2973 w 3455"/>
                <a:gd name="T53" fmla="*/ 347 h 3439"/>
                <a:gd name="T54" fmla="*/ 2448 w 3455"/>
                <a:gd name="T55" fmla="*/ 334 h 3439"/>
                <a:gd name="T56" fmla="*/ 2272 w 3455"/>
                <a:gd name="T57" fmla="*/ 1047 h 3439"/>
                <a:gd name="T58" fmla="*/ 1724 w 3455"/>
                <a:gd name="T59" fmla="*/ 967 h 3439"/>
                <a:gd name="T60" fmla="*/ 1683 w 3455"/>
                <a:gd name="T61" fmla="*/ 208 h 3439"/>
                <a:gd name="T62" fmla="*/ 1825 w 3455"/>
                <a:gd name="T63" fmla="*/ 234 h 3439"/>
                <a:gd name="T64" fmla="*/ 1895 w 3455"/>
                <a:gd name="T65" fmla="*/ 929 h 3439"/>
                <a:gd name="T66" fmla="*/ 2352 w 3455"/>
                <a:gd name="T67" fmla="*/ 676 h 3439"/>
                <a:gd name="T68" fmla="*/ 2599 w 3455"/>
                <a:gd name="T69" fmla="*/ 71 h 3439"/>
                <a:gd name="T70" fmla="*/ 3107 w 3455"/>
                <a:gd name="T71" fmla="*/ 508 h 3439"/>
                <a:gd name="T72" fmla="*/ 2630 w 3455"/>
                <a:gd name="T73" fmla="*/ 941 h 3439"/>
                <a:gd name="T74" fmla="*/ 2805 w 3455"/>
                <a:gd name="T75" fmla="*/ 1460 h 3439"/>
                <a:gd name="T76" fmla="*/ 3400 w 3455"/>
                <a:gd name="T77" fmla="*/ 1573 h 3439"/>
                <a:gd name="T78" fmla="*/ 3147 w 3455"/>
                <a:gd name="T79" fmla="*/ 2167 h 3439"/>
                <a:gd name="T80" fmla="*/ 2724 w 3455"/>
                <a:gd name="T81" fmla="*/ 2392 h 3439"/>
                <a:gd name="T82" fmla="*/ 3247 w 3455"/>
                <a:gd name="T83" fmla="*/ 2625 h 3439"/>
                <a:gd name="T84" fmla="*/ 3189 w 3455"/>
                <a:gd name="T85" fmla="*/ 3321 h 3439"/>
                <a:gd name="T86" fmla="*/ 2541 w 3455"/>
                <a:gd name="T87" fmla="*/ 3025 h 3439"/>
                <a:gd name="T88" fmla="*/ 2402 w 3455"/>
                <a:gd name="T89" fmla="*/ 2777 h 3439"/>
                <a:gd name="T90" fmla="*/ 2113 w 3455"/>
                <a:gd name="T91" fmla="*/ 3336 h 3439"/>
                <a:gd name="T92" fmla="*/ 1478 w 3455"/>
                <a:gd name="T93" fmla="*/ 3209 h 3439"/>
                <a:gd name="T94" fmla="*/ 1255 w 3455"/>
                <a:gd name="T95" fmla="*/ 2862 h 3439"/>
                <a:gd name="T96" fmla="*/ 908 w 3455"/>
                <a:gd name="T97" fmla="*/ 3374 h 3439"/>
                <a:gd name="T98" fmla="*/ 473 w 3455"/>
                <a:gd name="T99" fmla="*/ 2912 h 3439"/>
                <a:gd name="T100" fmla="*/ 986 w 3455"/>
                <a:gd name="T101" fmla="*/ 2646 h 3439"/>
                <a:gd name="T102" fmla="*/ 606 w 3455"/>
                <a:gd name="T103" fmla="*/ 2238 h 3439"/>
                <a:gd name="T104" fmla="*/ 72 w 3455"/>
                <a:gd name="T105" fmla="*/ 2291 h 3439"/>
                <a:gd name="T106" fmla="*/ 294 w 3455"/>
                <a:gd name="T107" fmla="*/ 1777 h 3439"/>
                <a:gd name="T108" fmla="*/ 753 w 3455"/>
                <a:gd name="T109" fmla="*/ 1839 h 3439"/>
                <a:gd name="T110" fmla="*/ 811 w 3455"/>
                <a:gd name="T111" fmla="*/ 1289 h 3439"/>
                <a:gd name="T112" fmla="*/ 124 w 3455"/>
                <a:gd name="T113" fmla="*/ 903 h 3439"/>
                <a:gd name="T114" fmla="*/ 580 w 3455"/>
                <a:gd name="T115" fmla="*/ 289 h 3439"/>
                <a:gd name="T116" fmla="*/ 1150 w 3455"/>
                <a:gd name="T117" fmla="*/ 848 h 3439"/>
                <a:gd name="T118" fmla="*/ 1375 w 3455"/>
                <a:gd name="T119" fmla="*/ 1002 h 3439"/>
                <a:gd name="T120" fmla="*/ 1175 w 3455"/>
                <a:gd name="T121" fmla="*/ 467 h 3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55" h="3439">
                  <a:moveTo>
                    <a:pt x="1512" y="115"/>
                  </a:moveTo>
                  <a:lnTo>
                    <a:pt x="1478" y="116"/>
                  </a:lnTo>
                  <a:lnTo>
                    <a:pt x="1444" y="121"/>
                  </a:lnTo>
                  <a:lnTo>
                    <a:pt x="1411" y="131"/>
                  </a:lnTo>
                  <a:lnTo>
                    <a:pt x="1380" y="147"/>
                  </a:lnTo>
                  <a:lnTo>
                    <a:pt x="1353" y="166"/>
                  </a:lnTo>
                  <a:lnTo>
                    <a:pt x="1327" y="189"/>
                  </a:lnTo>
                  <a:lnTo>
                    <a:pt x="1306" y="216"/>
                  </a:lnTo>
                  <a:lnTo>
                    <a:pt x="1290" y="246"/>
                  </a:lnTo>
                  <a:lnTo>
                    <a:pt x="1277" y="277"/>
                  </a:lnTo>
                  <a:lnTo>
                    <a:pt x="1269" y="310"/>
                  </a:lnTo>
                  <a:lnTo>
                    <a:pt x="1267" y="345"/>
                  </a:lnTo>
                  <a:lnTo>
                    <a:pt x="1269" y="379"/>
                  </a:lnTo>
                  <a:lnTo>
                    <a:pt x="1278" y="413"/>
                  </a:lnTo>
                  <a:lnTo>
                    <a:pt x="1291" y="445"/>
                  </a:lnTo>
                  <a:lnTo>
                    <a:pt x="1309" y="474"/>
                  </a:lnTo>
                  <a:lnTo>
                    <a:pt x="1330" y="501"/>
                  </a:lnTo>
                  <a:lnTo>
                    <a:pt x="1356" y="523"/>
                  </a:lnTo>
                  <a:lnTo>
                    <a:pt x="1385" y="544"/>
                  </a:lnTo>
                  <a:lnTo>
                    <a:pt x="1417" y="557"/>
                  </a:lnTo>
                  <a:lnTo>
                    <a:pt x="1444" y="570"/>
                  </a:lnTo>
                  <a:lnTo>
                    <a:pt x="1467" y="585"/>
                  </a:lnTo>
                  <a:lnTo>
                    <a:pt x="1486" y="604"/>
                  </a:lnTo>
                  <a:lnTo>
                    <a:pt x="1503" y="625"/>
                  </a:lnTo>
                  <a:lnTo>
                    <a:pt x="1516" y="650"/>
                  </a:lnTo>
                  <a:lnTo>
                    <a:pt x="1525" y="675"/>
                  </a:lnTo>
                  <a:lnTo>
                    <a:pt x="1577" y="896"/>
                  </a:lnTo>
                  <a:lnTo>
                    <a:pt x="1582" y="926"/>
                  </a:lnTo>
                  <a:lnTo>
                    <a:pt x="1580" y="956"/>
                  </a:lnTo>
                  <a:lnTo>
                    <a:pt x="1573" y="985"/>
                  </a:lnTo>
                  <a:lnTo>
                    <a:pt x="1561" y="1012"/>
                  </a:lnTo>
                  <a:lnTo>
                    <a:pt x="1545" y="1036"/>
                  </a:lnTo>
                  <a:lnTo>
                    <a:pt x="1525" y="1057"/>
                  </a:lnTo>
                  <a:lnTo>
                    <a:pt x="1500" y="1074"/>
                  </a:lnTo>
                  <a:lnTo>
                    <a:pt x="1472" y="1087"/>
                  </a:lnTo>
                  <a:lnTo>
                    <a:pt x="1404" y="1115"/>
                  </a:lnTo>
                  <a:lnTo>
                    <a:pt x="1339" y="1148"/>
                  </a:lnTo>
                  <a:lnTo>
                    <a:pt x="1277" y="1185"/>
                  </a:lnTo>
                  <a:lnTo>
                    <a:pt x="1250" y="1200"/>
                  </a:lnTo>
                  <a:lnTo>
                    <a:pt x="1222" y="1209"/>
                  </a:lnTo>
                  <a:lnTo>
                    <a:pt x="1193" y="1216"/>
                  </a:lnTo>
                  <a:lnTo>
                    <a:pt x="1163" y="1217"/>
                  </a:lnTo>
                  <a:lnTo>
                    <a:pt x="1135" y="1214"/>
                  </a:lnTo>
                  <a:lnTo>
                    <a:pt x="1107" y="1205"/>
                  </a:lnTo>
                  <a:lnTo>
                    <a:pt x="1080" y="1193"/>
                  </a:lnTo>
                  <a:lnTo>
                    <a:pt x="1056" y="1176"/>
                  </a:lnTo>
                  <a:lnTo>
                    <a:pt x="1034" y="1156"/>
                  </a:lnTo>
                  <a:lnTo>
                    <a:pt x="1016" y="1132"/>
                  </a:lnTo>
                  <a:lnTo>
                    <a:pt x="1002" y="1105"/>
                  </a:lnTo>
                  <a:lnTo>
                    <a:pt x="993" y="1077"/>
                  </a:lnTo>
                  <a:lnTo>
                    <a:pt x="989" y="1049"/>
                  </a:lnTo>
                  <a:lnTo>
                    <a:pt x="989" y="1019"/>
                  </a:lnTo>
                  <a:lnTo>
                    <a:pt x="994" y="988"/>
                  </a:lnTo>
                  <a:lnTo>
                    <a:pt x="1004" y="958"/>
                  </a:lnTo>
                  <a:lnTo>
                    <a:pt x="1021" y="912"/>
                  </a:lnTo>
                  <a:lnTo>
                    <a:pt x="1032" y="862"/>
                  </a:lnTo>
                  <a:lnTo>
                    <a:pt x="1036" y="812"/>
                  </a:lnTo>
                  <a:lnTo>
                    <a:pt x="1034" y="762"/>
                  </a:lnTo>
                  <a:lnTo>
                    <a:pt x="1027" y="711"/>
                  </a:lnTo>
                  <a:lnTo>
                    <a:pt x="1013" y="666"/>
                  </a:lnTo>
                  <a:lnTo>
                    <a:pt x="996" y="623"/>
                  </a:lnTo>
                  <a:lnTo>
                    <a:pt x="972" y="584"/>
                  </a:lnTo>
                  <a:lnTo>
                    <a:pt x="945" y="547"/>
                  </a:lnTo>
                  <a:lnTo>
                    <a:pt x="914" y="514"/>
                  </a:lnTo>
                  <a:lnTo>
                    <a:pt x="879" y="484"/>
                  </a:lnTo>
                  <a:lnTo>
                    <a:pt x="842" y="457"/>
                  </a:lnTo>
                  <a:lnTo>
                    <a:pt x="800" y="436"/>
                  </a:lnTo>
                  <a:lnTo>
                    <a:pt x="757" y="420"/>
                  </a:lnTo>
                  <a:lnTo>
                    <a:pt x="712" y="408"/>
                  </a:lnTo>
                  <a:lnTo>
                    <a:pt x="667" y="403"/>
                  </a:lnTo>
                  <a:lnTo>
                    <a:pt x="622" y="401"/>
                  </a:lnTo>
                  <a:lnTo>
                    <a:pt x="578" y="405"/>
                  </a:lnTo>
                  <a:lnTo>
                    <a:pt x="536" y="413"/>
                  </a:lnTo>
                  <a:lnTo>
                    <a:pt x="494" y="425"/>
                  </a:lnTo>
                  <a:lnTo>
                    <a:pt x="454" y="442"/>
                  </a:lnTo>
                  <a:lnTo>
                    <a:pt x="417" y="464"/>
                  </a:lnTo>
                  <a:lnTo>
                    <a:pt x="381" y="489"/>
                  </a:lnTo>
                  <a:lnTo>
                    <a:pt x="348" y="519"/>
                  </a:lnTo>
                  <a:lnTo>
                    <a:pt x="318" y="552"/>
                  </a:lnTo>
                  <a:lnTo>
                    <a:pt x="292" y="588"/>
                  </a:lnTo>
                  <a:lnTo>
                    <a:pt x="271" y="625"/>
                  </a:lnTo>
                  <a:lnTo>
                    <a:pt x="253" y="665"/>
                  </a:lnTo>
                  <a:lnTo>
                    <a:pt x="242" y="706"/>
                  </a:lnTo>
                  <a:lnTo>
                    <a:pt x="233" y="749"/>
                  </a:lnTo>
                  <a:lnTo>
                    <a:pt x="230" y="792"/>
                  </a:lnTo>
                  <a:lnTo>
                    <a:pt x="231" y="837"/>
                  </a:lnTo>
                  <a:lnTo>
                    <a:pt x="237" y="882"/>
                  </a:lnTo>
                  <a:lnTo>
                    <a:pt x="249" y="929"/>
                  </a:lnTo>
                  <a:lnTo>
                    <a:pt x="267" y="973"/>
                  </a:lnTo>
                  <a:lnTo>
                    <a:pt x="290" y="1015"/>
                  </a:lnTo>
                  <a:lnTo>
                    <a:pt x="317" y="1053"/>
                  </a:lnTo>
                  <a:lnTo>
                    <a:pt x="349" y="1088"/>
                  </a:lnTo>
                  <a:lnTo>
                    <a:pt x="384" y="1119"/>
                  </a:lnTo>
                  <a:lnTo>
                    <a:pt x="423" y="1147"/>
                  </a:lnTo>
                  <a:lnTo>
                    <a:pt x="465" y="1168"/>
                  </a:lnTo>
                  <a:lnTo>
                    <a:pt x="510" y="1185"/>
                  </a:lnTo>
                  <a:lnTo>
                    <a:pt x="558" y="1197"/>
                  </a:lnTo>
                  <a:lnTo>
                    <a:pt x="610" y="1203"/>
                  </a:lnTo>
                  <a:lnTo>
                    <a:pt x="660" y="1203"/>
                  </a:lnTo>
                  <a:lnTo>
                    <a:pt x="710" y="1197"/>
                  </a:lnTo>
                  <a:lnTo>
                    <a:pt x="759" y="1184"/>
                  </a:lnTo>
                  <a:lnTo>
                    <a:pt x="790" y="1176"/>
                  </a:lnTo>
                  <a:lnTo>
                    <a:pt x="821" y="1175"/>
                  </a:lnTo>
                  <a:lnTo>
                    <a:pt x="852" y="1179"/>
                  </a:lnTo>
                  <a:lnTo>
                    <a:pt x="881" y="1188"/>
                  </a:lnTo>
                  <a:lnTo>
                    <a:pt x="909" y="1202"/>
                  </a:lnTo>
                  <a:lnTo>
                    <a:pt x="935" y="1221"/>
                  </a:lnTo>
                  <a:lnTo>
                    <a:pt x="957" y="1243"/>
                  </a:lnTo>
                  <a:lnTo>
                    <a:pt x="979" y="1272"/>
                  </a:lnTo>
                  <a:lnTo>
                    <a:pt x="998" y="1299"/>
                  </a:lnTo>
                  <a:lnTo>
                    <a:pt x="1010" y="1327"/>
                  </a:lnTo>
                  <a:lnTo>
                    <a:pt x="1018" y="1358"/>
                  </a:lnTo>
                  <a:lnTo>
                    <a:pt x="1020" y="1389"/>
                  </a:lnTo>
                  <a:lnTo>
                    <a:pt x="1017" y="1421"/>
                  </a:lnTo>
                  <a:lnTo>
                    <a:pt x="1008" y="1452"/>
                  </a:lnTo>
                  <a:lnTo>
                    <a:pt x="994" y="1481"/>
                  </a:lnTo>
                  <a:lnTo>
                    <a:pt x="958" y="1548"/>
                  </a:lnTo>
                  <a:lnTo>
                    <a:pt x="927" y="1617"/>
                  </a:lnTo>
                  <a:lnTo>
                    <a:pt x="902" y="1688"/>
                  </a:lnTo>
                  <a:lnTo>
                    <a:pt x="884" y="1760"/>
                  </a:lnTo>
                  <a:lnTo>
                    <a:pt x="871" y="1836"/>
                  </a:lnTo>
                  <a:lnTo>
                    <a:pt x="865" y="1867"/>
                  </a:lnTo>
                  <a:lnTo>
                    <a:pt x="853" y="1894"/>
                  </a:lnTo>
                  <a:lnTo>
                    <a:pt x="838" y="1920"/>
                  </a:lnTo>
                  <a:lnTo>
                    <a:pt x="819" y="1942"/>
                  </a:lnTo>
                  <a:lnTo>
                    <a:pt x="796" y="1961"/>
                  </a:lnTo>
                  <a:lnTo>
                    <a:pt x="770" y="1976"/>
                  </a:lnTo>
                  <a:lnTo>
                    <a:pt x="741" y="1987"/>
                  </a:lnTo>
                  <a:lnTo>
                    <a:pt x="710" y="1992"/>
                  </a:lnTo>
                  <a:lnTo>
                    <a:pt x="601" y="2002"/>
                  </a:lnTo>
                  <a:lnTo>
                    <a:pt x="570" y="2002"/>
                  </a:lnTo>
                  <a:lnTo>
                    <a:pt x="539" y="1996"/>
                  </a:lnTo>
                  <a:lnTo>
                    <a:pt x="509" y="1985"/>
                  </a:lnTo>
                  <a:lnTo>
                    <a:pt x="481" y="1969"/>
                  </a:lnTo>
                  <a:lnTo>
                    <a:pt x="456" y="1948"/>
                  </a:lnTo>
                  <a:lnTo>
                    <a:pt x="434" y="1929"/>
                  </a:lnTo>
                  <a:lnTo>
                    <a:pt x="411" y="1915"/>
                  </a:lnTo>
                  <a:lnTo>
                    <a:pt x="385" y="1903"/>
                  </a:lnTo>
                  <a:lnTo>
                    <a:pt x="357" y="1895"/>
                  </a:lnTo>
                  <a:lnTo>
                    <a:pt x="328" y="1891"/>
                  </a:lnTo>
                  <a:lnTo>
                    <a:pt x="294" y="1892"/>
                  </a:lnTo>
                  <a:lnTo>
                    <a:pt x="261" y="1899"/>
                  </a:lnTo>
                  <a:lnTo>
                    <a:pt x="230" y="1910"/>
                  </a:lnTo>
                  <a:lnTo>
                    <a:pt x="201" y="1926"/>
                  </a:lnTo>
                  <a:lnTo>
                    <a:pt x="175" y="1948"/>
                  </a:lnTo>
                  <a:lnTo>
                    <a:pt x="154" y="1973"/>
                  </a:lnTo>
                  <a:lnTo>
                    <a:pt x="136" y="2002"/>
                  </a:lnTo>
                  <a:lnTo>
                    <a:pt x="123" y="2036"/>
                  </a:lnTo>
                  <a:lnTo>
                    <a:pt x="115" y="2071"/>
                  </a:lnTo>
                  <a:lnTo>
                    <a:pt x="115" y="2107"/>
                  </a:lnTo>
                  <a:lnTo>
                    <a:pt x="121" y="2141"/>
                  </a:lnTo>
                  <a:lnTo>
                    <a:pt x="134" y="2176"/>
                  </a:lnTo>
                  <a:lnTo>
                    <a:pt x="148" y="2202"/>
                  </a:lnTo>
                  <a:lnTo>
                    <a:pt x="166" y="2225"/>
                  </a:lnTo>
                  <a:lnTo>
                    <a:pt x="187" y="2245"/>
                  </a:lnTo>
                  <a:lnTo>
                    <a:pt x="211" y="2263"/>
                  </a:lnTo>
                  <a:lnTo>
                    <a:pt x="237" y="2276"/>
                  </a:lnTo>
                  <a:lnTo>
                    <a:pt x="266" y="2286"/>
                  </a:lnTo>
                  <a:lnTo>
                    <a:pt x="298" y="2291"/>
                  </a:lnTo>
                  <a:lnTo>
                    <a:pt x="329" y="2292"/>
                  </a:lnTo>
                  <a:lnTo>
                    <a:pt x="360" y="2288"/>
                  </a:lnTo>
                  <a:lnTo>
                    <a:pt x="390" y="2278"/>
                  </a:lnTo>
                  <a:lnTo>
                    <a:pt x="418" y="2264"/>
                  </a:lnTo>
                  <a:lnTo>
                    <a:pt x="444" y="2246"/>
                  </a:lnTo>
                  <a:lnTo>
                    <a:pt x="467" y="2224"/>
                  </a:lnTo>
                  <a:lnTo>
                    <a:pt x="487" y="2197"/>
                  </a:lnTo>
                  <a:lnTo>
                    <a:pt x="503" y="2176"/>
                  </a:lnTo>
                  <a:lnTo>
                    <a:pt x="523" y="2157"/>
                  </a:lnTo>
                  <a:lnTo>
                    <a:pt x="546" y="2140"/>
                  </a:lnTo>
                  <a:lnTo>
                    <a:pt x="571" y="2128"/>
                  </a:lnTo>
                  <a:lnTo>
                    <a:pt x="599" y="2119"/>
                  </a:lnTo>
                  <a:lnTo>
                    <a:pt x="628" y="2115"/>
                  </a:lnTo>
                  <a:lnTo>
                    <a:pt x="722" y="2106"/>
                  </a:lnTo>
                  <a:lnTo>
                    <a:pt x="753" y="2106"/>
                  </a:lnTo>
                  <a:lnTo>
                    <a:pt x="783" y="2111"/>
                  </a:lnTo>
                  <a:lnTo>
                    <a:pt x="811" y="2121"/>
                  </a:lnTo>
                  <a:lnTo>
                    <a:pt x="836" y="2135"/>
                  </a:lnTo>
                  <a:lnTo>
                    <a:pt x="860" y="2154"/>
                  </a:lnTo>
                  <a:lnTo>
                    <a:pt x="880" y="2175"/>
                  </a:lnTo>
                  <a:lnTo>
                    <a:pt x="896" y="2201"/>
                  </a:lnTo>
                  <a:lnTo>
                    <a:pt x="909" y="2229"/>
                  </a:lnTo>
                  <a:lnTo>
                    <a:pt x="932" y="2295"/>
                  </a:lnTo>
                  <a:lnTo>
                    <a:pt x="961" y="2358"/>
                  </a:lnTo>
                  <a:lnTo>
                    <a:pt x="994" y="2419"/>
                  </a:lnTo>
                  <a:lnTo>
                    <a:pt x="1033" y="2477"/>
                  </a:lnTo>
                  <a:lnTo>
                    <a:pt x="1076" y="2533"/>
                  </a:lnTo>
                  <a:lnTo>
                    <a:pt x="1091" y="2555"/>
                  </a:lnTo>
                  <a:lnTo>
                    <a:pt x="1101" y="2578"/>
                  </a:lnTo>
                  <a:lnTo>
                    <a:pt x="1108" y="2603"/>
                  </a:lnTo>
                  <a:lnTo>
                    <a:pt x="1109" y="2628"/>
                  </a:lnTo>
                  <a:lnTo>
                    <a:pt x="1107" y="2654"/>
                  </a:lnTo>
                  <a:lnTo>
                    <a:pt x="1099" y="2678"/>
                  </a:lnTo>
                  <a:lnTo>
                    <a:pt x="1087" y="2702"/>
                  </a:lnTo>
                  <a:lnTo>
                    <a:pt x="1071" y="2723"/>
                  </a:lnTo>
                  <a:lnTo>
                    <a:pt x="1050" y="2742"/>
                  </a:lnTo>
                  <a:lnTo>
                    <a:pt x="1027" y="2757"/>
                  </a:lnTo>
                  <a:lnTo>
                    <a:pt x="1000" y="2767"/>
                  </a:lnTo>
                  <a:lnTo>
                    <a:pt x="972" y="2771"/>
                  </a:lnTo>
                  <a:lnTo>
                    <a:pt x="943" y="2770"/>
                  </a:lnTo>
                  <a:lnTo>
                    <a:pt x="914" y="2763"/>
                  </a:lnTo>
                  <a:lnTo>
                    <a:pt x="880" y="2755"/>
                  </a:lnTo>
                  <a:lnTo>
                    <a:pt x="845" y="2752"/>
                  </a:lnTo>
                  <a:lnTo>
                    <a:pt x="809" y="2753"/>
                  </a:lnTo>
                  <a:lnTo>
                    <a:pt x="771" y="2759"/>
                  </a:lnTo>
                  <a:lnTo>
                    <a:pt x="735" y="2771"/>
                  </a:lnTo>
                  <a:lnTo>
                    <a:pt x="701" y="2789"/>
                  </a:lnTo>
                  <a:lnTo>
                    <a:pt x="670" y="2811"/>
                  </a:lnTo>
                  <a:lnTo>
                    <a:pt x="643" y="2837"/>
                  </a:lnTo>
                  <a:lnTo>
                    <a:pt x="619" y="2868"/>
                  </a:lnTo>
                  <a:lnTo>
                    <a:pt x="600" y="2899"/>
                  </a:lnTo>
                  <a:lnTo>
                    <a:pt x="586" y="2936"/>
                  </a:lnTo>
                  <a:lnTo>
                    <a:pt x="578" y="2973"/>
                  </a:lnTo>
                  <a:lnTo>
                    <a:pt x="575" y="3009"/>
                  </a:lnTo>
                  <a:lnTo>
                    <a:pt x="578" y="3044"/>
                  </a:lnTo>
                  <a:lnTo>
                    <a:pt x="585" y="3078"/>
                  </a:lnTo>
                  <a:lnTo>
                    <a:pt x="597" y="3111"/>
                  </a:lnTo>
                  <a:lnTo>
                    <a:pt x="613" y="3142"/>
                  </a:lnTo>
                  <a:lnTo>
                    <a:pt x="633" y="3170"/>
                  </a:lnTo>
                  <a:lnTo>
                    <a:pt x="657" y="3196"/>
                  </a:lnTo>
                  <a:lnTo>
                    <a:pt x="684" y="3219"/>
                  </a:lnTo>
                  <a:lnTo>
                    <a:pt x="714" y="3238"/>
                  </a:lnTo>
                  <a:lnTo>
                    <a:pt x="746" y="3252"/>
                  </a:lnTo>
                  <a:lnTo>
                    <a:pt x="780" y="3261"/>
                  </a:lnTo>
                  <a:lnTo>
                    <a:pt x="815" y="3265"/>
                  </a:lnTo>
                  <a:lnTo>
                    <a:pt x="850" y="3266"/>
                  </a:lnTo>
                  <a:lnTo>
                    <a:pt x="886" y="3262"/>
                  </a:lnTo>
                  <a:lnTo>
                    <a:pt x="921" y="3253"/>
                  </a:lnTo>
                  <a:lnTo>
                    <a:pt x="952" y="3240"/>
                  </a:lnTo>
                  <a:lnTo>
                    <a:pt x="982" y="3222"/>
                  </a:lnTo>
                  <a:lnTo>
                    <a:pt x="1009" y="3200"/>
                  </a:lnTo>
                  <a:lnTo>
                    <a:pt x="1033" y="3176"/>
                  </a:lnTo>
                  <a:lnTo>
                    <a:pt x="1053" y="3148"/>
                  </a:lnTo>
                  <a:lnTo>
                    <a:pt x="1070" y="3118"/>
                  </a:lnTo>
                  <a:lnTo>
                    <a:pt x="1083" y="3085"/>
                  </a:lnTo>
                  <a:lnTo>
                    <a:pt x="1092" y="3043"/>
                  </a:lnTo>
                  <a:lnTo>
                    <a:pt x="1094" y="3002"/>
                  </a:lnTo>
                  <a:lnTo>
                    <a:pt x="1090" y="2960"/>
                  </a:lnTo>
                  <a:lnTo>
                    <a:pt x="1086" y="2934"/>
                  </a:lnTo>
                  <a:lnTo>
                    <a:pt x="1089" y="2907"/>
                  </a:lnTo>
                  <a:lnTo>
                    <a:pt x="1096" y="2881"/>
                  </a:lnTo>
                  <a:lnTo>
                    <a:pt x="1108" y="2857"/>
                  </a:lnTo>
                  <a:lnTo>
                    <a:pt x="1124" y="2836"/>
                  </a:lnTo>
                  <a:lnTo>
                    <a:pt x="1170" y="2786"/>
                  </a:lnTo>
                  <a:lnTo>
                    <a:pt x="1188" y="2769"/>
                  </a:lnTo>
                  <a:lnTo>
                    <a:pt x="1208" y="2755"/>
                  </a:lnTo>
                  <a:lnTo>
                    <a:pt x="1231" y="2745"/>
                  </a:lnTo>
                  <a:lnTo>
                    <a:pt x="1254" y="2739"/>
                  </a:lnTo>
                  <a:lnTo>
                    <a:pt x="1279" y="2737"/>
                  </a:lnTo>
                  <a:lnTo>
                    <a:pt x="1301" y="2739"/>
                  </a:lnTo>
                  <a:lnTo>
                    <a:pt x="1325" y="2744"/>
                  </a:lnTo>
                  <a:lnTo>
                    <a:pt x="1347" y="2755"/>
                  </a:lnTo>
                  <a:lnTo>
                    <a:pt x="1388" y="2775"/>
                  </a:lnTo>
                  <a:lnTo>
                    <a:pt x="1429" y="2793"/>
                  </a:lnTo>
                  <a:lnTo>
                    <a:pt x="1460" y="2809"/>
                  </a:lnTo>
                  <a:lnTo>
                    <a:pt x="1485" y="2829"/>
                  </a:lnTo>
                  <a:lnTo>
                    <a:pt x="1509" y="2853"/>
                  </a:lnTo>
                  <a:lnTo>
                    <a:pt x="1527" y="2880"/>
                  </a:lnTo>
                  <a:lnTo>
                    <a:pt x="1542" y="2910"/>
                  </a:lnTo>
                  <a:lnTo>
                    <a:pt x="1552" y="2943"/>
                  </a:lnTo>
                  <a:lnTo>
                    <a:pt x="1557" y="2977"/>
                  </a:lnTo>
                  <a:lnTo>
                    <a:pt x="1556" y="3012"/>
                  </a:lnTo>
                  <a:lnTo>
                    <a:pt x="1556" y="3055"/>
                  </a:lnTo>
                  <a:lnTo>
                    <a:pt x="1561" y="3098"/>
                  </a:lnTo>
                  <a:lnTo>
                    <a:pt x="1573" y="3137"/>
                  </a:lnTo>
                  <a:lnTo>
                    <a:pt x="1589" y="3173"/>
                  </a:lnTo>
                  <a:lnTo>
                    <a:pt x="1610" y="3207"/>
                  </a:lnTo>
                  <a:lnTo>
                    <a:pt x="1636" y="3237"/>
                  </a:lnTo>
                  <a:lnTo>
                    <a:pt x="1666" y="3263"/>
                  </a:lnTo>
                  <a:lnTo>
                    <a:pt x="1698" y="3286"/>
                  </a:lnTo>
                  <a:lnTo>
                    <a:pt x="1734" y="3303"/>
                  </a:lnTo>
                  <a:lnTo>
                    <a:pt x="1772" y="3315"/>
                  </a:lnTo>
                  <a:lnTo>
                    <a:pt x="1812" y="3323"/>
                  </a:lnTo>
                  <a:lnTo>
                    <a:pt x="1853" y="3324"/>
                  </a:lnTo>
                  <a:lnTo>
                    <a:pt x="1894" y="3320"/>
                  </a:lnTo>
                  <a:lnTo>
                    <a:pt x="1932" y="3310"/>
                  </a:lnTo>
                  <a:lnTo>
                    <a:pt x="1970" y="3295"/>
                  </a:lnTo>
                  <a:lnTo>
                    <a:pt x="2004" y="3275"/>
                  </a:lnTo>
                  <a:lnTo>
                    <a:pt x="2036" y="3250"/>
                  </a:lnTo>
                  <a:lnTo>
                    <a:pt x="2064" y="3222"/>
                  </a:lnTo>
                  <a:lnTo>
                    <a:pt x="2087" y="3189"/>
                  </a:lnTo>
                  <a:lnTo>
                    <a:pt x="2107" y="3154"/>
                  </a:lnTo>
                  <a:lnTo>
                    <a:pt x="2120" y="3116"/>
                  </a:lnTo>
                  <a:lnTo>
                    <a:pt x="2128" y="3077"/>
                  </a:lnTo>
                  <a:lnTo>
                    <a:pt x="2131" y="3038"/>
                  </a:lnTo>
                  <a:lnTo>
                    <a:pt x="2130" y="3010"/>
                  </a:lnTo>
                  <a:lnTo>
                    <a:pt x="2126" y="2984"/>
                  </a:lnTo>
                  <a:lnTo>
                    <a:pt x="2122" y="2948"/>
                  </a:lnTo>
                  <a:lnTo>
                    <a:pt x="2124" y="2913"/>
                  </a:lnTo>
                  <a:lnTo>
                    <a:pt x="2130" y="2880"/>
                  </a:lnTo>
                  <a:lnTo>
                    <a:pt x="2141" y="2848"/>
                  </a:lnTo>
                  <a:lnTo>
                    <a:pt x="2157" y="2819"/>
                  </a:lnTo>
                  <a:lnTo>
                    <a:pt x="2178" y="2792"/>
                  </a:lnTo>
                  <a:lnTo>
                    <a:pt x="2203" y="2770"/>
                  </a:lnTo>
                  <a:lnTo>
                    <a:pt x="2231" y="2751"/>
                  </a:lnTo>
                  <a:lnTo>
                    <a:pt x="2283" y="2720"/>
                  </a:lnTo>
                  <a:lnTo>
                    <a:pt x="2333" y="2685"/>
                  </a:lnTo>
                  <a:lnTo>
                    <a:pt x="2380" y="2647"/>
                  </a:lnTo>
                  <a:lnTo>
                    <a:pt x="2406" y="2629"/>
                  </a:lnTo>
                  <a:lnTo>
                    <a:pt x="2432" y="2615"/>
                  </a:lnTo>
                  <a:lnTo>
                    <a:pt x="2458" y="2606"/>
                  </a:lnTo>
                  <a:lnTo>
                    <a:pt x="2486" y="2602"/>
                  </a:lnTo>
                  <a:lnTo>
                    <a:pt x="2514" y="2601"/>
                  </a:lnTo>
                  <a:lnTo>
                    <a:pt x="2541" y="2605"/>
                  </a:lnTo>
                  <a:lnTo>
                    <a:pt x="2571" y="2615"/>
                  </a:lnTo>
                  <a:lnTo>
                    <a:pt x="2598" y="2630"/>
                  </a:lnTo>
                  <a:lnTo>
                    <a:pt x="2623" y="2648"/>
                  </a:lnTo>
                  <a:lnTo>
                    <a:pt x="2643" y="2671"/>
                  </a:lnTo>
                  <a:lnTo>
                    <a:pt x="2659" y="2696"/>
                  </a:lnTo>
                  <a:lnTo>
                    <a:pt x="2671" y="2724"/>
                  </a:lnTo>
                  <a:lnTo>
                    <a:pt x="2679" y="2754"/>
                  </a:lnTo>
                  <a:lnTo>
                    <a:pt x="2681" y="2784"/>
                  </a:lnTo>
                  <a:lnTo>
                    <a:pt x="2678" y="2813"/>
                  </a:lnTo>
                  <a:lnTo>
                    <a:pt x="2669" y="2843"/>
                  </a:lnTo>
                  <a:lnTo>
                    <a:pt x="2657" y="2882"/>
                  </a:lnTo>
                  <a:lnTo>
                    <a:pt x="2651" y="2923"/>
                  </a:lnTo>
                  <a:lnTo>
                    <a:pt x="2650" y="2964"/>
                  </a:lnTo>
                  <a:lnTo>
                    <a:pt x="2654" y="3006"/>
                  </a:lnTo>
                  <a:lnTo>
                    <a:pt x="2664" y="3045"/>
                  </a:lnTo>
                  <a:lnTo>
                    <a:pt x="2678" y="3082"/>
                  </a:lnTo>
                  <a:lnTo>
                    <a:pt x="2697" y="3118"/>
                  </a:lnTo>
                  <a:lnTo>
                    <a:pt x="2719" y="3149"/>
                  </a:lnTo>
                  <a:lnTo>
                    <a:pt x="2746" y="3178"/>
                  </a:lnTo>
                  <a:lnTo>
                    <a:pt x="2776" y="3204"/>
                  </a:lnTo>
                  <a:lnTo>
                    <a:pt x="2809" y="3225"/>
                  </a:lnTo>
                  <a:lnTo>
                    <a:pt x="2844" y="3243"/>
                  </a:lnTo>
                  <a:lnTo>
                    <a:pt x="2882" y="3256"/>
                  </a:lnTo>
                  <a:lnTo>
                    <a:pt x="2921" y="3263"/>
                  </a:lnTo>
                  <a:lnTo>
                    <a:pt x="2963" y="3266"/>
                  </a:lnTo>
                  <a:lnTo>
                    <a:pt x="3005" y="3264"/>
                  </a:lnTo>
                  <a:lnTo>
                    <a:pt x="3044" y="3257"/>
                  </a:lnTo>
                  <a:lnTo>
                    <a:pt x="3083" y="3244"/>
                  </a:lnTo>
                  <a:lnTo>
                    <a:pt x="3120" y="3227"/>
                  </a:lnTo>
                  <a:lnTo>
                    <a:pt x="3154" y="3205"/>
                  </a:lnTo>
                  <a:lnTo>
                    <a:pt x="3187" y="3178"/>
                  </a:lnTo>
                  <a:lnTo>
                    <a:pt x="3214" y="3148"/>
                  </a:lnTo>
                  <a:lnTo>
                    <a:pt x="3238" y="3114"/>
                  </a:lnTo>
                  <a:lnTo>
                    <a:pt x="3256" y="3079"/>
                  </a:lnTo>
                  <a:lnTo>
                    <a:pt x="3270" y="3041"/>
                  </a:lnTo>
                  <a:lnTo>
                    <a:pt x="3280" y="3002"/>
                  </a:lnTo>
                  <a:lnTo>
                    <a:pt x="3283" y="2961"/>
                  </a:lnTo>
                  <a:lnTo>
                    <a:pt x="3282" y="2920"/>
                  </a:lnTo>
                  <a:lnTo>
                    <a:pt x="3275" y="2878"/>
                  </a:lnTo>
                  <a:lnTo>
                    <a:pt x="3262" y="2839"/>
                  </a:lnTo>
                  <a:lnTo>
                    <a:pt x="3244" y="2801"/>
                  </a:lnTo>
                  <a:lnTo>
                    <a:pt x="3221" y="2765"/>
                  </a:lnTo>
                  <a:lnTo>
                    <a:pt x="3194" y="2734"/>
                  </a:lnTo>
                  <a:lnTo>
                    <a:pt x="3163" y="2705"/>
                  </a:lnTo>
                  <a:lnTo>
                    <a:pt x="3128" y="2681"/>
                  </a:lnTo>
                  <a:lnTo>
                    <a:pt x="3090" y="2662"/>
                  </a:lnTo>
                  <a:lnTo>
                    <a:pt x="3051" y="2647"/>
                  </a:lnTo>
                  <a:lnTo>
                    <a:pt x="3003" y="2639"/>
                  </a:lnTo>
                  <a:lnTo>
                    <a:pt x="2954" y="2637"/>
                  </a:lnTo>
                  <a:lnTo>
                    <a:pt x="2905" y="2642"/>
                  </a:lnTo>
                  <a:lnTo>
                    <a:pt x="2873" y="2646"/>
                  </a:lnTo>
                  <a:lnTo>
                    <a:pt x="2841" y="2644"/>
                  </a:lnTo>
                  <a:lnTo>
                    <a:pt x="2811" y="2637"/>
                  </a:lnTo>
                  <a:lnTo>
                    <a:pt x="2782" y="2625"/>
                  </a:lnTo>
                  <a:lnTo>
                    <a:pt x="2756" y="2607"/>
                  </a:lnTo>
                  <a:lnTo>
                    <a:pt x="2674" y="2542"/>
                  </a:lnTo>
                  <a:lnTo>
                    <a:pt x="2652" y="2522"/>
                  </a:lnTo>
                  <a:lnTo>
                    <a:pt x="2635" y="2497"/>
                  </a:lnTo>
                  <a:lnTo>
                    <a:pt x="2621" y="2472"/>
                  </a:lnTo>
                  <a:lnTo>
                    <a:pt x="2612" y="2444"/>
                  </a:lnTo>
                  <a:lnTo>
                    <a:pt x="2608" y="2414"/>
                  </a:lnTo>
                  <a:lnTo>
                    <a:pt x="2608" y="2386"/>
                  </a:lnTo>
                  <a:lnTo>
                    <a:pt x="2613" y="2356"/>
                  </a:lnTo>
                  <a:lnTo>
                    <a:pt x="2624" y="2327"/>
                  </a:lnTo>
                  <a:lnTo>
                    <a:pt x="2643" y="2282"/>
                  </a:lnTo>
                  <a:lnTo>
                    <a:pt x="2660" y="2235"/>
                  </a:lnTo>
                  <a:lnTo>
                    <a:pt x="2674" y="2188"/>
                  </a:lnTo>
                  <a:lnTo>
                    <a:pt x="2685" y="2159"/>
                  </a:lnTo>
                  <a:lnTo>
                    <a:pt x="2698" y="2133"/>
                  </a:lnTo>
                  <a:lnTo>
                    <a:pt x="2716" y="2109"/>
                  </a:lnTo>
                  <a:lnTo>
                    <a:pt x="2736" y="2087"/>
                  </a:lnTo>
                  <a:lnTo>
                    <a:pt x="2759" y="2069"/>
                  </a:lnTo>
                  <a:lnTo>
                    <a:pt x="2786" y="2053"/>
                  </a:lnTo>
                  <a:lnTo>
                    <a:pt x="2818" y="2040"/>
                  </a:lnTo>
                  <a:lnTo>
                    <a:pt x="2851" y="2033"/>
                  </a:lnTo>
                  <a:lnTo>
                    <a:pt x="2884" y="2030"/>
                  </a:lnTo>
                  <a:lnTo>
                    <a:pt x="2917" y="2035"/>
                  </a:lnTo>
                  <a:lnTo>
                    <a:pt x="2950" y="2044"/>
                  </a:lnTo>
                  <a:lnTo>
                    <a:pt x="2989" y="2056"/>
                  </a:lnTo>
                  <a:lnTo>
                    <a:pt x="3028" y="2062"/>
                  </a:lnTo>
                  <a:lnTo>
                    <a:pt x="3069" y="2062"/>
                  </a:lnTo>
                  <a:lnTo>
                    <a:pt x="3108" y="2058"/>
                  </a:lnTo>
                  <a:lnTo>
                    <a:pt x="3148" y="2048"/>
                  </a:lnTo>
                  <a:lnTo>
                    <a:pt x="3185" y="2032"/>
                  </a:lnTo>
                  <a:lnTo>
                    <a:pt x="3220" y="2010"/>
                  </a:lnTo>
                  <a:lnTo>
                    <a:pt x="3250" y="1985"/>
                  </a:lnTo>
                  <a:lnTo>
                    <a:pt x="3276" y="1956"/>
                  </a:lnTo>
                  <a:lnTo>
                    <a:pt x="3299" y="1924"/>
                  </a:lnTo>
                  <a:lnTo>
                    <a:pt x="3316" y="1889"/>
                  </a:lnTo>
                  <a:lnTo>
                    <a:pt x="3329" y="1853"/>
                  </a:lnTo>
                  <a:lnTo>
                    <a:pt x="3337" y="1815"/>
                  </a:lnTo>
                  <a:lnTo>
                    <a:pt x="3341" y="1776"/>
                  </a:lnTo>
                  <a:lnTo>
                    <a:pt x="3337" y="1737"/>
                  </a:lnTo>
                  <a:lnTo>
                    <a:pt x="3330" y="1699"/>
                  </a:lnTo>
                  <a:lnTo>
                    <a:pt x="3316" y="1660"/>
                  </a:lnTo>
                  <a:lnTo>
                    <a:pt x="3298" y="1626"/>
                  </a:lnTo>
                  <a:lnTo>
                    <a:pt x="3276" y="1595"/>
                  </a:lnTo>
                  <a:lnTo>
                    <a:pt x="3251" y="1568"/>
                  </a:lnTo>
                  <a:lnTo>
                    <a:pt x="3222" y="1544"/>
                  </a:lnTo>
                  <a:lnTo>
                    <a:pt x="3190" y="1524"/>
                  </a:lnTo>
                  <a:lnTo>
                    <a:pt x="3154" y="1508"/>
                  </a:lnTo>
                  <a:lnTo>
                    <a:pt x="3117" y="1498"/>
                  </a:lnTo>
                  <a:lnTo>
                    <a:pt x="3080" y="1491"/>
                  </a:lnTo>
                  <a:lnTo>
                    <a:pt x="3042" y="1490"/>
                  </a:lnTo>
                  <a:lnTo>
                    <a:pt x="3005" y="1494"/>
                  </a:lnTo>
                  <a:lnTo>
                    <a:pt x="2968" y="1503"/>
                  </a:lnTo>
                  <a:lnTo>
                    <a:pt x="2932" y="1517"/>
                  </a:lnTo>
                  <a:lnTo>
                    <a:pt x="2926" y="1520"/>
                  </a:lnTo>
                  <a:lnTo>
                    <a:pt x="2916" y="1525"/>
                  </a:lnTo>
                  <a:lnTo>
                    <a:pt x="2905" y="1532"/>
                  </a:lnTo>
                  <a:lnTo>
                    <a:pt x="2891" y="1542"/>
                  </a:lnTo>
                  <a:lnTo>
                    <a:pt x="2860" y="1561"/>
                  </a:lnTo>
                  <a:lnTo>
                    <a:pt x="2826" y="1575"/>
                  </a:lnTo>
                  <a:lnTo>
                    <a:pt x="2791" y="1583"/>
                  </a:lnTo>
                  <a:lnTo>
                    <a:pt x="2755" y="1585"/>
                  </a:lnTo>
                  <a:lnTo>
                    <a:pt x="2719" y="1581"/>
                  </a:lnTo>
                  <a:lnTo>
                    <a:pt x="2689" y="1573"/>
                  </a:lnTo>
                  <a:lnTo>
                    <a:pt x="2663" y="1560"/>
                  </a:lnTo>
                  <a:lnTo>
                    <a:pt x="2637" y="1545"/>
                  </a:lnTo>
                  <a:lnTo>
                    <a:pt x="2614" y="1526"/>
                  </a:lnTo>
                  <a:lnTo>
                    <a:pt x="2593" y="1504"/>
                  </a:lnTo>
                  <a:lnTo>
                    <a:pt x="2576" y="1478"/>
                  </a:lnTo>
                  <a:lnTo>
                    <a:pt x="2545" y="1432"/>
                  </a:lnTo>
                  <a:lnTo>
                    <a:pt x="2511" y="1386"/>
                  </a:lnTo>
                  <a:lnTo>
                    <a:pt x="2473" y="1340"/>
                  </a:lnTo>
                  <a:lnTo>
                    <a:pt x="2451" y="1307"/>
                  </a:lnTo>
                  <a:lnTo>
                    <a:pt x="2434" y="1273"/>
                  </a:lnTo>
                  <a:lnTo>
                    <a:pt x="2422" y="1237"/>
                  </a:lnTo>
                  <a:lnTo>
                    <a:pt x="2416" y="1200"/>
                  </a:lnTo>
                  <a:lnTo>
                    <a:pt x="2414" y="1163"/>
                  </a:lnTo>
                  <a:lnTo>
                    <a:pt x="2419" y="1125"/>
                  </a:lnTo>
                  <a:lnTo>
                    <a:pt x="2428" y="1088"/>
                  </a:lnTo>
                  <a:lnTo>
                    <a:pt x="2443" y="1053"/>
                  </a:lnTo>
                  <a:lnTo>
                    <a:pt x="2529" y="888"/>
                  </a:lnTo>
                  <a:lnTo>
                    <a:pt x="2549" y="855"/>
                  </a:lnTo>
                  <a:lnTo>
                    <a:pt x="2573" y="825"/>
                  </a:lnTo>
                  <a:lnTo>
                    <a:pt x="2601" y="800"/>
                  </a:lnTo>
                  <a:lnTo>
                    <a:pt x="2630" y="779"/>
                  </a:lnTo>
                  <a:lnTo>
                    <a:pt x="2663" y="762"/>
                  </a:lnTo>
                  <a:lnTo>
                    <a:pt x="2698" y="750"/>
                  </a:lnTo>
                  <a:lnTo>
                    <a:pt x="2733" y="743"/>
                  </a:lnTo>
                  <a:lnTo>
                    <a:pt x="2763" y="739"/>
                  </a:lnTo>
                  <a:lnTo>
                    <a:pt x="2793" y="731"/>
                  </a:lnTo>
                  <a:lnTo>
                    <a:pt x="2823" y="720"/>
                  </a:lnTo>
                  <a:lnTo>
                    <a:pt x="2856" y="702"/>
                  </a:lnTo>
                  <a:lnTo>
                    <a:pt x="2887" y="680"/>
                  </a:lnTo>
                  <a:lnTo>
                    <a:pt x="2915" y="655"/>
                  </a:lnTo>
                  <a:lnTo>
                    <a:pt x="2938" y="628"/>
                  </a:lnTo>
                  <a:lnTo>
                    <a:pt x="2959" y="597"/>
                  </a:lnTo>
                  <a:lnTo>
                    <a:pt x="2975" y="565"/>
                  </a:lnTo>
                  <a:lnTo>
                    <a:pt x="2987" y="531"/>
                  </a:lnTo>
                  <a:lnTo>
                    <a:pt x="2993" y="496"/>
                  </a:lnTo>
                  <a:lnTo>
                    <a:pt x="2995" y="456"/>
                  </a:lnTo>
                  <a:lnTo>
                    <a:pt x="2993" y="419"/>
                  </a:lnTo>
                  <a:lnTo>
                    <a:pt x="2984" y="382"/>
                  </a:lnTo>
                  <a:lnTo>
                    <a:pt x="2973" y="347"/>
                  </a:lnTo>
                  <a:lnTo>
                    <a:pt x="2956" y="313"/>
                  </a:lnTo>
                  <a:lnTo>
                    <a:pt x="2934" y="282"/>
                  </a:lnTo>
                  <a:lnTo>
                    <a:pt x="2909" y="253"/>
                  </a:lnTo>
                  <a:lnTo>
                    <a:pt x="2879" y="229"/>
                  </a:lnTo>
                  <a:lnTo>
                    <a:pt x="2848" y="208"/>
                  </a:lnTo>
                  <a:lnTo>
                    <a:pt x="2813" y="193"/>
                  </a:lnTo>
                  <a:lnTo>
                    <a:pt x="2777" y="181"/>
                  </a:lnTo>
                  <a:lnTo>
                    <a:pt x="2740" y="174"/>
                  </a:lnTo>
                  <a:lnTo>
                    <a:pt x="2702" y="172"/>
                  </a:lnTo>
                  <a:lnTo>
                    <a:pt x="2663" y="176"/>
                  </a:lnTo>
                  <a:lnTo>
                    <a:pt x="2623" y="184"/>
                  </a:lnTo>
                  <a:lnTo>
                    <a:pt x="2586" y="199"/>
                  </a:lnTo>
                  <a:lnTo>
                    <a:pt x="2551" y="218"/>
                  </a:lnTo>
                  <a:lnTo>
                    <a:pt x="2519" y="241"/>
                  </a:lnTo>
                  <a:lnTo>
                    <a:pt x="2491" y="269"/>
                  </a:lnTo>
                  <a:lnTo>
                    <a:pt x="2467" y="300"/>
                  </a:lnTo>
                  <a:lnTo>
                    <a:pt x="2448" y="334"/>
                  </a:lnTo>
                  <a:lnTo>
                    <a:pt x="2433" y="371"/>
                  </a:lnTo>
                  <a:lnTo>
                    <a:pt x="2423" y="411"/>
                  </a:lnTo>
                  <a:lnTo>
                    <a:pt x="2420" y="453"/>
                  </a:lnTo>
                  <a:lnTo>
                    <a:pt x="2422" y="495"/>
                  </a:lnTo>
                  <a:lnTo>
                    <a:pt x="2429" y="535"/>
                  </a:lnTo>
                  <a:lnTo>
                    <a:pt x="2443" y="573"/>
                  </a:lnTo>
                  <a:lnTo>
                    <a:pt x="2458" y="614"/>
                  </a:lnTo>
                  <a:lnTo>
                    <a:pt x="2466" y="654"/>
                  </a:lnTo>
                  <a:lnTo>
                    <a:pt x="2469" y="695"/>
                  </a:lnTo>
                  <a:lnTo>
                    <a:pt x="2466" y="734"/>
                  </a:lnTo>
                  <a:lnTo>
                    <a:pt x="2456" y="772"/>
                  </a:lnTo>
                  <a:lnTo>
                    <a:pt x="2440" y="808"/>
                  </a:lnTo>
                  <a:lnTo>
                    <a:pt x="2374" y="938"/>
                  </a:lnTo>
                  <a:lnTo>
                    <a:pt x="2354" y="971"/>
                  </a:lnTo>
                  <a:lnTo>
                    <a:pt x="2330" y="1000"/>
                  </a:lnTo>
                  <a:lnTo>
                    <a:pt x="2302" y="1025"/>
                  </a:lnTo>
                  <a:lnTo>
                    <a:pt x="2272" y="1047"/>
                  </a:lnTo>
                  <a:lnTo>
                    <a:pt x="2239" y="1064"/>
                  </a:lnTo>
                  <a:lnTo>
                    <a:pt x="2205" y="1075"/>
                  </a:lnTo>
                  <a:lnTo>
                    <a:pt x="2169" y="1083"/>
                  </a:lnTo>
                  <a:lnTo>
                    <a:pt x="2132" y="1085"/>
                  </a:lnTo>
                  <a:lnTo>
                    <a:pt x="2095" y="1082"/>
                  </a:lnTo>
                  <a:lnTo>
                    <a:pt x="2058" y="1073"/>
                  </a:lnTo>
                  <a:lnTo>
                    <a:pt x="2035" y="1067"/>
                  </a:lnTo>
                  <a:lnTo>
                    <a:pt x="2006" y="1060"/>
                  </a:lnTo>
                  <a:lnTo>
                    <a:pt x="1973" y="1055"/>
                  </a:lnTo>
                  <a:lnTo>
                    <a:pt x="1934" y="1049"/>
                  </a:lnTo>
                  <a:lnTo>
                    <a:pt x="1891" y="1043"/>
                  </a:lnTo>
                  <a:lnTo>
                    <a:pt x="1843" y="1038"/>
                  </a:lnTo>
                  <a:lnTo>
                    <a:pt x="1815" y="1033"/>
                  </a:lnTo>
                  <a:lnTo>
                    <a:pt x="1788" y="1022"/>
                  </a:lnTo>
                  <a:lnTo>
                    <a:pt x="1763" y="1007"/>
                  </a:lnTo>
                  <a:lnTo>
                    <a:pt x="1742" y="989"/>
                  </a:lnTo>
                  <a:lnTo>
                    <a:pt x="1724" y="967"/>
                  </a:lnTo>
                  <a:lnTo>
                    <a:pt x="1710" y="941"/>
                  </a:lnTo>
                  <a:lnTo>
                    <a:pt x="1700" y="914"/>
                  </a:lnTo>
                  <a:lnTo>
                    <a:pt x="1635" y="638"/>
                  </a:lnTo>
                  <a:lnTo>
                    <a:pt x="1631" y="607"/>
                  </a:lnTo>
                  <a:lnTo>
                    <a:pt x="1632" y="576"/>
                  </a:lnTo>
                  <a:lnTo>
                    <a:pt x="1640" y="547"/>
                  </a:lnTo>
                  <a:lnTo>
                    <a:pt x="1653" y="518"/>
                  </a:lnTo>
                  <a:lnTo>
                    <a:pt x="1672" y="491"/>
                  </a:lnTo>
                  <a:lnTo>
                    <a:pt x="1693" y="464"/>
                  </a:lnTo>
                  <a:lnTo>
                    <a:pt x="1710" y="434"/>
                  </a:lnTo>
                  <a:lnTo>
                    <a:pt x="1721" y="402"/>
                  </a:lnTo>
                  <a:lnTo>
                    <a:pt x="1727" y="368"/>
                  </a:lnTo>
                  <a:lnTo>
                    <a:pt x="1727" y="334"/>
                  </a:lnTo>
                  <a:lnTo>
                    <a:pt x="1724" y="299"/>
                  </a:lnTo>
                  <a:lnTo>
                    <a:pt x="1715" y="266"/>
                  </a:lnTo>
                  <a:lnTo>
                    <a:pt x="1701" y="236"/>
                  </a:lnTo>
                  <a:lnTo>
                    <a:pt x="1683" y="208"/>
                  </a:lnTo>
                  <a:lnTo>
                    <a:pt x="1662" y="183"/>
                  </a:lnTo>
                  <a:lnTo>
                    <a:pt x="1637" y="162"/>
                  </a:lnTo>
                  <a:lnTo>
                    <a:pt x="1609" y="144"/>
                  </a:lnTo>
                  <a:lnTo>
                    <a:pt x="1579" y="130"/>
                  </a:lnTo>
                  <a:lnTo>
                    <a:pt x="1547" y="120"/>
                  </a:lnTo>
                  <a:lnTo>
                    <a:pt x="1512" y="115"/>
                  </a:lnTo>
                  <a:close/>
                  <a:moveTo>
                    <a:pt x="1482" y="0"/>
                  </a:moveTo>
                  <a:lnTo>
                    <a:pt x="1526" y="1"/>
                  </a:lnTo>
                  <a:lnTo>
                    <a:pt x="1571" y="7"/>
                  </a:lnTo>
                  <a:lnTo>
                    <a:pt x="1614" y="19"/>
                  </a:lnTo>
                  <a:lnTo>
                    <a:pt x="1655" y="37"/>
                  </a:lnTo>
                  <a:lnTo>
                    <a:pt x="1693" y="60"/>
                  </a:lnTo>
                  <a:lnTo>
                    <a:pt x="1727" y="87"/>
                  </a:lnTo>
                  <a:lnTo>
                    <a:pt x="1759" y="119"/>
                  </a:lnTo>
                  <a:lnTo>
                    <a:pt x="1786" y="154"/>
                  </a:lnTo>
                  <a:lnTo>
                    <a:pt x="1808" y="193"/>
                  </a:lnTo>
                  <a:lnTo>
                    <a:pt x="1825" y="234"/>
                  </a:lnTo>
                  <a:lnTo>
                    <a:pt x="1837" y="278"/>
                  </a:lnTo>
                  <a:lnTo>
                    <a:pt x="1842" y="322"/>
                  </a:lnTo>
                  <a:lnTo>
                    <a:pt x="1842" y="366"/>
                  </a:lnTo>
                  <a:lnTo>
                    <a:pt x="1836" y="410"/>
                  </a:lnTo>
                  <a:lnTo>
                    <a:pt x="1825" y="452"/>
                  </a:lnTo>
                  <a:lnTo>
                    <a:pt x="1808" y="492"/>
                  </a:lnTo>
                  <a:lnTo>
                    <a:pt x="1787" y="531"/>
                  </a:lnTo>
                  <a:lnTo>
                    <a:pt x="1759" y="567"/>
                  </a:lnTo>
                  <a:lnTo>
                    <a:pt x="1750" y="581"/>
                  </a:lnTo>
                  <a:lnTo>
                    <a:pt x="1746" y="597"/>
                  </a:lnTo>
                  <a:lnTo>
                    <a:pt x="1746" y="612"/>
                  </a:lnTo>
                  <a:lnTo>
                    <a:pt x="1812" y="887"/>
                  </a:lnTo>
                  <a:lnTo>
                    <a:pt x="1818" y="901"/>
                  </a:lnTo>
                  <a:lnTo>
                    <a:pt x="1827" y="913"/>
                  </a:lnTo>
                  <a:lnTo>
                    <a:pt x="1840" y="920"/>
                  </a:lnTo>
                  <a:lnTo>
                    <a:pt x="1855" y="924"/>
                  </a:lnTo>
                  <a:lnTo>
                    <a:pt x="1895" y="929"/>
                  </a:lnTo>
                  <a:lnTo>
                    <a:pt x="1937" y="934"/>
                  </a:lnTo>
                  <a:lnTo>
                    <a:pt x="1979" y="939"/>
                  </a:lnTo>
                  <a:lnTo>
                    <a:pt x="2021" y="947"/>
                  </a:lnTo>
                  <a:lnTo>
                    <a:pt x="2059" y="955"/>
                  </a:lnTo>
                  <a:lnTo>
                    <a:pt x="2093" y="964"/>
                  </a:lnTo>
                  <a:lnTo>
                    <a:pt x="2118" y="969"/>
                  </a:lnTo>
                  <a:lnTo>
                    <a:pt x="2144" y="969"/>
                  </a:lnTo>
                  <a:lnTo>
                    <a:pt x="2170" y="966"/>
                  </a:lnTo>
                  <a:lnTo>
                    <a:pt x="2194" y="957"/>
                  </a:lnTo>
                  <a:lnTo>
                    <a:pt x="2218" y="945"/>
                  </a:lnTo>
                  <a:lnTo>
                    <a:pt x="2238" y="927"/>
                  </a:lnTo>
                  <a:lnTo>
                    <a:pt x="2256" y="908"/>
                  </a:lnTo>
                  <a:lnTo>
                    <a:pt x="2271" y="885"/>
                  </a:lnTo>
                  <a:lnTo>
                    <a:pt x="2339" y="756"/>
                  </a:lnTo>
                  <a:lnTo>
                    <a:pt x="2348" y="731"/>
                  </a:lnTo>
                  <a:lnTo>
                    <a:pt x="2352" y="704"/>
                  </a:lnTo>
                  <a:lnTo>
                    <a:pt x="2352" y="676"/>
                  </a:lnTo>
                  <a:lnTo>
                    <a:pt x="2348" y="648"/>
                  </a:lnTo>
                  <a:lnTo>
                    <a:pt x="2338" y="619"/>
                  </a:lnTo>
                  <a:lnTo>
                    <a:pt x="2321" y="576"/>
                  </a:lnTo>
                  <a:lnTo>
                    <a:pt x="2311" y="532"/>
                  </a:lnTo>
                  <a:lnTo>
                    <a:pt x="2305" y="485"/>
                  </a:lnTo>
                  <a:lnTo>
                    <a:pt x="2304" y="439"/>
                  </a:lnTo>
                  <a:lnTo>
                    <a:pt x="2310" y="392"/>
                  </a:lnTo>
                  <a:lnTo>
                    <a:pt x="2319" y="347"/>
                  </a:lnTo>
                  <a:lnTo>
                    <a:pt x="2335" y="304"/>
                  </a:lnTo>
                  <a:lnTo>
                    <a:pt x="2355" y="263"/>
                  </a:lnTo>
                  <a:lnTo>
                    <a:pt x="2379" y="224"/>
                  </a:lnTo>
                  <a:lnTo>
                    <a:pt x="2408" y="189"/>
                  </a:lnTo>
                  <a:lnTo>
                    <a:pt x="2440" y="157"/>
                  </a:lnTo>
                  <a:lnTo>
                    <a:pt x="2477" y="130"/>
                  </a:lnTo>
                  <a:lnTo>
                    <a:pt x="2515" y="105"/>
                  </a:lnTo>
                  <a:lnTo>
                    <a:pt x="2557" y="86"/>
                  </a:lnTo>
                  <a:lnTo>
                    <a:pt x="2599" y="71"/>
                  </a:lnTo>
                  <a:lnTo>
                    <a:pt x="2645" y="62"/>
                  </a:lnTo>
                  <a:lnTo>
                    <a:pt x="2694" y="57"/>
                  </a:lnTo>
                  <a:lnTo>
                    <a:pt x="2741" y="59"/>
                  </a:lnTo>
                  <a:lnTo>
                    <a:pt x="2787" y="65"/>
                  </a:lnTo>
                  <a:lnTo>
                    <a:pt x="2830" y="77"/>
                  </a:lnTo>
                  <a:lnTo>
                    <a:pt x="2874" y="93"/>
                  </a:lnTo>
                  <a:lnTo>
                    <a:pt x="2915" y="114"/>
                  </a:lnTo>
                  <a:lnTo>
                    <a:pt x="2953" y="140"/>
                  </a:lnTo>
                  <a:lnTo>
                    <a:pt x="2989" y="171"/>
                  </a:lnTo>
                  <a:lnTo>
                    <a:pt x="3021" y="206"/>
                  </a:lnTo>
                  <a:lnTo>
                    <a:pt x="3048" y="244"/>
                  </a:lnTo>
                  <a:lnTo>
                    <a:pt x="3070" y="284"/>
                  </a:lnTo>
                  <a:lnTo>
                    <a:pt x="3088" y="325"/>
                  </a:lnTo>
                  <a:lnTo>
                    <a:pt x="3101" y="370"/>
                  </a:lnTo>
                  <a:lnTo>
                    <a:pt x="3108" y="416"/>
                  </a:lnTo>
                  <a:lnTo>
                    <a:pt x="3111" y="462"/>
                  </a:lnTo>
                  <a:lnTo>
                    <a:pt x="3107" y="508"/>
                  </a:lnTo>
                  <a:lnTo>
                    <a:pt x="3099" y="553"/>
                  </a:lnTo>
                  <a:lnTo>
                    <a:pt x="3086" y="597"/>
                  </a:lnTo>
                  <a:lnTo>
                    <a:pt x="3068" y="637"/>
                  </a:lnTo>
                  <a:lnTo>
                    <a:pt x="3044" y="676"/>
                  </a:lnTo>
                  <a:lnTo>
                    <a:pt x="3018" y="713"/>
                  </a:lnTo>
                  <a:lnTo>
                    <a:pt x="2986" y="746"/>
                  </a:lnTo>
                  <a:lnTo>
                    <a:pt x="2951" y="775"/>
                  </a:lnTo>
                  <a:lnTo>
                    <a:pt x="2913" y="802"/>
                  </a:lnTo>
                  <a:lnTo>
                    <a:pt x="2871" y="823"/>
                  </a:lnTo>
                  <a:lnTo>
                    <a:pt x="2829" y="840"/>
                  </a:lnTo>
                  <a:lnTo>
                    <a:pt x="2788" y="851"/>
                  </a:lnTo>
                  <a:lnTo>
                    <a:pt x="2745" y="858"/>
                  </a:lnTo>
                  <a:lnTo>
                    <a:pt x="2718" y="864"/>
                  </a:lnTo>
                  <a:lnTo>
                    <a:pt x="2691" y="875"/>
                  </a:lnTo>
                  <a:lnTo>
                    <a:pt x="2668" y="892"/>
                  </a:lnTo>
                  <a:lnTo>
                    <a:pt x="2648" y="915"/>
                  </a:lnTo>
                  <a:lnTo>
                    <a:pt x="2630" y="941"/>
                  </a:lnTo>
                  <a:lnTo>
                    <a:pt x="2546" y="1105"/>
                  </a:lnTo>
                  <a:lnTo>
                    <a:pt x="2535" y="1133"/>
                  </a:lnTo>
                  <a:lnTo>
                    <a:pt x="2530" y="1160"/>
                  </a:lnTo>
                  <a:lnTo>
                    <a:pt x="2530" y="1188"/>
                  </a:lnTo>
                  <a:lnTo>
                    <a:pt x="2535" y="1216"/>
                  </a:lnTo>
                  <a:lnTo>
                    <a:pt x="2546" y="1242"/>
                  </a:lnTo>
                  <a:lnTo>
                    <a:pt x="2562" y="1266"/>
                  </a:lnTo>
                  <a:lnTo>
                    <a:pt x="2602" y="1316"/>
                  </a:lnTo>
                  <a:lnTo>
                    <a:pt x="2640" y="1367"/>
                  </a:lnTo>
                  <a:lnTo>
                    <a:pt x="2674" y="1420"/>
                  </a:lnTo>
                  <a:lnTo>
                    <a:pt x="2688" y="1437"/>
                  </a:lnTo>
                  <a:lnTo>
                    <a:pt x="2704" y="1452"/>
                  </a:lnTo>
                  <a:lnTo>
                    <a:pt x="2721" y="1463"/>
                  </a:lnTo>
                  <a:lnTo>
                    <a:pt x="2742" y="1469"/>
                  </a:lnTo>
                  <a:lnTo>
                    <a:pt x="2763" y="1470"/>
                  </a:lnTo>
                  <a:lnTo>
                    <a:pt x="2783" y="1468"/>
                  </a:lnTo>
                  <a:lnTo>
                    <a:pt x="2805" y="1460"/>
                  </a:lnTo>
                  <a:lnTo>
                    <a:pt x="2824" y="1449"/>
                  </a:lnTo>
                  <a:lnTo>
                    <a:pt x="2845" y="1434"/>
                  </a:lnTo>
                  <a:lnTo>
                    <a:pt x="2865" y="1422"/>
                  </a:lnTo>
                  <a:lnTo>
                    <a:pt x="2884" y="1413"/>
                  </a:lnTo>
                  <a:lnTo>
                    <a:pt x="2927" y="1395"/>
                  </a:lnTo>
                  <a:lnTo>
                    <a:pt x="2971" y="1384"/>
                  </a:lnTo>
                  <a:lnTo>
                    <a:pt x="3015" y="1377"/>
                  </a:lnTo>
                  <a:lnTo>
                    <a:pt x="3060" y="1375"/>
                  </a:lnTo>
                  <a:lnTo>
                    <a:pt x="3106" y="1378"/>
                  </a:lnTo>
                  <a:lnTo>
                    <a:pt x="3151" y="1388"/>
                  </a:lnTo>
                  <a:lnTo>
                    <a:pt x="3195" y="1401"/>
                  </a:lnTo>
                  <a:lnTo>
                    <a:pt x="3237" y="1420"/>
                  </a:lnTo>
                  <a:lnTo>
                    <a:pt x="3276" y="1442"/>
                  </a:lnTo>
                  <a:lnTo>
                    <a:pt x="3313" y="1470"/>
                  </a:lnTo>
                  <a:lnTo>
                    <a:pt x="3346" y="1501"/>
                  </a:lnTo>
                  <a:lnTo>
                    <a:pt x="3375" y="1535"/>
                  </a:lnTo>
                  <a:lnTo>
                    <a:pt x="3400" y="1573"/>
                  </a:lnTo>
                  <a:lnTo>
                    <a:pt x="3422" y="1614"/>
                  </a:lnTo>
                  <a:lnTo>
                    <a:pt x="3437" y="1655"/>
                  </a:lnTo>
                  <a:lnTo>
                    <a:pt x="3447" y="1698"/>
                  </a:lnTo>
                  <a:lnTo>
                    <a:pt x="3454" y="1740"/>
                  </a:lnTo>
                  <a:lnTo>
                    <a:pt x="3455" y="1784"/>
                  </a:lnTo>
                  <a:lnTo>
                    <a:pt x="3452" y="1826"/>
                  </a:lnTo>
                  <a:lnTo>
                    <a:pt x="3444" y="1868"/>
                  </a:lnTo>
                  <a:lnTo>
                    <a:pt x="3431" y="1909"/>
                  </a:lnTo>
                  <a:lnTo>
                    <a:pt x="3415" y="1949"/>
                  </a:lnTo>
                  <a:lnTo>
                    <a:pt x="3395" y="1987"/>
                  </a:lnTo>
                  <a:lnTo>
                    <a:pt x="3370" y="2022"/>
                  </a:lnTo>
                  <a:lnTo>
                    <a:pt x="3343" y="2055"/>
                  </a:lnTo>
                  <a:lnTo>
                    <a:pt x="3312" y="2085"/>
                  </a:lnTo>
                  <a:lnTo>
                    <a:pt x="3276" y="2110"/>
                  </a:lnTo>
                  <a:lnTo>
                    <a:pt x="3238" y="2134"/>
                  </a:lnTo>
                  <a:lnTo>
                    <a:pt x="3193" y="2153"/>
                  </a:lnTo>
                  <a:lnTo>
                    <a:pt x="3147" y="2167"/>
                  </a:lnTo>
                  <a:lnTo>
                    <a:pt x="3099" y="2175"/>
                  </a:lnTo>
                  <a:lnTo>
                    <a:pt x="3051" y="2178"/>
                  </a:lnTo>
                  <a:lnTo>
                    <a:pt x="3003" y="2175"/>
                  </a:lnTo>
                  <a:lnTo>
                    <a:pt x="2954" y="2166"/>
                  </a:lnTo>
                  <a:lnTo>
                    <a:pt x="2909" y="2151"/>
                  </a:lnTo>
                  <a:lnTo>
                    <a:pt x="2890" y="2146"/>
                  </a:lnTo>
                  <a:lnTo>
                    <a:pt x="2873" y="2145"/>
                  </a:lnTo>
                  <a:lnTo>
                    <a:pt x="2855" y="2149"/>
                  </a:lnTo>
                  <a:lnTo>
                    <a:pt x="2838" y="2155"/>
                  </a:lnTo>
                  <a:lnTo>
                    <a:pt x="2820" y="2167"/>
                  </a:lnTo>
                  <a:lnTo>
                    <a:pt x="2805" y="2182"/>
                  </a:lnTo>
                  <a:lnTo>
                    <a:pt x="2793" y="2199"/>
                  </a:lnTo>
                  <a:lnTo>
                    <a:pt x="2786" y="2218"/>
                  </a:lnTo>
                  <a:lnTo>
                    <a:pt x="2770" y="2271"/>
                  </a:lnTo>
                  <a:lnTo>
                    <a:pt x="2751" y="2324"/>
                  </a:lnTo>
                  <a:lnTo>
                    <a:pt x="2729" y="2375"/>
                  </a:lnTo>
                  <a:lnTo>
                    <a:pt x="2724" y="2392"/>
                  </a:lnTo>
                  <a:lnTo>
                    <a:pt x="2724" y="2409"/>
                  </a:lnTo>
                  <a:lnTo>
                    <a:pt x="2727" y="2425"/>
                  </a:lnTo>
                  <a:lnTo>
                    <a:pt x="2734" y="2440"/>
                  </a:lnTo>
                  <a:lnTo>
                    <a:pt x="2747" y="2453"/>
                  </a:lnTo>
                  <a:lnTo>
                    <a:pt x="2828" y="2518"/>
                  </a:lnTo>
                  <a:lnTo>
                    <a:pt x="2840" y="2525"/>
                  </a:lnTo>
                  <a:lnTo>
                    <a:pt x="2854" y="2530"/>
                  </a:lnTo>
                  <a:lnTo>
                    <a:pt x="2868" y="2531"/>
                  </a:lnTo>
                  <a:lnTo>
                    <a:pt x="2884" y="2530"/>
                  </a:lnTo>
                  <a:lnTo>
                    <a:pt x="2933" y="2523"/>
                  </a:lnTo>
                  <a:lnTo>
                    <a:pt x="2982" y="2522"/>
                  </a:lnTo>
                  <a:lnTo>
                    <a:pt x="3031" y="2527"/>
                  </a:lnTo>
                  <a:lnTo>
                    <a:pt x="3081" y="2537"/>
                  </a:lnTo>
                  <a:lnTo>
                    <a:pt x="3127" y="2553"/>
                  </a:lnTo>
                  <a:lnTo>
                    <a:pt x="3169" y="2573"/>
                  </a:lnTo>
                  <a:lnTo>
                    <a:pt x="3210" y="2597"/>
                  </a:lnTo>
                  <a:lnTo>
                    <a:pt x="3247" y="2625"/>
                  </a:lnTo>
                  <a:lnTo>
                    <a:pt x="3282" y="2657"/>
                  </a:lnTo>
                  <a:lnTo>
                    <a:pt x="3312" y="2693"/>
                  </a:lnTo>
                  <a:lnTo>
                    <a:pt x="3337" y="2731"/>
                  </a:lnTo>
                  <a:lnTo>
                    <a:pt x="3360" y="2773"/>
                  </a:lnTo>
                  <a:lnTo>
                    <a:pt x="3377" y="2817"/>
                  </a:lnTo>
                  <a:lnTo>
                    <a:pt x="3390" y="2861"/>
                  </a:lnTo>
                  <a:lnTo>
                    <a:pt x="3397" y="2909"/>
                  </a:lnTo>
                  <a:lnTo>
                    <a:pt x="3398" y="2958"/>
                  </a:lnTo>
                  <a:lnTo>
                    <a:pt x="3395" y="3007"/>
                  </a:lnTo>
                  <a:lnTo>
                    <a:pt x="3386" y="3054"/>
                  </a:lnTo>
                  <a:lnTo>
                    <a:pt x="3373" y="3101"/>
                  </a:lnTo>
                  <a:lnTo>
                    <a:pt x="3353" y="3144"/>
                  </a:lnTo>
                  <a:lnTo>
                    <a:pt x="3329" y="3186"/>
                  </a:lnTo>
                  <a:lnTo>
                    <a:pt x="3300" y="3225"/>
                  </a:lnTo>
                  <a:lnTo>
                    <a:pt x="3266" y="3261"/>
                  </a:lnTo>
                  <a:lnTo>
                    <a:pt x="3228" y="3293"/>
                  </a:lnTo>
                  <a:lnTo>
                    <a:pt x="3189" y="3321"/>
                  </a:lnTo>
                  <a:lnTo>
                    <a:pt x="3146" y="3343"/>
                  </a:lnTo>
                  <a:lnTo>
                    <a:pt x="3100" y="3360"/>
                  </a:lnTo>
                  <a:lnTo>
                    <a:pt x="3054" y="3373"/>
                  </a:lnTo>
                  <a:lnTo>
                    <a:pt x="3005" y="3379"/>
                  </a:lnTo>
                  <a:lnTo>
                    <a:pt x="2957" y="3381"/>
                  </a:lnTo>
                  <a:lnTo>
                    <a:pt x="2906" y="3377"/>
                  </a:lnTo>
                  <a:lnTo>
                    <a:pt x="2857" y="3367"/>
                  </a:lnTo>
                  <a:lnTo>
                    <a:pt x="2810" y="3353"/>
                  </a:lnTo>
                  <a:lnTo>
                    <a:pt x="2765" y="3331"/>
                  </a:lnTo>
                  <a:lnTo>
                    <a:pt x="2722" y="3307"/>
                  </a:lnTo>
                  <a:lnTo>
                    <a:pt x="2684" y="3277"/>
                  </a:lnTo>
                  <a:lnTo>
                    <a:pt x="2649" y="3243"/>
                  </a:lnTo>
                  <a:lnTo>
                    <a:pt x="2618" y="3206"/>
                  </a:lnTo>
                  <a:lnTo>
                    <a:pt x="2591" y="3164"/>
                  </a:lnTo>
                  <a:lnTo>
                    <a:pt x="2568" y="3121"/>
                  </a:lnTo>
                  <a:lnTo>
                    <a:pt x="2552" y="3074"/>
                  </a:lnTo>
                  <a:lnTo>
                    <a:pt x="2541" y="3025"/>
                  </a:lnTo>
                  <a:lnTo>
                    <a:pt x="2535" y="2980"/>
                  </a:lnTo>
                  <a:lnTo>
                    <a:pt x="2535" y="2935"/>
                  </a:lnTo>
                  <a:lnTo>
                    <a:pt x="2539" y="2890"/>
                  </a:lnTo>
                  <a:lnTo>
                    <a:pt x="2548" y="2846"/>
                  </a:lnTo>
                  <a:lnTo>
                    <a:pt x="2561" y="2804"/>
                  </a:lnTo>
                  <a:lnTo>
                    <a:pt x="2565" y="2785"/>
                  </a:lnTo>
                  <a:lnTo>
                    <a:pt x="2564" y="2767"/>
                  </a:lnTo>
                  <a:lnTo>
                    <a:pt x="2558" y="2750"/>
                  </a:lnTo>
                  <a:lnTo>
                    <a:pt x="2551" y="2740"/>
                  </a:lnTo>
                  <a:lnTo>
                    <a:pt x="2543" y="2731"/>
                  </a:lnTo>
                  <a:lnTo>
                    <a:pt x="2530" y="2723"/>
                  </a:lnTo>
                  <a:lnTo>
                    <a:pt x="2513" y="2717"/>
                  </a:lnTo>
                  <a:lnTo>
                    <a:pt x="2499" y="2715"/>
                  </a:lnTo>
                  <a:lnTo>
                    <a:pt x="2485" y="2718"/>
                  </a:lnTo>
                  <a:lnTo>
                    <a:pt x="2470" y="2725"/>
                  </a:lnTo>
                  <a:lnTo>
                    <a:pt x="2455" y="2735"/>
                  </a:lnTo>
                  <a:lnTo>
                    <a:pt x="2402" y="2777"/>
                  </a:lnTo>
                  <a:lnTo>
                    <a:pt x="2346" y="2815"/>
                  </a:lnTo>
                  <a:lnTo>
                    <a:pt x="2287" y="2851"/>
                  </a:lnTo>
                  <a:lnTo>
                    <a:pt x="2270" y="2863"/>
                  </a:lnTo>
                  <a:lnTo>
                    <a:pt x="2255" y="2878"/>
                  </a:lnTo>
                  <a:lnTo>
                    <a:pt x="2246" y="2896"/>
                  </a:lnTo>
                  <a:lnTo>
                    <a:pt x="2239" y="2918"/>
                  </a:lnTo>
                  <a:lnTo>
                    <a:pt x="2237" y="2939"/>
                  </a:lnTo>
                  <a:lnTo>
                    <a:pt x="2239" y="2962"/>
                  </a:lnTo>
                  <a:lnTo>
                    <a:pt x="2244" y="2999"/>
                  </a:lnTo>
                  <a:lnTo>
                    <a:pt x="2247" y="3038"/>
                  </a:lnTo>
                  <a:lnTo>
                    <a:pt x="2243" y="3086"/>
                  </a:lnTo>
                  <a:lnTo>
                    <a:pt x="2235" y="3132"/>
                  </a:lnTo>
                  <a:lnTo>
                    <a:pt x="2221" y="3178"/>
                  </a:lnTo>
                  <a:lnTo>
                    <a:pt x="2201" y="3222"/>
                  </a:lnTo>
                  <a:lnTo>
                    <a:pt x="2176" y="3263"/>
                  </a:lnTo>
                  <a:lnTo>
                    <a:pt x="2147" y="3300"/>
                  </a:lnTo>
                  <a:lnTo>
                    <a:pt x="2113" y="3336"/>
                  </a:lnTo>
                  <a:lnTo>
                    <a:pt x="2080" y="3362"/>
                  </a:lnTo>
                  <a:lnTo>
                    <a:pt x="2045" y="3384"/>
                  </a:lnTo>
                  <a:lnTo>
                    <a:pt x="2007" y="3404"/>
                  </a:lnTo>
                  <a:lnTo>
                    <a:pt x="1968" y="3419"/>
                  </a:lnTo>
                  <a:lnTo>
                    <a:pt x="1927" y="3429"/>
                  </a:lnTo>
                  <a:lnTo>
                    <a:pt x="1885" y="3437"/>
                  </a:lnTo>
                  <a:lnTo>
                    <a:pt x="1842" y="3439"/>
                  </a:lnTo>
                  <a:lnTo>
                    <a:pt x="1801" y="3437"/>
                  </a:lnTo>
                  <a:lnTo>
                    <a:pt x="1755" y="3429"/>
                  </a:lnTo>
                  <a:lnTo>
                    <a:pt x="1710" y="3416"/>
                  </a:lnTo>
                  <a:lnTo>
                    <a:pt x="1668" y="3398"/>
                  </a:lnTo>
                  <a:lnTo>
                    <a:pt x="1627" y="3376"/>
                  </a:lnTo>
                  <a:lnTo>
                    <a:pt x="1591" y="3349"/>
                  </a:lnTo>
                  <a:lnTo>
                    <a:pt x="1557" y="3320"/>
                  </a:lnTo>
                  <a:lnTo>
                    <a:pt x="1527" y="3286"/>
                  </a:lnTo>
                  <a:lnTo>
                    <a:pt x="1500" y="3248"/>
                  </a:lnTo>
                  <a:lnTo>
                    <a:pt x="1478" y="3209"/>
                  </a:lnTo>
                  <a:lnTo>
                    <a:pt x="1461" y="3166"/>
                  </a:lnTo>
                  <a:lnTo>
                    <a:pt x="1449" y="3122"/>
                  </a:lnTo>
                  <a:lnTo>
                    <a:pt x="1442" y="3081"/>
                  </a:lnTo>
                  <a:lnTo>
                    <a:pt x="1439" y="3042"/>
                  </a:lnTo>
                  <a:lnTo>
                    <a:pt x="1441" y="3002"/>
                  </a:lnTo>
                  <a:lnTo>
                    <a:pt x="1441" y="2979"/>
                  </a:lnTo>
                  <a:lnTo>
                    <a:pt x="1437" y="2959"/>
                  </a:lnTo>
                  <a:lnTo>
                    <a:pt x="1429" y="2940"/>
                  </a:lnTo>
                  <a:lnTo>
                    <a:pt x="1417" y="2923"/>
                  </a:lnTo>
                  <a:lnTo>
                    <a:pt x="1402" y="2909"/>
                  </a:lnTo>
                  <a:lnTo>
                    <a:pt x="1385" y="2899"/>
                  </a:lnTo>
                  <a:lnTo>
                    <a:pt x="1338" y="2878"/>
                  </a:lnTo>
                  <a:lnTo>
                    <a:pt x="1292" y="2855"/>
                  </a:lnTo>
                  <a:lnTo>
                    <a:pt x="1283" y="2852"/>
                  </a:lnTo>
                  <a:lnTo>
                    <a:pt x="1272" y="2853"/>
                  </a:lnTo>
                  <a:lnTo>
                    <a:pt x="1263" y="2856"/>
                  </a:lnTo>
                  <a:lnTo>
                    <a:pt x="1255" y="2862"/>
                  </a:lnTo>
                  <a:lnTo>
                    <a:pt x="1209" y="2912"/>
                  </a:lnTo>
                  <a:lnTo>
                    <a:pt x="1205" y="2920"/>
                  </a:lnTo>
                  <a:lnTo>
                    <a:pt x="1202" y="2928"/>
                  </a:lnTo>
                  <a:lnTo>
                    <a:pt x="1202" y="2938"/>
                  </a:lnTo>
                  <a:lnTo>
                    <a:pt x="1208" y="2982"/>
                  </a:lnTo>
                  <a:lnTo>
                    <a:pt x="1208" y="3027"/>
                  </a:lnTo>
                  <a:lnTo>
                    <a:pt x="1204" y="3073"/>
                  </a:lnTo>
                  <a:lnTo>
                    <a:pt x="1193" y="3118"/>
                  </a:lnTo>
                  <a:lnTo>
                    <a:pt x="1177" y="3160"/>
                  </a:lnTo>
                  <a:lnTo>
                    <a:pt x="1157" y="3199"/>
                  </a:lnTo>
                  <a:lnTo>
                    <a:pt x="1131" y="3237"/>
                  </a:lnTo>
                  <a:lnTo>
                    <a:pt x="1102" y="3270"/>
                  </a:lnTo>
                  <a:lnTo>
                    <a:pt x="1069" y="3299"/>
                  </a:lnTo>
                  <a:lnTo>
                    <a:pt x="1033" y="3325"/>
                  </a:lnTo>
                  <a:lnTo>
                    <a:pt x="993" y="3346"/>
                  </a:lnTo>
                  <a:lnTo>
                    <a:pt x="952" y="3363"/>
                  </a:lnTo>
                  <a:lnTo>
                    <a:pt x="908" y="3374"/>
                  </a:lnTo>
                  <a:lnTo>
                    <a:pt x="863" y="3380"/>
                  </a:lnTo>
                  <a:lnTo>
                    <a:pt x="818" y="3381"/>
                  </a:lnTo>
                  <a:lnTo>
                    <a:pt x="773" y="3376"/>
                  </a:lnTo>
                  <a:lnTo>
                    <a:pt x="730" y="3366"/>
                  </a:lnTo>
                  <a:lnTo>
                    <a:pt x="689" y="3353"/>
                  </a:lnTo>
                  <a:lnTo>
                    <a:pt x="650" y="3332"/>
                  </a:lnTo>
                  <a:lnTo>
                    <a:pt x="613" y="3308"/>
                  </a:lnTo>
                  <a:lnTo>
                    <a:pt x="577" y="3279"/>
                  </a:lnTo>
                  <a:lnTo>
                    <a:pt x="546" y="3246"/>
                  </a:lnTo>
                  <a:lnTo>
                    <a:pt x="521" y="3211"/>
                  </a:lnTo>
                  <a:lnTo>
                    <a:pt x="498" y="3173"/>
                  </a:lnTo>
                  <a:lnTo>
                    <a:pt x="481" y="3132"/>
                  </a:lnTo>
                  <a:lnTo>
                    <a:pt x="469" y="3091"/>
                  </a:lnTo>
                  <a:lnTo>
                    <a:pt x="462" y="3047"/>
                  </a:lnTo>
                  <a:lnTo>
                    <a:pt x="461" y="3003"/>
                  </a:lnTo>
                  <a:lnTo>
                    <a:pt x="464" y="2958"/>
                  </a:lnTo>
                  <a:lnTo>
                    <a:pt x="473" y="2912"/>
                  </a:lnTo>
                  <a:lnTo>
                    <a:pt x="488" y="2870"/>
                  </a:lnTo>
                  <a:lnTo>
                    <a:pt x="507" y="2829"/>
                  </a:lnTo>
                  <a:lnTo>
                    <a:pt x="531" y="2791"/>
                  </a:lnTo>
                  <a:lnTo>
                    <a:pt x="559" y="2756"/>
                  </a:lnTo>
                  <a:lnTo>
                    <a:pt x="592" y="2725"/>
                  </a:lnTo>
                  <a:lnTo>
                    <a:pt x="628" y="2698"/>
                  </a:lnTo>
                  <a:lnTo>
                    <a:pt x="667" y="2676"/>
                  </a:lnTo>
                  <a:lnTo>
                    <a:pt x="709" y="2658"/>
                  </a:lnTo>
                  <a:lnTo>
                    <a:pt x="753" y="2645"/>
                  </a:lnTo>
                  <a:lnTo>
                    <a:pt x="799" y="2638"/>
                  </a:lnTo>
                  <a:lnTo>
                    <a:pt x="849" y="2637"/>
                  </a:lnTo>
                  <a:lnTo>
                    <a:pt x="899" y="2642"/>
                  </a:lnTo>
                  <a:lnTo>
                    <a:pt x="948" y="2654"/>
                  </a:lnTo>
                  <a:lnTo>
                    <a:pt x="958" y="2656"/>
                  </a:lnTo>
                  <a:lnTo>
                    <a:pt x="968" y="2655"/>
                  </a:lnTo>
                  <a:lnTo>
                    <a:pt x="977" y="2653"/>
                  </a:lnTo>
                  <a:lnTo>
                    <a:pt x="986" y="2646"/>
                  </a:lnTo>
                  <a:lnTo>
                    <a:pt x="991" y="2637"/>
                  </a:lnTo>
                  <a:lnTo>
                    <a:pt x="993" y="2626"/>
                  </a:lnTo>
                  <a:lnTo>
                    <a:pt x="992" y="2615"/>
                  </a:lnTo>
                  <a:lnTo>
                    <a:pt x="987" y="2606"/>
                  </a:lnTo>
                  <a:lnTo>
                    <a:pt x="939" y="2543"/>
                  </a:lnTo>
                  <a:lnTo>
                    <a:pt x="896" y="2478"/>
                  </a:lnTo>
                  <a:lnTo>
                    <a:pt x="858" y="2409"/>
                  </a:lnTo>
                  <a:lnTo>
                    <a:pt x="826" y="2339"/>
                  </a:lnTo>
                  <a:lnTo>
                    <a:pt x="799" y="2266"/>
                  </a:lnTo>
                  <a:lnTo>
                    <a:pt x="791" y="2249"/>
                  </a:lnTo>
                  <a:lnTo>
                    <a:pt x="780" y="2236"/>
                  </a:lnTo>
                  <a:lnTo>
                    <a:pt x="766" y="2226"/>
                  </a:lnTo>
                  <a:lnTo>
                    <a:pt x="750" y="2221"/>
                  </a:lnTo>
                  <a:lnTo>
                    <a:pt x="732" y="2220"/>
                  </a:lnTo>
                  <a:lnTo>
                    <a:pt x="638" y="2228"/>
                  </a:lnTo>
                  <a:lnTo>
                    <a:pt x="621" y="2232"/>
                  </a:lnTo>
                  <a:lnTo>
                    <a:pt x="606" y="2238"/>
                  </a:lnTo>
                  <a:lnTo>
                    <a:pt x="593" y="2247"/>
                  </a:lnTo>
                  <a:lnTo>
                    <a:pt x="584" y="2258"/>
                  </a:lnTo>
                  <a:lnTo>
                    <a:pt x="560" y="2292"/>
                  </a:lnTo>
                  <a:lnTo>
                    <a:pt x="533" y="2321"/>
                  </a:lnTo>
                  <a:lnTo>
                    <a:pt x="503" y="2346"/>
                  </a:lnTo>
                  <a:lnTo>
                    <a:pt x="468" y="2368"/>
                  </a:lnTo>
                  <a:lnTo>
                    <a:pt x="433" y="2385"/>
                  </a:lnTo>
                  <a:lnTo>
                    <a:pt x="396" y="2396"/>
                  </a:lnTo>
                  <a:lnTo>
                    <a:pt x="357" y="2405"/>
                  </a:lnTo>
                  <a:lnTo>
                    <a:pt x="318" y="2407"/>
                  </a:lnTo>
                  <a:lnTo>
                    <a:pt x="277" y="2405"/>
                  </a:lnTo>
                  <a:lnTo>
                    <a:pt x="237" y="2396"/>
                  </a:lnTo>
                  <a:lnTo>
                    <a:pt x="199" y="2385"/>
                  </a:lnTo>
                  <a:lnTo>
                    <a:pt x="163" y="2368"/>
                  </a:lnTo>
                  <a:lnTo>
                    <a:pt x="128" y="2345"/>
                  </a:lnTo>
                  <a:lnTo>
                    <a:pt x="98" y="2321"/>
                  </a:lnTo>
                  <a:lnTo>
                    <a:pt x="72" y="2291"/>
                  </a:lnTo>
                  <a:lnTo>
                    <a:pt x="48" y="2259"/>
                  </a:lnTo>
                  <a:lnTo>
                    <a:pt x="29" y="2224"/>
                  </a:lnTo>
                  <a:lnTo>
                    <a:pt x="14" y="2186"/>
                  </a:lnTo>
                  <a:lnTo>
                    <a:pt x="4" y="2147"/>
                  </a:lnTo>
                  <a:lnTo>
                    <a:pt x="0" y="2107"/>
                  </a:lnTo>
                  <a:lnTo>
                    <a:pt x="1" y="2068"/>
                  </a:lnTo>
                  <a:lnTo>
                    <a:pt x="6" y="2028"/>
                  </a:lnTo>
                  <a:lnTo>
                    <a:pt x="17" y="1989"/>
                  </a:lnTo>
                  <a:lnTo>
                    <a:pt x="32" y="1951"/>
                  </a:lnTo>
                  <a:lnTo>
                    <a:pt x="53" y="1916"/>
                  </a:lnTo>
                  <a:lnTo>
                    <a:pt x="78" y="1883"/>
                  </a:lnTo>
                  <a:lnTo>
                    <a:pt x="107" y="1854"/>
                  </a:lnTo>
                  <a:lnTo>
                    <a:pt x="140" y="1829"/>
                  </a:lnTo>
                  <a:lnTo>
                    <a:pt x="175" y="1809"/>
                  </a:lnTo>
                  <a:lnTo>
                    <a:pt x="213" y="1793"/>
                  </a:lnTo>
                  <a:lnTo>
                    <a:pt x="252" y="1783"/>
                  </a:lnTo>
                  <a:lnTo>
                    <a:pt x="294" y="1777"/>
                  </a:lnTo>
                  <a:lnTo>
                    <a:pt x="337" y="1777"/>
                  </a:lnTo>
                  <a:lnTo>
                    <a:pt x="374" y="1782"/>
                  </a:lnTo>
                  <a:lnTo>
                    <a:pt x="411" y="1791"/>
                  </a:lnTo>
                  <a:lnTo>
                    <a:pt x="445" y="1804"/>
                  </a:lnTo>
                  <a:lnTo>
                    <a:pt x="477" y="1820"/>
                  </a:lnTo>
                  <a:lnTo>
                    <a:pt x="508" y="1841"/>
                  </a:lnTo>
                  <a:lnTo>
                    <a:pt x="536" y="1866"/>
                  </a:lnTo>
                  <a:lnTo>
                    <a:pt x="543" y="1872"/>
                  </a:lnTo>
                  <a:lnTo>
                    <a:pt x="552" y="1878"/>
                  </a:lnTo>
                  <a:lnTo>
                    <a:pt x="562" y="1884"/>
                  </a:lnTo>
                  <a:lnTo>
                    <a:pt x="575" y="1887"/>
                  </a:lnTo>
                  <a:lnTo>
                    <a:pt x="590" y="1888"/>
                  </a:lnTo>
                  <a:lnTo>
                    <a:pt x="699" y="1877"/>
                  </a:lnTo>
                  <a:lnTo>
                    <a:pt x="716" y="1874"/>
                  </a:lnTo>
                  <a:lnTo>
                    <a:pt x="731" y="1866"/>
                  </a:lnTo>
                  <a:lnTo>
                    <a:pt x="744" y="1854"/>
                  </a:lnTo>
                  <a:lnTo>
                    <a:pt x="753" y="1839"/>
                  </a:lnTo>
                  <a:lnTo>
                    <a:pt x="757" y="1821"/>
                  </a:lnTo>
                  <a:lnTo>
                    <a:pt x="769" y="1751"/>
                  </a:lnTo>
                  <a:lnTo>
                    <a:pt x="784" y="1682"/>
                  </a:lnTo>
                  <a:lnTo>
                    <a:pt x="805" y="1615"/>
                  </a:lnTo>
                  <a:lnTo>
                    <a:pt x="830" y="1549"/>
                  </a:lnTo>
                  <a:lnTo>
                    <a:pt x="861" y="1484"/>
                  </a:lnTo>
                  <a:lnTo>
                    <a:pt x="895" y="1422"/>
                  </a:lnTo>
                  <a:lnTo>
                    <a:pt x="902" y="1406"/>
                  </a:lnTo>
                  <a:lnTo>
                    <a:pt x="905" y="1390"/>
                  </a:lnTo>
                  <a:lnTo>
                    <a:pt x="904" y="1374"/>
                  </a:lnTo>
                  <a:lnTo>
                    <a:pt x="899" y="1358"/>
                  </a:lnTo>
                  <a:lnTo>
                    <a:pt x="890" y="1343"/>
                  </a:lnTo>
                  <a:lnTo>
                    <a:pt x="867" y="1316"/>
                  </a:lnTo>
                  <a:lnTo>
                    <a:pt x="855" y="1304"/>
                  </a:lnTo>
                  <a:lnTo>
                    <a:pt x="842" y="1296"/>
                  </a:lnTo>
                  <a:lnTo>
                    <a:pt x="827" y="1290"/>
                  </a:lnTo>
                  <a:lnTo>
                    <a:pt x="811" y="1289"/>
                  </a:lnTo>
                  <a:lnTo>
                    <a:pt x="796" y="1292"/>
                  </a:lnTo>
                  <a:lnTo>
                    <a:pt x="745" y="1306"/>
                  </a:lnTo>
                  <a:lnTo>
                    <a:pt x="694" y="1315"/>
                  </a:lnTo>
                  <a:lnTo>
                    <a:pt x="643" y="1318"/>
                  </a:lnTo>
                  <a:lnTo>
                    <a:pt x="590" y="1317"/>
                  </a:lnTo>
                  <a:lnTo>
                    <a:pt x="537" y="1309"/>
                  </a:lnTo>
                  <a:lnTo>
                    <a:pt x="481" y="1297"/>
                  </a:lnTo>
                  <a:lnTo>
                    <a:pt x="429" y="1277"/>
                  </a:lnTo>
                  <a:lnTo>
                    <a:pt x="379" y="1253"/>
                  </a:lnTo>
                  <a:lnTo>
                    <a:pt x="331" y="1223"/>
                  </a:lnTo>
                  <a:lnTo>
                    <a:pt x="288" y="1188"/>
                  </a:lnTo>
                  <a:lnTo>
                    <a:pt x="248" y="1150"/>
                  </a:lnTo>
                  <a:lnTo>
                    <a:pt x="214" y="1106"/>
                  </a:lnTo>
                  <a:lnTo>
                    <a:pt x="183" y="1060"/>
                  </a:lnTo>
                  <a:lnTo>
                    <a:pt x="158" y="1010"/>
                  </a:lnTo>
                  <a:lnTo>
                    <a:pt x="138" y="958"/>
                  </a:lnTo>
                  <a:lnTo>
                    <a:pt x="124" y="903"/>
                  </a:lnTo>
                  <a:lnTo>
                    <a:pt x="117" y="851"/>
                  </a:lnTo>
                  <a:lnTo>
                    <a:pt x="114" y="800"/>
                  </a:lnTo>
                  <a:lnTo>
                    <a:pt x="118" y="750"/>
                  </a:lnTo>
                  <a:lnTo>
                    <a:pt x="124" y="700"/>
                  </a:lnTo>
                  <a:lnTo>
                    <a:pt x="137" y="652"/>
                  </a:lnTo>
                  <a:lnTo>
                    <a:pt x="154" y="605"/>
                  </a:lnTo>
                  <a:lnTo>
                    <a:pt x="175" y="561"/>
                  </a:lnTo>
                  <a:lnTo>
                    <a:pt x="201" y="517"/>
                  </a:lnTo>
                  <a:lnTo>
                    <a:pt x="232" y="477"/>
                  </a:lnTo>
                  <a:lnTo>
                    <a:pt x="266" y="438"/>
                  </a:lnTo>
                  <a:lnTo>
                    <a:pt x="305" y="403"/>
                  </a:lnTo>
                  <a:lnTo>
                    <a:pt x="345" y="373"/>
                  </a:lnTo>
                  <a:lnTo>
                    <a:pt x="388" y="347"/>
                  </a:lnTo>
                  <a:lnTo>
                    <a:pt x="434" y="325"/>
                  </a:lnTo>
                  <a:lnTo>
                    <a:pt x="481" y="308"/>
                  </a:lnTo>
                  <a:lnTo>
                    <a:pt x="529" y="297"/>
                  </a:lnTo>
                  <a:lnTo>
                    <a:pt x="580" y="289"/>
                  </a:lnTo>
                  <a:lnTo>
                    <a:pt x="630" y="286"/>
                  </a:lnTo>
                  <a:lnTo>
                    <a:pt x="681" y="288"/>
                  </a:lnTo>
                  <a:lnTo>
                    <a:pt x="734" y="296"/>
                  </a:lnTo>
                  <a:lnTo>
                    <a:pt x="786" y="308"/>
                  </a:lnTo>
                  <a:lnTo>
                    <a:pt x="837" y="328"/>
                  </a:lnTo>
                  <a:lnTo>
                    <a:pt x="885" y="351"/>
                  </a:lnTo>
                  <a:lnTo>
                    <a:pt x="931" y="380"/>
                  </a:lnTo>
                  <a:lnTo>
                    <a:pt x="974" y="413"/>
                  </a:lnTo>
                  <a:lnTo>
                    <a:pt x="1013" y="450"/>
                  </a:lnTo>
                  <a:lnTo>
                    <a:pt x="1047" y="491"/>
                  </a:lnTo>
                  <a:lnTo>
                    <a:pt x="1078" y="535"/>
                  </a:lnTo>
                  <a:lnTo>
                    <a:pt x="1104" y="583"/>
                  </a:lnTo>
                  <a:lnTo>
                    <a:pt x="1124" y="633"/>
                  </a:lnTo>
                  <a:lnTo>
                    <a:pt x="1139" y="685"/>
                  </a:lnTo>
                  <a:lnTo>
                    <a:pt x="1147" y="739"/>
                  </a:lnTo>
                  <a:lnTo>
                    <a:pt x="1152" y="793"/>
                  </a:lnTo>
                  <a:lnTo>
                    <a:pt x="1150" y="848"/>
                  </a:lnTo>
                  <a:lnTo>
                    <a:pt x="1142" y="901"/>
                  </a:lnTo>
                  <a:lnTo>
                    <a:pt x="1129" y="953"/>
                  </a:lnTo>
                  <a:lnTo>
                    <a:pt x="1111" y="1004"/>
                  </a:lnTo>
                  <a:lnTo>
                    <a:pt x="1107" y="1017"/>
                  </a:lnTo>
                  <a:lnTo>
                    <a:pt x="1105" y="1031"/>
                  </a:lnTo>
                  <a:lnTo>
                    <a:pt x="1105" y="1046"/>
                  </a:lnTo>
                  <a:lnTo>
                    <a:pt x="1109" y="1060"/>
                  </a:lnTo>
                  <a:lnTo>
                    <a:pt x="1116" y="1075"/>
                  </a:lnTo>
                  <a:lnTo>
                    <a:pt x="1128" y="1088"/>
                  </a:lnTo>
                  <a:lnTo>
                    <a:pt x="1143" y="1097"/>
                  </a:lnTo>
                  <a:lnTo>
                    <a:pt x="1160" y="1101"/>
                  </a:lnTo>
                  <a:lnTo>
                    <a:pt x="1178" y="1102"/>
                  </a:lnTo>
                  <a:lnTo>
                    <a:pt x="1197" y="1098"/>
                  </a:lnTo>
                  <a:lnTo>
                    <a:pt x="1213" y="1089"/>
                  </a:lnTo>
                  <a:lnTo>
                    <a:pt x="1265" y="1057"/>
                  </a:lnTo>
                  <a:lnTo>
                    <a:pt x="1320" y="1027"/>
                  </a:lnTo>
                  <a:lnTo>
                    <a:pt x="1375" y="1002"/>
                  </a:lnTo>
                  <a:lnTo>
                    <a:pt x="1433" y="980"/>
                  </a:lnTo>
                  <a:lnTo>
                    <a:pt x="1446" y="972"/>
                  </a:lnTo>
                  <a:lnTo>
                    <a:pt x="1456" y="963"/>
                  </a:lnTo>
                  <a:lnTo>
                    <a:pt x="1463" y="950"/>
                  </a:lnTo>
                  <a:lnTo>
                    <a:pt x="1466" y="936"/>
                  </a:lnTo>
                  <a:lnTo>
                    <a:pt x="1465" y="922"/>
                  </a:lnTo>
                  <a:lnTo>
                    <a:pt x="1413" y="701"/>
                  </a:lnTo>
                  <a:lnTo>
                    <a:pt x="1406" y="686"/>
                  </a:lnTo>
                  <a:lnTo>
                    <a:pt x="1393" y="674"/>
                  </a:lnTo>
                  <a:lnTo>
                    <a:pt x="1377" y="665"/>
                  </a:lnTo>
                  <a:lnTo>
                    <a:pt x="1338" y="648"/>
                  </a:lnTo>
                  <a:lnTo>
                    <a:pt x="1301" y="626"/>
                  </a:lnTo>
                  <a:lnTo>
                    <a:pt x="1269" y="601"/>
                  </a:lnTo>
                  <a:lnTo>
                    <a:pt x="1239" y="571"/>
                  </a:lnTo>
                  <a:lnTo>
                    <a:pt x="1214" y="539"/>
                  </a:lnTo>
                  <a:lnTo>
                    <a:pt x="1192" y="504"/>
                  </a:lnTo>
                  <a:lnTo>
                    <a:pt x="1175" y="467"/>
                  </a:lnTo>
                  <a:lnTo>
                    <a:pt x="1162" y="428"/>
                  </a:lnTo>
                  <a:lnTo>
                    <a:pt x="1155" y="386"/>
                  </a:lnTo>
                  <a:lnTo>
                    <a:pt x="1152" y="344"/>
                  </a:lnTo>
                  <a:lnTo>
                    <a:pt x="1155" y="300"/>
                  </a:lnTo>
                  <a:lnTo>
                    <a:pt x="1163" y="257"/>
                  </a:lnTo>
                  <a:lnTo>
                    <a:pt x="1176" y="216"/>
                  </a:lnTo>
                  <a:lnTo>
                    <a:pt x="1195" y="177"/>
                  </a:lnTo>
                  <a:lnTo>
                    <a:pt x="1219" y="140"/>
                  </a:lnTo>
                  <a:lnTo>
                    <a:pt x="1247" y="107"/>
                  </a:lnTo>
                  <a:lnTo>
                    <a:pt x="1279" y="78"/>
                  </a:lnTo>
                  <a:lnTo>
                    <a:pt x="1315" y="51"/>
                  </a:lnTo>
                  <a:lnTo>
                    <a:pt x="1355" y="31"/>
                  </a:lnTo>
                  <a:lnTo>
                    <a:pt x="1395" y="16"/>
                  </a:lnTo>
                  <a:lnTo>
                    <a:pt x="1438" y="5"/>
                  </a:lnTo>
                  <a:lnTo>
                    <a:pt x="1482" y="0"/>
                  </a:lnTo>
                  <a:close/>
                </a:path>
              </a:pathLst>
            </a:custGeom>
            <a:solidFill>
              <a:schemeClr val="bg1">
                <a:lumMod val="50000"/>
              </a:schemeClr>
            </a:solid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a:p>
          </p:txBody>
        </p:sp>
        <p:sp>
          <p:nvSpPr>
            <p:cNvPr id="41" name="Freeform 12"/>
            <p:cNvSpPr>
              <a:spLocks noEditPoints="1"/>
            </p:cNvSpPr>
            <p:nvPr/>
          </p:nvSpPr>
          <p:spPr bwMode="auto">
            <a:xfrm>
              <a:off x="5586321" y="2250028"/>
              <a:ext cx="108724" cy="107311"/>
            </a:xfrm>
            <a:custGeom>
              <a:avLst/>
              <a:gdLst>
                <a:gd name="T0" fmla="*/ 309 w 692"/>
                <a:gd name="T1" fmla="*/ 117 h 687"/>
                <a:gd name="T2" fmla="*/ 241 w 692"/>
                <a:gd name="T3" fmla="*/ 139 h 687"/>
                <a:gd name="T4" fmla="*/ 183 w 692"/>
                <a:gd name="T5" fmla="*/ 182 h 687"/>
                <a:gd name="T6" fmla="*/ 141 w 692"/>
                <a:gd name="T7" fmla="*/ 238 h 687"/>
                <a:gd name="T8" fmla="*/ 119 w 692"/>
                <a:gd name="T9" fmla="*/ 306 h 687"/>
                <a:gd name="T10" fmla="*/ 119 w 692"/>
                <a:gd name="T11" fmla="*/ 381 h 687"/>
                <a:gd name="T12" fmla="*/ 141 w 692"/>
                <a:gd name="T13" fmla="*/ 449 h 687"/>
                <a:gd name="T14" fmla="*/ 183 w 692"/>
                <a:gd name="T15" fmla="*/ 505 h 687"/>
                <a:gd name="T16" fmla="*/ 241 w 692"/>
                <a:gd name="T17" fmla="*/ 547 h 687"/>
                <a:gd name="T18" fmla="*/ 309 w 692"/>
                <a:gd name="T19" fmla="*/ 569 h 687"/>
                <a:gd name="T20" fmla="*/ 384 w 692"/>
                <a:gd name="T21" fmla="*/ 569 h 687"/>
                <a:gd name="T22" fmla="*/ 452 w 692"/>
                <a:gd name="T23" fmla="*/ 547 h 687"/>
                <a:gd name="T24" fmla="*/ 509 w 692"/>
                <a:gd name="T25" fmla="*/ 505 h 687"/>
                <a:gd name="T26" fmla="*/ 551 w 692"/>
                <a:gd name="T27" fmla="*/ 449 h 687"/>
                <a:gd name="T28" fmla="*/ 573 w 692"/>
                <a:gd name="T29" fmla="*/ 381 h 687"/>
                <a:gd name="T30" fmla="*/ 573 w 692"/>
                <a:gd name="T31" fmla="*/ 306 h 687"/>
                <a:gd name="T32" fmla="*/ 551 w 692"/>
                <a:gd name="T33" fmla="*/ 238 h 687"/>
                <a:gd name="T34" fmla="*/ 509 w 692"/>
                <a:gd name="T35" fmla="*/ 182 h 687"/>
                <a:gd name="T36" fmla="*/ 452 w 692"/>
                <a:gd name="T37" fmla="*/ 139 h 687"/>
                <a:gd name="T38" fmla="*/ 384 w 692"/>
                <a:gd name="T39" fmla="*/ 117 h 687"/>
                <a:gd name="T40" fmla="*/ 346 w 692"/>
                <a:gd name="T41" fmla="*/ 0 h 687"/>
                <a:gd name="T42" fmla="*/ 437 w 692"/>
                <a:gd name="T43" fmla="*/ 12 h 687"/>
                <a:gd name="T44" fmla="*/ 521 w 692"/>
                <a:gd name="T45" fmla="*/ 47 h 687"/>
                <a:gd name="T46" fmla="*/ 590 w 692"/>
                <a:gd name="T47" fmla="*/ 100 h 687"/>
                <a:gd name="T48" fmla="*/ 645 w 692"/>
                <a:gd name="T49" fmla="*/ 170 h 687"/>
                <a:gd name="T50" fmla="*/ 679 w 692"/>
                <a:gd name="T51" fmla="*/ 252 h 687"/>
                <a:gd name="T52" fmla="*/ 692 w 692"/>
                <a:gd name="T53" fmla="*/ 343 h 687"/>
                <a:gd name="T54" fmla="*/ 679 w 692"/>
                <a:gd name="T55" fmla="*/ 435 h 687"/>
                <a:gd name="T56" fmla="*/ 645 w 692"/>
                <a:gd name="T57" fmla="*/ 517 h 687"/>
                <a:gd name="T58" fmla="*/ 590 w 692"/>
                <a:gd name="T59" fmla="*/ 586 h 687"/>
                <a:gd name="T60" fmla="*/ 521 w 692"/>
                <a:gd name="T61" fmla="*/ 640 h 687"/>
                <a:gd name="T62" fmla="*/ 437 w 692"/>
                <a:gd name="T63" fmla="*/ 675 h 687"/>
                <a:gd name="T64" fmla="*/ 346 w 692"/>
                <a:gd name="T65" fmla="*/ 687 h 687"/>
                <a:gd name="T66" fmla="*/ 255 w 692"/>
                <a:gd name="T67" fmla="*/ 675 h 687"/>
                <a:gd name="T68" fmla="*/ 172 w 692"/>
                <a:gd name="T69" fmla="*/ 640 h 687"/>
                <a:gd name="T70" fmla="*/ 102 w 692"/>
                <a:gd name="T71" fmla="*/ 586 h 687"/>
                <a:gd name="T72" fmla="*/ 48 w 692"/>
                <a:gd name="T73" fmla="*/ 517 h 687"/>
                <a:gd name="T74" fmla="*/ 13 w 692"/>
                <a:gd name="T75" fmla="*/ 435 h 687"/>
                <a:gd name="T76" fmla="*/ 0 w 692"/>
                <a:gd name="T77" fmla="*/ 343 h 687"/>
                <a:gd name="T78" fmla="*/ 13 w 692"/>
                <a:gd name="T79" fmla="*/ 252 h 687"/>
                <a:gd name="T80" fmla="*/ 48 w 692"/>
                <a:gd name="T81" fmla="*/ 170 h 687"/>
                <a:gd name="T82" fmla="*/ 102 w 692"/>
                <a:gd name="T83" fmla="*/ 100 h 687"/>
                <a:gd name="T84" fmla="*/ 172 w 692"/>
                <a:gd name="T85" fmla="*/ 47 h 687"/>
                <a:gd name="T86" fmla="*/ 255 w 692"/>
                <a:gd name="T87" fmla="*/ 12 h 687"/>
                <a:gd name="T88" fmla="*/ 346 w 692"/>
                <a:gd name="T89"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2" h="687">
                  <a:moveTo>
                    <a:pt x="346" y="114"/>
                  </a:moveTo>
                  <a:lnTo>
                    <a:pt x="309" y="117"/>
                  </a:lnTo>
                  <a:lnTo>
                    <a:pt x="274" y="125"/>
                  </a:lnTo>
                  <a:lnTo>
                    <a:pt x="241" y="139"/>
                  </a:lnTo>
                  <a:lnTo>
                    <a:pt x="210" y="158"/>
                  </a:lnTo>
                  <a:lnTo>
                    <a:pt x="183" y="182"/>
                  </a:lnTo>
                  <a:lnTo>
                    <a:pt x="160" y="208"/>
                  </a:lnTo>
                  <a:lnTo>
                    <a:pt x="141" y="238"/>
                  </a:lnTo>
                  <a:lnTo>
                    <a:pt x="127" y="271"/>
                  </a:lnTo>
                  <a:lnTo>
                    <a:pt x="119" y="306"/>
                  </a:lnTo>
                  <a:lnTo>
                    <a:pt x="116" y="343"/>
                  </a:lnTo>
                  <a:lnTo>
                    <a:pt x="119" y="381"/>
                  </a:lnTo>
                  <a:lnTo>
                    <a:pt x="127" y="416"/>
                  </a:lnTo>
                  <a:lnTo>
                    <a:pt x="141" y="449"/>
                  </a:lnTo>
                  <a:lnTo>
                    <a:pt x="160" y="479"/>
                  </a:lnTo>
                  <a:lnTo>
                    <a:pt x="183" y="505"/>
                  </a:lnTo>
                  <a:lnTo>
                    <a:pt x="210" y="529"/>
                  </a:lnTo>
                  <a:lnTo>
                    <a:pt x="241" y="547"/>
                  </a:lnTo>
                  <a:lnTo>
                    <a:pt x="274" y="560"/>
                  </a:lnTo>
                  <a:lnTo>
                    <a:pt x="309" y="569"/>
                  </a:lnTo>
                  <a:lnTo>
                    <a:pt x="346" y="572"/>
                  </a:lnTo>
                  <a:lnTo>
                    <a:pt x="384" y="569"/>
                  </a:lnTo>
                  <a:lnTo>
                    <a:pt x="419" y="560"/>
                  </a:lnTo>
                  <a:lnTo>
                    <a:pt x="452" y="547"/>
                  </a:lnTo>
                  <a:lnTo>
                    <a:pt x="482" y="529"/>
                  </a:lnTo>
                  <a:lnTo>
                    <a:pt x="509" y="505"/>
                  </a:lnTo>
                  <a:lnTo>
                    <a:pt x="531" y="479"/>
                  </a:lnTo>
                  <a:lnTo>
                    <a:pt x="551" y="449"/>
                  </a:lnTo>
                  <a:lnTo>
                    <a:pt x="565" y="416"/>
                  </a:lnTo>
                  <a:lnTo>
                    <a:pt x="573" y="381"/>
                  </a:lnTo>
                  <a:lnTo>
                    <a:pt x="576" y="343"/>
                  </a:lnTo>
                  <a:lnTo>
                    <a:pt x="573" y="306"/>
                  </a:lnTo>
                  <a:lnTo>
                    <a:pt x="565" y="271"/>
                  </a:lnTo>
                  <a:lnTo>
                    <a:pt x="551" y="238"/>
                  </a:lnTo>
                  <a:lnTo>
                    <a:pt x="531" y="208"/>
                  </a:lnTo>
                  <a:lnTo>
                    <a:pt x="509" y="182"/>
                  </a:lnTo>
                  <a:lnTo>
                    <a:pt x="482" y="158"/>
                  </a:lnTo>
                  <a:lnTo>
                    <a:pt x="452" y="139"/>
                  </a:lnTo>
                  <a:lnTo>
                    <a:pt x="419" y="125"/>
                  </a:lnTo>
                  <a:lnTo>
                    <a:pt x="384" y="117"/>
                  </a:lnTo>
                  <a:lnTo>
                    <a:pt x="346" y="114"/>
                  </a:lnTo>
                  <a:close/>
                  <a:moveTo>
                    <a:pt x="346" y="0"/>
                  </a:moveTo>
                  <a:lnTo>
                    <a:pt x="392" y="2"/>
                  </a:lnTo>
                  <a:lnTo>
                    <a:pt x="437" y="12"/>
                  </a:lnTo>
                  <a:lnTo>
                    <a:pt x="480" y="26"/>
                  </a:lnTo>
                  <a:lnTo>
                    <a:pt x="521" y="47"/>
                  </a:lnTo>
                  <a:lnTo>
                    <a:pt x="557" y="71"/>
                  </a:lnTo>
                  <a:lnTo>
                    <a:pt x="590" y="100"/>
                  </a:lnTo>
                  <a:lnTo>
                    <a:pt x="619" y="133"/>
                  </a:lnTo>
                  <a:lnTo>
                    <a:pt x="645" y="170"/>
                  </a:lnTo>
                  <a:lnTo>
                    <a:pt x="664" y="209"/>
                  </a:lnTo>
                  <a:lnTo>
                    <a:pt x="679" y="252"/>
                  </a:lnTo>
                  <a:lnTo>
                    <a:pt x="689" y="297"/>
                  </a:lnTo>
                  <a:lnTo>
                    <a:pt x="692" y="343"/>
                  </a:lnTo>
                  <a:lnTo>
                    <a:pt x="689" y="390"/>
                  </a:lnTo>
                  <a:lnTo>
                    <a:pt x="679" y="435"/>
                  </a:lnTo>
                  <a:lnTo>
                    <a:pt x="664" y="477"/>
                  </a:lnTo>
                  <a:lnTo>
                    <a:pt x="645" y="517"/>
                  </a:lnTo>
                  <a:lnTo>
                    <a:pt x="619" y="553"/>
                  </a:lnTo>
                  <a:lnTo>
                    <a:pt x="590" y="586"/>
                  </a:lnTo>
                  <a:lnTo>
                    <a:pt x="557" y="616"/>
                  </a:lnTo>
                  <a:lnTo>
                    <a:pt x="521" y="640"/>
                  </a:lnTo>
                  <a:lnTo>
                    <a:pt x="480" y="660"/>
                  </a:lnTo>
                  <a:lnTo>
                    <a:pt x="437" y="675"/>
                  </a:lnTo>
                  <a:lnTo>
                    <a:pt x="392" y="684"/>
                  </a:lnTo>
                  <a:lnTo>
                    <a:pt x="346" y="687"/>
                  </a:lnTo>
                  <a:lnTo>
                    <a:pt x="299" y="684"/>
                  </a:lnTo>
                  <a:lnTo>
                    <a:pt x="255" y="675"/>
                  </a:lnTo>
                  <a:lnTo>
                    <a:pt x="212" y="660"/>
                  </a:lnTo>
                  <a:lnTo>
                    <a:pt x="172" y="640"/>
                  </a:lnTo>
                  <a:lnTo>
                    <a:pt x="135" y="616"/>
                  </a:lnTo>
                  <a:lnTo>
                    <a:pt x="102" y="586"/>
                  </a:lnTo>
                  <a:lnTo>
                    <a:pt x="73" y="553"/>
                  </a:lnTo>
                  <a:lnTo>
                    <a:pt x="48" y="517"/>
                  </a:lnTo>
                  <a:lnTo>
                    <a:pt x="28" y="477"/>
                  </a:lnTo>
                  <a:lnTo>
                    <a:pt x="13" y="435"/>
                  </a:lnTo>
                  <a:lnTo>
                    <a:pt x="3" y="390"/>
                  </a:lnTo>
                  <a:lnTo>
                    <a:pt x="0" y="343"/>
                  </a:lnTo>
                  <a:lnTo>
                    <a:pt x="3" y="297"/>
                  </a:lnTo>
                  <a:lnTo>
                    <a:pt x="13" y="252"/>
                  </a:lnTo>
                  <a:lnTo>
                    <a:pt x="28" y="209"/>
                  </a:lnTo>
                  <a:lnTo>
                    <a:pt x="48" y="170"/>
                  </a:lnTo>
                  <a:lnTo>
                    <a:pt x="73" y="133"/>
                  </a:lnTo>
                  <a:lnTo>
                    <a:pt x="102" y="100"/>
                  </a:lnTo>
                  <a:lnTo>
                    <a:pt x="135" y="71"/>
                  </a:lnTo>
                  <a:lnTo>
                    <a:pt x="172" y="47"/>
                  </a:lnTo>
                  <a:lnTo>
                    <a:pt x="212" y="26"/>
                  </a:lnTo>
                  <a:lnTo>
                    <a:pt x="255" y="12"/>
                  </a:lnTo>
                  <a:lnTo>
                    <a:pt x="299" y="2"/>
                  </a:lnTo>
                  <a:lnTo>
                    <a:pt x="346" y="0"/>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p>
          </p:txBody>
        </p:sp>
        <p:sp>
          <p:nvSpPr>
            <p:cNvPr id="42" name="Freeform 13"/>
            <p:cNvSpPr>
              <a:spLocks noEditPoints="1"/>
            </p:cNvSpPr>
            <p:nvPr/>
          </p:nvSpPr>
          <p:spPr bwMode="auto">
            <a:xfrm>
              <a:off x="5532665" y="2141304"/>
              <a:ext cx="72012" cy="72012"/>
            </a:xfrm>
            <a:custGeom>
              <a:avLst/>
              <a:gdLst>
                <a:gd name="T0" fmla="*/ 204 w 461"/>
                <a:gd name="T1" fmla="*/ 118 h 458"/>
                <a:gd name="T2" fmla="*/ 158 w 461"/>
                <a:gd name="T3" fmla="*/ 139 h 458"/>
                <a:gd name="T4" fmla="*/ 127 w 461"/>
                <a:gd name="T5" fmla="*/ 178 h 458"/>
                <a:gd name="T6" fmla="*/ 115 w 461"/>
                <a:gd name="T7" fmla="*/ 229 h 458"/>
                <a:gd name="T8" fmla="*/ 127 w 461"/>
                <a:gd name="T9" fmla="*/ 279 h 458"/>
                <a:gd name="T10" fmla="*/ 158 w 461"/>
                <a:gd name="T11" fmla="*/ 319 h 458"/>
                <a:gd name="T12" fmla="*/ 204 w 461"/>
                <a:gd name="T13" fmla="*/ 341 h 458"/>
                <a:gd name="T14" fmla="*/ 256 w 461"/>
                <a:gd name="T15" fmla="*/ 341 h 458"/>
                <a:gd name="T16" fmla="*/ 302 w 461"/>
                <a:gd name="T17" fmla="*/ 319 h 458"/>
                <a:gd name="T18" fmla="*/ 333 w 461"/>
                <a:gd name="T19" fmla="*/ 279 h 458"/>
                <a:gd name="T20" fmla="*/ 345 w 461"/>
                <a:gd name="T21" fmla="*/ 229 h 458"/>
                <a:gd name="T22" fmla="*/ 333 w 461"/>
                <a:gd name="T23" fmla="*/ 178 h 458"/>
                <a:gd name="T24" fmla="*/ 302 w 461"/>
                <a:gd name="T25" fmla="*/ 139 h 458"/>
                <a:gd name="T26" fmla="*/ 256 w 461"/>
                <a:gd name="T27" fmla="*/ 118 h 458"/>
                <a:gd name="T28" fmla="*/ 231 w 461"/>
                <a:gd name="T29" fmla="*/ 0 h 458"/>
                <a:gd name="T30" fmla="*/ 303 w 461"/>
                <a:gd name="T31" fmla="*/ 11 h 458"/>
                <a:gd name="T32" fmla="*/ 366 w 461"/>
                <a:gd name="T33" fmla="*/ 44 h 458"/>
                <a:gd name="T34" fmla="*/ 417 w 461"/>
                <a:gd name="T35" fmla="*/ 93 h 458"/>
                <a:gd name="T36" fmla="*/ 449 w 461"/>
                <a:gd name="T37" fmla="*/ 157 h 458"/>
                <a:gd name="T38" fmla="*/ 461 w 461"/>
                <a:gd name="T39" fmla="*/ 229 h 458"/>
                <a:gd name="T40" fmla="*/ 449 w 461"/>
                <a:gd name="T41" fmla="*/ 302 h 458"/>
                <a:gd name="T42" fmla="*/ 417 w 461"/>
                <a:gd name="T43" fmla="*/ 365 h 458"/>
                <a:gd name="T44" fmla="*/ 366 w 461"/>
                <a:gd name="T45" fmla="*/ 413 h 458"/>
                <a:gd name="T46" fmla="*/ 303 w 461"/>
                <a:gd name="T47" fmla="*/ 446 h 458"/>
                <a:gd name="T48" fmla="*/ 231 w 461"/>
                <a:gd name="T49" fmla="*/ 458 h 458"/>
                <a:gd name="T50" fmla="*/ 158 w 461"/>
                <a:gd name="T51" fmla="*/ 446 h 458"/>
                <a:gd name="T52" fmla="*/ 94 w 461"/>
                <a:gd name="T53" fmla="*/ 413 h 458"/>
                <a:gd name="T54" fmla="*/ 45 w 461"/>
                <a:gd name="T55" fmla="*/ 365 h 458"/>
                <a:gd name="T56" fmla="*/ 11 w 461"/>
                <a:gd name="T57" fmla="*/ 302 h 458"/>
                <a:gd name="T58" fmla="*/ 0 w 461"/>
                <a:gd name="T59" fmla="*/ 229 h 458"/>
                <a:gd name="T60" fmla="*/ 11 w 461"/>
                <a:gd name="T61" fmla="*/ 157 h 458"/>
                <a:gd name="T62" fmla="*/ 45 w 461"/>
                <a:gd name="T63" fmla="*/ 93 h 458"/>
                <a:gd name="T64" fmla="*/ 94 w 461"/>
                <a:gd name="T65" fmla="*/ 44 h 458"/>
                <a:gd name="T66" fmla="*/ 158 w 461"/>
                <a:gd name="T67" fmla="*/ 11 h 458"/>
                <a:gd name="T68" fmla="*/ 231 w 461"/>
                <a:gd name="T69"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1" h="458">
                  <a:moveTo>
                    <a:pt x="231" y="115"/>
                  </a:moveTo>
                  <a:lnTo>
                    <a:pt x="204" y="118"/>
                  </a:lnTo>
                  <a:lnTo>
                    <a:pt x="179" y="126"/>
                  </a:lnTo>
                  <a:lnTo>
                    <a:pt x="158" y="139"/>
                  </a:lnTo>
                  <a:lnTo>
                    <a:pt x="141" y="157"/>
                  </a:lnTo>
                  <a:lnTo>
                    <a:pt x="127" y="178"/>
                  </a:lnTo>
                  <a:lnTo>
                    <a:pt x="118" y="203"/>
                  </a:lnTo>
                  <a:lnTo>
                    <a:pt x="115" y="229"/>
                  </a:lnTo>
                  <a:lnTo>
                    <a:pt x="118" y="255"/>
                  </a:lnTo>
                  <a:lnTo>
                    <a:pt x="127" y="279"/>
                  </a:lnTo>
                  <a:lnTo>
                    <a:pt x="141" y="301"/>
                  </a:lnTo>
                  <a:lnTo>
                    <a:pt x="158" y="319"/>
                  </a:lnTo>
                  <a:lnTo>
                    <a:pt x="179" y="332"/>
                  </a:lnTo>
                  <a:lnTo>
                    <a:pt x="204" y="341"/>
                  </a:lnTo>
                  <a:lnTo>
                    <a:pt x="231" y="343"/>
                  </a:lnTo>
                  <a:lnTo>
                    <a:pt x="256" y="341"/>
                  </a:lnTo>
                  <a:lnTo>
                    <a:pt x="281" y="332"/>
                  </a:lnTo>
                  <a:lnTo>
                    <a:pt x="302" y="319"/>
                  </a:lnTo>
                  <a:lnTo>
                    <a:pt x="320" y="301"/>
                  </a:lnTo>
                  <a:lnTo>
                    <a:pt x="333" y="279"/>
                  </a:lnTo>
                  <a:lnTo>
                    <a:pt x="342" y="255"/>
                  </a:lnTo>
                  <a:lnTo>
                    <a:pt x="345" y="229"/>
                  </a:lnTo>
                  <a:lnTo>
                    <a:pt x="342" y="203"/>
                  </a:lnTo>
                  <a:lnTo>
                    <a:pt x="333" y="178"/>
                  </a:lnTo>
                  <a:lnTo>
                    <a:pt x="320" y="157"/>
                  </a:lnTo>
                  <a:lnTo>
                    <a:pt x="302" y="139"/>
                  </a:lnTo>
                  <a:lnTo>
                    <a:pt x="281" y="126"/>
                  </a:lnTo>
                  <a:lnTo>
                    <a:pt x="256" y="118"/>
                  </a:lnTo>
                  <a:lnTo>
                    <a:pt x="231" y="115"/>
                  </a:lnTo>
                  <a:close/>
                  <a:moveTo>
                    <a:pt x="231" y="0"/>
                  </a:moveTo>
                  <a:lnTo>
                    <a:pt x="268" y="3"/>
                  </a:lnTo>
                  <a:lnTo>
                    <a:pt x="303" y="11"/>
                  </a:lnTo>
                  <a:lnTo>
                    <a:pt x="336" y="25"/>
                  </a:lnTo>
                  <a:lnTo>
                    <a:pt x="366" y="44"/>
                  </a:lnTo>
                  <a:lnTo>
                    <a:pt x="393" y="67"/>
                  </a:lnTo>
                  <a:lnTo>
                    <a:pt x="417" y="93"/>
                  </a:lnTo>
                  <a:lnTo>
                    <a:pt x="435" y="124"/>
                  </a:lnTo>
                  <a:lnTo>
                    <a:pt x="449" y="157"/>
                  </a:lnTo>
                  <a:lnTo>
                    <a:pt x="457" y="192"/>
                  </a:lnTo>
                  <a:lnTo>
                    <a:pt x="461" y="229"/>
                  </a:lnTo>
                  <a:lnTo>
                    <a:pt x="457" y="267"/>
                  </a:lnTo>
                  <a:lnTo>
                    <a:pt x="449" y="302"/>
                  </a:lnTo>
                  <a:lnTo>
                    <a:pt x="435" y="335"/>
                  </a:lnTo>
                  <a:lnTo>
                    <a:pt x="417" y="365"/>
                  </a:lnTo>
                  <a:lnTo>
                    <a:pt x="393" y="391"/>
                  </a:lnTo>
                  <a:lnTo>
                    <a:pt x="366" y="413"/>
                  </a:lnTo>
                  <a:lnTo>
                    <a:pt x="336" y="433"/>
                  </a:lnTo>
                  <a:lnTo>
                    <a:pt x="303" y="446"/>
                  </a:lnTo>
                  <a:lnTo>
                    <a:pt x="268" y="455"/>
                  </a:lnTo>
                  <a:lnTo>
                    <a:pt x="231" y="458"/>
                  </a:lnTo>
                  <a:lnTo>
                    <a:pt x="193" y="455"/>
                  </a:lnTo>
                  <a:lnTo>
                    <a:pt x="158" y="446"/>
                  </a:lnTo>
                  <a:lnTo>
                    <a:pt x="125" y="433"/>
                  </a:lnTo>
                  <a:lnTo>
                    <a:pt x="94" y="413"/>
                  </a:lnTo>
                  <a:lnTo>
                    <a:pt x="67" y="391"/>
                  </a:lnTo>
                  <a:lnTo>
                    <a:pt x="45" y="365"/>
                  </a:lnTo>
                  <a:lnTo>
                    <a:pt x="25" y="335"/>
                  </a:lnTo>
                  <a:lnTo>
                    <a:pt x="11" y="302"/>
                  </a:lnTo>
                  <a:lnTo>
                    <a:pt x="3" y="267"/>
                  </a:lnTo>
                  <a:lnTo>
                    <a:pt x="0" y="229"/>
                  </a:lnTo>
                  <a:lnTo>
                    <a:pt x="3" y="192"/>
                  </a:lnTo>
                  <a:lnTo>
                    <a:pt x="11" y="157"/>
                  </a:lnTo>
                  <a:lnTo>
                    <a:pt x="25" y="124"/>
                  </a:lnTo>
                  <a:lnTo>
                    <a:pt x="45" y="93"/>
                  </a:lnTo>
                  <a:lnTo>
                    <a:pt x="67" y="67"/>
                  </a:lnTo>
                  <a:lnTo>
                    <a:pt x="94" y="44"/>
                  </a:lnTo>
                  <a:lnTo>
                    <a:pt x="125" y="25"/>
                  </a:lnTo>
                  <a:lnTo>
                    <a:pt x="158" y="11"/>
                  </a:lnTo>
                  <a:lnTo>
                    <a:pt x="193" y="3"/>
                  </a:lnTo>
                  <a:lnTo>
                    <a:pt x="231" y="0"/>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p>
          </p:txBody>
        </p:sp>
        <p:sp>
          <p:nvSpPr>
            <p:cNvPr id="43" name="Freeform 14"/>
            <p:cNvSpPr>
              <a:spLocks noEditPoints="1"/>
            </p:cNvSpPr>
            <p:nvPr/>
          </p:nvSpPr>
          <p:spPr bwMode="auto">
            <a:xfrm>
              <a:off x="5686573" y="2168133"/>
              <a:ext cx="72012" cy="72012"/>
            </a:xfrm>
            <a:custGeom>
              <a:avLst/>
              <a:gdLst>
                <a:gd name="T0" fmla="*/ 204 w 461"/>
                <a:gd name="T1" fmla="*/ 117 h 458"/>
                <a:gd name="T2" fmla="*/ 158 w 461"/>
                <a:gd name="T3" fmla="*/ 139 h 458"/>
                <a:gd name="T4" fmla="*/ 127 w 461"/>
                <a:gd name="T5" fmla="*/ 179 h 458"/>
                <a:gd name="T6" fmla="*/ 116 w 461"/>
                <a:gd name="T7" fmla="*/ 229 h 458"/>
                <a:gd name="T8" fmla="*/ 127 w 461"/>
                <a:gd name="T9" fmla="*/ 280 h 458"/>
                <a:gd name="T10" fmla="*/ 158 w 461"/>
                <a:gd name="T11" fmla="*/ 318 h 458"/>
                <a:gd name="T12" fmla="*/ 204 w 461"/>
                <a:gd name="T13" fmla="*/ 340 h 458"/>
                <a:gd name="T14" fmla="*/ 257 w 461"/>
                <a:gd name="T15" fmla="*/ 340 h 458"/>
                <a:gd name="T16" fmla="*/ 303 w 461"/>
                <a:gd name="T17" fmla="*/ 318 h 458"/>
                <a:gd name="T18" fmla="*/ 334 w 461"/>
                <a:gd name="T19" fmla="*/ 280 h 458"/>
                <a:gd name="T20" fmla="*/ 346 w 461"/>
                <a:gd name="T21" fmla="*/ 229 h 458"/>
                <a:gd name="T22" fmla="*/ 334 w 461"/>
                <a:gd name="T23" fmla="*/ 179 h 458"/>
                <a:gd name="T24" fmla="*/ 303 w 461"/>
                <a:gd name="T25" fmla="*/ 139 h 458"/>
                <a:gd name="T26" fmla="*/ 257 w 461"/>
                <a:gd name="T27" fmla="*/ 117 h 458"/>
                <a:gd name="T28" fmla="*/ 230 w 461"/>
                <a:gd name="T29" fmla="*/ 0 h 458"/>
                <a:gd name="T30" fmla="*/ 304 w 461"/>
                <a:gd name="T31" fmla="*/ 12 h 458"/>
                <a:gd name="T32" fmla="*/ 367 w 461"/>
                <a:gd name="T33" fmla="*/ 44 h 458"/>
                <a:gd name="T34" fmla="*/ 416 w 461"/>
                <a:gd name="T35" fmla="*/ 94 h 458"/>
                <a:gd name="T36" fmla="*/ 449 w 461"/>
                <a:gd name="T37" fmla="*/ 156 h 458"/>
                <a:gd name="T38" fmla="*/ 461 w 461"/>
                <a:gd name="T39" fmla="*/ 229 h 458"/>
                <a:gd name="T40" fmla="*/ 449 w 461"/>
                <a:gd name="T41" fmla="*/ 301 h 458"/>
                <a:gd name="T42" fmla="*/ 416 w 461"/>
                <a:gd name="T43" fmla="*/ 364 h 458"/>
                <a:gd name="T44" fmla="*/ 367 w 461"/>
                <a:gd name="T45" fmla="*/ 414 h 458"/>
                <a:gd name="T46" fmla="*/ 304 w 461"/>
                <a:gd name="T47" fmla="*/ 447 h 458"/>
                <a:gd name="T48" fmla="*/ 230 w 461"/>
                <a:gd name="T49" fmla="*/ 458 h 458"/>
                <a:gd name="T50" fmla="*/ 157 w 461"/>
                <a:gd name="T51" fmla="*/ 447 h 458"/>
                <a:gd name="T52" fmla="*/ 94 w 461"/>
                <a:gd name="T53" fmla="*/ 414 h 458"/>
                <a:gd name="T54" fmla="*/ 45 w 461"/>
                <a:gd name="T55" fmla="*/ 364 h 458"/>
                <a:gd name="T56" fmla="*/ 12 w 461"/>
                <a:gd name="T57" fmla="*/ 301 h 458"/>
                <a:gd name="T58" fmla="*/ 0 w 461"/>
                <a:gd name="T59" fmla="*/ 229 h 458"/>
                <a:gd name="T60" fmla="*/ 12 w 461"/>
                <a:gd name="T61" fmla="*/ 156 h 458"/>
                <a:gd name="T62" fmla="*/ 45 w 461"/>
                <a:gd name="T63" fmla="*/ 94 h 458"/>
                <a:gd name="T64" fmla="*/ 94 w 461"/>
                <a:gd name="T65" fmla="*/ 44 h 458"/>
                <a:gd name="T66" fmla="*/ 157 w 461"/>
                <a:gd name="T67" fmla="*/ 12 h 458"/>
                <a:gd name="T68" fmla="*/ 230 w 461"/>
                <a:gd name="T69"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1" h="458">
                  <a:moveTo>
                    <a:pt x="230" y="115"/>
                  </a:moveTo>
                  <a:lnTo>
                    <a:pt x="204" y="117"/>
                  </a:lnTo>
                  <a:lnTo>
                    <a:pt x="180" y="127"/>
                  </a:lnTo>
                  <a:lnTo>
                    <a:pt x="158" y="139"/>
                  </a:lnTo>
                  <a:lnTo>
                    <a:pt x="141" y="157"/>
                  </a:lnTo>
                  <a:lnTo>
                    <a:pt x="127" y="179"/>
                  </a:lnTo>
                  <a:lnTo>
                    <a:pt x="119" y="203"/>
                  </a:lnTo>
                  <a:lnTo>
                    <a:pt x="116" y="229"/>
                  </a:lnTo>
                  <a:lnTo>
                    <a:pt x="119" y="255"/>
                  </a:lnTo>
                  <a:lnTo>
                    <a:pt x="127" y="280"/>
                  </a:lnTo>
                  <a:lnTo>
                    <a:pt x="141" y="301"/>
                  </a:lnTo>
                  <a:lnTo>
                    <a:pt x="158" y="318"/>
                  </a:lnTo>
                  <a:lnTo>
                    <a:pt x="180" y="332"/>
                  </a:lnTo>
                  <a:lnTo>
                    <a:pt x="204" y="340"/>
                  </a:lnTo>
                  <a:lnTo>
                    <a:pt x="230" y="344"/>
                  </a:lnTo>
                  <a:lnTo>
                    <a:pt x="257" y="340"/>
                  </a:lnTo>
                  <a:lnTo>
                    <a:pt x="281" y="332"/>
                  </a:lnTo>
                  <a:lnTo>
                    <a:pt x="303" y="318"/>
                  </a:lnTo>
                  <a:lnTo>
                    <a:pt x="321" y="301"/>
                  </a:lnTo>
                  <a:lnTo>
                    <a:pt x="334" y="280"/>
                  </a:lnTo>
                  <a:lnTo>
                    <a:pt x="342" y="255"/>
                  </a:lnTo>
                  <a:lnTo>
                    <a:pt x="346" y="229"/>
                  </a:lnTo>
                  <a:lnTo>
                    <a:pt x="342" y="203"/>
                  </a:lnTo>
                  <a:lnTo>
                    <a:pt x="334" y="179"/>
                  </a:lnTo>
                  <a:lnTo>
                    <a:pt x="321" y="157"/>
                  </a:lnTo>
                  <a:lnTo>
                    <a:pt x="303" y="139"/>
                  </a:lnTo>
                  <a:lnTo>
                    <a:pt x="281" y="127"/>
                  </a:lnTo>
                  <a:lnTo>
                    <a:pt x="257" y="117"/>
                  </a:lnTo>
                  <a:lnTo>
                    <a:pt x="230" y="115"/>
                  </a:lnTo>
                  <a:close/>
                  <a:moveTo>
                    <a:pt x="230" y="0"/>
                  </a:moveTo>
                  <a:lnTo>
                    <a:pt x="267" y="2"/>
                  </a:lnTo>
                  <a:lnTo>
                    <a:pt x="304" y="12"/>
                  </a:lnTo>
                  <a:lnTo>
                    <a:pt x="336" y="26"/>
                  </a:lnTo>
                  <a:lnTo>
                    <a:pt x="367" y="44"/>
                  </a:lnTo>
                  <a:lnTo>
                    <a:pt x="394" y="67"/>
                  </a:lnTo>
                  <a:lnTo>
                    <a:pt x="416" y="94"/>
                  </a:lnTo>
                  <a:lnTo>
                    <a:pt x="435" y="123"/>
                  </a:lnTo>
                  <a:lnTo>
                    <a:pt x="449" y="156"/>
                  </a:lnTo>
                  <a:lnTo>
                    <a:pt x="458" y="191"/>
                  </a:lnTo>
                  <a:lnTo>
                    <a:pt x="461" y="229"/>
                  </a:lnTo>
                  <a:lnTo>
                    <a:pt x="458" y="266"/>
                  </a:lnTo>
                  <a:lnTo>
                    <a:pt x="449" y="301"/>
                  </a:lnTo>
                  <a:lnTo>
                    <a:pt x="435" y="334"/>
                  </a:lnTo>
                  <a:lnTo>
                    <a:pt x="416" y="364"/>
                  </a:lnTo>
                  <a:lnTo>
                    <a:pt x="394" y="391"/>
                  </a:lnTo>
                  <a:lnTo>
                    <a:pt x="367" y="414"/>
                  </a:lnTo>
                  <a:lnTo>
                    <a:pt x="336" y="433"/>
                  </a:lnTo>
                  <a:lnTo>
                    <a:pt x="304" y="447"/>
                  </a:lnTo>
                  <a:lnTo>
                    <a:pt x="267" y="455"/>
                  </a:lnTo>
                  <a:lnTo>
                    <a:pt x="230" y="458"/>
                  </a:lnTo>
                  <a:lnTo>
                    <a:pt x="194" y="455"/>
                  </a:lnTo>
                  <a:lnTo>
                    <a:pt x="157" y="447"/>
                  </a:lnTo>
                  <a:lnTo>
                    <a:pt x="125" y="433"/>
                  </a:lnTo>
                  <a:lnTo>
                    <a:pt x="94" y="414"/>
                  </a:lnTo>
                  <a:lnTo>
                    <a:pt x="67" y="391"/>
                  </a:lnTo>
                  <a:lnTo>
                    <a:pt x="45" y="364"/>
                  </a:lnTo>
                  <a:lnTo>
                    <a:pt x="26" y="334"/>
                  </a:lnTo>
                  <a:lnTo>
                    <a:pt x="12" y="301"/>
                  </a:lnTo>
                  <a:lnTo>
                    <a:pt x="3" y="266"/>
                  </a:lnTo>
                  <a:lnTo>
                    <a:pt x="0" y="229"/>
                  </a:lnTo>
                  <a:lnTo>
                    <a:pt x="3" y="191"/>
                  </a:lnTo>
                  <a:lnTo>
                    <a:pt x="12" y="156"/>
                  </a:lnTo>
                  <a:lnTo>
                    <a:pt x="26" y="123"/>
                  </a:lnTo>
                  <a:lnTo>
                    <a:pt x="45" y="94"/>
                  </a:lnTo>
                  <a:lnTo>
                    <a:pt x="67" y="67"/>
                  </a:lnTo>
                  <a:lnTo>
                    <a:pt x="94" y="44"/>
                  </a:lnTo>
                  <a:lnTo>
                    <a:pt x="125" y="26"/>
                  </a:lnTo>
                  <a:lnTo>
                    <a:pt x="157" y="12"/>
                  </a:lnTo>
                  <a:lnTo>
                    <a:pt x="194" y="2"/>
                  </a:lnTo>
                  <a:lnTo>
                    <a:pt x="230" y="0"/>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p>
          </p:txBody>
        </p:sp>
      </p:grpSp>
      <p:sp>
        <p:nvSpPr>
          <p:cNvPr id="50"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47" name="图片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对象 2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6496" name="think-cell Slide" r:id="rId2" imgW="12700" imgH="12700" progId="TCLayout.ActiveDocument.1">
                  <p:embed/>
                </p:oleObj>
              </mc:Choice>
              <mc:Fallback>
                <p:oleObj name="think-cell Slide" r:id="rId2" imgW="12700" imgH="12700" progId="TCLayout.ActiveDocument.1">
                  <p:embed/>
                  <p:pic>
                    <p:nvPicPr>
                      <p:cNvPr id="0" name="对象 29" hidden="1"/>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4" name="Group 2"/>
          <p:cNvGrpSpPr/>
          <p:nvPr/>
        </p:nvGrpSpPr>
        <p:grpSpPr>
          <a:xfrm>
            <a:off x="370988" y="1074993"/>
            <a:ext cx="964565" cy="866031"/>
            <a:chOff x="1063975" y="1553028"/>
            <a:chExt cx="862498" cy="835352"/>
          </a:xfrm>
          <a:solidFill>
            <a:srgbClr val="FE5817"/>
          </a:solidFill>
        </p:grpSpPr>
        <p:sp>
          <p:nvSpPr>
            <p:cNvPr id="5" name="iṥḻíḑé"/>
            <p:cNvSpPr/>
            <p:nvPr/>
          </p:nvSpPr>
          <p:spPr>
            <a:xfrm rot="5400000">
              <a:off x="1091121" y="1553028"/>
              <a:ext cx="835352" cy="835352"/>
            </a:xfrm>
            <a:prstGeom prst="rtTriangle">
              <a:avLst/>
            </a:prstGeom>
            <a:grpFill/>
            <a:ln w="38100" cap="flat" cmpd="sng" algn="ctr">
              <a:noFill/>
              <a:prstDash val="solid"/>
            </a:ln>
            <a:effectLst/>
            <a:extLst>
              <a:ext uri="{91240B29-F687-4F45-9708-019B960494DF}">
                <a14:hiddenLine xmlns:a14="http://schemas.microsoft.com/office/drawing/2010/main" w="38100">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6" name="îşlíḓê"/>
            <p:cNvSpPr txBox="1"/>
            <p:nvPr/>
          </p:nvSpPr>
          <p:spPr>
            <a:xfrm rot="18900000">
              <a:off x="1063975" y="1604282"/>
              <a:ext cx="485027" cy="406069"/>
            </a:xfrm>
            <a:prstGeom prst="rect">
              <a:avLst/>
            </a:prstGeom>
            <a:grpFill/>
          </p:spPr>
          <p:txBody>
            <a:bodyPr wrap="none">
              <a:normAutofit/>
            </a:bodyPr>
            <a:lstStyle/>
            <a:p>
              <a:pPr algn="ctr"/>
              <a:r>
                <a:rPr lang="en-US" b="1" dirty="0">
                  <a:solidFill>
                    <a:schemeClr val="bg1"/>
                  </a:solidFill>
                </a:rPr>
                <a:t>01</a:t>
              </a:r>
              <a:endParaRPr lang="en-US" b="1" dirty="0">
                <a:solidFill>
                  <a:schemeClr val="bg1"/>
                </a:solidFill>
              </a:endParaRPr>
            </a:p>
          </p:txBody>
        </p:sp>
      </p:grpSp>
      <p:grpSp>
        <p:nvGrpSpPr>
          <p:cNvPr id="7" name="Group 3"/>
          <p:cNvGrpSpPr/>
          <p:nvPr/>
        </p:nvGrpSpPr>
        <p:grpSpPr>
          <a:xfrm>
            <a:off x="10902846" y="1074993"/>
            <a:ext cx="934207" cy="876394"/>
            <a:chOff x="10178162" y="1543032"/>
            <a:chExt cx="835352" cy="845348"/>
          </a:xfrm>
          <a:solidFill>
            <a:srgbClr val="FE5817"/>
          </a:solidFill>
        </p:grpSpPr>
        <p:sp>
          <p:nvSpPr>
            <p:cNvPr id="8" name="işļïḓe"/>
            <p:cNvSpPr/>
            <p:nvPr/>
          </p:nvSpPr>
          <p:spPr>
            <a:xfrm rot="10800000">
              <a:off x="10178162" y="1553028"/>
              <a:ext cx="835352" cy="835352"/>
            </a:xfrm>
            <a:prstGeom prst="rtTriangle">
              <a:avLst/>
            </a:prstGeom>
            <a:grpFill/>
            <a:ln w="38100" cap="flat" cmpd="sng" algn="ctr">
              <a:noFill/>
              <a:prstDash val="solid"/>
            </a:ln>
            <a:effectLst/>
            <a:extLst>
              <a:ext uri="{91240B29-F687-4F45-9708-019B960494DF}">
                <a14:hiddenLine xmlns:a14="http://schemas.microsoft.com/office/drawing/2010/main" w="38100">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9" name="íṥḻíḑè"/>
            <p:cNvSpPr txBox="1"/>
            <p:nvPr/>
          </p:nvSpPr>
          <p:spPr>
            <a:xfrm rot="2700000">
              <a:off x="10546140" y="1582510"/>
              <a:ext cx="485026" cy="406069"/>
            </a:xfrm>
            <a:prstGeom prst="rect">
              <a:avLst/>
            </a:prstGeom>
            <a:grpFill/>
          </p:spPr>
          <p:txBody>
            <a:bodyPr wrap="none">
              <a:normAutofit/>
            </a:bodyPr>
            <a:lstStyle/>
            <a:p>
              <a:pPr algn="ctr"/>
              <a:r>
                <a:rPr lang="en-US" b="1">
                  <a:solidFill>
                    <a:schemeClr val="bg1"/>
                  </a:solidFill>
                </a:rPr>
                <a:t>02</a:t>
              </a:r>
              <a:endParaRPr lang="en-US" b="1">
                <a:solidFill>
                  <a:schemeClr val="bg1"/>
                </a:solidFill>
              </a:endParaRPr>
            </a:p>
          </p:txBody>
        </p:sp>
      </p:grpSp>
      <p:grpSp>
        <p:nvGrpSpPr>
          <p:cNvPr id="10" name="Group 5"/>
          <p:cNvGrpSpPr/>
          <p:nvPr/>
        </p:nvGrpSpPr>
        <p:grpSpPr>
          <a:xfrm>
            <a:off x="393559" y="5262624"/>
            <a:ext cx="934207" cy="866031"/>
            <a:chOff x="1091121" y="5282419"/>
            <a:chExt cx="835352" cy="835352"/>
          </a:xfrm>
          <a:solidFill>
            <a:srgbClr val="FE5817"/>
          </a:solidFill>
        </p:grpSpPr>
        <p:sp>
          <p:nvSpPr>
            <p:cNvPr id="11" name="iṧḷïḓê"/>
            <p:cNvSpPr/>
            <p:nvPr/>
          </p:nvSpPr>
          <p:spPr>
            <a:xfrm>
              <a:off x="1091121" y="5282419"/>
              <a:ext cx="835352" cy="835352"/>
            </a:xfrm>
            <a:prstGeom prst="rtTriangle">
              <a:avLst/>
            </a:prstGeom>
            <a:grpFill/>
            <a:ln w="38100" cap="flat" cmpd="sng" algn="ctr">
              <a:noFill/>
              <a:prstDash val="solid"/>
            </a:ln>
            <a:effectLst/>
            <a:extLst>
              <a:ext uri="{91240B29-F687-4F45-9708-019B960494DF}">
                <a14:hiddenLine xmlns:a14="http://schemas.microsoft.com/office/drawing/2010/main" w="38100">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2" name="îśļiḋè"/>
            <p:cNvSpPr txBox="1"/>
            <p:nvPr/>
          </p:nvSpPr>
          <p:spPr>
            <a:xfrm rot="2720180">
              <a:off x="1063975" y="5650751"/>
              <a:ext cx="485026" cy="406069"/>
            </a:xfrm>
            <a:prstGeom prst="rect">
              <a:avLst/>
            </a:prstGeom>
            <a:grpFill/>
          </p:spPr>
          <p:txBody>
            <a:bodyPr wrap="none">
              <a:normAutofit/>
            </a:bodyPr>
            <a:lstStyle/>
            <a:p>
              <a:pPr algn="ctr"/>
              <a:r>
                <a:rPr lang="en-US" b="1" dirty="0">
                  <a:solidFill>
                    <a:schemeClr val="bg1"/>
                  </a:solidFill>
                </a:rPr>
                <a:t>03</a:t>
              </a:r>
              <a:endParaRPr lang="en-US" b="1" dirty="0">
                <a:solidFill>
                  <a:schemeClr val="bg1"/>
                </a:solidFill>
              </a:endParaRPr>
            </a:p>
          </p:txBody>
        </p:sp>
      </p:grpSp>
      <p:grpSp>
        <p:nvGrpSpPr>
          <p:cNvPr id="13" name="Group 4"/>
          <p:cNvGrpSpPr/>
          <p:nvPr/>
        </p:nvGrpSpPr>
        <p:grpSpPr>
          <a:xfrm>
            <a:off x="10898239" y="5262626"/>
            <a:ext cx="961384" cy="866031"/>
            <a:chOff x="10178161" y="5282421"/>
            <a:chExt cx="859654" cy="835352"/>
          </a:xfrm>
          <a:solidFill>
            <a:srgbClr val="FE5817"/>
          </a:solidFill>
        </p:grpSpPr>
        <p:sp>
          <p:nvSpPr>
            <p:cNvPr id="14" name="ï$ḷïde"/>
            <p:cNvSpPr/>
            <p:nvPr/>
          </p:nvSpPr>
          <p:spPr>
            <a:xfrm rot="16200000">
              <a:off x="10178161" y="5282421"/>
              <a:ext cx="835352" cy="835352"/>
            </a:xfrm>
            <a:prstGeom prst="rtTriangle">
              <a:avLst/>
            </a:prstGeom>
            <a:grpFill/>
            <a:ln w="38100" cap="flat" cmpd="sng" algn="ctr">
              <a:noFill/>
              <a:prstDash val="solid"/>
            </a:ln>
            <a:effectLst/>
            <a:extLst>
              <a:ext uri="{91240B29-F687-4F45-9708-019B960494DF}">
                <a14:hiddenLine xmlns:a14="http://schemas.microsoft.com/office/drawing/2010/main" w="38100">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p>
          </p:txBody>
        </p:sp>
        <p:sp>
          <p:nvSpPr>
            <p:cNvPr id="15" name="ïṡľïḋè"/>
            <p:cNvSpPr txBox="1"/>
            <p:nvPr/>
          </p:nvSpPr>
          <p:spPr>
            <a:xfrm rot="19095347">
              <a:off x="10552788" y="5695599"/>
              <a:ext cx="485027" cy="406069"/>
            </a:xfrm>
            <a:prstGeom prst="rect">
              <a:avLst/>
            </a:prstGeom>
            <a:grpFill/>
          </p:spPr>
          <p:txBody>
            <a:bodyPr wrap="none">
              <a:normAutofit/>
            </a:bodyPr>
            <a:lstStyle/>
            <a:p>
              <a:pPr algn="ctr"/>
              <a:r>
                <a:rPr lang="en-US" b="1">
                  <a:solidFill>
                    <a:schemeClr val="bg1"/>
                  </a:solidFill>
                </a:rPr>
                <a:t>04</a:t>
              </a:r>
              <a:endParaRPr lang="en-US" b="1">
                <a:solidFill>
                  <a:schemeClr val="bg1"/>
                </a:solidFill>
              </a:endParaRPr>
            </a:p>
          </p:txBody>
        </p:sp>
      </p:grpSp>
      <p:grpSp>
        <p:nvGrpSpPr>
          <p:cNvPr id="16" name="Group 7"/>
          <p:cNvGrpSpPr/>
          <p:nvPr/>
        </p:nvGrpSpPr>
        <p:grpSpPr>
          <a:xfrm>
            <a:off x="393559" y="1074993"/>
            <a:ext cx="11443494" cy="2431980"/>
            <a:chOff x="533404" y="1398080"/>
            <a:chExt cx="11038110" cy="2345828"/>
          </a:xfrm>
        </p:grpSpPr>
        <p:sp>
          <p:nvSpPr>
            <p:cNvPr id="17" name="íš1íḓè"/>
            <p:cNvSpPr/>
            <p:nvPr/>
          </p:nvSpPr>
          <p:spPr>
            <a:xfrm>
              <a:off x="533404" y="1398080"/>
              <a:ext cx="5422496" cy="2345828"/>
            </a:xfrm>
            <a:prstGeom prst="rect">
              <a:avLst/>
            </a:prstGeom>
            <a:noFill/>
            <a:ln w="381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tIns="1080000" anchor="t" anchorCtr="1">
              <a:normAutofit/>
            </a:bodyPr>
            <a:lstStyle/>
            <a:p>
              <a:pPr algn="ctr">
                <a:lnSpc>
                  <a:spcPct val="120000"/>
                </a:lnSpc>
              </a:pPr>
              <a:endParaRPr lang="zh-CN" altLang="en-US" sz="1200" dirty="0">
                <a:solidFill>
                  <a:schemeClr val="dk1">
                    <a:lumMod val="100000"/>
                  </a:schemeClr>
                </a:solidFill>
              </a:endParaRPr>
            </a:p>
          </p:txBody>
        </p:sp>
        <p:sp>
          <p:nvSpPr>
            <p:cNvPr id="18" name="îślïďe"/>
            <p:cNvSpPr/>
            <p:nvPr/>
          </p:nvSpPr>
          <p:spPr>
            <a:xfrm>
              <a:off x="6149018" y="1398080"/>
              <a:ext cx="5422496" cy="2345828"/>
            </a:xfrm>
            <a:prstGeom prst="rect">
              <a:avLst/>
            </a:prstGeom>
            <a:noFill/>
            <a:ln w="381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tIns="1080000" anchor="t" anchorCtr="1">
              <a:normAutofit/>
            </a:bodyPr>
            <a:lstStyle/>
            <a:p>
              <a:pPr algn="ctr">
                <a:lnSpc>
                  <a:spcPct val="120000"/>
                </a:lnSpc>
              </a:pPr>
              <a:endParaRPr lang="zh-CN" altLang="en-US" sz="1200" dirty="0">
                <a:solidFill>
                  <a:schemeClr val="dk1">
                    <a:lumMod val="100000"/>
                  </a:schemeClr>
                </a:solidFill>
              </a:endParaRPr>
            </a:p>
          </p:txBody>
        </p:sp>
      </p:grpSp>
      <p:sp>
        <p:nvSpPr>
          <p:cNvPr id="19" name="iṡḷiḓé"/>
          <p:cNvSpPr/>
          <p:nvPr/>
        </p:nvSpPr>
        <p:spPr>
          <a:xfrm>
            <a:off x="393559" y="3696674"/>
            <a:ext cx="5621642" cy="2431980"/>
          </a:xfrm>
          <a:prstGeom prst="rect">
            <a:avLst/>
          </a:prstGeom>
          <a:noFill/>
          <a:ln w="381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tIns="1080000" anchor="t" anchorCtr="1">
            <a:normAutofit/>
          </a:bodyPr>
          <a:lstStyle/>
          <a:p>
            <a:pPr algn="ctr">
              <a:lnSpc>
                <a:spcPct val="120000"/>
              </a:lnSpc>
            </a:pPr>
            <a:endParaRPr lang="zh-CN" altLang="en-US" sz="1200" dirty="0">
              <a:solidFill>
                <a:schemeClr val="dk1">
                  <a:lumMod val="100000"/>
                </a:schemeClr>
              </a:solidFill>
            </a:endParaRPr>
          </a:p>
        </p:txBody>
      </p:sp>
      <p:sp>
        <p:nvSpPr>
          <p:cNvPr id="20" name="ïṡ1ïḍê"/>
          <p:cNvSpPr/>
          <p:nvPr/>
        </p:nvSpPr>
        <p:spPr>
          <a:xfrm>
            <a:off x="6215411" y="3696677"/>
            <a:ext cx="5621642" cy="2431980"/>
          </a:xfrm>
          <a:prstGeom prst="rect">
            <a:avLst/>
          </a:prstGeom>
          <a:noFill/>
          <a:ln w="381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tIns="1080000" anchor="t" anchorCtr="1">
            <a:normAutofit/>
          </a:bodyPr>
          <a:lstStyle/>
          <a:p>
            <a:pPr algn="ctr">
              <a:lnSpc>
                <a:spcPct val="120000"/>
              </a:lnSpc>
            </a:pPr>
            <a:endParaRPr lang="zh-CN" altLang="en-US" sz="1200" dirty="0">
              <a:solidFill>
                <a:schemeClr val="dk1">
                  <a:lumMod val="100000"/>
                </a:schemeClr>
              </a:solidFill>
            </a:endParaRPr>
          </a:p>
        </p:txBody>
      </p:sp>
      <p:sp>
        <p:nvSpPr>
          <p:cNvPr id="21" name="iṣľîḓe"/>
          <p:cNvSpPr/>
          <p:nvPr/>
        </p:nvSpPr>
        <p:spPr bwMode="auto">
          <a:xfrm>
            <a:off x="5144099" y="2626202"/>
            <a:ext cx="1942415" cy="1942415"/>
          </a:xfrm>
          <a:prstGeom prst="ellipse">
            <a:avLst/>
          </a:prstGeom>
          <a:solidFill>
            <a:schemeClr val="bg1"/>
          </a:solidFill>
          <a:ln w="57150" cap="flat" cmpd="sng" algn="ctr">
            <a:solidFill>
              <a:srgbClr val="FE5817"/>
            </a:solidFill>
            <a:prstDash val="solid"/>
            <a:round/>
            <a:headEnd type="none" w="med" len="med"/>
            <a:tailEnd type="none" w="med" len="med"/>
          </a:ln>
        </p:spPr>
        <p:style>
          <a:lnRef idx="2">
            <a:schemeClr val="dk1"/>
          </a:lnRef>
          <a:fillRef idx="1">
            <a:schemeClr val="lt1"/>
          </a:fillRef>
          <a:effectRef idx="0">
            <a:schemeClr val="dk1"/>
          </a:effectRef>
          <a:fontRef idx="minor">
            <a:schemeClr val="dk1"/>
          </a:fontRef>
        </p:style>
        <p:txBody>
          <a:bodyPr lIns="0" tIns="0" rIns="0" bIns="0" rtlCol="0" anchor="ctr"/>
          <a:lstStyle/>
          <a:p>
            <a:pPr algn="ctr">
              <a:lnSpc>
                <a:spcPct val="95000"/>
              </a:lnSpc>
              <a:spcAft>
                <a:spcPts val="300"/>
              </a:spcAft>
              <a:buClr>
                <a:srgbClr val="6BD18A"/>
              </a:buClr>
              <a:defRPr/>
            </a:pPr>
            <a:r>
              <a:rPr lang="en-US" sz="2400" b="1" dirty="0">
                <a:solidFill>
                  <a:schemeClr val="accent1">
                    <a:lumMod val="75000"/>
                  </a:schemeClr>
                </a:solidFill>
                <a:cs typeface="Arial" panose="020B0604020202020204" pitchFamily="34" charset="0"/>
              </a:rPr>
              <a:t>AMS </a:t>
            </a:r>
            <a:r>
              <a:rPr lang="en-US" sz="2400" b="1" dirty="0" smtClean="0">
                <a:solidFill>
                  <a:schemeClr val="accent1">
                    <a:lumMod val="75000"/>
                  </a:schemeClr>
                </a:solidFill>
                <a:cs typeface="Arial" panose="020B0604020202020204" pitchFamily="34" charset="0"/>
              </a:rPr>
              <a:t>establish-</a:t>
            </a:r>
            <a:r>
              <a:rPr lang="en-US" sz="2400" b="1" dirty="0" err="1" smtClean="0">
                <a:solidFill>
                  <a:schemeClr val="accent1">
                    <a:lumMod val="75000"/>
                  </a:schemeClr>
                </a:solidFill>
                <a:cs typeface="Arial" panose="020B0604020202020204" pitchFamily="34" charset="0"/>
              </a:rPr>
              <a:t>ment</a:t>
            </a:r>
            <a:endParaRPr lang="en-US" sz="2400" b="1" dirty="0">
              <a:solidFill>
                <a:schemeClr val="accent1">
                  <a:lumMod val="75000"/>
                </a:schemeClr>
              </a:solidFill>
              <a:cs typeface="Arial" panose="020B0604020202020204" pitchFamily="34" charset="0"/>
            </a:endParaRPr>
          </a:p>
        </p:txBody>
      </p:sp>
      <p:sp>
        <p:nvSpPr>
          <p:cNvPr id="22" name="TextBox 17"/>
          <p:cNvSpPr txBox="1"/>
          <p:nvPr/>
        </p:nvSpPr>
        <p:spPr>
          <a:xfrm>
            <a:off x="570473" y="2824636"/>
            <a:ext cx="4570916" cy="638002"/>
          </a:xfrm>
          <a:prstGeom prst="rect">
            <a:avLst/>
          </a:prstGeom>
          <a:noFill/>
        </p:spPr>
        <p:txBody>
          <a:bodyPr wrap="square" lIns="0" tIns="0" rIns="0" bIns="0" rtlCol="0">
            <a:noAutofit/>
          </a:bodyPr>
          <a:lstStyle/>
          <a:p>
            <a:r>
              <a:rPr lang="en-US" sz="2000" b="1" dirty="0" smtClean="0">
                <a:solidFill>
                  <a:schemeClr val="accent1">
                    <a:lumMod val="75000"/>
                  </a:schemeClr>
                </a:solidFill>
              </a:rPr>
              <a:t>Set infrastructure and process standards</a:t>
            </a:r>
            <a:endParaRPr lang="en-US" sz="2000" b="1" dirty="0" smtClean="0">
              <a:solidFill>
                <a:schemeClr val="accent1">
                  <a:lumMod val="75000"/>
                </a:schemeClr>
              </a:solidFill>
            </a:endParaRPr>
          </a:p>
        </p:txBody>
      </p:sp>
      <p:sp>
        <p:nvSpPr>
          <p:cNvPr id="23" name="TextBox 89"/>
          <p:cNvSpPr txBox="1"/>
          <p:nvPr/>
        </p:nvSpPr>
        <p:spPr>
          <a:xfrm>
            <a:off x="7366365" y="2824636"/>
            <a:ext cx="4397642" cy="638002"/>
          </a:xfrm>
          <a:prstGeom prst="rect">
            <a:avLst/>
          </a:prstGeom>
          <a:noFill/>
        </p:spPr>
        <p:txBody>
          <a:bodyPr wrap="square" lIns="0" tIns="0" rIns="0" bIns="0" rtlCol="0">
            <a:noAutofit/>
          </a:bodyPr>
          <a:lstStyle/>
          <a:p>
            <a:pPr algn="r"/>
            <a:r>
              <a:rPr lang="en-US" sz="2000" b="1" dirty="0" smtClean="0">
                <a:solidFill>
                  <a:schemeClr val="accent1">
                    <a:lumMod val="75000"/>
                  </a:schemeClr>
                </a:solidFill>
              </a:rPr>
              <a:t>Develop toolkit / manual for hospitals</a:t>
            </a:r>
            <a:endParaRPr lang="en-US" sz="2000" b="1" dirty="0">
              <a:solidFill>
                <a:schemeClr val="accent1">
                  <a:lumMod val="75000"/>
                </a:schemeClr>
              </a:solidFill>
            </a:endParaRPr>
          </a:p>
        </p:txBody>
      </p:sp>
      <p:sp>
        <p:nvSpPr>
          <p:cNvPr id="24" name="TextBox 90"/>
          <p:cNvSpPr txBox="1"/>
          <p:nvPr/>
        </p:nvSpPr>
        <p:spPr>
          <a:xfrm>
            <a:off x="7366365" y="3825962"/>
            <a:ext cx="4397642" cy="574344"/>
          </a:xfrm>
          <a:prstGeom prst="rect">
            <a:avLst/>
          </a:prstGeom>
          <a:noFill/>
        </p:spPr>
        <p:txBody>
          <a:bodyPr wrap="square" lIns="0" tIns="0" rIns="0" bIns="0" rtlCol="0">
            <a:noAutofit/>
          </a:bodyPr>
          <a:lstStyle/>
          <a:p>
            <a:pPr algn="r"/>
            <a:r>
              <a:rPr lang="en-US" sz="2000" b="1" dirty="0" smtClean="0">
                <a:solidFill>
                  <a:schemeClr val="accent1">
                    <a:lumMod val="75000"/>
                  </a:schemeClr>
                </a:solidFill>
              </a:rPr>
              <a:t>Establish certification standards &amp; authority</a:t>
            </a:r>
            <a:endParaRPr lang="en-US" sz="2000" b="1" dirty="0" smtClean="0">
              <a:solidFill>
                <a:schemeClr val="accent1">
                  <a:lumMod val="75000"/>
                </a:schemeClr>
              </a:solidFill>
            </a:endParaRPr>
          </a:p>
        </p:txBody>
      </p:sp>
      <p:sp>
        <p:nvSpPr>
          <p:cNvPr id="25" name="TextBox 91"/>
          <p:cNvSpPr txBox="1"/>
          <p:nvPr/>
        </p:nvSpPr>
        <p:spPr>
          <a:xfrm>
            <a:off x="570473" y="3840332"/>
            <a:ext cx="4570916" cy="287172"/>
          </a:xfrm>
          <a:prstGeom prst="rect">
            <a:avLst/>
          </a:prstGeom>
          <a:noFill/>
        </p:spPr>
        <p:txBody>
          <a:bodyPr wrap="square" lIns="0" tIns="0" rIns="0" bIns="0" rtlCol="0">
            <a:noAutofit/>
          </a:bodyPr>
          <a:lstStyle/>
          <a:p>
            <a:r>
              <a:rPr lang="en-US" sz="2000" b="1" dirty="0" smtClean="0">
                <a:solidFill>
                  <a:schemeClr val="accent1">
                    <a:lumMod val="75000"/>
                  </a:schemeClr>
                </a:solidFill>
              </a:rPr>
              <a:t>Phased rollout</a:t>
            </a:r>
            <a:endParaRPr lang="en-US" sz="2000" b="1" dirty="0">
              <a:solidFill>
                <a:schemeClr val="accent1">
                  <a:lumMod val="75000"/>
                </a:schemeClr>
              </a:solidFill>
            </a:endParaRPr>
          </a:p>
        </p:txBody>
      </p:sp>
      <p:sp>
        <p:nvSpPr>
          <p:cNvPr id="26" name="TextBox 92"/>
          <p:cNvSpPr txBox="1"/>
          <p:nvPr/>
        </p:nvSpPr>
        <p:spPr>
          <a:xfrm>
            <a:off x="1087471" y="1218670"/>
            <a:ext cx="4626094" cy="16338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marL="107950" lvl="1">
              <a:buClr>
                <a:schemeClr val="tx2">
                  <a:lumMod val="100000"/>
                </a:schemeClr>
              </a:buClr>
              <a:buSzPct val="100000"/>
            </a:pPr>
            <a:r>
              <a:rPr lang="en-US" altLang="zh-CN" sz="1600" dirty="0" smtClean="0">
                <a:solidFill>
                  <a:schemeClr val="tx1">
                    <a:lumMod val="100000"/>
                  </a:schemeClr>
                </a:solidFill>
              </a:rPr>
              <a:t>An AMS standard, focusing on Class XX hospitals first</a:t>
            </a:r>
            <a:endParaRPr lang="en-US" altLang="zh-CN" sz="1600" dirty="0" smtClean="0">
              <a:solidFill>
                <a:schemeClr val="tx1">
                  <a:lumMod val="100000"/>
                </a:schemeClr>
              </a:solidFill>
            </a:endParaRPr>
          </a:p>
          <a:p>
            <a:pPr marL="323850" lvl="1" indent="-215900">
              <a:buClr>
                <a:schemeClr val="tx2">
                  <a:lumMod val="100000"/>
                </a:schemeClr>
              </a:buClr>
              <a:buSzPct val="100000"/>
              <a:buFont typeface="Trebuchet MS" panose="020B0603020202020204" pitchFamily="34" charset="0"/>
              <a:buChar char="•"/>
            </a:pPr>
            <a:r>
              <a:rPr lang="en-US" altLang="zh-CN" sz="1600" dirty="0" smtClean="0">
                <a:solidFill>
                  <a:schemeClr val="tx1">
                    <a:lumMod val="100000"/>
                  </a:schemeClr>
                </a:solidFill>
              </a:rPr>
              <a:t>Include structural requirement, e.g. infrastructure and # of staff required</a:t>
            </a:r>
            <a:endParaRPr lang="en-US" altLang="zh-CN" sz="1600" dirty="0" smtClean="0">
              <a:solidFill>
                <a:schemeClr val="tx1">
                  <a:lumMod val="100000"/>
                </a:schemeClr>
              </a:solidFill>
            </a:endParaRPr>
          </a:p>
          <a:p>
            <a:pPr marL="323850" lvl="1" indent="-215900">
              <a:buClr>
                <a:schemeClr val="tx2">
                  <a:lumMod val="100000"/>
                </a:schemeClr>
              </a:buClr>
              <a:buSzPct val="100000"/>
              <a:buFont typeface="Trebuchet MS" panose="020B0603020202020204" pitchFamily="34" charset="0"/>
              <a:buChar char="•"/>
            </a:pPr>
            <a:r>
              <a:rPr lang="en-US" altLang="zh-CN" sz="1600" dirty="0" smtClean="0">
                <a:solidFill>
                  <a:schemeClr val="tx1">
                    <a:lumMod val="100000"/>
                  </a:schemeClr>
                </a:solidFill>
              </a:rPr>
              <a:t>Set up multidisciplinary infection management team</a:t>
            </a:r>
            <a:endParaRPr lang="en-US" altLang="zh-CN" sz="1600" dirty="0" smtClean="0">
              <a:solidFill>
                <a:schemeClr val="tx1">
                  <a:lumMod val="100000"/>
                </a:schemeClr>
              </a:solidFill>
            </a:endParaRPr>
          </a:p>
        </p:txBody>
      </p:sp>
      <p:sp>
        <p:nvSpPr>
          <p:cNvPr id="27" name="TextBox 93"/>
          <p:cNvSpPr txBox="1"/>
          <p:nvPr/>
        </p:nvSpPr>
        <p:spPr>
          <a:xfrm>
            <a:off x="6240014" y="1182968"/>
            <a:ext cx="5243994" cy="14332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marL="107950" lvl="1">
              <a:buClr>
                <a:schemeClr val="tx2">
                  <a:lumMod val="100000"/>
                </a:schemeClr>
              </a:buClr>
              <a:buSzPct val="100000"/>
            </a:pPr>
            <a:r>
              <a:rPr lang="en-US" altLang="zh-CN" sz="1600" dirty="0" smtClean="0">
                <a:solidFill>
                  <a:schemeClr val="tx1">
                    <a:lumMod val="100000"/>
                  </a:schemeClr>
                </a:solidFill>
              </a:rPr>
              <a:t>Design a manual for hospital heads so they can</a:t>
            </a:r>
            <a:endParaRPr lang="en-US" altLang="zh-CN" sz="1600" dirty="0" smtClean="0">
              <a:solidFill>
                <a:schemeClr val="tx1">
                  <a:lumMod val="100000"/>
                </a:schemeClr>
              </a:solidFill>
            </a:endParaRPr>
          </a:p>
          <a:p>
            <a:pPr marL="323850" lvl="1" indent="-215900">
              <a:buClr>
                <a:schemeClr val="tx2">
                  <a:lumMod val="100000"/>
                </a:schemeClr>
              </a:buClr>
              <a:buSzPct val="100000"/>
              <a:buFont typeface="Trebuchet MS" panose="020B0603020202020204" pitchFamily="34" charset="0"/>
              <a:buChar char="•"/>
            </a:pPr>
            <a:r>
              <a:rPr lang="en-US" altLang="zh-CN" sz="1600" dirty="0" smtClean="0">
                <a:solidFill>
                  <a:schemeClr val="tx1">
                    <a:lumMod val="100000"/>
                  </a:schemeClr>
                </a:solidFill>
              </a:rPr>
              <a:t>Kick start to establish standard AMS</a:t>
            </a:r>
            <a:endParaRPr lang="en-US" altLang="zh-CN" sz="1600" dirty="0" smtClean="0">
              <a:solidFill>
                <a:schemeClr val="tx1">
                  <a:lumMod val="100000"/>
                </a:schemeClr>
              </a:solidFill>
            </a:endParaRPr>
          </a:p>
          <a:p>
            <a:pPr marL="323850" lvl="1" indent="-215900">
              <a:buClr>
                <a:schemeClr val="tx2">
                  <a:lumMod val="100000"/>
                </a:schemeClr>
              </a:buClr>
              <a:buSzPct val="100000"/>
              <a:buFont typeface="Trebuchet MS" panose="020B0603020202020204" pitchFamily="34" charset="0"/>
              <a:buChar char="•"/>
            </a:pPr>
            <a:r>
              <a:rPr lang="en-US" sz="1600" dirty="0" smtClean="0">
                <a:solidFill>
                  <a:schemeClr val="tx1">
                    <a:lumMod val="100000"/>
                  </a:schemeClr>
                </a:solidFill>
              </a:rPr>
              <a:t>Adjust the program based on their </a:t>
            </a:r>
            <a:r>
              <a:rPr lang="en-US" altLang="zh-CN" sz="1600" dirty="0" smtClean="0">
                <a:solidFill>
                  <a:schemeClr val="tx1">
                    <a:lumMod val="100000"/>
                  </a:schemeClr>
                </a:solidFill>
              </a:rPr>
              <a:t>own </a:t>
            </a:r>
            <a:r>
              <a:rPr lang="en-US" sz="1600" dirty="0" smtClean="0">
                <a:solidFill>
                  <a:schemeClr val="tx1">
                    <a:lumMod val="100000"/>
                  </a:schemeClr>
                </a:solidFill>
              </a:rPr>
              <a:t>specific resistance issues and root causes</a:t>
            </a:r>
            <a:endParaRPr lang="en-US" sz="1600" dirty="0" smtClean="0">
              <a:solidFill>
                <a:schemeClr val="tx1">
                  <a:lumMod val="100000"/>
                </a:schemeClr>
              </a:solidFill>
            </a:endParaRPr>
          </a:p>
          <a:p>
            <a:pPr marL="323850" lvl="1" indent="-2159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Design incentive schemes to motivate the </a:t>
            </a:r>
            <a:r>
              <a:rPr lang="en-US" sz="1600" dirty="0" smtClean="0">
                <a:solidFill>
                  <a:schemeClr val="tx1">
                    <a:lumMod val="100000"/>
                  </a:schemeClr>
                </a:solidFill>
              </a:rPr>
              <a:t>team</a:t>
            </a:r>
            <a:endParaRPr lang="en-US" sz="1600" dirty="0">
              <a:solidFill>
                <a:schemeClr val="tx1">
                  <a:lumMod val="100000"/>
                </a:schemeClr>
              </a:solidFill>
            </a:endParaRPr>
          </a:p>
        </p:txBody>
      </p:sp>
      <p:sp>
        <p:nvSpPr>
          <p:cNvPr id="28" name="TextBox 94"/>
          <p:cNvSpPr txBox="1"/>
          <p:nvPr/>
        </p:nvSpPr>
        <p:spPr>
          <a:xfrm>
            <a:off x="844099" y="4546046"/>
            <a:ext cx="5100772" cy="14219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marL="107950" lvl="1">
              <a:buClr>
                <a:schemeClr val="tx2">
                  <a:lumMod val="100000"/>
                </a:schemeClr>
              </a:buClr>
              <a:buSzPct val="100000"/>
            </a:pPr>
            <a:r>
              <a:rPr lang="en-US" altLang="zh-CN" sz="1600" dirty="0" smtClean="0">
                <a:solidFill>
                  <a:schemeClr val="tx1">
                    <a:lumMod val="100000"/>
                  </a:schemeClr>
                </a:solidFill>
              </a:rPr>
              <a:t>Certification of AMS with authority</a:t>
            </a:r>
            <a:endParaRPr lang="en-US" altLang="zh-CN" sz="1600" dirty="0" smtClean="0">
              <a:solidFill>
                <a:schemeClr val="tx1">
                  <a:lumMod val="100000"/>
                </a:schemeClr>
              </a:solidFill>
            </a:endParaRPr>
          </a:p>
          <a:p>
            <a:pPr marL="323850" lvl="1" indent="-215900">
              <a:buClr>
                <a:schemeClr val="tx2">
                  <a:lumMod val="100000"/>
                </a:schemeClr>
              </a:buClr>
              <a:buSzPct val="100000"/>
              <a:buFont typeface="Trebuchet MS" panose="020B0603020202020204" pitchFamily="34" charset="0"/>
              <a:buChar char="•"/>
            </a:pPr>
            <a:r>
              <a:rPr lang="en-US" sz="1600" dirty="0" smtClean="0">
                <a:solidFill>
                  <a:schemeClr val="tx1">
                    <a:lumMod val="100000"/>
                  </a:schemeClr>
                </a:solidFill>
              </a:rPr>
              <a:t>Certificate by Infection Disease Association, CMA or NHFPC</a:t>
            </a:r>
            <a:endParaRPr lang="en-US" sz="1600" dirty="0" smtClean="0">
              <a:solidFill>
                <a:schemeClr val="tx1">
                  <a:lumMod val="100000"/>
                </a:schemeClr>
              </a:solidFill>
            </a:endParaRPr>
          </a:p>
        </p:txBody>
      </p:sp>
      <p:sp>
        <p:nvSpPr>
          <p:cNvPr id="29" name="TextBox 95"/>
          <p:cNvSpPr txBox="1"/>
          <p:nvPr/>
        </p:nvSpPr>
        <p:spPr>
          <a:xfrm>
            <a:off x="6383235" y="4546046"/>
            <a:ext cx="5100772" cy="14219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marL="107950" lvl="1">
              <a:buClr>
                <a:schemeClr val="tx2">
                  <a:lumMod val="100000"/>
                </a:schemeClr>
              </a:buClr>
              <a:buSzPct val="100000"/>
            </a:pPr>
            <a:r>
              <a:rPr lang="en-US" altLang="zh-CN" sz="1600" dirty="0" smtClean="0">
                <a:solidFill>
                  <a:schemeClr val="tx1">
                    <a:lumMod val="100000"/>
                  </a:schemeClr>
                </a:solidFill>
              </a:rPr>
              <a:t>CoE first, then roll out</a:t>
            </a:r>
            <a:endParaRPr lang="en-US" altLang="zh-CN" sz="1600" dirty="0" smtClean="0">
              <a:solidFill>
                <a:schemeClr val="tx1">
                  <a:lumMod val="100000"/>
                </a:schemeClr>
              </a:solidFill>
            </a:endParaRPr>
          </a:p>
          <a:p>
            <a:pPr marL="323850" lvl="1" indent="-215900">
              <a:buClr>
                <a:schemeClr val="tx2">
                  <a:lumMod val="100000"/>
                </a:schemeClr>
              </a:buClr>
              <a:buSzPct val="100000"/>
              <a:buFont typeface="Trebuchet MS" panose="020B0603020202020204" pitchFamily="34" charset="0"/>
              <a:buChar char="•"/>
            </a:pPr>
            <a:r>
              <a:rPr lang="en-US" sz="1600" dirty="0" smtClean="0">
                <a:solidFill>
                  <a:schemeClr val="tx1">
                    <a:lumMod val="100000"/>
                  </a:schemeClr>
                </a:solidFill>
              </a:rPr>
              <a:t>Start from XX-XX top hospitals where hospitals heads have strong motivation to participate</a:t>
            </a:r>
            <a:endParaRPr lang="en-US" sz="1600" dirty="0" smtClean="0">
              <a:solidFill>
                <a:schemeClr val="tx1">
                  <a:lumMod val="100000"/>
                </a:schemeClr>
              </a:solidFill>
            </a:endParaRPr>
          </a:p>
          <a:p>
            <a:pPr marL="323850" lvl="1" indent="-215900">
              <a:buClr>
                <a:schemeClr val="tx2">
                  <a:lumMod val="100000"/>
                </a:schemeClr>
              </a:buClr>
              <a:buSzPct val="100000"/>
              <a:buFont typeface="Trebuchet MS" panose="020B0603020202020204" pitchFamily="34" charset="0"/>
              <a:buChar char="•"/>
            </a:pPr>
            <a:r>
              <a:rPr lang="en-US" sz="1600" dirty="0" smtClean="0">
                <a:solidFill>
                  <a:schemeClr val="tx1">
                    <a:lumMod val="100000"/>
                  </a:schemeClr>
                </a:solidFill>
              </a:rPr>
              <a:t>Exchange best practice and roll out via the platform</a:t>
            </a:r>
            <a:endParaRPr lang="en-US" sz="1600" dirty="0" smtClean="0">
              <a:solidFill>
                <a:schemeClr val="tx1">
                  <a:lumMod val="100000"/>
                </a:schemeClr>
              </a:solidFill>
            </a:endParaRPr>
          </a:p>
        </p:txBody>
      </p:sp>
      <p:sp>
        <p:nvSpPr>
          <p:cNvPr id="36"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34" name="图片 3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sz="quarter" idx="11"/>
          </p:nvPr>
        </p:nvSpPr>
        <p:spPr/>
        <p:txBody>
          <a:bodyPr/>
          <a:lstStyle/>
          <a:p>
            <a:endParaRPr lang="zh-CN" altLang="en-US"/>
          </a:p>
        </p:txBody>
      </p:sp>
      <p:grpSp>
        <p:nvGrpSpPr>
          <p:cNvPr id="4" name="组合 3"/>
          <p:cNvGrpSpPr/>
          <p:nvPr/>
        </p:nvGrpSpPr>
        <p:grpSpPr>
          <a:xfrm>
            <a:off x="1911043" y="1095943"/>
            <a:ext cx="7474851" cy="4064180"/>
            <a:chOff x="1911043" y="1095943"/>
            <a:chExt cx="7474851" cy="4064180"/>
          </a:xfrm>
        </p:grpSpPr>
        <p:sp>
          <p:nvSpPr>
            <p:cNvPr id="44" name="Freeform 6"/>
            <p:cNvSpPr>
              <a:spLocks noEditPoints="1"/>
            </p:cNvSpPr>
            <p:nvPr/>
          </p:nvSpPr>
          <p:spPr bwMode="auto">
            <a:xfrm>
              <a:off x="5936962" y="1095943"/>
              <a:ext cx="2869451" cy="2869452"/>
            </a:xfrm>
            <a:custGeom>
              <a:avLst/>
              <a:gdLst>
                <a:gd name="T0" fmla="*/ 730 w 1420"/>
                <a:gd name="T1" fmla="*/ 1419 h 1419"/>
                <a:gd name="T2" fmla="*/ 590 w 1420"/>
                <a:gd name="T3" fmla="*/ 1409 h 1419"/>
                <a:gd name="T4" fmla="*/ 832 w 1420"/>
                <a:gd name="T5" fmla="*/ 1396 h 1419"/>
                <a:gd name="T6" fmla="*/ 559 w 1420"/>
                <a:gd name="T7" fmla="*/ 1390 h 1419"/>
                <a:gd name="T8" fmla="*/ 869 w 1420"/>
                <a:gd name="T9" fmla="*/ 1402 h 1419"/>
                <a:gd name="T10" fmla="*/ 936 w 1420"/>
                <a:gd name="T11" fmla="*/ 1383 h 1419"/>
                <a:gd name="T12" fmla="*/ 391 w 1420"/>
                <a:gd name="T13" fmla="*/ 1344 h 1419"/>
                <a:gd name="T14" fmla="*/ 1027 w 1420"/>
                <a:gd name="T15" fmla="*/ 1330 h 1419"/>
                <a:gd name="T16" fmla="*/ 367 w 1420"/>
                <a:gd name="T17" fmla="*/ 1316 h 1419"/>
                <a:gd name="T18" fmla="*/ 1064 w 1420"/>
                <a:gd name="T19" fmla="*/ 1325 h 1419"/>
                <a:gd name="T20" fmla="*/ 1123 w 1420"/>
                <a:gd name="T21" fmla="*/ 1287 h 1419"/>
                <a:gd name="T22" fmla="*/ 220 w 1420"/>
                <a:gd name="T23" fmla="*/ 1224 h 1419"/>
                <a:gd name="T24" fmla="*/ 1195 w 1420"/>
                <a:gd name="T25" fmla="*/ 1210 h 1419"/>
                <a:gd name="T26" fmla="*/ 205 w 1420"/>
                <a:gd name="T27" fmla="*/ 1190 h 1419"/>
                <a:gd name="T28" fmla="*/ 1228 w 1420"/>
                <a:gd name="T29" fmla="*/ 1195 h 1419"/>
                <a:gd name="T30" fmla="*/ 1274 w 1420"/>
                <a:gd name="T31" fmla="*/ 1141 h 1419"/>
                <a:gd name="T32" fmla="*/ 91 w 1420"/>
                <a:gd name="T33" fmla="*/ 1058 h 1419"/>
                <a:gd name="T34" fmla="*/ 1320 w 1420"/>
                <a:gd name="T35" fmla="*/ 1047 h 1419"/>
                <a:gd name="T36" fmla="*/ 87 w 1420"/>
                <a:gd name="T37" fmla="*/ 1021 h 1419"/>
                <a:gd name="T38" fmla="*/ 1347 w 1420"/>
                <a:gd name="T39" fmla="*/ 1023 h 1419"/>
                <a:gd name="T40" fmla="*/ 1375 w 1420"/>
                <a:gd name="T41" fmla="*/ 958 h 1419"/>
                <a:gd name="T42" fmla="*/ 17 w 1420"/>
                <a:gd name="T43" fmla="*/ 862 h 1419"/>
                <a:gd name="T44" fmla="*/ 1392 w 1420"/>
                <a:gd name="T45" fmla="*/ 855 h 1419"/>
                <a:gd name="T46" fmla="*/ 23 w 1420"/>
                <a:gd name="T47" fmla="*/ 826 h 1419"/>
                <a:gd name="T48" fmla="*/ 1411 w 1420"/>
                <a:gd name="T49" fmla="*/ 823 h 1419"/>
                <a:gd name="T50" fmla="*/ 1419 w 1420"/>
                <a:gd name="T51" fmla="*/ 753 h 1419"/>
                <a:gd name="T52" fmla="*/ 1407 w 1420"/>
                <a:gd name="T53" fmla="*/ 709 h 1419"/>
                <a:gd name="T54" fmla="*/ 2 w 1420"/>
                <a:gd name="T55" fmla="*/ 653 h 1419"/>
                <a:gd name="T56" fmla="*/ 1416 w 1420"/>
                <a:gd name="T57" fmla="*/ 639 h 1419"/>
                <a:gd name="T58" fmla="*/ 19 w 1420"/>
                <a:gd name="T59" fmla="*/ 620 h 1419"/>
                <a:gd name="T60" fmla="*/ 31 w 1420"/>
                <a:gd name="T61" fmla="*/ 552 h 1419"/>
                <a:gd name="T62" fmla="*/ 1366 w 1420"/>
                <a:gd name="T63" fmla="*/ 473 h 1419"/>
                <a:gd name="T64" fmla="*/ 49 w 1420"/>
                <a:gd name="T65" fmla="*/ 449 h 1419"/>
                <a:gd name="T66" fmla="*/ 1365 w 1420"/>
                <a:gd name="T67" fmla="*/ 435 h 1419"/>
                <a:gd name="T68" fmla="*/ 75 w 1420"/>
                <a:gd name="T69" fmla="*/ 422 h 1419"/>
                <a:gd name="T70" fmla="*/ 106 w 1420"/>
                <a:gd name="T71" fmla="*/ 361 h 1419"/>
                <a:gd name="T72" fmla="*/ 1267 w 1420"/>
                <a:gd name="T73" fmla="*/ 291 h 1419"/>
                <a:gd name="T74" fmla="*/ 154 w 1420"/>
                <a:gd name="T75" fmla="*/ 268 h 1419"/>
                <a:gd name="T76" fmla="*/ 1256 w 1420"/>
                <a:gd name="T77" fmla="*/ 256 h 1419"/>
                <a:gd name="T78" fmla="*/ 186 w 1420"/>
                <a:gd name="T79" fmla="*/ 250 h 1419"/>
                <a:gd name="T80" fmla="*/ 234 w 1420"/>
                <a:gd name="T81" fmla="*/ 200 h 1419"/>
                <a:gd name="T82" fmla="*/ 1121 w 1420"/>
                <a:gd name="T83" fmla="*/ 147 h 1419"/>
                <a:gd name="T84" fmla="*/ 307 w 1420"/>
                <a:gd name="T85" fmla="*/ 125 h 1419"/>
                <a:gd name="T86" fmla="*/ 1100 w 1420"/>
                <a:gd name="T87" fmla="*/ 116 h 1419"/>
                <a:gd name="T88" fmla="*/ 344 w 1420"/>
                <a:gd name="T89" fmla="*/ 117 h 1419"/>
                <a:gd name="T90" fmla="*/ 404 w 1420"/>
                <a:gd name="T91" fmla="*/ 83 h 1419"/>
                <a:gd name="T92" fmla="*/ 939 w 1420"/>
                <a:gd name="T93" fmla="*/ 51 h 1419"/>
                <a:gd name="T94" fmla="*/ 496 w 1420"/>
                <a:gd name="T95" fmla="*/ 33 h 1419"/>
                <a:gd name="T96" fmla="*/ 910 w 1420"/>
                <a:gd name="T97" fmla="*/ 28 h 1419"/>
                <a:gd name="T98" fmla="*/ 533 w 1420"/>
                <a:gd name="T99" fmla="*/ 35 h 1419"/>
                <a:gd name="T100" fmla="*/ 600 w 1420"/>
                <a:gd name="T101" fmla="*/ 21 h 1419"/>
                <a:gd name="T102" fmla="*/ 737 w 1420"/>
                <a:gd name="T103" fmla="*/ 13 h 1419"/>
                <a:gd name="T104" fmla="*/ 703 w 1420"/>
                <a:gd name="T105" fmla="*/ 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0" h="1419">
                  <a:moveTo>
                    <a:pt x="695" y="1419"/>
                  </a:moveTo>
                  <a:cubicBezTo>
                    <a:pt x="683" y="1419"/>
                    <a:pt x="671" y="1419"/>
                    <a:pt x="660" y="1418"/>
                  </a:cubicBezTo>
                  <a:cubicBezTo>
                    <a:pt x="661" y="1405"/>
                    <a:pt x="661" y="1405"/>
                    <a:pt x="661" y="1405"/>
                  </a:cubicBezTo>
                  <a:cubicBezTo>
                    <a:pt x="672" y="1406"/>
                    <a:pt x="684" y="1406"/>
                    <a:pt x="695" y="1406"/>
                  </a:cubicBezTo>
                  <a:cubicBezTo>
                    <a:pt x="695" y="1419"/>
                    <a:pt x="695" y="1419"/>
                    <a:pt x="695" y="1419"/>
                  </a:cubicBezTo>
                  <a:moveTo>
                    <a:pt x="730" y="1419"/>
                  </a:moveTo>
                  <a:cubicBezTo>
                    <a:pt x="730" y="1406"/>
                    <a:pt x="730" y="1406"/>
                    <a:pt x="730" y="1406"/>
                  </a:cubicBezTo>
                  <a:cubicBezTo>
                    <a:pt x="741" y="1406"/>
                    <a:pt x="753" y="1405"/>
                    <a:pt x="764" y="1404"/>
                  </a:cubicBezTo>
                  <a:cubicBezTo>
                    <a:pt x="765" y="1417"/>
                    <a:pt x="765" y="1417"/>
                    <a:pt x="765" y="1417"/>
                  </a:cubicBezTo>
                  <a:cubicBezTo>
                    <a:pt x="753" y="1418"/>
                    <a:pt x="742" y="1419"/>
                    <a:pt x="730" y="1419"/>
                  </a:cubicBezTo>
                  <a:moveTo>
                    <a:pt x="625" y="1414"/>
                  </a:moveTo>
                  <a:cubicBezTo>
                    <a:pt x="613" y="1413"/>
                    <a:pt x="602" y="1411"/>
                    <a:pt x="590" y="1409"/>
                  </a:cubicBezTo>
                  <a:cubicBezTo>
                    <a:pt x="593" y="1397"/>
                    <a:pt x="593" y="1397"/>
                    <a:pt x="593" y="1397"/>
                  </a:cubicBezTo>
                  <a:cubicBezTo>
                    <a:pt x="604" y="1398"/>
                    <a:pt x="615" y="1400"/>
                    <a:pt x="627" y="1402"/>
                  </a:cubicBezTo>
                  <a:cubicBezTo>
                    <a:pt x="625" y="1414"/>
                    <a:pt x="625" y="1414"/>
                    <a:pt x="625" y="1414"/>
                  </a:cubicBezTo>
                  <a:moveTo>
                    <a:pt x="800" y="1414"/>
                  </a:moveTo>
                  <a:cubicBezTo>
                    <a:pt x="798" y="1401"/>
                    <a:pt x="798" y="1401"/>
                    <a:pt x="798" y="1401"/>
                  </a:cubicBezTo>
                  <a:cubicBezTo>
                    <a:pt x="810" y="1399"/>
                    <a:pt x="821" y="1398"/>
                    <a:pt x="832" y="1396"/>
                  </a:cubicBezTo>
                  <a:cubicBezTo>
                    <a:pt x="834" y="1409"/>
                    <a:pt x="834" y="1409"/>
                    <a:pt x="834" y="1409"/>
                  </a:cubicBezTo>
                  <a:cubicBezTo>
                    <a:pt x="823" y="1411"/>
                    <a:pt x="811" y="1412"/>
                    <a:pt x="800" y="1414"/>
                  </a:cubicBezTo>
                  <a:moveTo>
                    <a:pt x="556" y="1403"/>
                  </a:moveTo>
                  <a:cubicBezTo>
                    <a:pt x="544" y="1400"/>
                    <a:pt x="533" y="1397"/>
                    <a:pt x="522" y="1394"/>
                  </a:cubicBezTo>
                  <a:cubicBezTo>
                    <a:pt x="525" y="1382"/>
                    <a:pt x="525" y="1382"/>
                    <a:pt x="525" y="1382"/>
                  </a:cubicBezTo>
                  <a:cubicBezTo>
                    <a:pt x="536" y="1385"/>
                    <a:pt x="548" y="1388"/>
                    <a:pt x="559" y="1390"/>
                  </a:cubicBezTo>
                  <a:cubicBezTo>
                    <a:pt x="556" y="1403"/>
                    <a:pt x="556" y="1403"/>
                    <a:pt x="556" y="1403"/>
                  </a:cubicBezTo>
                  <a:moveTo>
                    <a:pt x="869" y="1402"/>
                  </a:moveTo>
                  <a:cubicBezTo>
                    <a:pt x="866" y="1389"/>
                    <a:pt x="866" y="1389"/>
                    <a:pt x="866" y="1389"/>
                  </a:cubicBezTo>
                  <a:cubicBezTo>
                    <a:pt x="877" y="1386"/>
                    <a:pt x="888" y="1384"/>
                    <a:pt x="899" y="1380"/>
                  </a:cubicBezTo>
                  <a:cubicBezTo>
                    <a:pt x="903" y="1393"/>
                    <a:pt x="903" y="1393"/>
                    <a:pt x="903" y="1393"/>
                  </a:cubicBezTo>
                  <a:cubicBezTo>
                    <a:pt x="892" y="1396"/>
                    <a:pt x="880" y="1399"/>
                    <a:pt x="869" y="1402"/>
                  </a:cubicBezTo>
                  <a:moveTo>
                    <a:pt x="488" y="1384"/>
                  </a:moveTo>
                  <a:cubicBezTo>
                    <a:pt x="477" y="1381"/>
                    <a:pt x="466" y="1377"/>
                    <a:pt x="455" y="1372"/>
                  </a:cubicBezTo>
                  <a:cubicBezTo>
                    <a:pt x="460" y="1360"/>
                    <a:pt x="460" y="1360"/>
                    <a:pt x="460" y="1360"/>
                  </a:cubicBezTo>
                  <a:cubicBezTo>
                    <a:pt x="471" y="1364"/>
                    <a:pt x="481" y="1368"/>
                    <a:pt x="492" y="1372"/>
                  </a:cubicBezTo>
                  <a:cubicBezTo>
                    <a:pt x="488" y="1384"/>
                    <a:pt x="488" y="1384"/>
                    <a:pt x="488" y="1384"/>
                  </a:cubicBezTo>
                  <a:moveTo>
                    <a:pt x="936" y="1383"/>
                  </a:moveTo>
                  <a:cubicBezTo>
                    <a:pt x="932" y="1370"/>
                    <a:pt x="932" y="1370"/>
                    <a:pt x="932" y="1370"/>
                  </a:cubicBezTo>
                  <a:cubicBezTo>
                    <a:pt x="943" y="1367"/>
                    <a:pt x="954" y="1363"/>
                    <a:pt x="964" y="1359"/>
                  </a:cubicBezTo>
                  <a:cubicBezTo>
                    <a:pt x="969" y="1371"/>
                    <a:pt x="969" y="1371"/>
                    <a:pt x="969" y="1371"/>
                  </a:cubicBezTo>
                  <a:cubicBezTo>
                    <a:pt x="958" y="1375"/>
                    <a:pt x="947" y="1379"/>
                    <a:pt x="936" y="1383"/>
                  </a:cubicBezTo>
                  <a:moveTo>
                    <a:pt x="423" y="1359"/>
                  </a:moveTo>
                  <a:cubicBezTo>
                    <a:pt x="412" y="1354"/>
                    <a:pt x="402" y="1349"/>
                    <a:pt x="391" y="1344"/>
                  </a:cubicBezTo>
                  <a:cubicBezTo>
                    <a:pt x="397" y="1332"/>
                    <a:pt x="397" y="1332"/>
                    <a:pt x="397" y="1332"/>
                  </a:cubicBezTo>
                  <a:cubicBezTo>
                    <a:pt x="407" y="1338"/>
                    <a:pt x="418" y="1343"/>
                    <a:pt x="428" y="1347"/>
                  </a:cubicBezTo>
                  <a:cubicBezTo>
                    <a:pt x="423" y="1359"/>
                    <a:pt x="423" y="1359"/>
                    <a:pt x="423" y="1359"/>
                  </a:cubicBezTo>
                  <a:moveTo>
                    <a:pt x="1002" y="1357"/>
                  </a:moveTo>
                  <a:cubicBezTo>
                    <a:pt x="996" y="1345"/>
                    <a:pt x="996" y="1345"/>
                    <a:pt x="996" y="1345"/>
                  </a:cubicBezTo>
                  <a:cubicBezTo>
                    <a:pt x="1007" y="1340"/>
                    <a:pt x="1017" y="1335"/>
                    <a:pt x="1027" y="1330"/>
                  </a:cubicBezTo>
                  <a:cubicBezTo>
                    <a:pt x="1033" y="1342"/>
                    <a:pt x="1033" y="1342"/>
                    <a:pt x="1033" y="1342"/>
                  </a:cubicBezTo>
                  <a:cubicBezTo>
                    <a:pt x="1023" y="1347"/>
                    <a:pt x="1012" y="1352"/>
                    <a:pt x="1002" y="1357"/>
                  </a:cubicBezTo>
                  <a:moveTo>
                    <a:pt x="361" y="1328"/>
                  </a:moveTo>
                  <a:cubicBezTo>
                    <a:pt x="350" y="1322"/>
                    <a:pt x="340" y="1316"/>
                    <a:pt x="331" y="1310"/>
                  </a:cubicBezTo>
                  <a:cubicBezTo>
                    <a:pt x="337" y="1299"/>
                    <a:pt x="337" y="1299"/>
                    <a:pt x="337" y="1299"/>
                  </a:cubicBezTo>
                  <a:cubicBezTo>
                    <a:pt x="347" y="1305"/>
                    <a:pt x="357" y="1311"/>
                    <a:pt x="367" y="1316"/>
                  </a:cubicBezTo>
                  <a:cubicBezTo>
                    <a:pt x="361" y="1328"/>
                    <a:pt x="361" y="1328"/>
                    <a:pt x="361" y="1328"/>
                  </a:cubicBezTo>
                  <a:moveTo>
                    <a:pt x="1064" y="1325"/>
                  </a:moveTo>
                  <a:cubicBezTo>
                    <a:pt x="1058" y="1314"/>
                    <a:pt x="1058" y="1314"/>
                    <a:pt x="1058" y="1314"/>
                  </a:cubicBezTo>
                  <a:cubicBezTo>
                    <a:pt x="1067" y="1308"/>
                    <a:pt x="1077" y="1302"/>
                    <a:pt x="1087" y="1296"/>
                  </a:cubicBezTo>
                  <a:cubicBezTo>
                    <a:pt x="1094" y="1307"/>
                    <a:pt x="1094" y="1307"/>
                    <a:pt x="1094" y="1307"/>
                  </a:cubicBezTo>
                  <a:cubicBezTo>
                    <a:pt x="1084" y="1313"/>
                    <a:pt x="1074" y="1319"/>
                    <a:pt x="1064" y="1325"/>
                  </a:cubicBezTo>
                  <a:moveTo>
                    <a:pt x="301" y="1290"/>
                  </a:moveTo>
                  <a:cubicBezTo>
                    <a:pt x="292" y="1283"/>
                    <a:pt x="283" y="1276"/>
                    <a:pt x="273" y="1269"/>
                  </a:cubicBezTo>
                  <a:cubicBezTo>
                    <a:pt x="281" y="1259"/>
                    <a:pt x="281" y="1259"/>
                    <a:pt x="281" y="1259"/>
                  </a:cubicBezTo>
                  <a:cubicBezTo>
                    <a:pt x="290" y="1266"/>
                    <a:pt x="300" y="1273"/>
                    <a:pt x="309" y="1280"/>
                  </a:cubicBezTo>
                  <a:cubicBezTo>
                    <a:pt x="301" y="1290"/>
                    <a:pt x="301" y="1290"/>
                    <a:pt x="301" y="1290"/>
                  </a:cubicBezTo>
                  <a:moveTo>
                    <a:pt x="1123" y="1287"/>
                  </a:moveTo>
                  <a:cubicBezTo>
                    <a:pt x="1115" y="1276"/>
                    <a:pt x="1115" y="1276"/>
                    <a:pt x="1115" y="1276"/>
                  </a:cubicBezTo>
                  <a:cubicBezTo>
                    <a:pt x="1125" y="1270"/>
                    <a:pt x="1134" y="1263"/>
                    <a:pt x="1143" y="1256"/>
                  </a:cubicBezTo>
                  <a:cubicBezTo>
                    <a:pt x="1151" y="1266"/>
                    <a:pt x="1151" y="1266"/>
                    <a:pt x="1151" y="1266"/>
                  </a:cubicBezTo>
                  <a:cubicBezTo>
                    <a:pt x="1142" y="1273"/>
                    <a:pt x="1132" y="1280"/>
                    <a:pt x="1123" y="1287"/>
                  </a:cubicBezTo>
                  <a:moveTo>
                    <a:pt x="246" y="1247"/>
                  </a:moveTo>
                  <a:cubicBezTo>
                    <a:pt x="237" y="1239"/>
                    <a:pt x="229" y="1232"/>
                    <a:pt x="220" y="1224"/>
                  </a:cubicBezTo>
                  <a:cubicBezTo>
                    <a:pt x="229" y="1214"/>
                    <a:pt x="229" y="1214"/>
                    <a:pt x="229" y="1214"/>
                  </a:cubicBezTo>
                  <a:cubicBezTo>
                    <a:pt x="238" y="1222"/>
                    <a:pt x="246" y="1230"/>
                    <a:pt x="255" y="1237"/>
                  </a:cubicBezTo>
                  <a:cubicBezTo>
                    <a:pt x="246" y="1247"/>
                    <a:pt x="246" y="1247"/>
                    <a:pt x="246" y="1247"/>
                  </a:cubicBezTo>
                  <a:moveTo>
                    <a:pt x="1178" y="1243"/>
                  </a:moveTo>
                  <a:cubicBezTo>
                    <a:pt x="1169" y="1234"/>
                    <a:pt x="1169" y="1234"/>
                    <a:pt x="1169" y="1234"/>
                  </a:cubicBezTo>
                  <a:cubicBezTo>
                    <a:pt x="1178" y="1226"/>
                    <a:pt x="1186" y="1218"/>
                    <a:pt x="1195" y="1210"/>
                  </a:cubicBezTo>
                  <a:cubicBezTo>
                    <a:pt x="1204" y="1220"/>
                    <a:pt x="1204" y="1220"/>
                    <a:pt x="1204" y="1220"/>
                  </a:cubicBezTo>
                  <a:cubicBezTo>
                    <a:pt x="1195" y="1228"/>
                    <a:pt x="1187" y="1236"/>
                    <a:pt x="1178" y="1243"/>
                  </a:cubicBezTo>
                  <a:moveTo>
                    <a:pt x="196" y="1199"/>
                  </a:moveTo>
                  <a:cubicBezTo>
                    <a:pt x="187" y="1190"/>
                    <a:pt x="180" y="1182"/>
                    <a:pt x="172" y="1173"/>
                  </a:cubicBezTo>
                  <a:cubicBezTo>
                    <a:pt x="182" y="1164"/>
                    <a:pt x="182" y="1164"/>
                    <a:pt x="182" y="1164"/>
                  </a:cubicBezTo>
                  <a:cubicBezTo>
                    <a:pt x="189" y="1173"/>
                    <a:pt x="197" y="1181"/>
                    <a:pt x="205" y="1190"/>
                  </a:cubicBezTo>
                  <a:cubicBezTo>
                    <a:pt x="196" y="1199"/>
                    <a:pt x="196" y="1199"/>
                    <a:pt x="196" y="1199"/>
                  </a:cubicBezTo>
                  <a:moveTo>
                    <a:pt x="1228" y="1195"/>
                  </a:moveTo>
                  <a:cubicBezTo>
                    <a:pt x="1219" y="1186"/>
                    <a:pt x="1219" y="1186"/>
                    <a:pt x="1219" y="1186"/>
                  </a:cubicBezTo>
                  <a:cubicBezTo>
                    <a:pt x="1227" y="1177"/>
                    <a:pt x="1234" y="1169"/>
                    <a:pt x="1242" y="1160"/>
                  </a:cubicBezTo>
                  <a:cubicBezTo>
                    <a:pt x="1252" y="1169"/>
                    <a:pt x="1252" y="1169"/>
                    <a:pt x="1252" y="1169"/>
                  </a:cubicBezTo>
                  <a:cubicBezTo>
                    <a:pt x="1244" y="1177"/>
                    <a:pt x="1236" y="1186"/>
                    <a:pt x="1228" y="1195"/>
                  </a:cubicBezTo>
                  <a:moveTo>
                    <a:pt x="150" y="1146"/>
                  </a:moveTo>
                  <a:cubicBezTo>
                    <a:pt x="143" y="1136"/>
                    <a:pt x="136" y="1127"/>
                    <a:pt x="129" y="1117"/>
                  </a:cubicBezTo>
                  <a:cubicBezTo>
                    <a:pt x="140" y="1110"/>
                    <a:pt x="140" y="1110"/>
                    <a:pt x="140" y="1110"/>
                  </a:cubicBezTo>
                  <a:cubicBezTo>
                    <a:pt x="146" y="1119"/>
                    <a:pt x="153" y="1129"/>
                    <a:pt x="160" y="1138"/>
                  </a:cubicBezTo>
                  <a:cubicBezTo>
                    <a:pt x="150" y="1146"/>
                    <a:pt x="150" y="1146"/>
                    <a:pt x="150" y="1146"/>
                  </a:cubicBezTo>
                  <a:moveTo>
                    <a:pt x="1274" y="1141"/>
                  </a:moveTo>
                  <a:cubicBezTo>
                    <a:pt x="1263" y="1133"/>
                    <a:pt x="1263" y="1133"/>
                    <a:pt x="1263" y="1133"/>
                  </a:cubicBezTo>
                  <a:cubicBezTo>
                    <a:pt x="1270" y="1124"/>
                    <a:pt x="1277" y="1115"/>
                    <a:pt x="1283" y="1106"/>
                  </a:cubicBezTo>
                  <a:cubicBezTo>
                    <a:pt x="1294" y="1113"/>
                    <a:pt x="1294" y="1113"/>
                    <a:pt x="1294" y="1113"/>
                  </a:cubicBezTo>
                  <a:cubicBezTo>
                    <a:pt x="1288" y="1123"/>
                    <a:pt x="1281" y="1132"/>
                    <a:pt x="1274" y="1141"/>
                  </a:cubicBezTo>
                  <a:moveTo>
                    <a:pt x="109" y="1088"/>
                  </a:moveTo>
                  <a:cubicBezTo>
                    <a:pt x="103" y="1078"/>
                    <a:pt x="97" y="1068"/>
                    <a:pt x="91" y="1058"/>
                  </a:cubicBezTo>
                  <a:cubicBezTo>
                    <a:pt x="103" y="1052"/>
                    <a:pt x="103" y="1052"/>
                    <a:pt x="103" y="1052"/>
                  </a:cubicBezTo>
                  <a:cubicBezTo>
                    <a:pt x="108" y="1062"/>
                    <a:pt x="114" y="1072"/>
                    <a:pt x="120" y="1081"/>
                  </a:cubicBezTo>
                  <a:cubicBezTo>
                    <a:pt x="109" y="1088"/>
                    <a:pt x="109" y="1088"/>
                    <a:pt x="109" y="1088"/>
                  </a:cubicBezTo>
                  <a:moveTo>
                    <a:pt x="1313" y="1084"/>
                  </a:moveTo>
                  <a:cubicBezTo>
                    <a:pt x="1302" y="1077"/>
                    <a:pt x="1302" y="1077"/>
                    <a:pt x="1302" y="1077"/>
                  </a:cubicBezTo>
                  <a:cubicBezTo>
                    <a:pt x="1308" y="1067"/>
                    <a:pt x="1314" y="1057"/>
                    <a:pt x="1320" y="1047"/>
                  </a:cubicBezTo>
                  <a:cubicBezTo>
                    <a:pt x="1331" y="1054"/>
                    <a:pt x="1331" y="1054"/>
                    <a:pt x="1331" y="1054"/>
                  </a:cubicBezTo>
                  <a:cubicBezTo>
                    <a:pt x="1325" y="1064"/>
                    <a:pt x="1320" y="1074"/>
                    <a:pt x="1313" y="1084"/>
                  </a:cubicBezTo>
                  <a:moveTo>
                    <a:pt x="75" y="1027"/>
                  </a:moveTo>
                  <a:cubicBezTo>
                    <a:pt x="70" y="1017"/>
                    <a:pt x="65" y="1006"/>
                    <a:pt x="60" y="995"/>
                  </a:cubicBezTo>
                  <a:cubicBezTo>
                    <a:pt x="72" y="990"/>
                    <a:pt x="72" y="990"/>
                    <a:pt x="72" y="990"/>
                  </a:cubicBezTo>
                  <a:cubicBezTo>
                    <a:pt x="77" y="1001"/>
                    <a:pt x="81" y="1011"/>
                    <a:pt x="87" y="1021"/>
                  </a:cubicBezTo>
                  <a:cubicBezTo>
                    <a:pt x="75" y="1027"/>
                    <a:pt x="75" y="1027"/>
                    <a:pt x="75" y="1027"/>
                  </a:cubicBezTo>
                  <a:moveTo>
                    <a:pt x="1347" y="1023"/>
                  </a:moveTo>
                  <a:cubicBezTo>
                    <a:pt x="1336" y="1017"/>
                    <a:pt x="1336" y="1017"/>
                    <a:pt x="1336" y="1017"/>
                  </a:cubicBezTo>
                  <a:cubicBezTo>
                    <a:pt x="1341" y="1007"/>
                    <a:pt x="1345" y="996"/>
                    <a:pt x="1350" y="986"/>
                  </a:cubicBezTo>
                  <a:cubicBezTo>
                    <a:pt x="1362" y="991"/>
                    <a:pt x="1362" y="991"/>
                    <a:pt x="1362" y="991"/>
                  </a:cubicBezTo>
                  <a:cubicBezTo>
                    <a:pt x="1357" y="1002"/>
                    <a:pt x="1352" y="1012"/>
                    <a:pt x="1347" y="1023"/>
                  </a:cubicBezTo>
                  <a:moveTo>
                    <a:pt x="47" y="963"/>
                  </a:moveTo>
                  <a:cubicBezTo>
                    <a:pt x="43" y="952"/>
                    <a:pt x="39" y="941"/>
                    <a:pt x="35" y="930"/>
                  </a:cubicBezTo>
                  <a:cubicBezTo>
                    <a:pt x="47" y="926"/>
                    <a:pt x="47" y="926"/>
                    <a:pt x="47" y="926"/>
                  </a:cubicBezTo>
                  <a:cubicBezTo>
                    <a:pt x="51" y="937"/>
                    <a:pt x="55" y="948"/>
                    <a:pt x="59" y="958"/>
                  </a:cubicBezTo>
                  <a:cubicBezTo>
                    <a:pt x="47" y="963"/>
                    <a:pt x="47" y="963"/>
                    <a:pt x="47" y="963"/>
                  </a:cubicBezTo>
                  <a:moveTo>
                    <a:pt x="1375" y="958"/>
                  </a:moveTo>
                  <a:cubicBezTo>
                    <a:pt x="1363" y="954"/>
                    <a:pt x="1363" y="954"/>
                    <a:pt x="1363" y="954"/>
                  </a:cubicBezTo>
                  <a:cubicBezTo>
                    <a:pt x="1367" y="943"/>
                    <a:pt x="1371" y="932"/>
                    <a:pt x="1374" y="921"/>
                  </a:cubicBezTo>
                  <a:cubicBezTo>
                    <a:pt x="1387" y="925"/>
                    <a:pt x="1387" y="925"/>
                    <a:pt x="1387" y="925"/>
                  </a:cubicBezTo>
                  <a:cubicBezTo>
                    <a:pt x="1383" y="936"/>
                    <a:pt x="1379" y="947"/>
                    <a:pt x="1375" y="958"/>
                  </a:cubicBezTo>
                  <a:moveTo>
                    <a:pt x="25" y="896"/>
                  </a:moveTo>
                  <a:cubicBezTo>
                    <a:pt x="22" y="885"/>
                    <a:pt x="19" y="874"/>
                    <a:pt x="17" y="862"/>
                  </a:cubicBezTo>
                  <a:cubicBezTo>
                    <a:pt x="29" y="859"/>
                    <a:pt x="29" y="859"/>
                    <a:pt x="29" y="859"/>
                  </a:cubicBezTo>
                  <a:cubicBezTo>
                    <a:pt x="32" y="871"/>
                    <a:pt x="34" y="882"/>
                    <a:pt x="37" y="893"/>
                  </a:cubicBezTo>
                  <a:cubicBezTo>
                    <a:pt x="25" y="896"/>
                    <a:pt x="25" y="896"/>
                    <a:pt x="25" y="896"/>
                  </a:cubicBezTo>
                  <a:moveTo>
                    <a:pt x="1396" y="892"/>
                  </a:moveTo>
                  <a:cubicBezTo>
                    <a:pt x="1384" y="888"/>
                    <a:pt x="1384" y="888"/>
                    <a:pt x="1384" y="888"/>
                  </a:cubicBezTo>
                  <a:cubicBezTo>
                    <a:pt x="1387" y="877"/>
                    <a:pt x="1389" y="866"/>
                    <a:pt x="1392" y="855"/>
                  </a:cubicBezTo>
                  <a:cubicBezTo>
                    <a:pt x="1404" y="858"/>
                    <a:pt x="1404" y="858"/>
                    <a:pt x="1404" y="858"/>
                  </a:cubicBezTo>
                  <a:cubicBezTo>
                    <a:pt x="1402" y="869"/>
                    <a:pt x="1399" y="880"/>
                    <a:pt x="1396" y="892"/>
                  </a:cubicBezTo>
                  <a:moveTo>
                    <a:pt x="10" y="828"/>
                  </a:moveTo>
                  <a:cubicBezTo>
                    <a:pt x="8" y="816"/>
                    <a:pt x="6" y="805"/>
                    <a:pt x="5" y="793"/>
                  </a:cubicBezTo>
                  <a:cubicBezTo>
                    <a:pt x="18" y="792"/>
                    <a:pt x="18" y="792"/>
                    <a:pt x="18" y="792"/>
                  </a:cubicBezTo>
                  <a:cubicBezTo>
                    <a:pt x="19" y="803"/>
                    <a:pt x="21" y="814"/>
                    <a:pt x="23" y="826"/>
                  </a:cubicBezTo>
                  <a:cubicBezTo>
                    <a:pt x="10" y="828"/>
                    <a:pt x="10" y="828"/>
                    <a:pt x="10" y="828"/>
                  </a:cubicBezTo>
                  <a:moveTo>
                    <a:pt x="1411" y="823"/>
                  </a:moveTo>
                  <a:cubicBezTo>
                    <a:pt x="1398" y="821"/>
                    <a:pt x="1398" y="821"/>
                    <a:pt x="1398" y="821"/>
                  </a:cubicBezTo>
                  <a:cubicBezTo>
                    <a:pt x="1400" y="810"/>
                    <a:pt x="1401" y="798"/>
                    <a:pt x="1403" y="787"/>
                  </a:cubicBezTo>
                  <a:cubicBezTo>
                    <a:pt x="1416" y="788"/>
                    <a:pt x="1416" y="788"/>
                    <a:pt x="1416" y="788"/>
                  </a:cubicBezTo>
                  <a:cubicBezTo>
                    <a:pt x="1414" y="800"/>
                    <a:pt x="1413" y="812"/>
                    <a:pt x="1411" y="823"/>
                  </a:cubicBezTo>
                  <a:moveTo>
                    <a:pt x="2" y="758"/>
                  </a:moveTo>
                  <a:cubicBezTo>
                    <a:pt x="1" y="747"/>
                    <a:pt x="0" y="735"/>
                    <a:pt x="0" y="723"/>
                  </a:cubicBezTo>
                  <a:cubicBezTo>
                    <a:pt x="13" y="723"/>
                    <a:pt x="13" y="723"/>
                    <a:pt x="13" y="723"/>
                  </a:cubicBezTo>
                  <a:cubicBezTo>
                    <a:pt x="14" y="734"/>
                    <a:pt x="14" y="746"/>
                    <a:pt x="15" y="757"/>
                  </a:cubicBezTo>
                  <a:cubicBezTo>
                    <a:pt x="2" y="758"/>
                    <a:pt x="2" y="758"/>
                    <a:pt x="2" y="758"/>
                  </a:cubicBezTo>
                  <a:moveTo>
                    <a:pt x="1419" y="753"/>
                  </a:moveTo>
                  <a:cubicBezTo>
                    <a:pt x="1406" y="753"/>
                    <a:pt x="1406" y="753"/>
                    <a:pt x="1406" y="753"/>
                  </a:cubicBezTo>
                  <a:cubicBezTo>
                    <a:pt x="1406" y="741"/>
                    <a:pt x="1407" y="730"/>
                    <a:pt x="1407" y="718"/>
                  </a:cubicBezTo>
                  <a:cubicBezTo>
                    <a:pt x="1420" y="718"/>
                    <a:pt x="1420" y="718"/>
                    <a:pt x="1420" y="718"/>
                  </a:cubicBezTo>
                  <a:cubicBezTo>
                    <a:pt x="1420" y="730"/>
                    <a:pt x="1419" y="742"/>
                    <a:pt x="1419" y="753"/>
                  </a:cubicBezTo>
                  <a:moveTo>
                    <a:pt x="1420" y="709"/>
                  </a:moveTo>
                  <a:cubicBezTo>
                    <a:pt x="1407" y="709"/>
                    <a:pt x="1407" y="709"/>
                    <a:pt x="1407" y="709"/>
                  </a:cubicBezTo>
                  <a:cubicBezTo>
                    <a:pt x="1407" y="697"/>
                    <a:pt x="1407" y="686"/>
                    <a:pt x="1406" y="674"/>
                  </a:cubicBezTo>
                  <a:cubicBezTo>
                    <a:pt x="1419" y="674"/>
                    <a:pt x="1419" y="674"/>
                    <a:pt x="1419" y="674"/>
                  </a:cubicBezTo>
                  <a:cubicBezTo>
                    <a:pt x="1420" y="685"/>
                    <a:pt x="1420" y="697"/>
                    <a:pt x="1420" y="709"/>
                  </a:cubicBezTo>
                  <a:moveTo>
                    <a:pt x="13" y="689"/>
                  </a:moveTo>
                  <a:cubicBezTo>
                    <a:pt x="0" y="688"/>
                    <a:pt x="0" y="688"/>
                    <a:pt x="0" y="688"/>
                  </a:cubicBezTo>
                  <a:cubicBezTo>
                    <a:pt x="1" y="676"/>
                    <a:pt x="1" y="665"/>
                    <a:pt x="2" y="653"/>
                  </a:cubicBezTo>
                  <a:cubicBezTo>
                    <a:pt x="15" y="654"/>
                    <a:pt x="15" y="654"/>
                    <a:pt x="15" y="654"/>
                  </a:cubicBezTo>
                  <a:cubicBezTo>
                    <a:pt x="14" y="666"/>
                    <a:pt x="14" y="677"/>
                    <a:pt x="13" y="689"/>
                  </a:cubicBezTo>
                  <a:moveTo>
                    <a:pt x="1403" y="640"/>
                  </a:moveTo>
                  <a:cubicBezTo>
                    <a:pt x="1402" y="629"/>
                    <a:pt x="1401" y="617"/>
                    <a:pt x="1399" y="606"/>
                  </a:cubicBezTo>
                  <a:cubicBezTo>
                    <a:pt x="1412" y="604"/>
                    <a:pt x="1412" y="604"/>
                    <a:pt x="1412" y="604"/>
                  </a:cubicBezTo>
                  <a:cubicBezTo>
                    <a:pt x="1414" y="615"/>
                    <a:pt x="1415" y="627"/>
                    <a:pt x="1416" y="639"/>
                  </a:cubicBezTo>
                  <a:cubicBezTo>
                    <a:pt x="1403" y="640"/>
                    <a:pt x="1403" y="640"/>
                    <a:pt x="1403" y="640"/>
                  </a:cubicBezTo>
                  <a:moveTo>
                    <a:pt x="19" y="620"/>
                  </a:moveTo>
                  <a:cubicBezTo>
                    <a:pt x="6" y="618"/>
                    <a:pt x="6" y="618"/>
                    <a:pt x="6" y="618"/>
                  </a:cubicBezTo>
                  <a:cubicBezTo>
                    <a:pt x="7" y="607"/>
                    <a:pt x="9" y="595"/>
                    <a:pt x="11" y="584"/>
                  </a:cubicBezTo>
                  <a:cubicBezTo>
                    <a:pt x="24" y="586"/>
                    <a:pt x="24" y="586"/>
                    <a:pt x="24" y="586"/>
                  </a:cubicBezTo>
                  <a:cubicBezTo>
                    <a:pt x="22" y="597"/>
                    <a:pt x="20" y="609"/>
                    <a:pt x="19" y="620"/>
                  </a:cubicBezTo>
                  <a:moveTo>
                    <a:pt x="1393" y="572"/>
                  </a:moveTo>
                  <a:cubicBezTo>
                    <a:pt x="1391" y="561"/>
                    <a:pt x="1388" y="549"/>
                    <a:pt x="1386" y="538"/>
                  </a:cubicBezTo>
                  <a:cubicBezTo>
                    <a:pt x="1398" y="535"/>
                    <a:pt x="1398" y="535"/>
                    <a:pt x="1398" y="535"/>
                  </a:cubicBezTo>
                  <a:cubicBezTo>
                    <a:pt x="1401" y="546"/>
                    <a:pt x="1404" y="558"/>
                    <a:pt x="1406" y="569"/>
                  </a:cubicBezTo>
                  <a:cubicBezTo>
                    <a:pt x="1393" y="572"/>
                    <a:pt x="1393" y="572"/>
                    <a:pt x="1393" y="572"/>
                  </a:cubicBezTo>
                  <a:moveTo>
                    <a:pt x="31" y="552"/>
                  </a:moveTo>
                  <a:cubicBezTo>
                    <a:pt x="18" y="549"/>
                    <a:pt x="18" y="549"/>
                    <a:pt x="18" y="549"/>
                  </a:cubicBezTo>
                  <a:cubicBezTo>
                    <a:pt x="21" y="538"/>
                    <a:pt x="24" y="527"/>
                    <a:pt x="27" y="515"/>
                  </a:cubicBezTo>
                  <a:cubicBezTo>
                    <a:pt x="40" y="519"/>
                    <a:pt x="40" y="519"/>
                    <a:pt x="40" y="519"/>
                  </a:cubicBezTo>
                  <a:cubicBezTo>
                    <a:pt x="36" y="530"/>
                    <a:pt x="34" y="541"/>
                    <a:pt x="31" y="552"/>
                  </a:cubicBezTo>
                  <a:moveTo>
                    <a:pt x="1376" y="505"/>
                  </a:moveTo>
                  <a:cubicBezTo>
                    <a:pt x="1373" y="494"/>
                    <a:pt x="1369" y="483"/>
                    <a:pt x="1366" y="473"/>
                  </a:cubicBezTo>
                  <a:cubicBezTo>
                    <a:pt x="1378" y="468"/>
                    <a:pt x="1378" y="468"/>
                    <a:pt x="1378" y="468"/>
                  </a:cubicBezTo>
                  <a:cubicBezTo>
                    <a:pt x="1382" y="479"/>
                    <a:pt x="1385" y="490"/>
                    <a:pt x="1389" y="501"/>
                  </a:cubicBezTo>
                  <a:cubicBezTo>
                    <a:pt x="1376" y="505"/>
                    <a:pt x="1376" y="505"/>
                    <a:pt x="1376" y="505"/>
                  </a:cubicBezTo>
                  <a:moveTo>
                    <a:pt x="50" y="486"/>
                  </a:moveTo>
                  <a:cubicBezTo>
                    <a:pt x="37" y="482"/>
                    <a:pt x="37" y="482"/>
                    <a:pt x="37" y="482"/>
                  </a:cubicBezTo>
                  <a:cubicBezTo>
                    <a:pt x="41" y="471"/>
                    <a:pt x="45" y="460"/>
                    <a:pt x="49" y="449"/>
                  </a:cubicBezTo>
                  <a:cubicBezTo>
                    <a:pt x="62" y="454"/>
                    <a:pt x="62" y="454"/>
                    <a:pt x="62" y="454"/>
                  </a:cubicBezTo>
                  <a:cubicBezTo>
                    <a:pt x="57" y="464"/>
                    <a:pt x="53" y="475"/>
                    <a:pt x="50" y="486"/>
                  </a:cubicBezTo>
                  <a:moveTo>
                    <a:pt x="1353" y="440"/>
                  </a:moveTo>
                  <a:cubicBezTo>
                    <a:pt x="1349" y="430"/>
                    <a:pt x="1344" y="419"/>
                    <a:pt x="1339" y="409"/>
                  </a:cubicBezTo>
                  <a:cubicBezTo>
                    <a:pt x="1351" y="403"/>
                    <a:pt x="1351" y="403"/>
                    <a:pt x="1351" y="403"/>
                  </a:cubicBezTo>
                  <a:cubicBezTo>
                    <a:pt x="1356" y="414"/>
                    <a:pt x="1360" y="425"/>
                    <a:pt x="1365" y="435"/>
                  </a:cubicBezTo>
                  <a:cubicBezTo>
                    <a:pt x="1353" y="440"/>
                    <a:pt x="1353" y="440"/>
                    <a:pt x="1353" y="440"/>
                  </a:cubicBezTo>
                  <a:moveTo>
                    <a:pt x="75" y="422"/>
                  </a:moveTo>
                  <a:cubicBezTo>
                    <a:pt x="63" y="417"/>
                    <a:pt x="63" y="417"/>
                    <a:pt x="63" y="417"/>
                  </a:cubicBezTo>
                  <a:cubicBezTo>
                    <a:pt x="68" y="406"/>
                    <a:pt x="73" y="396"/>
                    <a:pt x="78" y="385"/>
                  </a:cubicBezTo>
                  <a:cubicBezTo>
                    <a:pt x="90" y="391"/>
                    <a:pt x="90" y="391"/>
                    <a:pt x="90" y="391"/>
                  </a:cubicBezTo>
                  <a:cubicBezTo>
                    <a:pt x="85" y="401"/>
                    <a:pt x="80" y="412"/>
                    <a:pt x="75" y="422"/>
                  </a:cubicBezTo>
                  <a:moveTo>
                    <a:pt x="1323" y="378"/>
                  </a:moveTo>
                  <a:cubicBezTo>
                    <a:pt x="1318" y="368"/>
                    <a:pt x="1312" y="358"/>
                    <a:pt x="1306" y="348"/>
                  </a:cubicBezTo>
                  <a:cubicBezTo>
                    <a:pt x="1317" y="342"/>
                    <a:pt x="1317" y="342"/>
                    <a:pt x="1317" y="342"/>
                  </a:cubicBezTo>
                  <a:cubicBezTo>
                    <a:pt x="1323" y="352"/>
                    <a:pt x="1329" y="362"/>
                    <a:pt x="1335" y="372"/>
                  </a:cubicBezTo>
                  <a:cubicBezTo>
                    <a:pt x="1323" y="378"/>
                    <a:pt x="1323" y="378"/>
                    <a:pt x="1323" y="378"/>
                  </a:cubicBezTo>
                  <a:moveTo>
                    <a:pt x="106" y="361"/>
                  </a:moveTo>
                  <a:cubicBezTo>
                    <a:pt x="95" y="355"/>
                    <a:pt x="95" y="355"/>
                    <a:pt x="95" y="355"/>
                  </a:cubicBezTo>
                  <a:cubicBezTo>
                    <a:pt x="101" y="345"/>
                    <a:pt x="107" y="335"/>
                    <a:pt x="113" y="325"/>
                  </a:cubicBezTo>
                  <a:cubicBezTo>
                    <a:pt x="124" y="332"/>
                    <a:pt x="124" y="332"/>
                    <a:pt x="124" y="332"/>
                  </a:cubicBezTo>
                  <a:cubicBezTo>
                    <a:pt x="118" y="341"/>
                    <a:pt x="112" y="351"/>
                    <a:pt x="106" y="361"/>
                  </a:cubicBezTo>
                  <a:moveTo>
                    <a:pt x="1287" y="319"/>
                  </a:moveTo>
                  <a:cubicBezTo>
                    <a:pt x="1281" y="310"/>
                    <a:pt x="1274" y="301"/>
                    <a:pt x="1267" y="291"/>
                  </a:cubicBezTo>
                  <a:cubicBezTo>
                    <a:pt x="1278" y="284"/>
                    <a:pt x="1278" y="284"/>
                    <a:pt x="1278" y="284"/>
                  </a:cubicBezTo>
                  <a:cubicBezTo>
                    <a:pt x="1285" y="293"/>
                    <a:pt x="1292" y="302"/>
                    <a:pt x="1298" y="312"/>
                  </a:cubicBezTo>
                  <a:cubicBezTo>
                    <a:pt x="1287" y="319"/>
                    <a:pt x="1287" y="319"/>
                    <a:pt x="1287" y="319"/>
                  </a:cubicBezTo>
                  <a:moveTo>
                    <a:pt x="144" y="303"/>
                  </a:moveTo>
                  <a:cubicBezTo>
                    <a:pt x="133" y="296"/>
                    <a:pt x="133" y="296"/>
                    <a:pt x="133" y="296"/>
                  </a:cubicBezTo>
                  <a:cubicBezTo>
                    <a:pt x="140" y="286"/>
                    <a:pt x="147" y="277"/>
                    <a:pt x="154" y="268"/>
                  </a:cubicBezTo>
                  <a:cubicBezTo>
                    <a:pt x="164" y="276"/>
                    <a:pt x="164" y="276"/>
                    <a:pt x="164" y="276"/>
                  </a:cubicBezTo>
                  <a:cubicBezTo>
                    <a:pt x="157" y="285"/>
                    <a:pt x="150" y="294"/>
                    <a:pt x="144" y="303"/>
                  </a:cubicBezTo>
                  <a:moveTo>
                    <a:pt x="1246" y="264"/>
                  </a:moveTo>
                  <a:cubicBezTo>
                    <a:pt x="1239" y="256"/>
                    <a:pt x="1231" y="247"/>
                    <a:pt x="1224" y="239"/>
                  </a:cubicBezTo>
                  <a:cubicBezTo>
                    <a:pt x="1233" y="230"/>
                    <a:pt x="1233" y="230"/>
                    <a:pt x="1233" y="230"/>
                  </a:cubicBezTo>
                  <a:cubicBezTo>
                    <a:pt x="1241" y="238"/>
                    <a:pt x="1249" y="247"/>
                    <a:pt x="1256" y="256"/>
                  </a:cubicBezTo>
                  <a:cubicBezTo>
                    <a:pt x="1246" y="264"/>
                    <a:pt x="1246" y="264"/>
                    <a:pt x="1246" y="264"/>
                  </a:cubicBezTo>
                  <a:moveTo>
                    <a:pt x="186" y="250"/>
                  </a:moveTo>
                  <a:cubicBezTo>
                    <a:pt x="177" y="241"/>
                    <a:pt x="177" y="241"/>
                    <a:pt x="177" y="241"/>
                  </a:cubicBezTo>
                  <a:cubicBezTo>
                    <a:pt x="184" y="232"/>
                    <a:pt x="192" y="224"/>
                    <a:pt x="200" y="215"/>
                  </a:cubicBezTo>
                  <a:cubicBezTo>
                    <a:pt x="210" y="224"/>
                    <a:pt x="210" y="224"/>
                    <a:pt x="210" y="224"/>
                  </a:cubicBezTo>
                  <a:cubicBezTo>
                    <a:pt x="202" y="233"/>
                    <a:pt x="194" y="241"/>
                    <a:pt x="186" y="250"/>
                  </a:cubicBezTo>
                  <a:moveTo>
                    <a:pt x="1200" y="214"/>
                  </a:moveTo>
                  <a:cubicBezTo>
                    <a:pt x="1191" y="206"/>
                    <a:pt x="1183" y="198"/>
                    <a:pt x="1175" y="190"/>
                  </a:cubicBezTo>
                  <a:cubicBezTo>
                    <a:pt x="1183" y="180"/>
                    <a:pt x="1183" y="180"/>
                    <a:pt x="1183" y="180"/>
                  </a:cubicBezTo>
                  <a:cubicBezTo>
                    <a:pt x="1192" y="188"/>
                    <a:pt x="1200" y="196"/>
                    <a:pt x="1209" y="204"/>
                  </a:cubicBezTo>
                  <a:cubicBezTo>
                    <a:pt x="1200" y="214"/>
                    <a:pt x="1200" y="214"/>
                    <a:pt x="1200" y="214"/>
                  </a:cubicBezTo>
                  <a:moveTo>
                    <a:pt x="234" y="200"/>
                  </a:moveTo>
                  <a:cubicBezTo>
                    <a:pt x="225" y="191"/>
                    <a:pt x="225" y="191"/>
                    <a:pt x="225" y="191"/>
                  </a:cubicBezTo>
                  <a:cubicBezTo>
                    <a:pt x="234" y="183"/>
                    <a:pt x="243" y="175"/>
                    <a:pt x="252" y="167"/>
                  </a:cubicBezTo>
                  <a:cubicBezTo>
                    <a:pt x="260" y="177"/>
                    <a:pt x="260" y="177"/>
                    <a:pt x="260" y="177"/>
                  </a:cubicBezTo>
                  <a:cubicBezTo>
                    <a:pt x="251" y="185"/>
                    <a:pt x="243" y="192"/>
                    <a:pt x="234" y="200"/>
                  </a:cubicBezTo>
                  <a:moveTo>
                    <a:pt x="1148" y="168"/>
                  </a:moveTo>
                  <a:cubicBezTo>
                    <a:pt x="1139" y="161"/>
                    <a:pt x="1130" y="154"/>
                    <a:pt x="1121" y="147"/>
                  </a:cubicBezTo>
                  <a:cubicBezTo>
                    <a:pt x="1129" y="136"/>
                    <a:pt x="1129" y="136"/>
                    <a:pt x="1129" y="136"/>
                  </a:cubicBezTo>
                  <a:cubicBezTo>
                    <a:pt x="1138" y="143"/>
                    <a:pt x="1148" y="150"/>
                    <a:pt x="1157" y="158"/>
                  </a:cubicBezTo>
                  <a:cubicBezTo>
                    <a:pt x="1148" y="168"/>
                    <a:pt x="1148" y="168"/>
                    <a:pt x="1148" y="168"/>
                  </a:cubicBezTo>
                  <a:moveTo>
                    <a:pt x="287" y="156"/>
                  </a:moveTo>
                  <a:cubicBezTo>
                    <a:pt x="279" y="146"/>
                    <a:pt x="279" y="146"/>
                    <a:pt x="279" y="146"/>
                  </a:cubicBezTo>
                  <a:cubicBezTo>
                    <a:pt x="288" y="138"/>
                    <a:pt x="298" y="132"/>
                    <a:pt x="307" y="125"/>
                  </a:cubicBezTo>
                  <a:cubicBezTo>
                    <a:pt x="315" y="136"/>
                    <a:pt x="315" y="136"/>
                    <a:pt x="315" y="136"/>
                  </a:cubicBezTo>
                  <a:cubicBezTo>
                    <a:pt x="305" y="142"/>
                    <a:pt x="296" y="149"/>
                    <a:pt x="287" y="156"/>
                  </a:cubicBezTo>
                  <a:moveTo>
                    <a:pt x="1093" y="127"/>
                  </a:moveTo>
                  <a:cubicBezTo>
                    <a:pt x="1083" y="121"/>
                    <a:pt x="1074" y="115"/>
                    <a:pt x="1064" y="109"/>
                  </a:cubicBezTo>
                  <a:cubicBezTo>
                    <a:pt x="1070" y="98"/>
                    <a:pt x="1070" y="98"/>
                    <a:pt x="1070" y="98"/>
                  </a:cubicBezTo>
                  <a:cubicBezTo>
                    <a:pt x="1080" y="104"/>
                    <a:pt x="1090" y="110"/>
                    <a:pt x="1100" y="116"/>
                  </a:cubicBezTo>
                  <a:cubicBezTo>
                    <a:pt x="1093" y="127"/>
                    <a:pt x="1093" y="127"/>
                    <a:pt x="1093" y="127"/>
                  </a:cubicBezTo>
                  <a:moveTo>
                    <a:pt x="344" y="117"/>
                  </a:moveTo>
                  <a:cubicBezTo>
                    <a:pt x="337" y="106"/>
                    <a:pt x="337" y="106"/>
                    <a:pt x="337" y="106"/>
                  </a:cubicBezTo>
                  <a:cubicBezTo>
                    <a:pt x="347" y="100"/>
                    <a:pt x="357" y="94"/>
                    <a:pt x="367" y="88"/>
                  </a:cubicBezTo>
                  <a:cubicBezTo>
                    <a:pt x="373" y="99"/>
                    <a:pt x="373" y="99"/>
                    <a:pt x="373" y="99"/>
                  </a:cubicBezTo>
                  <a:cubicBezTo>
                    <a:pt x="363" y="105"/>
                    <a:pt x="353" y="111"/>
                    <a:pt x="344" y="117"/>
                  </a:cubicBezTo>
                  <a:moveTo>
                    <a:pt x="1034" y="92"/>
                  </a:moveTo>
                  <a:cubicBezTo>
                    <a:pt x="1024" y="87"/>
                    <a:pt x="1013" y="82"/>
                    <a:pt x="1003" y="77"/>
                  </a:cubicBezTo>
                  <a:cubicBezTo>
                    <a:pt x="1008" y="65"/>
                    <a:pt x="1008" y="65"/>
                    <a:pt x="1008" y="65"/>
                  </a:cubicBezTo>
                  <a:cubicBezTo>
                    <a:pt x="1019" y="70"/>
                    <a:pt x="1030" y="75"/>
                    <a:pt x="1040" y="81"/>
                  </a:cubicBezTo>
                  <a:cubicBezTo>
                    <a:pt x="1034" y="92"/>
                    <a:pt x="1034" y="92"/>
                    <a:pt x="1034" y="92"/>
                  </a:cubicBezTo>
                  <a:moveTo>
                    <a:pt x="404" y="83"/>
                  </a:moveTo>
                  <a:cubicBezTo>
                    <a:pt x="398" y="72"/>
                    <a:pt x="398" y="72"/>
                    <a:pt x="398" y="72"/>
                  </a:cubicBezTo>
                  <a:cubicBezTo>
                    <a:pt x="409" y="67"/>
                    <a:pt x="419" y="62"/>
                    <a:pt x="430" y="57"/>
                  </a:cubicBezTo>
                  <a:cubicBezTo>
                    <a:pt x="435" y="69"/>
                    <a:pt x="435" y="69"/>
                    <a:pt x="435" y="69"/>
                  </a:cubicBezTo>
                  <a:cubicBezTo>
                    <a:pt x="425" y="74"/>
                    <a:pt x="414" y="78"/>
                    <a:pt x="404" y="83"/>
                  </a:cubicBezTo>
                  <a:moveTo>
                    <a:pt x="972" y="63"/>
                  </a:moveTo>
                  <a:cubicBezTo>
                    <a:pt x="961" y="59"/>
                    <a:pt x="950" y="55"/>
                    <a:pt x="939" y="51"/>
                  </a:cubicBezTo>
                  <a:cubicBezTo>
                    <a:pt x="944" y="39"/>
                    <a:pt x="944" y="39"/>
                    <a:pt x="944" y="39"/>
                  </a:cubicBezTo>
                  <a:cubicBezTo>
                    <a:pt x="955" y="43"/>
                    <a:pt x="966" y="47"/>
                    <a:pt x="976" y="51"/>
                  </a:cubicBezTo>
                  <a:cubicBezTo>
                    <a:pt x="972" y="63"/>
                    <a:pt x="972" y="63"/>
                    <a:pt x="972" y="63"/>
                  </a:cubicBezTo>
                  <a:moveTo>
                    <a:pt x="467" y="56"/>
                  </a:moveTo>
                  <a:cubicBezTo>
                    <a:pt x="463" y="44"/>
                    <a:pt x="463" y="44"/>
                    <a:pt x="463" y="44"/>
                  </a:cubicBezTo>
                  <a:cubicBezTo>
                    <a:pt x="474" y="40"/>
                    <a:pt x="485" y="36"/>
                    <a:pt x="496" y="33"/>
                  </a:cubicBezTo>
                  <a:cubicBezTo>
                    <a:pt x="500" y="45"/>
                    <a:pt x="500" y="45"/>
                    <a:pt x="500" y="45"/>
                  </a:cubicBezTo>
                  <a:cubicBezTo>
                    <a:pt x="489" y="48"/>
                    <a:pt x="478" y="52"/>
                    <a:pt x="467" y="56"/>
                  </a:cubicBezTo>
                  <a:moveTo>
                    <a:pt x="907" y="41"/>
                  </a:moveTo>
                  <a:cubicBezTo>
                    <a:pt x="896" y="38"/>
                    <a:pt x="885" y="35"/>
                    <a:pt x="873" y="32"/>
                  </a:cubicBezTo>
                  <a:cubicBezTo>
                    <a:pt x="876" y="19"/>
                    <a:pt x="876" y="19"/>
                    <a:pt x="876" y="19"/>
                  </a:cubicBezTo>
                  <a:cubicBezTo>
                    <a:pt x="888" y="22"/>
                    <a:pt x="899" y="25"/>
                    <a:pt x="910" y="28"/>
                  </a:cubicBezTo>
                  <a:cubicBezTo>
                    <a:pt x="907" y="41"/>
                    <a:pt x="907" y="41"/>
                    <a:pt x="907" y="41"/>
                  </a:cubicBezTo>
                  <a:moveTo>
                    <a:pt x="533" y="35"/>
                  </a:moveTo>
                  <a:cubicBezTo>
                    <a:pt x="529" y="23"/>
                    <a:pt x="529" y="23"/>
                    <a:pt x="529" y="23"/>
                  </a:cubicBezTo>
                  <a:cubicBezTo>
                    <a:pt x="541" y="20"/>
                    <a:pt x="552" y="17"/>
                    <a:pt x="564" y="15"/>
                  </a:cubicBezTo>
                  <a:cubicBezTo>
                    <a:pt x="566" y="28"/>
                    <a:pt x="566" y="28"/>
                    <a:pt x="566" y="28"/>
                  </a:cubicBezTo>
                  <a:cubicBezTo>
                    <a:pt x="555" y="30"/>
                    <a:pt x="544" y="33"/>
                    <a:pt x="533" y="35"/>
                  </a:cubicBezTo>
                  <a:moveTo>
                    <a:pt x="840" y="25"/>
                  </a:moveTo>
                  <a:cubicBezTo>
                    <a:pt x="828" y="23"/>
                    <a:pt x="817" y="21"/>
                    <a:pt x="806" y="19"/>
                  </a:cubicBezTo>
                  <a:cubicBezTo>
                    <a:pt x="808" y="6"/>
                    <a:pt x="808" y="6"/>
                    <a:pt x="808" y="6"/>
                  </a:cubicBezTo>
                  <a:cubicBezTo>
                    <a:pt x="819" y="8"/>
                    <a:pt x="831" y="10"/>
                    <a:pt x="842" y="12"/>
                  </a:cubicBezTo>
                  <a:cubicBezTo>
                    <a:pt x="840" y="25"/>
                    <a:pt x="840" y="25"/>
                    <a:pt x="840" y="25"/>
                  </a:cubicBezTo>
                  <a:moveTo>
                    <a:pt x="600" y="21"/>
                  </a:moveTo>
                  <a:cubicBezTo>
                    <a:pt x="598" y="9"/>
                    <a:pt x="598" y="9"/>
                    <a:pt x="598" y="9"/>
                  </a:cubicBezTo>
                  <a:cubicBezTo>
                    <a:pt x="610" y="7"/>
                    <a:pt x="621" y="5"/>
                    <a:pt x="633" y="4"/>
                  </a:cubicBezTo>
                  <a:cubicBezTo>
                    <a:pt x="634" y="17"/>
                    <a:pt x="634" y="17"/>
                    <a:pt x="634" y="17"/>
                  </a:cubicBezTo>
                  <a:cubicBezTo>
                    <a:pt x="623" y="18"/>
                    <a:pt x="611" y="20"/>
                    <a:pt x="600" y="21"/>
                  </a:cubicBezTo>
                  <a:moveTo>
                    <a:pt x="772" y="15"/>
                  </a:moveTo>
                  <a:cubicBezTo>
                    <a:pt x="760" y="14"/>
                    <a:pt x="749" y="14"/>
                    <a:pt x="737" y="13"/>
                  </a:cubicBezTo>
                  <a:cubicBezTo>
                    <a:pt x="738" y="0"/>
                    <a:pt x="738" y="0"/>
                    <a:pt x="738" y="0"/>
                  </a:cubicBezTo>
                  <a:cubicBezTo>
                    <a:pt x="749" y="1"/>
                    <a:pt x="761" y="1"/>
                    <a:pt x="773" y="2"/>
                  </a:cubicBezTo>
                  <a:cubicBezTo>
                    <a:pt x="772" y="15"/>
                    <a:pt x="772" y="15"/>
                    <a:pt x="772" y="15"/>
                  </a:cubicBezTo>
                  <a:moveTo>
                    <a:pt x="668" y="14"/>
                  </a:moveTo>
                  <a:cubicBezTo>
                    <a:pt x="668" y="1"/>
                    <a:pt x="668" y="1"/>
                    <a:pt x="668" y="1"/>
                  </a:cubicBezTo>
                  <a:cubicBezTo>
                    <a:pt x="679" y="0"/>
                    <a:pt x="691" y="0"/>
                    <a:pt x="703" y="0"/>
                  </a:cubicBezTo>
                  <a:cubicBezTo>
                    <a:pt x="703" y="13"/>
                    <a:pt x="703" y="13"/>
                    <a:pt x="703" y="13"/>
                  </a:cubicBezTo>
                  <a:cubicBezTo>
                    <a:pt x="691" y="13"/>
                    <a:pt x="680" y="13"/>
                    <a:pt x="668" y="14"/>
                  </a:cubicBezTo>
                </a:path>
              </a:pathLst>
            </a:custGeom>
            <a:solidFill>
              <a:schemeClr val="accent3">
                <a:lumMod val="75000"/>
              </a:schemeClr>
            </a:solidFill>
            <a:ln>
              <a:noFill/>
            </a:ln>
          </p:spPr>
          <p:txBody>
            <a:bodyPr vert="horz" wrap="square" lIns="91440" tIns="45720" rIns="91440" bIns="45720" numCol="1" anchor="t" anchorCtr="0" compatLnSpc="1"/>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华文楷体" panose="02010600040101010101" charset="-122"/>
                <a:cs typeface="+mn-cs"/>
              </a:endParaRPr>
            </a:p>
          </p:txBody>
        </p:sp>
        <p:sp>
          <p:nvSpPr>
            <p:cNvPr id="45" name="Freeform 7"/>
            <p:cNvSpPr>
              <a:spLocks noEditPoints="1"/>
            </p:cNvSpPr>
            <p:nvPr/>
          </p:nvSpPr>
          <p:spPr bwMode="auto">
            <a:xfrm>
              <a:off x="2843031" y="2457851"/>
              <a:ext cx="2437545" cy="2441171"/>
            </a:xfrm>
            <a:custGeom>
              <a:avLst/>
              <a:gdLst>
                <a:gd name="T0" fmla="*/ 484 w 968"/>
                <a:gd name="T1" fmla="*/ 955 h 968"/>
                <a:gd name="T2" fmla="*/ 526 w 968"/>
                <a:gd name="T3" fmla="*/ 967 h 968"/>
                <a:gd name="T4" fmla="*/ 526 w 968"/>
                <a:gd name="T5" fmla="*/ 967 h 968"/>
                <a:gd name="T6" fmla="*/ 422 w 968"/>
                <a:gd name="T7" fmla="*/ 951 h 968"/>
                <a:gd name="T8" fmla="*/ 625 w 968"/>
                <a:gd name="T9" fmla="*/ 934 h 968"/>
                <a:gd name="T10" fmla="*/ 318 w 968"/>
                <a:gd name="T11" fmla="*/ 939 h 968"/>
                <a:gd name="T12" fmla="*/ 662 w 968"/>
                <a:gd name="T13" fmla="*/ 934 h 968"/>
                <a:gd name="T14" fmla="*/ 662 w 968"/>
                <a:gd name="T15" fmla="*/ 934 h 968"/>
                <a:gd name="T16" fmla="*/ 291 w 968"/>
                <a:gd name="T17" fmla="*/ 914 h 968"/>
                <a:gd name="T18" fmla="*/ 748 w 968"/>
                <a:gd name="T19" fmla="*/ 874 h 968"/>
                <a:gd name="T20" fmla="*/ 195 w 968"/>
                <a:gd name="T21" fmla="*/ 873 h 968"/>
                <a:gd name="T22" fmla="*/ 784 w 968"/>
                <a:gd name="T23" fmla="*/ 864 h 968"/>
                <a:gd name="T24" fmla="*/ 784 w 968"/>
                <a:gd name="T25" fmla="*/ 864 h 968"/>
                <a:gd name="T26" fmla="*/ 176 w 968"/>
                <a:gd name="T27" fmla="*/ 841 h 968"/>
                <a:gd name="T28" fmla="*/ 849 w 968"/>
                <a:gd name="T29" fmla="*/ 782 h 968"/>
                <a:gd name="T30" fmla="*/ 96 w 968"/>
                <a:gd name="T31" fmla="*/ 773 h 968"/>
                <a:gd name="T32" fmla="*/ 880 w 968"/>
                <a:gd name="T33" fmla="*/ 762 h 968"/>
                <a:gd name="T34" fmla="*/ 880 w 968"/>
                <a:gd name="T35" fmla="*/ 762 h 968"/>
                <a:gd name="T36" fmla="*/ 87 w 968"/>
                <a:gd name="T37" fmla="*/ 737 h 968"/>
                <a:gd name="T38" fmla="*/ 919 w 968"/>
                <a:gd name="T39" fmla="*/ 665 h 968"/>
                <a:gd name="T40" fmla="*/ 29 w 968"/>
                <a:gd name="T41" fmla="*/ 650 h 968"/>
                <a:gd name="T42" fmla="*/ 943 w 968"/>
                <a:gd name="T43" fmla="*/ 637 h 968"/>
                <a:gd name="T44" fmla="*/ 943 w 968"/>
                <a:gd name="T45" fmla="*/ 637 h 968"/>
                <a:gd name="T46" fmla="*/ 31 w 968"/>
                <a:gd name="T47" fmla="*/ 613 h 968"/>
                <a:gd name="T48" fmla="*/ 952 w 968"/>
                <a:gd name="T49" fmla="*/ 533 h 968"/>
                <a:gd name="T50" fmla="*/ 1 w 968"/>
                <a:gd name="T51" fmla="*/ 513 h 968"/>
                <a:gd name="T52" fmla="*/ 968 w 968"/>
                <a:gd name="T53" fmla="*/ 499 h 968"/>
                <a:gd name="T54" fmla="*/ 967 w 968"/>
                <a:gd name="T55" fmla="*/ 448 h 968"/>
                <a:gd name="T56" fmla="*/ 0 w 968"/>
                <a:gd name="T57" fmla="*/ 477 h 968"/>
                <a:gd name="T58" fmla="*/ 950 w 968"/>
                <a:gd name="T59" fmla="*/ 415 h 968"/>
                <a:gd name="T60" fmla="*/ 950 w 968"/>
                <a:gd name="T61" fmla="*/ 415 h 968"/>
                <a:gd name="T62" fmla="*/ 25 w 968"/>
                <a:gd name="T63" fmla="*/ 376 h 968"/>
                <a:gd name="T64" fmla="*/ 936 w 968"/>
                <a:gd name="T65" fmla="*/ 311 h 968"/>
                <a:gd name="T66" fmla="*/ 22 w 968"/>
                <a:gd name="T67" fmla="*/ 339 h 968"/>
                <a:gd name="T68" fmla="*/ 911 w 968"/>
                <a:gd name="T69" fmla="*/ 285 h 968"/>
                <a:gd name="T70" fmla="*/ 911 w 968"/>
                <a:gd name="T71" fmla="*/ 285 h 968"/>
                <a:gd name="T72" fmla="*/ 76 w 968"/>
                <a:gd name="T73" fmla="*/ 249 h 968"/>
                <a:gd name="T74" fmla="*/ 868 w 968"/>
                <a:gd name="T75" fmla="*/ 189 h 968"/>
                <a:gd name="T76" fmla="*/ 83 w 968"/>
                <a:gd name="T77" fmla="*/ 213 h 968"/>
                <a:gd name="T78" fmla="*/ 835 w 968"/>
                <a:gd name="T79" fmla="*/ 171 h 968"/>
                <a:gd name="T80" fmla="*/ 835 w 968"/>
                <a:gd name="T81" fmla="*/ 171 h 968"/>
                <a:gd name="T82" fmla="*/ 160 w 968"/>
                <a:gd name="T83" fmla="*/ 142 h 968"/>
                <a:gd name="T84" fmla="*/ 767 w 968"/>
                <a:gd name="T85" fmla="*/ 91 h 968"/>
                <a:gd name="T86" fmla="*/ 178 w 968"/>
                <a:gd name="T87" fmla="*/ 109 h 968"/>
                <a:gd name="T88" fmla="*/ 731 w 968"/>
                <a:gd name="T89" fmla="*/ 83 h 968"/>
                <a:gd name="T90" fmla="*/ 731 w 968"/>
                <a:gd name="T91" fmla="*/ 83 h 968"/>
                <a:gd name="T92" fmla="*/ 272 w 968"/>
                <a:gd name="T93" fmla="*/ 63 h 968"/>
                <a:gd name="T94" fmla="*/ 642 w 968"/>
                <a:gd name="T95" fmla="*/ 27 h 968"/>
                <a:gd name="T96" fmla="*/ 298 w 968"/>
                <a:gd name="T97" fmla="*/ 37 h 968"/>
                <a:gd name="T98" fmla="*/ 605 w 968"/>
                <a:gd name="T99" fmla="*/ 29 h 968"/>
                <a:gd name="T100" fmla="*/ 605 w 968"/>
                <a:gd name="T101" fmla="*/ 29 h 968"/>
                <a:gd name="T102" fmla="*/ 402 w 968"/>
                <a:gd name="T103" fmla="*/ 20 h 968"/>
                <a:gd name="T104" fmla="*/ 505 w 968"/>
                <a:gd name="T105" fmla="*/ 1 h 968"/>
                <a:gd name="T106" fmla="*/ 434 w 968"/>
                <a:gd name="T107" fmla="*/ 3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8" h="968">
                  <a:moveTo>
                    <a:pt x="484" y="968"/>
                  </a:moveTo>
                  <a:cubicBezTo>
                    <a:pt x="475" y="968"/>
                    <a:pt x="465" y="968"/>
                    <a:pt x="456" y="968"/>
                  </a:cubicBezTo>
                  <a:cubicBezTo>
                    <a:pt x="456" y="955"/>
                    <a:pt x="456" y="955"/>
                    <a:pt x="456" y="955"/>
                  </a:cubicBezTo>
                  <a:cubicBezTo>
                    <a:pt x="466" y="955"/>
                    <a:pt x="475" y="955"/>
                    <a:pt x="484" y="955"/>
                  </a:cubicBezTo>
                  <a:cubicBezTo>
                    <a:pt x="491" y="955"/>
                    <a:pt x="491" y="955"/>
                    <a:pt x="491" y="955"/>
                  </a:cubicBezTo>
                  <a:cubicBezTo>
                    <a:pt x="491" y="968"/>
                    <a:pt x="491" y="968"/>
                    <a:pt x="491" y="968"/>
                  </a:cubicBezTo>
                  <a:lnTo>
                    <a:pt x="484" y="968"/>
                  </a:lnTo>
                  <a:close/>
                  <a:moveTo>
                    <a:pt x="526" y="967"/>
                  </a:moveTo>
                  <a:cubicBezTo>
                    <a:pt x="525" y="954"/>
                    <a:pt x="525" y="954"/>
                    <a:pt x="525" y="954"/>
                  </a:cubicBezTo>
                  <a:cubicBezTo>
                    <a:pt x="536" y="953"/>
                    <a:pt x="548" y="951"/>
                    <a:pt x="559" y="949"/>
                  </a:cubicBezTo>
                  <a:cubicBezTo>
                    <a:pt x="561" y="962"/>
                    <a:pt x="561" y="962"/>
                    <a:pt x="561" y="962"/>
                  </a:cubicBezTo>
                  <a:cubicBezTo>
                    <a:pt x="549" y="964"/>
                    <a:pt x="538" y="966"/>
                    <a:pt x="526" y="967"/>
                  </a:cubicBezTo>
                  <a:close/>
                  <a:moveTo>
                    <a:pt x="420" y="964"/>
                  </a:moveTo>
                  <a:cubicBezTo>
                    <a:pt x="409" y="963"/>
                    <a:pt x="397" y="961"/>
                    <a:pt x="386" y="958"/>
                  </a:cubicBezTo>
                  <a:cubicBezTo>
                    <a:pt x="388" y="946"/>
                    <a:pt x="388" y="946"/>
                    <a:pt x="388" y="946"/>
                  </a:cubicBezTo>
                  <a:cubicBezTo>
                    <a:pt x="399" y="948"/>
                    <a:pt x="411" y="950"/>
                    <a:pt x="422" y="951"/>
                  </a:cubicBezTo>
                  <a:lnTo>
                    <a:pt x="420" y="964"/>
                  </a:lnTo>
                  <a:close/>
                  <a:moveTo>
                    <a:pt x="595" y="955"/>
                  </a:moveTo>
                  <a:cubicBezTo>
                    <a:pt x="592" y="943"/>
                    <a:pt x="592" y="943"/>
                    <a:pt x="592" y="943"/>
                  </a:cubicBezTo>
                  <a:cubicBezTo>
                    <a:pt x="603" y="940"/>
                    <a:pt x="614" y="937"/>
                    <a:pt x="625" y="934"/>
                  </a:cubicBezTo>
                  <a:cubicBezTo>
                    <a:pt x="629" y="946"/>
                    <a:pt x="629" y="946"/>
                    <a:pt x="629" y="946"/>
                  </a:cubicBezTo>
                  <a:cubicBezTo>
                    <a:pt x="618" y="950"/>
                    <a:pt x="607" y="953"/>
                    <a:pt x="595" y="955"/>
                  </a:cubicBezTo>
                  <a:close/>
                  <a:moveTo>
                    <a:pt x="352" y="950"/>
                  </a:moveTo>
                  <a:cubicBezTo>
                    <a:pt x="340" y="947"/>
                    <a:pt x="329" y="943"/>
                    <a:pt x="318" y="939"/>
                  </a:cubicBezTo>
                  <a:cubicBezTo>
                    <a:pt x="323" y="927"/>
                    <a:pt x="323" y="927"/>
                    <a:pt x="323" y="927"/>
                  </a:cubicBezTo>
                  <a:cubicBezTo>
                    <a:pt x="333" y="931"/>
                    <a:pt x="344" y="934"/>
                    <a:pt x="355" y="938"/>
                  </a:cubicBezTo>
                  <a:lnTo>
                    <a:pt x="352" y="950"/>
                  </a:lnTo>
                  <a:close/>
                  <a:moveTo>
                    <a:pt x="662" y="934"/>
                  </a:moveTo>
                  <a:cubicBezTo>
                    <a:pt x="658" y="922"/>
                    <a:pt x="658" y="922"/>
                    <a:pt x="658" y="922"/>
                  </a:cubicBezTo>
                  <a:cubicBezTo>
                    <a:pt x="668" y="918"/>
                    <a:pt x="679" y="913"/>
                    <a:pt x="689" y="908"/>
                  </a:cubicBezTo>
                  <a:cubicBezTo>
                    <a:pt x="695" y="920"/>
                    <a:pt x="695" y="920"/>
                    <a:pt x="695" y="920"/>
                  </a:cubicBezTo>
                  <a:cubicBezTo>
                    <a:pt x="684" y="925"/>
                    <a:pt x="673" y="930"/>
                    <a:pt x="662" y="934"/>
                  </a:cubicBezTo>
                  <a:close/>
                  <a:moveTo>
                    <a:pt x="286" y="926"/>
                  </a:moveTo>
                  <a:cubicBezTo>
                    <a:pt x="275" y="921"/>
                    <a:pt x="264" y="916"/>
                    <a:pt x="254" y="910"/>
                  </a:cubicBezTo>
                  <a:cubicBezTo>
                    <a:pt x="260" y="899"/>
                    <a:pt x="260" y="899"/>
                    <a:pt x="260" y="899"/>
                  </a:cubicBezTo>
                  <a:cubicBezTo>
                    <a:pt x="270" y="904"/>
                    <a:pt x="280" y="909"/>
                    <a:pt x="291" y="914"/>
                  </a:cubicBezTo>
                  <a:lnTo>
                    <a:pt x="286" y="926"/>
                  </a:lnTo>
                  <a:close/>
                  <a:moveTo>
                    <a:pt x="726" y="904"/>
                  </a:moveTo>
                  <a:cubicBezTo>
                    <a:pt x="719" y="892"/>
                    <a:pt x="719" y="892"/>
                    <a:pt x="719" y="892"/>
                  </a:cubicBezTo>
                  <a:cubicBezTo>
                    <a:pt x="729" y="887"/>
                    <a:pt x="739" y="881"/>
                    <a:pt x="748" y="874"/>
                  </a:cubicBezTo>
                  <a:cubicBezTo>
                    <a:pt x="756" y="885"/>
                    <a:pt x="756" y="885"/>
                    <a:pt x="756" y="885"/>
                  </a:cubicBezTo>
                  <a:cubicBezTo>
                    <a:pt x="746" y="892"/>
                    <a:pt x="736" y="898"/>
                    <a:pt x="726" y="904"/>
                  </a:cubicBezTo>
                  <a:close/>
                  <a:moveTo>
                    <a:pt x="224" y="893"/>
                  </a:moveTo>
                  <a:cubicBezTo>
                    <a:pt x="214" y="886"/>
                    <a:pt x="204" y="880"/>
                    <a:pt x="195" y="873"/>
                  </a:cubicBezTo>
                  <a:cubicBezTo>
                    <a:pt x="203" y="862"/>
                    <a:pt x="203" y="862"/>
                    <a:pt x="203" y="862"/>
                  </a:cubicBezTo>
                  <a:cubicBezTo>
                    <a:pt x="212" y="869"/>
                    <a:pt x="221" y="876"/>
                    <a:pt x="231" y="882"/>
                  </a:cubicBezTo>
                  <a:lnTo>
                    <a:pt x="224" y="893"/>
                  </a:lnTo>
                  <a:close/>
                  <a:moveTo>
                    <a:pt x="784" y="864"/>
                  </a:moveTo>
                  <a:cubicBezTo>
                    <a:pt x="776" y="854"/>
                    <a:pt x="776" y="854"/>
                    <a:pt x="776" y="854"/>
                  </a:cubicBezTo>
                  <a:cubicBezTo>
                    <a:pt x="785" y="847"/>
                    <a:pt x="794" y="839"/>
                    <a:pt x="802" y="832"/>
                  </a:cubicBezTo>
                  <a:cubicBezTo>
                    <a:pt x="811" y="841"/>
                    <a:pt x="811" y="841"/>
                    <a:pt x="811" y="841"/>
                  </a:cubicBezTo>
                  <a:cubicBezTo>
                    <a:pt x="802" y="849"/>
                    <a:pt x="793" y="857"/>
                    <a:pt x="784" y="864"/>
                  </a:cubicBezTo>
                  <a:close/>
                  <a:moveTo>
                    <a:pt x="167" y="851"/>
                  </a:moveTo>
                  <a:cubicBezTo>
                    <a:pt x="159" y="843"/>
                    <a:pt x="150" y="835"/>
                    <a:pt x="142" y="827"/>
                  </a:cubicBezTo>
                  <a:cubicBezTo>
                    <a:pt x="151" y="817"/>
                    <a:pt x="151" y="817"/>
                    <a:pt x="151" y="817"/>
                  </a:cubicBezTo>
                  <a:cubicBezTo>
                    <a:pt x="159" y="826"/>
                    <a:pt x="167" y="833"/>
                    <a:pt x="176" y="841"/>
                  </a:cubicBezTo>
                  <a:lnTo>
                    <a:pt x="167" y="851"/>
                  </a:lnTo>
                  <a:close/>
                  <a:moveTo>
                    <a:pt x="836" y="817"/>
                  </a:moveTo>
                  <a:cubicBezTo>
                    <a:pt x="826" y="808"/>
                    <a:pt x="826" y="808"/>
                    <a:pt x="826" y="808"/>
                  </a:cubicBezTo>
                  <a:cubicBezTo>
                    <a:pt x="834" y="799"/>
                    <a:pt x="842" y="791"/>
                    <a:pt x="849" y="782"/>
                  </a:cubicBezTo>
                  <a:cubicBezTo>
                    <a:pt x="859" y="790"/>
                    <a:pt x="859" y="790"/>
                    <a:pt x="859" y="790"/>
                  </a:cubicBezTo>
                  <a:cubicBezTo>
                    <a:pt x="852" y="799"/>
                    <a:pt x="844" y="808"/>
                    <a:pt x="836" y="817"/>
                  </a:cubicBezTo>
                  <a:close/>
                  <a:moveTo>
                    <a:pt x="118" y="801"/>
                  </a:moveTo>
                  <a:cubicBezTo>
                    <a:pt x="110" y="792"/>
                    <a:pt x="103" y="783"/>
                    <a:pt x="96" y="773"/>
                  </a:cubicBezTo>
                  <a:cubicBezTo>
                    <a:pt x="106" y="766"/>
                    <a:pt x="106" y="766"/>
                    <a:pt x="106" y="766"/>
                  </a:cubicBezTo>
                  <a:cubicBezTo>
                    <a:pt x="113" y="775"/>
                    <a:pt x="120" y="784"/>
                    <a:pt x="127" y="792"/>
                  </a:cubicBezTo>
                  <a:lnTo>
                    <a:pt x="118" y="801"/>
                  </a:lnTo>
                  <a:close/>
                  <a:moveTo>
                    <a:pt x="880" y="762"/>
                  </a:moveTo>
                  <a:cubicBezTo>
                    <a:pt x="870" y="755"/>
                    <a:pt x="870" y="755"/>
                    <a:pt x="870" y="755"/>
                  </a:cubicBezTo>
                  <a:cubicBezTo>
                    <a:pt x="876" y="745"/>
                    <a:pt x="882" y="736"/>
                    <a:pt x="888" y="726"/>
                  </a:cubicBezTo>
                  <a:cubicBezTo>
                    <a:pt x="899" y="733"/>
                    <a:pt x="899" y="733"/>
                    <a:pt x="899" y="733"/>
                  </a:cubicBezTo>
                  <a:cubicBezTo>
                    <a:pt x="893" y="743"/>
                    <a:pt x="887" y="753"/>
                    <a:pt x="880" y="762"/>
                  </a:cubicBezTo>
                  <a:close/>
                  <a:moveTo>
                    <a:pt x="76" y="744"/>
                  </a:moveTo>
                  <a:cubicBezTo>
                    <a:pt x="69" y="735"/>
                    <a:pt x="63" y="724"/>
                    <a:pt x="58" y="714"/>
                  </a:cubicBezTo>
                  <a:cubicBezTo>
                    <a:pt x="69" y="708"/>
                    <a:pt x="69" y="708"/>
                    <a:pt x="69" y="708"/>
                  </a:cubicBezTo>
                  <a:cubicBezTo>
                    <a:pt x="75" y="718"/>
                    <a:pt x="80" y="728"/>
                    <a:pt x="87" y="737"/>
                  </a:cubicBezTo>
                  <a:lnTo>
                    <a:pt x="76" y="744"/>
                  </a:lnTo>
                  <a:close/>
                  <a:moveTo>
                    <a:pt x="916" y="702"/>
                  </a:moveTo>
                  <a:cubicBezTo>
                    <a:pt x="905" y="696"/>
                    <a:pt x="905" y="696"/>
                    <a:pt x="905" y="696"/>
                  </a:cubicBezTo>
                  <a:cubicBezTo>
                    <a:pt x="910" y="686"/>
                    <a:pt x="915" y="675"/>
                    <a:pt x="919" y="665"/>
                  </a:cubicBezTo>
                  <a:cubicBezTo>
                    <a:pt x="931" y="670"/>
                    <a:pt x="931" y="670"/>
                    <a:pt x="931" y="670"/>
                  </a:cubicBezTo>
                  <a:cubicBezTo>
                    <a:pt x="927" y="681"/>
                    <a:pt x="922" y="691"/>
                    <a:pt x="916" y="702"/>
                  </a:cubicBezTo>
                  <a:close/>
                  <a:moveTo>
                    <a:pt x="42" y="683"/>
                  </a:moveTo>
                  <a:cubicBezTo>
                    <a:pt x="37" y="672"/>
                    <a:pt x="33" y="661"/>
                    <a:pt x="29" y="650"/>
                  </a:cubicBezTo>
                  <a:cubicBezTo>
                    <a:pt x="41" y="645"/>
                    <a:pt x="41" y="645"/>
                    <a:pt x="41" y="645"/>
                  </a:cubicBezTo>
                  <a:cubicBezTo>
                    <a:pt x="45" y="656"/>
                    <a:pt x="49" y="667"/>
                    <a:pt x="54" y="677"/>
                  </a:cubicBezTo>
                  <a:lnTo>
                    <a:pt x="42" y="683"/>
                  </a:lnTo>
                  <a:close/>
                  <a:moveTo>
                    <a:pt x="943" y="637"/>
                  </a:moveTo>
                  <a:cubicBezTo>
                    <a:pt x="931" y="633"/>
                    <a:pt x="931" y="633"/>
                    <a:pt x="931" y="633"/>
                  </a:cubicBezTo>
                  <a:cubicBezTo>
                    <a:pt x="935" y="622"/>
                    <a:pt x="938" y="611"/>
                    <a:pt x="941" y="600"/>
                  </a:cubicBezTo>
                  <a:cubicBezTo>
                    <a:pt x="953" y="603"/>
                    <a:pt x="953" y="603"/>
                    <a:pt x="953" y="603"/>
                  </a:cubicBezTo>
                  <a:cubicBezTo>
                    <a:pt x="950" y="614"/>
                    <a:pt x="947" y="626"/>
                    <a:pt x="943" y="637"/>
                  </a:cubicBezTo>
                  <a:close/>
                  <a:moveTo>
                    <a:pt x="18" y="616"/>
                  </a:moveTo>
                  <a:cubicBezTo>
                    <a:pt x="15" y="605"/>
                    <a:pt x="12" y="594"/>
                    <a:pt x="10" y="582"/>
                  </a:cubicBezTo>
                  <a:cubicBezTo>
                    <a:pt x="22" y="580"/>
                    <a:pt x="22" y="580"/>
                    <a:pt x="22" y="580"/>
                  </a:cubicBezTo>
                  <a:cubicBezTo>
                    <a:pt x="25" y="591"/>
                    <a:pt x="27" y="602"/>
                    <a:pt x="31" y="613"/>
                  </a:cubicBezTo>
                  <a:lnTo>
                    <a:pt x="18" y="616"/>
                  </a:lnTo>
                  <a:close/>
                  <a:moveTo>
                    <a:pt x="961" y="569"/>
                  </a:moveTo>
                  <a:cubicBezTo>
                    <a:pt x="948" y="566"/>
                    <a:pt x="948" y="566"/>
                    <a:pt x="948" y="566"/>
                  </a:cubicBezTo>
                  <a:cubicBezTo>
                    <a:pt x="950" y="555"/>
                    <a:pt x="951" y="544"/>
                    <a:pt x="952" y="533"/>
                  </a:cubicBezTo>
                  <a:cubicBezTo>
                    <a:pt x="965" y="534"/>
                    <a:pt x="965" y="534"/>
                    <a:pt x="965" y="534"/>
                  </a:cubicBezTo>
                  <a:cubicBezTo>
                    <a:pt x="964" y="546"/>
                    <a:pt x="963" y="557"/>
                    <a:pt x="961" y="569"/>
                  </a:cubicBezTo>
                  <a:close/>
                  <a:moveTo>
                    <a:pt x="4" y="548"/>
                  </a:moveTo>
                  <a:cubicBezTo>
                    <a:pt x="2" y="536"/>
                    <a:pt x="1" y="524"/>
                    <a:pt x="1" y="513"/>
                  </a:cubicBezTo>
                  <a:cubicBezTo>
                    <a:pt x="14" y="512"/>
                    <a:pt x="14" y="512"/>
                    <a:pt x="14" y="512"/>
                  </a:cubicBezTo>
                  <a:cubicBezTo>
                    <a:pt x="14" y="523"/>
                    <a:pt x="15" y="535"/>
                    <a:pt x="17" y="546"/>
                  </a:cubicBezTo>
                  <a:lnTo>
                    <a:pt x="4" y="548"/>
                  </a:lnTo>
                  <a:close/>
                  <a:moveTo>
                    <a:pt x="968" y="499"/>
                  </a:moveTo>
                  <a:cubicBezTo>
                    <a:pt x="955" y="498"/>
                    <a:pt x="955" y="498"/>
                    <a:pt x="955" y="498"/>
                  </a:cubicBezTo>
                  <a:cubicBezTo>
                    <a:pt x="955" y="493"/>
                    <a:pt x="955" y="489"/>
                    <a:pt x="955" y="484"/>
                  </a:cubicBezTo>
                  <a:cubicBezTo>
                    <a:pt x="955" y="472"/>
                    <a:pt x="954" y="461"/>
                    <a:pt x="954" y="449"/>
                  </a:cubicBezTo>
                  <a:cubicBezTo>
                    <a:pt x="967" y="448"/>
                    <a:pt x="967" y="448"/>
                    <a:pt x="967" y="448"/>
                  </a:cubicBezTo>
                  <a:cubicBezTo>
                    <a:pt x="967" y="460"/>
                    <a:pt x="968" y="472"/>
                    <a:pt x="968" y="484"/>
                  </a:cubicBezTo>
                  <a:cubicBezTo>
                    <a:pt x="968" y="489"/>
                    <a:pt x="968" y="494"/>
                    <a:pt x="968" y="499"/>
                  </a:cubicBezTo>
                  <a:close/>
                  <a:moveTo>
                    <a:pt x="13" y="477"/>
                  </a:moveTo>
                  <a:cubicBezTo>
                    <a:pt x="0" y="477"/>
                    <a:pt x="0" y="477"/>
                    <a:pt x="0" y="477"/>
                  </a:cubicBezTo>
                  <a:cubicBezTo>
                    <a:pt x="0" y="466"/>
                    <a:pt x="1" y="454"/>
                    <a:pt x="2" y="442"/>
                  </a:cubicBezTo>
                  <a:cubicBezTo>
                    <a:pt x="14" y="443"/>
                    <a:pt x="14" y="443"/>
                    <a:pt x="14" y="443"/>
                  </a:cubicBezTo>
                  <a:cubicBezTo>
                    <a:pt x="14" y="455"/>
                    <a:pt x="13" y="466"/>
                    <a:pt x="13" y="477"/>
                  </a:cubicBezTo>
                  <a:close/>
                  <a:moveTo>
                    <a:pt x="950" y="415"/>
                  </a:moveTo>
                  <a:cubicBezTo>
                    <a:pt x="948" y="404"/>
                    <a:pt x="946" y="393"/>
                    <a:pt x="944" y="382"/>
                  </a:cubicBezTo>
                  <a:cubicBezTo>
                    <a:pt x="956" y="379"/>
                    <a:pt x="956" y="379"/>
                    <a:pt x="956" y="379"/>
                  </a:cubicBezTo>
                  <a:cubicBezTo>
                    <a:pt x="959" y="390"/>
                    <a:pt x="961" y="402"/>
                    <a:pt x="963" y="413"/>
                  </a:cubicBezTo>
                  <a:lnTo>
                    <a:pt x="950" y="415"/>
                  </a:lnTo>
                  <a:close/>
                  <a:moveTo>
                    <a:pt x="19" y="409"/>
                  </a:moveTo>
                  <a:cubicBezTo>
                    <a:pt x="6" y="407"/>
                    <a:pt x="6" y="407"/>
                    <a:pt x="6" y="407"/>
                  </a:cubicBezTo>
                  <a:cubicBezTo>
                    <a:pt x="8" y="396"/>
                    <a:pt x="10" y="384"/>
                    <a:pt x="13" y="373"/>
                  </a:cubicBezTo>
                  <a:cubicBezTo>
                    <a:pt x="25" y="376"/>
                    <a:pt x="25" y="376"/>
                    <a:pt x="25" y="376"/>
                  </a:cubicBezTo>
                  <a:cubicBezTo>
                    <a:pt x="23" y="387"/>
                    <a:pt x="20" y="398"/>
                    <a:pt x="19" y="409"/>
                  </a:cubicBezTo>
                  <a:close/>
                  <a:moveTo>
                    <a:pt x="935" y="349"/>
                  </a:moveTo>
                  <a:cubicBezTo>
                    <a:pt x="932" y="338"/>
                    <a:pt x="928" y="327"/>
                    <a:pt x="924" y="316"/>
                  </a:cubicBezTo>
                  <a:cubicBezTo>
                    <a:pt x="936" y="311"/>
                    <a:pt x="936" y="311"/>
                    <a:pt x="936" y="311"/>
                  </a:cubicBezTo>
                  <a:cubicBezTo>
                    <a:pt x="940" y="322"/>
                    <a:pt x="944" y="334"/>
                    <a:pt x="948" y="345"/>
                  </a:cubicBezTo>
                  <a:lnTo>
                    <a:pt x="935" y="349"/>
                  </a:lnTo>
                  <a:close/>
                  <a:moveTo>
                    <a:pt x="34" y="343"/>
                  </a:moveTo>
                  <a:cubicBezTo>
                    <a:pt x="22" y="339"/>
                    <a:pt x="22" y="339"/>
                    <a:pt x="22" y="339"/>
                  </a:cubicBezTo>
                  <a:cubicBezTo>
                    <a:pt x="25" y="328"/>
                    <a:pt x="29" y="316"/>
                    <a:pt x="34" y="306"/>
                  </a:cubicBezTo>
                  <a:cubicBezTo>
                    <a:pt x="46" y="310"/>
                    <a:pt x="46" y="310"/>
                    <a:pt x="46" y="310"/>
                  </a:cubicBezTo>
                  <a:cubicBezTo>
                    <a:pt x="42" y="321"/>
                    <a:pt x="38" y="332"/>
                    <a:pt x="34" y="343"/>
                  </a:cubicBezTo>
                  <a:close/>
                  <a:moveTo>
                    <a:pt x="911" y="285"/>
                  </a:moveTo>
                  <a:cubicBezTo>
                    <a:pt x="906" y="274"/>
                    <a:pt x="901" y="264"/>
                    <a:pt x="895" y="254"/>
                  </a:cubicBezTo>
                  <a:cubicBezTo>
                    <a:pt x="906" y="248"/>
                    <a:pt x="906" y="248"/>
                    <a:pt x="906" y="248"/>
                  </a:cubicBezTo>
                  <a:cubicBezTo>
                    <a:pt x="912" y="258"/>
                    <a:pt x="917" y="268"/>
                    <a:pt x="922" y="279"/>
                  </a:cubicBezTo>
                  <a:lnTo>
                    <a:pt x="911" y="285"/>
                  </a:lnTo>
                  <a:close/>
                  <a:moveTo>
                    <a:pt x="60" y="279"/>
                  </a:moveTo>
                  <a:cubicBezTo>
                    <a:pt x="48" y="273"/>
                    <a:pt x="48" y="273"/>
                    <a:pt x="48" y="273"/>
                  </a:cubicBezTo>
                  <a:cubicBezTo>
                    <a:pt x="53" y="263"/>
                    <a:pt x="59" y="253"/>
                    <a:pt x="64" y="242"/>
                  </a:cubicBezTo>
                  <a:cubicBezTo>
                    <a:pt x="76" y="249"/>
                    <a:pt x="76" y="249"/>
                    <a:pt x="76" y="249"/>
                  </a:cubicBezTo>
                  <a:cubicBezTo>
                    <a:pt x="70" y="259"/>
                    <a:pt x="65" y="269"/>
                    <a:pt x="60" y="279"/>
                  </a:cubicBezTo>
                  <a:close/>
                  <a:moveTo>
                    <a:pt x="877" y="225"/>
                  </a:moveTo>
                  <a:cubicBezTo>
                    <a:pt x="871" y="215"/>
                    <a:pt x="864" y="206"/>
                    <a:pt x="857" y="197"/>
                  </a:cubicBezTo>
                  <a:cubicBezTo>
                    <a:pt x="868" y="189"/>
                    <a:pt x="868" y="189"/>
                    <a:pt x="868" y="189"/>
                  </a:cubicBezTo>
                  <a:cubicBezTo>
                    <a:pt x="875" y="198"/>
                    <a:pt x="882" y="208"/>
                    <a:pt x="888" y="218"/>
                  </a:cubicBezTo>
                  <a:lnTo>
                    <a:pt x="877" y="225"/>
                  </a:lnTo>
                  <a:close/>
                  <a:moveTo>
                    <a:pt x="94" y="220"/>
                  </a:moveTo>
                  <a:cubicBezTo>
                    <a:pt x="83" y="213"/>
                    <a:pt x="83" y="213"/>
                    <a:pt x="83" y="213"/>
                  </a:cubicBezTo>
                  <a:cubicBezTo>
                    <a:pt x="90" y="203"/>
                    <a:pt x="97" y="193"/>
                    <a:pt x="104" y="184"/>
                  </a:cubicBezTo>
                  <a:cubicBezTo>
                    <a:pt x="114" y="192"/>
                    <a:pt x="114" y="192"/>
                    <a:pt x="114" y="192"/>
                  </a:cubicBezTo>
                  <a:cubicBezTo>
                    <a:pt x="107" y="201"/>
                    <a:pt x="100" y="210"/>
                    <a:pt x="94" y="220"/>
                  </a:cubicBezTo>
                  <a:close/>
                  <a:moveTo>
                    <a:pt x="835" y="171"/>
                  </a:moveTo>
                  <a:cubicBezTo>
                    <a:pt x="828" y="162"/>
                    <a:pt x="820" y="154"/>
                    <a:pt x="812" y="146"/>
                  </a:cubicBezTo>
                  <a:cubicBezTo>
                    <a:pt x="821" y="137"/>
                    <a:pt x="821" y="137"/>
                    <a:pt x="821" y="137"/>
                  </a:cubicBezTo>
                  <a:cubicBezTo>
                    <a:pt x="829" y="145"/>
                    <a:pt x="837" y="153"/>
                    <a:pt x="845" y="162"/>
                  </a:cubicBezTo>
                  <a:lnTo>
                    <a:pt x="835" y="171"/>
                  </a:lnTo>
                  <a:close/>
                  <a:moveTo>
                    <a:pt x="136" y="166"/>
                  </a:moveTo>
                  <a:cubicBezTo>
                    <a:pt x="127" y="157"/>
                    <a:pt x="127" y="157"/>
                    <a:pt x="127" y="157"/>
                  </a:cubicBezTo>
                  <a:cubicBezTo>
                    <a:pt x="135" y="149"/>
                    <a:pt x="143" y="140"/>
                    <a:pt x="151" y="132"/>
                  </a:cubicBezTo>
                  <a:cubicBezTo>
                    <a:pt x="160" y="142"/>
                    <a:pt x="160" y="142"/>
                    <a:pt x="160" y="142"/>
                  </a:cubicBezTo>
                  <a:cubicBezTo>
                    <a:pt x="152" y="150"/>
                    <a:pt x="144" y="158"/>
                    <a:pt x="136" y="166"/>
                  </a:cubicBezTo>
                  <a:close/>
                  <a:moveTo>
                    <a:pt x="786" y="123"/>
                  </a:moveTo>
                  <a:cubicBezTo>
                    <a:pt x="777" y="116"/>
                    <a:pt x="768" y="109"/>
                    <a:pt x="759" y="102"/>
                  </a:cubicBezTo>
                  <a:cubicBezTo>
                    <a:pt x="767" y="91"/>
                    <a:pt x="767" y="91"/>
                    <a:pt x="767" y="91"/>
                  </a:cubicBezTo>
                  <a:cubicBezTo>
                    <a:pt x="776" y="98"/>
                    <a:pt x="786" y="106"/>
                    <a:pt x="795" y="113"/>
                  </a:cubicBezTo>
                  <a:lnTo>
                    <a:pt x="786" y="123"/>
                  </a:lnTo>
                  <a:close/>
                  <a:moveTo>
                    <a:pt x="186" y="119"/>
                  </a:moveTo>
                  <a:cubicBezTo>
                    <a:pt x="178" y="109"/>
                    <a:pt x="178" y="109"/>
                    <a:pt x="178" y="109"/>
                  </a:cubicBezTo>
                  <a:cubicBezTo>
                    <a:pt x="187" y="102"/>
                    <a:pt x="196" y="95"/>
                    <a:pt x="206" y="88"/>
                  </a:cubicBezTo>
                  <a:cubicBezTo>
                    <a:pt x="213" y="99"/>
                    <a:pt x="213" y="99"/>
                    <a:pt x="213" y="99"/>
                  </a:cubicBezTo>
                  <a:cubicBezTo>
                    <a:pt x="204" y="105"/>
                    <a:pt x="195" y="112"/>
                    <a:pt x="186" y="119"/>
                  </a:cubicBezTo>
                  <a:close/>
                  <a:moveTo>
                    <a:pt x="731" y="83"/>
                  </a:moveTo>
                  <a:cubicBezTo>
                    <a:pt x="721" y="77"/>
                    <a:pt x="711" y="71"/>
                    <a:pt x="701" y="66"/>
                  </a:cubicBezTo>
                  <a:cubicBezTo>
                    <a:pt x="707" y="55"/>
                    <a:pt x="707" y="55"/>
                    <a:pt x="707" y="55"/>
                  </a:cubicBezTo>
                  <a:cubicBezTo>
                    <a:pt x="717" y="60"/>
                    <a:pt x="728" y="66"/>
                    <a:pt x="738" y="72"/>
                  </a:cubicBezTo>
                  <a:lnTo>
                    <a:pt x="731" y="83"/>
                  </a:lnTo>
                  <a:close/>
                  <a:moveTo>
                    <a:pt x="242" y="80"/>
                  </a:moveTo>
                  <a:cubicBezTo>
                    <a:pt x="235" y="69"/>
                    <a:pt x="235" y="69"/>
                    <a:pt x="235" y="69"/>
                  </a:cubicBezTo>
                  <a:cubicBezTo>
                    <a:pt x="245" y="63"/>
                    <a:pt x="256" y="57"/>
                    <a:pt x="266" y="52"/>
                  </a:cubicBezTo>
                  <a:cubicBezTo>
                    <a:pt x="272" y="63"/>
                    <a:pt x="272" y="63"/>
                    <a:pt x="272" y="63"/>
                  </a:cubicBezTo>
                  <a:cubicBezTo>
                    <a:pt x="262" y="68"/>
                    <a:pt x="252" y="74"/>
                    <a:pt x="242" y="80"/>
                  </a:cubicBezTo>
                  <a:close/>
                  <a:moveTo>
                    <a:pt x="670" y="51"/>
                  </a:moveTo>
                  <a:cubicBezTo>
                    <a:pt x="660" y="47"/>
                    <a:pt x="649" y="43"/>
                    <a:pt x="638" y="39"/>
                  </a:cubicBezTo>
                  <a:cubicBezTo>
                    <a:pt x="642" y="27"/>
                    <a:pt x="642" y="27"/>
                    <a:pt x="642" y="27"/>
                  </a:cubicBezTo>
                  <a:cubicBezTo>
                    <a:pt x="653" y="30"/>
                    <a:pt x="664" y="35"/>
                    <a:pt x="675" y="39"/>
                  </a:cubicBezTo>
                  <a:lnTo>
                    <a:pt x="670" y="51"/>
                  </a:lnTo>
                  <a:close/>
                  <a:moveTo>
                    <a:pt x="303" y="49"/>
                  </a:moveTo>
                  <a:cubicBezTo>
                    <a:pt x="298" y="37"/>
                    <a:pt x="298" y="37"/>
                    <a:pt x="298" y="37"/>
                  </a:cubicBezTo>
                  <a:cubicBezTo>
                    <a:pt x="309" y="32"/>
                    <a:pt x="320" y="28"/>
                    <a:pt x="331" y="25"/>
                  </a:cubicBezTo>
                  <a:cubicBezTo>
                    <a:pt x="335" y="37"/>
                    <a:pt x="335" y="37"/>
                    <a:pt x="335" y="37"/>
                  </a:cubicBezTo>
                  <a:cubicBezTo>
                    <a:pt x="325" y="41"/>
                    <a:pt x="314" y="45"/>
                    <a:pt x="303" y="49"/>
                  </a:cubicBezTo>
                  <a:close/>
                  <a:moveTo>
                    <a:pt x="605" y="29"/>
                  </a:moveTo>
                  <a:cubicBezTo>
                    <a:pt x="594" y="26"/>
                    <a:pt x="583" y="24"/>
                    <a:pt x="572" y="21"/>
                  </a:cubicBezTo>
                  <a:cubicBezTo>
                    <a:pt x="574" y="9"/>
                    <a:pt x="574" y="9"/>
                    <a:pt x="574" y="9"/>
                  </a:cubicBezTo>
                  <a:cubicBezTo>
                    <a:pt x="586" y="11"/>
                    <a:pt x="597" y="13"/>
                    <a:pt x="609" y="16"/>
                  </a:cubicBezTo>
                  <a:lnTo>
                    <a:pt x="605" y="29"/>
                  </a:lnTo>
                  <a:close/>
                  <a:moveTo>
                    <a:pt x="368" y="27"/>
                  </a:moveTo>
                  <a:cubicBezTo>
                    <a:pt x="365" y="15"/>
                    <a:pt x="365" y="15"/>
                    <a:pt x="365" y="15"/>
                  </a:cubicBezTo>
                  <a:cubicBezTo>
                    <a:pt x="376" y="12"/>
                    <a:pt x="388" y="10"/>
                    <a:pt x="399" y="7"/>
                  </a:cubicBezTo>
                  <a:cubicBezTo>
                    <a:pt x="402" y="20"/>
                    <a:pt x="402" y="20"/>
                    <a:pt x="402" y="20"/>
                  </a:cubicBezTo>
                  <a:cubicBezTo>
                    <a:pt x="391" y="22"/>
                    <a:pt x="379" y="25"/>
                    <a:pt x="368" y="27"/>
                  </a:cubicBezTo>
                  <a:close/>
                  <a:moveTo>
                    <a:pt x="538" y="16"/>
                  </a:moveTo>
                  <a:cubicBezTo>
                    <a:pt x="527" y="15"/>
                    <a:pt x="516" y="14"/>
                    <a:pt x="504" y="14"/>
                  </a:cubicBezTo>
                  <a:cubicBezTo>
                    <a:pt x="505" y="1"/>
                    <a:pt x="505" y="1"/>
                    <a:pt x="505" y="1"/>
                  </a:cubicBezTo>
                  <a:cubicBezTo>
                    <a:pt x="516" y="1"/>
                    <a:pt x="528" y="2"/>
                    <a:pt x="540" y="3"/>
                  </a:cubicBezTo>
                  <a:lnTo>
                    <a:pt x="538" y="16"/>
                  </a:lnTo>
                  <a:close/>
                  <a:moveTo>
                    <a:pt x="436" y="16"/>
                  </a:moveTo>
                  <a:cubicBezTo>
                    <a:pt x="434" y="3"/>
                    <a:pt x="434" y="3"/>
                    <a:pt x="434" y="3"/>
                  </a:cubicBezTo>
                  <a:cubicBezTo>
                    <a:pt x="446" y="1"/>
                    <a:pt x="458" y="1"/>
                    <a:pt x="469" y="0"/>
                  </a:cubicBezTo>
                  <a:cubicBezTo>
                    <a:pt x="470" y="13"/>
                    <a:pt x="470" y="13"/>
                    <a:pt x="470" y="13"/>
                  </a:cubicBezTo>
                  <a:cubicBezTo>
                    <a:pt x="458" y="14"/>
                    <a:pt x="447" y="14"/>
                    <a:pt x="436" y="16"/>
                  </a:cubicBezTo>
                  <a:close/>
                </a:path>
              </a:pathLst>
            </a:custGeom>
            <a:solidFill>
              <a:schemeClr val="accent1">
                <a:lumMod val="75000"/>
              </a:schemeClr>
            </a:solidFill>
            <a:ln>
              <a:noFill/>
            </a:ln>
          </p:spPr>
          <p:txBody>
            <a:bodyPr vert="horz" wrap="square" lIns="91440" tIns="45720" rIns="91440" bIns="45720" numCol="1" anchor="t" anchorCtr="0" compatLnSpc="1"/>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华文楷体" panose="02010600040101010101" charset="-122"/>
                <a:cs typeface="+mn-cs"/>
              </a:endParaRPr>
            </a:p>
          </p:txBody>
        </p:sp>
        <p:sp>
          <p:nvSpPr>
            <p:cNvPr id="46" name="Freeform 8"/>
            <p:cNvSpPr>
              <a:spLocks noEditPoints="1"/>
            </p:cNvSpPr>
            <p:nvPr/>
          </p:nvSpPr>
          <p:spPr bwMode="auto">
            <a:xfrm>
              <a:off x="4073284" y="1435241"/>
              <a:ext cx="3722485" cy="3724882"/>
            </a:xfrm>
            <a:custGeom>
              <a:avLst/>
              <a:gdLst>
                <a:gd name="T0" fmla="*/ 1160 w 2236"/>
                <a:gd name="T1" fmla="*/ 2235 h 2236"/>
                <a:gd name="T2" fmla="*/ 1056 w 2236"/>
                <a:gd name="T3" fmla="*/ 2221 h 2236"/>
                <a:gd name="T4" fmla="*/ 951 w 2236"/>
                <a:gd name="T5" fmla="*/ 2223 h 2236"/>
                <a:gd name="T6" fmla="*/ 1299 w 2236"/>
                <a:gd name="T7" fmla="*/ 2221 h 2236"/>
                <a:gd name="T8" fmla="*/ 1398 w 2236"/>
                <a:gd name="T9" fmla="*/ 2187 h 2236"/>
                <a:gd name="T10" fmla="*/ 1435 w 2236"/>
                <a:gd name="T11" fmla="*/ 2190 h 2236"/>
                <a:gd name="T12" fmla="*/ 785 w 2236"/>
                <a:gd name="T13" fmla="*/ 2172 h 2236"/>
                <a:gd name="T14" fmla="*/ 683 w 2236"/>
                <a:gd name="T15" fmla="*/ 2148 h 2236"/>
                <a:gd name="T16" fmla="*/ 1566 w 2236"/>
                <a:gd name="T17" fmla="*/ 2142 h 2236"/>
                <a:gd name="T18" fmla="*/ 1654 w 2236"/>
                <a:gd name="T19" fmla="*/ 2084 h 2236"/>
                <a:gd name="T20" fmla="*/ 1691 w 2236"/>
                <a:gd name="T21" fmla="*/ 2078 h 2236"/>
                <a:gd name="T22" fmla="*/ 535 w 2236"/>
                <a:gd name="T23" fmla="*/ 2057 h 2236"/>
                <a:gd name="T24" fmla="*/ 442 w 2236"/>
                <a:gd name="T25" fmla="*/ 2008 h 2236"/>
                <a:gd name="T26" fmla="*/ 1806 w 2236"/>
                <a:gd name="T27" fmla="*/ 1999 h 2236"/>
                <a:gd name="T28" fmla="*/ 1877 w 2236"/>
                <a:gd name="T29" fmla="*/ 1921 h 2236"/>
                <a:gd name="T30" fmla="*/ 1911 w 2236"/>
                <a:gd name="T31" fmla="*/ 1906 h 2236"/>
                <a:gd name="T32" fmla="*/ 321 w 2236"/>
                <a:gd name="T33" fmla="*/ 1883 h 2236"/>
                <a:gd name="T34" fmla="*/ 243 w 2236"/>
                <a:gd name="T35" fmla="*/ 1813 h 2236"/>
                <a:gd name="T36" fmla="*/ 2003 w 2236"/>
                <a:gd name="T37" fmla="*/ 1801 h 2236"/>
                <a:gd name="T38" fmla="*/ 2052 w 2236"/>
                <a:gd name="T39" fmla="*/ 1709 h 2236"/>
                <a:gd name="T40" fmla="*/ 2081 w 2236"/>
                <a:gd name="T41" fmla="*/ 1686 h 2236"/>
                <a:gd name="T42" fmla="*/ 156 w 2236"/>
                <a:gd name="T43" fmla="*/ 1662 h 2236"/>
                <a:gd name="T44" fmla="*/ 98 w 2236"/>
                <a:gd name="T45" fmla="*/ 1575 h 2236"/>
                <a:gd name="T46" fmla="*/ 2144 w 2236"/>
                <a:gd name="T47" fmla="*/ 1562 h 2236"/>
                <a:gd name="T48" fmla="*/ 2169 w 2236"/>
                <a:gd name="T49" fmla="*/ 1460 h 2236"/>
                <a:gd name="T50" fmla="*/ 2192 w 2236"/>
                <a:gd name="T51" fmla="*/ 1431 h 2236"/>
                <a:gd name="T52" fmla="*/ 51 w 2236"/>
                <a:gd name="T53" fmla="*/ 1407 h 2236"/>
                <a:gd name="T54" fmla="*/ 16 w 2236"/>
                <a:gd name="T55" fmla="*/ 1308 h 2236"/>
                <a:gd name="T56" fmla="*/ 2222 w 2236"/>
                <a:gd name="T57" fmla="*/ 1294 h 2236"/>
                <a:gd name="T58" fmla="*/ 2221 w 2236"/>
                <a:gd name="T59" fmla="*/ 1189 h 2236"/>
                <a:gd name="T60" fmla="*/ 2235 w 2236"/>
                <a:gd name="T61" fmla="*/ 1155 h 2236"/>
                <a:gd name="T62" fmla="*/ 13 w 2236"/>
                <a:gd name="T63" fmla="*/ 1100 h 2236"/>
                <a:gd name="T64" fmla="*/ 2236 w 2236"/>
                <a:gd name="T65" fmla="*/ 1116 h 2236"/>
                <a:gd name="T66" fmla="*/ 2231 w 2236"/>
                <a:gd name="T67" fmla="*/ 1011 h 2236"/>
                <a:gd name="T68" fmla="*/ 2214 w 2236"/>
                <a:gd name="T69" fmla="*/ 978 h 2236"/>
                <a:gd name="T70" fmla="*/ 36 w 2236"/>
                <a:gd name="T71" fmla="*/ 894 h 2236"/>
                <a:gd name="T72" fmla="*/ 30 w 2236"/>
                <a:gd name="T73" fmla="*/ 857 h 2236"/>
                <a:gd name="T74" fmla="*/ 2189 w 2236"/>
                <a:gd name="T75" fmla="*/ 843 h 2236"/>
                <a:gd name="T76" fmla="*/ 2170 w 2236"/>
                <a:gd name="T77" fmla="*/ 739 h 2236"/>
                <a:gd name="T78" fmla="*/ 2146 w 2236"/>
                <a:gd name="T79" fmla="*/ 711 h 2236"/>
                <a:gd name="T80" fmla="*/ 124 w 2236"/>
                <a:gd name="T81" fmla="*/ 634 h 2236"/>
                <a:gd name="T82" fmla="*/ 128 w 2236"/>
                <a:gd name="T83" fmla="*/ 597 h 2236"/>
                <a:gd name="T84" fmla="*/ 2087 w 2236"/>
                <a:gd name="T85" fmla="*/ 586 h 2236"/>
                <a:gd name="T86" fmla="*/ 2044 w 2236"/>
                <a:gd name="T87" fmla="*/ 490 h 2236"/>
                <a:gd name="T88" fmla="*/ 2013 w 2236"/>
                <a:gd name="T89" fmla="*/ 470 h 2236"/>
                <a:gd name="T90" fmla="*/ 275 w 2236"/>
                <a:gd name="T91" fmla="*/ 403 h 2236"/>
                <a:gd name="T92" fmla="*/ 288 w 2236"/>
                <a:gd name="T93" fmla="*/ 369 h 2236"/>
                <a:gd name="T94" fmla="*/ 1925 w 2236"/>
                <a:gd name="T95" fmla="*/ 363 h 2236"/>
                <a:gd name="T96" fmla="*/ 1860 w 2236"/>
                <a:gd name="T97" fmla="*/ 281 h 2236"/>
                <a:gd name="T98" fmla="*/ 1825 w 2236"/>
                <a:gd name="T99" fmla="*/ 268 h 2236"/>
                <a:gd name="T100" fmla="*/ 478 w 2236"/>
                <a:gd name="T101" fmla="*/ 217 h 2236"/>
                <a:gd name="T102" fmla="*/ 499 w 2236"/>
                <a:gd name="T103" fmla="*/ 186 h 2236"/>
                <a:gd name="T104" fmla="*/ 1714 w 2236"/>
                <a:gd name="T105" fmla="*/ 187 h 2236"/>
                <a:gd name="T106" fmla="*/ 1630 w 2236"/>
                <a:gd name="T107" fmla="*/ 124 h 2236"/>
                <a:gd name="T108" fmla="*/ 1593 w 2236"/>
                <a:gd name="T109" fmla="*/ 120 h 2236"/>
                <a:gd name="T110" fmla="*/ 721 w 2236"/>
                <a:gd name="T111" fmla="*/ 86 h 2236"/>
                <a:gd name="T112" fmla="*/ 749 w 2236"/>
                <a:gd name="T113" fmla="*/ 62 h 2236"/>
                <a:gd name="T114" fmla="*/ 1465 w 2236"/>
                <a:gd name="T115" fmla="*/ 68 h 2236"/>
                <a:gd name="T116" fmla="*/ 1369 w 2236"/>
                <a:gd name="T117" fmla="*/ 28 h 2236"/>
                <a:gd name="T118" fmla="*/ 1332 w 2236"/>
                <a:gd name="T119" fmla="*/ 33 h 2236"/>
                <a:gd name="T120" fmla="*/ 988 w 2236"/>
                <a:gd name="T121" fmla="*/ 20 h 2236"/>
                <a:gd name="T122" fmla="*/ 1022 w 2236"/>
                <a:gd name="T123" fmla="*/ 4 h 2236"/>
                <a:gd name="T124" fmla="*/ 1195 w 2236"/>
                <a:gd name="T125" fmla="*/ 15 h 2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6" h="2236">
                  <a:moveTo>
                    <a:pt x="1120" y="2236"/>
                  </a:moveTo>
                  <a:cubicBezTo>
                    <a:pt x="1110" y="2236"/>
                    <a:pt x="1100" y="2236"/>
                    <a:pt x="1090" y="2235"/>
                  </a:cubicBezTo>
                  <a:cubicBezTo>
                    <a:pt x="1090" y="2222"/>
                    <a:pt x="1090" y="2222"/>
                    <a:pt x="1090" y="2222"/>
                  </a:cubicBezTo>
                  <a:cubicBezTo>
                    <a:pt x="1100" y="2222"/>
                    <a:pt x="1110" y="2223"/>
                    <a:pt x="1120" y="2223"/>
                  </a:cubicBezTo>
                  <a:cubicBezTo>
                    <a:pt x="1125" y="2223"/>
                    <a:pt x="1125" y="2223"/>
                    <a:pt x="1125" y="2223"/>
                  </a:cubicBezTo>
                  <a:cubicBezTo>
                    <a:pt x="1125" y="2236"/>
                    <a:pt x="1125" y="2236"/>
                    <a:pt x="1125" y="2236"/>
                  </a:cubicBezTo>
                  <a:lnTo>
                    <a:pt x="1120" y="2236"/>
                  </a:lnTo>
                  <a:close/>
                  <a:moveTo>
                    <a:pt x="1160" y="2235"/>
                  </a:moveTo>
                  <a:cubicBezTo>
                    <a:pt x="1159" y="2222"/>
                    <a:pt x="1159" y="2222"/>
                    <a:pt x="1159" y="2222"/>
                  </a:cubicBezTo>
                  <a:cubicBezTo>
                    <a:pt x="1171" y="2221"/>
                    <a:pt x="1182" y="2221"/>
                    <a:pt x="1194" y="2220"/>
                  </a:cubicBezTo>
                  <a:cubicBezTo>
                    <a:pt x="1195" y="2233"/>
                    <a:pt x="1195" y="2233"/>
                    <a:pt x="1195" y="2233"/>
                  </a:cubicBezTo>
                  <a:cubicBezTo>
                    <a:pt x="1183" y="2234"/>
                    <a:pt x="1172" y="2234"/>
                    <a:pt x="1160" y="2235"/>
                  </a:cubicBezTo>
                  <a:close/>
                  <a:moveTo>
                    <a:pt x="1055" y="2234"/>
                  </a:moveTo>
                  <a:cubicBezTo>
                    <a:pt x="1044" y="2233"/>
                    <a:pt x="1032" y="2232"/>
                    <a:pt x="1020" y="2231"/>
                  </a:cubicBezTo>
                  <a:cubicBezTo>
                    <a:pt x="1021" y="2218"/>
                    <a:pt x="1021" y="2218"/>
                    <a:pt x="1021" y="2218"/>
                  </a:cubicBezTo>
                  <a:cubicBezTo>
                    <a:pt x="1033" y="2219"/>
                    <a:pt x="1044" y="2220"/>
                    <a:pt x="1056" y="2221"/>
                  </a:cubicBezTo>
                  <a:lnTo>
                    <a:pt x="1055" y="2234"/>
                  </a:lnTo>
                  <a:close/>
                  <a:moveTo>
                    <a:pt x="1230" y="2230"/>
                  </a:moveTo>
                  <a:cubicBezTo>
                    <a:pt x="1228" y="2217"/>
                    <a:pt x="1228" y="2217"/>
                    <a:pt x="1228" y="2217"/>
                  </a:cubicBezTo>
                  <a:cubicBezTo>
                    <a:pt x="1240" y="2216"/>
                    <a:pt x="1251" y="2215"/>
                    <a:pt x="1263" y="2213"/>
                  </a:cubicBezTo>
                  <a:cubicBezTo>
                    <a:pt x="1264" y="2226"/>
                    <a:pt x="1264" y="2226"/>
                    <a:pt x="1264" y="2226"/>
                  </a:cubicBezTo>
                  <a:cubicBezTo>
                    <a:pt x="1253" y="2228"/>
                    <a:pt x="1241" y="2229"/>
                    <a:pt x="1230" y="2230"/>
                  </a:cubicBezTo>
                  <a:close/>
                  <a:moveTo>
                    <a:pt x="986" y="2228"/>
                  </a:moveTo>
                  <a:cubicBezTo>
                    <a:pt x="974" y="2227"/>
                    <a:pt x="962" y="2225"/>
                    <a:pt x="951" y="2223"/>
                  </a:cubicBezTo>
                  <a:cubicBezTo>
                    <a:pt x="953" y="2210"/>
                    <a:pt x="953" y="2210"/>
                    <a:pt x="953" y="2210"/>
                  </a:cubicBezTo>
                  <a:cubicBezTo>
                    <a:pt x="964" y="2212"/>
                    <a:pt x="976" y="2214"/>
                    <a:pt x="987" y="2215"/>
                  </a:cubicBezTo>
                  <a:lnTo>
                    <a:pt x="986" y="2228"/>
                  </a:lnTo>
                  <a:close/>
                  <a:moveTo>
                    <a:pt x="1299" y="2221"/>
                  </a:moveTo>
                  <a:cubicBezTo>
                    <a:pt x="1297" y="2208"/>
                    <a:pt x="1297" y="2208"/>
                    <a:pt x="1297" y="2208"/>
                  </a:cubicBezTo>
                  <a:cubicBezTo>
                    <a:pt x="1308" y="2206"/>
                    <a:pt x="1319" y="2204"/>
                    <a:pt x="1331" y="2202"/>
                  </a:cubicBezTo>
                  <a:cubicBezTo>
                    <a:pt x="1333" y="2215"/>
                    <a:pt x="1333" y="2215"/>
                    <a:pt x="1333" y="2215"/>
                  </a:cubicBezTo>
                  <a:cubicBezTo>
                    <a:pt x="1322" y="2217"/>
                    <a:pt x="1310" y="2219"/>
                    <a:pt x="1299" y="2221"/>
                  </a:cubicBezTo>
                  <a:close/>
                  <a:moveTo>
                    <a:pt x="917" y="2218"/>
                  </a:moveTo>
                  <a:cubicBezTo>
                    <a:pt x="905" y="2215"/>
                    <a:pt x="894" y="2213"/>
                    <a:pt x="882" y="2211"/>
                  </a:cubicBezTo>
                  <a:cubicBezTo>
                    <a:pt x="885" y="2198"/>
                    <a:pt x="885" y="2198"/>
                    <a:pt x="885" y="2198"/>
                  </a:cubicBezTo>
                  <a:cubicBezTo>
                    <a:pt x="896" y="2200"/>
                    <a:pt x="908" y="2203"/>
                    <a:pt x="919" y="2205"/>
                  </a:cubicBezTo>
                  <a:lnTo>
                    <a:pt x="917" y="2218"/>
                  </a:lnTo>
                  <a:close/>
                  <a:moveTo>
                    <a:pt x="1367" y="2208"/>
                  </a:moveTo>
                  <a:cubicBezTo>
                    <a:pt x="1365" y="2195"/>
                    <a:pt x="1365" y="2195"/>
                    <a:pt x="1365" y="2195"/>
                  </a:cubicBezTo>
                  <a:cubicBezTo>
                    <a:pt x="1376" y="2192"/>
                    <a:pt x="1387" y="2190"/>
                    <a:pt x="1398" y="2187"/>
                  </a:cubicBezTo>
                  <a:cubicBezTo>
                    <a:pt x="1401" y="2199"/>
                    <a:pt x="1401" y="2199"/>
                    <a:pt x="1401" y="2199"/>
                  </a:cubicBezTo>
                  <a:cubicBezTo>
                    <a:pt x="1390" y="2202"/>
                    <a:pt x="1379" y="2205"/>
                    <a:pt x="1367" y="2208"/>
                  </a:cubicBezTo>
                  <a:close/>
                  <a:moveTo>
                    <a:pt x="848" y="2203"/>
                  </a:moveTo>
                  <a:cubicBezTo>
                    <a:pt x="837" y="2200"/>
                    <a:pt x="826" y="2197"/>
                    <a:pt x="814" y="2194"/>
                  </a:cubicBezTo>
                  <a:cubicBezTo>
                    <a:pt x="818" y="2181"/>
                    <a:pt x="818" y="2181"/>
                    <a:pt x="818" y="2181"/>
                  </a:cubicBezTo>
                  <a:cubicBezTo>
                    <a:pt x="829" y="2184"/>
                    <a:pt x="840" y="2187"/>
                    <a:pt x="851" y="2190"/>
                  </a:cubicBezTo>
                  <a:lnTo>
                    <a:pt x="848" y="2203"/>
                  </a:lnTo>
                  <a:close/>
                  <a:moveTo>
                    <a:pt x="1435" y="2190"/>
                  </a:moveTo>
                  <a:cubicBezTo>
                    <a:pt x="1431" y="2178"/>
                    <a:pt x="1431" y="2178"/>
                    <a:pt x="1431" y="2178"/>
                  </a:cubicBezTo>
                  <a:cubicBezTo>
                    <a:pt x="1442" y="2174"/>
                    <a:pt x="1453" y="2171"/>
                    <a:pt x="1464" y="2167"/>
                  </a:cubicBezTo>
                  <a:cubicBezTo>
                    <a:pt x="1468" y="2180"/>
                    <a:pt x="1468" y="2180"/>
                    <a:pt x="1468" y="2180"/>
                  </a:cubicBezTo>
                  <a:cubicBezTo>
                    <a:pt x="1457" y="2183"/>
                    <a:pt x="1446" y="2187"/>
                    <a:pt x="1435" y="2190"/>
                  </a:cubicBezTo>
                  <a:close/>
                  <a:moveTo>
                    <a:pt x="781" y="2184"/>
                  </a:moveTo>
                  <a:cubicBezTo>
                    <a:pt x="770" y="2180"/>
                    <a:pt x="759" y="2177"/>
                    <a:pt x="748" y="2173"/>
                  </a:cubicBezTo>
                  <a:cubicBezTo>
                    <a:pt x="752" y="2161"/>
                    <a:pt x="752" y="2161"/>
                    <a:pt x="752" y="2161"/>
                  </a:cubicBezTo>
                  <a:cubicBezTo>
                    <a:pt x="763" y="2164"/>
                    <a:pt x="774" y="2168"/>
                    <a:pt x="785" y="2172"/>
                  </a:cubicBezTo>
                  <a:lnTo>
                    <a:pt x="781" y="2184"/>
                  </a:lnTo>
                  <a:close/>
                  <a:moveTo>
                    <a:pt x="1501" y="2168"/>
                  </a:moveTo>
                  <a:cubicBezTo>
                    <a:pt x="1497" y="2156"/>
                    <a:pt x="1497" y="2156"/>
                    <a:pt x="1497" y="2156"/>
                  </a:cubicBezTo>
                  <a:cubicBezTo>
                    <a:pt x="1508" y="2152"/>
                    <a:pt x="1519" y="2148"/>
                    <a:pt x="1529" y="2144"/>
                  </a:cubicBezTo>
                  <a:cubicBezTo>
                    <a:pt x="1534" y="2156"/>
                    <a:pt x="1534" y="2156"/>
                    <a:pt x="1534" y="2156"/>
                  </a:cubicBezTo>
                  <a:cubicBezTo>
                    <a:pt x="1523" y="2160"/>
                    <a:pt x="1512" y="2164"/>
                    <a:pt x="1501" y="2168"/>
                  </a:cubicBezTo>
                  <a:close/>
                  <a:moveTo>
                    <a:pt x="715" y="2161"/>
                  </a:moveTo>
                  <a:cubicBezTo>
                    <a:pt x="704" y="2157"/>
                    <a:pt x="693" y="2152"/>
                    <a:pt x="683" y="2148"/>
                  </a:cubicBezTo>
                  <a:cubicBezTo>
                    <a:pt x="688" y="2136"/>
                    <a:pt x="688" y="2136"/>
                    <a:pt x="688" y="2136"/>
                  </a:cubicBezTo>
                  <a:cubicBezTo>
                    <a:pt x="698" y="2140"/>
                    <a:pt x="709" y="2145"/>
                    <a:pt x="720" y="2149"/>
                  </a:cubicBezTo>
                  <a:lnTo>
                    <a:pt x="715" y="2161"/>
                  </a:lnTo>
                  <a:close/>
                  <a:moveTo>
                    <a:pt x="1566" y="2142"/>
                  </a:moveTo>
                  <a:cubicBezTo>
                    <a:pt x="1561" y="2130"/>
                    <a:pt x="1561" y="2130"/>
                    <a:pt x="1561" y="2130"/>
                  </a:cubicBezTo>
                  <a:cubicBezTo>
                    <a:pt x="1572" y="2126"/>
                    <a:pt x="1582" y="2121"/>
                    <a:pt x="1593" y="2116"/>
                  </a:cubicBezTo>
                  <a:cubicBezTo>
                    <a:pt x="1598" y="2128"/>
                    <a:pt x="1598" y="2128"/>
                    <a:pt x="1598" y="2128"/>
                  </a:cubicBezTo>
                  <a:cubicBezTo>
                    <a:pt x="1588" y="2133"/>
                    <a:pt x="1577" y="2137"/>
                    <a:pt x="1566" y="2142"/>
                  </a:cubicBezTo>
                  <a:close/>
                  <a:moveTo>
                    <a:pt x="651" y="2134"/>
                  </a:moveTo>
                  <a:cubicBezTo>
                    <a:pt x="640" y="2129"/>
                    <a:pt x="630" y="2124"/>
                    <a:pt x="620" y="2119"/>
                  </a:cubicBezTo>
                  <a:cubicBezTo>
                    <a:pt x="625" y="2107"/>
                    <a:pt x="625" y="2107"/>
                    <a:pt x="625" y="2107"/>
                  </a:cubicBezTo>
                  <a:cubicBezTo>
                    <a:pt x="636" y="2112"/>
                    <a:pt x="646" y="2117"/>
                    <a:pt x="656" y="2122"/>
                  </a:cubicBezTo>
                  <a:lnTo>
                    <a:pt x="651" y="2134"/>
                  </a:lnTo>
                  <a:close/>
                  <a:moveTo>
                    <a:pt x="1630" y="2112"/>
                  </a:moveTo>
                  <a:cubicBezTo>
                    <a:pt x="1624" y="2100"/>
                    <a:pt x="1624" y="2100"/>
                    <a:pt x="1624" y="2100"/>
                  </a:cubicBezTo>
                  <a:cubicBezTo>
                    <a:pt x="1634" y="2095"/>
                    <a:pt x="1644" y="2090"/>
                    <a:pt x="1654" y="2084"/>
                  </a:cubicBezTo>
                  <a:cubicBezTo>
                    <a:pt x="1660" y="2095"/>
                    <a:pt x="1660" y="2095"/>
                    <a:pt x="1660" y="2095"/>
                  </a:cubicBezTo>
                  <a:cubicBezTo>
                    <a:pt x="1650" y="2101"/>
                    <a:pt x="1640" y="2107"/>
                    <a:pt x="1630" y="2112"/>
                  </a:cubicBezTo>
                  <a:close/>
                  <a:moveTo>
                    <a:pt x="589" y="2103"/>
                  </a:moveTo>
                  <a:cubicBezTo>
                    <a:pt x="578" y="2097"/>
                    <a:pt x="568" y="2091"/>
                    <a:pt x="558" y="2086"/>
                  </a:cubicBezTo>
                  <a:cubicBezTo>
                    <a:pt x="565" y="2074"/>
                    <a:pt x="565" y="2074"/>
                    <a:pt x="565" y="2074"/>
                  </a:cubicBezTo>
                  <a:cubicBezTo>
                    <a:pt x="575" y="2080"/>
                    <a:pt x="585" y="2086"/>
                    <a:pt x="595" y="2091"/>
                  </a:cubicBezTo>
                  <a:lnTo>
                    <a:pt x="589" y="2103"/>
                  </a:lnTo>
                  <a:close/>
                  <a:moveTo>
                    <a:pt x="1691" y="2078"/>
                  </a:moveTo>
                  <a:cubicBezTo>
                    <a:pt x="1684" y="2067"/>
                    <a:pt x="1684" y="2067"/>
                    <a:pt x="1684" y="2067"/>
                  </a:cubicBezTo>
                  <a:cubicBezTo>
                    <a:pt x="1694" y="2061"/>
                    <a:pt x="1704" y="2055"/>
                    <a:pt x="1713" y="2049"/>
                  </a:cubicBezTo>
                  <a:cubicBezTo>
                    <a:pt x="1721" y="2060"/>
                    <a:pt x="1721" y="2060"/>
                    <a:pt x="1721" y="2060"/>
                  </a:cubicBezTo>
                  <a:cubicBezTo>
                    <a:pt x="1711" y="2066"/>
                    <a:pt x="1701" y="2072"/>
                    <a:pt x="1691" y="2078"/>
                  </a:cubicBezTo>
                  <a:close/>
                  <a:moveTo>
                    <a:pt x="528" y="2068"/>
                  </a:moveTo>
                  <a:cubicBezTo>
                    <a:pt x="518" y="2061"/>
                    <a:pt x="509" y="2055"/>
                    <a:pt x="499" y="2049"/>
                  </a:cubicBezTo>
                  <a:cubicBezTo>
                    <a:pt x="506" y="2038"/>
                    <a:pt x="506" y="2038"/>
                    <a:pt x="506" y="2038"/>
                  </a:cubicBezTo>
                  <a:cubicBezTo>
                    <a:pt x="516" y="2044"/>
                    <a:pt x="525" y="2050"/>
                    <a:pt x="535" y="2057"/>
                  </a:cubicBezTo>
                  <a:lnTo>
                    <a:pt x="528" y="2068"/>
                  </a:lnTo>
                  <a:close/>
                  <a:moveTo>
                    <a:pt x="1750" y="2040"/>
                  </a:moveTo>
                  <a:cubicBezTo>
                    <a:pt x="1742" y="2029"/>
                    <a:pt x="1742" y="2029"/>
                    <a:pt x="1742" y="2029"/>
                  </a:cubicBezTo>
                  <a:cubicBezTo>
                    <a:pt x="1752" y="2023"/>
                    <a:pt x="1761" y="2016"/>
                    <a:pt x="1770" y="2009"/>
                  </a:cubicBezTo>
                  <a:cubicBezTo>
                    <a:pt x="1778" y="2020"/>
                    <a:pt x="1778" y="2020"/>
                    <a:pt x="1778" y="2020"/>
                  </a:cubicBezTo>
                  <a:cubicBezTo>
                    <a:pt x="1769" y="2027"/>
                    <a:pt x="1759" y="2034"/>
                    <a:pt x="1750" y="2040"/>
                  </a:cubicBezTo>
                  <a:close/>
                  <a:moveTo>
                    <a:pt x="470" y="2029"/>
                  </a:moveTo>
                  <a:cubicBezTo>
                    <a:pt x="461" y="2022"/>
                    <a:pt x="451" y="2015"/>
                    <a:pt x="442" y="2008"/>
                  </a:cubicBezTo>
                  <a:cubicBezTo>
                    <a:pt x="450" y="1998"/>
                    <a:pt x="450" y="1998"/>
                    <a:pt x="450" y="1998"/>
                  </a:cubicBezTo>
                  <a:cubicBezTo>
                    <a:pt x="459" y="2005"/>
                    <a:pt x="468" y="2012"/>
                    <a:pt x="478" y="2018"/>
                  </a:cubicBezTo>
                  <a:lnTo>
                    <a:pt x="470" y="2029"/>
                  </a:lnTo>
                  <a:close/>
                  <a:moveTo>
                    <a:pt x="1806" y="1999"/>
                  </a:moveTo>
                  <a:cubicBezTo>
                    <a:pt x="1798" y="1989"/>
                    <a:pt x="1798" y="1989"/>
                    <a:pt x="1798" y="1989"/>
                  </a:cubicBezTo>
                  <a:cubicBezTo>
                    <a:pt x="1807" y="1982"/>
                    <a:pt x="1816" y="1974"/>
                    <a:pt x="1825" y="1967"/>
                  </a:cubicBezTo>
                  <a:cubicBezTo>
                    <a:pt x="1833" y="1977"/>
                    <a:pt x="1833" y="1977"/>
                    <a:pt x="1833" y="1977"/>
                  </a:cubicBezTo>
                  <a:cubicBezTo>
                    <a:pt x="1824" y="1984"/>
                    <a:pt x="1815" y="1992"/>
                    <a:pt x="1806" y="1999"/>
                  </a:cubicBezTo>
                  <a:close/>
                  <a:moveTo>
                    <a:pt x="415" y="1987"/>
                  </a:moveTo>
                  <a:cubicBezTo>
                    <a:pt x="406" y="1979"/>
                    <a:pt x="397" y="1972"/>
                    <a:pt x="388" y="1964"/>
                  </a:cubicBezTo>
                  <a:cubicBezTo>
                    <a:pt x="396" y="1954"/>
                    <a:pt x="396" y="1954"/>
                    <a:pt x="396" y="1954"/>
                  </a:cubicBezTo>
                  <a:cubicBezTo>
                    <a:pt x="405" y="1962"/>
                    <a:pt x="414" y="1969"/>
                    <a:pt x="423" y="1977"/>
                  </a:cubicBezTo>
                  <a:lnTo>
                    <a:pt x="415" y="1987"/>
                  </a:lnTo>
                  <a:close/>
                  <a:moveTo>
                    <a:pt x="1860" y="1954"/>
                  </a:moveTo>
                  <a:cubicBezTo>
                    <a:pt x="1851" y="1944"/>
                    <a:pt x="1851" y="1944"/>
                    <a:pt x="1851" y="1944"/>
                  </a:cubicBezTo>
                  <a:cubicBezTo>
                    <a:pt x="1860" y="1937"/>
                    <a:pt x="1868" y="1929"/>
                    <a:pt x="1877" y="1921"/>
                  </a:cubicBezTo>
                  <a:cubicBezTo>
                    <a:pt x="1886" y="1931"/>
                    <a:pt x="1886" y="1931"/>
                    <a:pt x="1886" y="1931"/>
                  </a:cubicBezTo>
                  <a:cubicBezTo>
                    <a:pt x="1877" y="1939"/>
                    <a:pt x="1868" y="1946"/>
                    <a:pt x="1860" y="1954"/>
                  </a:cubicBezTo>
                  <a:close/>
                  <a:moveTo>
                    <a:pt x="362" y="1941"/>
                  </a:moveTo>
                  <a:cubicBezTo>
                    <a:pt x="353" y="1933"/>
                    <a:pt x="345" y="1925"/>
                    <a:pt x="336" y="1917"/>
                  </a:cubicBezTo>
                  <a:cubicBezTo>
                    <a:pt x="346" y="1908"/>
                    <a:pt x="346" y="1908"/>
                    <a:pt x="346" y="1908"/>
                  </a:cubicBezTo>
                  <a:cubicBezTo>
                    <a:pt x="354" y="1916"/>
                    <a:pt x="362" y="1924"/>
                    <a:pt x="371" y="1932"/>
                  </a:cubicBezTo>
                  <a:lnTo>
                    <a:pt x="362" y="1941"/>
                  </a:lnTo>
                  <a:close/>
                  <a:moveTo>
                    <a:pt x="1911" y="1906"/>
                  </a:moveTo>
                  <a:cubicBezTo>
                    <a:pt x="1901" y="1897"/>
                    <a:pt x="1901" y="1897"/>
                    <a:pt x="1901" y="1897"/>
                  </a:cubicBezTo>
                  <a:cubicBezTo>
                    <a:pt x="1909" y="1889"/>
                    <a:pt x="1917" y="1881"/>
                    <a:pt x="1925" y="1872"/>
                  </a:cubicBezTo>
                  <a:cubicBezTo>
                    <a:pt x="1935" y="1881"/>
                    <a:pt x="1935" y="1881"/>
                    <a:pt x="1935" y="1881"/>
                  </a:cubicBezTo>
                  <a:cubicBezTo>
                    <a:pt x="1927" y="1890"/>
                    <a:pt x="1919" y="1898"/>
                    <a:pt x="1911" y="1906"/>
                  </a:cubicBezTo>
                  <a:close/>
                  <a:moveTo>
                    <a:pt x="312" y="1892"/>
                  </a:moveTo>
                  <a:cubicBezTo>
                    <a:pt x="304" y="1884"/>
                    <a:pt x="296" y="1875"/>
                    <a:pt x="288" y="1867"/>
                  </a:cubicBezTo>
                  <a:cubicBezTo>
                    <a:pt x="298" y="1858"/>
                    <a:pt x="298" y="1858"/>
                    <a:pt x="298" y="1858"/>
                  </a:cubicBezTo>
                  <a:cubicBezTo>
                    <a:pt x="305" y="1867"/>
                    <a:pt x="313" y="1875"/>
                    <a:pt x="321" y="1883"/>
                  </a:cubicBezTo>
                  <a:lnTo>
                    <a:pt x="312" y="1892"/>
                  </a:lnTo>
                  <a:close/>
                  <a:moveTo>
                    <a:pt x="1958" y="1855"/>
                  </a:moveTo>
                  <a:cubicBezTo>
                    <a:pt x="1948" y="1847"/>
                    <a:pt x="1948" y="1847"/>
                    <a:pt x="1948" y="1847"/>
                  </a:cubicBezTo>
                  <a:cubicBezTo>
                    <a:pt x="1956" y="1838"/>
                    <a:pt x="1963" y="1829"/>
                    <a:pt x="1971" y="1820"/>
                  </a:cubicBezTo>
                  <a:cubicBezTo>
                    <a:pt x="1981" y="1829"/>
                    <a:pt x="1981" y="1829"/>
                    <a:pt x="1981" y="1829"/>
                  </a:cubicBezTo>
                  <a:cubicBezTo>
                    <a:pt x="1973" y="1838"/>
                    <a:pt x="1966" y="1846"/>
                    <a:pt x="1958" y="1855"/>
                  </a:cubicBezTo>
                  <a:close/>
                  <a:moveTo>
                    <a:pt x="265" y="1840"/>
                  </a:moveTo>
                  <a:cubicBezTo>
                    <a:pt x="258" y="1832"/>
                    <a:pt x="250" y="1823"/>
                    <a:pt x="243" y="1813"/>
                  </a:cubicBezTo>
                  <a:cubicBezTo>
                    <a:pt x="253" y="1805"/>
                    <a:pt x="253" y="1805"/>
                    <a:pt x="253" y="1805"/>
                  </a:cubicBezTo>
                  <a:cubicBezTo>
                    <a:pt x="260" y="1814"/>
                    <a:pt x="268" y="1823"/>
                    <a:pt x="275" y="1832"/>
                  </a:cubicBezTo>
                  <a:lnTo>
                    <a:pt x="265" y="1840"/>
                  </a:lnTo>
                  <a:close/>
                  <a:moveTo>
                    <a:pt x="2003" y="1801"/>
                  </a:moveTo>
                  <a:cubicBezTo>
                    <a:pt x="1992" y="1793"/>
                    <a:pt x="1992" y="1793"/>
                    <a:pt x="1992" y="1793"/>
                  </a:cubicBezTo>
                  <a:cubicBezTo>
                    <a:pt x="1999" y="1784"/>
                    <a:pt x="2006" y="1775"/>
                    <a:pt x="2013" y="1766"/>
                  </a:cubicBezTo>
                  <a:cubicBezTo>
                    <a:pt x="2024" y="1773"/>
                    <a:pt x="2024" y="1773"/>
                    <a:pt x="2024" y="1773"/>
                  </a:cubicBezTo>
                  <a:cubicBezTo>
                    <a:pt x="2017" y="1783"/>
                    <a:pt x="2010" y="1792"/>
                    <a:pt x="2003" y="1801"/>
                  </a:cubicBezTo>
                  <a:close/>
                  <a:moveTo>
                    <a:pt x="222" y="1786"/>
                  </a:moveTo>
                  <a:cubicBezTo>
                    <a:pt x="215" y="1776"/>
                    <a:pt x="208" y="1767"/>
                    <a:pt x="201" y="1757"/>
                  </a:cubicBezTo>
                  <a:cubicBezTo>
                    <a:pt x="212" y="1750"/>
                    <a:pt x="212" y="1750"/>
                    <a:pt x="212" y="1750"/>
                  </a:cubicBezTo>
                  <a:cubicBezTo>
                    <a:pt x="218" y="1759"/>
                    <a:pt x="225" y="1769"/>
                    <a:pt x="232" y="1778"/>
                  </a:cubicBezTo>
                  <a:lnTo>
                    <a:pt x="222" y="1786"/>
                  </a:lnTo>
                  <a:close/>
                  <a:moveTo>
                    <a:pt x="2044" y="1745"/>
                  </a:moveTo>
                  <a:cubicBezTo>
                    <a:pt x="2033" y="1738"/>
                    <a:pt x="2033" y="1738"/>
                    <a:pt x="2033" y="1738"/>
                  </a:cubicBezTo>
                  <a:cubicBezTo>
                    <a:pt x="2039" y="1728"/>
                    <a:pt x="2046" y="1718"/>
                    <a:pt x="2052" y="1709"/>
                  </a:cubicBezTo>
                  <a:cubicBezTo>
                    <a:pt x="2063" y="1716"/>
                    <a:pt x="2063" y="1716"/>
                    <a:pt x="2063" y="1716"/>
                  </a:cubicBezTo>
                  <a:cubicBezTo>
                    <a:pt x="2057" y="1726"/>
                    <a:pt x="2050" y="1735"/>
                    <a:pt x="2044" y="1745"/>
                  </a:cubicBezTo>
                  <a:close/>
                  <a:moveTo>
                    <a:pt x="181" y="1728"/>
                  </a:moveTo>
                  <a:cubicBezTo>
                    <a:pt x="175" y="1719"/>
                    <a:pt x="169" y="1709"/>
                    <a:pt x="163" y="1699"/>
                  </a:cubicBezTo>
                  <a:cubicBezTo>
                    <a:pt x="174" y="1692"/>
                    <a:pt x="174" y="1692"/>
                    <a:pt x="174" y="1692"/>
                  </a:cubicBezTo>
                  <a:cubicBezTo>
                    <a:pt x="180" y="1702"/>
                    <a:pt x="186" y="1712"/>
                    <a:pt x="192" y="1721"/>
                  </a:cubicBezTo>
                  <a:lnTo>
                    <a:pt x="181" y="1728"/>
                  </a:lnTo>
                  <a:close/>
                  <a:moveTo>
                    <a:pt x="2081" y="1686"/>
                  </a:moveTo>
                  <a:cubicBezTo>
                    <a:pt x="2070" y="1679"/>
                    <a:pt x="2070" y="1679"/>
                    <a:pt x="2070" y="1679"/>
                  </a:cubicBezTo>
                  <a:cubicBezTo>
                    <a:pt x="2076" y="1669"/>
                    <a:pt x="2081" y="1660"/>
                    <a:pt x="2087" y="1649"/>
                  </a:cubicBezTo>
                  <a:cubicBezTo>
                    <a:pt x="2098" y="1656"/>
                    <a:pt x="2098" y="1656"/>
                    <a:pt x="2098" y="1656"/>
                  </a:cubicBezTo>
                  <a:cubicBezTo>
                    <a:pt x="2093" y="1666"/>
                    <a:pt x="2087" y="1676"/>
                    <a:pt x="2081" y="1686"/>
                  </a:cubicBezTo>
                  <a:close/>
                  <a:moveTo>
                    <a:pt x="145" y="1669"/>
                  </a:moveTo>
                  <a:cubicBezTo>
                    <a:pt x="139" y="1659"/>
                    <a:pt x="134" y="1648"/>
                    <a:pt x="128" y="1638"/>
                  </a:cubicBezTo>
                  <a:cubicBezTo>
                    <a:pt x="140" y="1632"/>
                    <a:pt x="140" y="1632"/>
                    <a:pt x="140" y="1632"/>
                  </a:cubicBezTo>
                  <a:cubicBezTo>
                    <a:pt x="145" y="1642"/>
                    <a:pt x="151" y="1652"/>
                    <a:pt x="156" y="1662"/>
                  </a:cubicBezTo>
                  <a:lnTo>
                    <a:pt x="145" y="1669"/>
                  </a:lnTo>
                  <a:close/>
                  <a:moveTo>
                    <a:pt x="2115" y="1625"/>
                  </a:moveTo>
                  <a:cubicBezTo>
                    <a:pt x="2103" y="1619"/>
                    <a:pt x="2103" y="1619"/>
                    <a:pt x="2103" y="1619"/>
                  </a:cubicBezTo>
                  <a:cubicBezTo>
                    <a:pt x="2108" y="1609"/>
                    <a:pt x="2113" y="1598"/>
                    <a:pt x="2118" y="1588"/>
                  </a:cubicBezTo>
                  <a:cubicBezTo>
                    <a:pt x="2130" y="1594"/>
                    <a:pt x="2130" y="1594"/>
                    <a:pt x="2130" y="1594"/>
                  </a:cubicBezTo>
                  <a:cubicBezTo>
                    <a:pt x="2125" y="1604"/>
                    <a:pt x="2120" y="1615"/>
                    <a:pt x="2115" y="1625"/>
                  </a:cubicBezTo>
                  <a:close/>
                  <a:moveTo>
                    <a:pt x="112" y="1607"/>
                  </a:moveTo>
                  <a:cubicBezTo>
                    <a:pt x="107" y="1596"/>
                    <a:pt x="102" y="1586"/>
                    <a:pt x="98" y="1575"/>
                  </a:cubicBezTo>
                  <a:cubicBezTo>
                    <a:pt x="109" y="1570"/>
                    <a:pt x="109" y="1570"/>
                    <a:pt x="109" y="1570"/>
                  </a:cubicBezTo>
                  <a:cubicBezTo>
                    <a:pt x="114" y="1580"/>
                    <a:pt x="119" y="1591"/>
                    <a:pt x="124" y="1601"/>
                  </a:cubicBezTo>
                  <a:lnTo>
                    <a:pt x="112" y="1607"/>
                  </a:lnTo>
                  <a:close/>
                  <a:moveTo>
                    <a:pt x="2144" y="1562"/>
                  </a:moveTo>
                  <a:cubicBezTo>
                    <a:pt x="2132" y="1557"/>
                    <a:pt x="2132" y="1557"/>
                    <a:pt x="2132" y="1557"/>
                  </a:cubicBezTo>
                  <a:cubicBezTo>
                    <a:pt x="2137" y="1546"/>
                    <a:pt x="2141" y="1536"/>
                    <a:pt x="2145" y="1525"/>
                  </a:cubicBezTo>
                  <a:cubicBezTo>
                    <a:pt x="2158" y="1530"/>
                    <a:pt x="2158" y="1530"/>
                    <a:pt x="2158" y="1530"/>
                  </a:cubicBezTo>
                  <a:cubicBezTo>
                    <a:pt x="2153" y="1541"/>
                    <a:pt x="2149" y="1551"/>
                    <a:pt x="2144" y="1562"/>
                  </a:cubicBezTo>
                  <a:close/>
                  <a:moveTo>
                    <a:pt x="84" y="1543"/>
                  </a:moveTo>
                  <a:cubicBezTo>
                    <a:pt x="79" y="1532"/>
                    <a:pt x="75" y="1521"/>
                    <a:pt x="71" y="1510"/>
                  </a:cubicBezTo>
                  <a:cubicBezTo>
                    <a:pt x="83" y="1506"/>
                    <a:pt x="83" y="1506"/>
                    <a:pt x="83" y="1506"/>
                  </a:cubicBezTo>
                  <a:cubicBezTo>
                    <a:pt x="87" y="1517"/>
                    <a:pt x="91" y="1527"/>
                    <a:pt x="96" y="1538"/>
                  </a:cubicBezTo>
                  <a:lnTo>
                    <a:pt x="84" y="1543"/>
                  </a:lnTo>
                  <a:close/>
                  <a:moveTo>
                    <a:pt x="2170" y="1497"/>
                  </a:moveTo>
                  <a:cubicBezTo>
                    <a:pt x="2158" y="1493"/>
                    <a:pt x="2158" y="1493"/>
                    <a:pt x="2158" y="1493"/>
                  </a:cubicBezTo>
                  <a:cubicBezTo>
                    <a:pt x="2162" y="1482"/>
                    <a:pt x="2165" y="1471"/>
                    <a:pt x="2169" y="1460"/>
                  </a:cubicBezTo>
                  <a:cubicBezTo>
                    <a:pt x="2181" y="1464"/>
                    <a:pt x="2181" y="1464"/>
                    <a:pt x="2181" y="1464"/>
                  </a:cubicBezTo>
                  <a:cubicBezTo>
                    <a:pt x="2178" y="1475"/>
                    <a:pt x="2174" y="1486"/>
                    <a:pt x="2170" y="1497"/>
                  </a:cubicBezTo>
                  <a:close/>
                  <a:moveTo>
                    <a:pt x="59" y="1477"/>
                  </a:moveTo>
                  <a:cubicBezTo>
                    <a:pt x="55" y="1466"/>
                    <a:pt x="52" y="1455"/>
                    <a:pt x="48" y="1444"/>
                  </a:cubicBezTo>
                  <a:cubicBezTo>
                    <a:pt x="61" y="1440"/>
                    <a:pt x="61" y="1440"/>
                    <a:pt x="61" y="1440"/>
                  </a:cubicBezTo>
                  <a:cubicBezTo>
                    <a:pt x="64" y="1451"/>
                    <a:pt x="68" y="1462"/>
                    <a:pt x="71" y="1473"/>
                  </a:cubicBezTo>
                  <a:lnTo>
                    <a:pt x="59" y="1477"/>
                  </a:lnTo>
                  <a:close/>
                  <a:moveTo>
                    <a:pt x="2192" y="1431"/>
                  </a:moveTo>
                  <a:cubicBezTo>
                    <a:pt x="2179" y="1427"/>
                    <a:pt x="2179" y="1427"/>
                    <a:pt x="2179" y="1427"/>
                  </a:cubicBezTo>
                  <a:cubicBezTo>
                    <a:pt x="2182" y="1416"/>
                    <a:pt x="2185" y="1405"/>
                    <a:pt x="2188" y="1394"/>
                  </a:cubicBezTo>
                  <a:cubicBezTo>
                    <a:pt x="2201" y="1397"/>
                    <a:pt x="2201" y="1397"/>
                    <a:pt x="2201" y="1397"/>
                  </a:cubicBezTo>
                  <a:cubicBezTo>
                    <a:pt x="2198" y="1408"/>
                    <a:pt x="2195" y="1419"/>
                    <a:pt x="2192" y="1431"/>
                  </a:cubicBezTo>
                  <a:close/>
                  <a:moveTo>
                    <a:pt x="39" y="1410"/>
                  </a:moveTo>
                  <a:cubicBezTo>
                    <a:pt x="36" y="1399"/>
                    <a:pt x="33" y="1388"/>
                    <a:pt x="30" y="1377"/>
                  </a:cubicBezTo>
                  <a:cubicBezTo>
                    <a:pt x="43" y="1374"/>
                    <a:pt x="43" y="1374"/>
                    <a:pt x="43" y="1374"/>
                  </a:cubicBezTo>
                  <a:cubicBezTo>
                    <a:pt x="45" y="1385"/>
                    <a:pt x="48" y="1396"/>
                    <a:pt x="51" y="1407"/>
                  </a:cubicBezTo>
                  <a:lnTo>
                    <a:pt x="39" y="1410"/>
                  </a:lnTo>
                  <a:close/>
                  <a:moveTo>
                    <a:pt x="2209" y="1363"/>
                  </a:moveTo>
                  <a:cubicBezTo>
                    <a:pt x="2196" y="1360"/>
                    <a:pt x="2196" y="1360"/>
                    <a:pt x="2196" y="1360"/>
                  </a:cubicBezTo>
                  <a:cubicBezTo>
                    <a:pt x="2199" y="1349"/>
                    <a:pt x="2201" y="1338"/>
                    <a:pt x="2203" y="1326"/>
                  </a:cubicBezTo>
                  <a:cubicBezTo>
                    <a:pt x="2216" y="1329"/>
                    <a:pt x="2216" y="1329"/>
                    <a:pt x="2216" y="1329"/>
                  </a:cubicBezTo>
                  <a:cubicBezTo>
                    <a:pt x="2214" y="1340"/>
                    <a:pt x="2212" y="1352"/>
                    <a:pt x="2209" y="1363"/>
                  </a:cubicBezTo>
                  <a:close/>
                  <a:moveTo>
                    <a:pt x="23" y="1342"/>
                  </a:moveTo>
                  <a:cubicBezTo>
                    <a:pt x="20" y="1331"/>
                    <a:pt x="18" y="1320"/>
                    <a:pt x="16" y="1308"/>
                  </a:cubicBezTo>
                  <a:cubicBezTo>
                    <a:pt x="29" y="1306"/>
                    <a:pt x="29" y="1306"/>
                    <a:pt x="29" y="1306"/>
                  </a:cubicBezTo>
                  <a:cubicBezTo>
                    <a:pt x="31" y="1317"/>
                    <a:pt x="33" y="1329"/>
                    <a:pt x="35" y="1340"/>
                  </a:cubicBezTo>
                  <a:lnTo>
                    <a:pt x="23" y="1342"/>
                  </a:lnTo>
                  <a:close/>
                  <a:moveTo>
                    <a:pt x="2222" y="1294"/>
                  </a:moveTo>
                  <a:cubicBezTo>
                    <a:pt x="2209" y="1292"/>
                    <a:pt x="2209" y="1292"/>
                    <a:pt x="2209" y="1292"/>
                  </a:cubicBezTo>
                  <a:cubicBezTo>
                    <a:pt x="2211" y="1281"/>
                    <a:pt x="2213" y="1270"/>
                    <a:pt x="2214" y="1258"/>
                  </a:cubicBezTo>
                  <a:cubicBezTo>
                    <a:pt x="2227" y="1260"/>
                    <a:pt x="2227" y="1260"/>
                    <a:pt x="2227" y="1260"/>
                  </a:cubicBezTo>
                  <a:cubicBezTo>
                    <a:pt x="2226" y="1271"/>
                    <a:pt x="2224" y="1283"/>
                    <a:pt x="2222" y="1294"/>
                  </a:cubicBezTo>
                  <a:close/>
                  <a:moveTo>
                    <a:pt x="11" y="1274"/>
                  </a:moveTo>
                  <a:cubicBezTo>
                    <a:pt x="9" y="1262"/>
                    <a:pt x="8" y="1251"/>
                    <a:pt x="7" y="1239"/>
                  </a:cubicBezTo>
                  <a:cubicBezTo>
                    <a:pt x="19" y="1238"/>
                    <a:pt x="19" y="1238"/>
                    <a:pt x="19" y="1238"/>
                  </a:cubicBezTo>
                  <a:cubicBezTo>
                    <a:pt x="21" y="1249"/>
                    <a:pt x="22" y="1260"/>
                    <a:pt x="24" y="1272"/>
                  </a:cubicBezTo>
                  <a:lnTo>
                    <a:pt x="11" y="1274"/>
                  </a:lnTo>
                  <a:close/>
                  <a:moveTo>
                    <a:pt x="2231" y="1225"/>
                  </a:moveTo>
                  <a:cubicBezTo>
                    <a:pt x="2218" y="1224"/>
                    <a:pt x="2218" y="1224"/>
                    <a:pt x="2218" y="1224"/>
                  </a:cubicBezTo>
                  <a:cubicBezTo>
                    <a:pt x="2219" y="1212"/>
                    <a:pt x="2220" y="1201"/>
                    <a:pt x="2221" y="1189"/>
                  </a:cubicBezTo>
                  <a:cubicBezTo>
                    <a:pt x="2234" y="1190"/>
                    <a:pt x="2234" y="1190"/>
                    <a:pt x="2234" y="1190"/>
                  </a:cubicBezTo>
                  <a:cubicBezTo>
                    <a:pt x="2233" y="1202"/>
                    <a:pt x="2232" y="1214"/>
                    <a:pt x="2231" y="1225"/>
                  </a:cubicBezTo>
                  <a:close/>
                  <a:moveTo>
                    <a:pt x="3" y="1204"/>
                  </a:moveTo>
                  <a:cubicBezTo>
                    <a:pt x="2" y="1193"/>
                    <a:pt x="2" y="1181"/>
                    <a:pt x="1" y="1169"/>
                  </a:cubicBezTo>
                  <a:cubicBezTo>
                    <a:pt x="14" y="1169"/>
                    <a:pt x="14" y="1169"/>
                    <a:pt x="14" y="1169"/>
                  </a:cubicBezTo>
                  <a:cubicBezTo>
                    <a:pt x="15" y="1180"/>
                    <a:pt x="15" y="1192"/>
                    <a:pt x="16" y="1203"/>
                  </a:cubicBezTo>
                  <a:lnTo>
                    <a:pt x="3" y="1204"/>
                  </a:lnTo>
                  <a:close/>
                  <a:moveTo>
                    <a:pt x="2235" y="1155"/>
                  </a:moveTo>
                  <a:cubicBezTo>
                    <a:pt x="2222" y="1155"/>
                    <a:pt x="2222" y="1155"/>
                    <a:pt x="2222" y="1155"/>
                  </a:cubicBezTo>
                  <a:cubicBezTo>
                    <a:pt x="2223" y="1144"/>
                    <a:pt x="2223" y="1132"/>
                    <a:pt x="2223" y="1120"/>
                  </a:cubicBezTo>
                  <a:cubicBezTo>
                    <a:pt x="2236" y="1120"/>
                    <a:pt x="2236" y="1120"/>
                    <a:pt x="2236" y="1120"/>
                  </a:cubicBezTo>
                  <a:cubicBezTo>
                    <a:pt x="2236" y="1132"/>
                    <a:pt x="2236" y="1144"/>
                    <a:pt x="2235" y="1155"/>
                  </a:cubicBezTo>
                  <a:close/>
                  <a:moveTo>
                    <a:pt x="0" y="1134"/>
                  </a:moveTo>
                  <a:cubicBezTo>
                    <a:pt x="0" y="1129"/>
                    <a:pt x="0" y="1124"/>
                    <a:pt x="0" y="1119"/>
                  </a:cubicBezTo>
                  <a:cubicBezTo>
                    <a:pt x="0" y="1113"/>
                    <a:pt x="0" y="1106"/>
                    <a:pt x="0" y="1100"/>
                  </a:cubicBezTo>
                  <a:cubicBezTo>
                    <a:pt x="13" y="1100"/>
                    <a:pt x="13" y="1100"/>
                    <a:pt x="13" y="1100"/>
                  </a:cubicBezTo>
                  <a:cubicBezTo>
                    <a:pt x="13" y="1106"/>
                    <a:pt x="13" y="1113"/>
                    <a:pt x="13" y="1119"/>
                  </a:cubicBezTo>
                  <a:cubicBezTo>
                    <a:pt x="13" y="1124"/>
                    <a:pt x="13" y="1129"/>
                    <a:pt x="13" y="1134"/>
                  </a:cubicBezTo>
                  <a:lnTo>
                    <a:pt x="0" y="1134"/>
                  </a:lnTo>
                  <a:close/>
                  <a:moveTo>
                    <a:pt x="2236" y="1116"/>
                  </a:moveTo>
                  <a:cubicBezTo>
                    <a:pt x="2223" y="1116"/>
                    <a:pt x="2223" y="1116"/>
                    <a:pt x="2223" y="1116"/>
                  </a:cubicBezTo>
                  <a:cubicBezTo>
                    <a:pt x="2223" y="1105"/>
                    <a:pt x="2223" y="1093"/>
                    <a:pt x="2222" y="1082"/>
                  </a:cubicBezTo>
                  <a:cubicBezTo>
                    <a:pt x="2235" y="1081"/>
                    <a:pt x="2235" y="1081"/>
                    <a:pt x="2235" y="1081"/>
                  </a:cubicBezTo>
                  <a:cubicBezTo>
                    <a:pt x="2236" y="1093"/>
                    <a:pt x="2236" y="1104"/>
                    <a:pt x="2236" y="1116"/>
                  </a:cubicBezTo>
                  <a:close/>
                  <a:moveTo>
                    <a:pt x="14" y="1065"/>
                  </a:moveTo>
                  <a:cubicBezTo>
                    <a:pt x="1" y="1065"/>
                    <a:pt x="1" y="1065"/>
                    <a:pt x="1" y="1065"/>
                  </a:cubicBezTo>
                  <a:cubicBezTo>
                    <a:pt x="2" y="1053"/>
                    <a:pt x="3" y="1041"/>
                    <a:pt x="3" y="1030"/>
                  </a:cubicBezTo>
                  <a:cubicBezTo>
                    <a:pt x="16" y="1031"/>
                    <a:pt x="16" y="1031"/>
                    <a:pt x="16" y="1031"/>
                  </a:cubicBezTo>
                  <a:cubicBezTo>
                    <a:pt x="15" y="1042"/>
                    <a:pt x="15" y="1054"/>
                    <a:pt x="14" y="1065"/>
                  </a:cubicBezTo>
                  <a:close/>
                  <a:moveTo>
                    <a:pt x="2221" y="1047"/>
                  </a:moveTo>
                  <a:cubicBezTo>
                    <a:pt x="2220" y="1036"/>
                    <a:pt x="2219" y="1024"/>
                    <a:pt x="2218" y="1013"/>
                  </a:cubicBezTo>
                  <a:cubicBezTo>
                    <a:pt x="2231" y="1011"/>
                    <a:pt x="2231" y="1011"/>
                    <a:pt x="2231" y="1011"/>
                  </a:cubicBezTo>
                  <a:cubicBezTo>
                    <a:pt x="2232" y="1023"/>
                    <a:pt x="2233" y="1035"/>
                    <a:pt x="2234" y="1046"/>
                  </a:cubicBezTo>
                  <a:lnTo>
                    <a:pt x="2221" y="1047"/>
                  </a:lnTo>
                  <a:close/>
                  <a:moveTo>
                    <a:pt x="20" y="996"/>
                  </a:moveTo>
                  <a:cubicBezTo>
                    <a:pt x="7" y="995"/>
                    <a:pt x="7" y="995"/>
                    <a:pt x="7" y="995"/>
                  </a:cubicBezTo>
                  <a:cubicBezTo>
                    <a:pt x="8" y="983"/>
                    <a:pt x="9" y="972"/>
                    <a:pt x="11" y="960"/>
                  </a:cubicBezTo>
                  <a:cubicBezTo>
                    <a:pt x="24" y="962"/>
                    <a:pt x="24" y="962"/>
                    <a:pt x="24" y="962"/>
                  </a:cubicBezTo>
                  <a:cubicBezTo>
                    <a:pt x="22" y="973"/>
                    <a:pt x="21" y="985"/>
                    <a:pt x="20" y="996"/>
                  </a:cubicBezTo>
                  <a:close/>
                  <a:moveTo>
                    <a:pt x="2214" y="978"/>
                  </a:moveTo>
                  <a:cubicBezTo>
                    <a:pt x="2213" y="967"/>
                    <a:pt x="2211" y="956"/>
                    <a:pt x="2209" y="944"/>
                  </a:cubicBezTo>
                  <a:cubicBezTo>
                    <a:pt x="2222" y="942"/>
                    <a:pt x="2222" y="942"/>
                    <a:pt x="2222" y="942"/>
                  </a:cubicBezTo>
                  <a:cubicBezTo>
                    <a:pt x="2224" y="954"/>
                    <a:pt x="2226" y="965"/>
                    <a:pt x="2227" y="977"/>
                  </a:cubicBezTo>
                  <a:lnTo>
                    <a:pt x="2214" y="978"/>
                  </a:lnTo>
                  <a:close/>
                  <a:moveTo>
                    <a:pt x="29" y="928"/>
                  </a:moveTo>
                  <a:cubicBezTo>
                    <a:pt x="16" y="926"/>
                    <a:pt x="16" y="926"/>
                    <a:pt x="16" y="926"/>
                  </a:cubicBezTo>
                  <a:cubicBezTo>
                    <a:pt x="18" y="914"/>
                    <a:pt x="21" y="903"/>
                    <a:pt x="23" y="891"/>
                  </a:cubicBezTo>
                  <a:cubicBezTo>
                    <a:pt x="36" y="894"/>
                    <a:pt x="36" y="894"/>
                    <a:pt x="36" y="894"/>
                  </a:cubicBezTo>
                  <a:cubicBezTo>
                    <a:pt x="33" y="905"/>
                    <a:pt x="31" y="917"/>
                    <a:pt x="29" y="928"/>
                  </a:cubicBezTo>
                  <a:close/>
                  <a:moveTo>
                    <a:pt x="2204" y="910"/>
                  </a:moveTo>
                  <a:cubicBezTo>
                    <a:pt x="2201" y="899"/>
                    <a:pt x="2199" y="888"/>
                    <a:pt x="2197" y="876"/>
                  </a:cubicBezTo>
                  <a:cubicBezTo>
                    <a:pt x="2209" y="874"/>
                    <a:pt x="2209" y="874"/>
                    <a:pt x="2209" y="874"/>
                  </a:cubicBezTo>
                  <a:cubicBezTo>
                    <a:pt x="2212" y="885"/>
                    <a:pt x="2214" y="896"/>
                    <a:pt x="2216" y="908"/>
                  </a:cubicBezTo>
                  <a:lnTo>
                    <a:pt x="2204" y="910"/>
                  </a:lnTo>
                  <a:close/>
                  <a:moveTo>
                    <a:pt x="43" y="860"/>
                  </a:moveTo>
                  <a:cubicBezTo>
                    <a:pt x="30" y="857"/>
                    <a:pt x="30" y="857"/>
                    <a:pt x="30" y="857"/>
                  </a:cubicBezTo>
                  <a:cubicBezTo>
                    <a:pt x="33" y="846"/>
                    <a:pt x="36" y="835"/>
                    <a:pt x="39" y="824"/>
                  </a:cubicBezTo>
                  <a:cubicBezTo>
                    <a:pt x="52" y="827"/>
                    <a:pt x="52" y="827"/>
                    <a:pt x="52" y="827"/>
                  </a:cubicBezTo>
                  <a:cubicBezTo>
                    <a:pt x="49" y="838"/>
                    <a:pt x="46" y="849"/>
                    <a:pt x="43" y="860"/>
                  </a:cubicBezTo>
                  <a:close/>
                  <a:moveTo>
                    <a:pt x="2189" y="843"/>
                  </a:moveTo>
                  <a:cubicBezTo>
                    <a:pt x="2186" y="832"/>
                    <a:pt x="2183" y="821"/>
                    <a:pt x="2179" y="810"/>
                  </a:cubicBezTo>
                  <a:cubicBezTo>
                    <a:pt x="2192" y="806"/>
                    <a:pt x="2192" y="806"/>
                    <a:pt x="2192" y="806"/>
                  </a:cubicBezTo>
                  <a:cubicBezTo>
                    <a:pt x="2195" y="817"/>
                    <a:pt x="2198" y="828"/>
                    <a:pt x="2201" y="840"/>
                  </a:cubicBezTo>
                  <a:lnTo>
                    <a:pt x="2189" y="843"/>
                  </a:lnTo>
                  <a:close/>
                  <a:moveTo>
                    <a:pt x="61" y="794"/>
                  </a:moveTo>
                  <a:cubicBezTo>
                    <a:pt x="49" y="790"/>
                    <a:pt x="49" y="790"/>
                    <a:pt x="49" y="790"/>
                  </a:cubicBezTo>
                  <a:cubicBezTo>
                    <a:pt x="52" y="779"/>
                    <a:pt x="56" y="768"/>
                    <a:pt x="60" y="757"/>
                  </a:cubicBezTo>
                  <a:cubicBezTo>
                    <a:pt x="72" y="761"/>
                    <a:pt x="72" y="761"/>
                    <a:pt x="72" y="761"/>
                  </a:cubicBezTo>
                  <a:cubicBezTo>
                    <a:pt x="68" y="772"/>
                    <a:pt x="65" y="783"/>
                    <a:pt x="61" y="794"/>
                  </a:cubicBezTo>
                  <a:close/>
                  <a:moveTo>
                    <a:pt x="2169" y="777"/>
                  </a:moveTo>
                  <a:cubicBezTo>
                    <a:pt x="2166" y="766"/>
                    <a:pt x="2162" y="755"/>
                    <a:pt x="2158" y="744"/>
                  </a:cubicBezTo>
                  <a:cubicBezTo>
                    <a:pt x="2170" y="739"/>
                    <a:pt x="2170" y="739"/>
                    <a:pt x="2170" y="739"/>
                  </a:cubicBezTo>
                  <a:cubicBezTo>
                    <a:pt x="2174" y="750"/>
                    <a:pt x="2178" y="761"/>
                    <a:pt x="2182" y="773"/>
                  </a:cubicBezTo>
                  <a:lnTo>
                    <a:pt x="2169" y="777"/>
                  </a:lnTo>
                  <a:close/>
                  <a:moveTo>
                    <a:pt x="84" y="728"/>
                  </a:moveTo>
                  <a:cubicBezTo>
                    <a:pt x="71" y="724"/>
                    <a:pt x="71" y="724"/>
                    <a:pt x="71" y="724"/>
                  </a:cubicBezTo>
                  <a:cubicBezTo>
                    <a:pt x="75" y="713"/>
                    <a:pt x="80" y="702"/>
                    <a:pt x="84" y="691"/>
                  </a:cubicBezTo>
                  <a:cubicBezTo>
                    <a:pt x="96" y="696"/>
                    <a:pt x="96" y="696"/>
                    <a:pt x="96" y="696"/>
                  </a:cubicBezTo>
                  <a:cubicBezTo>
                    <a:pt x="92" y="707"/>
                    <a:pt x="88" y="718"/>
                    <a:pt x="84" y="728"/>
                  </a:cubicBezTo>
                  <a:close/>
                  <a:moveTo>
                    <a:pt x="2146" y="711"/>
                  </a:moveTo>
                  <a:cubicBezTo>
                    <a:pt x="2142" y="701"/>
                    <a:pt x="2137" y="690"/>
                    <a:pt x="2133" y="679"/>
                  </a:cubicBezTo>
                  <a:cubicBezTo>
                    <a:pt x="2145" y="674"/>
                    <a:pt x="2145" y="674"/>
                    <a:pt x="2145" y="674"/>
                  </a:cubicBezTo>
                  <a:cubicBezTo>
                    <a:pt x="2149" y="685"/>
                    <a:pt x="2154" y="696"/>
                    <a:pt x="2158" y="707"/>
                  </a:cubicBezTo>
                  <a:lnTo>
                    <a:pt x="2146" y="711"/>
                  </a:lnTo>
                  <a:close/>
                  <a:moveTo>
                    <a:pt x="110" y="665"/>
                  </a:moveTo>
                  <a:cubicBezTo>
                    <a:pt x="98" y="659"/>
                    <a:pt x="98" y="659"/>
                    <a:pt x="98" y="659"/>
                  </a:cubicBezTo>
                  <a:cubicBezTo>
                    <a:pt x="103" y="649"/>
                    <a:pt x="108" y="638"/>
                    <a:pt x="113" y="628"/>
                  </a:cubicBezTo>
                  <a:cubicBezTo>
                    <a:pt x="124" y="634"/>
                    <a:pt x="124" y="634"/>
                    <a:pt x="124" y="634"/>
                  </a:cubicBezTo>
                  <a:cubicBezTo>
                    <a:pt x="119" y="644"/>
                    <a:pt x="115" y="654"/>
                    <a:pt x="110" y="665"/>
                  </a:cubicBezTo>
                  <a:close/>
                  <a:moveTo>
                    <a:pt x="2118" y="648"/>
                  </a:moveTo>
                  <a:cubicBezTo>
                    <a:pt x="2114" y="637"/>
                    <a:pt x="2108" y="627"/>
                    <a:pt x="2103" y="617"/>
                  </a:cubicBezTo>
                  <a:cubicBezTo>
                    <a:pt x="2115" y="611"/>
                    <a:pt x="2115" y="611"/>
                    <a:pt x="2115" y="611"/>
                  </a:cubicBezTo>
                  <a:cubicBezTo>
                    <a:pt x="2120" y="621"/>
                    <a:pt x="2125" y="632"/>
                    <a:pt x="2130" y="642"/>
                  </a:cubicBezTo>
                  <a:lnTo>
                    <a:pt x="2118" y="648"/>
                  </a:lnTo>
                  <a:close/>
                  <a:moveTo>
                    <a:pt x="140" y="603"/>
                  </a:moveTo>
                  <a:cubicBezTo>
                    <a:pt x="128" y="597"/>
                    <a:pt x="128" y="597"/>
                    <a:pt x="128" y="597"/>
                  </a:cubicBezTo>
                  <a:cubicBezTo>
                    <a:pt x="134" y="587"/>
                    <a:pt x="139" y="576"/>
                    <a:pt x="145" y="566"/>
                  </a:cubicBezTo>
                  <a:cubicBezTo>
                    <a:pt x="157" y="573"/>
                    <a:pt x="157" y="573"/>
                    <a:pt x="157" y="573"/>
                  </a:cubicBezTo>
                  <a:cubicBezTo>
                    <a:pt x="151" y="583"/>
                    <a:pt x="145" y="593"/>
                    <a:pt x="140" y="603"/>
                  </a:cubicBezTo>
                  <a:close/>
                  <a:moveTo>
                    <a:pt x="2087" y="586"/>
                  </a:moveTo>
                  <a:cubicBezTo>
                    <a:pt x="2081" y="576"/>
                    <a:pt x="2076" y="566"/>
                    <a:pt x="2070" y="556"/>
                  </a:cubicBezTo>
                  <a:cubicBezTo>
                    <a:pt x="2081" y="550"/>
                    <a:pt x="2081" y="550"/>
                    <a:pt x="2081" y="550"/>
                  </a:cubicBezTo>
                  <a:cubicBezTo>
                    <a:pt x="2087" y="560"/>
                    <a:pt x="2093" y="570"/>
                    <a:pt x="2098" y="580"/>
                  </a:cubicBezTo>
                  <a:lnTo>
                    <a:pt x="2087" y="586"/>
                  </a:lnTo>
                  <a:close/>
                  <a:moveTo>
                    <a:pt x="174" y="543"/>
                  </a:moveTo>
                  <a:cubicBezTo>
                    <a:pt x="163" y="536"/>
                    <a:pt x="163" y="536"/>
                    <a:pt x="163" y="536"/>
                  </a:cubicBezTo>
                  <a:cubicBezTo>
                    <a:pt x="169" y="526"/>
                    <a:pt x="175" y="516"/>
                    <a:pt x="182" y="507"/>
                  </a:cubicBezTo>
                  <a:cubicBezTo>
                    <a:pt x="192" y="514"/>
                    <a:pt x="192" y="514"/>
                    <a:pt x="192" y="514"/>
                  </a:cubicBezTo>
                  <a:cubicBezTo>
                    <a:pt x="186" y="523"/>
                    <a:pt x="180" y="533"/>
                    <a:pt x="174" y="543"/>
                  </a:cubicBezTo>
                  <a:close/>
                  <a:moveTo>
                    <a:pt x="2052" y="527"/>
                  </a:moveTo>
                  <a:cubicBezTo>
                    <a:pt x="2046" y="517"/>
                    <a:pt x="2039" y="507"/>
                    <a:pt x="2033" y="498"/>
                  </a:cubicBezTo>
                  <a:cubicBezTo>
                    <a:pt x="2044" y="490"/>
                    <a:pt x="2044" y="490"/>
                    <a:pt x="2044" y="490"/>
                  </a:cubicBezTo>
                  <a:cubicBezTo>
                    <a:pt x="2050" y="500"/>
                    <a:pt x="2057" y="510"/>
                    <a:pt x="2063" y="520"/>
                  </a:cubicBezTo>
                  <a:lnTo>
                    <a:pt x="2052" y="527"/>
                  </a:lnTo>
                  <a:close/>
                  <a:moveTo>
                    <a:pt x="212" y="485"/>
                  </a:moveTo>
                  <a:cubicBezTo>
                    <a:pt x="201" y="478"/>
                    <a:pt x="201" y="478"/>
                    <a:pt x="201" y="478"/>
                  </a:cubicBezTo>
                  <a:cubicBezTo>
                    <a:pt x="208" y="468"/>
                    <a:pt x="215" y="459"/>
                    <a:pt x="222" y="450"/>
                  </a:cubicBezTo>
                  <a:cubicBezTo>
                    <a:pt x="232" y="457"/>
                    <a:pt x="232" y="457"/>
                    <a:pt x="232" y="457"/>
                  </a:cubicBezTo>
                  <a:cubicBezTo>
                    <a:pt x="225" y="467"/>
                    <a:pt x="218" y="476"/>
                    <a:pt x="212" y="485"/>
                  </a:cubicBezTo>
                  <a:close/>
                  <a:moveTo>
                    <a:pt x="2013" y="470"/>
                  </a:moveTo>
                  <a:cubicBezTo>
                    <a:pt x="2006" y="460"/>
                    <a:pt x="1999" y="451"/>
                    <a:pt x="1992" y="442"/>
                  </a:cubicBezTo>
                  <a:cubicBezTo>
                    <a:pt x="2003" y="434"/>
                    <a:pt x="2003" y="434"/>
                    <a:pt x="2003" y="434"/>
                  </a:cubicBezTo>
                  <a:cubicBezTo>
                    <a:pt x="2010" y="443"/>
                    <a:pt x="2017" y="452"/>
                    <a:pt x="2024" y="462"/>
                  </a:cubicBezTo>
                  <a:lnTo>
                    <a:pt x="2013" y="470"/>
                  </a:lnTo>
                  <a:close/>
                  <a:moveTo>
                    <a:pt x="253" y="430"/>
                  </a:moveTo>
                  <a:cubicBezTo>
                    <a:pt x="243" y="422"/>
                    <a:pt x="243" y="422"/>
                    <a:pt x="243" y="422"/>
                  </a:cubicBezTo>
                  <a:cubicBezTo>
                    <a:pt x="250" y="413"/>
                    <a:pt x="257" y="404"/>
                    <a:pt x="265" y="395"/>
                  </a:cubicBezTo>
                  <a:cubicBezTo>
                    <a:pt x="275" y="403"/>
                    <a:pt x="275" y="403"/>
                    <a:pt x="275" y="403"/>
                  </a:cubicBezTo>
                  <a:cubicBezTo>
                    <a:pt x="267" y="412"/>
                    <a:pt x="260" y="421"/>
                    <a:pt x="253" y="430"/>
                  </a:cubicBezTo>
                  <a:close/>
                  <a:moveTo>
                    <a:pt x="1971" y="415"/>
                  </a:moveTo>
                  <a:cubicBezTo>
                    <a:pt x="1963" y="406"/>
                    <a:pt x="1956" y="397"/>
                    <a:pt x="1948" y="389"/>
                  </a:cubicBezTo>
                  <a:cubicBezTo>
                    <a:pt x="1958" y="380"/>
                    <a:pt x="1958" y="380"/>
                    <a:pt x="1958" y="380"/>
                  </a:cubicBezTo>
                  <a:cubicBezTo>
                    <a:pt x="1966" y="389"/>
                    <a:pt x="1973" y="398"/>
                    <a:pt x="1981" y="407"/>
                  </a:cubicBezTo>
                  <a:lnTo>
                    <a:pt x="1971" y="415"/>
                  </a:lnTo>
                  <a:close/>
                  <a:moveTo>
                    <a:pt x="298" y="377"/>
                  </a:moveTo>
                  <a:cubicBezTo>
                    <a:pt x="288" y="369"/>
                    <a:pt x="288" y="369"/>
                    <a:pt x="288" y="369"/>
                  </a:cubicBezTo>
                  <a:cubicBezTo>
                    <a:pt x="296" y="360"/>
                    <a:pt x="304" y="351"/>
                    <a:pt x="312" y="343"/>
                  </a:cubicBezTo>
                  <a:cubicBezTo>
                    <a:pt x="321" y="352"/>
                    <a:pt x="321" y="352"/>
                    <a:pt x="321" y="352"/>
                  </a:cubicBezTo>
                  <a:cubicBezTo>
                    <a:pt x="313" y="360"/>
                    <a:pt x="305" y="369"/>
                    <a:pt x="298" y="377"/>
                  </a:cubicBezTo>
                  <a:close/>
                  <a:moveTo>
                    <a:pt x="1925" y="363"/>
                  </a:moveTo>
                  <a:cubicBezTo>
                    <a:pt x="1917" y="355"/>
                    <a:pt x="1909" y="346"/>
                    <a:pt x="1901" y="338"/>
                  </a:cubicBezTo>
                  <a:cubicBezTo>
                    <a:pt x="1910" y="329"/>
                    <a:pt x="1910" y="329"/>
                    <a:pt x="1910" y="329"/>
                  </a:cubicBezTo>
                  <a:cubicBezTo>
                    <a:pt x="1919" y="337"/>
                    <a:pt x="1927" y="346"/>
                    <a:pt x="1935" y="354"/>
                  </a:cubicBezTo>
                  <a:lnTo>
                    <a:pt x="1925" y="363"/>
                  </a:lnTo>
                  <a:close/>
                  <a:moveTo>
                    <a:pt x="345" y="328"/>
                  </a:moveTo>
                  <a:cubicBezTo>
                    <a:pt x="336" y="318"/>
                    <a:pt x="336" y="318"/>
                    <a:pt x="336" y="318"/>
                  </a:cubicBezTo>
                  <a:cubicBezTo>
                    <a:pt x="345" y="310"/>
                    <a:pt x="353" y="302"/>
                    <a:pt x="362" y="294"/>
                  </a:cubicBezTo>
                  <a:cubicBezTo>
                    <a:pt x="371" y="304"/>
                    <a:pt x="371" y="304"/>
                    <a:pt x="371" y="304"/>
                  </a:cubicBezTo>
                  <a:cubicBezTo>
                    <a:pt x="362" y="312"/>
                    <a:pt x="354" y="320"/>
                    <a:pt x="345" y="328"/>
                  </a:cubicBezTo>
                  <a:close/>
                  <a:moveTo>
                    <a:pt x="1876" y="314"/>
                  </a:moveTo>
                  <a:cubicBezTo>
                    <a:pt x="1868" y="306"/>
                    <a:pt x="1860" y="298"/>
                    <a:pt x="1851" y="291"/>
                  </a:cubicBezTo>
                  <a:cubicBezTo>
                    <a:pt x="1860" y="281"/>
                    <a:pt x="1860" y="281"/>
                    <a:pt x="1860" y="281"/>
                  </a:cubicBezTo>
                  <a:cubicBezTo>
                    <a:pt x="1868" y="289"/>
                    <a:pt x="1877" y="297"/>
                    <a:pt x="1885" y="305"/>
                  </a:cubicBezTo>
                  <a:lnTo>
                    <a:pt x="1876" y="314"/>
                  </a:lnTo>
                  <a:close/>
                  <a:moveTo>
                    <a:pt x="396" y="281"/>
                  </a:moveTo>
                  <a:cubicBezTo>
                    <a:pt x="388" y="271"/>
                    <a:pt x="388" y="271"/>
                    <a:pt x="388" y="271"/>
                  </a:cubicBezTo>
                  <a:cubicBezTo>
                    <a:pt x="397" y="263"/>
                    <a:pt x="406" y="256"/>
                    <a:pt x="415" y="249"/>
                  </a:cubicBezTo>
                  <a:cubicBezTo>
                    <a:pt x="423" y="259"/>
                    <a:pt x="423" y="259"/>
                    <a:pt x="423" y="259"/>
                  </a:cubicBezTo>
                  <a:cubicBezTo>
                    <a:pt x="414" y="266"/>
                    <a:pt x="405" y="273"/>
                    <a:pt x="396" y="281"/>
                  </a:cubicBezTo>
                  <a:close/>
                  <a:moveTo>
                    <a:pt x="1825" y="268"/>
                  </a:moveTo>
                  <a:cubicBezTo>
                    <a:pt x="1816" y="261"/>
                    <a:pt x="1807" y="254"/>
                    <a:pt x="1798" y="247"/>
                  </a:cubicBezTo>
                  <a:cubicBezTo>
                    <a:pt x="1806" y="236"/>
                    <a:pt x="1806" y="236"/>
                    <a:pt x="1806" y="236"/>
                  </a:cubicBezTo>
                  <a:cubicBezTo>
                    <a:pt x="1815" y="244"/>
                    <a:pt x="1824" y="251"/>
                    <a:pt x="1833" y="258"/>
                  </a:cubicBezTo>
                  <a:lnTo>
                    <a:pt x="1825" y="268"/>
                  </a:lnTo>
                  <a:close/>
                  <a:moveTo>
                    <a:pt x="450" y="237"/>
                  </a:moveTo>
                  <a:cubicBezTo>
                    <a:pt x="442" y="227"/>
                    <a:pt x="442" y="227"/>
                    <a:pt x="442" y="227"/>
                  </a:cubicBezTo>
                  <a:cubicBezTo>
                    <a:pt x="451" y="220"/>
                    <a:pt x="461" y="213"/>
                    <a:pt x="470" y="206"/>
                  </a:cubicBezTo>
                  <a:cubicBezTo>
                    <a:pt x="478" y="217"/>
                    <a:pt x="478" y="217"/>
                    <a:pt x="478" y="217"/>
                  </a:cubicBezTo>
                  <a:cubicBezTo>
                    <a:pt x="468" y="224"/>
                    <a:pt x="459" y="230"/>
                    <a:pt x="450" y="237"/>
                  </a:cubicBezTo>
                  <a:close/>
                  <a:moveTo>
                    <a:pt x="1771" y="226"/>
                  </a:moveTo>
                  <a:cubicBezTo>
                    <a:pt x="1761" y="219"/>
                    <a:pt x="1752" y="212"/>
                    <a:pt x="1742" y="206"/>
                  </a:cubicBezTo>
                  <a:cubicBezTo>
                    <a:pt x="1750" y="195"/>
                    <a:pt x="1750" y="195"/>
                    <a:pt x="1750" y="195"/>
                  </a:cubicBezTo>
                  <a:cubicBezTo>
                    <a:pt x="1759" y="202"/>
                    <a:pt x="1769" y="208"/>
                    <a:pt x="1778" y="215"/>
                  </a:cubicBezTo>
                  <a:lnTo>
                    <a:pt x="1771" y="226"/>
                  </a:lnTo>
                  <a:close/>
                  <a:moveTo>
                    <a:pt x="506" y="197"/>
                  </a:moveTo>
                  <a:cubicBezTo>
                    <a:pt x="499" y="186"/>
                    <a:pt x="499" y="186"/>
                    <a:pt x="499" y="186"/>
                  </a:cubicBezTo>
                  <a:cubicBezTo>
                    <a:pt x="509" y="180"/>
                    <a:pt x="519" y="174"/>
                    <a:pt x="528" y="168"/>
                  </a:cubicBezTo>
                  <a:cubicBezTo>
                    <a:pt x="535" y="179"/>
                    <a:pt x="535" y="179"/>
                    <a:pt x="535" y="179"/>
                  </a:cubicBezTo>
                  <a:cubicBezTo>
                    <a:pt x="526" y="185"/>
                    <a:pt x="516" y="191"/>
                    <a:pt x="506" y="197"/>
                  </a:cubicBezTo>
                  <a:close/>
                  <a:moveTo>
                    <a:pt x="1714" y="187"/>
                  </a:moveTo>
                  <a:cubicBezTo>
                    <a:pt x="1704" y="181"/>
                    <a:pt x="1694" y="175"/>
                    <a:pt x="1684" y="169"/>
                  </a:cubicBezTo>
                  <a:cubicBezTo>
                    <a:pt x="1691" y="157"/>
                    <a:pt x="1691" y="157"/>
                    <a:pt x="1691" y="157"/>
                  </a:cubicBezTo>
                  <a:cubicBezTo>
                    <a:pt x="1701" y="163"/>
                    <a:pt x="1711" y="170"/>
                    <a:pt x="1721" y="176"/>
                  </a:cubicBezTo>
                  <a:lnTo>
                    <a:pt x="1714" y="187"/>
                  </a:lnTo>
                  <a:close/>
                  <a:moveTo>
                    <a:pt x="565" y="161"/>
                  </a:moveTo>
                  <a:cubicBezTo>
                    <a:pt x="558" y="150"/>
                    <a:pt x="558" y="150"/>
                    <a:pt x="558" y="150"/>
                  </a:cubicBezTo>
                  <a:cubicBezTo>
                    <a:pt x="569" y="144"/>
                    <a:pt x="579" y="138"/>
                    <a:pt x="589" y="132"/>
                  </a:cubicBezTo>
                  <a:cubicBezTo>
                    <a:pt x="595" y="144"/>
                    <a:pt x="595" y="144"/>
                    <a:pt x="595" y="144"/>
                  </a:cubicBezTo>
                  <a:cubicBezTo>
                    <a:pt x="585" y="149"/>
                    <a:pt x="575" y="155"/>
                    <a:pt x="565" y="161"/>
                  </a:cubicBezTo>
                  <a:close/>
                  <a:moveTo>
                    <a:pt x="1655" y="151"/>
                  </a:moveTo>
                  <a:cubicBezTo>
                    <a:pt x="1645" y="146"/>
                    <a:pt x="1634" y="140"/>
                    <a:pt x="1624" y="135"/>
                  </a:cubicBezTo>
                  <a:cubicBezTo>
                    <a:pt x="1630" y="124"/>
                    <a:pt x="1630" y="124"/>
                    <a:pt x="1630" y="124"/>
                  </a:cubicBezTo>
                  <a:cubicBezTo>
                    <a:pt x="1640" y="129"/>
                    <a:pt x="1651" y="134"/>
                    <a:pt x="1661" y="140"/>
                  </a:cubicBezTo>
                  <a:lnTo>
                    <a:pt x="1655" y="151"/>
                  </a:lnTo>
                  <a:close/>
                  <a:moveTo>
                    <a:pt x="626" y="128"/>
                  </a:moveTo>
                  <a:cubicBezTo>
                    <a:pt x="620" y="116"/>
                    <a:pt x="620" y="116"/>
                    <a:pt x="620" y="116"/>
                  </a:cubicBezTo>
                  <a:cubicBezTo>
                    <a:pt x="630" y="111"/>
                    <a:pt x="641" y="106"/>
                    <a:pt x="652" y="101"/>
                  </a:cubicBezTo>
                  <a:cubicBezTo>
                    <a:pt x="657" y="113"/>
                    <a:pt x="657" y="113"/>
                    <a:pt x="657" y="113"/>
                  </a:cubicBezTo>
                  <a:cubicBezTo>
                    <a:pt x="647" y="118"/>
                    <a:pt x="636" y="123"/>
                    <a:pt x="626" y="128"/>
                  </a:cubicBezTo>
                  <a:close/>
                  <a:moveTo>
                    <a:pt x="1593" y="120"/>
                  </a:moveTo>
                  <a:cubicBezTo>
                    <a:pt x="1583" y="115"/>
                    <a:pt x="1573" y="110"/>
                    <a:pt x="1562" y="105"/>
                  </a:cubicBezTo>
                  <a:cubicBezTo>
                    <a:pt x="1567" y="94"/>
                    <a:pt x="1567" y="94"/>
                    <a:pt x="1567" y="94"/>
                  </a:cubicBezTo>
                  <a:cubicBezTo>
                    <a:pt x="1578" y="98"/>
                    <a:pt x="1588" y="103"/>
                    <a:pt x="1599" y="108"/>
                  </a:cubicBezTo>
                  <a:lnTo>
                    <a:pt x="1593" y="120"/>
                  </a:lnTo>
                  <a:close/>
                  <a:moveTo>
                    <a:pt x="689" y="99"/>
                  </a:moveTo>
                  <a:cubicBezTo>
                    <a:pt x="684" y="87"/>
                    <a:pt x="684" y="87"/>
                    <a:pt x="684" y="87"/>
                  </a:cubicBezTo>
                  <a:cubicBezTo>
                    <a:pt x="694" y="83"/>
                    <a:pt x="705" y="78"/>
                    <a:pt x="716" y="74"/>
                  </a:cubicBezTo>
                  <a:cubicBezTo>
                    <a:pt x="721" y="86"/>
                    <a:pt x="721" y="86"/>
                    <a:pt x="721" y="86"/>
                  </a:cubicBezTo>
                  <a:cubicBezTo>
                    <a:pt x="710" y="90"/>
                    <a:pt x="699" y="95"/>
                    <a:pt x="689" y="99"/>
                  </a:cubicBezTo>
                  <a:close/>
                  <a:moveTo>
                    <a:pt x="1530" y="92"/>
                  </a:moveTo>
                  <a:cubicBezTo>
                    <a:pt x="1520" y="88"/>
                    <a:pt x="1509" y="84"/>
                    <a:pt x="1498" y="80"/>
                  </a:cubicBezTo>
                  <a:cubicBezTo>
                    <a:pt x="1503" y="68"/>
                    <a:pt x="1503" y="68"/>
                    <a:pt x="1503" y="68"/>
                  </a:cubicBezTo>
                  <a:cubicBezTo>
                    <a:pt x="1514" y="72"/>
                    <a:pt x="1524" y="76"/>
                    <a:pt x="1535" y="80"/>
                  </a:cubicBezTo>
                  <a:lnTo>
                    <a:pt x="1530" y="92"/>
                  </a:lnTo>
                  <a:close/>
                  <a:moveTo>
                    <a:pt x="753" y="74"/>
                  </a:moveTo>
                  <a:cubicBezTo>
                    <a:pt x="749" y="62"/>
                    <a:pt x="749" y="62"/>
                    <a:pt x="749" y="62"/>
                  </a:cubicBezTo>
                  <a:cubicBezTo>
                    <a:pt x="760" y="58"/>
                    <a:pt x="771" y="54"/>
                    <a:pt x="782" y="51"/>
                  </a:cubicBezTo>
                  <a:cubicBezTo>
                    <a:pt x="786" y="63"/>
                    <a:pt x="786" y="63"/>
                    <a:pt x="786" y="63"/>
                  </a:cubicBezTo>
                  <a:cubicBezTo>
                    <a:pt x="775" y="67"/>
                    <a:pt x="764" y="70"/>
                    <a:pt x="753" y="74"/>
                  </a:cubicBezTo>
                  <a:close/>
                  <a:moveTo>
                    <a:pt x="1465" y="68"/>
                  </a:moveTo>
                  <a:cubicBezTo>
                    <a:pt x="1455" y="65"/>
                    <a:pt x="1444" y="61"/>
                    <a:pt x="1433" y="58"/>
                  </a:cubicBezTo>
                  <a:cubicBezTo>
                    <a:pt x="1436" y="46"/>
                    <a:pt x="1436" y="46"/>
                    <a:pt x="1436" y="46"/>
                  </a:cubicBezTo>
                  <a:cubicBezTo>
                    <a:pt x="1447" y="49"/>
                    <a:pt x="1459" y="52"/>
                    <a:pt x="1470" y="56"/>
                  </a:cubicBezTo>
                  <a:lnTo>
                    <a:pt x="1465" y="68"/>
                  </a:lnTo>
                  <a:close/>
                  <a:moveTo>
                    <a:pt x="819" y="54"/>
                  </a:moveTo>
                  <a:cubicBezTo>
                    <a:pt x="816" y="41"/>
                    <a:pt x="816" y="41"/>
                    <a:pt x="816" y="41"/>
                  </a:cubicBezTo>
                  <a:cubicBezTo>
                    <a:pt x="827" y="38"/>
                    <a:pt x="838" y="35"/>
                    <a:pt x="850" y="32"/>
                  </a:cubicBezTo>
                  <a:cubicBezTo>
                    <a:pt x="853" y="45"/>
                    <a:pt x="853" y="45"/>
                    <a:pt x="853" y="45"/>
                  </a:cubicBezTo>
                  <a:cubicBezTo>
                    <a:pt x="841" y="47"/>
                    <a:pt x="830" y="50"/>
                    <a:pt x="819" y="54"/>
                  </a:cubicBezTo>
                  <a:close/>
                  <a:moveTo>
                    <a:pt x="1399" y="49"/>
                  </a:moveTo>
                  <a:cubicBezTo>
                    <a:pt x="1388" y="46"/>
                    <a:pt x="1377" y="43"/>
                    <a:pt x="1366" y="41"/>
                  </a:cubicBezTo>
                  <a:cubicBezTo>
                    <a:pt x="1369" y="28"/>
                    <a:pt x="1369" y="28"/>
                    <a:pt x="1369" y="28"/>
                  </a:cubicBezTo>
                  <a:cubicBezTo>
                    <a:pt x="1380" y="30"/>
                    <a:pt x="1391" y="33"/>
                    <a:pt x="1403" y="36"/>
                  </a:cubicBezTo>
                  <a:lnTo>
                    <a:pt x="1399" y="49"/>
                  </a:lnTo>
                  <a:close/>
                  <a:moveTo>
                    <a:pt x="886" y="37"/>
                  </a:moveTo>
                  <a:cubicBezTo>
                    <a:pt x="884" y="24"/>
                    <a:pt x="884" y="24"/>
                    <a:pt x="884" y="24"/>
                  </a:cubicBezTo>
                  <a:cubicBezTo>
                    <a:pt x="895" y="22"/>
                    <a:pt x="906" y="20"/>
                    <a:pt x="918" y="17"/>
                  </a:cubicBezTo>
                  <a:cubicBezTo>
                    <a:pt x="920" y="30"/>
                    <a:pt x="920" y="30"/>
                    <a:pt x="920" y="30"/>
                  </a:cubicBezTo>
                  <a:cubicBezTo>
                    <a:pt x="909" y="32"/>
                    <a:pt x="898" y="35"/>
                    <a:pt x="886" y="37"/>
                  </a:cubicBezTo>
                  <a:close/>
                  <a:moveTo>
                    <a:pt x="1332" y="33"/>
                  </a:moveTo>
                  <a:cubicBezTo>
                    <a:pt x="1321" y="31"/>
                    <a:pt x="1309" y="29"/>
                    <a:pt x="1298" y="27"/>
                  </a:cubicBezTo>
                  <a:cubicBezTo>
                    <a:pt x="1300" y="14"/>
                    <a:pt x="1300" y="14"/>
                    <a:pt x="1300" y="14"/>
                  </a:cubicBezTo>
                  <a:cubicBezTo>
                    <a:pt x="1312" y="16"/>
                    <a:pt x="1323" y="18"/>
                    <a:pt x="1335" y="21"/>
                  </a:cubicBezTo>
                  <a:lnTo>
                    <a:pt x="1332" y="33"/>
                  </a:lnTo>
                  <a:close/>
                  <a:moveTo>
                    <a:pt x="954" y="25"/>
                  </a:moveTo>
                  <a:cubicBezTo>
                    <a:pt x="952" y="12"/>
                    <a:pt x="952" y="12"/>
                    <a:pt x="952" y="12"/>
                  </a:cubicBezTo>
                  <a:cubicBezTo>
                    <a:pt x="964" y="10"/>
                    <a:pt x="975" y="9"/>
                    <a:pt x="987" y="7"/>
                  </a:cubicBezTo>
                  <a:cubicBezTo>
                    <a:pt x="988" y="20"/>
                    <a:pt x="988" y="20"/>
                    <a:pt x="988" y="20"/>
                  </a:cubicBezTo>
                  <a:cubicBezTo>
                    <a:pt x="977" y="21"/>
                    <a:pt x="966" y="23"/>
                    <a:pt x="954" y="25"/>
                  </a:cubicBezTo>
                  <a:close/>
                  <a:moveTo>
                    <a:pt x="1264" y="22"/>
                  </a:moveTo>
                  <a:cubicBezTo>
                    <a:pt x="1253" y="21"/>
                    <a:pt x="1241" y="19"/>
                    <a:pt x="1230" y="18"/>
                  </a:cubicBezTo>
                  <a:cubicBezTo>
                    <a:pt x="1231" y="5"/>
                    <a:pt x="1231" y="5"/>
                    <a:pt x="1231" y="5"/>
                  </a:cubicBezTo>
                  <a:cubicBezTo>
                    <a:pt x="1243" y="6"/>
                    <a:pt x="1254" y="8"/>
                    <a:pt x="1266" y="9"/>
                  </a:cubicBezTo>
                  <a:lnTo>
                    <a:pt x="1264" y="22"/>
                  </a:lnTo>
                  <a:close/>
                  <a:moveTo>
                    <a:pt x="1023" y="17"/>
                  </a:moveTo>
                  <a:cubicBezTo>
                    <a:pt x="1022" y="4"/>
                    <a:pt x="1022" y="4"/>
                    <a:pt x="1022" y="4"/>
                  </a:cubicBezTo>
                  <a:cubicBezTo>
                    <a:pt x="1033" y="3"/>
                    <a:pt x="1045" y="2"/>
                    <a:pt x="1057" y="1"/>
                  </a:cubicBezTo>
                  <a:cubicBezTo>
                    <a:pt x="1057" y="14"/>
                    <a:pt x="1057" y="14"/>
                    <a:pt x="1057" y="14"/>
                  </a:cubicBezTo>
                  <a:cubicBezTo>
                    <a:pt x="1046" y="15"/>
                    <a:pt x="1034" y="16"/>
                    <a:pt x="1023" y="17"/>
                  </a:cubicBezTo>
                  <a:close/>
                  <a:moveTo>
                    <a:pt x="1195" y="15"/>
                  </a:moveTo>
                  <a:cubicBezTo>
                    <a:pt x="1184" y="14"/>
                    <a:pt x="1172" y="14"/>
                    <a:pt x="1161" y="13"/>
                  </a:cubicBezTo>
                  <a:cubicBezTo>
                    <a:pt x="1161" y="0"/>
                    <a:pt x="1161" y="0"/>
                    <a:pt x="1161" y="0"/>
                  </a:cubicBezTo>
                  <a:cubicBezTo>
                    <a:pt x="1173" y="1"/>
                    <a:pt x="1185" y="2"/>
                    <a:pt x="1196" y="2"/>
                  </a:cubicBezTo>
                  <a:lnTo>
                    <a:pt x="1195" y="15"/>
                  </a:lnTo>
                  <a:close/>
                  <a:moveTo>
                    <a:pt x="1092" y="13"/>
                  </a:moveTo>
                  <a:cubicBezTo>
                    <a:pt x="1091" y="0"/>
                    <a:pt x="1091" y="0"/>
                    <a:pt x="1091" y="0"/>
                  </a:cubicBezTo>
                  <a:cubicBezTo>
                    <a:pt x="1100" y="0"/>
                    <a:pt x="1108" y="0"/>
                    <a:pt x="1116" y="0"/>
                  </a:cubicBezTo>
                  <a:cubicBezTo>
                    <a:pt x="1126" y="0"/>
                    <a:pt x="1126" y="0"/>
                    <a:pt x="1126" y="0"/>
                  </a:cubicBezTo>
                  <a:cubicBezTo>
                    <a:pt x="1126" y="13"/>
                    <a:pt x="1126" y="13"/>
                    <a:pt x="1126" y="13"/>
                  </a:cubicBezTo>
                  <a:cubicBezTo>
                    <a:pt x="1117" y="13"/>
                    <a:pt x="1117" y="13"/>
                    <a:pt x="1117" y="13"/>
                  </a:cubicBezTo>
                  <a:cubicBezTo>
                    <a:pt x="1108" y="13"/>
                    <a:pt x="1100" y="13"/>
                    <a:pt x="1092" y="13"/>
                  </a:cubicBezTo>
                  <a:close/>
                </a:path>
              </a:pathLst>
            </a:custGeom>
            <a:solidFill>
              <a:schemeClr val="accent6">
                <a:lumMod val="75000"/>
              </a:schemeClr>
            </a:solidFill>
            <a:ln>
              <a:solidFill>
                <a:schemeClr val="bg1">
                  <a:lumMod val="50000"/>
                </a:schemeClr>
              </a:solidFill>
            </a:ln>
          </p:spPr>
          <p:txBody>
            <a:bodyPr vert="horz" wrap="square" lIns="91440" tIns="45720" rIns="91440" bIns="45720" numCol="1" anchor="t" anchorCtr="0" compatLnSpc="1"/>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华文楷体" panose="02010600040101010101" charset="-122"/>
                <a:cs typeface="+mn-cs"/>
              </a:endParaRPr>
            </a:p>
          </p:txBody>
        </p:sp>
        <p:sp>
          <p:nvSpPr>
            <p:cNvPr id="47" name="Freeform 9"/>
            <p:cNvSpPr/>
            <p:nvPr/>
          </p:nvSpPr>
          <p:spPr bwMode="auto">
            <a:xfrm>
              <a:off x="4536633" y="2096377"/>
              <a:ext cx="2693652" cy="2748748"/>
            </a:xfrm>
            <a:custGeom>
              <a:avLst/>
              <a:gdLst>
                <a:gd name="T0" fmla="*/ 886 w 1618"/>
                <a:gd name="T1" fmla="*/ 162 h 1650"/>
                <a:gd name="T2" fmla="*/ 847 w 1618"/>
                <a:gd name="T3" fmla="*/ 0 h 1650"/>
                <a:gd name="T4" fmla="*/ 660 w 1618"/>
                <a:gd name="T5" fmla="*/ 177 h 1650"/>
                <a:gd name="T6" fmla="*/ 556 w 1618"/>
                <a:gd name="T7" fmla="*/ 207 h 1650"/>
                <a:gd name="T8" fmla="*/ 307 w 1618"/>
                <a:gd name="T9" fmla="*/ 177 h 1650"/>
                <a:gd name="T10" fmla="*/ 294 w 1618"/>
                <a:gd name="T11" fmla="*/ 410 h 1650"/>
                <a:gd name="T12" fmla="*/ 138 w 1618"/>
                <a:gd name="T13" fmla="*/ 357 h 1650"/>
                <a:gd name="T14" fmla="*/ 185 w 1618"/>
                <a:gd name="T15" fmla="*/ 610 h 1650"/>
                <a:gd name="T16" fmla="*/ 156 w 1618"/>
                <a:gd name="T17" fmla="*/ 716 h 1650"/>
                <a:gd name="T18" fmla="*/ 1 w 1618"/>
                <a:gd name="T19" fmla="*/ 908 h 1650"/>
                <a:gd name="T20" fmla="*/ 199 w 1618"/>
                <a:gd name="T21" fmla="*/ 1075 h 1650"/>
                <a:gd name="T22" fmla="*/ 74 w 1618"/>
                <a:gd name="T23" fmla="*/ 1184 h 1650"/>
                <a:gd name="T24" fmla="*/ 317 w 1618"/>
                <a:gd name="T25" fmla="*/ 1267 h 1650"/>
                <a:gd name="T26" fmla="*/ 437 w 1618"/>
                <a:gd name="T27" fmla="*/ 1378 h 1650"/>
                <a:gd name="T28" fmla="*/ 546 w 1618"/>
                <a:gd name="T29" fmla="*/ 1604 h 1650"/>
                <a:gd name="T30" fmla="*/ 644 w 1618"/>
                <a:gd name="T31" fmla="*/ 1469 h 1650"/>
                <a:gd name="T32" fmla="*/ 749 w 1618"/>
                <a:gd name="T33" fmla="*/ 1493 h 1650"/>
                <a:gd name="T34" fmla="*/ 954 w 1618"/>
                <a:gd name="T35" fmla="*/ 1639 h 1650"/>
                <a:gd name="T36" fmla="*/ 975 w 1618"/>
                <a:gd name="T37" fmla="*/ 1472 h 1650"/>
                <a:gd name="T38" fmla="*/ 1079 w 1618"/>
                <a:gd name="T39" fmla="*/ 1443 h 1650"/>
                <a:gd name="T40" fmla="*/ 1328 w 1618"/>
                <a:gd name="T41" fmla="*/ 1473 h 1650"/>
                <a:gd name="T42" fmla="*/ 1266 w 1618"/>
                <a:gd name="T43" fmla="*/ 1316 h 1650"/>
                <a:gd name="T44" fmla="*/ 1344 w 1618"/>
                <a:gd name="T45" fmla="*/ 1241 h 1650"/>
                <a:gd name="T46" fmla="*/ 1577 w 1618"/>
                <a:gd name="T47" fmla="*/ 1147 h 1650"/>
                <a:gd name="T48" fmla="*/ 1447 w 1618"/>
                <a:gd name="T49" fmla="*/ 1028 h 1650"/>
                <a:gd name="T50" fmla="*/ 1479 w 1618"/>
                <a:gd name="T51" fmla="*/ 913 h 1650"/>
                <a:gd name="T52" fmla="*/ 1618 w 1618"/>
                <a:gd name="T53" fmla="*/ 743 h 1650"/>
                <a:gd name="T54" fmla="*/ 1467 w 1618"/>
                <a:gd name="T55" fmla="*/ 711 h 1650"/>
                <a:gd name="T56" fmla="*/ 1438 w 1618"/>
                <a:gd name="T57" fmla="*/ 574 h 1650"/>
                <a:gd name="T58" fmla="*/ 1473 w 1618"/>
                <a:gd name="T59" fmla="*/ 325 h 1650"/>
                <a:gd name="T60" fmla="*/ 1316 w 1618"/>
                <a:gd name="T61" fmla="*/ 384 h 1650"/>
                <a:gd name="T62" fmla="*/ 1198 w 1618"/>
                <a:gd name="T63" fmla="*/ 273 h 1650"/>
                <a:gd name="T64" fmla="*/ 1089 w 1618"/>
                <a:gd name="T65" fmla="*/ 46 h 1650"/>
                <a:gd name="T66" fmla="*/ 991 w 1618"/>
                <a:gd name="T67" fmla="*/ 182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8" h="1650">
                  <a:moveTo>
                    <a:pt x="991" y="182"/>
                  </a:moveTo>
                  <a:cubicBezTo>
                    <a:pt x="957" y="173"/>
                    <a:pt x="922" y="165"/>
                    <a:pt x="886" y="162"/>
                  </a:cubicBezTo>
                  <a:cubicBezTo>
                    <a:pt x="886" y="157"/>
                    <a:pt x="886" y="157"/>
                    <a:pt x="886" y="157"/>
                  </a:cubicBezTo>
                  <a:cubicBezTo>
                    <a:pt x="847" y="0"/>
                    <a:pt x="847" y="0"/>
                    <a:pt x="847" y="0"/>
                  </a:cubicBezTo>
                  <a:cubicBezTo>
                    <a:pt x="681" y="12"/>
                    <a:pt x="681" y="12"/>
                    <a:pt x="681" y="12"/>
                  </a:cubicBezTo>
                  <a:cubicBezTo>
                    <a:pt x="660" y="177"/>
                    <a:pt x="660" y="177"/>
                    <a:pt x="660" y="177"/>
                  </a:cubicBezTo>
                  <a:cubicBezTo>
                    <a:pt x="625" y="185"/>
                    <a:pt x="591" y="196"/>
                    <a:pt x="558" y="210"/>
                  </a:cubicBezTo>
                  <a:cubicBezTo>
                    <a:pt x="556" y="207"/>
                    <a:pt x="556" y="207"/>
                    <a:pt x="556" y="207"/>
                  </a:cubicBezTo>
                  <a:cubicBezTo>
                    <a:pt x="447" y="88"/>
                    <a:pt x="447" y="88"/>
                    <a:pt x="447" y="88"/>
                  </a:cubicBezTo>
                  <a:cubicBezTo>
                    <a:pt x="307" y="177"/>
                    <a:pt x="307" y="177"/>
                    <a:pt x="307" y="177"/>
                  </a:cubicBezTo>
                  <a:cubicBezTo>
                    <a:pt x="368" y="332"/>
                    <a:pt x="368" y="332"/>
                    <a:pt x="368" y="332"/>
                  </a:cubicBezTo>
                  <a:cubicBezTo>
                    <a:pt x="341" y="356"/>
                    <a:pt x="316" y="382"/>
                    <a:pt x="294" y="410"/>
                  </a:cubicBezTo>
                  <a:cubicBezTo>
                    <a:pt x="291" y="409"/>
                    <a:pt x="291" y="409"/>
                    <a:pt x="291" y="409"/>
                  </a:cubicBezTo>
                  <a:cubicBezTo>
                    <a:pt x="138" y="357"/>
                    <a:pt x="138" y="357"/>
                    <a:pt x="138" y="357"/>
                  </a:cubicBezTo>
                  <a:cubicBezTo>
                    <a:pt x="58" y="503"/>
                    <a:pt x="58" y="503"/>
                    <a:pt x="58" y="503"/>
                  </a:cubicBezTo>
                  <a:cubicBezTo>
                    <a:pt x="185" y="610"/>
                    <a:pt x="185" y="610"/>
                    <a:pt x="185" y="610"/>
                  </a:cubicBezTo>
                  <a:cubicBezTo>
                    <a:pt x="174" y="644"/>
                    <a:pt x="165" y="662"/>
                    <a:pt x="159" y="716"/>
                  </a:cubicBezTo>
                  <a:cubicBezTo>
                    <a:pt x="156" y="716"/>
                    <a:pt x="156" y="716"/>
                    <a:pt x="156" y="716"/>
                  </a:cubicBezTo>
                  <a:cubicBezTo>
                    <a:pt x="0" y="741"/>
                    <a:pt x="0" y="741"/>
                    <a:pt x="0" y="741"/>
                  </a:cubicBezTo>
                  <a:cubicBezTo>
                    <a:pt x="1" y="908"/>
                    <a:pt x="1" y="908"/>
                    <a:pt x="1" y="908"/>
                  </a:cubicBezTo>
                  <a:cubicBezTo>
                    <a:pt x="161" y="939"/>
                    <a:pt x="161" y="939"/>
                    <a:pt x="161" y="939"/>
                  </a:cubicBezTo>
                  <a:cubicBezTo>
                    <a:pt x="169" y="986"/>
                    <a:pt x="181" y="1032"/>
                    <a:pt x="199" y="1075"/>
                  </a:cubicBezTo>
                  <a:cubicBezTo>
                    <a:pt x="196" y="1076"/>
                    <a:pt x="196" y="1076"/>
                    <a:pt x="196" y="1076"/>
                  </a:cubicBezTo>
                  <a:cubicBezTo>
                    <a:pt x="74" y="1184"/>
                    <a:pt x="74" y="1184"/>
                    <a:pt x="74" y="1184"/>
                  </a:cubicBezTo>
                  <a:cubicBezTo>
                    <a:pt x="162" y="1325"/>
                    <a:pt x="162" y="1325"/>
                    <a:pt x="162" y="1325"/>
                  </a:cubicBezTo>
                  <a:cubicBezTo>
                    <a:pt x="317" y="1267"/>
                    <a:pt x="317" y="1267"/>
                    <a:pt x="317" y="1267"/>
                  </a:cubicBezTo>
                  <a:cubicBezTo>
                    <a:pt x="353" y="1307"/>
                    <a:pt x="393" y="1344"/>
                    <a:pt x="438" y="1374"/>
                  </a:cubicBezTo>
                  <a:cubicBezTo>
                    <a:pt x="437" y="1378"/>
                    <a:pt x="437" y="1378"/>
                    <a:pt x="437" y="1378"/>
                  </a:cubicBezTo>
                  <a:cubicBezTo>
                    <a:pt x="395" y="1534"/>
                    <a:pt x="395" y="1534"/>
                    <a:pt x="395" y="1534"/>
                  </a:cubicBezTo>
                  <a:cubicBezTo>
                    <a:pt x="546" y="1604"/>
                    <a:pt x="546" y="1604"/>
                    <a:pt x="546" y="1604"/>
                  </a:cubicBezTo>
                  <a:cubicBezTo>
                    <a:pt x="644" y="1469"/>
                    <a:pt x="644" y="1469"/>
                    <a:pt x="644" y="1469"/>
                  </a:cubicBezTo>
                  <a:cubicBezTo>
                    <a:pt x="644" y="1469"/>
                    <a:pt x="644" y="1469"/>
                    <a:pt x="644" y="1469"/>
                  </a:cubicBezTo>
                  <a:cubicBezTo>
                    <a:pt x="678" y="1478"/>
                    <a:pt x="713" y="1485"/>
                    <a:pt x="749" y="1488"/>
                  </a:cubicBezTo>
                  <a:cubicBezTo>
                    <a:pt x="749" y="1493"/>
                    <a:pt x="749" y="1493"/>
                    <a:pt x="749" y="1493"/>
                  </a:cubicBezTo>
                  <a:cubicBezTo>
                    <a:pt x="788" y="1650"/>
                    <a:pt x="788" y="1650"/>
                    <a:pt x="788" y="1650"/>
                  </a:cubicBezTo>
                  <a:cubicBezTo>
                    <a:pt x="954" y="1639"/>
                    <a:pt x="954" y="1639"/>
                    <a:pt x="954" y="1639"/>
                  </a:cubicBezTo>
                  <a:cubicBezTo>
                    <a:pt x="975" y="1473"/>
                    <a:pt x="975" y="1473"/>
                    <a:pt x="975" y="1473"/>
                  </a:cubicBezTo>
                  <a:cubicBezTo>
                    <a:pt x="975" y="1472"/>
                    <a:pt x="975" y="1472"/>
                    <a:pt x="975" y="1472"/>
                  </a:cubicBezTo>
                  <a:cubicBezTo>
                    <a:pt x="1010" y="1463"/>
                    <a:pt x="1044" y="1453"/>
                    <a:pt x="1076" y="1439"/>
                  </a:cubicBezTo>
                  <a:cubicBezTo>
                    <a:pt x="1079" y="1443"/>
                    <a:pt x="1079" y="1443"/>
                    <a:pt x="1079" y="1443"/>
                  </a:cubicBezTo>
                  <a:cubicBezTo>
                    <a:pt x="1188" y="1563"/>
                    <a:pt x="1188" y="1563"/>
                    <a:pt x="1188" y="1563"/>
                  </a:cubicBezTo>
                  <a:cubicBezTo>
                    <a:pt x="1328" y="1473"/>
                    <a:pt x="1328" y="1473"/>
                    <a:pt x="1328" y="1473"/>
                  </a:cubicBezTo>
                  <a:cubicBezTo>
                    <a:pt x="1267" y="1317"/>
                    <a:pt x="1267" y="1317"/>
                    <a:pt x="1267" y="1317"/>
                  </a:cubicBezTo>
                  <a:cubicBezTo>
                    <a:pt x="1266" y="1316"/>
                    <a:pt x="1266" y="1316"/>
                    <a:pt x="1266" y="1316"/>
                  </a:cubicBezTo>
                  <a:cubicBezTo>
                    <a:pt x="1292" y="1292"/>
                    <a:pt x="1316" y="1266"/>
                    <a:pt x="1338" y="1238"/>
                  </a:cubicBezTo>
                  <a:cubicBezTo>
                    <a:pt x="1344" y="1241"/>
                    <a:pt x="1344" y="1241"/>
                    <a:pt x="1344" y="1241"/>
                  </a:cubicBezTo>
                  <a:cubicBezTo>
                    <a:pt x="1497" y="1293"/>
                    <a:pt x="1497" y="1293"/>
                    <a:pt x="1497" y="1293"/>
                  </a:cubicBezTo>
                  <a:cubicBezTo>
                    <a:pt x="1577" y="1147"/>
                    <a:pt x="1577" y="1147"/>
                    <a:pt x="1577" y="1147"/>
                  </a:cubicBezTo>
                  <a:cubicBezTo>
                    <a:pt x="1448" y="1041"/>
                    <a:pt x="1448" y="1041"/>
                    <a:pt x="1448" y="1041"/>
                  </a:cubicBezTo>
                  <a:cubicBezTo>
                    <a:pt x="1447" y="1028"/>
                    <a:pt x="1447" y="1028"/>
                    <a:pt x="1447" y="1028"/>
                  </a:cubicBezTo>
                  <a:cubicBezTo>
                    <a:pt x="1458" y="995"/>
                    <a:pt x="1467" y="967"/>
                    <a:pt x="1473" y="913"/>
                  </a:cubicBezTo>
                  <a:cubicBezTo>
                    <a:pt x="1479" y="913"/>
                    <a:pt x="1479" y="913"/>
                    <a:pt x="1479" y="913"/>
                  </a:cubicBezTo>
                  <a:cubicBezTo>
                    <a:pt x="1618" y="909"/>
                    <a:pt x="1618" y="909"/>
                    <a:pt x="1618" y="909"/>
                  </a:cubicBezTo>
                  <a:cubicBezTo>
                    <a:pt x="1618" y="743"/>
                    <a:pt x="1618" y="743"/>
                    <a:pt x="1618" y="743"/>
                  </a:cubicBezTo>
                  <a:cubicBezTo>
                    <a:pt x="1464" y="711"/>
                    <a:pt x="1464" y="711"/>
                    <a:pt x="1464" y="711"/>
                  </a:cubicBezTo>
                  <a:cubicBezTo>
                    <a:pt x="1467" y="711"/>
                    <a:pt x="1467" y="711"/>
                    <a:pt x="1467" y="711"/>
                  </a:cubicBezTo>
                  <a:cubicBezTo>
                    <a:pt x="1459" y="664"/>
                    <a:pt x="1449" y="620"/>
                    <a:pt x="1432" y="577"/>
                  </a:cubicBezTo>
                  <a:cubicBezTo>
                    <a:pt x="1438" y="574"/>
                    <a:pt x="1438" y="574"/>
                    <a:pt x="1438" y="574"/>
                  </a:cubicBezTo>
                  <a:cubicBezTo>
                    <a:pt x="1560" y="467"/>
                    <a:pt x="1560" y="467"/>
                    <a:pt x="1560" y="467"/>
                  </a:cubicBezTo>
                  <a:cubicBezTo>
                    <a:pt x="1473" y="325"/>
                    <a:pt x="1473" y="325"/>
                    <a:pt x="1473" y="325"/>
                  </a:cubicBezTo>
                  <a:cubicBezTo>
                    <a:pt x="1317" y="384"/>
                    <a:pt x="1317" y="384"/>
                    <a:pt x="1317" y="384"/>
                  </a:cubicBezTo>
                  <a:cubicBezTo>
                    <a:pt x="1316" y="384"/>
                    <a:pt x="1316" y="384"/>
                    <a:pt x="1316" y="384"/>
                  </a:cubicBezTo>
                  <a:cubicBezTo>
                    <a:pt x="1280" y="344"/>
                    <a:pt x="1240" y="308"/>
                    <a:pt x="1196" y="277"/>
                  </a:cubicBezTo>
                  <a:cubicBezTo>
                    <a:pt x="1198" y="273"/>
                    <a:pt x="1198" y="273"/>
                    <a:pt x="1198" y="273"/>
                  </a:cubicBezTo>
                  <a:cubicBezTo>
                    <a:pt x="1240" y="116"/>
                    <a:pt x="1240" y="116"/>
                    <a:pt x="1240" y="116"/>
                  </a:cubicBezTo>
                  <a:cubicBezTo>
                    <a:pt x="1089" y="46"/>
                    <a:pt x="1089" y="46"/>
                    <a:pt x="1089" y="46"/>
                  </a:cubicBezTo>
                  <a:cubicBezTo>
                    <a:pt x="991" y="181"/>
                    <a:pt x="991" y="181"/>
                    <a:pt x="991" y="181"/>
                  </a:cubicBezTo>
                  <a:cubicBezTo>
                    <a:pt x="991" y="182"/>
                    <a:pt x="991" y="182"/>
                    <a:pt x="991" y="182"/>
                  </a:cubicBezTo>
                </a:path>
              </a:pathLst>
            </a:custGeom>
            <a:solidFill>
              <a:srgbClr val="808080">
                <a:lumMod val="75000"/>
              </a:srgbClr>
            </a:solidFill>
            <a:ln w="19050">
              <a:solidFill>
                <a:schemeClr val="bg1"/>
              </a:solidFill>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华文楷体" panose="02010600040101010101" charset="-122"/>
                <a:cs typeface="+mn-cs"/>
              </a:endParaRPr>
            </a:p>
          </p:txBody>
        </p:sp>
        <p:sp>
          <p:nvSpPr>
            <p:cNvPr id="68" name="Freeform 32"/>
            <p:cNvSpPr/>
            <p:nvPr/>
          </p:nvSpPr>
          <p:spPr bwMode="auto">
            <a:xfrm>
              <a:off x="4443520" y="1483516"/>
              <a:ext cx="651331" cy="654197"/>
            </a:xfrm>
            <a:custGeom>
              <a:avLst/>
              <a:gdLst>
                <a:gd name="T0" fmla="*/ 90 w 491"/>
                <a:gd name="T1" fmla="*/ 373 h 492"/>
                <a:gd name="T2" fmla="*/ 64 w 491"/>
                <a:gd name="T3" fmla="*/ 415 h 492"/>
                <a:gd name="T4" fmla="*/ 141 w 491"/>
                <a:gd name="T5" fmla="*/ 417 h 492"/>
                <a:gd name="T6" fmla="*/ 170 w 491"/>
                <a:gd name="T7" fmla="*/ 433 h 492"/>
                <a:gd name="T8" fmla="*/ 217 w 491"/>
                <a:gd name="T9" fmla="*/ 492 h 492"/>
                <a:gd name="T10" fmla="*/ 269 w 491"/>
                <a:gd name="T11" fmla="*/ 445 h 492"/>
                <a:gd name="T12" fmla="*/ 290 w 491"/>
                <a:gd name="T13" fmla="*/ 490 h 492"/>
                <a:gd name="T14" fmla="*/ 334 w 491"/>
                <a:gd name="T15" fmla="*/ 426 h 492"/>
                <a:gd name="T16" fmla="*/ 363 w 491"/>
                <a:gd name="T17" fmla="*/ 410 h 492"/>
                <a:gd name="T18" fmla="*/ 436 w 491"/>
                <a:gd name="T19" fmla="*/ 402 h 492"/>
                <a:gd name="T20" fmla="*/ 430 w 491"/>
                <a:gd name="T21" fmla="*/ 325 h 492"/>
                <a:gd name="T22" fmla="*/ 479 w 491"/>
                <a:gd name="T23" fmla="*/ 328 h 492"/>
                <a:gd name="T24" fmla="*/ 445 w 491"/>
                <a:gd name="T25" fmla="*/ 259 h 492"/>
                <a:gd name="T26" fmla="*/ 444 w 491"/>
                <a:gd name="T27" fmla="*/ 210 h 492"/>
                <a:gd name="T28" fmla="*/ 469 w 491"/>
                <a:gd name="T29" fmla="*/ 139 h 492"/>
                <a:gd name="T30" fmla="*/ 419 w 491"/>
                <a:gd name="T31" fmla="*/ 147 h 492"/>
                <a:gd name="T32" fmla="*/ 402 w 491"/>
                <a:gd name="T33" fmla="*/ 119 h 492"/>
                <a:gd name="T34" fmla="*/ 389 w 491"/>
                <a:gd name="T35" fmla="*/ 45 h 492"/>
                <a:gd name="T36" fmla="*/ 349 w 491"/>
                <a:gd name="T37" fmla="*/ 76 h 492"/>
                <a:gd name="T38" fmla="*/ 321 w 491"/>
                <a:gd name="T39" fmla="*/ 60 h 492"/>
                <a:gd name="T40" fmla="*/ 275 w 491"/>
                <a:gd name="T41" fmla="*/ 0 h 492"/>
                <a:gd name="T42" fmla="*/ 255 w 491"/>
                <a:gd name="T43" fmla="*/ 47 h 492"/>
                <a:gd name="T44" fmla="*/ 222 w 491"/>
                <a:gd name="T45" fmla="*/ 46 h 492"/>
                <a:gd name="T46" fmla="*/ 153 w 491"/>
                <a:gd name="T47" fmla="*/ 17 h 492"/>
                <a:gd name="T48" fmla="*/ 155 w 491"/>
                <a:gd name="T49" fmla="*/ 70 h 492"/>
                <a:gd name="T50" fmla="*/ 124 w 491"/>
                <a:gd name="T51" fmla="*/ 87 h 492"/>
                <a:gd name="T52" fmla="*/ 58 w 491"/>
                <a:gd name="T53" fmla="*/ 94 h 492"/>
                <a:gd name="T54" fmla="*/ 83 w 491"/>
                <a:gd name="T55" fmla="*/ 133 h 492"/>
                <a:gd name="T56" fmla="*/ 61 w 491"/>
                <a:gd name="T57" fmla="*/ 168 h 492"/>
                <a:gd name="T58" fmla="*/ 0 w 491"/>
                <a:gd name="T59" fmla="*/ 213 h 492"/>
                <a:gd name="T60" fmla="*/ 46 w 491"/>
                <a:gd name="T61" fmla="*/ 234 h 492"/>
                <a:gd name="T62" fmla="*/ 48 w 491"/>
                <a:gd name="T63" fmla="*/ 283 h 492"/>
                <a:gd name="T64" fmla="*/ 23 w 491"/>
                <a:gd name="T65" fmla="*/ 354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 h="492">
                  <a:moveTo>
                    <a:pt x="72" y="346"/>
                  </a:moveTo>
                  <a:cubicBezTo>
                    <a:pt x="78" y="355"/>
                    <a:pt x="83" y="364"/>
                    <a:pt x="90" y="373"/>
                  </a:cubicBezTo>
                  <a:cubicBezTo>
                    <a:pt x="89" y="373"/>
                    <a:pt x="89" y="373"/>
                    <a:pt x="89" y="373"/>
                  </a:cubicBezTo>
                  <a:cubicBezTo>
                    <a:pt x="64" y="415"/>
                    <a:pt x="64" y="415"/>
                    <a:pt x="64" y="415"/>
                  </a:cubicBezTo>
                  <a:cubicBezTo>
                    <a:pt x="102" y="448"/>
                    <a:pt x="102" y="448"/>
                    <a:pt x="102" y="448"/>
                  </a:cubicBezTo>
                  <a:cubicBezTo>
                    <a:pt x="141" y="417"/>
                    <a:pt x="141" y="417"/>
                    <a:pt x="141" y="417"/>
                  </a:cubicBezTo>
                  <a:cubicBezTo>
                    <a:pt x="151" y="423"/>
                    <a:pt x="160" y="428"/>
                    <a:pt x="170" y="432"/>
                  </a:cubicBezTo>
                  <a:cubicBezTo>
                    <a:pt x="170" y="433"/>
                    <a:pt x="170" y="433"/>
                    <a:pt x="170" y="433"/>
                  </a:cubicBezTo>
                  <a:cubicBezTo>
                    <a:pt x="168" y="481"/>
                    <a:pt x="168" y="481"/>
                    <a:pt x="168" y="481"/>
                  </a:cubicBezTo>
                  <a:cubicBezTo>
                    <a:pt x="217" y="492"/>
                    <a:pt x="217" y="492"/>
                    <a:pt x="217" y="492"/>
                  </a:cubicBezTo>
                  <a:cubicBezTo>
                    <a:pt x="236" y="446"/>
                    <a:pt x="236" y="446"/>
                    <a:pt x="236" y="446"/>
                  </a:cubicBezTo>
                  <a:cubicBezTo>
                    <a:pt x="247" y="447"/>
                    <a:pt x="258" y="447"/>
                    <a:pt x="269" y="445"/>
                  </a:cubicBezTo>
                  <a:cubicBezTo>
                    <a:pt x="269" y="446"/>
                    <a:pt x="269" y="446"/>
                    <a:pt x="269" y="446"/>
                  </a:cubicBezTo>
                  <a:cubicBezTo>
                    <a:pt x="290" y="490"/>
                    <a:pt x="290" y="490"/>
                    <a:pt x="290" y="490"/>
                  </a:cubicBezTo>
                  <a:cubicBezTo>
                    <a:pt x="338" y="476"/>
                    <a:pt x="338" y="476"/>
                    <a:pt x="338" y="476"/>
                  </a:cubicBezTo>
                  <a:cubicBezTo>
                    <a:pt x="334" y="426"/>
                    <a:pt x="334" y="426"/>
                    <a:pt x="334" y="426"/>
                  </a:cubicBezTo>
                  <a:cubicBezTo>
                    <a:pt x="344" y="421"/>
                    <a:pt x="349" y="419"/>
                    <a:pt x="362" y="409"/>
                  </a:cubicBezTo>
                  <a:cubicBezTo>
                    <a:pt x="363" y="410"/>
                    <a:pt x="363" y="410"/>
                    <a:pt x="363" y="410"/>
                  </a:cubicBezTo>
                  <a:cubicBezTo>
                    <a:pt x="401" y="437"/>
                    <a:pt x="401" y="437"/>
                    <a:pt x="401" y="437"/>
                  </a:cubicBezTo>
                  <a:cubicBezTo>
                    <a:pt x="436" y="402"/>
                    <a:pt x="436" y="402"/>
                    <a:pt x="436" y="402"/>
                  </a:cubicBezTo>
                  <a:cubicBezTo>
                    <a:pt x="409" y="361"/>
                    <a:pt x="409" y="361"/>
                    <a:pt x="409" y="361"/>
                  </a:cubicBezTo>
                  <a:cubicBezTo>
                    <a:pt x="417" y="350"/>
                    <a:pt x="424" y="337"/>
                    <a:pt x="430" y="325"/>
                  </a:cubicBezTo>
                  <a:cubicBezTo>
                    <a:pt x="431" y="325"/>
                    <a:pt x="431" y="325"/>
                    <a:pt x="431" y="325"/>
                  </a:cubicBezTo>
                  <a:cubicBezTo>
                    <a:pt x="479" y="328"/>
                    <a:pt x="479" y="328"/>
                    <a:pt x="479" y="328"/>
                  </a:cubicBezTo>
                  <a:cubicBezTo>
                    <a:pt x="491" y="279"/>
                    <a:pt x="491" y="279"/>
                    <a:pt x="491" y="279"/>
                  </a:cubicBezTo>
                  <a:cubicBezTo>
                    <a:pt x="445" y="259"/>
                    <a:pt x="445" y="259"/>
                    <a:pt x="445" y="259"/>
                  </a:cubicBezTo>
                  <a:cubicBezTo>
                    <a:pt x="446" y="243"/>
                    <a:pt x="446" y="226"/>
                    <a:pt x="443" y="210"/>
                  </a:cubicBezTo>
                  <a:cubicBezTo>
                    <a:pt x="444" y="210"/>
                    <a:pt x="444" y="210"/>
                    <a:pt x="444" y="210"/>
                  </a:cubicBezTo>
                  <a:cubicBezTo>
                    <a:pt x="486" y="186"/>
                    <a:pt x="486" y="186"/>
                    <a:pt x="486" y="186"/>
                  </a:cubicBezTo>
                  <a:cubicBezTo>
                    <a:pt x="469" y="139"/>
                    <a:pt x="469" y="139"/>
                    <a:pt x="469" y="139"/>
                  </a:cubicBezTo>
                  <a:cubicBezTo>
                    <a:pt x="419" y="147"/>
                    <a:pt x="419" y="147"/>
                    <a:pt x="419" y="147"/>
                  </a:cubicBezTo>
                  <a:cubicBezTo>
                    <a:pt x="419" y="147"/>
                    <a:pt x="419" y="147"/>
                    <a:pt x="419" y="147"/>
                  </a:cubicBezTo>
                  <a:cubicBezTo>
                    <a:pt x="414" y="137"/>
                    <a:pt x="408" y="128"/>
                    <a:pt x="401" y="120"/>
                  </a:cubicBezTo>
                  <a:cubicBezTo>
                    <a:pt x="402" y="119"/>
                    <a:pt x="402" y="119"/>
                    <a:pt x="402" y="119"/>
                  </a:cubicBezTo>
                  <a:cubicBezTo>
                    <a:pt x="427" y="78"/>
                    <a:pt x="427" y="78"/>
                    <a:pt x="427" y="78"/>
                  </a:cubicBezTo>
                  <a:cubicBezTo>
                    <a:pt x="389" y="45"/>
                    <a:pt x="389" y="45"/>
                    <a:pt x="389" y="45"/>
                  </a:cubicBezTo>
                  <a:cubicBezTo>
                    <a:pt x="350" y="75"/>
                    <a:pt x="350" y="75"/>
                    <a:pt x="350" y="75"/>
                  </a:cubicBezTo>
                  <a:cubicBezTo>
                    <a:pt x="349" y="76"/>
                    <a:pt x="349" y="76"/>
                    <a:pt x="349" y="76"/>
                  </a:cubicBezTo>
                  <a:cubicBezTo>
                    <a:pt x="340" y="70"/>
                    <a:pt x="331" y="65"/>
                    <a:pt x="321" y="61"/>
                  </a:cubicBezTo>
                  <a:cubicBezTo>
                    <a:pt x="321" y="60"/>
                    <a:pt x="321" y="60"/>
                    <a:pt x="321" y="60"/>
                  </a:cubicBezTo>
                  <a:cubicBezTo>
                    <a:pt x="323" y="11"/>
                    <a:pt x="323" y="11"/>
                    <a:pt x="323" y="11"/>
                  </a:cubicBezTo>
                  <a:cubicBezTo>
                    <a:pt x="275" y="0"/>
                    <a:pt x="275" y="0"/>
                    <a:pt x="275" y="0"/>
                  </a:cubicBezTo>
                  <a:cubicBezTo>
                    <a:pt x="255" y="46"/>
                    <a:pt x="255" y="46"/>
                    <a:pt x="255" y="46"/>
                  </a:cubicBezTo>
                  <a:cubicBezTo>
                    <a:pt x="255" y="47"/>
                    <a:pt x="255" y="47"/>
                    <a:pt x="255" y="47"/>
                  </a:cubicBezTo>
                  <a:cubicBezTo>
                    <a:pt x="244" y="47"/>
                    <a:pt x="233" y="47"/>
                    <a:pt x="223" y="48"/>
                  </a:cubicBezTo>
                  <a:cubicBezTo>
                    <a:pt x="222" y="46"/>
                    <a:pt x="222" y="46"/>
                    <a:pt x="222" y="46"/>
                  </a:cubicBezTo>
                  <a:cubicBezTo>
                    <a:pt x="201" y="3"/>
                    <a:pt x="201" y="3"/>
                    <a:pt x="201" y="3"/>
                  </a:cubicBezTo>
                  <a:cubicBezTo>
                    <a:pt x="153" y="17"/>
                    <a:pt x="153" y="17"/>
                    <a:pt x="153" y="17"/>
                  </a:cubicBezTo>
                  <a:cubicBezTo>
                    <a:pt x="157" y="67"/>
                    <a:pt x="157" y="67"/>
                    <a:pt x="157" y="67"/>
                  </a:cubicBezTo>
                  <a:cubicBezTo>
                    <a:pt x="155" y="70"/>
                    <a:pt x="155" y="70"/>
                    <a:pt x="155" y="70"/>
                  </a:cubicBezTo>
                  <a:cubicBezTo>
                    <a:pt x="146" y="74"/>
                    <a:pt x="138" y="78"/>
                    <a:pt x="125" y="89"/>
                  </a:cubicBezTo>
                  <a:cubicBezTo>
                    <a:pt x="124" y="87"/>
                    <a:pt x="124" y="87"/>
                    <a:pt x="124" y="87"/>
                  </a:cubicBezTo>
                  <a:cubicBezTo>
                    <a:pt x="93" y="59"/>
                    <a:pt x="93" y="59"/>
                    <a:pt x="93" y="59"/>
                  </a:cubicBezTo>
                  <a:cubicBezTo>
                    <a:pt x="58" y="94"/>
                    <a:pt x="58" y="94"/>
                    <a:pt x="58" y="94"/>
                  </a:cubicBezTo>
                  <a:cubicBezTo>
                    <a:pt x="84" y="133"/>
                    <a:pt x="84" y="133"/>
                    <a:pt x="84" y="133"/>
                  </a:cubicBezTo>
                  <a:cubicBezTo>
                    <a:pt x="83" y="133"/>
                    <a:pt x="83" y="133"/>
                    <a:pt x="83" y="133"/>
                  </a:cubicBezTo>
                  <a:cubicBezTo>
                    <a:pt x="75" y="144"/>
                    <a:pt x="68" y="156"/>
                    <a:pt x="63" y="169"/>
                  </a:cubicBezTo>
                  <a:cubicBezTo>
                    <a:pt x="61" y="168"/>
                    <a:pt x="61" y="168"/>
                    <a:pt x="61" y="168"/>
                  </a:cubicBezTo>
                  <a:cubicBezTo>
                    <a:pt x="12" y="165"/>
                    <a:pt x="12" y="165"/>
                    <a:pt x="12" y="165"/>
                  </a:cubicBezTo>
                  <a:cubicBezTo>
                    <a:pt x="0" y="213"/>
                    <a:pt x="0" y="213"/>
                    <a:pt x="0" y="213"/>
                  </a:cubicBezTo>
                  <a:cubicBezTo>
                    <a:pt x="46" y="234"/>
                    <a:pt x="46" y="234"/>
                    <a:pt x="46" y="234"/>
                  </a:cubicBezTo>
                  <a:cubicBezTo>
                    <a:pt x="46" y="234"/>
                    <a:pt x="46" y="234"/>
                    <a:pt x="46" y="234"/>
                  </a:cubicBezTo>
                  <a:cubicBezTo>
                    <a:pt x="45" y="250"/>
                    <a:pt x="46" y="266"/>
                    <a:pt x="49" y="282"/>
                  </a:cubicBezTo>
                  <a:cubicBezTo>
                    <a:pt x="48" y="283"/>
                    <a:pt x="48" y="283"/>
                    <a:pt x="48" y="283"/>
                  </a:cubicBezTo>
                  <a:cubicBezTo>
                    <a:pt x="5" y="307"/>
                    <a:pt x="5" y="307"/>
                    <a:pt x="5" y="307"/>
                  </a:cubicBezTo>
                  <a:cubicBezTo>
                    <a:pt x="23" y="354"/>
                    <a:pt x="23" y="354"/>
                    <a:pt x="23" y="354"/>
                  </a:cubicBezTo>
                  <a:cubicBezTo>
                    <a:pt x="72" y="346"/>
                    <a:pt x="72" y="346"/>
                    <a:pt x="72" y="346"/>
                  </a:cubicBezTo>
                  <a:close/>
                </a:path>
              </a:pathLst>
            </a:custGeom>
            <a:solidFill>
              <a:schemeClr val="bg1">
                <a:lumMod val="65000"/>
              </a:schemeClr>
            </a:solidFill>
            <a:ln w="19050">
              <a:solidFill>
                <a:srgbClr val="FFFFFF"/>
              </a:solidFill>
            </a:ln>
          </p:spPr>
          <p:txBody>
            <a:bodyPr vert="horz" wrap="square" lIns="91440" tIns="45720" rIns="91440" bIns="45720" numCol="1" anchor="t" anchorCtr="0" compatLnSpc="1"/>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华文楷体" panose="02010600040101010101" charset="-122"/>
                <a:cs typeface="+mn-cs"/>
              </a:endParaRPr>
            </a:p>
          </p:txBody>
        </p:sp>
        <p:sp>
          <p:nvSpPr>
            <p:cNvPr id="69" name="Freeform 33"/>
            <p:cNvSpPr/>
            <p:nvPr/>
          </p:nvSpPr>
          <p:spPr bwMode="auto">
            <a:xfrm>
              <a:off x="6969385" y="4301599"/>
              <a:ext cx="678377" cy="680367"/>
            </a:xfrm>
            <a:custGeom>
              <a:avLst/>
              <a:gdLst>
                <a:gd name="T0" fmla="*/ 90 w 491"/>
                <a:gd name="T1" fmla="*/ 373 h 492"/>
                <a:gd name="T2" fmla="*/ 64 w 491"/>
                <a:gd name="T3" fmla="*/ 415 h 492"/>
                <a:gd name="T4" fmla="*/ 141 w 491"/>
                <a:gd name="T5" fmla="*/ 417 h 492"/>
                <a:gd name="T6" fmla="*/ 170 w 491"/>
                <a:gd name="T7" fmla="*/ 433 h 492"/>
                <a:gd name="T8" fmla="*/ 217 w 491"/>
                <a:gd name="T9" fmla="*/ 492 h 492"/>
                <a:gd name="T10" fmla="*/ 269 w 491"/>
                <a:gd name="T11" fmla="*/ 445 h 492"/>
                <a:gd name="T12" fmla="*/ 290 w 491"/>
                <a:gd name="T13" fmla="*/ 490 h 492"/>
                <a:gd name="T14" fmla="*/ 334 w 491"/>
                <a:gd name="T15" fmla="*/ 426 h 492"/>
                <a:gd name="T16" fmla="*/ 363 w 491"/>
                <a:gd name="T17" fmla="*/ 410 h 492"/>
                <a:gd name="T18" fmla="*/ 436 w 491"/>
                <a:gd name="T19" fmla="*/ 402 h 492"/>
                <a:gd name="T20" fmla="*/ 430 w 491"/>
                <a:gd name="T21" fmla="*/ 325 h 492"/>
                <a:gd name="T22" fmla="*/ 479 w 491"/>
                <a:gd name="T23" fmla="*/ 328 h 492"/>
                <a:gd name="T24" fmla="*/ 445 w 491"/>
                <a:gd name="T25" fmla="*/ 259 h 492"/>
                <a:gd name="T26" fmla="*/ 444 w 491"/>
                <a:gd name="T27" fmla="*/ 210 h 492"/>
                <a:gd name="T28" fmla="*/ 469 w 491"/>
                <a:gd name="T29" fmla="*/ 139 h 492"/>
                <a:gd name="T30" fmla="*/ 419 w 491"/>
                <a:gd name="T31" fmla="*/ 147 h 492"/>
                <a:gd name="T32" fmla="*/ 402 w 491"/>
                <a:gd name="T33" fmla="*/ 119 h 492"/>
                <a:gd name="T34" fmla="*/ 389 w 491"/>
                <a:gd name="T35" fmla="*/ 45 h 492"/>
                <a:gd name="T36" fmla="*/ 349 w 491"/>
                <a:gd name="T37" fmla="*/ 76 h 492"/>
                <a:gd name="T38" fmla="*/ 321 w 491"/>
                <a:gd name="T39" fmla="*/ 60 h 492"/>
                <a:gd name="T40" fmla="*/ 275 w 491"/>
                <a:gd name="T41" fmla="*/ 0 h 492"/>
                <a:gd name="T42" fmla="*/ 255 w 491"/>
                <a:gd name="T43" fmla="*/ 47 h 492"/>
                <a:gd name="T44" fmla="*/ 222 w 491"/>
                <a:gd name="T45" fmla="*/ 46 h 492"/>
                <a:gd name="T46" fmla="*/ 153 w 491"/>
                <a:gd name="T47" fmla="*/ 17 h 492"/>
                <a:gd name="T48" fmla="*/ 155 w 491"/>
                <a:gd name="T49" fmla="*/ 70 h 492"/>
                <a:gd name="T50" fmla="*/ 124 w 491"/>
                <a:gd name="T51" fmla="*/ 87 h 492"/>
                <a:gd name="T52" fmla="*/ 58 w 491"/>
                <a:gd name="T53" fmla="*/ 94 h 492"/>
                <a:gd name="T54" fmla="*/ 83 w 491"/>
                <a:gd name="T55" fmla="*/ 133 h 492"/>
                <a:gd name="T56" fmla="*/ 61 w 491"/>
                <a:gd name="T57" fmla="*/ 168 h 492"/>
                <a:gd name="T58" fmla="*/ 0 w 491"/>
                <a:gd name="T59" fmla="*/ 213 h 492"/>
                <a:gd name="T60" fmla="*/ 46 w 491"/>
                <a:gd name="T61" fmla="*/ 234 h 492"/>
                <a:gd name="T62" fmla="*/ 48 w 491"/>
                <a:gd name="T63" fmla="*/ 283 h 492"/>
                <a:gd name="T64" fmla="*/ 23 w 491"/>
                <a:gd name="T65" fmla="*/ 354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 h="492">
                  <a:moveTo>
                    <a:pt x="72" y="346"/>
                  </a:moveTo>
                  <a:cubicBezTo>
                    <a:pt x="78" y="355"/>
                    <a:pt x="83" y="364"/>
                    <a:pt x="90" y="373"/>
                  </a:cubicBezTo>
                  <a:cubicBezTo>
                    <a:pt x="89" y="374"/>
                    <a:pt x="89" y="374"/>
                    <a:pt x="89" y="374"/>
                  </a:cubicBezTo>
                  <a:cubicBezTo>
                    <a:pt x="64" y="415"/>
                    <a:pt x="64" y="415"/>
                    <a:pt x="64" y="415"/>
                  </a:cubicBezTo>
                  <a:cubicBezTo>
                    <a:pt x="102" y="448"/>
                    <a:pt x="102" y="448"/>
                    <a:pt x="102" y="448"/>
                  </a:cubicBezTo>
                  <a:cubicBezTo>
                    <a:pt x="141" y="417"/>
                    <a:pt x="141" y="417"/>
                    <a:pt x="141" y="417"/>
                  </a:cubicBezTo>
                  <a:cubicBezTo>
                    <a:pt x="151" y="423"/>
                    <a:pt x="160" y="428"/>
                    <a:pt x="170" y="432"/>
                  </a:cubicBezTo>
                  <a:cubicBezTo>
                    <a:pt x="170" y="433"/>
                    <a:pt x="170" y="433"/>
                    <a:pt x="170" y="433"/>
                  </a:cubicBezTo>
                  <a:cubicBezTo>
                    <a:pt x="168" y="481"/>
                    <a:pt x="168" y="481"/>
                    <a:pt x="168" y="481"/>
                  </a:cubicBezTo>
                  <a:cubicBezTo>
                    <a:pt x="217" y="492"/>
                    <a:pt x="217" y="492"/>
                    <a:pt x="217" y="492"/>
                  </a:cubicBezTo>
                  <a:cubicBezTo>
                    <a:pt x="236" y="446"/>
                    <a:pt x="236" y="446"/>
                    <a:pt x="236" y="446"/>
                  </a:cubicBezTo>
                  <a:cubicBezTo>
                    <a:pt x="247" y="447"/>
                    <a:pt x="258" y="447"/>
                    <a:pt x="269" y="445"/>
                  </a:cubicBezTo>
                  <a:cubicBezTo>
                    <a:pt x="269" y="446"/>
                    <a:pt x="269" y="446"/>
                    <a:pt x="269" y="446"/>
                  </a:cubicBezTo>
                  <a:cubicBezTo>
                    <a:pt x="290" y="490"/>
                    <a:pt x="290" y="490"/>
                    <a:pt x="290" y="490"/>
                  </a:cubicBezTo>
                  <a:cubicBezTo>
                    <a:pt x="338" y="476"/>
                    <a:pt x="338" y="476"/>
                    <a:pt x="338" y="476"/>
                  </a:cubicBezTo>
                  <a:cubicBezTo>
                    <a:pt x="334" y="426"/>
                    <a:pt x="334" y="426"/>
                    <a:pt x="334" y="426"/>
                  </a:cubicBezTo>
                  <a:cubicBezTo>
                    <a:pt x="344" y="421"/>
                    <a:pt x="349" y="419"/>
                    <a:pt x="362" y="409"/>
                  </a:cubicBezTo>
                  <a:cubicBezTo>
                    <a:pt x="363" y="410"/>
                    <a:pt x="363" y="410"/>
                    <a:pt x="363" y="410"/>
                  </a:cubicBezTo>
                  <a:cubicBezTo>
                    <a:pt x="401" y="437"/>
                    <a:pt x="401" y="437"/>
                    <a:pt x="401" y="437"/>
                  </a:cubicBezTo>
                  <a:cubicBezTo>
                    <a:pt x="436" y="402"/>
                    <a:pt x="436" y="402"/>
                    <a:pt x="436" y="402"/>
                  </a:cubicBezTo>
                  <a:cubicBezTo>
                    <a:pt x="409" y="361"/>
                    <a:pt x="409" y="361"/>
                    <a:pt x="409" y="361"/>
                  </a:cubicBezTo>
                  <a:cubicBezTo>
                    <a:pt x="417" y="350"/>
                    <a:pt x="424" y="337"/>
                    <a:pt x="430" y="325"/>
                  </a:cubicBezTo>
                  <a:cubicBezTo>
                    <a:pt x="431" y="325"/>
                    <a:pt x="431" y="325"/>
                    <a:pt x="431" y="325"/>
                  </a:cubicBezTo>
                  <a:cubicBezTo>
                    <a:pt x="479" y="328"/>
                    <a:pt x="479" y="328"/>
                    <a:pt x="479" y="328"/>
                  </a:cubicBezTo>
                  <a:cubicBezTo>
                    <a:pt x="491" y="279"/>
                    <a:pt x="491" y="279"/>
                    <a:pt x="491" y="279"/>
                  </a:cubicBezTo>
                  <a:cubicBezTo>
                    <a:pt x="445" y="259"/>
                    <a:pt x="445" y="259"/>
                    <a:pt x="445" y="259"/>
                  </a:cubicBezTo>
                  <a:cubicBezTo>
                    <a:pt x="446" y="243"/>
                    <a:pt x="446" y="226"/>
                    <a:pt x="443" y="210"/>
                  </a:cubicBezTo>
                  <a:cubicBezTo>
                    <a:pt x="444" y="210"/>
                    <a:pt x="444" y="210"/>
                    <a:pt x="444" y="210"/>
                  </a:cubicBezTo>
                  <a:cubicBezTo>
                    <a:pt x="486" y="186"/>
                    <a:pt x="486" y="186"/>
                    <a:pt x="486" y="186"/>
                  </a:cubicBezTo>
                  <a:cubicBezTo>
                    <a:pt x="469" y="139"/>
                    <a:pt x="469" y="139"/>
                    <a:pt x="469" y="139"/>
                  </a:cubicBezTo>
                  <a:cubicBezTo>
                    <a:pt x="419" y="147"/>
                    <a:pt x="419" y="147"/>
                    <a:pt x="419" y="147"/>
                  </a:cubicBezTo>
                  <a:cubicBezTo>
                    <a:pt x="419" y="147"/>
                    <a:pt x="419" y="147"/>
                    <a:pt x="419" y="147"/>
                  </a:cubicBezTo>
                  <a:cubicBezTo>
                    <a:pt x="414" y="137"/>
                    <a:pt x="408" y="128"/>
                    <a:pt x="401" y="120"/>
                  </a:cubicBezTo>
                  <a:cubicBezTo>
                    <a:pt x="402" y="119"/>
                    <a:pt x="402" y="119"/>
                    <a:pt x="402" y="119"/>
                  </a:cubicBezTo>
                  <a:cubicBezTo>
                    <a:pt x="427" y="78"/>
                    <a:pt x="427" y="78"/>
                    <a:pt x="427" y="78"/>
                  </a:cubicBezTo>
                  <a:cubicBezTo>
                    <a:pt x="389" y="45"/>
                    <a:pt x="389" y="45"/>
                    <a:pt x="389" y="45"/>
                  </a:cubicBezTo>
                  <a:cubicBezTo>
                    <a:pt x="350" y="75"/>
                    <a:pt x="350" y="75"/>
                    <a:pt x="350" y="75"/>
                  </a:cubicBezTo>
                  <a:cubicBezTo>
                    <a:pt x="349" y="76"/>
                    <a:pt x="349" y="76"/>
                    <a:pt x="349" y="76"/>
                  </a:cubicBezTo>
                  <a:cubicBezTo>
                    <a:pt x="340" y="70"/>
                    <a:pt x="331" y="65"/>
                    <a:pt x="321" y="61"/>
                  </a:cubicBezTo>
                  <a:cubicBezTo>
                    <a:pt x="321" y="60"/>
                    <a:pt x="321" y="60"/>
                    <a:pt x="321" y="60"/>
                  </a:cubicBezTo>
                  <a:cubicBezTo>
                    <a:pt x="323" y="11"/>
                    <a:pt x="323" y="11"/>
                    <a:pt x="323" y="11"/>
                  </a:cubicBezTo>
                  <a:cubicBezTo>
                    <a:pt x="275" y="0"/>
                    <a:pt x="275" y="0"/>
                    <a:pt x="275" y="0"/>
                  </a:cubicBezTo>
                  <a:cubicBezTo>
                    <a:pt x="255" y="46"/>
                    <a:pt x="255" y="46"/>
                    <a:pt x="255" y="46"/>
                  </a:cubicBezTo>
                  <a:cubicBezTo>
                    <a:pt x="255" y="47"/>
                    <a:pt x="255" y="47"/>
                    <a:pt x="255" y="47"/>
                  </a:cubicBezTo>
                  <a:cubicBezTo>
                    <a:pt x="244" y="47"/>
                    <a:pt x="233" y="47"/>
                    <a:pt x="223" y="48"/>
                  </a:cubicBezTo>
                  <a:cubicBezTo>
                    <a:pt x="222" y="46"/>
                    <a:pt x="222" y="46"/>
                    <a:pt x="222" y="46"/>
                  </a:cubicBezTo>
                  <a:cubicBezTo>
                    <a:pt x="201" y="3"/>
                    <a:pt x="201" y="3"/>
                    <a:pt x="201" y="3"/>
                  </a:cubicBezTo>
                  <a:cubicBezTo>
                    <a:pt x="153" y="17"/>
                    <a:pt x="153" y="17"/>
                    <a:pt x="153" y="17"/>
                  </a:cubicBezTo>
                  <a:cubicBezTo>
                    <a:pt x="157" y="67"/>
                    <a:pt x="157" y="67"/>
                    <a:pt x="157" y="67"/>
                  </a:cubicBezTo>
                  <a:cubicBezTo>
                    <a:pt x="155" y="70"/>
                    <a:pt x="155" y="70"/>
                    <a:pt x="155" y="70"/>
                  </a:cubicBezTo>
                  <a:cubicBezTo>
                    <a:pt x="146" y="74"/>
                    <a:pt x="138" y="78"/>
                    <a:pt x="125" y="89"/>
                  </a:cubicBezTo>
                  <a:cubicBezTo>
                    <a:pt x="124" y="87"/>
                    <a:pt x="124" y="87"/>
                    <a:pt x="124" y="87"/>
                  </a:cubicBezTo>
                  <a:cubicBezTo>
                    <a:pt x="93" y="59"/>
                    <a:pt x="93" y="59"/>
                    <a:pt x="93" y="59"/>
                  </a:cubicBezTo>
                  <a:cubicBezTo>
                    <a:pt x="58" y="94"/>
                    <a:pt x="58" y="94"/>
                    <a:pt x="58" y="94"/>
                  </a:cubicBezTo>
                  <a:cubicBezTo>
                    <a:pt x="84" y="133"/>
                    <a:pt x="84" y="133"/>
                    <a:pt x="84" y="133"/>
                  </a:cubicBezTo>
                  <a:cubicBezTo>
                    <a:pt x="83" y="133"/>
                    <a:pt x="83" y="133"/>
                    <a:pt x="83" y="133"/>
                  </a:cubicBezTo>
                  <a:cubicBezTo>
                    <a:pt x="75" y="144"/>
                    <a:pt x="68" y="156"/>
                    <a:pt x="63" y="169"/>
                  </a:cubicBezTo>
                  <a:cubicBezTo>
                    <a:pt x="61" y="168"/>
                    <a:pt x="61" y="168"/>
                    <a:pt x="61" y="168"/>
                  </a:cubicBezTo>
                  <a:cubicBezTo>
                    <a:pt x="12" y="165"/>
                    <a:pt x="12" y="165"/>
                    <a:pt x="12" y="165"/>
                  </a:cubicBezTo>
                  <a:cubicBezTo>
                    <a:pt x="0" y="213"/>
                    <a:pt x="0" y="213"/>
                    <a:pt x="0" y="213"/>
                  </a:cubicBezTo>
                  <a:cubicBezTo>
                    <a:pt x="46" y="234"/>
                    <a:pt x="46" y="234"/>
                    <a:pt x="46" y="234"/>
                  </a:cubicBezTo>
                  <a:cubicBezTo>
                    <a:pt x="46" y="234"/>
                    <a:pt x="46" y="234"/>
                    <a:pt x="46" y="234"/>
                  </a:cubicBezTo>
                  <a:cubicBezTo>
                    <a:pt x="45" y="250"/>
                    <a:pt x="46" y="266"/>
                    <a:pt x="49" y="282"/>
                  </a:cubicBezTo>
                  <a:cubicBezTo>
                    <a:pt x="48" y="283"/>
                    <a:pt x="48" y="283"/>
                    <a:pt x="48" y="283"/>
                  </a:cubicBezTo>
                  <a:cubicBezTo>
                    <a:pt x="5" y="307"/>
                    <a:pt x="5" y="307"/>
                    <a:pt x="5" y="307"/>
                  </a:cubicBezTo>
                  <a:cubicBezTo>
                    <a:pt x="23" y="354"/>
                    <a:pt x="23" y="354"/>
                    <a:pt x="23" y="354"/>
                  </a:cubicBezTo>
                  <a:cubicBezTo>
                    <a:pt x="72" y="346"/>
                    <a:pt x="72" y="346"/>
                    <a:pt x="72" y="346"/>
                  </a:cubicBezTo>
                  <a:close/>
                </a:path>
              </a:pathLst>
            </a:custGeom>
            <a:solidFill>
              <a:schemeClr val="bg1">
                <a:lumMod val="75000"/>
              </a:schemeClr>
            </a:solidFill>
            <a:ln w="19050">
              <a:solidFill>
                <a:srgbClr val="FFFFFF"/>
              </a:solidFill>
            </a:ln>
          </p:spPr>
          <p:txBody>
            <a:bodyPr vert="horz" wrap="square" lIns="91440" tIns="45720" rIns="91440" bIns="45720" numCol="1" anchor="t" anchorCtr="0" compatLnSpc="1"/>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华文楷体" panose="02010600040101010101" charset="-122"/>
                <a:cs typeface="+mn-cs"/>
              </a:endParaRPr>
            </a:p>
          </p:txBody>
        </p:sp>
        <p:sp>
          <p:nvSpPr>
            <p:cNvPr id="70" name="Freeform 34"/>
            <p:cNvSpPr/>
            <p:nvPr/>
          </p:nvSpPr>
          <p:spPr bwMode="auto">
            <a:xfrm>
              <a:off x="7386218" y="1588567"/>
              <a:ext cx="1999676" cy="2007465"/>
            </a:xfrm>
            <a:custGeom>
              <a:avLst/>
              <a:gdLst>
                <a:gd name="T0" fmla="*/ 135 w 739"/>
                <a:gd name="T1" fmla="*/ 561 h 741"/>
                <a:gd name="T2" fmla="*/ 96 w 739"/>
                <a:gd name="T3" fmla="*/ 624 h 741"/>
                <a:gd name="T4" fmla="*/ 212 w 739"/>
                <a:gd name="T5" fmla="*/ 628 h 741"/>
                <a:gd name="T6" fmla="*/ 255 w 739"/>
                <a:gd name="T7" fmla="*/ 651 h 741"/>
                <a:gd name="T8" fmla="*/ 326 w 739"/>
                <a:gd name="T9" fmla="*/ 741 h 741"/>
                <a:gd name="T10" fmla="*/ 404 w 739"/>
                <a:gd name="T11" fmla="*/ 670 h 741"/>
                <a:gd name="T12" fmla="*/ 437 w 739"/>
                <a:gd name="T13" fmla="*/ 737 h 741"/>
                <a:gd name="T14" fmla="*/ 503 w 739"/>
                <a:gd name="T15" fmla="*/ 641 h 741"/>
                <a:gd name="T16" fmla="*/ 546 w 739"/>
                <a:gd name="T17" fmla="*/ 617 h 741"/>
                <a:gd name="T18" fmla="*/ 657 w 739"/>
                <a:gd name="T19" fmla="*/ 605 h 741"/>
                <a:gd name="T20" fmla="*/ 647 w 739"/>
                <a:gd name="T21" fmla="*/ 488 h 741"/>
                <a:gd name="T22" fmla="*/ 722 w 739"/>
                <a:gd name="T23" fmla="*/ 493 h 741"/>
                <a:gd name="T24" fmla="*/ 671 w 739"/>
                <a:gd name="T25" fmla="*/ 389 h 741"/>
                <a:gd name="T26" fmla="*/ 668 w 739"/>
                <a:gd name="T27" fmla="*/ 315 h 741"/>
                <a:gd name="T28" fmla="*/ 705 w 739"/>
                <a:gd name="T29" fmla="*/ 208 h 741"/>
                <a:gd name="T30" fmla="*/ 631 w 739"/>
                <a:gd name="T31" fmla="*/ 220 h 741"/>
                <a:gd name="T32" fmla="*/ 605 w 739"/>
                <a:gd name="T33" fmla="*/ 179 h 741"/>
                <a:gd name="T34" fmla="*/ 586 w 739"/>
                <a:gd name="T35" fmla="*/ 66 h 741"/>
                <a:gd name="T36" fmla="*/ 526 w 739"/>
                <a:gd name="T37" fmla="*/ 113 h 741"/>
                <a:gd name="T38" fmla="*/ 484 w 739"/>
                <a:gd name="T39" fmla="*/ 89 h 741"/>
                <a:gd name="T40" fmla="*/ 413 w 739"/>
                <a:gd name="T41" fmla="*/ 0 h 741"/>
                <a:gd name="T42" fmla="*/ 383 w 739"/>
                <a:gd name="T43" fmla="*/ 70 h 741"/>
                <a:gd name="T44" fmla="*/ 334 w 739"/>
                <a:gd name="T45" fmla="*/ 69 h 741"/>
                <a:gd name="T46" fmla="*/ 230 w 739"/>
                <a:gd name="T47" fmla="*/ 24 h 741"/>
                <a:gd name="T48" fmla="*/ 233 w 739"/>
                <a:gd name="T49" fmla="*/ 104 h 741"/>
                <a:gd name="T50" fmla="*/ 186 w 739"/>
                <a:gd name="T51" fmla="*/ 130 h 741"/>
                <a:gd name="T52" fmla="*/ 87 w 739"/>
                <a:gd name="T53" fmla="*/ 141 h 741"/>
                <a:gd name="T54" fmla="*/ 125 w 739"/>
                <a:gd name="T55" fmla="*/ 199 h 741"/>
                <a:gd name="T56" fmla="*/ 90 w 739"/>
                <a:gd name="T57" fmla="*/ 252 h 741"/>
                <a:gd name="T58" fmla="*/ 0 w 739"/>
                <a:gd name="T59" fmla="*/ 320 h 741"/>
                <a:gd name="T60" fmla="*/ 69 w 739"/>
                <a:gd name="T61" fmla="*/ 352 h 741"/>
                <a:gd name="T62" fmla="*/ 71 w 739"/>
                <a:gd name="T63" fmla="*/ 425 h 741"/>
                <a:gd name="T64" fmla="*/ 33 w 739"/>
                <a:gd name="T65" fmla="*/ 532 h 741"/>
                <a:gd name="T66" fmla="*/ 108 w 739"/>
                <a:gd name="T67" fmla="*/ 520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39" h="741">
                  <a:moveTo>
                    <a:pt x="108" y="520"/>
                  </a:moveTo>
                  <a:cubicBezTo>
                    <a:pt x="116" y="534"/>
                    <a:pt x="125" y="548"/>
                    <a:pt x="135" y="561"/>
                  </a:cubicBezTo>
                  <a:cubicBezTo>
                    <a:pt x="134" y="562"/>
                    <a:pt x="134" y="562"/>
                    <a:pt x="134" y="562"/>
                  </a:cubicBezTo>
                  <a:cubicBezTo>
                    <a:pt x="96" y="624"/>
                    <a:pt x="96" y="624"/>
                    <a:pt x="96" y="624"/>
                  </a:cubicBezTo>
                  <a:cubicBezTo>
                    <a:pt x="153" y="674"/>
                    <a:pt x="153" y="674"/>
                    <a:pt x="153" y="674"/>
                  </a:cubicBezTo>
                  <a:cubicBezTo>
                    <a:pt x="212" y="628"/>
                    <a:pt x="212" y="628"/>
                    <a:pt x="212" y="628"/>
                  </a:cubicBezTo>
                  <a:cubicBezTo>
                    <a:pt x="226" y="636"/>
                    <a:pt x="241" y="644"/>
                    <a:pt x="256" y="650"/>
                  </a:cubicBezTo>
                  <a:cubicBezTo>
                    <a:pt x="255" y="651"/>
                    <a:pt x="255" y="651"/>
                    <a:pt x="255" y="651"/>
                  </a:cubicBezTo>
                  <a:cubicBezTo>
                    <a:pt x="252" y="725"/>
                    <a:pt x="252" y="725"/>
                    <a:pt x="252" y="725"/>
                  </a:cubicBezTo>
                  <a:cubicBezTo>
                    <a:pt x="326" y="741"/>
                    <a:pt x="326" y="741"/>
                    <a:pt x="326" y="741"/>
                  </a:cubicBezTo>
                  <a:cubicBezTo>
                    <a:pt x="356" y="672"/>
                    <a:pt x="356" y="672"/>
                    <a:pt x="356" y="672"/>
                  </a:cubicBezTo>
                  <a:cubicBezTo>
                    <a:pt x="372" y="673"/>
                    <a:pt x="388" y="672"/>
                    <a:pt x="404" y="670"/>
                  </a:cubicBezTo>
                  <a:cubicBezTo>
                    <a:pt x="405" y="672"/>
                    <a:pt x="405" y="672"/>
                    <a:pt x="405" y="672"/>
                  </a:cubicBezTo>
                  <a:cubicBezTo>
                    <a:pt x="437" y="737"/>
                    <a:pt x="437" y="737"/>
                    <a:pt x="437" y="737"/>
                  </a:cubicBezTo>
                  <a:cubicBezTo>
                    <a:pt x="509" y="716"/>
                    <a:pt x="509" y="716"/>
                    <a:pt x="509" y="716"/>
                  </a:cubicBezTo>
                  <a:cubicBezTo>
                    <a:pt x="503" y="641"/>
                    <a:pt x="503" y="641"/>
                    <a:pt x="503" y="641"/>
                  </a:cubicBezTo>
                  <a:cubicBezTo>
                    <a:pt x="517" y="634"/>
                    <a:pt x="526" y="631"/>
                    <a:pt x="545" y="616"/>
                  </a:cubicBezTo>
                  <a:cubicBezTo>
                    <a:pt x="546" y="617"/>
                    <a:pt x="546" y="617"/>
                    <a:pt x="546" y="617"/>
                  </a:cubicBezTo>
                  <a:cubicBezTo>
                    <a:pt x="604" y="658"/>
                    <a:pt x="604" y="658"/>
                    <a:pt x="604" y="658"/>
                  </a:cubicBezTo>
                  <a:cubicBezTo>
                    <a:pt x="657" y="605"/>
                    <a:pt x="657" y="605"/>
                    <a:pt x="657" y="605"/>
                  </a:cubicBezTo>
                  <a:cubicBezTo>
                    <a:pt x="616" y="544"/>
                    <a:pt x="616" y="544"/>
                    <a:pt x="616" y="544"/>
                  </a:cubicBezTo>
                  <a:cubicBezTo>
                    <a:pt x="628" y="526"/>
                    <a:pt x="639" y="508"/>
                    <a:pt x="647" y="488"/>
                  </a:cubicBezTo>
                  <a:cubicBezTo>
                    <a:pt x="649" y="489"/>
                    <a:pt x="649" y="489"/>
                    <a:pt x="649" y="489"/>
                  </a:cubicBezTo>
                  <a:cubicBezTo>
                    <a:pt x="722" y="493"/>
                    <a:pt x="722" y="493"/>
                    <a:pt x="722" y="493"/>
                  </a:cubicBezTo>
                  <a:cubicBezTo>
                    <a:pt x="739" y="420"/>
                    <a:pt x="739" y="420"/>
                    <a:pt x="739" y="420"/>
                  </a:cubicBezTo>
                  <a:cubicBezTo>
                    <a:pt x="671" y="389"/>
                    <a:pt x="671" y="389"/>
                    <a:pt x="671" y="389"/>
                  </a:cubicBezTo>
                  <a:cubicBezTo>
                    <a:pt x="672" y="365"/>
                    <a:pt x="671" y="340"/>
                    <a:pt x="666" y="316"/>
                  </a:cubicBezTo>
                  <a:cubicBezTo>
                    <a:pt x="668" y="315"/>
                    <a:pt x="668" y="315"/>
                    <a:pt x="668" y="315"/>
                  </a:cubicBezTo>
                  <a:cubicBezTo>
                    <a:pt x="731" y="279"/>
                    <a:pt x="731" y="279"/>
                    <a:pt x="731" y="279"/>
                  </a:cubicBezTo>
                  <a:cubicBezTo>
                    <a:pt x="705" y="208"/>
                    <a:pt x="705" y="208"/>
                    <a:pt x="705" y="208"/>
                  </a:cubicBezTo>
                  <a:cubicBezTo>
                    <a:pt x="631" y="220"/>
                    <a:pt x="631" y="220"/>
                    <a:pt x="631" y="220"/>
                  </a:cubicBezTo>
                  <a:cubicBezTo>
                    <a:pt x="631" y="220"/>
                    <a:pt x="631" y="220"/>
                    <a:pt x="631" y="220"/>
                  </a:cubicBezTo>
                  <a:cubicBezTo>
                    <a:pt x="623" y="206"/>
                    <a:pt x="614" y="193"/>
                    <a:pt x="603" y="180"/>
                  </a:cubicBezTo>
                  <a:cubicBezTo>
                    <a:pt x="605" y="179"/>
                    <a:pt x="605" y="179"/>
                    <a:pt x="605" y="179"/>
                  </a:cubicBezTo>
                  <a:cubicBezTo>
                    <a:pt x="643" y="116"/>
                    <a:pt x="643" y="116"/>
                    <a:pt x="643" y="116"/>
                  </a:cubicBezTo>
                  <a:cubicBezTo>
                    <a:pt x="586" y="66"/>
                    <a:pt x="586" y="66"/>
                    <a:pt x="586" y="66"/>
                  </a:cubicBezTo>
                  <a:cubicBezTo>
                    <a:pt x="526" y="113"/>
                    <a:pt x="526" y="113"/>
                    <a:pt x="526" y="113"/>
                  </a:cubicBezTo>
                  <a:cubicBezTo>
                    <a:pt x="526" y="113"/>
                    <a:pt x="526" y="113"/>
                    <a:pt x="526" y="113"/>
                  </a:cubicBezTo>
                  <a:cubicBezTo>
                    <a:pt x="512" y="105"/>
                    <a:pt x="498" y="97"/>
                    <a:pt x="483" y="91"/>
                  </a:cubicBezTo>
                  <a:cubicBezTo>
                    <a:pt x="484" y="89"/>
                    <a:pt x="484" y="89"/>
                    <a:pt x="484" y="89"/>
                  </a:cubicBezTo>
                  <a:cubicBezTo>
                    <a:pt x="487" y="16"/>
                    <a:pt x="487" y="16"/>
                    <a:pt x="487" y="16"/>
                  </a:cubicBezTo>
                  <a:cubicBezTo>
                    <a:pt x="413" y="0"/>
                    <a:pt x="413" y="0"/>
                    <a:pt x="413" y="0"/>
                  </a:cubicBezTo>
                  <a:cubicBezTo>
                    <a:pt x="383" y="69"/>
                    <a:pt x="383" y="69"/>
                    <a:pt x="383" y="69"/>
                  </a:cubicBezTo>
                  <a:cubicBezTo>
                    <a:pt x="383" y="70"/>
                    <a:pt x="383" y="70"/>
                    <a:pt x="383" y="70"/>
                  </a:cubicBezTo>
                  <a:cubicBezTo>
                    <a:pt x="367" y="69"/>
                    <a:pt x="351" y="70"/>
                    <a:pt x="335" y="71"/>
                  </a:cubicBezTo>
                  <a:cubicBezTo>
                    <a:pt x="334" y="69"/>
                    <a:pt x="334" y="69"/>
                    <a:pt x="334" y="69"/>
                  </a:cubicBezTo>
                  <a:cubicBezTo>
                    <a:pt x="302" y="3"/>
                    <a:pt x="302" y="3"/>
                    <a:pt x="302" y="3"/>
                  </a:cubicBezTo>
                  <a:cubicBezTo>
                    <a:pt x="230" y="24"/>
                    <a:pt x="230" y="24"/>
                    <a:pt x="230" y="24"/>
                  </a:cubicBezTo>
                  <a:cubicBezTo>
                    <a:pt x="236" y="100"/>
                    <a:pt x="236" y="100"/>
                    <a:pt x="236" y="100"/>
                  </a:cubicBezTo>
                  <a:cubicBezTo>
                    <a:pt x="233" y="104"/>
                    <a:pt x="233" y="104"/>
                    <a:pt x="233" y="104"/>
                  </a:cubicBezTo>
                  <a:cubicBezTo>
                    <a:pt x="219" y="111"/>
                    <a:pt x="207" y="117"/>
                    <a:pt x="188" y="133"/>
                  </a:cubicBezTo>
                  <a:cubicBezTo>
                    <a:pt x="186" y="130"/>
                    <a:pt x="186" y="130"/>
                    <a:pt x="186" y="130"/>
                  </a:cubicBezTo>
                  <a:cubicBezTo>
                    <a:pt x="140" y="87"/>
                    <a:pt x="140" y="87"/>
                    <a:pt x="140" y="87"/>
                  </a:cubicBezTo>
                  <a:cubicBezTo>
                    <a:pt x="87" y="141"/>
                    <a:pt x="87" y="141"/>
                    <a:pt x="87" y="141"/>
                  </a:cubicBezTo>
                  <a:cubicBezTo>
                    <a:pt x="126" y="200"/>
                    <a:pt x="126" y="200"/>
                    <a:pt x="126" y="200"/>
                  </a:cubicBezTo>
                  <a:cubicBezTo>
                    <a:pt x="125" y="199"/>
                    <a:pt x="125" y="199"/>
                    <a:pt x="125" y="199"/>
                  </a:cubicBezTo>
                  <a:cubicBezTo>
                    <a:pt x="113" y="216"/>
                    <a:pt x="102" y="234"/>
                    <a:pt x="93" y="253"/>
                  </a:cubicBezTo>
                  <a:cubicBezTo>
                    <a:pt x="90" y="252"/>
                    <a:pt x="90" y="252"/>
                    <a:pt x="90" y="252"/>
                  </a:cubicBezTo>
                  <a:cubicBezTo>
                    <a:pt x="17" y="247"/>
                    <a:pt x="17" y="247"/>
                    <a:pt x="17" y="247"/>
                  </a:cubicBezTo>
                  <a:cubicBezTo>
                    <a:pt x="0" y="320"/>
                    <a:pt x="0" y="320"/>
                    <a:pt x="0" y="320"/>
                  </a:cubicBezTo>
                  <a:cubicBezTo>
                    <a:pt x="68" y="352"/>
                    <a:pt x="68" y="352"/>
                    <a:pt x="68" y="352"/>
                  </a:cubicBezTo>
                  <a:cubicBezTo>
                    <a:pt x="69" y="352"/>
                    <a:pt x="69" y="352"/>
                    <a:pt x="69" y="352"/>
                  </a:cubicBezTo>
                  <a:cubicBezTo>
                    <a:pt x="68" y="376"/>
                    <a:pt x="69" y="400"/>
                    <a:pt x="73" y="424"/>
                  </a:cubicBezTo>
                  <a:cubicBezTo>
                    <a:pt x="71" y="425"/>
                    <a:pt x="71" y="425"/>
                    <a:pt x="71" y="425"/>
                  </a:cubicBezTo>
                  <a:cubicBezTo>
                    <a:pt x="7" y="462"/>
                    <a:pt x="7" y="462"/>
                    <a:pt x="7" y="462"/>
                  </a:cubicBezTo>
                  <a:cubicBezTo>
                    <a:pt x="33" y="532"/>
                    <a:pt x="33" y="532"/>
                    <a:pt x="33" y="532"/>
                  </a:cubicBezTo>
                  <a:cubicBezTo>
                    <a:pt x="108" y="521"/>
                    <a:pt x="108" y="521"/>
                    <a:pt x="108" y="521"/>
                  </a:cubicBezTo>
                  <a:lnTo>
                    <a:pt x="108" y="520"/>
                  </a:lnTo>
                  <a:close/>
                </a:path>
              </a:pathLst>
            </a:custGeom>
            <a:solidFill>
              <a:srgbClr val="FF976D"/>
            </a:solidFill>
            <a:ln w="19050">
              <a:solidFill>
                <a:srgbClr val="FFFFFF"/>
              </a:solidFill>
              <a:round/>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华文楷体" panose="02010600040101010101" charset="-122"/>
                <a:cs typeface="+mn-cs"/>
              </a:endParaRPr>
            </a:p>
          </p:txBody>
        </p:sp>
        <p:sp>
          <p:nvSpPr>
            <p:cNvPr id="71" name="Freeform 35"/>
            <p:cNvSpPr/>
            <p:nvPr/>
          </p:nvSpPr>
          <p:spPr bwMode="auto">
            <a:xfrm>
              <a:off x="1911043" y="2287214"/>
              <a:ext cx="2148247" cy="2154188"/>
            </a:xfrm>
            <a:custGeom>
              <a:avLst/>
              <a:gdLst>
                <a:gd name="T0" fmla="*/ 143 w 781"/>
                <a:gd name="T1" fmla="*/ 592 h 782"/>
                <a:gd name="T2" fmla="*/ 102 w 781"/>
                <a:gd name="T3" fmla="*/ 660 h 782"/>
                <a:gd name="T4" fmla="*/ 224 w 781"/>
                <a:gd name="T5" fmla="*/ 663 h 782"/>
                <a:gd name="T6" fmla="*/ 270 w 781"/>
                <a:gd name="T7" fmla="*/ 688 h 782"/>
                <a:gd name="T8" fmla="*/ 344 w 781"/>
                <a:gd name="T9" fmla="*/ 782 h 782"/>
                <a:gd name="T10" fmla="*/ 427 w 781"/>
                <a:gd name="T11" fmla="*/ 708 h 782"/>
                <a:gd name="T12" fmla="*/ 462 w 781"/>
                <a:gd name="T13" fmla="*/ 779 h 782"/>
                <a:gd name="T14" fmla="*/ 531 w 781"/>
                <a:gd name="T15" fmla="*/ 677 h 782"/>
                <a:gd name="T16" fmla="*/ 577 w 781"/>
                <a:gd name="T17" fmla="*/ 652 h 782"/>
                <a:gd name="T18" fmla="*/ 694 w 781"/>
                <a:gd name="T19" fmla="*/ 639 h 782"/>
                <a:gd name="T20" fmla="*/ 684 w 781"/>
                <a:gd name="T21" fmla="*/ 516 h 782"/>
                <a:gd name="T22" fmla="*/ 763 w 781"/>
                <a:gd name="T23" fmla="*/ 521 h 782"/>
                <a:gd name="T24" fmla="*/ 709 w 781"/>
                <a:gd name="T25" fmla="*/ 411 h 782"/>
                <a:gd name="T26" fmla="*/ 706 w 781"/>
                <a:gd name="T27" fmla="*/ 333 h 782"/>
                <a:gd name="T28" fmla="*/ 745 w 781"/>
                <a:gd name="T29" fmla="*/ 220 h 782"/>
                <a:gd name="T30" fmla="*/ 666 w 781"/>
                <a:gd name="T31" fmla="*/ 232 h 782"/>
                <a:gd name="T32" fmla="*/ 639 w 781"/>
                <a:gd name="T33" fmla="*/ 189 h 782"/>
                <a:gd name="T34" fmla="*/ 619 w 781"/>
                <a:gd name="T35" fmla="*/ 70 h 782"/>
                <a:gd name="T36" fmla="*/ 556 w 781"/>
                <a:gd name="T37" fmla="*/ 119 h 782"/>
                <a:gd name="T38" fmla="*/ 511 w 781"/>
                <a:gd name="T39" fmla="*/ 94 h 782"/>
                <a:gd name="T40" fmla="*/ 437 w 781"/>
                <a:gd name="T41" fmla="*/ 0 h 782"/>
                <a:gd name="T42" fmla="*/ 405 w 781"/>
                <a:gd name="T43" fmla="*/ 74 h 782"/>
                <a:gd name="T44" fmla="*/ 353 w 781"/>
                <a:gd name="T45" fmla="*/ 73 h 782"/>
                <a:gd name="T46" fmla="*/ 243 w 781"/>
                <a:gd name="T47" fmla="*/ 26 h 782"/>
                <a:gd name="T48" fmla="*/ 246 w 781"/>
                <a:gd name="T49" fmla="*/ 110 h 782"/>
                <a:gd name="T50" fmla="*/ 197 w 781"/>
                <a:gd name="T51" fmla="*/ 138 h 782"/>
                <a:gd name="T52" fmla="*/ 92 w 781"/>
                <a:gd name="T53" fmla="*/ 149 h 782"/>
                <a:gd name="T54" fmla="*/ 132 w 781"/>
                <a:gd name="T55" fmla="*/ 210 h 782"/>
                <a:gd name="T56" fmla="*/ 96 w 781"/>
                <a:gd name="T57" fmla="*/ 266 h 782"/>
                <a:gd name="T58" fmla="*/ 0 w 781"/>
                <a:gd name="T59" fmla="*/ 339 h 782"/>
                <a:gd name="T60" fmla="*/ 73 w 781"/>
                <a:gd name="T61" fmla="*/ 372 h 782"/>
                <a:gd name="T62" fmla="*/ 75 w 781"/>
                <a:gd name="T63" fmla="*/ 449 h 782"/>
                <a:gd name="T64" fmla="*/ 35 w 781"/>
                <a:gd name="T65" fmla="*/ 562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1" h="782">
                  <a:moveTo>
                    <a:pt x="114" y="550"/>
                  </a:moveTo>
                  <a:cubicBezTo>
                    <a:pt x="123" y="564"/>
                    <a:pt x="132" y="579"/>
                    <a:pt x="143" y="592"/>
                  </a:cubicBezTo>
                  <a:cubicBezTo>
                    <a:pt x="142" y="594"/>
                    <a:pt x="142" y="594"/>
                    <a:pt x="142" y="594"/>
                  </a:cubicBezTo>
                  <a:cubicBezTo>
                    <a:pt x="102" y="660"/>
                    <a:pt x="102" y="660"/>
                    <a:pt x="102" y="660"/>
                  </a:cubicBezTo>
                  <a:cubicBezTo>
                    <a:pt x="162" y="712"/>
                    <a:pt x="162" y="712"/>
                    <a:pt x="162" y="712"/>
                  </a:cubicBezTo>
                  <a:cubicBezTo>
                    <a:pt x="224" y="663"/>
                    <a:pt x="224" y="663"/>
                    <a:pt x="224" y="663"/>
                  </a:cubicBezTo>
                  <a:cubicBezTo>
                    <a:pt x="239" y="672"/>
                    <a:pt x="254" y="680"/>
                    <a:pt x="270" y="687"/>
                  </a:cubicBezTo>
                  <a:cubicBezTo>
                    <a:pt x="270" y="688"/>
                    <a:pt x="270" y="688"/>
                    <a:pt x="270" y="688"/>
                  </a:cubicBezTo>
                  <a:cubicBezTo>
                    <a:pt x="266" y="765"/>
                    <a:pt x="266" y="765"/>
                    <a:pt x="266" y="765"/>
                  </a:cubicBezTo>
                  <a:cubicBezTo>
                    <a:pt x="344" y="782"/>
                    <a:pt x="344" y="782"/>
                    <a:pt x="344" y="782"/>
                  </a:cubicBezTo>
                  <a:cubicBezTo>
                    <a:pt x="376" y="710"/>
                    <a:pt x="376" y="710"/>
                    <a:pt x="376" y="710"/>
                  </a:cubicBezTo>
                  <a:cubicBezTo>
                    <a:pt x="393" y="711"/>
                    <a:pt x="410" y="710"/>
                    <a:pt x="427" y="708"/>
                  </a:cubicBezTo>
                  <a:cubicBezTo>
                    <a:pt x="428" y="710"/>
                    <a:pt x="428" y="710"/>
                    <a:pt x="428" y="710"/>
                  </a:cubicBezTo>
                  <a:cubicBezTo>
                    <a:pt x="462" y="779"/>
                    <a:pt x="462" y="779"/>
                    <a:pt x="462" y="779"/>
                  </a:cubicBezTo>
                  <a:cubicBezTo>
                    <a:pt x="538" y="757"/>
                    <a:pt x="538" y="757"/>
                    <a:pt x="538" y="757"/>
                  </a:cubicBezTo>
                  <a:cubicBezTo>
                    <a:pt x="531" y="677"/>
                    <a:pt x="531" y="677"/>
                    <a:pt x="531" y="677"/>
                  </a:cubicBezTo>
                  <a:cubicBezTo>
                    <a:pt x="547" y="670"/>
                    <a:pt x="556" y="667"/>
                    <a:pt x="576" y="651"/>
                  </a:cubicBezTo>
                  <a:cubicBezTo>
                    <a:pt x="577" y="652"/>
                    <a:pt x="577" y="652"/>
                    <a:pt x="577" y="652"/>
                  </a:cubicBezTo>
                  <a:cubicBezTo>
                    <a:pt x="638" y="695"/>
                    <a:pt x="638" y="695"/>
                    <a:pt x="638" y="695"/>
                  </a:cubicBezTo>
                  <a:cubicBezTo>
                    <a:pt x="694" y="639"/>
                    <a:pt x="694" y="639"/>
                    <a:pt x="694" y="639"/>
                  </a:cubicBezTo>
                  <a:cubicBezTo>
                    <a:pt x="651" y="574"/>
                    <a:pt x="651" y="574"/>
                    <a:pt x="651" y="574"/>
                  </a:cubicBezTo>
                  <a:cubicBezTo>
                    <a:pt x="664" y="556"/>
                    <a:pt x="675" y="536"/>
                    <a:pt x="684" y="516"/>
                  </a:cubicBezTo>
                  <a:cubicBezTo>
                    <a:pt x="685" y="516"/>
                    <a:pt x="685" y="516"/>
                    <a:pt x="685" y="516"/>
                  </a:cubicBezTo>
                  <a:cubicBezTo>
                    <a:pt x="763" y="521"/>
                    <a:pt x="763" y="521"/>
                    <a:pt x="763" y="521"/>
                  </a:cubicBezTo>
                  <a:cubicBezTo>
                    <a:pt x="781" y="444"/>
                    <a:pt x="781" y="444"/>
                    <a:pt x="781" y="444"/>
                  </a:cubicBezTo>
                  <a:cubicBezTo>
                    <a:pt x="709" y="411"/>
                    <a:pt x="709" y="411"/>
                    <a:pt x="709" y="411"/>
                  </a:cubicBezTo>
                  <a:cubicBezTo>
                    <a:pt x="710" y="385"/>
                    <a:pt x="709" y="359"/>
                    <a:pt x="704" y="334"/>
                  </a:cubicBezTo>
                  <a:cubicBezTo>
                    <a:pt x="706" y="333"/>
                    <a:pt x="706" y="333"/>
                    <a:pt x="706" y="333"/>
                  </a:cubicBezTo>
                  <a:cubicBezTo>
                    <a:pt x="773" y="294"/>
                    <a:pt x="773" y="294"/>
                    <a:pt x="773" y="294"/>
                  </a:cubicBezTo>
                  <a:cubicBezTo>
                    <a:pt x="745" y="220"/>
                    <a:pt x="745" y="220"/>
                    <a:pt x="745" y="220"/>
                  </a:cubicBezTo>
                  <a:cubicBezTo>
                    <a:pt x="667" y="232"/>
                    <a:pt x="667" y="232"/>
                    <a:pt x="667" y="232"/>
                  </a:cubicBezTo>
                  <a:cubicBezTo>
                    <a:pt x="666" y="232"/>
                    <a:pt x="666" y="232"/>
                    <a:pt x="666" y="232"/>
                  </a:cubicBezTo>
                  <a:cubicBezTo>
                    <a:pt x="658" y="218"/>
                    <a:pt x="649" y="203"/>
                    <a:pt x="638" y="190"/>
                  </a:cubicBezTo>
                  <a:cubicBezTo>
                    <a:pt x="639" y="189"/>
                    <a:pt x="639" y="189"/>
                    <a:pt x="639" y="189"/>
                  </a:cubicBezTo>
                  <a:cubicBezTo>
                    <a:pt x="679" y="122"/>
                    <a:pt x="679" y="122"/>
                    <a:pt x="679" y="122"/>
                  </a:cubicBezTo>
                  <a:cubicBezTo>
                    <a:pt x="619" y="70"/>
                    <a:pt x="619" y="70"/>
                    <a:pt x="619" y="70"/>
                  </a:cubicBezTo>
                  <a:cubicBezTo>
                    <a:pt x="556" y="119"/>
                    <a:pt x="556" y="119"/>
                    <a:pt x="556" y="119"/>
                  </a:cubicBezTo>
                  <a:cubicBezTo>
                    <a:pt x="556" y="119"/>
                    <a:pt x="556" y="119"/>
                    <a:pt x="556" y="119"/>
                  </a:cubicBezTo>
                  <a:cubicBezTo>
                    <a:pt x="541" y="111"/>
                    <a:pt x="526" y="103"/>
                    <a:pt x="510" y="96"/>
                  </a:cubicBezTo>
                  <a:cubicBezTo>
                    <a:pt x="511" y="94"/>
                    <a:pt x="511" y="94"/>
                    <a:pt x="511" y="94"/>
                  </a:cubicBezTo>
                  <a:cubicBezTo>
                    <a:pt x="514" y="17"/>
                    <a:pt x="514" y="17"/>
                    <a:pt x="514" y="17"/>
                  </a:cubicBezTo>
                  <a:cubicBezTo>
                    <a:pt x="437" y="0"/>
                    <a:pt x="437" y="0"/>
                    <a:pt x="437" y="0"/>
                  </a:cubicBezTo>
                  <a:cubicBezTo>
                    <a:pt x="405" y="73"/>
                    <a:pt x="405" y="73"/>
                    <a:pt x="405" y="73"/>
                  </a:cubicBezTo>
                  <a:cubicBezTo>
                    <a:pt x="405" y="74"/>
                    <a:pt x="405" y="74"/>
                    <a:pt x="405" y="74"/>
                  </a:cubicBezTo>
                  <a:cubicBezTo>
                    <a:pt x="388" y="73"/>
                    <a:pt x="371" y="73"/>
                    <a:pt x="354" y="75"/>
                  </a:cubicBezTo>
                  <a:cubicBezTo>
                    <a:pt x="353" y="73"/>
                    <a:pt x="353" y="73"/>
                    <a:pt x="353" y="73"/>
                  </a:cubicBezTo>
                  <a:cubicBezTo>
                    <a:pt x="319" y="3"/>
                    <a:pt x="319" y="3"/>
                    <a:pt x="319" y="3"/>
                  </a:cubicBezTo>
                  <a:cubicBezTo>
                    <a:pt x="243" y="26"/>
                    <a:pt x="243" y="26"/>
                    <a:pt x="243" y="26"/>
                  </a:cubicBezTo>
                  <a:cubicBezTo>
                    <a:pt x="250" y="105"/>
                    <a:pt x="250" y="105"/>
                    <a:pt x="250" y="105"/>
                  </a:cubicBezTo>
                  <a:cubicBezTo>
                    <a:pt x="246" y="110"/>
                    <a:pt x="246" y="110"/>
                    <a:pt x="246" y="110"/>
                  </a:cubicBezTo>
                  <a:cubicBezTo>
                    <a:pt x="231" y="117"/>
                    <a:pt x="219" y="124"/>
                    <a:pt x="199" y="140"/>
                  </a:cubicBezTo>
                  <a:cubicBezTo>
                    <a:pt x="197" y="138"/>
                    <a:pt x="197" y="138"/>
                    <a:pt x="197" y="138"/>
                  </a:cubicBezTo>
                  <a:cubicBezTo>
                    <a:pt x="148" y="92"/>
                    <a:pt x="148" y="92"/>
                    <a:pt x="148" y="92"/>
                  </a:cubicBezTo>
                  <a:cubicBezTo>
                    <a:pt x="92" y="149"/>
                    <a:pt x="92" y="149"/>
                    <a:pt x="92" y="149"/>
                  </a:cubicBezTo>
                  <a:cubicBezTo>
                    <a:pt x="133" y="211"/>
                    <a:pt x="133" y="211"/>
                    <a:pt x="133" y="211"/>
                  </a:cubicBezTo>
                  <a:cubicBezTo>
                    <a:pt x="132" y="210"/>
                    <a:pt x="132" y="210"/>
                    <a:pt x="132" y="210"/>
                  </a:cubicBezTo>
                  <a:cubicBezTo>
                    <a:pt x="119" y="229"/>
                    <a:pt x="108" y="247"/>
                    <a:pt x="99" y="267"/>
                  </a:cubicBezTo>
                  <a:cubicBezTo>
                    <a:pt x="96" y="266"/>
                    <a:pt x="96" y="266"/>
                    <a:pt x="96" y="266"/>
                  </a:cubicBezTo>
                  <a:cubicBezTo>
                    <a:pt x="18" y="261"/>
                    <a:pt x="18" y="261"/>
                    <a:pt x="18" y="261"/>
                  </a:cubicBezTo>
                  <a:cubicBezTo>
                    <a:pt x="0" y="339"/>
                    <a:pt x="0" y="339"/>
                    <a:pt x="0" y="339"/>
                  </a:cubicBezTo>
                  <a:cubicBezTo>
                    <a:pt x="72" y="371"/>
                    <a:pt x="72" y="371"/>
                    <a:pt x="72" y="371"/>
                  </a:cubicBezTo>
                  <a:cubicBezTo>
                    <a:pt x="73" y="372"/>
                    <a:pt x="73" y="372"/>
                    <a:pt x="73" y="372"/>
                  </a:cubicBezTo>
                  <a:cubicBezTo>
                    <a:pt x="71" y="397"/>
                    <a:pt x="73" y="423"/>
                    <a:pt x="77" y="448"/>
                  </a:cubicBezTo>
                  <a:cubicBezTo>
                    <a:pt x="75" y="449"/>
                    <a:pt x="75" y="449"/>
                    <a:pt x="75" y="449"/>
                  </a:cubicBezTo>
                  <a:cubicBezTo>
                    <a:pt x="8" y="488"/>
                    <a:pt x="8" y="488"/>
                    <a:pt x="8" y="488"/>
                  </a:cubicBezTo>
                  <a:cubicBezTo>
                    <a:pt x="35" y="562"/>
                    <a:pt x="35" y="562"/>
                    <a:pt x="35" y="562"/>
                  </a:cubicBezTo>
                  <a:cubicBezTo>
                    <a:pt x="114" y="550"/>
                    <a:pt x="114" y="550"/>
                    <a:pt x="114" y="550"/>
                  </a:cubicBezTo>
                  <a:close/>
                </a:path>
              </a:pathLst>
            </a:custGeom>
            <a:solidFill>
              <a:srgbClr val="FE5817"/>
            </a:solidFill>
            <a:ln w="19050">
              <a:solidFill>
                <a:srgbClr val="FFFFFF"/>
              </a:solidFill>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华文楷体" panose="02010600040101010101" charset="-122"/>
                <a:cs typeface="+mn-cs"/>
              </a:endParaRPr>
            </a:p>
          </p:txBody>
        </p:sp>
        <p:sp>
          <p:nvSpPr>
            <p:cNvPr id="80" name="矩形 79"/>
            <p:cNvSpPr/>
            <p:nvPr/>
          </p:nvSpPr>
          <p:spPr>
            <a:xfrm>
              <a:off x="2377875" y="3059609"/>
              <a:ext cx="1214583" cy="304699"/>
            </a:xfrm>
            <a:prstGeom prst="rect">
              <a:avLst/>
            </a:prstGeom>
          </p:spPr>
          <p:txBody>
            <a:bodyPr wrap="square" lIns="36000" tIns="0" rIns="36000" bIns="0">
              <a:sp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2200" b="1" i="0" u="none" strike="noStrike" kern="1200" cap="none" spc="0" normalizeH="0" baseline="0" noProof="0" dirty="0" smtClean="0">
                  <a:ln>
                    <a:noFill/>
                  </a:ln>
                  <a:solidFill>
                    <a:prstClr val="white"/>
                  </a:solidFill>
                  <a:effectLst>
                    <a:outerShdw blurRad="50800" dist="38100" dir="2700000" algn="tl" rotWithShape="0">
                      <a:prstClr val="black">
                        <a:alpha val="40000"/>
                      </a:prstClr>
                    </a:outerShdw>
                  </a:effectLst>
                  <a:uLnTx/>
                  <a:uFillTx/>
                  <a:latin typeface="Arial" panose="020B0604020202020204"/>
                  <a:ea typeface="华文楷体" panose="02010600040101010101" charset="-122"/>
                  <a:cs typeface="Arial" panose="020B0604020202020204"/>
                </a:rPr>
                <a:t>XXXX</a:t>
              </a:r>
              <a:endParaRPr kumimoji="0" lang="zh-CN" altLang="en-US" sz="22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Arial" panose="020B0604020202020204"/>
                <a:ea typeface="华文楷体" panose="02010600040101010101" charset="-122"/>
                <a:cs typeface="Arial" panose="020B0604020202020204"/>
              </a:endParaRPr>
            </a:p>
          </p:txBody>
        </p:sp>
        <p:sp>
          <p:nvSpPr>
            <p:cNvPr id="82" name="矩形 81"/>
            <p:cNvSpPr/>
            <p:nvPr/>
          </p:nvSpPr>
          <p:spPr>
            <a:xfrm>
              <a:off x="5009638" y="3031781"/>
              <a:ext cx="1771231" cy="332399"/>
            </a:xfrm>
            <a:prstGeom prst="rect">
              <a:avLst/>
            </a:prstGeom>
          </p:spPr>
          <p:txBody>
            <a:bodyPr wrap="square" lIns="36000" tIns="0" rIns="36000" bIns="0">
              <a:sp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2400" b="1" i="0" u="none" strike="noStrike" kern="1200" cap="none" spc="0" normalizeH="0" baseline="0" noProof="0" smtClean="0">
                  <a:ln>
                    <a:noFill/>
                  </a:ln>
                  <a:solidFill>
                    <a:prstClr val="white"/>
                  </a:solidFill>
                  <a:effectLst>
                    <a:outerShdw blurRad="50800" dist="38100" dir="2700000" algn="tl" rotWithShape="0">
                      <a:prstClr val="black">
                        <a:alpha val="40000"/>
                      </a:prstClr>
                    </a:outerShdw>
                  </a:effectLst>
                  <a:uLnTx/>
                  <a:uFillTx/>
                  <a:latin typeface="Arial" panose="020B0604020202020204"/>
                  <a:ea typeface="华文楷体" panose="02010600040101010101" charset="-122"/>
                  <a:cs typeface="Arial" panose="020B0604020202020204"/>
                </a:rPr>
                <a:t>XXXX</a:t>
              </a:r>
              <a:endParaRPr kumimoji="0" lang="zh-CN" altLang="en-US" sz="24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Arial" panose="020B0604020202020204"/>
                <a:ea typeface="华文楷体" panose="02010600040101010101" charset="-122"/>
                <a:cs typeface="Arial" panose="020B0604020202020204"/>
              </a:endParaRPr>
            </a:p>
          </p:txBody>
        </p:sp>
        <p:sp>
          <p:nvSpPr>
            <p:cNvPr id="83" name="矩形 82"/>
            <p:cNvSpPr/>
            <p:nvPr/>
          </p:nvSpPr>
          <p:spPr>
            <a:xfrm>
              <a:off x="7707432" y="2168567"/>
              <a:ext cx="1363023" cy="898018"/>
            </a:xfrm>
            <a:prstGeom prst="rect">
              <a:avLst/>
            </a:prstGeom>
          </p:spPr>
          <p:txBody>
            <a:bodyPr wrap="square" lIns="0" tIns="0" rIns="0" bIns="0">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2200" b="1" i="0" u="none" strike="noStrike" kern="1200" cap="none" spc="0" normalizeH="0" baseline="0" noProof="0" smtClean="0">
                  <a:ln>
                    <a:noFill/>
                  </a:ln>
                  <a:solidFill>
                    <a:prstClr val="white"/>
                  </a:solidFill>
                  <a:effectLst>
                    <a:outerShdw blurRad="50800" dist="38100" dir="2700000" algn="tl" rotWithShape="0">
                      <a:prstClr val="black">
                        <a:alpha val="40000"/>
                      </a:prstClr>
                    </a:outerShdw>
                  </a:effectLst>
                  <a:uLnTx/>
                  <a:uFillTx/>
                  <a:latin typeface="Arial" panose="020B0604020202020204"/>
                  <a:ea typeface="华文楷体" panose="02010600040101010101" charset="-122"/>
                  <a:cs typeface="Arial" panose="020B0604020202020204"/>
                </a:rPr>
                <a:t>XXX</a:t>
              </a:r>
              <a:endParaRPr kumimoji="0" lang="zh-CN" altLang="en-US" sz="22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Arial" panose="020B0604020202020204"/>
                <a:ea typeface="华文楷体" panose="02010600040101010101" charset="-122"/>
                <a:cs typeface="Arial" panose="020B0604020202020204"/>
              </a:endParaRPr>
            </a:p>
          </p:txBody>
        </p:sp>
      </p:grpSp>
      <p:sp>
        <p:nvSpPr>
          <p:cNvPr id="84" name="矩形 83"/>
          <p:cNvSpPr/>
          <p:nvPr/>
        </p:nvSpPr>
        <p:spPr>
          <a:xfrm>
            <a:off x="871635" y="4498283"/>
            <a:ext cx="2239555" cy="276999"/>
          </a:xfrm>
          <a:prstGeom prst="rect">
            <a:avLst/>
          </a:prstGeom>
        </p:spPr>
        <p:txBody>
          <a:bodyPr wrap="square" lIns="36000" tIns="0" rIns="36000" bIns="0">
            <a:sp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20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2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85" name="矩形 84"/>
          <p:cNvSpPr/>
          <p:nvPr/>
        </p:nvSpPr>
        <p:spPr>
          <a:xfrm>
            <a:off x="9365898" y="1349846"/>
            <a:ext cx="2193809" cy="276999"/>
          </a:xfrm>
          <a:prstGeom prst="rect">
            <a:avLst/>
          </a:prstGeom>
        </p:spPr>
        <p:txBody>
          <a:bodyPr wrap="square" lIns="36000" tIns="0" rIns="36000" bIns="0">
            <a:sp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20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2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86" name="矩形 85"/>
          <p:cNvSpPr/>
          <p:nvPr/>
        </p:nvSpPr>
        <p:spPr>
          <a:xfrm>
            <a:off x="4648070" y="5306106"/>
            <a:ext cx="2711736" cy="276999"/>
          </a:xfrm>
          <a:prstGeom prst="rect">
            <a:avLst/>
          </a:prstGeom>
        </p:spPr>
        <p:txBody>
          <a:bodyPr wrap="square" lIns="36000" tIns="0" rIns="36000" bIns="0">
            <a:sp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20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2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0"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520" name="think-cell Slide" r:id="rId2" imgW="12700" imgH="12700" progId="TCLayout.ActiveDocument.1">
                  <p:embed/>
                </p:oleObj>
              </mc:Choice>
              <mc:Fallback>
                <p:oleObj name="think-cell Slide" r:id="rId2" imgW="12700" imgH="12700" progId="TCLayout.ActiveDocument.1">
                  <p:embed/>
                  <p:pic>
                    <p:nvPicPr>
                      <p:cNvPr id="0" name="对象 38" hidden="1"/>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4" name="Group 37"/>
          <p:cNvGrpSpPr/>
          <p:nvPr/>
        </p:nvGrpSpPr>
        <p:grpSpPr>
          <a:xfrm>
            <a:off x="-7939" y="1521151"/>
            <a:ext cx="12197173" cy="980854"/>
            <a:chOff x="-7938" y="2900363"/>
            <a:chExt cx="12199938" cy="981075"/>
          </a:xfrm>
        </p:grpSpPr>
        <p:sp>
          <p:nvSpPr>
            <p:cNvPr id="5" name="AutoShape 3"/>
            <p:cNvSpPr>
              <a:spLocks noChangeAspect="1" noChangeArrowheads="1" noTextEdit="1"/>
            </p:cNvSpPr>
            <p:nvPr/>
          </p:nvSpPr>
          <p:spPr bwMode="auto">
            <a:xfrm>
              <a:off x="0" y="2992438"/>
              <a:ext cx="121920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400"/>
            </a:p>
          </p:txBody>
        </p:sp>
        <p:sp>
          <p:nvSpPr>
            <p:cNvPr id="6" name="Freeform 6"/>
            <p:cNvSpPr/>
            <p:nvPr/>
          </p:nvSpPr>
          <p:spPr bwMode="auto">
            <a:xfrm>
              <a:off x="-7938" y="2925763"/>
              <a:ext cx="12192000" cy="955675"/>
            </a:xfrm>
            <a:custGeom>
              <a:avLst/>
              <a:gdLst>
                <a:gd name="T0" fmla="*/ 0 w 1479"/>
                <a:gd name="T1" fmla="*/ 26 h 113"/>
                <a:gd name="T2" fmla="*/ 168 w 1479"/>
                <a:gd name="T3" fmla="*/ 57 h 113"/>
                <a:gd name="T4" fmla="*/ 499 w 1479"/>
                <a:gd name="T5" fmla="*/ 57 h 113"/>
                <a:gd name="T6" fmla="*/ 1000 w 1479"/>
                <a:gd name="T7" fmla="*/ 57 h 113"/>
                <a:gd name="T8" fmla="*/ 1320 w 1479"/>
                <a:gd name="T9" fmla="*/ 52 h 113"/>
                <a:gd name="T10" fmla="*/ 1479 w 1479"/>
                <a:gd name="T11" fmla="*/ 28 h 113"/>
              </a:gdLst>
              <a:ahLst/>
              <a:cxnLst>
                <a:cxn ang="0">
                  <a:pos x="T0" y="T1"/>
                </a:cxn>
                <a:cxn ang="0">
                  <a:pos x="T2" y="T3"/>
                </a:cxn>
                <a:cxn ang="0">
                  <a:pos x="T4" y="T5"/>
                </a:cxn>
                <a:cxn ang="0">
                  <a:pos x="T6" y="T7"/>
                </a:cxn>
                <a:cxn ang="0">
                  <a:pos x="T8" y="T9"/>
                </a:cxn>
                <a:cxn ang="0">
                  <a:pos x="T10" y="T11"/>
                </a:cxn>
              </a:cxnLst>
              <a:rect l="0" t="0" r="r" b="b"/>
              <a:pathLst>
                <a:path w="1479" h="113">
                  <a:moveTo>
                    <a:pt x="0" y="26"/>
                  </a:moveTo>
                  <a:cubicBezTo>
                    <a:pt x="0" y="26"/>
                    <a:pt x="75" y="26"/>
                    <a:pt x="168" y="57"/>
                  </a:cubicBezTo>
                  <a:cubicBezTo>
                    <a:pt x="262" y="87"/>
                    <a:pt x="336" y="107"/>
                    <a:pt x="499" y="57"/>
                  </a:cubicBezTo>
                  <a:cubicBezTo>
                    <a:pt x="662" y="7"/>
                    <a:pt x="840" y="0"/>
                    <a:pt x="1000" y="57"/>
                  </a:cubicBezTo>
                  <a:cubicBezTo>
                    <a:pt x="1160" y="113"/>
                    <a:pt x="1320" y="52"/>
                    <a:pt x="1320" y="52"/>
                  </a:cubicBezTo>
                  <a:cubicBezTo>
                    <a:pt x="1320" y="52"/>
                    <a:pt x="1408" y="28"/>
                    <a:pt x="1479" y="28"/>
                  </a:cubicBezTo>
                </a:path>
              </a:pathLst>
            </a:custGeom>
            <a:noFill/>
            <a:ln w="7938" cap="flat">
              <a:solidFill>
                <a:srgbClr val="E1DFDF"/>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sz="1400"/>
            </a:p>
          </p:txBody>
        </p:sp>
        <p:sp>
          <p:nvSpPr>
            <p:cNvPr id="7" name="Freeform 7"/>
            <p:cNvSpPr/>
            <p:nvPr/>
          </p:nvSpPr>
          <p:spPr bwMode="auto">
            <a:xfrm>
              <a:off x="-7938" y="3027363"/>
              <a:ext cx="12192000" cy="752475"/>
            </a:xfrm>
            <a:custGeom>
              <a:avLst/>
              <a:gdLst>
                <a:gd name="T0" fmla="*/ 0 w 1479"/>
                <a:gd name="T1" fmla="*/ 21 h 89"/>
                <a:gd name="T2" fmla="*/ 168 w 1479"/>
                <a:gd name="T3" fmla="*/ 44 h 89"/>
                <a:gd name="T4" fmla="*/ 499 w 1479"/>
                <a:gd name="T5" fmla="*/ 44 h 89"/>
                <a:gd name="T6" fmla="*/ 1000 w 1479"/>
                <a:gd name="T7" fmla="*/ 45 h 89"/>
                <a:gd name="T8" fmla="*/ 1320 w 1479"/>
                <a:gd name="T9" fmla="*/ 41 h 89"/>
                <a:gd name="T10" fmla="*/ 1479 w 1479"/>
                <a:gd name="T11" fmla="*/ 22 h 89"/>
              </a:gdLst>
              <a:ahLst/>
              <a:cxnLst>
                <a:cxn ang="0">
                  <a:pos x="T0" y="T1"/>
                </a:cxn>
                <a:cxn ang="0">
                  <a:pos x="T2" y="T3"/>
                </a:cxn>
                <a:cxn ang="0">
                  <a:pos x="T4" y="T5"/>
                </a:cxn>
                <a:cxn ang="0">
                  <a:pos x="T6" y="T7"/>
                </a:cxn>
                <a:cxn ang="0">
                  <a:pos x="T8" y="T9"/>
                </a:cxn>
                <a:cxn ang="0">
                  <a:pos x="T10" y="T11"/>
                </a:cxn>
              </a:cxnLst>
              <a:rect l="0" t="0" r="r" b="b"/>
              <a:pathLst>
                <a:path w="1479" h="89">
                  <a:moveTo>
                    <a:pt x="0" y="21"/>
                  </a:moveTo>
                  <a:cubicBezTo>
                    <a:pt x="0" y="21"/>
                    <a:pt x="75" y="21"/>
                    <a:pt x="168" y="44"/>
                  </a:cubicBezTo>
                  <a:cubicBezTo>
                    <a:pt x="262" y="68"/>
                    <a:pt x="336" y="83"/>
                    <a:pt x="499" y="44"/>
                  </a:cubicBezTo>
                  <a:cubicBezTo>
                    <a:pt x="662" y="5"/>
                    <a:pt x="840" y="0"/>
                    <a:pt x="1000" y="45"/>
                  </a:cubicBezTo>
                  <a:cubicBezTo>
                    <a:pt x="1160" y="89"/>
                    <a:pt x="1320" y="41"/>
                    <a:pt x="1320" y="41"/>
                  </a:cubicBezTo>
                  <a:cubicBezTo>
                    <a:pt x="1320" y="41"/>
                    <a:pt x="1408" y="22"/>
                    <a:pt x="1479" y="22"/>
                  </a:cubicBezTo>
                </a:path>
              </a:pathLst>
            </a:custGeom>
            <a:noFill/>
            <a:ln w="7938" cap="flat">
              <a:solidFill>
                <a:srgbClr val="D7D5D4"/>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sz="1400"/>
            </a:p>
          </p:txBody>
        </p:sp>
        <p:sp>
          <p:nvSpPr>
            <p:cNvPr id="8" name="Freeform 8"/>
            <p:cNvSpPr/>
            <p:nvPr/>
          </p:nvSpPr>
          <p:spPr bwMode="auto">
            <a:xfrm>
              <a:off x="-7938" y="3136901"/>
              <a:ext cx="12192000" cy="533400"/>
            </a:xfrm>
            <a:custGeom>
              <a:avLst/>
              <a:gdLst>
                <a:gd name="T0" fmla="*/ 0 w 1479"/>
                <a:gd name="T1" fmla="*/ 14 h 63"/>
                <a:gd name="T2" fmla="*/ 168 w 1479"/>
                <a:gd name="T3" fmla="*/ 31 h 63"/>
                <a:gd name="T4" fmla="*/ 499 w 1479"/>
                <a:gd name="T5" fmla="*/ 31 h 63"/>
                <a:gd name="T6" fmla="*/ 1000 w 1479"/>
                <a:gd name="T7" fmla="*/ 31 h 63"/>
                <a:gd name="T8" fmla="*/ 1320 w 1479"/>
                <a:gd name="T9" fmla="*/ 29 h 63"/>
                <a:gd name="T10" fmla="*/ 1479 w 1479"/>
                <a:gd name="T11" fmla="*/ 15 h 63"/>
              </a:gdLst>
              <a:ahLst/>
              <a:cxnLst>
                <a:cxn ang="0">
                  <a:pos x="T0" y="T1"/>
                </a:cxn>
                <a:cxn ang="0">
                  <a:pos x="T2" y="T3"/>
                </a:cxn>
                <a:cxn ang="0">
                  <a:pos x="T4" y="T5"/>
                </a:cxn>
                <a:cxn ang="0">
                  <a:pos x="T6" y="T7"/>
                </a:cxn>
                <a:cxn ang="0">
                  <a:pos x="T8" y="T9"/>
                </a:cxn>
                <a:cxn ang="0">
                  <a:pos x="T10" y="T11"/>
                </a:cxn>
              </a:cxnLst>
              <a:rect l="0" t="0" r="r" b="b"/>
              <a:pathLst>
                <a:path w="1479" h="63">
                  <a:moveTo>
                    <a:pt x="0" y="14"/>
                  </a:moveTo>
                  <a:cubicBezTo>
                    <a:pt x="0" y="14"/>
                    <a:pt x="75" y="14"/>
                    <a:pt x="168" y="31"/>
                  </a:cubicBezTo>
                  <a:cubicBezTo>
                    <a:pt x="262" y="48"/>
                    <a:pt x="336" y="59"/>
                    <a:pt x="499" y="31"/>
                  </a:cubicBezTo>
                  <a:cubicBezTo>
                    <a:pt x="662" y="3"/>
                    <a:pt x="840" y="0"/>
                    <a:pt x="1000" y="31"/>
                  </a:cubicBezTo>
                  <a:cubicBezTo>
                    <a:pt x="1160" y="63"/>
                    <a:pt x="1320" y="29"/>
                    <a:pt x="1320" y="29"/>
                  </a:cubicBezTo>
                  <a:cubicBezTo>
                    <a:pt x="1320" y="29"/>
                    <a:pt x="1408" y="15"/>
                    <a:pt x="1479" y="15"/>
                  </a:cubicBezTo>
                </a:path>
              </a:pathLst>
            </a:custGeom>
            <a:noFill/>
            <a:ln w="7938" cap="flat">
              <a:solidFill>
                <a:srgbClr val="CDCBCA"/>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sz="1400"/>
            </a:p>
          </p:txBody>
        </p:sp>
        <p:sp>
          <p:nvSpPr>
            <p:cNvPr id="9" name="Freeform 9"/>
            <p:cNvSpPr/>
            <p:nvPr/>
          </p:nvSpPr>
          <p:spPr bwMode="auto">
            <a:xfrm>
              <a:off x="-7938" y="3238501"/>
              <a:ext cx="12192000" cy="322263"/>
            </a:xfrm>
            <a:custGeom>
              <a:avLst/>
              <a:gdLst>
                <a:gd name="T0" fmla="*/ 0 w 1479"/>
                <a:gd name="T1" fmla="*/ 9 h 38"/>
                <a:gd name="T2" fmla="*/ 168 w 1479"/>
                <a:gd name="T3" fmla="*/ 19 h 38"/>
                <a:gd name="T4" fmla="*/ 499 w 1479"/>
                <a:gd name="T5" fmla="*/ 19 h 38"/>
                <a:gd name="T6" fmla="*/ 1000 w 1479"/>
                <a:gd name="T7" fmla="*/ 19 h 38"/>
                <a:gd name="T8" fmla="*/ 1320 w 1479"/>
                <a:gd name="T9" fmla="*/ 17 h 38"/>
                <a:gd name="T10" fmla="*/ 1479 w 1479"/>
                <a:gd name="T11" fmla="*/ 9 h 38"/>
              </a:gdLst>
              <a:ahLst/>
              <a:cxnLst>
                <a:cxn ang="0">
                  <a:pos x="T0" y="T1"/>
                </a:cxn>
                <a:cxn ang="0">
                  <a:pos x="T2" y="T3"/>
                </a:cxn>
                <a:cxn ang="0">
                  <a:pos x="T4" y="T5"/>
                </a:cxn>
                <a:cxn ang="0">
                  <a:pos x="T6" y="T7"/>
                </a:cxn>
                <a:cxn ang="0">
                  <a:pos x="T8" y="T9"/>
                </a:cxn>
                <a:cxn ang="0">
                  <a:pos x="T10" y="T11"/>
                </a:cxn>
              </a:cxnLst>
              <a:rect l="0" t="0" r="r" b="b"/>
              <a:pathLst>
                <a:path w="1479" h="38">
                  <a:moveTo>
                    <a:pt x="0" y="9"/>
                  </a:moveTo>
                  <a:cubicBezTo>
                    <a:pt x="0" y="9"/>
                    <a:pt x="75" y="9"/>
                    <a:pt x="168" y="19"/>
                  </a:cubicBezTo>
                  <a:cubicBezTo>
                    <a:pt x="262" y="29"/>
                    <a:pt x="336" y="36"/>
                    <a:pt x="499" y="19"/>
                  </a:cubicBezTo>
                  <a:cubicBezTo>
                    <a:pt x="662" y="2"/>
                    <a:pt x="840" y="0"/>
                    <a:pt x="1000" y="19"/>
                  </a:cubicBezTo>
                  <a:cubicBezTo>
                    <a:pt x="1160" y="38"/>
                    <a:pt x="1320" y="17"/>
                    <a:pt x="1320" y="17"/>
                  </a:cubicBezTo>
                  <a:cubicBezTo>
                    <a:pt x="1320" y="17"/>
                    <a:pt x="1408" y="9"/>
                    <a:pt x="1479" y="9"/>
                  </a:cubicBezTo>
                </a:path>
              </a:pathLst>
            </a:custGeom>
            <a:noFill/>
            <a:ln w="7938" cap="flat">
              <a:solidFill>
                <a:srgbClr val="C4C1C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sz="1400"/>
            </a:p>
          </p:txBody>
        </p:sp>
        <p:sp>
          <p:nvSpPr>
            <p:cNvPr id="10" name="Freeform 10"/>
            <p:cNvSpPr/>
            <p:nvPr/>
          </p:nvSpPr>
          <p:spPr bwMode="auto">
            <a:xfrm>
              <a:off x="-7938" y="3340101"/>
              <a:ext cx="12192000" cy="109538"/>
            </a:xfrm>
            <a:custGeom>
              <a:avLst/>
              <a:gdLst>
                <a:gd name="T0" fmla="*/ 0 w 1479"/>
                <a:gd name="T1" fmla="*/ 3 h 13"/>
                <a:gd name="T2" fmla="*/ 168 w 1479"/>
                <a:gd name="T3" fmla="*/ 7 h 13"/>
                <a:gd name="T4" fmla="*/ 499 w 1479"/>
                <a:gd name="T5" fmla="*/ 7 h 13"/>
                <a:gd name="T6" fmla="*/ 1000 w 1479"/>
                <a:gd name="T7" fmla="*/ 7 h 13"/>
                <a:gd name="T8" fmla="*/ 1320 w 1479"/>
                <a:gd name="T9" fmla="*/ 6 h 13"/>
                <a:gd name="T10" fmla="*/ 1479 w 1479"/>
                <a:gd name="T11" fmla="*/ 3 h 13"/>
              </a:gdLst>
              <a:ahLst/>
              <a:cxnLst>
                <a:cxn ang="0">
                  <a:pos x="T0" y="T1"/>
                </a:cxn>
                <a:cxn ang="0">
                  <a:pos x="T2" y="T3"/>
                </a:cxn>
                <a:cxn ang="0">
                  <a:pos x="T4" y="T5"/>
                </a:cxn>
                <a:cxn ang="0">
                  <a:pos x="T6" y="T7"/>
                </a:cxn>
                <a:cxn ang="0">
                  <a:pos x="T8" y="T9"/>
                </a:cxn>
                <a:cxn ang="0">
                  <a:pos x="T10" y="T11"/>
                </a:cxn>
              </a:cxnLst>
              <a:rect l="0" t="0" r="r" b="b"/>
              <a:pathLst>
                <a:path w="1479" h="13">
                  <a:moveTo>
                    <a:pt x="0" y="3"/>
                  </a:moveTo>
                  <a:cubicBezTo>
                    <a:pt x="0" y="3"/>
                    <a:pt x="75" y="3"/>
                    <a:pt x="168" y="7"/>
                  </a:cubicBezTo>
                  <a:cubicBezTo>
                    <a:pt x="262" y="10"/>
                    <a:pt x="336" y="12"/>
                    <a:pt x="499" y="7"/>
                  </a:cubicBezTo>
                  <a:cubicBezTo>
                    <a:pt x="662" y="1"/>
                    <a:pt x="840" y="0"/>
                    <a:pt x="1000" y="7"/>
                  </a:cubicBezTo>
                  <a:cubicBezTo>
                    <a:pt x="1160" y="13"/>
                    <a:pt x="1320" y="6"/>
                    <a:pt x="1320" y="6"/>
                  </a:cubicBezTo>
                  <a:cubicBezTo>
                    <a:pt x="1320" y="6"/>
                    <a:pt x="1408" y="3"/>
                    <a:pt x="1479" y="3"/>
                  </a:cubicBezTo>
                </a:path>
              </a:pathLst>
            </a:custGeom>
            <a:noFill/>
            <a:ln w="7938" cap="flat">
              <a:solidFill>
                <a:srgbClr val="BBB7B6"/>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sz="1400"/>
            </a:p>
          </p:txBody>
        </p:sp>
        <p:sp>
          <p:nvSpPr>
            <p:cNvPr id="11" name="Freeform 11"/>
            <p:cNvSpPr/>
            <p:nvPr/>
          </p:nvSpPr>
          <p:spPr bwMode="auto">
            <a:xfrm>
              <a:off x="-7938" y="3340101"/>
              <a:ext cx="12192000" cy="101600"/>
            </a:xfrm>
            <a:custGeom>
              <a:avLst/>
              <a:gdLst>
                <a:gd name="T0" fmla="*/ 0 w 1479"/>
                <a:gd name="T1" fmla="*/ 10 h 12"/>
                <a:gd name="T2" fmla="*/ 168 w 1479"/>
                <a:gd name="T3" fmla="*/ 6 h 12"/>
                <a:gd name="T4" fmla="*/ 499 w 1479"/>
                <a:gd name="T5" fmla="*/ 6 h 12"/>
                <a:gd name="T6" fmla="*/ 1000 w 1479"/>
                <a:gd name="T7" fmla="*/ 6 h 12"/>
                <a:gd name="T8" fmla="*/ 1320 w 1479"/>
                <a:gd name="T9" fmla="*/ 7 h 12"/>
                <a:gd name="T10" fmla="*/ 1479 w 1479"/>
                <a:gd name="T11" fmla="*/ 9 h 12"/>
              </a:gdLst>
              <a:ahLst/>
              <a:cxnLst>
                <a:cxn ang="0">
                  <a:pos x="T0" y="T1"/>
                </a:cxn>
                <a:cxn ang="0">
                  <a:pos x="T2" y="T3"/>
                </a:cxn>
                <a:cxn ang="0">
                  <a:pos x="T4" y="T5"/>
                </a:cxn>
                <a:cxn ang="0">
                  <a:pos x="T6" y="T7"/>
                </a:cxn>
                <a:cxn ang="0">
                  <a:pos x="T8" y="T9"/>
                </a:cxn>
                <a:cxn ang="0">
                  <a:pos x="T10" y="T11"/>
                </a:cxn>
              </a:cxnLst>
              <a:rect l="0" t="0" r="r" b="b"/>
              <a:pathLst>
                <a:path w="1479" h="12">
                  <a:moveTo>
                    <a:pt x="0" y="10"/>
                  </a:moveTo>
                  <a:cubicBezTo>
                    <a:pt x="0" y="10"/>
                    <a:pt x="75" y="10"/>
                    <a:pt x="168" y="6"/>
                  </a:cubicBezTo>
                  <a:cubicBezTo>
                    <a:pt x="262" y="3"/>
                    <a:pt x="336" y="1"/>
                    <a:pt x="499" y="6"/>
                  </a:cubicBezTo>
                  <a:cubicBezTo>
                    <a:pt x="662" y="12"/>
                    <a:pt x="840" y="12"/>
                    <a:pt x="1000" y="6"/>
                  </a:cubicBezTo>
                  <a:cubicBezTo>
                    <a:pt x="1160" y="0"/>
                    <a:pt x="1320" y="7"/>
                    <a:pt x="1320" y="7"/>
                  </a:cubicBezTo>
                  <a:cubicBezTo>
                    <a:pt x="1320" y="7"/>
                    <a:pt x="1408" y="9"/>
                    <a:pt x="1479" y="9"/>
                  </a:cubicBezTo>
                </a:path>
              </a:pathLst>
            </a:custGeom>
            <a:noFill/>
            <a:ln w="7938" cap="flat">
              <a:solidFill>
                <a:srgbClr val="B1AEAD"/>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sz="1400"/>
            </a:p>
          </p:txBody>
        </p:sp>
        <p:sp>
          <p:nvSpPr>
            <p:cNvPr id="12" name="Freeform 12"/>
            <p:cNvSpPr/>
            <p:nvPr/>
          </p:nvSpPr>
          <p:spPr bwMode="auto">
            <a:xfrm>
              <a:off x="-7938" y="3230563"/>
              <a:ext cx="12192000" cy="320675"/>
            </a:xfrm>
            <a:custGeom>
              <a:avLst/>
              <a:gdLst>
                <a:gd name="T0" fmla="*/ 0 w 1479"/>
                <a:gd name="T1" fmla="*/ 29 h 38"/>
                <a:gd name="T2" fmla="*/ 168 w 1479"/>
                <a:gd name="T3" fmla="*/ 19 h 38"/>
                <a:gd name="T4" fmla="*/ 499 w 1479"/>
                <a:gd name="T5" fmla="*/ 19 h 38"/>
                <a:gd name="T6" fmla="*/ 1000 w 1479"/>
                <a:gd name="T7" fmla="*/ 19 h 38"/>
                <a:gd name="T8" fmla="*/ 1320 w 1479"/>
                <a:gd name="T9" fmla="*/ 20 h 38"/>
                <a:gd name="T10" fmla="*/ 1479 w 1479"/>
                <a:gd name="T11" fmla="*/ 28 h 38"/>
              </a:gdLst>
              <a:ahLst/>
              <a:cxnLst>
                <a:cxn ang="0">
                  <a:pos x="T0" y="T1"/>
                </a:cxn>
                <a:cxn ang="0">
                  <a:pos x="T2" y="T3"/>
                </a:cxn>
                <a:cxn ang="0">
                  <a:pos x="T4" y="T5"/>
                </a:cxn>
                <a:cxn ang="0">
                  <a:pos x="T6" y="T7"/>
                </a:cxn>
                <a:cxn ang="0">
                  <a:pos x="T8" y="T9"/>
                </a:cxn>
                <a:cxn ang="0">
                  <a:pos x="T10" y="T11"/>
                </a:cxn>
              </a:cxnLst>
              <a:rect l="0" t="0" r="r" b="b"/>
              <a:pathLst>
                <a:path w="1479" h="38">
                  <a:moveTo>
                    <a:pt x="0" y="29"/>
                  </a:moveTo>
                  <a:cubicBezTo>
                    <a:pt x="0" y="29"/>
                    <a:pt x="75" y="29"/>
                    <a:pt x="168" y="19"/>
                  </a:cubicBezTo>
                  <a:cubicBezTo>
                    <a:pt x="262" y="9"/>
                    <a:pt x="336" y="2"/>
                    <a:pt x="499" y="19"/>
                  </a:cubicBezTo>
                  <a:cubicBezTo>
                    <a:pt x="662" y="36"/>
                    <a:pt x="840" y="38"/>
                    <a:pt x="1000" y="19"/>
                  </a:cubicBezTo>
                  <a:cubicBezTo>
                    <a:pt x="1160" y="0"/>
                    <a:pt x="1320" y="20"/>
                    <a:pt x="1320" y="20"/>
                  </a:cubicBezTo>
                  <a:cubicBezTo>
                    <a:pt x="1320" y="20"/>
                    <a:pt x="1408" y="28"/>
                    <a:pt x="1479" y="28"/>
                  </a:cubicBezTo>
                </a:path>
              </a:pathLst>
            </a:custGeom>
            <a:noFill/>
            <a:ln w="7938" cap="flat">
              <a:solidFill>
                <a:srgbClr val="A8A4A3"/>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sz="1400"/>
            </a:p>
          </p:txBody>
        </p:sp>
        <p:sp>
          <p:nvSpPr>
            <p:cNvPr id="13" name="Freeform 13"/>
            <p:cNvSpPr/>
            <p:nvPr/>
          </p:nvSpPr>
          <p:spPr bwMode="auto">
            <a:xfrm>
              <a:off x="-7938" y="3119438"/>
              <a:ext cx="12192000" cy="533400"/>
            </a:xfrm>
            <a:custGeom>
              <a:avLst/>
              <a:gdLst>
                <a:gd name="T0" fmla="*/ 0 w 1479"/>
                <a:gd name="T1" fmla="*/ 49 h 63"/>
                <a:gd name="T2" fmla="*/ 168 w 1479"/>
                <a:gd name="T3" fmla="*/ 32 h 63"/>
                <a:gd name="T4" fmla="*/ 499 w 1479"/>
                <a:gd name="T5" fmla="*/ 32 h 63"/>
                <a:gd name="T6" fmla="*/ 1000 w 1479"/>
                <a:gd name="T7" fmla="*/ 32 h 63"/>
                <a:gd name="T8" fmla="*/ 1320 w 1479"/>
                <a:gd name="T9" fmla="*/ 34 h 63"/>
                <a:gd name="T10" fmla="*/ 1479 w 1479"/>
                <a:gd name="T11" fmla="*/ 47 h 63"/>
              </a:gdLst>
              <a:ahLst/>
              <a:cxnLst>
                <a:cxn ang="0">
                  <a:pos x="T0" y="T1"/>
                </a:cxn>
                <a:cxn ang="0">
                  <a:pos x="T2" y="T3"/>
                </a:cxn>
                <a:cxn ang="0">
                  <a:pos x="T4" y="T5"/>
                </a:cxn>
                <a:cxn ang="0">
                  <a:pos x="T6" y="T7"/>
                </a:cxn>
                <a:cxn ang="0">
                  <a:pos x="T8" y="T9"/>
                </a:cxn>
                <a:cxn ang="0">
                  <a:pos x="T10" y="T11"/>
                </a:cxn>
              </a:cxnLst>
              <a:rect l="0" t="0" r="r" b="b"/>
              <a:pathLst>
                <a:path w="1479" h="63">
                  <a:moveTo>
                    <a:pt x="0" y="49"/>
                  </a:moveTo>
                  <a:cubicBezTo>
                    <a:pt x="0" y="49"/>
                    <a:pt x="75" y="49"/>
                    <a:pt x="168" y="32"/>
                  </a:cubicBezTo>
                  <a:cubicBezTo>
                    <a:pt x="262" y="15"/>
                    <a:pt x="336" y="4"/>
                    <a:pt x="499" y="32"/>
                  </a:cubicBezTo>
                  <a:cubicBezTo>
                    <a:pt x="662" y="59"/>
                    <a:pt x="840" y="63"/>
                    <a:pt x="1000" y="32"/>
                  </a:cubicBezTo>
                  <a:cubicBezTo>
                    <a:pt x="1160" y="0"/>
                    <a:pt x="1320" y="34"/>
                    <a:pt x="1320" y="34"/>
                  </a:cubicBezTo>
                  <a:cubicBezTo>
                    <a:pt x="1320" y="34"/>
                    <a:pt x="1408" y="47"/>
                    <a:pt x="1479" y="47"/>
                  </a:cubicBezTo>
                </a:path>
              </a:pathLst>
            </a:custGeom>
            <a:noFill/>
            <a:ln w="7938" cap="flat">
              <a:solidFill>
                <a:srgbClr val="9E9B9A"/>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sz="1400"/>
            </a:p>
          </p:txBody>
        </p:sp>
        <p:sp>
          <p:nvSpPr>
            <p:cNvPr id="14" name="Freeform 14"/>
            <p:cNvSpPr/>
            <p:nvPr/>
          </p:nvSpPr>
          <p:spPr bwMode="auto">
            <a:xfrm>
              <a:off x="-7938" y="3009901"/>
              <a:ext cx="12192000" cy="744538"/>
            </a:xfrm>
            <a:custGeom>
              <a:avLst/>
              <a:gdLst>
                <a:gd name="T0" fmla="*/ 0 w 1479"/>
                <a:gd name="T1" fmla="*/ 68 h 88"/>
                <a:gd name="T2" fmla="*/ 168 w 1479"/>
                <a:gd name="T3" fmla="*/ 44 h 88"/>
                <a:gd name="T4" fmla="*/ 499 w 1479"/>
                <a:gd name="T5" fmla="*/ 44 h 88"/>
                <a:gd name="T6" fmla="*/ 1000 w 1479"/>
                <a:gd name="T7" fmla="*/ 44 h 88"/>
                <a:gd name="T8" fmla="*/ 1320 w 1479"/>
                <a:gd name="T9" fmla="*/ 48 h 88"/>
                <a:gd name="T10" fmla="*/ 1479 w 1479"/>
                <a:gd name="T11" fmla="*/ 66 h 88"/>
              </a:gdLst>
              <a:ahLst/>
              <a:cxnLst>
                <a:cxn ang="0">
                  <a:pos x="T0" y="T1"/>
                </a:cxn>
                <a:cxn ang="0">
                  <a:pos x="T2" y="T3"/>
                </a:cxn>
                <a:cxn ang="0">
                  <a:pos x="T4" y="T5"/>
                </a:cxn>
                <a:cxn ang="0">
                  <a:pos x="T6" y="T7"/>
                </a:cxn>
                <a:cxn ang="0">
                  <a:pos x="T8" y="T9"/>
                </a:cxn>
                <a:cxn ang="0">
                  <a:pos x="T10" y="T11"/>
                </a:cxn>
              </a:cxnLst>
              <a:rect l="0" t="0" r="r" b="b"/>
              <a:pathLst>
                <a:path w="1479" h="88">
                  <a:moveTo>
                    <a:pt x="0" y="68"/>
                  </a:moveTo>
                  <a:cubicBezTo>
                    <a:pt x="0" y="68"/>
                    <a:pt x="75" y="68"/>
                    <a:pt x="168" y="44"/>
                  </a:cubicBezTo>
                  <a:cubicBezTo>
                    <a:pt x="262" y="21"/>
                    <a:pt x="336" y="5"/>
                    <a:pt x="499" y="44"/>
                  </a:cubicBezTo>
                  <a:cubicBezTo>
                    <a:pt x="662" y="83"/>
                    <a:pt x="840" y="88"/>
                    <a:pt x="1000" y="44"/>
                  </a:cubicBezTo>
                  <a:cubicBezTo>
                    <a:pt x="1160" y="0"/>
                    <a:pt x="1320" y="48"/>
                    <a:pt x="1320" y="48"/>
                  </a:cubicBezTo>
                  <a:cubicBezTo>
                    <a:pt x="1320" y="48"/>
                    <a:pt x="1408" y="66"/>
                    <a:pt x="1479" y="66"/>
                  </a:cubicBezTo>
                </a:path>
              </a:pathLst>
            </a:custGeom>
            <a:noFill/>
            <a:ln w="7938" cap="flat">
              <a:solidFill>
                <a:srgbClr val="94919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sz="1400"/>
            </a:p>
          </p:txBody>
        </p:sp>
        <p:sp>
          <p:nvSpPr>
            <p:cNvPr id="15" name="Freeform 15"/>
            <p:cNvSpPr/>
            <p:nvPr/>
          </p:nvSpPr>
          <p:spPr bwMode="auto">
            <a:xfrm>
              <a:off x="-7938" y="2900363"/>
              <a:ext cx="12192000" cy="965200"/>
            </a:xfrm>
            <a:custGeom>
              <a:avLst/>
              <a:gdLst>
                <a:gd name="T0" fmla="*/ 0 w 1479"/>
                <a:gd name="T1" fmla="*/ 88 h 114"/>
                <a:gd name="T2" fmla="*/ 168 w 1479"/>
                <a:gd name="T3" fmla="*/ 57 h 114"/>
                <a:gd name="T4" fmla="*/ 499 w 1479"/>
                <a:gd name="T5" fmla="*/ 57 h 114"/>
                <a:gd name="T6" fmla="*/ 1000 w 1479"/>
                <a:gd name="T7" fmla="*/ 57 h 114"/>
                <a:gd name="T8" fmla="*/ 1320 w 1479"/>
                <a:gd name="T9" fmla="*/ 62 h 114"/>
                <a:gd name="T10" fmla="*/ 1479 w 1479"/>
                <a:gd name="T11" fmla="*/ 85 h 114"/>
              </a:gdLst>
              <a:ahLst/>
              <a:cxnLst>
                <a:cxn ang="0">
                  <a:pos x="T0" y="T1"/>
                </a:cxn>
                <a:cxn ang="0">
                  <a:pos x="T2" y="T3"/>
                </a:cxn>
                <a:cxn ang="0">
                  <a:pos x="T4" y="T5"/>
                </a:cxn>
                <a:cxn ang="0">
                  <a:pos x="T6" y="T7"/>
                </a:cxn>
                <a:cxn ang="0">
                  <a:pos x="T8" y="T9"/>
                </a:cxn>
                <a:cxn ang="0">
                  <a:pos x="T10" y="T11"/>
                </a:cxn>
              </a:cxnLst>
              <a:rect l="0" t="0" r="r" b="b"/>
              <a:pathLst>
                <a:path w="1479" h="114">
                  <a:moveTo>
                    <a:pt x="0" y="88"/>
                  </a:moveTo>
                  <a:cubicBezTo>
                    <a:pt x="0" y="88"/>
                    <a:pt x="75" y="88"/>
                    <a:pt x="168" y="57"/>
                  </a:cubicBezTo>
                  <a:cubicBezTo>
                    <a:pt x="262" y="26"/>
                    <a:pt x="336" y="7"/>
                    <a:pt x="499" y="57"/>
                  </a:cubicBezTo>
                  <a:cubicBezTo>
                    <a:pt x="662" y="107"/>
                    <a:pt x="840" y="114"/>
                    <a:pt x="1000" y="57"/>
                  </a:cubicBezTo>
                  <a:cubicBezTo>
                    <a:pt x="1160" y="0"/>
                    <a:pt x="1320" y="62"/>
                    <a:pt x="1320" y="62"/>
                  </a:cubicBezTo>
                  <a:cubicBezTo>
                    <a:pt x="1320" y="62"/>
                    <a:pt x="1408" y="85"/>
                    <a:pt x="1479" y="85"/>
                  </a:cubicBezTo>
                </a:path>
              </a:pathLst>
            </a:custGeom>
            <a:noFill/>
            <a:ln w="7938" cap="flat">
              <a:solidFill>
                <a:srgbClr val="8A8888"/>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sz="1400"/>
            </a:p>
          </p:txBody>
        </p:sp>
      </p:grpSp>
      <p:sp>
        <p:nvSpPr>
          <p:cNvPr id="16" name="Oval 50"/>
          <p:cNvSpPr/>
          <p:nvPr/>
        </p:nvSpPr>
        <p:spPr>
          <a:xfrm>
            <a:off x="1866479" y="1233069"/>
            <a:ext cx="1557023" cy="1557019"/>
          </a:xfrm>
          <a:prstGeom prst="ellipse">
            <a:avLst/>
          </a:prstGeom>
          <a:solidFill>
            <a:srgbClr val="FFFFFF"/>
          </a:solidFill>
          <a:ln w="38100">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dirty="0">
              <a:solidFill>
                <a:schemeClr val="bg1">
                  <a:lumMod val="50000"/>
                </a:schemeClr>
              </a:solidFill>
            </a:endParaRPr>
          </a:p>
        </p:txBody>
      </p:sp>
      <p:sp>
        <p:nvSpPr>
          <p:cNvPr id="17" name="Oval 51"/>
          <p:cNvSpPr/>
          <p:nvPr/>
        </p:nvSpPr>
        <p:spPr>
          <a:xfrm>
            <a:off x="5389615" y="1233069"/>
            <a:ext cx="1557023" cy="1557019"/>
          </a:xfrm>
          <a:prstGeom prst="ellipse">
            <a:avLst/>
          </a:prstGeom>
          <a:solidFill>
            <a:srgbClr val="FFFFFF"/>
          </a:solidFill>
          <a:ln w="38100">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dirty="0">
              <a:solidFill>
                <a:schemeClr val="bg1">
                  <a:lumMod val="50000"/>
                </a:schemeClr>
              </a:solidFill>
            </a:endParaRPr>
          </a:p>
        </p:txBody>
      </p:sp>
      <p:sp>
        <p:nvSpPr>
          <p:cNvPr id="18" name="Oval 57"/>
          <p:cNvSpPr/>
          <p:nvPr/>
        </p:nvSpPr>
        <p:spPr>
          <a:xfrm>
            <a:off x="8791618" y="1233069"/>
            <a:ext cx="1557023" cy="1557019"/>
          </a:xfrm>
          <a:prstGeom prst="ellipse">
            <a:avLst/>
          </a:prstGeom>
          <a:solidFill>
            <a:srgbClr val="FFFFFF"/>
          </a:solidFill>
          <a:ln w="38100">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dirty="0">
              <a:solidFill>
                <a:schemeClr val="bg1">
                  <a:lumMod val="50000"/>
                </a:schemeClr>
              </a:solidFill>
            </a:endParaRPr>
          </a:p>
        </p:txBody>
      </p:sp>
      <p:grpSp>
        <p:nvGrpSpPr>
          <p:cNvPr id="19" name="组合 18"/>
          <p:cNvGrpSpPr/>
          <p:nvPr/>
        </p:nvGrpSpPr>
        <p:grpSpPr>
          <a:xfrm>
            <a:off x="2120860" y="1476389"/>
            <a:ext cx="1069389" cy="1070379"/>
            <a:chOff x="1589335" y="1121723"/>
            <a:chExt cx="802380" cy="803123"/>
          </a:xfrm>
        </p:grpSpPr>
        <p:sp>
          <p:nvSpPr>
            <p:cNvPr id="20" name="AutoShape 28"/>
            <p:cNvSpPr>
              <a:spLocks noChangeAspect="1" noChangeArrowheads="1" noTextEdit="1"/>
            </p:cNvSpPr>
            <p:nvPr/>
          </p:nvSpPr>
          <p:spPr bwMode="auto">
            <a:xfrm>
              <a:off x="1589335" y="1121723"/>
              <a:ext cx="802380" cy="803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400" dirty="0"/>
            </a:p>
          </p:txBody>
        </p:sp>
        <p:sp>
          <p:nvSpPr>
            <p:cNvPr id="21" name="Freeform 30"/>
            <p:cNvSpPr/>
            <p:nvPr/>
          </p:nvSpPr>
          <p:spPr bwMode="auto">
            <a:xfrm>
              <a:off x="1769108" y="1235313"/>
              <a:ext cx="443577" cy="589143"/>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400" dirty="0"/>
            </a:p>
          </p:txBody>
        </p:sp>
        <p:sp>
          <p:nvSpPr>
            <p:cNvPr id="22" name="Freeform 31"/>
            <p:cNvSpPr>
              <a:spLocks noEditPoints="1"/>
            </p:cNvSpPr>
            <p:nvPr/>
          </p:nvSpPr>
          <p:spPr bwMode="auto">
            <a:xfrm>
              <a:off x="1862992" y="1178797"/>
              <a:ext cx="255438" cy="538576"/>
            </a:xfrm>
            <a:custGeom>
              <a:avLst/>
              <a:gdLst>
                <a:gd name="T0" fmla="*/ 44 w 733"/>
                <a:gd name="T1" fmla="*/ 751 h 1545"/>
                <a:gd name="T2" fmla="*/ 0 w 733"/>
                <a:gd name="T3" fmla="*/ 591 h 1545"/>
                <a:gd name="T4" fmla="*/ 161 w 733"/>
                <a:gd name="T5" fmla="*/ 547 h 1545"/>
                <a:gd name="T6" fmla="*/ 205 w 733"/>
                <a:gd name="T7" fmla="*/ 707 h 1545"/>
                <a:gd name="T8" fmla="*/ 44 w 733"/>
                <a:gd name="T9" fmla="*/ 591 h 1545"/>
                <a:gd name="T10" fmla="*/ 161 w 733"/>
                <a:gd name="T11" fmla="*/ 707 h 1545"/>
                <a:gd name="T12" fmla="*/ 44 w 733"/>
                <a:gd name="T13" fmla="*/ 591 h 1545"/>
                <a:gd name="T14" fmla="*/ 711 w 733"/>
                <a:gd name="T15" fmla="*/ 556 h 1545"/>
                <a:gd name="T16" fmla="*/ 286 w 733"/>
                <a:gd name="T17" fmla="*/ 578 h 1545"/>
                <a:gd name="T18" fmla="*/ 711 w 733"/>
                <a:gd name="T19" fmla="*/ 600 h 1545"/>
                <a:gd name="T20" fmla="*/ 733 w 733"/>
                <a:gd name="T21" fmla="*/ 720 h 1545"/>
                <a:gd name="T22" fmla="*/ 308 w 733"/>
                <a:gd name="T23" fmla="*/ 698 h 1545"/>
                <a:gd name="T24" fmla="*/ 308 w 733"/>
                <a:gd name="T25" fmla="*/ 742 h 1545"/>
                <a:gd name="T26" fmla="*/ 733 w 733"/>
                <a:gd name="T27" fmla="*/ 720 h 1545"/>
                <a:gd name="T28" fmla="*/ 44 w 733"/>
                <a:gd name="T29" fmla="*/ 1545 h 1545"/>
                <a:gd name="T30" fmla="*/ 0 w 733"/>
                <a:gd name="T31" fmla="*/ 1384 h 1545"/>
                <a:gd name="T32" fmla="*/ 161 w 733"/>
                <a:gd name="T33" fmla="*/ 1340 h 1545"/>
                <a:gd name="T34" fmla="*/ 205 w 733"/>
                <a:gd name="T35" fmla="*/ 1501 h 1545"/>
                <a:gd name="T36" fmla="*/ 44 w 733"/>
                <a:gd name="T37" fmla="*/ 1384 h 1545"/>
                <a:gd name="T38" fmla="*/ 161 w 733"/>
                <a:gd name="T39" fmla="*/ 1501 h 1545"/>
                <a:gd name="T40" fmla="*/ 44 w 733"/>
                <a:gd name="T41" fmla="*/ 1384 h 1545"/>
                <a:gd name="T42" fmla="*/ 711 w 733"/>
                <a:gd name="T43" fmla="*/ 1350 h 1545"/>
                <a:gd name="T44" fmla="*/ 286 w 733"/>
                <a:gd name="T45" fmla="*/ 1372 h 1545"/>
                <a:gd name="T46" fmla="*/ 711 w 733"/>
                <a:gd name="T47" fmla="*/ 1394 h 1545"/>
                <a:gd name="T48" fmla="*/ 733 w 733"/>
                <a:gd name="T49" fmla="*/ 1513 h 1545"/>
                <a:gd name="T50" fmla="*/ 308 w 733"/>
                <a:gd name="T51" fmla="*/ 1491 h 1545"/>
                <a:gd name="T52" fmla="*/ 308 w 733"/>
                <a:gd name="T53" fmla="*/ 1535 h 1545"/>
                <a:gd name="T54" fmla="*/ 733 w 733"/>
                <a:gd name="T55" fmla="*/ 1513 h 1545"/>
                <a:gd name="T56" fmla="*/ 44 w 733"/>
                <a:gd name="T57" fmla="*/ 1148 h 1545"/>
                <a:gd name="T58" fmla="*/ 0 w 733"/>
                <a:gd name="T59" fmla="*/ 987 h 1545"/>
                <a:gd name="T60" fmla="*/ 161 w 733"/>
                <a:gd name="T61" fmla="*/ 943 h 1545"/>
                <a:gd name="T62" fmla="*/ 205 w 733"/>
                <a:gd name="T63" fmla="*/ 1104 h 1545"/>
                <a:gd name="T64" fmla="*/ 44 w 733"/>
                <a:gd name="T65" fmla="*/ 987 h 1545"/>
                <a:gd name="T66" fmla="*/ 161 w 733"/>
                <a:gd name="T67" fmla="*/ 1104 h 1545"/>
                <a:gd name="T68" fmla="*/ 44 w 733"/>
                <a:gd name="T69" fmla="*/ 987 h 1545"/>
                <a:gd name="T70" fmla="*/ 711 w 733"/>
                <a:gd name="T71" fmla="*/ 953 h 1545"/>
                <a:gd name="T72" fmla="*/ 286 w 733"/>
                <a:gd name="T73" fmla="*/ 975 h 1545"/>
                <a:gd name="T74" fmla="*/ 711 w 733"/>
                <a:gd name="T75" fmla="*/ 997 h 1545"/>
                <a:gd name="T76" fmla="*/ 733 w 733"/>
                <a:gd name="T77" fmla="*/ 1117 h 1545"/>
                <a:gd name="T78" fmla="*/ 308 w 733"/>
                <a:gd name="T79" fmla="*/ 1095 h 1545"/>
                <a:gd name="T80" fmla="*/ 308 w 733"/>
                <a:gd name="T81" fmla="*/ 1139 h 1545"/>
                <a:gd name="T82" fmla="*/ 733 w 733"/>
                <a:gd name="T83" fmla="*/ 1117 h 1545"/>
                <a:gd name="T84" fmla="*/ 493 w 733"/>
                <a:gd name="T85" fmla="*/ 94 h 1545"/>
                <a:gd name="T86" fmla="*/ 241 w 733"/>
                <a:gd name="T87" fmla="*/ 94 h 1545"/>
                <a:gd name="T88" fmla="*/ 161 w 733"/>
                <a:gd name="T89" fmla="*/ 104 h 1545"/>
                <a:gd name="T90" fmla="*/ 183 w 733"/>
                <a:gd name="T91" fmla="*/ 275 h 1545"/>
                <a:gd name="T92" fmla="*/ 573 w 733"/>
                <a:gd name="T93" fmla="*/ 253 h 1545"/>
                <a:gd name="T94" fmla="*/ 563 w 733"/>
                <a:gd name="T95" fmla="*/ 94 h 1545"/>
                <a:gd name="T96" fmla="*/ 446 w 733"/>
                <a:gd name="T97" fmla="*/ 94 h 1545"/>
                <a:gd name="T98" fmla="*/ 367 w 733"/>
                <a:gd name="T99" fmla="*/ 44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3" h="1545">
                  <a:moveTo>
                    <a:pt x="161" y="751"/>
                  </a:moveTo>
                  <a:cubicBezTo>
                    <a:pt x="44" y="751"/>
                    <a:pt x="44" y="751"/>
                    <a:pt x="44" y="751"/>
                  </a:cubicBezTo>
                  <a:cubicBezTo>
                    <a:pt x="20" y="751"/>
                    <a:pt x="0" y="732"/>
                    <a:pt x="0" y="707"/>
                  </a:cubicBezTo>
                  <a:cubicBezTo>
                    <a:pt x="0" y="591"/>
                    <a:pt x="0" y="591"/>
                    <a:pt x="0" y="591"/>
                  </a:cubicBezTo>
                  <a:cubicBezTo>
                    <a:pt x="0" y="567"/>
                    <a:pt x="20" y="547"/>
                    <a:pt x="44" y="547"/>
                  </a:cubicBezTo>
                  <a:cubicBezTo>
                    <a:pt x="161" y="547"/>
                    <a:pt x="161" y="547"/>
                    <a:pt x="161" y="547"/>
                  </a:cubicBezTo>
                  <a:cubicBezTo>
                    <a:pt x="185" y="547"/>
                    <a:pt x="205" y="567"/>
                    <a:pt x="205" y="591"/>
                  </a:cubicBezTo>
                  <a:cubicBezTo>
                    <a:pt x="205" y="707"/>
                    <a:pt x="205" y="707"/>
                    <a:pt x="205" y="707"/>
                  </a:cubicBezTo>
                  <a:cubicBezTo>
                    <a:pt x="205" y="732"/>
                    <a:pt x="185" y="751"/>
                    <a:pt x="161" y="751"/>
                  </a:cubicBezTo>
                  <a:close/>
                  <a:moveTo>
                    <a:pt x="44" y="591"/>
                  </a:moveTo>
                  <a:cubicBezTo>
                    <a:pt x="44" y="707"/>
                    <a:pt x="44" y="707"/>
                    <a:pt x="44" y="707"/>
                  </a:cubicBezTo>
                  <a:cubicBezTo>
                    <a:pt x="161" y="707"/>
                    <a:pt x="161" y="707"/>
                    <a:pt x="161" y="707"/>
                  </a:cubicBezTo>
                  <a:cubicBezTo>
                    <a:pt x="161" y="591"/>
                    <a:pt x="161" y="591"/>
                    <a:pt x="161" y="591"/>
                  </a:cubicBezTo>
                  <a:lnTo>
                    <a:pt x="44" y="591"/>
                  </a:lnTo>
                  <a:close/>
                  <a:moveTo>
                    <a:pt x="733" y="578"/>
                  </a:moveTo>
                  <a:cubicBezTo>
                    <a:pt x="733" y="566"/>
                    <a:pt x="723" y="556"/>
                    <a:pt x="711" y="556"/>
                  </a:cubicBezTo>
                  <a:cubicBezTo>
                    <a:pt x="308" y="556"/>
                    <a:pt x="308" y="556"/>
                    <a:pt x="308" y="556"/>
                  </a:cubicBezTo>
                  <a:cubicBezTo>
                    <a:pt x="296" y="556"/>
                    <a:pt x="286" y="566"/>
                    <a:pt x="286" y="578"/>
                  </a:cubicBezTo>
                  <a:cubicBezTo>
                    <a:pt x="286" y="590"/>
                    <a:pt x="296" y="600"/>
                    <a:pt x="308" y="600"/>
                  </a:cubicBezTo>
                  <a:cubicBezTo>
                    <a:pt x="711" y="600"/>
                    <a:pt x="711" y="600"/>
                    <a:pt x="711" y="600"/>
                  </a:cubicBezTo>
                  <a:cubicBezTo>
                    <a:pt x="723" y="600"/>
                    <a:pt x="733" y="590"/>
                    <a:pt x="733" y="578"/>
                  </a:cubicBezTo>
                  <a:close/>
                  <a:moveTo>
                    <a:pt x="733" y="720"/>
                  </a:moveTo>
                  <a:cubicBezTo>
                    <a:pt x="733" y="708"/>
                    <a:pt x="723" y="698"/>
                    <a:pt x="711" y="698"/>
                  </a:cubicBezTo>
                  <a:cubicBezTo>
                    <a:pt x="308" y="698"/>
                    <a:pt x="308" y="698"/>
                    <a:pt x="308" y="698"/>
                  </a:cubicBezTo>
                  <a:cubicBezTo>
                    <a:pt x="296" y="698"/>
                    <a:pt x="286" y="708"/>
                    <a:pt x="286" y="720"/>
                  </a:cubicBezTo>
                  <a:cubicBezTo>
                    <a:pt x="286" y="732"/>
                    <a:pt x="296" y="742"/>
                    <a:pt x="308" y="742"/>
                  </a:cubicBezTo>
                  <a:cubicBezTo>
                    <a:pt x="711" y="742"/>
                    <a:pt x="711" y="742"/>
                    <a:pt x="711" y="742"/>
                  </a:cubicBezTo>
                  <a:cubicBezTo>
                    <a:pt x="723" y="742"/>
                    <a:pt x="733" y="732"/>
                    <a:pt x="733" y="720"/>
                  </a:cubicBezTo>
                  <a:close/>
                  <a:moveTo>
                    <a:pt x="161" y="1545"/>
                  </a:moveTo>
                  <a:cubicBezTo>
                    <a:pt x="44" y="1545"/>
                    <a:pt x="44" y="1545"/>
                    <a:pt x="44" y="1545"/>
                  </a:cubicBezTo>
                  <a:cubicBezTo>
                    <a:pt x="20" y="1545"/>
                    <a:pt x="0" y="1525"/>
                    <a:pt x="0" y="1501"/>
                  </a:cubicBezTo>
                  <a:cubicBezTo>
                    <a:pt x="0" y="1384"/>
                    <a:pt x="0" y="1384"/>
                    <a:pt x="0" y="1384"/>
                  </a:cubicBezTo>
                  <a:cubicBezTo>
                    <a:pt x="0" y="1360"/>
                    <a:pt x="20" y="1340"/>
                    <a:pt x="44" y="1340"/>
                  </a:cubicBezTo>
                  <a:cubicBezTo>
                    <a:pt x="161" y="1340"/>
                    <a:pt x="161" y="1340"/>
                    <a:pt x="161" y="1340"/>
                  </a:cubicBezTo>
                  <a:cubicBezTo>
                    <a:pt x="185" y="1340"/>
                    <a:pt x="205" y="1360"/>
                    <a:pt x="205" y="1384"/>
                  </a:cubicBezTo>
                  <a:cubicBezTo>
                    <a:pt x="205" y="1501"/>
                    <a:pt x="205" y="1501"/>
                    <a:pt x="205" y="1501"/>
                  </a:cubicBezTo>
                  <a:cubicBezTo>
                    <a:pt x="205" y="1525"/>
                    <a:pt x="185" y="1545"/>
                    <a:pt x="161" y="1545"/>
                  </a:cubicBezTo>
                  <a:close/>
                  <a:moveTo>
                    <a:pt x="44" y="1384"/>
                  </a:moveTo>
                  <a:cubicBezTo>
                    <a:pt x="44" y="1501"/>
                    <a:pt x="44" y="1501"/>
                    <a:pt x="44" y="1501"/>
                  </a:cubicBezTo>
                  <a:cubicBezTo>
                    <a:pt x="161" y="1501"/>
                    <a:pt x="161" y="1501"/>
                    <a:pt x="161" y="1501"/>
                  </a:cubicBezTo>
                  <a:cubicBezTo>
                    <a:pt x="161" y="1384"/>
                    <a:pt x="161" y="1384"/>
                    <a:pt x="161" y="1384"/>
                  </a:cubicBezTo>
                  <a:lnTo>
                    <a:pt x="44" y="1384"/>
                  </a:lnTo>
                  <a:close/>
                  <a:moveTo>
                    <a:pt x="733" y="1372"/>
                  </a:moveTo>
                  <a:cubicBezTo>
                    <a:pt x="733" y="1359"/>
                    <a:pt x="723" y="1350"/>
                    <a:pt x="711" y="1350"/>
                  </a:cubicBezTo>
                  <a:cubicBezTo>
                    <a:pt x="308" y="1350"/>
                    <a:pt x="308" y="1350"/>
                    <a:pt x="308" y="1350"/>
                  </a:cubicBezTo>
                  <a:cubicBezTo>
                    <a:pt x="296" y="1350"/>
                    <a:pt x="286" y="1359"/>
                    <a:pt x="286" y="1372"/>
                  </a:cubicBezTo>
                  <a:cubicBezTo>
                    <a:pt x="286" y="1384"/>
                    <a:pt x="296" y="1394"/>
                    <a:pt x="308" y="1394"/>
                  </a:cubicBezTo>
                  <a:cubicBezTo>
                    <a:pt x="711" y="1394"/>
                    <a:pt x="711" y="1394"/>
                    <a:pt x="711" y="1394"/>
                  </a:cubicBezTo>
                  <a:cubicBezTo>
                    <a:pt x="723" y="1394"/>
                    <a:pt x="733" y="1384"/>
                    <a:pt x="733" y="1372"/>
                  </a:cubicBezTo>
                  <a:close/>
                  <a:moveTo>
                    <a:pt x="733" y="1513"/>
                  </a:moveTo>
                  <a:cubicBezTo>
                    <a:pt x="733" y="1501"/>
                    <a:pt x="723" y="1491"/>
                    <a:pt x="711" y="1491"/>
                  </a:cubicBezTo>
                  <a:cubicBezTo>
                    <a:pt x="308" y="1491"/>
                    <a:pt x="308" y="1491"/>
                    <a:pt x="308" y="1491"/>
                  </a:cubicBezTo>
                  <a:cubicBezTo>
                    <a:pt x="296" y="1491"/>
                    <a:pt x="286" y="1501"/>
                    <a:pt x="286" y="1513"/>
                  </a:cubicBezTo>
                  <a:cubicBezTo>
                    <a:pt x="286" y="1525"/>
                    <a:pt x="296" y="1535"/>
                    <a:pt x="308" y="1535"/>
                  </a:cubicBezTo>
                  <a:cubicBezTo>
                    <a:pt x="711" y="1535"/>
                    <a:pt x="711" y="1535"/>
                    <a:pt x="711" y="1535"/>
                  </a:cubicBezTo>
                  <a:cubicBezTo>
                    <a:pt x="723" y="1535"/>
                    <a:pt x="733" y="1525"/>
                    <a:pt x="733" y="1513"/>
                  </a:cubicBezTo>
                  <a:close/>
                  <a:moveTo>
                    <a:pt x="161" y="1148"/>
                  </a:moveTo>
                  <a:cubicBezTo>
                    <a:pt x="44" y="1148"/>
                    <a:pt x="44" y="1148"/>
                    <a:pt x="44" y="1148"/>
                  </a:cubicBezTo>
                  <a:cubicBezTo>
                    <a:pt x="20" y="1148"/>
                    <a:pt x="0" y="1128"/>
                    <a:pt x="0" y="1104"/>
                  </a:cubicBezTo>
                  <a:cubicBezTo>
                    <a:pt x="0" y="987"/>
                    <a:pt x="0" y="987"/>
                    <a:pt x="0" y="987"/>
                  </a:cubicBezTo>
                  <a:cubicBezTo>
                    <a:pt x="0" y="963"/>
                    <a:pt x="20" y="943"/>
                    <a:pt x="44" y="943"/>
                  </a:cubicBezTo>
                  <a:cubicBezTo>
                    <a:pt x="161" y="943"/>
                    <a:pt x="161" y="943"/>
                    <a:pt x="161" y="943"/>
                  </a:cubicBezTo>
                  <a:cubicBezTo>
                    <a:pt x="185" y="943"/>
                    <a:pt x="205" y="963"/>
                    <a:pt x="205" y="987"/>
                  </a:cubicBezTo>
                  <a:cubicBezTo>
                    <a:pt x="205" y="1104"/>
                    <a:pt x="205" y="1104"/>
                    <a:pt x="205" y="1104"/>
                  </a:cubicBezTo>
                  <a:cubicBezTo>
                    <a:pt x="205" y="1128"/>
                    <a:pt x="185" y="1148"/>
                    <a:pt x="161" y="1148"/>
                  </a:cubicBezTo>
                  <a:close/>
                  <a:moveTo>
                    <a:pt x="44" y="987"/>
                  </a:moveTo>
                  <a:cubicBezTo>
                    <a:pt x="44" y="1104"/>
                    <a:pt x="44" y="1104"/>
                    <a:pt x="44" y="1104"/>
                  </a:cubicBezTo>
                  <a:cubicBezTo>
                    <a:pt x="161" y="1104"/>
                    <a:pt x="161" y="1104"/>
                    <a:pt x="161" y="1104"/>
                  </a:cubicBezTo>
                  <a:cubicBezTo>
                    <a:pt x="161" y="987"/>
                    <a:pt x="161" y="987"/>
                    <a:pt x="161" y="987"/>
                  </a:cubicBezTo>
                  <a:lnTo>
                    <a:pt x="44" y="987"/>
                  </a:lnTo>
                  <a:close/>
                  <a:moveTo>
                    <a:pt x="733" y="975"/>
                  </a:moveTo>
                  <a:cubicBezTo>
                    <a:pt x="733" y="963"/>
                    <a:pt x="723" y="953"/>
                    <a:pt x="711" y="953"/>
                  </a:cubicBezTo>
                  <a:cubicBezTo>
                    <a:pt x="308" y="953"/>
                    <a:pt x="308" y="953"/>
                    <a:pt x="308" y="953"/>
                  </a:cubicBezTo>
                  <a:cubicBezTo>
                    <a:pt x="296" y="953"/>
                    <a:pt x="286" y="963"/>
                    <a:pt x="286" y="975"/>
                  </a:cubicBezTo>
                  <a:cubicBezTo>
                    <a:pt x="286" y="987"/>
                    <a:pt x="296" y="997"/>
                    <a:pt x="308" y="997"/>
                  </a:cubicBezTo>
                  <a:cubicBezTo>
                    <a:pt x="711" y="997"/>
                    <a:pt x="711" y="997"/>
                    <a:pt x="711" y="997"/>
                  </a:cubicBezTo>
                  <a:cubicBezTo>
                    <a:pt x="723" y="997"/>
                    <a:pt x="733" y="987"/>
                    <a:pt x="733" y="975"/>
                  </a:cubicBezTo>
                  <a:close/>
                  <a:moveTo>
                    <a:pt x="733" y="1117"/>
                  </a:moveTo>
                  <a:cubicBezTo>
                    <a:pt x="733" y="1104"/>
                    <a:pt x="723" y="1095"/>
                    <a:pt x="711" y="1095"/>
                  </a:cubicBezTo>
                  <a:cubicBezTo>
                    <a:pt x="308" y="1095"/>
                    <a:pt x="308" y="1095"/>
                    <a:pt x="308" y="1095"/>
                  </a:cubicBezTo>
                  <a:cubicBezTo>
                    <a:pt x="296" y="1095"/>
                    <a:pt x="286" y="1104"/>
                    <a:pt x="286" y="1117"/>
                  </a:cubicBezTo>
                  <a:cubicBezTo>
                    <a:pt x="286" y="1129"/>
                    <a:pt x="296" y="1139"/>
                    <a:pt x="308" y="1139"/>
                  </a:cubicBezTo>
                  <a:cubicBezTo>
                    <a:pt x="711" y="1139"/>
                    <a:pt x="711" y="1139"/>
                    <a:pt x="711" y="1139"/>
                  </a:cubicBezTo>
                  <a:cubicBezTo>
                    <a:pt x="723" y="1139"/>
                    <a:pt x="733" y="1129"/>
                    <a:pt x="733" y="1117"/>
                  </a:cubicBezTo>
                  <a:close/>
                  <a:moveTo>
                    <a:pt x="563" y="94"/>
                  </a:moveTo>
                  <a:cubicBezTo>
                    <a:pt x="493" y="94"/>
                    <a:pt x="493" y="94"/>
                    <a:pt x="493" y="94"/>
                  </a:cubicBezTo>
                  <a:cubicBezTo>
                    <a:pt x="477" y="39"/>
                    <a:pt x="426" y="0"/>
                    <a:pt x="367" y="0"/>
                  </a:cubicBezTo>
                  <a:cubicBezTo>
                    <a:pt x="308" y="0"/>
                    <a:pt x="257" y="39"/>
                    <a:pt x="241" y="94"/>
                  </a:cubicBezTo>
                  <a:cubicBezTo>
                    <a:pt x="171" y="94"/>
                    <a:pt x="171" y="94"/>
                    <a:pt x="171" y="94"/>
                  </a:cubicBezTo>
                  <a:cubicBezTo>
                    <a:pt x="165" y="94"/>
                    <a:pt x="161" y="98"/>
                    <a:pt x="161" y="104"/>
                  </a:cubicBezTo>
                  <a:cubicBezTo>
                    <a:pt x="161" y="253"/>
                    <a:pt x="161" y="253"/>
                    <a:pt x="161" y="253"/>
                  </a:cubicBezTo>
                  <a:cubicBezTo>
                    <a:pt x="161" y="265"/>
                    <a:pt x="171" y="275"/>
                    <a:pt x="183" y="275"/>
                  </a:cubicBezTo>
                  <a:cubicBezTo>
                    <a:pt x="551" y="275"/>
                    <a:pt x="551" y="275"/>
                    <a:pt x="551" y="275"/>
                  </a:cubicBezTo>
                  <a:cubicBezTo>
                    <a:pt x="563" y="275"/>
                    <a:pt x="573" y="265"/>
                    <a:pt x="573" y="253"/>
                  </a:cubicBezTo>
                  <a:cubicBezTo>
                    <a:pt x="573" y="104"/>
                    <a:pt x="573" y="104"/>
                    <a:pt x="573" y="104"/>
                  </a:cubicBezTo>
                  <a:cubicBezTo>
                    <a:pt x="573" y="98"/>
                    <a:pt x="569" y="94"/>
                    <a:pt x="563" y="94"/>
                  </a:cubicBezTo>
                  <a:close/>
                  <a:moveTo>
                    <a:pt x="367" y="44"/>
                  </a:moveTo>
                  <a:cubicBezTo>
                    <a:pt x="402" y="44"/>
                    <a:pt x="432" y="64"/>
                    <a:pt x="446" y="94"/>
                  </a:cubicBezTo>
                  <a:cubicBezTo>
                    <a:pt x="288" y="94"/>
                    <a:pt x="288" y="94"/>
                    <a:pt x="288" y="94"/>
                  </a:cubicBezTo>
                  <a:cubicBezTo>
                    <a:pt x="302" y="64"/>
                    <a:pt x="332" y="44"/>
                    <a:pt x="367" y="44"/>
                  </a:cubicBezTo>
                  <a:close/>
                </a:path>
              </a:pathLst>
            </a:custGeom>
            <a:solidFill>
              <a:schemeClr val="bg1">
                <a:lumMod val="50000"/>
              </a:schemeClr>
            </a:solidFill>
            <a:ln>
              <a:noFill/>
            </a:ln>
          </p:spPr>
          <p:txBody>
            <a:bodyPr vert="horz" wrap="square" lIns="91440" tIns="45720" rIns="91440" bIns="45720" numCol="1" anchor="t" anchorCtr="0" compatLnSpc="1"/>
            <a:lstStyle/>
            <a:p>
              <a:endParaRPr lang="en-US" sz="1400" dirty="0"/>
            </a:p>
          </p:txBody>
        </p:sp>
      </p:grpSp>
      <p:grpSp>
        <p:nvGrpSpPr>
          <p:cNvPr id="23" name="组合 22"/>
          <p:cNvGrpSpPr/>
          <p:nvPr/>
        </p:nvGrpSpPr>
        <p:grpSpPr>
          <a:xfrm>
            <a:off x="5633434" y="1476389"/>
            <a:ext cx="1069389" cy="1070379"/>
            <a:chOff x="4224877" y="1121723"/>
            <a:chExt cx="802380" cy="803123"/>
          </a:xfrm>
        </p:grpSpPr>
        <p:sp>
          <p:nvSpPr>
            <p:cNvPr id="24" name="AutoShape 38"/>
            <p:cNvSpPr>
              <a:spLocks noChangeAspect="1" noChangeArrowheads="1" noTextEdit="1"/>
            </p:cNvSpPr>
            <p:nvPr/>
          </p:nvSpPr>
          <p:spPr bwMode="auto">
            <a:xfrm>
              <a:off x="4224877" y="1121723"/>
              <a:ext cx="802380" cy="803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400" dirty="0"/>
            </a:p>
          </p:txBody>
        </p:sp>
        <p:sp>
          <p:nvSpPr>
            <p:cNvPr id="25" name="Freeform 40"/>
            <p:cNvSpPr>
              <a:spLocks noEditPoints="1"/>
            </p:cNvSpPr>
            <p:nvPr/>
          </p:nvSpPr>
          <p:spPr bwMode="auto">
            <a:xfrm>
              <a:off x="4296638" y="1258365"/>
              <a:ext cx="658859" cy="467373"/>
            </a:xfrm>
            <a:custGeom>
              <a:avLst/>
              <a:gdLst>
                <a:gd name="T0" fmla="*/ 1891 w 1892"/>
                <a:gd name="T1" fmla="*/ 773 h 1341"/>
                <a:gd name="T2" fmla="*/ 1625 w 1892"/>
                <a:gd name="T3" fmla="*/ 26 h 1341"/>
                <a:gd name="T4" fmla="*/ 1625 w 1892"/>
                <a:gd name="T5" fmla="*/ 18 h 1341"/>
                <a:gd name="T6" fmla="*/ 1602 w 1892"/>
                <a:gd name="T7" fmla="*/ 1 h 1341"/>
                <a:gd name="T8" fmla="*/ 1601 w 1892"/>
                <a:gd name="T9" fmla="*/ 1 h 1341"/>
                <a:gd name="T10" fmla="*/ 1601 w 1892"/>
                <a:gd name="T11" fmla="*/ 1 h 1341"/>
                <a:gd name="T12" fmla="*/ 1595 w 1892"/>
                <a:gd name="T13" fmla="*/ 1 h 1341"/>
                <a:gd name="T14" fmla="*/ 1056 w 1892"/>
                <a:gd name="T15" fmla="*/ 59 h 1341"/>
                <a:gd name="T16" fmla="*/ 1080 w 1892"/>
                <a:gd name="T17" fmla="*/ 101 h 1341"/>
                <a:gd name="T18" fmla="*/ 1370 w 1892"/>
                <a:gd name="T19" fmla="*/ 70 h 1341"/>
                <a:gd name="T20" fmla="*/ 1088 w 1892"/>
                <a:gd name="T21" fmla="*/ 154 h 1341"/>
                <a:gd name="T22" fmla="*/ 1077 w 1892"/>
                <a:gd name="T23" fmla="*/ 204 h 1341"/>
                <a:gd name="T24" fmla="*/ 1565 w 1892"/>
                <a:gd name="T25" fmla="*/ 57 h 1341"/>
                <a:gd name="T26" fmla="*/ 1316 w 1892"/>
                <a:gd name="T27" fmla="*/ 773 h 1341"/>
                <a:gd name="T28" fmla="*/ 1315 w 1892"/>
                <a:gd name="T29" fmla="*/ 780 h 1341"/>
                <a:gd name="T30" fmla="*/ 1603 w 1892"/>
                <a:gd name="T31" fmla="*/ 1079 h 1341"/>
                <a:gd name="T32" fmla="*/ 1892 w 1892"/>
                <a:gd name="T33" fmla="*/ 780 h 1341"/>
                <a:gd name="T34" fmla="*/ 1891 w 1892"/>
                <a:gd name="T35" fmla="*/ 773 h 1341"/>
                <a:gd name="T36" fmla="*/ 1603 w 1892"/>
                <a:gd name="T37" fmla="*/ 1035 h 1341"/>
                <a:gd name="T38" fmla="*/ 1359 w 1892"/>
                <a:gd name="T39" fmla="*/ 784 h 1341"/>
                <a:gd name="T40" fmla="*/ 1601 w 1892"/>
                <a:gd name="T41" fmla="*/ 89 h 1341"/>
                <a:gd name="T42" fmla="*/ 1848 w 1892"/>
                <a:gd name="T43" fmla="*/ 784 h 1341"/>
                <a:gd name="T44" fmla="*/ 1603 w 1892"/>
                <a:gd name="T45" fmla="*/ 1035 h 1341"/>
                <a:gd name="T46" fmla="*/ 316 w 1892"/>
                <a:gd name="T47" fmla="*/ 303 h 1341"/>
                <a:gd name="T48" fmla="*/ 847 w 1892"/>
                <a:gd name="T49" fmla="*/ 250 h 1341"/>
                <a:gd name="T50" fmla="*/ 817 w 1892"/>
                <a:gd name="T51" fmla="*/ 209 h 1341"/>
                <a:gd name="T52" fmla="*/ 558 w 1892"/>
                <a:gd name="T53" fmla="*/ 235 h 1341"/>
                <a:gd name="T54" fmla="*/ 805 w 1892"/>
                <a:gd name="T55" fmla="*/ 169 h 1341"/>
                <a:gd name="T56" fmla="*/ 804 w 1892"/>
                <a:gd name="T57" fmla="*/ 149 h 1341"/>
                <a:gd name="T58" fmla="*/ 807 w 1892"/>
                <a:gd name="T59" fmla="*/ 123 h 1341"/>
                <a:gd name="T60" fmla="*/ 286 w 1892"/>
                <a:gd name="T61" fmla="*/ 262 h 1341"/>
                <a:gd name="T62" fmla="*/ 265 w 1892"/>
                <a:gd name="T63" fmla="*/ 277 h 1341"/>
                <a:gd name="T64" fmla="*/ 1 w 1892"/>
                <a:gd name="T65" fmla="*/ 1034 h 1341"/>
                <a:gd name="T66" fmla="*/ 0 w 1892"/>
                <a:gd name="T67" fmla="*/ 1041 h 1341"/>
                <a:gd name="T68" fmla="*/ 289 w 1892"/>
                <a:gd name="T69" fmla="*/ 1341 h 1341"/>
                <a:gd name="T70" fmla="*/ 577 w 1892"/>
                <a:gd name="T71" fmla="*/ 1041 h 1341"/>
                <a:gd name="T72" fmla="*/ 576 w 1892"/>
                <a:gd name="T73" fmla="*/ 1034 h 1341"/>
                <a:gd name="T74" fmla="*/ 316 w 1892"/>
                <a:gd name="T75" fmla="*/ 303 h 1341"/>
                <a:gd name="T76" fmla="*/ 289 w 1892"/>
                <a:gd name="T77" fmla="*/ 1297 h 1341"/>
                <a:gd name="T78" fmla="*/ 44 w 1892"/>
                <a:gd name="T79" fmla="*/ 1045 h 1341"/>
                <a:gd name="T80" fmla="*/ 286 w 1892"/>
                <a:gd name="T81" fmla="*/ 350 h 1341"/>
                <a:gd name="T82" fmla="*/ 533 w 1892"/>
                <a:gd name="T83" fmla="*/ 1045 h 1341"/>
                <a:gd name="T84" fmla="*/ 289 w 1892"/>
                <a:gd name="T85" fmla="*/ 1297 h 1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92" h="1341">
                  <a:moveTo>
                    <a:pt x="1891" y="773"/>
                  </a:moveTo>
                  <a:cubicBezTo>
                    <a:pt x="1625" y="26"/>
                    <a:pt x="1625" y="26"/>
                    <a:pt x="1625" y="26"/>
                  </a:cubicBezTo>
                  <a:cubicBezTo>
                    <a:pt x="1625" y="23"/>
                    <a:pt x="1625" y="21"/>
                    <a:pt x="1625" y="18"/>
                  </a:cubicBezTo>
                  <a:cubicBezTo>
                    <a:pt x="1623" y="8"/>
                    <a:pt x="1613" y="0"/>
                    <a:pt x="1602" y="1"/>
                  </a:cubicBezTo>
                  <a:cubicBezTo>
                    <a:pt x="1602" y="1"/>
                    <a:pt x="1601" y="1"/>
                    <a:pt x="1601" y="1"/>
                  </a:cubicBezTo>
                  <a:cubicBezTo>
                    <a:pt x="1601" y="1"/>
                    <a:pt x="1601" y="1"/>
                    <a:pt x="1601" y="1"/>
                  </a:cubicBezTo>
                  <a:cubicBezTo>
                    <a:pt x="1599" y="1"/>
                    <a:pt x="1597" y="1"/>
                    <a:pt x="1595" y="1"/>
                  </a:cubicBezTo>
                  <a:cubicBezTo>
                    <a:pt x="1056" y="59"/>
                    <a:pt x="1056" y="59"/>
                    <a:pt x="1056" y="59"/>
                  </a:cubicBezTo>
                  <a:cubicBezTo>
                    <a:pt x="1066" y="72"/>
                    <a:pt x="1074" y="86"/>
                    <a:pt x="1080" y="101"/>
                  </a:cubicBezTo>
                  <a:cubicBezTo>
                    <a:pt x="1370" y="70"/>
                    <a:pt x="1370" y="70"/>
                    <a:pt x="1370" y="70"/>
                  </a:cubicBezTo>
                  <a:cubicBezTo>
                    <a:pt x="1088" y="154"/>
                    <a:pt x="1088" y="154"/>
                    <a:pt x="1088" y="154"/>
                  </a:cubicBezTo>
                  <a:cubicBezTo>
                    <a:pt x="1087" y="172"/>
                    <a:pt x="1083" y="188"/>
                    <a:pt x="1077" y="204"/>
                  </a:cubicBezTo>
                  <a:cubicBezTo>
                    <a:pt x="1565" y="57"/>
                    <a:pt x="1565" y="57"/>
                    <a:pt x="1565" y="57"/>
                  </a:cubicBezTo>
                  <a:cubicBezTo>
                    <a:pt x="1316" y="773"/>
                    <a:pt x="1316" y="773"/>
                    <a:pt x="1316" y="773"/>
                  </a:cubicBezTo>
                  <a:cubicBezTo>
                    <a:pt x="1315" y="775"/>
                    <a:pt x="1315" y="778"/>
                    <a:pt x="1315" y="780"/>
                  </a:cubicBezTo>
                  <a:cubicBezTo>
                    <a:pt x="1315" y="945"/>
                    <a:pt x="1444" y="1079"/>
                    <a:pt x="1603" y="1079"/>
                  </a:cubicBezTo>
                  <a:cubicBezTo>
                    <a:pt x="1763" y="1079"/>
                    <a:pt x="1892" y="945"/>
                    <a:pt x="1892" y="780"/>
                  </a:cubicBezTo>
                  <a:cubicBezTo>
                    <a:pt x="1892" y="777"/>
                    <a:pt x="1892" y="775"/>
                    <a:pt x="1891" y="773"/>
                  </a:cubicBezTo>
                  <a:close/>
                  <a:moveTo>
                    <a:pt x="1603" y="1035"/>
                  </a:moveTo>
                  <a:cubicBezTo>
                    <a:pt x="1470" y="1035"/>
                    <a:pt x="1361" y="923"/>
                    <a:pt x="1359" y="784"/>
                  </a:cubicBezTo>
                  <a:cubicBezTo>
                    <a:pt x="1601" y="89"/>
                    <a:pt x="1601" y="89"/>
                    <a:pt x="1601" y="89"/>
                  </a:cubicBezTo>
                  <a:cubicBezTo>
                    <a:pt x="1848" y="784"/>
                    <a:pt x="1848" y="784"/>
                    <a:pt x="1848" y="784"/>
                  </a:cubicBezTo>
                  <a:cubicBezTo>
                    <a:pt x="1846" y="923"/>
                    <a:pt x="1737" y="1035"/>
                    <a:pt x="1603" y="1035"/>
                  </a:cubicBezTo>
                  <a:close/>
                  <a:moveTo>
                    <a:pt x="316" y="303"/>
                  </a:moveTo>
                  <a:cubicBezTo>
                    <a:pt x="847" y="250"/>
                    <a:pt x="847" y="250"/>
                    <a:pt x="847" y="250"/>
                  </a:cubicBezTo>
                  <a:cubicBezTo>
                    <a:pt x="834" y="238"/>
                    <a:pt x="825" y="224"/>
                    <a:pt x="817" y="209"/>
                  </a:cubicBezTo>
                  <a:cubicBezTo>
                    <a:pt x="558" y="235"/>
                    <a:pt x="558" y="235"/>
                    <a:pt x="558" y="235"/>
                  </a:cubicBezTo>
                  <a:cubicBezTo>
                    <a:pt x="805" y="169"/>
                    <a:pt x="805" y="169"/>
                    <a:pt x="805" y="169"/>
                  </a:cubicBezTo>
                  <a:cubicBezTo>
                    <a:pt x="805" y="162"/>
                    <a:pt x="804" y="156"/>
                    <a:pt x="804" y="149"/>
                  </a:cubicBezTo>
                  <a:cubicBezTo>
                    <a:pt x="804" y="140"/>
                    <a:pt x="805" y="131"/>
                    <a:pt x="807" y="123"/>
                  </a:cubicBezTo>
                  <a:cubicBezTo>
                    <a:pt x="286" y="262"/>
                    <a:pt x="286" y="262"/>
                    <a:pt x="286" y="262"/>
                  </a:cubicBezTo>
                  <a:cubicBezTo>
                    <a:pt x="276" y="262"/>
                    <a:pt x="268" y="268"/>
                    <a:pt x="265" y="277"/>
                  </a:cubicBezTo>
                  <a:cubicBezTo>
                    <a:pt x="1" y="1034"/>
                    <a:pt x="1" y="1034"/>
                    <a:pt x="1" y="1034"/>
                  </a:cubicBezTo>
                  <a:cubicBezTo>
                    <a:pt x="0" y="1036"/>
                    <a:pt x="0" y="1039"/>
                    <a:pt x="0" y="1041"/>
                  </a:cubicBezTo>
                  <a:cubicBezTo>
                    <a:pt x="0" y="1206"/>
                    <a:pt x="129" y="1341"/>
                    <a:pt x="289" y="1341"/>
                  </a:cubicBezTo>
                  <a:cubicBezTo>
                    <a:pt x="448" y="1341"/>
                    <a:pt x="577" y="1206"/>
                    <a:pt x="577" y="1041"/>
                  </a:cubicBezTo>
                  <a:cubicBezTo>
                    <a:pt x="577" y="1039"/>
                    <a:pt x="577" y="1036"/>
                    <a:pt x="576" y="1034"/>
                  </a:cubicBezTo>
                  <a:lnTo>
                    <a:pt x="316" y="303"/>
                  </a:lnTo>
                  <a:close/>
                  <a:moveTo>
                    <a:pt x="289" y="1297"/>
                  </a:moveTo>
                  <a:cubicBezTo>
                    <a:pt x="155" y="1297"/>
                    <a:pt x="46" y="1184"/>
                    <a:pt x="44" y="1045"/>
                  </a:cubicBezTo>
                  <a:cubicBezTo>
                    <a:pt x="286" y="350"/>
                    <a:pt x="286" y="350"/>
                    <a:pt x="286" y="350"/>
                  </a:cubicBezTo>
                  <a:cubicBezTo>
                    <a:pt x="533" y="1045"/>
                    <a:pt x="533" y="1045"/>
                    <a:pt x="533" y="1045"/>
                  </a:cubicBezTo>
                  <a:cubicBezTo>
                    <a:pt x="531" y="1184"/>
                    <a:pt x="422" y="1297"/>
                    <a:pt x="289" y="1297"/>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400" dirty="0"/>
            </a:p>
          </p:txBody>
        </p:sp>
        <p:sp>
          <p:nvSpPr>
            <p:cNvPr id="26" name="Freeform 41"/>
            <p:cNvSpPr>
              <a:spLocks noEditPoints="1"/>
            </p:cNvSpPr>
            <p:nvPr/>
          </p:nvSpPr>
          <p:spPr bwMode="auto">
            <a:xfrm>
              <a:off x="4323037" y="1276213"/>
              <a:ext cx="606061" cy="514408"/>
            </a:xfrm>
            <a:custGeom>
              <a:avLst/>
              <a:gdLst>
                <a:gd name="T0" fmla="*/ 1527 w 1740"/>
                <a:gd name="T1" fmla="*/ 952 h 1476"/>
                <a:gd name="T2" fmla="*/ 1315 w 1740"/>
                <a:gd name="T3" fmla="*/ 749 h 1476"/>
                <a:gd name="T4" fmla="*/ 1325 w 1740"/>
                <a:gd name="T5" fmla="*/ 738 h 1476"/>
                <a:gd name="T6" fmla="*/ 1729 w 1740"/>
                <a:gd name="T7" fmla="*/ 738 h 1476"/>
                <a:gd name="T8" fmla="*/ 1739 w 1740"/>
                <a:gd name="T9" fmla="*/ 749 h 1476"/>
                <a:gd name="T10" fmla="*/ 1527 w 1740"/>
                <a:gd name="T11" fmla="*/ 952 h 1476"/>
                <a:gd name="T12" fmla="*/ 425 w 1740"/>
                <a:gd name="T13" fmla="*/ 1010 h 1476"/>
                <a:gd name="T14" fmla="*/ 415 w 1740"/>
                <a:gd name="T15" fmla="*/ 999 h 1476"/>
                <a:gd name="T16" fmla="*/ 11 w 1740"/>
                <a:gd name="T17" fmla="*/ 999 h 1476"/>
                <a:gd name="T18" fmla="*/ 1 w 1740"/>
                <a:gd name="T19" fmla="*/ 1010 h 1476"/>
                <a:gd name="T20" fmla="*/ 213 w 1740"/>
                <a:gd name="T21" fmla="*/ 1214 h 1476"/>
                <a:gd name="T22" fmla="*/ 425 w 1740"/>
                <a:gd name="T23" fmla="*/ 1010 h 1476"/>
                <a:gd name="T24" fmla="*/ 921 w 1740"/>
                <a:gd name="T25" fmla="*/ 1344 h 1476"/>
                <a:gd name="T26" fmla="*/ 921 w 1740"/>
                <a:gd name="T27" fmla="*/ 182 h 1476"/>
                <a:gd name="T28" fmla="*/ 968 w 1740"/>
                <a:gd name="T29" fmla="*/ 98 h 1476"/>
                <a:gd name="T30" fmla="*/ 870 w 1740"/>
                <a:gd name="T31" fmla="*/ 0 h 1476"/>
                <a:gd name="T32" fmla="*/ 772 w 1740"/>
                <a:gd name="T33" fmla="*/ 98 h 1476"/>
                <a:gd name="T34" fmla="*/ 816 w 1740"/>
                <a:gd name="T35" fmla="*/ 179 h 1476"/>
                <a:gd name="T36" fmla="*/ 816 w 1740"/>
                <a:gd name="T37" fmla="*/ 1344 h 1476"/>
                <a:gd name="T38" fmla="*/ 403 w 1740"/>
                <a:gd name="T39" fmla="*/ 1476 h 1476"/>
                <a:gd name="T40" fmla="*/ 816 w 1740"/>
                <a:gd name="T41" fmla="*/ 1476 h 1476"/>
                <a:gd name="T42" fmla="*/ 921 w 1740"/>
                <a:gd name="T43" fmla="*/ 1476 h 1476"/>
                <a:gd name="T44" fmla="*/ 1337 w 1740"/>
                <a:gd name="T45" fmla="*/ 1476 h 1476"/>
                <a:gd name="T46" fmla="*/ 921 w 1740"/>
                <a:gd name="T47" fmla="*/ 134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40" h="1476">
                  <a:moveTo>
                    <a:pt x="1527" y="952"/>
                  </a:moveTo>
                  <a:cubicBezTo>
                    <a:pt x="1416" y="952"/>
                    <a:pt x="1325" y="863"/>
                    <a:pt x="1315" y="749"/>
                  </a:cubicBezTo>
                  <a:cubicBezTo>
                    <a:pt x="1315" y="743"/>
                    <a:pt x="1320" y="738"/>
                    <a:pt x="1325" y="738"/>
                  </a:cubicBezTo>
                  <a:cubicBezTo>
                    <a:pt x="1729" y="738"/>
                    <a:pt x="1729" y="738"/>
                    <a:pt x="1729" y="738"/>
                  </a:cubicBezTo>
                  <a:cubicBezTo>
                    <a:pt x="1735" y="738"/>
                    <a:pt x="1740" y="743"/>
                    <a:pt x="1739" y="749"/>
                  </a:cubicBezTo>
                  <a:cubicBezTo>
                    <a:pt x="1730" y="863"/>
                    <a:pt x="1638" y="952"/>
                    <a:pt x="1527" y="952"/>
                  </a:cubicBezTo>
                  <a:close/>
                  <a:moveTo>
                    <a:pt x="425" y="1010"/>
                  </a:moveTo>
                  <a:cubicBezTo>
                    <a:pt x="425" y="1004"/>
                    <a:pt x="420" y="999"/>
                    <a:pt x="415" y="999"/>
                  </a:cubicBezTo>
                  <a:cubicBezTo>
                    <a:pt x="11" y="999"/>
                    <a:pt x="11" y="999"/>
                    <a:pt x="11" y="999"/>
                  </a:cubicBezTo>
                  <a:cubicBezTo>
                    <a:pt x="5" y="999"/>
                    <a:pt x="0" y="1004"/>
                    <a:pt x="1" y="1010"/>
                  </a:cubicBezTo>
                  <a:cubicBezTo>
                    <a:pt x="10" y="1124"/>
                    <a:pt x="102" y="1214"/>
                    <a:pt x="213" y="1214"/>
                  </a:cubicBezTo>
                  <a:cubicBezTo>
                    <a:pt x="324" y="1214"/>
                    <a:pt x="415" y="1124"/>
                    <a:pt x="425" y="1010"/>
                  </a:cubicBezTo>
                  <a:close/>
                  <a:moveTo>
                    <a:pt x="921" y="1344"/>
                  </a:moveTo>
                  <a:cubicBezTo>
                    <a:pt x="921" y="1310"/>
                    <a:pt x="921" y="351"/>
                    <a:pt x="921" y="182"/>
                  </a:cubicBezTo>
                  <a:cubicBezTo>
                    <a:pt x="949" y="164"/>
                    <a:pt x="968" y="133"/>
                    <a:pt x="968" y="98"/>
                  </a:cubicBezTo>
                  <a:cubicBezTo>
                    <a:pt x="968" y="44"/>
                    <a:pt x="924" y="0"/>
                    <a:pt x="870" y="0"/>
                  </a:cubicBezTo>
                  <a:cubicBezTo>
                    <a:pt x="816" y="0"/>
                    <a:pt x="772" y="44"/>
                    <a:pt x="772" y="98"/>
                  </a:cubicBezTo>
                  <a:cubicBezTo>
                    <a:pt x="772" y="132"/>
                    <a:pt x="789" y="162"/>
                    <a:pt x="816" y="179"/>
                  </a:cubicBezTo>
                  <a:cubicBezTo>
                    <a:pt x="816" y="335"/>
                    <a:pt x="816" y="1300"/>
                    <a:pt x="816" y="1344"/>
                  </a:cubicBezTo>
                  <a:cubicBezTo>
                    <a:pt x="816" y="1389"/>
                    <a:pt x="403" y="1372"/>
                    <a:pt x="403" y="1476"/>
                  </a:cubicBezTo>
                  <a:cubicBezTo>
                    <a:pt x="816" y="1476"/>
                    <a:pt x="816" y="1476"/>
                    <a:pt x="816" y="1476"/>
                  </a:cubicBezTo>
                  <a:cubicBezTo>
                    <a:pt x="921" y="1476"/>
                    <a:pt x="921" y="1476"/>
                    <a:pt x="921" y="1476"/>
                  </a:cubicBezTo>
                  <a:cubicBezTo>
                    <a:pt x="1337" y="1476"/>
                    <a:pt x="1337" y="1476"/>
                    <a:pt x="1337" y="1476"/>
                  </a:cubicBezTo>
                  <a:cubicBezTo>
                    <a:pt x="1337" y="1370"/>
                    <a:pt x="921" y="1382"/>
                    <a:pt x="921" y="1344"/>
                  </a:cubicBezTo>
                  <a:close/>
                </a:path>
              </a:pathLst>
            </a:custGeom>
            <a:solidFill>
              <a:schemeClr val="bg1">
                <a:lumMod val="50000"/>
              </a:schemeClr>
            </a:solidFill>
            <a:ln>
              <a:noFill/>
            </a:ln>
          </p:spPr>
          <p:txBody>
            <a:bodyPr vert="horz" wrap="square" lIns="91440" tIns="45720" rIns="91440" bIns="45720" numCol="1" anchor="t" anchorCtr="0" compatLnSpc="1"/>
            <a:lstStyle/>
            <a:p>
              <a:endParaRPr lang="en-US" sz="1400" dirty="0"/>
            </a:p>
          </p:txBody>
        </p:sp>
      </p:grpSp>
      <p:grpSp>
        <p:nvGrpSpPr>
          <p:cNvPr id="27" name="组合 26"/>
          <p:cNvGrpSpPr/>
          <p:nvPr/>
        </p:nvGrpSpPr>
        <p:grpSpPr>
          <a:xfrm>
            <a:off x="9031721" y="1476389"/>
            <a:ext cx="1069389" cy="1070379"/>
            <a:chOff x="6774668" y="1121723"/>
            <a:chExt cx="802380" cy="803123"/>
          </a:xfrm>
        </p:grpSpPr>
        <p:sp>
          <p:nvSpPr>
            <p:cNvPr id="28" name="AutoShape 18"/>
            <p:cNvSpPr>
              <a:spLocks noChangeAspect="1" noChangeArrowheads="1" noTextEdit="1"/>
            </p:cNvSpPr>
            <p:nvPr/>
          </p:nvSpPr>
          <p:spPr bwMode="auto">
            <a:xfrm>
              <a:off x="6774668" y="1121723"/>
              <a:ext cx="802380" cy="803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400" dirty="0"/>
            </a:p>
          </p:txBody>
        </p:sp>
        <p:sp>
          <p:nvSpPr>
            <p:cNvPr id="29" name="Freeform 20"/>
            <p:cNvSpPr>
              <a:spLocks noEditPoints="1"/>
            </p:cNvSpPr>
            <p:nvPr/>
          </p:nvSpPr>
          <p:spPr bwMode="auto">
            <a:xfrm>
              <a:off x="6901086" y="1338492"/>
              <a:ext cx="511991" cy="353411"/>
            </a:xfrm>
            <a:custGeom>
              <a:avLst/>
              <a:gdLst>
                <a:gd name="T0" fmla="*/ 1470 w 1470"/>
                <a:gd name="T1" fmla="*/ 0 h 1014"/>
                <a:gd name="T2" fmla="*/ 1470 w 1470"/>
                <a:gd name="T3" fmla="*/ 867 h 1014"/>
                <a:gd name="T4" fmla="*/ 1383 w 1470"/>
                <a:gd name="T5" fmla="*/ 867 h 1014"/>
                <a:gd name="T6" fmla="*/ 1285 w 1470"/>
                <a:gd name="T7" fmla="*/ 359 h 1014"/>
                <a:gd name="T8" fmla="*/ 1147 w 1470"/>
                <a:gd name="T9" fmla="*/ 260 h 1014"/>
                <a:gd name="T10" fmla="*/ 1237 w 1470"/>
                <a:gd name="T11" fmla="*/ 188 h 1014"/>
                <a:gd name="T12" fmla="*/ 1283 w 1470"/>
                <a:gd name="T13" fmla="*/ 196 h 1014"/>
                <a:gd name="T14" fmla="*/ 1412 w 1470"/>
                <a:gd name="T15" fmla="*/ 67 h 1014"/>
                <a:gd name="T16" fmla="*/ 1410 w 1470"/>
                <a:gd name="T17" fmla="*/ 48 h 1014"/>
                <a:gd name="T18" fmla="*/ 1470 w 1470"/>
                <a:gd name="T19" fmla="*/ 0 h 1014"/>
                <a:gd name="T20" fmla="*/ 614 w 1470"/>
                <a:gd name="T21" fmla="*/ 346 h 1014"/>
                <a:gd name="T22" fmla="*/ 641 w 1470"/>
                <a:gd name="T23" fmla="*/ 322 h 1014"/>
                <a:gd name="T24" fmla="*/ 614 w 1470"/>
                <a:gd name="T25" fmla="*/ 325 h 1014"/>
                <a:gd name="T26" fmla="*/ 588 w 1470"/>
                <a:gd name="T27" fmla="*/ 322 h 1014"/>
                <a:gd name="T28" fmla="*/ 476 w 1470"/>
                <a:gd name="T29" fmla="*/ 446 h 1014"/>
                <a:gd name="T30" fmla="*/ 481 w 1470"/>
                <a:gd name="T31" fmla="*/ 484 h 1014"/>
                <a:gd name="T32" fmla="*/ 352 w 1470"/>
                <a:gd name="T33" fmla="*/ 613 h 1014"/>
                <a:gd name="T34" fmla="*/ 280 w 1470"/>
                <a:gd name="T35" fmla="*/ 590 h 1014"/>
                <a:gd name="T36" fmla="*/ 0 w 1470"/>
                <a:gd name="T37" fmla="*/ 720 h 1014"/>
                <a:gd name="T38" fmla="*/ 0 w 1470"/>
                <a:gd name="T39" fmla="*/ 867 h 1014"/>
                <a:gd name="T40" fmla="*/ 503 w 1470"/>
                <a:gd name="T41" fmla="*/ 867 h 1014"/>
                <a:gd name="T42" fmla="*/ 614 w 1470"/>
                <a:gd name="T43" fmla="*/ 346 h 1014"/>
                <a:gd name="T44" fmla="*/ 705 w 1470"/>
                <a:gd name="T45" fmla="*/ 913 h 1014"/>
                <a:gd name="T46" fmla="*/ 943 w 1470"/>
                <a:gd name="T47" fmla="*/ 1014 h 1014"/>
                <a:gd name="T48" fmla="*/ 1144 w 1470"/>
                <a:gd name="T49" fmla="*/ 946 h 1014"/>
                <a:gd name="T50" fmla="*/ 1145 w 1470"/>
                <a:gd name="T51" fmla="*/ 945 h 1014"/>
                <a:gd name="T52" fmla="*/ 1171 w 1470"/>
                <a:gd name="T53" fmla="*/ 922 h 1014"/>
                <a:gd name="T54" fmla="*/ 1199 w 1470"/>
                <a:gd name="T55" fmla="*/ 892 h 1014"/>
                <a:gd name="T56" fmla="*/ 1202 w 1470"/>
                <a:gd name="T57" fmla="*/ 481 h 1014"/>
                <a:gd name="T58" fmla="*/ 1103 w 1470"/>
                <a:gd name="T59" fmla="*/ 560 h 1014"/>
                <a:gd name="T60" fmla="*/ 1106 w 1470"/>
                <a:gd name="T61" fmla="*/ 590 h 1014"/>
                <a:gd name="T62" fmla="*/ 947 w 1470"/>
                <a:gd name="T63" fmla="*/ 749 h 1014"/>
                <a:gd name="T64" fmla="*/ 789 w 1470"/>
                <a:gd name="T65" fmla="*/ 595 h 1014"/>
                <a:gd name="T66" fmla="*/ 652 w 1470"/>
                <a:gd name="T67" fmla="*/ 529 h 1014"/>
                <a:gd name="T68" fmla="*/ 705 w 1470"/>
                <a:gd name="T69" fmla="*/ 91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0" h="1014">
                  <a:moveTo>
                    <a:pt x="1470" y="0"/>
                  </a:moveTo>
                  <a:cubicBezTo>
                    <a:pt x="1470" y="867"/>
                    <a:pt x="1470" y="867"/>
                    <a:pt x="1470" y="867"/>
                  </a:cubicBezTo>
                  <a:cubicBezTo>
                    <a:pt x="1383" y="867"/>
                    <a:pt x="1383" y="867"/>
                    <a:pt x="1383" y="867"/>
                  </a:cubicBezTo>
                  <a:cubicBezTo>
                    <a:pt x="1452" y="697"/>
                    <a:pt x="1417" y="497"/>
                    <a:pt x="1285" y="359"/>
                  </a:cubicBezTo>
                  <a:cubicBezTo>
                    <a:pt x="1245" y="317"/>
                    <a:pt x="1198" y="284"/>
                    <a:pt x="1147" y="260"/>
                  </a:cubicBezTo>
                  <a:cubicBezTo>
                    <a:pt x="1237" y="188"/>
                    <a:pt x="1237" y="188"/>
                    <a:pt x="1237" y="188"/>
                  </a:cubicBezTo>
                  <a:cubicBezTo>
                    <a:pt x="1252" y="193"/>
                    <a:pt x="1267" y="196"/>
                    <a:pt x="1283" y="196"/>
                  </a:cubicBezTo>
                  <a:cubicBezTo>
                    <a:pt x="1354" y="196"/>
                    <a:pt x="1412" y="138"/>
                    <a:pt x="1412" y="67"/>
                  </a:cubicBezTo>
                  <a:cubicBezTo>
                    <a:pt x="1412" y="61"/>
                    <a:pt x="1411" y="54"/>
                    <a:pt x="1410" y="48"/>
                  </a:cubicBezTo>
                  <a:lnTo>
                    <a:pt x="1470" y="0"/>
                  </a:lnTo>
                  <a:close/>
                  <a:moveTo>
                    <a:pt x="614" y="346"/>
                  </a:moveTo>
                  <a:cubicBezTo>
                    <a:pt x="623" y="338"/>
                    <a:pt x="632" y="329"/>
                    <a:pt x="641" y="322"/>
                  </a:cubicBezTo>
                  <a:cubicBezTo>
                    <a:pt x="632" y="324"/>
                    <a:pt x="623" y="325"/>
                    <a:pt x="614" y="325"/>
                  </a:cubicBezTo>
                  <a:cubicBezTo>
                    <a:pt x="605" y="325"/>
                    <a:pt x="597" y="324"/>
                    <a:pt x="588" y="322"/>
                  </a:cubicBezTo>
                  <a:cubicBezTo>
                    <a:pt x="476" y="446"/>
                    <a:pt x="476" y="446"/>
                    <a:pt x="476" y="446"/>
                  </a:cubicBezTo>
                  <a:cubicBezTo>
                    <a:pt x="479" y="458"/>
                    <a:pt x="481" y="471"/>
                    <a:pt x="481" y="484"/>
                  </a:cubicBezTo>
                  <a:cubicBezTo>
                    <a:pt x="481" y="555"/>
                    <a:pt x="423" y="613"/>
                    <a:pt x="352" y="613"/>
                  </a:cubicBezTo>
                  <a:cubicBezTo>
                    <a:pt x="326" y="613"/>
                    <a:pt x="301" y="605"/>
                    <a:pt x="280" y="590"/>
                  </a:cubicBezTo>
                  <a:cubicBezTo>
                    <a:pt x="0" y="720"/>
                    <a:pt x="0" y="720"/>
                    <a:pt x="0" y="720"/>
                  </a:cubicBezTo>
                  <a:cubicBezTo>
                    <a:pt x="0" y="867"/>
                    <a:pt x="0" y="867"/>
                    <a:pt x="0" y="867"/>
                  </a:cubicBezTo>
                  <a:cubicBezTo>
                    <a:pt x="503" y="867"/>
                    <a:pt x="503" y="867"/>
                    <a:pt x="503" y="867"/>
                  </a:cubicBezTo>
                  <a:cubicBezTo>
                    <a:pt x="433" y="692"/>
                    <a:pt x="471" y="484"/>
                    <a:pt x="614" y="346"/>
                  </a:cubicBezTo>
                  <a:close/>
                  <a:moveTo>
                    <a:pt x="705" y="913"/>
                  </a:moveTo>
                  <a:cubicBezTo>
                    <a:pt x="768" y="978"/>
                    <a:pt x="852" y="1014"/>
                    <a:pt x="943" y="1014"/>
                  </a:cubicBezTo>
                  <a:cubicBezTo>
                    <a:pt x="1015" y="1014"/>
                    <a:pt x="1087" y="990"/>
                    <a:pt x="1144" y="946"/>
                  </a:cubicBezTo>
                  <a:cubicBezTo>
                    <a:pt x="1145" y="945"/>
                    <a:pt x="1145" y="945"/>
                    <a:pt x="1145" y="945"/>
                  </a:cubicBezTo>
                  <a:cubicBezTo>
                    <a:pt x="1153" y="940"/>
                    <a:pt x="1161" y="932"/>
                    <a:pt x="1171" y="922"/>
                  </a:cubicBezTo>
                  <a:cubicBezTo>
                    <a:pt x="1181" y="913"/>
                    <a:pt x="1191" y="903"/>
                    <a:pt x="1199" y="892"/>
                  </a:cubicBezTo>
                  <a:cubicBezTo>
                    <a:pt x="1297" y="772"/>
                    <a:pt x="1296" y="601"/>
                    <a:pt x="1202" y="481"/>
                  </a:cubicBezTo>
                  <a:cubicBezTo>
                    <a:pt x="1103" y="560"/>
                    <a:pt x="1103" y="560"/>
                    <a:pt x="1103" y="560"/>
                  </a:cubicBezTo>
                  <a:cubicBezTo>
                    <a:pt x="1105" y="570"/>
                    <a:pt x="1106" y="580"/>
                    <a:pt x="1106" y="590"/>
                  </a:cubicBezTo>
                  <a:cubicBezTo>
                    <a:pt x="1106" y="677"/>
                    <a:pt x="1035" y="749"/>
                    <a:pt x="947" y="749"/>
                  </a:cubicBezTo>
                  <a:cubicBezTo>
                    <a:pt x="862" y="749"/>
                    <a:pt x="792" y="680"/>
                    <a:pt x="789" y="595"/>
                  </a:cubicBezTo>
                  <a:cubicBezTo>
                    <a:pt x="652" y="529"/>
                    <a:pt x="652" y="529"/>
                    <a:pt x="652" y="529"/>
                  </a:cubicBezTo>
                  <a:cubicBezTo>
                    <a:pt x="587" y="652"/>
                    <a:pt x="604" y="808"/>
                    <a:pt x="705" y="913"/>
                  </a:cubicBezTo>
                  <a:close/>
                </a:path>
              </a:pathLst>
            </a:custGeom>
            <a:solidFill>
              <a:schemeClr val="bg1">
                <a:lumMod val="50000"/>
              </a:schemeClr>
            </a:solidFill>
            <a:ln>
              <a:noFill/>
            </a:ln>
          </p:spPr>
          <p:txBody>
            <a:bodyPr vert="horz" wrap="square" lIns="91440" tIns="45720" rIns="91440" bIns="45720" numCol="1" anchor="t" anchorCtr="0" compatLnSpc="1"/>
            <a:lstStyle/>
            <a:p>
              <a:endParaRPr lang="en-US" sz="1400" dirty="0"/>
            </a:p>
          </p:txBody>
        </p:sp>
        <p:sp>
          <p:nvSpPr>
            <p:cNvPr id="30" name="Freeform 21"/>
            <p:cNvSpPr>
              <a:spLocks noEditPoints="1"/>
            </p:cNvSpPr>
            <p:nvPr/>
          </p:nvSpPr>
          <p:spPr bwMode="auto">
            <a:xfrm>
              <a:off x="6870411" y="1250371"/>
              <a:ext cx="657186" cy="633017"/>
            </a:xfrm>
            <a:custGeom>
              <a:avLst/>
              <a:gdLst>
                <a:gd name="T0" fmla="*/ 1272 w 1887"/>
                <a:gd name="T1" fmla="*/ 1297 h 1816"/>
                <a:gd name="T2" fmla="*/ 1389 w 1887"/>
                <a:gd name="T3" fmla="*/ 1401 h 1816"/>
                <a:gd name="T4" fmla="*/ 1481 w 1887"/>
                <a:gd name="T5" fmla="*/ 1296 h 1816"/>
                <a:gd name="T6" fmla="*/ 1340 w 1887"/>
                <a:gd name="T7" fmla="*/ 644 h 1816"/>
                <a:gd name="T8" fmla="*/ 722 w 1887"/>
                <a:gd name="T9" fmla="*/ 1239 h 1816"/>
                <a:gd name="T10" fmla="*/ 760 w 1887"/>
                <a:gd name="T11" fmla="*/ 1202 h 1816"/>
                <a:gd name="T12" fmla="*/ 1302 w 1887"/>
                <a:gd name="T13" fmla="*/ 681 h 1816"/>
                <a:gd name="T14" fmla="*/ 1291 w 1887"/>
                <a:gd name="T15" fmla="*/ 1212 h 1816"/>
                <a:gd name="T16" fmla="*/ 1752 w 1887"/>
                <a:gd name="T17" fmla="*/ 1816 h 1816"/>
                <a:gd name="T18" fmla="*/ 1405 w 1887"/>
                <a:gd name="T19" fmla="*/ 1477 h 1816"/>
                <a:gd name="T20" fmla="*/ 1528 w 1887"/>
                <a:gd name="T21" fmla="*/ 1327 h 1816"/>
                <a:gd name="T22" fmla="*/ 1559 w 1887"/>
                <a:gd name="T23" fmla="*/ 1327 h 1816"/>
                <a:gd name="T24" fmla="*/ 1878 w 1887"/>
                <a:gd name="T25" fmla="*/ 1714 h 1816"/>
                <a:gd name="T26" fmla="*/ 1752 w 1887"/>
                <a:gd name="T27" fmla="*/ 1816 h 1816"/>
                <a:gd name="T28" fmla="*/ 1746 w 1887"/>
                <a:gd name="T29" fmla="*/ 1770 h 1816"/>
                <a:gd name="T30" fmla="*/ 1837 w 1887"/>
                <a:gd name="T31" fmla="*/ 1700 h 1816"/>
                <a:gd name="T32" fmla="*/ 1543 w 1887"/>
                <a:gd name="T33" fmla="*/ 1374 h 1816"/>
                <a:gd name="T34" fmla="*/ 1624 w 1887"/>
                <a:gd name="T35" fmla="*/ 0 h 1816"/>
                <a:gd name="T36" fmla="*/ 0 w 1887"/>
                <a:gd name="T37" fmla="*/ 22 h 1816"/>
                <a:gd name="T38" fmla="*/ 22 w 1887"/>
                <a:gd name="T39" fmla="*/ 1208 h 1816"/>
                <a:gd name="T40" fmla="*/ 611 w 1887"/>
                <a:gd name="T41" fmla="*/ 1164 h 1816"/>
                <a:gd name="T42" fmla="*/ 44 w 1887"/>
                <a:gd name="T43" fmla="*/ 945 h 1816"/>
                <a:gd name="T44" fmla="*/ 440 w 1887"/>
                <a:gd name="T45" fmla="*/ 830 h 1816"/>
                <a:gd name="T46" fmla="*/ 517 w 1887"/>
                <a:gd name="T47" fmla="*/ 685 h 1816"/>
                <a:gd name="T48" fmla="*/ 702 w 1887"/>
                <a:gd name="T49" fmla="*/ 542 h 1816"/>
                <a:gd name="T50" fmla="*/ 806 w 1887"/>
                <a:gd name="T51" fmla="*/ 523 h 1816"/>
                <a:gd name="T52" fmla="*/ 793 w 1887"/>
                <a:gd name="T53" fmla="*/ 468 h 1816"/>
                <a:gd name="T54" fmla="*/ 702 w 1887"/>
                <a:gd name="T55" fmla="*/ 356 h 1816"/>
                <a:gd name="T56" fmla="*/ 625 w 1887"/>
                <a:gd name="T57" fmla="*/ 501 h 1816"/>
                <a:gd name="T58" fmla="*/ 440 w 1887"/>
                <a:gd name="T59" fmla="*/ 644 h 1816"/>
                <a:gd name="T60" fmla="*/ 349 w 1887"/>
                <a:gd name="T61" fmla="*/ 755 h 1816"/>
                <a:gd name="T62" fmla="*/ 44 w 1887"/>
                <a:gd name="T63" fmla="*/ 44 h 1816"/>
                <a:gd name="T64" fmla="*/ 1602 w 1887"/>
                <a:gd name="T65" fmla="*/ 104 h 1816"/>
                <a:gd name="T66" fmla="*/ 1371 w 1887"/>
                <a:gd name="T67" fmla="*/ 227 h 1816"/>
                <a:gd name="T68" fmla="*/ 1286 w 1887"/>
                <a:gd name="T69" fmla="*/ 359 h 1816"/>
                <a:gd name="T70" fmla="*/ 1189 w 1887"/>
                <a:gd name="T71" fmla="*/ 494 h 1816"/>
                <a:gd name="T72" fmla="*/ 1371 w 1887"/>
                <a:gd name="T73" fmla="*/ 413 h 1816"/>
                <a:gd name="T74" fmla="*/ 1455 w 1887"/>
                <a:gd name="T75" fmla="*/ 280 h 1816"/>
                <a:gd name="T76" fmla="*/ 1602 w 1887"/>
                <a:gd name="T77" fmla="*/ 1164 h 1816"/>
                <a:gd name="T78" fmla="*/ 1438 w 1887"/>
                <a:gd name="T79" fmla="*/ 1185 h 1816"/>
                <a:gd name="T80" fmla="*/ 1624 w 1887"/>
                <a:gd name="T81" fmla="*/ 1208 h 1816"/>
                <a:gd name="T82" fmla="*/ 1646 w 1887"/>
                <a:gd name="T83" fmla="*/ 22 h 1816"/>
                <a:gd name="T84" fmla="*/ 702 w 1887"/>
                <a:gd name="T85" fmla="*/ 400 h 1816"/>
                <a:gd name="T86" fmla="*/ 702 w 1887"/>
                <a:gd name="T87" fmla="*/ 498 h 1816"/>
                <a:gd name="T88" fmla="*/ 702 w 1887"/>
                <a:gd name="T89" fmla="*/ 400 h 1816"/>
                <a:gd name="T90" fmla="*/ 489 w 1887"/>
                <a:gd name="T91" fmla="*/ 737 h 1816"/>
                <a:gd name="T92" fmla="*/ 391 w 1887"/>
                <a:gd name="T93" fmla="*/ 737 h 1816"/>
                <a:gd name="T94" fmla="*/ 1371 w 1887"/>
                <a:gd name="T95" fmla="*/ 369 h 1816"/>
                <a:gd name="T96" fmla="*/ 1371 w 1887"/>
                <a:gd name="T97" fmla="*/ 271 h 1816"/>
                <a:gd name="T98" fmla="*/ 1371 w 1887"/>
                <a:gd name="T99" fmla="*/ 369 h 1816"/>
                <a:gd name="T100" fmla="*/ 1111 w 1887"/>
                <a:gd name="T101" fmla="*/ 750 h 1816"/>
                <a:gd name="T102" fmla="*/ 942 w 1887"/>
                <a:gd name="T103" fmla="*/ 769 h 1816"/>
                <a:gd name="T104" fmla="*/ 766 w 1887"/>
                <a:gd name="T105" fmla="*/ 742 h 1816"/>
                <a:gd name="T106" fmla="*/ 916 w 1887"/>
                <a:gd name="T107" fmla="*/ 843 h 1816"/>
                <a:gd name="T108" fmla="*/ 1155 w 1887"/>
                <a:gd name="T109" fmla="*/ 843 h 1816"/>
                <a:gd name="T110" fmla="*/ 1258 w 1887"/>
                <a:gd name="T111" fmla="*/ 698 h 1816"/>
                <a:gd name="T112" fmla="*/ 1035 w 1887"/>
                <a:gd name="T113" fmla="*/ 915 h 1816"/>
                <a:gd name="T114" fmla="*/ 1035 w 1887"/>
                <a:gd name="T115" fmla="*/ 771 h 1816"/>
                <a:gd name="T116" fmla="*/ 1035 w 1887"/>
                <a:gd name="T117" fmla="*/ 915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7" h="1816">
                  <a:moveTo>
                    <a:pt x="722" y="1239"/>
                  </a:moveTo>
                  <a:cubicBezTo>
                    <a:pt x="869" y="1392"/>
                    <a:pt x="1103" y="1412"/>
                    <a:pt x="1272" y="1297"/>
                  </a:cubicBezTo>
                  <a:cubicBezTo>
                    <a:pt x="1272" y="1297"/>
                    <a:pt x="1272" y="1297"/>
                    <a:pt x="1372" y="1400"/>
                  </a:cubicBezTo>
                  <a:cubicBezTo>
                    <a:pt x="1377" y="1405"/>
                    <a:pt x="1384" y="1405"/>
                    <a:pt x="1389" y="1401"/>
                  </a:cubicBezTo>
                  <a:cubicBezTo>
                    <a:pt x="1389" y="1401"/>
                    <a:pt x="1389" y="1401"/>
                    <a:pt x="1480" y="1313"/>
                  </a:cubicBezTo>
                  <a:cubicBezTo>
                    <a:pt x="1485" y="1308"/>
                    <a:pt x="1485" y="1301"/>
                    <a:pt x="1481" y="1296"/>
                  </a:cubicBezTo>
                  <a:cubicBezTo>
                    <a:pt x="1481" y="1296"/>
                    <a:pt x="1481" y="1296"/>
                    <a:pt x="1380" y="1191"/>
                  </a:cubicBezTo>
                  <a:cubicBezTo>
                    <a:pt x="1498" y="1026"/>
                    <a:pt x="1485" y="795"/>
                    <a:pt x="1340" y="644"/>
                  </a:cubicBezTo>
                  <a:cubicBezTo>
                    <a:pt x="1176" y="474"/>
                    <a:pt x="904" y="468"/>
                    <a:pt x="734" y="632"/>
                  </a:cubicBezTo>
                  <a:cubicBezTo>
                    <a:pt x="563" y="797"/>
                    <a:pt x="558" y="1068"/>
                    <a:pt x="722" y="1239"/>
                  </a:cubicBezTo>
                  <a:close/>
                  <a:moveTo>
                    <a:pt x="1260" y="1239"/>
                  </a:moveTo>
                  <a:cubicBezTo>
                    <a:pt x="1110" y="1355"/>
                    <a:pt x="894" y="1342"/>
                    <a:pt x="760" y="1202"/>
                  </a:cubicBezTo>
                  <a:cubicBezTo>
                    <a:pt x="617" y="1053"/>
                    <a:pt x="621" y="814"/>
                    <a:pt x="771" y="671"/>
                  </a:cubicBezTo>
                  <a:cubicBezTo>
                    <a:pt x="920" y="527"/>
                    <a:pt x="1158" y="532"/>
                    <a:pt x="1302" y="681"/>
                  </a:cubicBezTo>
                  <a:cubicBezTo>
                    <a:pt x="1434" y="819"/>
                    <a:pt x="1440" y="1033"/>
                    <a:pt x="1323" y="1178"/>
                  </a:cubicBezTo>
                  <a:cubicBezTo>
                    <a:pt x="1313" y="1190"/>
                    <a:pt x="1302" y="1202"/>
                    <a:pt x="1291" y="1212"/>
                  </a:cubicBezTo>
                  <a:cubicBezTo>
                    <a:pt x="1281" y="1222"/>
                    <a:pt x="1271" y="1231"/>
                    <a:pt x="1260" y="1239"/>
                  </a:cubicBezTo>
                  <a:close/>
                  <a:moveTo>
                    <a:pt x="1752" y="1816"/>
                  </a:moveTo>
                  <a:cubicBezTo>
                    <a:pt x="1737" y="1816"/>
                    <a:pt x="1724" y="1811"/>
                    <a:pt x="1714" y="1801"/>
                  </a:cubicBezTo>
                  <a:cubicBezTo>
                    <a:pt x="1405" y="1477"/>
                    <a:pt x="1405" y="1477"/>
                    <a:pt x="1405" y="1477"/>
                  </a:cubicBezTo>
                  <a:cubicBezTo>
                    <a:pt x="1396" y="1468"/>
                    <a:pt x="1396" y="1454"/>
                    <a:pt x="1405" y="1446"/>
                  </a:cubicBezTo>
                  <a:cubicBezTo>
                    <a:pt x="1528" y="1327"/>
                    <a:pt x="1528" y="1327"/>
                    <a:pt x="1528" y="1327"/>
                  </a:cubicBezTo>
                  <a:cubicBezTo>
                    <a:pt x="1533" y="1323"/>
                    <a:pt x="1538" y="1321"/>
                    <a:pt x="1544" y="1321"/>
                  </a:cubicBezTo>
                  <a:cubicBezTo>
                    <a:pt x="1550" y="1321"/>
                    <a:pt x="1555" y="1323"/>
                    <a:pt x="1559" y="1327"/>
                  </a:cubicBezTo>
                  <a:cubicBezTo>
                    <a:pt x="1870" y="1652"/>
                    <a:pt x="1870" y="1652"/>
                    <a:pt x="1870" y="1652"/>
                  </a:cubicBezTo>
                  <a:cubicBezTo>
                    <a:pt x="1884" y="1667"/>
                    <a:pt x="1887" y="1689"/>
                    <a:pt x="1878" y="1714"/>
                  </a:cubicBezTo>
                  <a:cubicBezTo>
                    <a:pt x="1871" y="1735"/>
                    <a:pt x="1857" y="1756"/>
                    <a:pt x="1838" y="1774"/>
                  </a:cubicBezTo>
                  <a:cubicBezTo>
                    <a:pt x="1810" y="1801"/>
                    <a:pt x="1778" y="1816"/>
                    <a:pt x="1752" y="1816"/>
                  </a:cubicBezTo>
                  <a:close/>
                  <a:moveTo>
                    <a:pt x="1451" y="1462"/>
                  </a:moveTo>
                  <a:cubicBezTo>
                    <a:pt x="1746" y="1770"/>
                    <a:pt x="1746" y="1770"/>
                    <a:pt x="1746" y="1770"/>
                  </a:cubicBezTo>
                  <a:cubicBezTo>
                    <a:pt x="1750" y="1774"/>
                    <a:pt x="1777" y="1772"/>
                    <a:pt x="1808" y="1743"/>
                  </a:cubicBezTo>
                  <a:cubicBezTo>
                    <a:pt x="1821" y="1729"/>
                    <a:pt x="1832" y="1714"/>
                    <a:pt x="1837" y="1700"/>
                  </a:cubicBezTo>
                  <a:cubicBezTo>
                    <a:pt x="1840" y="1690"/>
                    <a:pt x="1839" y="1684"/>
                    <a:pt x="1838" y="1682"/>
                  </a:cubicBezTo>
                  <a:cubicBezTo>
                    <a:pt x="1543" y="1374"/>
                    <a:pt x="1543" y="1374"/>
                    <a:pt x="1543" y="1374"/>
                  </a:cubicBezTo>
                  <a:lnTo>
                    <a:pt x="1451" y="1462"/>
                  </a:lnTo>
                  <a:close/>
                  <a:moveTo>
                    <a:pt x="1624" y="0"/>
                  </a:moveTo>
                  <a:cubicBezTo>
                    <a:pt x="22" y="0"/>
                    <a:pt x="22" y="0"/>
                    <a:pt x="22" y="0"/>
                  </a:cubicBezTo>
                  <a:cubicBezTo>
                    <a:pt x="10" y="0"/>
                    <a:pt x="0" y="10"/>
                    <a:pt x="0" y="22"/>
                  </a:cubicBezTo>
                  <a:cubicBezTo>
                    <a:pt x="0" y="1186"/>
                    <a:pt x="0" y="1186"/>
                    <a:pt x="0" y="1186"/>
                  </a:cubicBezTo>
                  <a:cubicBezTo>
                    <a:pt x="0" y="1198"/>
                    <a:pt x="10" y="1208"/>
                    <a:pt x="22" y="1208"/>
                  </a:cubicBezTo>
                  <a:cubicBezTo>
                    <a:pt x="638" y="1208"/>
                    <a:pt x="638" y="1208"/>
                    <a:pt x="638" y="1208"/>
                  </a:cubicBezTo>
                  <a:cubicBezTo>
                    <a:pt x="628" y="1193"/>
                    <a:pt x="619" y="1179"/>
                    <a:pt x="611" y="1164"/>
                  </a:cubicBezTo>
                  <a:cubicBezTo>
                    <a:pt x="44" y="1164"/>
                    <a:pt x="44" y="1164"/>
                    <a:pt x="44" y="1164"/>
                  </a:cubicBezTo>
                  <a:cubicBezTo>
                    <a:pt x="44" y="945"/>
                    <a:pt x="44" y="945"/>
                    <a:pt x="44" y="945"/>
                  </a:cubicBezTo>
                  <a:cubicBezTo>
                    <a:pt x="368" y="795"/>
                    <a:pt x="368" y="795"/>
                    <a:pt x="368" y="795"/>
                  </a:cubicBezTo>
                  <a:cubicBezTo>
                    <a:pt x="385" y="816"/>
                    <a:pt x="411" y="830"/>
                    <a:pt x="440" y="830"/>
                  </a:cubicBezTo>
                  <a:cubicBezTo>
                    <a:pt x="492" y="830"/>
                    <a:pt x="533" y="788"/>
                    <a:pt x="533" y="737"/>
                  </a:cubicBezTo>
                  <a:cubicBezTo>
                    <a:pt x="533" y="718"/>
                    <a:pt x="527" y="700"/>
                    <a:pt x="517" y="685"/>
                  </a:cubicBezTo>
                  <a:cubicBezTo>
                    <a:pt x="658" y="530"/>
                    <a:pt x="658" y="530"/>
                    <a:pt x="658" y="530"/>
                  </a:cubicBezTo>
                  <a:cubicBezTo>
                    <a:pt x="671" y="538"/>
                    <a:pt x="686" y="542"/>
                    <a:pt x="702" y="542"/>
                  </a:cubicBezTo>
                  <a:cubicBezTo>
                    <a:pt x="731" y="542"/>
                    <a:pt x="757" y="528"/>
                    <a:pt x="774" y="508"/>
                  </a:cubicBezTo>
                  <a:cubicBezTo>
                    <a:pt x="806" y="523"/>
                    <a:pt x="806" y="523"/>
                    <a:pt x="806" y="523"/>
                  </a:cubicBezTo>
                  <a:cubicBezTo>
                    <a:pt x="823" y="514"/>
                    <a:pt x="840" y="506"/>
                    <a:pt x="858" y="499"/>
                  </a:cubicBezTo>
                  <a:cubicBezTo>
                    <a:pt x="793" y="468"/>
                    <a:pt x="793" y="468"/>
                    <a:pt x="793" y="468"/>
                  </a:cubicBezTo>
                  <a:cubicBezTo>
                    <a:pt x="794" y="462"/>
                    <a:pt x="795" y="455"/>
                    <a:pt x="795" y="449"/>
                  </a:cubicBezTo>
                  <a:cubicBezTo>
                    <a:pt x="795" y="397"/>
                    <a:pt x="753" y="356"/>
                    <a:pt x="702" y="356"/>
                  </a:cubicBezTo>
                  <a:cubicBezTo>
                    <a:pt x="651" y="356"/>
                    <a:pt x="609" y="397"/>
                    <a:pt x="609" y="449"/>
                  </a:cubicBezTo>
                  <a:cubicBezTo>
                    <a:pt x="609" y="468"/>
                    <a:pt x="615" y="486"/>
                    <a:pt x="625" y="501"/>
                  </a:cubicBezTo>
                  <a:cubicBezTo>
                    <a:pt x="485" y="655"/>
                    <a:pt x="485" y="655"/>
                    <a:pt x="485" y="655"/>
                  </a:cubicBezTo>
                  <a:cubicBezTo>
                    <a:pt x="471" y="648"/>
                    <a:pt x="456" y="644"/>
                    <a:pt x="440" y="644"/>
                  </a:cubicBezTo>
                  <a:cubicBezTo>
                    <a:pt x="389" y="644"/>
                    <a:pt x="347" y="686"/>
                    <a:pt x="347" y="737"/>
                  </a:cubicBezTo>
                  <a:cubicBezTo>
                    <a:pt x="347" y="743"/>
                    <a:pt x="348" y="749"/>
                    <a:pt x="349" y="755"/>
                  </a:cubicBezTo>
                  <a:cubicBezTo>
                    <a:pt x="44" y="896"/>
                    <a:pt x="44" y="896"/>
                    <a:pt x="44" y="896"/>
                  </a:cubicBezTo>
                  <a:cubicBezTo>
                    <a:pt x="44" y="44"/>
                    <a:pt x="44" y="44"/>
                    <a:pt x="44" y="44"/>
                  </a:cubicBezTo>
                  <a:cubicBezTo>
                    <a:pt x="1602" y="44"/>
                    <a:pt x="1602" y="44"/>
                    <a:pt x="1602" y="44"/>
                  </a:cubicBezTo>
                  <a:cubicBezTo>
                    <a:pt x="1602" y="104"/>
                    <a:pt x="1602" y="104"/>
                    <a:pt x="1602" y="104"/>
                  </a:cubicBezTo>
                  <a:cubicBezTo>
                    <a:pt x="1427" y="246"/>
                    <a:pt x="1427" y="246"/>
                    <a:pt x="1427" y="246"/>
                  </a:cubicBezTo>
                  <a:cubicBezTo>
                    <a:pt x="1411" y="234"/>
                    <a:pt x="1392" y="227"/>
                    <a:pt x="1371" y="227"/>
                  </a:cubicBezTo>
                  <a:cubicBezTo>
                    <a:pt x="1319" y="227"/>
                    <a:pt x="1278" y="269"/>
                    <a:pt x="1278" y="320"/>
                  </a:cubicBezTo>
                  <a:cubicBezTo>
                    <a:pt x="1278" y="334"/>
                    <a:pt x="1281" y="347"/>
                    <a:pt x="1286" y="359"/>
                  </a:cubicBezTo>
                  <a:cubicBezTo>
                    <a:pt x="1137" y="479"/>
                    <a:pt x="1137" y="479"/>
                    <a:pt x="1137" y="479"/>
                  </a:cubicBezTo>
                  <a:cubicBezTo>
                    <a:pt x="1155" y="483"/>
                    <a:pt x="1172" y="488"/>
                    <a:pt x="1189" y="494"/>
                  </a:cubicBezTo>
                  <a:cubicBezTo>
                    <a:pt x="1314" y="394"/>
                    <a:pt x="1314" y="394"/>
                    <a:pt x="1314" y="394"/>
                  </a:cubicBezTo>
                  <a:cubicBezTo>
                    <a:pt x="1330" y="406"/>
                    <a:pt x="1349" y="413"/>
                    <a:pt x="1371" y="413"/>
                  </a:cubicBezTo>
                  <a:cubicBezTo>
                    <a:pt x="1422" y="413"/>
                    <a:pt x="1464" y="371"/>
                    <a:pt x="1464" y="320"/>
                  </a:cubicBezTo>
                  <a:cubicBezTo>
                    <a:pt x="1464" y="306"/>
                    <a:pt x="1460" y="292"/>
                    <a:pt x="1455" y="280"/>
                  </a:cubicBezTo>
                  <a:cubicBezTo>
                    <a:pt x="1602" y="160"/>
                    <a:pt x="1602" y="160"/>
                    <a:pt x="1602" y="160"/>
                  </a:cubicBezTo>
                  <a:cubicBezTo>
                    <a:pt x="1602" y="1164"/>
                    <a:pt x="1602" y="1164"/>
                    <a:pt x="1602" y="1164"/>
                  </a:cubicBezTo>
                  <a:cubicBezTo>
                    <a:pt x="1450" y="1164"/>
                    <a:pt x="1450" y="1164"/>
                    <a:pt x="1450" y="1164"/>
                  </a:cubicBezTo>
                  <a:cubicBezTo>
                    <a:pt x="1446" y="1171"/>
                    <a:pt x="1442" y="1178"/>
                    <a:pt x="1438" y="1185"/>
                  </a:cubicBezTo>
                  <a:cubicBezTo>
                    <a:pt x="1460" y="1208"/>
                    <a:pt x="1460" y="1208"/>
                    <a:pt x="1460" y="1208"/>
                  </a:cubicBezTo>
                  <a:cubicBezTo>
                    <a:pt x="1624" y="1208"/>
                    <a:pt x="1624" y="1208"/>
                    <a:pt x="1624" y="1208"/>
                  </a:cubicBezTo>
                  <a:cubicBezTo>
                    <a:pt x="1636" y="1208"/>
                    <a:pt x="1646" y="1198"/>
                    <a:pt x="1646" y="1186"/>
                  </a:cubicBezTo>
                  <a:cubicBezTo>
                    <a:pt x="1646" y="22"/>
                    <a:pt x="1646" y="22"/>
                    <a:pt x="1646" y="22"/>
                  </a:cubicBezTo>
                  <a:cubicBezTo>
                    <a:pt x="1646" y="10"/>
                    <a:pt x="1636" y="0"/>
                    <a:pt x="1624" y="0"/>
                  </a:cubicBezTo>
                  <a:close/>
                  <a:moveTo>
                    <a:pt x="702" y="400"/>
                  </a:moveTo>
                  <a:cubicBezTo>
                    <a:pt x="729" y="400"/>
                    <a:pt x="751" y="422"/>
                    <a:pt x="751" y="449"/>
                  </a:cubicBezTo>
                  <a:cubicBezTo>
                    <a:pt x="751" y="476"/>
                    <a:pt x="729" y="498"/>
                    <a:pt x="702" y="498"/>
                  </a:cubicBezTo>
                  <a:cubicBezTo>
                    <a:pt x="675" y="498"/>
                    <a:pt x="653" y="476"/>
                    <a:pt x="653" y="449"/>
                  </a:cubicBezTo>
                  <a:cubicBezTo>
                    <a:pt x="653" y="422"/>
                    <a:pt x="675" y="400"/>
                    <a:pt x="702" y="400"/>
                  </a:cubicBezTo>
                  <a:close/>
                  <a:moveTo>
                    <a:pt x="440" y="688"/>
                  </a:moveTo>
                  <a:cubicBezTo>
                    <a:pt x="467" y="688"/>
                    <a:pt x="489" y="710"/>
                    <a:pt x="489" y="737"/>
                  </a:cubicBezTo>
                  <a:cubicBezTo>
                    <a:pt x="489" y="764"/>
                    <a:pt x="467" y="786"/>
                    <a:pt x="440" y="786"/>
                  </a:cubicBezTo>
                  <a:cubicBezTo>
                    <a:pt x="413" y="786"/>
                    <a:pt x="391" y="764"/>
                    <a:pt x="391" y="737"/>
                  </a:cubicBezTo>
                  <a:cubicBezTo>
                    <a:pt x="391" y="710"/>
                    <a:pt x="413" y="688"/>
                    <a:pt x="440" y="688"/>
                  </a:cubicBezTo>
                  <a:close/>
                  <a:moveTo>
                    <a:pt x="1371" y="369"/>
                  </a:moveTo>
                  <a:cubicBezTo>
                    <a:pt x="1344" y="369"/>
                    <a:pt x="1322" y="347"/>
                    <a:pt x="1322" y="320"/>
                  </a:cubicBezTo>
                  <a:cubicBezTo>
                    <a:pt x="1322" y="293"/>
                    <a:pt x="1344" y="271"/>
                    <a:pt x="1371" y="271"/>
                  </a:cubicBezTo>
                  <a:cubicBezTo>
                    <a:pt x="1398" y="271"/>
                    <a:pt x="1420" y="293"/>
                    <a:pt x="1420" y="320"/>
                  </a:cubicBezTo>
                  <a:cubicBezTo>
                    <a:pt x="1420" y="347"/>
                    <a:pt x="1398" y="369"/>
                    <a:pt x="1371" y="369"/>
                  </a:cubicBezTo>
                  <a:close/>
                  <a:moveTo>
                    <a:pt x="1217" y="665"/>
                  </a:moveTo>
                  <a:cubicBezTo>
                    <a:pt x="1111" y="750"/>
                    <a:pt x="1111" y="750"/>
                    <a:pt x="1111" y="750"/>
                  </a:cubicBezTo>
                  <a:cubicBezTo>
                    <a:pt x="1090" y="733"/>
                    <a:pt x="1064" y="723"/>
                    <a:pt x="1035" y="723"/>
                  </a:cubicBezTo>
                  <a:cubicBezTo>
                    <a:pt x="997" y="723"/>
                    <a:pt x="963" y="741"/>
                    <a:pt x="942" y="769"/>
                  </a:cubicBezTo>
                  <a:cubicBezTo>
                    <a:pt x="801" y="701"/>
                    <a:pt x="801" y="701"/>
                    <a:pt x="801" y="701"/>
                  </a:cubicBezTo>
                  <a:cubicBezTo>
                    <a:pt x="788" y="714"/>
                    <a:pt x="776" y="727"/>
                    <a:pt x="766" y="742"/>
                  </a:cubicBezTo>
                  <a:cubicBezTo>
                    <a:pt x="919" y="816"/>
                    <a:pt x="919" y="816"/>
                    <a:pt x="919" y="816"/>
                  </a:cubicBezTo>
                  <a:cubicBezTo>
                    <a:pt x="917" y="824"/>
                    <a:pt x="916" y="834"/>
                    <a:pt x="916" y="843"/>
                  </a:cubicBezTo>
                  <a:cubicBezTo>
                    <a:pt x="916" y="909"/>
                    <a:pt x="969" y="963"/>
                    <a:pt x="1035" y="963"/>
                  </a:cubicBezTo>
                  <a:cubicBezTo>
                    <a:pt x="1102" y="963"/>
                    <a:pt x="1155" y="909"/>
                    <a:pt x="1155" y="843"/>
                  </a:cubicBezTo>
                  <a:cubicBezTo>
                    <a:pt x="1155" y="824"/>
                    <a:pt x="1151" y="806"/>
                    <a:pt x="1143" y="790"/>
                  </a:cubicBezTo>
                  <a:cubicBezTo>
                    <a:pt x="1258" y="698"/>
                    <a:pt x="1258" y="698"/>
                    <a:pt x="1258" y="698"/>
                  </a:cubicBezTo>
                  <a:cubicBezTo>
                    <a:pt x="1245" y="686"/>
                    <a:pt x="1231" y="675"/>
                    <a:pt x="1217" y="665"/>
                  </a:cubicBezTo>
                  <a:close/>
                  <a:moveTo>
                    <a:pt x="1035" y="915"/>
                  </a:moveTo>
                  <a:cubicBezTo>
                    <a:pt x="996" y="915"/>
                    <a:pt x="964" y="883"/>
                    <a:pt x="964" y="843"/>
                  </a:cubicBezTo>
                  <a:cubicBezTo>
                    <a:pt x="964" y="803"/>
                    <a:pt x="996" y="771"/>
                    <a:pt x="1035" y="771"/>
                  </a:cubicBezTo>
                  <a:cubicBezTo>
                    <a:pt x="1075" y="771"/>
                    <a:pt x="1107" y="803"/>
                    <a:pt x="1107" y="843"/>
                  </a:cubicBezTo>
                  <a:cubicBezTo>
                    <a:pt x="1107" y="883"/>
                    <a:pt x="1075" y="915"/>
                    <a:pt x="1035" y="915"/>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400" dirty="0"/>
            </a:p>
          </p:txBody>
        </p:sp>
      </p:grpSp>
      <p:sp>
        <p:nvSpPr>
          <p:cNvPr id="31" name="TextBox 73"/>
          <p:cNvSpPr txBox="1"/>
          <p:nvPr/>
        </p:nvSpPr>
        <p:spPr>
          <a:xfrm>
            <a:off x="767365" y="3009134"/>
            <a:ext cx="2824552" cy="618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algn="ctr">
              <a:buSzPct val="100000"/>
              <a:buFont typeface="Trebuchet MS" panose="020B0603020202020204" pitchFamily="34" charset="0"/>
              <a:buChar char="​"/>
            </a:pPr>
            <a:r>
              <a:rPr lang="en-US" altLang="zh-CN" sz="2000" b="1" dirty="0">
                <a:solidFill>
                  <a:schemeClr val="accent1">
                    <a:lumMod val="75000"/>
                  </a:schemeClr>
                </a:solidFill>
              </a:rPr>
              <a:t>Develop proof of burden</a:t>
            </a:r>
            <a:endParaRPr lang="en-US" sz="2000" b="1" dirty="0">
              <a:solidFill>
                <a:schemeClr val="accent1">
                  <a:lumMod val="75000"/>
                </a:schemeClr>
              </a:solidFill>
            </a:endParaRPr>
          </a:p>
        </p:txBody>
      </p:sp>
      <p:sp>
        <p:nvSpPr>
          <p:cNvPr id="32" name="TextBox 74"/>
          <p:cNvSpPr txBox="1"/>
          <p:nvPr/>
        </p:nvSpPr>
        <p:spPr>
          <a:xfrm>
            <a:off x="4546502" y="3009134"/>
            <a:ext cx="3243250" cy="618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algn="ctr">
              <a:buSzPct val="100000"/>
              <a:buFont typeface="Trebuchet MS" panose="020B0603020202020204" pitchFamily="34" charset="0"/>
              <a:buChar char="​"/>
            </a:pPr>
            <a:r>
              <a:rPr lang="en-US" altLang="zh-CN" sz="2000" b="1" dirty="0" smtClean="0">
                <a:solidFill>
                  <a:schemeClr val="accent1">
                    <a:lumMod val="75000"/>
                  </a:schemeClr>
                </a:solidFill>
              </a:rPr>
              <a:t>Build baseline of AMS adoption</a:t>
            </a:r>
            <a:endParaRPr lang="en-US" sz="2000" b="1" dirty="0" smtClean="0">
              <a:solidFill>
                <a:schemeClr val="accent1">
                  <a:lumMod val="75000"/>
                </a:schemeClr>
              </a:solidFill>
            </a:endParaRPr>
          </a:p>
        </p:txBody>
      </p:sp>
      <p:sp>
        <p:nvSpPr>
          <p:cNvPr id="33" name="TextBox 75"/>
          <p:cNvSpPr txBox="1"/>
          <p:nvPr/>
        </p:nvSpPr>
        <p:spPr>
          <a:xfrm>
            <a:off x="8526673" y="3009134"/>
            <a:ext cx="2824552" cy="6181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algn="ctr">
              <a:buSzPct val="100000"/>
              <a:buFont typeface="Trebuchet MS" panose="020B0603020202020204" pitchFamily="34" charset="0"/>
              <a:buChar char="​"/>
            </a:pPr>
            <a:r>
              <a:rPr lang="en-US" altLang="zh-CN" sz="2000" b="1" dirty="0" smtClean="0">
                <a:solidFill>
                  <a:schemeClr val="accent1">
                    <a:lumMod val="75000"/>
                  </a:schemeClr>
                </a:solidFill>
              </a:rPr>
              <a:t>Generate evidence of effectiveness</a:t>
            </a:r>
            <a:endParaRPr lang="en-US" sz="2000" b="1" dirty="0" smtClean="0">
              <a:solidFill>
                <a:schemeClr val="accent1">
                  <a:lumMod val="75000"/>
                </a:schemeClr>
              </a:solidFill>
            </a:endParaRPr>
          </a:p>
        </p:txBody>
      </p:sp>
      <p:sp>
        <p:nvSpPr>
          <p:cNvPr id="34" name="TextBox 76"/>
          <p:cNvSpPr txBox="1"/>
          <p:nvPr/>
        </p:nvSpPr>
        <p:spPr>
          <a:xfrm>
            <a:off x="604116" y="3824209"/>
            <a:ext cx="3346948" cy="24568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marL="323850" lvl="1" indent="-215900">
              <a:spcBef>
                <a:spcPts val="1200"/>
              </a:spcBef>
              <a:buClr>
                <a:schemeClr val="tx2">
                  <a:lumMod val="100000"/>
                </a:schemeClr>
              </a:buClr>
              <a:buSzPct val="100000"/>
              <a:buFont typeface="Trebuchet MS" panose="020B0603020202020204" pitchFamily="34" charset="0"/>
              <a:buChar char="•"/>
            </a:pPr>
            <a:r>
              <a:rPr lang="en-US" altLang="zh-CN" dirty="0" smtClean="0">
                <a:solidFill>
                  <a:schemeClr val="tx1">
                    <a:lumMod val="100000"/>
                  </a:schemeClr>
                </a:solidFill>
              </a:rPr>
              <a:t>Develop an authoritative report to </a:t>
            </a:r>
            <a:r>
              <a:rPr lang="en-US" altLang="zh-CN" dirty="0">
                <a:solidFill>
                  <a:schemeClr val="tx1">
                    <a:lumMod val="100000"/>
                  </a:schemeClr>
                </a:solidFill>
              </a:rPr>
              <a:t>reveal </a:t>
            </a:r>
            <a:r>
              <a:rPr lang="en-US" altLang="zh-CN" dirty="0" smtClean="0">
                <a:solidFill>
                  <a:schemeClr val="tx1">
                    <a:lumMod val="100000"/>
                  </a:schemeClr>
                </a:solidFill>
              </a:rPr>
              <a:t>burden of drug resistance</a:t>
            </a:r>
            <a:endParaRPr lang="en-US" altLang="zh-CN" dirty="0" smtClean="0">
              <a:solidFill>
                <a:schemeClr val="tx1">
                  <a:lumMod val="100000"/>
                </a:schemeClr>
              </a:solidFill>
            </a:endParaRPr>
          </a:p>
          <a:p>
            <a:pPr marL="323850" lvl="1" indent="-215900">
              <a:spcBef>
                <a:spcPts val="1200"/>
              </a:spcBef>
              <a:buClr>
                <a:schemeClr val="tx2">
                  <a:lumMod val="100000"/>
                </a:schemeClr>
              </a:buClr>
              <a:buSzPct val="100000"/>
              <a:buFont typeface="Trebuchet MS" panose="020B0603020202020204" pitchFamily="34" charset="0"/>
              <a:buChar char="•"/>
            </a:pPr>
            <a:r>
              <a:rPr lang="en-US" altLang="zh-CN" dirty="0" smtClean="0">
                <a:solidFill>
                  <a:schemeClr val="tx1">
                    <a:lumMod val="100000"/>
                  </a:schemeClr>
                </a:solidFill>
              </a:rPr>
              <a:t>Estimate the burden from outcome, cost and societal angles comprehensively</a:t>
            </a:r>
            <a:endParaRPr lang="en-US" altLang="zh-CN" dirty="0">
              <a:solidFill>
                <a:schemeClr val="tx1">
                  <a:lumMod val="100000"/>
                </a:schemeClr>
              </a:solidFill>
            </a:endParaRPr>
          </a:p>
        </p:txBody>
      </p:sp>
      <p:sp>
        <p:nvSpPr>
          <p:cNvPr id="35" name="TextBox 77"/>
          <p:cNvSpPr txBox="1"/>
          <p:nvPr/>
        </p:nvSpPr>
        <p:spPr>
          <a:xfrm>
            <a:off x="4122077" y="3824209"/>
            <a:ext cx="4070334" cy="24568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marL="323850" lvl="1" indent="-215900">
              <a:spcBef>
                <a:spcPts val="1200"/>
              </a:spcBef>
              <a:buClr>
                <a:schemeClr val="tx2">
                  <a:lumMod val="100000"/>
                </a:schemeClr>
              </a:buClr>
              <a:buSzPct val="100000"/>
              <a:buFont typeface="Trebuchet MS" panose="020B0603020202020204" pitchFamily="34" charset="0"/>
              <a:buChar char="•"/>
            </a:pPr>
            <a:r>
              <a:rPr lang="en-US" altLang="zh-CN" dirty="0">
                <a:solidFill>
                  <a:schemeClr val="tx1">
                    <a:lumMod val="100000"/>
                  </a:schemeClr>
                </a:solidFill>
              </a:rPr>
              <a:t>Build baseline of drug inappropriate use, specifically Carbapenem </a:t>
            </a:r>
            <a:r>
              <a:rPr lang="en-US" altLang="zh-CN" dirty="0" smtClean="0">
                <a:solidFill>
                  <a:schemeClr val="tx1">
                    <a:lumMod val="100000"/>
                  </a:schemeClr>
                </a:solidFill>
              </a:rPr>
              <a:t>abuse</a:t>
            </a:r>
            <a:endParaRPr lang="en-US" altLang="zh-CN" dirty="0" smtClean="0">
              <a:solidFill>
                <a:schemeClr val="tx1">
                  <a:lumMod val="100000"/>
                </a:schemeClr>
              </a:solidFill>
            </a:endParaRPr>
          </a:p>
          <a:p>
            <a:pPr marL="323850" lvl="1" indent="-215900">
              <a:spcBef>
                <a:spcPts val="1200"/>
              </a:spcBef>
              <a:buClr>
                <a:schemeClr val="tx2">
                  <a:lumMod val="100000"/>
                </a:schemeClr>
              </a:buClr>
              <a:buSzPct val="100000"/>
              <a:buFont typeface="Trebuchet MS" panose="020B0603020202020204" pitchFamily="34" charset="0"/>
              <a:buChar char="•"/>
            </a:pPr>
            <a:r>
              <a:rPr lang="en-US" altLang="zh-CN" dirty="0" smtClean="0">
                <a:solidFill>
                  <a:schemeClr val="tx1">
                    <a:lumMod val="100000"/>
                  </a:schemeClr>
                </a:solidFill>
              </a:rPr>
              <a:t>Build baseline of AMS operation</a:t>
            </a:r>
            <a:endParaRPr lang="en-US" altLang="zh-CN" dirty="0" smtClean="0">
              <a:solidFill>
                <a:schemeClr val="tx1">
                  <a:lumMod val="100000"/>
                </a:schemeClr>
              </a:solidFill>
            </a:endParaRPr>
          </a:p>
          <a:p>
            <a:pPr marL="323850" lvl="1" indent="-215900">
              <a:spcBef>
                <a:spcPts val="1200"/>
              </a:spcBef>
              <a:buClr>
                <a:schemeClr val="tx2">
                  <a:lumMod val="100000"/>
                </a:schemeClr>
              </a:buClr>
              <a:buSzPct val="100000"/>
              <a:buFont typeface="Trebuchet MS" panose="020B0603020202020204" pitchFamily="34" charset="0"/>
              <a:buChar char="•"/>
            </a:pPr>
            <a:r>
              <a:rPr lang="en-US" altLang="zh-CN" dirty="0" smtClean="0">
                <a:solidFill>
                  <a:schemeClr val="tx1">
                    <a:lumMod val="100000"/>
                  </a:schemeClr>
                </a:solidFill>
              </a:rPr>
              <a:t>Collect AMS best practice and extract common key success factors to support designing AMS standard</a:t>
            </a:r>
            <a:endParaRPr lang="en-US" altLang="zh-CN" dirty="0" smtClean="0">
              <a:solidFill>
                <a:schemeClr val="tx1">
                  <a:lumMod val="100000"/>
                </a:schemeClr>
              </a:solidFill>
            </a:endParaRPr>
          </a:p>
        </p:txBody>
      </p:sp>
      <p:sp>
        <p:nvSpPr>
          <p:cNvPr id="36" name="TextBox 78"/>
          <p:cNvSpPr txBox="1"/>
          <p:nvPr/>
        </p:nvSpPr>
        <p:spPr>
          <a:xfrm>
            <a:off x="8363424" y="3824209"/>
            <a:ext cx="3346948" cy="24568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noAutofit/>
          </a:bodyPr>
          <a:lstStyle/>
          <a:p>
            <a:pPr marL="323850" lvl="1" indent="-215900">
              <a:spcBef>
                <a:spcPts val="1200"/>
              </a:spcBef>
              <a:buClr>
                <a:schemeClr val="tx2">
                  <a:lumMod val="100000"/>
                </a:schemeClr>
              </a:buClr>
              <a:buSzPct val="100000"/>
              <a:buFont typeface="Trebuchet MS" panose="020B0603020202020204" pitchFamily="34" charset="0"/>
              <a:buChar char="•"/>
            </a:pPr>
            <a:r>
              <a:rPr lang="en-US" altLang="zh-CN" dirty="0" smtClean="0">
                <a:solidFill>
                  <a:schemeClr val="tx1">
                    <a:lumMod val="100000"/>
                  </a:schemeClr>
                </a:solidFill>
              </a:rPr>
              <a:t>Need interventional studies to demonstrate AMS approaches' impact to resistance reduction, outcome improvement and cost reduction</a:t>
            </a:r>
            <a:endParaRPr lang="en-US" dirty="0" smtClean="0">
              <a:solidFill>
                <a:schemeClr val="tx1">
                  <a:lumMod val="100000"/>
                </a:schemeClr>
              </a:solidFill>
            </a:endParaRPr>
          </a:p>
        </p:txBody>
      </p:sp>
      <p:cxnSp>
        <p:nvCxnSpPr>
          <p:cNvPr id="37" name="Straight Connector 5"/>
          <p:cNvCxnSpPr/>
          <p:nvPr/>
        </p:nvCxnSpPr>
        <p:spPr>
          <a:xfrm>
            <a:off x="4036570" y="2927944"/>
            <a:ext cx="0" cy="3334362"/>
          </a:xfrm>
          <a:prstGeom prst="line">
            <a:avLst/>
          </a:prstGeom>
          <a:ln w="9525" cap="rnd">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8" name="Straight Connector 79"/>
          <p:cNvCxnSpPr/>
          <p:nvPr/>
        </p:nvCxnSpPr>
        <p:spPr>
          <a:xfrm>
            <a:off x="8277917" y="2927944"/>
            <a:ext cx="0" cy="3334362"/>
          </a:xfrm>
          <a:prstGeom prst="line">
            <a:avLst/>
          </a:prstGeom>
          <a:ln w="9525" cap="rnd">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45"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43" name="图片 4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2" name="对象 41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988" name="think-cell Slide" r:id="rId2" imgW="12700" imgH="12700" progId="TCLayout.ActiveDocument.1">
                  <p:embed/>
                </p:oleObj>
              </mc:Choice>
              <mc:Fallback>
                <p:oleObj name="think-cell Slide" r:id="rId2" imgW="12700" imgH="12700" progId="TCLayout.ActiveDocument.1">
                  <p:embed/>
                  <p:pic>
                    <p:nvPicPr>
                      <p:cNvPr id="0" name="对象 411" hidden="1"/>
                      <p:cNvPicPr/>
                      <p:nvPr/>
                    </p:nvPicPr>
                    <p:blipFill>
                      <a:blip r:embed="rId3"/>
                      <a:stretch>
                        <a:fillRect/>
                      </a:stretch>
                    </p:blipFill>
                    <p:spPr>
                      <a:xfrm>
                        <a:off x="1588" y="1588"/>
                        <a:ext cx="1587" cy="1587"/>
                      </a:xfrm>
                      <a:prstGeom prst="rect">
                        <a:avLst/>
                      </a:prstGeom>
                    </p:spPr>
                  </p:pic>
                </p:oleObj>
              </mc:Fallback>
            </mc:AlternateContent>
          </a:graphicData>
        </a:graphic>
      </p:graphicFrame>
      <p:pic>
        <p:nvPicPr>
          <p:cNvPr id="208" name="图片 3"/>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rcRect/>
          <a:stretch>
            <a:fillRect/>
          </a:stretch>
        </p:blipFill>
        <p:spPr>
          <a:xfrm flipH="1">
            <a:off x="-1" y="1061364"/>
            <a:ext cx="3204840" cy="5783936"/>
          </a:xfrm>
          <a:prstGeom prst="rect">
            <a:avLst/>
          </a:prstGeom>
        </p:spPr>
      </p:pic>
      <p:pic>
        <p:nvPicPr>
          <p:cNvPr id="209" name="图片 3"/>
          <p:cNvPicPr>
            <a:picLocks noChangeAspect="1"/>
          </p:cNvPicPr>
          <p:nvPr/>
        </p:nvPicPr>
        <p:blipFill rotWithShape="1">
          <a:blip r:embed="rId6" cstate="screen">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rcRect/>
          <a:stretch>
            <a:fillRect/>
          </a:stretch>
        </p:blipFill>
        <p:spPr>
          <a:xfrm flipV="1">
            <a:off x="8869680" y="1061364"/>
            <a:ext cx="3322320" cy="5796636"/>
          </a:xfrm>
          <a:prstGeom prst="rect">
            <a:avLst/>
          </a:prstGeom>
          <a:solidFill>
            <a:srgbClr val="FE5817">
              <a:alpha val="24000"/>
            </a:srgbClr>
          </a:solidFill>
          <a:ln w="19050" cmpd="sng">
            <a:noFill/>
            <a:miter lim="800000"/>
            <a:headEnd/>
            <a:tailEnd/>
          </a:ln>
        </p:spPr>
      </p:pic>
      <p:grpSp>
        <p:nvGrpSpPr>
          <p:cNvPr id="211" name="Group 8"/>
          <p:cNvGrpSpPr/>
          <p:nvPr/>
        </p:nvGrpSpPr>
        <p:grpSpPr>
          <a:xfrm>
            <a:off x="2908140" y="562956"/>
            <a:ext cx="6166340" cy="6257392"/>
            <a:chOff x="4130040" y="1329760"/>
            <a:chExt cx="3931920" cy="4794160"/>
          </a:xfrm>
          <a:effectLst/>
        </p:grpSpPr>
        <p:sp>
          <p:nvSpPr>
            <p:cNvPr id="212" name="Isosceles Triangle 4"/>
            <p:cNvSpPr/>
            <p:nvPr/>
          </p:nvSpPr>
          <p:spPr>
            <a:xfrm>
              <a:off x="4130040" y="1329760"/>
              <a:ext cx="3931920" cy="3389588"/>
            </a:xfrm>
            <a:prstGeom prst="triangle">
              <a:avLst/>
            </a:prstGeom>
            <a:noFill/>
            <a:ln w="9525" cap="rnd" cmpd="sng" algn="ctr">
              <a:solidFill>
                <a:schemeClr val="bg1">
                  <a:lumMod val="95000"/>
                </a:schemeClr>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err="1" smtClean="0">
                <a:ln>
                  <a:noFill/>
                </a:ln>
                <a:solidFill>
                  <a:srgbClr val="FFFFFF"/>
                </a:solidFill>
                <a:effectLst/>
                <a:uLnTx/>
                <a:uFillTx/>
                <a:latin typeface="Arial" panose="020B0604020202020204"/>
                <a:ea typeface="华文楷体" panose="02010600040101010101" charset="-122"/>
                <a:cs typeface="+mn-cs"/>
              </a:endParaRPr>
            </a:p>
          </p:txBody>
        </p:sp>
        <p:sp>
          <p:nvSpPr>
            <p:cNvPr id="213" name="Oval 5"/>
            <p:cNvSpPr/>
            <p:nvPr/>
          </p:nvSpPr>
          <p:spPr>
            <a:xfrm>
              <a:off x="4284785" y="1661746"/>
              <a:ext cx="3622430" cy="3622430"/>
            </a:xfrm>
            <a:prstGeom prst="ellipse">
              <a:avLst/>
            </a:prstGeom>
            <a:noFill/>
            <a:ln w="9525" cap="rnd" cmpd="sng" algn="ctr">
              <a:solidFill>
                <a:schemeClr val="bg1">
                  <a:lumMod val="95000"/>
                </a:schemeClr>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err="1" smtClean="0">
                <a:ln>
                  <a:noFill/>
                </a:ln>
                <a:solidFill>
                  <a:srgbClr val="FFFFFF"/>
                </a:solidFill>
                <a:effectLst/>
                <a:uLnTx/>
                <a:uFillTx/>
                <a:latin typeface="Arial" panose="020B0604020202020204"/>
                <a:ea typeface="华文楷体" panose="02010600040101010101" charset="-122"/>
                <a:cs typeface="+mn-cs"/>
              </a:endParaRPr>
            </a:p>
          </p:txBody>
        </p:sp>
        <p:sp>
          <p:nvSpPr>
            <p:cNvPr id="214" name="Isosceles Triangle 30"/>
            <p:cNvSpPr/>
            <p:nvPr/>
          </p:nvSpPr>
          <p:spPr>
            <a:xfrm flipV="1">
              <a:off x="4130040" y="2041938"/>
              <a:ext cx="3931920" cy="3389588"/>
            </a:xfrm>
            <a:prstGeom prst="triangle">
              <a:avLst/>
            </a:prstGeom>
            <a:noFill/>
            <a:ln w="9525" cap="rnd" cmpd="sng" algn="ctr">
              <a:solidFill>
                <a:schemeClr val="bg1">
                  <a:lumMod val="95000"/>
                </a:schemeClr>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err="1" smtClean="0">
                <a:ln>
                  <a:noFill/>
                </a:ln>
                <a:solidFill>
                  <a:srgbClr val="FFFFFF"/>
                </a:solidFill>
                <a:effectLst/>
                <a:uLnTx/>
                <a:uFillTx/>
                <a:latin typeface="Arial" panose="020B0604020202020204"/>
                <a:ea typeface="华文楷体" panose="02010600040101010101" charset="-122"/>
                <a:cs typeface="+mn-cs"/>
              </a:endParaRPr>
            </a:p>
          </p:txBody>
        </p:sp>
        <p:sp>
          <p:nvSpPr>
            <p:cNvPr id="215" name="Isosceles Triangle 31"/>
            <p:cNvSpPr/>
            <p:nvPr/>
          </p:nvSpPr>
          <p:spPr>
            <a:xfrm flipV="1">
              <a:off x="4130040" y="2272736"/>
              <a:ext cx="3931920" cy="3389588"/>
            </a:xfrm>
            <a:prstGeom prst="triangle">
              <a:avLst/>
            </a:prstGeom>
            <a:noFill/>
            <a:ln w="9525" cap="rnd" cmpd="sng" algn="ctr">
              <a:solidFill>
                <a:schemeClr val="bg1">
                  <a:lumMod val="95000"/>
                </a:schemeClr>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err="1" smtClean="0">
                <a:ln>
                  <a:noFill/>
                </a:ln>
                <a:solidFill>
                  <a:srgbClr val="FFFFFF"/>
                </a:solidFill>
                <a:effectLst/>
                <a:uLnTx/>
                <a:uFillTx/>
                <a:latin typeface="Arial" panose="020B0604020202020204"/>
                <a:ea typeface="华文楷体" panose="02010600040101010101" charset="-122"/>
                <a:cs typeface="+mn-cs"/>
              </a:endParaRPr>
            </a:p>
          </p:txBody>
        </p:sp>
        <p:sp>
          <p:nvSpPr>
            <p:cNvPr id="216" name="Isosceles Triangle 33"/>
            <p:cNvSpPr/>
            <p:nvPr/>
          </p:nvSpPr>
          <p:spPr>
            <a:xfrm flipV="1">
              <a:off x="4130040" y="2503534"/>
              <a:ext cx="3931920" cy="3389588"/>
            </a:xfrm>
            <a:prstGeom prst="triangle">
              <a:avLst/>
            </a:prstGeom>
            <a:noFill/>
            <a:ln w="9525" cap="rnd" cmpd="sng" algn="ctr">
              <a:solidFill>
                <a:schemeClr val="bg1">
                  <a:lumMod val="95000"/>
                </a:schemeClr>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err="1" smtClean="0">
                <a:ln>
                  <a:noFill/>
                </a:ln>
                <a:solidFill>
                  <a:srgbClr val="FFFFFF"/>
                </a:solidFill>
                <a:effectLst/>
                <a:uLnTx/>
                <a:uFillTx/>
                <a:latin typeface="Arial" panose="020B0604020202020204"/>
                <a:ea typeface="华文楷体" panose="02010600040101010101" charset="-122"/>
                <a:cs typeface="+mn-cs"/>
              </a:endParaRPr>
            </a:p>
          </p:txBody>
        </p:sp>
        <p:sp>
          <p:nvSpPr>
            <p:cNvPr id="217" name="Isosceles Triangle 35"/>
            <p:cNvSpPr/>
            <p:nvPr/>
          </p:nvSpPr>
          <p:spPr>
            <a:xfrm flipV="1">
              <a:off x="4130040" y="2734332"/>
              <a:ext cx="3931920" cy="3389588"/>
            </a:xfrm>
            <a:prstGeom prst="triangle">
              <a:avLst/>
            </a:prstGeom>
            <a:noFill/>
            <a:ln w="9525" cap="rnd" cmpd="sng" algn="ctr">
              <a:solidFill>
                <a:schemeClr val="bg1">
                  <a:lumMod val="95000"/>
                </a:schemeClr>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err="1" smtClean="0">
                <a:ln>
                  <a:noFill/>
                </a:ln>
                <a:solidFill>
                  <a:srgbClr val="FFFFFF"/>
                </a:solidFill>
                <a:effectLst/>
                <a:uLnTx/>
                <a:uFillTx/>
                <a:latin typeface="Arial" panose="020B0604020202020204"/>
                <a:ea typeface="华文楷体" panose="02010600040101010101" charset="-122"/>
                <a:cs typeface="+mn-cs"/>
              </a:endParaRPr>
            </a:p>
          </p:txBody>
        </p:sp>
      </p:grpSp>
      <p:grpSp>
        <p:nvGrpSpPr>
          <p:cNvPr id="417" name="组合 416"/>
          <p:cNvGrpSpPr/>
          <p:nvPr/>
        </p:nvGrpSpPr>
        <p:grpSpPr>
          <a:xfrm>
            <a:off x="3896847" y="1644372"/>
            <a:ext cx="4171389" cy="4172384"/>
            <a:chOff x="2896385" y="1235581"/>
            <a:chExt cx="3279603" cy="3280385"/>
          </a:xfrm>
          <a:effectLst/>
        </p:grpSpPr>
        <p:sp>
          <p:nvSpPr>
            <p:cNvPr id="413" name="Shape 6914"/>
            <p:cNvSpPr/>
            <p:nvPr/>
          </p:nvSpPr>
          <p:spPr>
            <a:xfrm>
              <a:off x="2896385" y="1235582"/>
              <a:ext cx="1774422" cy="1612631"/>
            </a:xfrm>
            <a:custGeom>
              <a:avLst/>
              <a:gdLst/>
              <a:ahLst/>
              <a:cxnLst>
                <a:cxn ang="0">
                  <a:pos x="wd2" y="hd2"/>
                </a:cxn>
                <a:cxn ang="5400000">
                  <a:pos x="wd2" y="hd2"/>
                </a:cxn>
                <a:cxn ang="10800000">
                  <a:pos x="wd2" y="hd2"/>
                </a:cxn>
                <a:cxn ang="16200000">
                  <a:pos x="wd2" y="hd2"/>
                </a:cxn>
              </a:cxnLst>
              <a:rect l="0" t="0" r="r" b="b"/>
              <a:pathLst>
                <a:path w="21600" h="21600" extrusionOk="0">
                  <a:moveTo>
                    <a:pt x="3095" y="18391"/>
                  </a:moveTo>
                  <a:cubicBezTo>
                    <a:pt x="2131" y="18465"/>
                    <a:pt x="1144" y="18588"/>
                    <a:pt x="224" y="18761"/>
                  </a:cubicBezTo>
                  <a:cubicBezTo>
                    <a:pt x="90" y="19699"/>
                    <a:pt x="22" y="20637"/>
                    <a:pt x="0" y="21600"/>
                  </a:cubicBezTo>
                  <a:cubicBezTo>
                    <a:pt x="3701" y="21600"/>
                    <a:pt x="3701" y="21600"/>
                    <a:pt x="3701" y="21600"/>
                  </a:cubicBezTo>
                  <a:cubicBezTo>
                    <a:pt x="4060" y="20168"/>
                    <a:pt x="5249" y="19156"/>
                    <a:pt x="6639" y="19156"/>
                  </a:cubicBezTo>
                  <a:cubicBezTo>
                    <a:pt x="8030" y="19156"/>
                    <a:pt x="9219" y="20168"/>
                    <a:pt x="9600" y="21600"/>
                  </a:cubicBezTo>
                  <a:cubicBezTo>
                    <a:pt x="10273" y="21600"/>
                    <a:pt x="10273" y="21600"/>
                    <a:pt x="10273" y="21600"/>
                  </a:cubicBezTo>
                  <a:cubicBezTo>
                    <a:pt x="10295" y="20711"/>
                    <a:pt x="10430" y="19847"/>
                    <a:pt x="10654" y="18983"/>
                  </a:cubicBezTo>
                  <a:cubicBezTo>
                    <a:pt x="11125" y="17206"/>
                    <a:pt x="12045" y="15552"/>
                    <a:pt x="13279" y="14268"/>
                  </a:cubicBezTo>
                  <a:cubicBezTo>
                    <a:pt x="14467" y="12960"/>
                    <a:pt x="16015" y="12096"/>
                    <a:pt x="17675" y="11602"/>
                  </a:cubicBezTo>
                  <a:cubicBezTo>
                    <a:pt x="18258" y="11454"/>
                    <a:pt x="18841" y="11380"/>
                    <a:pt x="19447" y="11331"/>
                  </a:cubicBezTo>
                  <a:cubicBezTo>
                    <a:pt x="19447" y="9183"/>
                    <a:pt x="19447" y="9183"/>
                    <a:pt x="19447" y="9183"/>
                  </a:cubicBezTo>
                  <a:cubicBezTo>
                    <a:pt x="19828" y="9109"/>
                    <a:pt x="19828" y="9109"/>
                    <a:pt x="19828" y="9109"/>
                  </a:cubicBezTo>
                  <a:cubicBezTo>
                    <a:pt x="20860" y="8912"/>
                    <a:pt x="21600" y="7949"/>
                    <a:pt x="21600" y="6764"/>
                  </a:cubicBezTo>
                  <a:cubicBezTo>
                    <a:pt x="21600" y="5579"/>
                    <a:pt x="20860" y="4592"/>
                    <a:pt x="19828" y="4394"/>
                  </a:cubicBezTo>
                  <a:cubicBezTo>
                    <a:pt x="19447" y="4320"/>
                    <a:pt x="19447" y="4320"/>
                    <a:pt x="19447" y="4320"/>
                  </a:cubicBezTo>
                  <a:cubicBezTo>
                    <a:pt x="19447" y="0"/>
                    <a:pt x="19447" y="0"/>
                    <a:pt x="19447" y="0"/>
                  </a:cubicBezTo>
                  <a:cubicBezTo>
                    <a:pt x="18931" y="25"/>
                    <a:pt x="18437" y="49"/>
                    <a:pt x="17921" y="123"/>
                  </a:cubicBezTo>
                  <a:cubicBezTo>
                    <a:pt x="17720" y="1185"/>
                    <a:pt x="17563" y="2197"/>
                    <a:pt x="17450" y="3259"/>
                  </a:cubicBezTo>
                  <a:cubicBezTo>
                    <a:pt x="15880" y="3579"/>
                    <a:pt x="15880" y="3579"/>
                    <a:pt x="15880" y="3579"/>
                  </a:cubicBezTo>
                  <a:cubicBezTo>
                    <a:pt x="14355" y="4098"/>
                    <a:pt x="14355" y="4098"/>
                    <a:pt x="14355" y="4098"/>
                  </a:cubicBezTo>
                  <a:cubicBezTo>
                    <a:pt x="13817" y="3209"/>
                    <a:pt x="13234" y="2370"/>
                    <a:pt x="12628" y="1555"/>
                  </a:cubicBezTo>
                  <a:cubicBezTo>
                    <a:pt x="11080" y="2197"/>
                    <a:pt x="9622" y="3110"/>
                    <a:pt x="8277" y="4172"/>
                  </a:cubicBezTo>
                  <a:cubicBezTo>
                    <a:pt x="8568" y="5159"/>
                    <a:pt x="8905" y="6171"/>
                    <a:pt x="9286" y="7134"/>
                  </a:cubicBezTo>
                  <a:cubicBezTo>
                    <a:pt x="8882" y="7529"/>
                    <a:pt x="8456" y="7875"/>
                    <a:pt x="8075" y="8294"/>
                  </a:cubicBezTo>
                  <a:cubicBezTo>
                    <a:pt x="7716" y="8714"/>
                    <a:pt x="7312" y="9109"/>
                    <a:pt x="6976" y="9578"/>
                  </a:cubicBezTo>
                  <a:cubicBezTo>
                    <a:pt x="6123" y="9134"/>
                    <a:pt x="5226" y="8714"/>
                    <a:pt x="4329" y="8319"/>
                  </a:cubicBezTo>
                  <a:cubicBezTo>
                    <a:pt x="3297" y="9751"/>
                    <a:pt x="2422" y="11331"/>
                    <a:pt x="1750" y="12985"/>
                  </a:cubicBezTo>
                  <a:cubicBezTo>
                    <a:pt x="2490" y="13701"/>
                    <a:pt x="3230" y="14367"/>
                    <a:pt x="3993" y="15009"/>
                  </a:cubicBezTo>
                  <a:cubicBezTo>
                    <a:pt x="3746" y="15552"/>
                    <a:pt x="3634" y="16120"/>
                    <a:pt x="3454" y="16663"/>
                  </a:cubicBezTo>
                  <a:cubicBezTo>
                    <a:pt x="3275" y="17231"/>
                    <a:pt x="3207" y="17798"/>
                    <a:pt x="3095" y="18391"/>
                  </a:cubicBezTo>
                  <a:close/>
                </a:path>
              </a:pathLst>
            </a:custGeom>
            <a:solidFill>
              <a:srgbClr val="FE5817">
                <a:alpha val="24000"/>
              </a:srgbClr>
            </a:solidFill>
            <a:ln w="19050" cmpd="sng">
              <a:solidFill>
                <a:schemeClr val="accent1"/>
              </a:solidFill>
              <a:miter lim="800000"/>
            </a:ln>
          </p:spPr>
          <p:txBody>
            <a:bodyPr anchor="ctr"/>
            <a:lstStyle/>
            <a:p>
              <a:endParaRPr>
                <a:solidFill>
                  <a:prstClr val="black"/>
                </a:solidFill>
                <a:latin typeface="Arial" panose="020B0604020202020204"/>
                <a:ea typeface="华文楷体" panose="02010600040101010101" charset="-122"/>
              </a:endParaRPr>
            </a:p>
          </p:txBody>
        </p:sp>
        <p:sp>
          <p:nvSpPr>
            <p:cNvPr id="414" name="Shape 6915"/>
            <p:cNvSpPr/>
            <p:nvPr/>
          </p:nvSpPr>
          <p:spPr>
            <a:xfrm>
              <a:off x="4566956" y="1235581"/>
              <a:ext cx="1609032" cy="1789534"/>
            </a:xfrm>
            <a:custGeom>
              <a:avLst/>
              <a:gdLst/>
              <a:ahLst/>
              <a:cxnLst>
                <a:cxn ang="0">
                  <a:pos x="wd2" y="hd2"/>
                </a:cxn>
                <a:cxn ang="5400000">
                  <a:pos x="wd2" y="hd2"/>
                </a:cxn>
                <a:cxn ang="10800000">
                  <a:pos x="wd2" y="hd2"/>
                </a:cxn>
                <a:cxn ang="16200000">
                  <a:pos x="wd2" y="hd2"/>
                </a:cxn>
              </a:cxnLst>
              <a:rect l="0" t="0" r="r" b="b"/>
              <a:pathLst>
                <a:path w="21600" h="21600" extrusionOk="0">
                  <a:moveTo>
                    <a:pt x="0" y="3181"/>
                  </a:moveTo>
                  <a:cubicBezTo>
                    <a:pt x="1410" y="3559"/>
                    <a:pt x="2375" y="4738"/>
                    <a:pt x="2375" y="6095"/>
                  </a:cubicBezTo>
                  <a:cubicBezTo>
                    <a:pt x="2375" y="7452"/>
                    <a:pt x="1410" y="8609"/>
                    <a:pt x="0" y="9009"/>
                  </a:cubicBezTo>
                  <a:cubicBezTo>
                    <a:pt x="0" y="10188"/>
                    <a:pt x="0" y="10188"/>
                    <a:pt x="0" y="10188"/>
                  </a:cubicBezTo>
                  <a:cubicBezTo>
                    <a:pt x="866" y="10233"/>
                    <a:pt x="1732" y="10344"/>
                    <a:pt x="2573" y="10566"/>
                  </a:cubicBezTo>
                  <a:cubicBezTo>
                    <a:pt x="4379" y="11034"/>
                    <a:pt x="6037" y="11946"/>
                    <a:pt x="7324" y="13169"/>
                  </a:cubicBezTo>
                  <a:cubicBezTo>
                    <a:pt x="8635" y="14370"/>
                    <a:pt x="9501" y="15883"/>
                    <a:pt x="9971" y="17529"/>
                  </a:cubicBezTo>
                  <a:cubicBezTo>
                    <a:pt x="10120" y="18130"/>
                    <a:pt x="10219" y="18753"/>
                    <a:pt x="10268" y="19375"/>
                  </a:cubicBezTo>
                  <a:cubicBezTo>
                    <a:pt x="12767" y="19375"/>
                    <a:pt x="12767" y="19375"/>
                    <a:pt x="12767" y="19375"/>
                  </a:cubicBezTo>
                  <a:cubicBezTo>
                    <a:pt x="12841" y="19754"/>
                    <a:pt x="12841" y="19754"/>
                    <a:pt x="12841" y="19754"/>
                  </a:cubicBezTo>
                  <a:cubicBezTo>
                    <a:pt x="13014" y="20821"/>
                    <a:pt x="14029" y="21600"/>
                    <a:pt x="15216" y="21600"/>
                  </a:cubicBezTo>
                  <a:cubicBezTo>
                    <a:pt x="16404" y="21600"/>
                    <a:pt x="17394" y="20821"/>
                    <a:pt x="17592" y="19776"/>
                  </a:cubicBezTo>
                  <a:cubicBezTo>
                    <a:pt x="17641" y="19375"/>
                    <a:pt x="17641" y="19375"/>
                    <a:pt x="17641" y="19375"/>
                  </a:cubicBezTo>
                  <a:cubicBezTo>
                    <a:pt x="21600" y="19375"/>
                    <a:pt x="21600" y="19375"/>
                    <a:pt x="21600" y="19375"/>
                  </a:cubicBezTo>
                  <a:cubicBezTo>
                    <a:pt x="21600" y="18842"/>
                    <a:pt x="21551" y="18308"/>
                    <a:pt x="21476" y="17774"/>
                  </a:cubicBezTo>
                  <a:cubicBezTo>
                    <a:pt x="20437" y="17596"/>
                    <a:pt x="19423" y="17418"/>
                    <a:pt x="18359" y="17307"/>
                  </a:cubicBezTo>
                  <a:cubicBezTo>
                    <a:pt x="18012" y="15750"/>
                    <a:pt x="18012" y="15750"/>
                    <a:pt x="18012" y="15750"/>
                  </a:cubicBezTo>
                  <a:cubicBezTo>
                    <a:pt x="17518" y="14237"/>
                    <a:pt x="17518" y="14237"/>
                    <a:pt x="17518" y="14237"/>
                  </a:cubicBezTo>
                  <a:cubicBezTo>
                    <a:pt x="18408" y="13703"/>
                    <a:pt x="19225" y="13125"/>
                    <a:pt x="20066" y="12524"/>
                  </a:cubicBezTo>
                  <a:cubicBezTo>
                    <a:pt x="19423" y="10989"/>
                    <a:pt x="18482" y="9543"/>
                    <a:pt x="17443" y="8208"/>
                  </a:cubicBezTo>
                  <a:cubicBezTo>
                    <a:pt x="16429" y="8498"/>
                    <a:pt x="15414" y="8854"/>
                    <a:pt x="14449" y="9209"/>
                  </a:cubicBezTo>
                  <a:cubicBezTo>
                    <a:pt x="14078" y="8809"/>
                    <a:pt x="13732" y="8386"/>
                    <a:pt x="13287" y="8008"/>
                  </a:cubicBezTo>
                  <a:cubicBezTo>
                    <a:pt x="12866" y="7652"/>
                    <a:pt x="12470" y="7252"/>
                    <a:pt x="12000" y="6918"/>
                  </a:cubicBezTo>
                  <a:cubicBezTo>
                    <a:pt x="12470" y="6073"/>
                    <a:pt x="12891" y="5183"/>
                    <a:pt x="13262" y="4293"/>
                  </a:cubicBezTo>
                  <a:cubicBezTo>
                    <a:pt x="11827" y="3270"/>
                    <a:pt x="10268" y="2402"/>
                    <a:pt x="8586" y="1735"/>
                  </a:cubicBezTo>
                  <a:cubicBezTo>
                    <a:pt x="7868" y="2469"/>
                    <a:pt x="7200" y="3203"/>
                    <a:pt x="6581" y="3960"/>
                  </a:cubicBezTo>
                  <a:cubicBezTo>
                    <a:pt x="6037" y="3737"/>
                    <a:pt x="5468" y="3604"/>
                    <a:pt x="4899" y="3426"/>
                  </a:cubicBezTo>
                  <a:cubicBezTo>
                    <a:pt x="4355" y="3270"/>
                    <a:pt x="3761" y="3181"/>
                    <a:pt x="3192" y="3070"/>
                  </a:cubicBezTo>
                  <a:cubicBezTo>
                    <a:pt x="3093" y="2113"/>
                    <a:pt x="2994" y="1135"/>
                    <a:pt x="2796" y="200"/>
                  </a:cubicBezTo>
                  <a:cubicBezTo>
                    <a:pt x="1880" y="111"/>
                    <a:pt x="940" y="22"/>
                    <a:pt x="0" y="0"/>
                  </a:cubicBezTo>
                  <a:lnTo>
                    <a:pt x="0" y="3181"/>
                  </a:lnTo>
                  <a:close/>
                </a:path>
              </a:pathLst>
            </a:custGeom>
            <a:solidFill>
              <a:srgbClr val="FE5817">
                <a:alpha val="24000"/>
              </a:srgbClr>
            </a:solidFill>
            <a:ln w="19050" cmpd="sng">
              <a:solidFill>
                <a:schemeClr val="accent1"/>
              </a:solidFill>
              <a:miter lim="800000"/>
            </a:ln>
          </p:spPr>
          <p:txBody>
            <a:bodyPr anchor="ctr"/>
            <a:lstStyle/>
            <a:p>
              <a:endParaRPr>
                <a:solidFill>
                  <a:prstClr val="black"/>
                </a:solidFill>
                <a:latin typeface="Arial" panose="020B0604020202020204"/>
                <a:ea typeface="华文楷体" panose="02010600040101010101" charset="-122"/>
              </a:endParaRPr>
            </a:p>
          </p:txBody>
        </p:sp>
        <p:sp>
          <p:nvSpPr>
            <p:cNvPr id="415" name="Shape 6916"/>
            <p:cNvSpPr/>
            <p:nvPr/>
          </p:nvSpPr>
          <p:spPr>
            <a:xfrm>
              <a:off x="2896386" y="2740532"/>
              <a:ext cx="1597492" cy="1775433"/>
            </a:xfrm>
            <a:custGeom>
              <a:avLst/>
              <a:gdLst/>
              <a:ahLst/>
              <a:cxnLst>
                <a:cxn ang="0">
                  <a:pos x="wd2" y="hd2"/>
                </a:cxn>
                <a:cxn ang="5400000">
                  <a:pos x="wd2" y="hd2"/>
                </a:cxn>
                <a:cxn ang="10800000">
                  <a:pos x="wd2" y="hd2"/>
                </a:cxn>
                <a:cxn ang="16200000">
                  <a:pos x="wd2" y="hd2"/>
                </a:cxn>
              </a:cxnLst>
              <a:rect l="0" t="0" r="r" b="b"/>
              <a:pathLst>
                <a:path w="21600" h="21600" extrusionOk="0">
                  <a:moveTo>
                    <a:pt x="21600" y="18530"/>
                  </a:moveTo>
                  <a:cubicBezTo>
                    <a:pt x="20205" y="18127"/>
                    <a:pt x="19233" y="16984"/>
                    <a:pt x="19233" y="15595"/>
                  </a:cubicBezTo>
                  <a:cubicBezTo>
                    <a:pt x="19233" y="14228"/>
                    <a:pt x="20205" y="13063"/>
                    <a:pt x="21600" y="12682"/>
                  </a:cubicBezTo>
                  <a:cubicBezTo>
                    <a:pt x="21600" y="11338"/>
                    <a:pt x="21600" y="11338"/>
                    <a:pt x="21600" y="11338"/>
                  </a:cubicBezTo>
                  <a:cubicBezTo>
                    <a:pt x="20778" y="11293"/>
                    <a:pt x="19956" y="11181"/>
                    <a:pt x="19158" y="10957"/>
                  </a:cubicBezTo>
                  <a:cubicBezTo>
                    <a:pt x="17365" y="10486"/>
                    <a:pt x="15696" y="9590"/>
                    <a:pt x="14400" y="8358"/>
                  </a:cubicBezTo>
                  <a:cubicBezTo>
                    <a:pt x="13080" y="7148"/>
                    <a:pt x="12208" y="5602"/>
                    <a:pt x="11709" y="3966"/>
                  </a:cubicBezTo>
                  <a:cubicBezTo>
                    <a:pt x="11560" y="3383"/>
                    <a:pt x="11485" y="2801"/>
                    <a:pt x="11435" y="2218"/>
                  </a:cubicBezTo>
                  <a:cubicBezTo>
                    <a:pt x="9841" y="2218"/>
                    <a:pt x="9841" y="2218"/>
                    <a:pt x="9841" y="2218"/>
                  </a:cubicBezTo>
                  <a:cubicBezTo>
                    <a:pt x="9766" y="1837"/>
                    <a:pt x="9766" y="1837"/>
                    <a:pt x="9766" y="1837"/>
                  </a:cubicBezTo>
                  <a:cubicBezTo>
                    <a:pt x="9592" y="784"/>
                    <a:pt x="8570" y="0"/>
                    <a:pt x="7374" y="0"/>
                  </a:cubicBezTo>
                  <a:cubicBezTo>
                    <a:pt x="6179" y="0"/>
                    <a:pt x="5182" y="784"/>
                    <a:pt x="4983" y="1837"/>
                  </a:cubicBezTo>
                  <a:cubicBezTo>
                    <a:pt x="4933" y="2218"/>
                    <a:pt x="4933" y="2218"/>
                    <a:pt x="4933" y="2218"/>
                  </a:cubicBezTo>
                  <a:cubicBezTo>
                    <a:pt x="0" y="2218"/>
                    <a:pt x="0" y="2218"/>
                    <a:pt x="0" y="2218"/>
                  </a:cubicBezTo>
                  <a:cubicBezTo>
                    <a:pt x="25" y="2711"/>
                    <a:pt x="75" y="3204"/>
                    <a:pt x="125" y="3697"/>
                  </a:cubicBezTo>
                  <a:cubicBezTo>
                    <a:pt x="1196" y="3899"/>
                    <a:pt x="2217" y="4056"/>
                    <a:pt x="3289" y="4168"/>
                  </a:cubicBezTo>
                  <a:cubicBezTo>
                    <a:pt x="3612" y="5736"/>
                    <a:pt x="3612" y="5736"/>
                    <a:pt x="3612" y="5736"/>
                  </a:cubicBezTo>
                  <a:cubicBezTo>
                    <a:pt x="4111" y="7260"/>
                    <a:pt x="4111" y="7260"/>
                    <a:pt x="4111" y="7260"/>
                  </a:cubicBezTo>
                  <a:cubicBezTo>
                    <a:pt x="3239" y="7820"/>
                    <a:pt x="2392" y="8380"/>
                    <a:pt x="1570" y="8985"/>
                  </a:cubicBezTo>
                  <a:cubicBezTo>
                    <a:pt x="2217" y="10554"/>
                    <a:pt x="3139" y="11988"/>
                    <a:pt x="4210" y="13354"/>
                  </a:cubicBezTo>
                  <a:cubicBezTo>
                    <a:pt x="5207" y="13063"/>
                    <a:pt x="6228" y="12705"/>
                    <a:pt x="7200" y="12324"/>
                  </a:cubicBezTo>
                  <a:cubicBezTo>
                    <a:pt x="7599" y="12727"/>
                    <a:pt x="7947" y="13175"/>
                    <a:pt x="8371" y="13534"/>
                  </a:cubicBezTo>
                  <a:cubicBezTo>
                    <a:pt x="8794" y="13915"/>
                    <a:pt x="9193" y="14318"/>
                    <a:pt x="9666" y="14632"/>
                  </a:cubicBezTo>
                  <a:cubicBezTo>
                    <a:pt x="9218" y="15505"/>
                    <a:pt x="8794" y="16379"/>
                    <a:pt x="8421" y="17298"/>
                  </a:cubicBezTo>
                  <a:cubicBezTo>
                    <a:pt x="9841" y="18329"/>
                    <a:pt x="11435" y="19180"/>
                    <a:pt x="13104" y="19852"/>
                  </a:cubicBezTo>
                  <a:cubicBezTo>
                    <a:pt x="13827" y="19135"/>
                    <a:pt x="14500" y="18396"/>
                    <a:pt x="15147" y="17634"/>
                  </a:cubicBezTo>
                  <a:cubicBezTo>
                    <a:pt x="15671" y="17858"/>
                    <a:pt x="16269" y="17970"/>
                    <a:pt x="16817" y="18149"/>
                  </a:cubicBezTo>
                  <a:cubicBezTo>
                    <a:pt x="17390" y="18329"/>
                    <a:pt x="17963" y="18418"/>
                    <a:pt x="18561" y="18530"/>
                  </a:cubicBezTo>
                  <a:cubicBezTo>
                    <a:pt x="18635" y="19494"/>
                    <a:pt x="18760" y="20457"/>
                    <a:pt x="18934" y="21398"/>
                  </a:cubicBezTo>
                  <a:cubicBezTo>
                    <a:pt x="19806" y="21510"/>
                    <a:pt x="20703" y="21578"/>
                    <a:pt x="21600" y="21600"/>
                  </a:cubicBezTo>
                  <a:lnTo>
                    <a:pt x="21600" y="18530"/>
                  </a:lnTo>
                  <a:close/>
                </a:path>
              </a:pathLst>
            </a:custGeom>
            <a:solidFill>
              <a:srgbClr val="FE5817">
                <a:alpha val="24000"/>
              </a:srgbClr>
            </a:solidFill>
            <a:ln w="19050" cmpd="sng">
              <a:solidFill>
                <a:schemeClr val="accent1"/>
              </a:solidFill>
              <a:miter lim="800000"/>
            </a:ln>
          </p:spPr>
          <p:txBody>
            <a:bodyPr anchor="ctr"/>
            <a:lstStyle/>
            <a:p>
              <a:endParaRPr>
                <a:solidFill>
                  <a:prstClr val="black"/>
                </a:solidFill>
                <a:latin typeface="Arial" panose="020B0604020202020204"/>
                <a:ea typeface="华文楷体" panose="02010600040101010101" charset="-122"/>
              </a:endParaRPr>
            </a:p>
          </p:txBody>
        </p:sp>
        <p:sp>
          <p:nvSpPr>
            <p:cNvPr id="416" name="Shape 6917"/>
            <p:cNvSpPr/>
            <p:nvPr/>
          </p:nvSpPr>
          <p:spPr>
            <a:xfrm>
              <a:off x="4390027" y="2914871"/>
              <a:ext cx="1785961" cy="1601095"/>
            </a:xfrm>
            <a:custGeom>
              <a:avLst/>
              <a:gdLst/>
              <a:ahLst/>
              <a:cxnLst>
                <a:cxn ang="0">
                  <a:pos x="wd2" y="hd2"/>
                </a:cxn>
                <a:cxn ang="5400000">
                  <a:pos x="wd2" y="hd2"/>
                </a:cxn>
                <a:cxn ang="10800000">
                  <a:pos x="wd2" y="hd2"/>
                </a:cxn>
                <a:cxn ang="16200000">
                  <a:pos x="wd2" y="hd2"/>
                </a:cxn>
              </a:cxnLst>
              <a:rect l="0" t="0" r="r" b="b"/>
              <a:pathLst>
                <a:path w="21600" h="21600" extrusionOk="0">
                  <a:moveTo>
                    <a:pt x="18546" y="3107"/>
                  </a:moveTo>
                  <a:cubicBezTo>
                    <a:pt x="19482" y="3008"/>
                    <a:pt x="20463" y="2908"/>
                    <a:pt x="21399" y="2734"/>
                  </a:cubicBezTo>
                  <a:cubicBezTo>
                    <a:pt x="21511" y="1814"/>
                    <a:pt x="21578" y="920"/>
                    <a:pt x="21600" y="0"/>
                  </a:cubicBezTo>
                  <a:cubicBezTo>
                    <a:pt x="18769" y="0"/>
                    <a:pt x="18769" y="0"/>
                    <a:pt x="18769" y="0"/>
                  </a:cubicBezTo>
                  <a:cubicBezTo>
                    <a:pt x="18412" y="1491"/>
                    <a:pt x="17231" y="2461"/>
                    <a:pt x="15849" y="2461"/>
                  </a:cubicBezTo>
                  <a:cubicBezTo>
                    <a:pt x="14467" y="2461"/>
                    <a:pt x="13285" y="1491"/>
                    <a:pt x="12907" y="0"/>
                  </a:cubicBezTo>
                  <a:cubicBezTo>
                    <a:pt x="11391" y="0"/>
                    <a:pt x="11391" y="0"/>
                    <a:pt x="11391" y="0"/>
                  </a:cubicBezTo>
                  <a:cubicBezTo>
                    <a:pt x="11346" y="845"/>
                    <a:pt x="11235" y="1665"/>
                    <a:pt x="11012" y="2486"/>
                  </a:cubicBezTo>
                  <a:cubicBezTo>
                    <a:pt x="10544" y="4300"/>
                    <a:pt x="9630" y="5941"/>
                    <a:pt x="8426" y="7258"/>
                  </a:cubicBezTo>
                  <a:cubicBezTo>
                    <a:pt x="7222" y="8575"/>
                    <a:pt x="5684" y="9445"/>
                    <a:pt x="4057" y="9942"/>
                  </a:cubicBezTo>
                  <a:cubicBezTo>
                    <a:pt x="3433" y="10092"/>
                    <a:pt x="2786" y="10191"/>
                    <a:pt x="2140" y="10216"/>
                  </a:cubicBezTo>
                  <a:cubicBezTo>
                    <a:pt x="2140" y="12503"/>
                    <a:pt x="2140" y="12503"/>
                    <a:pt x="2140" y="12503"/>
                  </a:cubicBezTo>
                  <a:cubicBezTo>
                    <a:pt x="1761" y="12577"/>
                    <a:pt x="1761" y="12577"/>
                    <a:pt x="1761" y="12577"/>
                  </a:cubicBezTo>
                  <a:cubicBezTo>
                    <a:pt x="736" y="12801"/>
                    <a:pt x="0" y="13770"/>
                    <a:pt x="0" y="14939"/>
                  </a:cubicBezTo>
                  <a:cubicBezTo>
                    <a:pt x="0" y="16132"/>
                    <a:pt x="736" y="17101"/>
                    <a:pt x="1761" y="17325"/>
                  </a:cubicBezTo>
                  <a:cubicBezTo>
                    <a:pt x="2140" y="17399"/>
                    <a:pt x="2140" y="17399"/>
                    <a:pt x="2140" y="17399"/>
                  </a:cubicBezTo>
                  <a:cubicBezTo>
                    <a:pt x="2140" y="21600"/>
                    <a:pt x="2140" y="21600"/>
                    <a:pt x="2140" y="21600"/>
                  </a:cubicBezTo>
                  <a:cubicBezTo>
                    <a:pt x="2697" y="21600"/>
                    <a:pt x="3254" y="21550"/>
                    <a:pt x="3789" y="21476"/>
                  </a:cubicBezTo>
                  <a:cubicBezTo>
                    <a:pt x="3990" y="20432"/>
                    <a:pt x="4146" y="19413"/>
                    <a:pt x="4258" y="18344"/>
                  </a:cubicBezTo>
                  <a:cubicBezTo>
                    <a:pt x="5818" y="18021"/>
                    <a:pt x="5818" y="18021"/>
                    <a:pt x="5818" y="18021"/>
                  </a:cubicBezTo>
                  <a:cubicBezTo>
                    <a:pt x="7356" y="17499"/>
                    <a:pt x="7356" y="17499"/>
                    <a:pt x="7356" y="17499"/>
                  </a:cubicBezTo>
                  <a:cubicBezTo>
                    <a:pt x="7891" y="18394"/>
                    <a:pt x="8448" y="19214"/>
                    <a:pt x="9050" y="20059"/>
                  </a:cubicBezTo>
                  <a:cubicBezTo>
                    <a:pt x="10611" y="19413"/>
                    <a:pt x="12037" y="18468"/>
                    <a:pt x="13397" y="17424"/>
                  </a:cubicBezTo>
                  <a:cubicBezTo>
                    <a:pt x="13107" y="16405"/>
                    <a:pt x="12750" y="15386"/>
                    <a:pt x="12372" y="14417"/>
                  </a:cubicBezTo>
                  <a:cubicBezTo>
                    <a:pt x="12773" y="14044"/>
                    <a:pt x="13219" y="13696"/>
                    <a:pt x="13575" y="13248"/>
                  </a:cubicBezTo>
                  <a:cubicBezTo>
                    <a:pt x="13954" y="12826"/>
                    <a:pt x="14355" y="12453"/>
                    <a:pt x="14667" y="11981"/>
                  </a:cubicBezTo>
                  <a:cubicBezTo>
                    <a:pt x="15515" y="12428"/>
                    <a:pt x="16406" y="12826"/>
                    <a:pt x="17320" y="13223"/>
                  </a:cubicBezTo>
                  <a:cubicBezTo>
                    <a:pt x="18346" y="11782"/>
                    <a:pt x="19193" y="10216"/>
                    <a:pt x="19861" y="8526"/>
                  </a:cubicBezTo>
                  <a:cubicBezTo>
                    <a:pt x="19148" y="7805"/>
                    <a:pt x="18412" y="7134"/>
                    <a:pt x="17654" y="6512"/>
                  </a:cubicBezTo>
                  <a:cubicBezTo>
                    <a:pt x="17877" y="5965"/>
                    <a:pt x="17989" y="5394"/>
                    <a:pt x="18167" y="4822"/>
                  </a:cubicBezTo>
                  <a:cubicBezTo>
                    <a:pt x="18346" y="4275"/>
                    <a:pt x="18412" y="3679"/>
                    <a:pt x="18546" y="3107"/>
                  </a:cubicBezTo>
                  <a:close/>
                </a:path>
              </a:pathLst>
            </a:custGeom>
            <a:solidFill>
              <a:srgbClr val="FE5817">
                <a:alpha val="24000"/>
              </a:srgbClr>
            </a:solidFill>
            <a:ln w="19050" cmpd="sng">
              <a:solidFill>
                <a:schemeClr val="accent1"/>
              </a:solidFill>
              <a:miter lim="800000"/>
            </a:ln>
          </p:spPr>
          <p:txBody>
            <a:bodyPr anchor="ctr"/>
            <a:lstStyle/>
            <a:p>
              <a:endParaRPr>
                <a:solidFill>
                  <a:prstClr val="black"/>
                </a:solidFill>
                <a:latin typeface="Arial" panose="020B0604020202020204"/>
                <a:ea typeface="华文楷体" panose="02010600040101010101" charset="-122"/>
              </a:endParaRPr>
            </a:p>
          </p:txBody>
        </p:sp>
      </p:grpSp>
      <p:sp>
        <p:nvSpPr>
          <p:cNvPr id="418" name="TextBox 86"/>
          <p:cNvSpPr txBox="1"/>
          <p:nvPr/>
        </p:nvSpPr>
        <p:spPr>
          <a:xfrm rot="2576523">
            <a:off x="4289852" y="4492110"/>
            <a:ext cx="1275464" cy="412726"/>
          </a:xfrm>
          <a:prstGeom prst="rect">
            <a:avLst/>
          </a:prstGeom>
          <a:noFill/>
          <a:ln cmpd="sng">
            <a:noFill/>
          </a:ln>
          <a:effectLst/>
          <a:extLst>
            <a:ext uri="{909E8E84-426E-40DD-AFC4-6F175D3DCCD1}">
              <a14:hiddenFill xmlns:a14="http://schemas.microsoft.com/office/drawing/2010/main">
                <a:solidFill>
                  <a:srgbClr val="FFFFFF"/>
                </a:solidFill>
              </a14:hiddenFill>
            </a:ext>
          </a:extLst>
        </p:spPr>
        <p:txBody>
          <a:bodyPr wrap="square" lIns="36727" tIns="36727" rIns="36727" bIns="36727" rtlCol="0">
            <a:spAutoFit/>
          </a:bodyPr>
          <a:lstStyle/>
          <a:p>
            <a:pPr marL="0" marR="0" lvl="0" indent="0" algn="ctr" defTabSz="932815" rtl="0" eaLnBrk="1" fontAlgn="auto" latinLnBrk="0" hangingPunct="1">
              <a:lnSpc>
                <a:spcPct val="100000"/>
              </a:lnSpc>
              <a:spcBef>
                <a:spcPts val="0"/>
              </a:spcBef>
              <a:spcAft>
                <a:spcPts val="0"/>
              </a:spcAft>
              <a:buClrTx/>
              <a:buSzTx/>
              <a:buFontTx/>
              <a:buNone/>
              <a:defRPr/>
            </a:pPr>
            <a:r>
              <a:rPr kumimoji="0" lang="en-US" altLang="zh-CN" sz="2200" b="1" i="0" u="none" strike="noStrike" kern="1200" cap="none" spc="0" normalizeH="0" baseline="0" noProof="0" smtClean="0">
                <a:ln>
                  <a:noFill/>
                </a:ln>
                <a:solidFill>
                  <a:srgbClr val="FF5805"/>
                </a:solidFill>
                <a:effectLst/>
                <a:uLnTx/>
                <a:uFillTx/>
                <a:latin typeface="Arial" panose="020B0604020202020204"/>
                <a:ea typeface="华文楷体" panose="02010600040101010101" charset="-122"/>
                <a:cs typeface="+mn-cs"/>
              </a:rPr>
              <a:t>X</a:t>
            </a:r>
            <a:endParaRPr kumimoji="0" lang="en-US" sz="2200" b="1" i="0" u="none" strike="noStrike" kern="1200" cap="none" spc="0" normalizeH="0" baseline="0" noProof="0" dirty="0" err="1">
              <a:ln>
                <a:noFill/>
              </a:ln>
              <a:solidFill>
                <a:srgbClr val="FF5805"/>
              </a:solidFill>
              <a:effectLst/>
              <a:uLnTx/>
              <a:uFillTx/>
              <a:latin typeface="Arial" panose="020B0604020202020204"/>
              <a:ea typeface="华文楷体" panose="02010600040101010101" charset="-122"/>
              <a:cs typeface="+mn-cs"/>
            </a:endParaRPr>
          </a:p>
        </p:txBody>
      </p:sp>
      <p:sp>
        <p:nvSpPr>
          <p:cNvPr id="419" name="TextBox 169"/>
          <p:cNvSpPr txBox="1"/>
          <p:nvPr/>
        </p:nvSpPr>
        <p:spPr>
          <a:xfrm rot="19102074">
            <a:off x="4417939" y="2434538"/>
            <a:ext cx="1213534" cy="412726"/>
          </a:xfrm>
          <a:prstGeom prst="rect">
            <a:avLst/>
          </a:prstGeom>
          <a:noFill/>
          <a:ln cmpd="sng">
            <a:noFill/>
          </a:ln>
          <a:effectLst/>
          <a:extLst>
            <a:ext uri="{909E8E84-426E-40DD-AFC4-6F175D3DCCD1}">
              <a14:hiddenFill xmlns:a14="http://schemas.microsoft.com/office/drawing/2010/main">
                <a:solidFill>
                  <a:srgbClr val="FFFFFF"/>
                </a:solidFill>
              </a14:hiddenFill>
            </a:ext>
          </a:extLst>
        </p:spPr>
        <p:txBody>
          <a:bodyPr wrap="square" lIns="36727" tIns="36727" rIns="36727" bIns="36727" rtlCol="0">
            <a:spAutoFit/>
          </a:bodyPr>
          <a:lstStyle/>
          <a:p>
            <a:pPr marL="0" marR="0" lvl="0" indent="0" algn="ctr" defTabSz="932815" rtl="0" eaLnBrk="1" fontAlgn="auto" latinLnBrk="0" hangingPunct="1">
              <a:lnSpc>
                <a:spcPct val="100000"/>
              </a:lnSpc>
              <a:spcBef>
                <a:spcPts val="0"/>
              </a:spcBef>
              <a:spcAft>
                <a:spcPts val="0"/>
              </a:spcAft>
              <a:buClrTx/>
              <a:buSzTx/>
              <a:buFontTx/>
              <a:buNone/>
              <a:defRPr/>
            </a:pPr>
            <a:r>
              <a:rPr kumimoji="0" lang="en-US" altLang="zh-CN" sz="2200" b="1" i="0" u="none" strike="noStrike" kern="1200" cap="none" spc="0" normalizeH="0" baseline="0" noProof="0" smtClean="0">
                <a:ln>
                  <a:noFill/>
                </a:ln>
                <a:solidFill>
                  <a:srgbClr val="FF5805"/>
                </a:solidFill>
                <a:effectLst/>
                <a:uLnTx/>
                <a:uFillTx/>
                <a:latin typeface="Arial" panose="020B0604020202020204"/>
                <a:ea typeface="华文楷体" panose="02010600040101010101" charset="-122"/>
                <a:cs typeface="+mn-cs"/>
              </a:rPr>
              <a:t>X</a:t>
            </a:r>
            <a:endParaRPr kumimoji="0" lang="en-US" sz="2200" b="1" i="0" u="none" strike="noStrike" kern="1200" cap="none" spc="0" normalizeH="0" baseline="0" noProof="0" dirty="0" err="1">
              <a:ln>
                <a:noFill/>
              </a:ln>
              <a:solidFill>
                <a:srgbClr val="FF5805"/>
              </a:solidFill>
              <a:effectLst/>
              <a:uLnTx/>
              <a:uFillTx/>
              <a:latin typeface="Arial" panose="020B0604020202020204"/>
              <a:ea typeface="华文楷体" panose="02010600040101010101" charset="-122"/>
              <a:cs typeface="+mn-cs"/>
            </a:endParaRPr>
          </a:p>
        </p:txBody>
      </p:sp>
      <p:sp>
        <p:nvSpPr>
          <p:cNvPr id="420" name="TextBox 86"/>
          <p:cNvSpPr txBox="1"/>
          <p:nvPr/>
        </p:nvSpPr>
        <p:spPr>
          <a:xfrm rot="2962126">
            <a:off x="6399065" y="2534217"/>
            <a:ext cx="1359486" cy="412726"/>
          </a:xfrm>
          <a:prstGeom prst="rect">
            <a:avLst/>
          </a:prstGeom>
          <a:noFill/>
          <a:ln cmpd="sng">
            <a:noFill/>
          </a:ln>
          <a:effectLst/>
          <a:extLst>
            <a:ext uri="{909E8E84-426E-40DD-AFC4-6F175D3DCCD1}">
              <a14:hiddenFill xmlns:a14="http://schemas.microsoft.com/office/drawing/2010/main">
                <a:solidFill>
                  <a:srgbClr val="FFFFFF"/>
                </a:solidFill>
              </a14:hiddenFill>
            </a:ext>
          </a:extLst>
        </p:spPr>
        <p:txBody>
          <a:bodyPr wrap="square" lIns="36727" tIns="36727" rIns="36727" bIns="36727" rtlCol="0">
            <a:spAutoFit/>
          </a:bodyPr>
          <a:lstStyle/>
          <a:p>
            <a:pPr marL="0" marR="0" lvl="0" indent="0" algn="ctr" defTabSz="932815" rtl="0" eaLnBrk="1" fontAlgn="auto" latinLnBrk="0" hangingPunct="1">
              <a:lnSpc>
                <a:spcPct val="100000"/>
              </a:lnSpc>
              <a:spcBef>
                <a:spcPts val="0"/>
              </a:spcBef>
              <a:spcAft>
                <a:spcPts val="0"/>
              </a:spcAft>
              <a:buClrTx/>
              <a:buSzTx/>
              <a:buFontTx/>
              <a:buNone/>
              <a:defRPr/>
            </a:pPr>
            <a:r>
              <a:rPr kumimoji="0" lang="en-US" altLang="zh-CN" sz="2200" b="1" i="0" u="none" strike="noStrike" kern="1200" cap="none" spc="0" normalizeH="0" baseline="0" noProof="0" smtClean="0">
                <a:ln>
                  <a:noFill/>
                </a:ln>
                <a:solidFill>
                  <a:srgbClr val="FF5805"/>
                </a:solidFill>
                <a:effectLst/>
                <a:uLnTx/>
                <a:uFillTx/>
                <a:latin typeface="Arial" panose="020B0604020202020204"/>
                <a:ea typeface="华文楷体" panose="02010600040101010101" charset="-122"/>
                <a:cs typeface="+mn-cs"/>
              </a:rPr>
              <a:t>X</a:t>
            </a:r>
            <a:endParaRPr kumimoji="0" lang="en-US" sz="2200" b="1" i="0" u="none" strike="noStrike" kern="1200" cap="none" spc="0" normalizeH="0" baseline="0" noProof="0" dirty="0" err="1">
              <a:ln>
                <a:noFill/>
              </a:ln>
              <a:solidFill>
                <a:srgbClr val="FF5805"/>
              </a:solidFill>
              <a:effectLst/>
              <a:uLnTx/>
              <a:uFillTx/>
              <a:latin typeface="Arial" panose="020B0604020202020204"/>
              <a:ea typeface="华文楷体" panose="02010600040101010101" charset="-122"/>
              <a:cs typeface="+mn-cs"/>
            </a:endParaRPr>
          </a:p>
        </p:txBody>
      </p:sp>
      <p:sp>
        <p:nvSpPr>
          <p:cNvPr id="421" name="TextBox 86"/>
          <p:cNvSpPr txBox="1"/>
          <p:nvPr/>
        </p:nvSpPr>
        <p:spPr>
          <a:xfrm rot="19325245">
            <a:off x="6344316" y="4556657"/>
            <a:ext cx="1274738" cy="412726"/>
          </a:xfrm>
          <a:prstGeom prst="rect">
            <a:avLst/>
          </a:prstGeom>
          <a:noFill/>
          <a:ln cmpd="sng">
            <a:noFill/>
          </a:ln>
          <a:effectLst/>
          <a:extLst>
            <a:ext uri="{909E8E84-426E-40DD-AFC4-6F175D3DCCD1}">
              <a14:hiddenFill xmlns:a14="http://schemas.microsoft.com/office/drawing/2010/main">
                <a:solidFill>
                  <a:srgbClr val="FFFFFF"/>
                </a:solidFill>
              </a14:hiddenFill>
            </a:ext>
          </a:extLst>
        </p:spPr>
        <p:txBody>
          <a:bodyPr wrap="square" lIns="36727" tIns="36727" rIns="36727" bIns="36727" rtlCol="0">
            <a:spAutoFit/>
          </a:bodyPr>
          <a:lstStyle/>
          <a:p>
            <a:pPr marL="0" marR="0" lvl="0" indent="0" algn="ctr" defTabSz="932815" rtl="0" eaLnBrk="1" fontAlgn="auto" latinLnBrk="0" hangingPunct="1">
              <a:lnSpc>
                <a:spcPct val="100000"/>
              </a:lnSpc>
              <a:spcBef>
                <a:spcPts val="0"/>
              </a:spcBef>
              <a:spcAft>
                <a:spcPts val="0"/>
              </a:spcAft>
              <a:buClrTx/>
              <a:buSzTx/>
              <a:buFontTx/>
              <a:buNone/>
              <a:defRPr/>
            </a:pPr>
            <a:r>
              <a:rPr kumimoji="0" lang="en-US" altLang="zh-CN" sz="2200" b="1" i="0" u="none" strike="noStrike" kern="1200" cap="none" spc="0" normalizeH="0" baseline="0" noProof="0" smtClean="0">
                <a:ln>
                  <a:noFill/>
                </a:ln>
                <a:solidFill>
                  <a:srgbClr val="FF5805"/>
                </a:solidFill>
                <a:effectLst/>
                <a:uLnTx/>
                <a:uFillTx/>
                <a:latin typeface="Arial" panose="020B0604020202020204"/>
                <a:ea typeface="华文楷体" panose="02010600040101010101" charset="-122"/>
                <a:cs typeface="+mn-cs"/>
              </a:rPr>
              <a:t>X</a:t>
            </a:r>
            <a:endParaRPr kumimoji="0" lang="en-US" sz="2200" b="1" i="0" u="none" strike="noStrike" kern="1200" cap="none" spc="0" normalizeH="0" baseline="0" noProof="0" dirty="0" err="1">
              <a:ln>
                <a:noFill/>
              </a:ln>
              <a:solidFill>
                <a:srgbClr val="FF5805"/>
              </a:solidFill>
              <a:effectLst/>
              <a:uLnTx/>
              <a:uFillTx/>
              <a:latin typeface="Arial" panose="020B0604020202020204"/>
              <a:ea typeface="华文楷体" panose="02010600040101010101" charset="-122"/>
              <a:cs typeface="+mn-cs"/>
            </a:endParaRPr>
          </a:p>
        </p:txBody>
      </p:sp>
      <p:grpSp>
        <p:nvGrpSpPr>
          <p:cNvPr id="426" name="组合 425"/>
          <p:cNvGrpSpPr/>
          <p:nvPr/>
        </p:nvGrpSpPr>
        <p:grpSpPr>
          <a:xfrm>
            <a:off x="5534005" y="3032167"/>
            <a:ext cx="952856" cy="969726"/>
            <a:chOff x="7564819" y="2354581"/>
            <a:chExt cx="1882775" cy="1916112"/>
          </a:xfrm>
          <a:effectLst/>
        </p:grpSpPr>
        <p:sp>
          <p:nvSpPr>
            <p:cNvPr id="427" name="Freeform 191"/>
            <p:cNvSpPr/>
            <p:nvPr/>
          </p:nvSpPr>
          <p:spPr bwMode="auto">
            <a:xfrm>
              <a:off x="7564819" y="3289618"/>
              <a:ext cx="1882775" cy="795338"/>
            </a:xfrm>
            <a:custGeom>
              <a:avLst/>
              <a:gdLst>
                <a:gd name="T0" fmla="*/ 1989 w 2478"/>
                <a:gd name="T1" fmla="*/ 278 h 1045"/>
                <a:gd name="T2" fmla="*/ 2023 w 2478"/>
                <a:gd name="T3" fmla="*/ 168 h 1045"/>
                <a:gd name="T4" fmla="*/ 2050 w 2478"/>
                <a:gd name="T5" fmla="*/ 145 h 1045"/>
                <a:gd name="T6" fmla="*/ 2213 w 2478"/>
                <a:gd name="T7" fmla="*/ 1 h 1045"/>
                <a:gd name="T8" fmla="*/ 2284 w 2478"/>
                <a:gd name="T9" fmla="*/ 22 h 1045"/>
                <a:gd name="T10" fmla="*/ 2452 w 2478"/>
                <a:gd name="T11" fmla="*/ 60 h 1045"/>
                <a:gd name="T12" fmla="*/ 2440 w 2478"/>
                <a:gd name="T13" fmla="*/ 217 h 1045"/>
                <a:gd name="T14" fmla="*/ 2208 w 2478"/>
                <a:gd name="T15" fmla="*/ 449 h 1045"/>
                <a:gd name="T16" fmla="*/ 1973 w 2478"/>
                <a:gd name="T17" fmla="*/ 596 h 1045"/>
                <a:gd name="T18" fmla="*/ 1825 w 2478"/>
                <a:gd name="T19" fmla="*/ 630 h 1045"/>
                <a:gd name="T20" fmla="*/ 1667 w 2478"/>
                <a:gd name="T21" fmla="*/ 634 h 1045"/>
                <a:gd name="T22" fmla="*/ 1653 w 2478"/>
                <a:gd name="T23" fmla="*/ 752 h 1045"/>
                <a:gd name="T24" fmla="*/ 1237 w 2478"/>
                <a:gd name="T25" fmla="*/ 768 h 1045"/>
                <a:gd name="T26" fmla="*/ 1163 w 2478"/>
                <a:gd name="T27" fmla="*/ 846 h 1045"/>
                <a:gd name="T28" fmla="*/ 1205 w 2478"/>
                <a:gd name="T29" fmla="*/ 892 h 1045"/>
                <a:gd name="T30" fmla="*/ 1263 w 2478"/>
                <a:gd name="T31" fmla="*/ 894 h 1045"/>
                <a:gd name="T32" fmla="*/ 1639 w 2478"/>
                <a:gd name="T33" fmla="*/ 894 h 1045"/>
                <a:gd name="T34" fmla="*/ 1653 w 2478"/>
                <a:gd name="T35" fmla="*/ 1030 h 1045"/>
                <a:gd name="T36" fmla="*/ 1513 w 2478"/>
                <a:gd name="T37" fmla="*/ 1045 h 1045"/>
                <a:gd name="T38" fmla="*/ 1410 w 2478"/>
                <a:gd name="T39" fmla="*/ 993 h 1045"/>
                <a:gd name="T40" fmla="*/ 1270 w 2478"/>
                <a:gd name="T41" fmla="*/ 1029 h 1045"/>
                <a:gd name="T42" fmla="*/ 795 w 2478"/>
                <a:gd name="T43" fmla="*/ 1045 h 1045"/>
                <a:gd name="T44" fmla="*/ 659 w 2478"/>
                <a:gd name="T45" fmla="*/ 991 h 1045"/>
                <a:gd name="T46" fmla="*/ 538 w 2478"/>
                <a:gd name="T47" fmla="*/ 1034 h 1045"/>
                <a:gd name="T48" fmla="*/ 396 w 2478"/>
                <a:gd name="T49" fmla="*/ 1045 h 1045"/>
                <a:gd name="T50" fmla="*/ 380 w 2478"/>
                <a:gd name="T51" fmla="*/ 990 h 1045"/>
                <a:gd name="T52" fmla="*/ 380 w 2478"/>
                <a:gd name="T53" fmla="*/ 949 h 1045"/>
                <a:gd name="T54" fmla="*/ 389 w 2478"/>
                <a:gd name="T55" fmla="*/ 895 h 1045"/>
                <a:gd name="T56" fmla="*/ 430 w 2478"/>
                <a:gd name="T57" fmla="*/ 896 h 1045"/>
                <a:gd name="T58" fmla="*/ 484 w 2478"/>
                <a:gd name="T59" fmla="*/ 898 h 1045"/>
                <a:gd name="T60" fmla="*/ 521 w 2478"/>
                <a:gd name="T61" fmla="*/ 894 h 1045"/>
                <a:gd name="T62" fmla="*/ 855 w 2478"/>
                <a:gd name="T63" fmla="*/ 874 h 1045"/>
                <a:gd name="T64" fmla="*/ 821 w 2478"/>
                <a:gd name="T65" fmla="*/ 770 h 1045"/>
                <a:gd name="T66" fmla="*/ 663 w 2478"/>
                <a:gd name="T67" fmla="*/ 769 h 1045"/>
                <a:gd name="T68" fmla="*/ 401 w 2478"/>
                <a:gd name="T69" fmla="*/ 768 h 1045"/>
                <a:gd name="T70" fmla="*/ 378 w 2478"/>
                <a:gd name="T71" fmla="*/ 648 h 1045"/>
                <a:gd name="T72" fmla="*/ 127 w 2478"/>
                <a:gd name="T73" fmla="*/ 634 h 1045"/>
                <a:gd name="T74" fmla="*/ 38 w 2478"/>
                <a:gd name="T75" fmla="*/ 595 h 1045"/>
                <a:gd name="T76" fmla="*/ 23 w 2478"/>
                <a:gd name="T77" fmla="*/ 572 h 1045"/>
                <a:gd name="T78" fmla="*/ 4 w 2478"/>
                <a:gd name="T79" fmla="*/ 522 h 1045"/>
                <a:gd name="T80" fmla="*/ 20 w 2478"/>
                <a:gd name="T81" fmla="*/ 449 h 1045"/>
                <a:gd name="T82" fmla="*/ 616 w 2478"/>
                <a:gd name="T83" fmla="*/ 383 h 1045"/>
                <a:gd name="T84" fmla="*/ 1719 w 2478"/>
                <a:gd name="T85" fmla="*/ 383 h 1045"/>
                <a:gd name="T86" fmla="*/ 1809 w 2478"/>
                <a:gd name="T87" fmla="*/ 377 h 1045"/>
                <a:gd name="T88" fmla="*/ 1907 w 2478"/>
                <a:gd name="T89" fmla="*/ 349 h 1045"/>
                <a:gd name="T90" fmla="*/ 2001 w 2478"/>
                <a:gd name="T91" fmla="*/ 293 h 1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8" h="1045">
                  <a:moveTo>
                    <a:pt x="2001" y="293"/>
                  </a:moveTo>
                  <a:cubicBezTo>
                    <a:pt x="1996" y="287"/>
                    <a:pt x="1993" y="282"/>
                    <a:pt x="1989" y="278"/>
                  </a:cubicBezTo>
                  <a:cubicBezTo>
                    <a:pt x="1969" y="257"/>
                    <a:pt x="1970" y="227"/>
                    <a:pt x="1990" y="206"/>
                  </a:cubicBezTo>
                  <a:cubicBezTo>
                    <a:pt x="2001" y="194"/>
                    <a:pt x="2012" y="180"/>
                    <a:pt x="2023" y="168"/>
                  </a:cubicBezTo>
                  <a:cubicBezTo>
                    <a:pt x="2028" y="163"/>
                    <a:pt x="2034" y="159"/>
                    <a:pt x="2040" y="154"/>
                  </a:cubicBezTo>
                  <a:cubicBezTo>
                    <a:pt x="2043" y="151"/>
                    <a:pt x="2047" y="149"/>
                    <a:pt x="2050" y="145"/>
                  </a:cubicBezTo>
                  <a:cubicBezTo>
                    <a:pt x="2092" y="104"/>
                    <a:pt x="2134" y="62"/>
                    <a:pt x="2176" y="20"/>
                  </a:cubicBezTo>
                  <a:cubicBezTo>
                    <a:pt x="2186" y="9"/>
                    <a:pt x="2198" y="2"/>
                    <a:pt x="2213" y="1"/>
                  </a:cubicBezTo>
                  <a:cubicBezTo>
                    <a:pt x="2229" y="0"/>
                    <a:pt x="2242" y="5"/>
                    <a:pt x="2254" y="18"/>
                  </a:cubicBezTo>
                  <a:cubicBezTo>
                    <a:pt x="2267" y="32"/>
                    <a:pt x="2268" y="32"/>
                    <a:pt x="2284" y="22"/>
                  </a:cubicBezTo>
                  <a:cubicBezTo>
                    <a:pt x="2306" y="8"/>
                    <a:pt x="2330" y="1"/>
                    <a:pt x="2356" y="4"/>
                  </a:cubicBezTo>
                  <a:cubicBezTo>
                    <a:pt x="2396" y="8"/>
                    <a:pt x="2428" y="26"/>
                    <a:pt x="2452" y="60"/>
                  </a:cubicBezTo>
                  <a:cubicBezTo>
                    <a:pt x="2474" y="92"/>
                    <a:pt x="2478" y="127"/>
                    <a:pt x="2470" y="164"/>
                  </a:cubicBezTo>
                  <a:cubicBezTo>
                    <a:pt x="2465" y="184"/>
                    <a:pt x="2454" y="203"/>
                    <a:pt x="2440" y="217"/>
                  </a:cubicBezTo>
                  <a:cubicBezTo>
                    <a:pt x="2386" y="272"/>
                    <a:pt x="2331" y="325"/>
                    <a:pt x="2277" y="379"/>
                  </a:cubicBezTo>
                  <a:cubicBezTo>
                    <a:pt x="2254" y="403"/>
                    <a:pt x="2231" y="426"/>
                    <a:pt x="2208" y="449"/>
                  </a:cubicBezTo>
                  <a:cubicBezTo>
                    <a:pt x="2167" y="488"/>
                    <a:pt x="2122" y="522"/>
                    <a:pt x="2073" y="549"/>
                  </a:cubicBezTo>
                  <a:cubicBezTo>
                    <a:pt x="2041" y="568"/>
                    <a:pt x="2007" y="583"/>
                    <a:pt x="1973" y="596"/>
                  </a:cubicBezTo>
                  <a:cubicBezTo>
                    <a:pt x="1950" y="604"/>
                    <a:pt x="1926" y="608"/>
                    <a:pt x="1903" y="615"/>
                  </a:cubicBezTo>
                  <a:cubicBezTo>
                    <a:pt x="1877" y="623"/>
                    <a:pt x="1851" y="625"/>
                    <a:pt x="1825" y="630"/>
                  </a:cubicBezTo>
                  <a:cubicBezTo>
                    <a:pt x="1806" y="634"/>
                    <a:pt x="1788" y="633"/>
                    <a:pt x="1769" y="634"/>
                  </a:cubicBezTo>
                  <a:cubicBezTo>
                    <a:pt x="1735" y="634"/>
                    <a:pt x="1701" y="634"/>
                    <a:pt x="1667" y="634"/>
                  </a:cubicBezTo>
                  <a:cubicBezTo>
                    <a:pt x="1653" y="634"/>
                    <a:pt x="1653" y="634"/>
                    <a:pt x="1653" y="648"/>
                  </a:cubicBezTo>
                  <a:cubicBezTo>
                    <a:pt x="1653" y="683"/>
                    <a:pt x="1653" y="717"/>
                    <a:pt x="1653" y="752"/>
                  </a:cubicBezTo>
                  <a:cubicBezTo>
                    <a:pt x="1653" y="767"/>
                    <a:pt x="1652" y="768"/>
                    <a:pt x="1636" y="768"/>
                  </a:cubicBezTo>
                  <a:cubicBezTo>
                    <a:pt x="1503" y="768"/>
                    <a:pt x="1370" y="768"/>
                    <a:pt x="1237" y="768"/>
                  </a:cubicBezTo>
                  <a:cubicBezTo>
                    <a:pt x="1219" y="768"/>
                    <a:pt x="1202" y="770"/>
                    <a:pt x="1186" y="781"/>
                  </a:cubicBezTo>
                  <a:cubicBezTo>
                    <a:pt x="1166" y="796"/>
                    <a:pt x="1157" y="823"/>
                    <a:pt x="1163" y="846"/>
                  </a:cubicBezTo>
                  <a:cubicBezTo>
                    <a:pt x="1167" y="866"/>
                    <a:pt x="1178" y="879"/>
                    <a:pt x="1195" y="888"/>
                  </a:cubicBezTo>
                  <a:cubicBezTo>
                    <a:pt x="1198" y="890"/>
                    <a:pt x="1201" y="891"/>
                    <a:pt x="1205" y="892"/>
                  </a:cubicBezTo>
                  <a:cubicBezTo>
                    <a:pt x="1222" y="894"/>
                    <a:pt x="1238" y="899"/>
                    <a:pt x="1255" y="894"/>
                  </a:cubicBezTo>
                  <a:cubicBezTo>
                    <a:pt x="1258" y="894"/>
                    <a:pt x="1260" y="894"/>
                    <a:pt x="1263" y="894"/>
                  </a:cubicBezTo>
                  <a:cubicBezTo>
                    <a:pt x="1384" y="894"/>
                    <a:pt x="1506" y="894"/>
                    <a:pt x="1628" y="894"/>
                  </a:cubicBezTo>
                  <a:cubicBezTo>
                    <a:pt x="1631" y="894"/>
                    <a:pt x="1635" y="894"/>
                    <a:pt x="1639" y="894"/>
                  </a:cubicBezTo>
                  <a:cubicBezTo>
                    <a:pt x="1649" y="895"/>
                    <a:pt x="1653" y="899"/>
                    <a:pt x="1653" y="910"/>
                  </a:cubicBezTo>
                  <a:cubicBezTo>
                    <a:pt x="1653" y="950"/>
                    <a:pt x="1653" y="990"/>
                    <a:pt x="1653" y="1030"/>
                  </a:cubicBezTo>
                  <a:cubicBezTo>
                    <a:pt x="1653" y="1042"/>
                    <a:pt x="1650" y="1045"/>
                    <a:pt x="1639" y="1045"/>
                  </a:cubicBezTo>
                  <a:cubicBezTo>
                    <a:pt x="1597" y="1045"/>
                    <a:pt x="1555" y="1045"/>
                    <a:pt x="1513" y="1045"/>
                  </a:cubicBezTo>
                  <a:cubicBezTo>
                    <a:pt x="1509" y="1045"/>
                    <a:pt x="1503" y="1042"/>
                    <a:pt x="1500" y="1039"/>
                  </a:cubicBezTo>
                  <a:cubicBezTo>
                    <a:pt x="1474" y="1015"/>
                    <a:pt x="1444" y="999"/>
                    <a:pt x="1410" y="993"/>
                  </a:cubicBezTo>
                  <a:cubicBezTo>
                    <a:pt x="1385" y="989"/>
                    <a:pt x="1359" y="989"/>
                    <a:pt x="1333" y="997"/>
                  </a:cubicBezTo>
                  <a:cubicBezTo>
                    <a:pt x="1310" y="1004"/>
                    <a:pt x="1287" y="1012"/>
                    <a:pt x="1270" y="1029"/>
                  </a:cubicBezTo>
                  <a:cubicBezTo>
                    <a:pt x="1256" y="1043"/>
                    <a:pt x="1241" y="1045"/>
                    <a:pt x="1223" y="1045"/>
                  </a:cubicBezTo>
                  <a:cubicBezTo>
                    <a:pt x="1081" y="1045"/>
                    <a:pt x="938" y="1045"/>
                    <a:pt x="795" y="1045"/>
                  </a:cubicBezTo>
                  <a:cubicBezTo>
                    <a:pt x="784" y="1045"/>
                    <a:pt x="775" y="1042"/>
                    <a:pt x="767" y="1034"/>
                  </a:cubicBezTo>
                  <a:cubicBezTo>
                    <a:pt x="737" y="1006"/>
                    <a:pt x="701" y="992"/>
                    <a:pt x="659" y="991"/>
                  </a:cubicBezTo>
                  <a:cubicBezTo>
                    <a:pt x="637" y="991"/>
                    <a:pt x="616" y="993"/>
                    <a:pt x="595" y="1000"/>
                  </a:cubicBezTo>
                  <a:cubicBezTo>
                    <a:pt x="574" y="1008"/>
                    <a:pt x="555" y="1019"/>
                    <a:pt x="538" y="1034"/>
                  </a:cubicBezTo>
                  <a:cubicBezTo>
                    <a:pt x="530" y="1042"/>
                    <a:pt x="522" y="1045"/>
                    <a:pt x="510" y="1045"/>
                  </a:cubicBezTo>
                  <a:cubicBezTo>
                    <a:pt x="472" y="1045"/>
                    <a:pt x="434" y="1045"/>
                    <a:pt x="396" y="1045"/>
                  </a:cubicBezTo>
                  <a:cubicBezTo>
                    <a:pt x="380" y="1045"/>
                    <a:pt x="378" y="1043"/>
                    <a:pt x="378" y="1027"/>
                  </a:cubicBezTo>
                  <a:cubicBezTo>
                    <a:pt x="379" y="1015"/>
                    <a:pt x="380" y="1002"/>
                    <a:pt x="380" y="990"/>
                  </a:cubicBezTo>
                  <a:cubicBezTo>
                    <a:pt x="380" y="986"/>
                    <a:pt x="379" y="981"/>
                    <a:pt x="379" y="977"/>
                  </a:cubicBezTo>
                  <a:cubicBezTo>
                    <a:pt x="379" y="967"/>
                    <a:pt x="380" y="958"/>
                    <a:pt x="380" y="949"/>
                  </a:cubicBezTo>
                  <a:cubicBezTo>
                    <a:pt x="380" y="935"/>
                    <a:pt x="381" y="921"/>
                    <a:pt x="380" y="907"/>
                  </a:cubicBezTo>
                  <a:cubicBezTo>
                    <a:pt x="379" y="899"/>
                    <a:pt x="383" y="896"/>
                    <a:pt x="389" y="895"/>
                  </a:cubicBezTo>
                  <a:cubicBezTo>
                    <a:pt x="397" y="894"/>
                    <a:pt x="405" y="895"/>
                    <a:pt x="413" y="897"/>
                  </a:cubicBezTo>
                  <a:cubicBezTo>
                    <a:pt x="419" y="898"/>
                    <a:pt x="423" y="899"/>
                    <a:pt x="430" y="896"/>
                  </a:cubicBezTo>
                  <a:cubicBezTo>
                    <a:pt x="434" y="893"/>
                    <a:pt x="441" y="894"/>
                    <a:pt x="446" y="894"/>
                  </a:cubicBezTo>
                  <a:cubicBezTo>
                    <a:pt x="459" y="895"/>
                    <a:pt x="472" y="892"/>
                    <a:pt x="484" y="898"/>
                  </a:cubicBezTo>
                  <a:cubicBezTo>
                    <a:pt x="487" y="900"/>
                    <a:pt x="491" y="898"/>
                    <a:pt x="495" y="898"/>
                  </a:cubicBezTo>
                  <a:cubicBezTo>
                    <a:pt x="504" y="897"/>
                    <a:pt x="512" y="894"/>
                    <a:pt x="521" y="894"/>
                  </a:cubicBezTo>
                  <a:cubicBezTo>
                    <a:pt x="616" y="894"/>
                    <a:pt x="711" y="894"/>
                    <a:pt x="806" y="894"/>
                  </a:cubicBezTo>
                  <a:cubicBezTo>
                    <a:pt x="825" y="894"/>
                    <a:pt x="841" y="889"/>
                    <a:pt x="855" y="874"/>
                  </a:cubicBezTo>
                  <a:cubicBezTo>
                    <a:pt x="873" y="855"/>
                    <a:pt x="873" y="831"/>
                    <a:pt x="866" y="808"/>
                  </a:cubicBezTo>
                  <a:cubicBezTo>
                    <a:pt x="860" y="788"/>
                    <a:pt x="843" y="775"/>
                    <a:pt x="821" y="770"/>
                  </a:cubicBezTo>
                  <a:cubicBezTo>
                    <a:pt x="813" y="769"/>
                    <a:pt x="805" y="768"/>
                    <a:pt x="797" y="768"/>
                  </a:cubicBezTo>
                  <a:cubicBezTo>
                    <a:pt x="752" y="768"/>
                    <a:pt x="707" y="769"/>
                    <a:pt x="663" y="769"/>
                  </a:cubicBezTo>
                  <a:cubicBezTo>
                    <a:pt x="634" y="769"/>
                    <a:pt x="606" y="768"/>
                    <a:pt x="577" y="768"/>
                  </a:cubicBezTo>
                  <a:cubicBezTo>
                    <a:pt x="518" y="768"/>
                    <a:pt x="460" y="768"/>
                    <a:pt x="401" y="768"/>
                  </a:cubicBezTo>
                  <a:cubicBezTo>
                    <a:pt x="378" y="768"/>
                    <a:pt x="378" y="768"/>
                    <a:pt x="378" y="746"/>
                  </a:cubicBezTo>
                  <a:cubicBezTo>
                    <a:pt x="378" y="713"/>
                    <a:pt x="378" y="680"/>
                    <a:pt x="378" y="648"/>
                  </a:cubicBezTo>
                  <a:cubicBezTo>
                    <a:pt x="378" y="634"/>
                    <a:pt x="378" y="634"/>
                    <a:pt x="365" y="634"/>
                  </a:cubicBezTo>
                  <a:cubicBezTo>
                    <a:pt x="286" y="634"/>
                    <a:pt x="206" y="633"/>
                    <a:pt x="127" y="634"/>
                  </a:cubicBezTo>
                  <a:cubicBezTo>
                    <a:pt x="100" y="634"/>
                    <a:pt x="77" y="624"/>
                    <a:pt x="56" y="609"/>
                  </a:cubicBezTo>
                  <a:cubicBezTo>
                    <a:pt x="49" y="605"/>
                    <a:pt x="43" y="600"/>
                    <a:pt x="38" y="595"/>
                  </a:cubicBezTo>
                  <a:cubicBezTo>
                    <a:pt x="34" y="591"/>
                    <a:pt x="31" y="586"/>
                    <a:pt x="27" y="581"/>
                  </a:cubicBezTo>
                  <a:cubicBezTo>
                    <a:pt x="26" y="578"/>
                    <a:pt x="25" y="574"/>
                    <a:pt x="23" y="572"/>
                  </a:cubicBezTo>
                  <a:cubicBezTo>
                    <a:pt x="11" y="563"/>
                    <a:pt x="11" y="550"/>
                    <a:pt x="8" y="538"/>
                  </a:cubicBezTo>
                  <a:cubicBezTo>
                    <a:pt x="7" y="532"/>
                    <a:pt x="5" y="527"/>
                    <a:pt x="4" y="522"/>
                  </a:cubicBezTo>
                  <a:cubicBezTo>
                    <a:pt x="2" y="517"/>
                    <a:pt x="0" y="511"/>
                    <a:pt x="1" y="507"/>
                  </a:cubicBezTo>
                  <a:cubicBezTo>
                    <a:pt x="7" y="487"/>
                    <a:pt x="11" y="467"/>
                    <a:pt x="20" y="449"/>
                  </a:cubicBezTo>
                  <a:cubicBezTo>
                    <a:pt x="42" y="408"/>
                    <a:pt x="78" y="383"/>
                    <a:pt x="125" y="383"/>
                  </a:cubicBezTo>
                  <a:cubicBezTo>
                    <a:pt x="289" y="382"/>
                    <a:pt x="452" y="383"/>
                    <a:pt x="616" y="383"/>
                  </a:cubicBezTo>
                  <a:cubicBezTo>
                    <a:pt x="888" y="383"/>
                    <a:pt x="1161" y="383"/>
                    <a:pt x="1433" y="383"/>
                  </a:cubicBezTo>
                  <a:cubicBezTo>
                    <a:pt x="1528" y="383"/>
                    <a:pt x="1623" y="383"/>
                    <a:pt x="1719" y="383"/>
                  </a:cubicBezTo>
                  <a:cubicBezTo>
                    <a:pt x="1745" y="383"/>
                    <a:pt x="1772" y="381"/>
                    <a:pt x="1799" y="380"/>
                  </a:cubicBezTo>
                  <a:cubicBezTo>
                    <a:pt x="1802" y="380"/>
                    <a:pt x="1806" y="378"/>
                    <a:pt x="1809" y="377"/>
                  </a:cubicBezTo>
                  <a:cubicBezTo>
                    <a:pt x="1813" y="376"/>
                    <a:pt x="1817" y="374"/>
                    <a:pt x="1821" y="374"/>
                  </a:cubicBezTo>
                  <a:cubicBezTo>
                    <a:pt x="1852" y="375"/>
                    <a:pt x="1879" y="359"/>
                    <a:pt x="1907" y="349"/>
                  </a:cubicBezTo>
                  <a:cubicBezTo>
                    <a:pt x="1936" y="338"/>
                    <a:pt x="1963" y="322"/>
                    <a:pt x="1988" y="304"/>
                  </a:cubicBezTo>
                  <a:cubicBezTo>
                    <a:pt x="1992" y="301"/>
                    <a:pt x="1996" y="297"/>
                    <a:pt x="2001" y="293"/>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8" name="Freeform 192"/>
            <p:cNvSpPr/>
            <p:nvPr/>
          </p:nvSpPr>
          <p:spPr bwMode="auto">
            <a:xfrm>
              <a:off x="7787069" y="3227706"/>
              <a:ext cx="1117600" cy="290513"/>
            </a:xfrm>
            <a:custGeom>
              <a:avLst/>
              <a:gdLst>
                <a:gd name="T0" fmla="*/ 199 w 1471"/>
                <a:gd name="T1" fmla="*/ 207 h 383"/>
                <a:gd name="T2" fmla="*/ 235 w 1471"/>
                <a:gd name="T3" fmla="*/ 207 h 383"/>
                <a:gd name="T4" fmla="*/ 607 w 1471"/>
                <a:gd name="T5" fmla="*/ 207 h 383"/>
                <a:gd name="T6" fmla="*/ 634 w 1471"/>
                <a:gd name="T7" fmla="*/ 191 h 383"/>
                <a:gd name="T8" fmla="*/ 704 w 1471"/>
                <a:gd name="T9" fmla="*/ 71 h 383"/>
                <a:gd name="T10" fmla="*/ 719 w 1471"/>
                <a:gd name="T11" fmla="*/ 45 h 383"/>
                <a:gd name="T12" fmla="*/ 738 w 1471"/>
                <a:gd name="T13" fmla="*/ 34 h 383"/>
                <a:gd name="T14" fmla="*/ 744 w 1471"/>
                <a:gd name="T15" fmla="*/ 34 h 383"/>
                <a:gd name="T16" fmla="*/ 1290 w 1471"/>
                <a:gd name="T17" fmla="*/ 35 h 383"/>
                <a:gd name="T18" fmla="*/ 1424 w 1471"/>
                <a:gd name="T19" fmla="*/ 91 h 383"/>
                <a:gd name="T20" fmla="*/ 1470 w 1471"/>
                <a:gd name="T21" fmla="*/ 203 h 383"/>
                <a:gd name="T22" fmla="*/ 1443 w 1471"/>
                <a:gd name="T23" fmla="*/ 304 h 383"/>
                <a:gd name="T24" fmla="*/ 1364 w 1471"/>
                <a:gd name="T25" fmla="*/ 370 h 383"/>
                <a:gd name="T26" fmla="*/ 1298 w 1471"/>
                <a:gd name="T27" fmla="*/ 383 h 383"/>
                <a:gd name="T28" fmla="*/ 1104 w 1471"/>
                <a:gd name="T29" fmla="*/ 383 h 383"/>
                <a:gd name="T30" fmla="*/ 862 w 1471"/>
                <a:gd name="T31" fmla="*/ 383 h 383"/>
                <a:gd name="T32" fmla="*/ 287 w 1471"/>
                <a:gd name="T33" fmla="*/ 383 h 383"/>
                <a:gd name="T34" fmla="*/ 158 w 1471"/>
                <a:gd name="T35" fmla="*/ 383 h 383"/>
                <a:gd name="T36" fmla="*/ 95 w 1471"/>
                <a:gd name="T37" fmla="*/ 364 h 383"/>
                <a:gd name="T38" fmla="*/ 71 w 1471"/>
                <a:gd name="T39" fmla="*/ 348 h 383"/>
                <a:gd name="T40" fmla="*/ 51 w 1471"/>
                <a:gd name="T41" fmla="*/ 305 h 383"/>
                <a:gd name="T42" fmla="*/ 35 w 1471"/>
                <a:gd name="T43" fmla="*/ 244 h 383"/>
                <a:gd name="T44" fmla="*/ 21 w 1471"/>
                <a:gd name="T45" fmla="*/ 188 h 383"/>
                <a:gd name="T46" fmla="*/ 4 w 1471"/>
                <a:gd name="T47" fmla="*/ 104 h 383"/>
                <a:gd name="T48" fmla="*/ 14 w 1471"/>
                <a:gd name="T49" fmla="*/ 38 h 383"/>
                <a:gd name="T50" fmla="*/ 76 w 1471"/>
                <a:gd name="T51" fmla="*/ 2 h 383"/>
                <a:gd name="T52" fmla="*/ 146 w 1471"/>
                <a:gd name="T53" fmla="*/ 29 h 383"/>
                <a:gd name="T54" fmla="*/ 166 w 1471"/>
                <a:gd name="T55" fmla="*/ 73 h 383"/>
                <a:gd name="T56" fmla="*/ 177 w 1471"/>
                <a:gd name="T57" fmla="*/ 116 h 383"/>
                <a:gd name="T58" fmla="*/ 184 w 1471"/>
                <a:gd name="T59" fmla="*/ 149 h 383"/>
                <a:gd name="T60" fmla="*/ 193 w 1471"/>
                <a:gd name="T61" fmla="*/ 192 h 383"/>
                <a:gd name="T62" fmla="*/ 199 w 1471"/>
                <a:gd name="T63" fmla="*/ 20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71" h="383">
                  <a:moveTo>
                    <a:pt x="199" y="207"/>
                  </a:moveTo>
                  <a:cubicBezTo>
                    <a:pt x="213" y="207"/>
                    <a:pt x="224" y="207"/>
                    <a:pt x="235" y="207"/>
                  </a:cubicBezTo>
                  <a:cubicBezTo>
                    <a:pt x="359" y="207"/>
                    <a:pt x="483" y="206"/>
                    <a:pt x="607" y="207"/>
                  </a:cubicBezTo>
                  <a:cubicBezTo>
                    <a:pt x="621" y="207"/>
                    <a:pt x="628" y="202"/>
                    <a:pt x="634" y="191"/>
                  </a:cubicBezTo>
                  <a:cubicBezTo>
                    <a:pt x="657" y="151"/>
                    <a:pt x="680" y="111"/>
                    <a:pt x="704" y="71"/>
                  </a:cubicBezTo>
                  <a:cubicBezTo>
                    <a:pt x="709" y="62"/>
                    <a:pt x="714" y="54"/>
                    <a:pt x="719" y="45"/>
                  </a:cubicBezTo>
                  <a:cubicBezTo>
                    <a:pt x="723" y="37"/>
                    <a:pt x="729" y="34"/>
                    <a:pt x="738" y="34"/>
                  </a:cubicBezTo>
                  <a:cubicBezTo>
                    <a:pt x="740" y="35"/>
                    <a:pt x="742" y="34"/>
                    <a:pt x="744" y="34"/>
                  </a:cubicBezTo>
                  <a:cubicBezTo>
                    <a:pt x="926" y="34"/>
                    <a:pt x="1108" y="34"/>
                    <a:pt x="1290" y="35"/>
                  </a:cubicBezTo>
                  <a:cubicBezTo>
                    <a:pt x="1342" y="35"/>
                    <a:pt x="1388" y="52"/>
                    <a:pt x="1424" y="91"/>
                  </a:cubicBezTo>
                  <a:cubicBezTo>
                    <a:pt x="1453" y="123"/>
                    <a:pt x="1469" y="160"/>
                    <a:pt x="1470" y="203"/>
                  </a:cubicBezTo>
                  <a:cubicBezTo>
                    <a:pt x="1471" y="240"/>
                    <a:pt x="1463" y="273"/>
                    <a:pt x="1443" y="304"/>
                  </a:cubicBezTo>
                  <a:cubicBezTo>
                    <a:pt x="1424" y="334"/>
                    <a:pt x="1398" y="355"/>
                    <a:pt x="1364" y="370"/>
                  </a:cubicBezTo>
                  <a:cubicBezTo>
                    <a:pt x="1343" y="379"/>
                    <a:pt x="1321" y="383"/>
                    <a:pt x="1298" y="383"/>
                  </a:cubicBezTo>
                  <a:cubicBezTo>
                    <a:pt x="1233" y="383"/>
                    <a:pt x="1169" y="383"/>
                    <a:pt x="1104" y="383"/>
                  </a:cubicBezTo>
                  <a:cubicBezTo>
                    <a:pt x="1024" y="383"/>
                    <a:pt x="943" y="383"/>
                    <a:pt x="862" y="383"/>
                  </a:cubicBezTo>
                  <a:cubicBezTo>
                    <a:pt x="671" y="383"/>
                    <a:pt x="479" y="383"/>
                    <a:pt x="287" y="383"/>
                  </a:cubicBezTo>
                  <a:cubicBezTo>
                    <a:pt x="244" y="383"/>
                    <a:pt x="201" y="383"/>
                    <a:pt x="158" y="383"/>
                  </a:cubicBezTo>
                  <a:cubicBezTo>
                    <a:pt x="135" y="383"/>
                    <a:pt x="115" y="375"/>
                    <a:pt x="95" y="364"/>
                  </a:cubicBezTo>
                  <a:cubicBezTo>
                    <a:pt x="87" y="360"/>
                    <a:pt x="79" y="354"/>
                    <a:pt x="71" y="348"/>
                  </a:cubicBezTo>
                  <a:cubicBezTo>
                    <a:pt x="57" y="337"/>
                    <a:pt x="55" y="321"/>
                    <a:pt x="51" y="305"/>
                  </a:cubicBezTo>
                  <a:cubicBezTo>
                    <a:pt x="45" y="285"/>
                    <a:pt x="40" y="264"/>
                    <a:pt x="35" y="244"/>
                  </a:cubicBezTo>
                  <a:cubicBezTo>
                    <a:pt x="30" y="225"/>
                    <a:pt x="25" y="207"/>
                    <a:pt x="21" y="188"/>
                  </a:cubicBezTo>
                  <a:cubicBezTo>
                    <a:pt x="15" y="160"/>
                    <a:pt x="8" y="132"/>
                    <a:pt x="4" y="104"/>
                  </a:cubicBezTo>
                  <a:cubicBezTo>
                    <a:pt x="0" y="81"/>
                    <a:pt x="0" y="58"/>
                    <a:pt x="14" y="38"/>
                  </a:cubicBezTo>
                  <a:cubicBezTo>
                    <a:pt x="29" y="16"/>
                    <a:pt x="48" y="3"/>
                    <a:pt x="76" y="2"/>
                  </a:cubicBezTo>
                  <a:cubicBezTo>
                    <a:pt x="104" y="0"/>
                    <a:pt x="127" y="7"/>
                    <a:pt x="146" y="29"/>
                  </a:cubicBezTo>
                  <a:cubicBezTo>
                    <a:pt x="157" y="41"/>
                    <a:pt x="164" y="56"/>
                    <a:pt x="166" y="73"/>
                  </a:cubicBezTo>
                  <a:cubicBezTo>
                    <a:pt x="168" y="88"/>
                    <a:pt x="173" y="102"/>
                    <a:pt x="177" y="116"/>
                  </a:cubicBezTo>
                  <a:cubicBezTo>
                    <a:pt x="179" y="127"/>
                    <a:pt x="182" y="138"/>
                    <a:pt x="184" y="149"/>
                  </a:cubicBezTo>
                  <a:cubicBezTo>
                    <a:pt x="188" y="163"/>
                    <a:pt x="190" y="178"/>
                    <a:pt x="193" y="192"/>
                  </a:cubicBezTo>
                  <a:cubicBezTo>
                    <a:pt x="195" y="198"/>
                    <a:pt x="198" y="203"/>
                    <a:pt x="199" y="207"/>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9" name="Freeform 193"/>
            <p:cNvSpPr>
              <a:spLocks noEditPoints="1"/>
            </p:cNvSpPr>
            <p:nvPr/>
          </p:nvSpPr>
          <p:spPr bwMode="auto">
            <a:xfrm>
              <a:off x="8514144" y="2473643"/>
              <a:ext cx="700088" cy="530225"/>
            </a:xfrm>
            <a:custGeom>
              <a:avLst/>
              <a:gdLst>
                <a:gd name="T0" fmla="*/ 458 w 922"/>
                <a:gd name="T1" fmla="*/ 697 h 698"/>
                <a:gd name="T2" fmla="*/ 138 w 922"/>
                <a:gd name="T3" fmla="*/ 697 h 698"/>
                <a:gd name="T4" fmla="*/ 9 w 922"/>
                <a:gd name="T5" fmla="*/ 607 h 698"/>
                <a:gd name="T6" fmla="*/ 1 w 922"/>
                <a:gd name="T7" fmla="*/ 561 h 698"/>
                <a:gd name="T8" fmla="*/ 1 w 922"/>
                <a:gd name="T9" fmla="*/ 354 h 698"/>
                <a:gd name="T10" fmla="*/ 1 w 922"/>
                <a:gd name="T11" fmla="*/ 144 h 698"/>
                <a:gd name="T12" fmla="*/ 75 w 922"/>
                <a:gd name="T13" fmla="*/ 20 h 698"/>
                <a:gd name="T14" fmla="*/ 145 w 922"/>
                <a:gd name="T15" fmla="*/ 2 h 698"/>
                <a:gd name="T16" fmla="*/ 607 w 922"/>
                <a:gd name="T17" fmla="*/ 2 h 698"/>
                <a:gd name="T18" fmla="*/ 646 w 922"/>
                <a:gd name="T19" fmla="*/ 2 h 698"/>
                <a:gd name="T20" fmla="*/ 661 w 922"/>
                <a:gd name="T21" fmla="*/ 6 h 698"/>
                <a:gd name="T22" fmla="*/ 670 w 922"/>
                <a:gd name="T23" fmla="*/ 5 h 698"/>
                <a:gd name="T24" fmla="*/ 685 w 922"/>
                <a:gd name="T25" fmla="*/ 2 h 698"/>
                <a:gd name="T26" fmla="*/ 775 w 922"/>
                <a:gd name="T27" fmla="*/ 2 h 698"/>
                <a:gd name="T28" fmla="*/ 870 w 922"/>
                <a:gd name="T29" fmla="*/ 41 h 698"/>
                <a:gd name="T30" fmla="*/ 909 w 922"/>
                <a:gd name="T31" fmla="*/ 102 h 698"/>
                <a:gd name="T32" fmla="*/ 916 w 922"/>
                <a:gd name="T33" fmla="*/ 153 h 698"/>
                <a:gd name="T34" fmla="*/ 916 w 922"/>
                <a:gd name="T35" fmla="*/ 394 h 698"/>
                <a:gd name="T36" fmla="*/ 918 w 922"/>
                <a:gd name="T37" fmla="*/ 416 h 698"/>
                <a:gd name="T38" fmla="*/ 918 w 922"/>
                <a:gd name="T39" fmla="*/ 423 h 698"/>
                <a:gd name="T40" fmla="*/ 918 w 922"/>
                <a:gd name="T41" fmla="*/ 494 h 698"/>
                <a:gd name="T42" fmla="*/ 912 w 922"/>
                <a:gd name="T43" fmla="*/ 587 h 698"/>
                <a:gd name="T44" fmla="*/ 859 w 922"/>
                <a:gd name="T45" fmla="*/ 670 h 698"/>
                <a:gd name="T46" fmla="*/ 804 w 922"/>
                <a:gd name="T47" fmla="*/ 694 h 698"/>
                <a:gd name="T48" fmla="*/ 760 w 922"/>
                <a:gd name="T49" fmla="*/ 697 h 698"/>
                <a:gd name="T50" fmla="*/ 458 w 922"/>
                <a:gd name="T51" fmla="*/ 697 h 698"/>
                <a:gd name="T52" fmla="*/ 448 w 922"/>
                <a:gd name="T53" fmla="*/ 627 h 698"/>
                <a:gd name="T54" fmla="*/ 448 w 922"/>
                <a:gd name="T55" fmla="*/ 628 h 698"/>
                <a:gd name="T56" fmla="*/ 771 w 922"/>
                <a:gd name="T57" fmla="*/ 624 h 698"/>
                <a:gd name="T58" fmla="*/ 803 w 922"/>
                <a:gd name="T59" fmla="*/ 618 h 698"/>
                <a:gd name="T60" fmla="*/ 841 w 922"/>
                <a:gd name="T61" fmla="*/ 560 h 698"/>
                <a:gd name="T62" fmla="*/ 841 w 922"/>
                <a:gd name="T63" fmla="*/ 392 h 698"/>
                <a:gd name="T64" fmla="*/ 841 w 922"/>
                <a:gd name="T65" fmla="*/ 141 h 698"/>
                <a:gd name="T66" fmla="*/ 805 w 922"/>
                <a:gd name="T67" fmla="*/ 83 h 698"/>
                <a:gd name="T68" fmla="*/ 768 w 922"/>
                <a:gd name="T69" fmla="*/ 75 h 698"/>
                <a:gd name="T70" fmla="*/ 564 w 922"/>
                <a:gd name="T71" fmla="*/ 74 h 698"/>
                <a:gd name="T72" fmla="*/ 543 w 922"/>
                <a:gd name="T73" fmla="*/ 73 h 698"/>
                <a:gd name="T74" fmla="*/ 526 w 922"/>
                <a:gd name="T75" fmla="*/ 72 h 698"/>
                <a:gd name="T76" fmla="*/ 516 w 922"/>
                <a:gd name="T77" fmla="*/ 71 h 698"/>
                <a:gd name="T78" fmla="*/ 489 w 922"/>
                <a:gd name="T79" fmla="*/ 74 h 698"/>
                <a:gd name="T80" fmla="*/ 154 w 922"/>
                <a:gd name="T81" fmla="*/ 75 h 698"/>
                <a:gd name="T82" fmla="*/ 113 w 922"/>
                <a:gd name="T83" fmla="*/ 82 h 698"/>
                <a:gd name="T84" fmla="*/ 75 w 922"/>
                <a:gd name="T85" fmla="*/ 141 h 698"/>
                <a:gd name="T86" fmla="*/ 75 w 922"/>
                <a:gd name="T87" fmla="*/ 390 h 698"/>
                <a:gd name="T88" fmla="*/ 79 w 922"/>
                <a:gd name="T89" fmla="*/ 433 h 698"/>
                <a:gd name="T90" fmla="*/ 74 w 922"/>
                <a:gd name="T91" fmla="*/ 549 h 698"/>
                <a:gd name="T92" fmla="*/ 81 w 922"/>
                <a:gd name="T93" fmla="*/ 586 h 698"/>
                <a:gd name="T94" fmla="*/ 123 w 922"/>
                <a:gd name="T95" fmla="*/ 622 h 698"/>
                <a:gd name="T96" fmla="*/ 169 w 922"/>
                <a:gd name="T97" fmla="*/ 626 h 698"/>
                <a:gd name="T98" fmla="*/ 448 w 922"/>
                <a:gd name="T99" fmla="*/ 627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2" h="698">
                  <a:moveTo>
                    <a:pt x="458" y="697"/>
                  </a:moveTo>
                  <a:cubicBezTo>
                    <a:pt x="351" y="697"/>
                    <a:pt x="245" y="698"/>
                    <a:pt x="138" y="697"/>
                  </a:cubicBezTo>
                  <a:cubicBezTo>
                    <a:pt x="82" y="696"/>
                    <a:pt x="32" y="666"/>
                    <a:pt x="9" y="607"/>
                  </a:cubicBezTo>
                  <a:cubicBezTo>
                    <a:pt x="4" y="593"/>
                    <a:pt x="0" y="578"/>
                    <a:pt x="1" y="561"/>
                  </a:cubicBezTo>
                  <a:cubicBezTo>
                    <a:pt x="1" y="492"/>
                    <a:pt x="1" y="423"/>
                    <a:pt x="1" y="354"/>
                  </a:cubicBezTo>
                  <a:cubicBezTo>
                    <a:pt x="1" y="284"/>
                    <a:pt x="0" y="214"/>
                    <a:pt x="1" y="144"/>
                  </a:cubicBezTo>
                  <a:cubicBezTo>
                    <a:pt x="1" y="89"/>
                    <a:pt x="27" y="47"/>
                    <a:pt x="75" y="20"/>
                  </a:cubicBezTo>
                  <a:cubicBezTo>
                    <a:pt x="97" y="8"/>
                    <a:pt x="120" y="2"/>
                    <a:pt x="145" y="2"/>
                  </a:cubicBezTo>
                  <a:cubicBezTo>
                    <a:pt x="299" y="2"/>
                    <a:pt x="453" y="2"/>
                    <a:pt x="607" y="2"/>
                  </a:cubicBezTo>
                  <a:cubicBezTo>
                    <a:pt x="620" y="2"/>
                    <a:pt x="633" y="1"/>
                    <a:pt x="646" y="2"/>
                  </a:cubicBezTo>
                  <a:cubicBezTo>
                    <a:pt x="651" y="2"/>
                    <a:pt x="657" y="0"/>
                    <a:pt x="661" y="6"/>
                  </a:cubicBezTo>
                  <a:cubicBezTo>
                    <a:pt x="661" y="7"/>
                    <a:pt x="666" y="6"/>
                    <a:pt x="670" y="5"/>
                  </a:cubicBezTo>
                  <a:cubicBezTo>
                    <a:pt x="675" y="4"/>
                    <a:pt x="680" y="2"/>
                    <a:pt x="685" y="2"/>
                  </a:cubicBezTo>
                  <a:cubicBezTo>
                    <a:pt x="715" y="2"/>
                    <a:pt x="745" y="1"/>
                    <a:pt x="775" y="2"/>
                  </a:cubicBezTo>
                  <a:cubicBezTo>
                    <a:pt x="811" y="3"/>
                    <a:pt x="843" y="17"/>
                    <a:pt x="870" y="41"/>
                  </a:cubicBezTo>
                  <a:cubicBezTo>
                    <a:pt x="889" y="58"/>
                    <a:pt x="902" y="78"/>
                    <a:pt x="909" y="102"/>
                  </a:cubicBezTo>
                  <a:cubicBezTo>
                    <a:pt x="914" y="118"/>
                    <a:pt x="916" y="136"/>
                    <a:pt x="916" y="153"/>
                  </a:cubicBezTo>
                  <a:cubicBezTo>
                    <a:pt x="917" y="233"/>
                    <a:pt x="916" y="314"/>
                    <a:pt x="916" y="394"/>
                  </a:cubicBezTo>
                  <a:cubicBezTo>
                    <a:pt x="916" y="401"/>
                    <a:pt x="917" y="408"/>
                    <a:pt x="918" y="416"/>
                  </a:cubicBezTo>
                  <a:cubicBezTo>
                    <a:pt x="918" y="418"/>
                    <a:pt x="919" y="421"/>
                    <a:pt x="918" y="423"/>
                  </a:cubicBezTo>
                  <a:cubicBezTo>
                    <a:pt x="912" y="447"/>
                    <a:pt x="922" y="470"/>
                    <a:pt x="918" y="494"/>
                  </a:cubicBezTo>
                  <a:cubicBezTo>
                    <a:pt x="914" y="525"/>
                    <a:pt x="919" y="556"/>
                    <a:pt x="912" y="587"/>
                  </a:cubicBezTo>
                  <a:cubicBezTo>
                    <a:pt x="904" y="621"/>
                    <a:pt x="888" y="650"/>
                    <a:pt x="859" y="670"/>
                  </a:cubicBezTo>
                  <a:cubicBezTo>
                    <a:pt x="842" y="682"/>
                    <a:pt x="824" y="689"/>
                    <a:pt x="804" y="694"/>
                  </a:cubicBezTo>
                  <a:cubicBezTo>
                    <a:pt x="789" y="697"/>
                    <a:pt x="774" y="697"/>
                    <a:pt x="760" y="697"/>
                  </a:cubicBezTo>
                  <a:cubicBezTo>
                    <a:pt x="659" y="698"/>
                    <a:pt x="558" y="697"/>
                    <a:pt x="458" y="697"/>
                  </a:cubicBezTo>
                  <a:close/>
                  <a:moveTo>
                    <a:pt x="448" y="627"/>
                  </a:moveTo>
                  <a:cubicBezTo>
                    <a:pt x="448" y="627"/>
                    <a:pt x="448" y="627"/>
                    <a:pt x="448" y="628"/>
                  </a:cubicBezTo>
                  <a:cubicBezTo>
                    <a:pt x="555" y="627"/>
                    <a:pt x="663" y="626"/>
                    <a:pt x="771" y="624"/>
                  </a:cubicBezTo>
                  <a:cubicBezTo>
                    <a:pt x="782" y="624"/>
                    <a:pt x="793" y="622"/>
                    <a:pt x="803" y="618"/>
                  </a:cubicBezTo>
                  <a:cubicBezTo>
                    <a:pt x="828" y="608"/>
                    <a:pt x="840" y="587"/>
                    <a:pt x="841" y="560"/>
                  </a:cubicBezTo>
                  <a:cubicBezTo>
                    <a:pt x="841" y="504"/>
                    <a:pt x="841" y="448"/>
                    <a:pt x="841" y="392"/>
                  </a:cubicBezTo>
                  <a:cubicBezTo>
                    <a:pt x="841" y="308"/>
                    <a:pt x="841" y="224"/>
                    <a:pt x="841" y="141"/>
                  </a:cubicBezTo>
                  <a:cubicBezTo>
                    <a:pt x="840" y="115"/>
                    <a:pt x="830" y="94"/>
                    <a:pt x="805" y="83"/>
                  </a:cubicBezTo>
                  <a:cubicBezTo>
                    <a:pt x="793" y="79"/>
                    <a:pt x="780" y="75"/>
                    <a:pt x="768" y="75"/>
                  </a:cubicBezTo>
                  <a:cubicBezTo>
                    <a:pt x="700" y="74"/>
                    <a:pt x="632" y="75"/>
                    <a:pt x="564" y="74"/>
                  </a:cubicBezTo>
                  <a:cubicBezTo>
                    <a:pt x="557" y="74"/>
                    <a:pt x="549" y="71"/>
                    <a:pt x="543" y="73"/>
                  </a:cubicBezTo>
                  <a:cubicBezTo>
                    <a:pt x="537" y="75"/>
                    <a:pt x="532" y="74"/>
                    <a:pt x="526" y="72"/>
                  </a:cubicBezTo>
                  <a:cubicBezTo>
                    <a:pt x="523" y="71"/>
                    <a:pt x="519" y="71"/>
                    <a:pt x="516" y="71"/>
                  </a:cubicBezTo>
                  <a:cubicBezTo>
                    <a:pt x="507" y="72"/>
                    <a:pt x="498" y="74"/>
                    <a:pt x="489" y="74"/>
                  </a:cubicBezTo>
                  <a:cubicBezTo>
                    <a:pt x="377" y="75"/>
                    <a:pt x="265" y="74"/>
                    <a:pt x="154" y="75"/>
                  </a:cubicBezTo>
                  <a:cubicBezTo>
                    <a:pt x="140" y="75"/>
                    <a:pt x="126" y="77"/>
                    <a:pt x="113" y="82"/>
                  </a:cubicBezTo>
                  <a:cubicBezTo>
                    <a:pt x="88" y="92"/>
                    <a:pt x="75" y="113"/>
                    <a:pt x="75" y="141"/>
                  </a:cubicBezTo>
                  <a:cubicBezTo>
                    <a:pt x="74" y="224"/>
                    <a:pt x="74" y="307"/>
                    <a:pt x="75" y="390"/>
                  </a:cubicBezTo>
                  <a:cubicBezTo>
                    <a:pt x="75" y="404"/>
                    <a:pt x="78" y="419"/>
                    <a:pt x="79" y="433"/>
                  </a:cubicBezTo>
                  <a:cubicBezTo>
                    <a:pt x="82" y="472"/>
                    <a:pt x="74" y="510"/>
                    <a:pt x="74" y="549"/>
                  </a:cubicBezTo>
                  <a:cubicBezTo>
                    <a:pt x="75" y="562"/>
                    <a:pt x="75" y="574"/>
                    <a:pt x="81" y="586"/>
                  </a:cubicBezTo>
                  <a:cubicBezTo>
                    <a:pt x="89" y="605"/>
                    <a:pt x="103" y="617"/>
                    <a:pt x="123" y="622"/>
                  </a:cubicBezTo>
                  <a:cubicBezTo>
                    <a:pt x="138" y="625"/>
                    <a:pt x="154" y="626"/>
                    <a:pt x="169" y="626"/>
                  </a:cubicBezTo>
                  <a:cubicBezTo>
                    <a:pt x="262" y="627"/>
                    <a:pt x="355" y="627"/>
                    <a:pt x="448" y="627"/>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0" name="Freeform 194"/>
            <p:cNvSpPr/>
            <p:nvPr/>
          </p:nvSpPr>
          <p:spPr bwMode="auto">
            <a:xfrm>
              <a:off x="8909432" y="3065781"/>
              <a:ext cx="258763" cy="258763"/>
            </a:xfrm>
            <a:custGeom>
              <a:avLst/>
              <a:gdLst>
                <a:gd name="T0" fmla="*/ 3 w 339"/>
                <a:gd name="T1" fmla="*/ 169 h 340"/>
                <a:gd name="T2" fmla="*/ 172 w 339"/>
                <a:gd name="T3" fmla="*/ 1 h 340"/>
                <a:gd name="T4" fmla="*/ 339 w 339"/>
                <a:gd name="T5" fmla="*/ 171 h 340"/>
                <a:gd name="T6" fmla="*/ 164 w 339"/>
                <a:gd name="T7" fmla="*/ 338 h 340"/>
                <a:gd name="T8" fmla="*/ 3 w 339"/>
                <a:gd name="T9" fmla="*/ 169 h 340"/>
              </a:gdLst>
              <a:ahLst/>
              <a:cxnLst>
                <a:cxn ang="0">
                  <a:pos x="T0" y="T1"/>
                </a:cxn>
                <a:cxn ang="0">
                  <a:pos x="T2" y="T3"/>
                </a:cxn>
                <a:cxn ang="0">
                  <a:pos x="T4" y="T5"/>
                </a:cxn>
                <a:cxn ang="0">
                  <a:pos x="T6" y="T7"/>
                </a:cxn>
                <a:cxn ang="0">
                  <a:pos x="T8" y="T9"/>
                </a:cxn>
              </a:cxnLst>
              <a:rect l="0" t="0" r="r" b="b"/>
              <a:pathLst>
                <a:path w="339" h="340">
                  <a:moveTo>
                    <a:pt x="3" y="169"/>
                  </a:moveTo>
                  <a:cubicBezTo>
                    <a:pt x="1" y="75"/>
                    <a:pt x="80" y="0"/>
                    <a:pt x="172" y="1"/>
                  </a:cubicBezTo>
                  <a:cubicBezTo>
                    <a:pt x="266" y="2"/>
                    <a:pt x="339" y="74"/>
                    <a:pt x="339" y="171"/>
                  </a:cubicBezTo>
                  <a:cubicBezTo>
                    <a:pt x="339" y="262"/>
                    <a:pt x="265" y="340"/>
                    <a:pt x="164" y="338"/>
                  </a:cubicBezTo>
                  <a:cubicBezTo>
                    <a:pt x="81" y="336"/>
                    <a:pt x="0" y="263"/>
                    <a:pt x="3" y="169"/>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1" name="Freeform 195"/>
            <p:cNvSpPr/>
            <p:nvPr/>
          </p:nvSpPr>
          <p:spPr bwMode="auto">
            <a:xfrm>
              <a:off x="7961694" y="4077018"/>
              <a:ext cx="196850" cy="193675"/>
            </a:xfrm>
            <a:custGeom>
              <a:avLst/>
              <a:gdLst>
                <a:gd name="T0" fmla="*/ 4 w 258"/>
                <a:gd name="T1" fmla="*/ 127 h 255"/>
                <a:gd name="T2" fmla="*/ 129 w 258"/>
                <a:gd name="T3" fmla="*/ 0 h 255"/>
                <a:gd name="T4" fmla="*/ 257 w 258"/>
                <a:gd name="T5" fmla="*/ 126 h 255"/>
                <a:gd name="T6" fmla="*/ 130 w 258"/>
                <a:gd name="T7" fmla="*/ 255 h 255"/>
                <a:gd name="T8" fmla="*/ 4 w 258"/>
                <a:gd name="T9" fmla="*/ 127 h 255"/>
              </a:gdLst>
              <a:ahLst/>
              <a:cxnLst>
                <a:cxn ang="0">
                  <a:pos x="T0" y="T1"/>
                </a:cxn>
                <a:cxn ang="0">
                  <a:pos x="T2" y="T3"/>
                </a:cxn>
                <a:cxn ang="0">
                  <a:pos x="T4" y="T5"/>
                </a:cxn>
                <a:cxn ang="0">
                  <a:pos x="T6" y="T7"/>
                </a:cxn>
                <a:cxn ang="0">
                  <a:pos x="T8" y="T9"/>
                </a:cxn>
              </a:cxnLst>
              <a:rect l="0" t="0" r="r" b="b"/>
              <a:pathLst>
                <a:path w="258" h="255">
                  <a:moveTo>
                    <a:pt x="4" y="127"/>
                  </a:moveTo>
                  <a:cubicBezTo>
                    <a:pt x="0" y="61"/>
                    <a:pt x="62" y="0"/>
                    <a:pt x="129" y="0"/>
                  </a:cubicBezTo>
                  <a:cubicBezTo>
                    <a:pt x="197" y="0"/>
                    <a:pt x="257" y="59"/>
                    <a:pt x="257" y="126"/>
                  </a:cubicBezTo>
                  <a:cubicBezTo>
                    <a:pt x="258" y="199"/>
                    <a:pt x="198" y="254"/>
                    <a:pt x="130" y="255"/>
                  </a:cubicBezTo>
                  <a:cubicBezTo>
                    <a:pt x="61" y="255"/>
                    <a:pt x="1" y="196"/>
                    <a:pt x="4" y="127"/>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2" name="Freeform 196"/>
            <p:cNvSpPr/>
            <p:nvPr/>
          </p:nvSpPr>
          <p:spPr bwMode="auto">
            <a:xfrm>
              <a:off x="8514144" y="4077018"/>
              <a:ext cx="193675" cy="193675"/>
            </a:xfrm>
            <a:custGeom>
              <a:avLst/>
              <a:gdLst>
                <a:gd name="T0" fmla="*/ 138 w 255"/>
                <a:gd name="T1" fmla="*/ 256 h 256"/>
                <a:gd name="T2" fmla="*/ 0 w 255"/>
                <a:gd name="T3" fmla="*/ 129 h 256"/>
                <a:gd name="T4" fmla="*/ 133 w 255"/>
                <a:gd name="T5" fmla="*/ 2 h 256"/>
                <a:gd name="T6" fmla="*/ 221 w 255"/>
                <a:gd name="T7" fmla="*/ 41 h 256"/>
                <a:gd name="T8" fmla="*/ 255 w 255"/>
                <a:gd name="T9" fmla="*/ 129 h 256"/>
                <a:gd name="T10" fmla="*/ 217 w 255"/>
                <a:gd name="T11" fmla="*/ 220 h 256"/>
                <a:gd name="T12" fmla="*/ 138 w 255"/>
                <a:gd name="T13" fmla="*/ 256 h 256"/>
              </a:gdLst>
              <a:ahLst/>
              <a:cxnLst>
                <a:cxn ang="0">
                  <a:pos x="T0" y="T1"/>
                </a:cxn>
                <a:cxn ang="0">
                  <a:pos x="T2" y="T3"/>
                </a:cxn>
                <a:cxn ang="0">
                  <a:pos x="T4" y="T5"/>
                </a:cxn>
                <a:cxn ang="0">
                  <a:pos x="T6" y="T7"/>
                </a:cxn>
                <a:cxn ang="0">
                  <a:pos x="T8" y="T9"/>
                </a:cxn>
                <a:cxn ang="0">
                  <a:pos x="T10" y="T11"/>
                </a:cxn>
                <a:cxn ang="0">
                  <a:pos x="T12" y="T13"/>
                </a:cxn>
              </a:cxnLst>
              <a:rect l="0" t="0" r="r" b="b"/>
              <a:pathLst>
                <a:path w="255" h="256">
                  <a:moveTo>
                    <a:pt x="138" y="256"/>
                  </a:moveTo>
                  <a:cubicBezTo>
                    <a:pt x="50" y="254"/>
                    <a:pt x="7" y="196"/>
                    <a:pt x="0" y="129"/>
                  </a:cubicBezTo>
                  <a:cubicBezTo>
                    <a:pt x="5" y="63"/>
                    <a:pt x="50" y="0"/>
                    <a:pt x="133" y="2"/>
                  </a:cubicBezTo>
                  <a:cubicBezTo>
                    <a:pt x="168" y="3"/>
                    <a:pt x="196" y="17"/>
                    <a:pt x="221" y="41"/>
                  </a:cubicBezTo>
                  <a:cubicBezTo>
                    <a:pt x="245" y="65"/>
                    <a:pt x="255" y="96"/>
                    <a:pt x="255" y="129"/>
                  </a:cubicBezTo>
                  <a:cubicBezTo>
                    <a:pt x="255" y="164"/>
                    <a:pt x="243" y="195"/>
                    <a:pt x="217" y="220"/>
                  </a:cubicBezTo>
                  <a:cubicBezTo>
                    <a:pt x="192" y="243"/>
                    <a:pt x="163" y="255"/>
                    <a:pt x="138" y="256"/>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3" name="Freeform 197"/>
            <p:cNvSpPr/>
            <p:nvPr/>
          </p:nvSpPr>
          <p:spPr bwMode="auto">
            <a:xfrm>
              <a:off x="8615744" y="2581593"/>
              <a:ext cx="490538" cy="312738"/>
            </a:xfrm>
            <a:custGeom>
              <a:avLst/>
              <a:gdLst>
                <a:gd name="T0" fmla="*/ 284 w 645"/>
                <a:gd name="T1" fmla="*/ 207 h 412"/>
                <a:gd name="T2" fmla="*/ 246 w 645"/>
                <a:gd name="T3" fmla="*/ 330 h 412"/>
                <a:gd name="T4" fmla="*/ 199 w 645"/>
                <a:gd name="T5" fmla="*/ 339 h 412"/>
                <a:gd name="T6" fmla="*/ 157 w 645"/>
                <a:gd name="T7" fmla="*/ 267 h 412"/>
                <a:gd name="T8" fmla="*/ 128 w 645"/>
                <a:gd name="T9" fmla="*/ 280 h 412"/>
                <a:gd name="T10" fmla="*/ 50 w 645"/>
                <a:gd name="T11" fmla="*/ 292 h 412"/>
                <a:gd name="T12" fmla="*/ 12 w 645"/>
                <a:gd name="T13" fmla="*/ 294 h 412"/>
                <a:gd name="T14" fmla="*/ 4 w 645"/>
                <a:gd name="T15" fmla="*/ 249 h 412"/>
                <a:gd name="T16" fmla="*/ 56 w 645"/>
                <a:gd name="T17" fmla="*/ 240 h 412"/>
                <a:gd name="T18" fmla="*/ 133 w 645"/>
                <a:gd name="T19" fmla="*/ 194 h 412"/>
                <a:gd name="T20" fmla="*/ 200 w 645"/>
                <a:gd name="T21" fmla="*/ 234 h 412"/>
                <a:gd name="T22" fmla="*/ 215 w 645"/>
                <a:gd name="T23" fmla="*/ 249 h 412"/>
                <a:gd name="T24" fmla="*/ 258 w 645"/>
                <a:gd name="T25" fmla="*/ 111 h 412"/>
                <a:gd name="T26" fmla="*/ 279 w 645"/>
                <a:gd name="T27" fmla="*/ 50 h 412"/>
                <a:gd name="T28" fmla="*/ 288 w 645"/>
                <a:gd name="T29" fmla="*/ 23 h 412"/>
                <a:gd name="T30" fmla="*/ 292 w 645"/>
                <a:gd name="T31" fmla="*/ 10 h 412"/>
                <a:gd name="T32" fmla="*/ 334 w 645"/>
                <a:gd name="T33" fmla="*/ 15 h 412"/>
                <a:gd name="T34" fmla="*/ 363 w 645"/>
                <a:gd name="T35" fmla="*/ 129 h 412"/>
                <a:gd name="T36" fmla="*/ 382 w 645"/>
                <a:gd name="T37" fmla="*/ 199 h 412"/>
                <a:gd name="T38" fmla="*/ 402 w 645"/>
                <a:gd name="T39" fmla="*/ 269 h 412"/>
                <a:gd name="T40" fmla="*/ 425 w 645"/>
                <a:gd name="T41" fmla="*/ 188 h 412"/>
                <a:gd name="T42" fmla="*/ 444 w 645"/>
                <a:gd name="T43" fmla="*/ 119 h 412"/>
                <a:gd name="T44" fmla="*/ 494 w 645"/>
                <a:gd name="T45" fmla="*/ 105 h 412"/>
                <a:gd name="T46" fmla="*/ 551 w 645"/>
                <a:gd name="T47" fmla="*/ 227 h 412"/>
                <a:gd name="T48" fmla="*/ 624 w 645"/>
                <a:gd name="T49" fmla="*/ 240 h 412"/>
                <a:gd name="T50" fmla="*/ 645 w 645"/>
                <a:gd name="T51" fmla="*/ 256 h 412"/>
                <a:gd name="T52" fmla="*/ 630 w 645"/>
                <a:gd name="T53" fmla="*/ 292 h 412"/>
                <a:gd name="T54" fmla="*/ 546 w 645"/>
                <a:gd name="T55" fmla="*/ 292 h 412"/>
                <a:gd name="T56" fmla="*/ 494 w 645"/>
                <a:gd name="T57" fmla="*/ 229 h 412"/>
                <a:gd name="T58" fmla="*/ 472 w 645"/>
                <a:gd name="T59" fmla="*/ 215 h 412"/>
                <a:gd name="T60" fmla="*/ 448 w 645"/>
                <a:gd name="T61" fmla="*/ 311 h 412"/>
                <a:gd name="T62" fmla="*/ 425 w 645"/>
                <a:gd name="T63" fmla="*/ 392 h 412"/>
                <a:gd name="T64" fmla="*/ 372 w 645"/>
                <a:gd name="T65" fmla="*/ 390 h 412"/>
                <a:gd name="T66" fmla="*/ 342 w 645"/>
                <a:gd name="T67" fmla="*/ 267 h 412"/>
                <a:gd name="T68" fmla="*/ 319 w 645"/>
                <a:gd name="T69" fmla="*/ 168 h 412"/>
                <a:gd name="T70" fmla="*/ 306 w 645"/>
                <a:gd name="T71" fmla="*/ 137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5" h="412">
                  <a:moveTo>
                    <a:pt x="306" y="137"/>
                  </a:moveTo>
                  <a:cubicBezTo>
                    <a:pt x="299" y="160"/>
                    <a:pt x="291" y="183"/>
                    <a:pt x="284" y="207"/>
                  </a:cubicBezTo>
                  <a:cubicBezTo>
                    <a:pt x="281" y="218"/>
                    <a:pt x="278" y="229"/>
                    <a:pt x="275" y="241"/>
                  </a:cubicBezTo>
                  <a:cubicBezTo>
                    <a:pt x="265" y="270"/>
                    <a:pt x="255" y="300"/>
                    <a:pt x="246" y="330"/>
                  </a:cubicBezTo>
                  <a:cubicBezTo>
                    <a:pt x="245" y="331"/>
                    <a:pt x="245" y="333"/>
                    <a:pt x="244" y="334"/>
                  </a:cubicBezTo>
                  <a:cubicBezTo>
                    <a:pt x="226" y="357"/>
                    <a:pt x="217" y="359"/>
                    <a:pt x="199" y="339"/>
                  </a:cubicBezTo>
                  <a:cubicBezTo>
                    <a:pt x="190" y="328"/>
                    <a:pt x="183" y="315"/>
                    <a:pt x="176" y="303"/>
                  </a:cubicBezTo>
                  <a:cubicBezTo>
                    <a:pt x="169" y="291"/>
                    <a:pt x="163" y="279"/>
                    <a:pt x="157" y="267"/>
                  </a:cubicBezTo>
                  <a:cubicBezTo>
                    <a:pt x="156" y="264"/>
                    <a:pt x="154" y="262"/>
                    <a:pt x="152" y="260"/>
                  </a:cubicBezTo>
                  <a:cubicBezTo>
                    <a:pt x="144" y="267"/>
                    <a:pt x="136" y="274"/>
                    <a:pt x="128" y="280"/>
                  </a:cubicBezTo>
                  <a:cubicBezTo>
                    <a:pt x="115" y="289"/>
                    <a:pt x="99" y="293"/>
                    <a:pt x="84" y="294"/>
                  </a:cubicBezTo>
                  <a:cubicBezTo>
                    <a:pt x="72" y="294"/>
                    <a:pt x="61" y="292"/>
                    <a:pt x="50" y="292"/>
                  </a:cubicBezTo>
                  <a:cubicBezTo>
                    <a:pt x="41" y="292"/>
                    <a:pt x="32" y="293"/>
                    <a:pt x="23" y="293"/>
                  </a:cubicBezTo>
                  <a:cubicBezTo>
                    <a:pt x="19" y="294"/>
                    <a:pt x="16" y="294"/>
                    <a:pt x="12" y="294"/>
                  </a:cubicBezTo>
                  <a:cubicBezTo>
                    <a:pt x="3" y="294"/>
                    <a:pt x="0" y="291"/>
                    <a:pt x="0" y="282"/>
                  </a:cubicBezTo>
                  <a:cubicBezTo>
                    <a:pt x="1" y="271"/>
                    <a:pt x="2" y="260"/>
                    <a:pt x="4" y="249"/>
                  </a:cubicBezTo>
                  <a:cubicBezTo>
                    <a:pt x="4" y="246"/>
                    <a:pt x="7" y="243"/>
                    <a:pt x="10" y="242"/>
                  </a:cubicBezTo>
                  <a:cubicBezTo>
                    <a:pt x="25" y="236"/>
                    <a:pt x="41" y="236"/>
                    <a:pt x="56" y="240"/>
                  </a:cubicBezTo>
                  <a:cubicBezTo>
                    <a:pt x="78" y="244"/>
                    <a:pt x="96" y="239"/>
                    <a:pt x="110" y="221"/>
                  </a:cubicBezTo>
                  <a:cubicBezTo>
                    <a:pt x="117" y="212"/>
                    <a:pt x="125" y="202"/>
                    <a:pt x="133" y="194"/>
                  </a:cubicBezTo>
                  <a:cubicBezTo>
                    <a:pt x="150" y="177"/>
                    <a:pt x="166" y="178"/>
                    <a:pt x="179" y="198"/>
                  </a:cubicBezTo>
                  <a:cubicBezTo>
                    <a:pt x="187" y="209"/>
                    <a:pt x="193" y="222"/>
                    <a:pt x="200" y="234"/>
                  </a:cubicBezTo>
                  <a:cubicBezTo>
                    <a:pt x="203" y="240"/>
                    <a:pt x="207" y="245"/>
                    <a:pt x="211" y="252"/>
                  </a:cubicBezTo>
                  <a:cubicBezTo>
                    <a:pt x="213" y="251"/>
                    <a:pt x="215" y="250"/>
                    <a:pt x="215" y="249"/>
                  </a:cubicBezTo>
                  <a:cubicBezTo>
                    <a:pt x="224" y="220"/>
                    <a:pt x="232" y="192"/>
                    <a:pt x="241" y="163"/>
                  </a:cubicBezTo>
                  <a:cubicBezTo>
                    <a:pt x="247" y="146"/>
                    <a:pt x="253" y="128"/>
                    <a:pt x="258" y="111"/>
                  </a:cubicBezTo>
                  <a:cubicBezTo>
                    <a:pt x="263" y="97"/>
                    <a:pt x="266" y="83"/>
                    <a:pt x="270" y="70"/>
                  </a:cubicBezTo>
                  <a:cubicBezTo>
                    <a:pt x="272" y="63"/>
                    <a:pt x="276" y="57"/>
                    <a:pt x="279" y="50"/>
                  </a:cubicBezTo>
                  <a:cubicBezTo>
                    <a:pt x="280" y="48"/>
                    <a:pt x="280" y="46"/>
                    <a:pt x="280" y="44"/>
                  </a:cubicBezTo>
                  <a:cubicBezTo>
                    <a:pt x="281" y="36"/>
                    <a:pt x="279" y="27"/>
                    <a:pt x="288" y="23"/>
                  </a:cubicBezTo>
                  <a:cubicBezTo>
                    <a:pt x="289" y="22"/>
                    <a:pt x="290" y="21"/>
                    <a:pt x="290" y="20"/>
                  </a:cubicBezTo>
                  <a:cubicBezTo>
                    <a:pt x="291" y="16"/>
                    <a:pt x="290" y="11"/>
                    <a:pt x="292" y="10"/>
                  </a:cubicBezTo>
                  <a:cubicBezTo>
                    <a:pt x="296" y="6"/>
                    <a:pt x="302" y="3"/>
                    <a:pt x="307" y="2"/>
                  </a:cubicBezTo>
                  <a:cubicBezTo>
                    <a:pt x="323" y="0"/>
                    <a:pt x="329" y="2"/>
                    <a:pt x="334" y="15"/>
                  </a:cubicBezTo>
                  <a:cubicBezTo>
                    <a:pt x="339" y="26"/>
                    <a:pt x="342" y="38"/>
                    <a:pt x="345" y="50"/>
                  </a:cubicBezTo>
                  <a:cubicBezTo>
                    <a:pt x="352" y="76"/>
                    <a:pt x="357" y="103"/>
                    <a:pt x="363" y="129"/>
                  </a:cubicBezTo>
                  <a:cubicBezTo>
                    <a:pt x="367" y="142"/>
                    <a:pt x="371" y="155"/>
                    <a:pt x="374" y="168"/>
                  </a:cubicBezTo>
                  <a:cubicBezTo>
                    <a:pt x="377" y="178"/>
                    <a:pt x="379" y="189"/>
                    <a:pt x="382" y="199"/>
                  </a:cubicBezTo>
                  <a:cubicBezTo>
                    <a:pt x="386" y="217"/>
                    <a:pt x="390" y="235"/>
                    <a:pt x="394" y="253"/>
                  </a:cubicBezTo>
                  <a:cubicBezTo>
                    <a:pt x="395" y="259"/>
                    <a:pt x="398" y="264"/>
                    <a:pt x="402" y="269"/>
                  </a:cubicBezTo>
                  <a:cubicBezTo>
                    <a:pt x="406" y="256"/>
                    <a:pt x="410" y="243"/>
                    <a:pt x="414" y="229"/>
                  </a:cubicBezTo>
                  <a:cubicBezTo>
                    <a:pt x="418" y="216"/>
                    <a:pt x="422" y="202"/>
                    <a:pt x="425" y="188"/>
                  </a:cubicBezTo>
                  <a:cubicBezTo>
                    <a:pt x="426" y="186"/>
                    <a:pt x="427" y="184"/>
                    <a:pt x="427" y="182"/>
                  </a:cubicBezTo>
                  <a:cubicBezTo>
                    <a:pt x="433" y="161"/>
                    <a:pt x="438" y="140"/>
                    <a:pt x="444" y="119"/>
                  </a:cubicBezTo>
                  <a:cubicBezTo>
                    <a:pt x="446" y="110"/>
                    <a:pt x="452" y="101"/>
                    <a:pt x="461" y="96"/>
                  </a:cubicBezTo>
                  <a:cubicBezTo>
                    <a:pt x="475" y="88"/>
                    <a:pt x="487" y="91"/>
                    <a:pt x="494" y="105"/>
                  </a:cubicBezTo>
                  <a:cubicBezTo>
                    <a:pt x="501" y="118"/>
                    <a:pt x="507" y="131"/>
                    <a:pt x="513" y="144"/>
                  </a:cubicBezTo>
                  <a:cubicBezTo>
                    <a:pt x="526" y="172"/>
                    <a:pt x="539" y="199"/>
                    <a:pt x="551" y="227"/>
                  </a:cubicBezTo>
                  <a:cubicBezTo>
                    <a:pt x="557" y="238"/>
                    <a:pt x="571" y="243"/>
                    <a:pt x="583" y="241"/>
                  </a:cubicBezTo>
                  <a:cubicBezTo>
                    <a:pt x="596" y="239"/>
                    <a:pt x="610" y="240"/>
                    <a:pt x="624" y="240"/>
                  </a:cubicBezTo>
                  <a:cubicBezTo>
                    <a:pt x="626" y="240"/>
                    <a:pt x="629" y="242"/>
                    <a:pt x="632" y="242"/>
                  </a:cubicBezTo>
                  <a:cubicBezTo>
                    <a:pt x="645" y="244"/>
                    <a:pt x="645" y="243"/>
                    <a:pt x="645" y="256"/>
                  </a:cubicBezTo>
                  <a:cubicBezTo>
                    <a:pt x="645" y="263"/>
                    <a:pt x="645" y="270"/>
                    <a:pt x="645" y="276"/>
                  </a:cubicBezTo>
                  <a:cubicBezTo>
                    <a:pt x="644" y="289"/>
                    <a:pt x="642" y="292"/>
                    <a:pt x="630" y="292"/>
                  </a:cubicBezTo>
                  <a:cubicBezTo>
                    <a:pt x="611" y="292"/>
                    <a:pt x="592" y="292"/>
                    <a:pt x="573" y="292"/>
                  </a:cubicBezTo>
                  <a:cubicBezTo>
                    <a:pt x="564" y="292"/>
                    <a:pt x="555" y="291"/>
                    <a:pt x="546" y="292"/>
                  </a:cubicBezTo>
                  <a:cubicBezTo>
                    <a:pt x="532" y="293"/>
                    <a:pt x="523" y="286"/>
                    <a:pt x="517" y="276"/>
                  </a:cubicBezTo>
                  <a:cubicBezTo>
                    <a:pt x="508" y="261"/>
                    <a:pt x="501" y="245"/>
                    <a:pt x="494" y="229"/>
                  </a:cubicBezTo>
                  <a:cubicBezTo>
                    <a:pt x="489" y="220"/>
                    <a:pt x="485" y="211"/>
                    <a:pt x="479" y="199"/>
                  </a:cubicBezTo>
                  <a:cubicBezTo>
                    <a:pt x="476" y="206"/>
                    <a:pt x="474" y="211"/>
                    <a:pt x="472" y="215"/>
                  </a:cubicBezTo>
                  <a:cubicBezTo>
                    <a:pt x="469" y="228"/>
                    <a:pt x="467" y="240"/>
                    <a:pt x="463" y="252"/>
                  </a:cubicBezTo>
                  <a:cubicBezTo>
                    <a:pt x="458" y="272"/>
                    <a:pt x="453" y="292"/>
                    <a:pt x="448" y="311"/>
                  </a:cubicBezTo>
                  <a:cubicBezTo>
                    <a:pt x="442" y="331"/>
                    <a:pt x="436" y="351"/>
                    <a:pt x="430" y="371"/>
                  </a:cubicBezTo>
                  <a:cubicBezTo>
                    <a:pt x="428" y="378"/>
                    <a:pt x="428" y="386"/>
                    <a:pt x="425" y="392"/>
                  </a:cubicBezTo>
                  <a:cubicBezTo>
                    <a:pt x="420" y="408"/>
                    <a:pt x="413" y="412"/>
                    <a:pt x="396" y="412"/>
                  </a:cubicBezTo>
                  <a:cubicBezTo>
                    <a:pt x="383" y="411"/>
                    <a:pt x="376" y="404"/>
                    <a:pt x="372" y="390"/>
                  </a:cubicBezTo>
                  <a:cubicBezTo>
                    <a:pt x="367" y="369"/>
                    <a:pt x="361" y="349"/>
                    <a:pt x="356" y="329"/>
                  </a:cubicBezTo>
                  <a:cubicBezTo>
                    <a:pt x="351" y="308"/>
                    <a:pt x="347" y="287"/>
                    <a:pt x="342" y="267"/>
                  </a:cubicBezTo>
                  <a:cubicBezTo>
                    <a:pt x="338" y="248"/>
                    <a:pt x="333" y="229"/>
                    <a:pt x="328" y="210"/>
                  </a:cubicBezTo>
                  <a:cubicBezTo>
                    <a:pt x="325" y="196"/>
                    <a:pt x="322" y="182"/>
                    <a:pt x="319" y="168"/>
                  </a:cubicBezTo>
                  <a:cubicBezTo>
                    <a:pt x="316" y="157"/>
                    <a:pt x="312" y="146"/>
                    <a:pt x="309" y="135"/>
                  </a:cubicBezTo>
                  <a:cubicBezTo>
                    <a:pt x="308" y="136"/>
                    <a:pt x="307" y="136"/>
                    <a:pt x="306" y="137"/>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4" name="Line 198"/>
            <p:cNvSpPr>
              <a:spLocks noChangeShapeType="1"/>
            </p:cNvSpPr>
            <p:nvPr/>
          </p:nvSpPr>
          <p:spPr bwMode="auto">
            <a:xfrm>
              <a:off x="9123744" y="2354581"/>
              <a:ext cx="0" cy="0"/>
            </a:xfrm>
            <a:prstGeom prst="lin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5" name="Line 199"/>
            <p:cNvSpPr>
              <a:spLocks noChangeShapeType="1"/>
            </p:cNvSpPr>
            <p:nvPr/>
          </p:nvSpPr>
          <p:spPr bwMode="auto">
            <a:xfrm>
              <a:off x="9123744" y="2354581"/>
              <a:ext cx="0" cy="0"/>
            </a:xfrm>
            <a:prstGeom prst="lin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6" name="Freeform 200"/>
            <p:cNvSpPr>
              <a:spLocks noEditPoints="1"/>
            </p:cNvSpPr>
            <p:nvPr/>
          </p:nvSpPr>
          <p:spPr bwMode="auto">
            <a:xfrm>
              <a:off x="7855332" y="2903856"/>
              <a:ext cx="157163" cy="157163"/>
            </a:xfrm>
            <a:custGeom>
              <a:avLst/>
              <a:gdLst>
                <a:gd name="T0" fmla="*/ 37 w 208"/>
                <a:gd name="T1" fmla="*/ 37 h 207"/>
                <a:gd name="T2" fmla="*/ 37 w 208"/>
                <a:gd name="T3" fmla="*/ 171 h 207"/>
                <a:gd name="T4" fmla="*/ 171 w 208"/>
                <a:gd name="T5" fmla="*/ 171 h 207"/>
                <a:gd name="T6" fmla="*/ 171 w 208"/>
                <a:gd name="T7" fmla="*/ 37 h 207"/>
                <a:gd name="T8" fmla="*/ 37 w 208"/>
                <a:gd name="T9" fmla="*/ 37 h 207"/>
                <a:gd name="T10" fmla="*/ 37 w 208"/>
                <a:gd name="T11" fmla="*/ 37 h 207"/>
                <a:gd name="T12" fmla="*/ 37 w 208"/>
                <a:gd name="T13" fmla="*/ 37 h 207"/>
              </a:gdLst>
              <a:ahLst/>
              <a:cxnLst>
                <a:cxn ang="0">
                  <a:pos x="T0" y="T1"/>
                </a:cxn>
                <a:cxn ang="0">
                  <a:pos x="T2" y="T3"/>
                </a:cxn>
                <a:cxn ang="0">
                  <a:pos x="T4" y="T5"/>
                </a:cxn>
                <a:cxn ang="0">
                  <a:pos x="T6" y="T7"/>
                </a:cxn>
                <a:cxn ang="0">
                  <a:pos x="T8" y="T9"/>
                </a:cxn>
                <a:cxn ang="0">
                  <a:pos x="T10" y="T11"/>
                </a:cxn>
                <a:cxn ang="0">
                  <a:pos x="T12" y="T13"/>
                </a:cxn>
              </a:cxnLst>
              <a:rect l="0" t="0" r="r" b="b"/>
              <a:pathLst>
                <a:path w="208" h="207">
                  <a:moveTo>
                    <a:pt x="37" y="37"/>
                  </a:moveTo>
                  <a:cubicBezTo>
                    <a:pt x="0" y="74"/>
                    <a:pt x="0" y="134"/>
                    <a:pt x="37" y="171"/>
                  </a:cubicBezTo>
                  <a:cubicBezTo>
                    <a:pt x="74" y="207"/>
                    <a:pt x="134" y="207"/>
                    <a:pt x="171" y="171"/>
                  </a:cubicBezTo>
                  <a:cubicBezTo>
                    <a:pt x="208" y="134"/>
                    <a:pt x="208" y="74"/>
                    <a:pt x="171" y="37"/>
                  </a:cubicBezTo>
                  <a:cubicBezTo>
                    <a:pt x="134" y="0"/>
                    <a:pt x="74" y="0"/>
                    <a:pt x="37" y="37"/>
                  </a:cubicBezTo>
                  <a:close/>
                  <a:moveTo>
                    <a:pt x="37" y="37"/>
                  </a:moveTo>
                  <a:cubicBezTo>
                    <a:pt x="37" y="37"/>
                    <a:pt x="37" y="37"/>
                    <a:pt x="37" y="37"/>
                  </a:cubicBezTo>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7" name="Freeform 201"/>
            <p:cNvSpPr/>
            <p:nvPr/>
          </p:nvSpPr>
          <p:spPr bwMode="auto">
            <a:xfrm>
              <a:off x="7760082" y="2759393"/>
              <a:ext cx="346075" cy="141288"/>
            </a:xfrm>
            <a:custGeom>
              <a:avLst/>
              <a:gdLst>
                <a:gd name="T0" fmla="*/ 228 w 456"/>
                <a:gd name="T1" fmla="*/ 0 h 185"/>
                <a:gd name="T2" fmla="*/ 22 w 456"/>
                <a:gd name="T3" fmla="*/ 85 h 185"/>
                <a:gd name="T4" fmla="*/ 22 w 456"/>
                <a:gd name="T5" fmla="*/ 164 h 185"/>
                <a:gd name="T6" fmla="*/ 100 w 456"/>
                <a:gd name="T7" fmla="*/ 164 h 185"/>
                <a:gd name="T8" fmla="*/ 228 w 456"/>
                <a:gd name="T9" fmla="*/ 111 h 185"/>
                <a:gd name="T10" fmla="*/ 356 w 456"/>
                <a:gd name="T11" fmla="*/ 164 h 185"/>
                <a:gd name="T12" fmla="*/ 395 w 456"/>
                <a:gd name="T13" fmla="*/ 180 h 185"/>
                <a:gd name="T14" fmla="*/ 434 w 456"/>
                <a:gd name="T15" fmla="*/ 164 h 185"/>
                <a:gd name="T16" fmla="*/ 434 w 456"/>
                <a:gd name="T17" fmla="*/ 85 h 185"/>
                <a:gd name="T18" fmla="*/ 228 w 456"/>
                <a:gd name="T1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185">
                  <a:moveTo>
                    <a:pt x="228" y="0"/>
                  </a:moveTo>
                  <a:cubicBezTo>
                    <a:pt x="150" y="0"/>
                    <a:pt x="77" y="30"/>
                    <a:pt x="22" y="85"/>
                  </a:cubicBezTo>
                  <a:cubicBezTo>
                    <a:pt x="0" y="107"/>
                    <a:pt x="0" y="142"/>
                    <a:pt x="22" y="164"/>
                  </a:cubicBezTo>
                  <a:cubicBezTo>
                    <a:pt x="43" y="185"/>
                    <a:pt x="78" y="185"/>
                    <a:pt x="100" y="164"/>
                  </a:cubicBezTo>
                  <a:cubicBezTo>
                    <a:pt x="134" y="129"/>
                    <a:pt x="180" y="111"/>
                    <a:pt x="228" y="111"/>
                  </a:cubicBezTo>
                  <a:cubicBezTo>
                    <a:pt x="276" y="111"/>
                    <a:pt x="322" y="129"/>
                    <a:pt x="356" y="164"/>
                  </a:cubicBezTo>
                  <a:cubicBezTo>
                    <a:pt x="367" y="174"/>
                    <a:pt x="381" y="180"/>
                    <a:pt x="395" y="180"/>
                  </a:cubicBezTo>
                  <a:cubicBezTo>
                    <a:pt x="409" y="180"/>
                    <a:pt x="423" y="174"/>
                    <a:pt x="434" y="164"/>
                  </a:cubicBezTo>
                  <a:cubicBezTo>
                    <a:pt x="456" y="142"/>
                    <a:pt x="456" y="107"/>
                    <a:pt x="434" y="85"/>
                  </a:cubicBezTo>
                  <a:cubicBezTo>
                    <a:pt x="379" y="30"/>
                    <a:pt x="306" y="0"/>
                    <a:pt x="22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8" name="Freeform 202"/>
            <p:cNvSpPr>
              <a:spLocks noEditPoints="1"/>
            </p:cNvSpPr>
            <p:nvPr/>
          </p:nvSpPr>
          <p:spPr bwMode="auto">
            <a:xfrm>
              <a:off x="7661657" y="2621281"/>
              <a:ext cx="542925" cy="180975"/>
            </a:xfrm>
            <a:custGeom>
              <a:avLst/>
              <a:gdLst>
                <a:gd name="T0" fmla="*/ 357 w 714"/>
                <a:gd name="T1" fmla="*/ 0 h 238"/>
                <a:gd name="T2" fmla="*/ 22 w 714"/>
                <a:gd name="T3" fmla="*/ 138 h 238"/>
                <a:gd name="T4" fmla="*/ 22 w 714"/>
                <a:gd name="T5" fmla="*/ 217 h 238"/>
                <a:gd name="T6" fmla="*/ 100 w 714"/>
                <a:gd name="T7" fmla="*/ 217 h 238"/>
                <a:gd name="T8" fmla="*/ 357 w 714"/>
                <a:gd name="T9" fmla="*/ 110 h 238"/>
                <a:gd name="T10" fmla="*/ 614 w 714"/>
                <a:gd name="T11" fmla="*/ 217 h 238"/>
                <a:gd name="T12" fmla="*/ 653 w 714"/>
                <a:gd name="T13" fmla="*/ 233 h 238"/>
                <a:gd name="T14" fmla="*/ 692 w 714"/>
                <a:gd name="T15" fmla="*/ 217 h 238"/>
                <a:gd name="T16" fmla="*/ 692 w 714"/>
                <a:gd name="T17" fmla="*/ 138 h 238"/>
                <a:gd name="T18" fmla="*/ 357 w 714"/>
                <a:gd name="T19" fmla="*/ 0 h 238"/>
                <a:gd name="T20" fmla="*/ 357 w 714"/>
                <a:gd name="T21" fmla="*/ 0 h 238"/>
                <a:gd name="T22" fmla="*/ 357 w 714"/>
                <a:gd name="T23"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4" h="238">
                  <a:moveTo>
                    <a:pt x="357" y="0"/>
                  </a:moveTo>
                  <a:cubicBezTo>
                    <a:pt x="230" y="0"/>
                    <a:pt x="111" y="49"/>
                    <a:pt x="22" y="138"/>
                  </a:cubicBezTo>
                  <a:cubicBezTo>
                    <a:pt x="0" y="160"/>
                    <a:pt x="0" y="195"/>
                    <a:pt x="22" y="217"/>
                  </a:cubicBezTo>
                  <a:cubicBezTo>
                    <a:pt x="43" y="238"/>
                    <a:pt x="78" y="238"/>
                    <a:pt x="100" y="217"/>
                  </a:cubicBezTo>
                  <a:cubicBezTo>
                    <a:pt x="169" y="148"/>
                    <a:pt x="260" y="110"/>
                    <a:pt x="357" y="110"/>
                  </a:cubicBezTo>
                  <a:cubicBezTo>
                    <a:pt x="454" y="110"/>
                    <a:pt x="545" y="148"/>
                    <a:pt x="614" y="217"/>
                  </a:cubicBezTo>
                  <a:cubicBezTo>
                    <a:pt x="625" y="228"/>
                    <a:pt x="639" y="233"/>
                    <a:pt x="653" y="233"/>
                  </a:cubicBezTo>
                  <a:cubicBezTo>
                    <a:pt x="667" y="233"/>
                    <a:pt x="681" y="228"/>
                    <a:pt x="692" y="217"/>
                  </a:cubicBezTo>
                  <a:cubicBezTo>
                    <a:pt x="714" y="195"/>
                    <a:pt x="714" y="160"/>
                    <a:pt x="692" y="138"/>
                  </a:cubicBezTo>
                  <a:cubicBezTo>
                    <a:pt x="603" y="49"/>
                    <a:pt x="484" y="0"/>
                    <a:pt x="357" y="0"/>
                  </a:cubicBezTo>
                  <a:close/>
                  <a:moveTo>
                    <a:pt x="357" y="0"/>
                  </a:moveTo>
                  <a:cubicBezTo>
                    <a:pt x="357" y="0"/>
                    <a:pt x="357" y="0"/>
                    <a:pt x="357" y="0"/>
                  </a:cubicBezTo>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9" name="Freeform 203"/>
            <p:cNvSpPr>
              <a:spLocks noEditPoints="1"/>
            </p:cNvSpPr>
            <p:nvPr/>
          </p:nvSpPr>
          <p:spPr bwMode="auto">
            <a:xfrm>
              <a:off x="7564819" y="2483168"/>
              <a:ext cx="738188" cy="222250"/>
            </a:xfrm>
            <a:custGeom>
              <a:avLst/>
              <a:gdLst>
                <a:gd name="T0" fmla="*/ 950 w 972"/>
                <a:gd name="T1" fmla="*/ 192 h 292"/>
                <a:gd name="T2" fmla="*/ 486 w 972"/>
                <a:gd name="T3" fmla="*/ 0 h 292"/>
                <a:gd name="T4" fmla="*/ 22 w 972"/>
                <a:gd name="T5" fmla="*/ 192 h 292"/>
                <a:gd name="T6" fmla="*/ 22 w 972"/>
                <a:gd name="T7" fmla="*/ 271 h 292"/>
                <a:gd name="T8" fmla="*/ 61 w 972"/>
                <a:gd name="T9" fmla="*/ 287 h 292"/>
                <a:gd name="T10" fmla="*/ 100 w 972"/>
                <a:gd name="T11" fmla="*/ 271 h 292"/>
                <a:gd name="T12" fmla="*/ 486 w 972"/>
                <a:gd name="T13" fmla="*/ 111 h 292"/>
                <a:gd name="T14" fmla="*/ 872 w 972"/>
                <a:gd name="T15" fmla="*/ 271 h 292"/>
                <a:gd name="T16" fmla="*/ 950 w 972"/>
                <a:gd name="T17" fmla="*/ 271 h 292"/>
                <a:gd name="T18" fmla="*/ 950 w 972"/>
                <a:gd name="T19" fmla="*/ 192 h 292"/>
                <a:gd name="T20" fmla="*/ 950 w 972"/>
                <a:gd name="T21" fmla="*/ 192 h 292"/>
                <a:gd name="T22" fmla="*/ 950 w 972"/>
                <a:gd name="T23" fmla="*/ 1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2" h="292">
                  <a:moveTo>
                    <a:pt x="950" y="192"/>
                  </a:moveTo>
                  <a:cubicBezTo>
                    <a:pt x="826" y="68"/>
                    <a:pt x="661" y="0"/>
                    <a:pt x="486" y="0"/>
                  </a:cubicBezTo>
                  <a:cubicBezTo>
                    <a:pt x="311" y="0"/>
                    <a:pt x="146" y="68"/>
                    <a:pt x="22" y="192"/>
                  </a:cubicBezTo>
                  <a:cubicBezTo>
                    <a:pt x="0" y="214"/>
                    <a:pt x="0" y="249"/>
                    <a:pt x="22" y="271"/>
                  </a:cubicBezTo>
                  <a:cubicBezTo>
                    <a:pt x="32" y="281"/>
                    <a:pt x="47" y="287"/>
                    <a:pt x="61" y="287"/>
                  </a:cubicBezTo>
                  <a:cubicBezTo>
                    <a:pt x="75" y="287"/>
                    <a:pt x="89" y="281"/>
                    <a:pt x="100" y="271"/>
                  </a:cubicBezTo>
                  <a:cubicBezTo>
                    <a:pt x="203" y="167"/>
                    <a:pt x="340" y="111"/>
                    <a:pt x="486" y="111"/>
                  </a:cubicBezTo>
                  <a:cubicBezTo>
                    <a:pt x="632" y="111"/>
                    <a:pt x="769" y="167"/>
                    <a:pt x="872" y="271"/>
                  </a:cubicBezTo>
                  <a:cubicBezTo>
                    <a:pt x="894" y="292"/>
                    <a:pt x="929" y="292"/>
                    <a:pt x="950" y="271"/>
                  </a:cubicBezTo>
                  <a:cubicBezTo>
                    <a:pt x="972" y="249"/>
                    <a:pt x="972" y="214"/>
                    <a:pt x="950" y="192"/>
                  </a:cubicBezTo>
                  <a:close/>
                  <a:moveTo>
                    <a:pt x="950" y="192"/>
                  </a:moveTo>
                  <a:cubicBezTo>
                    <a:pt x="950" y="192"/>
                    <a:pt x="950" y="192"/>
                    <a:pt x="950" y="192"/>
                  </a:cubicBezTo>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440" name="矩形 439"/>
          <p:cNvSpPr/>
          <p:nvPr/>
        </p:nvSpPr>
        <p:spPr>
          <a:xfrm>
            <a:off x="5823831" y="4008126"/>
            <a:ext cx="372217" cy="430887"/>
          </a:xfrm>
          <a:prstGeom prst="rect">
            <a:avLst/>
          </a:prstGeom>
          <a:effectLst/>
        </p:spPr>
        <p:txBody>
          <a:bodyPr wrap="none">
            <a:spAutoFit/>
          </a:bodyPr>
          <a:lstStyle/>
          <a:p>
            <a:pPr marL="0" marR="0" lvl="0" indent="0" algn="ctr" defTabSz="932815" rtl="0" eaLnBrk="1" fontAlgn="auto" latinLnBrk="0" hangingPunct="1">
              <a:lnSpc>
                <a:spcPct val="100000"/>
              </a:lnSpc>
              <a:spcBef>
                <a:spcPts val="0"/>
              </a:spcBef>
              <a:spcAft>
                <a:spcPts val="0"/>
              </a:spcAft>
              <a:buClrTx/>
              <a:buSzTx/>
              <a:buFontTx/>
              <a:buNone/>
              <a:defRPr/>
            </a:pPr>
            <a:r>
              <a:rPr kumimoji="0" lang="en-US" altLang="zh-CN" sz="2200" b="1" i="0" u="none" strike="noStrike" kern="1200" cap="none" spc="0" normalizeH="0" baseline="0" noProof="0" smtClean="0">
                <a:ln>
                  <a:noFill/>
                </a:ln>
                <a:solidFill>
                  <a:srgbClr val="FF5805"/>
                </a:solidFill>
                <a:effectLst/>
                <a:uLnTx/>
                <a:uFillTx/>
                <a:latin typeface="Arial" panose="020B0604020202020204"/>
                <a:ea typeface="华文楷体" panose="02010600040101010101" charset="-122"/>
                <a:cs typeface="+mn-cs"/>
              </a:rPr>
              <a:t>X</a:t>
            </a:r>
            <a:endParaRPr kumimoji="0" lang="zh-CN" altLang="en-US" sz="2200" b="1" i="0" u="none" strike="noStrike" kern="1200" cap="none" spc="0" normalizeH="0" baseline="0" noProof="0" dirty="0">
              <a:ln>
                <a:noFill/>
              </a:ln>
              <a:solidFill>
                <a:srgbClr val="FF5805"/>
              </a:solidFill>
              <a:effectLst/>
              <a:uLnTx/>
              <a:uFillTx/>
              <a:latin typeface="Arial" panose="020B0604020202020204"/>
              <a:ea typeface="华文楷体" panose="02010600040101010101" charset="-122"/>
              <a:cs typeface="+mn-cs"/>
            </a:endParaRPr>
          </a:p>
        </p:txBody>
      </p:sp>
      <p:sp>
        <p:nvSpPr>
          <p:cNvPr id="448" name="空心弧 447"/>
          <p:cNvSpPr/>
          <p:nvPr/>
        </p:nvSpPr>
        <p:spPr>
          <a:xfrm>
            <a:off x="3409126" y="1157148"/>
            <a:ext cx="5146832" cy="5146832"/>
          </a:xfrm>
          <a:prstGeom prst="blockArc">
            <a:avLst>
              <a:gd name="adj1" fmla="val 21570717"/>
              <a:gd name="adj2" fmla="val 5347956"/>
              <a:gd name="adj3" fmla="val 1757"/>
            </a:avLst>
          </a:prstGeom>
          <a:solidFill>
            <a:schemeClr val="accent1">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449" name="空心弧 448"/>
          <p:cNvSpPr/>
          <p:nvPr/>
        </p:nvSpPr>
        <p:spPr>
          <a:xfrm>
            <a:off x="3409126" y="1157148"/>
            <a:ext cx="5146832" cy="5146832"/>
          </a:xfrm>
          <a:prstGeom prst="blockArc">
            <a:avLst>
              <a:gd name="adj1" fmla="val 5439214"/>
              <a:gd name="adj2" fmla="val 10652917"/>
              <a:gd name="adj3" fmla="val 2195"/>
            </a:avLst>
          </a:prstGeom>
          <a:solidFill>
            <a:schemeClr val="accent1">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450" name="空心弧 449"/>
          <p:cNvSpPr/>
          <p:nvPr/>
        </p:nvSpPr>
        <p:spPr>
          <a:xfrm>
            <a:off x="3409126" y="1157148"/>
            <a:ext cx="5146832" cy="5146832"/>
          </a:xfrm>
          <a:prstGeom prst="blockArc">
            <a:avLst>
              <a:gd name="adj1" fmla="val 16256599"/>
              <a:gd name="adj2" fmla="val 21521856"/>
              <a:gd name="adj3" fmla="val 2019"/>
            </a:avLst>
          </a:prstGeom>
          <a:solidFill>
            <a:schemeClr val="accent1">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451" name="空心弧 450"/>
          <p:cNvSpPr/>
          <p:nvPr/>
        </p:nvSpPr>
        <p:spPr>
          <a:xfrm>
            <a:off x="3409126" y="1157148"/>
            <a:ext cx="5146832" cy="5146832"/>
          </a:xfrm>
          <a:prstGeom prst="blockArc">
            <a:avLst>
              <a:gd name="adj1" fmla="val 10800000"/>
              <a:gd name="adj2" fmla="val 16177415"/>
              <a:gd name="adj3" fmla="val 2089"/>
            </a:avLst>
          </a:prstGeom>
          <a:solidFill>
            <a:schemeClr val="accent1">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441" name="TextBox 169"/>
          <p:cNvSpPr txBox="1"/>
          <p:nvPr/>
        </p:nvSpPr>
        <p:spPr>
          <a:xfrm>
            <a:off x="3480440" y="1468877"/>
            <a:ext cx="737202" cy="737202"/>
          </a:xfrm>
          <a:prstGeom prst="ellipse">
            <a:avLst/>
          </a:prstGeom>
          <a:solidFill>
            <a:srgbClr val="FFFFFF"/>
          </a:solidFill>
          <a:ln w="28575">
            <a:gradFill flip="none" rotWithShape="1">
              <a:gsLst>
                <a:gs pos="0">
                  <a:schemeClr val="accent1">
                    <a:lumMod val="50000"/>
                  </a:schemeClr>
                </a:gs>
                <a:gs pos="100000">
                  <a:schemeClr val="accent1"/>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36000" rtlCol="0" anchor="b"/>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5000"/>
              </a:lnSpc>
              <a:spcBef>
                <a:spcPts val="0"/>
              </a:spcBef>
              <a:spcAft>
                <a:spcPts val="0"/>
              </a:spcAft>
              <a:buClrTx/>
              <a:buSzTx/>
              <a:buFontTx/>
              <a:buNone/>
              <a:defRPr/>
            </a:pPr>
            <a:endParaRPr kumimoji="0" lang="en-US" sz="1400" b="0" i="0" u="none" strike="noStrike" kern="0" cap="none" spc="0" normalizeH="0" baseline="0" noProof="0" dirty="0" err="1">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42" name="TextBox 169"/>
          <p:cNvSpPr txBox="1"/>
          <p:nvPr/>
        </p:nvSpPr>
        <p:spPr>
          <a:xfrm>
            <a:off x="2887190" y="2801062"/>
            <a:ext cx="737202" cy="737202"/>
          </a:xfrm>
          <a:prstGeom prst="ellipse">
            <a:avLst/>
          </a:prstGeom>
          <a:solidFill>
            <a:srgbClr val="FFFFFF"/>
          </a:solidFill>
          <a:ln w="28575">
            <a:gradFill flip="none" rotWithShape="1">
              <a:gsLst>
                <a:gs pos="0">
                  <a:schemeClr val="accent1">
                    <a:lumMod val="50000"/>
                  </a:schemeClr>
                </a:gs>
                <a:gs pos="100000">
                  <a:schemeClr val="accent1"/>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36000" rtlCol="0" anchor="b"/>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5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sym typeface="Calibri" panose="020F0502020204030204" pitchFamily="34" charset="0"/>
            </a:endParaRPr>
          </a:p>
        </p:txBody>
      </p:sp>
      <p:sp>
        <p:nvSpPr>
          <p:cNvPr id="443" name="TextBox 169"/>
          <p:cNvSpPr txBox="1"/>
          <p:nvPr/>
        </p:nvSpPr>
        <p:spPr>
          <a:xfrm>
            <a:off x="3626376" y="5230375"/>
            <a:ext cx="737202" cy="737202"/>
          </a:xfrm>
          <a:prstGeom prst="ellipse">
            <a:avLst/>
          </a:prstGeom>
          <a:solidFill>
            <a:srgbClr val="FFFFFF"/>
          </a:solidFill>
          <a:ln w="28575">
            <a:gradFill flip="none" rotWithShape="1">
              <a:gsLst>
                <a:gs pos="0">
                  <a:schemeClr val="accent1">
                    <a:lumMod val="50000"/>
                  </a:schemeClr>
                </a:gs>
                <a:gs pos="100000">
                  <a:schemeClr val="accent1"/>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b"/>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5000"/>
              </a:lnSpc>
              <a:spcBef>
                <a:spcPts val="0"/>
              </a:spcBef>
              <a:spcAft>
                <a:spcPts val="0"/>
              </a:spcAft>
              <a:buClrTx/>
              <a:buSzTx/>
              <a:buFontTx/>
              <a:buNone/>
              <a:defRPr/>
            </a:pPr>
            <a:endParaRPr kumimoji="0" lang="en-US" sz="1400" b="0" i="0" u="none" strike="noStrike" kern="0" cap="none" spc="0" normalizeH="0" baseline="0" noProof="0" dirty="0" err="1">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44" name="TextBox 169"/>
          <p:cNvSpPr txBox="1"/>
          <p:nvPr/>
        </p:nvSpPr>
        <p:spPr>
          <a:xfrm>
            <a:off x="7048252" y="1045650"/>
            <a:ext cx="737202" cy="737202"/>
          </a:xfrm>
          <a:prstGeom prst="ellipse">
            <a:avLst/>
          </a:prstGeom>
          <a:solidFill>
            <a:srgbClr val="FFFFFF"/>
          </a:solidFill>
          <a:ln w="28575">
            <a:gradFill flip="none" rotWithShape="1">
              <a:gsLst>
                <a:gs pos="0">
                  <a:schemeClr val="accent1">
                    <a:lumMod val="50000"/>
                  </a:schemeClr>
                </a:gs>
                <a:gs pos="100000">
                  <a:schemeClr val="accent1"/>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36000" rtlCol="0" anchor="b"/>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5000"/>
              </a:lnSpc>
              <a:spcBef>
                <a:spcPts val="0"/>
              </a:spcBef>
              <a:spcAft>
                <a:spcPts val="0"/>
              </a:spcAft>
              <a:buClrTx/>
              <a:buSzTx/>
              <a:buFontTx/>
              <a:buNone/>
              <a:defRPr/>
            </a:pPr>
            <a:endParaRPr kumimoji="0" lang="en-US" sz="1400" b="0" i="0" u="none" strike="noStrike" kern="0" cap="none" spc="0" normalizeH="0" baseline="0" noProof="0" dirty="0" err="1">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45" name="TextBox 169"/>
          <p:cNvSpPr txBox="1"/>
          <p:nvPr/>
        </p:nvSpPr>
        <p:spPr>
          <a:xfrm>
            <a:off x="7607512" y="5230375"/>
            <a:ext cx="737202" cy="737202"/>
          </a:xfrm>
          <a:prstGeom prst="ellipse">
            <a:avLst/>
          </a:prstGeom>
          <a:solidFill>
            <a:srgbClr val="FFFFFF"/>
          </a:solidFill>
          <a:ln w="28575">
            <a:gradFill flip="none" rotWithShape="1">
              <a:gsLst>
                <a:gs pos="0">
                  <a:schemeClr val="accent1">
                    <a:lumMod val="50000"/>
                  </a:schemeClr>
                </a:gs>
                <a:gs pos="100000">
                  <a:schemeClr val="accent1"/>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b"/>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5000"/>
              </a:lnSpc>
              <a:spcBef>
                <a:spcPts val="0"/>
              </a:spcBef>
              <a:spcAft>
                <a:spcPts val="0"/>
              </a:spcAft>
              <a:buClrTx/>
              <a:buSzTx/>
              <a:buFontTx/>
              <a:buNone/>
              <a:defRPr/>
            </a:pPr>
            <a:endParaRPr kumimoji="0" lang="en-US" sz="1400" b="0" i="0" u="none" strike="noStrike" kern="0" cap="none" spc="0" normalizeH="0" baseline="0" noProof="0" dirty="0" err="1">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46" name="TextBox 169"/>
          <p:cNvSpPr txBox="1"/>
          <p:nvPr/>
        </p:nvSpPr>
        <p:spPr>
          <a:xfrm>
            <a:off x="4735969" y="791054"/>
            <a:ext cx="737202" cy="737202"/>
          </a:xfrm>
          <a:prstGeom prst="ellipse">
            <a:avLst/>
          </a:prstGeom>
          <a:solidFill>
            <a:srgbClr val="FFFFFF"/>
          </a:solidFill>
          <a:ln w="28575">
            <a:gradFill flip="none" rotWithShape="1">
              <a:gsLst>
                <a:gs pos="0">
                  <a:schemeClr val="accent1">
                    <a:lumMod val="50000"/>
                  </a:schemeClr>
                </a:gs>
                <a:gs pos="100000">
                  <a:schemeClr val="accent1"/>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36000" rtlCol="0" anchor="b"/>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5000"/>
              </a:lnSpc>
              <a:spcBef>
                <a:spcPts val="0"/>
              </a:spcBef>
              <a:spcAft>
                <a:spcPts val="0"/>
              </a:spcAft>
              <a:buClrTx/>
              <a:buSzTx/>
              <a:buFontTx/>
              <a:buNone/>
              <a:defRPr/>
            </a:pPr>
            <a:endParaRPr kumimoji="0" lang="zh-CN" altLang="en-US" sz="1400" b="0" i="0" u="none" strike="noStrike" kern="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sym typeface="Calibri" panose="020F0502020204030204" pitchFamily="34" charset="0"/>
            </a:endParaRPr>
          </a:p>
        </p:txBody>
      </p:sp>
      <p:sp>
        <p:nvSpPr>
          <p:cNvPr id="447" name="TextBox 169"/>
          <p:cNvSpPr txBox="1"/>
          <p:nvPr/>
        </p:nvSpPr>
        <p:spPr>
          <a:xfrm>
            <a:off x="8192069" y="2540501"/>
            <a:ext cx="737202" cy="737202"/>
          </a:xfrm>
          <a:prstGeom prst="ellipse">
            <a:avLst/>
          </a:prstGeom>
          <a:solidFill>
            <a:srgbClr val="FFFFFF"/>
          </a:solidFill>
          <a:ln w="28575">
            <a:gradFill flip="none" rotWithShape="1">
              <a:gsLst>
                <a:gs pos="0">
                  <a:schemeClr val="accent1">
                    <a:lumMod val="50000"/>
                  </a:schemeClr>
                </a:gs>
                <a:gs pos="100000">
                  <a:schemeClr val="accent1"/>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36000" rtlCol="0" anchor="b"/>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5000"/>
              </a:lnSpc>
              <a:spcBef>
                <a:spcPts val="0"/>
              </a:spcBef>
              <a:spcAft>
                <a:spcPts val="0"/>
              </a:spcAft>
              <a:buClrTx/>
              <a:buSzTx/>
              <a:buFontTx/>
              <a:buNone/>
              <a:defRPr/>
            </a:pPr>
            <a:endParaRPr kumimoji="0" lang="en-US" sz="1400" b="0" i="0" u="none" strike="noStrike" kern="0" cap="none" spc="0" normalizeH="0" baseline="0" noProof="0" dirty="0" err="1">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52" name="TextBox 169"/>
          <p:cNvSpPr txBox="1"/>
          <p:nvPr/>
        </p:nvSpPr>
        <p:spPr>
          <a:xfrm>
            <a:off x="1974369" y="1757175"/>
            <a:ext cx="1403531" cy="265262"/>
          </a:xfrm>
          <a:prstGeom prst="rect">
            <a:avLst/>
          </a:prstGeom>
          <a:noFill/>
          <a:ln w="2857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gradFill flip="none" rotWithShape="1">
                  <a:gsLst>
                    <a:gs pos="0">
                      <a:schemeClr val="accent1">
                        <a:lumMod val="50000"/>
                      </a:schemeClr>
                    </a:gs>
                    <a:gs pos="100000">
                      <a:schemeClr val="accent1"/>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4400" rtl="0" eaLnBrk="1" fontAlgn="auto" latinLnBrk="0" hangingPunct="1">
              <a:lnSpc>
                <a:spcPct val="95000"/>
              </a:lnSpc>
              <a:spcBef>
                <a:spcPts val="0"/>
              </a:spcBef>
              <a:spcAft>
                <a:spcPts val="0"/>
              </a:spcAft>
              <a:buClrTx/>
              <a:buSzTx/>
              <a:buFontTx/>
              <a:buNone/>
              <a:defRPr/>
            </a:pPr>
            <a:r>
              <a:rPr kumimoji="0" lang="en-US" altLang="zh-TW" sz="1600" b="0" i="0" u="none" strike="noStrike" kern="0" cap="none" spc="0" normalizeH="0" baseline="0" noProof="0" smtClean="0">
                <a:ln>
                  <a:noFill/>
                </a:ln>
                <a:solidFill>
                  <a:prstClr val="white">
                    <a:lumMod val="50000"/>
                  </a:prstClr>
                </a:solidFill>
                <a:effectLst/>
                <a:uLnTx/>
                <a:uFillTx/>
                <a:latin typeface="Arial" panose="020B0604020202020204"/>
                <a:ea typeface="华文楷体" panose="02010600040101010101" charset="-122"/>
                <a:cs typeface="+mn-cs"/>
              </a:rPr>
              <a:t>X</a:t>
            </a:r>
            <a:endParaRPr kumimoji="0" lang="en-US" sz="1600" b="0" i="0" u="none" strike="noStrike" kern="0" cap="none" spc="0" normalizeH="0" baseline="0" noProof="0" dirty="0" err="1">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53" name="TextBox 169"/>
          <p:cNvSpPr txBox="1"/>
          <p:nvPr/>
        </p:nvSpPr>
        <p:spPr>
          <a:xfrm>
            <a:off x="1725365" y="3121634"/>
            <a:ext cx="1016900" cy="223994"/>
          </a:xfrm>
          <a:prstGeom prst="rect">
            <a:avLst/>
          </a:prstGeom>
          <a:noFill/>
          <a:ln w="2857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gradFill flip="none" rotWithShape="1">
                  <a:gsLst>
                    <a:gs pos="0">
                      <a:schemeClr val="accent1">
                        <a:lumMod val="50000"/>
                      </a:schemeClr>
                    </a:gs>
                    <a:gs pos="100000">
                      <a:schemeClr val="accent1"/>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4400" rtl="0" eaLnBrk="1" fontAlgn="auto" latinLnBrk="0" hangingPunct="1">
              <a:lnSpc>
                <a:spcPct val="95000"/>
              </a:lnSpc>
              <a:spcBef>
                <a:spcPts val="0"/>
              </a:spcBef>
              <a:spcAft>
                <a:spcPts val="0"/>
              </a:spcAft>
              <a:buClrTx/>
              <a:buSzTx/>
              <a:buFontTx/>
              <a:buNone/>
              <a:defRPr/>
            </a:pPr>
            <a:r>
              <a:rPr kumimoji="0" lang="en-US" altLang="zh-CN" sz="1600" b="0" i="0" u="none" strike="noStrike" kern="0" cap="none" spc="0" normalizeH="0" baseline="0" noProof="0" smtClean="0">
                <a:ln>
                  <a:noFill/>
                </a:ln>
                <a:solidFill>
                  <a:prstClr val="white">
                    <a:lumMod val="50000"/>
                  </a:prstClr>
                </a:solidFill>
                <a:effectLst/>
                <a:uLnTx/>
                <a:uFillTx/>
                <a:latin typeface="Arial" panose="020B0604020202020204"/>
                <a:ea typeface="华文楷体" panose="02010600040101010101" charset="-122"/>
                <a:cs typeface="+mn-cs"/>
                <a:sym typeface="Calibri" panose="020F0502020204030204" pitchFamily="34" charset="0"/>
              </a:rPr>
              <a:t>X</a:t>
            </a:r>
            <a:endParaRPr kumimoji="0" lang="zh-CN" altLang="en-US" sz="1600" b="0" i="0" u="none" strike="noStrike" kern="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sym typeface="Calibri" panose="020F0502020204030204" pitchFamily="34" charset="0"/>
            </a:endParaRPr>
          </a:p>
        </p:txBody>
      </p:sp>
      <p:sp>
        <p:nvSpPr>
          <p:cNvPr id="454" name="TextBox 169"/>
          <p:cNvSpPr txBox="1"/>
          <p:nvPr/>
        </p:nvSpPr>
        <p:spPr>
          <a:xfrm>
            <a:off x="2529096" y="5583218"/>
            <a:ext cx="1016900" cy="268184"/>
          </a:xfrm>
          <a:prstGeom prst="rect">
            <a:avLst/>
          </a:prstGeom>
          <a:noFill/>
          <a:ln w="2857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gradFill flip="none" rotWithShape="1">
                  <a:gsLst>
                    <a:gs pos="0">
                      <a:schemeClr val="accent1">
                        <a:lumMod val="50000"/>
                      </a:schemeClr>
                    </a:gs>
                    <a:gs pos="100000">
                      <a:schemeClr val="accent1"/>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4400" rtl="0" eaLnBrk="1" fontAlgn="auto" latinLnBrk="0" hangingPunct="1">
              <a:lnSpc>
                <a:spcPct val="95000"/>
              </a:lnSpc>
              <a:spcBef>
                <a:spcPts val="0"/>
              </a:spcBef>
              <a:spcAft>
                <a:spcPts val="0"/>
              </a:spcAft>
              <a:buClrTx/>
              <a:buSzTx/>
              <a:buFontTx/>
              <a:buNone/>
              <a:defRPr/>
            </a:pPr>
            <a:r>
              <a:rPr kumimoji="0" lang="en-US" altLang="zh-CN" sz="1600" b="0" i="0" u="none" strike="noStrike" kern="0" cap="none" spc="0" normalizeH="0" baseline="0" noProof="0" smtClean="0">
                <a:ln>
                  <a:noFill/>
                </a:ln>
                <a:solidFill>
                  <a:prstClr val="white">
                    <a:lumMod val="50000"/>
                  </a:prstClr>
                </a:solidFill>
                <a:effectLst/>
                <a:uLnTx/>
                <a:uFillTx/>
                <a:latin typeface="Arial" panose="020B0604020202020204"/>
                <a:ea typeface="华文楷体" panose="02010600040101010101" charset="-122"/>
                <a:cs typeface="+mn-cs"/>
              </a:rPr>
              <a:t>X</a:t>
            </a:r>
            <a:endParaRPr kumimoji="0" lang="en-US" sz="1600" b="0" i="0" u="none" strike="noStrike" kern="0" cap="none" spc="0" normalizeH="0" baseline="0" noProof="0" dirty="0" err="1">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55" name="TextBox 169"/>
          <p:cNvSpPr txBox="1"/>
          <p:nvPr/>
        </p:nvSpPr>
        <p:spPr>
          <a:xfrm>
            <a:off x="3208384" y="1036322"/>
            <a:ext cx="1438920" cy="276111"/>
          </a:xfrm>
          <a:prstGeom prst="rect">
            <a:avLst/>
          </a:prstGeom>
          <a:noFill/>
          <a:ln w="2857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gradFill flip="none" rotWithShape="1">
                  <a:gsLst>
                    <a:gs pos="0">
                      <a:schemeClr val="accent1">
                        <a:lumMod val="50000"/>
                      </a:schemeClr>
                    </a:gs>
                    <a:gs pos="100000">
                      <a:schemeClr val="accent1"/>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4400" rtl="0" eaLnBrk="1" fontAlgn="auto" latinLnBrk="0" hangingPunct="1">
              <a:lnSpc>
                <a:spcPct val="95000"/>
              </a:lnSpc>
              <a:spcBef>
                <a:spcPts val="0"/>
              </a:spcBef>
              <a:spcAft>
                <a:spcPts val="0"/>
              </a:spcAft>
              <a:buClrTx/>
              <a:buSzTx/>
              <a:buFontTx/>
              <a:buNone/>
              <a:defRPr/>
            </a:pPr>
            <a:r>
              <a:rPr kumimoji="0" lang="en-US" altLang="zh-TW" sz="1600" b="0" i="0" u="none" strike="noStrike" kern="0" cap="none" spc="0" normalizeH="0" baseline="0" noProof="0" smtClean="0">
                <a:ln>
                  <a:noFill/>
                </a:ln>
                <a:solidFill>
                  <a:prstClr val="white">
                    <a:lumMod val="50000"/>
                  </a:prstClr>
                </a:solidFill>
                <a:effectLst/>
                <a:uLnTx/>
                <a:uFillTx/>
                <a:latin typeface="Arial" panose="020B0604020202020204"/>
                <a:ea typeface="华文楷体" panose="02010600040101010101" charset="-122"/>
                <a:cs typeface="+mn-cs"/>
              </a:rPr>
              <a:t>X</a:t>
            </a:r>
            <a:endParaRPr kumimoji="0" lang="zh-TW" altLang="en-US" sz="1600" b="0" i="0" u="none" strike="noStrike" kern="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56" name="TextBox 169"/>
          <p:cNvSpPr txBox="1"/>
          <p:nvPr/>
        </p:nvSpPr>
        <p:spPr>
          <a:xfrm>
            <a:off x="7927298" y="1301675"/>
            <a:ext cx="2184890" cy="182880"/>
          </a:xfrm>
          <a:prstGeom prst="rect">
            <a:avLst/>
          </a:prstGeom>
          <a:noFill/>
          <a:ln w="2857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gradFill flip="none" rotWithShape="1">
                  <a:gsLst>
                    <a:gs pos="0">
                      <a:schemeClr val="accent1">
                        <a:lumMod val="50000"/>
                      </a:schemeClr>
                    </a:gs>
                    <a:gs pos="100000">
                      <a:schemeClr val="accent1"/>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5000"/>
              </a:lnSpc>
              <a:spcBef>
                <a:spcPts val="0"/>
              </a:spcBef>
              <a:spcAft>
                <a:spcPts val="0"/>
              </a:spcAft>
              <a:buClrTx/>
              <a:buSzTx/>
              <a:buFontTx/>
              <a:buNone/>
              <a:defRPr/>
            </a:pPr>
            <a:r>
              <a:rPr kumimoji="0" lang="en-US" altLang="zh-TW" sz="1600" b="0" i="0" u="none" strike="noStrike" kern="0" cap="none" spc="0" normalizeH="0" baseline="0" noProof="0" smtClean="0">
                <a:ln>
                  <a:noFill/>
                </a:ln>
                <a:solidFill>
                  <a:prstClr val="white">
                    <a:lumMod val="50000"/>
                  </a:prstClr>
                </a:solidFill>
                <a:effectLst/>
                <a:uLnTx/>
                <a:uFillTx/>
                <a:latin typeface="Arial" panose="020B0604020202020204"/>
                <a:ea typeface="华文楷体" panose="02010600040101010101" charset="-122"/>
                <a:cs typeface="+mn-cs"/>
              </a:rPr>
              <a:t>X</a:t>
            </a:r>
            <a:endParaRPr kumimoji="0" lang="en-US" sz="1600" b="0" i="0" u="none" strike="noStrike" kern="0" cap="none" spc="0" normalizeH="0" baseline="0" noProof="0" dirty="0" err="1">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57" name="TextBox 169"/>
          <p:cNvSpPr txBox="1"/>
          <p:nvPr/>
        </p:nvSpPr>
        <p:spPr>
          <a:xfrm>
            <a:off x="8492860" y="5421854"/>
            <a:ext cx="1016900" cy="440304"/>
          </a:xfrm>
          <a:prstGeom prst="rect">
            <a:avLst/>
          </a:prstGeom>
          <a:noFill/>
          <a:ln w="2857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gradFill flip="none" rotWithShape="1">
                  <a:gsLst>
                    <a:gs pos="0">
                      <a:schemeClr val="accent1">
                        <a:lumMod val="50000"/>
                      </a:schemeClr>
                    </a:gs>
                    <a:gs pos="100000">
                      <a:schemeClr val="accent1"/>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5000"/>
              </a:lnSpc>
              <a:spcBef>
                <a:spcPts val="0"/>
              </a:spcBef>
              <a:spcAft>
                <a:spcPts val="0"/>
              </a:spcAft>
              <a:buClrTx/>
              <a:buSzTx/>
              <a:buFontTx/>
              <a:buNone/>
              <a:defRPr/>
            </a:pPr>
            <a:r>
              <a:rPr kumimoji="0" lang="en-US" altLang="zh-TW" sz="1600" b="0" i="0" u="none" strike="noStrike" kern="0" cap="none" spc="0" normalizeH="0" baseline="0" noProof="0" smtClean="0">
                <a:ln>
                  <a:noFill/>
                </a:ln>
                <a:solidFill>
                  <a:prstClr val="white">
                    <a:lumMod val="50000"/>
                  </a:prstClr>
                </a:solidFill>
                <a:effectLst/>
                <a:uLnTx/>
                <a:uFillTx/>
                <a:latin typeface="Arial" panose="020B0604020202020204"/>
                <a:ea typeface="华文楷体" panose="02010600040101010101" charset="-122"/>
                <a:cs typeface="+mn-cs"/>
              </a:rPr>
              <a:t>X</a:t>
            </a:r>
            <a:endParaRPr kumimoji="0" lang="en-US" sz="1600" b="0" i="0" u="none" strike="noStrike" kern="0" cap="none" spc="0" normalizeH="0" baseline="0" noProof="0" dirty="0" err="1">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58" name="TextBox 169"/>
          <p:cNvSpPr txBox="1"/>
          <p:nvPr/>
        </p:nvSpPr>
        <p:spPr>
          <a:xfrm>
            <a:off x="9059934" y="2699707"/>
            <a:ext cx="1016900" cy="440304"/>
          </a:xfrm>
          <a:prstGeom prst="rect">
            <a:avLst/>
          </a:prstGeom>
          <a:noFill/>
          <a:ln w="2857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gradFill flip="none" rotWithShape="1">
                  <a:gsLst>
                    <a:gs pos="0">
                      <a:schemeClr val="accent1">
                        <a:lumMod val="50000"/>
                      </a:schemeClr>
                    </a:gs>
                    <a:gs pos="100000">
                      <a:schemeClr val="accent1"/>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algn="ctr">
              <a:lnSpc>
                <a:spcPct val="95000"/>
              </a:lnSpc>
              <a:defRPr kern="0">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5000"/>
              </a:lnSpc>
              <a:spcBef>
                <a:spcPts val="0"/>
              </a:spcBef>
              <a:spcAft>
                <a:spcPts val="0"/>
              </a:spcAft>
              <a:buClrTx/>
              <a:buSzTx/>
              <a:buFontTx/>
              <a:buNone/>
              <a:defRPr/>
            </a:pPr>
            <a:r>
              <a:rPr kumimoji="0" lang="en-US" altLang="zh-TW" sz="1600" b="0" i="0" u="none" strike="noStrike" kern="0" cap="none" spc="0" normalizeH="0" baseline="0" noProof="0" smtClean="0">
                <a:ln>
                  <a:noFill/>
                </a:ln>
                <a:solidFill>
                  <a:prstClr val="white">
                    <a:lumMod val="50000"/>
                  </a:prstClr>
                </a:solidFill>
                <a:effectLst/>
                <a:uLnTx/>
                <a:uFillTx/>
                <a:latin typeface="Arial" panose="020B0604020202020204"/>
                <a:ea typeface="华文楷体" panose="02010600040101010101" charset="-122"/>
                <a:cs typeface="+mn-cs"/>
              </a:rPr>
              <a:t>X</a:t>
            </a:r>
            <a:endParaRPr kumimoji="0" lang="en-US" sz="1600" b="0" i="0" u="none" strike="noStrike" kern="0" cap="none" spc="0" normalizeH="0" baseline="0" noProof="0" dirty="0" err="1">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64" name="Freeform 13"/>
          <p:cNvSpPr>
            <a:spLocks noEditPoints="1"/>
          </p:cNvSpPr>
          <p:nvPr/>
        </p:nvSpPr>
        <p:spPr bwMode="auto">
          <a:xfrm>
            <a:off x="4870704" y="951539"/>
            <a:ext cx="495646" cy="364638"/>
          </a:xfrm>
          <a:custGeom>
            <a:avLst/>
            <a:gdLst>
              <a:gd name="T0" fmla="*/ 525 w 799"/>
              <a:gd name="T1" fmla="*/ 523 h 588"/>
              <a:gd name="T2" fmla="*/ 40 w 799"/>
              <a:gd name="T3" fmla="*/ 491 h 588"/>
              <a:gd name="T4" fmla="*/ 72 w 799"/>
              <a:gd name="T5" fmla="*/ 38 h 588"/>
              <a:gd name="T6" fmla="*/ 749 w 799"/>
              <a:gd name="T7" fmla="*/ 283 h 588"/>
              <a:gd name="T8" fmla="*/ 751 w 799"/>
              <a:gd name="T9" fmla="*/ 323 h 588"/>
              <a:gd name="T10" fmla="*/ 787 w 799"/>
              <a:gd name="T11" fmla="*/ 357 h 588"/>
              <a:gd name="T12" fmla="*/ 725 w 799"/>
              <a:gd name="T13" fmla="*/ 0 h 588"/>
              <a:gd name="T14" fmla="*/ 0 w 799"/>
              <a:gd name="T15" fmla="*/ 62 h 588"/>
              <a:gd name="T16" fmla="*/ 62 w 799"/>
              <a:gd name="T17" fmla="*/ 562 h 588"/>
              <a:gd name="T18" fmla="*/ 547 w 799"/>
              <a:gd name="T19" fmla="*/ 554 h 588"/>
              <a:gd name="T20" fmla="*/ 749 w 799"/>
              <a:gd name="T21" fmla="*/ 70 h 588"/>
              <a:gd name="T22" fmla="*/ 550 w 799"/>
              <a:gd name="T23" fmla="*/ 38 h 588"/>
              <a:gd name="T24" fmla="*/ 749 w 799"/>
              <a:gd name="T25" fmla="*/ 70 h 588"/>
              <a:gd name="T26" fmla="*/ 697 w 799"/>
              <a:gd name="T27" fmla="*/ 416 h 588"/>
              <a:gd name="T28" fmla="*/ 667 w 799"/>
              <a:gd name="T29" fmla="*/ 325 h 588"/>
              <a:gd name="T30" fmla="*/ 667 w 799"/>
              <a:gd name="T31" fmla="*/ 325 h 588"/>
              <a:gd name="T32" fmla="*/ 637 w 799"/>
              <a:gd name="T33" fmla="*/ 416 h 588"/>
              <a:gd name="T34" fmla="*/ 535 w 799"/>
              <a:gd name="T35" fmla="*/ 457 h 588"/>
              <a:gd name="T36" fmla="*/ 619 w 799"/>
              <a:gd name="T37" fmla="*/ 472 h 588"/>
              <a:gd name="T38" fmla="*/ 590 w 799"/>
              <a:gd name="T39" fmla="*/ 563 h 588"/>
              <a:gd name="T40" fmla="*/ 745 w 799"/>
              <a:gd name="T41" fmla="*/ 564 h 588"/>
              <a:gd name="T42" fmla="*/ 590 w 799"/>
              <a:gd name="T43" fmla="*/ 563 h 588"/>
              <a:gd name="T44" fmla="*/ 715 w 799"/>
              <a:gd name="T45" fmla="*/ 472 h 588"/>
              <a:gd name="T46" fmla="*/ 799 w 799"/>
              <a:gd name="T47" fmla="*/ 457 h 588"/>
              <a:gd name="T48" fmla="*/ 211 w 799"/>
              <a:gd name="T49" fmla="*/ 126 h 588"/>
              <a:gd name="T50" fmla="*/ 119 w 799"/>
              <a:gd name="T51" fmla="*/ 361 h 588"/>
              <a:gd name="T52" fmla="*/ 304 w 799"/>
              <a:gd name="T53" fmla="*/ 361 h 588"/>
              <a:gd name="T54" fmla="*/ 211 w 799"/>
              <a:gd name="T55" fmla="*/ 126 h 588"/>
              <a:gd name="T56" fmla="*/ 213 w 799"/>
              <a:gd name="T57" fmla="*/ 432 h 588"/>
              <a:gd name="T58" fmla="*/ 146 w 799"/>
              <a:gd name="T59" fmla="*/ 284 h 588"/>
              <a:gd name="T60" fmla="*/ 280 w 799"/>
              <a:gd name="T61" fmla="*/ 369 h 588"/>
              <a:gd name="T62" fmla="*/ 534 w 799"/>
              <a:gd name="T63" fmla="*/ 184 h 588"/>
              <a:gd name="T64" fmla="*/ 370 w 799"/>
              <a:gd name="T65" fmla="*/ 224 h 588"/>
              <a:gd name="T66" fmla="*/ 370 w 799"/>
              <a:gd name="T67" fmla="*/ 184 h 588"/>
              <a:gd name="T68" fmla="*/ 534 w 799"/>
              <a:gd name="T69" fmla="*/ 274 h 588"/>
              <a:gd name="T70" fmla="*/ 370 w 799"/>
              <a:gd name="T71" fmla="*/ 314 h 588"/>
              <a:gd name="T72" fmla="*/ 370 w 799"/>
              <a:gd name="T73" fmla="*/ 274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9" h="588">
                <a:moveTo>
                  <a:pt x="527" y="525"/>
                </a:moveTo>
                <a:cubicBezTo>
                  <a:pt x="525" y="523"/>
                  <a:pt x="525" y="523"/>
                  <a:pt x="525" y="523"/>
                </a:cubicBezTo>
                <a:cubicBezTo>
                  <a:pt x="72" y="523"/>
                  <a:pt x="72" y="523"/>
                  <a:pt x="72" y="523"/>
                </a:cubicBezTo>
                <a:cubicBezTo>
                  <a:pt x="54" y="523"/>
                  <a:pt x="40" y="509"/>
                  <a:pt x="40" y="491"/>
                </a:cubicBezTo>
                <a:cubicBezTo>
                  <a:pt x="40" y="72"/>
                  <a:pt x="40" y="72"/>
                  <a:pt x="40" y="72"/>
                </a:cubicBezTo>
                <a:cubicBezTo>
                  <a:pt x="40" y="54"/>
                  <a:pt x="54" y="38"/>
                  <a:pt x="72" y="38"/>
                </a:cubicBezTo>
                <a:cubicBezTo>
                  <a:pt x="505" y="38"/>
                  <a:pt x="505" y="38"/>
                  <a:pt x="505" y="38"/>
                </a:cubicBezTo>
                <a:cubicBezTo>
                  <a:pt x="749" y="283"/>
                  <a:pt x="749" y="283"/>
                  <a:pt x="749" y="283"/>
                </a:cubicBezTo>
                <a:cubicBezTo>
                  <a:pt x="749" y="321"/>
                  <a:pt x="749" y="321"/>
                  <a:pt x="749" y="321"/>
                </a:cubicBezTo>
                <a:cubicBezTo>
                  <a:pt x="751" y="323"/>
                  <a:pt x="751" y="323"/>
                  <a:pt x="751" y="323"/>
                </a:cubicBezTo>
                <a:cubicBezTo>
                  <a:pt x="761" y="329"/>
                  <a:pt x="771" y="337"/>
                  <a:pt x="779" y="347"/>
                </a:cubicBezTo>
                <a:cubicBezTo>
                  <a:pt x="787" y="357"/>
                  <a:pt x="787" y="357"/>
                  <a:pt x="787" y="357"/>
                </a:cubicBezTo>
                <a:cubicBezTo>
                  <a:pt x="787" y="62"/>
                  <a:pt x="787" y="62"/>
                  <a:pt x="787" y="62"/>
                </a:cubicBezTo>
                <a:cubicBezTo>
                  <a:pt x="787" y="28"/>
                  <a:pt x="759" y="0"/>
                  <a:pt x="725" y="0"/>
                </a:cubicBezTo>
                <a:cubicBezTo>
                  <a:pt x="62" y="0"/>
                  <a:pt x="62" y="0"/>
                  <a:pt x="62" y="0"/>
                </a:cubicBezTo>
                <a:cubicBezTo>
                  <a:pt x="28" y="0"/>
                  <a:pt x="0" y="28"/>
                  <a:pt x="0" y="62"/>
                </a:cubicBezTo>
                <a:cubicBezTo>
                  <a:pt x="0" y="501"/>
                  <a:pt x="0" y="501"/>
                  <a:pt x="0" y="501"/>
                </a:cubicBezTo>
                <a:cubicBezTo>
                  <a:pt x="0" y="534"/>
                  <a:pt x="28" y="562"/>
                  <a:pt x="62" y="562"/>
                </a:cubicBezTo>
                <a:cubicBezTo>
                  <a:pt x="553" y="562"/>
                  <a:pt x="553" y="562"/>
                  <a:pt x="553" y="562"/>
                </a:cubicBezTo>
                <a:cubicBezTo>
                  <a:pt x="547" y="554"/>
                  <a:pt x="547" y="554"/>
                  <a:pt x="547" y="554"/>
                </a:cubicBezTo>
                <a:cubicBezTo>
                  <a:pt x="539" y="544"/>
                  <a:pt x="533" y="534"/>
                  <a:pt x="527" y="525"/>
                </a:cubicBezTo>
                <a:close/>
                <a:moveTo>
                  <a:pt x="749" y="70"/>
                </a:moveTo>
                <a:cubicBezTo>
                  <a:pt x="749" y="237"/>
                  <a:pt x="749" y="237"/>
                  <a:pt x="749" y="237"/>
                </a:cubicBezTo>
                <a:cubicBezTo>
                  <a:pt x="550" y="38"/>
                  <a:pt x="550" y="38"/>
                  <a:pt x="550" y="38"/>
                </a:cubicBezTo>
                <a:cubicBezTo>
                  <a:pt x="717" y="38"/>
                  <a:pt x="717" y="38"/>
                  <a:pt x="717" y="38"/>
                </a:cubicBezTo>
                <a:cubicBezTo>
                  <a:pt x="735" y="38"/>
                  <a:pt x="749" y="52"/>
                  <a:pt x="749" y="70"/>
                </a:cubicBezTo>
                <a:close/>
                <a:moveTo>
                  <a:pt x="667" y="325"/>
                </a:moveTo>
                <a:cubicBezTo>
                  <a:pt x="697" y="416"/>
                  <a:pt x="697" y="416"/>
                  <a:pt x="697" y="416"/>
                </a:cubicBezTo>
                <a:cubicBezTo>
                  <a:pt x="793" y="416"/>
                  <a:pt x="793" y="416"/>
                  <a:pt x="793" y="416"/>
                </a:cubicBezTo>
                <a:cubicBezTo>
                  <a:pt x="775" y="363"/>
                  <a:pt x="725" y="325"/>
                  <a:pt x="667" y="325"/>
                </a:cubicBezTo>
                <a:close/>
                <a:moveTo>
                  <a:pt x="637" y="416"/>
                </a:moveTo>
                <a:cubicBezTo>
                  <a:pt x="667" y="325"/>
                  <a:pt x="667" y="325"/>
                  <a:pt x="667" y="325"/>
                </a:cubicBezTo>
                <a:cubicBezTo>
                  <a:pt x="607" y="325"/>
                  <a:pt x="558" y="363"/>
                  <a:pt x="541" y="416"/>
                </a:cubicBezTo>
                <a:lnTo>
                  <a:pt x="637" y="416"/>
                </a:lnTo>
                <a:close/>
                <a:moveTo>
                  <a:pt x="541" y="416"/>
                </a:moveTo>
                <a:cubicBezTo>
                  <a:pt x="537" y="429"/>
                  <a:pt x="535" y="442"/>
                  <a:pt x="535" y="457"/>
                </a:cubicBezTo>
                <a:cubicBezTo>
                  <a:pt x="535" y="500"/>
                  <a:pt x="557" y="539"/>
                  <a:pt x="590" y="563"/>
                </a:cubicBezTo>
                <a:cubicBezTo>
                  <a:pt x="619" y="472"/>
                  <a:pt x="619" y="472"/>
                  <a:pt x="619" y="472"/>
                </a:cubicBezTo>
                <a:lnTo>
                  <a:pt x="541" y="416"/>
                </a:lnTo>
                <a:close/>
                <a:moveTo>
                  <a:pt x="590" y="563"/>
                </a:moveTo>
                <a:cubicBezTo>
                  <a:pt x="612" y="579"/>
                  <a:pt x="639" y="588"/>
                  <a:pt x="667" y="588"/>
                </a:cubicBezTo>
                <a:cubicBezTo>
                  <a:pt x="696" y="588"/>
                  <a:pt x="723" y="579"/>
                  <a:pt x="745" y="564"/>
                </a:cubicBezTo>
                <a:cubicBezTo>
                  <a:pt x="667" y="507"/>
                  <a:pt x="667" y="507"/>
                  <a:pt x="667" y="507"/>
                </a:cubicBezTo>
                <a:lnTo>
                  <a:pt x="590" y="563"/>
                </a:lnTo>
                <a:close/>
                <a:moveTo>
                  <a:pt x="793" y="416"/>
                </a:moveTo>
                <a:cubicBezTo>
                  <a:pt x="715" y="472"/>
                  <a:pt x="715" y="472"/>
                  <a:pt x="715" y="472"/>
                </a:cubicBezTo>
                <a:cubicBezTo>
                  <a:pt x="745" y="564"/>
                  <a:pt x="745" y="564"/>
                  <a:pt x="745" y="564"/>
                </a:cubicBezTo>
                <a:cubicBezTo>
                  <a:pt x="778" y="540"/>
                  <a:pt x="799" y="501"/>
                  <a:pt x="799" y="457"/>
                </a:cubicBezTo>
                <a:cubicBezTo>
                  <a:pt x="799" y="442"/>
                  <a:pt x="797" y="429"/>
                  <a:pt x="793" y="416"/>
                </a:cubicBezTo>
                <a:close/>
                <a:moveTo>
                  <a:pt x="211" y="126"/>
                </a:moveTo>
                <a:cubicBezTo>
                  <a:pt x="160" y="126"/>
                  <a:pt x="119" y="170"/>
                  <a:pt x="119" y="225"/>
                </a:cubicBezTo>
                <a:cubicBezTo>
                  <a:pt x="119" y="361"/>
                  <a:pt x="119" y="361"/>
                  <a:pt x="119" y="361"/>
                </a:cubicBezTo>
                <a:cubicBezTo>
                  <a:pt x="119" y="416"/>
                  <a:pt x="160" y="460"/>
                  <a:pt x="211" y="460"/>
                </a:cubicBezTo>
                <a:cubicBezTo>
                  <a:pt x="263" y="460"/>
                  <a:pt x="304" y="416"/>
                  <a:pt x="304" y="361"/>
                </a:cubicBezTo>
                <a:cubicBezTo>
                  <a:pt x="304" y="225"/>
                  <a:pt x="304" y="225"/>
                  <a:pt x="304" y="225"/>
                </a:cubicBezTo>
                <a:cubicBezTo>
                  <a:pt x="304" y="170"/>
                  <a:pt x="263" y="126"/>
                  <a:pt x="211" y="126"/>
                </a:cubicBezTo>
                <a:close/>
                <a:moveTo>
                  <a:pt x="280" y="369"/>
                </a:moveTo>
                <a:cubicBezTo>
                  <a:pt x="280" y="404"/>
                  <a:pt x="250" y="432"/>
                  <a:pt x="213" y="432"/>
                </a:cubicBezTo>
                <a:cubicBezTo>
                  <a:pt x="176" y="432"/>
                  <a:pt x="146" y="404"/>
                  <a:pt x="146" y="369"/>
                </a:cubicBezTo>
                <a:cubicBezTo>
                  <a:pt x="146" y="284"/>
                  <a:pt x="146" y="284"/>
                  <a:pt x="146" y="284"/>
                </a:cubicBezTo>
                <a:cubicBezTo>
                  <a:pt x="280" y="284"/>
                  <a:pt x="280" y="284"/>
                  <a:pt x="280" y="284"/>
                </a:cubicBezTo>
                <a:cubicBezTo>
                  <a:pt x="280" y="369"/>
                  <a:pt x="280" y="369"/>
                  <a:pt x="280" y="369"/>
                </a:cubicBezTo>
                <a:close/>
                <a:moveTo>
                  <a:pt x="370" y="184"/>
                </a:moveTo>
                <a:cubicBezTo>
                  <a:pt x="534" y="184"/>
                  <a:pt x="534" y="184"/>
                  <a:pt x="534" y="184"/>
                </a:cubicBezTo>
                <a:cubicBezTo>
                  <a:pt x="534" y="224"/>
                  <a:pt x="534" y="224"/>
                  <a:pt x="534" y="224"/>
                </a:cubicBezTo>
                <a:cubicBezTo>
                  <a:pt x="370" y="224"/>
                  <a:pt x="370" y="224"/>
                  <a:pt x="370" y="224"/>
                </a:cubicBezTo>
                <a:cubicBezTo>
                  <a:pt x="370" y="184"/>
                  <a:pt x="370" y="184"/>
                  <a:pt x="370" y="184"/>
                </a:cubicBezTo>
                <a:cubicBezTo>
                  <a:pt x="370" y="184"/>
                  <a:pt x="370" y="184"/>
                  <a:pt x="370" y="184"/>
                </a:cubicBezTo>
                <a:close/>
                <a:moveTo>
                  <a:pt x="370" y="274"/>
                </a:moveTo>
                <a:cubicBezTo>
                  <a:pt x="534" y="274"/>
                  <a:pt x="534" y="274"/>
                  <a:pt x="534" y="274"/>
                </a:cubicBezTo>
                <a:cubicBezTo>
                  <a:pt x="534" y="314"/>
                  <a:pt x="534" y="314"/>
                  <a:pt x="534" y="314"/>
                </a:cubicBezTo>
                <a:cubicBezTo>
                  <a:pt x="370" y="314"/>
                  <a:pt x="370" y="314"/>
                  <a:pt x="370" y="314"/>
                </a:cubicBezTo>
                <a:cubicBezTo>
                  <a:pt x="370" y="274"/>
                  <a:pt x="370" y="274"/>
                  <a:pt x="370" y="274"/>
                </a:cubicBezTo>
                <a:cubicBezTo>
                  <a:pt x="370" y="274"/>
                  <a:pt x="370" y="274"/>
                  <a:pt x="370" y="274"/>
                </a:cubicBezTo>
                <a:close/>
              </a:path>
            </a:pathLst>
          </a:custGeom>
          <a:solidFill>
            <a:srgbClr val="FE5817"/>
          </a:solidFill>
          <a:ln>
            <a:noFill/>
          </a:ln>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nvGrpSpPr>
          <p:cNvPr id="471" name="Group 224"/>
          <p:cNvGrpSpPr/>
          <p:nvPr/>
        </p:nvGrpSpPr>
        <p:grpSpPr>
          <a:xfrm>
            <a:off x="3582771" y="1629888"/>
            <a:ext cx="494378" cy="362176"/>
            <a:chOff x="5604196" y="1924051"/>
            <a:chExt cx="569913" cy="417513"/>
          </a:xfrm>
          <a:solidFill>
            <a:srgbClr val="FE5817"/>
          </a:solidFill>
          <a:effectLst/>
        </p:grpSpPr>
        <p:sp>
          <p:nvSpPr>
            <p:cNvPr id="472" name="Freeform 109"/>
            <p:cNvSpPr>
              <a:spLocks noEditPoints="1"/>
            </p:cNvSpPr>
            <p:nvPr/>
          </p:nvSpPr>
          <p:spPr bwMode="auto">
            <a:xfrm>
              <a:off x="5604196" y="1974851"/>
              <a:ext cx="282575" cy="211138"/>
            </a:xfrm>
            <a:custGeom>
              <a:avLst/>
              <a:gdLst>
                <a:gd name="T0" fmla="*/ 188 w 372"/>
                <a:gd name="T1" fmla="*/ 0 h 277"/>
                <a:gd name="T2" fmla="*/ 344 w 372"/>
                <a:gd name="T3" fmla="*/ 0 h 277"/>
                <a:gd name="T4" fmla="*/ 371 w 372"/>
                <a:gd name="T5" fmla="*/ 23 h 277"/>
                <a:gd name="T6" fmla="*/ 372 w 372"/>
                <a:gd name="T7" fmla="*/ 41 h 277"/>
                <a:gd name="T8" fmla="*/ 372 w 372"/>
                <a:gd name="T9" fmla="*/ 235 h 277"/>
                <a:gd name="T10" fmla="*/ 330 w 372"/>
                <a:gd name="T11" fmla="*/ 277 h 277"/>
                <a:gd name="T12" fmla="*/ 42 w 372"/>
                <a:gd name="T13" fmla="*/ 277 h 277"/>
                <a:gd name="T14" fmla="*/ 28 w 372"/>
                <a:gd name="T15" fmla="*/ 277 h 277"/>
                <a:gd name="T16" fmla="*/ 0 w 372"/>
                <a:gd name="T17" fmla="*/ 250 h 277"/>
                <a:gd name="T18" fmla="*/ 0 w 372"/>
                <a:gd name="T19" fmla="*/ 28 h 277"/>
                <a:gd name="T20" fmla="*/ 30 w 372"/>
                <a:gd name="T21" fmla="*/ 0 h 277"/>
                <a:gd name="T22" fmla="*/ 188 w 372"/>
                <a:gd name="T23" fmla="*/ 0 h 277"/>
                <a:gd name="T24" fmla="*/ 137 w 372"/>
                <a:gd name="T25" fmla="*/ 178 h 277"/>
                <a:gd name="T26" fmla="*/ 130 w 372"/>
                <a:gd name="T27" fmla="*/ 171 h 277"/>
                <a:gd name="T28" fmla="*/ 115 w 372"/>
                <a:gd name="T29" fmla="*/ 115 h 277"/>
                <a:gd name="T30" fmla="*/ 110 w 372"/>
                <a:gd name="T31" fmla="*/ 98 h 277"/>
                <a:gd name="T32" fmla="*/ 86 w 372"/>
                <a:gd name="T33" fmla="*/ 85 h 277"/>
                <a:gd name="T34" fmla="*/ 67 w 372"/>
                <a:gd name="T35" fmla="*/ 102 h 277"/>
                <a:gd name="T36" fmla="*/ 64 w 372"/>
                <a:gd name="T37" fmla="*/ 111 h 277"/>
                <a:gd name="T38" fmla="*/ 32 w 372"/>
                <a:gd name="T39" fmla="*/ 141 h 277"/>
                <a:gd name="T40" fmla="*/ 23 w 372"/>
                <a:gd name="T41" fmla="*/ 146 h 277"/>
                <a:gd name="T42" fmla="*/ 50 w 372"/>
                <a:gd name="T43" fmla="*/ 155 h 277"/>
                <a:gd name="T44" fmla="*/ 71 w 372"/>
                <a:gd name="T45" fmla="*/ 139 h 277"/>
                <a:gd name="T46" fmla="*/ 80 w 372"/>
                <a:gd name="T47" fmla="*/ 111 h 277"/>
                <a:gd name="T48" fmla="*/ 90 w 372"/>
                <a:gd name="T49" fmla="*/ 97 h 277"/>
                <a:gd name="T50" fmla="*/ 100 w 372"/>
                <a:gd name="T51" fmla="*/ 119 h 277"/>
                <a:gd name="T52" fmla="*/ 113 w 372"/>
                <a:gd name="T53" fmla="*/ 171 h 277"/>
                <a:gd name="T54" fmla="*/ 134 w 372"/>
                <a:gd name="T55" fmla="*/ 192 h 277"/>
                <a:gd name="T56" fmla="*/ 157 w 372"/>
                <a:gd name="T57" fmla="*/ 177 h 277"/>
                <a:gd name="T58" fmla="*/ 168 w 372"/>
                <a:gd name="T59" fmla="*/ 156 h 277"/>
                <a:gd name="T60" fmla="*/ 197 w 372"/>
                <a:gd name="T61" fmla="*/ 156 h 277"/>
                <a:gd name="T62" fmla="*/ 212 w 372"/>
                <a:gd name="T63" fmla="*/ 167 h 277"/>
                <a:gd name="T64" fmla="*/ 220 w 372"/>
                <a:gd name="T65" fmla="*/ 182 h 277"/>
                <a:gd name="T66" fmla="*/ 258 w 372"/>
                <a:gd name="T67" fmla="*/ 178 h 277"/>
                <a:gd name="T68" fmla="*/ 264 w 372"/>
                <a:gd name="T69" fmla="*/ 159 h 277"/>
                <a:gd name="T70" fmla="*/ 275 w 372"/>
                <a:gd name="T71" fmla="*/ 113 h 277"/>
                <a:gd name="T72" fmla="*/ 290 w 372"/>
                <a:gd name="T73" fmla="*/ 103 h 277"/>
                <a:gd name="T74" fmla="*/ 297 w 372"/>
                <a:gd name="T75" fmla="*/ 126 h 277"/>
                <a:gd name="T76" fmla="*/ 346 w 372"/>
                <a:gd name="T77" fmla="*/ 152 h 277"/>
                <a:gd name="T78" fmla="*/ 336 w 372"/>
                <a:gd name="T79" fmla="*/ 140 h 277"/>
                <a:gd name="T80" fmla="*/ 312 w 372"/>
                <a:gd name="T81" fmla="*/ 119 h 277"/>
                <a:gd name="T82" fmla="*/ 306 w 372"/>
                <a:gd name="T83" fmla="*/ 98 h 277"/>
                <a:gd name="T84" fmla="*/ 282 w 372"/>
                <a:gd name="T85" fmla="*/ 85 h 277"/>
                <a:gd name="T86" fmla="*/ 260 w 372"/>
                <a:gd name="T87" fmla="*/ 105 h 277"/>
                <a:gd name="T88" fmla="*/ 248 w 372"/>
                <a:gd name="T89" fmla="*/ 159 h 277"/>
                <a:gd name="T90" fmla="*/ 238 w 372"/>
                <a:gd name="T91" fmla="*/ 178 h 277"/>
                <a:gd name="T92" fmla="*/ 228 w 372"/>
                <a:gd name="T93" fmla="*/ 164 h 277"/>
                <a:gd name="T94" fmla="*/ 192 w 372"/>
                <a:gd name="T95" fmla="*/ 140 h 277"/>
                <a:gd name="T96" fmla="*/ 172 w 372"/>
                <a:gd name="T97" fmla="*/ 140 h 277"/>
                <a:gd name="T98" fmla="*/ 148 w 372"/>
                <a:gd name="T99" fmla="*/ 158 h 277"/>
                <a:gd name="T100" fmla="*/ 137 w 372"/>
                <a:gd name="T101" fmla="*/ 17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2" h="277">
                  <a:moveTo>
                    <a:pt x="188" y="0"/>
                  </a:moveTo>
                  <a:cubicBezTo>
                    <a:pt x="240" y="0"/>
                    <a:pt x="292" y="0"/>
                    <a:pt x="344" y="0"/>
                  </a:cubicBezTo>
                  <a:cubicBezTo>
                    <a:pt x="365" y="0"/>
                    <a:pt x="367" y="2"/>
                    <a:pt x="371" y="23"/>
                  </a:cubicBezTo>
                  <a:cubicBezTo>
                    <a:pt x="372" y="29"/>
                    <a:pt x="372" y="35"/>
                    <a:pt x="372" y="41"/>
                  </a:cubicBezTo>
                  <a:cubicBezTo>
                    <a:pt x="372" y="106"/>
                    <a:pt x="372" y="171"/>
                    <a:pt x="372" y="235"/>
                  </a:cubicBezTo>
                  <a:cubicBezTo>
                    <a:pt x="372" y="274"/>
                    <a:pt x="369" y="277"/>
                    <a:pt x="330" y="277"/>
                  </a:cubicBezTo>
                  <a:cubicBezTo>
                    <a:pt x="234" y="277"/>
                    <a:pt x="138" y="277"/>
                    <a:pt x="42" y="277"/>
                  </a:cubicBezTo>
                  <a:cubicBezTo>
                    <a:pt x="37" y="277"/>
                    <a:pt x="32" y="277"/>
                    <a:pt x="28" y="277"/>
                  </a:cubicBezTo>
                  <a:cubicBezTo>
                    <a:pt x="9" y="276"/>
                    <a:pt x="0" y="268"/>
                    <a:pt x="0" y="250"/>
                  </a:cubicBezTo>
                  <a:cubicBezTo>
                    <a:pt x="0" y="176"/>
                    <a:pt x="0" y="102"/>
                    <a:pt x="0" y="28"/>
                  </a:cubicBezTo>
                  <a:cubicBezTo>
                    <a:pt x="0" y="7"/>
                    <a:pt x="8" y="0"/>
                    <a:pt x="30" y="0"/>
                  </a:cubicBezTo>
                  <a:cubicBezTo>
                    <a:pt x="83" y="0"/>
                    <a:pt x="135" y="0"/>
                    <a:pt x="188" y="0"/>
                  </a:cubicBezTo>
                  <a:close/>
                  <a:moveTo>
                    <a:pt x="137" y="178"/>
                  </a:moveTo>
                  <a:cubicBezTo>
                    <a:pt x="133" y="173"/>
                    <a:pt x="130" y="172"/>
                    <a:pt x="130" y="171"/>
                  </a:cubicBezTo>
                  <a:cubicBezTo>
                    <a:pt x="125" y="152"/>
                    <a:pt x="120" y="134"/>
                    <a:pt x="115" y="115"/>
                  </a:cubicBezTo>
                  <a:cubicBezTo>
                    <a:pt x="114" y="109"/>
                    <a:pt x="112" y="103"/>
                    <a:pt x="110" y="98"/>
                  </a:cubicBezTo>
                  <a:cubicBezTo>
                    <a:pt x="105" y="88"/>
                    <a:pt x="98" y="84"/>
                    <a:pt x="86" y="85"/>
                  </a:cubicBezTo>
                  <a:cubicBezTo>
                    <a:pt x="75" y="86"/>
                    <a:pt x="70" y="92"/>
                    <a:pt x="67" y="102"/>
                  </a:cubicBezTo>
                  <a:cubicBezTo>
                    <a:pt x="66" y="105"/>
                    <a:pt x="65" y="108"/>
                    <a:pt x="64" y="111"/>
                  </a:cubicBezTo>
                  <a:cubicBezTo>
                    <a:pt x="59" y="128"/>
                    <a:pt x="54" y="144"/>
                    <a:pt x="32" y="141"/>
                  </a:cubicBezTo>
                  <a:cubicBezTo>
                    <a:pt x="29" y="141"/>
                    <a:pt x="26" y="144"/>
                    <a:pt x="23" y="146"/>
                  </a:cubicBezTo>
                  <a:cubicBezTo>
                    <a:pt x="29" y="159"/>
                    <a:pt x="40" y="156"/>
                    <a:pt x="50" y="155"/>
                  </a:cubicBezTo>
                  <a:cubicBezTo>
                    <a:pt x="59" y="154"/>
                    <a:pt x="67" y="149"/>
                    <a:pt x="71" y="139"/>
                  </a:cubicBezTo>
                  <a:cubicBezTo>
                    <a:pt x="74" y="130"/>
                    <a:pt x="77" y="120"/>
                    <a:pt x="80" y="111"/>
                  </a:cubicBezTo>
                  <a:cubicBezTo>
                    <a:pt x="82" y="107"/>
                    <a:pt x="85" y="104"/>
                    <a:pt x="90" y="97"/>
                  </a:cubicBezTo>
                  <a:cubicBezTo>
                    <a:pt x="94" y="107"/>
                    <a:pt x="98" y="113"/>
                    <a:pt x="100" y="119"/>
                  </a:cubicBezTo>
                  <a:cubicBezTo>
                    <a:pt x="105" y="136"/>
                    <a:pt x="108" y="154"/>
                    <a:pt x="113" y="171"/>
                  </a:cubicBezTo>
                  <a:cubicBezTo>
                    <a:pt x="116" y="183"/>
                    <a:pt x="124" y="191"/>
                    <a:pt x="134" y="192"/>
                  </a:cubicBezTo>
                  <a:cubicBezTo>
                    <a:pt x="146" y="193"/>
                    <a:pt x="153" y="188"/>
                    <a:pt x="157" y="177"/>
                  </a:cubicBezTo>
                  <a:cubicBezTo>
                    <a:pt x="159" y="170"/>
                    <a:pt x="163" y="164"/>
                    <a:pt x="168" y="156"/>
                  </a:cubicBezTo>
                  <a:cubicBezTo>
                    <a:pt x="177" y="156"/>
                    <a:pt x="187" y="156"/>
                    <a:pt x="197" y="156"/>
                  </a:cubicBezTo>
                  <a:cubicBezTo>
                    <a:pt x="205" y="156"/>
                    <a:pt x="209" y="159"/>
                    <a:pt x="212" y="167"/>
                  </a:cubicBezTo>
                  <a:cubicBezTo>
                    <a:pt x="214" y="172"/>
                    <a:pt x="216" y="178"/>
                    <a:pt x="220" y="182"/>
                  </a:cubicBezTo>
                  <a:cubicBezTo>
                    <a:pt x="231" y="197"/>
                    <a:pt x="250" y="195"/>
                    <a:pt x="258" y="178"/>
                  </a:cubicBezTo>
                  <a:cubicBezTo>
                    <a:pt x="261" y="172"/>
                    <a:pt x="262" y="166"/>
                    <a:pt x="264" y="159"/>
                  </a:cubicBezTo>
                  <a:cubicBezTo>
                    <a:pt x="268" y="144"/>
                    <a:pt x="271" y="128"/>
                    <a:pt x="275" y="113"/>
                  </a:cubicBezTo>
                  <a:cubicBezTo>
                    <a:pt x="277" y="107"/>
                    <a:pt x="279" y="100"/>
                    <a:pt x="290" y="103"/>
                  </a:cubicBezTo>
                  <a:cubicBezTo>
                    <a:pt x="292" y="110"/>
                    <a:pt x="295" y="118"/>
                    <a:pt x="297" y="126"/>
                  </a:cubicBezTo>
                  <a:cubicBezTo>
                    <a:pt x="304" y="152"/>
                    <a:pt x="320" y="161"/>
                    <a:pt x="346" y="152"/>
                  </a:cubicBezTo>
                  <a:cubicBezTo>
                    <a:pt x="344" y="142"/>
                    <a:pt x="344" y="142"/>
                    <a:pt x="336" y="140"/>
                  </a:cubicBezTo>
                  <a:cubicBezTo>
                    <a:pt x="319" y="138"/>
                    <a:pt x="316" y="135"/>
                    <a:pt x="312" y="119"/>
                  </a:cubicBezTo>
                  <a:cubicBezTo>
                    <a:pt x="310" y="112"/>
                    <a:pt x="309" y="105"/>
                    <a:pt x="306" y="98"/>
                  </a:cubicBezTo>
                  <a:cubicBezTo>
                    <a:pt x="301" y="87"/>
                    <a:pt x="294" y="84"/>
                    <a:pt x="282" y="85"/>
                  </a:cubicBezTo>
                  <a:cubicBezTo>
                    <a:pt x="272" y="86"/>
                    <a:pt x="263" y="93"/>
                    <a:pt x="260" y="105"/>
                  </a:cubicBezTo>
                  <a:cubicBezTo>
                    <a:pt x="256" y="123"/>
                    <a:pt x="252" y="142"/>
                    <a:pt x="248" y="159"/>
                  </a:cubicBezTo>
                  <a:cubicBezTo>
                    <a:pt x="246" y="165"/>
                    <a:pt x="242" y="170"/>
                    <a:pt x="238" y="178"/>
                  </a:cubicBezTo>
                  <a:cubicBezTo>
                    <a:pt x="233" y="171"/>
                    <a:pt x="229" y="168"/>
                    <a:pt x="228" y="164"/>
                  </a:cubicBezTo>
                  <a:cubicBezTo>
                    <a:pt x="223" y="145"/>
                    <a:pt x="210" y="139"/>
                    <a:pt x="192" y="140"/>
                  </a:cubicBezTo>
                  <a:cubicBezTo>
                    <a:pt x="186" y="141"/>
                    <a:pt x="179" y="140"/>
                    <a:pt x="172" y="140"/>
                  </a:cubicBezTo>
                  <a:cubicBezTo>
                    <a:pt x="160" y="140"/>
                    <a:pt x="152" y="146"/>
                    <a:pt x="148" y="158"/>
                  </a:cubicBezTo>
                  <a:cubicBezTo>
                    <a:pt x="146" y="164"/>
                    <a:pt x="142" y="170"/>
                    <a:pt x="137" y="17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3" name="Freeform 170"/>
            <p:cNvSpPr/>
            <p:nvPr/>
          </p:nvSpPr>
          <p:spPr bwMode="auto">
            <a:xfrm>
              <a:off x="5978846" y="2005013"/>
              <a:ext cx="115888" cy="77788"/>
            </a:xfrm>
            <a:custGeom>
              <a:avLst/>
              <a:gdLst>
                <a:gd name="T0" fmla="*/ 101 w 152"/>
                <a:gd name="T1" fmla="*/ 79 h 101"/>
                <a:gd name="T2" fmla="*/ 108 w 152"/>
                <a:gd name="T3" fmla="*/ 65 h 101"/>
                <a:gd name="T4" fmla="*/ 141 w 152"/>
                <a:gd name="T5" fmla="*/ 49 h 101"/>
                <a:gd name="T6" fmla="*/ 151 w 152"/>
                <a:gd name="T7" fmla="*/ 59 h 101"/>
                <a:gd name="T8" fmla="*/ 143 w 152"/>
                <a:gd name="T9" fmla="*/ 68 h 101"/>
                <a:gd name="T10" fmla="*/ 128 w 152"/>
                <a:gd name="T11" fmla="*/ 70 h 101"/>
                <a:gd name="T12" fmla="*/ 122 w 152"/>
                <a:gd name="T13" fmla="*/ 85 h 101"/>
                <a:gd name="T14" fmla="*/ 99 w 152"/>
                <a:gd name="T15" fmla="*/ 101 h 101"/>
                <a:gd name="T16" fmla="*/ 77 w 152"/>
                <a:gd name="T17" fmla="*/ 83 h 101"/>
                <a:gd name="T18" fmla="*/ 66 w 152"/>
                <a:gd name="T19" fmla="*/ 41 h 101"/>
                <a:gd name="T20" fmla="*/ 61 w 152"/>
                <a:gd name="T21" fmla="*/ 23 h 101"/>
                <a:gd name="T22" fmla="*/ 57 w 152"/>
                <a:gd name="T23" fmla="*/ 23 h 101"/>
                <a:gd name="T24" fmla="*/ 45 w 152"/>
                <a:gd name="T25" fmla="*/ 51 h 101"/>
                <a:gd name="T26" fmla="*/ 9 w 152"/>
                <a:gd name="T27" fmla="*/ 68 h 101"/>
                <a:gd name="T28" fmla="*/ 0 w 152"/>
                <a:gd name="T29" fmla="*/ 60 h 101"/>
                <a:gd name="T30" fmla="*/ 9 w 152"/>
                <a:gd name="T31" fmla="*/ 50 h 101"/>
                <a:gd name="T32" fmla="*/ 33 w 152"/>
                <a:gd name="T33" fmla="*/ 26 h 101"/>
                <a:gd name="T34" fmla="*/ 36 w 152"/>
                <a:gd name="T35" fmla="*/ 17 h 101"/>
                <a:gd name="T36" fmla="*/ 59 w 152"/>
                <a:gd name="T37" fmla="*/ 1 h 101"/>
                <a:gd name="T38" fmla="*/ 80 w 152"/>
                <a:gd name="T39" fmla="*/ 19 h 101"/>
                <a:gd name="T40" fmla="*/ 92 w 152"/>
                <a:gd name="T41" fmla="*/ 67 h 101"/>
                <a:gd name="T42" fmla="*/ 96 w 152"/>
                <a:gd name="T43" fmla="*/ 79 h 101"/>
                <a:gd name="T44" fmla="*/ 101 w 152"/>
                <a:gd name="T45" fmla="*/ 7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2" h="101">
                  <a:moveTo>
                    <a:pt x="101" y="79"/>
                  </a:moveTo>
                  <a:cubicBezTo>
                    <a:pt x="103" y="74"/>
                    <a:pt x="105" y="69"/>
                    <a:pt x="108" y="65"/>
                  </a:cubicBezTo>
                  <a:cubicBezTo>
                    <a:pt x="116" y="52"/>
                    <a:pt x="128" y="47"/>
                    <a:pt x="141" y="49"/>
                  </a:cubicBezTo>
                  <a:cubicBezTo>
                    <a:pt x="148" y="50"/>
                    <a:pt x="152" y="53"/>
                    <a:pt x="151" y="59"/>
                  </a:cubicBezTo>
                  <a:cubicBezTo>
                    <a:pt x="150" y="62"/>
                    <a:pt x="146" y="66"/>
                    <a:pt x="143" y="68"/>
                  </a:cubicBezTo>
                  <a:cubicBezTo>
                    <a:pt x="139" y="70"/>
                    <a:pt x="134" y="70"/>
                    <a:pt x="128" y="70"/>
                  </a:cubicBezTo>
                  <a:cubicBezTo>
                    <a:pt x="126" y="75"/>
                    <a:pt x="124" y="80"/>
                    <a:pt x="122" y="85"/>
                  </a:cubicBezTo>
                  <a:cubicBezTo>
                    <a:pt x="117" y="94"/>
                    <a:pt x="110" y="101"/>
                    <a:pt x="99" y="101"/>
                  </a:cubicBezTo>
                  <a:cubicBezTo>
                    <a:pt x="87" y="100"/>
                    <a:pt x="80" y="94"/>
                    <a:pt x="77" y="83"/>
                  </a:cubicBezTo>
                  <a:cubicBezTo>
                    <a:pt x="74" y="69"/>
                    <a:pt x="70" y="55"/>
                    <a:pt x="66" y="41"/>
                  </a:cubicBezTo>
                  <a:cubicBezTo>
                    <a:pt x="65" y="35"/>
                    <a:pt x="63" y="29"/>
                    <a:pt x="61" y="23"/>
                  </a:cubicBezTo>
                  <a:cubicBezTo>
                    <a:pt x="60" y="23"/>
                    <a:pt x="58" y="23"/>
                    <a:pt x="57" y="23"/>
                  </a:cubicBezTo>
                  <a:cubicBezTo>
                    <a:pt x="53" y="32"/>
                    <a:pt x="49" y="42"/>
                    <a:pt x="45" y="51"/>
                  </a:cubicBezTo>
                  <a:cubicBezTo>
                    <a:pt x="38" y="66"/>
                    <a:pt x="25" y="72"/>
                    <a:pt x="9" y="68"/>
                  </a:cubicBezTo>
                  <a:cubicBezTo>
                    <a:pt x="6" y="67"/>
                    <a:pt x="0" y="62"/>
                    <a:pt x="0" y="60"/>
                  </a:cubicBezTo>
                  <a:cubicBezTo>
                    <a:pt x="1" y="56"/>
                    <a:pt x="6" y="50"/>
                    <a:pt x="9" y="50"/>
                  </a:cubicBezTo>
                  <a:cubicBezTo>
                    <a:pt x="25" y="49"/>
                    <a:pt x="31" y="41"/>
                    <a:pt x="33" y="26"/>
                  </a:cubicBezTo>
                  <a:cubicBezTo>
                    <a:pt x="33" y="23"/>
                    <a:pt x="34" y="20"/>
                    <a:pt x="36" y="17"/>
                  </a:cubicBezTo>
                  <a:cubicBezTo>
                    <a:pt x="41" y="6"/>
                    <a:pt x="49" y="0"/>
                    <a:pt x="59" y="1"/>
                  </a:cubicBezTo>
                  <a:cubicBezTo>
                    <a:pt x="69" y="3"/>
                    <a:pt x="77" y="7"/>
                    <a:pt x="80" y="19"/>
                  </a:cubicBezTo>
                  <a:cubicBezTo>
                    <a:pt x="84" y="35"/>
                    <a:pt x="88" y="51"/>
                    <a:pt x="92" y="67"/>
                  </a:cubicBezTo>
                  <a:cubicBezTo>
                    <a:pt x="93" y="71"/>
                    <a:pt x="95" y="75"/>
                    <a:pt x="96" y="79"/>
                  </a:cubicBezTo>
                  <a:cubicBezTo>
                    <a:pt x="98" y="79"/>
                    <a:pt x="99" y="79"/>
                    <a:pt x="101"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4" name="Freeform 185"/>
            <p:cNvSpPr>
              <a:spLocks noEditPoints="1"/>
            </p:cNvSpPr>
            <p:nvPr/>
          </p:nvSpPr>
          <p:spPr bwMode="auto">
            <a:xfrm>
              <a:off x="5680396" y="1924051"/>
              <a:ext cx="493713" cy="417513"/>
            </a:xfrm>
            <a:custGeom>
              <a:avLst/>
              <a:gdLst>
                <a:gd name="T0" fmla="*/ 633 w 650"/>
                <a:gd name="T1" fmla="*/ 5 h 548"/>
                <a:gd name="T2" fmla="*/ 42 w 650"/>
                <a:gd name="T3" fmla="*/ 0 h 548"/>
                <a:gd name="T4" fmla="*/ 1 w 650"/>
                <a:gd name="T5" fmla="*/ 35 h 548"/>
                <a:gd name="T6" fmla="*/ 248 w 650"/>
                <a:gd name="T7" fmla="*/ 51 h 548"/>
                <a:gd name="T8" fmla="*/ 289 w 650"/>
                <a:gd name="T9" fmla="*/ 104 h 548"/>
                <a:gd name="T10" fmla="*/ 287 w 650"/>
                <a:gd name="T11" fmla="*/ 329 h 548"/>
                <a:gd name="T12" fmla="*/ 239 w 650"/>
                <a:gd name="T13" fmla="*/ 360 h 548"/>
                <a:gd name="T14" fmla="*/ 1 w 650"/>
                <a:gd name="T15" fmla="*/ 381 h 548"/>
                <a:gd name="T16" fmla="*/ 3 w 650"/>
                <a:gd name="T17" fmla="*/ 525 h 548"/>
                <a:gd name="T18" fmla="*/ 46 w 650"/>
                <a:gd name="T19" fmla="*/ 548 h 548"/>
                <a:gd name="T20" fmla="*/ 604 w 650"/>
                <a:gd name="T21" fmla="*/ 548 h 548"/>
                <a:gd name="T22" fmla="*/ 650 w 650"/>
                <a:gd name="T23" fmla="*/ 517 h 548"/>
                <a:gd name="T24" fmla="*/ 50 w 650"/>
                <a:gd name="T25" fmla="*/ 516 h 548"/>
                <a:gd name="T26" fmla="*/ 50 w 650"/>
                <a:gd name="T27" fmla="*/ 468 h 548"/>
                <a:gd name="T28" fmla="*/ 50 w 650"/>
                <a:gd name="T29" fmla="*/ 516 h 548"/>
                <a:gd name="T30" fmla="*/ 88 w 650"/>
                <a:gd name="T31" fmla="*/ 492 h 548"/>
                <a:gd name="T32" fmla="*/ 136 w 650"/>
                <a:gd name="T33" fmla="*/ 492 h 548"/>
                <a:gd name="T34" fmla="*/ 174 w 650"/>
                <a:gd name="T35" fmla="*/ 516 h 548"/>
                <a:gd name="T36" fmla="*/ 174 w 650"/>
                <a:gd name="T37" fmla="*/ 468 h 548"/>
                <a:gd name="T38" fmla="*/ 174 w 650"/>
                <a:gd name="T39" fmla="*/ 516 h 548"/>
                <a:gd name="T40" fmla="*/ 213 w 650"/>
                <a:gd name="T41" fmla="*/ 492 h 548"/>
                <a:gd name="T42" fmla="*/ 261 w 650"/>
                <a:gd name="T43" fmla="*/ 492 h 548"/>
                <a:gd name="T44" fmla="*/ 299 w 650"/>
                <a:gd name="T45" fmla="*/ 516 h 548"/>
                <a:gd name="T46" fmla="*/ 299 w 650"/>
                <a:gd name="T47" fmla="*/ 468 h 548"/>
                <a:gd name="T48" fmla="*/ 299 w 650"/>
                <a:gd name="T49" fmla="*/ 516 h 548"/>
                <a:gd name="T50" fmla="*/ 556 w 650"/>
                <a:gd name="T51" fmla="*/ 82 h 548"/>
                <a:gd name="T52" fmla="*/ 382 w 650"/>
                <a:gd name="T53" fmla="*/ 234 h 548"/>
                <a:gd name="T54" fmla="*/ 362 w 650"/>
                <a:gd name="T55" fmla="*/ 516 h 548"/>
                <a:gd name="T56" fmla="*/ 362 w 650"/>
                <a:gd name="T57" fmla="*/ 468 h 548"/>
                <a:gd name="T58" fmla="*/ 362 w 650"/>
                <a:gd name="T59" fmla="*/ 516 h 548"/>
                <a:gd name="T60" fmla="*/ 400 w 650"/>
                <a:gd name="T61" fmla="*/ 492 h 548"/>
                <a:gd name="T62" fmla="*/ 448 w 650"/>
                <a:gd name="T63" fmla="*/ 492 h 548"/>
                <a:gd name="T64" fmla="*/ 486 w 650"/>
                <a:gd name="T65" fmla="*/ 516 h 548"/>
                <a:gd name="T66" fmla="*/ 486 w 650"/>
                <a:gd name="T67" fmla="*/ 468 h 548"/>
                <a:gd name="T68" fmla="*/ 486 w 650"/>
                <a:gd name="T69" fmla="*/ 516 h 548"/>
                <a:gd name="T70" fmla="*/ 525 w 650"/>
                <a:gd name="T71" fmla="*/ 492 h 548"/>
                <a:gd name="T72" fmla="*/ 573 w 650"/>
                <a:gd name="T73" fmla="*/ 492 h 548"/>
                <a:gd name="T74" fmla="*/ 611 w 650"/>
                <a:gd name="T75" fmla="*/ 516 h 548"/>
                <a:gd name="T76" fmla="*/ 611 w 650"/>
                <a:gd name="T77" fmla="*/ 468 h 548"/>
                <a:gd name="T78" fmla="*/ 611 w 650"/>
                <a:gd name="T79" fmla="*/ 516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0" h="548">
                  <a:moveTo>
                    <a:pt x="649" y="32"/>
                  </a:moveTo>
                  <a:cubicBezTo>
                    <a:pt x="649" y="19"/>
                    <a:pt x="645" y="9"/>
                    <a:pt x="633" y="5"/>
                  </a:cubicBezTo>
                  <a:cubicBezTo>
                    <a:pt x="625" y="2"/>
                    <a:pt x="616" y="0"/>
                    <a:pt x="608" y="0"/>
                  </a:cubicBezTo>
                  <a:cubicBezTo>
                    <a:pt x="419" y="0"/>
                    <a:pt x="231" y="0"/>
                    <a:pt x="42" y="0"/>
                  </a:cubicBezTo>
                  <a:cubicBezTo>
                    <a:pt x="38" y="0"/>
                    <a:pt x="34" y="0"/>
                    <a:pt x="30" y="0"/>
                  </a:cubicBezTo>
                  <a:cubicBezTo>
                    <a:pt x="12" y="2"/>
                    <a:pt x="0" y="17"/>
                    <a:pt x="1" y="35"/>
                  </a:cubicBezTo>
                  <a:cubicBezTo>
                    <a:pt x="2" y="49"/>
                    <a:pt x="6" y="51"/>
                    <a:pt x="30" y="51"/>
                  </a:cubicBezTo>
                  <a:cubicBezTo>
                    <a:pt x="103" y="51"/>
                    <a:pt x="176" y="52"/>
                    <a:pt x="248" y="51"/>
                  </a:cubicBezTo>
                  <a:cubicBezTo>
                    <a:pt x="279" y="51"/>
                    <a:pt x="284" y="63"/>
                    <a:pt x="288" y="88"/>
                  </a:cubicBezTo>
                  <a:cubicBezTo>
                    <a:pt x="289" y="93"/>
                    <a:pt x="289" y="98"/>
                    <a:pt x="289" y="104"/>
                  </a:cubicBezTo>
                  <a:cubicBezTo>
                    <a:pt x="289" y="172"/>
                    <a:pt x="289" y="240"/>
                    <a:pt x="289" y="308"/>
                  </a:cubicBezTo>
                  <a:cubicBezTo>
                    <a:pt x="289" y="315"/>
                    <a:pt x="289" y="322"/>
                    <a:pt x="287" y="329"/>
                  </a:cubicBezTo>
                  <a:cubicBezTo>
                    <a:pt x="284" y="345"/>
                    <a:pt x="275" y="356"/>
                    <a:pt x="259" y="359"/>
                  </a:cubicBezTo>
                  <a:cubicBezTo>
                    <a:pt x="252" y="360"/>
                    <a:pt x="245" y="360"/>
                    <a:pt x="239" y="360"/>
                  </a:cubicBezTo>
                  <a:cubicBezTo>
                    <a:pt x="167" y="360"/>
                    <a:pt x="95" y="360"/>
                    <a:pt x="23" y="360"/>
                  </a:cubicBezTo>
                  <a:cubicBezTo>
                    <a:pt x="3" y="360"/>
                    <a:pt x="1" y="361"/>
                    <a:pt x="1" y="381"/>
                  </a:cubicBezTo>
                  <a:cubicBezTo>
                    <a:pt x="1" y="423"/>
                    <a:pt x="1" y="465"/>
                    <a:pt x="1" y="507"/>
                  </a:cubicBezTo>
                  <a:cubicBezTo>
                    <a:pt x="1" y="513"/>
                    <a:pt x="2" y="519"/>
                    <a:pt x="3" y="525"/>
                  </a:cubicBezTo>
                  <a:cubicBezTo>
                    <a:pt x="5" y="539"/>
                    <a:pt x="15" y="545"/>
                    <a:pt x="28" y="547"/>
                  </a:cubicBezTo>
                  <a:cubicBezTo>
                    <a:pt x="34" y="548"/>
                    <a:pt x="40" y="548"/>
                    <a:pt x="46" y="548"/>
                  </a:cubicBezTo>
                  <a:cubicBezTo>
                    <a:pt x="138" y="548"/>
                    <a:pt x="231" y="548"/>
                    <a:pt x="324" y="548"/>
                  </a:cubicBezTo>
                  <a:cubicBezTo>
                    <a:pt x="417" y="548"/>
                    <a:pt x="510" y="548"/>
                    <a:pt x="604" y="548"/>
                  </a:cubicBezTo>
                  <a:cubicBezTo>
                    <a:pt x="610" y="548"/>
                    <a:pt x="617" y="548"/>
                    <a:pt x="623" y="547"/>
                  </a:cubicBezTo>
                  <a:cubicBezTo>
                    <a:pt x="639" y="544"/>
                    <a:pt x="650" y="535"/>
                    <a:pt x="650" y="517"/>
                  </a:cubicBezTo>
                  <a:cubicBezTo>
                    <a:pt x="649" y="355"/>
                    <a:pt x="649" y="193"/>
                    <a:pt x="649" y="32"/>
                  </a:cubicBezTo>
                  <a:close/>
                  <a:moveTo>
                    <a:pt x="50" y="516"/>
                  </a:moveTo>
                  <a:cubicBezTo>
                    <a:pt x="36" y="516"/>
                    <a:pt x="26" y="505"/>
                    <a:pt x="26" y="492"/>
                  </a:cubicBezTo>
                  <a:cubicBezTo>
                    <a:pt x="26" y="478"/>
                    <a:pt x="36" y="468"/>
                    <a:pt x="50" y="468"/>
                  </a:cubicBezTo>
                  <a:cubicBezTo>
                    <a:pt x="63" y="468"/>
                    <a:pt x="74" y="478"/>
                    <a:pt x="74" y="492"/>
                  </a:cubicBezTo>
                  <a:cubicBezTo>
                    <a:pt x="74" y="505"/>
                    <a:pt x="63" y="516"/>
                    <a:pt x="50" y="516"/>
                  </a:cubicBezTo>
                  <a:close/>
                  <a:moveTo>
                    <a:pt x="112" y="516"/>
                  </a:moveTo>
                  <a:cubicBezTo>
                    <a:pt x="99" y="516"/>
                    <a:pt x="88" y="505"/>
                    <a:pt x="88" y="492"/>
                  </a:cubicBezTo>
                  <a:cubicBezTo>
                    <a:pt x="88" y="478"/>
                    <a:pt x="99" y="468"/>
                    <a:pt x="112" y="468"/>
                  </a:cubicBezTo>
                  <a:cubicBezTo>
                    <a:pt x="125" y="468"/>
                    <a:pt x="136" y="478"/>
                    <a:pt x="136" y="492"/>
                  </a:cubicBezTo>
                  <a:cubicBezTo>
                    <a:pt x="136" y="505"/>
                    <a:pt x="125" y="516"/>
                    <a:pt x="112" y="516"/>
                  </a:cubicBezTo>
                  <a:close/>
                  <a:moveTo>
                    <a:pt x="174" y="516"/>
                  </a:moveTo>
                  <a:cubicBezTo>
                    <a:pt x="161" y="516"/>
                    <a:pt x="150" y="505"/>
                    <a:pt x="150" y="492"/>
                  </a:cubicBezTo>
                  <a:cubicBezTo>
                    <a:pt x="150" y="478"/>
                    <a:pt x="161" y="468"/>
                    <a:pt x="174" y="468"/>
                  </a:cubicBezTo>
                  <a:cubicBezTo>
                    <a:pt x="188" y="468"/>
                    <a:pt x="198" y="478"/>
                    <a:pt x="198" y="492"/>
                  </a:cubicBezTo>
                  <a:cubicBezTo>
                    <a:pt x="198" y="505"/>
                    <a:pt x="188" y="516"/>
                    <a:pt x="174" y="516"/>
                  </a:cubicBezTo>
                  <a:close/>
                  <a:moveTo>
                    <a:pt x="237" y="516"/>
                  </a:moveTo>
                  <a:cubicBezTo>
                    <a:pt x="224" y="516"/>
                    <a:pt x="213" y="505"/>
                    <a:pt x="213" y="492"/>
                  </a:cubicBezTo>
                  <a:cubicBezTo>
                    <a:pt x="213" y="478"/>
                    <a:pt x="224" y="468"/>
                    <a:pt x="237" y="468"/>
                  </a:cubicBezTo>
                  <a:cubicBezTo>
                    <a:pt x="250" y="468"/>
                    <a:pt x="261" y="478"/>
                    <a:pt x="261" y="492"/>
                  </a:cubicBezTo>
                  <a:cubicBezTo>
                    <a:pt x="261" y="505"/>
                    <a:pt x="250" y="516"/>
                    <a:pt x="237" y="516"/>
                  </a:cubicBezTo>
                  <a:close/>
                  <a:moveTo>
                    <a:pt x="299" y="516"/>
                  </a:moveTo>
                  <a:cubicBezTo>
                    <a:pt x="286" y="516"/>
                    <a:pt x="275" y="505"/>
                    <a:pt x="275" y="492"/>
                  </a:cubicBezTo>
                  <a:cubicBezTo>
                    <a:pt x="275" y="478"/>
                    <a:pt x="286" y="468"/>
                    <a:pt x="299" y="468"/>
                  </a:cubicBezTo>
                  <a:cubicBezTo>
                    <a:pt x="312" y="468"/>
                    <a:pt x="323" y="478"/>
                    <a:pt x="323" y="492"/>
                  </a:cubicBezTo>
                  <a:cubicBezTo>
                    <a:pt x="323" y="505"/>
                    <a:pt x="312" y="516"/>
                    <a:pt x="299" y="516"/>
                  </a:cubicBezTo>
                  <a:close/>
                  <a:moveTo>
                    <a:pt x="381" y="82"/>
                  </a:moveTo>
                  <a:cubicBezTo>
                    <a:pt x="440" y="82"/>
                    <a:pt x="499" y="82"/>
                    <a:pt x="556" y="82"/>
                  </a:cubicBezTo>
                  <a:cubicBezTo>
                    <a:pt x="563" y="100"/>
                    <a:pt x="563" y="217"/>
                    <a:pt x="556" y="234"/>
                  </a:cubicBezTo>
                  <a:cubicBezTo>
                    <a:pt x="498" y="234"/>
                    <a:pt x="440" y="234"/>
                    <a:pt x="382" y="234"/>
                  </a:cubicBezTo>
                  <a:cubicBezTo>
                    <a:pt x="376" y="219"/>
                    <a:pt x="376" y="102"/>
                    <a:pt x="381" y="82"/>
                  </a:cubicBezTo>
                  <a:close/>
                  <a:moveTo>
                    <a:pt x="362" y="516"/>
                  </a:moveTo>
                  <a:cubicBezTo>
                    <a:pt x="348" y="516"/>
                    <a:pt x="338" y="505"/>
                    <a:pt x="338" y="492"/>
                  </a:cubicBezTo>
                  <a:cubicBezTo>
                    <a:pt x="338" y="478"/>
                    <a:pt x="348" y="468"/>
                    <a:pt x="362" y="468"/>
                  </a:cubicBezTo>
                  <a:cubicBezTo>
                    <a:pt x="375" y="468"/>
                    <a:pt x="386" y="478"/>
                    <a:pt x="386" y="492"/>
                  </a:cubicBezTo>
                  <a:cubicBezTo>
                    <a:pt x="386" y="505"/>
                    <a:pt x="375" y="516"/>
                    <a:pt x="362" y="516"/>
                  </a:cubicBezTo>
                  <a:close/>
                  <a:moveTo>
                    <a:pt x="424" y="516"/>
                  </a:moveTo>
                  <a:cubicBezTo>
                    <a:pt x="411" y="516"/>
                    <a:pt x="400" y="505"/>
                    <a:pt x="400" y="492"/>
                  </a:cubicBezTo>
                  <a:cubicBezTo>
                    <a:pt x="400" y="478"/>
                    <a:pt x="411" y="468"/>
                    <a:pt x="424" y="468"/>
                  </a:cubicBezTo>
                  <a:cubicBezTo>
                    <a:pt x="437" y="468"/>
                    <a:pt x="448" y="478"/>
                    <a:pt x="448" y="492"/>
                  </a:cubicBezTo>
                  <a:cubicBezTo>
                    <a:pt x="448" y="505"/>
                    <a:pt x="437" y="516"/>
                    <a:pt x="424" y="516"/>
                  </a:cubicBezTo>
                  <a:close/>
                  <a:moveTo>
                    <a:pt x="486" y="516"/>
                  </a:moveTo>
                  <a:cubicBezTo>
                    <a:pt x="473" y="516"/>
                    <a:pt x="462" y="505"/>
                    <a:pt x="462" y="492"/>
                  </a:cubicBezTo>
                  <a:cubicBezTo>
                    <a:pt x="462" y="478"/>
                    <a:pt x="473" y="468"/>
                    <a:pt x="486" y="468"/>
                  </a:cubicBezTo>
                  <a:cubicBezTo>
                    <a:pt x="500" y="468"/>
                    <a:pt x="510" y="478"/>
                    <a:pt x="510" y="492"/>
                  </a:cubicBezTo>
                  <a:cubicBezTo>
                    <a:pt x="510" y="505"/>
                    <a:pt x="500" y="516"/>
                    <a:pt x="486" y="516"/>
                  </a:cubicBezTo>
                  <a:close/>
                  <a:moveTo>
                    <a:pt x="549" y="516"/>
                  </a:moveTo>
                  <a:cubicBezTo>
                    <a:pt x="535" y="516"/>
                    <a:pt x="525" y="505"/>
                    <a:pt x="525" y="492"/>
                  </a:cubicBezTo>
                  <a:cubicBezTo>
                    <a:pt x="525" y="478"/>
                    <a:pt x="535" y="468"/>
                    <a:pt x="549" y="468"/>
                  </a:cubicBezTo>
                  <a:cubicBezTo>
                    <a:pt x="562" y="468"/>
                    <a:pt x="573" y="478"/>
                    <a:pt x="573" y="492"/>
                  </a:cubicBezTo>
                  <a:cubicBezTo>
                    <a:pt x="573" y="505"/>
                    <a:pt x="562" y="516"/>
                    <a:pt x="549" y="516"/>
                  </a:cubicBezTo>
                  <a:close/>
                  <a:moveTo>
                    <a:pt x="611" y="516"/>
                  </a:moveTo>
                  <a:cubicBezTo>
                    <a:pt x="598" y="516"/>
                    <a:pt x="587" y="505"/>
                    <a:pt x="587" y="492"/>
                  </a:cubicBezTo>
                  <a:cubicBezTo>
                    <a:pt x="587" y="478"/>
                    <a:pt x="598" y="468"/>
                    <a:pt x="611" y="468"/>
                  </a:cubicBezTo>
                  <a:cubicBezTo>
                    <a:pt x="624" y="468"/>
                    <a:pt x="635" y="478"/>
                    <a:pt x="635" y="492"/>
                  </a:cubicBezTo>
                  <a:cubicBezTo>
                    <a:pt x="635" y="505"/>
                    <a:pt x="624" y="516"/>
                    <a:pt x="611" y="5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475" name="椭圆 474"/>
          <p:cNvSpPr/>
          <p:nvPr/>
        </p:nvSpPr>
        <p:spPr>
          <a:xfrm>
            <a:off x="5023820" y="2764714"/>
            <a:ext cx="387275" cy="387275"/>
          </a:xfrm>
          <a:prstGeom prst="ellipse">
            <a:avLst/>
          </a:prstGeom>
          <a:solidFill>
            <a:schemeClr val="accent2">
              <a:lumMod val="75000"/>
            </a:schemeClr>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rPr>
              <a:t>A</a:t>
            </a:r>
            <a:endParaRPr kumimoji="0" lang="zh-CN" altLang="en-US" sz="1400" b="1"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endParaRPr>
          </a:p>
        </p:txBody>
      </p:sp>
      <p:sp>
        <p:nvSpPr>
          <p:cNvPr id="476" name="椭圆 475"/>
          <p:cNvSpPr/>
          <p:nvPr/>
        </p:nvSpPr>
        <p:spPr>
          <a:xfrm>
            <a:off x="5141504" y="1365896"/>
            <a:ext cx="258184" cy="258184"/>
          </a:xfrm>
          <a:prstGeom prst="ellipse">
            <a:avLst/>
          </a:prstGeom>
          <a:solidFill>
            <a:schemeClr val="accent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rPr>
              <a:t>A1</a:t>
            </a:r>
            <a:endParaRPr kumimoji="0" lang="zh-CN" altLang="en-US"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endParaRPr>
          </a:p>
        </p:txBody>
      </p:sp>
      <p:sp>
        <p:nvSpPr>
          <p:cNvPr id="477" name="椭圆 476"/>
          <p:cNvSpPr/>
          <p:nvPr/>
        </p:nvSpPr>
        <p:spPr>
          <a:xfrm>
            <a:off x="6583678" y="2764714"/>
            <a:ext cx="387275" cy="387275"/>
          </a:xfrm>
          <a:prstGeom prst="ellipse">
            <a:avLst/>
          </a:prstGeom>
          <a:solidFill>
            <a:schemeClr val="accent2">
              <a:lumMod val="75000"/>
            </a:schemeClr>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rPr>
              <a:t>C</a:t>
            </a:r>
            <a:endParaRPr kumimoji="0" lang="zh-CN" altLang="en-US" sz="1400" b="1"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endParaRPr>
          </a:p>
        </p:txBody>
      </p:sp>
      <p:sp>
        <p:nvSpPr>
          <p:cNvPr id="478" name="椭圆 477"/>
          <p:cNvSpPr/>
          <p:nvPr/>
        </p:nvSpPr>
        <p:spPr>
          <a:xfrm>
            <a:off x="5023820" y="4141693"/>
            <a:ext cx="387275" cy="387275"/>
          </a:xfrm>
          <a:prstGeom prst="ellipse">
            <a:avLst/>
          </a:prstGeom>
          <a:solidFill>
            <a:schemeClr val="accent2">
              <a:lumMod val="75000"/>
            </a:schemeClr>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rPr>
              <a:t>B</a:t>
            </a:r>
            <a:endParaRPr kumimoji="0" lang="zh-CN" altLang="en-US" sz="1400" b="1"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endParaRPr>
          </a:p>
        </p:txBody>
      </p:sp>
      <p:sp>
        <p:nvSpPr>
          <p:cNvPr id="479" name="椭圆 478"/>
          <p:cNvSpPr/>
          <p:nvPr/>
        </p:nvSpPr>
        <p:spPr>
          <a:xfrm>
            <a:off x="6583678" y="4141693"/>
            <a:ext cx="387275" cy="387275"/>
          </a:xfrm>
          <a:prstGeom prst="ellipse">
            <a:avLst/>
          </a:prstGeom>
          <a:solidFill>
            <a:schemeClr val="accent2">
              <a:lumMod val="75000"/>
            </a:schemeClr>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rPr>
              <a:t>D</a:t>
            </a:r>
            <a:endParaRPr kumimoji="0" lang="zh-CN" altLang="en-US" sz="1400" b="1"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endParaRPr>
          </a:p>
        </p:txBody>
      </p:sp>
      <p:sp>
        <p:nvSpPr>
          <p:cNvPr id="480" name="椭圆 479"/>
          <p:cNvSpPr/>
          <p:nvPr/>
        </p:nvSpPr>
        <p:spPr>
          <a:xfrm>
            <a:off x="4033140" y="1969954"/>
            <a:ext cx="258184" cy="258184"/>
          </a:xfrm>
          <a:prstGeom prst="ellipse">
            <a:avLst/>
          </a:prstGeom>
          <a:solidFill>
            <a:schemeClr val="accent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rPr>
              <a:t>A2</a:t>
            </a:r>
            <a:endParaRPr kumimoji="0" lang="zh-CN" altLang="en-US"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endParaRPr>
          </a:p>
        </p:txBody>
      </p:sp>
      <p:sp>
        <p:nvSpPr>
          <p:cNvPr id="481" name="椭圆 480"/>
          <p:cNvSpPr/>
          <p:nvPr/>
        </p:nvSpPr>
        <p:spPr>
          <a:xfrm>
            <a:off x="3517750" y="3056150"/>
            <a:ext cx="258184" cy="258184"/>
          </a:xfrm>
          <a:prstGeom prst="ellipse">
            <a:avLst/>
          </a:prstGeom>
          <a:solidFill>
            <a:schemeClr val="accent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rPr>
              <a:t>A3</a:t>
            </a:r>
            <a:endParaRPr kumimoji="0" lang="zh-CN" altLang="en-US"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endParaRPr>
          </a:p>
        </p:txBody>
      </p:sp>
      <p:sp>
        <p:nvSpPr>
          <p:cNvPr id="482" name="椭圆 481"/>
          <p:cNvSpPr/>
          <p:nvPr/>
        </p:nvSpPr>
        <p:spPr>
          <a:xfrm>
            <a:off x="7144965" y="1622750"/>
            <a:ext cx="258184" cy="258184"/>
          </a:xfrm>
          <a:prstGeom prst="ellipse">
            <a:avLst/>
          </a:prstGeom>
          <a:solidFill>
            <a:schemeClr val="accent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rPr>
              <a:t>C1</a:t>
            </a:r>
            <a:endParaRPr kumimoji="0" lang="zh-CN" altLang="en-US"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endParaRPr>
          </a:p>
        </p:txBody>
      </p:sp>
      <p:sp>
        <p:nvSpPr>
          <p:cNvPr id="483" name="椭圆 482"/>
          <p:cNvSpPr/>
          <p:nvPr/>
        </p:nvSpPr>
        <p:spPr>
          <a:xfrm>
            <a:off x="8049091" y="2855649"/>
            <a:ext cx="258184" cy="258184"/>
          </a:xfrm>
          <a:prstGeom prst="ellipse">
            <a:avLst/>
          </a:prstGeom>
          <a:solidFill>
            <a:schemeClr val="accent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rPr>
              <a:t>C2</a:t>
            </a:r>
            <a:endParaRPr kumimoji="0" lang="zh-CN" altLang="en-US"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endParaRPr>
          </a:p>
        </p:txBody>
      </p:sp>
      <p:sp>
        <p:nvSpPr>
          <p:cNvPr id="484" name="椭圆 483"/>
          <p:cNvSpPr/>
          <p:nvPr/>
        </p:nvSpPr>
        <p:spPr>
          <a:xfrm>
            <a:off x="4195845" y="5244546"/>
            <a:ext cx="258184" cy="258184"/>
          </a:xfrm>
          <a:prstGeom prst="ellipse">
            <a:avLst/>
          </a:prstGeom>
          <a:solidFill>
            <a:schemeClr val="accent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rPr>
              <a:t>B1</a:t>
            </a:r>
            <a:endParaRPr kumimoji="0" lang="zh-CN" altLang="en-US"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endParaRPr>
          </a:p>
        </p:txBody>
      </p:sp>
      <p:sp>
        <p:nvSpPr>
          <p:cNvPr id="485" name="椭圆 484"/>
          <p:cNvSpPr/>
          <p:nvPr/>
        </p:nvSpPr>
        <p:spPr>
          <a:xfrm>
            <a:off x="7573526" y="5244546"/>
            <a:ext cx="258184" cy="258184"/>
          </a:xfrm>
          <a:prstGeom prst="ellipse">
            <a:avLst/>
          </a:prstGeom>
          <a:solidFill>
            <a:schemeClr val="accent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rPr>
              <a:t>D1</a:t>
            </a:r>
            <a:endParaRPr kumimoji="0" lang="zh-CN" altLang="en-US" sz="1050" b="0" i="0" u="none" strike="noStrike" kern="1200" cap="none" spc="0" normalizeH="0" baseline="0" noProof="0" dirty="0" smtClean="0">
              <a:ln>
                <a:noFill/>
              </a:ln>
              <a:solidFill>
                <a:srgbClr val="FFFFFF"/>
              </a:solidFill>
              <a:effectLst/>
              <a:uLnTx/>
              <a:uFillTx/>
              <a:latin typeface="Arial" panose="020B0604020202020204"/>
              <a:ea typeface="华文楷体" panose="02010600040101010101" charset="-122"/>
              <a:cs typeface="+mn-cs"/>
            </a:endParaRPr>
          </a:p>
        </p:txBody>
      </p:sp>
      <p:sp>
        <p:nvSpPr>
          <p:cNvPr id="486" name="Freeform 173"/>
          <p:cNvSpPr>
            <a:spLocks noEditPoints="1"/>
          </p:cNvSpPr>
          <p:nvPr/>
        </p:nvSpPr>
        <p:spPr bwMode="auto">
          <a:xfrm>
            <a:off x="7260347" y="1130824"/>
            <a:ext cx="342030" cy="488614"/>
          </a:xfrm>
          <a:custGeom>
            <a:avLst/>
            <a:gdLst>
              <a:gd name="T0" fmla="*/ 123 w 182"/>
              <a:gd name="T1" fmla="*/ 26 h 260"/>
              <a:gd name="T2" fmla="*/ 114 w 182"/>
              <a:gd name="T3" fmla="*/ 12 h 260"/>
              <a:gd name="T4" fmla="*/ 91 w 182"/>
              <a:gd name="T5" fmla="*/ 0 h 260"/>
              <a:gd name="T6" fmla="*/ 72 w 182"/>
              <a:gd name="T7" fmla="*/ 8 h 260"/>
              <a:gd name="T8" fmla="*/ 60 w 182"/>
              <a:gd name="T9" fmla="*/ 26 h 260"/>
              <a:gd name="T10" fmla="*/ 32 w 182"/>
              <a:gd name="T11" fmla="*/ 31 h 260"/>
              <a:gd name="T12" fmla="*/ 7 w 182"/>
              <a:gd name="T13" fmla="*/ 43 h 260"/>
              <a:gd name="T14" fmla="*/ 0 w 182"/>
              <a:gd name="T15" fmla="*/ 234 h 260"/>
              <a:gd name="T16" fmla="*/ 16 w 182"/>
              <a:gd name="T17" fmla="*/ 256 h 260"/>
              <a:gd name="T18" fmla="*/ 151 w 182"/>
              <a:gd name="T19" fmla="*/ 260 h 260"/>
              <a:gd name="T20" fmla="*/ 176 w 182"/>
              <a:gd name="T21" fmla="*/ 250 h 260"/>
              <a:gd name="T22" fmla="*/ 182 w 182"/>
              <a:gd name="T23" fmla="*/ 57 h 260"/>
              <a:gd name="T24" fmla="*/ 167 w 182"/>
              <a:gd name="T25" fmla="*/ 37 h 260"/>
              <a:gd name="T26" fmla="*/ 91 w 182"/>
              <a:gd name="T27" fmla="*/ 15 h 260"/>
              <a:gd name="T28" fmla="*/ 106 w 182"/>
              <a:gd name="T29" fmla="*/ 30 h 260"/>
              <a:gd name="T30" fmla="*/ 91 w 182"/>
              <a:gd name="T31" fmla="*/ 44 h 260"/>
              <a:gd name="T32" fmla="*/ 76 w 182"/>
              <a:gd name="T33" fmla="*/ 30 h 260"/>
              <a:gd name="T34" fmla="*/ 91 w 182"/>
              <a:gd name="T35" fmla="*/ 15 h 260"/>
              <a:gd name="T36" fmla="*/ 164 w 182"/>
              <a:gd name="T37" fmla="*/ 229 h 260"/>
              <a:gd name="T38" fmla="*/ 146 w 182"/>
              <a:gd name="T39" fmla="*/ 245 h 260"/>
              <a:gd name="T40" fmla="*/ 32 w 182"/>
              <a:gd name="T41" fmla="*/ 243 h 260"/>
              <a:gd name="T42" fmla="*/ 16 w 182"/>
              <a:gd name="T43" fmla="*/ 224 h 260"/>
              <a:gd name="T44" fmla="*/ 19 w 182"/>
              <a:gd name="T45" fmla="*/ 59 h 260"/>
              <a:gd name="T46" fmla="*/ 37 w 182"/>
              <a:gd name="T47" fmla="*/ 43 h 260"/>
              <a:gd name="T48" fmla="*/ 42 w 182"/>
              <a:gd name="T49" fmla="*/ 44 h 260"/>
              <a:gd name="T50" fmla="*/ 123 w 182"/>
              <a:gd name="T51" fmla="*/ 63 h 260"/>
              <a:gd name="T52" fmla="*/ 141 w 182"/>
              <a:gd name="T53" fmla="*/ 44 h 260"/>
              <a:gd name="T54" fmla="*/ 146 w 182"/>
              <a:gd name="T55" fmla="*/ 43 h 260"/>
              <a:gd name="T56" fmla="*/ 164 w 182"/>
              <a:gd name="T57" fmla="*/ 59 h 260"/>
              <a:gd name="T58" fmla="*/ 39 w 182"/>
              <a:gd name="T59" fmla="*/ 135 h 260"/>
              <a:gd name="T60" fmla="*/ 32 w 182"/>
              <a:gd name="T61" fmla="*/ 143 h 260"/>
              <a:gd name="T62" fmla="*/ 39 w 182"/>
              <a:gd name="T63" fmla="*/ 151 h 260"/>
              <a:gd name="T64" fmla="*/ 150 w 182"/>
              <a:gd name="T65" fmla="*/ 147 h 260"/>
              <a:gd name="T66" fmla="*/ 146 w 182"/>
              <a:gd name="T67" fmla="*/ 137 h 260"/>
              <a:gd name="T68" fmla="*/ 39 w 182"/>
              <a:gd name="T69" fmla="*/ 161 h 260"/>
              <a:gd name="T70" fmla="*/ 32 w 182"/>
              <a:gd name="T71" fmla="*/ 169 h 260"/>
              <a:gd name="T72" fmla="*/ 143 w 182"/>
              <a:gd name="T73" fmla="*/ 177 h 260"/>
              <a:gd name="T74" fmla="*/ 151 w 182"/>
              <a:gd name="T75" fmla="*/ 169 h 260"/>
              <a:gd name="T76" fmla="*/ 143 w 182"/>
              <a:gd name="T77" fmla="*/ 161 h 260"/>
              <a:gd name="T78" fmla="*/ 37 w 182"/>
              <a:gd name="T79" fmla="*/ 85 h 260"/>
              <a:gd name="T80" fmla="*/ 32 w 182"/>
              <a:gd name="T81" fmla="*/ 95 h 260"/>
              <a:gd name="T82" fmla="*/ 143 w 182"/>
              <a:gd name="T83" fmla="*/ 99 h 260"/>
              <a:gd name="T84" fmla="*/ 151 w 182"/>
              <a:gd name="T85" fmla="*/ 91 h 260"/>
              <a:gd name="T86" fmla="*/ 143 w 182"/>
              <a:gd name="T87" fmla="*/ 83 h 260"/>
              <a:gd name="T88" fmla="*/ 34 w 182"/>
              <a:gd name="T89" fmla="*/ 112 h 260"/>
              <a:gd name="T90" fmla="*/ 34 w 182"/>
              <a:gd name="T91" fmla="*/ 124 h 260"/>
              <a:gd name="T92" fmla="*/ 146 w 182"/>
              <a:gd name="T93" fmla="*/ 125 h 260"/>
              <a:gd name="T94" fmla="*/ 150 w 182"/>
              <a:gd name="T95" fmla="*/ 115 h 260"/>
              <a:gd name="T96" fmla="*/ 81 w 182"/>
              <a:gd name="T97" fmla="*/ 189 h 260"/>
              <a:gd name="T98" fmla="*/ 54 w 182"/>
              <a:gd name="T99" fmla="*/ 220 h 260"/>
              <a:gd name="T100" fmla="*/ 37 w 182"/>
              <a:gd name="T101" fmla="*/ 223 h 260"/>
              <a:gd name="T102" fmla="*/ 59 w 182"/>
              <a:gd name="T103" fmla="*/ 229 h 260"/>
              <a:gd name="T104" fmla="*/ 82 w 182"/>
              <a:gd name="T105" fmla="*/ 20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2" h="260">
                <a:moveTo>
                  <a:pt x="151" y="31"/>
                </a:moveTo>
                <a:lnTo>
                  <a:pt x="136" y="31"/>
                </a:lnTo>
                <a:lnTo>
                  <a:pt x="136" y="31"/>
                </a:lnTo>
                <a:lnTo>
                  <a:pt x="129" y="28"/>
                </a:lnTo>
                <a:lnTo>
                  <a:pt x="123" y="26"/>
                </a:lnTo>
                <a:lnTo>
                  <a:pt x="120" y="26"/>
                </a:lnTo>
                <a:lnTo>
                  <a:pt x="120" y="26"/>
                </a:lnTo>
                <a:lnTo>
                  <a:pt x="119" y="21"/>
                </a:lnTo>
                <a:lnTo>
                  <a:pt x="116" y="17"/>
                </a:lnTo>
                <a:lnTo>
                  <a:pt x="114" y="12"/>
                </a:lnTo>
                <a:lnTo>
                  <a:pt x="111" y="8"/>
                </a:lnTo>
                <a:lnTo>
                  <a:pt x="106" y="5"/>
                </a:lnTo>
                <a:lnTo>
                  <a:pt x="102" y="3"/>
                </a:lnTo>
                <a:lnTo>
                  <a:pt x="97" y="2"/>
                </a:lnTo>
                <a:lnTo>
                  <a:pt x="91" y="0"/>
                </a:lnTo>
                <a:lnTo>
                  <a:pt x="91" y="0"/>
                </a:lnTo>
                <a:lnTo>
                  <a:pt x="85" y="2"/>
                </a:lnTo>
                <a:lnTo>
                  <a:pt x="81" y="3"/>
                </a:lnTo>
                <a:lnTo>
                  <a:pt x="76" y="5"/>
                </a:lnTo>
                <a:lnTo>
                  <a:pt x="72" y="8"/>
                </a:lnTo>
                <a:lnTo>
                  <a:pt x="68" y="12"/>
                </a:lnTo>
                <a:lnTo>
                  <a:pt x="65" y="17"/>
                </a:lnTo>
                <a:lnTo>
                  <a:pt x="63" y="21"/>
                </a:lnTo>
                <a:lnTo>
                  <a:pt x="63" y="26"/>
                </a:lnTo>
                <a:lnTo>
                  <a:pt x="60" y="26"/>
                </a:lnTo>
                <a:lnTo>
                  <a:pt x="60" y="26"/>
                </a:lnTo>
                <a:lnTo>
                  <a:pt x="54" y="28"/>
                </a:lnTo>
                <a:lnTo>
                  <a:pt x="47" y="31"/>
                </a:lnTo>
                <a:lnTo>
                  <a:pt x="32" y="31"/>
                </a:lnTo>
                <a:lnTo>
                  <a:pt x="32" y="31"/>
                </a:lnTo>
                <a:lnTo>
                  <a:pt x="26" y="33"/>
                </a:lnTo>
                <a:lnTo>
                  <a:pt x="21" y="34"/>
                </a:lnTo>
                <a:lnTo>
                  <a:pt x="16" y="37"/>
                </a:lnTo>
                <a:lnTo>
                  <a:pt x="11" y="39"/>
                </a:lnTo>
                <a:lnTo>
                  <a:pt x="7" y="43"/>
                </a:lnTo>
                <a:lnTo>
                  <a:pt x="3" y="48"/>
                </a:lnTo>
                <a:lnTo>
                  <a:pt x="2" y="52"/>
                </a:lnTo>
                <a:lnTo>
                  <a:pt x="0" y="57"/>
                </a:lnTo>
                <a:lnTo>
                  <a:pt x="0" y="234"/>
                </a:lnTo>
                <a:lnTo>
                  <a:pt x="0" y="234"/>
                </a:lnTo>
                <a:lnTo>
                  <a:pt x="2" y="239"/>
                </a:lnTo>
                <a:lnTo>
                  <a:pt x="3" y="245"/>
                </a:lnTo>
                <a:lnTo>
                  <a:pt x="7" y="250"/>
                </a:lnTo>
                <a:lnTo>
                  <a:pt x="11" y="254"/>
                </a:lnTo>
                <a:lnTo>
                  <a:pt x="16" y="256"/>
                </a:lnTo>
                <a:lnTo>
                  <a:pt x="21" y="259"/>
                </a:lnTo>
                <a:lnTo>
                  <a:pt x="26" y="260"/>
                </a:lnTo>
                <a:lnTo>
                  <a:pt x="32" y="260"/>
                </a:lnTo>
                <a:lnTo>
                  <a:pt x="151" y="260"/>
                </a:lnTo>
                <a:lnTo>
                  <a:pt x="151" y="260"/>
                </a:lnTo>
                <a:lnTo>
                  <a:pt x="156" y="260"/>
                </a:lnTo>
                <a:lnTo>
                  <a:pt x="162" y="259"/>
                </a:lnTo>
                <a:lnTo>
                  <a:pt x="167" y="256"/>
                </a:lnTo>
                <a:lnTo>
                  <a:pt x="172" y="254"/>
                </a:lnTo>
                <a:lnTo>
                  <a:pt x="176" y="250"/>
                </a:lnTo>
                <a:lnTo>
                  <a:pt x="180" y="245"/>
                </a:lnTo>
                <a:lnTo>
                  <a:pt x="181" y="239"/>
                </a:lnTo>
                <a:lnTo>
                  <a:pt x="182" y="234"/>
                </a:lnTo>
                <a:lnTo>
                  <a:pt x="182" y="57"/>
                </a:lnTo>
                <a:lnTo>
                  <a:pt x="182" y="57"/>
                </a:lnTo>
                <a:lnTo>
                  <a:pt x="181" y="52"/>
                </a:lnTo>
                <a:lnTo>
                  <a:pt x="180" y="48"/>
                </a:lnTo>
                <a:lnTo>
                  <a:pt x="176" y="43"/>
                </a:lnTo>
                <a:lnTo>
                  <a:pt x="172" y="39"/>
                </a:lnTo>
                <a:lnTo>
                  <a:pt x="167" y="37"/>
                </a:lnTo>
                <a:lnTo>
                  <a:pt x="162" y="34"/>
                </a:lnTo>
                <a:lnTo>
                  <a:pt x="156" y="33"/>
                </a:lnTo>
                <a:lnTo>
                  <a:pt x="151" y="31"/>
                </a:lnTo>
                <a:lnTo>
                  <a:pt x="151" y="31"/>
                </a:lnTo>
                <a:close/>
                <a:moveTo>
                  <a:pt x="91" y="15"/>
                </a:moveTo>
                <a:lnTo>
                  <a:pt x="91" y="15"/>
                </a:lnTo>
                <a:lnTo>
                  <a:pt x="97" y="16"/>
                </a:lnTo>
                <a:lnTo>
                  <a:pt x="102" y="20"/>
                </a:lnTo>
                <a:lnTo>
                  <a:pt x="104" y="24"/>
                </a:lnTo>
                <a:lnTo>
                  <a:pt x="106" y="30"/>
                </a:lnTo>
                <a:lnTo>
                  <a:pt x="106" y="30"/>
                </a:lnTo>
                <a:lnTo>
                  <a:pt x="104" y="35"/>
                </a:lnTo>
                <a:lnTo>
                  <a:pt x="102" y="41"/>
                </a:lnTo>
                <a:lnTo>
                  <a:pt x="97" y="43"/>
                </a:lnTo>
                <a:lnTo>
                  <a:pt x="91" y="44"/>
                </a:lnTo>
                <a:lnTo>
                  <a:pt x="91" y="44"/>
                </a:lnTo>
                <a:lnTo>
                  <a:pt x="85" y="43"/>
                </a:lnTo>
                <a:lnTo>
                  <a:pt x="81" y="41"/>
                </a:lnTo>
                <a:lnTo>
                  <a:pt x="77" y="35"/>
                </a:lnTo>
                <a:lnTo>
                  <a:pt x="76" y="30"/>
                </a:lnTo>
                <a:lnTo>
                  <a:pt x="76" y="30"/>
                </a:lnTo>
                <a:lnTo>
                  <a:pt x="77" y="24"/>
                </a:lnTo>
                <a:lnTo>
                  <a:pt x="81" y="20"/>
                </a:lnTo>
                <a:lnTo>
                  <a:pt x="85" y="16"/>
                </a:lnTo>
                <a:lnTo>
                  <a:pt x="91" y="15"/>
                </a:lnTo>
                <a:lnTo>
                  <a:pt x="91" y="15"/>
                </a:lnTo>
                <a:close/>
                <a:moveTo>
                  <a:pt x="167" y="219"/>
                </a:moveTo>
                <a:lnTo>
                  <a:pt x="167" y="219"/>
                </a:lnTo>
                <a:lnTo>
                  <a:pt x="167" y="224"/>
                </a:lnTo>
                <a:lnTo>
                  <a:pt x="164" y="229"/>
                </a:lnTo>
                <a:lnTo>
                  <a:pt x="163" y="234"/>
                </a:lnTo>
                <a:lnTo>
                  <a:pt x="159" y="238"/>
                </a:lnTo>
                <a:lnTo>
                  <a:pt x="155" y="241"/>
                </a:lnTo>
                <a:lnTo>
                  <a:pt x="151" y="243"/>
                </a:lnTo>
                <a:lnTo>
                  <a:pt x="146" y="245"/>
                </a:lnTo>
                <a:lnTo>
                  <a:pt x="141" y="245"/>
                </a:lnTo>
                <a:lnTo>
                  <a:pt x="42" y="245"/>
                </a:lnTo>
                <a:lnTo>
                  <a:pt x="42" y="245"/>
                </a:lnTo>
                <a:lnTo>
                  <a:pt x="37" y="245"/>
                </a:lnTo>
                <a:lnTo>
                  <a:pt x="32" y="243"/>
                </a:lnTo>
                <a:lnTo>
                  <a:pt x="28" y="241"/>
                </a:lnTo>
                <a:lnTo>
                  <a:pt x="24" y="238"/>
                </a:lnTo>
                <a:lnTo>
                  <a:pt x="20" y="234"/>
                </a:lnTo>
                <a:lnTo>
                  <a:pt x="19" y="229"/>
                </a:lnTo>
                <a:lnTo>
                  <a:pt x="16" y="224"/>
                </a:lnTo>
                <a:lnTo>
                  <a:pt x="16" y="219"/>
                </a:lnTo>
                <a:lnTo>
                  <a:pt x="16" y="68"/>
                </a:lnTo>
                <a:lnTo>
                  <a:pt x="16" y="68"/>
                </a:lnTo>
                <a:lnTo>
                  <a:pt x="16" y="63"/>
                </a:lnTo>
                <a:lnTo>
                  <a:pt x="19" y="59"/>
                </a:lnTo>
                <a:lnTo>
                  <a:pt x="20" y="54"/>
                </a:lnTo>
                <a:lnTo>
                  <a:pt x="24" y="50"/>
                </a:lnTo>
                <a:lnTo>
                  <a:pt x="28" y="47"/>
                </a:lnTo>
                <a:lnTo>
                  <a:pt x="32" y="44"/>
                </a:lnTo>
                <a:lnTo>
                  <a:pt x="37" y="43"/>
                </a:lnTo>
                <a:lnTo>
                  <a:pt x="42" y="42"/>
                </a:lnTo>
                <a:lnTo>
                  <a:pt x="42" y="42"/>
                </a:lnTo>
                <a:lnTo>
                  <a:pt x="42" y="42"/>
                </a:lnTo>
                <a:lnTo>
                  <a:pt x="42" y="44"/>
                </a:lnTo>
                <a:lnTo>
                  <a:pt x="42" y="44"/>
                </a:lnTo>
                <a:lnTo>
                  <a:pt x="43" y="52"/>
                </a:lnTo>
                <a:lnTo>
                  <a:pt x="47" y="57"/>
                </a:lnTo>
                <a:lnTo>
                  <a:pt x="52" y="61"/>
                </a:lnTo>
                <a:lnTo>
                  <a:pt x="60" y="63"/>
                </a:lnTo>
                <a:lnTo>
                  <a:pt x="123" y="63"/>
                </a:lnTo>
                <a:lnTo>
                  <a:pt x="123" y="63"/>
                </a:lnTo>
                <a:lnTo>
                  <a:pt x="129" y="61"/>
                </a:lnTo>
                <a:lnTo>
                  <a:pt x="136" y="57"/>
                </a:lnTo>
                <a:lnTo>
                  <a:pt x="140" y="52"/>
                </a:lnTo>
                <a:lnTo>
                  <a:pt x="141" y="44"/>
                </a:lnTo>
                <a:lnTo>
                  <a:pt x="141" y="44"/>
                </a:lnTo>
                <a:lnTo>
                  <a:pt x="141" y="42"/>
                </a:lnTo>
                <a:lnTo>
                  <a:pt x="141" y="42"/>
                </a:lnTo>
                <a:lnTo>
                  <a:pt x="141" y="42"/>
                </a:lnTo>
                <a:lnTo>
                  <a:pt x="146" y="43"/>
                </a:lnTo>
                <a:lnTo>
                  <a:pt x="151" y="44"/>
                </a:lnTo>
                <a:lnTo>
                  <a:pt x="155" y="47"/>
                </a:lnTo>
                <a:lnTo>
                  <a:pt x="159" y="50"/>
                </a:lnTo>
                <a:lnTo>
                  <a:pt x="163" y="54"/>
                </a:lnTo>
                <a:lnTo>
                  <a:pt x="164" y="59"/>
                </a:lnTo>
                <a:lnTo>
                  <a:pt x="167" y="63"/>
                </a:lnTo>
                <a:lnTo>
                  <a:pt x="167" y="68"/>
                </a:lnTo>
                <a:lnTo>
                  <a:pt x="167" y="219"/>
                </a:lnTo>
                <a:close/>
                <a:moveTo>
                  <a:pt x="143" y="135"/>
                </a:moveTo>
                <a:lnTo>
                  <a:pt x="39" y="135"/>
                </a:lnTo>
                <a:lnTo>
                  <a:pt x="39" y="135"/>
                </a:lnTo>
                <a:lnTo>
                  <a:pt x="37" y="137"/>
                </a:lnTo>
                <a:lnTo>
                  <a:pt x="34" y="138"/>
                </a:lnTo>
                <a:lnTo>
                  <a:pt x="32" y="141"/>
                </a:lnTo>
                <a:lnTo>
                  <a:pt x="32" y="143"/>
                </a:lnTo>
                <a:lnTo>
                  <a:pt x="32" y="143"/>
                </a:lnTo>
                <a:lnTo>
                  <a:pt x="32" y="147"/>
                </a:lnTo>
                <a:lnTo>
                  <a:pt x="34" y="150"/>
                </a:lnTo>
                <a:lnTo>
                  <a:pt x="37" y="151"/>
                </a:lnTo>
                <a:lnTo>
                  <a:pt x="39" y="151"/>
                </a:lnTo>
                <a:lnTo>
                  <a:pt x="143" y="151"/>
                </a:lnTo>
                <a:lnTo>
                  <a:pt x="143" y="151"/>
                </a:lnTo>
                <a:lnTo>
                  <a:pt x="146" y="151"/>
                </a:lnTo>
                <a:lnTo>
                  <a:pt x="149" y="150"/>
                </a:lnTo>
                <a:lnTo>
                  <a:pt x="150" y="147"/>
                </a:lnTo>
                <a:lnTo>
                  <a:pt x="151" y="143"/>
                </a:lnTo>
                <a:lnTo>
                  <a:pt x="151" y="143"/>
                </a:lnTo>
                <a:lnTo>
                  <a:pt x="150" y="141"/>
                </a:lnTo>
                <a:lnTo>
                  <a:pt x="149" y="138"/>
                </a:lnTo>
                <a:lnTo>
                  <a:pt x="146" y="137"/>
                </a:lnTo>
                <a:lnTo>
                  <a:pt x="143" y="135"/>
                </a:lnTo>
                <a:lnTo>
                  <a:pt x="143" y="135"/>
                </a:lnTo>
                <a:close/>
                <a:moveTo>
                  <a:pt x="143" y="161"/>
                </a:moveTo>
                <a:lnTo>
                  <a:pt x="39" y="161"/>
                </a:lnTo>
                <a:lnTo>
                  <a:pt x="39" y="161"/>
                </a:lnTo>
                <a:lnTo>
                  <a:pt x="37" y="163"/>
                </a:lnTo>
                <a:lnTo>
                  <a:pt x="34" y="164"/>
                </a:lnTo>
                <a:lnTo>
                  <a:pt x="32" y="167"/>
                </a:lnTo>
                <a:lnTo>
                  <a:pt x="32" y="169"/>
                </a:lnTo>
                <a:lnTo>
                  <a:pt x="32" y="169"/>
                </a:lnTo>
                <a:lnTo>
                  <a:pt x="32" y="173"/>
                </a:lnTo>
                <a:lnTo>
                  <a:pt x="34" y="176"/>
                </a:lnTo>
                <a:lnTo>
                  <a:pt x="37" y="177"/>
                </a:lnTo>
                <a:lnTo>
                  <a:pt x="39" y="177"/>
                </a:lnTo>
                <a:lnTo>
                  <a:pt x="143" y="177"/>
                </a:lnTo>
                <a:lnTo>
                  <a:pt x="143" y="177"/>
                </a:lnTo>
                <a:lnTo>
                  <a:pt x="146" y="177"/>
                </a:lnTo>
                <a:lnTo>
                  <a:pt x="149" y="176"/>
                </a:lnTo>
                <a:lnTo>
                  <a:pt x="150" y="173"/>
                </a:lnTo>
                <a:lnTo>
                  <a:pt x="151" y="169"/>
                </a:lnTo>
                <a:lnTo>
                  <a:pt x="151" y="169"/>
                </a:lnTo>
                <a:lnTo>
                  <a:pt x="150" y="167"/>
                </a:lnTo>
                <a:lnTo>
                  <a:pt x="149" y="164"/>
                </a:lnTo>
                <a:lnTo>
                  <a:pt x="146" y="163"/>
                </a:lnTo>
                <a:lnTo>
                  <a:pt x="143" y="161"/>
                </a:lnTo>
                <a:lnTo>
                  <a:pt x="143" y="161"/>
                </a:lnTo>
                <a:close/>
                <a:moveTo>
                  <a:pt x="143" y="83"/>
                </a:moveTo>
                <a:lnTo>
                  <a:pt x="39" y="83"/>
                </a:lnTo>
                <a:lnTo>
                  <a:pt x="39" y="83"/>
                </a:lnTo>
                <a:lnTo>
                  <a:pt x="37" y="85"/>
                </a:lnTo>
                <a:lnTo>
                  <a:pt x="34" y="86"/>
                </a:lnTo>
                <a:lnTo>
                  <a:pt x="32" y="89"/>
                </a:lnTo>
                <a:lnTo>
                  <a:pt x="32" y="91"/>
                </a:lnTo>
                <a:lnTo>
                  <a:pt x="32" y="91"/>
                </a:lnTo>
                <a:lnTo>
                  <a:pt x="32" y="95"/>
                </a:lnTo>
                <a:lnTo>
                  <a:pt x="34" y="98"/>
                </a:lnTo>
                <a:lnTo>
                  <a:pt x="37" y="99"/>
                </a:lnTo>
                <a:lnTo>
                  <a:pt x="39" y="99"/>
                </a:lnTo>
                <a:lnTo>
                  <a:pt x="143" y="99"/>
                </a:lnTo>
                <a:lnTo>
                  <a:pt x="143" y="99"/>
                </a:lnTo>
                <a:lnTo>
                  <a:pt x="146" y="99"/>
                </a:lnTo>
                <a:lnTo>
                  <a:pt x="149" y="98"/>
                </a:lnTo>
                <a:lnTo>
                  <a:pt x="150" y="95"/>
                </a:lnTo>
                <a:lnTo>
                  <a:pt x="151" y="91"/>
                </a:lnTo>
                <a:lnTo>
                  <a:pt x="151" y="91"/>
                </a:lnTo>
                <a:lnTo>
                  <a:pt x="150" y="89"/>
                </a:lnTo>
                <a:lnTo>
                  <a:pt x="149" y="86"/>
                </a:lnTo>
                <a:lnTo>
                  <a:pt x="146" y="85"/>
                </a:lnTo>
                <a:lnTo>
                  <a:pt x="143" y="83"/>
                </a:lnTo>
                <a:lnTo>
                  <a:pt x="143" y="83"/>
                </a:lnTo>
                <a:close/>
                <a:moveTo>
                  <a:pt x="143" y="109"/>
                </a:moveTo>
                <a:lnTo>
                  <a:pt x="39" y="109"/>
                </a:lnTo>
                <a:lnTo>
                  <a:pt x="39" y="109"/>
                </a:lnTo>
                <a:lnTo>
                  <a:pt x="37" y="111"/>
                </a:lnTo>
                <a:lnTo>
                  <a:pt x="34" y="112"/>
                </a:lnTo>
                <a:lnTo>
                  <a:pt x="32" y="115"/>
                </a:lnTo>
                <a:lnTo>
                  <a:pt x="32" y="117"/>
                </a:lnTo>
                <a:lnTo>
                  <a:pt x="32" y="117"/>
                </a:lnTo>
                <a:lnTo>
                  <a:pt x="32" y="121"/>
                </a:lnTo>
                <a:lnTo>
                  <a:pt x="34" y="124"/>
                </a:lnTo>
                <a:lnTo>
                  <a:pt x="37" y="125"/>
                </a:lnTo>
                <a:lnTo>
                  <a:pt x="39" y="125"/>
                </a:lnTo>
                <a:lnTo>
                  <a:pt x="143" y="125"/>
                </a:lnTo>
                <a:lnTo>
                  <a:pt x="143" y="125"/>
                </a:lnTo>
                <a:lnTo>
                  <a:pt x="146" y="125"/>
                </a:lnTo>
                <a:lnTo>
                  <a:pt x="149" y="124"/>
                </a:lnTo>
                <a:lnTo>
                  <a:pt x="150" y="121"/>
                </a:lnTo>
                <a:lnTo>
                  <a:pt x="151" y="117"/>
                </a:lnTo>
                <a:lnTo>
                  <a:pt x="151" y="117"/>
                </a:lnTo>
                <a:lnTo>
                  <a:pt x="150" y="115"/>
                </a:lnTo>
                <a:lnTo>
                  <a:pt x="149" y="112"/>
                </a:lnTo>
                <a:lnTo>
                  <a:pt x="146" y="111"/>
                </a:lnTo>
                <a:lnTo>
                  <a:pt x="143" y="109"/>
                </a:lnTo>
                <a:lnTo>
                  <a:pt x="143" y="109"/>
                </a:lnTo>
                <a:close/>
                <a:moveTo>
                  <a:pt x="81" y="189"/>
                </a:moveTo>
                <a:lnTo>
                  <a:pt x="81" y="189"/>
                </a:lnTo>
                <a:lnTo>
                  <a:pt x="75" y="193"/>
                </a:lnTo>
                <a:lnTo>
                  <a:pt x="69" y="198"/>
                </a:lnTo>
                <a:lnTo>
                  <a:pt x="60" y="210"/>
                </a:lnTo>
                <a:lnTo>
                  <a:pt x="54" y="220"/>
                </a:lnTo>
                <a:lnTo>
                  <a:pt x="52" y="225"/>
                </a:lnTo>
                <a:lnTo>
                  <a:pt x="46" y="212"/>
                </a:lnTo>
                <a:lnTo>
                  <a:pt x="32" y="220"/>
                </a:lnTo>
                <a:lnTo>
                  <a:pt x="32" y="220"/>
                </a:lnTo>
                <a:lnTo>
                  <a:pt x="37" y="223"/>
                </a:lnTo>
                <a:lnTo>
                  <a:pt x="42" y="226"/>
                </a:lnTo>
                <a:lnTo>
                  <a:pt x="47" y="232"/>
                </a:lnTo>
                <a:lnTo>
                  <a:pt x="54" y="238"/>
                </a:lnTo>
                <a:lnTo>
                  <a:pt x="54" y="238"/>
                </a:lnTo>
                <a:lnTo>
                  <a:pt x="59" y="229"/>
                </a:lnTo>
                <a:lnTo>
                  <a:pt x="67" y="220"/>
                </a:lnTo>
                <a:lnTo>
                  <a:pt x="75" y="212"/>
                </a:lnTo>
                <a:lnTo>
                  <a:pt x="78" y="210"/>
                </a:lnTo>
                <a:lnTo>
                  <a:pt x="82" y="208"/>
                </a:lnTo>
                <a:lnTo>
                  <a:pt x="82" y="208"/>
                </a:lnTo>
                <a:lnTo>
                  <a:pt x="81" y="203"/>
                </a:lnTo>
                <a:lnTo>
                  <a:pt x="80" y="198"/>
                </a:lnTo>
                <a:lnTo>
                  <a:pt x="81" y="189"/>
                </a:lnTo>
                <a:lnTo>
                  <a:pt x="81" y="189"/>
                </a:lnTo>
                <a:close/>
              </a:path>
            </a:pathLst>
          </a:custGeom>
          <a:solidFill>
            <a:srgbClr val="FE5817"/>
          </a:solidFill>
          <a:ln>
            <a:noFill/>
          </a:ln>
          <a:effectLst/>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7" name="Freeform 31"/>
          <p:cNvSpPr>
            <a:spLocks noChangeAspect="1" noEditPoints="1"/>
          </p:cNvSpPr>
          <p:nvPr/>
        </p:nvSpPr>
        <p:spPr bwMode="auto">
          <a:xfrm>
            <a:off x="8362261" y="2709990"/>
            <a:ext cx="439575" cy="363062"/>
          </a:xfrm>
          <a:custGeom>
            <a:avLst/>
            <a:gdLst>
              <a:gd name="T0" fmla="*/ 470 w 672"/>
              <a:gd name="T1" fmla="*/ 258 h 602"/>
              <a:gd name="T2" fmla="*/ 532 w 672"/>
              <a:gd name="T3" fmla="*/ 198 h 602"/>
              <a:gd name="T4" fmla="*/ 416 w 672"/>
              <a:gd name="T5" fmla="*/ 80 h 602"/>
              <a:gd name="T6" fmla="*/ 480 w 672"/>
              <a:gd name="T7" fmla="*/ 94 h 602"/>
              <a:gd name="T8" fmla="*/ 566 w 672"/>
              <a:gd name="T9" fmla="*/ 108 h 602"/>
              <a:gd name="T10" fmla="*/ 626 w 672"/>
              <a:gd name="T11" fmla="*/ 176 h 602"/>
              <a:gd name="T12" fmla="*/ 628 w 672"/>
              <a:gd name="T13" fmla="*/ 274 h 602"/>
              <a:gd name="T14" fmla="*/ 530 w 672"/>
              <a:gd name="T15" fmla="*/ 360 h 602"/>
              <a:gd name="T16" fmla="*/ 598 w 672"/>
              <a:gd name="T17" fmla="*/ 368 h 602"/>
              <a:gd name="T18" fmla="*/ 672 w 672"/>
              <a:gd name="T19" fmla="*/ 228 h 602"/>
              <a:gd name="T20" fmla="*/ 642 w 672"/>
              <a:gd name="T21" fmla="*/ 132 h 602"/>
              <a:gd name="T22" fmla="*/ 552 w 672"/>
              <a:gd name="T23" fmla="*/ 66 h 602"/>
              <a:gd name="T24" fmla="*/ 334 w 672"/>
              <a:gd name="T25" fmla="*/ 476 h 602"/>
              <a:gd name="T26" fmla="*/ 328 w 672"/>
              <a:gd name="T27" fmla="*/ 494 h 602"/>
              <a:gd name="T28" fmla="*/ 318 w 672"/>
              <a:gd name="T29" fmla="*/ 482 h 602"/>
              <a:gd name="T30" fmla="*/ 332 w 672"/>
              <a:gd name="T31" fmla="*/ 468 h 602"/>
              <a:gd name="T32" fmla="*/ 312 w 672"/>
              <a:gd name="T33" fmla="*/ 492 h 602"/>
              <a:gd name="T34" fmla="*/ 344 w 672"/>
              <a:gd name="T35" fmla="*/ 490 h 602"/>
              <a:gd name="T36" fmla="*/ 346 w 672"/>
              <a:gd name="T37" fmla="*/ 284 h 602"/>
              <a:gd name="T38" fmla="*/ 384 w 672"/>
              <a:gd name="T39" fmla="*/ 222 h 602"/>
              <a:gd name="T40" fmla="*/ 388 w 672"/>
              <a:gd name="T41" fmla="*/ 108 h 602"/>
              <a:gd name="T42" fmla="*/ 360 w 672"/>
              <a:gd name="T43" fmla="*/ 32 h 602"/>
              <a:gd name="T44" fmla="*/ 274 w 672"/>
              <a:gd name="T45" fmla="*/ 0 h 602"/>
              <a:gd name="T46" fmla="*/ 180 w 672"/>
              <a:gd name="T47" fmla="*/ 42 h 602"/>
              <a:gd name="T48" fmla="*/ 162 w 672"/>
              <a:gd name="T49" fmla="*/ 134 h 602"/>
              <a:gd name="T50" fmla="*/ 166 w 672"/>
              <a:gd name="T51" fmla="*/ 224 h 602"/>
              <a:gd name="T52" fmla="*/ 196 w 672"/>
              <a:gd name="T53" fmla="*/ 298 h 602"/>
              <a:gd name="T54" fmla="*/ 172 w 672"/>
              <a:gd name="T55" fmla="*/ 370 h 602"/>
              <a:gd name="T56" fmla="*/ 208 w 672"/>
              <a:gd name="T57" fmla="*/ 410 h 602"/>
              <a:gd name="T58" fmla="*/ 194 w 672"/>
              <a:gd name="T59" fmla="*/ 420 h 602"/>
              <a:gd name="T60" fmla="*/ 168 w 672"/>
              <a:gd name="T61" fmla="*/ 402 h 602"/>
              <a:gd name="T62" fmla="*/ 146 w 672"/>
              <a:gd name="T63" fmla="*/ 448 h 602"/>
              <a:gd name="T64" fmla="*/ 140 w 672"/>
              <a:gd name="T65" fmla="*/ 408 h 602"/>
              <a:gd name="T66" fmla="*/ 158 w 672"/>
              <a:gd name="T67" fmla="*/ 336 h 602"/>
              <a:gd name="T68" fmla="*/ 30 w 672"/>
              <a:gd name="T69" fmla="*/ 406 h 602"/>
              <a:gd name="T70" fmla="*/ 512 w 672"/>
              <a:gd name="T71" fmla="*/ 384 h 602"/>
              <a:gd name="T72" fmla="*/ 392 w 672"/>
              <a:gd name="T73" fmla="*/ 362 h 602"/>
              <a:gd name="T74" fmla="*/ 344 w 672"/>
              <a:gd name="T75" fmla="*/ 432 h 602"/>
              <a:gd name="T76" fmla="*/ 356 w 672"/>
              <a:gd name="T77" fmla="*/ 476 h 602"/>
              <a:gd name="T78" fmla="*/ 336 w 672"/>
              <a:gd name="T79" fmla="*/ 514 h 602"/>
              <a:gd name="T80" fmla="*/ 298 w 672"/>
              <a:gd name="T81" fmla="*/ 492 h 602"/>
              <a:gd name="T82" fmla="*/ 322 w 672"/>
              <a:gd name="T83" fmla="*/ 454 h 602"/>
              <a:gd name="T84" fmla="*/ 368 w 672"/>
              <a:gd name="T85" fmla="*/ 378 h 602"/>
              <a:gd name="T86" fmla="*/ 360 w 672"/>
              <a:gd name="T87" fmla="*/ 310 h 602"/>
              <a:gd name="T88" fmla="*/ 154 w 672"/>
              <a:gd name="T89" fmla="*/ 538 h 602"/>
              <a:gd name="T90" fmla="*/ 190 w 672"/>
              <a:gd name="T91" fmla="*/ 542 h 602"/>
              <a:gd name="T92" fmla="*/ 158 w 672"/>
              <a:gd name="T93" fmla="*/ 554 h 602"/>
              <a:gd name="T94" fmla="*/ 138 w 672"/>
              <a:gd name="T95" fmla="*/ 560 h 602"/>
              <a:gd name="T96" fmla="*/ 142 w 672"/>
              <a:gd name="T97" fmla="*/ 538 h 602"/>
              <a:gd name="T98" fmla="*/ 166 w 672"/>
              <a:gd name="T99" fmla="*/ 490 h 602"/>
              <a:gd name="T100" fmla="*/ 198 w 672"/>
              <a:gd name="T101" fmla="*/ 522 h 602"/>
              <a:gd name="T102" fmla="*/ 212 w 672"/>
              <a:gd name="T103" fmla="*/ 438 h 602"/>
              <a:gd name="T104" fmla="*/ 208 w 672"/>
              <a:gd name="T105" fmla="*/ 528 h 602"/>
              <a:gd name="T106" fmla="*/ 246 w 672"/>
              <a:gd name="T107" fmla="*/ 512 h 602"/>
              <a:gd name="T108" fmla="*/ 260 w 672"/>
              <a:gd name="T109" fmla="*/ 526 h 602"/>
              <a:gd name="T110" fmla="*/ 246 w 672"/>
              <a:gd name="T111" fmla="*/ 532 h 602"/>
              <a:gd name="T112" fmla="*/ 202 w 672"/>
              <a:gd name="T113" fmla="*/ 538 h 602"/>
              <a:gd name="T114" fmla="*/ 158 w 672"/>
              <a:gd name="T115" fmla="*/ 494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2" h="602">
                <a:moveTo>
                  <a:pt x="532" y="198"/>
                </a:moveTo>
                <a:lnTo>
                  <a:pt x="588" y="198"/>
                </a:lnTo>
                <a:lnTo>
                  <a:pt x="588" y="258"/>
                </a:lnTo>
                <a:lnTo>
                  <a:pt x="532" y="258"/>
                </a:lnTo>
                <a:lnTo>
                  <a:pt x="532" y="314"/>
                </a:lnTo>
                <a:lnTo>
                  <a:pt x="470" y="314"/>
                </a:lnTo>
                <a:lnTo>
                  <a:pt x="470" y="258"/>
                </a:lnTo>
                <a:lnTo>
                  <a:pt x="414" y="258"/>
                </a:lnTo>
                <a:lnTo>
                  <a:pt x="414" y="198"/>
                </a:lnTo>
                <a:lnTo>
                  <a:pt x="470" y="198"/>
                </a:lnTo>
                <a:lnTo>
                  <a:pt x="470" y="142"/>
                </a:lnTo>
                <a:lnTo>
                  <a:pt x="532" y="142"/>
                </a:lnTo>
                <a:lnTo>
                  <a:pt x="532" y="198"/>
                </a:lnTo>
                <a:lnTo>
                  <a:pt x="532" y="198"/>
                </a:lnTo>
                <a:close/>
                <a:moveTo>
                  <a:pt x="502" y="58"/>
                </a:moveTo>
                <a:lnTo>
                  <a:pt x="502" y="58"/>
                </a:lnTo>
                <a:lnTo>
                  <a:pt x="478" y="60"/>
                </a:lnTo>
                <a:lnTo>
                  <a:pt x="456" y="64"/>
                </a:lnTo>
                <a:lnTo>
                  <a:pt x="436" y="70"/>
                </a:lnTo>
                <a:lnTo>
                  <a:pt x="416" y="80"/>
                </a:lnTo>
                <a:lnTo>
                  <a:pt x="416" y="80"/>
                </a:lnTo>
                <a:lnTo>
                  <a:pt x="418" y="100"/>
                </a:lnTo>
                <a:lnTo>
                  <a:pt x="420" y="118"/>
                </a:lnTo>
                <a:lnTo>
                  <a:pt x="420" y="120"/>
                </a:lnTo>
                <a:lnTo>
                  <a:pt x="420" y="120"/>
                </a:lnTo>
                <a:lnTo>
                  <a:pt x="438" y="108"/>
                </a:lnTo>
                <a:lnTo>
                  <a:pt x="458" y="100"/>
                </a:lnTo>
                <a:lnTo>
                  <a:pt x="480" y="94"/>
                </a:lnTo>
                <a:lnTo>
                  <a:pt x="502" y="92"/>
                </a:lnTo>
                <a:lnTo>
                  <a:pt x="502" y="92"/>
                </a:lnTo>
                <a:lnTo>
                  <a:pt x="516" y="94"/>
                </a:lnTo>
                <a:lnTo>
                  <a:pt x="528" y="96"/>
                </a:lnTo>
                <a:lnTo>
                  <a:pt x="542" y="98"/>
                </a:lnTo>
                <a:lnTo>
                  <a:pt x="554" y="104"/>
                </a:lnTo>
                <a:lnTo>
                  <a:pt x="566" y="108"/>
                </a:lnTo>
                <a:lnTo>
                  <a:pt x="578" y="116"/>
                </a:lnTo>
                <a:lnTo>
                  <a:pt x="588" y="124"/>
                </a:lnTo>
                <a:lnTo>
                  <a:pt x="598" y="132"/>
                </a:lnTo>
                <a:lnTo>
                  <a:pt x="606" y="142"/>
                </a:lnTo>
                <a:lnTo>
                  <a:pt x="614" y="152"/>
                </a:lnTo>
                <a:lnTo>
                  <a:pt x="620" y="164"/>
                </a:lnTo>
                <a:lnTo>
                  <a:pt x="626" y="176"/>
                </a:lnTo>
                <a:lnTo>
                  <a:pt x="630" y="188"/>
                </a:lnTo>
                <a:lnTo>
                  <a:pt x="634" y="200"/>
                </a:lnTo>
                <a:lnTo>
                  <a:pt x="636" y="214"/>
                </a:lnTo>
                <a:lnTo>
                  <a:pt x="636" y="228"/>
                </a:lnTo>
                <a:lnTo>
                  <a:pt x="636" y="228"/>
                </a:lnTo>
                <a:lnTo>
                  <a:pt x="634" y="252"/>
                </a:lnTo>
                <a:lnTo>
                  <a:pt x="628" y="274"/>
                </a:lnTo>
                <a:lnTo>
                  <a:pt x="620" y="296"/>
                </a:lnTo>
                <a:lnTo>
                  <a:pt x="606" y="314"/>
                </a:lnTo>
                <a:lnTo>
                  <a:pt x="590" y="330"/>
                </a:lnTo>
                <a:lnTo>
                  <a:pt x="572" y="344"/>
                </a:lnTo>
                <a:lnTo>
                  <a:pt x="552" y="354"/>
                </a:lnTo>
                <a:lnTo>
                  <a:pt x="530" y="360"/>
                </a:lnTo>
                <a:lnTo>
                  <a:pt x="530" y="360"/>
                </a:lnTo>
                <a:lnTo>
                  <a:pt x="536" y="368"/>
                </a:lnTo>
                <a:lnTo>
                  <a:pt x="542" y="374"/>
                </a:lnTo>
                <a:lnTo>
                  <a:pt x="546" y="384"/>
                </a:lnTo>
                <a:lnTo>
                  <a:pt x="548" y="392"/>
                </a:lnTo>
                <a:lnTo>
                  <a:pt x="548" y="392"/>
                </a:lnTo>
                <a:lnTo>
                  <a:pt x="574" y="382"/>
                </a:lnTo>
                <a:lnTo>
                  <a:pt x="598" y="368"/>
                </a:lnTo>
                <a:lnTo>
                  <a:pt x="618" y="352"/>
                </a:lnTo>
                <a:lnTo>
                  <a:pt x="636" y="332"/>
                </a:lnTo>
                <a:lnTo>
                  <a:pt x="652" y="308"/>
                </a:lnTo>
                <a:lnTo>
                  <a:pt x="662" y="284"/>
                </a:lnTo>
                <a:lnTo>
                  <a:pt x="670" y="256"/>
                </a:lnTo>
                <a:lnTo>
                  <a:pt x="670" y="242"/>
                </a:lnTo>
                <a:lnTo>
                  <a:pt x="672" y="228"/>
                </a:lnTo>
                <a:lnTo>
                  <a:pt x="672" y="228"/>
                </a:lnTo>
                <a:lnTo>
                  <a:pt x="670" y="210"/>
                </a:lnTo>
                <a:lnTo>
                  <a:pt x="668" y="194"/>
                </a:lnTo>
                <a:lnTo>
                  <a:pt x="664" y="178"/>
                </a:lnTo>
                <a:lnTo>
                  <a:pt x="658" y="162"/>
                </a:lnTo>
                <a:lnTo>
                  <a:pt x="652" y="148"/>
                </a:lnTo>
                <a:lnTo>
                  <a:pt x="642" y="132"/>
                </a:lnTo>
                <a:lnTo>
                  <a:pt x="632" y="120"/>
                </a:lnTo>
                <a:lnTo>
                  <a:pt x="622" y="108"/>
                </a:lnTo>
                <a:lnTo>
                  <a:pt x="610" y="96"/>
                </a:lnTo>
                <a:lnTo>
                  <a:pt x="596" y="86"/>
                </a:lnTo>
                <a:lnTo>
                  <a:pt x="582" y="78"/>
                </a:lnTo>
                <a:lnTo>
                  <a:pt x="568" y="72"/>
                </a:lnTo>
                <a:lnTo>
                  <a:pt x="552" y="66"/>
                </a:lnTo>
                <a:lnTo>
                  <a:pt x="536" y="62"/>
                </a:lnTo>
                <a:lnTo>
                  <a:pt x="518" y="58"/>
                </a:lnTo>
                <a:lnTo>
                  <a:pt x="502" y="58"/>
                </a:lnTo>
                <a:lnTo>
                  <a:pt x="502" y="58"/>
                </a:lnTo>
                <a:close/>
                <a:moveTo>
                  <a:pt x="330" y="474"/>
                </a:moveTo>
                <a:lnTo>
                  <a:pt x="330" y="474"/>
                </a:lnTo>
                <a:lnTo>
                  <a:pt x="334" y="476"/>
                </a:lnTo>
                <a:lnTo>
                  <a:pt x="336" y="480"/>
                </a:lnTo>
                <a:lnTo>
                  <a:pt x="338" y="484"/>
                </a:lnTo>
                <a:lnTo>
                  <a:pt x="336" y="488"/>
                </a:lnTo>
                <a:lnTo>
                  <a:pt x="336" y="488"/>
                </a:lnTo>
                <a:lnTo>
                  <a:pt x="334" y="490"/>
                </a:lnTo>
                <a:lnTo>
                  <a:pt x="332" y="494"/>
                </a:lnTo>
                <a:lnTo>
                  <a:pt x="328" y="494"/>
                </a:lnTo>
                <a:lnTo>
                  <a:pt x="324" y="494"/>
                </a:lnTo>
                <a:lnTo>
                  <a:pt x="324" y="494"/>
                </a:lnTo>
                <a:lnTo>
                  <a:pt x="320" y="492"/>
                </a:lnTo>
                <a:lnTo>
                  <a:pt x="318" y="488"/>
                </a:lnTo>
                <a:lnTo>
                  <a:pt x="316" y="486"/>
                </a:lnTo>
                <a:lnTo>
                  <a:pt x="318" y="482"/>
                </a:lnTo>
                <a:lnTo>
                  <a:pt x="318" y="482"/>
                </a:lnTo>
                <a:lnTo>
                  <a:pt x="320" y="478"/>
                </a:lnTo>
                <a:lnTo>
                  <a:pt x="322" y="476"/>
                </a:lnTo>
                <a:lnTo>
                  <a:pt x="326" y="474"/>
                </a:lnTo>
                <a:lnTo>
                  <a:pt x="330" y="474"/>
                </a:lnTo>
                <a:lnTo>
                  <a:pt x="330" y="474"/>
                </a:lnTo>
                <a:close/>
                <a:moveTo>
                  <a:pt x="332" y="468"/>
                </a:moveTo>
                <a:lnTo>
                  <a:pt x="332" y="468"/>
                </a:lnTo>
                <a:lnTo>
                  <a:pt x="326" y="466"/>
                </a:lnTo>
                <a:lnTo>
                  <a:pt x="318" y="468"/>
                </a:lnTo>
                <a:lnTo>
                  <a:pt x="314" y="472"/>
                </a:lnTo>
                <a:lnTo>
                  <a:pt x="310" y="478"/>
                </a:lnTo>
                <a:lnTo>
                  <a:pt x="310" y="478"/>
                </a:lnTo>
                <a:lnTo>
                  <a:pt x="310" y="486"/>
                </a:lnTo>
                <a:lnTo>
                  <a:pt x="312" y="492"/>
                </a:lnTo>
                <a:lnTo>
                  <a:pt x="316" y="498"/>
                </a:lnTo>
                <a:lnTo>
                  <a:pt x="322" y="500"/>
                </a:lnTo>
                <a:lnTo>
                  <a:pt x="322" y="500"/>
                </a:lnTo>
                <a:lnTo>
                  <a:pt x="328" y="502"/>
                </a:lnTo>
                <a:lnTo>
                  <a:pt x="334" y="500"/>
                </a:lnTo>
                <a:lnTo>
                  <a:pt x="340" y="496"/>
                </a:lnTo>
                <a:lnTo>
                  <a:pt x="344" y="490"/>
                </a:lnTo>
                <a:lnTo>
                  <a:pt x="344" y="490"/>
                </a:lnTo>
                <a:lnTo>
                  <a:pt x="344" y="482"/>
                </a:lnTo>
                <a:lnTo>
                  <a:pt x="342" y="476"/>
                </a:lnTo>
                <a:lnTo>
                  <a:pt x="338" y="470"/>
                </a:lnTo>
                <a:lnTo>
                  <a:pt x="332" y="468"/>
                </a:lnTo>
                <a:lnTo>
                  <a:pt x="332" y="468"/>
                </a:lnTo>
                <a:close/>
                <a:moveTo>
                  <a:pt x="346" y="284"/>
                </a:moveTo>
                <a:lnTo>
                  <a:pt x="346" y="284"/>
                </a:lnTo>
                <a:lnTo>
                  <a:pt x="362" y="260"/>
                </a:lnTo>
                <a:lnTo>
                  <a:pt x="372" y="236"/>
                </a:lnTo>
                <a:lnTo>
                  <a:pt x="372" y="236"/>
                </a:lnTo>
                <a:lnTo>
                  <a:pt x="380" y="230"/>
                </a:lnTo>
                <a:lnTo>
                  <a:pt x="384" y="222"/>
                </a:lnTo>
                <a:lnTo>
                  <a:pt x="384" y="222"/>
                </a:lnTo>
                <a:lnTo>
                  <a:pt x="388" y="200"/>
                </a:lnTo>
                <a:lnTo>
                  <a:pt x="392" y="180"/>
                </a:lnTo>
                <a:lnTo>
                  <a:pt x="394" y="158"/>
                </a:lnTo>
                <a:lnTo>
                  <a:pt x="394" y="136"/>
                </a:lnTo>
                <a:lnTo>
                  <a:pt x="388" y="134"/>
                </a:lnTo>
                <a:lnTo>
                  <a:pt x="388" y="134"/>
                </a:lnTo>
                <a:lnTo>
                  <a:pt x="388" y="108"/>
                </a:lnTo>
                <a:lnTo>
                  <a:pt x="388" y="108"/>
                </a:lnTo>
                <a:lnTo>
                  <a:pt x="386" y="88"/>
                </a:lnTo>
                <a:lnTo>
                  <a:pt x="382" y="70"/>
                </a:lnTo>
                <a:lnTo>
                  <a:pt x="382" y="70"/>
                </a:lnTo>
                <a:lnTo>
                  <a:pt x="376" y="56"/>
                </a:lnTo>
                <a:lnTo>
                  <a:pt x="370" y="42"/>
                </a:lnTo>
                <a:lnTo>
                  <a:pt x="360" y="32"/>
                </a:lnTo>
                <a:lnTo>
                  <a:pt x="348" y="22"/>
                </a:lnTo>
                <a:lnTo>
                  <a:pt x="348" y="22"/>
                </a:lnTo>
                <a:lnTo>
                  <a:pt x="332" y="12"/>
                </a:lnTo>
                <a:lnTo>
                  <a:pt x="314" y="6"/>
                </a:lnTo>
                <a:lnTo>
                  <a:pt x="294" y="2"/>
                </a:lnTo>
                <a:lnTo>
                  <a:pt x="274" y="0"/>
                </a:lnTo>
                <a:lnTo>
                  <a:pt x="274" y="0"/>
                </a:lnTo>
                <a:lnTo>
                  <a:pt x="256" y="2"/>
                </a:lnTo>
                <a:lnTo>
                  <a:pt x="236" y="6"/>
                </a:lnTo>
                <a:lnTo>
                  <a:pt x="218" y="12"/>
                </a:lnTo>
                <a:lnTo>
                  <a:pt x="202" y="22"/>
                </a:lnTo>
                <a:lnTo>
                  <a:pt x="202" y="22"/>
                </a:lnTo>
                <a:lnTo>
                  <a:pt x="190" y="32"/>
                </a:lnTo>
                <a:lnTo>
                  <a:pt x="180" y="42"/>
                </a:lnTo>
                <a:lnTo>
                  <a:pt x="174" y="56"/>
                </a:lnTo>
                <a:lnTo>
                  <a:pt x="168" y="70"/>
                </a:lnTo>
                <a:lnTo>
                  <a:pt x="168" y="70"/>
                </a:lnTo>
                <a:lnTo>
                  <a:pt x="164" y="88"/>
                </a:lnTo>
                <a:lnTo>
                  <a:pt x="162" y="108"/>
                </a:lnTo>
                <a:lnTo>
                  <a:pt x="162" y="108"/>
                </a:lnTo>
                <a:lnTo>
                  <a:pt x="162" y="134"/>
                </a:lnTo>
                <a:lnTo>
                  <a:pt x="156" y="136"/>
                </a:lnTo>
                <a:lnTo>
                  <a:pt x="156" y="136"/>
                </a:lnTo>
                <a:lnTo>
                  <a:pt x="156" y="158"/>
                </a:lnTo>
                <a:lnTo>
                  <a:pt x="156" y="182"/>
                </a:lnTo>
                <a:lnTo>
                  <a:pt x="160" y="204"/>
                </a:lnTo>
                <a:lnTo>
                  <a:pt x="166" y="224"/>
                </a:lnTo>
                <a:lnTo>
                  <a:pt x="166" y="224"/>
                </a:lnTo>
                <a:lnTo>
                  <a:pt x="170" y="232"/>
                </a:lnTo>
                <a:lnTo>
                  <a:pt x="176" y="236"/>
                </a:lnTo>
                <a:lnTo>
                  <a:pt x="176" y="236"/>
                </a:lnTo>
                <a:lnTo>
                  <a:pt x="188" y="262"/>
                </a:lnTo>
                <a:lnTo>
                  <a:pt x="202" y="284"/>
                </a:lnTo>
                <a:lnTo>
                  <a:pt x="202" y="284"/>
                </a:lnTo>
                <a:lnTo>
                  <a:pt x="196" y="298"/>
                </a:lnTo>
                <a:lnTo>
                  <a:pt x="188" y="312"/>
                </a:lnTo>
                <a:lnTo>
                  <a:pt x="188" y="312"/>
                </a:lnTo>
                <a:lnTo>
                  <a:pt x="182" y="322"/>
                </a:lnTo>
                <a:lnTo>
                  <a:pt x="176" y="338"/>
                </a:lnTo>
                <a:lnTo>
                  <a:pt x="172" y="348"/>
                </a:lnTo>
                <a:lnTo>
                  <a:pt x="172" y="358"/>
                </a:lnTo>
                <a:lnTo>
                  <a:pt x="172" y="370"/>
                </a:lnTo>
                <a:lnTo>
                  <a:pt x="174" y="384"/>
                </a:lnTo>
                <a:lnTo>
                  <a:pt x="174" y="384"/>
                </a:lnTo>
                <a:lnTo>
                  <a:pt x="186" y="386"/>
                </a:lnTo>
                <a:lnTo>
                  <a:pt x="196" y="394"/>
                </a:lnTo>
                <a:lnTo>
                  <a:pt x="196" y="394"/>
                </a:lnTo>
                <a:lnTo>
                  <a:pt x="204" y="402"/>
                </a:lnTo>
                <a:lnTo>
                  <a:pt x="208" y="410"/>
                </a:lnTo>
                <a:lnTo>
                  <a:pt x="212" y="420"/>
                </a:lnTo>
                <a:lnTo>
                  <a:pt x="214" y="430"/>
                </a:lnTo>
                <a:lnTo>
                  <a:pt x="214" y="430"/>
                </a:lnTo>
                <a:lnTo>
                  <a:pt x="206" y="434"/>
                </a:lnTo>
                <a:lnTo>
                  <a:pt x="198" y="434"/>
                </a:lnTo>
                <a:lnTo>
                  <a:pt x="198" y="434"/>
                </a:lnTo>
                <a:lnTo>
                  <a:pt x="194" y="420"/>
                </a:lnTo>
                <a:lnTo>
                  <a:pt x="190" y="412"/>
                </a:lnTo>
                <a:lnTo>
                  <a:pt x="184" y="406"/>
                </a:lnTo>
                <a:lnTo>
                  <a:pt x="184" y="406"/>
                </a:lnTo>
                <a:lnTo>
                  <a:pt x="180" y="404"/>
                </a:lnTo>
                <a:lnTo>
                  <a:pt x="176" y="402"/>
                </a:lnTo>
                <a:lnTo>
                  <a:pt x="172" y="400"/>
                </a:lnTo>
                <a:lnTo>
                  <a:pt x="168" y="402"/>
                </a:lnTo>
                <a:lnTo>
                  <a:pt x="162" y="406"/>
                </a:lnTo>
                <a:lnTo>
                  <a:pt x="156" y="414"/>
                </a:lnTo>
                <a:lnTo>
                  <a:pt x="156" y="414"/>
                </a:lnTo>
                <a:lnTo>
                  <a:pt x="154" y="430"/>
                </a:lnTo>
                <a:lnTo>
                  <a:pt x="154" y="446"/>
                </a:lnTo>
                <a:lnTo>
                  <a:pt x="154" y="446"/>
                </a:lnTo>
                <a:lnTo>
                  <a:pt x="146" y="448"/>
                </a:lnTo>
                <a:lnTo>
                  <a:pt x="142" y="450"/>
                </a:lnTo>
                <a:lnTo>
                  <a:pt x="138" y="448"/>
                </a:lnTo>
                <a:lnTo>
                  <a:pt x="138" y="448"/>
                </a:lnTo>
                <a:lnTo>
                  <a:pt x="136" y="438"/>
                </a:lnTo>
                <a:lnTo>
                  <a:pt x="136" y="428"/>
                </a:lnTo>
                <a:lnTo>
                  <a:pt x="138" y="418"/>
                </a:lnTo>
                <a:lnTo>
                  <a:pt x="140" y="408"/>
                </a:lnTo>
                <a:lnTo>
                  <a:pt x="140" y="408"/>
                </a:lnTo>
                <a:lnTo>
                  <a:pt x="148" y="396"/>
                </a:lnTo>
                <a:lnTo>
                  <a:pt x="158" y="388"/>
                </a:lnTo>
                <a:lnTo>
                  <a:pt x="158" y="388"/>
                </a:lnTo>
                <a:lnTo>
                  <a:pt x="154" y="368"/>
                </a:lnTo>
                <a:lnTo>
                  <a:pt x="154" y="350"/>
                </a:lnTo>
                <a:lnTo>
                  <a:pt x="158" y="336"/>
                </a:lnTo>
                <a:lnTo>
                  <a:pt x="162" y="324"/>
                </a:lnTo>
                <a:lnTo>
                  <a:pt x="44" y="380"/>
                </a:lnTo>
                <a:lnTo>
                  <a:pt x="44" y="380"/>
                </a:lnTo>
                <a:lnTo>
                  <a:pt x="38" y="384"/>
                </a:lnTo>
                <a:lnTo>
                  <a:pt x="34" y="390"/>
                </a:lnTo>
                <a:lnTo>
                  <a:pt x="30" y="398"/>
                </a:lnTo>
                <a:lnTo>
                  <a:pt x="30" y="406"/>
                </a:lnTo>
                <a:lnTo>
                  <a:pt x="0" y="602"/>
                </a:lnTo>
                <a:lnTo>
                  <a:pt x="550" y="602"/>
                </a:lnTo>
                <a:lnTo>
                  <a:pt x="520" y="406"/>
                </a:lnTo>
                <a:lnTo>
                  <a:pt x="520" y="406"/>
                </a:lnTo>
                <a:lnTo>
                  <a:pt x="518" y="398"/>
                </a:lnTo>
                <a:lnTo>
                  <a:pt x="516" y="390"/>
                </a:lnTo>
                <a:lnTo>
                  <a:pt x="512" y="384"/>
                </a:lnTo>
                <a:lnTo>
                  <a:pt x="506" y="380"/>
                </a:lnTo>
                <a:lnTo>
                  <a:pt x="388" y="324"/>
                </a:lnTo>
                <a:lnTo>
                  <a:pt x="388" y="324"/>
                </a:lnTo>
                <a:lnTo>
                  <a:pt x="392" y="334"/>
                </a:lnTo>
                <a:lnTo>
                  <a:pt x="394" y="342"/>
                </a:lnTo>
                <a:lnTo>
                  <a:pt x="394" y="352"/>
                </a:lnTo>
                <a:lnTo>
                  <a:pt x="392" y="362"/>
                </a:lnTo>
                <a:lnTo>
                  <a:pt x="390" y="372"/>
                </a:lnTo>
                <a:lnTo>
                  <a:pt x="386" y="382"/>
                </a:lnTo>
                <a:lnTo>
                  <a:pt x="380" y="390"/>
                </a:lnTo>
                <a:lnTo>
                  <a:pt x="372" y="400"/>
                </a:lnTo>
                <a:lnTo>
                  <a:pt x="372" y="400"/>
                </a:lnTo>
                <a:lnTo>
                  <a:pt x="356" y="418"/>
                </a:lnTo>
                <a:lnTo>
                  <a:pt x="344" y="432"/>
                </a:lnTo>
                <a:lnTo>
                  <a:pt x="340" y="446"/>
                </a:lnTo>
                <a:lnTo>
                  <a:pt x="338" y="456"/>
                </a:lnTo>
                <a:lnTo>
                  <a:pt x="338" y="456"/>
                </a:lnTo>
                <a:lnTo>
                  <a:pt x="348" y="462"/>
                </a:lnTo>
                <a:lnTo>
                  <a:pt x="354" y="470"/>
                </a:lnTo>
                <a:lnTo>
                  <a:pt x="354" y="470"/>
                </a:lnTo>
                <a:lnTo>
                  <a:pt x="356" y="476"/>
                </a:lnTo>
                <a:lnTo>
                  <a:pt x="358" y="482"/>
                </a:lnTo>
                <a:lnTo>
                  <a:pt x="356" y="494"/>
                </a:lnTo>
                <a:lnTo>
                  <a:pt x="350" y="504"/>
                </a:lnTo>
                <a:lnTo>
                  <a:pt x="346" y="508"/>
                </a:lnTo>
                <a:lnTo>
                  <a:pt x="342" y="512"/>
                </a:lnTo>
                <a:lnTo>
                  <a:pt x="342" y="512"/>
                </a:lnTo>
                <a:lnTo>
                  <a:pt x="336" y="514"/>
                </a:lnTo>
                <a:lnTo>
                  <a:pt x="330" y="516"/>
                </a:lnTo>
                <a:lnTo>
                  <a:pt x="318" y="514"/>
                </a:lnTo>
                <a:lnTo>
                  <a:pt x="308" y="508"/>
                </a:lnTo>
                <a:lnTo>
                  <a:pt x="302" y="504"/>
                </a:lnTo>
                <a:lnTo>
                  <a:pt x="300" y="498"/>
                </a:lnTo>
                <a:lnTo>
                  <a:pt x="300" y="498"/>
                </a:lnTo>
                <a:lnTo>
                  <a:pt x="298" y="492"/>
                </a:lnTo>
                <a:lnTo>
                  <a:pt x="296" y="486"/>
                </a:lnTo>
                <a:lnTo>
                  <a:pt x="298" y="474"/>
                </a:lnTo>
                <a:lnTo>
                  <a:pt x="302" y="464"/>
                </a:lnTo>
                <a:lnTo>
                  <a:pt x="308" y="460"/>
                </a:lnTo>
                <a:lnTo>
                  <a:pt x="312" y="456"/>
                </a:lnTo>
                <a:lnTo>
                  <a:pt x="312" y="456"/>
                </a:lnTo>
                <a:lnTo>
                  <a:pt x="322" y="454"/>
                </a:lnTo>
                <a:lnTo>
                  <a:pt x="322" y="454"/>
                </a:lnTo>
                <a:lnTo>
                  <a:pt x="324" y="442"/>
                </a:lnTo>
                <a:lnTo>
                  <a:pt x="328" y="426"/>
                </a:lnTo>
                <a:lnTo>
                  <a:pt x="340" y="408"/>
                </a:lnTo>
                <a:lnTo>
                  <a:pt x="360" y="386"/>
                </a:lnTo>
                <a:lnTo>
                  <a:pt x="360" y="386"/>
                </a:lnTo>
                <a:lnTo>
                  <a:pt x="368" y="378"/>
                </a:lnTo>
                <a:lnTo>
                  <a:pt x="374" y="368"/>
                </a:lnTo>
                <a:lnTo>
                  <a:pt x="376" y="358"/>
                </a:lnTo>
                <a:lnTo>
                  <a:pt x="376" y="348"/>
                </a:lnTo>
                <a:lnTo>
                  <a:pt x="374" y="340"/>
                </a:lnTo>
                <a:lnTo>
                  <a:pt x="372" y="330"/>
                </a:lnTo>
                <a:lnTo>
                  <a:pt x="366" y="320"/>
                </a:lnTo>
                <a:lnTo>
                  <a:pt x="360" y="310"/>
                </a:lnTo>
                <a:lnTo>
                  <a:pt x="360" y="310"/>
                </a:lnTo>
                <a:lnTo>
                  <a:pt x="352" y="298"/>
                </a:lnTo>
                <a:lnTo>
                  <a:pt x="346" y="284"/>
                </a:lnTo>
                <a:lnTo>
                  <a:pt x="346" y="284"/>
                </a:lnTo>
                <a:close/>
                <a:moveTo>
                  <a:pt x="150" y="538"/>
                </a:moveTo>
                <a:lnTo>
                  <a:pt x="150" y="538"/>
                </a:lnTo>
                <a:lnTo>
                  <a:pt x="154" y="538"/>
                </a:lnTo>
                <a:lnTo>
                  <a:pt x="158" y="540"/>
                </a:lnTo>
                <a:lnTo>
                  <a:pt x="158" y="540"/>
                </a:lnTo>
                <a:lnTo>
                  <a:pt x="178" y="536"/>
                </a:lnTo>
                <a:lnTo>
                  <a:pt x="178" y="536"/>
                </a:lnTo>
                <a:lnTo>
                  <a:pt x="188" y="540"/>
                </a:lnTo>
                <a:lnTo>
                  <a:pt x="188" y="540"/>
                </a:lnTo>
                <a:lnTo>
                  <a:pt x="190" y="542"/>
                </a:lnTo>
                <a:lnTo>
                  <a:pt x="190" y="542"/>
                </a:lnTo>
                <a:lnTo>
                  <a:pt x="178" y="546"/>
                </a:lnTo>
                <a:lnTo>
                  <a:pt x="164" y="550"/>
                </a:lnTo>
                <a:lnTo>
                  <a:pt x="164" y="550"/>
                </a:lnTo>
                <a:lnTo>
                  <a:pt x="160" y="550"/>
                </a:lnTo>
                <a:lnTo>
                  <a:pt x="160" y="550"/>
                </a:lnTo>
                <a:lnTo>
                  <a:pt x="158" y="554"/>
                </a:lnTo>
                <a:lnTo>
                  <a:pt x="152" y="556"/>
                </a:lnTo>
                <a:lnTo>
                  <a:pt x="152" y="556"/>
                </a:lnTo>
                <a:lnTo>
                  <a:pt x="148" y="558"/>
                </a:lnTo>
                <a:lnTo>
                  <a:pt x="144" y="560"/>
                </a:lnTo>
                <a:lnTo>
                  <a:pt x="140" y="560"/>
                </a:lnTo>
                <a:lnTo>
                  <a:pt x="140" y="560"/>
                </a:lnTo>
                <a:lnTo>
                  <a:pt x="138" y="560"/>
                </a:lnTo>
                <a:lnTo>
                  <a:pt x="136" y="556"/>
                </a:lnTo>
                <a:lnTo>
                  <a:pt x="134" y="550"/>
                </a:lnTo>
                <a:lnTo>
                  <a:pt x="134" y="542"/>
                </a:lnTo>
                <a:lnTo>
                  <a:pt x="136" y="540"/>
                </a:lnTo>
                <a:lnTo>
                  <a:pt x="138" y="538"/>
                </a:lnTo>
                <a:lnTo>
                  <a:pt x="142" y="538"/>
                </a:lnTo>
                <a:lnTo>
                  <a:pt x="142" y="538"/>
                </a:lnTo>
                <a:lnTo>
                  <a:pt x="144" y="538"/>
                </a:lnTo>
                <a:lnTo>
                  <a:pt x="150" y="538"/>
                </a:lnTo>
                <a:lnTo>
                  <a:pt x="150" y="538"/>
                </a:lnTo>
                <a:close/>
                <a:moveTo>
                  <a:pt x="152" y="454"/>
                </a:moveTo>
                <a:lnTo>
                  <a:pt x="152" y="454"/>
                </a:lnTo>
                <a:lnTo>
                  <a:pt x="158" y="470"/>
                </a:lnTo>
                <a:lnTo>
                  <a:pt x="166" y="490"/>
                </a:lnTo>
                <a:lnTo>
                  <a:pt x="176" y="508"/>
                </a:lnTo>
                <a:lnTo>
                  <a:pt x="186" y="522"/>
                </a:lnTo>
                <a:lnTo>
                  <a:pt x="186" y="522"/>
                </a:lnTo>
                <a:lnTo>
                  <a:pt x="190" y="524"/>
                </a:lnTo>
                <a:lnTo>
                  <a:pt x="196" y="526"/>
                </a:lnTo>
                <a:lnTo>
                  <a:pt x="196" y="526"/>
                </a:lnTo>
                <a:lnTo>
                  <a:pt x="198" y="522"/>
                </a:lnTo>
                <a:lnTo>
                  <a:pt x="200" y="518"/>
                </a:lnTo>
                <a:lnTo>
                  <a:pt x="200" y="518"/>
                </a:lnTo>
                <a:lnTo>
                  <a:pt x="204" y="500"/>
                </a:lnTo>
                <a:lnTo>
                  <a:pt x="206" y="480"/>
                </a:lnTo>
                <a:lnTo>
                  <a:pt x="204" y="440"/>
                </a:lnTo>
                <a:lnTo>
                  <a:pt x="204" y="440"/>
                </a:lnTo>
                <a:lnTo>
                  <a:pt x="212" y="438"/>
                </a:lnTo>
                <a:lnTo>
                  <a:pt x="212" y="438"/>
                </a:lnTo>
                <a:lnTo>
                  <a:pt x="214" y="480"/>
                </a:lnTo>
                <a:lnTo>
                  <a:pt x="214" y="504"/>
                </a:lnTo>
                <a:lnTo>
                  <a:pt x="210" y="522"/>
                </a:lnTo>
                <a:lnTo>
                  <a:pt x="210" y="522"/>
                </a:lnTo>
                <a:lnTo>
                  <a:pt x="208" y="528"/>
                </a:lnTo>
                <a:lnTo>
                  <a:pt x="208" y="528"/>
                </a:lnTo>
                <a:lnTo>
                  <a:pt x="222" y="524"/>
                </a:lnTo>
                <a:lnTo>
                  <a:pt x="234" y="520"/>
                </a:lnTo>
                <a:lnTo>
                  <a:pt x="234" y="520"/>
                </a:lnTo>
                <a:lnTo>
                  <a:pt x="236" y="516"/>
                </a:lnTo>
                <a:lnTo>
                  <a:pt x="242" y="514"/>
                </a:lnTo>
                <a:lnTo>
                  <a:pt x="242" y="514"/>
                </a:lnTo>
                <a:lnTo>
                  <a:pt x="246" y="512"/>
                </a:lnTo>
                <a:lnTo>
                  <a:pt x="248" y="510"/>
                </a:lnTo>
                <a:lnTo>
                  <a:pt x="252" y="508"/>
                </a:lnTo>
                <a:lnTo>
                  <a:pt x="252" y="508"/>
                </a:lnTo>
                <a:lnTo>
                  <a:pt x="254" y="510"/>
                </a:lnTo>
                <a:lnTo>
                  <a:pt x="256" y="512"/>
                </a:lnTo>
                <a:lnTo>
                  <a:pt x="260" y="518"/>
                </a:lnTo>
                <a:lnTo>
                  <a:pt x="260" y="526"/>
                </a:lnTo>
                <a:lnTo>
                  <a:pt x="260" y="528"/>
                </a:lnTo>
                <a:lnTo>
                  <a:pt x="258" y="530"/>
                </a:lnTo>
                <a:lnTo>
                  <a:pt x="254" y="532"/>
                </a:lnTo>
                <a:lnTo>
                  <a:pt x="254" y="532"/>
                </a:lnTo>
                <a:lnTo>
                  <a:pt x="252" y="532"/>
                </a:lnTo>
                <a:lnTo>
                  <a:pt x="246" y="532"/>
                </a:lnTo>
                <a:lnTo>
                  <a:pt x="246" y="532"/>
                </a:lnTo>
                <a:lnTo>
                  <a:pt x="240" y="532"/>
                </a:lnTo>
                <a:lnTo>
                  <a:pt x="238" y="530"/>
                </a:lnTo>
                <a:lnTo>
                  <a:pt x="238" y="530"/>
                </a:lnTo>
                <a:lnTo>
                  <a:pt x="234" y="532"/>
                </a:lnTo>
                <a:lnTo>
                  <a:pt x="234" y="532"/>
                </a:lnTo>
                <a:lnTo>
                  <a:pt x="212" y="536"/>
                </a:lnTo>
                <a:lnTo>
                  <a:pt x="202" y="538"/>
                </a:lnTo>
                <a:lnTo>
                  <a:pt x="192" y="536"/>
                </a:lnTo>
                <a:lnTo>
                  <a:pt x="192" y="536"/>
                </a:lnTo>
                <a:lnTo>
                  <a:pt x="186" y="534"/>
                </a:lnTo>
                <a:lnTo>
                  <a:pt x="180" y="528"/>
                </a:lnTo>
                <a:lnTo>
                  <a:pt x="180" y="528"/>
                </a:lnTo>
                <a:lnTo>
                  <a:pt x="168" y="514"/>
                </a:lnTo>
                <a:lnTo>
                  <a:pt x="158" y="494"/>
                </a:lnTo>
                <a:lnTo>
                  <a:pt x="148" y="474"/>
                </a:lnTo>
                <a:lnTo>
                  <a:pt x="142" y="456"/>
                </a:lnTo>
                <a:lnTo>
                  <a:pt x="142" y="456"/>
                </a:lnTo>
                <a:lnTo>
                  <a:pt x="152" y="454"/>
                </a:lnTo>
                <a:lnTo>
                  <a:pt x="152" y="454"/>
                </a:lnTo>
                <a:close/>
              </a:path>
            </a:pathLst>
          </a:custGeom>
          <a:solidFill>
            <a:srgbClr val="FE5817"/>
          </a:solidFill>
          <a:ln w="9525">
            <a:solidFill>
              <a:schemeClr val="bg1"/>
            </a:solidFill>
            <a:round/>
          </a:ln>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ru-RU"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a:sym typeface="Arial" panose="020B0604020202020204"/>
            </a:endParaRPr>
          </a:p>
        </p:txBody>
      </p:sp>
      <p:grpSp>
        <p:nvGrpSpPr>
          <p:cNvPr id="488" name="Group 262"/>
          <p:cNvGrpSpPr/>
          <p:nvPr/>
        </p:nvGrpSpPr>
        <p:grpSpPr>
          <a:xfrm>
            <a:off x="7802858" y="5385494"/>
            <a:ext cx="425792" cy="419598"/>
            <a:chOff x="4437063" y="3321051"/>
            <a:chExt cx="873125" cy="860424"/>
          </a:xfrm>
          <a:solidFill>
            <a:srgbClr val="FE5817"/>
          </a:solidFill>
          <a:effectLst/>
        </p:grpSpPr>
        <p:sp>
          <p:nvSpPr>
            <p:cNvPr id="489" name="Freeform 9"/>
            <p:cNvSpPr/>
            <p:nvPr/>
          </p:nvSpPr>
          <p:spPr bwMode="auto">
            <a:xfrm>
              <a:off x="4437063" y="3756025"/>
              <a:ext cx="581025" cy="425450"/>
            </a:xfrm>
            <a:custGeom>
              <a:avLst/>
              <a:gdLst>
                <a:gd name="T0" fmla="*/ 151 w 266"/>
                <a:gd name="T1" fmla="*/ 73 h 195"/>
                <a:gd name="T2" fmla="*/ 176 w 266"/>
                <a:gd name="T3" fmla="*/ 20 h 195"/>
                <a:gd name="T4" fmla="*/ 206 w 266"/>
                <a:gd name="T5" fmla="*/ 11 h 195"/>
                <a:gd name="T6" fmla="*/ 213 w 266"/>
                <a:gd name="T7" fmla="*/ 44 h 195"/>
                <a:gd name="T8" fmla="*/ 199 w 266"/>
                <a:gd name="T9" fmla="*/ 57 h 195"/>
                <a:gd name="T10" fmla="*/ 180 w 266"/>
                <a:gd name="T11" fmla="*/ 73 h 195"/>
                <a:gd name="T12" fmla="*/ 157 w 266"/>
                <a:gd name="T13" fmla="*/ 116 h 195"/>
                <a:gd name="T14" fmla="*/ 160 w 266"/>
                <a:gd name="T15" fmla="*/ 140 h 195"/>
                <a:gd name="T16" fmla="*/ 173 w 266"/>
                <a:gd name="T17" fmla="*/ 144 h 195"/>
                <a:gd name="T18" fmla="*/ 170 w 266"/>
                <a:gd name="T19" fmla="*/ 133 h 195"/>
                <a:gd name="T20" fmla="*/ 207 w 266"/>
                <a:gd name="T21" fmla="*/ 68 h 195"/>
                <a:gd name="T22" fmla="*/ 225 w 266"/>
                <a:gd name="T23" fmla="*/ 87 h 195"/>
                <a:gd name="T24" fmla="*/ 215 w 266"/>
                <a:gd name="T25" fmla="*/ 138 h 195"/>
                <a:gd name="T26" fmla="*/ 205 w 266"/>
                <a:gd name="T27" fmla="*/ 146 h 195"/>
                <a:gd name="T28" fmla="*/ 197 w 266"/>
                <a:gd name="T29" fmla="*/ 151 h 195"/>
                <a:gd name="T30" fmla="*/ 207 w 266"/>
                <a:gd name="T31" fmla="*/ 158 h 195"/>
                <a:gd name="T32" fmla="*/ 225 w 266"/>
                <a:gd name="T33" fmla="*/ 145 h 195"/>
                <a:gd name="T34" fmla="*/ 237 w 266"/>
                <a:gd name="T35" fmla="*/ 88 h 195"/>
                <a:gd name="T36" fmla="*/ 235 w 266"/>
                <a:gd name="T37" fmla="*/ 75 h 195"/>
                <a:gd name="T38" fmla="*/ 226 w 266"/>
                <a:gd name="T39" fmla="*/ 22 h 195"/>
                <a:gd name="T40" fmla="*/ 252 w 266"/>
                <a:gd name="T41" fmla="*/ 52 h 195"/>
                <a:gd name="T42" fmla="*/ 265 w 266"/>
                <a:gd name="T43" fmla="*/ 185 h 195"/>
                <a:gd name="T44" fmla="*/ 254 w 266"/>
                <a:gd name="T45" fmla="*/ 195 h 195"/>
                <a:gd name="T46" fmla="*/ 13 w 266"/>
                <a:gd name="T47" fmla="*/ 195 h 195"/>
                <a:gd name="T48" fmla="*/ 1 w 266"/>
                <a:gd name="T49" fmla="*/ 184 h 195"/>
                <a:gd name="T50" fmla="*/ 14 w 266"/>
                <a:gd name="T51" fmla="*/ 55 h 195"/>
                <a:gd name="T52" fmla="*/ 40 w 266"/>
                <a:gd name="T53" fmla="*/ 22 h 195"/>
                <a:gd name="T54" fmla="*/ 55 w 266"/>
                <a:gd name="T55" fmla="*/ 82 h 195"/>
                <a:gd name="T56" fmla="*/ 56 w 266"/>
                <a:gd name="T57" fmla="*/ 104 h 195"/>
                <a:gd name="T58" fmla="*/ 67 w 266"/>
                <a:gd name="T59" fmla="*/ 130 h 195"/>
                <a:gd name="T60" fmla="*/ 94 w 266"/>
                <a:gd name="T61" fmla="*/ 119 h 195"/>
                <a:gd name="T62" fmla="*/ 83 w 266"/>
                <a:gd name="T63" fmla="*/ 92 h 195"/>
                <a:gd name="T64" fmla="*/ 54 w 266"/>
                <a:gd name="T65" fmla="*/ 20 h 195"/>
                <a:gd name="T66" fmla="*/ 76 w 266"/>
                <a:gd name="T67" fmla="*/ 5 h 195"/>
                <a:gd name="T68" fmla="*/ 90 w 266"/>
                <a:gd name="T69" fmla="*/ 18 h 195"/>
                <a:gd name="T70" fmla="*/ 109 w 266"/>
                <a:gd name="T71" fmla="*/ 62 h 195"/>
                <a:gd name="T72" fmla="*/ 115 w 266"/>
                <a:gd name="T73" fmla="*/ 73 h 195"/>
                <a:gd name="T74" fmla="*/ 121 w 266"/>
                <a:gd name="T75" fmla="*/ 46 h 195"/>
                <a:gd name="T76" fmla="*/ 133 w 266"/>
                <a:gd name="T77" fmla="*/ 31 h 195"/>
                <a:gd name="T78" fmla="*/ 146 w 266"/>
                <a:gd name="T79" fmla="*/ 46 h 195"/>
                <a:gd name="T80" fmla="*/ 151 w 266"/>
                <a:gd name="T81" fmla="*/ 7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6" h="195">
                  <a:moveTo>
                    <a:pt x="151" y="73"/>
                  </a:moveTo>
                  <a:cubicBezTo>
                    <a:pt x="162" y="56"/>
                    <a:pt x="169" y="38"/>
                    <a:pt x="176" y="20"/>
                  </a:cubicBezTo>
                  <a:cubicBezTo>
                    <a:pt x="182" y="4"/>
                    <a:pt x="193" y="0"/>
                    <a:pt x="206" y="11"/>
                  </a:cubicBezTo>
                  <a:cubicBezTo>
                    <a:pt x="217" y="20"/>
                    <a:pt x="213" y="33"/>
                    <a:pt x="213" y="44"/>
                  </a:cubicBezTo>
                  <a:cubicBezTo>
                    <a:pt x="214" y="55"/>
                    <a:pt x="206" y="55"/>
                    <a:pt x="199" y="57"/>
                  </a:cubicBezTo>
                  <a:cubicBezTo>
                    <a:pt x="190" y="60"/>
                    <a:pt x="184" y="66"/>
                    <a:pt x="180" y="73"/>
                  </a:cubicBezTo>
                  <a:cubicBezTo>
                    <a:pt x="172" y="87"/>
                    <a:pt x="165" y="102"/>
                    <a:pt x="157" y="116"/>
                  </a:cubicBezTo>
                  <a:cubicBezTo>
                    <a:pt x="153" y="124"/>
                    <a:pt x="153" y="133"/>
                    <a:pt x="160" y="140"/>
                  </a:cubicBezTo>
                  <a:cubicBezTo>
                    <a:pt x="163" y="143"/>
                    <a:pt x="168" y="149"/>
                    <a:pt x="173" y="144"/>
                  </a:cubicBezTo>
                  <a:cubicBezTo>
                    <a:pt x="179" y="139"/>
                    <a:pt x="172" y="136"/>
                    <a:pt x="170" y="133"/>
                  </a:cubicBezTo>
                  <a:cubicBezTo>
                    <a:pt x="163" y="120"/>
                    <a:pt x="192" y="67"/>
                    <a:pt x="207" y="68"/>
                  </a:cubicBezTo>
                  <a:cubicBezTo>
                    <a:pt x="219" y="68"/>
                    <a:pt x="227" y="75"/>
                    <a:pt x="225" y="87"/>
                  </a:cubicBezTo>
                  <a:cubicBezTo>
                    <a:pt x="223" y="104"/>
                    <a:pt x="219" y="121"/>
                    <a:pt x="215" y="138"/>
                  </a:cubicBezTo>
                  <a:cubicBezTo>
                    <a:pt x="214" y="143"/>
                    <a:pt x="211" y="146"/>
                    <a:pt x="205" y="146"/>
                  </a:cubicBezTo>
                  <a:cubicBezTo>
                    <a:pt x="201" y="146"/>
                    <a:pt x="196" y="146"/>
                    <a:pt x="197" y="151"/>
                  </a:cubicBezTo>
                  <a:cubicBezTo>
                    <a:pt x="197" y="157"/>
                    <a:pt x="202" y="158"/>
                    <a:pt x="207" y="158"/>
                  </a:cubicBezTo>
                  <a:cubicBezTo>
                    <a:pt x="216" y="157"/>
                    <a:pt x="223" y="154"/>
                    <a:pt x="225" y="145"/>
                  </a:cubicBezTo>
                  <a:cubicBezTo>
                    <a:pt x="230" y="126"/>
                    <a:pt x="234" y="107"/>
                    <a:pt x="237" y="88"/>
                  </a:cubicBezTo>
                  <a:cubicBezTo>
                    <a:pt x="238" y="84"/>
                    <a:pt x="238" y="77"/>
                    <a:pt x="235" y="75"/>
                  </a:cubicBezTo>
                  <a:cubicBezTo>
                    <a:pt x="220" y="59"/>
                    <a:pt x="226" y="41"/>
                    <a:pt x="226" y="22"/>
                  </a:cubicBezTo>
                  <a:cubicBezTo>
                    <a:pt x="242" y="26"/>
                    <a:pt x="249" y="38"/>
                    <a:pt x="252" y="52"/>
                  </a:cubicBezTo>
                  <a:cubicBezTo>
                    <a:pt x="262" y="96"/>
                    <a:pt x="262" y="140"/>
                    <a:pt x="265" y="185"/>
                  </a:cubicBezTo>
                  <a:cubicBezTo>
                    <a:pt x="266" y="194"/>
                    <a:pt x="261" y="195"/>
                    <a:pt x="254" y="195"/>
                  </a:cubicBezTo>
                  <a:cubicBezTo>
                    <a:pt x="174" y="194"/>
                    <a:pt x="93" y="194"/>
                    <a:pt x="13" y="195"/>
                  </a:cubicBezTo>
                  <a:cubicBezTo>
                    <a:pt x="5" y="195"/>
                    <a:pt x="0" y="193"/>
                    <a:pt x="1" y="184"/>
                  </a:cubicBezTo>
                  <a:cubicBezTo>
                    <a:pt x="5" y="141"/>
                    <a:pt x="4" y="97"/>
                    <a:pt x="14" y="55"/>
                  </a:cubicBezTo>
                  <a:cubicBezTo>
                    <a:pt x="17" y="40"/>
                    <a:pt x="23" y="27"/>
                    <a:pt x="40" y="22"/>
                  </a:cubicBezTo>
                  <a:cubicBezTo>
                    <a:pt x="41" y="44"/>
                    <a:pt x="47" y="63"/>
                    <a:pt x="55" y="82"/>
                  </a:cubicBezTo>
                  <a:cubicBezTo>
                    <a:pt x="59" y="90"/>
                    <a:pt x="60" y="96"/>
                    <a:pt x="56" y="104"/>
                  </a:cubicBezTo>
                  <a:cubicBezTo>
                    <a:pt x="50" y="116"/>
                    <a:pt x="56" y="126"/>
                    <a:pt x="67" y="130"/>
                  </a:cubicBezTo>
                  <a:cubicBezTo>
                    <a:pt x="78" y="134"/>
                    <a:pt x="89" y="131"/>
                    <a:pt x="94" y="119"/>
                  </a:cubicBezTo>
                  <a:cubicBezTo>
                    <a:pt x="98" y="107"/>
                    <a:pt x="94" y="98"/>
                    <a:pt x="83" y="92"/>
                  </a:cubicBezTo>
                  <a:cubicBezTo>
                    <a:pt x="66" y="83"/>
                    <a:pt x="48" y="38"/>
                    <a:pt x="54" y="20"/>
                  </a:cubicBezTo>
                  <a:cubicBezTo>
                    <a:pt x="57" y="9"/>
                    <a:pt x="66" y="7"/>
                    <a:pt x="76" y="5"/>
                  </a:cubicBezTo>
                  <a:cubicBezTo>
                    <a:pt x="85" y="3"/>
                    <a:pt x="87" y="11"/>
                    <a:pt x="90" y="18"/>
                  </a:cubicBezTo>
                  <a:cubicBezTo>
                    <a:pt x="96" y="33"/>
                    <a:pt x="103" y="47"/>
                    <a:pt x="109" y="62"/>
                  </a:cubicBezTo>
                  <a:cubicBezTo>
                    <a:pt x="111" y="65"/>
                    <a:pt x="113" y="69"/>
                    <a:pt x="115" y="73"/>
                  </a:cubicBezTo>
                  <a:cubicBezTo>
                    <a:pt x="121" y="64"/>
                    <a:pt x="123" y="55"/>
                    <a:pt x="121" y="46"/>
                  </a:cubicBezTo>
                  <a:cubicBezTo>
                    <a:pt x="117" y="33"/>
                    <a:pt x="127" y="30"/>
                    <a:pt x="133" y="31"/>
                  </a:cubicBezTo>
                  <a:cubicBezTo>
                    <a:pt x="139" y="31"/>
                    <a:pt x="150" y="34"/>
                    <a:pt x="146" y="46"/>
                  </a:cubicBezTo>
                  <a:cubicBezTo>
                    <a:pt x="142" y="55"/>
                    <a:pt x="146" y="64"/>
                    <a:pt x="151"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90" name="Freeform 10"/>
            <p:cNvSpPr/>
            <p:nvPr/>
          </p:nvSpPr>
          <p:spPr bwMode="auto">
            <a:xfrm>
              <a:off x="4938713" y="3743325"/>
              <a:ext cx="371475" cy="322262"/>
            </a:xfrm>
            <a:custGeom>
              <a:avLst/>
              <a:gdLst>
                <a:gd name="T0" fmla="*/ 0 w 170"/>
                <a:gd name="T1" fmla="*/ 14 h 148"/>
                <a:gd name="T2" fmla="*/ 42 w 170"/>
                <a:gd name="T3" fmla="*/ 23 h 148"/>
                <a:gd name="T4" fmla="*/ 85 w 170"/>
                <a:gd name="T5" fmla="*/ 23 h 148"/>
                <a:gd name="T6" fmla="*/ 115 w 170"/>
                <a:gd name="T7" fmla="*/ 13 h 148"/>
                <a:gd name="T8" fmla="*/ 164 w 170"/>
                <a:gd name="T9" fmla="*/ 82 h 148"/>
                <a:gd name="T10" fmla="*/ 168 w 170"/>
                <a:gd name="T11" fmla="*/ 123 h 148"/>
                <a:gd name="T12" fmla="*/ 144 w 170"/>
                <a:gd name="T13" fmla="*/ 148 h 148"/>
                <a:gd name="T14" fmla="*/ 58 w 170"/>
                <a:gd name="T15" fmla="*/ 148 h 148"/>
                <a:gd name="T16" fmla="*/ 43 w 170"/>
                <a:gd name="T17" fmla="*/ 133 h 148"/>
                <a:gd name="T18" fmla="*/ 39 w 170"/>
                <a:gd name="T19" fmla="*/ 86 h 148"/>
                <a:gd name="T20" fmla="*/ 0 w 170"/>
                <a:gd name="T21" fmla="*/ 1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148">
                  <a:moveTo>
                    <a:pt x="0" y="14"/>
                  </a:moveTo>
                  <a:cubicBezTo>
                    <a:pt x="19" y="7"/>
                    <a:pt x="31" y="0"/>
                    <a:pt x="42" y="23"/>
                  </a:cubicBezTo>
                  <a:cubicBezTo>
                    <a:pt x="55" y="52"/>
                    <a:pt x="71" y="51"/>
                    <a:pt x="85" y="23"/>
                  </a:cubicBezTo>
                  <a:cubicBezTo>
                    <a:pt x="94" y="6"/>
                    <a:pt x="101" y="8"/>
                    <a:pt x="115" y="13"/>
                  </a:cubicBezTo>
                  <a:cubicBezTo>
                    <a:pt x="148" y="25"/>
                    <a:pt x="165" y="46"/>
                    <a:pt x="164" y="82"/>
                  </a:cubicBezTo>
                  <a:cubicBezTo>
                    <a:pt x="164" y="96"/>
                    <a:pt x="167" y="110"/>
                    <a:pt x="168" y="123"/>
                  </a:cubicBezTo>
                  <a:cubicBezTo>
                    <a:pt x="170" y="148"/>
                    <a:pt x="170" y="148"/>
                    <a:pt x="144" y="148"/>
                  </a:cubicBezTo>
                  <a:cubicBezTo>
                    <a:pt x="116" y="148"/>
                    <a:pt x="87" y="147"/>
                    <a:pt x="58" y="148"/>
                  </a:cubicBezTo>
                  <a:cubicBezTo>
                    <a:pt x="47" y="148"/>
                    <a:pt x="43" y="145"/>
                    <a:pt x="43" y="133"/>
                  </a:cubicBezTo>
                  <a:cubicBezTo>
                    <a:pt x="43" y="117"/>
                    <a:pt x="41" y="102"/>
                    <a:pt x="39" y="86"/>
                  </a:cubicBezTo>
                  <a:cubicBezTo>
                    <a:pt x="36" y="57"/>
                    <a:pt x="31" y="30"/>
                    <a:pt x="0"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91" name="Freeform 11"/>
            <p:cNvSpPr/>
            <p:nvPr/>
          </p:nvSpPr>
          <p:spPr bwMode="auto">
            <a:xfrm>
              <a:off x="4548188" y="3321051"/>
              <a:ext cx="360363" cy="450850"/>
            </a:xfrm>
            <a:custGeom>
              <a:avLst/>
              <a:gdLst>
                <a:gd name="T0" fmla="*/ 155 w 165"/>
                <a:gd name="T1" fmla="*/ 80 h 207"/>
                <a:gd name="T2" fmla="*/ 160 w 165"/>
                <a:gd name="T3" fmla="*/ 110 h 207"/>
                <a:gd name="T4" fmla="*/ 157 w 165"/>
                <a:gd name="T5" fmla="*/ 130 h 207"/>
                <a:gd name="T6" fmla="*/ 126 w 165"/>
                <a:gd name="T7" fmla="*/ 171 h 207"/>
                <a:gd name="T8" fmla="*/ 40 w 165"/>
                <a:gd name="T9" fmla="*/ 173 h 207"/>
                <a:gd name="T10" fmla="*/ 7 w 165"/>
                <a:gd name="T11" fmla="*/ 129 h 207"/>
                <a:gd name="T12" fmla="*/ 3 w 165"/>
                <a:gd name="T13" fmla="*/ 114 h 207"/>
                <a:gd name="T14" fmla="*/ 8 w 165"/>
                <a:gd name="T15" fmla="*/ 69 h 207"/>
                <a:gd name="T16" fmla="*/ 57 w 165"/>
                <a:gd name="T17" fmla="*/ 12 h 207"/>
                <a:gd name="T18" fmla="*/ 126 w 165"/>
                <a:gd name="T19" fmla="*/ 22 h 207"/>
                <a:gd name="T20" fmla="*/ 155 w 165"/>
                <a:gd name="T21" fmla="*/ 8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207">
                  <a:moveTo>
                    <a:pt x="155" y="80"/>
                  </a:moveTo>
                  <a:cubicBezTo>
                    <a:pt x="155" y="92"/>
                    <a:pt x="152" y="101"/>
                    <a:pt x="160" y="110"/>
                  </a:cubicBezTo>
                  <a:cubicBezTo>
                    <a:pt x="165" y="115"/>
                    <a:pt x="163" y="125"/>
                    <a:pt x="157" y="130"/>
                  </a:cubicBezTo>
                  <a:cubicBezTo>
                    <a:pt x="143" y="141"/>
                    <a:pt x="136" y="157"/>
                    <a:pt x="126" y="171"/>
                  </a:cubicBezTo>
                  <a:cubicBezTo>
                    <a:pt x="100" y="206"/>
                    <a:pt x="67" y="207"/>
                    <a:pt x="40" y="173"/>
                  </a:cubicBezTo>
                  <a:cubicBezTo>
                    <a:pt x="29" y="159"/>
                    <a:pt x="22" y="141"/>
                    <a:pt x="7" y="129"/>
                  </a:cubicBezTo>
                  <a:cubicBezTo>
                    <a:pt x="3" y="125"/>
                    <a:pt x="0" y="118"/>
                    <a:pt x="3" y="114"/>
                  </a:cubicBezTo>
                  <a:cubicBezTo>
                    <a:pt x="15" y="100"/>
                    <a:pt x="6" y="84"/>
                    <a:pt x="8" y="69"/>
                  </a:cubicBezTo>
                  <a:cubicBezTo>
                    <a:pt x="12" y="40"/>
                    <a:pt x="34" y="23"/>
                    <a:pt x="57" y="12"/>
                  </a:cubicBezTo>
                  <a:cubicBezTo>
                    <a:pt x="80" y="0"/>
                    <a:pt x="107" y="3"/>
                    <a:pt x="126" y="22"/>
                  </a:cubicBezTo>
                  <a:cubicBezTo>
                    <a:pt x="142" y="38"/>
                    <a:pt x="160" y="55"/>
                    <a:pt x="155" y="8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92" name="Freeform 12"/>
            <p:cNvSpPr/>
            <p:nvPr/>
          </p:nvSpPr>
          <p:spPr bwMode="auto">
            <a:xfrm>
              <a:off x="4954588" y="3414713"/>
              <a:ext cx="252413" cy="325437"/>
            </a:xfrm>
            <a:custGeom>
              <a:avLst/>
              <a:gdLst>
                <a:gd name="T0" fmla="*/ 74 w 116"/>
                <a:gd name="T1" fmla="*/ 61 h 149"/>
                <a:gd name="T2" fmla="*/ 50 w 116"/>
                <a:gd name="T3" fmla="*/ 79 h 149"/>
                <a:gd name="T4" fmla="*/ 51 w 116"/>
                <a:gd name="T5" fmla="*/ 63 h 149"/>
                <a:gd name="T6" fmla="*/ 50 w 116"/>
                <a:gd name="T7" fmla="*/ 62 h 149"/>
                <a:gd name="T8" fmla="*/ 21 w 116"/>
                <a:gd name="T9" fmla="*/ 98 h 149"/>
                <a:gd name="T10" fmla="*/ 36 w 116"/>
                <a:gd name="T11" fmla="*/ 134 h 149"/>
                <a:gd name="T12" fmla="*/ 30 w 116"/>
                <a:gd name="T13" fmla="*/ 145 h 149"/>
                <a:gd name="T14" fmla="*/ 10 w 116"/>
                <a:gd name="T15" fmla="*/ 143 h 149"/>
                <a:gd name="T16" fmla="*/ 0 w 116"/>
                <a:gd name="T17" fmla="*/ 130 h 149"/>
                <a:gd name="T18" fmla="*/ 0 w 116"/>
                <a:gd name="T19" fmla="*/ 77 h 149"/>
                <a:gd name="T20" fmla="*/ 10 w 116"/>
                <a:gd name="T21" fmla="*/ 43 h 149"/>
                <a:gd name="T22" fmla="*/ 16 w 116"/>
                <a:gd name="T23" fmla="*/ 33 h 149"/>
                <a:gd name="T24" fmla="*/ 20 w 116"/>
                <a:gd name="T25" fmla="*/ 9 h 149"/>
                <a:gd name="T26" fmla="*/ 58 w 116"/>
                <a:gd name="T27" fmla="*/ 0 h 149"/>
                <a:gd name="T28" fmla="*/ 91 w 116"/>
                <a:gd name="T29" fmla="*/ 7 h 149"/>
                <a:gd name="T30" fmla="*/ 99 w 116"/>
                <a:gd name="T31" fmla="*/ 15 h 149"/>
                <a:gd name="T32" fmla="*/ 114 w 116"/>
                <a:gd name="T33" fmla="*/ 127 h 149"/>
                <a:gd name="T34" fmla="*/ 98 w 116"/>
                <a:gd name="T35" fmla="*/ 143 h 149"/>
                <a:gd name="T36" fmla="*/ 96 w 116"/>
                <a:gd name="T37" fmla="*/ 143 h 149"/>
                <a:gd name="T38" fmla="*/ 74 w 116"/>
                <a:gd name="T39" fmla="*/ 143 h 149"/>
                <a:gd name="T40" fmla="*/ 83 w 116"/>
                <a:gd name="T41" fmla="*/ 125 h 149"/>
                <a:gd name="T42" fmla="*/ 74 w 116"/>
                <a:gd name="T43" fmla="*/ 6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6" h="149">
                  <a:moveTo>
                    <a:pt x="74" y="61"/>
                  </a:moveTo>
                  <a:cubicBezTo>
                    <a:pt x="66" y="67"/>
                    <a:pt x="60" y="76"/>
                    <a:pt x="50" y="79"/>
                  </a:cubicBezTo>
                  <a:cubicBezTo>
                    <a:pt x="44" y="73"/>
                    <a:pt x="54" y="68"/>
                    <a:pt x="51" y="63"/>
                  </a:cubicBezTo>
                  <a:cubicBezTo>
                    <a:pt x="51" y="62"/>
                    <a:pt x="50" y="62"/>
                    <a:pt x="50" y="62"/>
                  </a:cubicBezTo>
                  <a:cubicBezTo>
                    <a:pt x="45" y="61"/>
                    <a:pt x="20" y="92"/>
                    <a:pt x="21" y="98"/>
                  </a:cubicBezTo>
                  <a:cubicBezTo>
                    <a:pt x="23" y="111"/>
                    <a:pt x="28" y="123"/>
                    <a:pt x="36" y="134"/>
                  </a:cubicBezTo>
                  <a:cubicBezTo>
                    <a:pt x="44" y="143"/>
                    <a:pt x="39" y="146"/>
                    <a:pt x="30" y="145"/>
                  </a:cubicBezTo>
                  <a:cubicBezTo>
                    <a:pt x="23" y="145"/>
                    <a:pt x="17" y="143"/>
                    <a:pt x="10" y="143"/>
                  </a:cubicBezTo>
                  <a:cubicBezTo>
                    <a:pt x="1" y="143"/>
                    <a:pt x="0" y="139"/>
                    <a:pt x="0" y="130"/>
                  </a:cubicBezTo>
                  <a:cubicBezTo>
                    <a:pt x="1" y="113"/>
                    <a:pt x="1" y="95"/>
                    <a:pt x="0" y="77"/>
                  </a:cubicBezTo>
                  <a:cubicBezTo>
                    <a:pt x="0" y="64"/>
                    <a:pt x="3" y="53"/>
                    <a:pt x="10" y="43"/>
                  </a:cubicBezTo>
                  <a:cubicBezTo>
                    <a:pt x="12" y="39"/>
                    <a:pt x="15" y="36"/>
                    <a:pt x="16" y="33"/>
                  </a:cubicBezTo>
                  <a:cubicBezTo>
                    <a:pt x="18" y="25"/>
                    <a:pt x="10" y="13"/>
                    <a:pt x="20" y="9"/>
                  </a:cubicBezTo>
                  <a:cubicBezTo>
                    <a:pt x="31" y="3"/>
                    <a:pt x="45" y="1"/>
                    <a:pt x="58" y="0"/>
                  </a:cubicBezTo>
                  <a:cubicBezTo>
                    <a:pt x="69" y="0"/>
                    <a:pt x="80" y="5"/>
                    <a:pt x="91" y="7"/>
                  </a:cubicBezTo>
                  <a:cubicBezTo>
                    <a:pt x="96" y="8"/>
                    <a:pt x="98" y="11"/>
                    <a:pt x="99" y="15"/>
                  </a:cubicBezTo>
                  <a:cubicBezTo>
                    <a:pt x="106" y="52"/>
                    <a:pt x="116" y="88"/>
                    <a:pt x="114" y="127"/>
                  </a:cubicBezTo>
                  <a:cubicBezTo>
                    <a:pt x="113" y="141"/>
                    <a:pt x="109" y="143"/>
                    <a:pt x="98" y="143"/>
                  </a:cubicBezTo>
                  <a:cubicBezTo>
                    <a:pt x="97" y="143"/>
                    <a:pt x="97" y="144"/>
                    <a:pt x="96" y="143"/>
                  </a:cubicBezTo>
                  <a:cubicBezTo>
                    <a:pt x="88" y="143"/>
                    <a:pt x="78" y="149"/>
                    <a:pt x="74" y="143"/>
                  </a:cubicBezTo>
                  <a:cubicBezTo>
                    <a:pt x="69" y="135"/>
                    <a:pt x="80" y="131"/>
                    <a:pt x="83" y="125"/>
                  </a:cubicBezTo>
                  <a:cubicBezTo>
                    <a:pt x="99" y="97"/>
                    <a:pt x="98" y="87"/>
                    <a:pt x="74" y="6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grpSp>
        <p:nvGrpSpPr>
          <p:cNvPr id="493" name="Group 41"/>
          <p:cNvGrpSpPr/>
          <p:nvPr/>
        </p:nvGrpSpPr>
        <p:grpSpPr>
          <a:xfrm>
            <a:off x="3808314" y="5429729"/>
            <a:ext cx="354896" cy="363226"/>
            <a:chOff x="8490446" y="2863292"/>
            <a:chExt cx="533400" cy="489065"/>
          </a:xfrm>
          <a:solidFill>
            <a:srgbClr val="FE5817"/>
          </a:solidFill>
          <a:effectLst/>
        </p:grpSpPr>
        <p:sp>
          <p:nvSpPr>
            <p:cNvPr id="494" name="Freeform 17"/>
            <p:cNvSpPr>
              <a:spLocks noEditPoints="1"/>
            </p:cNvSpPr>
            <p:nvPr/>
          </p:nvSpPr>
          <p:spPr bwMode="auto">
            <a:xfrm>
              <a:off x="8838552" y="2863292"/>
              <a:ext cx="185294" cy="489065"/>
            </a:xfrm>
            <a:custGeom>
              <a:avLst/>
              <a:gdLst/>
              <a:ahLst/>
              <a:cxnLst>
                <a:cxn ang="0">
                  <a:pos x="0" y="0"/>
                </a:cxn>
                <a:cxn ang="0">
                  <a:pos x="26" y="77"/>
                </a:cxn>
                <a:cxn ang="0">
                  <a:pos x="19" y="37"/>
                </a:cxn>
                <a:cxn ang="0">
                  <a:pos x="15" y="36"/>
                </a:cxn>
                <a:cxn ang="0">
                  <a:pos x="14" y="36"/>
                </a:cxn>
                <a:cxn ang="0">
                  <a:pos x="13" y="39"/>
                </a:cxn>
                <a:cxn ang="0">
                  <a:pos x="14" y="37"/>
                </a:cxn>
                <a:cxn ang="0">
                  <a:pos x="16" y="38"/>
                </a:cxn>
                <a:cxn ang="0">
                  <a:pos x="16" y="40"/>
                </a:cxn>
                <a:cxn ang="0">
                  <a:pos x="16" y="41"/>
                </a:cxn>
                <a:cxn ang="0">
                  <a:pos x="15" y="42"/>
                </a:cxn>
                <a:cxn ang="0">
                  <a:pos x="15" y="43"/>
                </a:cxn>
                <a:cxn ang="0">
                  <a:pos x="14" y="44"/>
                </a:cxn>
                <a:cxn ang="0">
                  <a:pos x="13" y="46"/>
                </a:cxn>
                <a:cxn ang="0">
                  <a:pos x="13" y="45"/>
                </a:cxn>
                <a:cxn ang="0">
                  <a:pos x="12" y="44"/>
                </a:cxn>
                <a:cxn ang="0">
                  <a:pos x="12" y="43"/>
                </a:cxn>
                <a:cxn ang="0">
                  <a:pos x="12" y="42"/>
                </a:cxn>
                <a:cxn ang="0">
                  <a:pos x="12" y="40"/>
                </a:cxn>
                <a:cxn ang="0">
                  <a:pos x="12" y="39"/>
                </a:cxn>
                <a:cxn ang="0">
                  <a:pos x="12" y="37"/>
                </a:cxn>
                <a:cxn ang="0">
                  <a:pos x="10" y="38"/>
                </a:cxn>
                <a:cxn ang="0">
                  <a:pos x="12" y="36"/>
                </a:cxn>
                <a:cxn ang="0">
                  <a:pos x="12" y="36"/>
                </a:cxn>
                <a:cxn ang="0">
                  <a:pos x="11" y="37"/>
                </a:cxn>
                <a:cxn ang="0">
                  <a:pos x="3" y="34"/>
                </a:cxn>
                <a:cxn ang="0">
                  <a:pos x="11" y="34"/>
                </a:cxn>
                <a:cxn ang="0">
                  <a:pos x="12" y="34"/>
                </a:cxn>
                <a:cxn ang="0">
                  <a:pos x="10" y="32"/>
                </a:cxn>
                <a:cxn ang="0">
                  <a:pos x="15" y="32"/>
                </a:cxn>
                <a:cxn ang="0">
                  <a:pos x="14" y="34"/>
                </a:cxn>
                <a:cxn ang="0">
                  <a:pos x="15" y="34"/>
                </a:cxn>
                <a:cxn ang="0">
                  <a:pos x="23" y="34"/>
                </a:cxn>
                <a:cxn ang="0">
                  <a:pos x="13" y="26"/>
                </a:cxn>
                <a:cxn ang="0">
                  <a:pos x="13" y="4"/>
                </a:cxn>
                <a:cxn ang="0">
                  <a:pos x="13" y="26"/>
                </a:cxn>
              </a:cxnLst>
              <a:rect l="0" t="0" r="r" b="b"/>
              <a:pathLst>
                <a:path w="26" h="77">
                  <a:moveTo>
                    <a:pt x="26" y="0"/>
                  </a:moveTo>
                  <a:cubicBezTo>
                    <a:pt x="0" y="0"/>
                    <a:pt x="0" y="0"/>
                    <a:pt x="0" y="0"/>
                  </a:cubicBezTo>
                  <a:cubicBezTo>
                    <a:pt x="0" y="77"/>
                    <a:pt x="0" y="77"/>
                    <a:pt x="0" y="77"/>
                  </a:cubicBezTo>
                  <a:cubicBezTo>
                    <a:pt x="26" y="77"/>
                    <a:pt x="26" y="77"/>
                    <a:pt x="26" y="77"/>
                  </a:cubicBezTo>
                  <a:lnTo>
                    <a:pt x="26" y="0"/>
                  </a:lnTo>
                  <a:close/>
                  <a:moveTo>
                    <a:pt x="19" y="37"/>
                  </a:moveTo>
                  <a:cubicBezTo>
                    <a:pt x="19" y="37"/>
                    <a:pt x="17" y="38"/>
                    <a:pt x="15" y="37"/>
                  </a:cubicBezTo>
                  <a:cubicBezTo>
                    <a:pt x="15" y="36"/>
                    <a:pt x="15" y="36"/>
                    <a:pt x="15" y="36"/>
                  </a:cubicBezTo>
                  <a:cubicBezTo>
                    <a:pt x="14" y="36"/>
                    <a:pt x="14" y="36"/>
                    <a:pt x="14" y="36"/>
                  </a:cubicBezTo>
                  <a:cubicBezTo>
                    <a:pt x="14" y="36"/>
                    <a:pt x="14" y="36"/>
                    <a:pt x="14" y="36"/>
                  </a:cubicBezTo>
                  <a:cubicBezTo>
                    <a:pt x="13" y="36"/>
                    <a:pt x="13" y="36"/>
                    <a:pt x="13" y="36"/>
                  </a:cubicBezTo>
                  <a:cubicBezTo>
                    <a:pt x="13" y="39"/>
                    <a:pt x="13" y="39"/>
                    <a:pt x="13" y="39"/>
                  </a:cubicBezTo>
                  <a:cubicBezTo>
                    <a:pt x="15" y="39"/>
                    <a:pt x="16" y="38"/>
                    <a:pt x="16" y="38"/>
                  </a:cubicBezTo>
                  <a:cubicBezTo>
                    <a:pt x="16" y="38"/>
                    <a:pt x="15" y="37"/>
                    <a:pt x="14" y="37"/>
                  </a:cubicBezTo>
                  <a:cubicBezTo>
                    <a:pt x="14" y="37"/>
                    <a:pt x="14" y="37"/>
                    <a:pt x="14" y="37"/>
                  </a:cubicBezTo>
                  <a:cubicBezTo>
                    <a:pt x="15" y="37"/>
                    <a:pt x="16" y="38"/>
                    <a:pt x="16" y="38"/>
                  </a:cubicBezTo>
                  <a:cubicBezTo>
                    <a:pt x="16" y="38"/>
                    <a:pt x="15" y="39"/>
                    <a:pt x="14" y="39"/>
                  </a:cubicBezTo>
                  <a:cubicBezTo>
                    <a:pt x="15" y="39"/>
                    <a:pt x="16" y="39"/>
                    <a:pt x="16" y="40"/>
                  </a:cubicBezTo>
                  <a:cubicBezTo>
                    <a:pt x="16" y="40"/>
                    <a:pt x="15" y="40"/>
                    <a:pt x="14" y="40"/>
                  </a:cubicBezTo>
                  <a:cubicBezTo>
                    <a:pt x="15" y="41"/>
                    <a:pt x="16" y="41"/>
                    <a:pt x="16" y="41"/>
                  </a:cubicBezTo>
                  <a:cubicBezTo>
                    <a:pt x="16" y="41"/>
                    <a:pt x="15" y="42"/>
                    <a:pt x="14" y="42"/>
                  </a:cubicBezTo>
                  <a:cubicBezTo>
                    <a:pt x="15" y="42"/>
                    <a:pt x="15" y="42"/>
                    <a:pt x="15" y="42"/>
                  </a:cubicBezTo>
                  <a:cubicBezTo>
                    <a:pt x="15" y="43"/>
                    <a:pt x="15" y="43"/>
                    <a:pt x="14" y="43"/>
                  </a:cubicBezTo>
                  <a:cubicBezTo>
                    <a:pt x="14" y="43"/>
                    <a:pt x="15" y="43"/>
                    <a:pt x="15" y="43"/>
                  </a:cubicBezTo>
                  <a:cubicBezTo>
                    <a:pt x="15" y="44"/>
                    <a:pt x="14" y="44"/>
                    <a:pt x="14" y="44"/>
                  </a:cubicBezTo>
                  <a:cubicBezTo>
                    <a:pt x="14" y="44"/>
                    <a:pt x="14" y="44"/>
                    <a:pt x="14" y="44"/>
                  </a:cubicBezTo>
                  <a:cubicBezTo>
                    <a:pt x="14" y="44"/>
                    <a:pt x="14" y="45"/>
                    <a:pt x="13" y="45"/>
                  </a:cubicBezTo>
                  <a:cubicBezTo>
                    <a:pt x="13" y="46"/>
                    <a:pt x="13" y="46"/>
                    <a:pt x="13" y="46"/>
                  </a:cubicBezTo>
                  <a:cubicBezTo>
                    <a:pt x="13" y="46"/>
                    <a:pt x="13" y="46"/>
                    <a:pt x="13" y="46"/>
                  </a:cubicBezTo>
                  <a:cubicBezTo>
                    <a:pt x="13" y="45"/>
                    <a:pt x="13" y="45"/>
                    <a:pt x="13" y="45"/>
                  </a:cubicBezTo>
                  <a:cubicBezTo>
                    <a:pt x="12" y="45"/>
                    <a:pt x="11" y="44"/>
                    <a:pt x="11" y="44"/>
                  </a:cubicBezTo>
                  <a:cubicBezTo>
                    <a:pt x="11" y="44"/>
                    <a:pt x="12" y="44"/>
                    <a:pt x="12" y="44"/>
                  </a:cubicBezTo>
                  <a:cubicBezTo>
                    <a:pt x="12" y="44"/>
                    <a:pt x="11" y="44"/>
                    <a:pt x="11" y="43"/>
                  </a:cubicBezTo>
                  <a:cubicBezTo>
                    <a:pt x="11" y="43"/>
                    <a:pt x="11" y="43"/>
                    <a:pt x="12" y="43"/>
                  </a:cubicBezTo>
                  <a:cubicBezTo>
                    <a:pt x="11" y="43"/>
                    <a:pt x="11" y="43"/>
                    <a:pt x="11" y="42"/>
                  </a:cubicBezTo>
                  <a:cubicBezTo>
                    <a:pt x="11" y="42"/>
                    <a:pt x="11" y="42"/>
                    <a:pt x="12" y="42"/>
                  </a:cubicBezTo>
                  <a:cubicBezTo>
                    <a:pt x="11" y="42"/>
                    <a:pt x="10" y="41"/>
                    <a:pt x="10" y="41"/>
                  </a:cubicBezTo>
                  <a:cubicBezTo>
                    <a:pt x="10" y="41"/>
                    <a:pt x="11" y="40"/>
                    <a:pt x="12" y="40"/>
                  </a:cubicBezTo>
                  <a:cubicBezTo>
                    <a:pt x="11" y="40"/>
                    <a:pt x="10" y="40"/>
                    <a:pt x="10" y="40"/>
                  </a:cubicBezTo>
                  <a:cubicBezTo>
                    <a:pt x="10" y="39"/>
                    <a:pt x="11" y="39"/>
                    <a:pt x="12" y="39"/>
                  </a:cubicBezTo>
                  <a:cubicBezTo>
                    <a:pt x="10" y="39"/>
                    <a:pt x="10" y="38"/>
                    <a:pt x="10" y="38"/>
                  </a:cubicBezTo>
                  <a:cubicBezTo>
                    <a:pt x="10" y="38"/>
                    <a:pt x="11" y="37"/>
                    <a:pt x="12" y="37"/>
                  </a:cubicBezTo>
                  <a:cubicBezTo>
                    <a:pt x="12" y="37"/>
                    <a:pt x="12" y="37"/>
                    <a:pt x="12" y="37"/>
                  </a:cubicBezTo>
                  <a:cubicBezTo>
                    <a:pt x="11" y="37"/>
                    <a:pt x="10" y="38"/>
                    <a:pt x="10" y="38"/>
                  </a:cubicBezTo>
                  <a:cubicBezTo>
                    <a:pt x="10" y="38"/>
                    <a:pt x="11" y="39"/>
                    <a:pt x="12" y="39"/>
                  </a:cubicBezTo>
                  <a:cubicBezTo>
                    <a:pt x="12" y="36"/>
                    <a:pt x="12" y="36"/>
                    <a:pt x="12" y="36"/>
                  </a:cubicBezTo>
                  <a:cubicBezTo>
                    <a:pt x="12" y="36"/>
                    <a:pt x="12" y="36"/>
                    <a:pt x="12" y="36"/>
                  </a:cubicBezTo>
                  <a:cubicBezTo>
                    <a:pt x="12" y="36"/>
                    <a:pt x="12" y="36"/>
                    <a:pt x="12" y="36"/>
                  </a:cubicBezTo>
                  <a:cubicBezTo>
                    <a:pt x="11" y="36"/>
                    <a:pt x="11" y="36"/>
                    <a:pt x="11" y="36"/>
                  </a:cubicBezTo>
                  <a:cubicBezTo>
                    <a:pt x="11" y="37"/>
                    <a:pt x="11" y="37"/>
                    <a:pt x="11" y="37"/>
                  </a:cubicBezTo>
                  <a:cubicBezTo>
                    <a:pt x="9" y="38"/>
                    <a:pt x="7" y="37"/>
                    <a:pt x="7" y="37"/>
                  </a:cubicBezTo>
                  <a:cubicBezTo>
                    <a:pt x="3" y="37"/>
                    <a:pt x="3" y="34"/>
                    <a:pt x="3" y="34"/>
                  </a:cubicBezTo>
                  <a:cubicBezTo>
                    <a:pt x="4" y="35"/>
                    <a:pt x="6" y="34"/>
                    <a:pt x="6" y="34"/>
                  </a:cubicBezTo>
                  <a:cubicBezTo>
                    <a:pt x="8" y="31"/>
                    <a:pt x="11" y="34"/>
                    <a:pt x="11" y="34"/>
                  </a:cubicBezTo>
                  <a:cubicBezTo>
                    <a:pt x="11" y="34"/>
                    <a:pt x="11" y="34"/>
                    <a:pt x="11" y="34"/>
                  </a:cubicBezTo>
                  <a:cubicBezTo>
                    <a:pt x="12" y="34"/>
                    <a:pt x="12" y="34"/>
                    <a:pt x="12" y="34"/>
                  </a:cubicBezTo>
                  <a:cubicBezTo>
                    <a:pt x="12" y="34"/>
                    <a:pt x="12" y="34"/>
                    <a:pt x="12" y="34"/>
                  </a:cubicBezTo>
                  <a:cubicBezTo>
                    <a:pt x="11" y="33"/>
                    <a:pt x="10" y="33"/>
                    <a:pt x="10" y="32"/>
                  </a:cubicBezTo>
                  <a:cubicBezTo>
                    <a:pt x="10" y="30"/>
                    <a:pt x="12" y="29"/>
                    <a:pt x="13" y="29"/>
                  </a:cubicBezTo>
                  <a:cubicBezTo>
                    <a:pt x="14" y="29"/>
                    <a:pt x="15" y="30"/>
                    <a:pt x="15" y="32"/>
                  </a:cubicBezTo>
                  <a:cubicBezTo>
                    <a:pt x="15" y="33"/>
                    <a:pt x="15" y="34"/>
                    <a:pt x="14" y="34"/>
                  </a:cubicBezTo>
                  <a:cubicBezTo>
                    <a:pt x="14" y="34"/>
                    <a:pt x="14" y="34"/>
                    <a:pt x="14" y="34"/>
                  </a:cubicBezTo>
                  <a:cubicBezTo>
                    <a:pt x="15" y="34"/>
                    <a:pt x="15" y="34"/>
                    <a:pt x="15" y="34"/>
                  </a:cubicBezTo>
                  <a:cubicBezTo>
                    <a:pt x="15" y="34"/>
                    <a:pt x="15" y="34"/>
                    <a:pt x="15" y="34"/>
                  </a:cubicBezTo>
                  <a:cubicBezTo>
                    <a:pt x="15" y="34"/>
                    <a:pt x="17" y="31"/>
                    <a:pt x="20" y="34"/>
                  </a:cubicBezTo>
                  <a:cubicBezTo>
                    <a:pt x="20" y="34"/>
                    <a:pt x="22" y="35"/>
                    <a:pt x="23" y="34"/>
                  </a:cubicBezTo>
                  <a:cubicBezTo>
                    <a:pt x="23" y="34"/>
                    <a:pt x="23" y="37"/>
                    <a:pt x="19" y="37"/>
                  </a:cubicBezTo>
                  <a:close/>
                  <a:moveTo>
                    <a:pt x="13" y="26"/>
                  </a:moveTo>
                  <a:cubicBezTo>
                    <a:pt x="7" y="26"/>
                    <a:pt x="2" y="21"/>
                    <a:pt x="2" y="15"/>
                  </a:cubicBezTo>
                  <a:cubicBezTo>
                    <a:pt x="2" y="9"/>
                    <a:pt x="7" y="4"/>
                    <a:pt x="13" y="4"/>
                  </a:cubicBezTo>
                  <a:cubicBezTo>
                    <a:pt x="19" y="4"/>
                    <a:pt x="24" y="9"/>
                    <a:pt x="24" y="15"/>
                  </a:cubicBezTo>
                  <a:cubicBezTo>
                    <a:pt x="24" y="21"/>
                    <a:pt x="19" y="26"/>
                    <a:pt x="13" y="26"/>
                  </a:cubicBezTo>
                  <a:close/>
                </a:path>
              </a:pathLst>
            </a:custGeom>
            <a:grpFill/>
            <a:ln w="9525">
              <a:noFill/>
              <a:round/>
            </a:ln>
            <a:extLst>
              <a:ext uri="{91240B29-F687-4F45-9708-019B960494DF}">
                <a14:hiddenLine xmlns:a14="http://schemas.microsoft.com/office/drawing/2010/main" w="9525">
                  <a:solidFill>
                    <a:schemeClr val="hlink"/>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endParaRPr>
            </a:p>
          </p:txBody>
        </p:sp>
        <p:sp>
          <p:nvSpPr>
            <p:cNvPr id="495" name="Freeform 41"/>
            <p:cNvSpPr>
              <a:spLocks noEditPoints="1"/>
            </p:cNvSpPr>
            <p:nvPr/>
          </p:nvSpPr>
          <p:spPr bwMode="auto">
            <a:xfrm>
              <a:off x="8490446" y="3060306"/>
              <a:ext cx="334151" cy="292051"/>
            </a:xfrm>
            <a:custGeom>
              <a:avLst/>
              <a:gdLst/>
              <a:ahLst/>
              <a:cxnLst>
                <a:cxn ang="0">
                  <a:pos x="431" y="0"/>
                </a:cxn>
                <a:cxn ang="0">
                  <a:pos x="0" y="0"/>
                </a:cxn>
                <a:cxn ang="0">
                  <a:pos x="0" y="421"/>
                </a:cxn>
                <a:cxn ang="0">
                  <a:pos x="431" y="421"/>
                </a:cxn>
                <a:cxn ang="0">
                  <a:pos x="431" y="0"/>
                </a:cxn>
                <a:cxn ang="0">
                  <a:pos x="37" y="55"/>
                </a:cxn>
                <a:cxn ang="0">
                  <a:pos x="128" y="55"/>
                </a:cxn>
                <a:cxn ang="0">
                  <a:pos x="128" y="128"/>
                </a:cxn>
                <a:cxn ang="0">
                  <a:pos x="37" y="128"/>
                </a:cxn>
                <a:cxn ang="0">
                  <a:pos x="37" y="55"/>
                </a:cxn>
                <a:cxn ang="0">
                  <a:pos x="128" y="338"/>
                </a:cxn>
                <a:cxn ang="0">
                  <a:pos x="46" y="338"/>
                </a:cxn>
                <a:cxn ang="0">
                  <a:pos x="46" y="265"/>
                </a:cxn>
                <a:cxn ang="0">
                  <a:pos x="128" y="265"/>
                </a:cxn>
                <a:cxn ang="0">
                  <a:pos x="128" y="338"/>
                </a:cxn>
                <a:cxn ang="0">
                  <a:pos x="128" y="238"/>
                </a:cxn>
                <a:cxn ang="0">
                  <a:pos x="46" y="238"/>
                </a:cxn>
                <a:cxn ang="0">
                  <a:pos x="46" y="165"/>
                </a:cxn>
                <a:cxn ang="0">
                  <a:pos x="128" y="165"/>
                </a:cxn>
                <a:cxn ang="0">
                  <a:pos x="128" y="238"/>
                </a:cxn>
                <a:cxn ang="0">
                  <a:pos x="165" y="55"/>
                </a:cxn>
                <a:cxn ang="0">
                  <a:pos x="257" y="55"/>
                </a:cxn>
                <a:cxn ang="0">
                  <a:pos x="257" y="128"/>
                </a:cxn>
                <a:cxn ang="0">
                  <a:pos x="165" y="128"/>
                </a:cxn>
                <a:cxn ang="0">
                  <a:pos x="165" y="55"/>
                </a:cxn>
                <a:cxn ang="0">
                  <a:pos x="257" y="338"/>
                </a:cxn>
                <a:cxn ang="0">
                  <a:pos x="174" y="338"/>
                </a:cxn>
                <a:cxn ang="0">
                  <a:pos x="174" y="265"/>
                </a:cxn>
                <a:cxn ang="0">
                  <a:pos x="257" y="265"/>
                </a:cxn>
                <a:cxn ang="0">
                  <a:pos x="257" y="338"/>
                </a:cxn>
                <a:cxn ang="0">
                  <a:pos x="257" y="238"/>
                </a:cxn>
                <a:cxn ang="0">
                  <a:pos x="174" y="238"/>
                </a:cxn>
                <a:cxn ang="0">
                  <a:pos x="174" y="165"/>
                </a:cxn>
                <a:cxn ang="0">
                  <a:pos x="257" y="165"/>
                </a:cxn>
                <a:cxn ang="0">
                  <a:pos x="257" y="238"/>
                </a:cxn>
                <a:cxn ang="0">
                  <a:pos x="293" y="55"/>
                </a:cxn>
                <a:cxn ang="0">
                  <a:pos x="376" y="55"/>
                </a:cxn>
                <a:cxn ang="0">
                  <a:pos x="376" y="128"/>
                </a:cxn>
                <a:cxn ang="0">
                  <a:pos x="293" y="128"/>
                </a:cxn>
                <a:cxn ang="0">
                  <a:pos x="293" y="55"/>
                </a:cxn>
                <a:cxn ang="0">
                  <a:pos x="376" y="338"/>
                </a:cxn>
                <a:cxn ang="0">
                  <a:pos x="293" y="338"/>
                </a:cxn>
                <a:cxn ang="0">
                  <a:pos x="293" y="265"/>
                </a:cxn>
                <a:cxn ang="0">
                  <a:pos x="376" y="265"/>
                </a:cxn>
                <a:cxn ang="0">
                  <a:pos x="376" y="338"/>
                </a:cxn>
                <a:cxn ang="0">
                  <a:pos x="376" y="238"/>
                </a:cxn>
                <a:cxn ang="0">
                  <a:pos x="293" y="238"/>
                </a:cxn>
                <a:cxn ang="0">
                  <a:pos x="293" y="165"/>
                </a:cxn>
                <a:cxn ang="0">
                  <a:pos x="376" y="165"/>
                </a:cxn>
                <a:cxn ang="0">
                  <a:pos x="376" y="238"/>
                </a:cxn>
              </a:cxnLst>
              <a:rect l="0" t="0" r="r" b="b"/>
              <a:pathLst>
                <a:path w="431" h="421">
                  <a:moveTo>
                    <a:pt x="431" y="0"/>
                  </a:moveTo>
                  <a:lnTo>
                    <a:pt x="0" y="0"/>
                  </a:lnTo>
                  <a:lnTo>
                    <a:pt x="0" y="421"/>
                  </a:lnTo>
                  <a:lnTo>
                    <a:pt x="431" y="421"/>
                  </a:lnTo>
                  <a:lnTo>
                    <a:pt x="431" y="0"/>
                  </a:lnTo>
                  <a:close/>
                  <a:moveTo>
                    <a:pt x="37" y="55"/>
                  </a:moveTo>
                  <a:lnTo>
                    <a:pt x="128" y="55"/>
                  </a:lnTo>
                  <a:lnTo>
                    <a:pt x="128" y="128"/>
                  </a:lnTo>
                  <a:lnTo>
                    <a:pt x="37" y="128"/>
                  </a:lnTo>
                  <a:lnTo>
                    <a:pt x="37" y="55"/>
                  </a:lnTo>
                  <a:close/>
                  <a:moveTo>
                    <a:pt x="128" y="338"/>
                  </a:moveTo>
                  <a:lnTo>
                    <a:pt x="46" y="338"/>
                  </a:lnTo>
                  <a:lnTo>
                    <a:pt x="46" y="265"/>
                  </a:lnTo>
                  <a:lnTo>
                    <a:pt x="128" y="265"/>
                  </a:lnTo>
                  <a:lnTo>
                    <a:pt x="128" y="338"/>
                  </a:lnTo>
                  <a:close/>
                  <a:moveTo>
                    <a:pt x="128" y="238"/>
                  </a:moveTo>
                  <a:lnTo>
                    <a:pt x="46" y="238"/>
                  </a:lnTo>
                  <a:lnTo>
                    <a:pt x="46" y="165"/>
                  </a:lnTo>
                  <a:lnTo>
                    <a:pt x="128" y="165"/>
                  </a:lnTo>
                  <a:lnTo>
                    <a:pt x="128" y="238"/>
                  </a:lnTo>
                  <a:close/>
                  <a:moveTo>
                    <a:pt x="165" y="55"/>
                  </a:moveTo>
                  <a:lnTo>
                    <a:pt x="257" y="55"/>
                  </a:lnTo>
                  <a:lnTo>
                    <a:pt x="257" y="128"/>
                  </a:lnTo>
                  <a:lnTo>
                    <a:pt x="165" y="128"/>
                  </a:lnTo>
                  <a:lnTo>
                    <a:pt x="165" y="55"/>
                  </a:lnTo>
                  <a:close/>
                  <a:moveTo>
                    <a:pt x="257" y="338"/>
                  </a:moveTo>
                  <a:lnTo>
                    <a:pt x="174" y="338"/>
                  </a:lnTo>
                  <a:lnTo>
                    <a:pt x="174" y="265"/>
                  </a:lnTo>
                  <a:lnTo>
                    <a:pt x="257" y="265"/>
                  </a:lnTo>
                  <a:lnTo>
                    <a:pt x="257" y="338"/>
                  </a:lnTo>
                  <a:close/>
                  <a:moveTo>
                    <a:pt x="257" y="238"/>
                  </a:moveTo>
                  <a:lnTo>
                    <a:pt x="174" y="238"/>
                  </a:lnTo>
                  <a:lnTo>
                    <a:pt x="174" y="165"/>
                  </a:lnTo>
                  <a:lnTo>
                    <a:pt x="257" y="165"/>
                  </a:lnTo>
                  <a:lnTo>
                    <a:pt x="257" y="238"/>
                  </a:lnTo>
                  <a:close/>
                  <a:moveTo>
                    <a:pt x="293" y="55"/>
                  </a:moveTo>
                  <a:lnTo>
                    <a:pt x="376" y="55"/>
                  </a:lnTo>
                  <a:lnTo>
                    <a:pt x="376" y="128"/>
                  </a:lnTo>
                  <a:lnTo>
                    <a:pt x="293" y="128"/>
                  </a:lnTo>
                  <a:lnTo>
                    <a:pt x="293" y="55"/>
                  </a:lnTo>
                  <a:close/>
                  <a:moveTo>
                    <a:pt x="376" y="338"/>
                  </a:moveTo>
                  <a:lnTo>
                    <a:pt x="293" y="338"/>
                  </a:lnTo>
                  <a:lnTo>
                    <a:pt x="293" y="265"/>
                  </a:lnTo>
                  <a:lnTo>
                    <a:pt x="376" y="265"/>
                  </a:lnTo>
                  <a:lnTo>
                    <a:pt x="376" y="338"/>
                  </a:lnTo>
                  <a:close/>
                  <a:moveTo>
                    <a:pt x="376" y="238"/>
                  </a:moveTo>
                  <a:lnTo>
                    <a:pt x="293" y="238"/>
                  </a:lnTo>
                  <a:lnTo>
                    <a:pt x="293" y="165"/>
                  </a:lnTo>
                  <a:lnTo>
                    <a:pt x="376" y="165"/>
                  </a:lnTo>
                  <a:lnTo>
                    <a:pt x="376" y="238"/>
                  </a:lnTo>
                  <a:close/>
                </a:path>
              </a:pathLst>
            </a:custGeom>
            <a:grpFill/>
            <a:ln w="9525">
              <a:noFill/>
              <a:round/>
            </a:ln>
            <a:extLst>
              <a:ext uri="{91240B29-F687-4F45-9708-019B960494DF}">
                <a14:hiddenLine xmlns:a14="http://schemas.microsoft.com/office/drawing/2010/main" w="9525">
                  <a:solidFill>
                    <a:schemeClr val="hlink"/>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endParaRPr>
            </a:p>
          </p:txBody>
        </p:sp>
      </p:grpSp>
      <p:sp>
        <p:nvSpPr>
          <p:cNvPr id="496" name="Freeform 54"/>
          <p:cNvSpPr>
            <a:spLocks noEditPoints="1"/>
          </p:cNvSpPr>
          <p:nvPr/>
        </p:nvSpPr>
        <p:spPr bwMode="auto">
          <a:xfrm>
            <a:off x="3031693" y="2950328"/>
            <a:ext cx="436260" cy="445608"/>
          </a:xfrm>
          <a:custGeom>
            <a:avLst/>
            <a:gdLst>
              <a:gd name="T0" fmla="*/ 126 w 175"/>
              <a:gd name="T1" fmla="*/ 34 h 178"/>
              <a:gd name="T2" fmla="*/ 53 w 175"/>
              <a:gd name="T3" fmla="*/ 28 h 178"/>
              <a:gd name="T4" fmla="*/ 11 w 175"/>
              <a:gd name="T5" fmla="*/ 44 h 178"/>
              <a:gd name="T6" fmla="*/ 0 w 175"/>
              <a:gd name="T7" fmla="*/ 57 h 178"/>
              <a:gd name="T8" fmla="*/ 14 w 175"/>
              <a:gd name="T9" fmla="*/ 83 h 178"/>
              <a:gd name="T10" fmla="*/ 50 w 175"/>
              <a:gd name="T11" fmla="*/ 145 h 178"/>
              <a:gd name="T12" fmla="*/ 62 w 175"/>
              <a:gd name="T13" fmla="*/ 167 h 178"/>
              <a:gd name="T14" fmla="*/ 79 w 175"/>
              <a:gd name="T15" fmla="*/ 176 h 178"/>
              <a:gd name="T16" fmla="*/ 123 w 175"/>
              <a:gd name="T17" fmla="*/ 151 h 178"/>
              <a:gd name="T18" fmla="*/ 164 w 175"/>
              <a:gd name="T19" fmla="*/ 134 h 178"/>
              <a:gd name="T20" fmla="*/ 171 w 175"/>
              <a:gd name="T21" fmla="*/ 57 h 178"/>
              <a:gd name="T22" fmla="*/ 158 w 175"/>
              <a:gd name="T23" fmla="*/ 89 h 178"/>
              <a:gd name="T24" fmla="*/ 159 w 175"/>
              <a:gd name="T25" fmla="*/ 79 h 178"/>
              <a:gd name="T26" fmla="*/ 142 w 175"/>
              <a:gd name="T27" fmla="*/ 70 h 178"/>
              <a:gd name="T28" fmla="*/ 129 w 175"/>
              <a:gd name="T29" fmla="*/ 40 h 178"/>
              <a:gd name="T30" fmla="*/ 154 w 175"/>
              <a:gd name="T31" fmla="*/ 94 h 178"/>
              <a:gd name="T32" fmla="*/ 154 w 175"/>
              <a:gd name="T33" fmla="*/ 95 h 178"/>
              <a:gd name="T34" fmla="*/ 136 w 175"/>
              <a:gd name="T35" fmla="*/ 89 h 178"/>
              <a:gd name="T36" fmla="*/ 138 w 175"/>
              <a:gd name="T37" fmla="*/ 75 h 178"/>
              <a:gd name="T38" fmla="*/ 148 w 175"/>
              <a:gd name="T39" fmla="*/ 90 h 178"/>
              <a:gd name="T40" fmla="*/ 154 w 175"/>
              <a:gd name="T41" fmla="*/ 94 h 178"/>
              <a:gd name="T42" fmla="*/ 113 w 175"/>
              <a:gd name="T43" fmla="*/ 47 h 178"/>
              <a:gd name="T44" fmla="*/ 122 w 175"/>
              <a:gd name="T45" fmla="*/ 40 h 178"/>
              <a:gd name="T46" fmla="*/ 88 w 175"/>
              <a:gd name="T47" fmla="*/ 7 h 178"/>
              <a:gd name="T48" fmla="*/ 92 w 175"/>
              <a:gd name="T49" fmla="*/ 37 h 178"/>
              <a:gd name="T50" fmla="*/ 88 w 175"/>
              <a:gd name="T51" fmla="*/ 7 h 178"/>
              <a:gd name="T52" fmla="*/ 82 w 175"/>
              <a:gd name="T53" fmla="*/ 40 h 178"/>
              <a:gd name="T54" fmla="*/ 50 w 175"/>
              <a:gd name="T55" fmla="*/ 54 h 178"/>
              <a:gd name="T56" fmla="*/ 48 w 175"/>
              <a:gd name="T57" fmla="*/ 34 h 178"/>
              <a:gd name="T58" fmla="*/ 42 w 175"/>
              <a:gd name="T59" fmla="*/ 58 h 178"/>
              <a:gd name="T60" fmla="*/ 15 w 175"/>
              <a:gd name="T61" fmla="*/ 67 h 178"/>
              <a:gd name="T62" fmla="*/ 17 w 175"/>
              <a:gd name="T63" fmla="*/ 48 h 178"/>
              <a:gd name="T64" fmla="*/ 48 w 175"/>
              <a:gd name="T65" fmla="*/ 34 h 178"/>
              <a:gd name="T66" fmla="*/ 22 w 175"/>
              <a:gd name="T67" fmla="*/ 84 h 178"/>
              <a:gd name="T68" fmla="*/ 22 w 175"/>
              <a:gd name="T69" fmla="*/ 83 h 178"/>
              <a:gd name="T70" fmla="*/ 39 w 175"/>
              <a:gd name="T71" fmla="*/ 89 h 178"/>
              <a:gd name="T72" fmla="*/ 11 w 175"/>
              <a:gd name="T73" fmla="*/ 119 h 178"/>
              <a:gd name="T74" fmla="*/ 42 w 175"/>
              <a:gd name="T75" fmla="*/ 116 h 178"/>
              <a:gd name="T76" fmla="*/ 11 w 175"/>
              <a:gd name="T77" fmla="*/ 119 h 178"/>
              <a:gd name="T78" fmla="*/ 48 w 175"/>
              <a:gd name="T79" fmla="*/ 62 h 178"/>
              <a:gd name="T80" fmla="*/ 92 w 175"/>
              <a:gd name="T81" fmla="*/ 44 h 178"/>
              <a:gd name="T82" fmla="*/ 128 w 175"/>
              <a:gd name="T83" fmla="*/ 66 h 178"/>
              <a:gd name="T84" fmla="*/ 128 w 175"/>
              <a:gd name="T85" fmla="*/ 116 h 178"/>
              <a:gd name="T86" fmla="*/ 84 w 175"/>
              <a:gd name="T87" fmla="*/ 134 h 178"/>
              <a:gd name="T88" fmla="*/ 48 w 175"/>
              <a:gd name="T89" fmla="*/ 112 h 178"/>
              <a:gd name="T90" fmla="*/ 49 w 175"/>
              <a:gd name="T91" fmla="*/ 122 h 178"/>
              <a:gd name="T92" fmla="*/ 74 w 175"/>
              <a:gd name="T93" fmla="*/ 137 h 178"/>
              <a:gd name="T94" fmla="*/ 49 w 175"/>
              <a:gd name="T95" fmla="*/ 122 h 178"/>
              <a:gd name="T96" fmla="*/ 83 w 175"/>
              <a:gd name="T97" fmla="*/ 171 h 178"/>
              <a:gd name="T98" fmla="*/ 73 w 175"/>
              <a:gd name="T99" fmla="*/ 156 h 178"/>
              <a:gd name="T100" fmla="*/ 57 w 175"/>
              <a:gd name="T101" fmla="*/ 145 h 178"/>
              <a:gd name="T102" fmla="*/ 116 w 175"/>
              <a:gd name="T103" fmla="*/ 150 h 178"/>
              <a:gd name="T104" fmla="*/ 119 w 175"/>
              <a:gd name="T105" fmla="*/ 144 h 178"/>
              <a:gd name="T106" fmla="*/ 105 w 175"/>
              <a:gd name="T107" fmla="*/ 134 h 178"/>
              <a:gd name="T108" fmla="*/ 119 w 175"/>
              <a:gd name="T109" fmla="*/ 144 h 178"/>
              <a:gd name="T110" fmla="*/ 128 w 175"/>
              <a:gd name="T111" fmla="*/ 144 h 178"/>
              <a:gd name="T112" fmla="*/ 133 w 175"/>
              <a:gd name="T113" fmla="*/ 120 h 178"/>
              <a:gd name="T114" fmla="*/ 159 w 175"/>
              <a:gd name="T115" fmla="*/ 13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5" h="178">
                <a:moveTo>
                  <a:pt x="171" y="57"/>
                </a:moveTo>
                <a:cubicBezTo>
                  <a:pt x="165" y="43"/>
                  <a:pt x="149" y="35"/>
                  <a:pt x="126" y="34"/>
                </a:cubicBezTo>
                <a:cubicBezTo>
                  <a:pt x="117" y="13"/>
                  <a:pt x="104" y="0"/>
                  <a:pt x="88" y="0"/>
                </a:cubicBezTo>
                <a:cubicBezTo>
                  <a:pt x="74" y="0"/>
                  <a:pt x="61" y="11"/>
                  <a:pt x="53" y="28"/>
                </a:cubicBezTo>
                <a:cubicBezTo>
                  <a:pt x="51" y="28"/>
                  <a:pt x="50" y="27"/>
                  <a:pt x="48" y="27"/>
                </a:cubicBezTo>
                <a:cubicBezTo>
                  <a:pt x="31" y="27"/>
                  <a:pt x="18" y="33"/>
                  <a:pt x="11" y="44"/>
                </a:cubicBezTo>
                <a:cubicBezTo>
                  <a:pt x="11" y="45"/>
                  <a:pt x="11" y="45"/>
                  <a:pt x="10" y="46"/>
                </a:cubicBezTo>
                <a:cubicBezTo>
                  <a:pt x="5" y="46"/>
                  <a:pt x="0" y="51"/>
                  <a:pt x="0" y="57"/>
                </a:cubicBezTo>
                <a:cubicBezTo>
                  <a:pt x="0" y="62"/>
                  <a:pt x="4" y="67"/>
                  <a:pt x="9" y="68"/>
                </a:cubicBezTo>
                <a:cubicBezTo>
                  <a:pt x="10" y="73"/>
                  <a:pt x="11" y="78"/>
                  <a:pt x="14" y="83"/>
                </a:cubicBezTo>
                <a:cubicBezTo>
                  <a:pt x="4" y="96"/>
                  <a:pt x="1" y="110"/>
                  <a:pt x="5" y="121"/>
                </a:cubicBezTo>
                <a:cubicBezTo>
                  <a:pt x="10" y="135"/>
                  <a:pt x="27" y="144"/>
                  <a:pt x="50" y="145"/>
                </a:cubicBezTo>
                <a:cubicBezTo>
                  <a:pt x="53" y="153"/>
                  <a:pt x="57" y="159"/>
                  <a:pt x="62" y="165"/>
                </a:cubicBezTo>
                <a:cubicBezTo>
                  <a:pt x="62" y="166"/>
                  <a:pt x="62" y="166"/>
                  <a:pt x="62" y="167"/>
                </a:cubicBezTo>
                <a:cubicBezTo>
                  <a:pt x="62" y="173"/>
                  <a:pt x="67" y="178"/>
                  <a:pt x="73" y="178"/>
                </a:cubicBezTo>
                <a:cubicBezTo>
                  <a:pt x="75" y="178"/>
                  <a:pt x="77" y="177"/>
                  <a:pt x="79" y="176"/>
                </a:cubicBezTo>
                <a:cubicBezTo>
                  <a:pt x="82" y="178"/>
                  <a:pt x="85" y="178"/>
                  <a:pt x="88" y="178"/>
                </a:cubicBezTo>
                <a:cubicBezTo>
                  <a:pt x="102" y="178"/>
                  <a:pt x="114" y="168"/>
                  <a:pt x="123" y="151"/>
                </a:cubicBezTo>
                <a:cubicBezTo>
                  <a:pt x="125" y="151"/>
                  <a:pt x="126" y="151"/>
                  <a:pt x="128" y="151"/>
                </a:cubicBezTo>
                <a:cubicBezTo>
                  <a:pt x="145" y="151"/>
                  <a:pt x="158" y="145"/>
                  <a:pt x="164" y="134"/>
                </a:cubicBezTo>
                <a:cubicBezTo>
                  <a:pt x="171" y="124"/>
                  <a:pt x="170" y="110"/>
                  <a:pt x="162" y="95"/>
                </a:cubicBezTo>
                <a:cubicBezTo>
                  <a:pt x="172" y="82"/>
                  <a:pt x="175" y="68"/>
                  <a:pt x="171" y="57"/>
                </a:cubicBezTo>
                <a:close/>
                <a:moveTo>
                  <a:pt x="165" y="59"/>
                </a:moveTo>
                <a:cubicBezTo>
                  <a:pt x="168" y="68"/>
                  <a:pt x="166" y="79"/>
                  <a:pt x="158" y="89"/>
                </a:cubicBezTo>
                <a:cubicBezTo>
                  <a:pt x="158" y="89"/>
                  <a:pt x="157" y="88"/>
                  <a:pt x="156" y="87"/>
                </a:cubicBezTo>
                <a:cubicBezTo>
                  <a:pt x="158" y="85"/>
                  <a:pt x="159" y="82"/>
                  <a:pt x="159" y="79"/>
                </a:cubicBezTo>
                <a:cubicBezTo>
                  <a:pt x="159" y="73"/>
                  <a:pt x="155" y="68"/>
                  <a:pt x="148" y="68"/>
                </a:cubicBezTo>
                <a:cubicBezTo>
                  <a:pt x="146" y="68"/>
                  <a:pt x="144" y="69"/>
                  <a:pt x="142" y="70"/>
                </a:cubicBezTo>
                <a:cubicBezTo>
                  <a:pt x="140" y="68"/>
                  <a:pt x="137" y="65"/>
                  <a:pt x="134" y="63"/>
                </a:cubicBezTo>
                <a:cubicBezTo>
                  <a:pt x="133" y="55"/>
                  <a:pt x="131" y="47"/>
                  <a:pt x="129" y="40"/>
                </a:cubicBezTo>
                <a:cubicBezTo>
                  <a:pt x="147" y="42"/>
                  <a:pt x="161" y="49"/>
                  <a:pt x="165" y="59"/>
                </a:cubicBezTo>
                <a:close/>
                <a:moveTo>
                  <a:pt x="154" y="94"/>
                </a:moveTo>
                <a:cubicBezTo>
                  <a:pt x="154" y="94"/>
                  <a:pt x="154" y="94"/>
                  <a:pt x="154" y="95"/>
                </a:cubicBezTo>
                <a:cubicBezTo>
                  <a:pt x="154" y="95"/>
                  <a:pt x="154" y="95"/>
                  <a:pt x="154" y="95"/>
                </a:cubicBezTo>
                <a:cubicBezTo>
                  <a:pt x="148" y="101"/>
                  <a:pt x="142" y="107"/>
                  <a:pt x="135" y="112"/>
                </a:cubicBezTo>
                <a:cubicBezTo>
                  <a:pt x="136" y="104"/>
                  <a:pt x="136" y="97"/>
                  <a:pt x="136" y="89"/>
                </a:cubicBezTo>
                <a:cubicBezTo>
                  <a:pt x="136" y="83"/>
                  <a:pt x="136" y="78"/>
                  <a:pt x="136" y="72"/>
                </a:cubicBezTo>
                <a:cubicBezTo>
                  <a:pt x="136" y="73"/>
                  <a:pt x="137" y="74"/>
                  <a:pt x="138" y="75"/>
                </a:cubicBezTo>
                <a:cubicBezTo>
                  <a:pt x="138" y="76"/>
                  <a:pt x="137" y="78"/>
                  <a:pt x="137" y="79"/>
                </a:cubicBezTo>
                <a:cubicBezTo>
                  <a:pt x="137" y="85"/>
                  <a:pt x="142" y="90"/>
                  <a:pt x="148" y="90"/>
                </a:cubicBezTo>
                <a:cubicBezTo>
                  <a:pt x="149" y="90"/>
                  <a:pt x="150" y="90"/>
                  <a:pt x="151" y="90"/>
                </a:cubicBezTo>
                <a:cubicBezTo>
                  <a:pt x="152" y="91"/>
                  <a:pt x="153" y="93"/>
                  <a:pt x="154" y="94"/>
                </a:cubicBezTo>
                <a:close/>
                <a:moveTo>
                  <a:pt x="127" y="57"/>
                </a:moveTo>
                <a:cubicBezTo>
                  <a:pt x="122" y="54"/>
                  <a:pt x="118" y="50"/>
                  <a:pt x="113" y="47"/>
                </a:cubicBezTo>
                <a:cubicBezTo>
                  <a:pt x="109" y="45"/>
                  <a:pt x="106" y="44"/>
                  <a:pt x="102" y="42"/>
                </a:cubicBezTo>
                <a:cubicBezTo>
                  <a:pt x="109" y="41"/>
                  <a:pt x="115" y="40"/>
                  <a:pt x="122" y="40"/>
                </a:cubicBezTo>
                <a:cubicBezTo>
                  <a:pt x="124" y="45"/>
                  <a:pt x="125" y="51"/>
                  <a:pt x="127" y="57"/>
                </a:cubicBezTo>
                <a:close/>
                <a:moveTo>
                  <a:pt x="88" y="7"/>
                </a:moveTo>
                <a:cubicBezTo>
                  <a:pt x="100" y="7"/>
                  <a:pt x="111" y="17"/>
                  <a:pt x="119" y="34"/>
                </a:cubicBezTo>
                <a:cubicBezTo>
                  <a:pt x="110" y="34"/>
                  <a:pt x="101" y="35"/>
                  <a:pt x="92" y="37"/>
                </a:cubicBezTo>
                <a:cubicBezTo>
                  <a:pt x="81" y="33"/>
                  <a:pt x="70" y="30"/>
                  <a:pt x="60" y="28"/>
                </a:cubicBezTo>
                <a:cubicBezTo>
                  <a:pt x="67" y="15"/>
                  <a:pt x="77" y="7"/>
                  <a:pt x="88" y="7"/>
                </a:cubicBezTo>
                <a:close/>
                <a:moveTo>
                  <a:pt x="57" y="34"/>
                </a:moveTo>
                <a:cubicBezTo>
                  <a:pt x="65" y="35"/>
                  <a:pt x="73" y="37"/>
                  <a:pt x="82" y="40"/>
                </a:cubicBezTo>
                <a:cubicBezTo>
                  <a:pt x="78" y="41"/>
                  <a:pt x="74" y="43"/>
                  <a:pt x="71" y="44"/>
                </a:cubicBezTo>
                <a:cubicBezTo>
                  <a:pt x="63" y="47"/>
                  <a:pt x="56" y="50"/>
                  <a:pt x="50" y="54"/>
                </a:cubicBezTo>
                <a:cubicBezTo>
                  <a:pt x="52" y="47"/>
                  <a:pt x="54" y="40"/>
                  <a:pt x="57" y="34"/>
                </a:cubicBezTo>
                <a:close/>
                <a:moveTo>
                  <a:pt x="48" y="34"/>
                </a:moveTo>
                <a:cubicBezTo>
                  <a:pt x="49" y="34"/>
                  <a:pt x="49" y="34"/>
                  <a:pt x="50" y="34"/>
                </a:cubicBezTo>
                <a:cubicBezTo>
                  <a:pt x="47" y="41"/>
                  <a:pt x="44" y="49"/>
                  <a:pt x="42" y="58"/>
                </a:cubicBezTo>
                <a:cubicBezTo>
                  <a:pt x="33" y="64"/>
                  <a:pt x="25" y="71"/>
                  <a:pt x="19" y="78"/>
                </a:cubicBezTo>
                <a:cubicBezTo>
                  <a:pt x="17" y="74"/>
                  <a:pt x="16" y="71"/>
                  <a:pt x="15" y="67"/>
                </a:cubicBezTo>
                <a:cubicBezTo>
                  <a:pt x="19" y="66"/>
                  <a:pt x="22" y="62"/>
                  <a:pt x="22" y="57"/>
                </a:cubicBezTo>
                <a:cubicBezTo>
                  <a:pt x="22" y="53"/>
                  <a:pt x="20" y="50"/>
                  <a:pt x="17" y="48"/>
                </a:cubicBezTo>
                <a:cubicBezTo>
                  <a:pt x="17" y="47"/>
                  <a:pt x="17" y="47"/>
                  <a:pt x="17" y="47"/>
                </a:cubicBezTo>
                <a:cubicBezTo>
                  <a:pt x="22" y="39"/>
                  <a:pt x="33" y="34"/>
                  <a:pt x="48" y="34"/>
                </a:cubicBezTo>
                <a:close/>
                <a:moveTo>
                  <a:pt x="40" y="106"/>
                </a:moveTo>
                <a:cubicBezTo>
                  <a:pt x="33" y="99"/>
                  <a:pt x="27" y="92"/>
                  <a:pt x="22" y="84"/>
                </a:cubicBezTo>
                <a:cubicBezTo>
                  <a:pt x="22" y="84"/>
                  <a:pt x="22" y="84"/>
                  <a:pt x="22" y="84"/>
                </a:cubicBezTo>
                <a:cubicBezTo>
                  <a:pt x="22" y="84"/>
                  <a:pt x="22" y="83"/>
                  <a:pt x="22" y="83"/>
                </a:cubicBezTo>
                <a:cubicBezTo>
                  <a:pt x="27" y="77"/>
                  <a:pt x="34" y="72"/>
                  <a:pt x="41" y="67"/>
                </a:cubicBezTo>
                <a:cubicBezTo>
                  <a:pt x="40" y="74"/>
                  <a:pt x="39" y="81"/>
                  <a:pt x="39" y="89"/>
                </a:cubicBezTo>
                <a:cubicBezTo>
                  <a:pt x="39" y="95"/>
                  <a:pt x="40" y="101"/>
                  <a:pt x="40" y="106"/>
                </a:cubicBezTo>
                <a:close/>
                <a:moveTo>
                  <a:pt x="11" y="119"/>
                </a:moveTo>
                <a:cubicBezTo>
                  <a:pt x="8" y="110"/>
                  <a:pt x="10" y="100"/>
                  <a:pt x="18" y="89"/>
                </a:cubicBezTo>
                <a:cubicBezTo>
                  <a:pt x="24" y="98"/>
                  <a:pt x="32" y="107"/>
                  <a:pt x="42" y="116"/>
                </a:cubicBezTo>
                <a:cubicBezTo>
                  <a:pt x="43" y="124"/>
                  <a:pt x="45" y="131"/>
                  <a:pt x="47" y="138"/>
                </a:cubicBezTo>
                <a:cubicBezTo>
                  <a:pt x="29" y="137"/>
                  <a:pt x="15" y="130"/>
                  <a:pt x="11" y="119"/>
                </a:cubicBezTo>
                <a:close/>
                <a:moveTo>
                  <a:pt x="46" y="89"/>
                </a:moveTo>
                <a:cubicBezTo>
                  <a:pt x="46" y="80"/>
                  <a:pt x="47" y="71"/>
                  <a:pt x="48" y="62"/>
                </a:cubicBezTo>
                <a:cubicBezTo>
                  <a:pt x="56" y="57"/>
                  <a:pt x="64" y="53"/>
                  <a:pt x="73" y="50"/>
                </a:cubicBezTo>
                <a:cubicBezTo>
                  <a:pt x="79" y="47"/>
                  <a:pt x="85" y="46"/>
                  <a:pt x="92" y="44"/>
                </a:cubicBezTo>
                <a:cubicBezTo>
                  <a:pt x="98" y="47"/>
                  <a:pt x="104" y="50"/>
                  <a:pt x="109" y="53"/>
                </a:cubicBezTo>
                <a:cubicBezTo>
                  <a:pt x="116" y="57"/>
                  <a:pt x="123" y="61"/>
                  <a:pt x="128" y="66"/>
                </a:cubicBezTo>
                <a:cubicBezTo>
                  <a:pt x="129" y="73"/>
                  <a:pt x="130" y="81"/>
                  <a:pt x="130" y="89"/>
                </a:cubicBezTo>
                <a:cubicBezTo>
                  <a:pt x="130" y="99"/>
                  <a:pt x="129" y="108"/>
                  <a:pt x="128" y="116"/>
                </a:cubicBezTo>
                <a:cubicBezTo>
                  <a:pt x="120" y="121"/>
                  <a:pt x="112" y="125"/>
                  <a:pt x="103" y="128"/>
                </a:cubicBezTo>
                <a:cubicBezTo>
                  <a:pt x="97" y="131"/>
                  <a:pt x="91" y="133"/>
                  <a:pt x="84" y="134"/>
                </a:cubicBezTo>
                <a:cubicBezTo>
                  <a:pt x="78" y="132"/>
                  <a:pt x="72" y="129"/>
                  <a:pt x="67" y="125"/>
                </a:cubicBezTo>
                <a:cubicBezTo>
                  <a:pt x="60" y="121"/>
                  <a:pt x="53" y="117"/>
                  <a:pt x="48" y="112"/>
                </a:cubicBezTo>
                <a:cubicBezTo>
                  <a:pt x="46" y="105"/>
                  <a:pt x="46" y="97"/>
                  <a:pt x="46" y="89"/>
                </a:cubicBezTo>
                <a:close/>
                <a:moveTo>
                  <a:pt x="49" y="122"/>
                </a:moveTo>
                <a:cubicBezTo>
                  <a:pt x="54" y="125"/>
                  <a:pt x="58" y="128"/>
                  <a:pt x="63" y="131"/>
                </a:cubicBezTo>
                <a:cubicBezTo>
                  <a:pt x="67" y="133"/>
                  <a:pt x="70" y="135"/>
                  <a:pt x="74" y="137"/>
                </a:cubicBezTo>
                <a:cubicBezTo>
                  <a:pt x="67" y="138"/>
                  <a:pt x="61" y="138"/>
                  <a:pt x="54" y="138"/>
                </a:cubicBezTo>
                <a:cubicBezTo>
                  <a:pt x="52" y="133"/>
                  <a:pt x="51" y="128"/>
                  <a:pt x="49" y="122"/>
                </a:cubicBezTo>
                <a:close/>
                <a:moveTo>
                  <a:pt x="88" y="172"/>
                </a:moveTo>
                <a:cubicBezTo>
                  <a:pt x="86" y="172"/>
                  <a:pt x="85" y="172"/>
                  <a:pt x="83" y="171"/>
                </a:cubicBezTo>
                <a:cubicBezTo>
                  <a:pt x="84" y="170"/>
                  <a:pt x="84" y="168"/>
                  <a:pt x="84" y="167"/>
                </a:cubicBezTo>
                <a:cubicBezTo>
                  <a:pt x="84" y="161"/>
                  <a:pt x="79" y="156"/>
                  <a:pt x="73" y="156"/>
                </a:cubicBezTo>
                <a:cubicBezTo>
                  <a:pt x="70" y="156"/>
                  <a:pt x="68" y="157"/>
                  <a:pt x="66" y="159"/>
                </a:cubicBezTo>
                <a:cubicBezTo>
                  <a:pt x="62" y="155"/>
                  <a:pt x="59" y="150"/>
                  <a:pt x="57" y="145"/>
                </a:cubicBezTo>
                <a:cubicBezTo>
                  <a:pt x="65" y="144"/>
                  <a:pt x="75" y="143"/>
                  <a:pt x="84" y="141"/>
                </a:cubicBezTo>
                <a:cubicBezTo>
                  <a:pt x="95" y="146"/>
                  <a:pt x="106" y="149"/>
                  <a:pt x="116" y="150"/>
                </a:cubicBezTo>
                <a:cubicBezTo>
                  <a:pt x="109" y="163"/>
                  <a:pt x="99" y="172"/>
                  <a:pt x="88" y="172"/>
                </a:cubicBezTo>
                <a:close/>
                <a:moveTo>
                  <a:pt x="119" y="144"/>
                </a:moveTo>
                <a:cubicBezTo>
                  <a:pt x="111" y="143"/>
                  <a:pt x="103" y="141"/>
                  <a:pt x="94" y="138"/>
                </a:cubicBezTo>
                <a:cubicBezTo>
                  <a:pt x="98" y="137"/>
                  <a:pt x="102" y="136"/>
                  <a:pt x="105" y="134"/>
                </a:cubicBezTo>
                <a:cubicBezTo>
                  <a:pt x="113" y="132"/>
                  <a:pt x="119" y="128"/>
                  <a:pt x="126" y="125"/>
                </a:cubicBezTo>
                <a:cubicBezTo>
                  <a:pt x="124" y="132"/>
                  <a:pt x="122" y="138"/>
                  <a:pt x="119" y="144"/>
                </a:cubicBezTo>
                <a:close/>
                <a:moveTo>
                  <a:pt x="159" y="131"/>
                </a:moveTo>
                <a:cubicBezTo>
                  <a:pt x="154" y="140"/>
                  <a:pt x="143" y="144"/>
                  <a:pt x="128" y="144"/>
                </a:cubicBezTo>
                <a:cubicBezTo>
                  <a:pt x="127" y="144"/>
                  <a:pt x="127" y="144"/>
                  <a:pt x="126" y="144"/>
                </a:cubicBezTo>
                <a:cubicBezTo>
                  <a:pt x="129" y="137"/>
                  <a:pt x="132" y="129"/>
                  <a:pt x="133" y="120"/>
                </a:cubicBezTo>
                <a:cubicBezTo>
                  <a:pt x="143" y="114"/>
                  <a:pt x="151" y="108"/>
                  <a:pt x="157" y="101"/>
                </a:cubicBezTo>
                <a:cubicBezTo>
                  <a:pt x="163" y="113"/>
                  <a:pt x="164" y="123"/>
                  <a:pt x="159" y="131"/>
                </a:cubicBezTo>
                <a:close/>
              </a:path>
            </a:pathLst>
          </a:custGeom>
          <a:solidFill>
            <a:srgbClr val="FE5817"/>
          </a:solidFill>
          <a:ln>
            <a:noFill/>
          </a:ln>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86" name="图片 8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012" name="think-cell Slide" r:id="rId2" imgW="12700" imgH="12700" progId="TCLayout.ActiveDocument.1">
                  <p:embed/>
                </p:oleObj>
              </mc:Choice>
              <mc:Fallback>
                <p:oleObj name="think-cell Slide" r:id="rId2" imgW="12700" imgH="12700" progId="TCLayout.ActiveDocument.1">
                  <p:embed/>
                  <p:pic>
                    <p:nvPicPr>
                      <p:cNvPr id="0" name="对象 1" hidden="1"/>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109" name="组合 108"/>
          <p:cNvGrpSpPr/>
          <p:nvPr/>
        </p:nvGrpSpPr>
        <p:grpSpPr>
          <a:xfrm>
            <a:off x="3548257" y="1539089"/>
            <a:ext cx="5095487" cy="4796855"/>
            <a:chOff x="3494069" y="1676401"/>
            <a:chExt cx="4757285" cy="4478474"/>
          </a:xfrm>
        </p:grpSpPr>
        <p:grpSp>
          <p:nvGrpSpPr>
            <p:cNvPr id="4" name="Group 167"/>
            <p:cNvGrpSpPr/>
            <p:nvPr/>
          </p:nvGrpSpPr>
          <p:grpSpPr>
            <a:xfrm>
              <a:off x="5949863" y="1826534"/>
              <a:ext cx="2301491" cy="2301797"/>
              <a:chOff x="4602144" y="1558709"/>
              <a:chExt cx="1419915" cy="1420105"/>
            </a:xfrm>
          </p:grpSpPr>
          <p:sp>
            <p:nvSpPr>
              <p:cNvPr id="5" name="Freeform: Shape 3"/>
              <p:cNvSpPr/>
              <p:nvPr/>
            </p:nvSpPr>
            <p:spPr>
              <a:xfrm>
                <a:off x="4643455" y="1615920"/>
                <a:ext cx="1333333" cy="133333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1F1F1"/>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nvGrpSpPr>
              <p:cNvPr id="6" name="Group 58"/>
              <p:cNvGrpSpPr/>
              <p:nvPr/>
            </p:nvGrpSpPr>
            <p:grpSpPr>
              <a:xfrm>
                <a:off x="4602144" y="1558709"/>
                <a:ext cx="1419915" cy="1420105"/>
                <a:chOff x="0" y="0"/>
                <a:chExt cx="3899864" cy="3899891"/>
              </a:xfrm>
              <a:solidFill>
                <a:schemeClr val="accent2"/>
              </a:solidFill>
            </p:grpSpPr>
            <p:sp>
              <p:nvSpPr>
                <p:cNvPr id="34" name="Freeform: Shape 59"/>
                <p:cNvSpPr/>
                <p:nvPr/>
              </p:nvSpPr>
              <p:spPr>
                <a:xfrm>
                  <a:off x="1508166" y="2616577"/>
                  <a:ext cx="19289" cy="1662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0"/>
                        <a:pt x="14426" y="3817"/>
                        <a:pt x="2245" y="10760"/>
                      </a:cubicBezTo>
                      <a:cubicBezTo>
                        <a:pt x="1649" y="14323"/>
                        <a:pt x="755" y="18037"/>
                        <a:pt x="0" y="21600"/>
                      </a:cubicBezTo>
                      <a:cubicBezTo>
                        <a:pt x="7293" y="14473"/>
                        <a:pt x="14208" y="7058"/>
                        <a:pt x="21600" y="0"/>
                      </a:cubicBezTo>
                      <a:close/>
                    </a:path>
                  </a:pathLst>
                </a:custGeom>
                <a:grp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5" name="Freeform: Shape 60"/>
                <p:cNvSpPr/>
                <p:nvPr/>
              </p:nvSpPr>
              <p:spPr>
                <a:xfrm>
                  <a:off x="1617190" y="0"/>
                  <a:ext cx="753428" cy="1410481"/>
                </a:xfrm>
                <a:custGeom>
                  <a:avLst/>
                  <a:gdLst/>
                  <a:ahLst/>
                  <a:cxnLst>
                    <a:cxn ang="0">
                      <a:pos x="wd2" y="hd2"/>
                    </a:cxn>
                    <a:cxn ang="5400000">
                      <a:pos x="wd2" y="hd2"/>
                    </a:cxn>
                    <a:cxn ang="10800000">
                      <a:pos x="wd2" y="hd2"/>
                    </a:cxn>
                    <a:cxn ang="16200000">
                      <a:pos x="wd2" y="hd2"/>
                    </a:cxn>
                  </a:cxnLst>
                  <a:rect l="0" t="0" r="r" b="b"/>
                  <a:pathLst>
                    <a:path w="21364" h="21600" extrusionOk="0">
                      <a:moveTo>
                        <a:pt x="10472" y="21600"/>
                      </a:moveTo>
                      <a:cubicBezTo>
                        <a:pt x="10472" y="21600"/>
                        <a:pt x="21250" y="16823"/>
                        <a:pt x="21363" y="10860"/>
                      </a:cubicBezTo>
                      <a:cubicBezTo>
                        <a:pt x="21484" y="4896"/>
                        <a:pt x="10897" y="0"/>
                        <a:pt x="10897" y="0"/>
                      </a:cubicBezTo>
                      <a:cubicBezTo>
                        <a:pt x="10897" y="0"/>
                        <a:pt x="114" y="4775"/>
                        <a:pt x="1" y="10739"/>
                      </a:cubicBezTo>
                      <a:cubicBezTo>
                        <a:pt x="-116" y="16703"/>
                        <a:pt x="10472" y="21600"/>
                        <a:pt x="10472" y="21600"/>
                      </a:cubicBezTo>
                      <a:close/>
                    </a:path>
                  </a:pathLst>
                </a:custGeom>
                <a:solidFill>
                  <a:srgbClr val="FEA07A"/>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6" name="Freeform: Shape 61"/>
                <p:cNvSpPr/>
                <p:nvPr/>
              </p:nvSpPr>
              <p:spPr>
                <a:xfrm>
                  <a:off x="2344018" y="599632"/>
                  <a:ext cx="1011473" cy="993383"/>
                </a:xfrm>
                <a:custGeom>
                  <a:avLst/>
                  <a:gdLst/>
                  <a:ahLst/>
                  <a:cxnLst>
                    <a:cxn ang="0">
                      <a:pos x="wd2" y="hd2"/>
                    </a:cxn>
                    <a:cxn ang="5400000">
                      <a:pos x="wd2" y="hd2"/>
                    </a:cxn>
                    <a:cxn ang="10800000">
                      <a:pos x="wd2" y="hd2"/>
                    </a:cxn>
                    <a:cxn ang="16200000">
                      <a:pos x="wd2" y="hd2"/>
                    </a:cxn>
                  </a:cxnLst>
                  <a:rect l="0" t="0" r="r" b="b"/>
                  <a:pathLst>
                    <a:path w="20158" h="19805" extrusionOk="0">
                      <a:moveTo>
                        <a:pt x="34" y="19739"/>
                      </a:moveTo>
                      <a:cubicBezTo>
                        <a:pt x="34" y="19739"/>
                        <a:pt x="9785" y="20701"/>
                        <a:pt x="15334" y="15267"/>
                      </a:cubicBezTo>
                      <a:cubicBezTo>
                        <a:pt x="20879" y="9835"/>
                        <a:pt x="20123" y="66"/>
                        <a:pt x="20123" y="66"/>
                      </a:cubicBezTo>
                      <a:cubicBezTo>
                        <a:pt x="20123" y="66"/>
                        <a:pt x="10371" y="-899"/>
                        <a:pt x="4825" y="4533"/>
                      </a:cubicBezTo>
                      <a:cubicBezTo>
                        <a:pt x="-721" y="9968"/>
                        <a:pt x="34" y="19739"/>
                        <a:pt x="34" y="19739"/>
                      </a:cubicBezTo>
                      <a:close/>
                    </a:path>
                  </a:pathLst>
                </a:custGeom>
                <a:solidFill>
                  <a:srgbClr val="FEA07A"/>
                </a:solidFill>
                <a:ln w="12700" cap="flat">
                  <a:noFill/>
                  <a:miter lim="400000"/>
                </a:ln>
                <a:effectLst/>
              </p:spPr>
              <p:txBody>
                <a:bodyPr anchor="ctr"/>
                <a:lstStyle/>
                <a:p>
                  <a:pPr algn="ctr"/>
                  <a:endParaRPr sz="1865">
                    <a:solidFill>
                      <a:prstClr val="white">
                        <a:lumMod val="50000"/>
                      </a:prstClr>
                    </a:solidFill>
                    <a:latin typeface="Arial" panose="020B0604020202020204"/>
                    <a:ea typeface="华文楷体" panose="02010600040101010101" charset="-122"/>
                  </a:endParaRPr>
                </a:p>
              </p:txBody>
            </p:sp>
            <p:sp>
              <p:nvSpPr>
                <p:cNvPr id="37" name="Freeform: Shape 62"/>
                <p:cNvSpPr/>
                <p:nvPr/>
              </p:nvSpPr>
              <p:spPr>
                <a:xfrm>
                  <a:off x="2489382" y="1617190"/>
                  <a:ext cx="1410482" cy="753469"/>
                </a:xfrm>
                <a:custGeom>
                  <a:avLst/>
                  <a:gdLst/>
                  <a:ahLst/>
                  <a:cxnLst>
                    <a:cxn ang="0">
                      <a:pos x="wd2" y="hd2"/>
                    </a:cxn>
                    <a:cxn ang="5400000">
                      <a:pos x="wd2" y="hd2"/>
                    </a:cxn>
                    <a:cxn ang="10800000">
                      <a:pos x="wd2" y="hd2"/>
                    </a:cxn>
                    <a:cxn ang="16200000">
                      <a:pos x="wd2" y="hd2"/>
                    </a:cxn>
                  </a:cxnLst>
                  <a:rect l="0" t="0" r="r" b="b"/>
                  <a:pathLst>
                    <a:path w="21600" h="21367" extrusionOk="0">
                      <a:moveTo>
                        <a:pt x="10862" y="1"/>
                      </a:moveTo>
                      <a:cubicBezTo>
                        <a:pt x="4897" y="-114"/>
                        <a:pt x="0" y="10473"/>
                        <a:pt x="0" y="10473"/>
                      </a:cubicBezTo>
                      <a:cubicBezTo>
                        <a:pt x="0" y="10473"/>
                        <a:pt x="4777" y="21253"/>
                        <a:pt x="10741" y="21367"/>
                      </a:cubicBezTo>
                      <a:cubicBezTo>
                        <a:pt x="16705" y="21486"/>
                        <a:pt x="21600" y="10898"/>
                        <a:pt x="21600" y="10898"/>
                      </a:cubicBezTo>
                      <a:cubicBezTo>
                        <a:pt x="21600" y="10898"/>
                        <a:pt x="16826" y="117"/>
                        <a:pt x="10862" y="1"/>
                      </a:cubicBezTo>
                      <a:close/>
                    </a:path>
                  </a:pathLst>
                </a:custGeom>
                <a:solidFill>
                  <a:srgbClr val="FEA07A"/>
                </a:solidFill>
                <a:ln w="12700" cap="flat">
                  <a:noFill/>
                  <a:miter lim="400000"/>
                </a:ln>
                <a:effectLst/>
              </p:spPr>
              <p:txBody>
                <a:bodyPr anchor="ctr"/>
                <a:lstStyle/>
                <a:p>
                  <a:pPr algn="ctr"/>
                  <a:endParaRPr sz="1865">
                    <a:solidFill>
                      <a:prstClr val="white">
                        <a:lumMod val="50000"/>
                      </a:prstClr>
                    </a:solidFill>
                    <a:latin typeface="Arial" panose="020B0604020202020204"/>
                    <a:ea typeface="华文楷体" panose="02010600040101010101" charset="-122"/>
                  </a:endParaRPr>
                </a:p>
              </p:txBody>
            </p:sp>
            <p:sp>
              <p:nvSpPr>
                <p:cNvPr id="38" name="Freeform: Shape 63"/>
                <p:cNvSpPr/>
                <p:nvPr/>
              </p:nvSpPr>
              <p:spPr>
                <a:xfrm>
                  <a:off x="2289505" y="2362187"/>
                  <a:ext cx="993484" cy="1011294"/>
                </a:xfrm>
                <a:custGeom>
                  <a:avLst/>
                  <a:gdLst/>
                  <a:ahLst/>
                  <a:cxnLst>
                    <a:cxn ang="0">
                      <a:pos x="wd2" y="hd2"/>
                    </a:cxn>
                    <a:cxn ang="5400000">
                      <a:pos x="wd2" y="hd2"/>
                    </a:cxn>
                    <a:cxn ang="10800000">
                      <a:pos x="wd2" y="hd2"/>
                    </a:cxn>
                    <a:cxn ang="16200000">
                      <a:pos x="wd2" y="hd2"/>
                    </a:cxn>
                  </a:cxnLst>
                  <a:rect l="0" t="0" r="r" b="b"/>
                  <a:pathLst>
                    <a:path w="19807" h="20153" extrusionOk="0">
                      <a:moveTo>
                        <a:pt x="66" y="35"/>
                      </a:moveTo>
                      <a:cubicBezTo>
                        <a:pt x="66" y="35"/>
                        <a:pt x="-895" y="9784"/>
                        <a:pt x="4539" y="15329"/>
                      </a:cubicBezTo>
                      <a:cubicBezTo>
                        <a:pt x="9971" y="20878"/>
                        <a:pt x="19741" y="20117"/>
                        <a:pt x="19741" y="20117"/>
                      </a:cubicBezTo>
                      <a:cubicBezTo>
                        <a:pt x="19741" y="20117"/>
                        <a:pt x="20705" y="10370"/>
                        <a:pt x="15274" y="4824"/>
                      </a:cubicBezTo>
                      <a:cubicBezTo>
                        <a:pt x="9838" y="-722"/>
                        <a:pt x="66" y="35"/>
                        <a:pt x="66" y="35"/>
                      </a:cubicBezTo>
                      <a:close/>
                    </a:path>
                  </a:pathLst>
                </a:custGeom>
                <a:solidFill>
                  <a:srgbClr val="FEA07A"/>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9" name="Freeform: Shape 64"/>
                <p:cNvSpPr/>
                <p:nvPr/>
              </p:nvSpPr>
              <p:spPr>
                <a:xfrm>
                  <a:off x="1526337" y="2489382"/>
                  <a:ext cx="753511" cy="1410509"/>
                </a:xfrm>
                <a:custGeom>
                  <a:avLst/>
                  <a:gdLst/>
                  <a:ahLst/>
                  <a:cxnLst>
                    <a:cxn ang="0">
                      <a:pos x="wd2" y="hd2"/>
                    </a:cxn>
                    <a:cxn ang="5400000">
                      <a:pos x="wd2" y="hd2"/>
                    </a:cxn>
                    <a:cxn ang="10800000">
                      <a:pos x="wd2" y="hd2"/>
                    </a:cxn>
                    <a:cxn ang="16200000">
                      <a:pos x="wd2" y="hd2"/>
                    </a:cxn>
                  </a:cxnLst>
                  <a:rect l="0" t="0" r="r" b="b"/>
                  <a:pathLst>
                    <a:path w="21370" h="21600" extrusionOk="0">
                      <a:moveTo>
                        <a:pt x="10895" y="0"/>
                      </a:moveTo>
                      <a:cubicBezTo>
                        <a:pt x="10895" y="0"/>
                        <a:pt x="116" y="4777"/>
                        <a:pt x="1" y="10741"/>
                      </a:cubicBezTo>
                      <a:cubicBezTo>
                        <a:pt x="-118" y="16705"/>
                        <a:pt x="10470" y="21600"/>
                        <a:pt x="10470" y="21600"/>
                      </a:cubicBezTo>
                      <a:cubicBezTo>
                        <a:pt x="10470" y="21600"/>
                        <a:pt x="21252" y="16825"/>
                        <a:pt x="21369" y="10862"/>
                      </a:cubicBezTo>
                      <a:cubicBezTo>
                        <a:pt x="21482" y="4895"/>
                        <a:pt x="10895" y="0"/>
                        <a:pt x="10895" y="0"/>
                      </a:cubicBezTo>
                      <a:close/>
                    </a:path>
                  </a:pathLst>
                </a:custGeom>
                <a:solidFill>
                  <a:srgbClr val="FEA07A"/>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0" name="Freeform: Shape 65"/>
                <p:cNvSpPr/>
                <p:nvPr/>
              </p:nvSpPr>
              <p:spPr>
                <a:xfrm>
                  <a:off x="526950" y="2289505"/>
                  <a:ext cx="1011316" cy="993281"/>
                </a:xfrm>
                <a:custGeom>
                  <a:avLst/>
                  <a:gdLst/>
                  <a:ahLst/>
                  <a:cxnLst>
                    <a:cxn ang="0">
                      <a:pos x="wd2" y="hd2"/>
                    </a:cxn>
                    <a:cxn ang="5400000">
                      <a:pos x="wd2" y="hd2"/>
                    </a:cxn>
                    <a:cxn ang="10800000">
                      <a:pos x="wd2" y="hd2"/>
                    </a:cxn>
                    <a:cxn ang="16200000">
                      <a:pos x="wd2" y="hd2"/>
                    </a:cxn>
                  </a:cxnLst>
                  <a:rect l="0" t="0" r="r" b="b"/>
                  <a:pathLst>
                    <a:path w="20647" h="20558" extrusionOk="0">
                      <a:moveTo>
                        <a:pt x="15704" y="15854"/>
                      </a:moveTo>
                      <a:cubicBezTo>
                        <a:pt x="18120" y="13457"/>
                        <a:pt x="19361" y="10249"/>
                        <a:pt x="19998" y="7349"/>
                      </a:cubicBezTo>
                      <a:cubicBezTo>
                        <a:pt x="20012" y="7292"/>
                        <a:pt x="20028" y="7233"/>
                        <a:pt x="20039" y="7176"/>
                      </a:cubicBezTo>
                      <a:cubicBezTo>
                        <a:pt x="20859" y="3326"/>
                        <a:pt x="20612" y="69"/>
                        <a:pt x="20612" y="69"/>
                      </a:cubicBezTo>
                      <a:cubicBezTo>
                        <a:pt x="20612" y="69"/>
                        <a:pt x="10622" y="-931"/>
                        <a:pt x="4943" y="4711"/>
                      </a:cubicBezTo>
                      <a:cubicBezTo>
                        <a:pt x="-741" y="10351"/>
                        <a:pt x="36" y="20493"/>
                        <a:pt x="36" y="20493"/>
                      </a:cubicBezTo>
                      <a:cubicBezTo>
                        <a:pt x="36" y="20493"/>
                        <a:pt x="1847" y="20669"/>
                        <a:pt x="4360" y="20444"/>
                      </a:cubicBezTo>
                      <a:cubicBezTo>
                        <a:pt x="6033" y="20293"/>
                        <a:pt x="8011" y="19956"/>
                        <a:pt x="9987" y="19271"/>
                      </a:cubicBezTo>
                      <a:cubicBezTo>
                        <a:pt x="12023" y="18567"/>
                        <a:pt x="14048" y="17499"/>
                        <a:pt x="15704" y="15854"/>
                      </a:cubicBezTo>
                      <a:close/>
                    </a:path>
                  </a:pathLst>
                </a:custGeom>
                <a:solidFill>
                  <a:srgbClr val="FEA07A"/>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1" name="Freeform: Shape 66"/>
                <p:cNvSpPr/>
                <p:nvPr/>
              </p:nvSpPr>
              <p:spPr>
                <a:xfrm>
                  <a:off x="0" y="1526336"/>
                  <a:ext cx="1410456" cy="753462"/>
                </a:xfrm>
                <a:custGeom>
                  <a:avLst/>
                  <a:gdLst/>
                  <a:ahLst/>
                  <a:cxnLst>
                    <a:cxn ang="0">
                      <a:pos x="wd2" y="hd2"/>
                    </a:cxn>
                    <a:cxn ang="5400000">
                      <a:pos x="wd2" y="hd2"/>
                    </a:cxn>
                    <a:cxn ang="10800000">
                      <a:pos x="wd2" y="hd2"/>
                    </a:cxn>
                    <a:cxn ang="16200000">
                      <a:pos x="wd2" y="hd2"/>
                    </a:cxn>
                  </a:cxnLst>
                  <a:rect l="0" t="0" r="r" b="b"/>
                  <a:pathLst>
                    <a:path w="21600" h="21365" extrusionOk="0">
                      <a:moveTo>
                        <a:pt x="21600" y="10893"/>
                      </a:moveTo>
                      <a:cubicBezTo>
                        <a:pt x="21600" y="10893"/>
                        <a:pt x="16823" y="112"/>
                        <a:pt x="10859" y="1"/>
                      </a:cubicBezTo>
                      <a:cubicBezTo>
                        <a:pt x="4897" y="-120"/>
                        <a:pt x="0" y="10469"/>
                        <a:pt x="0" y="10469"/>
                      </a:cubicBezTo>
                      <a:cubicBezTo>
                        <a:pt x="0" y="10469"/>
                        <a:pt x="4775" y="21248"/>
                        <a:pt x="10739" y="21364"/>
                      </a:cubicBezTo>
                      <a:cubicBezTo>
                        <a:pt x="16705" y="21480"/>
                        <a:pt x="21600" y="10893"/>
                        <a:pt x="21600" y="10893"/>
                      </a:cubicBezTo>
                      <a:close/>
                    </a:path>
                  </a:pathLst>
                </a:custGeom>
                <a:solidFill>
                  <a:srgbClr val="FEA07A"/>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2" name="Freeform: Shape 67"/>
                <p:cNvSpPr/>
                <p:nvPr/>
              </p:nvSpPr>
              <p:spPr>
                <a:xfrm>
                  <a:off x="599632" y="526949"/>
                  <a:ext cx="993437" cy="1011410"/>
                </a:xfrm>
                <a:custGeom>
                  <a:avLst/>
                  <a:gdLst/>
                  <a:ahLst/>
                  <a:cxnLst>
                    <a:cxn ang="0">
                      <a:pos x="wd2" y="hd2"/>
                    </a:cxn>
                    <a:cxn ang="5400000">
                      <a:pos x="wd2" y="hd2"/>
                    </a:cxn>
                    <a:cxn ang="10800000">
                      <a:pos x="wd2" y="hd2"/>
                    </a:cxn>
                    <a:cxn ang="16200000">
                      <a:pos x="wd2" y="hd2"/>
                    </a:cxn>
                  </a:cxnLst>
                  <a:rect l="0" t="0" r="r" b="b"/>
                  <a:pathLst>
                    <a:path w="19808" h="20157" extrusionOk="0">
                      <a:moveTo>
                        <a:pt x="19742" y="20122"/>
                      </a:moveTo>
                      <a:cubicBezTo>
                        <a:pt x="19742" y="20122"/>
                        <a:pt x="20705" y="10370"/>
                        <a:pt x="15267" y="4824"/>
                      </a:cubicBezTo>
                      <a:cubicBezTo>
                        <a:pt x="9838" y="-723"/>
                        <a:pt x="66" y="35"/>
                        <a:pt x="66" y="35"/>
                      </a:cubicBezTo>
                      <a:cubicBezTo>
                        <a:pt x="66" y="35"/>
                        <a:pt x="-895" y="9786"/>
                        <a:pt x="4537" y="15332"/>
                      </a:cubicBezTo>
                      <a:cubicBezTo>
                        <a:pt x="9970" y="20877"/>
                        <a:pt x="19742" y="20122"/>
                        <a:pt x="19742" y="20122"/>
                      </a:cubicBezTo>
                      <a:close/>
                    </a:path>
                  </a:pathLst>
                </a:custGeom>
                <a:solidFill>
                  <a:srgbClr val="FEA07A"/>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3" name="Freeform: Shape 68"/>
                <p:cNvSpPr/>
                <p:nvPr/>
              </p:nvSpPr>
              <p:spPr>
                <a:xfrm>
                  <a:off x="1853409" y="1453654"/>
                  <a:ext cx="194627" cy="364506"/>
                </a:xfrm>
                <a:custGeom>
                  <a:avLst/>
                  <a:gdLst/>
                  <a:ahLst/>
                  <a:cxnLst>
                    <a:cxn ang="0">
                      <a:pos x="wd2" y="hd2"/>
                    </a:cxn>
                    <a:cxn ang="5400000">
                      <a:pos x="wd2" y="hd2"/>
                    </a:cxn>
                    <a:cxn ang="10800000">
                      <a:pos x="wd2" y="hd2"/>
                    </a:cxn>
                    <a:cxn ang="16200000">
                      <a:pos x="wd2" y="hd2"/>
                    </a:cxn>
                  </a:cxnLst>
                  <a:rect l="0" t="0" r="r" b="b"/>
                  <a:pathLst>
                    <a:path w="21364" h="21600" extrusionOk="0">
                      <a:moveTo>
                        <a:pt x="10899" y="0"/>
                      </a:moveTo>
                      <a:cubicBezTo>
                        <a:pt x="10899" y="0"/>
                        <a:pt x="110" y="4774"/>
                        <a:pt x="1" y="10741"/>
                      </a:cubicBezTo>
                      <a:cubicBezTo>
                        <a:pt x="-120" y="16701"/>
                        <a:pt x="10476" y="21600"/>
                        <a:pt x="10476" y="21600"/>
                      </a:cubicBezTo>
                      <a:cubicBezTo>
                        <a:pt x="10476" y="21600"/>
                        <a:pt x="21260" y="16826"/>
                        <a:pt x="21363" y="10858"/>
                      </a:cubicBezTo>
                      <a:cubicBezTo>
                        <a:pt x="21480" y="4894"/>
                        <a:pt x="10899" y="0"/>
                        <a:pt x="10899" y="0"/>
                      </a:cubicBezTo>
                      <a:close/>
                    </a:path>
                  </a:pathLst>
                </a:custGeom>
                <a:grp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4" name="Freeform: Shape 69"/>
                <p:cNvSpPr/>
                <p:nvPr/>
              </p:nvSpPr>
              <p:spPr>
                <a:xfrm>
                  <a:off x="2053287" y="1599019"/>
                  <a:ext cx="261328" cy="256713"/>
                </a:xfrm>
                <a:custGeom>
                  <a:avLst/>
                  <a:gdLst/>
                  <a:ahLst/>
                  <a:cxnLst>
                    <a:cxn ang="0">
                      <a:pos x="wd2" y="hd2"/>
                    </a:cxn>
                    <a:cxn ang="5400000">
                      <a:pos x="wd2" y="hd2"/>
                    </a:cxn>
                    <a:cxn ang="10800000">
                      <a:pos x="wd2" y="hd2"/>
                    </a:cxn>
                    <a:cxn ang="16200000">
                      <a:pos x="wd2" y="hd2"/>
                    </a:cxn>
                  </a:cxnLst>
                  <a:rect l="0" t="0" r="r" b="b"/>
                  <a:pathLst>
                    <a:path w="20154" h="19803" extrusionOk="0">
                      <a:moveTo>
                        <a:pt x="15329" y="15270"/>
                      </a:moveTo>
                      <a:cubicBezTo>
                        <a:pt x="20877" y="9835"/>
                        <a:pt x="20119" y="66"/>
                        <a:pt x="20119" y="66"/>
                      </a:cubicBezTo>
                      <a:cubicBezTo>
                        <a:pt x="20119" y="66"/>
                        <a:pt x="10371" y="-896"/>
                        <a:pt x="4829" y="4529"/>
                      </a:cubicBezTo>
                      <a:cubicBezTo>
                        <a:pt x="-723" y="9967"/>
                        <a:pt x="35" y="19736"/>
                        <a:pt x="35" y="19736"/>
                      </a:cubicBezTo>
                      <a:cubicBezTo>
                        <a:pt x="35" y="19736"/>
                        <a:pt x="9781" y="20704"/>
                        <a:pt x="15329" y="15270"/>
                      </a:cubicBezTo>
                      <a:close/>
                    </a:path>
                  </a:pathLst>
                </a:custGeom>
                <a:grp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5" name="Freeform: Shape 70"/>
                <p:cNvSpPr/>
                <p:nvPr/>
              </p:nvSpPr>
              <p:spPr>
                <a:xfrm>
                  <a:off x="2089628" y="1871579"/>
                  <a:ext cx="364372" cy="194741"/>
                </a:xfrm>
                <a:custGeom>
                  <a:avLst/>
                  <a:gdLst/>
                  <a:ahLst/>
                  <a:cxnLst>
                    <a:cxn ang="0">
                      <a:pos x="wd2" y="hd2"/>
                    </a:cxn>
                    <a:cxn ang="5400000">
                      <a:pos x="wd2" y="hd2"/>
                    </a:cxn>
                    <a:cxn ang="10800000">
                      <a:pos x="wd2" y="hd2"/>
                    </a:cxn>
                    <a:cxn ang="16200000">
                      <a:pos x="wd2" y="hd2"/>
                    </a:cxn>
                  </a:cxnLst>
                  <a:rect l="0" t="0" r="r" b="b"/>
                  <a:pathLst>
                    <a:path w="21600" h="21371" extrusionOk="0">
                      <a:moveTo>
                        <a:pt x="10735" y="21370"/>
                      </a:moveTo>
                      <a:cubicBezTo>
                        <a:pt x="16701" y="21489"/>
                        <a:pt x="21600" y="10901"/>
                        <a:pt x="21600" y="10901"/>
                      </a:cubicBezTo>
                      <a:cubicBezTo>
                        <a:pt x="21600" y="10901"/>
                        <a:pt x="16823" y="123"/>
                        <a:pt x="10856" y="1"/>
                      </a:cubicBezTo>
                      <a:cubicBezTo>
                        <a:pt x="4895" y="-111"/>
                        <a:pt x="0" y="10479"/>
                        <a:pt x="0" y="10479"/>
                      </a:cubicBezTo>
                      <a:cubicBezTo>
                        <a:pt x="0" y="10479"/>
                        <a:pt x="4776" y="21258"/>
                        <a:pt x="10735" y="21370"/>
                      </a:cubicBezTo>
                      <a:close/>
                    </a:path>
                  </a:pathLst>
                </a:custGeom>
                <a:grp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6" name="Freeform: Shape 71"/>
                <p:cNvSpPr/>
                <p:nvPr/>
              </p:nvSpPr>
              <p:spPr>
                <a:xfrm>
                  <a:off x="2035116" y="2053286"/>
                  <a:ext cx="256786" cy="261332"/>
                </a:xfrm>
                <a:custGeom>
                  <a:avLst/>
                  <a:gdLst/>
                  <a:ahLst/>
                  <a:cxnLst>
                    <a:cxn ang="0">
                      <a:pos x="wd2" y="hd2"/>
                    </a:cxn>
                    <a:cxn ang="5400000">
                      <a:pos x="wd2" y="hd2"/>
                    </a:cxn>
                    <a:cxn ang="10800000">
                      <a:pos x="wd2" y="hd2"/>
                    </a:cxn>
                    <a:cxn ang="16200000">
                      <a:pos x="wd2" y="hd2"/>
                    </a:cxn>
                  </a:cxnLst>
                  <a:rect l="0" t="0" r="r" b="b"/>
                  <a:pathLst>
                    <a:path w="19816" h="20152" extrusionOk="0">
                      <a:moveTo>
                        <a:pt x="64" y="35"/>
                      </a:moveTo>
                      <a:cubicBezTo>
                        <a:pt x="64" y="35"/>
                        <a:pt x="-890" y="9785"/>
                        <a:pt x="4539" y="15330"/>
                      </a:cubicBezTo>
                      <a:cubicBezTo>
                        <a:pt x="9977" y="20879"/>
                        <a:pt x="19750" y="20117"/>
                        <a:pt x="19750" y="20117"/>
                      </a:cubicBezTo>
                      <a:cubicBezTo>
                        <a:pt x="19750" y="20117"/>
                        <a:pt x="20710" y="10371"/>
                        <a:pt x="15276" y="4824"/>
                      </a:cubicBezTo>
                      <a:cubicBezTo>
                        <a:pt x="9843" y="-721"/>
                        <a:pt x="64" y="35"/>
                        <a:pt x="64" y="35"/>
                      </a:cubicBezTo>
                      <a:close/>
                    </a:path>
                  </a:pathLst>
                </a:custGeom>
                <a:grp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7" name="Freeform: Shape 72"/>
                <p:cNvSpPr/>
                <p:nvPr/>
              </p:nvSpPr>
              <p:spPr>
                <a:xfrm>
                  <a:off x="1835238" y="2089627"/>
                  <a:ext cx="194747" cy="364514"/>
                </a:xfrm>
                <a:custGeom>
                  <a:avLst/>
                  <a:gdLst/>
                  <a:ahLst/>
                  <a:cxnLst>
                    <a:cxn ang="0">
                      <a:pos x="wd2" y="hd2"/>
                    </a:cxn>
                    <a:cxn ang="5400000">
                      <a:pos x="wd2" y="hd2"/>
                    </a:cxn>
                    <a:cxn ang="10800000">
                      <a:pos x="wd2" y="hd2"/>
                    </a:cxn>
                    <a:cxn ang="16200000">
                      <a:pos x="wd2" y="hd2"/>
                    </a:cxn>
                  </a:cxnLst>
                  <a:rect l="0" t="0" r="r" b="b"/>
                  <a:pathLst>
                    <a:path w="21389" h="21600" extrusionOk="0">
                      <a:moveTo>
                        <a:pt x="10484" y="21600"/>
                      </a:moveTo>
                      <a:cubicBezTo>
                        <a:pt x="10484" y="21600"/>
                        <a:pt x="21271" y="16828"/>
                        <a:pt x="21388" y="10864"/>
                      </a:cubicBezTo>
                      <a:cubicBezTo>
                        <a:pt x="21497" y="4896"/>
                        <a:pt x="10901" y="0"/>
                        <a:pt x="10901" y="0"/>
                      </a:cubicBezTo>
                      <a:cubicBezTo>
                        <a:pt x="10901" y="0"/>
                        <a:pt x="133" y="4776"/>
                        <a:pt x="0" y="10746"/>
                      </a:cubicBezTo>
                      <a:cubicBezTo>
                        <a:pt x="-103" y="16704"/>
                        <a:pt x="10484" y="21600"/>
                        <a:pt x="10484" y="21600"/>
                      </a:cubicBezTo>
                      <a:close/>
                    </a:path>
                  </a:pathLst>
                </a:custGeom>
                <a:grp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8" name="Freeform: Shape 73"/>
                <p:cNvSpPr/>
                <p:nvPr/>
              </p:nvSpPr>
              <p:spPr>
                <a:xfrm>
                  <a:off x="1580849" y="2035115"/>
                  <a:ext cx="261372" cy="256676"/>
                </a:xfrm>
                <a:custGeom>
                  <a:avLst/>
                  <a:gdLst/>
                  <a:ahLst/>
                  <a:cxnLst>
                    <a:cxn ang="0">
                      <a:pos x="wd2" y="hd2"/>
                    </a:cxn>
                    <a:cxn ang="5400000">
                      <a:pos x="wd2" y="hd2"/>
                    </a:cxn>
                    <a:cxn ang="10800000">
                      <a:pos x="wd2" y="hd2"/>
                    </a:cxn>
                    <a:cxn ang="16200000">
                      <a:pos x="wd2" y="hd2"/>
                    </a:cxn>
                  </a:cxnLst>
                  <a:rect l="0" t="0" r="r" b="b"/>
                  <a:pathLst>
                    <a:path w="20161" h="19802" extrusionOk="0">
                      <a:moveTo>
                        <a:pt x="15332" y="15268"/>
                      </a:moveTo>
                      <a:cubicBezTo>
                        <a:pt x="20877" y="9836"/>
                        <a:pt x="20127" y="66"/>
                        <a:pt x="20127" y="66"/>
                      </a:cubicBezTo>
                      <a:cubicBezTo>
                        <a:pt x="20127" y="66"/>
                        <a:pt x="10373" y="-896"/>
                        <a:pt x="4822" y="4538"/>
                      </a:cubicBezTo>
                      <a:cubicBezTo>
                        <a:pt x="-723" y="9968"/>
                        <a:pt x="35" y="19735"/>
                        <a:pt x="35" y="19735"/>
                      </a:cubicBezTo>
                      <a:cubicBezTo>
                        <a:pt x="35" y="19735"/>
                        <a:pt x="9790" y="20704"/>
                        <a:pt x="15332" y="15268"/>
                      </a:cubicBezTo>
                      <a:close/>
                    </a:path>
                  </a:pathLst>
                </a:custGeom>
                <a:grp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49" name="Freeform: Shape 74"/>
                <p:cNvSpPr/>
                <p:nvPr/>
              </p:nvSpPr>
              <p:spPr>
                <a:xfrm>
                  <a:off x="1435483" y="1835238"/>
                  <a:ext cx="364461" cy="194769"/>
                </a:xfrm>
                <a:custGeom>
                  <a:avLst/>
                  <a:gdLst/>
                  <a:ahLst/>
                  <a:cxnLst>
                    <a:cxn ang="0">
                      <a:pos x="wd2" y="hd2"/>
                    </a:cxn>
                    <a:cxn ang="5400000">
                      <a:pos x="wd2" y="hd2"/>
                    </a:cxn>
                    <a:cxn ang="10800000">
                      <a:pos x="wd2" y="hd2"/>
                    </a:cxn>
                    <a:cxn ang="16200000">
                      <a:pos x="wd2" y="hd2"/>
                    </a:cxn>
                  </a:cxnLst>
                  <a:rect l="0" t="0" r="r" b="b"/>
                  <a:pathLst>
                    <a:path w="21600" h="21365" extrusionOk="0">
                      <a:moveTo>
                        <a:pt x="21600" y="10887"/>
                      </a:moveTo>
                      <a:cubicBezTo>
                        <a:pt x="21600" y="10887"/>
                        <a:pt x="16824" y="116"/>
                        <a:pt x="10859" y="1"/>
                      </a:cubicBezTo>
                      <a:cubicBezTo>
                        <a:pt x="4893" y="-121"/>
                        <a:pt x="0" y="10468"/>
                        <a:pt x="0" y="10468"/>
                      </a:cubicBezTo>
                      <a:cubicBezTo>
                        <a:pt x="0" y="10468"/>
                        <a:pt x="4776" y="21244"/>
                        <a:pt x="10741" y="21363"/>
                      </a:cubicBezTo>
                      <a:cubicBezTo>
                        <a:pt x="16698" y="21479"/>
                        <a:pt x="21600" y="10887"/>
                        <a:pt x="21600" y="10887"/>
                      </a:cubicBezTo>
                      <a:close/>
                    </a:path>
                  </a:pathLst>
                </a:custGeom>
                <a:grp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50" name="Freeform: Shape 75"/>
                <p:cNvSpPr/>
                <p:nvPr/>
              </p:nvSpPr>
              <p:spPr>
                <a:xfrm>
                  <a:off x="1599019" y="1580848"/>
                  <a:ext cx="256791" cy="261429"/>
                </a:xfrm>
                <a:custGeom>
                  <a:avLst/>
                  <a:gdLst/>
                  <a:ahLst/>
                  <a:cxnLst>
                    <a:cxn ang="0">
                      <a:pos x="wd2" y="hd2"/>
                    </a:cxn>
                    <a:cxn ang="5400000">
                      <a:pos x="wd2" y="hd2"/>
                    </a:cxn>
                    <a:cxn ang="10800000">
                      <a:pos x="wd2" y="hd2"/>
                    </a:cxn>
                    <a:cxn ang="16200000">
                      <a:pos x="wd2" y="hd2"/>
                    </a:cxn>
                  </a:cxnLst>
                  <a:rect l="0" t="0" r="r" b="b"/>
                  <a:pathLst>
                    <a:path w="19812" h="20163" extrusionOk="0">
                      <a:moveTo>
                        <a:pt x="19748" y="20130"/>
                      </a:moveTo>
                      <a:cubicBezTo>
                        <a:pt x="19748" y="20130"/>
                        <a:pt x="20702" y="10371"/>
                        <a:pt x="15265" y="4827"/>
                      </a:cubicBezTo>
                      <a:cubicBezTo>
                        <a:pt x="9838" y="-721"/>
                        <a:pt x="66" y="35"/>
                        <a:pt x="66" y="35"/>
                      </a:cubicBezTo>
                      <a:cubicBezTo>
                        <a:pt x="66" y="35"/>
                        <a:pt x="-898" y="9792"/>
                        <a:pt x="4545" y="15331"/>
                      </a:cubicBezTo>
                      <a:cubicBezTo>
                        <a:pt x="9971" y="20879"/>
                        <a:pt x="19748" y="20130"/>
                        <a:pt x="19748" y="20130"/>
                      </a:cubicBezTo>
                      <a:close/>
                    </a:path>
                  </a:pathLst>
                </a:custGeom>
                <a:grp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grpSp>
            <p:nvGrpSpPr>
              <p:cNvPr id="7" name="Group 137"/>
              <p:cNvGrpSpPr/>
              <p:nvPr/>
            </p:nvGrpSpPr>
            <p:grpSpPr>
              <a:xfrm>
                <a:off x="5249679" y="1731264"/>
                <a:ext cx="191002" cy="193558"/>
                <a:chOff x="3036888" y="1909763"/>
                <a:chExt cx="355600" cy="360363"/>
              </a:xfrm>
              <a:solidFill>
                <a:schemeClr val="bg1"/>
              </a:solidFill>
            </p:grpSpPr>
            <p:sp>
              <p:nvSpPr>
                <p:cNvPr id="32" name="Freeform: Shape 138"/>
                <p:cNvSpPr/>
                <p:nvPr/>
              </p:nvSpPr>
              <p:spPr bwMode="auto">
                <a:xfrm>
                  <a:off x="3036888" y="1909763"/>
                  <a:ext cx="355600" cy="360363"/>
                </a:xfrm>
                <a:custGeom>
                  <a:avLst/>
                  <a:gdLst/>
                  <a:ahLst/>
                  <a:cxnLst>
                    <a:cxn ang="0">
                      <a:pos x="84" y="0"/>
                    </a:cxn>
                    <a:cxn ang="0">
                      <a:pos x="46" y="38"/>
                    </a:cxn>
                    <a:cxn ang="0">
                      <a:pos x="48" y="52"/>
                    </a:cxn>
                    <a:cxn ang="0">
                      <a:pos x="2" y="99"/>
                    </a:cxn>
                    <a:cxn ang="0">
                      <a:pos x="0" y="103"/>
                    </a:cxn>
                    <a:cxn ang="0">
                      <a:pos x="0" y="115"/>
                    </a:cxn>
                    <a:cxn ang="0">
                      <a:pos x="7" y="123"/>
                    </a:cxn>
                    <a:cxn ang="0">
                      <a:pos x="19" y="123"/>
                    </a:cxn>
                    <a:cxn ang="0">
                      <a:pos x="24" y="120"/>
                    </a:cxn>
                    <a:cxn ang="0">
                      <a:pos x="29" y="115"/>
                    </a:cxn>
                    <a:cxn ang="0">
                      <a:pos x="38" y="115"/>
                    </a:cxn>
                    <a:cxn ang="0">
                      <a:pos x="46" y="107"/>
                    </a:cxn>
                    <a:cxn ang="0">
                      <a:pos x="46" y="100"/>
                    </a:cxn>
                    <a:cxn ang="0">
                      <a:pos x="53" y="100"/>
                    </a:cxn>
                    <a:cxn ang="0">
                      <a:pos x="61" y="92"/>
                    </a:cxn>
                    <a:cxn ang="0">
                      <a:pos x="61" y="83"/>
                    </a:cxn>
                    <a:cxn ang="0">
                      <a:pos x="70" y="74"/>
                    </a:cxn>
                    <a:cxn ang="0">
                      <a:pos x="84" y="77"/>
                    </a:cxn>
                    <a:cxn ang="0">
                      <a:pos x="122" y="38"/>
                    </a:cxn>
                    <a:cxn ang="0">
                      <a:pos x="84" y="0"/>
                    </a:cxn>
                    <a:cxn ang="0">
                      <a:pos x="84" y="69"/>
                    </a:cxn>
                    <a:cxn ang="0">
                      <a:pos x="69" y="65"/>
                    </a:cxn>
                    <a:cxn ang="0">
                      <a:pos x="67" y="66"/>
                    </a:cxn>
                    <a:cxn ang="0">
                      <a:pos x="63" y="70"/>
                    </a:cxn>
                    <a:cxn ang="0">
                      <a:pos x="56" y="77"/>
                    </a:cxn>
                    <a:cxn ang="0">
                      <a:pos x="53" y="83"/>
                    </a:cxn>
                    <a:cxn ang="0">
                      <a:pos x="53" y="92"/>
                    </a:cxn>
                    <a:cxn ang="0">
                      <a:pos x="46" y="92"/>
                    </a:cxn>
                    <a:cxn ang="0">
                      <a:pos x="38" y="100"/>
                    </a:cxn>
                    <a:cxn ang="0">
                      <a:pos x="38" y="107"/>
                    </a:cxn>
                    <a:cxn ang="0">
                      <a:pos x="29" y="107"/>
                    </a:cxn>
                    <a:cxn ang="0">
                      <a:pos x="24" y="109"/>
                    </a:cxn>
                    <a:cxn ang="0">
                      <a:pos x="18" y="115"/>
                    </a:cxn>
                    <a:cxn ang="0">
                      <a:pos x="7" y="115"/>
                    </a:cxn>
                    <a:cxn ang="0">
                      <a:pos x="7" y="104"/>
                    </a:cxn>
                    <a:cxn ang="0">
                      <a:pos x="52" y="59"/>
                    </a:cxn>
                    <a:cxn ang="0">
                      <a:pos x="52" y="59"/>
                    </a:cxn>
                    <a:cxn ang="0">
                      <a:pos x="58" y="54"/>
                    </a:cxn>
                    <a:cxn ang="0">
                      <a:pos x="53" y="38"/>
                    </a:cxn>
                    <a:cxn ang="0">
                      <a:pos x="84" y="7"/>
                    </a:cxn>
                    <a:cxn ang="0">
                      <a:pos x="115" y="38"/>
                    </a:cxn>
                    <a:cxn ang="0">
                      <a:pos x="84" y="69"/>
                    </a:cxn>
                    <a:cxn ang="0">
                      <a:pos x="84" y="69"/>
                    </a:cxn>
                    <a:cxn ang="0">
                      <a:pos x="84" y="69"/>
                    </a:cxn>
                  </a:cxnLst>
                  <a:rect l="0" t="0" r="r" b="b"/>
                  <a:pathLst>
                    <a:path w="122" h="123">
                      <a:moveTo>
                        <a:pt x="84" y="0"/>
                      </a:moveTo>
                      <a:cubicBezTo>
                        <a:pt x="63" y="0"/>
                        <a:pt x="46" y="17"/>
                        <a:pt x="46" y="38"/>
                      </a:cubicBezTo>
                      <a:cubicBezTo>
                        <a:pt x="46" y="43"/>
                        <a:pt x="47" y="48"/>
                        <a:pt x="48" y="52"/>
                      </a:cubicBezTo>
                      <a:cubicBezTo>
                        <a:pt x="2" y="99"/>
                        <a:pt x="2" y="99"/>
                        <a:pt x="2" y="99"/>
                      </a:cubicBezTo>
                      <a:cubicBezTo>
                        <a:pt x="1" y="100"/>
                        <a:pt x="0" y="101"/>
                        <a:pt x="0" y="103"/>
                      </a:cubicBezTo>
                      <a:cubicBezTo>
                        <a:pt x="0" y="115"/>
                        <a:pt x="0" y="115"/>
                        <a:pt x="0" y="115"/>
                      </a:cubicBezTo>
                      <a:cubicBezTo>
                        <a:pt x="0" y="119"/>
                        <a:pt x="3" y="123"/>
                        <a:pt x="7" y="123"/>
                      </a:cubicBezTo>
                      <a:cubicBezTo>
                        <a:pt x="19" y="123"/>
                        <a:pt x="19" y="123"/>
                        <a:pt x="19" y="123"/>
                      </a:cubicBezTo>
                      <a:cubicBezTo>
                        <a:pt x="21" y="123"/>
                        <a:pt x="22" y="122"/>
                        <a:pt x="24" y="120"/>
                      </a:cubicBezTo>
                      <a:cubicBezTo>
                        <a:pt x="29" y="115"/>
                        <a:pt x="29" y="115"/>
                        <a:pt x="29" y="115"/>
                      </a:cubicBezTo>
                      <a:cubicBezTo>
                        <a:pt x="38" y="115"/>
                        <a:pt x="38" y="115"/>
                        <a:pt x="38" y="115"/>
                      </a:cubicBezTo>
                      <a:cubicBezTo>
                        <a:pt x="42" y="115"/>
                        <a:pt x="46" y="111"/>
                        <a:pt x="46" y="107"/>
                      </a:cubicBezTo>
                      <a:cubicBezTo>
                        <a:pt x="46" y="100"/>
                        <a:pt x="46" y="100"/>
                        <a:pt x="46" y="100"/>
                      </a:cubicBezTo>
                      <a:cubicBezTo>
                        <a:pt x="53" y="100"/>
                        <a:pt x="53" y="100"/>
                        <a:pt x="53" y="100"/>
                      </a:cubicBezTo>
                      <a:cubicBezTo>
                        <a:pt x="58" y="100"/>
                        <a:pt x="61" y="96"/>
                        <a:pt x="61" y="92"/>
                      </a:cubicBezTo>
                      <a:cubicBezTo>
                        <a:pt x="61" y="83"/>
                        <a:pt x="61" y="83"/>
                        <a:pt x="61" y="83"/>
                      </a:cubicBezTo>
                      <a:cubicBezTo>
                        <a:pt x="70" y="74"/>
                        <a:pt x="70" y="74"/>
                        <a:pt x="70" y="74"/>
                      </a:cubicBezTo>
                      <a:cubicBezTo>
                        <a:pt x="74" y="76"/>
                        <a:pt x="79" y="77"/>
                        <a:pt x="84" y="77"/>
                      </a:cubicBezTo>
                      <a:cubicBezTo>
                        <a:pt x="105" y="77"/>
                        <a:pt x="122" y="59"/>
                        <a:pt x="122" y="38"/>
                      </a:cubicBezTo>
                      <a:cubicBezTo>
                        <a:pt x="122" y="17"/>
                        <a:pt x="105" y="0"/>
                        <a:pt x="84" y="0"/>
                      </a:cubicBezTo>
                      <a:close/>
                      <a:moveTo>
                        <a:pt x="84" y="69"/>
                      </a:moveTo>
                      <a:cubicBezTo>
                        <a:pt x="78" y="69"/>
                        <a:pt x="73" y="67"/>
                        <a:pt x="69" y="65"/>
                      </a:cubicBezTo>
                      <a:cubicBezTo>
                        <a:pt x="67" y="66"/>
                        <a:pt x="67" y="66"/>
                        <a:pt x="67" y="66"/>
                      </a:cubicBezTo>
                      <a:cubicBezTo>
                        <a:pt x="63" y="70"/>
                        <a:pt x="63" y="70"/>
                        <a:pt x="63" y="70"/>
                      </a:cubicBezTo>
                      <a:cubicBezTo>
                        <a:pt x="56" y="77"/>
                        <a:pt x="56" y="77"/>
                        <a:pt x="56" y="77"/>
                      </a:cubicBezTo>
                      <a:cubicBezTo>
                        <a:pt x="54" y="79"/>
                        <a:pt x="53" y="81"/>
                        <a:pt x="53" y="83"/>
                      </a:cubicBezTo>
                      <a:cubicBezTo>
                        <a:pt x="53" y="92"/>
                        <a:pt x="53" y="92"/>
                        <a:pt x="53" y="92"/>
                      </a:cubicBezTo>
                      <a:cubicBezTo>
                        <a:pt x="46" y="92"/>
                        <a:pt x="46" y="92"/>
                        <a:pt x="46" y="92"/>
                      </a:cubicBezTo>
                      <a:cubicBezTo>
                        <a:pt x="41" y="92"/>
                        <a:pt x="38" y="95"/>
                        <a:pt x="38" y="100"/>
                      </a:cubicBezTo>
                      <a:cubicBezTo>
                        <a:pt x="38" y="107"/>
                        <a:pt x="38" y="107"/>
                        <a:pt x="38" y="107"/>
                      </a:cubicBezTo>
                      <a:cubicBezTo>
                        <a:pt x="29" y="107"/>
                        <a:pt x="29" y="107"/>
                        <a:pt x="29" y="107"/>
                      </a:cubicBezTo>
                      <a:cubicBezTo>
                        <a:pt x="27" y="107"/>
                        <a:pt x="25" y="108"/>
                        <a:pt x="24" y="109"/>
                      </a:cubicBezTo>
                      <a:cubicBezTo>
                        <a:pt x="18" y="115"/>
                        <a:pt x="18" y="115"/>
                        <a:pt x="18" y="115"/>
                      </a:cubicBezTo>
                      <a:cubicBezTo>
                        <a:pt x="7" y="115"/>
                        <a:pt x="7" y="115"/>
                        <a:pt x="7" y="115"/>
                      </a:cubicBezTo>
                      <a:cubicBezTo>
                        <a:pt x="7" y="104"/>
                        <a:pt x="7" y="104"/>
                        <a:pt x="7" y="104"/>
                      </a:cubicBezTo>
                      <a:cubicBezTo>
                        <a:pt x="52" y="59"/>
                        <a:pt x="52" y="59"/>
                        <a:pt x="52" y="59"/>
                      </a:cubicBezTo>
                      <a:cubicBezTo>
                        <a:pt x="52" y="59"/>
                        <a:pt x="52" y="59"/>
                        <a:pt x="52" y="59"/>
                      </a:cubicBezTo>
                      <a:cubicBezTo>
                        <a:pt x="58" y="54"/>
                        <a:pt x="58" y="54"/>
                        <a:pt x="58" y="54"/>
                      </a:cubicBezTo>
                      <a:cubicBezTo>
                        <a:pt x="55" y="49"/>
                        <a:pt x="53" y="44"/>
                        <a:pt x="53" y="38"/>
                      </a:cubicBezTo>
                      <a:cubicBezTo>
                        <a:pt x="53" y="21"/>
                        <a:pt x="67" y="7"/>
                        <a:pt x="84" y="7"/>
                      </a:cubicBezTo>
                      <a:cubicBezTo>
                        <a:pt x="101" y="7"/>
                        <a:pt x="115" y="21"/>
                        <a:pt x="115" y="38"/>
                      </a:cubicBezTo>
                      <a:cubicBezTo>
                        <a:pt x="115" y="55"/>
                        <a:pt x="101" y="69"/>
                        <a:pt x="84" y="69"/>
                      </a:cubicBezTo>
                      <a:close/>
                      <a:moveTo>
                        <a:pt x="84" y="69"/>
                      </a:moveTo>
                      <a:cubicBezTo>
                        <a:pt x="84" y="69"/>
                        <a:pt x="84" y="69"/>
                        <a:pt x="84" y="69"/>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3" name="Freeform: Shape 139"/>
                <p:cNvSpPr/>
                <p:nvPr/>
              </p:nvSpPr>
              <p:spPr bwMode="auto">
                <a:xfrm>
                  <a:off x="3259138" y="1952626"/>
                  <a:ext cx="90488" cy="92075"/>
                </a:xfrm>
                <a:custGeom>
                  <a:avLst/>
                  <a:gdLst/>
                  <a:ahLst/>
                  <a:cxnLst>
                    <a:cxn ang="0">
                      <a:pos x="30" y="16"/>
                    </a:cxn>
                    <a:cxn ang="0">
                      <a:pos x="15" y="1"/>
                    </a:cxn>
                    <a:cxn ang="0">
                      <a:pos x="11" y="0"/>
                    </a:cxn>
                    <a:cxn ang="0">
                      <a:pos x="1" y="11"/>
                    </a:cxn>
                    <a:cxn ang="0">
                      <a:pos x="0" y="12"/>
                    </a:cxn>
                    <a:cxn ang="0">
                      <a:pos x="1" y="15"/>
                    </a:cxn>
                    <a:cxn ang="0">
                      <a:pos x="17" y="30"/>
                    </a:cxn>
                    <a:cxn ang="0">
                      <a:pos x="20" y="31"/>
                    </a:cxn>
                    <a:cxn ang="0">
                      <a:pos x="31" y="20"/>
                    </a:cxn>
                    <a:cxn ang="0">
                      <a:pos x="31" y="19"/>
                    </a:cxn>
                    <a:cxn ang="0">
                      <a:pos x="30" y="16"/>
                    </a:cxn>
                    <a:cxn ang="0">
                      <a:pos x="19" y="27"/>
                    </a:cxn>
                    <a:cxn ang="0">
                      <a:pos x="4" y="13"/>
                    </a:cxn>
                    <a:cxn ang="0">
                      <a:pos x="13" y="4"/>
                    </a:cxn>
                    <a:cxn ang="0">
                      <a:pos x="27" y="19"/>
                    </a:cxn>
                    <a:cxn ang="0">
                      <a:pos x="19" y="27"/>
                    </a:cxn>
                    <a:cxn ang="0">
                      <a:pos x="19" y="27"/>
                    </a:cxn>
                    <a:cxn ang="0">
                      <a:pos x="19" y="27"/>
                    </a:cxn>
                  </a:cxnLst>
                  <a:rect l="0" t="0" r="r" b="b"/>
                  <a:pathLst>
                    <a:path w="31" h="31">
                      <a:moveTo>
                        <a:pt x="30" y="16"/>
                      </a:moveTo>
                      <a:cubicBezTo>
                        <a:pt x="26" y="10"/>
                        <a:pt x="21" y="5"/>
                        <a:pt x="15" y="1"/>
                      </a:cubicBezTo>
                      <a:cubicBezTo>
                        <a:pt x="14" y="0"/>
                        <a:pt x="13" y="0"/>
                        <a:pt x="11" y="0"/>
                      </a:cubicBezTo>
                      <a:cubicBezTo>
                        <a:pt x="6" y="2"/>
                        <a:pt x="2" y="6"/>
                        <a:pt x="1" y="11"/>
                      </a:cubicBezTo>
                      <a:cubicBezTo>
                        <a:pt x="0" y="12"/>
                        <a:pt x="0" y="12"/>
                        <a:pt x="0" y="12"/>
                      </a:cubicBezTo>
                      <a:cubicBezTo>
                        <a:pt x="0" y="13"/>
                        <a:pt x="1" y="14"/>
                        <a:pt x="1" y="15"/>
                      </a:cubicBezTo>
                      <a:cubicBezTo>
                        <a:pt x="5" y="21"/>
                        <a:pt x="11" y="26"/>
                        <a:pt x="17" y="30"/>
                      </a:cubicBezTo>
                      <a:cubicBezTo>
                        <a:pt x="18" y="31"/>
                        <a:pt x="19" y="31"/>
                        <a:pt x="20" y="31"/>
                      </a:cubicBezTo>
                      <a:cubicBezTo>
                        <a:pt x="25" y="29"/>
                        <a:pt x="29" y="25"/>
                        <a:pt x="31" y="20"/>
                      </a:cubicBezTo>
                      <a:cubicBezTo>
                        <a:pt x="31" y="19"/>
                        <a:pt x="31" y="19"/>
                        <a:pt x="31" y="19"/>
                      </a:cubicBezTo>
                      <a:cubicBezTo>
                        <a:pt x="31" y="18"/>
                        <a:pt x="31" y="17"/>
                        <a:pt x="30" y="16"/>
                      </a:cubicBezTo>
                      <a:close/>
                      <a:moveTo>
                        <a:pt x="19" y="27"/>
                      </a:moveTo>
                      <a:cubicBezTo>
                        <a:pt x="13" y="23"/>
                        <a:pt x="8" y="18"/>
                        <a:pt x="4" y="13"/>
                      </a:cubicBezTo>
                      <a:cubicBezTo>
                        <a:pt x="6" y="8"/>
                        <a:pt x="8" y="6"/>
                        <a:pt x="13" y="4"/>
                      </a:cubicBezTo>
                      <a:cubicBezTo>
                        <a:pt x="18" y="8"/>
                        <a:pt x="23" y="13"/>
                        <a:pt x="27" y="19"/>
                      </a:cubicBezTo>
                      <a:cubicBezTo>
                        <a:pt x="26" y="23"/>
                        <a:pt x="23" y="26"/>
                        <a:pt x="19" y="27"/>
                      </a:cubicBezTo>
                      <a:close/>
                      <a:moveTo>
                        <a:pt x="19" y="27"/>
                      </a:moveTo>
                      <a:cubicBezTo>
                        <a:pt x="19" y="27"/>
                        <a:pt x="19" y="27"/>
                        <a:pt x="19" y="27"/>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grpSp>
            <p:nvGrpSpPr>
              <p:cNvPr id="8" name="Group 140"/>
              <p:cNvGrpSpPr/>
              <p:nvPr/>
            </p:nvGrpSpPr>
            <p:grpSpPr>
              <a:xfrm>
                <a:off x="4807799" y="2158445"/>
                <a:ext cx="133018" cy="193558"/>
                <a:chOff x="4075113" y="1909763"/>
                <a:chExt cx="247650" cy="360363"/>
              </a:xfrm>
              <a:solidFill>
                <a:schemeClr val="bg1"/>
              </a:solidFill>
            </p:grpSpPr>
            <p:sp>
              <p:nvSpPr>
                <p:cNvPr id="30" name="Freeform: Shape 141"/>
                <p:cNvSpPr/>
                <p:nvPr/>
              </p:nvSpPr>
              <p:spPr bwMode="auto">
                <a:xfrm>
                  <a:off x="4075113" y="1909763"/>
                  <a:ext cx="247650" cy="360363"/>
                </a:xfrm>
                <a:custGeom>
                  <a:avLst/>
                  <a:gdLst/>
                  <a:ahLst/>
                  <a:cxnLst>
                    <a:cxn ang="0">
                      <a:pos x="42" y="0"/>
                    </a:cxn>
                    <a:cxn ang="0">
                      <a:pos x="0" y="42"/>
                    </a:cxn>
                    <a:cxn ang="0">
                      <a:pos x="19" y="88"/>
                    </a:cxn>
                    <a:cxn ang="0">
                      <a:pos x="42" y="123"/>
                    </a:cxn>
                    <a:cxn ang="0">
                      <a:pos x="65" y="88"/>
                    </a:cxn>
                    <a:cxn ang="0">
                      <a:pos x="85" y="42"/>
                    </a:cxn>
                    <a:cxn ang="0">
                      <a:pos x="42" y="0"/>
                    </a:cxn>
                    <a:cxn ang="0">
                      <a:pos x="52" y="104"/>
                    </a:cxn>
                    <a:cxn ang="0">
                      <a:pos x="33" y="106"/>
                    </a:cxn>
                    <a:cxn ang="0">
                      <a:pos x="31" y="99"/>
                    </a:cxn>
                    <a:cxn ang="0">
                      <a:pos x="31" y="99"/>
                    </a:cxn>
                    <a:cxn ang="0">
                      <a:pos x="55" y="96"/>
                    </a:cxn>
                    <a:cxn ang="0">
                      <a:pos x="54" y="99"/>
                    </a:cxn>
                    <a:cxn ang="0">
                      <a:pos x="52" y="104"/>
                    </a:cxn>
                    <a:cxn ang="0">
                      <a:pos x="30" y="95"/>
                    </a:cxn>
                    <a:cxn ang="0">
                      <a:pos x="27" y="88"/>
                    </a:cxn>
                    <a:cxn ang="0">
                      <a:pos x="57" y="88"/>
                    </a:cxn>
                    <a:cxn ang="0">
                      <a:pos x="56" y="92"/>
                    </a:cxn>
                    <a:cxn ang="0">
                      <a:pos x="30" y="95"/>
                    </a:cxn>
                    <a:cxn ang="0">
                      <a:pos x="42" y="115"/>
                    </a:cxn>
                    <a:cxn ang="0">
                      <a:pos x="35" y="110"/>
                    </a:cxn>
                    <a:cxn ang="0">
                      <a:pos x="51" y="108"/>
                    </a:cxn>
                    <a:cxn ang="0">
                      <a:pos x="42" y="115"/>
                    </a:cxn>
                    <a:cxn ang="0">
                      <a:pos x="60" y="80"/>
                    </a:cxn>
                    <a:cxn ang="0">
                      <a:pos x="24" y="80"/>
                    </a:cxn>
                    <a:cxn ang="0">
                      <a:pos x="18" y="68"/>
                    </a:cxn>
                    <a:cxn ang="0">
                      <a:pos x="8" y="42"/>
                    </a:cxn>
                    <a:cxn ang="0">
                      <a:pos x="42" y="8"/>
                    </a:cxn>
                    <a:cxn ang="0">
                      <a:pos x="77" y="42"/>
                    </a:cxn>
                    <a:cxn ang="0">
                      <a:pos x="67" y="68"/>
                    </a:cxn>
                    <a:cxn ang="0">
                      <a:pos x="60" y="80"/>
                    </a:cxn>
                    <a:cxn ang="0">
                      <a:pos x="60" y="80"/>
                    </a:cxn>
                    <a:cxn ang="0">
                      <a:pos x="60" y="80"/>
                    </a:cxn>
                  </a:cxnLst>
                  <a:rect l="0" t="0" r="r" b="b"/>
                  <a:pathLst>
                    <a:path w="85" h="123">
                      <a:moveTo>
                        <a:pt x="42" y="0"/>
                      </a:moveTo>
                      <a:cubicBezTo>
                        <a:pt x="19" y="0"/>
                        <a:pt x="0" y="19"/>
                        <a:pt x="0" y="42"/>
                      </a:cubicBezTo>
                      <a:cubicBezTo>
                        <a:pt x="0" y="57"/>
                        <a:pt x="14" y="74"/>
                        <a:pt x="19" y="88"/>
                      </a:cubicBezTo>
                      <a:cubicBezTo>
                        <a:pt x="27" y="110"/>
                        <a:pt x="26" y="123"/>
                        <a:pt x="42" y="123"/>
                      </a:cubicBezTo>
                      <a:cubicBezTo>
                        <a:pt x="59" y="123"/>
                        <a:pt x="58" y="110"/>
                        <a:pt x="65" y="88"/>
                      </a:cubicBezTo>
                      <a:cubicBezTo>
                        <a:pt x="70" y="74"/>
                        <a:pt x="85" y="57"/>
                        <a:pt x="85" y="42"/>
                      </a:cubicBezTo>
                      <a:cubicBezTo>
                        <a:pt x="85" y="19"/>
                        <a:pt x="66" y="0"/>
                        <a:pt x="42" y="0"/>
                      </a:cubicBezTo>
                      <a:close/>
                      <a:moveTo>
                        <a:pt x="52" y="104"/>
                      </a:moveTo>
                      <a:cubicBezTo>
                        <a:pt x="33" y="106"/>
                        <a:pt x="33" y="106"/>
                        <a:pt x="33" y="106"/>
                      </a:cubicBezTo>
                      <a:cubicBezTo>
                        <a:pt x="33" y="104"/>
                        <a:pt x="32" y="102"/>
                        <a:pt x="31" y="99"/>
                      </a:cubicBezTo>
                      <a:cubicBezTo>
                        <a:pt x="31" y="99"/>
                        <a:pt x="31" y="99"/>
                        <a:pt x="31" y="99"/>
                      </a:cubicBezTo>
                      <a:cubicBezTo>
                        <a:pt x="55" y="96"/>
                        <a:pt x="55" y="96"/>
                        <a:pt x="55" y="96"/>
                      </a:cubicBezTo>
                      <a:cubicBezTo>
                        <a:pt x="54" y="97"/>
                        <a:pt x="54" y="98"/>
                        <a:pt x="54" y="99"/>
                      </a:cubicBezTo>
                      <a:cubicBezTo>
                        <a:pt x="53" y="101"/>
                        <a:pt x="53" y="103"/>
                        <a:pt x="52" y="104"/>
                      </a:cubicBezTo>
                      <a:close/>
                      <a:moveTo>
                        <a:pt x="30" y="95"/>
                      </a:moveTo>
                      <a:cubicBezTo>
                        <a:pt x="29" y="93"/>
                        <a:pt x="28" y="91"/>
                        <a:pt x="27" y="88"/>
                      </a:cubicBezTo>
                      <a:cubicBezTo>
                        <a:pt x="57" y="88"/>
                        <a:pt x="57" y="88"/>
                        <a:pt x="57" y="88"/>
                      </a:cubicBezTo>
                      <a:cubicBezTo>
                        <a:pt x="57" y="89"/>
                        <a:pt x="56" y="91"/>
                        <a:pt x="56" y="92"/>
                      </a:cubicBezTo>
                      <a:lnTo>
                        <a:pt x="30" y="95"/>
                      </a:lnTo>
                      <a:close/>
                      <a:moveTo>
                        <a:pt x="42" y="115"/>
                      </a:moveTo>
                      <a:cubicBezTo>
                        <a:pt x="38" y="115"/>
                        <a:pt x="37" y="114"/>
                        <a:pt x="35" y="110"/>
                      </a:cubicBezTo>
                      <a:cubicBezTo>
                        <a:pt x="51" y="108"/>
                        <a:pt x="51" y="108"/>
                        <a:pt x="51" y="108"/>
                      </a:cubicBezTo>
                      <a:cubicBezTo>
                        <a:pt x="49" y="114"/>
                        <a:pt x="47" y="115"/>
                        <a:pt x="42" y="115"/>
                      </a:cubicBezTo>
                      <a:close/>
                      <a:moveTo>
                        <a:pt x="60" y="80"/>
                      </a:moveTo>
                      <a:cubicBezTo>
                        <a:pt x="24" y="80"/>
                        <a:pt x="24" y="80"/>
                        <a:pt x="24" y="80"/>
                      </a:cubicBezTo>
                      <a:cubicBezTo>
                        <a:pt x="23" y="76"/>
                        <a:pt x="20" y="72"/>
                        <a:pt x="18" y="68"/>
                      </a:cubicBezTo>
                      <a:cubicBezTo>
                        <a:pt x="13" y="59"/>
                        <a:pt x="8" y="50"/>
                        <a:pt x="8" y="42"/>
                      </a:cubicBezTo>
                      <a:cubicBezTo>
                        <a:pt x="8" y="23"/>
                        <a:pt x="23" y="8"/>
                        <a:pt x="42" y="8"/>
                      </a:cubicBezTo>
                      <a:cubicBezTo>
                        <a:pt x="61" y="8"/>
                        <a:pt x="77" y="23"/>
                        <a:pt x="77" y="42"/>
                      </a:cubicBezTo>
                      <a:cubicBezTo>
                        <a:pt x="77" y="50"/>
                        <a:pt x="72" y="59"/>
                        <a:pt x="67" y="68"/>
                      </a:cubicBezTo>
                      <a:cubicBezTo>
                        <a:pt x="64" y="72"/>
                        <a:pt x="62" y="76"/>
                        <a:pt x="60" y="80"/>
                      </a:cubicBezTo>
                      <a:close/>
                      <a:moveTo>
                        <a:pt x="60" y="80"/>
                      </a:moveTo>
                      <a:cubicBezTo>
                        <a:pt x="60" y="80"/>
                        <a:pt x="60" y="80"/>
                        <a:pt x="60" y="8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31" name="Freeform: Shape 142"/>
                <p:cNvSpPr/>
                <p:nvPr/>
              </p:nvSpPr>
              <p:spPr bwMode="auto">
                <a:xfrm>
                  <a:off x="4130675" y="1965326"/>
                  <a:ext cx="73025" cy="73025"/>
                </a:xfrm>
                <a:custGeom>
                  <a:avLst/>
                  <a:gdLst/>
                  <a:ahLst/>
                  <a:cxnLst>
                    <a:cxn ang="0">
                      <a:pos x="23" y="0"/>
                    </a:cxn>
                    <a:cxn ang="0">
                      <a:pos x="0" y="23"/>
                    </a:cxn>
                    <a:cxn ang="0">
                      <a:pos x="2" y="25"/>
                    </a:cxn>
                    <a:cxn ang="0">
                      <a:pos x="4" y="23"/>
                    </a:cxn>
                    <a:cxn ang="0">
                      <a:pos x="23" y="4"/>
                    </a:cxn>
                    <a:cxn ang="0">
                      <a:pos x="25" y="2"/>
                    </a:cxn>
                    <a:cxn ang="0">
                      <a:pos x="23" y="0"/>
                    </a:cxn>
                    <a:cxn ang="0">
                      <a:pos x="23" y="0"/>
                    </a:cxn>
                    <a:cxn ang="0">
                      <a:pos x="23" y="0"/>
                    </a:cxn>
                  </a:cxnLst>
                  <a:rect l="0" t="0" r="r" b="b"/>
                  <a:pathLst>
                    <a:path w="25" h="25">
                      <a:moveTo>
                        <a:pt x="23" y="0"/>
                      </a:moveTo>
                      <a:cubicBezTo>
                        <a:pt x="11" y="0"/>
                        <a:pt x="0" y="10"/>
                        <a:pt x="0" y="23"/>
                      </a:cubicBezTo>
                      <a:cubicBezTo>
                        <a:pt x="0" y="24"/>
                        <a:pt x="1" y="25"/>
                        <a:pt x="2" y="25"/>
                      </a:cubicBezTo>
                      <a:cubicBezTo>
                        <a:pt x="3" y="25"/>
                        <a:pt x="4" y="24"/>
                        <a:pt x="4" y="23"/>
                      </a:cubicBezTo>
                      <a:cubicBezTo>
                        <a:pt x="4" y="12"/>
                        <a:pt x="13" y="4"/>
                        <a:pt x="23" y="4"/>
                      </a:cubicBezTo>
                      <a:cubicBezTo>
                        <a:pt x="24" y="4"/>
                        <a:pt x="25" y="3"/>
                        <a:pt x="25" y="2"/>
                      </a:cubicBezTo>
                      <a:cubicBezTo>
                        <a:pt x="25" y="1"/>
                        <a:pt x="24" y="0"/>
                        <a:pt x="23" y="0"/>
                      </a:cubicBezTo>
                      <a:close/>
                      <a:moveTo>
                        <a:pt x="23" y="0"/>
                      </a:moveTo>
                      <a:cubicBezTo>
                        <a:pt x="23" y="0"/>
                        <a:pt x="23" y="0"/>
                        <a:pt x="23"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sp>
            <p:nvSpPr>
              <p:cNvPr id="9" name="Freeform: Shape 143"/>
              <p:cNvSpPr/>
              <p:nvPr/>
            </p:nvSpPr>
            <p:spPr bwMode="auto">
              <a:xfrm>
                <a:off x="4931909" y="1879162"/>
                <a:ext cx="194412" cy="167980"/>
              </a:xfrm>
              <a:custGeom>
                <a:avLst/>
                <a:gdLst/>
                <a:ahLst/>
                <a:cxnLst>
                  <a:cxn ang="0">
                    <a:pos x="120" y="17"/>
                  </a:cxn>
                  <a:cxn ang="0">
                    <a:pos x="101" y="2"/>
                  </a:cxn>
                  <a:cxn ang="0">
                    <a:pos x="97" y="0"/>
                  </a:cxn>
                  <a:cxn ang="0">
                    <a:pos x="27" y="0"/>
                  </a:cxn>
                  <a:cxn ang="0">
                    <a:pos x="23" y="2"/>
                  </a:cxn>
                  <a:cxn ang="0">
                    <a:pos x="4" y="17"/>
                  </a:cxn>
                  <a:cxn ang="0">
                    <a:pos x="1" y="26"/>
                  </a:cxn>
                  <a:cxn ang="0">
                    <a:pos x="9" y="49"/>
                  </a:cxn>
                  <a:cxn ang="0">
                    <a:pos x="13" y="53"/>
                  </a:cxn>
                  <a:cxn ang="0">
                    <a:pos x="16" y="54"/>
                  </a:cxn>
                  <a:cxn ang="0">
                    <a:pos x="20" y="53"/>
                  </a:cxn>
                  <a:cxn ang="0">
                    <a:pos x="20" y="100"/>
                  </a:cxn>
                  <a:cxn ang="0">
                    <a:pos x="27" y="107"/>
                  </a:cxn>
                  <a:cxn ang="0">
                    <a:pos x="97" y="107"/>
                  </a:cxn>
                  <a:cxn ang="0">
                    <a:pos x="104" y="100"/>
                  </a:cxn>
                  <a:cxn ang="0">
                    <a:pos x="104" y="53"/>
                  </a:cxn>
                  <a:cxn ang="0">
                    <a:pos x="108" y="54"/>
                  </a:cxn>
                  <a:cxn ang="0">
                    <a:pos x="111" y="53"/>
                  </a:cxn>
                  <a:cxn ang="0">
                    <a:pos x="115" y="49"/>
                  </a:cxn>
                  <a:cxn ang="0">
                    <a:pos x="123" y="26"/>
                  </a:cxn>
                  <a:cxn ang="0">
                    <a:pos x="120" y="17"/>
                  </a:cxn>
                  <a:cxn ang="0">
                    <a:pos x="76" y="8"/>
                  </a:cxn>
                  <a:cxn ang="0">
                    <a:pos x="62" y="15"/>
                  </a:cxn>
                  <a:cxn ang="0">
                    <a:pos x="48" y="8"/>
                  </a:cxn>
                  <a:cxn ang="0">
                    <a:pos x="76" y="8"/>
                  </a:cxn>
                  <a:cxn ang="0">
                    <a:pos x="108" y="46"/>
                  </a:cxn>
                  <a:cxn ang="0">
                    <a:pos x="97" y="38"/>
                  </a:cxn>
                  <a:cxn ang="0">
                    <a:pos x="97" y="100"/>
                  </a:cxn>
                  <a:cxn ang="0">
                    <a:pos x="27" y="100"/>
                  </a:cxn>
                  <a:cxn ang="0">
                    <a:pos x="27" y="38"/>
                  </a:cxn>
                  <a:cxn ang="0">
                    <a:pos x="16" y="46"/>
                  </a:cxn>
                  <a:cxn ang="0">
                    <a:pos x="8" y="23"/>
                  </a:cxn>
                  <a:cxn ang="0">
                    <a:pos x="27" y="8"/>
                  </a:cxn>
                  <a:cxn ang="0">
                    <a:pos x="44" y="8"/>
                  </a:cxn>
                  <a:cxn ang="0">
                    <a:pos x="62" y="19"/>
                  </a:cxn>
                  <a:cxn ang="0">
                    <a:pos x="80" y="8"/>
                  </a:cxn>
                  <a:cxn ang="0">
                    <a:pos x="97" y="8"/>
                  </a:cxn>
                  <a:cxn ang="0">
                    <a:pos x="116" y="23"/>
                  </a:cxn>
                  <a:cxn ang="0">
                    <a:pos x="108" y="46"/>
                  </a:cxn>
                  <a:cxn ang="0">
                    <a:pos x="108" y="46"/>
                  </a:cxn>
                  <a:cxn ang="0">
                    <a:pos x="108" y="46"/>
                  </a:cxn>
                </a:cxnLst>
                <a:rect l="0" t="0" r="r" b="b"/>
                <a:pathLst>
                  <a:path w="124" h="107">
                    <a:moveTo>
                      <a:pt x="120" y="17"/>
                    </a:moveTo>
                    <a:cubicBezTo>
                      <a:pt x="101" y="2"/>
                      <a:pt x="101" y="2"/>
                      <a:pt x="101" y="2"/>
                    </a:cubicBezTo>
                    <a:cubicBezTo>
                      <a:pt x="100" y="1"/>
                      <a:pt x="98" y="0"/>
                      <a:pt x="97" y="0"/>
                    </a:cubicBezTo>
                    <a:cubicBezTo>
                      <a:pt x="27" y="0"/>
                      <a:pt x="27" y="0"/>
                      <a:pt x="27" y="0"/>
                    </a:cubicBezTo>
                    <a:cubicBezTo>
                      <a:pt x="26" y="0"/>
                      <a:pt x="24" y="1"/>
                      <a:pt x="23" y="2"/>
                    </a:cubicBezTo>
                    <a:cubicBezTo>
                      <a:pt x="4" y="17"/>
                      <a:pt x="4" y="17"/>
                      <a:pt x="4" y="17"/>
                    </a:cubicBezTo>
                    <a:cubicBezTo>
                      <a:pt x="1" y="19"/>
                      <a:pt x="0" y="22"/>
                      <a:pt x="1" y="26"/>
                    </a:cubicBezTo>
                    <a:cubicBezTo>
                      <a:pt x="9" y="49"/>
                      <a:pt x="9" y="49"/>
                      <a:pt x="9" y="49"/>
                    </a:cubicBezTo>
                    <a:cubicBezTo>
                      <a:pt x="9" y="51"/>
                      <a:pt x="11" y="53"/>
                      <a:pt x="13" y="53"/>
                    </a:cubicBezTo>
                    <a:cubicBezTo>
                      <a:pt x="14" y="54"/>
                      <a:pt x="15" y="54"/>
                      <a:pt x="16" y="54"/>
                    </a:cubicBezTo>
                    <a:cubicBezTo>
                      <a:pt x="17" y="54"/>
                      <a:pt x="19" y="53"/>
                      <a:pt x="20" y="53"/>
                    </a:cubicBezTo>
                    <a:cubicBezTo>
                      <a:pt x="20" y="100"/>
                      <a:pt x="20" y="100"/>
                      <a:pt x="20" y="100"/>
                    </a:cubicBezTo>
                    <a:cubicBezTo>
                      <a:pt x="20" y="104"/>
                      <a:pt x="23" y="107"/>
                      <a:pt x="27" y="107"/>
                    </a:cubicBezTo>
                    <a:cubicBezTo>
                      <a:pt x="97" y="107"/>
                      <a:pt x="97" y="107"/>
                      <a:pt x="97" y="107"/>
                    </a:cubicBezTo>
                    <a:cubicBezTo>
                      <a:pt x="101" y="107"/>
                      <a:pt x="104" y="104"/>
                      <a:pt x="104" y="100"/>
                    </a:cubicBezTo>
                    <a:cubicBezTo>
                      <a:pt x="104" y="53"/>
                      <a:pt x="104" y="53"/>
                      <a:pt x="104" y="53"/>
                    </a:cubicBezTo>
                    <a:cubicBezTo>
                      <a:pt x="105" y="53"/>
                      <a:pt x="107" y="54"/>
                      <a:pt x="108" y="54"/>
                    </a:cubicBezTo>
                    <a:cubicBezTo>
                      <a:pt x="109" y="54"/>
                      <a:pt x="110" y="54"/>
                      <a:pt x="111" y="53"/>
                    </a:cubicBezTo>
                    <a:cubicBezTo>
                      <a:pt x="113" y="53"/>
                      <a:pt x="115" y="51"/>
                      <a:pt x="115" y="49"/>
                    </a:cubicBezTo>
                    <a:cubicBezTo>
                      <a:pt x="123" y="26"/>
                      <a:pt x="123" y="26"/>
                      <a:pt x="123" y="26"/>
                    </a:cubicBezTo>
                    <a:cubicBezTo>
                      <a:pt x="124" y="22"/>
                      <a:pt x="123" y="19"/>
                      <a:pt x="120" y="17"/>
                    </a:cubicBezTo>
                    <a:close/>
                    <a:moveTo>
                      <a:pt x="76" y="8"/>
                    </a:moveTo>
                    <a:cubicBezTo>
                      <a:pt x="74" y="12"/>
                      <a:pt x="69" y="15"/>
                      <a:pt x="62" y="15"/>
                    </a:cubicBezTo>
                    <a:cubicBezTo>
                      <a:pt x="55" y="15"/>
                      <a:pt x="50" y="12"/>
                      <a:pt x="48" y="8"/>
                    </a:cubicBezTo>
                    <a:lnTo>
                      <a:pt x="76" y="8"/>
                    </a:lnTo>
                    <a:close/>
                    <a:moveTo>
                      <a:pt x="108" y="46"/>
                    </a:moveTo>
                    <a:cubicBezTo>
                      <a:pt x="97" y="38"/>
                      <a:pt x="97" y="38"/>
                      <a:pt x="97" y="38"/>
                    </a:cubicBezTo>
                    <a:cubicBezTo>
                      <a:pt x="97" y="100"/>
                      <a:pt x="97" y="100"/>
                      <a:pt x="97" y="100"/>
                    </a:cubicBezTo>
                    <a:cubicBezTo>
                      <a:pt x="27" y="100"/>
                      <a:pt x="27" y="100"/>
                      <a:pt x="27" y="100"/>
                    </a:cubicBezTo>
                    <a:cubicBezTo>
                      <a:pt x="27" y="38"/>
                      <a:pt x="27" y="38"/>
                      <a:pt x="27" y="38"/>
                    </a:cubicBezTo>
                    <a:cubicBezTo>
                      <a:pt x="16" y="46"/>
                      <a:pt x="16" y="46"/>
                      <a:pt x="16" y="46"/>
                    </a:cubicBezTo>
                    <a:cubicBezTo>
                      <a:pt x="8" y="23"/>
                      <a:pt x="8" y="23"/>
                      <a:pt x="8" y="23"/>
                    </a:cubicBezTo>
                    <a:cubicBezTo>
                      <a:pt x="27" y="8"/>
                      <a:pt x="27" y="8"/>
                      <a:pt x="27" y="8"/>
                    </a:cubicBezTo>
                    <a:cubicBezTo>
                      <a:pt x="44" y="8"/>
                      <a:pt x="44" y="8"/>
                      <a:pt x="44" y="8"/>
                    </a:cubicBezTo>
                    <a:cubicBezTo>
                      <a:pt x="46" y="14"/>
                      <a:pt x="53" y="19"/>
                      <a:pt x="62" y="19"/>
                    </a:cubicBezTo>
                    <a:cubicBezTo>
                      <a:pt x="71" y="19"/>
                      <a:pt x="78" y="14"/>
                      <a:pt x="80" y="8"/>
                    </a:cubicBezTo>
                    <a:cubicBezTo>
                      <a:pt x="97" y="8"/>
                      <a:pt x="97" y="8"/>
                      <a:pt x="97" y="8"/>
                    </a:cubicBezTo>
                    <a:cubicBezTo>
                      <a:pt x="116" y="23"/>
                      <a:pt x="116" y="23"/>
                      <a:pt x="116" y="23"/>
                    </a:cubicBezTo>
                    <a:lnTo>
                      <a:pt x="108" y="46"/>
                    </a:lnTo>
                    <a:close/>
                    <a:moveTo>
                      <a:pt x="108" y="46"/>
                    </a:moveTo>
                    <a:cubicBezTo>
                      <a:pt x="108" y="46"/>
                      <a:pt x="108" y="46"/>
                      <a:pt x="108" y="46"/>
                    </a:cubicBezTo>
                  </a:path>
                </a:pathLst>
              </a:custGeom>
              <a:solidFill>
                <a:schemeClr val="bg1"/>
              </a:solid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nvGrpSpPr>
              <p:cNvPr id="10" name="Group 144"/>
              <p:cNvGrpSpPr/>
              <p:nvPr/>
            </p:nvGrpSpPr>
            <p:grpSpPr>
              <a:xfrm>
                <a:off x="5519178" y="1868867"/>
                <a:ext cx="218288" cy="219140"/>
                <a:chOff x="5530850" y="1882776"/>
                <a:chExt cx="406400" cy="407988"/>
              </a:xfrm>
              <a:solidFill>
                <a:schemeClr val="bg1"/>
              </a:solidFill>
            </p:grpSpPr>
            <p:sp>
              <p:nvSpPr>
                <p:cNvPr id="21" name="Freeform: Shape 145"/>
                <p:cNvSpPr/>
                <p:nvPr/>
              </p:nvSpPr>
              <p:spPr bwMode="auto">
                <a:xfrm>
                  <a:off x="5530850" y="1882776"/>
                  <a:ext cx="406400" cy="407988"/>
                </a:xfrm>
                <a:custGeom>
                  <a:avLst/>
                  <a:gdLst/>
                  <a:ahLst/>
                  <a:cxnLst>
                    <a:cxn ang="0">
                      <a:pos x="93" y="12"/>
                    </a:cxn>
                    <a:cxn ang="0">
                      <a:pos x="13" y="46"/>
                    </a:cxn>
                    <a:cxn ang="0">
                      <a:pos x="47" y="126"/>
                    </a:cxn>
                    <a:cxn ang="0">
                      <a:pos x="127" y="92"/>
                    </a:cxn>
                    <a:cxn ang="0">
                      <a:pos x="93" y="12"/>
                    </a:cxn>
                    <a:cxn ang="0">
                      <a:pos x="50" y="119"/>
                    </a:cxn>
                    <a:cxn ang="0">
                      <a:pos x="20" y="49"/>
                    </a:cxn>
                    <a:cxn ang="0">
                      <a:pos x="90" y="19"/>
                    </a:cxn>
                    <a:cxn ang="0">
                      <a:pos x="120" y="89"/>
                    </a:cxn>
                    <a:cxn ang="0">
                      <a:pos x="50" y="119"/>
                    </a:cxn>
                    <a:cxn ang="0">
                      <a:pos x="50" y="119"/>
                    </a:cxn>
                    <a:cxn ang="0">
                      <a:pos x="50" y="119"/>
                    </a:cxn>
                  </a:cxnLst>
                  <a:rect l="0" t="0" r="r" b="b"/>
                  <a:pathLst>
                    <a:path w="139" h="139">
                      <a:moveTo>
                        <a:pt x="93" y="12"/>
                      </a:moveTo>
                      <a:cubicBezTo>
                        <a:pt x="61" y="0"/>
                        <a:pt x="25" y="15"/>
                        <a:pt x="13" y="46"/>
                      </a:cubicBezTo>
                      <a:cubicBezTo>
                        <a:pt x="0" y="78"/>
                        <a:pt x="16" y="114"/>
                        <a:pt x="47" y="126"/>
                      </a:cubicBezTo>
                      <a:cubicBezTo>
                        <a:pt x="78" y="139"/>
                        <a:pt x="114" y="124"/>
                        <a:pt x="127" y="92"/>
                      </a:cubicBezTo>
                      <a:cubicBezTo>
                        <a:pt x="139" y="61"/>
                        <a:pt x="124" y="25"/>
                        <a:pt x="93" y="12"/>
                      </a:cubicBezTo>
                      <a:close/>
                      <a:moveTo>
                        <a:pt x="50" y="119"/>
                      </a:moveTo>
                      <a:cubicBezTo>
                        <a:pt x="22" y="108"/>
                        <a:pt x="9" y="77"/>
                        <a:pt x="20" y="49"/>
                      </a:cubicBezTo>
                      <a:cubicBezTo>
                        <a:pt x="31" y="22"/>
                        <a:pt x="62" y="8"/>
                        <a:pt x="90" y="19"/>
                      </a:cubicBezTo>
                      <a:cubicBezTo>
                        <a:pt x="117" y="30"/>
                        <a:pt x="131" y="62"/>
                        <a:pt x="120" y="89"/>
                      </a:cubicBezTo>
                      <a:cubicBezTo>
                        <a:pt x="109" y="117"/>
                        <a:pt x="77" y="130"/>
                        <a:pt x="50" y="119"/>
                      </a:cubicBezTo>
                      <a:close/>
                      <a:moveTo>
                        <a:pt x="50" y="119"/>
                      </a:moveTo>
                      <a:cubicBezTo>
                        <a:pt x="50" y="119"/>
                        <a:pt x="50" y="119"/>
                        <a:pt x="50" y="119"/>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2" name="Freeform: Shape 146"/>
                <p:cNvSpPr/>
                <p:nvPr/>
              </p:nvSpPr>
              <p:spPr bwMode="auto">
                <a:xfrm>
                  <a:off x="5710238" y="2062163"/>
                  <a:ext cx="49213" cy="49213"/>
                </a:xfrm>
                <a:custGeom>
                  <a:avLst/>
                  <a:gdLst/>
                  <a:ahLst/>
                  <a:cxnLst>
                    <a:cxn ang="0">
                      <a:pos x="12" y="1"/>
                    </a:cxn>
                    <a:cxn ang="0">
                      <a:pos x="2" y="5"/>
                    </a:cxn>
                    <a:cxn ang="0">
                      <a:pos x="6" y="15"/>
                    </a:cxn>
                    <a:cxn ang="0">
                      <a:pos x="16" y="11"/>
                    </a:cxn>
                    <a:cxn ang="0">
                      <a:pos x="12" y="1"/>
                    </a:cxn>
                    <a:cxn ang="0">
                      <a:pos x="7" y="12"/>
                    </a:cxn>
                    <a:cxn ang="0">
                      <a:pos x="5" y="7"/>
                    </a:cxn>
                    <a:cxn ang="0">
                      <a:pos x="10" y="5"/>
                    </a:cxn>
                    <a:cxn ang="0">
                      <a:pos x="12" y="10"/>
                    </a:cxn>
                    <a:cxn ang="0">
                      <a:pos x="7" y="12"/>
                    </a:cxn>
                    <a:cxn ang="0">
                      <a:pos x="7" y="12"/>
                    </a:cxn>
                    <a:cxn ang="0">
                      <a:pos x="7" y="12"/>
                    </a:cxn>
                  </a:cxnLst>
                  <a:rect l="0" t="0" r="r" b="b"/>
                  <a:pathLst>
                    <a:path w="17" h="17">
                      <a:moveTo>
                        <a:pt x="12" y="1"/>
                      </a:moveTo>
                      <a:cubicBezTo>
                        <a:pt x="8" y="0"/>
                        <a:pt x="3" y="1"/>
                        <a:pt x="2" y="5"/>
                      </a:cubicBezTo>
                      <a:cubicBezTo>
                        <a:pt x="0" y="9"/>
                        <a:pt x="2" y="14"/>
                        <a:pt x="6" y="15"/>
                      </a:cubicBezTo>
                      <a:cubicBezTo>
                        <a:pt x="10" y="17"/>
                        <a:pt x="14" y="15"/>
                        <a:pt x="16" y="11"/>
                      </a:cubicBezTo>
                      <a:cubicBezTo>
                        <a:pt x="17" y="7"/>
                        <a:pt x="16" y="3"/>
                        <a:pt x="12" y="1"/>
                      </a:cubicBezTo>
                      <a:close/>
                      <a:moveTo>
                        <a:pt x="7" y="12"/>
                      </a:moveTo>
                      <a:cubicBezTo>
                        <a:pt x="5" y="11"/>
                        <a:pt x="4" y="9"/>
                        <a:pt x="5" y="7"/>
                      </a:cubicBezTo>
                      <a:cubicBezTo>
                        <a:pt x="6" y="5"/>
                        <a:pt x="8" y="4"/>
                        <a:pt x="10" y="5"/>
                      </a:cubicBezTo>
                      <a:cubicBezTo>
                        <a:pt x="12" y="5"/>
                        <a:pt x="13" y="8"/>
                        <a:pt x="12" y="10"/>
                      </a:cubicBezTo>
                      <a:cubicBezTo>
                        <a:pt x="12" y="12"/>
                        <a:pt x="9" y="13"/>
                        <a:pt x="7" y="12"/>
                      </a:cubicBezTo>
                      <a:close/>
                      <a:moveTo>
                        <a:pt x="7" y="12"/>
                      </a:moveTo>
                      <a:cubicBezTo>
                        <a:pt x="7" y="12"/>
                        <a:pt x="7" y="12"/>
                        <a:pt x="7" y="12"/>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3" name="Freeform: Shape 147"/>
                <p:cNvSpPr/>
                <p:nvPr/>
              </p:nvSpPr>
              <p:spPr bwMode="auto">
                <a:xfrm>
                  <a:off x="5659438" y="2008188"/>
                  <a:ext cx="152400" cy="152400"/>
                </a:xfrm>
                <a:custGeom>
                  <a:avLst/>
                  <a:gdLst/>
                  <a:ahLst/>
                  <a:cxnLst>
                    <a:cxn ang="0">
                      <a:pos x="34" y="5"/>
                    </a:cxn>
                    <a:cxn ang="0">
                      <a:pos x="4" y="18"/>
                    </a:cxn>
                    <a:cxn ang="0">
                      <a:pos x="17" y="48"/>
                    </a:cxn>
                    <a:cxn ang="0">
                      <a:pos x="47" y="35"/>
                    </a:cxn>
                    <a:cxn ang="0">
                      <a:pos x="34" y="5"/>
                    </a:cxn>
                    <a:cxn ang="0">
                      <a:pos x="20" y="41"/>
                    </a:cxn>
                    <a:cxn ang="0">
                      <a:pos x="12" y="21"/>
                    </a:cxn>
                    <a:cxn ang="0">
                      <a:pos x="31" y="12"/>
                    </a:cxn>
                    <a:cxn ang="0">
                      <a:pos x="40" y="32"/>
                    </a:cxn>
                    <a:cxn ang="0">
                      <a:pos x="20" y="41"/>
                    </a:cxn>
                    <a:cxn ang="0">
                      <a:pos x="20" y="41"/>
                    </a:cxn>
                    <a:cxn ang="0">
                      <a:pos x="20" y="41"/>
                    </a:cxn>
                  </a:cxnLst>
                  <a:rect l="0" t="0" r="r" b="b"/>
                  <a:pathLst>
                    <a:path w="52" h="52">
                      <a:moveTo>
                        <a:pt x="34" y="5"/>
                      </a:moveTo>
                      <a:cubicBezTo>
                        <a:pt x="23" y="0"/>
                        <a:pt x="9" y="6"/>
                        <a:pt x="4" y="18"/>
                      </a:cubicBezTo>
                      <a:cubicBezTo>
                        <a:pt x="0" y="30"/>
                        <a:pt x="5" y="43"/>
                        <a:pt x="17" y="48"/>
                      </a:cubicBezTo>
                      <a:cubicBezTo>
                        <a:pt x="29" y="52"/>
                        <a:pt x="42" y="47"/>
                        <a:pt x="47" y="35"/>
                      </a:cubicBezTo>
                      <a:cubicBezTo>
                        <a:pt x="52" y="23"/>
                        <a:pt x="46" y="10"/>
                        <a:pt x="34" y="5"/>
                      </a:cubicBezTo>
                      <a:close/>
                      <a:moveTo>
                        <a:pt x="20" y="41"/>
                      </a:moveTo>
                      <a:cubicBezTo>
                        <a:pt x="12" y="37"/>
                        <a:pt x="8" y="28"/>
                        <a:pt x="12" y="21"/>
                      </a:cubicBezTo>
                      <a:cubicBezTo>
                        <a:pt x="15" y="13"/>
                        <a:pt x="24" y="9"/>
                        <a:pt x="31" y="12"/>
                      </a:cubicBezTo>
                      <a:cubicBezTo>
                        <a:pt x="39" y="15"/>
                        <a:pt x="43" y="24"/>
                        <a:pt x="40" y="32"/>
                      </a:cubicBezTo>
                      <a:cubicBezTo>
                        <a:pt x="37" y="40"/>
                        <a:pt x="28" y="44"/>
                        <a:pt x="20" y="41"/>
                      </a:cubicBezTo>
                      <a:close/>
                      <a:moveTo>
                        <a:pt x="20" y="41"/>
                      </a:moveTo>
                      <a:cubicBezTo>
                        <a:pt x="20" y="41"/>
                        <a:pt x="20" y="41"/>
                        <a:pt x="20" y="41"/>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4" name="Freeform: Shape 148"/>
                <p:cNvSpPr/>
                <p:nvPr/>
              </p:nvSpPr>
              <p:spPr bwMode="auto">
                <a:xfrm>
                  <a:off x="5762625" y="2111376"/>
                  <a:ext cx="58738" cy="58738"/>
                </a:xfrm>
                <a:custGeom>
                  <a:avLst/>
                  <a:gdLst/>
                  <a:ahLst/>
                  <a:cxnLst>
                    <a:cxn ang="0">
                      <a:pos x="19" y="3"/>
                    </a:cxn>
                    <a:cxn ang="0">
                      <a:pos x="18" y="0"/>
                    </a:cxn>
                    <a:cxn ang="0">
                      <a:pos x="16" y="1"/>
                    </a:cxn>
                    <a:cxn ang="0">
                      <a:pos x="1" y="16"/>
                    </a:cxn>
                    <a:cxn ang="0">
                      <a:pos x="0" y="18"/>
                    </a:cxn>
                    <a:cxn ang="0">
                      <a:pos x="3" y="19"/>
                    </a:cxn>
                    <a:cxn ang="0">
                      <a:pos x="3" y="19"/>
                    </a:cxn>
                    <a:cxn ang="0">
                      <a:pos x="19" y="3"/>
                    </a:cxn>
                    <a:cxn ang="0">
                      <a:pos x="19" y="3"/>
                    </a:cxn>
                    <a:cxn ang="0">
                      <a:pos x="19" y="3"/>
                    </a:cxn>
                  </a:cxnLst>
                  <a:rect l="0" t="0" r="r" b="b"/>
                  <a:pathLst>
                    <a:path w="20" h="20">
                      <a:moveTo>
                        <a:pt x="19" y="3"/>
                      </a:moveTo>
                      <a:cubicBezTo>
                        <a:pt x="20" y="2"/>
                        <a:pt x="19" y="1"/>
                        <a:pt x="18" y="0"/>
                      </a:cubicBezTo>
                      <a:cubicBezTo>
                        <a:pt x="17" y="0"/>
                        <a:pt x="16" y="0"/>
                        <a:pt x="16" y="1"/>
                      </a:cubicBezTo>
                      <a:cubicBezTo>
                        <a:pt x="13" y="8"/>
                        <a:pt x="8" y="13"/>
                        <a:pt x="1" y="16"/>
                      </a:cubicBezTo>
                      <a:cubicBezTo>
                        <a:pt x="0" y="16"/>
                        <a:pt x="0" y="17"/>
                        <a:pt x="0" y="18"/>
                      </a:cubicBezTo>
                      <a:cubicBezTo>
                        <a:pt x="1" y="19"/>
                        <a:pt x="2" y="20"/>
                        <a:pt x="3" y="19"/>
                      </a:cubicBezTo>
                      <a:cubicBezTo>
                        <a:pt x="3" y="19"/>
                        <a:pt x="3" y="19"/>
                        <a:pt x="3" y="19"/>
                      </a:cubicBezTo>
                      <a:cubicBezTo>
                        <a:pt x="10" y="16"/>
                        <a:pt x="16" y="10"/>
                        <a:pt x="19" y="3"/>
                      </a:cubicBezTo>
                      <a:close/>
                      <a:moveTo>
                        <a:pt x="19" y="3"/>
                      </a:moveTo>
                      <a:cubicBezTo>
                        <a:pt x="19" y="3"/>
                        <a:pt x="19" y="3"/>
                        <a:pt x="19" y="3"/>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5" name="Freeform: Shape 149"/>
                <p:cNvSpPr/>
                <p:nvPr/>
              </p:nvSpPr>
              <p:spPr bwMode="auto">
                <a:xfrm>
                  <a:off x="5780088" y="2125663"/>
                  <a:ext cx="82550" cy="85725"/>
                </a:xfrm>
                <a:custGeom>
                  <a:avLst/>
                  <a:gdLst/>
                  <a:ahLst/>
                  <a:cxnLst>
                    <a:cxn ang="0">
                      <a:pos x="26" y="1"/>
                    </a:cxn>
                    <a:cxn ang="0">
                      <a:pos x="24" y="2"/>
                    </a:cxn>
                    <a:cxn ang="0">
                      <a:pos x="1" y="25"/>
                    </a:cxn>
                    <a:cxn ang="0">
                      <a:pos x="0" y="28"/>
                    </a:cxn>
                    <a:cxn ang="0">
                      <a:pos x="3" y="29"/>
                    </a:cxn>
                    <a:cxn ang="0">
                      <a:pos x="3" y="28"/>
                    </a:cxn>
                    <a:cxn ang="0">
                      <a:pos x="28" y="3"/>
                    </a:cxn>
                    <a:cxn ang="0">
                      <a:pos x="26" y="1"/>
                    </a:cxn>
                    <a:cxn ang="0">
                      <a:pos x="26" y="1"/>
                    </a:cxn>
                    <a:cxn ang="0">
                      <a:pos x="26" y="1"/>
                    </a:cxn>
                  </a:cxnLst>
                  <a:rect l="0" t="0" r="r" b="b"/>
                  <a:pathLst>
                    <a:path w="28" h="29">
                      <a:moveTo>
                        <a:pt x="26" y="1"/>
                      </a:moveTo>
                      <a:cubicBezTo>
                        <a:pt x="25" y="0"/>
                        <a:pt x="24" y="1"/>
                        <a:pt x="24" y="2"/>
                      </a:cubicBezTo>
                      <a:cubicBezTo>
                        <a:pt x="20" y="13"/>
                        <a:pt x="11" y="21"/>
                        <a:pt x="1" y="25"/>
                      </a:cubicBezTo>
                      <a:cubicBezTo>
                        <a:pt x="0" y="25"/>
                        <a:pt x="0" y="27"/>
                        <a:pt x="0" y="28"/>
                      </a:cubicBezTo>
                      <a:cubicBezTo>
                        <a:pt x="1" y="29"/>
                        <a:pt x="2" y="29"/>
                        <a:pt x="3" y="29"/>
                      </a:cubicBezTo>
                      <a:cubicBezTo>
                        <a:pt x="3" y="29"/>
                        <a:pt x="3" y="29"/>
                        <a:pt x="3" y="28"/>
                      </a:cubicBezTo>
                      <a:cubicBezTo>
                        <a:pt x="14" y="24"/>
                        <a:pt x="23" y="15"/>
                        <a:pt x="28" y="3"/>
                      </a:cubicBezTo>
                      <a:cubicBezTo>
                        <a:pt x="28" y="2"/>
                        <a:pt x="27" y="1"/>
                        <a:pt x="26" y="1"/>
                      </a:cubicBezTo>
                      <a:close/>
                      <a:moveTo>
                        <a:pt x="26" y="1"/>
                      </a:moveTo>
                      <a:cubicBezTo>
                        <a:pt x="26" y="1"/>
                        <a:pt x="26" y="1"/>
                        <a:pt x="26" y="1"/>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6" name="Freeform: Shape 150"/>
                <p:cNvSpPr/>
                <p:nvPr/>
              </p:nvSpPr>
              <p:spPr bwMode="auto">
                <a:xfrm>
                  <a:off x="5770563" y="2120901"/>
                  <a:ext cx="71438" cy="69850"/>
                </a:xfrm>
                <a:custGeom>
                  <a:avLst/>
                  <a:gdLst/>
                  <a:ahLst/>
                  <a:cxnLst>
                    <a:cxn ang="0">
                      <a:pos x="22" y="0"/>
                    </a:cxn>
                    <a:cxn ang="0">
                      <a:pos x="20" y="1"/>
                    </a:cxn>
                    <a:cxn ang="0">
                      <a:pos x="1" y="20"/>
                    </a:cxn>
                    <a:cxn ang="0">
                      <a:pos x="1" y="20"/>
                    </a:cxn>
                    <a:cxn ang="0">
                      <a:pos x="0" y="23"/>
                    </a:cxn>
                    <a:cxn ang="0">
                      <a:pos x="3" y="24"/>
                    </a:cxn>
                    <a:cxn ang="0">
                      <a:pos x="3" y="23"/>
                    </a:cxn>
                    <a:cxn ang="0">
                      <a:pos x="23" y="3"/>
                    </a:cxn>
                    <a:cxn ang="0">
                      <a:pos x="22" y="0"/>
                    </a:cxn>
                    <a:cxn ang="0">
                      <a:pos x="22" y="0"/>
                    </a:cxn>
                    <a:cxn ang="0">
                      <a:pos x="22" y="0"/>
                    </a:cxn>
                  </a:cxnLst>
                  <a:rect l="0" t="0" r="r" b="b"/>
                  <a:pathLst>
                    <a:path w="24" h="24">
                      <a:moveTo>
                        <a:pt x="22" y="0"/>
                      </a:moveTo>
                      <a:cubicBezTo>
                        <a:pt x="21" y="0"/>
                        <a:pt x="20" y="0"/>
                        <a:pt x="20" y="1"/>
                      </a:cubicBezTo>
                      <a:cubicBezTo>
                        <a:pt x="16" y="10"/>
                        <a:pt x="10" y="17"/>
                        <a:pt x="1" y="20"/>
                      </a:cubicBezTo>
                      <a:cubicBezTo>
                        <a:pt x="1" y="20"/>
                        <a:pt x="1" y="20"/>
                        <a:pt x="1" y="20"/>
                      </a:cubicBezTo>
                      <a:cubicBezTo>
                        <a:pt x="0" y="20"/>
                        <a:pt x="0" y="22"/>
                        <a:pt x="0" y="23"/>
                      </a:cubicBezTo>
                      <a:cubicBezTo>
                        <a:pt x="1" y="24"/>
                        <a:pt x="2" y="24"/>
                        <a:pt x="3" y="24"/>
                      </a:cubicBezTo>
                      <a:cubicBezTo>
                        <a:pt x="3" y="24"/>
                        <a:pt x="3" y="23"/>
                        <a:pt x="3" y="23"/>
                      </a:cubicBezTo>
                      <a:cubicBezTo>
                        <a:pt x="12" y="20"/>
                        <a:pt x="19" y="12"/>
                        <a:pt x="23" y="3"/>
                      </a:cubicBezTo>
                      <a:cubicBezTo>
                        <a:pt x="24" y="2"/>
                        <a:pt x="23" y="0"/>
                        <a:pt x="22" y="0"/>
                      </a:cubicBezTo>
                      <a:close/>
                      <a:moveTo>
                        <a:pt x="22" y="0"/>
                      </a:moveTo>
                      <a:cubicBezTo>
                        <a:pt x="22" y="0"/>
                        <a:pt x="22" y="0"/>
                        <a:pt x="22"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7" name="Freeform: Shape 151"/>
                <p:cNvSpPr/>
                <p:nvPr/>
              </p:nvSpPr>
              <p:spPr bwMode="auto">
                <a:xfrm>
                  <a:off x="5651500" y="2003426"/>
                  <a:ext cx="58738" cy="58738"/>
                </a:xfrm>
                <a:custGeom>
                  <a:avLst/>
                  <a:gdLst/>
                  <a:ahLst/>
                  <a:cxnLst>
                    <a:cxn ang="0">
                      <a:pos x="19" y="1"/>
                    </a:cxn>
                    <a:cxn ang="0">
                      <a:pos x="17" y="0"/>
                    </a:cxn>
                    <a:cxn ang="0">
                      <a:pos x="17" y="0"/>
                    </a:cxn>
                    <a:cxn ang="0">
                      <a:pos x="0" y="17"/>
                    </a:cxn>
                    <a:cxn ang="0">
                      <a:pos x="1" y="19"/>
                    </a:cxn>
                    <a:cxn ang="0">
                      <a:pos x="4" y="18"/>
                    </a:cxn>
                    <a:cxn ang="0">
                      <a:pos x="18" y="4"/>
                    </a:cxn>
                    <a:cxn ang="0">
                      <a:pos x="19" y="1"/>
                    </a:cxn>
                    <a:cxn ang="0">
                      <a:pos x="19" y="1"/>
                    </a:cxn>
                    <a:cxn ang="0">
                      <a:pos x="19" y="1"/>
                    </a:cxn>
                  </a:cxnLst>
                  <a:rect l="0" t="0" r="r" b="b"/>
                  <a:pathLst>
                    <a:path w="20" h="20">
                      <a:moveTo>
                        <a:pt x="19" y="1"/>
                      </a:moveTo>
                      <a:cubicBezTo>
                        <a:pt x="19" y="0"/>
                        <a:pt x="18" y="0"/>
                        <a:pt x="17" y="0"/>
                      </a:cubicBezTo>
                      <a:cubicBezTo>
                        <a:pt x="17" y="0"/>
                        <a:pt x="17" y="0"/>
                        <a:pt x="17" y="0"/>
                      </a:cubicBezTo>
                      <a:cubicBezTo>
                        <a:pt x="9" y="3"/>
                        <a:pt x="3" y="9"/>
                        <a:pt x="0" y="17"/>
                      </a:cubicBezTo>
                      <a:cubicBezTo>
                        <a:pt x="0" y="18"/>
                        <a:pt x="0" y="19"/>
                        <a:pt x="1" y="19"/>
                      </a:cubicBezTo>
                      <a:cubicBezTo>
                        <a:pt x="2" y="20"/>
                        <a:pt x="3" y="19"/>
                        <a:pt x="4" y="18"/>
                      </a:cubicBezTo>
                      <a:cubicBezTo>
                        <a:pt x="7" y="11"/>
                        <a:pt x="12" y="6"/>
                        <a:pt x="18" y="4"/>
                      </a:cubicBezTo>
                      <a:cubicBezTo>
                        <a:pt x="19" y="3"/>
                        <a:pt x="20" y="2"/>
                        <a:pt x="19" y="1"/>
                      </a:cubicBezTo>
                      <a:close/>
                      <a:moveTo>
                        <a:pt x="19" y="1"/>
                      </a:moveTo>
                      <a:cubicBezTo>
                        <a:pt x="19" y="1"/>
                        <a:pt x="19" y="1"/>
                        <a:pt x="19" y="1"/>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8" name="Freeform: Shape 152"/>
                <p:cNvSpPr/>
                <p:nvPr/>
              </p:nvSpPr>
              <p:spPr bwMode="auto">
                <a:xfrm>
                  <a:off x="5610225" y="1962151"/>
                  <a:ext cx="82550" cy="82550"/>
                </a:xfrm>
                <a:custGeom>
                  <a:avLst/>
                  <a:gdLst/>
                  <a:ahLst/>
                  <a:cxnLst>
                    <a:cxn ang="0">
                      <a:pos x="27" y="1"/>
                    </a:cxn>
                    <a:cxn ang="0">
                      <a:pos x="25" y="0"/>
                    </a:cxn>
                    <a:cxn ang="0">
                      <a:pos x="25" y="0"/>
                    </a:cxn>
                    <a:cxn ang="0">
                      <a:pos x="0" y="25"/>
                    </a:cxn>
                    <a:cxn ang="0">
                      <a:pos x="1" y="28"/>
                    </a:cxn>
                    <a:cxn ang="0">
                      <a:pos x="4" y="27"/>
                    </a:cxn>
                    <a:cxn ang="0">
                      <a:pos x="26" y="3"/>
                    </a:cxn>
                    <a:cxn ang="0">
                      <a:pos x="27" y="1"/>
                    </a:cxn>
                    <a:cxn ang="0">
                      <a:pos x="27" y="1"/>
                    </a:cxn>
                    <a:cxn ang="0">
                      <a:pos x="27" y="1"/>
                    </a:cxn>
                  </a:cxnLst>
                  <a:rect l="0" t="0" r="r" b="b"/>
                  <a:pathLst>
                    <a:path w="28" h="28">
                      <a:moveTo>
                        <a:pt x="27" y="1"/>
                      </a:moveTo>
                      <a:cubicBezTo>
                        <a:pt x="27" y="0"/>
                        <a:pt x="26" y="0"/>
                        <a:pt x="25" y="0"/>
                      </a:cubicBezTo>
                      <a:cubicBezTo>
                        <a:pt x="25" y="0"/>
                        <a:pt x="25" y="0"/>
                        <a:pt x="25" y="0"/>
                      </a:cubicBezTo>
                      <a:cubicBezTo>
                        <a:pt x="14" y="5"/>
                        <a:pt x="5" y="13"/>
                        <a:pt x="0" y="25"/>
                      </a:cubicBezTo>
                      <a:cubicBezTo>
                        <a:pt x="0" y="26"/>
                        <a:pt x="0" y="27"/>
                        <a:pt x="1" y="28"/>
                      </a:cubicBezTo>
                      <a:cubicBezTo>
                        <a:pt x="2" y="28"/>
                        <a:pt x="3" y="28"/>
                        <a:pt x="4" y="27"/>
                      </a:cubicBezTo>
                      <a:cubicBezTo>
                        <a:pt x="8" y="16"/>
                        <a:pt x="16" y="8"/>
                        <a:pt x="26" y="3"/>
                      </a:cubicBezTo>
                      <a:cubicBezTo>
                        <a:pt x="27" y="3"/>
                        <a:pt x="28" y="2"/>
                        <a:pt x="27" y="1"/>
                      </a:cubicBezTo>
                      <a:close/>
                      <a:moveTo>
                        <a:pt x="27" y="1"/>
                      </a:moveTo>
                      <a:cubicBezTo>
                        <a:pt x="27" y="1"/>
                        <a:pt x="27" y="1"/>
                        <a:pt x="27" y="1"/>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9" name="Freeform: Shape 153"/>
                <p:cNvSpPr/>
                <p:nvPr/>
              </p:nvSpPr>
              <p:spPr bwMode="auto">
                <a:xfrm>
                  <a:off x="5630863" y="1982788"/>
                  <a:ext cx="69850" cy="69850"/>
                </a:xfrm>
                <a:custGeom>
                  <a:avLst/>
                  <a:gdLst/>
                  <a:ahLst/>
                  <a:cxnLst>
                    <a:cxn ang="0">
                      <a:pos x="22" y="4"/>
                    </a:cxn>
                    <a:cxn ang="0">
                      <a:pos x="23" y="1"/>
                    </a:cxn>
                    <a:cxn ang="0">
                      <a:pos x="21" y="0"/>
                    </a:cxn>
                    <a:cxn ang="0">
                      <a:pos x="21" y="0"/>
                    </a:cxn>
                    <a:cxn ang="0">
                      <a:pos x="0" y="21"/>
                    </a:cxn>
                    <a:cxn ang="0">
                      <a:pos x="1" y="24"/>
                    </a:cxn>
                    <a:cxn ang="0">
                      <a:pos x="4" y="22"/>
                    </a:cxn>
                    <a:cxn ang="0">
                      <a:pos x="22" y="4"/>
                    </a:cxn>
                    <a:cxn ang="0">
                      <a:pos x="22" y="4"/>
                    </a:cxn>
                    <a:cxn ang="0">
                      <a:pos x="22" y="4"/>
                    </a:cxn>
                  </a:cxnLst>
                  <a:rect l="0" t="0" r="r" b="b"/>
                  <a:pathLst>
                    <a:path w="24" h="24">
                      <a:moveTo>
                        <a:pt x="22" y="4"/>
                      </a:moveTo>
                      <a:cubicBezTo>
                        <a:pt x="23" y="3"/>
                        <a:pt x="24" y="2"/>
                        <a:pt x="23" y="1"/>
                      </a:cubicBezTo>
                      <a:cubicBezTo>
                        <a:pt x="23" y="0"/>
                        <a:pt x="22" y="0"/>
                        <a:pt x="21" y="0"/>
                      </a:cubicBezTo>
                      <a:cubicBezTo>
                        <a:pt x="21" y="0"/>
                        <a:pt x="21" y="0"/>
                        <a:pt x="21" y="0"/>
                      </a:cubicBezTo>
                      <a:cubicBezTo>
                        <a:pt x="12" y="4"/>
                        <a:pt x="4" y="11"/>
                        <a:pt x="0" y="21"/>
                      </a:cubicBezTo>
                      <a:cubicBezTo>
                        <a:pt x="0" y="22"/>
                        <a:pt x="0" y="23"/>
                        <a:pt x="1" y="24"/>
                      </a:cubicBezTo>
                      <a:cubicBezTo>
                        <a:pt x="2" y="24"/>
                        <a:pt x="3" y="23"/>
                        <a:pt x="4" y="22"/>
                      </a:cubicBezTo>
                      <a:cubicBezTo>
                        <a:pt x="7" y="14"/>
                        <a:pt x="14" y="7"/>
                        <a:pt x="22" y="4"/>
                      </a:cubicBezTo>
                      <a:close/>
                      <a:moveTo>
                        <a:pt x="22" y="4"/>
                      </a:moveTo>
                      <a:cubicBezTo>
                        <a:pt x="22" y="4"/>
                        <a:pt x="22" y="4"/>
                        <a:pt x="22" y="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sp>
            <p:nvSpPr>
              <p:cNvPr id="11" name="Freeform: Shape 154"/>
              <p:cNvSpPr/>
              <p:nvPr/>
            </p:nvSpPr>
            <p:spPr bwMode="auto">
              <a:xfrm>
                <a:off x="5683958" y="2188697"/>
                <a:ext cx="193560" cy="193558"/>
              </a:xfrm>
              <a:custGeom>
                <a:avLst/>
                <a:gdLst/>
                <a:ahLst/>
                <a:cxnLst>
                  <a:cxn ang="0">
                    <a:pos x="77" y="14"/>
                  </a:cxn>
                  <a:cxn ang="0">
                    <a:pos x="51" y="34"/>
                  </a:cxn>
                  <a:cxn ang="0">
                    <a:pos x="0" y="54"/>
                  </a:cxn>
                  <a:cxn ang="0">
                    <a:pos x="23" y="80"/>
                  </a:cxn>
                  <a:cxn ang="0">
                    <a:pos x="31" y="123"/>
                  </a:cxn>
                  <a:cxn ang="0">
                    <a:pos x="54" y="115"/>
                  </a:cxn>
                  <a:cxn ang="0">
                    <a:pos x="50" y="103"/>
                  </a:cxn>
                  <a:cxn ang="0">
                    <a:pos x="50" y="76"/>
                  </a:cxn>
                  <a:cxn ang="0">
                    <a:pos x="51" y="74"/>
                  </a:cxn>
                  <a:cxn ang="0">
                    <a:pos x="52" y="73"/>
                  </a:cxn>
                  <a:cxn ang="0">
                    <a:pos x="53" y="73"/>
                  </a:cxn>
                  <a:cxn ang="0">
                    <a:pos x="77" y="94"/>
                  </a:cxn>
                  <a:cxn ang="0">
                    <a:pos x="123" y="54"/>
                  </a:cxn>
                  <a:cxn ang="0">
                    <a:pos x="77" y="54"/>
                  </a:cxn>
                  <a:cxn ang="0">
                    <a:pos x="88" y="42"/>
                  </a:cxn>
                  <a:cxn ang="0">
                    <a:pos x="88" y="65"/>
                  </a:cxn>
                  <a:cxn ang="0">
                    <a:pos x="77" y="54"/>
                  </a:cxn>
                  <a:cxn ang="0">
                    <a:pos x="15" y="42"/>
                  </a:cxn>
                  <a:cxn ang="0">
                    <a:pos x="38" y="54"/>
                  </a:cxn>
                  <a:cxn ang="0">
                    <a:pos x="15" y="65"/>
                  </a:cxn>
                  <a:cxn ang="0">
                    <a:pos x="46" y="115"/>
                  </a:cxn>
                  <a:cxn ang="0">
                    <a:pos x="31" y="80"/>
                  </a:cxn>
                  <a:cxn ang="0">
                    <a:pos x="31" y="73"/>
                  </a:cxn>
                  <a:cxn ang="0">
                    <a:pos x="43" y="73"/>
                  </a:cxn>
                  <a:cxn ang="0">
                    <a:pos x="42" y="103"/>
                  </a:cxn>
                  <a:cxn ang="0">
                    <a:pos x="46" y="112"/>
                  </a:cxn>
                  <a:cxn ang="0">
                    <a:pos x="51" y="65"/>
                  </a:cxn>
                  <a:cxn ang="0">
                    <a:pos x="50" y="65"/>
                  </a:cxn>
                  <a:cxn ang="0">
                    <a:pos x="50" y="42"/>
                  </a:cxn>
                  <a:cxn ang="0">
                    <a:pos x="71" y="34"/>
                  </a:cxn>
                  <a:cxn ang="0">
                    <a:pos x="71" y="73"/>
                  </a:cxn>
                  <a:cxn ang="0">
                    <a:pos x="96" y="100"/>
                  </a:cxn>
                  <a:cxn ang="0">
                    <a:pos x="88" y="73"/>
                  </a:cxn>
                  <a:cxn ang="0">
                    <a:pos x="88" y="34"/>
                  </a:cxn>
                  <a:cxn ang="0">
                    <a:pos x="96" y="8"/>
                  </a:cxn>
                  <a:cxn ang="0">
                    <a:pos x="96" y="100"/>
                  </a:cxn>
                  <a:cxn ang="0">
                    <a:pos x="96" y="100"/>
                  </a:cxn>
                </a:cxnLst>
                <a:rect l="0" t="0" r="r" b="b"/>
                <a:pathLst>
                  <a:path w="123" h="123">
                    <a:moveTo>
                      <a:pt x="96" y="0"/>
                    </a:moveTo>
                    <a:cubicBezTo>
                      <a:pt x="88" y="0"/>
                      <a:pt x="82" y="5"/>
                      <a:pt x="77" y="14"/>
                    </a:cubicBezTo>
                    <a:cubicBezTo>
                      <a:pt x="77" y="14"/>
                      <a:pt x="77" y="14"/>
                      <a:pt x="77" y="14"/>
                    </a:cubicBezTo>
                    <a:cubicBezTo>
                      <a:pt x="71" y="26"/>
                      <a:pt x="61" y="34"/>
                      <a:pt x="51" y="34"/>
                    </a:cubicBezTo>
                    <a:cubicBezTo>
                      <a:pt x="15" y="34"/>
                      <a:pt x="15" y="34"/>
                      <a:pt x="15" y="34"/>
                    </a:cubicBezTo>
                    <a:cubicBezTo>
                      <a:pt x="7" y="34"/>
                      <a:pt x="0" y="43"/>
                      <a:pt x="0" y="54"/>
                    </a:cubicBezTo>
                    <a:cubicBezTo>
                      <a:pt x="0" y="64"/>
                      <a:pt x="7" y="73"/>
                      <a:pt x="15" y="73"/>
                    </a:cubicBezTo>
                    <a:cubicBezTo>
                      <a:pt x="20" y="73"/>
                      <a:pt x="23" y="76"/>
                      <a:pt x="23" y="80"/>
                    </a:cubicBezTo>
                    <a:cubicBezTo>
                      <a:pt x="23" y="115"/>
                      <a:pt x="23" y="115"/>
                      <a:pt x="23" y="115"/>
                    </a:cubicBezTo>
                    <a:cubicBezTo>
                      <a:pt x="23" y="119"/>
                      <a:pt x="26" y="123"/>
                      <a:pt x="31" y="123"/>
                    </a:cubicBezTo>
                    <a:cubicBezTo>
                      <a:pt x="46" y="123"/>
                      <a:pt x="46" y="123"/>
                      <a:pt x="46" y="123"/>
                    </a:cubicBezTo>
                    <a:cubicBezTo>
                      <a:pt x="50" y="123"/>
                      <a:pt x="54" y="119"/>
                      <a:pt x="54" y="115"/>
                    </a:cubicBezTo>
                    <a:cubicBezTo>
                      <a:pt x="54" y="111"/>
                      <a:pt x="54" y="111"/>
                      <a:pt x="54" y="111"/>
                    </a:cubicBezTo>
                    <a:cubicBezTo>
                      <a:pt x="54" y="107"/>
                      <a:pt x="50" y="106"/>
                      <a:pt x="50" y="103"/>
                    </a:cubicBezTo>
                    <a:cubicBezTo>
                      <a:pt x="50" y="77"/>
                      <a:pt x="50" y="77"/>
                      <a:pt x="50" y="77"/>
                    </a:cubicBezTo>
                    <a:cubicBezTo>
                      <a:pt x="50" y="76"/>
                      <a:pt x="50" y="76"/>
                      <a:pt x="50" y="76"/>
                    </a:cubicBezTo>
                    <a:cubicBezTo>
                      <a:pt x="50" y="76"/>
                      <a:pt x="50" y="75"/>
                      <a:pt x="50" y="75"/>
                    </a:cubicBezTo>
                    <a:cubicBezTo>
                      <a:pt x="50" y="75"/>
                      <a:pt x="51" y="75"/>
                      <a:pt x="51" y="74"/>
                    </a:cubicBezTo>
                    <a:cubicBezTo>
                      <a:pt x="51" y="74"/>
                      <a:pt x="51" y="74"/>
                      <a:pt x="52" y="73"/>
                    </a:cubicBezTo>
                    <a:cubicBezTo>
                      <a:pt x="52" y="73"/>
                      <a:pt x="52" y="73"/>
                      <a:pt x="52" y="73"/>
                    </a:cubicBezTo>
                    <a:cubicBezTo>
                      <a:pt x="52" y="73"/>
                      <a:pt x="52" y="73"/>
                      <a:pt x="52" y="73"/>
                    </a:cubicBezTo>
                    <a:cubicBezTo>
                      <a:pt x="52" y="73"/>
                      <a:pt x="53" y="73"/>
                      <a:pt x="53" y="73"/>
                    </a:cubicBezTo>
                    <a:cubicBezTo>
                      <a:pt x="63" y="74"/>
                      <a:pt x="71" y="82"/>
                      <a:pt x="77" y="94"/>
                    </a:cubicBezTo>
                    <a:cubicBezTo>
                      <a:pt x="77" y="94"/>
                      <a:pt x="77" y="94"/>
                      <a:pt x="77" y="94"/>
                    </a:cubicBezTo>
                    <a:cubicBezTo>
                      <a:pt x="82" y="102"/>
                      <a:pt x="88" y="107"/>
                      <a:pt x="96" y="107"/>
                    </a:cubicBezTo>
                    <a:cubicBezTo>
                      <a:pt x="114" y="107"/>
                      <a:pt x="123" y="80"/>
                      <a:pt x="123" y="54"/>
                    </a:cubicBezTo>
                    <a:cubicBezTo>
                      <a:pt x="123" y="27"/>
                      <a:pt x="114" y="0"/>
                      <a:pt x="96" y="0"/>
                    </a:cubicBezTo>
                    <a:close/>
                    <a:moveTo>
                      <a:pt x="77" y="54"/>
                    </a:moveTo>
                    <a:cubicBezTo>
                      <a:pt x="77" y="50"/>
                      <a:pt x="77" y="46"/>
                      <a:pt x="77" y="42"/>
                    </a:cubicBezTo>
                    <a:cubicBezTo>
                      <a:pt x="88" y="42"/>
                      <a:pt x="88" y="42"/>
                      <a:pt x="88" y="42"/>
                    </a:cubicBezTo>
                    <a:cubicBezTo>
                      <a:pt x="92" y="42"/>
                      <a:pt x="96" y="47"/>
                      <a:pt x="96" y="54"/>
                    </a:cubicBezTo>
                    <a:cubicBezTo>
                      <a:pt x="96" y="60"/>
                      <a:pt x="92" y="65"/>
                      <a:pt x="88" y="65"/>
                    </a:cubicBezTo>
                    <a:cubicBezTo>
                      <a:pt x="77" y="65"/>
                      <a:pt x="77" y="65"/>
                      <a:pt x="77" y="65"/>
                    </a:cubicBezTo>
                    <a:cubicBezTo>
                      <a:pt x="77" y="61"/>
                      <a:pt x="77" y="58"/>
                      <a:pt x="77" y="54"/>
                    </a:cubicBezTo>
                    <a:close/>
                    <a:moveTo>
                      <a:pt x="8" y="54"/>
                    </a:moveTo>
                    <a:cubicBezTo>
                      <a:pt x="8" y="47"/>
                      <a:pt x="11" y="42"/>
                      <a:pt x="15" y="42"/>
                    </a:cubicBezTo>
                    <a:cubicBezTo>
                      <a:pt x="42" y="42"/>
                      <a:pt x="42" y="42"/>
                      <a:pt x="42" y="42"/>
                    </a:cubicBezTo>
                    <a:cubicBezTo>
                      <a:pt x="40" y="45"/>
                      <a:pt x="38" y="49"/>
                      <a:pt x="38" y="54"/>
                    </a:cubicBezTo>
                    <a:cubicBezTo>
                      <a:pt x="38" y="58"/>
                      <a:pt x="40" y="62"/>
                      <a:pt x="42" y="65"/>
                    </a:cubicBezTo>
                    <a:cubicBezTo>
                      <a:pt x="15" y="65"/>
                      <a:pt x="15" y="65"/>
                      <a:pt x="15" y="65"/>
                    </a:cubicBezTo>
                    <a:cubicBezTo>
                      <a:pt x="11" y="65"/>
                      <a:pt x="8" y="60"/>
                      <a:pt x="8" y="54"/>
                    </a:cubicBezTo>
                    <a:close/>
                    <a:moveTo>
                      <a:pt x="46" y="115"/>
                    </a:moveTo>
                    <a:cubicBezTo>
                      <a:pt x="31" y="115"/>
                      <a:pt x="31" y="115"/>
                      <a:pt x="31" y="115"/>
                    </a:cubicBezTo>
                    <a:cubicBezTo>
                      <a:pt x="31" y="80"/>
                      <a:pt x="31" y="80"/>
                      <a:pt x="31" y="80"/>
                    </a:cubicBezTo>
                    <a:cubicBezTo>
                      <a:pt x="31" y="78"/>
                      <a:pt x="30" y="75"/>
                      <a:pt x="29" y="73"/>
                    </a:cubicBezTo>
                    <a:cubicBezTo>
                      <a:pt x="31" y="73"/>
                      <a:pt x="31" y="73"/>
                      <a:pt x="31" y="73"/>
                    </a:cubicBezTo>
                    <a:cubicBezTo>
                      <a:pt x="31" y="73"/>
                      <a:pt x="31" y="73"/>
                      <a:pt x="31" y="73"/>
                    </a:cubicBezTo>
                    <a:cubicBezTo>
                      <a:pt x="43" y="73"/>
                      <a:pt x="43" y="73"/>
                      <a:pt x="43" y="73"/>
                    </a:cubicBezTo>
                    <a:cubicBezTo>
                      <a:pt x="42" y="74"/>
                      <a:pt x="42" y="75"/>
                      <a:pt x="42" y="77"/>
                    </a:cubicBezTo>
                    <a:cubicBezTo>
                      <a:pt x="42" y="103"/>
                      <a:pt x="42" y="103"/>
                      <a:pt x="42" y="103"/>
                    </a:cubicBezTo>
                    <a:cubicBezTo>
                      <a:pt x="42" y="107"/>
                      <a:pt x="44" y="110"/>
                      <a:pt x="46" y="111"/>
                    </a:cubicBezTo>
                    <a:cubicBezTo>
                      <a:pt x="46" y="111"/>
                      <a:pt x="46" y="111"/>
                      <a:pt x="46" y="112"/>
                    </a:cubicBezTo>
                    <a:lnTo>
                      <a:pt x="46" y="115"/>
                    </a:lnTo>
                    <a:close/>
                    <a:moveTo>
                      <a:pt x="51" y="65"/>
                    </a:moveTo>
                    <a:cubicBezTo>
                      <a:pt x="50" y="65"/>
                      <a:pt x="50" y="65"/>
                      <a:pt x="50" y="65"/>
                    </a:cubicBezTo>
                    <a:cubicBezTo>
                      <a:pt x="50" y="65"/>
                      <a:pt x="50" y="65"/>
                      <a:pt x="50" y="65"/>
                    </a:cubicBezTo>
                    <a:cubicBezTo>
                      <a:pt x="46" y="65"/>
                      <a:pt x="42" y="60"/>
                      <a:pt x="42" y="54"/>
                    </a:cubicBezTo>
                    <a:cubicBezTo>
                      <a:pt x="42" y="47"/>
                      <a:pt x="46" y="42"/>
                      <a:pt x="50" y="42"/>
                    </a:cubicBezTo>
                    <a:cubicBezTo>
                      <a:pt x="51" y="42"/>
                      <a:pt x="51" y="42"/>
                      <a:pt x="51" y="42"/>
                    </a:cubicBezTo>
                    <a:cubicBezTo>
                      <a:pt x="58" y="42"/>
                      <a:pt x="65" y="39"/>
                      <a:pt x="71" y="34"/>
                    </a:cubicBezTo>
                    <a:cubicBezTo>
                      <a:pt x="70" y="40"/>
                      <a:pt x="69" y="47"/>
                      <a:pt x="69" y="54"/>
                    </a:cubicBezTo>
                    <a:cubicBezTo>
                      <a:pt x="69" y="60"/>
                      <a:pt x="70" y="67"/>
                      <a:pt x="71" y="73"/>
                    </a:cubicBezTo>
                    <a:cubicBezTo>
                      <a:pt x="65" y="68"/>
                      <a:pt x="58" y="65"/>
                      <a:pt x="51" y="65"/>
                    </a:cubicBezTo>
                    <a:close/>
                    <a:moveTo>
                      <a:pt x="96" y="100"/>
                    </a:moveTo>
                    <a:cubicBezTo>
                      <a:pt x="88" y="100"/>
                      <a:pt x="82" y="89"/>
                      <a:pt x="79" y="73"/>
                    </a:cubicBezTo>
                    <a:cubicBezTo>
                      <a:pt x="88" y="73"/>
                      <a:pt x="88" y="73"/>
                      <a:pt x="88" y="73"/>
                    </a:cubicBezTo>
                    <a:cubicBezTo>
                      <a:pt x="97" y="73"/>
                      <a:pt x="104" y="64"/>
                      <a:pt x="104" y="54"/>
                    </a:cubicBezTo>
                    <a:cubicBezTo>
                      <a:pt x="104" y="43"/>
                      <a:pt x="97" y="34"/>
                      <a:pt x="88" y="34"/>
                    </a:cubicBezTo>
                    <a:cubicBezTo>
                      <a:pt x="79" y="34"/>
                      <a:pt x="79" y="34"/>
                      <a:pt x="79" y="34"/>
                    </a:cubicBezTo>
                    <a:cubicBezTo>
                      <a:pt x="82" y="19"/>
                      <a:pt x="88" y="8"/>
                      <a:pt x="96" y="8"/>
                    </a:cubicBezTo>
                    <a:cubicBezTo>
                      <a:pt x="107" y="8"/>
                      <a:pt x="115" y="28"/>
                      <a:pt x="115" y="54"/>
                    </a:cubicBezTo>
                    <a:cubicBezTo>
                      <a:pt x="115" y="79"/>
                      <a:pt x="107" y="100"/>
                      <a:pt x="96" y="100"/>
                    </a:cubicBezTo>
                    <a:close/>
                    <a:moveTo>
                      <a:pt x="96" y="100"/>
                    </a:moveTo>
                    <a:cubicBezTo>
                      <a:pt x="96" y="100"/>
                      <a:pt x="96" y="100"/>
                      <a:pt x="96" y="100"/>
                    </a:cubicBezTo>
                  </a:path>
                </a:pathLst>
              </a:custGeom>
              <a:solidFill>
                <a:schemeClr val="bg1"/>
              </a:solid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2" name="Freeform: Shape 155"/>
              <p:cNvSpPr/>
              <p:nvPr/>
            </p:nvSpPr>
            <p:spPr bwMode="auto">
              <a:xfrm>
                <a:off x="5531542" y="2544132"/>
                <a:ext cx="193560" cy="132166"/>
              </a:xfrm>
              <a:custGeom>
                <a:avLst/>
                <a:gdLst/>
                <a:ahLst/>
                <a:cxnLst>
                  <a:cxn ang="0">
                    <a:pos x="115" y="4"/>
                  </a:cxn>
                  <a:cxn ang="0">
                    <a:pos x="112" y="4"/>
                  </a:cxn>
                  <a:cxn ang="0">
                    <a:pos x="107" y="6"/>
                  </a:cxn>
                  <a:cxn ang="0">
                    <a:pos x="96" y="16"/>
                  </a:cxn>
                  <a:cxn ang="0">
                    <a:pos x="96" y="12"/>
                  </a:cxn>
                  <a:cxn ang="0">
                    <a:pos x="85" y="0"/>
                  </a:cxn>
                  <a:cxn ang="0">
                    <a:pos x="12" y="0"/>
                  </a:cxn>
                  <a:cxn ang="0">
                    <a:pos x="0" y="12"/>
                  </a:cxn>
                  <a:cxn ang="0">
                    <a:pos x="0" y="73"/>
                  </a:cxn>
                  <a:cxn ang="0">
                    <a:pos x="12" y="84"/>
                  </a:cxn>
                  <a:cxn ang="0">
                    <a:pos x="85" y="84"/>
                  </a:cxn>
                  <a:cxn ang="0">
                    <a:pos x="96" y="73"/>
                  </a:cxn>
                  <a:cxn ang="0">
                    <a:pos x="96" y="68"/>
                  </a:cxn>
                  <a:cxn ang="0">
                    <a:pos x="107" y="78"/>
                  </a:cxn>
                  <a:cxn ang="0">
                    <a:pos x="112" y="81"/>
                  </a:cxn>
                  <a:cxn ang="0">
                    <a:pos x="115" y="81"/>
                  </a:cxn>
                  <a:cxn ang="0">
                    <a:pos x="123" y="73"/>
                  </a:cxn>
                  <a:cxn ang="0">
                    <a:pos x="123" y="12"/>
                  </a:cxn>
                  <a:cxn ang="0">
                    <a:pos x="115" y="4"/>
                  </a:cxn>
                  <a:cxn ang="0">
                    <a:pos x="12" y="77"/>
                  </a:cxn>
                  <a:cxn ang="0">
                    <a:pos x="8" y="73"/>
                  </a:cxn>
                  <a:cxn ang="0">
                    <a:pos x="8" y="12"/>
                  </a:cxn>
                  <a:cxn ang="0">
                    <a:pos x="12" y="8"/>
                  </a:cxn>
                  <a:cxn ang="0">
                    <a:pos x="85" y="8"/>
                  </a:cxn>
                  <a:cxn ang="0">
                    <a:pos x="89" y="12"/>
                  </a:cxn>
                  <a:cxn ang="0">
                    <a:pos x="89" y="73"/>
                  </a:cxn>
                  <a:cxn ang="0">
                    <a:pos x="85" y="77"/>
                  </a:cxn>
                  <a:cxn ang="0">
                    <a:pos x="12" y="77"/>
                  </a:cxn>
                  <a:cxn ang="0">
                    <a:pos x="115" y="73"/>
                  </a:cxn>
                  <a:cxn ang="0">
                    <a:pos x="112" y="73"/>
                  </a:cxn>
                  <a:cxn ang="0">
                    <a:pos x="96" y="58"/>
                  </a:cxn>
                  <a:cxn ang="0">
                    <a:pos x="96" y="58"/>
                  </a:cxn>
                  <a:cxn ang="0">
                    <a:pos x="92" y="54"/>
                  </a:cxn>
                  <a:cxn ang="0">
                    <a:pos x="92" y="31"/>
                  </a:cxn>
                  <a:cxn ang="0">
                    <a:pos x="112" y="12"/>
                  </a:cxn>
                  <a:cxn ang="0">
                    <a:pos x="115" y="12"/>
                  </a:cxn>
                  <a:cxn ang="0">
                    <a:pos x="115" y="73"/>
                  </a:cxn>
                  <a:cxn ang="0">
                    <a:pos x="115" y="73"/>
                  </a:cxn>
                  <a:cxn ang="0">
                    <a:pos x="115" y="73"/>
                  </a:cxn>
                </a:cxnLst>
                <a:rect l="0" t="0" r="r" b="b"/>
                <a:pathLst>
                  <a:path w="123" h="84">
                    <a:moveTo>
                      <a:pt x="115" y="4"/>
                    </a:moveTo>
                    <a:cubicBezTo>
                      <a:pt x="112" y="4"/>
                      <a:pt x="112" y="4"/>
                      <a:pt x="112" y="4"/>
                    </a:cubicBezTo>
                    <a:cubicBezTo>
                      <a:pt x="110" y="4"/>
                      <a:pt x="108" y="5"/>
                      <a:pt x="107" y="6"/>
                    </a:cubicBezTo>
                    <a:cubicBezTo>
                      <a:pt x="96" y="16"/>
                      <a:pt x="96" y="16"/>
                      <a:pt x="96" y="16"/>
                    </a:cubicBezTo>
                    <a:cubicBezTo>
                      <a:pt x="96" y="12"/>
                      <a:pt x="96" y="12"/>
                      <a:pt x="96" y="12"/>
                    </a:cubicBezTo>
                    <a:cubicBezTo>
                      <a:pt x="96" y="5"/>
                      <a:pt x="91" y="0"/>
                      <a:pt x="85" y="0"/>
                    </a:cubicBezTo>
                    <a:cubicBezTo>
                      <a:pt x="12" y="0"/>
                      <a:pt x="12" y="0"/>
                      <a:pt x="12" y="0"/>
                    </a:cubicBezTo>
                    <a:cubicBezTo>
                      <a:pt x="6" y="0"/>
                      <a:pt x="0" y="5"/>
                      <a:pt x="0" y="12"/>
                    </a:cubicBezTo>
                    <a:cubicBezTo>
                      <a:pt x="0" y="73"/>
                      <a:pt x="0" y="73"/>
                      <a:pt x="0" y="73"/>
                    </a:cubicBezTo>
                    <a:cubicBezTo>
                      <a:pt x="0" y="79"/>
                      <a:pt x="6" y="84"/>
                      <a:pt x="12" y="84"/>
                    </a:cubicBezTo>
                    <a:cubicBezTo>
                      <a:pt x="85" y="84"/>
                      <a:pt x="85" y="84"/>
                      <a:pt x="85" y="84"/>
                    </a:cubicBezTo>
                    <a:cubicBezTo>
                      <a:pt x="91" y="84"/>
                      <a:pt x="96" y="79"/>
                      <a:pt x="96" y="73"/>
                    </a:cubicBezTo>
                    <a:cubicBezTo>
                      <a:pt x="96" y="68"/>
                      <a:pt x="96" y="68"/>
                      <a:pt x="96" y="68"/>
                    </a:cubicBezTo>
                    <a:cubicBezTo>
                      <a:pt x="107" y="78"/>
                      <a:pt x="107" y="78"/>
                      <a:pt x="107" y="78"/>
                    </a:cubicBezTo>
                    <a:cubicBezTo>
                      <a:pt x="108" y="80"/>
                      <a:pt x="110" y="81"/>
                      <a:pt x="112" y="81"/>
                    </a:cubicBezTo>
                    <a:cubicBezTo>
                      <a:pt x="115" y="81"/>
                      <a:pt x="115" y="81"/>
                      <a:pt x="115" y="81"/>
                    </a:cubicBezTo>
                    <a:cubicBezTo>
                      <a:pt x="120" y="81"/>
                      <a:pt x="123" y="77"/>
                      <a:pt x="123" y="73"/>
                    </a:cubicBezTo>
                    <a:cubicBezTo>
                      <a:pt x="123" y="12"/>
                      <a:pt x="123" y="12"/>
                      <a:pt x="123" y="12"/>
                    </a:cubicBezTo>
                    <a:cubicBezTo>
                      <a:pt x="123" y="7"/>
                      <a:pt x="120" y="4"/>
                      <a:pt x="115" y="4"/>
                    </a:cubicBezTo>
                    <a:close/>
                    <a:moveTo>
                      <a:pt x="12" y="77"/>
                    </a:moveTo>
                    <a:cubicBezTo>
                      <a:pt x="10" y="77"/>
                      <a:pt x="8" y="75"/>
                      <a:pt x="8" y="73"/>
                    </a:cubicBezTo>
                    <a:cubicBezTo>
                      <a:pt x="8" y="12"/>
                      <a:pt x="8" y="12"/>
                      <a:pt x="8" y="12"/>
                    </a:cubicBezTo>
                    <a:cubicBezTo>
                      <a:pt x="8" y="9"/>
                      <a:pt x="10" y="8"/>
                      <a:pt x="12" y="8"/>
                    </a:cubicBezTo>
                    <a:cubicBezTo>
                      <a:pt x="85" y="8"/>
                      <a:pt x="85" y="8"/>
                      <a:pt x="85" y="8"/>
                    </a:cubicBezTo>
                    <a:cubicBezTo>
                      <a:pt x="87" y="8"/>
                      <a:pt x="89" y="9"/>
                      <a:pt x="89" y="12"/>
                    </a:cubicBezTo>
                    <a:cubicBezTo>
                      <a:pt x="89" y="73"/>
                      <a:pt x="89" y="73"/>
                      <a:pt x="89" y="73"/>
                    </a:cubicBezTo>
                    <a:cubicBezTo>
                      <a:pt x="89" y="75"/>
                      <a:pt x="87" y="77"/>
                      <a:pt x="85" y="77"/>
                    </a:cubicBezTo>
                    <a:lnTo>
                      <a:pt x="12" y="77"/>
                    </a:lnTo>
                    <a:close/>
                    <a:moveTo>
                      <a:pt x="115" y="73"/>
                    </a:moveTo>
                    <a:cubicBezTo>
                      <a:pt x="112" y="73"/>
                      <a:pt x="112" y="73"/>
                      <a:pt x="112" y="73"/>
                    </a:cubicBezTo>
                    <a:cubicBezTo>
                      <a:pt x="96" y="58"/>
                      <a:pt x="96" y="58"/>
                      <a:pt x="96" y="58"/>
                    </a:cubicBezTo>
                    <a:cubicBezTo>
                      <a:pt x="96" y="58"/>
                      <a:pt x="96" y="58"/>
                      <a:pt x="96" y="58"/>
                    </a:cubicBezTo>
                    <a:cubicBezTo>
                      <a:pt x="92" y="54"/>
                      <a:pt x="92" y="54"/>
                      <a:pt x="92" y="54"/>
                    </a:cubicBezTo>
                    <a:cubicBezTo>
                      <a:pt x="92" y="31"/>
                      <a:pt x="92" y="31"/>
                      <a:pt x="92" y="31"/>
                    </a:cubicBezTo>
                    <a:cubicBezTo>
                      <a:pt x="112" y="12"/>
                      <a:pt x="112" y="12"/>
                      <a:pt x="112" y="12"/>
                    </a:cubicBezTo>
                    <a:cubicBezTo>
                      <a:pt x="115" y="12"/>
                      <a:pt x="115" y="12"/>
                      <a:pt x="115" y="12"/>
                    </a:cubicBezTo>
                    <a:lnTo>
                      <a:pt x="115" y="73"/>
                    </a:lnTo>
                    <a:close/>
                    <a:moveTo>
                      <a:pt x="115" y="73"/>
                    </a:moveTo>
                    <a:cubicBezTo>
                      <a:pt x="115" y="73"/>
                      <a:pt x="115" y="73"/>
                      <a:pt x="115" y="73"/>
                    </a:cubicBezTo>
                  </a:path>
                </a:pathLst>
              </a:custGeom>
              <a:solidFill>
                <a:schemeClr val="bg1"/>
              </a:solid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3" name="Freeform: Shape 156"/>
              <p:cNvSpPr/>
              <p:nvPr/>
            </p:nvSpPr>
            <p:spPr bwMode="auto">
              <a:xfrm>
                <a:off x="5211144" y="2665593"/>
                <a:ext cx="192706" cy="144954"/>
              </a:xfrm>
              <a:custGeom>
                <a:avLst/>
                <a:gdLst/>
                <a:ahLst/>
                <a:cxnLst>
                  <a:cxn ang="0">
                    <a:pos x="101" y="2"/>
                  </a:cxn>
                  <a:cxn ang="0">
                    <a:pos x="27" y="0"/>
                  </a:cxn>
                  <a:cxn ang="0">
                    <a:pos x="2" y="22"/>
                  </a:cxn>
                  <a:cxn ang="0">
                    <a:pos x="2" y="32"/>
                  </a:cxn>
                  <a:cxn ang="0">
                    <a:pos x="61" y="92"/>
                  </a:cxn>
                  <a:cxn ang="0">
                    <a:pos x="121" y="32"/>
                  </a:cxn>
                  <a:cxn ang="0">
                    <a:pos x="120" y="22"/>
                  </a:cxn>
                  <a:cxn ang="0">
                    <a:pos x="86" y="14"/>
                  </a:cxn>
                  <a:cxn ang="0">
                    <a:pos x="93" y="8"/>
                  </a:cxn>
                  <a:cxn ang="0">
                    <a:pos x="76" y="27"/>
                  </a:cxn>
                  <a:cxn ang="0">
                    <a:pos x="93" y="27"/>
                  </a:cxn>
                  <a:cxn ang="0">
                    <a:pos x="73" y="25"/>
                  </a:cxn>
                  <a:cxn ang="0">
                    <a:pos x="75" y="9"/>
                  </a:cxn>
                  <a:cxn ang="0">
                    <a:pos x="70" y="27"/>
                  </a:cxn>
                  <a:cxn ang="0">
                    <a:pos x="61" y="20"/>
                  </a:cxn>
                  <a:cxn ang="0">
                    <a:pos x="70" y="8"/>
                  </a:cxn>
                  <a:cxn ang="0">
                    <a:pos x="53" y="8"/>
                  </a:cxn>
                  <a:cxn ang="0">
                    <a:pos x="58" y="17"/>
                  </a:cxn>
                  <a:cxn ang="0">
                    <a:pos x="40" y="16"/>
                  </a:cxn>
                  <a:cxn ang="0">
                    <a:pos x="58" y="17"/>
                  </a:cxn>
                  <a:cxn ang="0">
                    <a:pos x="30" y="27"/>
                  </a:cxn>
                  <a:cxn ang="0">
                    <a:pos x="47" y="27"/>
                  </a:cxn>
                  <a:cxn ang="0">
                    <a:pos x="37" y="14"/>
                  </a:cxn>
                  <a:cxn ang="0">
                    <a:pos x="43" y="8"/>
                  </a:cxn>
                  <a:cxn ang="0">
                    <a:pos x="34" y="17"/>
                  </a:cxn>
                  <a:cxn ang="0">
                    <a:pos x="8" y="27"/>
                  </a:cxn>
                  <a:cxn ang="0">
                    <a:pos x="11" y="31"/>
                  </a:cxn>
                  <a:cxn ang="0">
                    <a:pos x="49" y="71"/>
                  </a:cxn>
                  <a:cxn ang="0">
                    <a:pos x="29" y="31"/>
                  </a:cxn>
                  <a:cxn ang="0">
                    <a:pos x="57" y="78"/>
                  </a:cxn>
                  <a:cxn ang="0">
                    <a:pos x="52" y="31"/>
                  </a:cxn>
                  <a:cxn ang="0">
                    <a:pos x="61" y="79"/>
                  </a:cxn>
                  <a:cxn ang="0">
                    <a:pos x="65" y="78"/>
                  </a:cxn>
                  <a:cxn ang="0">
                    <a:pos x="94" y="31"/>
                  </a:cxn>
                  <a:cxn ang="0">
                    <a:pos x="74" y="71"/>
                  </a:cxn>
                  <a:cxn ang="0">
                    <a:pos x="112" y="31"/>
                  </a:cxn>
                  <a:cxn ang="0">
                    <a:pos x="99" y="27"/>
                  </a:cxn>
                  <a:cxn ang="0">
                    <a:pos x="97" y="9"/>
                  </a:cxn>
                  <a:cxn ang="0">
                    <a:pos x="99" y="27"/>
                  </a:cxn>
                  <a:cxn ang="0">
                    <a:pos x="99" y="27"/>
                  </a:cxn>
                </a:cxnLst>
                <a:rect l="0" t="0" r="r" b="b"/>
                <a:pathLst>
                  <a:path w="123" h="92">
                    <a:moveTo>
                      <a:pt x="120" y="22"/>
                    </a:moveTo>
                    <a:cubicBezTo>
                      <a:pt x="101" y="2"/>
                      <a:pt x="101" y="2"/>
                      <a:pt x="101" y="2"/>
                    </a:cubicBezTo>
                    <a:cubicBezTo>
                      <a:pt x="100" y="1"/>
                      <a:pt x="98" y="0"/>
                      <a:pt x="96" y="0"/>
                    </a:cubicBezTo>
                    <a:cubicBezTo>
                      <a:pt x="27" y="0"/>
                      <a:pt x="27" y="0"/>
                      <a:pt x="27" y="0"/>
                    </a:cubicBezTo>
                    <a:cubicBezTo>
                      <a:pt x="25" y="0"/>
                      <a:pt x="23" y="1"/>
                      <a:pt x="22" y="2"/>
                    </a:cubicBezTo>
                    <a:cubicBezTo>
                      <a:pt x="2" y="22"/>
                      <a:pt x="2" y="22"/>
                      <a:pt x="2" y="22"/>
                    </a:cubicBezTo>
                    <a:cubicBezTo>
                      <a:pt x="1" y="23"/>
                      <a:pt x="0" y="25"/>
                      <a:pt x="0" y="27"/>
                    </a:cubicBezTo>
                    <a:cubicBezTo>
                      <a:pt x="0" y="29"/>
                      <a:pt x="1" y="31"/>
                      <a:pt x="2" y="32"/>
                    </a:cubicBezTo>
                    <a:cubicBezTo>
                      <a:pt x="56" y="90"/>
                      <a:pt x="56" y="90"/>
                      <a:pt x="56" y="90"/>
                    </a:cubicBezTo>
                    <a:cubicBezTo>
                      <a:pt x="57" y="91"/>
                      <a:pt x="59" y="92"/>
                      <a:pt x="61" y="92"/>
                    </a:cubicBezTo>
                    <a:cubicBezTo>
                      <a:pt x="64" y="92"/>
                      <a:pt x="66" y="91"/>
                      <a:pt x="67" y="90"/>
                    </a:cubicBezTo>
                    <a:cubicBezTo>
                      <a:pt x="121" y="32"/>
                      <a:pt x="121" y="32"/>
                      <a:pt x="121" y="32"/>
                    </a:cubicBezTo>
                    <a:cubicBezTo>
                      <a:pt x="122" y="31"/>
                      <a:pt x="123" y="29"/>
                      <a:pt x="123" y="27"/>
                    </a:cubicBezTo>
                    <a:cubicBezTo>
                      <a:pt x="123" y="25"/>
                      <a:pt x="122" y="23"/>
                      <a:pt x="120" y="22"/>
                    </a:cubicBezTo>
                    <a:close/>
                    <a:moveTo>
                      <a:pt x="93" y="8"/>
                    </a:moveTo>
                    <a:cubicBezTo>
                      <a:pt x="86" y="14"/>
                      <a:pt x="86" y="14"/>
                      <a:pt x="86" y="14"/>
                    </a:cubicBezTo>
                    <a:cubicBezTo>
                      <a:pt x="79" y="8"/>
                      <a:pt x="79" y="8"/>
                      <a:pt x="79" y="8"/>
                    </a:cubicBezTo>
                    <a:lnTo>
                      <a:pt x="93" y="8"/>
                    </a:lnTo>
                    <a:close/>
                    <a:moveTo>
                      <a:pt x="93" y="27"/>
                    </a:moveTo>
                    <a:cubicBezTo>
                      <a:pt x="76" y="27"/>
                      <a:pt x="76" y="27"/>
                      <a:pt x="76" y="27"/>
                    </a:cubicBezTo>
                    <a:cubicBezTo>
                      <a:pt x="85" y="19"/>
                      <a:pt x="85" y="19"/>
                      <a:pt x="85" y="19"/>
                    </a:cubicBezTo>
                    <a:lnTo>
                      <a:pt x="93" y="27"/>
                    </a:lnTo>
                    <a:close/>
                    <a:moveTo>
                      <a:pt x="83" y="16"/>
                    </a:moveTo>
                    <a:cubicBezTo>
                      <a:pt x="73" y="25"/>
                      <a:pt x="73" y="25"/>
                      <a:pt x="73" y="25"/>
                    </a:cubicBezTo>
                    <a:cubicBezTo>
                      <a:pt x="64" y="17"/>
                      <a:pt x="64" y="17"/>
                      <a:pt x="64" y="17"/>
                    </a:cubicBezTo>
                    <a:cubicBezTo>
                      <a:pt x="75" y="9"/>
                      <a:pt x="75" y="9"/>
                      <a:pt x="75" y="9"/>
                    </a:cubicBezTo>
                    <a:lnTo>
                      <a:pt x="83" y="16"/>
                    </a:lnTo>
                    <a:close/>
                    <a:moveTo>
                      <a:pt x="70" y="27"/>
                    </a:moveTo>
                    <a:cubicBezTo>
                      <a:pt x="53" y="27"/>
                      <a:pt x="53" y="27"/>
                      <a:pt x="53" y="27"/>
                    </a:cubicBezTo>
                    <a:cubicBezTo>
                      <a:pt x="61" y="20"/>
                      <a:pt x="61" y="20"/>
                      <a:pt x="61" y="20"/>
                    </a:cubicBezTo>
                    <a:lnTo>
                      <a:pt x="70" y="27"/>
                    </a:lnTo>
                    <a:close/>
                    <a:moveTo>
                      <a:pt x="70" y="8"/>
                    </a:moveTo>
                    <a:cubicBezTo>
                      <a:pt x="61" y="15"/>
                      <a:pt x="61" y="15"/>
                      <a:pt x="61" y="15"/>
                    </a:cubicBezTo>
                    <a:cubicBezTo>
                      <a:pt x="53" y="8"/>
                      <a:pt x="53" y="8"/>
                      <a:pt x="53" y="8"/>
                    </a:cubicBezTo>
                    <a:lnTo>
                      <a:pt x="70" y="8"/>
                    </a:lnTo>
                    <a:close/>
                    <a:moveTo>
                      <a:pt x="58" y="17"/>
                    </a:moveTo>
                    <a:cubicBezTo>
                      <a:pt x="50" y="25"/>
                      <a:pt x="50" y="25"/>
                      <a:pt x="50" y="25"/>
                    </a:cubicBezTo>
                    <a:cubicBezTo>
                      <a:pt x="40" y="16"/>
                      <a:pt x="40" y="16"/>
                      <a:pt x="40" y="16"/>
                    </a:cubicBezTo>
                    <a:cubicBezTo>
                      <a:pt x="48" y="9"/>
                      <a:pt x="48" y="9"/>
                      <a:pt x="48" y="9"/>
                    </a:cubicBezTo>
                    <a:lnTo>
                      <a:pt x="58" y="17"/>
                    </a:lnTo>
                    <a:close/>
                    <a:moveTo>
                      <a:pt x="47" y="27"/>
                    </a:moveTo>
                    <a:cubicBezTo>
                      <a:pt x="30" y="27"/>
                      <a:pt x="30" y="27"/>
                      <a:pt x="30" y="27"/>
                    </a:cubicBezTo>
                    <a:cubicBezTo>
                      <a:pt x="37" y="19"/>
                      <a:pt x="37" y="19"/>
                      <a:pt x="37" y="19"/>
                    </a:cubicBezTo>
                    <a:lnTo>
                      <a:pt x="47" y="27"/>
                    </a:lnTo>
                    <a:close/>
                    <a:moveTo>
                      <a:pt x="43" y="8"/>
                    </a:moveTo>
                    <a:cubicBezTo>
                      <a:pt x="37" y="14"/>
                      <a:pt x="37" y="14"/>
                      <a:pt x="37" y="14"/>
                    </a:cubicBezTo>
                    <a:cubicBezTo>
                      <a:pt x="30" y="8"/>
                      <a:pt x="30" y="8"/>
                      <a:pt x="30" y="8"/>
                    </a:cubicBezTo>
                    <a:lnTo>
                      <a:pt x="43" y="8"/>
                    </a:lnTo>
                    <a:close/>
                    <a:moveTo>
                      <a:pt x="26" y="9"/>
                    </a:moveTo>
                    <a:cubicBezTo>
                      <a:pt x="34" y="17"/>
                      <a:pt x="34" y="17"/>
                      <a:pt x="34" y="17"/>
                    </a:cubicBezTo>
                    <a:cubicBezTo>
                      <a:pt x="24" y="27"/>
                      <a:pt x="24" y="27"/>
                      <a:pt x="24" y="27"/>
                    </a:cubicBezTo>
                    <a:cubicBezTo>
                      <a:pt x="8" y="27"/>
                      <a:pt x="8" y="27"/>
                      <a:pt x="8" y="27"/>
                    </a:cubicBezTo>
                    <a:lnTo>
                      <a:pt x="26" y="9"/>
                    </a:lnTo>
                    <a:close/>
                    <a:moveTo>
                      <a:pt x="11" y="31"/>
                    </a:moveTo>
                    <a:cubicBezTo>
                      <a:pt x="25" y="31"/>
                      <a:pt x="25" y="31"/>
                      <a:pt x="25" y="31"/>
                    </a:cubicBezTo>
                    <a:cubicBezTo>
                      <a:pt x="49" y="71"/>
                      <a:pt x="49" y="71"/>
                      <a:pt x="49" y="71"/>
                    </a:cubicBezTo>
                    <a:lnTo>
                      <a:pt x="11" y="31"/>
                    </a:lnTo>
                    <a:close/>
                    <a:moveTo>
                      <a:pt x="29" y="31"/>
                    </a:moveTo>
                    <a:cubicBezTo>
                      <a:pt x="48" y="31"/>
                      <a:pt x="48" y="31"/>
                      <a:pt x="48" y="31"/>
                    </a:cubicBezTo>
                    <a:cubicBezTo>
                      <a:pt x="57" y="78"/>
                      <a:pt x="57" y="78"/>
                      <a:pt x="57" y="78"/>
                    </a:cubicBezTo>
                    <a:lnTo>
                      <a:pt x="29" y="31"/>
                    </a:lnTo>
                    <a:close/>
                    <a:moveTo>
                      <a:pt x="52" y="31"/>
                    </a:moveTo>
                    <a:cubicBezTo>
                      <a:pt x="71" y="31"/>
                      <a:pt x="71" y="31"/>
                      <a:pt x="71" y="31"/>
                    </a:cubicBezTo>
                    <a:cubicBezTo>
                      <a:pt x="61" y="79"/>
                      <a:pt x="61" y="79"/>
                      <a:pt x="61" y="79"/>
                    </a:cubicBezTo>
                    <a:lnTo>
                      <a:pt x="52" y="31"/>
                    </a:lnTo>
                    <a:close/>
                    <a:moveTo>
                      <a:pt x="65" y="78"/>
                    </a:moveTo>
                    <a:cubicBezTo>
                      <a:pt x="75" y="31"/>
                      <a:pt x="75" y="31"/>
                      <a:pt x="75" y="31"/>
                    </a:cubicBezTo>
                    <a:cubicBezTo>
                      <a:pt x="94" y="31"/>
                      <a:pt x="94" y="31"/>
                      <a:pt x="94" y="31"/>
                    </a:cubicBezTo>
                    <a:lnTo>
                      <a:pt x="65" y="78"/>
                    </a:lnTo>
                    <a:close/>
                    <a:moveTo>
                      <a:pt x="74" y="71"/>
                    </a:moveTo>
                    <a:cubicBezTo>
                      <a:pt x="98" y="31"/>
                      <a:pt x="98" y="31"/>
                      <a:pt x="98" y="31"/>
                    </a:cubicBezTo>
                    <a:cubicBezTo>
                      <a:pt x="112" y="31"/>
                      <a:pt x="112" y="31"/>
                      <a:pt x="112" y="31"/>
                    </a:cubicBezTo>
                    <a:lnTo>
                      <a:pt x="74" y="71"/>
                    </a:lnTo>
                    <a:close/>
                    <a:moveTo>
                      <a:pt x="99" y="27"/>
                    </a:moveTo>
                    <a:cubicBezTo>
                      <a:pt x="88" y="17"/>
                      <a:pt x="88" y="17"/>
                      <a:pt x="88" y="17"/>
                    </a:cubicBezTo>
                    <a:cubicBezTo>
                      <a:pt x="97" y="9"/>
                      <a:pt x="97" y="9"/>
                      <a:pt x="97" y="9"/>
                    </a:cubicBezTo>
                    <a:cubicBezTo>
                      <a:pt x="115" y="27"/>
                      <a:pt x="115" y="27"/>
                      <a:pt x="115" y="27"/>
                    </a:cubicBezTo>
                    <a:lnTo>
                      <a:pt x="99" y="27"/>
                    </a:lnTo>
                    <a:close/>
                    <a:moveTo>
                      <a:pt x="99" y="27"/>
                    </a:moveTo>
                    <a:cubicBezTo>
                      <a:pt x="99" y="27"/>
                      <a:pt x="99" y="27"/>
                      <a:pt x="99" y="27"/>
                    </a:cubicBezTo>
                  </a:path>
                </a:pathLst>
              </a:custGeom>
              <a:solidFill>
                <a:schemeClr val="bg1"/>
              </a:solid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nvGrpSpPr>
              <p:cNvPr id="14" name="Group 157"/>
              <p:cNvGrpSpPr/>
              <p:nvPr/>
            </p:nvGrpSpPr>
            <p:grpSpPr>
              <a:xfrm>
                <a:off x="4896612" y="2493506"/>
                <a:ext cx="193560" cy="193558"/>
                <a:chOff x="8780463" y="1906588"/>
                <a:chExt cx="360363" cy="360363"/>
              </a:xfrm>
              <a:solidFill>
                <a:schemeClr val="bg1"/>
              </a:solidFill>
            </p:grpSpPr>
            <p:sp>
              <p:nvSpPr>
                <p:cNvPr id="15" name="Freeform: Shape 158"/>
                <p:cNvSpPr/>
                <p:nvPr/>
              </p:nvSpPr>
              <p:spPr bwMode="auto">
                <a:xfrm>
                  <a:off x="8780463" y="1938338"/>
                  <a:ext cx="328613" cy="328613"/>
                </a:xfrm>
                <a:custGeom>
                  <a:avLst/>
                  <a:gdLst/>
                  <a:ahLst/>
                  <a:cxnLst>
                    <a:cxn ang="0">
                      <a:pos x="80" y="3"/>
                    </a:cxn>
                    <a:cxn ang="0">
                      <a:pos x="73" y="0"/>
                    </a:cxn>
                    <a:cxn ang="0">
                      <a:pos x="66" y="3"/>
                    </a:cxn>
                    <a:cxn ang="0">
                      <a:pos x="61" y="9"/>
                    </a:cxn>
                    <a:cxn ang="0">
                      <a:pos x="58" y="15"/>
                    </a:cxn>
                    <a:cxn ang="0">
                      <a:pos x="60" y="20"/>
                    </a:cxn>
                    <a:cxn ang="0">
                      <a:pos x="8" y="41"/>
                    </a:cxn>
                    <a:cxn ang="0">
                      <a:pos x="1" y="50"/>
                    </a:cxn>
                    <a:cxn ang="0">
                      <a:pos x="4" y="60"/>
                    </a:cxn>
                    <a:cxn ang="0">
                      <a:pos x="53" y="108"/>
                    </a:cxn>
                    <a:cxn ang="0">
                      <a:pos x="61" y="112"/>
                    </a:cxn>
                    <a:cxn ang="0">
                      <a:pos x="61" y="112"/>
                    </a:cxn>
                    <a:cxn ang="0">
                      <a:pos x="63" y="111"/>
                    </a:cxn>
                    <a:cxn ang="0">
                      <a:pos x="72" y="104"/>
                    </a:cxn>
                    <a:cxn ang="0">
                      <a:pos x="92" y="53"/>
                    </a:cxn>
                    <a:cxn ang="0">
                      <a:pos x="97" y="55"/>
                    </a:cxn>
                    <a:cxn ang="0">
                      <a:pos x="104" y="52"/>
                    </a:cxn>
                    <a:cxn ang="0">
                      <a:pos x="110" y="46"/>
                    </a:cxn>
                    <a:cxn ang="0">
                      <a:pos x="112" y="40"/>
                    </a:cxn>
                    <a:cxn ang="0">
                      <a:pos x="110" y="33"/>
                    </a:cxn>
                    <a:cxn ang="0">
                      <a:pos x="80" y="3"/>
                    </a:cxn>
                    <a:cxn ang="0">
                      <a:pos x="65" y="102"/>
                    </a:cxn>
                    <a:cxn ang="0">
                      <a:pos x="62" y="104"/>
                    </a:cxn>
                    <a:cxn ang="0">
                      <a:pos x="61" y="104"/>
                    </a:cxn>
                    <a:cxn ang="0">
                      <a:pos x="58" y="103"/>
                    </a:cxn>
                    <a:cxn ang="0">
                      <a:pos x="9" y="55"/>
                    </a:cxn>
                    <a:cxn ang="0">
                      <a:pos x="8" y="51"/>
                    </a:cxn>
                    <a:cxn ang="0">
                      <a:pos x="11" y="48"/>
                    </a:cxn>
                    <a:cxn ang="0">
                      <a:pos x="34" y="39"/>
                    </a:cxn>
                    <a:cxn ang="0">
                      <a:pos x="83" y="56"/>
                    </a:cxn>
                    <a:cxn ang="0">
                      <a:pos x="65" y="102"/>
                    </a:cxn>
                    <a:cxn ang="0">
                      <a:pos x="104" y="41"/>
                    </a:cxn>
                    <a:cxn ang="0">
                      <a:pos x="99" y="46"/>
                    </a:cxn>
                    <a:cxn ang="0">
                      <a:pos x="96" y="46"/>
                    </a:cxn>
                    <a:cxn ang="0">
                      <a:pos x="89" y="40"/>
                    </a:cxn>
                    <a:cxn ang="0">
                      <a:pos x="84" y="53"/>
                    </a:cxn>
                    <a:cxn ang="0">
                      <a:pos x="84" y="52"/>
                    </a:cxn>
                    <a:cxn ang="0">
                      <a:pos x="50" y="38"/>
                    </a:cxn>
                    <a:cxn ang="0">
                      <a:pos x="40" y="36"/>
                    </a:cxn>
                    <a:cxn ang="0">
                      <a:pos x="73" y="23"/>
                    </a:cxn>
                    <a:cxn ang="0">
                      <a:pos x="66" y="17"/>
                    </a:cxn>
                    <a:cxn ang="0">
                      <a:pos x="66" y="14"/>
                    </a:cxn>
                    <a:cxn ang="0">
                      <a:pos x="72" y="9"/>
                    </a:cxn>
                    <a:cxn ang="0">
                      <a:pos x="75" y="9"/>
                    </a:cxn>
                    <a:cxn ang="0">
                      <a:pos x="104" y="38"/>
                    </a:cxn>
                    <a:cxn ang="0">
                      <a:pos x="104" y="41"/>
                    </a:cxn>
                    <a:cxn ang="0">
                      <a:pos x="104" y="41"/>
                    </a:cxn>
                    <a:cxn ang="0">
                      <a:pos x="104" y="41"/>
                    </a:cxn>
                  </a:cxnLst>
                  <a:rect l="0" t="0" r="r" b="b"/>
                  <a:pathLst>
                    <a:path w="112" h="112">
                      <a:moveTo>
                        <a:pt x="80" y="3"/>
                      </a:moveTo>
                      <a:cubicBezTo>
                        <a:pt x="78" y="1"/>
                        <a:pt x="76" y="0"/>
                        <a:pt x="73" y="0"/>
                      </a:cubicBezTo>
                      <a:cubicBezTo>
                        <a:pt x="71" y="0"/>
                        <a:pt x="68" y="1"/>
                        <a:pt x="66" y="3"/>
                      </a:cubicBezTo>
                      <a:cubicBezTo>
                        <a:pt x="61" y="9"/>
                        <a:pt x="61" y="9"/>
                        <a:pt x="61" y="9"/>
                      </a:cubicBezTo>
                      <a:cubicBezTo>
                        <a:pt x="59" y="10"/>
                        <a:pt x="58" y="13"/>
                        <a:pt x="58" y="15"/>
                      </a:cubicBezTo>
                      <a:cubicBezTo>
                        <a:pt x="58" y="17"/>
                        <a:pt x="59" y="19"/>
                        <a:pt x="60" y="20"/>
                      </a:cubicBezTo>
                      <a:cubicBezTo>
                        <a:pt x="8" y="41"/>
                        <a:pt x="8" y="41"/>
                        <a:pt x="8" y="41"/>
                      </a:cubicBezTo>
                      <a:cubicBezTo>
                        <a:pt x="4" y="43"/>
                        <a:pt x="2" y="46"/>
                        <a:pt x="1" y="50"/>
                      </a:cubicBezTo>
                      <a:cubicBezTo>
                        <a:pt x="0" y="53"/>
                        <a:pt x="1" y="57"/>
                        <a:pt x="4" y="60"/>
                      </a:cubicBezTo>
                      <a:cubicBezTo>
                        <a:pt x="53" y="108"/>
                        <a:pt x="53" y="108"/>
                        <a:pt x="53" y="108"/>
                      </a:cubicBezTo>
                      <a:cubicBezTo>
                        <a:pt x="55" y="110"/>
                        <a:pt x="58" y="112"/>
                        <a:pt x="61" y="112"/>
                      </a:cubicBezTo>
                      <a:cubicBezTo>
                        <a:pt x="61" y="112"/>
                        <a:pt x="61" y="112"/>
                        <a:pt x="61" y="112"/>
                      </a:cubicBezTo>
                      <a:cubicBezTo>
                        <a:pt x="62" y="112"/>
                        <a:pt x="63" y="112"/>
                        <a:pt x="63" y="111"/>
                      </a:cubicBezTo>
                      <a:cubicBezTo>
                        <a:pt x="67" y="111"/>
                        <a:pt x="70" y="108"/>
                        <a:pt x="72" y="104"/>
                      </a:cubicBezTo>
                      <a:cubicBezTo>
                        <a:pt x="92" y="53"/>
                        <a:pt x="92" y="53"/>
                        <a:pt x="92" y="53"/>
                      </a:cubicBezTo>
                      <a:cubicBezTo>
                        <a:pt x="94" y="54"/>
                        <a:pt x="95" y="55"/>
                        <a:pt x="97" y="55"/>
                      </a:cubicBezTo>
                      <a:cubicBezTo>
                        <a:pt x="100" y="55"/>
                        <a:pt x="102" y="54"/>
                        <a:pt x="104" y="52"/>
                      </a:cubicBezTo>
                      <a:cubicBezTo>
                        <a:pt x="110" y="46"/>
                        <a:pt x="110" y="46"/>
                        <a:pt x="110" y="46"/>
                      </a:cubicBezTo>
                      <a:cubicBezTo>
                        <a:pt x="111" y="45"/>
                        <a:pt x="112" y="42"/>
                        <a:pt x="112" y="40"/>
                      </a:cubicBezTo>
                      <a:cubicBezTo>
                        <a:pt x="112" y="37"/>
                        <a:pt x="111" y="35"/>
                        <a:pt x="110" y="33"/>
                      </a:cubicBezTo>
                      <a:lnTo>
                        <a:pt x="80" y="3"/>
                      </a:lnTo>
                      <a:close/>
                      <a:moveTo>
                        <a:pt x="65" y="102"/>
                      </a:moveTo>
                      <a:cubicBezTo>
                        <a:pt x="64" y="103"/>
                        <a:pt x="63" y="104"/>
                        <a:pt x="62" y="104"/>
                      </a:cubicBezTo>
                      <a:cubicBezTo>
                        <a:pt x="61" y="104"/>
                        <a:pt x="61" y="104"/>
                        <a:pt x="61" y="104"/>
                      </a:cubicBezTo>
                      <a:cubicBezTo>
                        <a:pt x="60" y="104"/>
                        <a:pt x="59" y="104"/>
                        <a:pt x="58" y="103"/>
                      </a:cubicBezTo>
                      <a:cubicBezTo>
                        <a:pt x="9" y="55"/>
                        <a:pt x="9" y="55"/>
                        <a:pt x="9" y="55"/>
                      </a:cubicBezTo>
                      <a:cubicBezTo>
                        <a:pt x="9" y="54"/>
                        <a:pt x="8" y="52"/>
                        <a:pt x="8" y="51"/>
                      </a:cubicBezTo>
                      <a:cubicBezTo>
                        <a:pt x="9" y="50"/>
                        <a:pt x="9" y="49"/>
                        <a:pt x="11" y="48"/>
                      </a:cubicBezTo>
                      <a:cubicBezTo>
                        <a:pt x="34" y="39"/>
                        <a:pt x="34" y="39"/>
                        <a:pt x="34" y="39"/>
                      </a:cubicBezTo>
                      <a:cubicBezTo>
                        <a:pt x="51" y="44"/>
                        <a:pt x="67" y="39"/>
                        <a:pt x="83" y="56"/>
                      </a:cubicBezTo>
                      <a:lnTo>
                        <a:pt x="65" y="102"/>
                      </a:lnTo>
                      <a:close/>
                      <a:moveTo>
                        <a:pt x="104" y="41"/>
                      </a:moveTo>
                      <a:cubicBezTo>
                        <a:pt x="99" y="46"/>
                        <a:pt x="99" y="46"/>
                        <a:pt x="99" y="46"/>
                      </a:cubicBezTo>
                      <a:cubicBezTo>
                        <a:pt x="98" y="47"/>
                        <a:pt x="97" y="47"/>
                        <a:pt x="96" y="46"/>
                      </a:cubicBezTo>
                      <a:cubicBezTo>
                        <a:pt x="89" y="40"/>
                        <a:pt x="89" y="40"/>
                        <a:pt x="89" y="40"/>
                      </a:cubicBezTo>
                      <a:cubicBezTo>
                        <a:pt x="84" y="53"/>
                        <a:pt x="84" y="53"/>
                        <a:pt x="84" y="53"/>
                      </a:cubicBezTo>
                      <a:cubicBezTo>
                        <a:pt x="84" y="52"/>
                        <a:pt x="84" y="52"/>
                        <a:pt x="84" y="52"/>
                      </a:cubicBezTo>
                      <a:cubicBezTo>
                        <a:pt x="73" y="41"/>
                        <a:pt x="61" y="39"/>
                        <a:pt x="50" y="38"/>
                      </a:cubicBezTo>
                      <a:cubicBezTo>
                        <a:pt x="47" y="38"/>
                        <a:pt x="44" y="37"/>
                        <a:pt x="40" y="36"/>
                      </a:cubicBezTo>
                      <a:cubicBezTo>
                        <a:pt x="73" y="23"/>
                        <a:pt x="73" y="23"/>
                        <a:pt x="73" y="23"/>
                      </a:cubicBezTo>
                      <a:cubicBezTo>
                        <a:pt x="66" y="17"/>
                        <a:pt x="66" y="17"/>
                        <a:pt x="66" y="17"/>
                      </a:cubicBezTo>
                      <a:cubicBezTo>
                        <a:pt x="66" y="16"/>
                        <a:pt x="66" y="15"/>
                        <a:pt x="66" y="14"/>
                      </a:cubicBezTo>
                      <a:cubicBezTo>
                        <a:pt x="72" y="9"/>
                        <a:pt x="72" y="9"/>
                        <a:pt x="72" y="9"/>
                      </a:cubicBezTo>
                      <a:cubicBezTo>
                        <a:pt x="73" y="8"/>
                        <a:pt x="74" y="8"/>
                        <a:pt x="75" y="9"/>
                      </a:cubicBezTo>
                      <a:cubicBezTo>
                        <a:pt x="104" y="38"/>
                        <a:pt x="104" y="38"/>
                        <a:pt x="104" y="38"/>
                      </a:cubicBezTo>
                      <a:cubicBezTo>
                        <a:pt x="105" y="39"/>
                        <a:pt x="105" y="40"/>
                        <a:pt x="104" y="41"/>
                      </a:cubicBezTo>
                      <a:close/>
                      <a:moveTo>
                        <a:pt x="104" y="41"/>
                      </a:moveTo>
                      <a:cubicBezTo>
                        <a:pt x="104" y="41"/>
                        <a:pt x="104" y="41"/>
                        <a:pt x="104" y="41"/>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6" name="Freeform: Shape 159"/>
                <p:cNvSpPr/>
                <p:nvPr/>
              </p:nvSpPr>
              <p:spPr bwMode="auto">
                <a:xfrm>
                  <a:off x="8939213" y="2084388"/>
                  <a:ext cx="55563" cy="57150"/>
                </a:xfrm>
                <a:custGeom>
                  <a:avLst/>
                  <a:gdLst/>
                  <a:ahLst/>
                  <a:cxnLst>
                    <a:cxn ang="0">
                      <a:pos x="10" y="19"/>
                    </a:cxn>
                    <a:cxn ang="0">
                      <a:pos x="19" y="10"/>
                    </a:cxn>
                    <a:cxn ang="0">
                      <a:pos x="10" y="0"/>
                    </a:cxn>
                    <a:cxn ang="0">
                      <a:pos x="0" y="10"/>
                    </a:cxn>
                    <a:cxn ang="0">
                      <a:pos x="10" y="19"/>
                    </a:cxn>
                    <a:cxn ang="0">
                      <a:pos x="10" y="4"/>
                    </a:cxn>
                    <a:cxn ang="0">
                      <a:pos x="16" y="10"/>
                    </a:cxn>
                    <a:cxn ang="0">
                      <a:pos x="10" y="16"/>
                    </a:cxn>
                    <a:cxn ang="0">
                      <a:pos x="4" y="10"/>
                    </a:cxn>
                    <a:cxn ang="0">
                      <a:pos x="10" y="4"/>
                    </a:cxn>
                    <a:cxn ang="0">
                      <a:pos x="10" y="4"/>
                    </a:cxn>
                    <a:cxn ang="0">
                      <a:pos x="10" y="4"/>
                    </a:cxn>
                  </a:cxnLst>
                  <a:rect l="0" t="0" r="r" b="b"/>
                  <a:pathLst>
                    <a:path w="19" h="19">
                      <a:moveTo>
                        <a:pt x="10" y="19"/>
                      </a:moveTo>
                      <a:cubicBezTo>
                        <a:pt x="15" y="19"/>
                        <a:pt x="19" y="15"/>
                        <a:pt x="19" y="10"/>
                      </a:cubicBezTo>
                      <a:cubicBezTo>
                        <a:pt x="19" y="5"/>
                        <a:pt x="15" y="0"/>
                        <a:pt x="10" y="0"/>
                      </a:cubicBezTo>
                      <a:cubicBezTo>
                        <a:pt x="5" y="0"/>
                        <a:pt x="0" y="5"/>
                        <a:pt x="0" y="10"/>
                      </a:cubicBezTo>
                      <a:cubicBezTo>
                        <a:pt x="0" y="15"/>
                        <a:pt x="5" y="19"/>
                        <a:pt x="10" y="19"/>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moveTo>
                        <a:pt x="10" y="4"/>
                      </a:moveTo>
                      <a:cubicBezTo>
                        <a:pt x="10" y="4"/>
                        <a:pt x="10" y="4"/>
                        <a:pt x="10" y="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7" name="Freeform: Shape 160"/>
                <p:cNvSpPr/>
                <p:nvPr/>
              </p:nvSpPr>
              <p:spPr bwMode="auto">
                <a:xfrm>
                  <a:off x="9085263" y="1906588"/>
                  <a:ext cx="55563" cy="55563"/>
                </a:xfrm>
                <a:custGeom>
                  <a:avLst/>
                  <a:gdLst/>
                  <a:ahLst/>
                  <a:cxnLst>
                    <a:cxn ang="0">
                      <a:pos x="10" y="0"/>
                    </a:cxn>
                    <a:cxn ang="0">
                      <a:pos x="0" y="9"/>
                    </a:cxn>
                    <a:cxn ang="0">
                      <a:pos x="10" y="19"/>
                    </a:cxn>
                    <a:cxn ang="0">
                      <a:pos x="19" y="9"/>
                    </a:cxn>
                    <a:cxn ang="0">
                      <a:pos x="10" y="0"/>
                    </a:cxn>
                    <a:cxn ang="0">
                      <a:pos x="10" y="15"/>
                    </a:cxn>
                    <a:cxn ang="0">
                      <a:pos x="4" y="9"/>
                    </a:cxn>
                    <a:cxn ang="0">
                      <a:pos x="10" y="4"/>
                    </a:cxn>
                    <a:cxn ang="0">
                      <a:pos x="16" y="9"/>
                    </a:cxn>
                    <a:cxn ang="0">
                      <a:pos x="10" y="15"/>
                    </a:cxn>
                    <a:cxn ang="0">
                      <a:pos x="10" y="15"/>
                    </a:cxn>
                    <a:cxn ang="0">
                      <a:pos x="10" y="15"/>
                    </a:cxn>
                  </a:cxnLst>
                  <a:rect l="0" t="0" r="r" b="b"/>
                  <a:pathLst>
                    <a:path w="19" h="19">
                      <a:moveTo>
                        <a:pt x="10" y="0"/>
                      </a:moveTo>
                      <a:cubicBezTo>
                        <a:pt x="4" y="0"/>
                        <a:pt x="0" y="4"/>
                        <a:pt x="0" y="9"/>
                      </a:cubicBezTo>
                      <a:cubicBezTo>
                        <a:pt x="0" y="15"/>
                        <a:pt x="4" y="19"/>
                        <a:pt x="10" y="19"/>
                      </a:cubicBezTo>
                      <a:cubicBezTo>
                        <a:pt x="15" y="19"/>
                        <a:pt x="19" y="15"/>
                        <a:pt x="19" y="9"/>
                      </a:cubicBezTo>
                      <a:cubicBezTo>
                        <a:pt x="19" y="4"/>
                        <a:pt x="15" y="0"/>
                        <a:pt x="10" y="0"/>
                      </a:cubicBezTo>
                      <a:close/>
                      <a:moveTo>
                        <a:pt x="10" y="15"/>
                      </a:moveTo>
                      <a:cubicBezTo>
                        <a:pt x="7" y="15"/>
                        <a:pt x="4" y="13"/>
                        <a:pt x="4" y="9"/>
                      </a:cubicBezTo>
                      <a:cubicBezTo>
                        <a:pt x="4" y="6"/>
                        <a:pt x="7" y="4"/>
                        <a:pt x="10" y="4"/>
                      </a:cubicBezTo>
                      <a:cubicBezTo>
                        <a:pt x="13" y="4"/>
                        <a:pt x="16" y="6"/>
                        <a:pt x="16" y="9"/>
                      </a:cubicBezTo>
                      <a:cubicBezTo>
                        <a:pt x="16" y="13"/>
                        <a:pt x="13" y="15"/>
                        <a:pt x="10" y="15"/>
                      </a:cubicBezTo>
                      <a:close/>
                      <a:moveTo>
                        <a:pt x="10" y="15"/>
                      </a:moveTo>
                      <a:cubicBezTo>
                        <a:pt x="10" y="15"/>
                        <a:pt x="10" y="15"/>
                        <a:pt x="10" y="15"/>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8" name="Freeform: Shape 161"/>
                <p:cNvSpPr/>
                <p:nvPr/>
              </p:nvSpPr>
              <p:spPr bwMode="auto">
                <a:xfrm>
                  <a:off x="8872538" y="2073276"/>
                  <a:ext cx="46038" cy="47625"/>
                </a:xfrm>
                <a:custGeom>
                  <a:avLst/>
                  <a:gdLst/>
                  <a:ahLst/>
                  <a:cxnLst>
                    <a:cxn ang="0">
                      <a:pos x="0" y="8"/>
                    </a:cxn>
                    <a:cxn ang="0">
                      <a:pos x="8" y="16"/>
                    </a:cxn>
                    <a:cxn ang="0">
                      <a:pos x="16" y="8"/>
                    </a:cxn>
                    <a:cxn ang="0">
                      <a:pos x="8" y="0"/>
                    </a:cxn>
                    <a:cxn ang="0">
                      <a:pos x="0" y="8"/>
                    </a:cxn>
                    <a:cxn ang="0">
                      <a:pos x="8" y="4"/>
                    </a:cxn>
                    <a:cxn ang="0">
                      <a:pos x="12" y="8"/>
                    </a:cxn>
                    <a:cxn ang="0">
                      <a:pos x="8" y="12"/>
                    </a:cxn>
                    <a:cxn ang="0">
                      <a:pos x="4" y="8"/>
                    </a:cxn>
                    <a:cxn ang="0">
                      <a:pos x="8" y="4"/>
                    </a:cxn>
                    <a:cxn ang="0">
                      <a:pos x="8" y="4"/>
                    </a:cxn>
                    <a:cxn ang="0">
                      <a:pos x="8" y="4"/>
                    </a:cxn>
                  </a:cxnLst>
                  <a:rect l="0" t="0" r="r" b="b"/>
                  <a:pathLst>
                    <a:path w="16" h="16">
                      <a:moveTo>
                        <a:pt x="0" y="8"/>
                      </a:moveTo>
                      <a:cubicBezTo>
                        <a:pt x="0" y="12"/>
                        <a:pt x="4" y="16"/>
                        <a:pt x="8" y="16"/>
                      </a:cubicBezTo>
                      <a:cubicBezTo>
                        <a:pt x="12" y="16"/>
                        <a:pt x="16" y="12"/>
                        <a:pt x="16" y="8"/>
                      </a:cubicBezTo>
                      <a:cubicBezTo>
                        <a:pt x="16" y="4"/>
                        <a:pt x="12" y="0"/>
                        <a:pt x="8" y="0"/>
                      </a:cubicBezTo>
                      <a:cubicBezTo>
                        <a:pt x="4" y="0"/>
                        <a:pt x="0" y="4"/>
                        <a:pt x="0" y="8"/>
                      </a:cubicBezTo>
                      <a:close/>
                      <a:moveTo>
                        <a:pt x="8" y="4"/>
                      </a:moveTo>
                      <a:cubicBezTo>
                        <a:pt x="10" y="4"/>
                        <a:pt x="12" y="6"/>
                        <a:pt x="12" y="8"/>
                      </a:cubicBezTo>
                      <a:cubicBezTo>
                        <a:pt x="12" y="10"/>
                        <a:pt x="10" y="12"/>
                        <a:pt x="8" y="12"/>
                      </a:cubicBezTo>
                      <a:cubicBezTo>
                        <a:pt x="6" y="12"/>
                        <a:pt x="4" y="10"/>
                        <a:pt x="4" y="8"/>
                      </a:cubicBezTo>
                      <a:cubicBezTo>
                        <a:pt x="4" y="6"/>
                        <a:pt x="6" y="4"/>
                        <a:pt x="8" y="4"/>
                      </a:cubicBezTo>
                      <a:close/>
                      <a:moveTo>
                        <a:pt x="8" y="4"/>
                      </a:moveTo>
                      <a:cubicBezTo>
                        <a:pt x="8" y="4"/>
                        <a:pt x="8" y="4"/>
                        <a:pt x="8" y="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9" name="Freeform: Shape 162"/>
                <p:cNvSpPr/>
                <p:nvPr/>
              </p:nvSpPr>
              <p:spPr bwMode="auto">
                <a:xfrm>
                  <a:off x="8918575" y="2152651"/>
                  <a:ext cx="20638" cy="23813"/>
                </a:xfrm>
                <a:custGeom>
                  <a:avLst/>
                  <a:gdLst/>
                  <a:ahLst/>
                  <a:cxnLst>
                    <a:cxn ang="0">
                      <a:pos x="7" y="4"/>
                    </a:cxn>
                    <a:cxn ang="0">
                      <a:pos x="3" y="8"/>
                    </a:cxn>
                    <a:cxn ang="0">
                      <a:pos x="0" y="4"/>
                    </a:cxn>
                    <a:cxn ang="0">
                      <a:pos x="3" y="0"/>
                    </a:cxn>
                    <a:cxn ang="0">
                      <a:pos x="7" y="4"/>
                    </a:cxn>
                    <a:cxn ang="0">
                      <a:pos x="7" y="4"/>
                    </a:cxn>
                    <a:cxn ang="0">
                      <a:pos x="7" y="4"/>
                    </a:cxn>
                  </a:cxnLst>
                  <a:rect l="0" t="0" r="r" b="b"/>
                  <a:pathLst>
                    <a:path w="7" h="8">
                      <a:moveTo>
                        <a:pt x="7" y="4"/>
                      </a:moveTo>
                      <a:cubicBezTo>
                        <a:pt x="7" y="6"/>
                        <a:pt x="6" y="8"/>
                        <a:pt x="3" y="8"/>
                      </a:cubicBezTo>
                      <a:cubicBezTo>
                        <a:pt x="1" y="8"/>
                        <a:pt x="0" y="6"/>
                        <a:pt x="0" y="4"/>
                      </a:cubicBezTo>
                      <a:cubicBezTo>
                        <a:pt x="0" y="2"/>
                        <a:pt x="1" y="0"/>
                        <a:pt x="3" y="0"/>
                      </a:cubicBezTo>
                      <a:cubicBezTo>
                        <a:pt x="6" y="0"/>
                        <a:pt x="7" y="2"/>
                        <a:pt x="7" y="4"/>
                      </a:cubicBezTo>
                      <a:close/>
                      <a:moveTo>
                        <a:pt x="7" y="4"/>
                      </a:moveTo>
                      <a:cubicBezTo>
                        <a:pt x="7" y="4"/>
                        <a:pt x="7" y="4"/>
                        <a:pt x="7" y="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20" name="Freeform: Shape 163"/>
                <p:cNvSpPr/>
                <p:nvPr/>
              </p:nvSpPr>
              <p:spPr bwMode="auto">
                <a:xfrm>
                  <a:off x="9096375" y="1985963"/>
                  <a:ext cx="23813" cy="20638"/>
                </a:xfrm>
                <a:custGeom>
                  <a:avLst/>
                  <a:gdLst/>
                  <a:ahLst/>
                  <a:cxnLst>
                    <a:cxn ang="0">
                      <a:pos x="8" y="4"/>
                    </a:cxn>
                    <a:cxn ang="0">
                      <a:pos x="4" y="7"/>
                    </a:cxn>
                    <a:cxn ang="0">
                      <a:pos x="0" y="4"/>
                    </a:cxn>
                    <a:cxn ang="0">
                      <a:pos x="4" y="0"/>
                    </a:cxn>
                    <a:cxn ang="0">
                      <a:pos x="8" y="4"/>
                    </a:cxn>
                    <a:cxn ang="0">
                      <a:pos x="8" y="4"/>
                    </a:cxn>
                    <a:cxn ang="0">
                      <a:pos x="8" y="4"/>
                    </a:cxn>
                  </a:cxnLst>
                  <a:rect l="0" t="0" r="r" b="b"/>
                  <a:pathLst>
                    <a:path w="8" h="7">
                      <a:moveTo>
                        <a:pt x="8" y="4"/>
                      </a:moveTo>
                      <a:cubicBezTo>
                        <a:pt x="8" y="6"/>
                        <a:pt x="6" y="7"/>
                        <a:pt x="4" y="7"/>
                      </a:cubicBezTo>
                      <a:cubicBezTo>
                        <a:pt x="2" y="7"/>
                        <a:pt x="0" y="6"/>
                        <a:pt x="0" y="4"/>
                      </a:cubicBezTo>
                      <a:cubicBezTo>
                        <a:pt x="0" y="1"/>
                        <a:pt x="2" y="0"/>
                        <a:pt x="4" y="0"/>
                      </a:cubicBezTo>
                      <a:cubicBezTo>
                        <a:pt x="6" y="0"/>
                        <a:pt x="8" y="1"/>
                        <a:pt x="8" y="4"/>
                      </a:cubicBezTo>
                      <a:close/>
                      <a:moveTo>
                        <a:pt x="8" y="4"/>
                      </a:moveTo>
                      <a:cubicBezTo>
                        <a:pt x="8" y="4"/>
                        <a:pt x="8" y="4"/>
                        <a:pt x="8" y="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grpSp>
        <p:grpSp>
          <p:nvGrpSpPr>
            <p:cNvPr id="51" name="Group 166"/>
            <p:cNvGrpSpPr/>
            <p:nvPr/>
          </p:nvGrpSpPr>
          <p:grpSpPr>
            <a:xfrm>
              <a:off x="3494069" y="1676401"/>
              <a:ext cx="2733612" cy="2733579"/>
              <a:chOff x="3087031" y="1466082"/>
              <a:chExt cx="1686514" cy="1686494"/>
            </a:xfrm>
          </p:grpSpPr>
          <p:sp>
            <p:nvSpPr>
              <p:cNvPr id="52" name="Freeform: Shape 4"/>
              <p:cNvSpPr/>
              <p:nvPr/>
            </p:nvSpPr>
            <p:spPr>
              <a:xfrm>
                <a:off x="3166182" y="1563148"/>
                <a:ext cx="1492361" cy="149236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1F1F1"/>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nvGrpSpPr>
              <p:cNvPr id="53" name="Group 101"/>
              <p:cNvGrpSpPr/>
              <p:nvPr/>
            </p:nvGrpSpPr>
            <p:grpSpPr>
              <a:xfrm>
                <a:off x="3087031" y="1466082"/>
                <a:ext cx="1686514" cy="1686494"/>
                <a:chOff x="3087031" y="1466082"/>
                <a:chExt cx="1686514" cy="1686494"/>
              </a:xfrm>
            </p:grpSpPr>
            <p:sp>
              <p:nvSpPr>
                <p:cNvPr id="86" name="Freeform: Shape 42"/>
                <p:cNvSpPr/>
                <p:nvPr/>
              </p:nvSpPr>
              <p:spPr>
                <a:xfrm>
                  <a:off x="3457539" y="1565325"/>
                  <a:ext cx="382651" cy="534819"/>
                </a:xfrm>
                <a:custGeom>
                  <a:avLst/>
                  <a:gdLst/>
                  <a:ahLst/>
                  <a:cxnLst>
                    <a:cxn ang="0">
                      <a:pos x="wd2" y="hd2"/>
                    </a:cxn>
                    <a:cxn ang="5400000">
                      <a:pos x="wd2" y="hd2"/>
                    </a:cxn>
                    <a:cxn ang="10800000">
                      <a:pos x="wd2" y="hd2"/>
                    </a:cxn>
                    <a:cxn ang="16200000">
                      <a:pos x="wd2" y="hd2"/>
                    </a:cxn>
                  </a:cxnLst>
                  <a:rect l="0" t="0" r="r" b="b"/>
                  <a:pathLst>
                    <a:path w="17571" h="21600" extrusionOk="0">
                      <a:moveTo>
                        <a:pt x="16465" y="21600"/>
                      </a:moveTo>
                      <a:cubicBezTo>
                        <a:pt x="16465" y="21600"/>
                        <a:pt x="19586" y="13154"/>
                        <a:pt x="15342" y="7191"/>
                      </a:cubicBezTo>
                      <a:cubicBezTo>
                        <a:pt x="11102" y="1226"/>
                        <a:pt x="1106" y="0"/>
                        <a:pt x="1106" y="0"/>
                      </a:cubicBezTo>
                      <a:cubicBezTo>
                        <a:pt x="1106" y="0"/>
                        <a:pt x="-2014" y="8445"/>
                        <a:pt x="2226" y="14408"/>
                      </a:cubicBezTo>
                      <a:cubicBezTo>
                        <a:pt x="6468" y="20372"/>
                        <a:pt x="16465" y="21600"/>
                        <a:pt x="16465" y="21600"/>
                      </a:cubicBezTo>
                      <a:close/>
                    </a:path>
                  </a:pathLst>
                </a:custGeom>
                <a:solidFill>
                  <a:srgbClr val="FE5817"/>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87" name="Freeform: Shape 43"/>
                <p:cNvSpPr/>
                <p:nvPr/>
              </p:nvSpPr>
              <p:spPr>
                <a:xfrm>
                  <a:off x="3894210" y="1466082"/>
                  <a:ext cx="342819" cy="614657"/>
                </a:xfrm>
                <a:custGeom>
                  <a:avLst/>
                  <a:gdLst/>
                  <a:ahLst/>
                  <a:cxnLst>
                    <a:cxn ang="0">
                      <a:pos x="wd2" y="hd2"/>
                    </a:cxn>
                    <a:cxn ang="5400000">
                      <a:pos x="wd2" y="hd2"/>
                    </a:cxn>
                    <a:cxn ang="10800000">
                      <a:pos x="wd2" y="hd2"/>
                    </a:cxn>
                    <a:cxn ang="16200000">
                      <a:pos x="wd2" y="hd2"/>
                    </a:cxn>
                  </a:cxnLst>
                  <a:rect l="0" t="0" r="r" b="b"/>
                  <a:pathLst>
                    <a:path w="18212" h="21600" extrusionOk="0">
                      <a:moveTo>
                        <a:pt x="17828" y="12127"/>
                      </a:moveTo>
                      <a:cubicBezTo>
                        <a:pt x="19907" y="6163"/>
                        <a:pt x="12869" y="0"/>
                        <a:pt x="12869" y="0"/>
                      </a:cubicBezTo>
                      <a:cubicBezTo>
                        <a:pt x="12869" y="0"/>
                        <a:pt x="2462" y="3505"/>
                        <a:pt x="384" y="9470"/>
                      </a:cubicBezTo>
                      <a:cubicBezTo>
                        <a:pt x="-1693" y="15435"/>
                        <a:pt x="5342" y="21600"/>
                        <a:pt x="5342" y="21600"/>
                      </a:cubicBezTo>
                      <a:cubicBezTo>
                        <a:pt x="5342" y="21600"/>
                        <a:pt x="15751" y="18093"/>
                        <a:pt x="17828" y="12127"/>
                      </a:cubicBezTo>
                      <a:close/>
                    </a:path>
                  </a:pathLst>
                </a:custGeom>
                <a:solidFill>
                  <a:srgbClr val="FE5817"/>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88" name="Freeform: Shape 44"/>
                <p:cNvSpPr/>
                <p:nvPr/>
              </p:nvSpPr>
              <p:spPr>
                <a:xfrm>
                  <a:off x="4139010" y="1836590"/>
                  <a:ext cx="534797" cy="382627"/>
                </a:xfrm>
                <a:custGeom>
                  <a:avLst/>
                  <a:gdLst/>
                  <a:ahLst/>
                  <a:cxnLst>
                    <a:cxn ang="0">
                      <a:pos x="wd2" y="hd2"/>
                    </a:cxn>
                    <a:cxn ang="5400000">
                      <a:pos x="wd2" y="hd2"/>
                    </a:cxn>
                    <a:cxn ang="10800000">
                      <a:pos x="wd2" y="hd2"/>
                    </a:cxn>
                    <a:cxn ang="16200000">
                      <a:pos x="wd2" y="hd2"/>
                    </a:cxn>
                  </a:cxnLst>
                  <a:rect l="0" t="0" r="r" b="b"/>
                  <a:pathLst>
                    <a:path w="21600" h="17571" extrusionOk="0">
                      <a:moveTo>
                        <a:pt x="14410" y="15343"/>
                      </a:moveTo>
                      <a:cubicBezTo>
                        <a:pt x="20374" y="11104"/>
                        <a:pt x="21600" y="1107"/>
                        <a:pt x="21600" y="1107"/>
                      </a:cubicBezTo>
                      <a:cubicBezTo>
                        <a:pt x="21600" y="1107"/>
                        <a:pt x="13157" y="-2014"/>
                        <a:pt x="7193" y="2226"/>
                      </a:cubicBezTo>
                      <a:cubicBezTo>
                        <a:pt x="1229" y="6468"/>
                        <a:pt x="0" y="16465"/>
                        <a:pt x="0" y="16465"/>
                      </a:cubicBezTo>
                      <a:cubicBezTo>
                        <a:pt x="0" y="16465"/>
                        <a:pt x="8446" y="19586"/>
                        <a:pt x="14410" y="15343"/>
                      </a:cubicBezTo>
                      <a:close/>
                    </a:path>
                  </a:pathLst>
                </a:custGeom>
                <a:solidFill>
                  <a:srgbClr val="FE5817"/>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89" name="Freeform: Shape 45"/>
                <p:cNvSpPr/>
                <p:nvPr/>
              </p:nvSpPr>
              <p:spPr>
                <a:xfrm>
                  <a:off x="4158859" y="2279878"/>
                  <a:ext cx="614686" cy="342761"/>
                </a:xfrm>
                <a:custGeom>
                  <a:avLst/>
                  <a:gdLst/>
                  <a:ahLst/>
                  <a:cxnLst>
                    <a:cxn ang="0">
                      <a:pos x="wd2" y="hd2"/>
                    </a:cxn>
                    <a:cxn ang="5400000">
                      <a:pos x="wd2" y="hd2"/>
                    </a:cxn>
                    <a:cxn ang="10800000">
                      <a:pos x="wd2" y="hd2"/>
                    </a:cxn>
                    <a:cxn ang="16200000">
                      <a:pos x="wd2" y="hd2"/>
                    </a:cxn>
                  </a:cxnLst>
                  <a:rect l="0" t="0" r="r" b="b"/>
                  <a:pathLst>
                    <a:path w="21600" h="18208" extrusionOk="0">
                      <a:moveTo>
                        <a:pt x="0" y="5341"/>
                      </a:moveTo>
                      <a:cubicBezTo>
                        <a:pt x="0" y="5341"/>
                        <a:pt x="3507" y="15748"/>
                        <a:pt x="9473" y="17823"/>
                      </a:cubicBezTo>
                      <a:cubicBezTo>
                        <a:pt x="15437" y="19904"/>
                        <a:pt x="21600" y="12869"/>
                        <a:pt x="21600" y="12869"/>
                      </a:cubicBezTo>
                      <a:cubicBezTo>
                        <a:pt x="21600" y="12869"/>
                        <a:pt x="18093" y="2460"/>
                        <a:pt x="12130" y="384"/>
                      </a:cubicBezTo>
                      <a:cubicBezTo>
                        <a:pt x="6166" y="-1696"/>
                        <a:pt x="0" y="5341"/>
                        <a:pt x="0" y="5341"/>
                      </a:cubicBezTo>
                      <a:close/>
                    </a:path>
                  </a:pathLst>
                </a:custGeom>
                <a:solidFill>
                  <a:srgbClr val="FE5817"/>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0" name="Freeform: Shape 46"/>
                <p:cNvSpPr/>
                <p:nvPr/>
              </p:nvSpPr>
              <p:spPr>
                <a:xfrm>
                  <a:off x="4019918" y="2524678"/>
                  <a:ext cx="382364" cy="534797"/>
                </a:xfrm>
                <a:custGeom>
                  <a:avLst/>
                  <a:gdLst/>
                  <a:ahLst/>
                  <a:cxnLst>
                    <a:cxn ang="0">
                      <a:pos x="wd2" y="hd2"/>
                    </a:cxn>
                    <a:cxn ang="5400000">
                      <a:pos x="wd2" y="hd2"/>
                    </a:cxn>
                    <a:cxn ang="10800000">
                      <a:pos x="wd2" y="hd2"/>
                    </a:cxn>
                    <a:cxn ang="16200000">
                      <a:pos x="wd2" y="hd2"/>
                    </a:cxn>
                  </a:cxnLst>
                  <a:rect l="0" t="0" r="r" b="b"/>
                  <a:pathLst>
                    <a:path w="18088" h="21600" extrusionOk="0">
                      <a:moveTo>
                        <a:pt x="13856" y="5118"/>
                      </a:moveTo>
                      <a:cubicBezTo>
                        <a:pt x="8952" y="934"/>
                        <a:pt x="1139" y="0"/>
                        <a:pt x="1139" y="0"/>
                      </a:cubicBezTo>
                      <a:cubicBezTo>
                        <a:pt x="1139" y="0"/>
                        <a:pt x="-2075" y="8445"/>
                        <a:pt x="2295" y="14410"/>
                      </a:cubicBezTo>
                      <a:cubicBezTo>
                        <a:pt x="6663" y="20374"/>
                        <a:pt x="16962" y="21600"/>
                        <a:pt x="16962" y="21600"/>
                      </a:cubicBezTo>
                      <a:cubicBezTo>
                        <a:pt x="16962" y="21600"/>
                        <a:pt x="19525" y="14823"/>
                        <a:pt x="16919" y="9122"/>
                      </a:cubicBezTo>
                      <a:cubicBezTo>
                        <a:pt x="16616" y="8462"/>
                        <a:pt x="16261" y="7812"/>
                        <a:pt x="15808" y="7192"/>
                      </a:cubicBezTo>
                      <a:cubicBezTo>
                        <a:pt x="15244" y="6424"/>
                        <a:pt x="14580" y="5737"/>
                        <a:pt x="13856" y="5118"/>
                      </a:cubicBezTo>
                      <a:close/>
                    </a:path>
                  </a:pathLst>
                </a:custGeom>
                <a:solidFill>
                  <a:srgbClr val="FE5817"/>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1" name="Freeform: Shape 47"/>
                <p:cNvSpPr/>
                <p:nvPr/>
              </p:nvSpPr>
              <p:spPr>
                <a:xfrm>
                  <a:off x="3616329" y="2537910"/>
                  <a:ext cx="342765" cy="614666"/>
                </a:xfrm>
                <a:custGeom>
                  <a:avLst/>
                  <a:gdLst/>
                  <a:ahLst/>
                  <a:cxnLst>
                    <a:cxn ang="0">
                      <a:pos x="wd2" y="hd2"/>
                    </a:cxn>
                    <a:cxn ang="5400000">
                      <a:pos x="wd2" y="hd2"/>
                    </a:cxn>
                    <a:cxn ang="10800000">
                      <a:pos x="wd2" y="hd2"/>
                    </a:cxn>
                    <a:cxn ang="16200000">
                      <a:pos x="wd2" y="hd2"/>
                    </a:cxn>
                  </a:cxnLst>
                  <a:rect l="0" t="0" r="r" b="b"/>
                  <a:pathLst>
                    <a:path w="18209" h="21600" extrusionOk="0">
                      <a:moveTo>
                        <a:pt x="385" y="9473"/>
                      </a:moveTo>
                      <a:cubicBezTo>
                        <a:pt x="-1696" y="15435"/>
                        <a:pt x="5342" y="21600"/>
                        <a:pt x="5342" y="21600"/>
                      </a:cubicBezTo>
                      <a:cubicBezTo>
                        <a:pt x="5342" y="21600"/>
                        <a:pt x="15751" y="18094"/>
                        <a:pt x="17825" y="12131"/>
                      </a:cubicBezTo>
                      <a:cubicBezTo>
                        <a:pt x="19904" y="6164"/>
                        <a:pt x="12867" y="0"/>
                        <a:pt x="12867" y="0"/>
                      </a:cubicBezTo>
                      <a:cubicBezTo>
                        <a:pt x="12867" y="0"/>
                        <a:pt x="2460" y="3508"/>
                        <a:pt x="385" y="9473"/>
                      </a:cubicBezTo>
                      <a:close/>
                    </a:path>
                  </a:pathLst>
                </a:custGeom>
                <a:solidFill>
                  <a:srgbClr val="FE5817"/>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2" name="Freeform: Shape 48"/>
                <p:cNvSpPr/>
                <p:nvPr/>
              </p:nvSpPr>
              <p:spPr>
                <a:xfrm>
                  <a:off x="3186274" y="2398969"/>
                  <a:ext cx="534809" cy="382669"/>
                </a:xfrm>
                <a:custGeom>
                  <a:avLst/>
                  <a:gdLst/>
                  <a:ahLst/>
                  <a:cxnLst>
                    <a:cxn ang="0">
                      <a:pos x="wd2" y="hd2"/>
                    </a:cxn>
                    <a:cxn ang="5400000">
                      <a:pos x="wd2" y="hd2"/>
                    </a:cxn>
                    <a:cxn ang="10800000">
                      <a:pos x="wd2" y="hd2"/>
                    </a:cxn>
                    <a:cxn ang="16200000">
                      <a:pos x="wd2" y="hd2"/>
                    </a:cxn>
                  </a:cxnLst>
                  <a:rect l="0" t="0" r="r" b="b"/>
                  <a:pathLst>
                    <a:path w="21600" h="17569" extrusionOk="0">
                      <a:moveTo>
                        <a:pt x="7192" y="2229"/>
                      </a:moveTo>
                      <a:cubicBezTo>
                        <a:pt x="1226" y="6466"/>
                        <a:pt x="0" y="16462"/>
                        <a:pt x="0" y="16462"/>
                      </a:cubicBezTo>
                      <a:cubicBezTo>
                        <a:pt x="0" y="16462"/>
                        <a:pt x="8443" y="19585"/>
                        <a:pt x="14407" y="15344"/>
                      </a:cubicBezTo>
                      <a:cubicBezTo>
                        <a:pt x="20373" y="11102"/>
                        <a:pt x="21600" y="1106"/>
                        <a:pt x="21600" y="1106"/>
                      </a:cubicBezTo>
                      <a:cubicBezTo>
                        <a:pt x="21600" y="1106"/>
                        <a:pt x="13154" y="-2015"/>
                        <a:pt x="7192" y="2229"/>
                      </a:cubicBezTo>
                      <a:close/>
                    </a:path>
                  </a:pathLst>
                </a:custGeom>
                <a:solidFill>
                  <a:srgbClr val="FE5817"/>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3" name="Freeform: Shape 49"/>
                <p:cNvSpPr/>
                <p:nvPr/>
              </p:nvSpPr>
              <p:spPr>
                <a:xfrm>
                  <a:off x="3087031" y="2001996"/>
                  <a:ext cx="614665" cy="342783"/>
                </a:xfrm>
                <a:custGeom>
                  <a:avLst/>
                  <a:gdLst/>
                  <a:ahLst/>
                  <a:cxnLst>
                    <a:cxn ang="0">
                      <a:pos x="wd2" y="hd2"/>
                    </a:cxn>
                    <a:cxn ang="5400000">
                      <a:pos x="wd2" y="hd2"/>
                    </a:cxn>
                    <a:cxn ang="10800000">
                      <a:pos x="wd2" y="hd2"/>
                    </a:cxn>
                    <a:cxn ang="16200000">
                      <a:pos x="wd2" y="hd2"/>
                    </a:cxn>
                  </a:cxnLst>
                  <a:rect l="0" t="0" r="r" b="b"/>
                  <a:pathLst>
                    <a:path w="21600" h="18211" extrusionOk="0">
                      <a:moveTo>
                        <a:pt x="9470" y="17827"/>
                      </a:moveTo>
                      <a:cubicBezTo>
                        <a:pt x="15435" y="19905"/>
                        <a:pt x="21600" y="12870"/>
                        <a:pt x="21600" y="12870"/>
                      </a:cubicBezTo>
                      <a:cubicBezTo>
                        <a:pt x="21600" y="12870"/>
                        <a:pt x="18093" y="2461"/>
                        <a:pt x="12128" y="385"/>
                      </a:cubicBezTo>
                      <a:cubicBezTo>
                        <a:pt x="6164" y="-1695"/>
                        <a:pt x="0" y="5342"/>
                        <a:pt x="0" y="5342"/>
                      </a:cubicBezTo>
                      <a:cubicBezTo>
                        <a:pt x="0" y="5342"/>
                        <a:pt x="3506" y="15749"/>
                        <a:pt x="9470" y="17827"/>
                      </a:cubicBezTo>
                      <a:close/>
                    </a:path>
                  </a:pathLst>
                </a:custGeom>
                <a:solidFill>
                  <a:srgbClr val="FE5817"/>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4" name="Freeform: Shape 50"/>
                <p:cNvSpPr/>
                <p:nvPr/>
              </p:nvSpPr>
              <p:spPr>
                <a:xfrm>
                  <a:off x="3808199" y="2114472"/>
                  <a:ext cx="98922" cy="138211"/>
                </a:xfrm>
                <a:custGeom>
                  <a:avLst/>
                  <a:gdLst/>
                  <a:ahLst/>
                  <a:cxnLst>
                    <a:cxn ang="0">
                      <a:pos x="wd2" y="hd2"/>
                    </a:cxn>
                    <a:cxn ang="5400000">
                      <a:pos x="wd2" y="hd2"/>
                    </a:cxn>
                    <a:cxn ang="10800000">
                      <a:pos x="wd2" y="hd2"/>
                    </a:cxn>
                    <a:cxn ang="16200000">
                      <a:pos x="wd2" y="hd2"/>
                    </a:cxn>
                  </a:cxnLst>
                  <a:rect l="0" t="0" r="r" b="b"/>
                  <a:pathLst>
                    <a:path w="17570" h="21600" extrusionOk="0">
                      <a:moveTo>
                        <a:pt x="2229" y="14409"/>
                      </a:moveTo>
                      <a:cubicBezTo>
                        <a:pt x="6464" y="20374"/>
                        <a:pt x="16465" y="21600"/>
                        <a:pt x="16465" y="21600"/>
                      </a:cubicBezTo>
                      <a:cubicBezTo>
                        <a:pt x="16465" y="21600"/>
                        <a:pt x="19585" y="13156"/>
                        <a:pt x="15342" y="7192"/>
                      </a:cubicBezTo>
                      <a:cubicBezTo>
                        <a:pt x="11107" y="1234"/>
                        <a:pt x="1105" y="0"/>
                        <a:pt x="1105" y="0"/>
                      </a:cubicBezTo>
                      <a:cubicBezTo>
                        <a:pt x="1105" y="0"/>
                        <a:pt x="-2015" y="8448"/>
                        <a:pt x="2229" y="14409"/>
                      </a:cubicBezTo>
                      <a:close/>
                    </a:path>
                  </a:pathLst>
                </a:custGeom>
                <a:solidFill>
                  <a:schemeClr val="accent1"/>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5" name="Freeform: Shape 51"/>
                <p:cNvSpPr/>
                <p:nvPr/>
              </p:nvSpPr>
              <p:spPr>
                <a:xfrm>
                  <a:off x="3920675" y="2094623"/>
                  <a:ext cx="88572" cy="158806"/>
                </a:xfrm>
                <a:custGeom>
                  <a:avLst/>
                  <a:gdLst/>
                  <a:ahLst/>
                  <a:cxnLst>
                    <a:cxn ang="0">
                      <a:pos x="wd2" y="hd2"/>
                    </a:cxn>
                    <a:cxn ang="5400000">
                      <a:pos x="wd2" y="hd2"/>
                    </a:cxn>
                    <a:cxn ang="10800000">
                      <a:pos x="wd2" y="hd2"/>
                    </a:cxn>
                    <a:cxn ang="16200000">
                      <a:pos x="wd2" y="hd2"/>
                    </a:cxn>
                  </a:cxnLst>
                  <a:rect l="0" t="0" r="r" b="b"/>
                  <a:pathLst>
                    <a:path w="18215" h="21600" extrusionOk="0">
                      <a:moveTo>
                        <a:pt x="17834" y="12126"/>
                      </a:moveTo>
                      <a:cubicBezTo>
                        <a:pt x="19904" y="6165"/>
                        <a:pt x="12875" y="0"/>
                        <a:pt x="12875" y="0"/>
                      </a:cubicBezTo>
                      <a:cubicBezTo>
                        <a:pt x="12875" y="0"/>
                        <a:pt x="2469" y="3506"/>
                        <a:pt x="384" y="9471"/>
                      </a:cubicBezTo>
                      <a:cubicBezTo>
                        <a:pt x="-1696" y="15437"/>
                        <a:pt x="5348" y="21600"/>
                        <a:pt x="5348" y="21600"/>
                      </a:cubicBezTo>
                      <a:cubicBezTo>
                        <a:pt x="5348" y="21600"/>
                        <a:pt x="15752" y="18094"/>
                        <a:pt x="17834" y="12126"/>
                      </a:cubicBezTo>
                      <a:close/>
                    </a:path>
                  </a:pathLst>
                </a:custGeom>
                <a:solidFill>
                  <a:schemeClr val="accent1"/>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6" name="Freeform: Shape 52"/>
                <p:cNvSpPr/>
                <p:nvPr/>
              </p:nvSpPr>
              <p:spPr>
                <a:xfrm>
                  <a:off x="3986837" y="2187250"/>
                  <a:ext cx="138188" cy="98894"/>
                </a:xfrm>
                <a:custGeom>
                  <a:avLst/>
                  <a:gdLst/>
                  <a:ahLst/>
                  <a:cxnLst>
                    <a:cxn ang="0">
                      <a:pos x="wd2" y="hd2"/>
                    </a:cxn>
                    <a:cxn ang="5400000">
                      <a:pos x="wd2" y="hd2"/>
                    </a:cxn>
                    <a:cxn ang="10800000">
                      <a:pos x="wd2" y="hd2"/>
                    </a:cxn>
                    <a:cxn ang="16200000">
                      <a:pos x="wd2" y="hd2"/>
                    </a:cxn>
                  </a:cxnLst>
                  <a:rect l="0" t="0" r="r" b="b"/>
                  <a:pathLst>
                    <a:path w="21600" h="17570" extrusionOk="0">
                      <a:moveTo>
                        <a:pt x="14408" y="15343"/>
                      </a:moveTo>
                      <a:cubicBezTo>
                        <a:pt x="20375" y="11102"/>
                        <a:pt x="21600" y="1109"/>
                        <a:pt x="21600" y="1109"/>
                      </a:cubicBezTo>
                      <a:cubicBezTo>
                        <a:pt x="21600" y="1109"/>
                        <a:pt x="13160" y="-2016"/>
                        <a:pt x="7191" y="2225"/>
                      </a:cubicBezTo>
                      <a:cubicBezTo>
                        <a:pt x="1233" y="6468"/>
                        <a:pt x="0" y="16463"/>
                        <a:pt x="0" y="16463"/>
                      </a:cubicBezTo>
                      <a:cubicBezTo>
                        <a:pt x="0" y="16463"/>
                        <a:pt x="8448" y="19584"/>
                        <a:pt x="14408" y="15343"/>
                      </a:cubicBezTo>
                      <a:close/>
                    </a:path>
                  </a:pathLst>
                </a:custGeom>
                <a:solidFill>
                  <a:schemeClr val="accent1"/>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7" name="Freeform: Shape 53"/>
                <p:cNvSpPr/>
                <p:nvPr/>
              </p:nvSpPr>
              <p:spPr>
                <a:xfrm>
                  <a:off x="3986837" y="2299726"/>
                  <a:ext cx="158877" cy="88559"/>
                </a:xfrm>
                <a:custGeom>
                  <a:avLst/>
                  <a:gdLst/>
                  <a:ahLst/>
                  <a:cxnLst>
                    <a:cxn ang="0">
                      <a:pos x="wd2" y="hd2"/>
                    </a:cxn>
                    <a:cxn ang="5400000">
                      <a:pos x="wd2" y="hd2"/>
                    </a:cxn>
                    <a:cxn ang="10800000">
                      <a:pos x="wd2" y="hd2"/>
                    </a:cxn>
                    <a:cxn ang="16200000">
                      <a:pos x="wd2" y="hd2"/>
                    </a:cxn>
                  </a:cxnLst>
                  <a:rect l="0" t="0" r="r" b="b"/>
                  <a:pathLst>
                    <a:path w="21600" h="18213" extrusionOk="0">
                      <a:moveTo>
                        <a:pt x="9472" y="17828"/>
                      </a:moveTo>
                      <a:cubicBezTo>
                        <a:pt x="15435" y="19910"/>
                        <a:pt x="21600" y="12871"/>
                        <a:pt x="21600" y="12871"/>
                      </a:cubicBezTo>
                      <a:cubicBezTo>
                        <a:pt x="21600" y="12871"/>
                        <a:pt x="18089" y="2466"/>
                        <a:pt x="12128" y="382"/>
                      </a:cubicBezTo>
                      <a:cubicBezTo>
                        <a:pt x="6165" y="-1690"/>
                        <a:pt x="0" y="5343"/>
                        <a:pt x="0" y="5343"/>
                      </a:cubicBezTo>
                      <a:cubicBezTo>
                        <a:pt x="0" y="5343"/>
                        <a:pt x="3509" y="15756"/>
                        <a:pt x="9472" y="17828"/>
                      </a:cubicBezTo>
                      <a:close/>
                    </a:path>
                  </a:pathLst>
                </a:custGeom>
                <a:solidFill>
                  <a:schemeClr val="accent1"/>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8" name="Freeform: Shape 54"/>
                <p:cNvSpPr/>
                <p:nvPr/>
              </p:nvSpPr>
              <p:spPr>
                <a:xfrm>
                  <a:off x="3953756" y="2365888"/>
                  <a:ext cx="98858" cy="138211"/>
                </a:xfrm>
                <a:custGeom>
                  <a:avLst/>
                  <a:gdLst/>
                  <a:ahLst/>
                  <a:cxnLst>
                    <a:cxn ang="0">
                      <a:pos x="wd2" y="hd2"/>
                    </a:cxn>
                    <a:cxn ang="5400000">
                      <a:pos x="wd2" y="hd2"/>
                    </a:cxn>
                    <a:cxn ang="10800000">
                      <a:pos x="wd2" y="hd2"/>
                    </a:cxn>
                    <a:cxn ang="16200000">
                      <a:pos x="wd2" y="hd2"/>
                    </a:cxn>
                  </a:cxnLst>
                  <a:rect l="0" t="0" r="r" b="b"/>
                  <a:pathLst>
                    <a:path w="17572" h="21600" extrusionOk="0">
                      <a:moveTo>
                        <a:pt x="15352" y="7194"/>
                      </a:moveTo>
                      <a:cubicBezTo>
                        <a:pt x="11105" y="1226"/>
                        <a:pt x="1105" y="0"/>
                        <a:pt x="1105" y="0"/>
                      </a:cubicBezTo>
                      <a:cubicBezTo>
                        <a:pt x="1105" y="0"/>
                        <a:pt x="-2014" y="8444"/>
                        <a:pt x="2229" y="14408"/>
                      </a:cubicBezTo>
                      <a:cubicBezTo>
                        <a:pt x="6471" y="20371"/>
                        <a:pt x="16463" y="21600"/>
                        <a:pt x="16463" y="21600"/>
                      </a:cubicBezTo>
                      <a:cubicBezTo>
                        <a:pt x="16463" y="21600"/>
                        <a:pt x="19586" y="13156"/>
                        <a:pt x="15352" y="7194"/>
                      </a:cubicBezTo>
                      <a:close/>
                    </a:path>
                  </a:pathLst>
                </a:custGeom>
                <a:solidFill>
                  <a:schemeClr val="accent1"/>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99" name="Freeform: Shape 55"/>
                <p:cNvSpPr/>
                <p:nvPr/>
              </p:nvSpPr>
              <p:spPr>
                <a:xfrm>
                  <a:off x="3847896" y="2372504"/>
                  <a:ext cx="88586" cy="158816"/>
                </a:xfrm>
                <a:custGeom>
                  <a:avLst/>
                  <a:gdLst/>
                  <a:ahLst/>
                  <a:cxnLst>
                    <a:cxn ang="0">
                      <a:pos x="wd2" y="hd2"/>
                    </a:cxn>
                    <a:cxn ang="5400000">
                      <a:pos x="wd2" y="hd2"/>
                    </a:cxn>
                    <a:cxn ang="10800000">
                      <a:pos x="wd2" y="hd2"/>
                    </a:cxn>
                    <a:cxn ang="16200000">
                      <a:pos x="wd2" y="hd2"/>
                    </a:cxn>
                  </a:cxnLst>
                  <a:rect l="0" t="0" r="r" b="b"/>
                  <a:pathLst>
                    <a:path w="18213" h="21600" extrusionOk="0">
                      <a:moveTo>
                        <a:pt x="17829" y="12133"/>
                      </a:moveTo>
                      <a:cubicBezTo>
                        <a:pt x="19905" y="6167"/>
                        <a:pt x="12871" y="0"/>
                        <a:pt x="12871" y="0"/>
                      </a:cubicBezTo>
                      <a:cubicBezTo>
                        <a:pt x="12871" y="0"/>
                        <a:pt x="2461" y="3505"/>
                        <a:pt x="385" y="9472"/>
                      </a:cubicBezTo>
                      <a:cubicBezTo>
                        <a:pt x="-1695" y="15439"/>
                        <a:pt x="5337" y="21600"/>
                        <a:pt x="5337" y="21600"/>
                      </a:cubicBezTo>
                      <a:cubicBezTo>
                        <a:pt x="5337" y="21600"/>
                        <a:pt x="15750" y="18098"/>
                        <a:pt x="17829" y="12133"/>
                      </a:cubicBezTo>
                      <a:close/>
                    </a:path>
                  </a:pathLst>
                </a:custGeom>
                <a:solidFill>
                  <a:schemeClr val="accent1"/>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00" name="Freeform: Shape 56"/>
                <p:cNvSpPr/>
                <p:nvPr/>
              </p:nvSpPr>
              <p:spPr>
                <a:xfrm>
                  <a:off x="3735420" y="2332807"/>
                  <a:ext cx="138179" cy="98896"/>
                </a:xfrm>
                <a:custGeom>
                  <a:avLst/>
                  <a:gdLst/>
                  <a:ahLst/>
                  <a:cxnLst>
                    <a:cxn ang="0">
                      <a:pos x="wd2" y="hd2"/>
                    </a:cxn>
                    <a:cxn ang="5400000">
                      <a:pos x="wd2" y="hd2"/>
                    </a:cxn>
                    <a:cxn ang="10800000">
                      <a:pos x="wd2" y="hd2"/>
                    </a:cxn>
                    <a:cxn ang="16200000">
                      <a:pos x="wd2" y="hd2"/>
                    </a:cxn>
                  </a:cxnLst>
                  <a:rect l="0" t="0" r="r" b="b"/>
                  <a:pathLst>
                    <a:path w="21600" h="17568" extrusionOk="0">
                      <a:moveTo>
                        <a:pt x="14406" y="15344"/>
                      </a:moveTo>
                      <a:cubicBezTo>
                        <a:pt x="20373" y="11098"/>
                        <a:pt x="21600" y="1105"/>
                        <a:pt x="21600" y="1105"/>
                      </a:cubicBezTo>
                      <a:cubicBezTo>
                        <a:pt x="21600" y="1105"/>
                        <a:pt x="13153" y="-2015"/>
                        <a:pt x="7197" y="2230"/>
                      </a:cubicBezTo>
                      <a:cubicBezTo>
                        <a:pt x="1226" y="6465"/>
                        <a:pt x="0" y="16457"/>
                        <a:pt x="0" y="16457"/>
                      </a:cubicBezTo>
                      <a:cubicBezTo>
                        <a:pt x="0" y="16457"/>
                        <a:pt x="8439" y="19585"/>
                        <a:pt x="14406" y="15344"/>
                      </a:cubicBezTo>
                      <a:close/>
                    </a:path>
                  </a:pathLst>
                </a:custGeom>
                <a:solidFill>
                  <a:schemeClr val="accent1"/>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01" name="Freeform: Shape 57"/>
                <p:cNvSpPr/>
                <p:nvPr/>
              </p:nvSpPr>
              <p:spPr>
                <a:xfrm>
                  <a:off x="3708955" y="2226948"/>
                  <a:ext cx="158845" cy="88593"/>
                </a:xfrm>
                <a:custGeom>
                  <a:avLst/>
                  <a:gdLst/>
                  <a:ahLst/>
                  <a:cxnLst>
                    <a:cxn ang="0">
                      <a:pos x="wd2" y="hd2"/>
                    </a:cxn>
                    <a:cxn ang="5400000">
                      <a:pos x="wd2" y="hd2"/>
                    </a:cxn>
                    <a:cxn ang="10800000">
                      <a:pos x="wd2" y="hd2"/>
                    </a:cxn>
                    <a:cxn ang="16200000">
                      <a:pos x="wd2" y="hd2"/>
                    </a:cxn>
                  </a:cxnLst>
                  <a:rect l="0" t="0" r="r" b="b"/>
                  <a:pathLst>
                    <a:path w="21600" h="18211" extrusionOk="0">
                      <a:moveTo>
                        <a:pt x="21600" y="12869"/>
                      </a:moveTo>
                      <a:cubicBezTo>
                        <a:pt x="21600" y="12869"/>
                        <a:pt x="18095" y="2468"/>
                        <a:pt x="12130" y="384"/>
                      </a:cubicBezTo>
                      <a:cubicBezTo>
                        <a:pt x="6162" y="-1695"/>
                        <a:pt x="0" y="5346"/>
                        <a:pt x="0" y="5346"/>
                      </a:cubicBezTo>
                      <a:cubicBezTo>
                        <a:pt x="0" y="5346"/>
                        <a:pt x="3506" y="15752"/>
                        <a:pt x="9470" y="17828"/>
                      </a:cubicBezTo>
                      <a:cubicBezTo>
                        <a:pt x="15434" y="19905"/>
                        <a:pt x="21600" y="12869"/>
                        <a:pt x="21600" y="12869"/>
                      </a:cubicBezTo>
                      <a:close/>
                    </a:path>
                  </a:pathLst>
                </a:custGeom>
                <a:solidFill>
                  <a:schemeClr val="accent1"/>
                </a:solidFill>
                <a:ln w="12700" cap="flat">
                  <a:noFill/>
                  <a:miter lim="4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sp>
            <p:nvSpPr>
              <p:cNvPr id="54" name="Freeform: Shape 105"/>
              <p:cNvSpPr/>
              <p:nvPr/>
            </p:nvSpPr>
            <p:spPr bwMode="auto">
              <a:xfrm>
                <a:off x="3338678" y="2071166"/>
                <a:ext cx="129952" cy="189096"/>
              </a:xfrm>
              <a:custGeom>
                <a:avLst/>
                <a:gdLst/>
                <a:ahLst/>
                <a:cxnLst>
                  <a:cxn ang="0">
                    <a:pos x="38" y="109"/>
                  </a:cxn>
                  <a:cxn ang="0">
                    <a:pos x="40" y="107"/>
                  </a:cxn>
                  <a:cxn ang="0">
                    <a:pos x="44" y="107"/>
                  </a:cxn>
                  <a:cxn ang="0">
                    <a:pos x="46" y="109"/>
                  </a:cxn>
                  <a:cxn ang="0">
                    <a:pos x="44" y="111"/>
                  </a:cxn>
                  <a:cxn ang="0">
                    <a:pos x="40" y="111"/>
                  </a:cxn>
                  <a:cxn ang="0">
                    <a:pos x="38" y="109"/>
                  </a:cxn>
                  <a:cxn ang="0">
                    <a:pos x="48" y="12"/>
                  </a:cxn>
                  <a:cxn ang="0">
                    <a:pos x="37" y="12"/>
                  </a:cxn>
                  <a:cxn ang="0">
                    <a:pos x="35" y="14"/>
                  </a:cxn>
                  <a:cxn ang="0">
                    <a:pos x="37" y="15"/>
                  </a:cxn>
                  <a:cxn ang="0">
                    <a:pos x="48" y="15"/>
                  </a:cxn>
                  <a:cxn ang="0">
                    <a:pos x="50" y="14"/>
                  </a:cxn>
                  <a:cxn ang="0">
                    <a:pos x="48" y="12"/>
                  </a:cxn>
                  <a:cxn ang="0">
                    <a:pos x="85" y="12"/>
                  </a:cxn>
                  <a:cxn ang="0">
                    <a:pos x="85" y="111"/>
                  </a:cxn>
                  <a:cxn ang="0">
                    <a:pos x="73" y="123"/>
                  </a:cxn>
                  <a:cxn ang="0">
                    <a:pos x="12" y="123"/>
                  </a:cxn>
                  <a:cxn ang="0">
                    <a:pos x="0" y="111"/>
                  </a:cxn>
                  <a:cxn ang="0">
                    <a:pos x="0" y="12"/>
                  </a:cxn>
                  <a:cxn ang="0">
                    <a:pos x="12" y="0"/>
                  </a:cxn>
                  <a:cxn ang="0">
                    <a:pos x="73" y="0"/>
                  </a:cxn>
                  <a:cxn ang="0">
                    <a:pos x="85" y="12"/>
                  </a:cxn>
                  <a:cxn ang="0">
                    <a:pos x="77" y="104"/>
                  </a:cxn>
                  <a:cxn ang="0">
                    <a:pos x="8" y="104"/>
                  </a:cxn>
                  <a:cxn ang="0">
                    <a:pos x="8" y="111"/>
                  </a:cxn>
                  <a:cxn ang="0">
                    <a:pos x="12" y="115"/>
                  </a:cxn>
                  <a:cxn ang="0">
                    <a:pos x="73" y="115"/>
                  </a:cxn>
                  <a:cxn ang="0">
                    <a:pos x="77" y="111"/>
                  </a:cxn>
                  <a:cxn ang="0">
                    <a:pos x="77" y="104"/>
                  </a:cxn>
                  <a:cxn ang="0">
                    <a:pos x="77" y="23"/>
                  </a:cxn>
                  <a:cxn ang="0">
                    <a:pos x="8" y="23"/>
                  </a:cxn>
                  <a:cxn ang="0">
                    <a:pos x="8" y="100"/>
                  </a:cxn>
                  <a:cxn ang="0">
                    <a:pos x="77" y="100"/>
                  </a:cxn>
                  <a:cxn ang="0">
                    <a:pos x="77" y="23"/>
                  </a:cxn>
                  <a:cxn ang="0">
                    <a:pos x="77" y="12"/>
                  </a:cxn>
                  <a:cxn ang="0">
                    <a:pos x="73" y="8"/>
                  </a:cxn>
                  <a:cxn ang="0">
                    <a:pos x="12" y="8"/>
                  </a:cxn>
                  <a:cxn ang="0">
                    <a:pos x="8" y="12"/>
                  </a:cxn>
                  <a:cxn ang="0">
                    <a:pos x="8" y="19"/>
                  </a:cxn>
                  <a:cxn ang="0">
                    <a:pos x="77" y="19"/>
                  </a:cxn>
                  <a:cxn ang="0">
                    <a:pos x="77" y="12"/>
                  </a:cxn>
                  <a:cxn ang="0">
                    <a:pos x="77" y="12"/>
                  </a:cxn>
                  <a:cxn ang="0">
                    <a:pos x="77" y="12"/>
                  </a:cxn>
                </a:cxnLst>
                <a:rect l="0" t="0" r="r" b="b"/>
                <a:pathLst>
                  <a:path w="85" h="123">
                    <a:moveTo>
                      <a:pt x="38" y="109"/>
                    </a:moveTo>
                    <a:cubicBezTo>
                      <a:pt x="38" y="108"/>
                      <a:pt x="39" y="107"/>
                      <a:pt x="40" y="107"/>
                    </a:cubicBezTo>
                    <a:cubicBezTo>
                      <a:pt x="44" y="107"/>
                      <a:pt x="44" y="107"/>
                      <a:pt x="44" y="107"/>
                    </a:cubicBezTo>
                    <a:cubicBezTo>
                      <a:pt x="45" y="107"/>
                      <a:pt x="46" y="108"/>
                      <a:pt x="46" y="109"/>
                    </a:cubicBezTo>
                    <a:cubicBezTo>
                      <a:pt x="46" y="110"/>
                      <a:pt x="45" y="111"/>
                      <a:pt x="44" y="111"/>
                    </a:cubicBezTo>
                    <a:cubicBezTo>
                      <a:pt x="40" y="111"/>
                      <a:pt x="40" y="111"/>
                      <a:pt x="40" y="111"/>
                    </a:cubicBezTo>
                    <a:cubicBezTo>
                      <a:pt x="39" y="111"/>
                      <a:pt x="38" y="110"/>
                      <a:pt x="38" y="109"/>
                    </a:cubicBezTo>
                    <a:close/>
                    <a:moveTo>
                      <a:pt x="48" y="12"/>
                    </a:moveTo>
                    <a:cubicBezTo>
                      <a:pt x="37" y="12"/>
                      <a:pt x="37" y="12"/>
                      <a:pt x="37" y="12"/>
                    </a:cubicBezTo>
                    <a:cubicBezTo>
                      <a:pt x="36" y="12"/>
                      <a:pt x="35" y="12"/>
                      <a:pt x="35" y="14"/>
                    </a:cubicBezTo>
                    <a:cubicBezTo>
                      <a:pt x="35" y="15"/>
                      <a:pt x="36" y="15"/>
                      <a:pt x="37" y="15"/>
                    </a:cubicBezTo>
                    <a:cubicBezTo>
                      <a:pt x="48" y="15"/>
                      <a:pt x="48" y="15"/>
                      <a:pt x="48" y="15"/>
                    </a:cubicBezTo>
                    <a:cubicBezTo>
                      <a:pt x="49" y="15"/>
                      <a:pt x="50" y="15"/>
                      <a:pt x="50" y="14"/>
                    </a:cubicBezTo>
                    <a:cubicBezTo>
                      <a:pt x="50" y="12"/>
                      <a:pt x="49" y="12"/>
                      <a:pt x="48" y="12"/>
                    </a:cubicBezTo>
                    <a:close/>
                    <a:moveTo>
                      <a:pt x="85" y="12"/>
                    </a:moveTo>
                    <a:cubicBezTo>
                      <a:pt x="85" y="111"/>
                      <a:pt x="85" y="111"/>
                      <a:pt x="85" y="111"/>
                    </a:cubicBezTo>
                    <a:cubicBezTo>
                      <a:pt x="85" y="118"/>
                      <a:pt x="79" y="123"/>
                      <a:pt x="73" y="123"/>
                    </a:cubicBezTo>
                    <a:cubicBezTo>
                      <a:pt x="12" y="123"/>
                      <a:pt x="12" y="123"/>
                      <a:pt x="12" y="123"/>
                    </a:cubicBezTo>
                    <a:cubicBezTo>
                      <a:pt x="5" y="123"/>
                      <a:pt x="0" y="118"/>
                      <a:pt x="0" y="111"/>
                    </a:cubicBezTo>
                    <a:cubicBezTo>
                      <a:pt x="0" y="12"/>
                      <a:pt x="0" y="12"/>
                      <a:pt x="0" y="12"/>
                    </a:cubicBezTo>
                    <a:cubicBezTo>
                      <a:pt x="0" y="5"/>
                      <a:pt x="5" y="0"/>
                      <a:pt x="12" y="0"/>
                    </a:cubicBezTo>
                    <a:cubicBezTo>
                      <a:pt x="73" y="0"/>
                      <a:pt x="73" y="0"/>
                      <a:pt x="73" y="0"/>
                    </a:cubicBezTo>
                    <a:cubicBezTo>
                      <a:pt x="79" y="0"/>
                      <a:pt x="85" y="5"/>
                      <a:pt x="85" y="12"/>
                    </a:cubicBezTo>
                    <a:close/>
                    <a:moveTo>
                      <a:pt x="77" y="104"/>
                    </a:moveTo>
                    <a:cubicBezTo>
                      <a:pt x="8" y="104"/>
                      <a:pt x="8" y="104"/>
                      <a:pt x="8" y="104"/>
                    </a:cubicBezTo>
                    <a:cubicBezTo>
                      <a:pt x="8" y="111"/>
                      <a:pt x="8" y="111"/>
                      <a:pt x="8" y="111"/>
                    </a:cubicBezTo>
                    <a:cubicBezTo>
                      <a:pt x="8" y="113"/>
                      <a:pt x="10" y="115"/>
                      <a:pt x="12" y="115"/>
                    </a:cubicBezTo>
                    <a:cubicBezTo>
                      <a:pt x="73" y="115"/>
                      <a:pt x="73" y="115"/>
                      <a:pt x="73" y="115"/>
                    </a:cubicBezTo>
                    <a:cubicBezTo>
                      <a:pt x="75" y="115"/>
                      <a:pt x="77" y="113"/>
                      <a:pt x="77" y="111"/>
                    </a:cubicBezTo>
                    <a:lnTo>
                      <a:pt x="77" y="104"/>
                    </a:lnTo>
                    <a:close/>
                    <a:moveTo>
                      <a:pt x="77" y="23"/>
                    </a:moveTo>
                    <a:cubicBezTo>
                      <a:pt x="8" y="23"/>
                      <a:pt x="8" y="23"/>
                      <a:pt x="8" y="23"/>
                    </a:cubicBezTo>
                    <a:cubicBezTo>
                      <a:pt x="8" y="100"/>
                      <a:pt x="8" y="100"/>
                      <a:pt x="8" y="100"/>
                    </a:cubicBezTo>
                    <a:cubicBezTo>
                      <a:pt x="77" y="100"/>
                      <a:pt x="77" y="100"/>
                      <a:pt x="77" y="100"/>
                    </a:cubicBezTo>
                    <a:lnTo>
                      <a:pt x="77" y="23"/>
                    </a:lnTo>
                    <a:close/>
                    <a:moveTo>
                      <a:pt x="77" y="12"/>
                    </a:moveTo>
                    <a:cubicBezTo>
                      <a:pt x="77" y="9"/>
                      <a:pt x="75" y="8"/>
                      <a:pt x="73" y="8"/>
                    </a:cubicBezTo>
                    <a:cubicBezTo>
                      <a:pt x="12" y="8"/>
                      <a:pt x="12" y="8"/>
                      <a:pt x="12" y="8"/>
                    </a:cubicBezTo>
                    <a:cubicBezTo>
                      <a:pt x="10" y="8"/>
                      <a:pt x="8" y="9"/>
                      <a:pt x="8" y="12"/>
                    </a:cubicBezTo>
                    <a:cubicBezTo>
                      <a:pt x="8" y="19"/>
                      <a:pt x="8" y="19"/>
                      <a:pt x="8" y="19"/>
                    </a:cubicBezTo>
                    <a:cubicBezTo>
                      <a:pt x="77" y="19"/>
                      <a:pt x="77" y="19"/>
                      <a:pt x="77" y="19"/>
                    </a:cubicBezTo>
                    <a:lnTo>
                      <a:pt x="77" y="12"/>
                    </a:lnTo>
                    <a:close/>
                    <a:moveTo>
                      <a:pt x="77" y="12"/>
                    </a:moveTo>
                    <a:cubicBezTo>
                      <a:pt x="77" y="12"/>
                      <a:pt x="77" y="12"/>
                      <a:pt x="77" y="12"/>
                    </a:cubicBezTo>
                  </a:path>
                </a:pathLst>
              </a:custGeom>
              <a:solidFill>
                <a:schemeClr val="bg1"/>
              </a:solid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nvGrpSpPr>
              <p:cNvPr id="55" name="Group 106"/>
              <p:cNvGrpSpPr/>
              <p:nvPr/>
            </p:nvGrpSpPr>
            <p:grpSpPr>
              <a:xfrm>
                <a:off x="3601424" y="1742596"/>
                <a:ext cx="128289" cy="189105"/>
                <a:chOff x="4914900" y="1211263"/>
                <a:chExt cx="244475" cy="360363"/>
              </a:xfrm>
              <a:solidFill>
                <a:schemeClr val="bg1"/>
              </a:solidFill>
            </p:grpSpPr>
            <p:sp>
              <p:nvSpPr>
                <p:cNvPr id="77" name="Freeform: Shape 107"/>
                <p:cNvSpPr/>
                <p:nvPr/>
              </p:nvSpPr>
              <p:spPr bwMode="auto">
                <a:xfrm>
                  <a:off x="5013325" y="1314451"/>
                  <a:ext cx="23813" cy="20638"/>
                </a:xfrm>
                <a:custGeom>
                  <a:avLst/>
                  <a:gdLst/>
                  <a:ahLst/>
                  <a:cxnLst>
                    <a:cxn ang="0">
                      <a:pos x="8" y="3"/>
                    </a:cxn>
                    <a:cxn ang="0">
                      <a:pos x="4" y="7"/>
                    </a:cxn>
                    <a:cxn ang="0">
                      <a:pos x="0" y="3"/>
                    </a:cxn>
                    <a:cxn ang="0">
                      <a:pos x="4" y="0"/>
                    </a:cxn>
                    <a:cxn ang="0">
                      <a:pos x="8" y="3"/>
                    </a:cxn>
                    <a:cxn ang="0">
                      <a:pos x="8" y="3"/>
                    </a:cxn>
                    <a:cxn ang="0">
                      <a:pos x="8" y="3"/>
                    </a:cxn>
                  </a:cxnLst>
                  <a:rect l="0" t="0" r="r" b="b"/>
                  <a:pathLst>
                    <a:path w="8" h="7">
                      <a:moveTo>
                        <a:pt x="8" y="3"/>
                      </a:moveTo>
                      <a:cubicBezTo>
                        <a:pt x="8" y="6"/>
                        <a:pt x="6" y="7"/>
                        <a:pt x="4" y="7"/>
                      </a:cubicBezTo>
                      <a:cubicBezTo>
                        <a:pt x="2" y="7"/>
                        <a:pt x="0" y="6"/>
                        <a:pt x="0" y="3"/>
                      </a:cubicBezTo>
                      <a:cubicBezTo>
                        <a:pt x="0" y="1"/>
                        <a:pt x="2" y="0"/>
                        <a:pt x="4" y="0"/>
                      </a:cubicBezTo>
                      <a:cubicBezTo>
                        <a:pt x="6" y="0"/>
                        <a:pt x="8" y="1"/>
                        <a:pt x="8" y="3"/>
                      </a:cubicBezTo>
                      <a:close/>
                      <a:moveTo>
                        <a:pt x="8" y="3"/>
                      </a:moveTo>
                      <a:cubicBezTo>
                        <a:pt x="8" y="3"/>
                        <a:pt x="8" y="3"/>
                        <a:pt x="8" y="3"/>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78" name="Freeform: Shape 108"/>
                <p:cNvSpPr/>
                <p:nvPr/>
              </p:nvSpPr>
              <p:spPr bwMode="auto">
                <a:xfrm>
                  <a:off x="5013325" y="1449388"/>
                  <a:ext cx="23813" cy="20638"/>
                </a:xfrm>
                <a:custGeom>
                  <a:avLst/>
                  <a:gdLst/>
                  <a:ahLst/>
                  <a:cxnLst>
                    <a:cxn ang="0">
                      <a:pos x="8" y="4"/>
                    </a:cxn>
                    <a:cxn ang="0">
                      <a:pos x="4" y="7"/>
                    </a:cxn>
                    <a:cxn ang="0">
                      <a:pos x="0" y="4"/>
                    </a:cxn>
                    <a:cxn ang="0">
                      <a:pos x="4" y="0"/>
                    </a:cxn>
                    <a:cxn ang="0">
                      <a:pos x="8" y="4"/>
                    </a:cxn>
                    <a:cxn ang="0">
                      <a:pos x="8" y="4"/>
                    </a:cxn>
                    <a:cxn ang="0">
                      <a:pos x="8" y="4"/>
                    </a:cxn>
                  </a:cxnLst>
                  <a:rect l="0" t="0" r="r" b="b"/>
                  <a:pathLst>
                    <a:path w="8" h="7">
                      <a:moveTo>
                        <a:pt x="8" y="4"/>
                      </a:moveTo>
                      <a:cubicBezTo>
                        <a:pt x="8" y="6"/>
                        <a:pt x="6" y="7"/>
                        <a:pt x="4" y="7"/>
                      </a:cubicBezTo>
                      <a:cubicBezTo>
                        <a:pt x="2" y="7"/>
                        <a:pt x="0" y="6"/>
                        <a:pt x="0" y="4"/>
                      </a:cubicBezTo>
                      <a:cubicBezTo>
                        <a:pt x="0" y="1"/>
                        <a:pt x="2" y="0"/>
                        <a:pt x="4" y="0"/>
                      </a:cubicBezTo>
                      <a:cubicBezTo>
                        <a:pt x="6" y="0"/>
                        <a:pt x="8" y="1"/>
                        <a:pt x="8" y="4"/>
                      </a:cubicBezTo>
                      <a:close/>
                      <a:moveTo>
                        <a:pt x="8" y="4"/>
                      </a:moveTo>
                      <a:cubicBezTo>
                        <a:pt x="8" y="4"/>
                        <a:pt x="8" y="4"/>
                        <a:pt x="8" y="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79" name="Freeform: Shape 109"/>
                <p:cNvSpPr/>
                <p:nvPr/>
              </p:nvSpPr>
              <p:spPr bwMode="auto">
                <a:xfrm>
                  <a:off x="4946650" y="1381126"/>
                  <a:ext cx="23813" cy="20638"/>
                </a:xfrm>
                <a:custGeom>
                  <a:avLst/>
                  <a:gdLst/>
                  <a:ahLst/>
                  <a:cxnLst>
                    <a:cxn ang="0">
                      <a:pos x="8" y="3"/>
                    </a:cxn>
                    <a:cxn ang="0">
                      <a:pos x="4" y="7"/>
                    </a:cxn>
                    <a:cxn ang="0">
                      <a:pos x="0" y="3"/>
                    </a:cxn>
                    <a:cxn ang="0">
                      <a:pos x="4" y="0"/>
                    </a:cxn>
                    <a:cxn ang="0">
                      <a:pos x="8" y="3"/>
                    </a:cxn>
                    <a:cxn ang="0">
                      <a:pos x="8" y="3"/>
                    </a:cxn>
                    <a:cxn ang="0">
                      <a:pos x="8" y="3"/>
                    </a:cxn>
                  </a:cxnLst>
                  <a:rect l="0" t="0" r="r" b="b"/>
                  <a:pathLst>
                    <a:path w="8" h="7">
                      <a:moveTo>
                        <a:pt x="8" y="3"/>
                      </a:moveTo>
                      <a:cubicBezTo>
                        <a:pt x="8" y="6"/>
                        <a:pt x="6" y="7"/>
                        <a:pt x="4" y="7"/>
                      </a:cubicBezTo>
                      <a:cubicBezTo>
                        <a:pt x="2" y="7"/>
                        <a:pt x="0" y="6"/>
                        <a:pt x="0" y="3"/>
                      </a:cubicBezTo>
                      <a:cubicBezTo>
                        <a:pt x="0" y="1"/>
                        <a:pt x="2" y="0"/>
                        <a:pt x="4" y="0"/>
                      </a:cubicBezTo>
                      <a:cubicBezTo>
                        <a:pt x="6" y="0"/>
                        <a:pt x="8" y="1"/>
                        <a:pt x="8" y="3"/>
                      </a:cubicBezTo>
                      <a:close/>
                      <a:moveTo>
                        <a:pt x="8" y="3"/>
                      </a:moveTo>
                      <a:cubicBezTo>
                        <a:pt x="8" y="3"/>
                        <a:pt x="8" y="3"/>
                        <a:pt x="8" y="3"/>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80" name="Freeform: Shape 110"/>
                <p:cNvSpPr/>
                <p:nvPr/>
              </p:nvSpPr>
              <p:spPr bwMode="auto">
                <a:xfrm>
                  <a:off x="5081588" y="1381126"/>
                  <a:ext cx="22225" cy="20638"/>
                </a:xfrm>
                <a:custGeom>
                  <a:avLst/>
                  <a:gdLst/>
                  <a:ahLst/>
                  <a:cxnLst>
                    <a:cxn ang="0">
                      <a:pos x="8" y="3"/>
                    </a:cxn>
                    <a:cxn ang="0">
                      <a:pos x="4" y="7"/>
                    </a:cxn>
                    <a:cxn ang="0">
                      <a:pos x="0" y="3"/>
                    </a:cxn>
                    <a:cxn ang="0">
                      <a:pos x="4" y="0"/>
                    </a:cxn>
                    <a:cxn ang="0">
                      <a:pos x="8" y="3"/>
                    </a:cxn>
                    <a:cxn ang="0">
                      <a:pos x="8" y="3"/>
                    </a:cxn>
                    <a:cxn ang="0">
                      <a:pos x="8" y="3"/>
                    </a:cxn>
                  </a:cxnLst>
                  <a:rect l="0" t="0" r="r" b="b"/>
                  <a:pathLst>
                    <a:path w="8" h="7">
                      <a:moveTo>
                        <a:pt x="8" y="3"/>
                      </a:moveTo>
                      <a:cubicBezTo>
                        <a:pt x="8" y="6"/>
                        <a:pt x="6" y="7"/>
                        <a:pt x="4" y="7"/>
                      </a:cubicBezTo>
                      <a:cubicBezTo>
                        <a:pt x="2" y="7"/>
                        <a:pt x="0" y="6"/>
                        <a:pt x="0" y="3"/>
                      </a:cubicBezTo>
                      <a:cubicBezTo>
                        <a:pt x="0" y="1"/>
                        <a:pt x="2" y="0"/>
                        <a:pt x="4" y="0"/>
                      </a:cubicBezTo>
                      <a:cubicBezTo>
                        <a:pt x="6" y="0"/>
                        <a:pt x="8" y="1"/>
                        <a:pt x="8" y="3"/>
                      </a:cubicBezTo>
                      <a:close/>
                      <a:moveTo>
                        <a:pt x="8" y="3"/>
                      </a:moveTo>
                      <a:cubicBezTo>
                        <a:pt x="8" y="3"/>
                        <a:pt x="8" y="3"/>
                        <a:pt x="8" y="3"/>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81" name="Freeform: Shape 111"/>
                <p:cNvSpPr/>
                <p:nvPr/>
              </p:nvSpPr>
              <p:spPr bwMode="auto">
                <a:xfrm>
                  <a:off x="4967288" y="1428751"/>
                  <a:ext cx="20638" cy="22225"/>
                </a:xfrm>
                <a:custGeom>
                  <a:avLst/>
                  <a:gdLst/>
                  <a:ahLst/>
                  <a:cxnLst>
                    <a:cxn ang="0">
                      <a:pos x="7" y="4"/>
                    </a:cxn>
                    <a:cxn ang="0">
                      <a:pos x="4" y="8"/>
                    </a:cxn>
                    <a:cxn ang="0">
                      <a:pos x="0" y="4"/>
                    </a:cxn>
                    <a:cxn ang="0">
                      <a:pos x="4" y="0"/>
                    </a:cxn>
                    <a:cxn ang="0">
                      <a:pos x="7" y="4"/>
                    </a:cxn>
                    <a:cxn ang="0">
                      <a:pos x="7" y="4"/>
                    </a:cxn>
                    <a:cxn ang="0">
                      <a:pos x="7" y="4"/>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82" name="Freeform: Shape 112"/>
                <p:cNvSpPr/>
                <p:nvPr/>
              </p:nvSpPr>
              <p:spPr bwMode="auto">
                <a:xfrm>
                  <a:off x="4967288" y="1331913"/>
                  <a:ext cx="20638" cy="23813"/>
                </a:xfrm>
                <a:custGeom>
                  <a:avLst/>
                  <a:gdLst/>
                  <a:ahLst/>
                  <a:cxnLst>
                    <a:cxn ang="0">
                      <a:pos x="7" y="4"/>
                    </a:cxn>
                    <a:cxn ang="0">
                      <a:pos x="4" y="8"/>
                    </a:cxn>
                    <a:cxn ang="0">
                      <a:pos x="0" y="4"/>
                    </a:cxn>
                    <a:cxn ang="0">
                      <a:pos x="4" y="0"/>
                    </a:cxn>
                    <a:cxn ang="0">
                      <a:pos x="7" y="4"/>
                    </a:cxn>
                    <a:cxn ang="0">
                      <a:pos x="7" y="4"/>
                    </a:cxn>
                    <a:cxn ang="0">
                      <a:pos x="7" y="4"/>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83" name="Freeform: Shape 113"/>
                <p:cNvSpPr/>
                <p:nvPr/>
              </p:nvSpPr>
              <p:spPr bwMode="auto">
                <a:xfrm>
                  <a:off x="5060950" y="1428751"/>
                  <a:ext cx="22225" cy="22225"/>
                </a:xfrm>
                <a:custGeom>
                  <a:avLst/>
                  <a:gdLst/>
                  <a:ahLst/>
                  <a:cxnLst>
                    <a:cxn ang="0">
                      <a:pos x="8" y="4"/>
                    </a:cxn>
                    <a:cxn ang="0">
                      <a:pos x="4" y="8"/>
                    </a:cxn>
                    <a:cxn ang="0">
                      <a:pos x="0" y="4"/>
                    </a:cxn>
                    <a:cxn ang="0">
                      <a:pos x="4" y="0"/>
                    </a:cxn>
                    <a:cxn ang="0">
                      <a:pos x="8" y="4"/>
                    </a:cxn>
                    <a:cxn ang="0">
                      <a:pos x="8" y="4"/>
                    </a:cxn>
                    <a:cxn ang="0">
                      <a:pos x="8" y="4"/>
                    </a:cxn>
                  </a:cxnLst>
                  <a:rect l="0" t="0" r="r" b="b"/>
                  <a:pathLst>
                    <a:path w="8" h="8">
                      <a:moveTo>
                        <a:pt x="8" y="4"/>
                      </a:moveTo>
                      <a:cubicBezTo>
                        <a:pt x="8" y="6"/>
                        <a:pt x="6" y="8"/>
                        <a:pt x="4" y="8"/>
                      </a:cubicBezTo>
                      <a:cubicBezTo>
                        <a:pt x="2" y="8"/>
                        <a:pt x="0" y="6"/>
                        <a:pt x="0" y="4"/>
                      </a:cubicBezTo>
                      <a:cubicBezTo>
                        <a:pt x="0" y="2"/>
                        <a:pt x="2" y="0"/>
                        <a:pt x="4" y="0"/>
                      </a:cubicBezTo>
                      <a:cubicBezTo>
                        <a:pt x="6" y="0"/>
                        <a:pt x="8" y="2"/>
                        <a:pt x="8" y="4"/>
                      </a:cubicBezTo>
                      <a:close/>
                      <a:moveTo>
                        <a:pt x="8" y="4"/>
                      </a:moveTo>
                      <a:cubicBezTo>
                        <a:pt x="8" y="4"/>
                        <a:pt x="8" y="4"/>
                        <a:pt x="8" y="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84" name="Freeform: Shape 114"/>
                <p:cNvSpPr/>
                <p:nvPr/>
              </p:nvSpPr>
              <p:spPr bwMode="auto">
                <a:xfrm>
                  <a:off x="4914900" y="1211263"/>
                  <a:ext cx="244475" cy="360363"/>
                </a:xfrm>
                <a:custGeom>
                  <a:avLst/>
                  <a:gdLst/>
                  <a:ahLst/>
                  <a:cxnLst>
                    <a:cxn ang="0">
                      <a:pos x="76" y="54"/>
                    </a:cxn>
                    <a:cxn ang="0">
                      <a:pos x="76" y="54"/>
                    </a:cxn>
                    <a:cxn ang="0">
                      <a:pos x="67" y="36"/>
                    </a:cxn>
                    <a:cxn ang="0">
                      <a:pos x="61" y="6"/>
                    </a:cxn>
                    <a:cxn ang="0">
                      <a:pos x="54" y="0"/>
                    </a:cxn>
                    <a:cxn ang="0">
                      <a:pos x="23" y="0"/>
                    </a:cxn>
                    <a:cxn ang="0">
                      <a:pos x="15" y="6"/>
                    </a:cxn>
                    <a:cxn ang="0">
                      <a:pos x="10" y="35"/>
                    </a:cxn>
                    <a:cxn ang="0">
                      <a:pos x="0" y="61"/>
                    </a:cxn>
                    <a:cxn ang="0">
                      <a:pos x="10" y="87"/>
                    </a:cxn>
                    <a:cxn ang="0">
                      <a:pos x="15" y="117"/>
                    </a:cxn>
                    <a:cxn ang="0">
                      <a:pos x="23" y="123"/>
                    </a:cxn>
                    <a:cxn ang="0">
                      <a:pos x="53" y="123"/>
                    </a:cxn>
                    <a:cxn ang="0">
                      <a:pos x="61" y="117"/>
                    </a:cxn>
                    <a:cxn ang="0">
                      <a:pos x="66" y="87"/>
                    </a:cxn>
                    <a:cxn ang="0">
                      <a:pos x="76" y="69"/>
                    </a:cxn>
                    <a:cxn ang="0">
                      <a:pos x="76" y="69"/>
                    </a:cxn>
                    <a:cxn ang="0">
                      <a:pos x="84" y="61"/>
                    </a:cxn>
                    <a:cxn ang="0">
                      <a:pos x="76" y="54"/>
                    </a:cxn>
                    <a:cxn ang="0">
                      <a:pos x="23" y="8"/>
                    </a:cxn>
                    <a:cxn ang="0">
                      <a:pos x="54" y="8"/>
                    </a:cxn>
                    <a:cxn ang="0">
                      <a:pos x="58" y="28"/>
                    </a:cxn>
                    <a:cxn ang="0">
                      <a:pos x="38" y="23"/>
                    </a:cxn>
                    <a:cxn ang="0">
                      <a:pos x="19" y="28"/>
                    </a:cxn>
                    <a:cxn ang="0">
                      <a:pos x="23" y="8"/>
                    </a:cxn>
                    <a:cxn ang="0">
                      <a:pos x="53" y="115"/>
                    </a:cxn>
                    <a:cxn ang="0">
                      <a:pos x="23" y="115"/>
                    </a:cxn>
                    <a:cxn ang="0">
                      <a:pos x="19" y="95"/>
                    </a:cxn>
                    <a:cxn ang="0">
                      <a:pos x="38" y="100"/>
                    </a:cxn>
                    <a:cxn ang="0">
                      <a:pos x="57" y="95"/>
                    </a:cxn>
                    <a:cxn ang="0">
                      <a:pos x="53" y="115"/>
                    </a:cxn>
                    <a:cxn ang="0">
                      <a:pos x="38" y="92"/>
                    </a:cxn>
                    <a:cxn ang="0">
                      <a:pos x="7" y="61"/>
                    </a:cxn>
                    <a:cxn ang="0">
                      <a:pos x="38" y="31"/>
                    </a:cxn>
                    <a:cxn ang="0">
                      <a:pos x="69" y="61"/>
                    </a:cxn>
                    <a:cxn ang="0">
                      <a:pos x="38" y="92"/>
                    </a:cxn>
                    <a:cxn ang="0">
                      <a:pos x="38" y="92"/>
                    </a:cxn>
                    <a:cxn ang="0">
                      <a:pos x="38" y="92"/>
                    </a:cxn>
                  </a:cxnLst>
                  <a:rect l="0" t="0" r="r" b="b"/>
                  <a:pathLst>
                    <a:path w="84" h="123">
                      <a:moveTo>
                        <a:pt x="76" y="54"/>
                      </a:moveTo>
                      <a:cubicBezTo>
                        <a:pt x="76" y="54"/>
                        <a:pt x="76" y="54"/>
                        <a:pt x="76" y="54"/>
                      </a:cubicBezTo>
                      <a:cubicBezTo>
                        <a:pt x="74" y="47"/>
                        <a:pt x="71" y="41"/>
                        <a:pt x="67" y="36"/>
                      </a:cubicBezTo>
                      <a:cubicBezTo>
                        <a:pt x="61" y="6"/>
                        <a:pt x="61" y="6"/>
                        <a:pt x="61" y="6"/>
                      </a:cubicBezTo>
                      <a:cubicBezTo>
                        <a:pt x="61" y="3"/>
                        <a:pt x="57" y="0"/>
                        <a:pt x="54" y="0"/>
                      </a:cubicBezTo>
                      <a:cubicBezTo>
                        <a:pt x="23" y="0"/>
                        <a:pt x="23" y="0"/>
                        <a:pt x="23" y="0"/>
                      </a:cubicBezTo>
                      <a:cubicBezTo>
                        <a:pt x="19" y="0"/>
                        <a:pt x="16" y="3"/>
                        <a:pt x="15" y="6"/>
                      </a:cubicBezTo>
                      <a:cubicBezTo>
                        <a:pt x="10" y="35"/>
                        <a:pt x="10" y="35"/>
                        <a:pt x="10" y="35"/>
                      </a:cubicBezTo>
                      <a:cubicBezTo>
                        <a:pt x="4" y="42"/>
                        <a:pt x="0" y="51"/>
                        <a:pt x="0" y="61"/>
                      </a:cubicBezTo>
                      <a:cubicBezTo>
                        <a:pt x="0" y="71"/>
                        <a:pt x="3" y="80"/>
                        <a:pt x="10" y="87"/>
                      </a:cubicBezTo>
                      <a:cubicBezTo>
                        <a:pt x="15" y="117"/>
                        <a:pt x="15" y="117"/>
                        <a:pt x="15" y="117"/>
                      </a:cubicBezTo>
                      <a:cubicBezTo>
                        <a:pt x="16" y="120"/>
                        <a:pt x="19" y="123"/>
                        <a:pt x="23" y="123"/>
                      </a:cubicBezTo>
                      <a:cubicBezTo>
                        <a:pt x="53" y="123"/>
                        <a:pt x="53" y="123"/>
                        <a:pt x="53" y="123"/>
                      </a:cubicBezTo>
                      <a:cubicBezTo>
                        <a:pt x="57" y="123"/>
                        <a:pt x="60" y="120"/>
                        <a:pt x="61" y="117"/>
                      </a:cubicBezTo>
                      <a:cubicBezTo>
                        <a:pt x="66" y="87"/>
                        <a:pt x="66" y="87"/>
                        <a:pt x="66" y="87"/>
                      </a:cubicBezTo>
                      <a:cubicBezTo>
                        <a:pt x="71" y="82"/>
                        <a:pt x="74" y="76"/>
                        <a:pt x="76" y="69"/>
                      </a:cubicBezTo>
                      <a:cubicBezTo>
                        <a:pt x="76" y="69"/>
                        <a:pt x="76" y="69"/>
                        <a:pt x="76" y="69"/>
                      </a:cubicBezTo>
                      <a:cubicBezTo>
                        <a:pt x="81" y="69"/>
                        <a:pt x="84" y="66"/>
                        <a:pt x="84" y="61"/>
                      </a:cubicBezTo>
                      <a:cubicBezTo>
                        <a:pt x="84" y="57"/>
                        <a:pt x="81" y="54"/>
                        <a:pt x="76" y="54"/>
                      </a:cubicBezTo>
                      <a:close/>
                      <a:moveTo>
                        <a:pt x="23" y="8"/>
                      </a:moveTo>
                      <a:cubicBezTo>
                        <a:pt x="54" y="8"/>
                        <a:pt x="54" y="8"/>
                        <a:pt x="54" y="8"/>
                      </a:cubicBezTo>
                      <a:cubicBezTo>
                        <a:pt x="58" y="28"/>
                        <a:pt x="58" y="28"/>
                        <a:pt x="58" y="28"/>
                      </a:cubicBezTo>
                      <a:cubicBezTo>
                        <a:pt x="52" y="25"/>
                        <a:pt x="45" y="23"/>
                        <a:pt x="38" y="23"/>
                      </a:cubicBezTo>
                      <a:cubicBezTo>
                        <a:pt x="31" y="23"/>
                        <a:pt x="25" y="25"/>
                        <a:pt x="19" y="28"/>
                      </a:cubicBezTo>
                      <a:lnTo>
                        <a:pt x="23" y="8"/>
                      </a:lnTo>
                      <a:close/>
                      <a:moveTo>
                        <a:pt x="53" y="115"/>
                      </a:moveTo>
                      <a:cubicBezTo>
                        <a:pt x="23" y="115"/>
                        <a:pt x="23" y="115"/>
                        <a:pt x="23" y="115"/>
                      </a:cubicBezTo>
                      <a:cubicBezTo>
                        <a:pt x="19" y="95"/>
                        <a:pt x="19" y="95"/>
                        <a:pt x="19" y="95"/>
                      </a:cubicBezTo>
                      <a:cubicBezTo>
                        <a:pt x="24" y="98"/>
                        <a:pt x="31" y="100"/>
                        <a:pt x="38" y="100"/>
                      </a:cubicBezTo>
                      <a:cubicBezTo>
                        <a:pt x="45" y="100"/>
                        <a:pt x="51" y="98"/>
                        <a:pt x="57" y="95"/>
                      </a:cubicBezTo>
                      <a:lnTo>
                        <a:pt x="53" y="115"/>
                      </a:lnTo>
                      <a:close/>
                      <a:moveTo>
                        <a:pt x="38" y="92"/>
                      </a:moveTo>
                      <a:cubicBezTo>
                        <a:pt x="21" y="92"/>
                        <a:pt x="7" y="78"/>
                        <a:pt x="7" y="61"/>
                      </a:cubicBezTo>
                      <a:cubicBezTo>
                        <a:pt x="7" y="45"/>
                        <a:pt x="21" y="31"/>
                        <a:pt x="38" y="31"/>
                      </a:cubicBezTo>
                      <a:cubicBezTo>
                        <a:pt x="55" y="31"/>
                        <a:pt x="69" y="45"/>
                        <a:pt x="69" y="61"/>
                      </a:cubicBezTo>
                      <a:cubicBezTo>
                        <a:pt x="69" y="78"/>
                        <a:pt x="55" y="92"/>
                        <a:pt x="38" y="92"/>
                      </a:cubicBezTo>
                      <a:close/>
                      <a:moveTo>
                        <a:pt x="38" y="92"/>
                      </a:moveTo>
                      <a:cubicBezTo>
                        <a:pt x="38" y="92"/>
                        <a:pt x="38" y="92"/>
                        <a:pt x="38" y="92"/>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85" name="Freeform: Shape 115"/>
                <p:cNvSpPr/>
                <p:nvPr/>
              </p:nvSpPr>
              <p:spPr bwMode="auto">
                <a:xfrm>
                  <a:off x="5013325" y="1335088"/>
                  <a:ext cx="68263" cy="66675"/>
                </a:xfrm>
                <a:custGeom>
                  <a:avLst/>
                  <a:gdLst/>
                  <a:ahLst/>
                  <a:cxnLst>
                    <a:cxn ang="0">
                      <a:pos x="23" y="0"/>
                    </a:cxn>
                    <a:cxn ang="0">
                      <a:pos x="21" y="0"/>
                    </a:cxn>
                    <a:cxn ang="0">
                      <a:pos x="1" y="17"/>
                    </a:cxn>
                    <a:cxn ang="0">
                      <a:pos x="0" y="20"/>
                    </a:cxn>
                    <a:cxn ang="0">
                      <a:pos x="1" y="22"/>
                    </a:cxn>
                    <a:cxn ang="0">
                      <a:pos x="4" y="23"/>
                    </a:cxn>
                    <a:cxn ang="0">
                      <a:pos x="7" y="22"/>
                    </a:cxn>
                    <a:cxn ang="0">
                      <a:pos x="14" y="14"/>
                    </a:cxn>
                    <a:cxn ang="0">
                      <a:pos x="23" y="2"/>
                    </a:cxn>
                    <a:cxn ang="0">
                      <a:pos x="23" y="0"/>
                    </a:cxn>
                    <a:cxn ang="0">
                      <a:pos x="23" y="0"/>
                    </a:cxn>
                    <a:cxn ang="0">
                      <a:pos x="23" y="0"/>
                    </a:cxn>
                  </a:cxnLst>
                  <a:rect l="0" t="0" r="r" b="b"/>
                  <a:pathLst>
                    <a:path w="23" h="23">
                      <a:moveTo>
                        <a:pt x="23" y="0"/>
                      </a:moveTo>
                      <a:cubicBezTo>
                        <a:pt x="22" y="0"/>
                        <a:pt x="22" y="0"/>
                        <a:pt x="21" y="0"/>
                      </a:cubicBezTo>
                      <a:cubicBezTo>
                        <a:pt x="1" y="17"/>
                        <a:pt x="1" y="17"/>
                        <a:pt x="1" y="17"/>
                      </a:cubicBezTo>
                      <a:cubicBezTo>
                        <a:pt x="1" y="18"/>
                        <a:pt x="0" y="18"/>
                        <a:pt x="0" y="20"/>
                      </a:cubicBezTo>
                      <a:cubicBezTo>
                        <a:pt x="0" y="21"/>
                        <a:pt x="0" y="21"/>
                        <a:pt x="1" y="22"/>
                      </a:cubicBezTo>
                      <a:cubicBezTo>
                        <a:pt x="2" y="23"/>
                        <a:pt x="3" y="23"/>
                        <a:pt x="4" y="23"/>
                      </a:cubicBezTo>
                      <a:cubicBezTo>
                        <a:pt x="5" y="23"/>
                        <a:pt x="6" y="23"/>
                        <a:pt x="7" y="22"/>
                      </a:cubicBezTo>
                      <a:cubicBezTo>
                        <a:pt x="14" y="14"/>
                        <a:pt x="14" y="14"/>
                        <a:pt x="14" y="14"/>
                      </a:cubicBezTo>
                      <a:cubicBezTo>
                        <a:pt x="23" y="2"/>
                        <a:pt x="23" y="2"/>
                        <a:pt x="23" y="2"/>
                      </a:cubicBezTo>
                      <a:cubicBezTo>
                        <a:pt x="23" y="2"/>
                        <a:pt x="23" y="1"/>
                        <a:pt x="23" y="0"/>
                      </a:cubicBezTo>
                      <a:close/>
                      <a:moveTo>
                        <a:pt x="23" y="0"/>
                      </a:moveTo>
                      <a:cubicBezTo>
                        <a:pt x="23" y="0"/>
                        <a:pt x="23" y="0"/>
                        <a:pt x="23"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sp>
            <p:nvSpPr>
              <p:cNvPr id="56" name="Freeform: Shape 116"/>
              <p:cNvSpPr/>
              <p:nvPr/>
            </p:nvSpPr>
            <p:spPr bwMode="auto">
              <a:xfrm>
                <a:off x="3986815" y="1685256"/>
                <a:ext cx="189096" cy="137450"/>
              </a:xfrm>
              <a:custGeom>
                <a:avLst/>
                <a:gdLst/>
                <a:ahLst/>
                <a:cxnLst>
                  <a:cxn ang="0">
                    <a:pos x="100" y="32"/>
                  </a:cxn>
                  <a:cxn ang="0">
                    <a:pos x="65" y="0"/>
                  </a:cxn>
                  <a:cxn ang="0">
                    <a:pos x="34" y="20"/>
                  </a:cxn>
                  <a:cxn ang="0">
                    <a:pos x="29" y="20"/>
                  </a:cxn>
                  <a:cxn ang="0">
                    <a:pos x="12" y="37"/>
                  </a:cxn>
                  <a:cxn ang="0">
                    <a:pos x="13" y="42"/>
                  </a:cxn>
                  <a:cxn ang="0">
                    <a:pos x="0" y="64"/>
                  </a:cxn>
                  <a:cxn ang="0">
                    <a:pos x="25" y="89"/>
                  </a:cxn>
                  <a:cxn ang="0">
                    <a:pos x="94" y="89"/>
                  </a:cxn>
                  <a:cxn ang="0">
                    <a:pos x="123" y="60"/>
                  </a:cxn>
                  <a:cxn ang="0">
                    <a:pos x="100" y="32"/>
                  </a:cxn>
                  <a:cxn ang="0">
                    <a:pos x="94" y="81"/>
                  </a:cxn>
                  <a:cxn ang="0">
                    <a:pos x="94" y="81"/>
                  </a:cxn>
                  <a:cxn ang="0">
                    <a:pos x="25" y="81"/>
                  </a:cxn>
                  <a:cxn ang="0">
                    <a:pos x="8" y="64"/>
                  </a:cxn>
                  <a:cxn ang="0">
                    <a:pos x="16" y="49"/>
                  </a:cxn>
                  <a:cxn ang="0">
                    <a:pos x="20" y="40"/>
                  </a:cxn>
                  <a:cxn ang="0">
                    <a:pos x="19" y="37"/>
                  </a:cxn>
                  <a:cxn ang="0">
                    <a:pos x="29" y="27"/>
                  </a:cxn>
                  <a:cxn ang="0">
                    <a:pos x="34" y="28"/>
                  </a:cxn>
                  <a:cxn ang="0">
                    <a:pos x="41" y="24"/>
                  </a:cxn>
                  <a:cxn ang="0">
                    <a:pos x="65" y="8"/>
                  </a:cxn>
                  <a:cxn ang="0">
                    <a:pos x="92" y="32"/>
                  </a:cxn>
                  <a:cxn ang="0">
                    <a:pos x="98" y="39"/>
                  </a:cxn>
                  <a:cxn ang="0">
                    <a:pos x="115" y="60"/>
                  </a:cxn>
                  <a:cxn ang="0">
                    <a:pos x="94" y="81"/>
                  </a:cxn>
                  <a:cxn ang="0">
                    <a:pos x="94" y="81"/>
                  </a:cxn>
                  <a:cxn ang="0">
                    <a:pos x="94" y="81"/>
                  </a:cxn>
                </a:cxnLst>
                <a:rect l="0" t="0" r="r" b="b"/>
                <a:pathLst>
                  <a:path w="123" h="89">
                    <a:moveTo>
                      <a:pt x="100" y="32"/>
                    </a:moveTo>
                    <a:cubicBezTo>
                      <a:pt x="98" y="14"/>
                      <a:pt x="83" y="0"/>
                      <a:pt x="65" y="0"/>
                    </a:cubicBezTo>
                    <a:cubicBezTo>
                      <a:pt x="51" y="0"/>
                      <a:pt x="40" y="9"/>
                      <a:pt x="34" y="20"/>
                    </a:cubicBezTo>
                    <a:cubicBezTo>
                      <a:pt x="32" y="20"/>
                      <a:pt x="31" y="20"/>
                      <a:pt x="29" y="20"/>
                    </a:cubicBezTo>
                    <a:cubicBezTo>
                      <a:pt x="19" y="20"/>
                      <a:pt x="12" y="27"/>
                      <a:pt x="12" y="37"/>
                    </a:cubicBezTo>
                    <a:cubicBezTo>
                      <a:pt x="12" y="39"/>
                      <a:pt x="12" y="40"/>
                      <a:pt x="13" y="42"/>
                    </a:cubicBezTo>
                    <a:cubicBezTo>
                      <a:pt x="5" y="47"/>
                      <a:pt x="0" y="54"/>
                      <a:pt x="0" y="64"/>
                    </a:cubicBezTo>
                    <a:cubicBezTo>
                      <a:pt x="0" y="77"/>
                      <a:pt x="11" y="89"/>
                      <a:pt x="25" y="89"/>
                    </a:cubicBezTo>
                    <a:cubicBezTo>
                      <a:pt x="94" y="89"/>
                      <a:pt x="94" y="89"/>
                      <a:pt x="94" y="89"/>
                    </a:cubicBezTo>
                    <a:cubicBezTo>
                      <a:pt x="110" y="89"/>
                      <a:pt x="123" y="76"/>
                      <a:pt x="123" y="60"/>
                    </a:cubicBezTo>
                    <a:cubicBezTo>
                      <a:pt x="123" y="46"/>
                      <a:pt x="113" y="34"/>
                      <a:pt x="100" y="32"/>
                    </a:cubicBezTo>
                    <a:close/>
                    <a:moveTo>
                      <a:pt x="94" y="81"/>
                    </a:moveTo>
                    <a:cubicBezTo>
                      <a:pt x="94" y="81"/>
                      <a:pt x="94" y="81"/>
                      <a:pt x="94" y="81"/>
                    </a:cubicBezTo>
                    <a:cubicBezTo>
                      <a:pt x="25" y="81"/>
                      <a:pt x="25" y="81"/>
                      <a:pt x="25" y="81"/>
                    </a:cubicBezTo>
                    <a:cubicBezTo>
                      <a:pt x="16" y="81"/>
                      <a:pt x="8" y="73"/>
                      <a:pt x="8" y="64"/>
                    </a:cubicBezTo>
                    <a:cubicBezTo>
                      <a:pt x="8" y="58"/>
                      <a:pt x="11" y="52"/>
                      <a:pt x="16" y="49"/>
                    </a:cubicBezTo>
                    <a:cubicBezTo>
                      <a:pt x="22" y="46"/>
                      <a:pt x="22" y="45"/>
                      <a:pt x="20" y="40"/>
                    </a:cubicBezTo>
                    <a:cubicBezTo>
                      <a:pt x="20" y="39"/>
                      <a:pt x="19" y="38"/>
                      <a:pt x="19" y="37"/>
                    </a:cubicBezTo>
                    <a:cubicBezTo>
                      <a:pt x="19" y="32"/>
                      <a:pt x="24" y="27"/>
                      <a:pt x="29" y="27"/>
                    </a:cubicBezTo>
                    <a:cubicBezTo>
                      <a:pt x="29" y="27"/>
                      <a:pt x="31" y="27"/>
                      <a:pt x="34" y="28"/>
                    </a:cubicBezTo>
                    <a:cubicBezTo>
                      <a:pt x="39" y="30"/>
                      <a:pt x="39" y="28"/>
                      <a:pt x="41" y="24"/>
                    </a:cubicBezTo>
                    <a:cubicBezTo>
                      <a:pt x="46" y="14"/>
                      <a:pt x="55" y="8"/>
                      <a:pt x="65" y="8"/>
                    </a:cubicBezTo>
                    <a:cubicBezTo>
                      <a:pt x="79" y="8"/>
                      <a:pt x="91" y="18"/>
                      <a:pt x="92" y="32"/>
                    </a:cubicBezTo>
                    <a:cubicBezTo>
                      <a:pt x="92" y="38"/>
                      <a:pt x="92" y="38"/>
                      <a:pt x="98" y="39"/>
                    </a:cubicBezTo>
                    <a:cubicBezTo>
                      <a:pt x="108" y="41"/>
                      <a:pt x="115" y="50"/>
                      <a:pt x="115" y="60"/>
                    </a:cubicBezTo>
                    <a:cubicBezTo>
                      <a:pt x="115" y="71"/>
                      <a:pt x="106" y="81"/>
                      <a:pt x="94" y="81"/>
                    </a:cubicBezTo>
                    <a:close/>
                    <a:moveTo>
                      <a:pt x="94" y="81"/>
                    </a:moveTo>
                    <a:cubicBezTo>
                      <a:pt x="94" y="81"/>
                      <a:pt x="94" y="81"/>
                      <a:pt x="94" y="81"/>
                    </a:cubicBezTo>
                  </a:path>
                </a:pathLst>
              </a:custGeom>
              <a:solidFill>
                <a:schemeClr val="bg1"/>
              </a:solid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57" name="Freeform: Shape 117"/>
              <p:cNvSpPr/>
              <p:nvPr/>
            </p:nvSpPr>
            <p:spPr bwMode="auto">
              <a:xfrm>
                <a:off x="4308634" y="1957897"/>
                <a:ext cx="189096" cy="164106"/>
              </a:xfrm>
              <a:custGeom>
                <a:avLst/>
                <a:gdLst/>
                <a:ahLst/>
                <a:cxnLst>
                  <a:cxn ang="0">
                    <a:pos x="123" y="100"/>
                  </a:cxn>
                  <a:cxn ang="0">
                    <a:pos x="115" y="107"/>
                  </a:cxn>
                  <a:cxn ang="0">
                    <a:pos x="107" y="100"/>
                  </a:cxn>
                  <a:cxn ang="0">
                    <a:pos x="115" y="84"/>
                  </a:cxn>
                  <a:cxn ang="0">
                    <a:pos x="123" y="100"/>
                  </a:cxn>
                  <a:cxn ang="0">
                    <a:pos x="111" y="42"/>
                  </a:cxn>
                  <a:cxn ang="0">
                    <a:pos x="111" y="77"/>
                  </a:cxn>
                  <a:cxn ang="0">
                    <a:pos x="115" y="80"/>
                  </a:cxn>
                  <a:cxn ang="0">
                    <a:pos x="119" y="77"/>
                  </a:cxn>
                  <a:cxn ang="0">
                    <a:pos x="119" y="42"/>
                  </a:cxn>
                  <a:cxn ang="0">
                    <a:pos x="115" y="38"/>
                  </a:cxn>
                  <a:cxn ang="0">
                    <a:pos x="111" y="42"/>
                  </a:cxn>
                  <a:cxn ang="0">
                    <a:pos x="114" y="34"/>
                  </a:cxn>
                  <a:cxn ang="0">
                    <a:pos x="104" y="36"/>
                  </a:cxn>
                  <a:cxn ang="0">
                    <a:pos x="104" y="69"/>
                  </a:cxn>
                  <a:cxn ang="0">
                    <a:pos x="61" y="88"/>
                  </a:cxn>
                  <a:cxn ang="0">
                    <a:pos x="19" y="69"/>
                  </a:cxn>
                  <a:cxn ang="0">
                    <a:pos x="19" y="36"/>
                  </a:cxn>
                  <a:cxn ang="0">
                    <a:pos x="9" y="34"/>
                  </a:cxn>
                  <a:cxn ang="0">
                    <a:pos x="0" y="23"/>
                  </a:cxn>
                  <a:cxn ang="0">
                    <a:pos x="9" y="12"/>
                  </a:cxn>
                  <a:cxn ang="0">
                    <a:pos x="59" y="0"/>
                  </a:cxn>
                  <a:cxn ang="0">
                    <a:pos x="61" y="0"/>
                  </a:cxn>
                  <a:cxn ang="0">
                    <a:pos x="64" y="0"/>
                  </a:cxn>
                  <a:cxn ang="0">
                    <a:pos x="114" y="12"/>
                  </a:cxn>
                  <a:cxn ang="0">
                    <a:pos x="123" y="23"/>
                  </a:cxn>
                  <a:cxn ang="0">
                    <a:pos x="114" y="34"/>
                  </a:cxn>
                  <a:cxn ang="0">
                    <a:pos x="96" y="38"/>
                  </a:cxn>
                  <a:cxn ang="0">
                    <a:pos x="64" y="46"/>
                  </a:cxn>
                  <a:cxn ang="0">
                    <a:pos x="61" y="46"/>
                  </a:cxn>
                  <a:cxn ang="0">
                    <a:pos x="59" y="46"/>
                  </a:cxn>
                  <a:cxn ang="0">
                    <a:pos x="27" y="38"/>
                  </a:cxn>
                  <a:cxn ang="0">
                    <a:pos x="27" y="69"/>
                  </a:cxn>
                  <a:cxn ang="0">
                    <a:pos x="61" y="80"/>
                  </a:cxn>
                  <a:cxn ang="0">
                    <a:pos x="96" y="69"/>
                  </a:cxn>
                  <a:cxn ang="0">
                    <a:pos x="96" y="38"/>
                  </a:cxn>
                  <a:cxn ang="0">
                    <a:pos x="112" y="27"/>
                  </a:cxn>
                  <a:cxn ang="0">
                    <a:pos x="115" y="23"/>
                  </a:cxn>
                  <a:cxn ang="0">
                    <a:pos x="112" y="19"/>
                  </a:cxn>
                  <a:cxn ang="0">
                    <a:pos x="62" y="8"/>
                  </a:cxn>
                  <a:cxn ang="0">
                    <a:pos x="61" y="7"/>
                  </a:cxn>
                  <a:cxn ang="0">
                    <a:pos x="61" y="8"/>
                  </a:cxn>
                  <a:cxn ang="0">
                    <a:pos x="11" y="19"/>
                  </a:cxn>
                  <a:cxn ang="0">
                    <a:pos x="8" y="23"/>
                  </a:cxn>
                  <a:cxn ang="0">
                    <a:pos x="11" y="27"/>
                  </a:cxn>
                  <a:cxn ang="0">
                    <a:pos x="61" y="38"/>
                  </a:cxn>
                  <a:cxn ang="0">
                    <a:pos x="61" y="38"/>
                  </a:cxn>
                  <a:cxn ang="0">
                    <a:pos x="62" y="38"/>
                  </a:cxn>
                  <a:cxn ang="0">
                    <a:pos x="112" y="27"/>
                  </a:cxn>
                  <a:cxn ang="0">
                    <a:pos x="112" y="27"/>
                  </a:cxn>
                  <a:cxn ang="0">
                    <a:pos x="112" y="27"/>
                  </a:cxn>
                </a:cxnLst>
                <a:rect l="0" t="0" r="r" b="b"/>
                <a:pathLst>
                  <a:path w="123" h="107">
                    <a:moveTo>
                      <a:pt x="123" y="100"/>
                    </a:moveTo>
                    <a:cubicBezTo>
                      <a:pt x="123" y="104"/>
                      <a:pt x="119" y="107"/>
                      <a:pt x="115" y="107"/>
                    </a:cubicBezTo>
                    <a:cubicBezTo>
                      <a:pt x="111" y="107"/>
                      <a:pt x="107" y="104"/>
                      <a:pt x="107" y="100"/>
                    </a:cubicBezTo>
                    <a:cubicBezTo>
                      <a:pt x="107" y="95"/>
                      <a:pt x="111" y="84"/>
                      <a:pt x="115" y="84"/>
                    </a:cubicBezTo>
                    <a:cubicBezTo>
                      <a:pt x="119" y="84"/>
                      <a:pt x="123" y="95"/>
                      <a:pt x="123" y="100"/>
                    </a:cubicBezTo>
                    <a:close/>
                    <a:moveTo>
                      <a:pt x="111" y="42"/>
                    </a:moveTo>
                    <a:cubicBezTo>
                      <a:pt x="111" y="77"/>
                      <a:pt x="111" y="77"/>
                      <a:pt x="111" y="77"/>
                    </a:cubicBezTo>
                    <a:cubicBezTo>
                      <a:pt x="111" y="79"/>
                      <a:pt x="113" y="80"/>
                      <a:pt x="115" y="80"/>
                    </a:cubicBezTo>
                    <a:cubicBezTo>
                      <a:pt x="117" y="80"/>
                      <a:pt x="119" y="79"/>
                      <a:pt x="119" y="77"/>
                    </a:cubicBezTo>
                    <a:cubicBezTo>
                      <a:pt x="119" y="42"/>
                      <a:pt x="119" y="42"/>
                      <a:pt x="119" y="42"/>
                    </a:cubicBezTo>
                    <a:cubicBezTo>
                      <a:pt x="119" y="40"/>
                      <a:pt x="117" y="38"/>
                      <a:pt x="115" y="38"/>
                    </a:cubicBezTo>
                    <a:cubicBezTo>
                      <a:pt x="113" y="38"/>
                      <a:pt x="111" y="40"/>
                      <a:pt x="111" y="42"/>
                    </a:cubicBezTo>
                    <a:close/>
                    <a:moveTo>
                      <a:pt x="114" y="34"/>
                    </a:moveTo>
                    <a:cubicBezTo>
                      <a:pt x="104" y="36"/>
                      <a:pt x="104" y="36"/>
                      <a:pt x="104" y="36"/>
                    </a:cubicBezTo>
                    <a:cubicBezTo>
                      <a:pt x="104" y="69"/>
                      <a:pt x="104" y="69"/>
                      <a:pt x="104" y="69"/>
                    </a:cubicBezTo>
                    <a:cubicBezTo>
                      <a:pt x="104" y="79"/>
                      <a:pt x="92" y="88"/>
                      <a:pt x="61" y="88"/>
                    </a:cubicBezTo>
                    <a:cubicBezTo>
                      <a:pt x="31" y="88"/>
                      <a:pt x="19" y="79"/>
                      <a:pt x="19" y="69"/>
                    </a:cubicBezTo>
                    <a:cubicBezTo>
                      <a:pt x="19" y="36"/>
                      <a:pt x="19" y="36"/>
                      <a:pt x="19" y="36"/>
                    </a:cubicBezTo>
                    <a:cubicBezTo>
                      <a:pt x="9" y="34"/>
                      <a:pt x="9" y="34"/>
                      <a:pt x="9" y="34"/>
                    </a:cubicBezTo>
                    <a:cubicBezTo>
                      <a:pt x="4" y="33"/>
                      <a:pt x="0" y="28"/>
                      <a:pt x="0" y="23"/>
                    </a:cubicBezTo>
                    <a:cubicBezTo>
                      <a:pt x="0" y="17"/>
                      <a:pt x="4" y="13"/>
                      <a:pt x="9" y="12"/>
                    </a:cubicBezTo>
                    <a:cubicBezTo>
                      <a:pt x="59" y="0"/>
                      <a:pt x="59" y="0"/>
                      <a:pt x="59" y="0"/>
                    </a:cubicBezTo>
                    <a:cubicBezTo>
                      <a:pt x="60" y="0"/>
                      <a:pt x="61" y="0"/>
                      <a:pt x="61" y="0"/>
                    </a:cubicBezTo>
                    <a:cubicBezTo>
                      <a:pt x="62" y="0"/>
                      <a:pt x="63" y="0"/>
                      <a:pt x="64" y="0"/>
                    </a:cubicBezTo>
                    <a:cubicBezTo>
                      <a:pt x="114" y="12"/>
                      <a:pt x="114" y="12"/>
                      <a:pt x="114" y="12"/>
                    </a:cubicBezTo>
                    <a:cubicBezTo>
                      <a:pt x="119" y="13"/>
                      <a:pt x="123" y="17"/>
                      <a:pt x="123" y="23"/>
                    </a:cubicBezTo>
                    <a:cubicBezTo>
                      <a:pt x="123" y="28"/>
                      <a:pt x="119" y="33"/>
                      <a:pt x="114" y="34"/>
                    </a:cubicBezTo>
                    <a:close/>
                    <a:moveTo>
                      <a:pt x="96" y="38"/>
                    </a:moveTo>
                    <a:cubicBezTo>
                      <a:pt x="64" y="46"/>
                      <a:pt x="64" y="46"/>
                      <a:pt x="64" y="46"/>
                    </a:cubicBezTo>
                    <a:cubicBezTo>
                      <a:pt x="63" y="46"/>
                      <a:pt x="62" y="46"/>
                      <a:pt x="61" y="46"/>
                    </a:cubicBezTo>
                    <a:cubicBezTo>
                      <a:pt x="61" y="46"/>
                      <a:pt x="60" y="46"/>
                      <a:pt x="59" y="46"/>
                    </a:cubicBezTo>
                    <a:cubicBezTo>
                      <a:pt x="27" y="38"/>
                      <a:pt x="27" y="38"/>
                      <a:pt x="27" y="38"/>
                    </a:cubicBezTo>
                    <a:cubicBezTo>
                      <a:pt x="27" y="69"/>
                      <a:pt x="27" y="69"/>
                      <a:pt x="27" y="69"/>
                    </a:cubicBezTo>
                    <a:cubicBezTo>
                      <a:pt x="27" y="73"/>
                      <a:pt x="38" y="80"/>
                      <a:pt x="61" y="80"/>
                    </a:cubicBezTo>
                    <a:cubicBezTo>
                      <a:pt x="84" y="80"/>
                      <a:pt x="96" y="73"/>
                      <a:pt x="96" y="69"/>
                    </a:cubicBezTo>
                    <a:lnTo>
                      <a:pt x="96" y="38"/>
                    </a:lnTo>
                    <a:close/>
                    <a:moveTo>
                      <a:pt x="112" y="27"/>
                    </a:moveTo>
                    <a:cubicBezTo>
                      <a:pt x="114" y="26"/>
                      <a:pt x="115" y="25"/>
                      <a:pt x="115" y="23"/>
                    </a:cubicBezTo>
                    <a:cubicBezTo>
                      <a:pt x="115" y="21"/>
                      <a:pt x="114" y="19"/>
                      <a:pt x="112" y="19"/>
                    </a:cubicBezTo>
                    <a:cubicBezTo>
                      <a:pt x="62" y="8"/>
                      <a:pt x="62" y="8"/>
                      <a:pt x="62" y="8"/>
                    </a:cubicBezTo>
                    <a:cubicBezTo>
                      <a:pt x="61" y="7"/>
                      <a:pt x="61" y="7"/>
                      <a:pt x="61" y="7"/>
                    </a:cubicBezTo>
                    <a:cubicBezTo>
                      <a:pt x="61" y="8"/>
                      <a:pt x="61" y="8"/>
                      <a:pt x="61" y="8"/>
                    </a:cubicBezTo>
                    <a:cubicBezTo>
                      <a:pt x="11" y="19"/>
                      <a:pt x="11" y="19"/>
                      <a:pt x="11" y="19"/>
                    </a:cubicBezTo>
                    <a:cubicBezTo>
                      <a:pt x="9" y="19"/>
                      <a:pt x="8" y="21"/>
                      <a:pt x="8" y="23"/>
                    </a:cubicBezTo>
                    <a:cubicBezTo>
                      <a:pt x="8" y="25"/>
                      <a:pt x="9" y="26"/>
                      <a:pt x="11" y="27"/>
                    </a:cubicBezTo>
                    <a:cubicBezTo>
                      <a:pt x="61" y="38"/>
                      <a:pt x="61" y="38"/>
                      <a:pt x="61" y="38"/>
                    </a:cubicBezTo>
                    <a:cubicBezTo>
                      <a:pt x="61" y="38"/>
                      <a:pt x="61" y="38"/>
                      <a:pt x="61" y="38"/>
                    </a:cubicBezTo>
                    <a:cubicBezTo>
                      <a:pt x="62" y="38"/>
                      <a:pt x="62" y="38"/>
                      <a:pt x="62" y="38"/>
                    </a:cubicBezTo>
                    <a:lnTo>
                      <a:pt x="112" y="27"/>
                    </a:lnTo>
                    <a:close/>
                    <a:moveTo>
                      <a:pt x="112" y="27"/>
                    </a:moveTo>
                    <a:cubicBezTo>
                      <a:pt x="112" y="27"/>
                      <a:pt x="112" y="27"/>
                      <a:pt x="112" y="27"/>
                    </a:cubicBezTo>
                  </a:path>
                </a:pathLst>
              </a:custGeom>
              <a:solidFill>
                <a:schemeClr val="bg1"/>
              </a:solid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58" name="Freeform: Shape 118"/>
              <p:cNvSpPr/>
              <p:nvPr/>
            </p:nvSpPr>
            <p:spPr bwMode="auto">
              <a:xfrm>
                <a:off x="4361992" y="2352003"/>
                <a:ext cx="176600" cy="175768"/>
              </a:xfrm>
              <a:custGeom>
                <a:avLst/>
                <a:gdLst/>
                <a:ahLst/>
                <a:cxnLst>
                  <a:cxn ang="0">
                    <a:pos x="111" y="101"/>
                  </a:cxn>
                  <a:cxn ang="0">
                    <a:pos x="78" y="88"/>
                  </a:cxn>
                  <a:cxn ang="0">
                    <a:pos x="92" y="59"/>
                  </a:cxn>
                  <a:cxn ang="0">
                    <a:pos x="83" y="12"/>
                  </a:cxn>
                  <a:cxn ang="0">
                    <a:pos x="57" y="0"/>
                  </a:cxn>
                  <a:cxn ang="0">
                    <a:pos x="32" y="12"/>
                  </a:cxn>
                  <a:cxn ang="0">
                    <a:pos x="23" y="59"/>
                  </a:cxn>
                  <a:cxn ang="0">
                    <a:pos x="36" y="88"/>
                  </a:cxn>
                  <a:cxn ang="0">
                    <a:pos x="3" y="101"/>
                  </a:cxn>
                  <a:cxn ang="0">
                    <a:pos x="1" y="109"/>
                  </a:cxn>
                  <a:cxn ang="0">
                    <a:pos x="7" y="114"/>
                  </a:cxn>
                  <a:cxn ang="0">
                    <a:pos x="107" y="114"/>
                  </a:cxn>
                  <a:cxn ang="0">
                    <a:pos x="114" y="109"/>
                  </a:cxn>
                  <a:cxn ang="0">
                    <a:pos x="111" y="101"/>
                  </a:cxn>
                  <a:cxn ang="0">
                    <a:pos x="29" y="38"/>
                  </a:cxn>
                  <a:cxn ang="0">
                    <a:pos x="57" y="7"/>
                  </a:cxn>
                  <a:cxn ang="0">
                    <a:pos x="85" y="38"/>
                  </a:cxn>
                  <a:cxn ang="0">
                    <a:pos x="72" y="83"/>
                  </a:cxn>
                  <a:cxn ang="0">
                    <a:pos x="71" y="85"/>
                  </a:cxn>
                  <a:cxn ang="0">
                    <a:pos x="43" y="85"/>
                  </a:cxn>
                  <a:cxn ang="0">
                    <a:pos x="42" y="83"/>
                  </a:cxn>
                  <a:cxn ang="0">
                    <a:pos x="29" y="38"/>
                  </a:cxn>
                  <a:cxn ang="0">
                    <a:pos x="7" y="107"/>
                  </a:cxn>
                  <a:cxn ang="0">
                    <a:pos x="38" y="95"/>
                  </a:cxn>
                  <a:cxn ang="0">
                    <a:pos x="47" y="93"/>
                  </a:cxn>
                  <a:cxn ang="0">
                    <a:pos x="57" y="96"/>
                  </a:cxn>
                  <a:cxn ang="0">
                    <a:pos x="68" y="93"/>
                  </a:cxn>
                  <a:cxn ang="0">
                    <a:pos x="77" y="95"/>
                  </a:cxn>
                  <a:cxn ang="0">
                    <a:pos x="107" y="107"/>
                  </a:cxn>
                  <a:cxn ang="0">
                    <a:pos x="7" y="107"/>
                  </a:cxn>
                  <a:cxn ang="0">
                    <a:pos x="7" y="107"/>
                  </a:cxn>
                  <a:cxn ang="0">
                    <a:pos x="7" y="107"/>
                  </a:cxn>
                </a:cxnLst>
                <a:rect l="0" t="0" r="r" b="b"/>
                <a:pathLst>
                  <a:path w="115" h="114">
                    <a:moveTo>
                      <a:pt x="111" y="101"/>
                    </a:moveTo>
                    <a:cubicBezTo>
                      <a:pt x="110" y="101"/>
                      <a:pt x="97" y="92"/>
                      <a:pt x="78" y="88"/>
                    </a:cubicBezTo>
                    <a:cubicBezTo>
                      <a:pt x="85" y="79"/>
                      <a:pt x="90" y="67"/>
                      <a:pt x="92" y="59"/>
                    </a:cubicBezTo>
                    <a:cubicBezTo>
                      <a:pt x="94" y="48"/>
                      <a:pt x="93" y="26"/>
                      <a:pt x="83" y="12"/>
                    </a:cubicBezTo>
                    <a:cubicBezTo>
                      <a:pt x="76" y="4"/>
                      <a:pt x="68" y="0"/>
                      <a:pt x="57" y="0"/>
                    </a:cubicBezTo>
                    <a:cubicBezTo>
                      <a:pt x="47" y="0"/>
                      <a:pt x="38" y="4"/>
                      <a:pt x="32" y="12"/>
                    </a:cubicBezTo>
                    <a:cubicBezTo>
                      <a:pt x="21" y="26"/>
                      <a:pt x="20" y="48"/>
                      <a:pt x="23" y="59"/>
                    </a:cubicBezTo>
                    <a:cubicBezTo>
                      <a:pt x="25" y="67"/>
                      <a:pt x="29" y="79"/>
                      <a:pt x="36" y="88"/>
                    </a:cubicBezTo>
                    <a:cubicBezTo>
                      <a:pt x="17" y="92"/>
                      <a:pt x="4" y="101"/>
                      <a:pt x="3" y="101"/>
                    </a:cubicBezTo>
                    <a:cubicBezTo>
                      <a:pt x="1" y="103"/>
                      <a:pt x="0" y="106"/>
                      <a:pt x="1" y="109"/>
                    </a:cubicBezTo>
                    <a:cubicBezTo>
                      <a:pt x="1" y="112"/>
                      <a:pt x="4" y="114"/>
                      <a:pt x="7" y="114"/>
                    </a:cubicBezTo>
                    <a:cubicBezTo>
                      <a:pt x="107" y="114"/>
                      <a:pt x="107" y="114"/>
                      <a:pt x="107" y="114"/>
                    </a:cubicBezTo>
                    <a:cubicBezTo>
                      <a:pt x="110" y="114"/>
                      <a:pt x="113" y="112"/>
                      <a:pt x="114" y="109"/>
                    </a:cubicBezTo>
                    <a:cubicBezTo>
                      <a:pt x="115" y="106"/>
                      <a:pt x="114" y="103"/>
                      <a:pt x="111" y="101"/>
                    </a:cubicBezTo>
                    <a:close/>
                    <a:moveTo>
                      <a:pt x="29" y="38"/>
                    </a:moveTo>
                    <a:cubicBezTo>
                      <a:pt x="31" y="23"/>
                      <a:pt x="40" y="7"/>
                      <a:pt x="57" y="7"/>
                    </a:cubicBezTo>
                    <a:cubicBezTo>
                      <a:pt x="75" y="7"/>
                      <a:pt x="83" y="23"/>
                      <a:pt x="85" y="38"/>
                    </a:cubicBezTo>
                    <a:cubicBezTo>
                      <a:pt x="87" y="54"/>
                      <a:pt x="82" y="71"/>
                      <a:pt x="72" y="83"/>
                    </a:cubicBezTo>
                    <a:cubicBezTo>
                      <a:pt x="71" y="85"/>
                      <a:pt x="71" y="85"/>
                      <a:pt x="71" y="85"/>
                    </a:cubicBezTo>
                    <a:cubicBezTo>
                      <a:pt x="63" y="95"/>
                      <a:pt x="52" y="95"/>
                      <a:pt x="43" y="85"/>
                    </a:cubicBezTo>
                    <a:cubicBezTo>
                      <a:pt x="42" y="83"/>
                      <a:pt x="42" y="83"/>
                      <a:pt x="42" y="83"/>
                    </a:cubicBezTo>
                    <a:cubicBezTo>
                      <a:pt x="32" y="71"/>
                      <a:pt x="27" y="54"/>
                      <a:pt x="29" y="38"/>
                    </a:cubicBezTo>
                    <a:close/>
                    <a:moveTo>
                      <a:pt x="7" y="107"/>
                    </a:moveTo>
                    <a:cubicBezTo>
                      <a:pt x="8" y="107"/>
                      <a:pt x="20" y="99"/>
                      <a:pt x="38" y="95"/>
                    </a:cubicBezTo>
                    <a:cubicBezTo>
                      <a:pt x="47" y="93"/>
                      <a:pt x="47" y="93"/>
                      <a:pt x="47" y="93"/>
                    </a:cubicBezTo>
                    <a:cubicBezTo>
                      <a:pt x="50" y="95"/>
                      <a:pt x="53" y="96"/>
                      <a:pt x="57" y="96"/>
                    </a:cubicBezTo>
                    <a:cubicBezTo>
                      <a:pt x="61" y="96"/>
                      <a:pt x="65" y="95"/>
                      <a:pt x="68" y="93"/>
                    </a:cubicBezTo>
                    <a:cubicBezTo>
                      <a:pt x="77" y="95"/>
                      <a:pt x="77" y="95"/>
                      <a:pt x="77" y="95"/>
                    </a:cubicBezTo>
                    <a:cubicBezTo>
                      <a:pt x="94" y="99"/>
                      <a:pt x="107" y="106"/>
                      <a:pt x="107" y="107"/>
                    </a:cubicBezTo>
                    <a:lnTo>
                      <a:pt x="7" y="107"/>
                    </a:lnTo>
                    <a:close/>
                    <a:moveTo>
                      <a:pt x="7" y="107"/>
                    </a:moveTo>
                    <a:cubicBezTo>
                      <a:pt x="7" y="107"/>
                      <a:pt x="7" y="107"/>
                      <a:pt x="7" y="107"/>
                    </a:cubicBezTo>
                  </a:path>
                </a:pathLst>
              </a:custGeom>
              <a:solidFill>
                <a:schemeClr val="bg1"/>
              </a:solid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59" name="Freeform: Shape 119"/>
              <p:cNvSpPr/>
              <p:nvPr/>
            </p:nvSpPr>
            <p:spPr bwMode="auto">
              <a:xfrm>
                <a:off x="4099175" y="2700700"/>
                <a:ext cx="189928" cy="181598"/>
              </a:xfrm>
              <a:custGeom>
                <a:avLst/>
                <a:gdLst/>
                <a:ahLst/>
                <a:cxnLst>
                  <a:cxn ang="0">
                    <a:pos x="122" y="44"/>
                  </a:cxn>
                  <a:cxn ang="0">
                    <a:pos x="115" y="38"/>
                  </a:cxn>
                  <a:cxn ang="0">
                    <a:pos x="83" y="33"/>
                  </a:cxn>
                  <a:cxn ang="0">
                    <a:pos x="70" y="5"/>
                  </a:cxn>
                  <a:cxn ang="0">
                    <a:pos x="62" y="0"/>
                  </a:cxn>
                  <a:cxn ang="0">
                    <a:pos x="54" y="5"/>
                  </a:cxn>
                  <a:cxn ang="0">
                    <a:pos x="40" y="33"/>
                  </a:cxn>
                  <a:cxn ang="0">
                    <a:pos x="8" y="38"/>
                  </a:cxn>
                  <a:cxn ang="0">
                    <a:pos x="1" y="44"/>
                  </a:cxn>
                  <a:cxn ang="0">
                    <a:pos x="3" y="53"/>
                  </a:cxn>
                  <a:cxn ang="0">
                    <a:pos x="26" y="76"/>
                  </a:cxn>
                  <a:cxn ang="0">
                    <a:pos x="21" y="108"/>
                  </a:cxn>
                  <a:cxn ang="0">
                    <a:pos x="24" y="117"/>
                  </a:cxn>
                  <a:cxn ang="0">
                    <a:pos x="29" y="118"/>
                  </a:cxn>
                  <a:cxn ang="0">
                    <a:pos x="34" y="117"/>
                  </a:cxn>
                  <a:cxn ang="0">
                    <a:pos x="62" y="102"/>
                  </a:cxn>
                  <a:cxn ang="0">
                    <a:pos x="89" y="117"/>
                  </a:cxn>
                  <a:cxn ang="0">
                    <a:pos x="94" y="118"/>
                  </a:cxn>
                  <a:cxn ang="0">
                    <a:pos x="99" y="117"/>
                  </a:cxn>
                  <a:cxn ang="0">
                    <a:pos x="102" y="108"/>
                  </a:cxn>
                  <a:cxn ang="0">
                    <a:pos x="97" y="76"/>
                  </a:cxn>
                  <a:cxn ang="0">
                    <a:pos x="120" y="53"/>
                  </a:cxn>
                  <a:cxn ang="0">
                    <a:pos x="122" y="44"/>
                  </a:cxn>
                  <a:cxn ang="0">
                    <a:pos x="91" y="70"/>
                  </a:cxn>
                  <a:cxn ang="0">
                    <a:pos x="88" y="77"/>
                  </a:cxn>
                  <a:cxn ang="0">
                    <a:pos x="94" y="110"/>
                  </a:cxn>
                  <a:cxn ang="0">
                    <a:pos x="66" y="95"/>
                  </a:cxn>
                  <a:cxn ang="0">
                    <a:pos x="62" y="94"/>
                  </a:cxn>
                  <a:cxn ang="0">
                    <a:pos x="57" y="95"/>
                  </a:cxn>
                  <a:cxn ang="0">
                    <a:pos x="29" y="110"/>
                  </a:cxn>
                  <a:cxn ang="0">
                    <a:pos x="35" y="77"/>
                  </a:cxn>
                  <a:cxn ang="0">
                    <a:pos x="32" y="70"/>
                  </a:cxn>
                  <a:cxn ang="0">
                    <a:pos x="9" y="47"/>
                  </a:cxn>
                  <a:cxn ang="0">
                    <a:pos x="41" y="42"/>
                  </a:cxn>
                  <a:cxn ang="0">
                    <a:pos x="48" y="37"/>
                  </a:cxn>
                  <a:cxn ang="0">
                    <a:pos x="62" y="8"/>
                  </a:cxn>
                  <a:cxn ang="0">
                    <a:pos x="75" y="37"/>
                  </a:cxn>
                  <a:cxn ang="0">
                    <a:pos x="82" y="42"/>
                  </a:cxn>
                  <a:cxn ang="0">
                    <a:pos x="114" y="47"/>
                  </a:cxn>
                  <a:cxn ang="0">
                    <a:pos x="91" y="70"/>
                  </a:cxn>
                  <a:cxn ang="0">
                    <a:pos x="91" y="70"/>
                  </a:cxn>
                  <a:cxn ang="0">
                    <a:pos x="91" y="70"/>
                  </a:cxn>
                </a:cxnLst>
                <a:rect l="0" t="0" r="r" b="b"/>
                <a:pathLst>
                  <a:path w="124" h="118">
                    <a:moveTo>
                      <a:pt x="122" y="44"/>
                    </a:moveTo>
                    <a:cubicBezTo>
                      <a:pt x="121" y="41"/>
                      <a:pt x="119" y="39"/>
                      <a:pt x="115" y="38"/>
                    </a:cubicBezTo>
                    <a:cubicBezTo>
                      <a:pt x="83" y="33"/>
                      <a:pt x="83" y="33"/>
                      <a:pt x="83" y="33"/>
                    </a:cubicBezTo>
                    <a:cubicBezTo>
                      <a:pt x="70" y="5"/>
                      <a:pt x="70" y="5"/>
                      <a:pt x="70" y="5"/>
                    </a:cubicBezTo>
                    <a:cubicBezTo>
                      <a:pt x="68" y="1"/>
                      <a:pt x="65" y="0"/>
                      <a:pt x="62" y="0"/>
                    </a:cubicBezTo>
                    <a:cubicBezTo>
                      <a:pt x="58" y="0"/>
                      <a:pt x="55" y="1"/>
                      <a:pt x="54" y="5"/>
                    </a:cubicBezTo>
                    <a:cubicBezTo>
                      <a:pt x="40" y="33"/>
                      <a:pt x="40" y="33"/>
                      <a:pt x="40" y="33"/>
                    </a:cubicBezTo>
                    <a:cubicBezTo>
                      <a:pt x="8" y="38"/>
                      <a:pt x="8" y="38"/>
                      <a:pt x="8" y="38"/>
                    </a:cubicBezTo>
                    <a:cubicBezTo>
                      <a:pt x="4" y="39"/>
                      <a:pt x="2" y="41"/>
                      <a:pt x="1" y="44"/>
                    </a:cubicBezTo>
                    <a:cubicBezTo>
                      <a:pt x="0" y="47"/>
                      <a:pt x="0" y="50"/>
                      <a:pt x="3" y="53"/>
                    </a:cubicBezTo>
                    <a:cubicBezTo>
                      <a:pt x="26" y="76"/>
                      <a:pt x="26" y="76"/>
                      <a:pt x="26" y="76"/>
                    </a:cubicBezTo>
                    <a:cubicBezTo>
                      <a:pt x="21" y="108"/>
                      <a:pt x="21" y="108"/>
                      <a:pt x="21" y="108"/>
                    </a:cubicBezTo>
                    <a:cubicBezTo>
                      <a:pt x="20" y="112"/>
                      <a:pt x="22" y="115"/>
                      <a:pt x="24" y="117"/>
                    </a:cubicBezTo>
                    <a:cubicBezTo>
                      <a:pt x="26" y="118"/>
                      <a:pt x="28" y="118"/>
                      <a:pt x="29" y="118"/>
                    </a:cubicBezTo>
                    <a:cubicBezTo>
                      <a:pt x="31" y="118"/>
                      <a:pt x="32" y="118"/>
                      <a:pt x="34" y="117"/>
                    </a:cubicBezTo>
                    <a:cubicBezTo>
                      <a:pt x="62" y="102"/>
                      <a:pt x="62" y="102"/>
                      <a:pt x="62" y="102"/>
                    </a:cubicBezTo>
                    <a:cubicBezTo>
                      <a:pt x="89" y="117"/>
                      <a:pt x="89" y="117"/>
                      <a:pt x="89" y="117"/>
                    </a:cubicBezTo>
                    <a:cubicBezTo>
                      <a:pt x="91" y="118"/>
                      <a:pt x="92" y="118"/>
                      <a:pt x="94" y="118"/>
                    </a:cubicBezTo>
                    <a:cubicBezTo>
                      <a:pt x="96" y="118"/>
                      <a:pt x="97" y="118"/>
                      <a:pt x="99" y="117"/>
                    </a:cubicBezTo>
                    <a:cubicBezTo>
                      <a:pt x="102" y="115"/>
                      <a:pt x="103" y="112"/>
                      <a:pt x="102" y="108"/>
                    </a:cubicBezTo>
                    <a:cubicBezTo>
                      <a:pt x="97" y="76"/>
                      <a:pt x="97" y="76"/>
                      <a:pt x="97" y="76"/>
                    </a:cubicBezTo>
                    <a:cubicBezTo>
                      <a:pt x="120" y="53"/>
                      <a:pt x="120" y="53"/>
                      <a:pt x="120" y="53"/>
                    </a:cubicBezTo>
                    <a:cubicBezTo>
                      <a:pt x="123" y="50"/>
                      <a:pt x="124" y="47"/>
                      <a:pt x="122" y="44"/>
                    </a:cubicBezTo>
                    <a:close/>
                    <a:moveTo>
                      <a:pt x="91" y="70"/>
                    </a:moveTo>
                    <a:cubicBezTo>
                      <a:pt x="89" y="72"/>
                      <a:pt x="88" y="75"/>
                      <a:pt x="88" y="77"/>
                    </a:cubicBezTo>
                    <a:cubicBezTo>
                      <a:pt x="94" y="110"/>
                      <a:pt x="94" y="110"/>
                      <a:pt x="94" y="110"/>
                    </a:cubicBezTo>
                    <a:cubicBezTo>
                      <a:pt x="66" y="95"/>
                      <a:pt x="66" y="95"/>
                      <a:pt x="66" y="95"/>
                    </a:cubicBezTo>
                    <a:cubicBezTo>
                      <a:pt x="65" y="94"/>
                      <a:pt x="63" y="94"/>
                      <a:pt x="62" y="94"/>
                    </a:cubicBezTo>
                    <a:cubicBezTo>
                      <a:pt x="60" y="94"/>
                      <a:pt x="59" y="94"/>
                      <a:pt x="57" y="95"/>
                    </a:cubicBezTo>
                    <a:cubicBezTo>
                      <a:pt x="29" y="110"/>
                      <a:pt x="29" y="110"/>
                      <a:pt x="29" y="110"/>
                    </a:cubicBezTo>
                    <a:cubicBezTo>
                      <a:pt x="35" y="77"/>
                      <a:pt x="35" y="77"/>
                      <a:pt x="35" y="77"/>
                    </a:cubicBezTo>
                    <a:cubicBezTo>
                      <a:pt x="35" y="75"/>
                      <a:pt x="34" y="72"/>
                      <a:pt x="32" y="70"/>
                    </a:cubicBezTo>
                    <a:cubicBezTo>
                      <a:pt x="9" y="47"/>
                      <a:pt x="9" y="47"/>
                      <a:pt x="9" y="47"/>
                    </a:cubicBezTo>
                    <a:cubicBezTo>
                      <a:pt x="41" y="42"/>
                      <a:pt x="41" y="42"/>
                      <a:pt x="41" y="42"/>
                    </a:cubicBezTo>
                    <a:cubicBezTo>
                      <a:pt x="44" y="41"/>
                      <a:pt x="46" y="40"/>
                      <a:pt x="48" y="37"/>
                    </a:cubicBezTo>
                    <a:cubicBezTo>
                      <a:pt x="62" y="8"/>
                      <a:pt x="62" y="8"/>
                      <a:pt x="62" y="8"/>
                    </a:cubicBezTo>
                    <a:cubicBezTo>
                      <a:pt x="75" y="37"/>
                      <a:pt x="75" y="37"/>
                      <a:pt x="75" y="37"/>
                    </a:cubicBezTo>
                    <a:cubicBezTo>
                      <a:pt x="77" y="40"/>
                      <a:pt x="79" y="41"/>
                      <a:pt x="82" y="42"/>
                    </a:cubicBezTo>
                    <a:cubicBezTo>
                      <a:pt x="114" y="47"/>
                      <a:pt x="114" y="47"/>
                      <a:pt x="114" y="47"/>
                    </a:cubicBezTo>
                    <a:lnTo>
                      <a:pt x="91" y="70"/>
                    </a:lnTo>
                    <a:close/>
                    <a:moveTo>
                      <a:pt x="91" y="70"/>
                    </a:moveTo>
                    <a:cubicBezTo>
                      <a:pt x="91" y="70"/>
                      <a:pt x="91" y="70"/>
                      <a:pt x="91" y="70"/>
                    </a:cubicBezTo>
                  </a:path>
                </a:pathLst>
              </a:custGeom>
              <a:solidFill>
                <a:schemeClr val="bg1"/>
              </a:solid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nvGrpSpPr>
              <p:cNvPr id="60" name="Group 120"/>
              <p:cNvGrpSpPr/>
              <p:nvPr/>
            </p:nvGrpSpPr>
            <p:grpSpPr>
              <a:xfrm>
                <a:off x="3683532" y="2781458"/>
                <a:ext cx="189096" cy="164108"/>
                <a:chOff x="8783638" y="1235076"/>
                <a:chExt cx="360363" cy="312738"/>
              </a:xfrm>
              <a:solidFill>
                <a:schemeClr val="bg1"/>
              </a:solidFill>
            </p:grpSpPr>
            <p:sp>
              <p:nvSpPr>
                <p:cNvPr id="75" name="Freeform: Shape 121"/>
                <p:cNvSpPr/>
                <p:nvPr/>
              </p:nvSpPr>
              <p:spPr bwMode="auto">
                <a:xfrm>
                  <a:off x="8842375" y="1290638"/>
                  <a:ext cx="128588" cy="84138"/>
                </a:xfrm>
                <a:custGeom>
                  <a:avLst/>
                  <a:gdLst/>
                  <a:ahLst/>
                  <a:cxnLst>
                    <a:cxn ang="0">
                      <a:pos x="42" y="0"/>
                    </a:cxn>
                    <a:cxn ang="0">
                      <a:pos x="0" y="27"/>
                    </a:cxn>
                    <a:cxn ang="0">
                      <a:pos x="1" y="29"/>
                    </a:cxn>
                    <a:cxn ang="0">
                      <a:pos x="3" y="27"/>
                    </a:cxn>
                    <a:cxn ang="0">
                      <a:pos x="42" y="4"/>
                    </a:cxn>
                    <a:cxn ang="0">
                      <a:pos x="44" y="2"/>
                    </a:cxn>
                    <a:cxn ang="0">
                      <a:pos x="42" y="0"/>
                    </a:cxn>
                    <a:cxn ang="0">
                      <a:pos x="42" y="0"/>
                    </a:cxn>
                    <a:cxn ang="0">
                      <a:pos x="42" y="0"/>
                    </a:cxn>
                  </a:cxnLst>
                  <a:rect l="0" t="0" r="r" b="b"/>
                  <a:pathLst>
                    <a:path w="44" h="29">
                      <a:moveTo>
                        <a:pt x="42" y="0"/>
                      </a:moveTo>
                      <a:cubicBezTo>
                        <a:pt x="19" y="0"/>
                        <a:pt x="0" y="12"/>
                        <a:pt x="0" y="27"/>
                      </a:cubicBezTo>
                      <a:cubicBezTo>
                        <a:pt x="0" y="28"/>
                        <a:pt x="0" y="29"/>
                        <a:pt x="1" y="29"/>
                      </a:cubicBezTo>
                      <a:cubicBezTo>
                        <a:pt x="3" y="29"/>
                        <a:pt x="3" y="28"/>
                        <a:pt x="3" y="27"/>
                      </a:cubicBezTo>
                      <a:cubicBezTo>
                        <a:pt x="3" y="15"/>
                        <a:pt x="21" y="4"/>
                        <a:pt x="42" y="4"/>
                      </a:cubicBezTo>
                      <a:cubicBezTo>
                        <a:pt x="43" y="4"/>
                        <a:pt x="44" y="3"/>
                        <a:pt x="44" y="2"/>
                      </a:cubicBezTo>
                      <a:cubicBezTo>
                        <a:pt x="44" y="1"/>
                        <a:pt x="43" y="0"/>
                        <a:pt x="42" y="0"/>
                      </a:cubicBezTo>
                      <a:close/>
                      <a:moveTo>
                        <a:pt x="42" y="0"/>
                      </a:moveTo>
                      <a:cubicBezTo>
                        <a:pt x="42" y="0"/>
                        <a:pt x="42" y="0"/>
                        <a:pt x="42"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76" name="Freeform: Shape 122"/>
                <p:cNvSpPr/>
                <p:nvPr/>
              </p:nvSpPr>
              <p:spPr bwMode="auto">
                <a:xfrm>
                  <a:off x="8783638" y="1235076"/>
                  <a:ext cx="360363" cy="312738"/>
                </a:xfrm>
                <a:custGeom>
                  <a:avLst/>
                  <a:gdLst/>
                  <a:ahLst/>
                  <a:cxnLst>
                    <a:cxn ang="0">
                      <a:pos x="62" y="0"/>
                    </a:cxn>
                    <a:cxn ang="0">
                      <a:pos x="0" y="46"/>
                    </a:cxn>
                    <a:cxn ang="0">
                      <a:pos x="27" y="84"/>
                    </a:cxn>
                    <a:cxn ang="0">
                      <a:pos x="27" y="84"/>
                    </a:cxn>
                    <a:cxn ang="0">
                      <a:pos x="20" y="102"/>
                    </a:cxn>
                    <a:cxn ang="0">
                      <a:pos x="20" y="104"/>
                    </a:cxn>
                    <a:cxn ang="0">
                      <a:pos x="23" y="107"/>
                    </a:cxn>
                    <a:cxn ang="0">
                      <a:pos x="24" y="107"/>
                    </a:cxn>
                    <a:cxn ang="0">
                      <a:pos x="50" y="91"/>
                    </a:cxn>
                    <a:cxn ang="0">
                      <a:pos x="62" y="92"/>
                    </a:cxn>
                    <a:cxn ang="0">
                      <a:pos x="123" y="46"/>
                    </a:cxn>
                    <a:cxn ang="0">
                      <a:pos x="62" y="0"/>
                    </a:cxn>
                    <a:cxn ang="0">
                      <a:pos x="62" y="84"/>
                    </a:cxn>
                    <a:cxn ang="0">
                      <a:pos x="51" y="83"/>
                    </a:cxn>
                    <a:cxn ang="0">
                      <a:pos x="50" y="83"/>
                    </a:cxn>
                    <a:cxn ang="0">
                      <a:pos x="44" y="86"/>
                    </a:cxn>
                    <a:cxn ang="0">
                      <a:pos x="32" y="96"/>
                    </a:cxn>
                    <a:cxn ang="0">
                      <a:pos x="35" y="85"/>
                    </a:cxn>
                    <a:cxn ang="0">
                      <a:pos x="35" y="84"/>
                    </a:cxn>
                    <a:cxn ang="0">
                      <a:pos x="31" y="77"/>
                    </a:cxn>
                    <a:cxn ang="0">
                      <a:pos x="8" y="46"/>
                    </a:cxn>
                    <a:cxn ang="0">
                      <a:pos x="62" y="7"/>
                    </a:cxn>
                    <a:cxn ang="0">
                      <a:pos x="115" y="46"/>
                    </a:cxn>
                    <a:cxn ang="0">
                      <a:pos x="62" y="84"/>
                    </a:cxn>
                    <a:cxn ang="0">
                      <a:pos x="62" y="84"/>
                    </a:cxn>
                    <a:cxn ang="0">
                      <a:pos x="62" y="84"/>
                    </a:cxn>
                  </a:cxnLst>
                  <a:rect l="0" t="0" r="r" b="b"/>
                  <a:pathLst>
                    <a:path w="123" h="107">
                      <a:moveTo>
                        <a:pt x="62" y="0"/>
                      </a:moveTo>
                      <a:cubicBezTo>
                        <a:pt x="28" y="0"/>
                        <a:pt x="0" y="20"/>
                        <a:pt x="0" y="46"/>
                      </a:cubicBezTo>
                      <a:cubicBezTo>
                        <a:pt x="0" y="62"/>
                        <a:pt x="11" y="76"/>
                        <a:pt x="27" y="84"/>
                      </a:cubicBezTo>
                      <a:cubicBezTo>
                        <a:pt x="27" y="84"/>
                        <a:pt x="27" y="84"/>
                        <a:pt x="27" y="84"/>
                      </a:cubicBezTo>
                      <a:cubicBezTo>
                        <a:pt x="27" y="91"/>
                        <a:pt x="22" y="98"/>
                        <a:pt x="20" y="102"/>
                      </a:cubicBezTo>
                      <a:cubicBezTo>
                        <a:pt x="20" y="103"/>
                        <a:pt x="20" y="103"/>
                        <a:pt x="20" y="104"/>
                      </a:cubicBezTo>
                      <a:cubicBezTo>
                        <a:pt x="20" y="106"/>
                        <a:pt x="21" y="107"/>
                        <a:pt x="23" y="107"/>
                      </a:cubicBezTo>
                      <a:cubicBezTo>
                        <a:pt x="23" y="107"/>
                        <a:pt x="24" y="107"/>
                        <a:pt x="24" y="107"/>
                      </a:cubicBezTo>
                      <a:cubicBezTo>
                        <a:pt x="36" y="105"/>
                        <a:pt x="47" y="94"/>
                        <a:pt x="50" y="91"/>
                      </a:cubicBezTo>
                      <a:cubicBezTo>
                        <a:pt x="54" y="92"/>
                        <a:pt x="58" y="92"/>
                        <a:pt x="62" y="92"/>
                      </a:cubicBezTo>
                      <a:cubicBezTo>
                        <a:pt x="96" y="92"/>
                        <a:pt x="123" y="71"/>
                        <a:pt x="123" y="46"/>
                      </a:cubicBezTo>
                      <a:cubicBezTo>
                        <a:pt x="123" y="20"/>
                        <a:pt x="96" y="0"/>
                        <a:pt x="62" y="0"/>
                      </a:cubicBezTo>
                      <a:close/>
                      <a:moveTo>
                        <a:pt x="62" y="84"/>
                      </a:moveTo>
                      <a:cubicBezTo>
                        <a:pt x="58" y="84"/>
                        <a:pt x="55" y="84"/>
                        <a:pt x="51" y="83"/>
                      </a:cubicBezTo>
                      <a:cubicBezTo>
                        <a:pt x="51" y="83"/>
                        <a:pt x="50" y="83"/>
                        <a:pt x="50" y="83"/>
                      </a:cubicBezTo>
                      <a:cubicBezTo>
                        <a:pt x="48" y="83"/>
                        <a:pt x="45" y="84"/>
                        <a:pt x="44" y="86"/>
                      </a:cubicBezTo>
                      <a:cubicBezTo>
                        <a:pt x="42" y="88"/>
                        <a:pt x="38" y="93"/>
                        <a:pt x="32" y="96"/>
                      </a:cubicBezTo>
                      <a:cubicBezTo>
                        <a:pt x="34" y="92"/>
                        <a:pt x="35" y="89"/>
                        <a:pt x="35" y="85"/>
                      </a:cubicBezTo>
                      <a:cubicBezTo>
                        <a:pt x="35" y="84"/>
                        <a:pt x="35" y="84"/>
                        <a:pt x="35" y="84"/>
                      </a:cubicBezTo>
                      <a:cubicBezTo>
                        <a:pt x="35" y="81"/>
                        <a:pt x="33" y="78"/>
                        <a:pt x="31" y="77"/>
                      </a:cubicBezTo>
                      <a:cubicBezTo>
                        <a:pt x="17" y="70"/>
                        <a:pt x="8" y="58"/>
                        <a:pt x="8" y="46"/>
                      </a:cubicBezTo>
                      <a:cubicBezTo>
                        <a:pt x="8" y="25"/>
                        <a:pt x="32" y="7"/>
                        <a:pt x="62" y="7"/>
                      </a:cubicBezTo>
                      <a:cubicBezTo>
                        <a:pt x="91" y="7"/>
                        <a:pt x="115" y="25"/>
                        <a:pt x="115" y="46"/>
                      </a:cubicBezTo>
                      <a:cubicBezTo>
                        <a:pt x="115" y="67"/>
                        <a:pt x="91" y="84"/>
                        <a:pt x="62" y="84"/>
                      </a:cubicBezTo>
                      <a:close/>
                      <a:moveTo>
                        <a:pt x="62" y="84"/>
                      </a:moveTo>
                      <a:cubicBezTo>
                        <a:pt x="62" y="84"/>
                        <a:pt x="62" y="84"/>
                        <a:pt x="62" y="8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grpSp>
            <p:nvGrpSpPr>
              <p:cNvPr id="61" name="Group 123"/>
              <p:cNvGrpSpPr/>
              <p:nvPr/>
            </p:nvGrpSpPr>
            <p:grpSpPr>
              <a:xfrm>
                <a:off x="3373614" y="2508384"/>
                <a:ext cx="186596" cy="189096"/>
                <a:chOff x="3036888" y="1211263"/>
                <a:chExt cx="355600" cy="360363"/>
              </a:xfrm>
              <a:solidFill>
                <a:schemeClr val="bg1"/>
              </a:solidFill>
            </p:grpSpPr>
            <p:sp>
              <p:nvSpPr>
                <p:cNvPr id="62" name="Freeform: Shape 124"/>
                <p:cNvSpPr/>
                <p:nvPr/>
              </p:nvSpPr>
              <p:spPr bwMode="auto">
                <a:xfrm>
                  <a:off x="3036888" y="1211263"/>
                  <a:ext cx="355600" cy="360363"/>
                </a:xfrm>
                <a:custGeom>
                  <a:avLst/>
                  <a:gdLst/>
                  <a:ahLst/>
                  <a:cxnLst>
                    <a:cxn ang="0">
                      <a:pos x="111" y="0"/>
                    </a:cxn>
                    <a:cxn ang="0">
                      <a:pos x="27" y="0"/>
                    </a:cxn>
                    <a:cxn ang="0">
                      <a:pos x="15" y="12"/>
                    </a:cxn>
                    <a:cxn ang="0">
                      <a:pos x="15" y="19"/>
                    </a:cxn>
                    <a:cxn ang="0">
                      <a:pos x="11" y="19"/>
                    </a:cxn>
                    <a:cxn ang="0">
                      <a:pos x="0" y="31"/>
                    </a:cxn>
                    <a:cxn ang="0">
                      <a:pos x="0" y="107"/>
                    </a:cxn>
                    <a:cxn ang="0">
                      <a:pos x="15" y="123"/>
                    </a:cxn>
                    <a:cxn ang="0">
                      <a:pos x="107" y="123"/>
                    </a:cxn>
                    <a:cxn ang="0">
                      <a:pos x="122" y="107"/>
                    </a:cxn>
                    <a:cxn ang="0">
                      <a:pos x="122" y="12"/>
                    </a:cxn>
                    <a:cxn ang="0">
                      <a:pos x="111" y="0"/>
                    </a:cxn>
                    <a:cxn ang="0">
                      <a:pos x="115" y="107"/>
                    </a:cxn>
                    <a:cxn ang="0">
                      <a:pos x="107" y="115"/>
                    </a:cxn>
                    <a:cxn ang="0">
                      <a:pos x="15" y="115"/>
                    </a:cxn>
                    <a:cxn ang="0">
                      <a:pos x="7" y="107"/>
                    </a:cxn>
                    <a:cxn ang="0">
                      <a:pos x="7" y="31"/>
                    </a:cxn>
                    <a:cxn ang="0">
                      <a:pos x="11" y="27"/>
                    </a:cxn>
                    <a:cxn ang="0">
                      <a:pos x="15" y="27"/>
                    </a:cxn>
                    <a:cxn ang="0">
                      <a:pos x="15" y="104"/>
                    </a:cxn>
                    <a:cxn ang="0">
                      <a:pos x="19" y="107"/>
                    </a:cxn>
                    <a:cxn ang="0">
                      <a:pos x="23" y="104"/>
                    </a:cxn>
                    <a:cxn ang="0">
                      <a:pos x="23" y="12"/>
                    </a:cxn>
                    <a:cxn ang="0">
                      <a:pos x="27" y="8"/>
                    </a:cxn>
                    <a:cxn ang="0">
                      <a:pos x="111" y="8"/>
                    </a:cxn>
                    <a:cxn ang="0">
                      <a:pos x="115" y="12"/>
                    </a:cxn>
                    <a:cxn ang="0">
                      <a:pos x="115" y="107"/>
                    </a:cxn>
                    <a:cxn ang="0">
                      <a:pos x="115" y="107"/>
                    </a:cxn>
                    <a:cxn ang="0">
                      <a:pos x="115" y="107"/>
                    </a:cxn>
                  </a:cxnLst>
                  <a:rect l="0" t="0" r="r" b="b"/>
                  <a:pathLst>
                    <a:path w="122" h="123">
                      <a:moveTo>
                        <a:pt x="111" y="0"/>
                      </a:moveTo>
                      <a:cubicBezTo>
                        <a:pt x="27" y="0"/>
                        <a:pt x="27" y="0"/>
                        <a:pt x="27" y="0"/>
                      </a:cubicBezTo>
                      <a:cubicBezTo>
                        <a:pt x="20" y="0"/>
                        <a:pt x="15" y="5"/>
                        <a:pt x="15" y="12"/>
                      </a:cubicBezTo>
                      <a:cubicBezTo>
                        <a:pt x="15" y="19"/>
                        <a:pt x="15" y="19"/>
                        <a:pt x="15" y="19"/>
                      </a:cubicBezTo>
                      <a:cubicBezTo>
                        <a:pt x="11" y="19"/>
                        <a:pt x="11" y="19"/>
                        <a:pt x="11" y="19"/>
                      </a:cubicBezTo>
                      <a:cubicBezTo>
                        <a:pt x="5" y="19"/>
                        <a:pt x="0" y="24"/>
                        <a:pt x="0" y="31"/>
                      </a:cubicBezTo>
                      <a:cubicBezTo>
                        <a:pt x="0" y="107"/>
                        <a:pt x="0" y="107"/>
                        <a:pt x="0" y="107"/>
                      </a:cubicBezTo>
                      <a:cubicBezTo>
                        <a:pt x="0" y="116"/>
                        <a:pt x="7" y="123"/>
                        <a:pt x="15" y="123"/>
                      </a:cubicBezTo>
                      <a:cubicBezTo>
                        <a:pt x="107" y="123"/>
                        <a:pt x="107" y="123"/>
                        <a:pt x="107" y="123"/>
                      </a:cubicBezTo>
                      <a:cubicBezTo>
                        <a:pt x="116" y="123"/>
                        <a:pt x="122" y="116"/>
                        <a:pt x="122" y="107"/>
                      </a:cubicBezTo>
                      <a:cubicBezTo>
                        <a:pt x="122" y="12"/>
                        <a:pt x="122" y="12"/>
                        <a:pt x="122" y="12"/>
                      </a:cubicBezTo>
                      <a:cubicBezTo>
                        <a:pt x="122" y="5"/>
                        <a:pt x="117" y="0"/>
                        <a:pt x="111" y="0"/>
                      </a:cubicBezTo>
                      <a:close/>
                      <a:moveTo>
                        <a:pt x="115" y="107"/>
                      </a:moveTo>
                      <a:cubicBezTo>
                        <a:pt x="115" y="112"/>
                        <a:pt x="111" y="115"/>
                        <a:pt x="107" y="115"/>
                      </a:cubicBezTo>
                      <a:cubicBezTo>
                        <a:pt x="15" y="115"/>
                        <a:pt x="15" y="115"/>
                        <a:pt x="15" y="115"/>
                      </a:cubicBezTo>
                      <a:cubicBezTo>
                        <a:pt x="11" y="115"/>
                        <a:pt x="7" y="112"/>
                        <a:pt x="7" y="107"/>
                      </a:cubicBezTo>
                      <a:cubicBezTo>
                        <a:pt x="7" y="31"/>
                        <a:pt x="7" y="31"/>
                        <a:pt x="7" y="31"/>
                      </a:cubicBezTo>
                      <a:cubicBezTo>
                        <a:pt x="7" y="29"/>
                        <a:pt x="9" y="27"/>
                        <a:pt x="11" y="27"/>
                      </a:cubicBezTo>
                      <a:cubicBezTo>
                        <a:pt x="15" y="27"/>
                        <a:pt x="15" y="27"/>
                        <a:pt x="15" y="27"/>
                      </a:cubicBezTo>
                      <a:cubicBezTo>
                        <a:pt x="15" y="104"/>
                        <a:pt x="15" y="104"/>
                        <a:pt x="15" y="104"/>
                      </a:cubicBezTo>
                      <a:cubicBezTo>
                        <a:pt x="15" y="106"/>
                        <a:pt x="17" y="107"/>
                        <a:pt x="19" y="107"/>
                      </a:cubicBezTo>
                      <a:cubicBezTo>
                        <a:pt x="21" y="107"/>
                        <a:pt x="23" y="106"/>
                        <a:pt x="23" y="104"/>
                      </a:cubicBezTo>
                      <a:cubicBezTo>
                        <a:pt x="23" y="12"/>
                        <a:pt x="23" y="12"/>
                        <a:pt x="23" y="12"/>
                      </a:cubicBezTo>
                      <a:cubicBezTo>
                        <a:pt x="23" y="9"/>
                        <a:pt x="24" y="8"/>
                        <a:pt x="27" y="8"/>
                      </a:cubicBezTo>
                      <a:cubicBezTo>
                        <a:pt x="111" y="8"/>
                        <a:pt x="111" y="8"/>
                        <a:pt x="111" y="8"/>
                      </a:cubicBezTo>
                      <a:cubicBezTo>
                        <a:pt x="113" y="8"/>
                        <a:pt x="115" y="9"/>
                        <a:pt x="115" y="12"/>
                      </a:cubicBezTo>
                      <a:lnTo>
                        <a:pt x="115" y="107"/>
                      </a:lnTo>
                      <a:close/>
                      <a:moveTo>
                        <a:pt x="115" y="107"/>
                      </a:moveTo>
                      <a:cubicBezTo>
                        <a:pt x="115" y="107"/>
                        <a:pt x="115" y="107"/>
                        <a:pt x="115" y="107"/>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63" name="Freeform: Shape 125"/>
                <p:cNvSpPr/>
                <p:nvPr/>
              </p:nvSpPr>
              <p:spPr bwMode="auto">
                <a:xfrm>
                  <a:off x="3249613" y="1346201"/>
                  <a:ext cx="100013" cy="11113"/>
                </a:xfrm>
                <a:custGeom>
                  <a:avLst/>
                  <a:gdLst/>
                  <a:ahLst/>
                  <a:cxnLst>
                    <a:cxn ang="0">
                      <a:pos x="1" y="4"/>
                    </a:cxn>
                    <a:cxn ang="0">
                      <a:pos x="32" y="4"/>
                    </a:cxn>
                    <a:cxn ang="0">
                      <a:pos x="34" y="2"/>
                    </a:cxn>
                    <a:cxn ang="0">
                      <a:pos x="32" y="0"/>
                    </a:cxn>
                    <a:cxn ang="0">
                      <a:pos x="1" y="0"/>
                    </a:cxn>
                    <a:cxn ang="0">
                      <a:pos x="0" y="2"/>
                    </a:cxn>
                    <a:cxn ang="0">
                      <a:pos x="1" y="4"/>
                    </a:cxn>
                    <a:cxn ang="0">
                      <a:pos x="1" y="4"/>
                    </a:cxn>
                    <a:cxn ang="0">
                      <a:pos x="1" y="4"/>
                    </a:cxn>
                  </a:cxnLst>
                  <a:rect l="0" t="0" r="r" b="b"/>
                  <a:pathLst>
                    <a:path w="34" h="4">
                      <a:moveTo>
                        <a:pt x="1" y="4"/>
                      </a:moveTo>
                      <a:cubicBezTo>
                        <a:pt x="32" y="4"/>
                        <a:pt x="32" y="4"/>
                        <a:pt x="32" y="4"/>
                      </a:cubicBezTo>
                      <a:cubicBezTo>
                        <a:pt x="33" y="4"/>
                        <a:pt x="34" y="3"/>
                        <a:pt x="34" y="2"/>
                      </a:cubicBezTo>
                      <a:cubicBezTo>
                        <a:pt x="34" y="1"/>
                        <a:pt x="33" y="0"/>
                        <a:pt x="32" y="0"/>
                      </a:cubicBezTo>
                      <a:cubicBezTo>
                        <a:pt x="1" y="0"/>
                        <a:pt x="1" y="0"/>
                        <a:pt x="1" y="0"/>
                      </a:cubicBezTo>
                      <a:cubicBezTo>
                        <a:pt x="0" y="0"/>
                        <a:pt x="0" y="1"/>
                        <a:pt x="0" y="2"/>
                      </a:cubicBezTo>
                      <a:cubicBezTo>
                        <a:pt x="0" y="3"/>
                        <a:pt x="0" y="4"/>
                        <a:pt x="1" y="4"/>
                      </a:cubicBezTo>
                      <a:close/>
                      <a:moveTo>
                        <a:pt x="1" y="4"/>
                      </a:moveTo>
                      <a:cubicBezTo>
                        <a:pt x="1" y="4"/>
                        <a:pt x="1" y="4"/>
                        <a:pt x="1" y="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64" name="Freeform: Shape 126"/>
                <p:cNvSpPr/>
                <p:nvPr/>
              </p:nvSpPr>
              <p:spPr bwMode="auto">
                <a:xfrm>
                  <a:off x="3249613" y="1314451"/>
                  <a:ext cx="100013" cy="7938"/>
                </a:xfrm>
                <a:custGeom>
                  <a:avLst/>
                  <a:gdLst/>
                  <a:ahLst/>
                  <a:cxnLst>
                    <a:cxn ang="0">
                      <a:pos x="1" y="3"/>
                    </a:cxn>
                    <a:cxn ang="0">
                      <a:pos x="32" y="3"/>
                    </a:cxn>
                    <a:cxn ang="0">
                      <a:pos x="34" y="2"/>
                    </a:cxn>
                    <a:cxn ang="0">
                      <a:pos x="32" y="0"/>
                    </a:cxn>
                    <a:cxn ang="0">
                      <a:pos x="1" y="0"/>
                    </a:cxn>
                    <a:cxn ang="0">
                      <a:pos x="0" y="2"/>
                    </a:cxn>
                    <a:cxn ang="0">
                      <a:pos x="1" y="3"/>
                    </a:cxn>
                    <a:cxn ang="0">
                      <a:pos x="1" y="3"/>
                    </a:cxn>
                    <a:cxn ang="0">
                      <a:pos x="1" y="3"/>
                    </a:cxn>
                  </a:cxnLst>
                  <a:rect l="0" t="0" r="r" b="b"/>
                  <a:pathLst>
                    <a:path w="34" h="3">
                      <a:moveTo>
                        <a:pt x="1" y="3"/>
                      </a:moveTo>
                      <a:cubicBezTo>
                        <a:pt x="32" y="3"/>
                        <a:pt x="32" y="3"/>
                        <a:pt x="32" y="3"/>
                      </a:cubicBezTo>
                      <a:cubicBezTo>
                        <a:pt x="33" y="3"/>
                        <a:pt x="34" y="3"/>
                        <a:pt x="34" y="2"/>
                      </a:cubicBezTo>
                      <a:cubicBezTo>
                        <a:pt x="34" y="1"/>
                        <a:pt x="33" y="0"/>
                        <a:pt x="32" y="0"/>
                      </a:cubicBezTo>
                      <a:cubicBezTo>
                        <a:pt x="1" y="0"/>
                        <a:pt x="1" y="0"/>
                        <a:pt x="1" y="0"/>
                      </a:cubicBezTo>
                      <a:cubicBezTo>
                        <a:pt x="0" y="0"/>
                        <a:pt x="0" y="1"/>
                        <a:pt x="0" y="2"/>
                      </a:cubicBezTo>
                      <a:cubicBezTo>
                        <a:pt x="0" y="3"/>
                        <a:pt x="0" y="3"/>
                        <a:pt x="1" y="3"/>
                      </a:cubicBezTo>
                      <a:close/>
                      <a:moveTo>
                        <a:pt x="1" y="3"/>
                      </a:moveTo>
                      <a:cubicBezTo>
                        <a:pt x="1" y="3"/>
                        <a:pt x="1" y="3"/>
                        <a:pt x="1" y="3"/>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65" name="Freeform: Shape 127"/>
                <p:cNvSpPr/>
                <p:nvPr/>
              </p:nvSpPr>
              <p:spPr bwMode="auto">
                <a:xfrm>
                  <a:off x="3249613" y="1277938"/>
                  <a:ext cx="100013" cy="12700"/>
                </a:xfrm>
                <a:custGeom>
                  <a:avLst/>
                  <a:gdLst/>
                  <a:ahLst/>
                  <a:cxnLst>
                    <a:cxn ang="0">
                      <a:pos x="1" y="4"/>
                    </a:cxn>
                    <a:cxn ang="0">
                      <a:pos x="32" y="4"/>
                    </a:cxn>
                    <a:cxn ang="0">
                      <a:pos x="34" y="2"/>
                    </a:cxn>
                    <a:cxn ang="0">
                      <a:pos x="32" y="0"/>
                    </a:cxn>
                    <a:cxn ang="0">
                      <a:pos x="1" y="0"/>
                    </a:cxn>
                    <a:cxn ang="0">
                      <a:pos x="0" y="2"/>
                    </a:cxn>
                    <a:cxn ang="0">
                      <a:pos x="1" y="4"/>
                    </a:cxn>
                    <a:cxn ang="0">
                      <a:pos x="1" y="4"/>
                    </a:cxn>
                    <a:cxn ang="0">
                      <a:pos x="1" y="4"/>
                    </a:cxn>
                  </a:cxnLst>
                  <a:rect l="0" t="0" r="r" b="b"/>
                  <a:pathLst>
                    <a:path w="34" h="4">
                      <a:moveTo>
                        <a:pt x="1" y="4"/>
                      </a:moveTo>
                      <a:cubicBezTo>
                        <a:pt x="32" y="4"/>
                        <a:pt x="32" y="4"/>
                        <a:pt x="32" y="4"/>
                      </a:cubicBezTo>
                      <a:cubicBezTo>
                        <a:pt x="33" y="4"/>
                        <a:pt x="34" y="3"/>
                        <a:pt x="34" y="2"/>
                      </a:cubicBezTo>
                      <a:cubicBezTo>
                        <a:pt x="34" y="1"/>
                        <a:pt x="33" y="0"/>
                        <a:pt x="32" y="0"/>
                      </a:cubicBezTo>
                      <a:cubicBezTo>
                        <a:pt x="1" y="0"/>
                        <a:pt x="1" y="0"/>
                        <a:pt x="1" y="0"/>
                      </a:cubicBezTo>
                      <a:cubicBezTo>
                        <a:pt x="0" y="0"/>
                        <a:pt x="0" y="1"/>
                        <a:pt x="0" y="2"/>
                      </a:cubicBezTo>
                      <a:cubicBezTo>
                        <a:pt x="0" y="3"/>
                        <a:pt x="0" y="4"/>
                        <a:pt x="1" y="4"/>
                      </a:cubicBezTo>
                      <a:close/>
                      <a:moveTo>
                        <a:pt x="1" y="4"/>
                      </a:moveTo>
                      <a:cubicBezTo>
                        <a:pt x="1" y="4"/>
                        <a:pt x="1" y="4"/>
                        <a:pt x="1" y="4"/>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66" name="Freeform: Shape 128"/>
                <p:cNvSpPr/>
                <p:nvPr/>
              </p:nvSpPr>
              <p:spPr bwMode="auto">
                <a:xfrm>
                  <a:off x="3124200" y="1516063"/>
                  <a:ext cx="101600" cy="11113"/>
                </a:xfrm>
                <a:custGeom>
                  <a:avLst/>
                  <a:gdLst/>
                  <a:ahLst/>
                  <a:cxnLst>
                    <a:cxn ang="0">
                      <a:pos x="33" y="0"/>
                    </a:cxn>
                    <a:cxn ang="0">
                      <a:pos x="2" y="0"/>
                    </a:cxn>
                    <a:cxn ang="0">
                      <a:pos x="0" y="2"/>
                    </a:cxn>
                    <a:cxn ang="0">
                      <a:pos x="2" y="4"/>
                    </a:cxn>
                    <a:cxn ang="0">
                      <a:pos x="33" y="4"/>
                    </a:cxn>
                    <a:cxn ang="0">
                      <a:pos x="35" y="2"/>
                    </a:cxn>
                    <a:cxn ang="0">
                      <a:pos x="33" y="0"/>
                    </a:cxn>
                    <a:cxn ang="0">
                      <a:pos x="33" y="0"/>
                    </a:cxn>
                    <a:cxn ang="0">
                      <a:pos x="33" y="0"/>
                    </a:cxn>
                  </a:cxnLst>
                  <a:rect l="0" t="0" r="r" b="b"/>
                  <a:pathLst>
                    <a:path w="35" h="4">
                      <a:moveTo>
                        <a:pt x="33" y="0"/>
                      </a:moveTo>
                      <a:cubicBezTo>
                        <a:pt x="2" y="0"/>
                        <a:pt x="2" y="0"/>
                        <a:pt x="2" y="0"/>
                      </a:cubicBezTo>
                      <a:cubicBezTo>
                        <a:pt x="1" y="0"/>
                        <a:pt x="0" y="1"/>
                        <a:pt x="0" y="2"/>
                      </a:cubicBezTo>
                      <a:cubicBezTo>
                        <a:pt x="0" y="3"/>
                        <a:pt x="1" y="4"/>
                        <a:pt x="2" y="4"/>
                      </a:cubicBezTo>
                      <a:cubicBezTo>
                        <a:pt x="33" y="4"/>
                        <a:pt x="33" y="4"/>
                        <a:pt x="33" y="4"/>
                      </a:cubicBezTo>
                      <a:cubicBezTo>
                        <a:pt x="34" y="4"/>
                        <a:pt x="35" y="3"/>
                        <a:pt x="35" y="2"/>
                      </a:cubicBezTo>
                      <a:cubicBezTo>
                        <a:pt x="35" y="1"/>
                        <a:pt x="34" y="0"/>
                        <a:pt x="33" y="0"/>
                      </a:cubicBezTo>
                      <a:close/>
                      <a:moveTo>
                        <a:pt x="33" y="0"/>
                      </a:moveTo>
                      <a:cubicBezTo>
                        <a:pt x="33" y="0"/>
                        <a:pt x="33" y="0"/>
                        <a:pt x="33"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67" name="Freeform: Shape 129"/>
                <p:cNvSpPr/>
                <p:nvPr/>
              </p:nvSpPr>
              <p:spPr bwMode="auto">
                <a:xfrm>
                  <a:off x="3124200" y="1481138"/>
                  <a:ext cx="101600" cy="11113"/>
                </a:xfrm>
                <a:custGeom>
                  <a:avLst/>
                  <a:gdLst/>
                  <a:ahLst/>
                  <a:cxnLst>
                    <a:cxn ang="0">
                      <a:pos x="33" y="0"/>
                    </a:cxn>
                    <a:cxn ang="0">
                      <a:pos x="2" y="0"/>
                    </a:cxn>
                    <a:cxn ang="0">
                      <a:pos x="0" y="2"/>
                    </a:cxn>
                    <a:cxn ang="0">
                      <a:pos x="2" y="4"/>
                    </a:cxn>
                    <a:cxn ang="0">
                      <a:pos x="33" y="4"/>
                    </a:cxn>
                    <a:cxn ang="0">
                      <a:pos x="35" y="2"/>
                    </a:cxn>
                    <a:cxn ang="0">
                      <a:pos x="33" y="0"/>
                    </a:cxn>
                    <a:cxn ang="0">
                      <a:pos x="33" y="0"/>
                    </a:cxn>
                    <a:cxn ang="0">
                      <a:pos x="33" y="0"/>
                    </a:cxn>
                  </a:cxnLst>
                  <a:rect l="0" t="0" r="r" b="b"/>
                  <a:pathLst>
                    <a:path w="35" h="4">
                      <a:moveTo>
                        <a:pt x="33" y="0"/>
                      </a:moveTo>
                      <a:cubicBezTo>
                        <a:pt x="2" y="0"/>
                        <a:pt x="2" y="0"/>
                        <a:pt x="2" y="0"/>
                      </a:cubicBezTo>
                      <a:cubicBezTo>
                        <a:pt x="1" y="0"/>
                        <a:pt x="0" y="1"/>
                        <a:pt x="0" y="2"/>
                      </a:cubicBezTo>
                      <a:cubicBezTo>
                        <a:pt x="0" y="3"/>
                        <a:pt x="1" y="4"/>
                        <a:pt x="2" y="4"/>
                      </a:cubicBezTo>
                      <a:cubicBezTo>
                        <a:pt x="33" y="4"/>
                        <a:pt x="33" y="4"/>
                        <a:pt x="33" y="4"/>
                      </a:cubicBezTo>
                      <a:cubicBezTo>
                        <a:pt x="34" y="4"/>
                        <a:pt x="35" y="3"/>
                        <a:pt x="35" y="2"/>
                      </a:cubicBezTo>
                      <a:cubicBezTo>
                        <a:pt x="35" y="1"/>
                        <a:pt x="34" y="0"/>
                        <a:pt x="33" y="0"/>
                      </a:cubicBezTo>
                      <a:close/>
                      <a:moveTo>
                        <a:pt x="33" y="0"/>
                      </a:moveTo>
                      <a:cubicBezTo>
                        <a:pt x="33" y="0"/>
                        <a:pt x="33" y="0"/>
                        <a:pt x="33"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68" name="Freeform: Shape 130"/>
                <p:cNvSpPr/>
                <p:nvPr/>
              </p:nvSpPr>
              <p:spPr bwMode="auto">
                <a:xfrm>
                  <a:off x="3124200" y="1449388"/>
                  <a:ext cx="101600" cy="11113"/>
                </a:xfrm>
                <a:custGeom>
                  <a:avLst/>
                  <a:gdLst/>
                  <a:ahLst/>
                  <a:cxnLst>
                    <a:cxn ang="0">
                      <a:pos x="33" y="0"/>
                    </a:cxn>
                    <a:cxn ang="0">
                      <a:pos x="2" y="0"/>
                    </a:cxn>
                    <a:cxn ang="0">
                      <a:pos x="0" y="2"/>
                    </a:cxn>
                    <a:cxn ang="0">
                      <a:pos x="2" y="4"/>
                    </a:cxn>
                    <a:cxn ang="0">
                      <a:pos x="33" y="4"/>
                    </a:cxn>
                    <a:cxn ang="0">
                      <a:pos x="35" y="2"/>
                    </a:cxn>
                    <a:cxn ang="0">
                      <a:pos x="33" y="0"/>
                    </a:cxn>
                    <a:cxn ang="0">
                      <a:pos x="33" y="0"/>
                    </a:cxn>
                    <a:cxn ang="0">
                      <a:pos x="33" y="0"/>
                    </a:cxn>
                  </a:cxnLst>
                  <a:rect l="0" t="0" r="r" b="b"/>
                  <a:pathLst>
                    <a:path w="35" h="4">
                      <a:moveTo>
                        <a:pt x="33" y="0"/>
                      </a:moveTo>
                      <a:cubicBezTo>
                        <a:pt x="2" y="0"/>
                        <a:pt x="2" y="0"/>
                        <a:pt x="2" y="0"/>
                      </a:cubicBezTo>
                      <a:cubicBezTo>
                        <a:pt x="1" y="0"/>
                        <a:pt x="0" y="1"/>
                        <a:pt x="0" y="2"/>
                      </a:cubicBezTo>
                      <a:cubicBezTo>
                        <a:pt x="0" y="3"/>
                        <a:pt x="1" y="4"/>
                        <a:pt x="2" y="4"/>
                      </a:cubicBezTo>
                      <a:cubicBezTo>
                        <a:pt x="33" y="4"/>
                        <a:pt x="33" y="4"/>
                        <a:pt x="33" y="4"/>
                      </a:cubicBezTo>
                      <a:cubicBezTo>
                        <a:pt x="34" y="4"/>
                        <a:pt x="35" y="3"/>
                        <a:pt x="35" y="2"/>
                      </a:cubicBezTo>
                      <a:cubicBezTo>
                        <a:pt x="35" y="1"/>
                        <a:pt x="34" y="0"/>
                        <a:pt x="33" y="0"/>
                      </a:cubicBezTo>
                      <a:close/>
                      <a:moveTo>
                        <a:pt x="33" y="0"/>
                      </a:moveTo>
                      <a:cubicBezTo>
                        <a:pt x="33" y="0"/>
                        <a:pt x="33" y="0"/>
                        <a:pt x="33"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69" name="Freeform: Shape 131"/>
                <p:cNvSpPr/>
                <p:nvPr/>
              </p:nvSpPr>
              <p:spPr bwMode="auto">
                <a:xfrm>
                  <a:off x="3249613" y="1516063"/>
                  <a:ext cx="100013" cy="11113"/>
                </a:xfrm>
                <a:custGeom>
                  <a:avLst/>
                  <a:gdLst/>
                  <a:ahLst/>
                  <a:cxnLst>
                    <a:cxn ang="0">
                      <a:pos x="32" y="0"/>
                    </a:cxn>
                    <a:cxn ang="0">
                      <a:pos x="1" y="0"/>
                    </a:cxn>
                    <a:cxn ang="0">
                      <a:pos x="0" y="2"/>
                    </a:cxn>
                    <a:cxn ang="0">
                      <a:pos x="1" y="4"/>
                    </a:cxn>
                    <a:cxn ang="0">
                      <a:pos x="32" y="4"/>
                    </a:cxn>
                    <a:cxn ang="0">
                      <a:pos x="34" y="2"/>
                    </a:cxn>
                    <a:cxn ang="0">
                      <a:pos x="32" y="0"/>
                    </a:cxn>
                    <a:cxn ang="0">
                      <a:pos x="32" y="0"/>
                    </a:cxn>
                    <a:cxn ang="0">
                      <a:pos x="32" y="0"/>
                    </a:cxn>
                  </a:cxnLst>
                  <a:rect l="0" t="0" r="r" b="b"/>
                  <a:pathLst>
                    <a:path w="34" h="4">
                      <a:moveTo>
                        <a:pt x="32" y="0"/>
                      </a:moveTo>
                      <a:cubicBezTo>
                        <a:pt x="1" y="0"/>
                        <a:pt x="1" y="0"/>
                        <a:pt x="1" y="0"/>
                      </a:cubicBezTo>
                      <a:cubicBezTo>
                        <a:pt x="0" y="0"/>
                        <a:pt x="0" y="1"/>
                        <a:pt x="0" y="2"/>
                      </a:cubicBezTo>
                      <a:cubicBezTo>
                        <a:pt x="0" y="3"/>
                        <a:pt x="0" y="4"/>
                        <a:pt x="1" y="4"/>
                      </a:cubicBezTo>
                      <a:cubicBezTo>
                        <a:pt x="32" y="4"/>
                        <a:pt x="32" y="4"/>
                        <a:pt x="32" y="4"/>
                      </a:cubicBezTo>
                      <a:cubicBezTo>
                        <a:pt x="33" y="4"/>
                        <a:pt x="34" y="3"/>
                        <a:pt x="34" y="2"/>
                      </a:cubicBezTo>
                      <a:cubicBezTo>
                        <a:pt x="34" y="1"/>
                        <a:pt x="33" y="0"/>
                        <a:pt x="32" y="0"/>
                      </a:cubicBezTo>
                      <a:close/>
                      <a:moveTo>
                        <a:pt x="32" y="0"/>
                      </a:moveTo>
                      <a:cubicBezTo>
                        <a:pt x="32" y="0"/>
                        <a:pt x="32" y="0"/>
                        <a:pt x="32"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70" name="Freeform: Shape 132"/>
                <p:cNvSpPr/>
                <p:nvPr/>
              </p:nvSpPr>
              <p:spPr bwMode="auto">
                <a:xfrm>
                  <a:off x="3249613" y="1481138"/>
                  <a:ext cx="100013" cy="11113"/>
                </a:xfrm>
                <a:custGeom>
                  <a:avLst/>
                  <a:gdLst/>
                  <a:ahLst/>
                  <a:cxnLst>
                    <a:cxn ang="0">
                      <a:pos x="32" y="0"/>
                    </a:cxn>
                    <a:cxn ang="0">
                      <a:pos x="1" y="0"/>
                    </a:cxn>
                    <a:cxn ang="0">
                      <a:pos x="0" y="2"/>
                    </a:cxn>
                    <a:cxn ang="0">
                      <a:pos x="1" y="4"/>
                    </a:cxn>
                    <a:cxn ang="0">
                      <a:pos x="32" y="4"/>
                    </a:cxn>
                    <a:cxn ang="0">
                      <a:pos x="34" y="2"/>
                    </a:cxn>
                    <a:cxn ang="0">
                      <a:pos x="32" y="0"/>
                    </a:cxn>
                    <a:cxn ang="0">
                      <a:pos x="32" y="0"/>
                    </a:cxn>
                    <a:cxn ang="0">
                      <a:pos x="32" y="0"/>
                    </a:cxn>
                  </a:cxnLst>
                  <a:rect l="0" t="0" r="r" b="b"/>
                  <a:pathLst>
                    <a:path w="34" h="4">
                      <a:moveTo>
                        <a:pt x="32" y="0"/>
                      </a:moveTo>
                      <a:cubicBezTo>
                        <a:pt x="1" y="0"/>
                        <a:pt x="1" y="0"/>
                        <a:pt x="1" y="0"/>
                      </a:cubicBezTo>
                      <a:cubicBezTo>
                        <a:pt x="0" y="0"/>
                        <a:pt x="0" y="1"/>
                        <a:pt x="0" y="2"/>
                      </a:cubicBezTo>
                      <a:cubicBezTo>
                        <a:pt x="0" y="3"/>
                        <a:pt x="0" y="4"/>
                        <a:pt x="1" y="4"/>
                      </a:cubicBezTo>
                      <a:cubicBezTo>
                        <a:pt x="32" y="4"/>
                        <a:pt x="32" y="4"/>
                        <a:pt x="32" y="4"/>
                      </a:cubicBezTo>
                      <a:cubicBezTo>
                        <a:pt x="33" y="4"/>
                        <a:pt x="34" y="3"/>
                        <a:pt x="34" y="2"/>
                      </a:cubicBezTo>
                      <a:cubicBezTo>
                        <a:pt x="34" y="1"/>
                        <a:pt x="33" y="0"/>
                        <a:pt x="32" y="0"/>
                      </a:cubicBezTo>
                      <a:close/>
                      <a:moveTo>
                        <a:pt x="32" y="0"/>
                      </a:moveTo>
                      <a:cubicBezTo>
                        <a:pt x="32" y="0"/>
                        <a:pt x="32" y="0"/>
                        <a:pt x="32"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71" name="Freeform: Shape 133"/>
                <p:cNvSpPr/>
                <p:nvPr/>
              </p:nvSpPr>
              <p:spPr bwMode="auto">
                <a:xfrm>
                  <a:off x="3249613" y="1449388"/>
                  <a:ext cx="100013" cy="11113"/>
                </a:xfrm>
                <a:custGeom>
                  <a:avLst/>
                  <a:gdLst/>
                  <a:ahLst/>
                  <a:cxnLst>
                    <a:cxn ang="0">
                      <a:pos x="32" y="0"/>
                    </a:cxn>
                    <a:cxn ang="0">
                      <a:pos x="1" y="0"/>
                    </a:cxn>
                    <a:cxn ang="0">
                      <a:pos x="0" y="2"/>
                    </a:cxn>
                    <a:cxn ang="0">
                      <a:pos x="1" y="4"/>
                    </a:cxn>
                    <a:cxn ang="0">
                      <a:pos x="32" y="4"/>
                    </a:cxn>
                    <a:cxn ang="0">
                      <a:pos x="34" y="2"/>
                    </a:cxn>
                    <a:cxn ang="0">
                      <a:pos x="32" y="0"/>
                    </a:cxn>
                    <a:cxn ang="0">
                      <a:pos x="32" y="0"/>
                    </a:cxn>
                    <a:cxn ang="0">
                      <a:pos x="32" y="0"/>
                    </a:cxn>
                  </a:cxnLst>
                  <a:rect l="0" t="0" r="r" b="b"/>
                  <a:pathLst>
                    <a:path w="34" h="4">
                      <a:moveTo>
                        <a:pt x="32" y="0"/>
                      </a:moveTo>
                      <a:cubicBezTo>
                        <a:pt x="1" y="0"/>
                        <a:pt x="1" y="0"/>
                        <a:pt x="1" y="0"/>
                      </a:cubicBezTo>
                      <a:cubicBezTo>
                        <a:pt x="0" y="0"/>
                        <a:pt x="0" y="1"/>
                        <a:pt x="0" y="2"/>
                      </a:cubicBezTo>
                      <a:cubicBezTo>
                        <a:pt x="0" y="3"/>
                        <a:pt x="0" y="4"/>
                        <a:pt x="1" y="4"/>
                      </a:cubicBezTo>
                      <a:cubicBezTo>
                        <a:pt x="32" y="4"/>
                        <a:pt x="32" y="4"/>
                        <a:pt x="32" y="4"/>
                      </a:cubicBezTo>
                      <a:cubicBezTo>
                        <a:pt x="33" y="4"/>
                        <a:pt x="34" y="3"/>
                        <a:pt x="34" y="2"/>
                      </a:cubicBezTo>
                      <a:cubicBezTo>
                        <a:pt x="34" y="1"/>
                        <a:pt x="33" y="0"/>
                        <a:pt x="32" y="0"/>
                      </a:cubicBezTo>
                      <a:close/>
                      <a:moveTo>
                        <a:pt x="32" y="0"/>
                      </a:moveTo>
                      <a:cubicBezTo>
                        <a:pt x="32" y="0"/>
                        <a:pt x="32" y="0"/>
                        <a:pt x="32"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72" name="Freeform: Shape 134"/>
                <p:cNvSpPr/>
                <p:nvPr/>
              </p:nvSpPr>
              <p:spPr bwMode="auto">
                <a:xfrm>
                  <a:off x="3124200" y="1381126"/>
                  <a:ext cx="225425" cy="12700"/>
                </a:xfrm>
                <a:custGeom>
                  <a:avLst/>
                  <a:gdLst/>
                  <a:ahLst/>
                  <a:cxnLst>
                    <a:cxn ang="0">
                      <a:pos x="75" y="0"/>
                    </a:cxn>
                    <a:cxn ang="0">
                      <a:pos x="2" y="0"/>
                    </a:cxn>
                    <a:cxn ang="0">
                      <a:pos x="0" y="2"/>
                    </a:cxn>
                    <a:cxn ang="0">
                      <a:pos x="2" y="4"/>
                    </a:cxn>
                    <a:cxn ang="0">
                      <a:pos x="75" y="4"/>
                    </a:cxn>
                    <a:cxn ang="0">
                      <a:pos x="77" y="2"/>
                    </a:cxn>
                    <a:cxn ang="0">
                      <a:pos x="75" y="0"/>
                    </a:cxn>
                    <a:cxn ang="0">
                      <a:pos x="75" y="0"/>
                    </a:cxn>
                    <a:cxn ang="0">
                      <a:pos x="75" y="0"/>
                    </a:cxn>
                  </a:cxnLst>
                  <a:rect l="0" t="0" r="r" b="b"/>
                  <a:pathLst>
                    <a:path w="77" h="4">
                      <a:moveTo>
                        <a:pt x="75" y="0"/>
                      </a:moveTo>
                      <a:cubicBezTo>
                        <a:pt x="2" y="0"/>
                        <a:pt x="2" y="0"/>
                        <a:pt x="2" y="0"/>
                      </a:cubicBezTo>
                      <a:cubicBezTo>
                        <a:pt x="1" y="0"/>
                        <a:pt x="0" y="1"/>
                        <a:pt x="0" y="2"/>
                      </a:cubicBezTo>
                      <a:cubicBezTo>
                        <a:pt x="0" y="3"/>
                        <a:pt x="1" y="4"/>
                        <a:pt x="2" y="4"/>
                      </a:cubicBezTo>
                      <a:cubicBezTo>
                        <a:pt x="75" y="4"/>
                        <a:pt x="75" y="4"/>
                        <a:pt x="75" y="4"/>
                      </a:cubicBezTo>
                      <a:cubicBezTo>
                        <a:pt x="76" y="4"/>
                        <a:pt x="77" y="3"/>
                        <a:pt x="77" y="2"/>
                      </a:cubicBezTo>
                      <a:cubicBezTo>
                        <a:pt x="77" y="1"/>
                        <a:pt x="76" y="0"/>
                        <a:pt x="75" y="0"/>
                      </a:cubicBezTo>
                      <a:close/>
                      <a:moveTo>
                        <a:pt x="75" y="0"/>
                      </a:moveTo>
                      <a:cubicBezTo>
                        <a:pt x="75" y="0"/>
                        <a:pt x="75" y="0"/>
                        <a:pt x="75"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73" name="Freeform: Shape 135"/>
                <p:cNvSpPr/>
                <p:nvPr/>
              </p:nvSpPr>
              <p:spPr bwMode="auto">
                <a:xfrm>
                  <a:off x="3124200" y="1412876"/>
                  <a:ext cx="225425" cy="12700"/>
                </a:xfrm>
                <a:custGeom>
                  <a:avLst/>
                  <a:gdLst/>
                  <a:ahLst/>
                  <a:cxnLst>
                    <a:cxn ang="0">
                      <a:pos x="75" y="0"/>
                    </a:cxn>
                    <a:cxn ang="0">
                      <a:pos x="2" y="0"/>
                    </a:cxn>
                    <a:cxn ang="0">
                      <a:pos x="0" y="2"/>
                    </a:cxn>
                    <a:cxn ang="0">
                      <a:pos x="2" y="4"/>
                    </a:cxn>
                    <a:cxn ang="0">
                      <a:pos x="75" y="4"/>
                    </a:cxn>
                    <a:cxn ang="0">
                      <a:pos x="77" y="2"/>
                    </a:cxn>
                    <a:cxn ang="0">
                      <a:pos x="75" y="0"/>
                    </a:cxn>
                    <a:cxn ang="0">
                      <a:pos x="75" y="0"/>
                    </a:cxn>
                    <a:cxn ang="0">
                      <a:pos x="75" y="0"/>
                    </a:cxn>
                  </a:cxnLst>
                  <a:rect l="0" t="0" r="r" b="b"/>
                  <a:pathLst>
                    <a:path w="77" h="4">
                      <a:moveTo>
                        <a:pt x="75" y="0"/>
                      </a:moveTo>
                      <a:cubicBezTo>
                        <a:pt x="2" y="0"/>
                        <a:pt x="2" y="0"/>
                        <a:pt x="2" y="0"/>
                      </a:cubicBezTo>
                      <a:cubicBezTo>
                        <a:pt x="1" y="0"/>
                        <a:pt x="0" y="1"/>
                        <a:pt x="0" y="2"/>
                      </a:cubicBezTo>
                      <a:cubicBezTo>
                        <a:pt x="0" y="3"/>
                        <a:pt x="1" y="4"/>
                        <a:pt x="2" y="4"/>
                      </a:cubicBezTo>
                      <a:cubicBezTo>
                        <a:pt x="75" y="4"/>
                        <a:pt x="75" y="4"/>
                        <a:pt x="75" y="4"/>
                      </a:cubicBezTo>
                      <a:cubicBezTo>
                        <a:pt x="76" y="4"/>
                        <a:pt x="77" y="3"/>
                        <a:pt x="77" y="2"/>
                      </a:cubicBezTo>
                      <a:cubicBezTo>
                        <a:pt x="77" y="1"/>
                        <a:pt x="76" y="0"/>
                        <a:pt x="75" y="0"/>
                      </a:cubicBezTo>
                      <a:close/>
                      <a:moveTo>
                        <a:pt x="75" y="0"/>
                      </a:moveTo>
                      <a:cubicBezTo>
                        <a:pt x="75" y="0"/>
                        <a:pt x="75" y="0"/>
                        <a:pt x="75" y="0"/>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74" name="Freeform: Shape 136"/>
                <p:cNvSpPr/>
                <p:nvPr/>
              </p:nvSpPr>
              <p:spPr bwMode="auto">
                <a:xfrm>
                  <a:off x="3124200" y="1255713"/>
                  <a:ext cx="101600" cy="101600"/>
                </a:xfrm>
                <a:custGeom>
                  <a:avLst/>
                  <a:gdLst/>
                  <a:ahLst/>
                  <a:cxnLst>
                    <a:cxn ang="0">
                      <a:pos x="4" y="35"/>
                    </a:cxn>
                    <a:cxn ang="0">
                      <a:pos x="31" y="35"/>
                    </a:cxn>
                    <a:cxn ang="0">
                      <a:pos x="35" y="31"/>
                    </a:cxn>
                    <a:cxn ang="0">
                      <a:pos x="35" y="4"/>
                    </a:cxn>
                    <a:cxn ang="0">
                      <a:pos x="31" y="0"/>
                    </a:cxn>
                    <a:cxn ang="0">
                      <a:pos x="4" y="0"/>
                    </a:cxn>
                    <a:cxn ang="0">
                      <a:pos x="0" y="4"/>
                    </a:cxn>
                    <a:cxn ang="0">
                      <a:pos x="0" y="31"/>
                    </a:cxn>
                    <a:cxn ang="0">
                      <a:pos x="4" y="35"/>
                    </a:cxn>
                    <a:cxn ang="0">
                      <a:pos x="8" y="8"/>
                    </a:cxn>
                    <a:cxn ang="0">
                      <a:pos x="27" y="8"/>
                    </a:cxn>
                    <a:cxn ang="0">
                      <a:pos x="27" y="27"/>
                    </a:cxn>
                    <a:cxn ang="0">
                      <a:pos x="8" y="27"/>
                    </a:cxn>
                    <a:cxn ang="0">
                      <a:pos x="8" y="8"/>
                    </a:cxn>
                    <a:cxn ang="0">
                      <a:pos x="8" y="8"/>
                    </a:cxn>
                    <a:cxn ang="0">
                      <a:pos x="8" y="8"/>
                    </a:cxn>
                  </a:cxnLst>
                  <a:rect l="0" t="0" r="r" b="b"/>
                  <a:pathLst>
                    <a:path w="35" h="35">
                      <a:moveTo>
                        <a:pt x="4" y="35"/>
                      </a:moveTo>
                      <a:cubicBezTo>
                        <a:pt x="31" y="35"/>
                        <a:pt x="31" y="35"/>
                        <a:pt x="31" y="35"/>
                      </a:cubicBezTo>
                      <a:cubicBezTo>
                        <a:pt x="33" y="35"/>
                        <a:pt x="35" y="33"/>
                        <a:pt x="35" y="31"/>
                      </a:cubicBezTo>
                      <a:cubicBezTo>
                        <a:pt x="35" y="4"/>
                        <a:pt x="35" y="4"/>
                        <a:pt x="35" y="4"/>
                      </a:cubicBezTo>
                      <a:cubicBezTo>
                        <a:pt x="35" y="2"/>
                        <a:pt x="33" y="0"/>
                        <a:pt x="31" y="0"/>
                      </a:cubicBezTo>
                      <a:cubicBezTo>
                        <a:pt x="4" y="0"/>
                        <a:pt x="4" y="0"/>
                        <a:pt x="4" y="0"/>
                      </a:cubicBezTo>
                      <a:cubicBezTo>
                        <a:pt x="2" y="0"/>
                        <a:pt x="0" y="2"/>
                        <a:pt x="0" y="4"/>
                      </a:cubicBezTo>
                      <a:cubicBezTo>
                        <a:pt x="0" y="31"/>
                        <a:pt x="0" y="31"/>
                        <a:pt x="0" y="31"/>
                      </a:cubicBezTo>
                      <a:cubicBezTo>
                        <a:pt x="0" y="33"/>
                        <a:pt x="2" y="35"/>
                        <a:pt x="4" y="35"/>
                      </a:cubicBezTo>
                      <a:close/>
                      <a:moveTo>
                        <a:pt x="8" y="8"/>
                      </a:moveTo>
                      <a:cubicBezTo>
                        <a:pt x="27" y="8"/>
                        <a:pt x="27" y="8"/>
                        <a:pt x="27" y="8"/>
                      </a:cubicBezTo>
                      <a:cubicBezTo>
                        <a:pt x="27" y="27"/>
                        <a:pt x="27" y="27"/>
                        <a:pt x="27" y="27"/>
                      </a:cubicBezTo>
                      <a:cubicBezTo>
                        <a:pt x="8" y="27"/>
                        <a:pt x="8" y="27"/>
                        <a:pt x="8" y="27"/>
                      </a:cubicBezTo>
                      <a:lnTo>
                        <a:pt x="8" y="8"/>
                      </a:lnTo>
                      <a:close/>
                      <a:moveTo>
                        <a:pt x="8" y="8"/>
                      </a:moveTo>
                      <a:cubicBezTo>
                        <a:pt x="8" y="8"/>
                        <a:pt x="8" y="8"/>
                        <a:pt x="8" y="8"/>
                      </a:cubicBezTo>
                    </a:path>
                  </a:pathLst>
                </a:custGeom>
                <a:grpFill/>
                <a:ln w="9525">
                  <a:noFill/>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65" b="0" i="0" u="none" strike="noStrike" kern="1200" cap="none" spc="0" normalizeH="0" baseline="0" noProof="0">
                    <a:ln>
                      <a:noFill/>
                    </a:ln>
                    <a:solidFill>
                      <a:prstClr val="white">
                        <a:lumMod val="50000"/>
                      </a:prstClr>
                    </a:solidFill>
                    <a:effectLst/>
                    <a:uLnTx/>
                    <a:uFillTx/>
                    <a:latin typeface="Arial" panose="020B0604020202020204"/>
                    <a:ea typeface="华文楷体" panose="02010600040101010101" charset="-122"/>
                    <a:cs typeface="+mn-cs"/>
                  </a:endParaRPr>
                </a:p>
              </p:txBody>
            </p:sp>
          </p:grpSp>
        </p:grpSp>
        <p:sp>
          <p:nvSpPr>
            <p:cNvPr id="102" name="Freeform: Shape 40"/>
            <p:cNvSpPr/>
            <p:nvPr/>
          </p:nvSpPr>
          <p:spPr>
            <a:xfrm>
              <a:off x="5252807" y="3595994"/>
              <a:ext cx="1295627" cy="2558881"/>
            </a:xfrm>
            <a:custGeom>
              <a:avLst/>
              <a:gdLst/>
              <a:ahLst/>
              <a:cxnLst>
                <a:cxn ang="0">
                  <a:pos x="wd2" y="hd2"/>
                </a:cxn>
                <a:cxn ang="5400000">
                  <a:pos x="wd2" y="hd2"/>
                </a:cxn>
                <a:cxn ang="10800000">
                  <a:pos x="wd2" y="hd2"/>
                </a:cxn>
                <a:cxn ang="16200000">
                  <a:pos x="wd2" y="hd2"/>
                </a:cxn>
              </a:cxnLst>
              <a:rect l="0" t="0" r="r" b="b"/>
              <a:pathLst>
                <a:path w="21600" h="21233" extrusionOk="0">
                  <a:moveTo>
                    <a:pt x="18888" y="1342"/>
                  </a:moveTo>
                  <a:cubicBezTo>
                    <a:pt x="17357" y="2323"/>
                    <a:pt x="15980" y="3551"/>
                    <a:pt x="15190" y="5053"/>
                  </a:cubicBezTo>
                  <a:cubicBezTo>
                    <a:pt x="15190" y="5053"/>
                    <a:pt x="11881" y="1601"/>
                    <a:pt x="3746" y="0"/>
                  </a:cubicBezTo>
                  <a:cubicBezTo>
                    <a:pt x="4160" y="206"/>
                    <a:pt x="4539" y="435"/>
                    <a:pt x="4861" y="691"/>
                  </a:cubicBezTo>
                  <a:cubicBezTo>
                    <a:pt x="5120" y="897"/>
                    <a:pt x="5323" y="1114"/>
                    <a:pt x="5495" y="1334"/>
                  </a:cubicBezTo>
                  <a:cubicBezTo>
                    <a:pt x="7893" y="2663"/>
                    <a:pt x="10167" y="4819"/>
                    <a:pt x="9604" y="8114"/>
                  </a:cubicBezTo>
                  <a:cubicBezTo>
                    <a:pt x="9604" y="8114"/>
                    <a:pt x="6838" y="6371"/>
                    <a:pt x="0" y="7292"/>
                  </a:cubicBezTo>
                  <a:cubicBezTo>
                    <a:pt x="0" y="7292"/>
                    <a:pt x="15106" y="7260"/>
                    <a:pt x="7500" y="20907"/>
                  </a:cubicBezTo>
                  <a:cubicBezTo>
                    <a:pt x="7500" y="20907"/>
                    <a:pt x="13473" y="21600"/>
                    <a:pt x="19030" y="20967"/>
                  </a:cubicBezTo>
                  <a:cubicBezTo>
                    <a:pt x="19030" y="20967"/>
                    <a:pt x="12279" y="8657"/>
                    <a:pt x="21600" y="1065"/>
                  </a:cubicBezTo>
                  <a:cubicBezTo>
                    <a:pt x="20647" y="1227"/>
                    <a:pt x="19694" y="1307"/>
                    <a:pt x="18888" y="1342"/>
                  </a:cubicBezTo>
                  <a:close/>
                </a:path>
              </a:pathLst>
            </a:custGeom>
            <a:solidFill>
              <a:schemeClr val="bg1">
                <a:lumMod val="50000"/>
              </a:schemeClr>
            </a:solidFill>
            <a:ln w="12700">
              <a:miter lim="400000"/>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104" name="TextBox 172"/>
          <p:cNvSpPr txBox="1"/>
          <p:nvPr/>
        </p:nvSpPr>
        <p:spPr>
          <a:xfrm>
            <a:off x="8722242" y="2302670"/>
            <a:ext cx="2823587" cy="388226"/>
          </a:xfrm>
          <a:prstGeom prst="rect">
            <a:avLst/>
          </a:prstGeom>
          <a:noFill/>
        </p:spPr>
        <p:txBody>
          <a:bodyPr wrap="none" lIns="384000" tIns="0" rIns="0" bIns="0" anchor="ctr" anchorCtr="0">
            <a:norm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标题文本预设</a:t>
            </a:r>
            <a:endParaRPr kumimoji="0" lang="zh-CN" altLang="en-US" sz="2000"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05" name="TextBox 177"/>
          <p:cNvSpPr txBox="1"/>
          <p:nvPr/>
        </p:nvSpPr>
        <p:spPr>
          <a:xfrm>
            <a:off x="8722242" y="2908178"/>
            <a:ext cx="2823587" cy="618766"/>
          </a:xfrm>
          <a:prstGeom prst="rect">
            <a:avLst/>
          </a:prstGeom>
        </p:spPr>
        <p:txBody>
          <a:bodyPr vert="horz" wrap="square" lIns="384000" tIns="0" rIns="0" bIns="0" anchor="ctr" anchorCtr="0">
            <a:noAutofit/>
          </a:bodyPr>
          <a:lstStyle/>
          <a:p>
            <a:pPr marL="0" marR="0" lvl="0" indent="0" algn="r" defTabSz="914400" rtl="0" eaLnBrk="1" fontAlgn="auto" latinLnBrk="0" hangingPunct="1">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此部分内容作为文字排版占位显示 </a:t>
            </a:r>
            <a:br>
              <a:rPr kumimoji="0" lang="zh-CN" altLang="en-US" sz="1600" b="0"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br>
            <a:r>
              <a:rPr kumimoji="0" lang="zh-CN" altLang="en-US" sz="1600" b="0"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建议使用主题字体）</a:t>
            </a:r>
            <a:endParaRPr kumimoji="0" lang="zh-CN" altLang="en-US" sz="1600" b="0"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07" name="TextBox 179"/>
          <p:cNvSpPr txBox="1"/>
          <p:nvPr/>
        </p:nvSpPr>
        <p:spPr>
          <a:xfrm>
            <a:off x="546227" y="2302670"/>
            <a:ext cx="2935892" cy="388226"/>
          </a:xfrm>
          <a:prstGeom prst="rect">
            <a:avLst/>
          </a:prstGeom>
          <a:noFill/>
        </p:spPr>
        <p:txBody>
          <a:bodyPr wrap="none" lIns="0" tIns="0" rIns="384000" bIns="0" anchor="ctr" anchorCtr="0">
            <a:norm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标题文本预设</a:t>
            </a:r>
            <a:endParaRPr kumimoji="0" lang="zh-CN" altLang="en-US" sz="2000" b="1"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08" name="TextBox 180"/>
          <p:cNvSpPr txBox="1"/>
          <p:nvPr/>
        </p:nvSpPr>
        <p:spPr>
          <a:xfrm>
            <a:off x="546226" y="2908178"/>
            <a:ext cx="2935892" cy="618766"/>
          </a:xfrm>
          <a:prstGeom prst="rect">
            <a:avLst/>
          </a:prstGeom>
        </p:spPr>
        <p:txBody>
          <a:bodyPr vert="horz" wrap="square" lIns="0" tIns="0" rIns="384000" bIns="0" anchor="ctr">
            <a:no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此部分内容作为文字排版占位显示 </a:t>
            </a:r>
            <a:br>
              <a:rPr kumimoji="0" lang="zh-CN" altLang="en-US" sz="1600" b="0"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br>
            <a:r>
              <a:rPr kumimoji="0" lang="zh-CN" altLang="en-US" sz="1600" b="0"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rPr>
              <a:t>（建议使用主题字体）</a:t>
            </a:r>
            <a:endParaRPr kumimoji="0" lang="zh-CN" altLang="en-US" sz="1600" b="0" i="0" u="none" strike="noStrike" kern="1200" cap="none" spc="0" normalizeH="0" baseline="0" noProof="0" dirty="0">
              <a:ln>
                <a:noFill/>
              </a:ln>
              <a:solidFill>
                <a:prstClr val="white">
                  <a:lumMod val="50000"/>
                </a:prstClr>
              </a:solidFill>
              <a:effectLst/>
              <a:uLnTx/>
              <a:uFillTx/>
              <a:latin typeface="Arial" panose="020B0604020202020204"/>
              <a:ea typeface="华文楷体" panose="02010600040101010101" charset="-122"/>
              <a:cs typeface="+mn-cs"/>
            </a:endParaRPr>
          </a:p>
        </p:txBody>
      </p:sp>
      <p:sp>
        <p:nvSpPr>
          <p:cNvPr id="11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112" name="图片 1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3036" name="think-cell Slide" r:id="rId2" imgW="12700" imgH="12700" progId="TCLayout.ActiveDocument.1">
                  <p:embed/>
                </p:oleObj>
              </mc:Choice>
              <mc:Fallback>
                <p:oleObj name="think-cell Slide" r:id="rId2" imgW="12700" imgH="12700" progId="TCLayout.ActiveDocument.1">
                  <p:embed/>
                  <p:pic>
                    <p:nvPicPr>
                      <p:cNvPr id="0" name="对象 2"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52" name="矩形 51"/>
          <p:cNvSpPr/>
          <p:nvPr/>
        </p:nvSpPr>
        <p:spPr>
          <a:xfrm>
            <a:off x="7563173" y="1367581"/>
            <a:ext cx="4308531" cy="338554"/>
          </a:xfrm>
          <a:prstGeom prst="rect">
            <a:avLst/>
          </a:prstGeom>
        </p:spPr>
        <p:txBody>
          <a:bodyPr wrap="square">
            <a:spAutoFit/>
          </a:bodyPr>
          <a:lstStyle/>
          <a:p>
            <a:pPr marL="228600" marR="0" lvl="0" indent="-228600" algn="l" defTabSz="914400" rtl="0" eaLnBrk="1" fontAlgn="auto" latinLnBrk="0" hangingPunct="1">
              <a:lnSpc>
                <a:spcPct val="100000"/>
              </a:lnSpc>
              <a:spcBef>
                <a:spcPts val="80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63" name="矩形 62"/>
          <p:cNvSpPr/>
          <p:nvPr/>
        </p:nvSpPr>
        <p:spPr>
          <a:xfrm>
            <a:off x="8152112" y="2755773"/>
            <a:ext cx="3719593" cy="338554"/>
          </a:xfrm>
          <a:prstGeom prst="rect">
            <a:avLst/>
          </a:prstGeom>
        </p:spPr>
        <p:txBody>
          <a:bodyPr wrap="square">
            <a:spAutoFit/>
          </a:bodyPr>
          <a:lstStyle/>
          <a:p>
            <a:pPr marL="228600" marR="0" lvl="0" indent="-228600" algn="l" defTabSz="914400" rtl="0" eaLnBrk="1" fontAlgn="auto" latinLnBrk="0" hangingPunct="1">
              <a:lnSpc>
                <a:spcPct val="100000"/>
              </a:lnSpc>
              <a:spcBef>
                <a:spcPts val="80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64" name="矩形 63"/>
          <p:cNvSpPr/>
          <p:nvPr/>
        </p:nvSpPr>
        <p:spPr>
          <a:xfrm>
            <a:off x="8152112" y="3722095"/>
            <a:ext cx="3719593" cy="225767"/>
          </a:xfrm>
          <a:prstGeom prst="rect">
            <a:avLst/>
          </a:prstGeom>
        </p:spPr>
        <p:txBody>
          <a:bodyPr wrap="square" lIns="0" tIns="0" rIns="0" bIns="0">
            <a:spAutoFit/>
          </a:bodyPr>
          <a:lstStyle/>
          <a:p>
            <a:pPr marL="228600" marR="0" lvl="0" indent="-228600" algn="l" defTabSz="914400" rtl="0" eaLnBrk="1" fontAlgn="auto" latinLnBrk="0" hangingPunct="1">
              <a:lnSpc>
                <a:spcPct val="100000"/>
              </a:lnSpc>
              <a:spcBef>
                <a:spcPts val="800"/>
              </a:spcBef>
              <a:spcAft>
                <a:spcPts val="0"/>
              </a:spcAft>
              <a:buClrTx/>
              <a:buSzTx/>
              <a:buFont typeface="Arial" panose="020B0604020202020204" pitchFamily="34" charset="0"/>
              <a:buChar char="•"/>
              <a:defRPr/>
            </a:pPr>
            <a:r>
              <a:rPr kumimoji="0" lang="en-US" altLang="zh-CN" sz="1465"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1465"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65" name="矩形 64"/>
          <p:cNvSpPr/>
          <p:nvPr/>
        </p:nvSpPr>
        <p:spPr>
          <a:xfrm>
            <a:off x="7563173" y="5330590"/>
            <a:ext cx="4308531" cy="338554"/>
          </a:xfrm>
          <a:prstGeom prst="rect">
            <a:avLst/>
          </a:prstGeom>
        </p:spPr>
        <p:txBody>
          <a:bodyPr wrap="square">
            <a:spAutoFit/>
          </a:bodyPr>
          <a:lstStyle/>
          <a:p>
            <a:pPr marL="228600" marR="0" lvl="0" indent="-228600" algn="l" defTabSz="914400" rtl="0" eaLnBrk="1" fontAlgn="auto" latinLnBrk="0" hangingPunct="1">
              <a:lnSpc>
                <a:spcPct val="100000"/>
              </a:lnSpc>
              <a:spcBef>
                <a:spcPts val="80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66" name="矩形 65"/>
          <p:cNvSpPr/>
          <p:nvPr/>
        </p:nvSpPr>
        <p:spPr>
          <a:xfrm>
            <a:off x="423622" y="5106785"/>
            <a:ext cx="4153545" cy="338554"/>
          </a:xfrm>
          <a:prstGeom prst="rect">
            <a:avLst/>
          </a:prstGeom>
        </p:spPr>
        <p:txBody>
          <a:bodyPr wrap="square">
            <a:spAutoFit/>
          </a:bodyPr>
          <a:lstStyle/>
          <a:p>
            <a:pPr marL="228600" marR="0" lvl="0" indent="-228600" algn="l" defTabSz="914400" rtl="0" eaLnBrk="1" fontAlgn="auto" latinLnBrk="0" hangingPunct="1">
              <a:lnSpc>
                <a:spcPct val="100000"/>
              </a:lnSpc>
              <a:spcBef>
                <a:spcPts val="80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67" name="矩形 66"/>
          <p:cNvSpPr/>
          <p:nvPr/>
        </p:nvSpPr>
        <p:spPr>
          <a:xfrm>
            <a:off x="423622" y="3988471"/>
            <a:ext cx="3640332" cy="338554"/>
          </a:xfrm>
          <a:prstGeom prst="rect">
            <a:avLst/>
          </a:prstGeom>
        </p:spPr>
        <p:txBody>
          <a:bodyPr wrap="square">
            <a:spAutoFit/>
          </a:bodyPr>
          <a:lstStyle/>
          <a:p>
            <a:pPr marL="228600" marR="0" lvl="0" indent="-228600" algn="l" defTabSz="914400" rtl="0" eaLnBrk="1" fontAlgn="auto" latinLnBrk="0" hangingPunct="1">
              <a:lnSpc>
                <a:spcPct val="100000"/>
              </a:lnSpc>
              <a:spcBef>
                <a:spcPts val="80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68" name="矩形 67"/>
          <p:cNvSpPr/>
          <p:nvPr/>
        </p:nvSpPr>
        <p:spPr>
          <a:xfrm>
            <a:off x="423622" y="2661031"/>
            <a:ext cx="3640332" cy="338554"/>
          </a:xfrm>
          <a:prstGeom prst="rect">
            <a:avLst/>
          </a:prstGeom>
        </p:spPr>
        <p:txBody>
          <a:bodyPr wrap="square">
            <a:spAutoFit/>
          </a:bodyPr>
          <a:lstStyle/>
          <a:p>
            <a:pPr marL="228600" marR="0" lvl="0" indent="-228600" algn="l" defTabSz="914400" rtl="0" eaLnBrk="1" fontAlgn="auto" latinLnBrk="0" hangingPunct="1">
              <a:lnSpc>
                <a:spcPct val="100000"/>
              </a:lnSpc>
              <a:spcBef>
                <a:spcPts val="80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69" name="矩形 68"/>
          <p:cNvSpPr/>
          <p:nvPr/>
        </p:nvSpPr>
        <p:spPr>
          <a:xfrm>
            <a:off x="423621" y="1367581"/>
            <a:ext cx="4308528" cy="338554"/>
          </a:xfrm>
          <a:prstGeom prst="rect">
            <a:avLst/>
          </a:prstGeom>
        </p:spPr>
        <p:txBody>
          <a:bodyPr wrap="square">
            <a:spAutoFit/>
          </a:bodyPr>
          <a:lstStyle/>
          <a:p>
            <a:pPr marL="228600" marR="0" lvl="0" indent="-228600" algn="l" defTabSz="914400" rtl="0" eaLnBrk="1" fontAlgn="auto" latinLnBrk="0" hangingPunct="1">
              <a:lnSpc>
                <a:spcPct val="100000"/>
              </a:lnSpc>
              <a:spcBef>
                <a:spcPts val="80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70" name="直接连接符 69"/>
          <p:cNvCxnSpPr/>
          <p:nvPr/>
        </p:nvCxnSpPr>
        <p:spPr>
          <a:xfrm>
            <a:off x="392625" y="2469397"/>
            <a:ext cx="445318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a:off x="382292" y="3626604"/>
            <a:ext cx="399856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a:off x="413290" y="4918129"/>
            <a:ext cx="447384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7335866" y="4918129"/>
            <a:ext cx="447384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7862807" y="3626604"/>
            <a:ext cx="399856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a:off x="7449519" y="2469397"/>
            <a:ext cx="451517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Freeform 65"/>
          <p:cNvSpPr/>
          <p:nvPr/>
        </p:nvSpPr>
        <p:spPr>
          <a:xfrm rot="2749832">
            <a:off x="7122492" y="2430505"/>
            <a:ext cx="225914" cy="286141"/>
          </a:xfrm>
          <a:custGeom>
            <a:avLst/>
            <a:gdLst>
              <a:gd name="connsiteX0" fmla="*/ 0 w 107282"/>
              <a:gd name="connsiteY0" fmla="*/ 27177 h 135883"/>
              <a:gd name="connsiteX1" fmla="*/ 53641 w 107282"/>
              <a:gd name="connsiteY1" fmla="*/ 27177 h 135883"/>
              <a:gd name="connsiteX2" fmla="*/ 53641 w 107282"/>
              <a:gd name="connsiteY2" fmla="*/ 0 h 135883"/>
              <a:gd name="connsiteX3" fmla="*/ 107282 w 107282"/>
              <a:gd name="connsiteY3" fmla="*/ 67942 h 135883"/>
              <a:gd name="connsiteX4" fmla="*/ 53641 w 107282"/>
              <a:gd name="connsiteY4" fmla="*/ 135883 h 135883"/>
              <a:gd name="connsiteX5" fmla="*/ 53641 w 107282"/>
              <a:gd name="connsiteY5" fmla="*/ 108706 h 135883"/>
              <a:gd name="connsiteX6" fmla="*/ 0 w 107282"/>
              <a:gd name="connsiteY6" fmla="*/ 108706 h 135883"/>
              <a:gd name="connsiteX7" fmla="*/ 0 w 107282"/>
              <a:gd name="connsiteY7" fmla="*/ 27177 h 1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82" h="135883">
                <a:moveTo>
                  <a:pt x="0" y="27177"/>
                </a:moveTo>
                <a:lnTo>
                  <a:pt x="53641" y="27177"/>
                </a:lnTo>
                <a:lnTo>
                  <a:pt x="53641" y="0"/>
                </a:lnTo>
                <a:lnTo>
                  <a:pt x="107282" y="67942"/>
                </a:lnTo>
                <a:lnTo>
                  <a:pt x="53641" y="135883"/>
                </a:lnTo>
                <a:lnTo>
                  <a:pt x="53641" y="108706"/>
                </a:lnTo>
                <a:lnTo>
                  <a:pt x="0" y="108706"/>
                </a:lnTo>
                <a:lnTo>
                  <a:pt x="0" y="27177"/>
                </a:lnTo>
                <a:close/>
              </a:path>
            </a:pathLst>
          </a:custGeom>
          <a:solidFill>
            <a:schemeClr val="accent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36236" rIns="42912" bIns="36235"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defRPr/>
            </a:pPr>
            <a:endParaRPr kumimoji="0" lang="en-US" sz="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24" name="Freeform 67"/>
          <p:cNvSpPr/>
          <p:nvPr/>
        </p:nvSpPr>
        <p:spPr>
          <a:xfrm rot="5449832">
            <a:off x="7561686" y="3522610"/>
            <a:ext cx="225914" cy="286141"/>
          </a:xfrm>
          <a:custGeom>
            <a:avLst/>
            <a:gdLst>
              <a:gd name="connsiteX0" fmla="*/ 0 w 107282"/>
              <a:gd name="connsiteY0" fmla="*/ 27177 h 135883"/>
              <a:gd name="connsiteX1" fmla="*/ 53641 w 107282"/>
              <a:gd name="connsiteY1" fmla="*/ 27177 h 135883"/>
              <a:gd name="connsiteX2" fmla="*/ 53641 w 107282"/>
              <a:gd name="connsiteY2" fmla="*/ 0 h 135883"/>
              <a:gd name="connsiteX3" fmla="*/ 107282 w 107282"/>
              <a:gd name="connsiteY3" fmla="*/ 67942 h 135883"/>
              <a:gd name="connsiteX4" fmla="*/ 53641 w 107282"/>
              <a:gd name="connsiteY4" fmla="*/ 135883 h 135883"/>
              <a:gd name="connsiteX5" fmla="*/ 53641 w 107282"/>
              <a:gd name="connsiteY5" fmla="*/ 108706 h 135883"/>
              <a:gd name="connsiteX6" fmla="*/ 0 w 107282"/>
              <a:gd name="connsiteY6" fmla="*/ 108706 h 135883"/>
              <a:gd name="connsiteX7" fmla="*/ 0 w 107282"/>
              <a:gd name="connsiteY7" fmla="*/ 27177 h 1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82" h="135883">
                <a:moveTo>
                  <a:pt x="0" y="27177"/>
                </a:moveTo>
                <a:lnTo>
                  <a:pt x="53641" y="27177"/>
                </a:lnTo>
                <a:lnTo>
                  <a:pt x="53641" y="0"/>
                </a:lnTo>
                <a:lnTo>
                  <a:pt x="107282" y="67942"/>
                </a:lnTo>
                <a:lnTo>
                  <a:pt x="53641" y="135883"/>
                </a:lnTo>
                <a:lnTo>
                  <a:pt x="53641" y="108706"/>
                </a:lnTo>
                <a:lnTo>
                  <a:pt x="0" y="108706"/>
                </a:lnTo>
                <a:lnTo>
                  <a:pt x="0" y="27177"/>
                </a:lnTo>
                <a:close/>
              </a:path>
            </a:pathLst>
          </a:custGeom>
          <a:solidFill>
            <a:schemeClr val="accent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36235" rIns="42913" bIns="36236"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defRPr/>
            </a:pPr>
            <a:endParaRPr kumimoji="0" lang="en-US" sz="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26" name="Freeform 69"/>
          <p:cNvSpPr/>
          <p:nvPr/>
        </p:nvSpPr>
        <p:spPr>
          <a:xfrm rot="18949832">
            <a:off x="7100008" y="4605398"/>
            <a:ext cx="225914" cy="286143"/>
          </a:xfrm>
          <a:custGeom>
            <a:avLst/>
            <a:gdLst>
              <a:gd name="connsiteX0" fmla="*/ 0 w 107282"/>
              <a:gd name="connsiteY0" fmla="*/ 27177 h 135883"/>
              <a:gd name="connsiteX1" fmla="*/ 53641 w 107282"/>
              <a:gd name="connsiteY1" fmla="*/ 27177 h 135883"/>
              <a:gd name="connsiteX2" fmla="*/ 53641 w 107282"/>
              <a:gd name="connsiteY2" fmla="*/ 0 h 135883"/>
              <a:gd name="connsiteX3" fmla="*/ 107282 w 107282"/>
              <a:gd name="connsiteY3" fmla="*/ 67942 h 135883"/>
              <a:gd name="connsiteX4" fmla="*/ 53641 w 107282"/>
              <a:gd name="connsiteY4" fmla="*/ 135883 h 135883"/>
              <a:gd name="connsiteX5" fmla="*/ 53641 w 107282"/>
              <a:gd name="connsiteY5" fmla="*/ 108706 h 135883"/>
              <a:gd name="connsiteX6" fmla="*/ 0 w 107282"/>
              <a:gd name="connsiteY6" fmla="*/ 108706 h 135883"/>
              <a:gd name="connsiteX7" fmla="*/ 0 w 107282"/>
              <a:gd name="connsiteY7" fmla="*/ 27177 h 1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82" h="135883">
                <a:moveTo>
                  <a:pt x="107282" y="108706"/>
                </a:moveTo>
                <a:lnTo>
                  <a:pt x="53641" y="108706"/>
                </a:lnTo>
                <a:lnTo>
                  <a:pt x="53641" y="135883"/>
                </a:lnTo>
                <a:lnTo>
                  <a:pt x="0" y="67941"/>
                </a:lnTo>
                <a:lnTo>
                  <a:pt x="53641" y="0"/>
                </a:lnTo>
                <a:lnTo>
                  <a:pt x="53641" y="27177"/>
                </a:lnTo>
                <a:lnTo>
                  <a:pt x="107282" y="27177"/>
                </a:lnTo>
                <a:lnTo>
                  <a:pt x="107282" y="108706"/>
                </a:lnTo>
                <a:close/>
              </a:path>
            </a:pathLst>
          </a:custGeom>
          <a:solidFill>
            <a:schemeClr val="accent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42913" tIns="36236" rIns="-1" bIns="36236"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defRPr/>
            </a:pPr>
            <a:endParaRPr kumimoji="0" lang="en-US" sz="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28" name="Freeform 71"/>
          <p:cNvSpPr/>
          <p:nvPr/>
        </p:nvSpPr>
        <p:spPr>
          <a:xfrm rot="49832">
            <a:off x="6007902" y="5044591"/>
            <a:ext cx="225915" cy="286143"/>
          </a:xfrm>
          <a:custGeom>
            <a:avLst/>
            <a:gdLst>
              <a:gd name="connsiteX0" fmla="*/ 0 w 107282"/>
              <a:gd name="connsiteY0" fmla="*/ 27177 h 135883"/>
              <a:gd name="connsiteX1" fmla="*/ 53641 w 107282"/>
              <a:gd name="connsiteY1" fmla="*/ 27177 h 135883"/>
              <a:gd name="connsiteX2" fmla="*/ 53641 w 107282"/>
              <a:gd name="connsiteY2" fmla="*/ 0 h 135883"/>
              <a:gd name="connsiteX3" fmla="*/ 107282 w 107282"/>
              <a:gd name="connsiteY3" fmla="*/ 67942 h 135883"/>
              <a:gd name="connsiteX4" fmla="*/ 53641 w 107282"/>
              <a:gd name="connsiteY4" fmla="*/ 135883 h 135883"/>
              <a:gd name="connsiteX5" fmla="*/ 53641 w 107282"/>
              <a:gd name="connsiteY5" fmla="*/ 108706 h 135883"/>
              <a:gd name="connsiteX6" fmla="*/ 0 w 107282"/>
              <a:gd name="connsiteY6" fmla="*/ 108706 h 135883"/>
              <a:gd name="connsiteX7" fmla="*/ 0 w 107282"/>
              <a:gd name="connsiteY7" fmla="*/ 27177 h 1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82" h="135883">
                <a:moveTo>
                  <a:pt x="107282" y="108706"/>
                </a:moveTo>
                <a:lnTo>
                  <a:pt x="53641" y="108706"/>
                </a:lnTo>
                <a:lnTo>
                  <a:pt x="53641" y="135883"/>
                </a:lnTo>
                <a:lnTo>
                  <a:pt x="0" y="67941"/>
                </a:lnTo>
                <a:lnTo>
                  <a:pt x="53641" y="0"/>
                </a:lnTo>
                <a:lnTo>
                  <a:pt x="53641" y="27177"/>
                </a:lnTo>
                <a:lnTo>
                  <a:pt x="107282" y="27177"/>
                </a:lnTo>
                <a:lnTo>
                  <a:pt x="107282" y="108706"/>
                </a:lnTo>
                <a:close/>
              </a:path>
            </a:pathLst>
          </a:custGeom>
          <a:solidFill>
            <a:schemeClr val="accent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42912" tIns="36237" rIns="1" bIns="36235"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defRPr/>
            </a:pPr>
            <a:endParaRPr kumimoji="0" lang="en-US" sz="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30" name="Freeform 73"/>
          <p:cNvSpPr/>
          <p:nvPr/>
        </p:nvSpPr>
        <p:spPr>
          <a:xfrm rot="2749832">
            <a:off x="4925112" y="4582914"/>
            <a:ext cx="225915" cy="286143"/>
          </a:xfrm>
          <a:custGeom>
            <a:avLst/>
            <a:gdLst>
              <a:gd name="connsiteX0" fmla="*/ 0 w 107282"/>
              <a:gd name="connsiteY0" fmla="*/ 27177 h 135883"/>
              <a:gd name="connsiteX1" fmla="*/ 53641 w 107282"/>
              <a:gd name="connsiteY1" fmla="*/ 27177 h 135883"/>
              <a:gd name="connsiteX2" fmla="*/ 53641 w 107282"/>
              <a:gd name="connsiteY2" fmla="*/ 0 h 135883"/>
              <a:gd name="connsiteX3" fmla="*/ 107282 w 107282"/>
              <a:gd name="connsiteY3" fmla="*/ 67942 h 135883"/>
              <a:gd name="connsiteX4" fmla="*/ 53641 w 107282"/>
              <a:gd name="connsiteY4" fmla="*/ 135883 h 135883"/>
              <a:gd name="connsiteX5" fmla="*/ 53641 w 107282"/>
              <a:gd name="connsiteY5" fmla="*/ 108706 h 135883"/>
              <a:gd name="connsiteX6" fmla="*/ 0 w 107282"/>
              <a:gd name="connsiteY6" fmla="*/ 108706 h 135883"/>
              <a:gd name="connsiteX7" fmla="*/ 0 w 107282"/>
              <a:gd name="connsiteY7" fmla="*/ 27177 h 1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82" h="135883">
                <a:moveTo>
                  <a:pt x="107282" y="108706"/>
                </a:moveTo>
                <a:lnTo>
                  <a:pt x="53641" y="108706"/>
                </a:lnTo>
                <a:lnTo>
                  <a:pt x="53641" y="135883"/>
                </a:lnTo>
                <a:lnTo>
                  <a:pt x="0" y="67941"/>
                </a:lnTo>
                <a:lnTo>
                  <a:pt x="53641" y="0"/>
                </a:lnTo>
                <a:lnTo>
                  <a:pt x="53641" y="27177"/>
                </a:lnTo>
                <a:lnTo>
                  <a:pt x="107282" y="27177"/>
                </a:lnTo>
                <a:lnTo>
                  <a:pt x="107282" y="108706"/>
                </a:lnTo>
                <a:close/>
              </a:path>
            </a:pathLst>
          </a:custGeom>
          <a:solidFill>
            <a:schemeClr val="accent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42913" tIns="36236" rIns="0" bIns="36236"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defRPr/>
            </a:pPr>
            <a:endParaRPr kumimoji="0" lang="en-US" sz="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32" name="Freeform 75"/>
          <p:cNvSpPr/>
          <p:nvPr/>
        </p:nvSpPr>
        <p:spPr>
          <a:xfrm rot="5449832">
            <a:off x="4485920" y="3490811"/>
            <a:ext cx="225915" cy="286141"/>
          </a:xfrm>
          <a:custGeom>
            <a:avLst/>
            <a:gdLst>
              <a:gd name="connsiteX0" fmla="*/ 0 w 107282"/>
              <a:gd name="connsiteY0" fmla="*/ 27177 h 135883"/>
              <a:gd name="connsiteX1" fmla="*/ 53641 w 107282"/>
              <a:gd name="connsiteY1" fmla="*/ 27177 h 135883"/>
              <a:gd name="connsiteX2" fmla="*/ 53641 w 107282"/>
              <a:gd name="connsiteY2" fmla="*/ 0 h 135883"/>
              <a:gd name="connsiteX3" fmla="*/ 107282 w 107282"/>
              <a:gd name="connsiteY3" fmla="*/ 67942 h 135883"/>
              <a:gd name="connsiteX4" fmla="*/ 53641 w 107282"/>
              <a:gd name="connsiteY4" fmla="*/ 135883 h 135883"/>
              <a:gd name="connsiteX5" fmla="*/ 53641 w 107282"/>
              <a:gd name="connsiteY5" fmla="*/ 108706 h 135883"/>
              <a:gd name="connsiteX6" fmla="*/ 0 w 107282"/>
              <a:gd name="connsiteY6" fmla="*/ 108706 h 135883"/>
              <a:gd name="connsiteX7" fmla="*/ 0 w 107282"/>
              <a:gd name="connsiteY7" fmla="*/ 27177 h 1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82" h="135883">
                <a:moveTo>
                  <a:pt x="107282" y="108706"/>
                </a:moveTo>
                <a:lnTo>
                  <a:pt x="53641" y="108706"/>
                </a:lnTo>
                <a:lnTo>
                  <a:pt x="53641" y="135883"/>
                </a:lnTo>
                <a:lnTo>
                  <a:pt x="0" y="67941"/>
                </a:lnTo>
                <a:lnTo>
                  <a:pt x="53641" y="0"/>
                </a:lnTo>
                <a:lnTo>
                  <a:pt x="53641" y="27177"/>
                </a:lnTo>
                <a:lnTo>
                  <a:pt x="107282" y="27177"/>
                </a:lnTo>
                <a:lnTo>
                  <a:pt x="107282" y="108706"/>
                </a:lnTo>
                <a:close/>
              </a:path>
            </a:pathLst>
          </a:custGeom>
          <a:solidFill>
            <a:schemeClr val="accent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42913" tIns="36235" rIns="0" bIns="36236"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defRPr/>
            </a:pPr>
            <a:endParaRPr kumimoji="0" lang="en-US" sz="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34" name="Freeform 77"/>
          <p:cNvSpPr/>
          <p:nvPr/>
        </p:nvSpPr>
        <p:spPr>
          <a:xfrm rot="18949832">
            <a:off x="4947597" y="2408021"/>
            <a:ext cx="225914" cy="286141"/>
          </a:xfrm>
          <a:custGeom>
            <a:avLst/>
            <a:gdLst>
              <a:gd name="connsiteX0" fmla="*/ 0 w 107282"/>
              <a:gd name="connsiteY0" fmla="*/ 27177 h 135883"/>
              <a:gd name="connsiteX1" fmla="*/ 53641 w 107282"/>
              <a:gd name="connsiteY1" fmla="*/ 27177 h 135883"/>
              <a:gd name="connsiteX2" fmla="*/ 53641 w 107282"/>
              <a:gd name="connsiteY2" fmla="*/ 0 h 135883"/>
              <a:gd name="connsiteX3" fmla="*/ 107282 w 107282"/>
              <a:gd name="connsiteY3" fmla="*/ 67942 h 135883"/>
              <a:gd name="connsiteX4" fmla="*/ 53641 w 107282"/>
              <a:gd name="connsiteY4" fmla="*/ 135883 h 135883"/>
              <a:gd name="connsiteX5" fmla="*/ 53641 w 107282"/>
              <a:gd name="connsiteY5" fmla="*/ 108706 h 135883"/>
              <a:gd name="connsiteX6" fmla="*/ 0 w 107282"/>
              <a:gd name="connsiteY6" fmla="*/ 108706 h 135883"/>
              <a:gd name="connsiteX7" fmla="*/ 0 w 107282"/>
              <a:gd name="connsiteY7" fmla="*/ 27177 h 1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82" h="135883">
                <a:moveTo>
                  <a:pt x="0" y="27177"/>
                </a:moveTo>
                <a:lnTo>
                  <a:pt x="53641" y="27177"/>
                </a:lnTo>
                <a:lnTo>
                  <a:pt x="53641" y="0"/>
                </a:lnTo>
                <a:lnTo>
                  <a:pt x="107282" y="67942"/>
                </a:lnTo>
                <a:lnTo>
                  <a:pt x="53641" y="135883"/>
                </a:lnTo>
                <a:lnTo>
                  <a:pt x="53641" y="108706"/>
                </a:lnTo>
                <a:lnTo>
                  <a:pt x="0" y="108706"/>
                </a:lnTo>
                <a:lnTo>
                  <a:pt x="0" y="27177"/>
                </a:lnTo>
                <a:close/>
              </a:path>
            </a:pathLst>
          </a:custGeom>
          <a:solidFill>
            <a:schemeClr val="accent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36235" rIns="42913" bIns="36236"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defRPr/>
            </a:pPr>
            <a:endParaRPr kumimoji="0" lang="en-US" sz="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36" name="Freeform 79"/>
          <p:cNvSpPr/>
          <p:nvPr/>
        </p:nvSpPr>
        <p:spPr>
          <a:xfrm rot="49832">
            <a:off x="6039701" y="1968827"/>
            <a:ext cx="225914" cy="286141"/>
          </a:xfrm>
          <a:custGeom>
            <a:avLst/>
            <a:gdLst>
              <a:gd name="connsiteX0" fmla="*/ 0 w 107282"/>
              <a:gd name="connsiteY0" fmla="*/ 27177 h 135883"/>
              <a:gd name="connsiteX1" fmla="*/ 53641 w 107282"/>
              <a:gd name="connsiteY1" fmla="*/ 27177 h 135883"/>
              <a:gd name="connsiteX2" fmla="*/ 53641 w 107282"/>
              <a:gd name="connsiteY2" fmla="*/ 0 h 135883"/>
              <a:gd name="connsiteX3" fmla="*/ 107282 w 107282"/>
              <a:gd name="connsiteY3" fmla="*/ 67942 h 135883"/>
              <a:gd name="connsiteX4" fmla="*/ 53641 w 107282"/>
              <a:gd name="connsiteY4" fmla="*/ 135883 h 135883"/>
              <a:gd name="connsiteX5" fmla="*/ 53641 w 107282"/>
              <a:gd name="connsiteY5" fmla="*/ 108706 h 135883"/>
              <a:gd name="connsiteX6" fmla="*/ 0 w 107282"/>
              <a:gd name="connsiteY6" fmla="*/ 108706 h 135883"/>
              <a:gd name="connsiteX7" fmla="*/ 0 w 107282"/>
              <a:gd name="connsiteY7" fmla="*/ 27177 h 1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82" h="135883">
                <a:moveTo>
                  <a:pt x="0" y="27177"/>
                </a:moveTo>
                <a:lnTo>
                  <a:pt x="53641" y="27177"/>
                </a:lnTo>
                <a:lnTo>
                  <a:pt x="53641" y="0"/>
                </a:lnTo>
                <a:lnTo>
                  <a:pt x="107282" y="67942"/>
                </a:lnTo>
                <a:lnTo>
                  <a:pt x="53641" y="135883"/>
                </a:lnTo>
                <a:lnTo>
                  <a:pt x="53641" y="108706"/>
                </a:lnTo>
                <a:lnTo>
                  <a:pt x="0" y="108706"/>
                </a:lnTo>
                <a:lnTo>
                  <a:pt x="0" y="27177"/>
                </a:lnTo>
                <a:close/>
              </a:path>
            </a:pathLst>
          </a:custGeom>
          <a:solidFill>
            <a:schemeClr val="accent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36235" rIns="42913" bIns="36236"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defRPr/>
            </a:pPr>
            <a:endParaRPr kumimoji="0" lang="en-US" sz="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21" name="Freeform 64"/>
          <p:cNvSpPr/>
          <p:nvPr/>
        </p:nvSpPr>
        <p:spPr>
          <a:xfrm>
            <a:off x="6372112" y="1697310"/>
            <a:ext cx="847827" cy="847827"/>
          </a:xfrm>
          <a:custGeom>
            <a:avLst/>
            <a:gdLst>
              <a:gd name="connsiteX0" fmla="*/ 0 w 402617"/>
              <a:gd name="connsiteY0" fmla="*/ 201309 h 402617"/>
              <a:gd name="connsiteX1" fmla="*/ 201309 w 402617"/>
              <a:gd name="connsiteY1" fmla="*/ 0 h 402617"/>
              <a:gd name="connsiteX2" fmla="*/ 402618 w 402617"/>
              <a:gd name="connsiteY2" fmla="*/ 201309 h 402617"/>
              <a:gd name="connsiteX3" fmla="*/ 201309 w 402617"/>
              <a:gd name="connsiteY3" fmla="*/ 402618 h 402617"/>
              <a:gd name="connsiteX4" fmla="*/ 0 w 402617"/>
              <a:gd name="connsiteY4" fmla="*/ 201309 h 40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617" h="402617">
                <a:moveTo>
                  <a:pt x="0" y="201309"/>
                </a:moveTo>
                <a:cubicBezTo>
                  <a:pt x="0" y="90129"/>
                  <a:pt x="90129" y="0"/>
                  <a:pt x="201309" y="0"/>
                </a:cubicBezTo>
                <a:cubicBezTo>
                  <a:pt x="312489" y="0"/>
                  <a:pt x="402618" y="90129"/>
                  <a:pt x="402618" y="201309"/>
                </a:cubicBezTo>
                <a:cubicBezTo>
                  <a:pt x="402618" y="312489"/>
                  <a:pt x="312489" y="402618"/>
                  <a:pt x="201309" y="402618"/>
                </a:cubicBezTo>
                <a:cubicBezTo>
                  <a:pt x="90129" y="402618"/>
                  <a:pt x="0" y="312489"/>
                  <a:pt x="0" y="201309"/>
                </a:cubicBezTo>
                <a:close/>
              </a:path>
            </a:pathLst>
          </a:custGeom>
          <a:solidFill>
            <a:srgbClr val="FE5817"/>
          </a:solidFill>
          <a:ln>
            <a:solidFill>
              <a:schemeClr val="bg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窃取客</a:t>
            </a:r>
            <a:br>
              <a:rPr kumimoji="0" lang="en-US" altLang="zh-CN"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b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户资产</a:t>
            </a:r>
            <a:endPar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23" name="Freeform 66"/>
          <p:cNvSpPr/>
          <p:nvPr/>
        </p:nvSpPr>
        <p:spPr>
          <a:xfrm>
            <a:off x="7259868" y="2611186"/>
            <a:ext cx="847827" cy="847827"/>
          </a:xfrm>
          <a:custGeom>
            <a:avLst/>
            <a:gdLst>
              <a:gd name="connsiteX0" fmla="*/ 0 w 402617"/>
              <a:gd name="connsiteY0" fmla="*/ 201309 h 402617"/>
              <a:gd name="connsiteX1" fmla="*/ 201309 w 402617"/>
              <a:gd name="connsiteY1" fmla="*/ 0 h 402617"/>
              <a:gd name="connsiteX2" fmla="*/ 402618 w 402617"/>
              <a:gd name="connsiteY2" fmla="*/ 201309 h 402617"/>
              <a:gd name="connsiteX3" fmla="*/ 201309 w 402617"/>
              <a:gd name="connsiteY3" fmla="*/ 402618 h 402617"/>
              <a:gd name="connsiteX4" fmla="*/ 0 w 402617"/>
              <a:gd name="connsiteY4" fmla="*/ 201309 h 40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617" h="402617">
                <a:moveTo>
                  <a:pt x="0" y="201309"/>
                </a:moveTo>
                <a:cubicBezTo>
                  <a:pt x="0" y="90129"/>
                  <a:pt x="90129" y="0"/>
                  <a:pt x="201309" y="0"/>
                </a:cubicBezTo>
                <a:cubicBezTo>
                  <a:pt x="312489" y="0"/>
                  <a:pt x="402618" y="90129"/>
                  <a:pt x="402618" y="201309"/>
                </a:cubicBezTo>
                <a:cubicBezTo>
                  <a:pt x="402618" y="312489"/>
                  <a:pt x="312489" y="402618"/>
                  <a:pt x="201309" y="402618"/>
                </a:cubicBezTo>
                <a:cubicBezTo>
                  <a:pt x="90129" y="402618"/>
                  <a:pt x="0" y="312489"/>
                  <a:pt x="0" y="201309"/>
                </a:cubicBezTo>
                <a:close/>
              </a:path>
            </a:pathLst>
          </a:custGeom>
          <a:solidFill>
            <a:srgbClr val="FE5817"/>
          </a:solidFill>
          <a:ln>
            <a:solidFill>
              <a:schemeClr val="bg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信用</a:t>
            </a:r>
            <a:br>
              <a:rPr kumimoji="0" lang="en-US" altLang="zh-CN"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b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滥用</a:t>
            </a:r>
            <a:endPar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25" name="Freeform 68"/>
          <p:cNvSpPr/>
          <p:nvPr/>
        </p:nvSpPr>
        <p:spPr>
          <a:xfrm>
            <a:off x="7241401" y="3885134"/>
            <a:ext cx="847827" cy="847827"/>
          </a:xfrm>
          <a:custGeom>
            <a:avLst/>
            <a:gdLst>
              <a:gd name="connsiteX0" fmla="*/ 0 w 402617"/>
              <a:gd name="connsiteY0" fmla="*/ 201309 h 402617"/>
              <a:gd name="connsiteX1" fmla="*/ 201309 w 402617"/>
              <a:gd name="connsiteY1" fmla="*/ 0 h 402617"/>
              <a:gd name="connsiteX2" fmla="*/ 402618 w 402617"/>
              <a:gd name="connsiteY2" fmla="*/ 201309 h 402617"/>
              <a:gd name="connsiteX3" fmla="*/ 201309 w 402617"/>
              <a:gd name="connsiteY3" fmla="*/ 402618 h 402617"/>
              <a:gd name="connsiteX4" fmla="*/ 0 w 402617"/>
              <a:gd name="connsiteY4" fmla="*/ 201309 h 40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617" h="402617">
                <a:moveTo>
                  <a:pt x="0" y="201309"/>
                </a:moveTo>
                <a:cubicBezTo>
                  <a:pt x="0" y="90129"/>
                  <a:pt x="90129" y="0"/>
                  <a:pt x="201309" y="0"/>
                </a:cubicBezTo>
                <a:cubicBezTo>
                  <a:pt x="312489" y="0"/>
                  <a:pt x="402618" y="90129"/>
                  <a:pt x="402618" y="201309"/>
                </a:cubicBezTo>
                <a:cubicBezTo>
                  <a:pt x="402618" y="312489"/>
                  <a:pt x="312489" y="402618"/>
                  <a:pt x="201309" y="402618"/>
                </a:cubicBezTo>
                <a:cubicBezTo>
                  <a:pt x="90129" y="402618"/>
                  <a:pt x="0" y="312489"/>
                  <a:pt x="0" y="201309"/>
                </a:cubicBezTo>
                <a:close/>
              </a:path>
            </a:pathLst>
          </a:custGeom>
          <a:solidFill>
            <a:srgbClr val="FE5817"/>
          </a:solidFill>
          <a:ln>
            <a:solidFill>
              <a:schemeClr val="bg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违反</a:t>
            </a:r>
            <a:br>
              <a:rPr kumimoji="0" lang="en-US" altLang="zh-CN"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b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政策</a:t>
            </a:r>
            <a:endPar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5" name="Freeform 78"/>
          <p:cNvSpPr/>
          <p:nvPr/>
        </p:nvSpPr>
        <p:spPr>
          <a:xfrm>
            <a:off x="5098164" y="1678844"/>
            <a:ext cx="847827" cy="847827"/>
          </a:xfrm>
          <a:custGeom>
            <a:avLst/>
            <a:gdLst>
              <a:gd name="connsiteX0" fmla="*/ 0 w 402617"/>
              <a:gd name="connsiteY0" fmla="*/ 201309 h 402617"/>
              <a:gd name="connsiteX1" fmla="*/ 201309 w 402617"/>
              <a:gd name="connsiteY1" fmla="*/ 0 h 402617"/>
              <a:gd name="connsiteX2" fmla="*/ 402618 w 402617"/>
              <a:gd name="connsiteY2" fmla="*/ 201309 h 402617"/>
              <a:gd name="connsiteX3" fmla="*/ 201309 w 402617"/>
              <a:gd name="connsiteY3" fmla="*/ 402618 h 402617"/>
              <a:gd name="connsiteX4" fmla="*/ 0 w 402617"/>
              <a:gd name="connsiteY4" fmla="*/ 201309 h 40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617" h="402617">
                <a:moveTo>
                  <a:pt x="0" y="201309"/>
                </a:moveTo>
                <a:cubicBezTo>
                  <a:pt x="0" y="90129"/>
                  <a:pt x="90129" y="0"/>
                  <a:pt x="201309" y="0"/>
                </a:cubicBezTo>
                <a:cubicBezTo>
                  <a:pt x="312489" y="0"/>
                  <a:pt x="402618" y="90129"/>
                  <a:pt x="402618" y="201309"/>
                </a:cubicBezTo>
                <a:cubicBezTo>
                  <a:pt x="402618" y="312489"/>
                  <a:pt x="312489" y="402618"/>
                  <a:pt x="201309" y="402618"/>
                </a:cubicBezTo>
                <a:cubicBezTo>
                  <a:pt x="90129" y="402618"/>
                  <a:pt x="0" y="312489"/>
                  <a:pt x="0" y="201309"/>
                </a:cubicBezTo>
                <a:close/>
              </a:path>
            </a:pathLst>
          </a:custGeom>
          <a:solidFill>
            <a:srgbClr val="FE5817"/>
          </a:solidFill>
          <a:ln>
            <a:solidFill>
              <a:schemeClr val="bg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窃取</a:t>
            </a:r>
            <a:br>
              <a:rPr kumimoji="0" lang="en-US" altLang="zh-CN"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b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数据</a:t>
            </a:r>
            <a:endPar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3" name="Freeform 76"/>
          <p:cNvSpPr/>
          <p:nvPr/>
        </p:nvSpPr>
        <p:spPr>
          <a:xfrm>
            <a:off x="4184288" y="2566601"/>
            <a:ext cx="847827" cy="847827"/>
          </a:xfrm>
          <a:custGeom>
            <a:avLst/>
            <a:gdLst>
              <a:gd name="connsiteX0" fmla="*/ 0 w 402617"/>
              <a:gd name="connsiteY0" fmla="*/ 201309 h 402617"/>
              <a:gd name="connsiteX1" fmla="*/ 201309 w 402617"/>
              <a:gd name="connsiteY1" fmla="*/ 0 h 402617"/>
              <a:gd name="connsiteX2" fmla="*/ 402618 w 402617"/>
              <a:gd name="connsiteY2" fmla="*/ 201309 h 402617"/>
              <a:gd name="connsiteX3" fmla="*/ 201309 w 402617"/>
              <a:gd name="connsiteY3" fmla="*/ 402618 h 402617"/>
              <a:gd name="connsiteX4" fmla="*/ 0 w 402617"/>
              <a:gd name="connsiteY4" fmla="*/ 201309 h 40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617" h="402617">
                <a:moveTo>
                  <a:pt x="0" y="201309"/>
                </a:moveTo>
                <a:cubicBezTo>
                  <a:pt x="0" y="90129"/>
                  <a:pt x="90129" y="0"/>
                  <a:pt x="201309" y="0"/>
                </a:cubicBezTo>
                <a:cubicBezTo>
                  <a:pt x="312489" y="0"/>
                  <a:pt x="402618" y="90129"/>
                  <a:pt x="402618" y="201309"/>
                </a:cubicBezTo>
                <a:cubicBezTo>
                  <a:pt x="402618" y="312489"/>
                  <a:pt x="312489" y="402618"/>
                  <a:pt x="201309" y="402618"/>
                </a:cubicBezTo>
                <a:cubicBezTo>
                  <a:pt x="90129" y="402618"/>
                  <a:pt x="0" y="312489"/>
                  <a:pt x="0" y="201309"/>
                </a:cubicBezTo>
                <a:close/>
              </a:path>
            </a:pathLst>
          </a:custGeom>
          <a:solidFill>
            <a:srgbClr val="FE5817"/>
          </a:solidFill>
          <a:ln>
            <a:solidFill>
              <a:schemeClr val="bg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费用</a:t>
            </a:r>
            <a:r>
              <a:rPr kumimoji="0" lang="en-US" altLang="zh-CN"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amp;</a:t>
            </a:r>
            <a:br>
              <a:rPr kumimoji="0" lang="en-US" altLang="zh-CN"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b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工资</a:t>
            </a:r>
            <a:endPar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31" name="Freeform 74"/>
          <p:cNvSpPr/>
          <p:nvPr/>
        </p:nvSpPr>
        <p:spPr>
          <a:xfrm>
            <a:off x="4165820" y="3840549"/>
            <a:ext cx="847827" cy="847827"/>
          </a:xfrm>
          <a:custGeom>
            <a:avLst/>
            <a:gdLst>
              <a:gd name="connsiteX0" fmla="*/ 0 w 402617"/>
              <a:gd name="connsiteY0" fmla="*/ 201309 h 402617"/>
              <a:gd name="connsiteX1" fmla="*/ 201309 w 402617"/>
              <a:gd name="connsiteY1" fmla="*/ 0 h 402617"/>
              <a:gd name="connsiteX2" fmla="*/ 402618 w 402617"/>
              <a:gd name="connsiteY2" fmla="*/ 201309 h 402617"/>
              <a:gd name="connsiteX3" fmla="*/ 201309 w 402617"/>
              <a:gd name="connsiteY3" fmla="*/ 402618 h 402617"/>
              <a:gd name="connsiteX4" fmla="*/ 0 w 402617"/>
              <a:gd name="connsiteY4" fmla="*/ 201309 h 40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617" h="402617">
                <a:moveTo>
                  <a:pt x="0" y="201309"/>
                </a:moveTo>
                <a:cubicBezTo>
                  <a:pt x="0" y="90129"/>
                  <a:pt x="90129" y="0"/>
                  <a:pt x="201309" y="0"/>
                </a:cubicBezTo>
                <a:cubicBezTo>
                  <a:pt x="312489" y="0"/>
                  <a:pt x="402618" y="90129"/>
                  <a:pt x="402618" y="201309"/>
                </a:cubicBezTo>
                <a:cubicBezTo>
                  <a:pt x="402618" y="312489"/>
                  <a:pt x="312489" y="402618"/>
                  <a:pt x="201309" y="402618"/>
                </a:cubicBezTo>
                <a:cubicBezTo>
                  <a:pt x="90129" y="402618"/>
                  <a:pt x="0" y="312489"/>
                  <a:pt x="0" y="201309"/>
                </a:cubicBezTo>
                <a:close/>
              </a:path>
            </a:pathLst>
          </a:custGeom>
          <a:solidFill>
            <a:srgbClr val="FE5817"/>
          </a:solidFill>
          <a:ln>
            <a:solidFill>
              <a:schemeClr val="bg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交易</a:t>
            </a:r>
            <a:br>
              <a:rPr kumimoji="0" lang="en-US" altLang="zh-CN"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b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欺诈</a:t>
            </a:r>
            <a:endPar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27" name="Freeform 70"/>
          <p:cNvSpPr/>
          <p:nvPr/>
        </p:nvSpPr>
        <p:spPr>
          <a:xfrm>
            <a:off x="6327525" y="4772892"/>
            <a:ext cx="847827" cy="847827"/>
          </a:xfrm>
          <a:custGeom>
            <a:avLst/>
            <a:gdLst>
              <a:gd name="connsiteX0" fmla="*/ 0 w 402617"/>
              <a:gd name="connsiteY0" fmla="*/ 201309 h 402617"/>
              <a:gd name="connsiteX1" fmla="*/ 201309 w 402617"/>
              <a:gd name="connsiteY1" fmla="*/ 0 h 402617"/>
              <a:gd name="connsiteX2" fmla="*/ 402618 w 402617"/>
              <a:gd name="connsiteY2" fmla="*/ 201309 h 402617"/>
              <a:gd name="connsiteX3" fmla="*/ 201309 w 402617"/>
              <a:gd name="connsiteY3" fmla="*/ 402618 h 402617"/>
              <a:gd name="connsiteX4" fmla="*/ 0 w 402617"/>
              <a:gd name="connsiteY4" fmla="*/ 201309 h 40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617" h="402617">
                <a:moveTo>
                  <a:pt x="0" y="201309"/>
                </a:moveTo>
                <a:cubicBezTo>
                  <a:pt x="0" y="90129"/>
                  <a:pt x="90129" y="0"/>
                  <a:pt x="201309" y="0"/>
                </a:cubicBezTo>
                <a:cubicBezTo>
                  <a:pt x="312489" y="0"/>
                  <a:pt x="402618" y="90129"/>
                  <a:pt x="402618" y="201309"/>
                </a:cubicBezTo>
                <a:cubicBezTo>
                  <a:pt x="402618" y="312489"/>
                  <a:pt x="312489" y="402618"/>
                  <a:pt x="201309" y="402618"/>
                </a:cubicBezTo>
                <a:cubicBezTo>
                  <a:pt x="90129" y="402618"/>
                  <a:pt x="0" y="312489"/>
                  <a:pt x="0" y="201309"/>
                </a:cubicBezTo>
                <a:close/>
              </a:path>
            </a:pathLst>
          </a:custGeom>
          <a:solidFill>
            <a:srgbClr val="FE5817"/>
          </a:solidFill>
          <a:ln>
            <a:solidFill>
              <a:schemeClr val="bg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rPr>
              <a:t>洗钱</a:t>
            </a:r>
            <a:endPar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29" name="Freeform 72"/>
          <p:cNvSpPr/>
          <p:nvPr/>
        </p:nvSpPr>
        <p:spPr>
          <a:xfrm>
            <a:off x="5053578" y="4754423"/>
            <a:ext cx="847827" cy="847827"/>
          </a:xfrm>
          <a:custGeom>
            <a:avLst/>
            <a:gdLst>
              <a:gd name="connsiteX0" fmla="*/ 0 w 402617"/>
              <a:gd name="connsiteY0" fmla="*/ 201309 h 402617"/>
              <a:gd name="connsiteX1" fmla="*/ 201309 w 402617"/>
              <a:gd name="connsiteY1" fmla="*/ 0 h 402617"/>
              <a:gd name="connsiteX2" fmla="*/ 402618 w 402617"/>
              <a:gd name="connsiteY2" fmla="*/ 201309 h 402617"/>
              <a:gd name="connsiteX3" fmla="*/ 201309 w 402617"/>
              <a:gd name="connsiteY3" fmla="*/ 402618 h 402617"/>
              <a:gd name="connsiteX4" fmla="*/ 0 w 402617"/>
              <a:gd name="connsiteY4" fmla="*/ 201309 h 402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617" h="402617">
                <a:moveTo>
                  <a:pt x="0" y="201309"/>
                </a:moveTo>
                <a:cubicBezTo>
                  <a:pt x="0" y="90129"/>
                  <a:pt x="90129" y="0"/>
                  <a:pt x="201309" y="0"/>
                </a:cubicBezTo>
                <a:cubicBezTo>
                  <a:pt x="312489" y="0"/>
                  <a:pt x="402618" y="90129"/>
                  <a:pt x="402618" y="201309"/>
                </a:cubicBezTo>
                <a:cubicBezTo>
                  <a:pt x="402618" y="312489"/>
                  <a:pt x="312489" y="402618"/>
                  <a:pt x="201309" y="402618"/>
                </a:cubicBezTo>
                <a:cubicBezTo>
                  <a:pt x="90129" y="402618"/>
                  <a:pt x="0" y="312489"/>
                  <a:pt x="0" y="201309"/>
                </a:cubicBezTo>
                <a:close/>
              </a:path>
            </a:pathLst>
          </a:custGeom>
          <a:solidFill>
            <a:srgbClr val="FE5817"/>
          </a:solidFill>
          <a:ln>
            <a:solidFill>
              <a:schemeClr val="bg1"/>
            </a:soli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采购</a:t>
            </a:r>
            <a:br>
              <a:rPr kumimoji="0" lang="en-US" altLang="zh-CN"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br>
            <a:r>
              <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欺诈</a:t>
            </a:r>
            <a:endParaRPr kumimoji="0"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grpSp>
        <p:nvGrpSpPr>
          <p:cNvPr id="82" name="组合 81"/>
          <p:cNvGrpSpPr/>
          <p:nvPr/>
        </p:nvGrpSpPr>
        <p:grpSpPr>
          <a:xfrm>
            <a:off x="5412513" y="3007631"/>
            <a:ext cx="1533802" cy="1306331"/>
            <a:chOff x="8900958" y="3557163"/>
            <a:chExt cx="694475" cy="638714"/>
          </a:xfrm>
          <a:solidFill>
            <a:srgbClr val="FE5817"/>
          </a:solidFill>
        </p:grpSpPr>
        <p:sp>
          <p:nvSpPr>
            <p:cNvPr id="83" name="Freeform 165"/>
            <p:cNvSpPr>
              <a:spLocks noEditPoints="1"/>
            </p:cNvSpPr>
            <p:nvPr/>
          </p:nvSpPr>
          <p:spPr bwMode="auto">
            <a:xfrm>
              <a:off x="8900958" y="3967764"/>
              <a:ext cx="231492" cy="79417"/>
            </a:xfrm>
            <a:custGeom>
              <a:avLst/>
              <a:gdLst>
                <a:gd name="T0" fmla="*/ 66 w 69"/>
                <a:gd name="T1" fmla="*/ 10 h 24"/>
                <a:gd name="T2" fmla="*/ 35 w 69"/>
                <a:gd name="T3" fmla="*/ 0 h 24"/>
                <a:gd name="T4" fmla="*/ 3 w 69"/>
                <a:gd name="T5" fmla="*/ 10 h 24"/>
                <a:gd name="T6" fmla="*/ 34 w 69"/>
                <a:gd name="T7" fmla="*/ 24 h 24"/>
                <a:gd name="T8" fmla="*/ 66 w 69"/>
                <a:gd name="T9" fmla="*/ 10 h 24"/>
                <a:gd name="T10" fmla="*/ 35 w 69"/>
                <a:gd name="T11" fmla="*/ 19 h 24"/>
                <a:gd name="T12" fmla="*/ 11 w 69"/>
                <a:gd name="T13" fmla="*/ 9 h 24"/>
                <a:gd name="T14" fmla="*/ 35 w 69"/>
                <a:gd name="T15" fmla="*/ 2 h 24"/>
                <a:gd name="T16" fmla="*/ 58 w 69"/>
                <a:gd name="T17" fmla="*/ 9 h 24"/>
                <a:gd name="T18" fmla="*/ 35 w 69"/>
                <a:gd name="T1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24">
                  <a:moveTo>
                    <a:pt x="66" y="10"/>
                  </a:moveTo>
                  <a:cubicBezTo>
                    <a:pt x="63" y="3"/>
                    <a:pt x="49" y="0"/>
                    <a:pt x="35" y="0"/>
                  </a:cubicBezTo>
                  <a:cubicBezTo>
                    <a:pt x="21" y="0"/>
                    <a:pt x="6" y="4"/>
                    <a:pt x="3" y="10"/>
                  </a:cubicBezTo>
                  <a:cubicBezTo>
                    <a:pt x="0" y="16"/>
                    <a:pt x="14" y="24"/>
                    <a:pt x="34" y="24"/>
                  </a:cubicBezTo>
                  <a:cubicBezTo>
                    <a:pt x="55" y="24"/>
                    <a:pt x="69" y="16"/>
                    <a:pt x="66" y="10"/>
                  </a:cubicBezTo>
                  <a:close/>
                  <a:moveTo>
                    <a:pt x="35" y="19"/>
                  </a:moveTo>
                  <a:cubicBezTo>
                    <a:pt x="20" y="19"/>
                    <a:pt x="9" y="13"/>
                    <a:pt x="11" y="9"/>
                  </a:cubicBezTo>
                  <a:cubicBezTo>
                    <a:pt x="13" y="5"/>
                    <a:pt x="24" y="2"/>
                    <a:pt x="35" y="2"/>
                  </a:cubicBezTo>
                  <a:cubicBezTo>
                    <a:pt x="46" y="2"/>
                    <a:pt x="57" y="5"/>
                    <a:pt x="58" y="9"/>
                  </a:cubicBezTo>
                  <a:cubicBezTo>
                    <a:pt x="60" y="13"/>
                    <a:pt x="50" y="19"/>
                    <a:pt x="35" y="19"/>
                  </a:cubicBez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 name="Freeform 166"/>
            <p:cNvSpPr/>
            <p:nvPr/>
          </p:nvSpPr>
          <p:spPr bwMode="auto">
            <a:xfrm>
              <a:off x="9063171" y="4030283"/>
              <a:ext cx="59140" cy="33795"/>
            </a:xfrm>
            <a:custGeom>
              <a:avLst/>
              <a:gdLst>
                <a:gd name="T0" fmla="*/ 10 w 35"/>
                <a:gd name="T1" fmla="*/ 0 h 20"/>
                <a:gd name="T2" fmla="*/ 35 w 35"/>
                <a:gd name="T3" fmla="*/ 8 h 20"/>
                <a:gd name="T4" fmla="*/ 20 w 35"/>
                <a:gd name="T5" fmla="*/ 20 h 20"/>
                <a:gd name="T6" fmla="*/ 0 w 35"/>
                <a:gd name="T7" fmla="*/ 4 h 20"/>
                <a:gd name="T8" fmla="*/ 10 w 35"/>
                <a:gd name="T9" fmla="*/ 0 h 20"/>
              </a:gdLst>
              <a:ahLst/>
              <a:cxnLst>
                <a:cxn ang="0">
                  <a:pos x="T0" y="T1"/>
                </a:cxn>
                <a:cxn ang="0">
                  <a:pos x="T2" y="T3"/>
                </a:cxn>
                <a:cxn ang="0">
                  <a:pos x="T4" y="T5"/>
                </a:cxn>
                <a:cxn ang="0">
                  <a:pos x="T6" y="T7"/>
                </a:cxn>
                <a:cxn ang="0">
                  <a:pos x="T8" y="T9"/>
                </a:cxn>
              </a:cxnLst>
              <a:rect l="0" t="0" r="r" b="b"/>
              <a:pathLst>
                <a:path w="35" h="20">
                  <a:moveTo>
                    <a:pt x="10" y="0"/>
                  </a:moveTo>
                  <a:lnTo>
                    <a:pt x="35" y="8"/>
                  </a:lnTo>
                  <a:lnTo>
                    <a:pt x="20" y="20"/>
                  </a:lnTo>
                  <a:lnTo>
                    <a:pt x="0" y="4"/>
                  </a:lnTo>
                  <a:lnTo>
                    <a:pt x="10" y="0"/>
                  </a:ln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 name="Freeform 167"/>
            <p:cNvSpPr>
              <a:spLocks noEditPoints="1"/>
            </p:cNvSpPr>
            <p:nvPr/>
          </p:nvSpPr>
          <p:spPr bwMode="auto">
            <a:xfrm>
              <a:off x="9360562" y="3967764"/>
              <a:ext cx="234871" cy="79417"/>
            </a:xfrm>
            <a:custGeom>
              <a:avLst/>
              <a:gdLst>
                <a:gd name="T0" fmla="*/ 66 w 70"/>
                <a:gd name="T1" fmla="*/ 10 h 24"/>
                <a:gd name="T2" fmla="*/ 35 w 70"/>
                <a:gd name="T3" fmla="*/ 0 h 24"/>
                <a:gd name="T4" fmla="*/ 3 w 70"/>
                <a:gd name="T5" fmla="*/ 10 h 24"/>
                <a:gd name="T6" fmla="*/ 35 w 70"/>
                <a:gd name="T7" fmla="*/ 24 h 24"/>
                <a:gd name="T8" fmla="*/ 66 w 70"/>
                <a:gd name="T9" fmla="*/ 10 h 24"/>
                <a:gd name="T10" fmla="*/ 35 w 70"/>
                <a:gd name="T11" fmla="*/ 19 h 24"/>
                <a:gd name="T12" fmla="*/ 11 w 70"/>
                <a:gd name="T13" fmla="*/ 9 h 24"/>
                <a:gd name="T14" fmla="*/ 35 w 70"/>
                <a:gd name="T15" fmla="*/ 2 h 24"/>
                <a:gd name="T16" fmla="*/ 58 w 70"/>
                <a:gd name="T17" fmla="*/ 9 h 24"/>
                <a:gd name="T18" fmla="*/ 35 w 70"/>
                <a:gd name="T1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24">
                  <a:moveTo>
                    <a:pt x="66" y="10"/>
                  </a:moveTo>
                  <a:cubicBezTo>
                    <a:pt x="63" y="4"/>
                    <a:pt x="49" y="0"/>
                    <a:pt x="35" y="0"/>
                  </a:cubicBezTo>
                  <a:cubicBezTo>
                    <a:pt x="21" y="0"/>
                    <a:pt x="7" y="3"/>
                    <a:pt x="3" y="10"/>
                  </a:cubicBezTo>
                  <a:cubicBezTo>
                    <a:pt x="0" y="16"/>
                    <a:pt x="14" y="24"/>
                    <a:pt x="35" y="24"/>
                  </a:cubicBezTo>
                  <a:cubicBezTo>
                    <a:pt x="56" y="24"/>
                    <a:pt x="70" y="16"/>
                    <a:pt x="66" y="10"/>
                  </a:cubicBezTo>
                  <a:close/>
                  <a:moveTo>
                    <a:pt x="35" y="19"/>
                  </a:moveTo>
                  <a:cubicBezTo>
                    <a:pt x="20" y="19"/>
                    <a:pt x="9" y="13"/>
                    <a:pt x="11" y="9"/>
                  </a:cubicBezTo>
                  <a:cubicBezTo>
                    <a:pt x="13" y="5"/>
                    <a:pt x="23" y="2"/>
                    <a:pt x="35" y="2"/>
                  </a:cubicBezTo>
                  <a:cubicBezTo>
                    <a:pt x="46" y="2"/>
                    <a:pt x="56" y="5"/>
                    <a:pt x="58" y="9"/>
                  </a:cubicBezTo>
                  <a:cubicBezTo>
                    <a:pt x="60" y="13"/>
                    <a:pt x="50" y="19"/>
                    <a:pt x="35" y="19"/>
                  </a:cubicBez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 name="Freeform 168"/>
            <p:cNvSpPr/>
            <p:nvPr/>
          </p:nvSpPr>
          <p:spPr bwMode="auto">
            <a:xfrm>
              <a:off x="9374079" y="4030283"/>
              <a:ext cx="57450" cy="33795"/>
            </a:xfrm>
            <a:custGeom>
              <a:avLst/>
              <a:gdLst>
                <a:gd name="T0" fmla="*/ 24 w 34"/>
                <a:gd name="T1" fmla="*/ 0 h 20"/>
                <a:gd name="T2" fmla="*/ 0 w 34"/>
                <a:gd name="T3" fmla="*/ 8 h 20"/>
                <a:gd name="T4" fmla="*/ 14 w 34"/>
                <a:gd name="T5" fmla="*/ 20 h 20"/>
                <a:gd name="T6" fmla="*/ 34 w 34"/>
                <a:gd name="T7" fmla="*/ 4 h 20"/>
                <a:gd name="T8" fmla="*/ 24 w 34"/>
                <a:gd name="T9" fmla="*/ 0 h 20"/>
              </a:gdLst>
              <a:ahLst/>
              <a:cxnLst>
                <a:cxn ang="0">
                  <a:pos x="T0" y="T1"/>
                </a:cxn>
                <a:cxn ang="0">
                  <a:pos x="T2" y="T3"/>
                </a:cxn>
                <a:cxn ang="0">
                  <a:pos x="T4" y="T5"/>
                </a:cxn>
                <a:cxn ang="0">
                  <a:pos x="T6" y="T7"/>
                </a:cxn>
                <a:cxn ang="0">
                  <a:pos x="T8" y="T9"/>
                </a:cxn>
              </a:cxnLst>
              <a:rect l="0" t="0" r="r" b="b"/>
              <a:pathLst>
                <a:path w="34" h="20">
                  <a:moveTo>
                    <a:pt x="24" y="0"/>
                  </a:moveTo>
                  <a:lnTo>
                    <a:pt x="0" y="8"/>
                  </a:lnTo>
                  <a:lnTo>
                    <a:pt x="14" y="20"/>
                  </a:lnTo>
                  <a:lnTo>
                    <a:pt x="34" y="4"/>
                  </a:lnTo>
                  <a:lnTo>
                    <a:pt x="24" y="0"/>
                  </a:ln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 name="Freeform 169"/>
            <p:cNvSpPr>
              <a:spLocks noEditPoints="1"/>
            </p:cNvSpPr>
            <p:nvPr/>
          </p:nvSpPr>
          <p:spPr bwMode="auto">
            <a:xfrm>
              <a:off x="9019238" y="4023525"/>
              <a:ext cx="456224" cy="172352"/>
            </a:xfrm>
            <a:custGeom>
              <a:avLst/>
              <a:gdLst>
                <a:gd name="T0" fmla="*/ 129 w 136"/>
                <a:gd name="T1" fmla="*/ 21 h 51"/>
                <a:gd name="T2" fmla="*/ 69 w 136"/>
                <a:gd name="T3" fmla="*/ 0 h 51"/>
                <a:gd name="T4" fmla="*/ 7 w 136"/>
                <a:gd name="T5" fmla="*/ 21 h 51"/>
                <a:gd name="T6" fmla="*/ 68 w 136"/>
                <a:gd name="T7" fmla="*/ 51 h 51"/>
                <a:gd name="T8" fmla="*/ 129 w 136"/>
                <a:gd name="T9" fmla="*/ 21 h 51"/>
                <a:gd name="T10" fmla="*/ 68 w 136"/>
                <a:gd name="T11" fmla="*/ 39 h 51"/>
                <a:gd name="T12" fmla="*/ 22 w 136"/>
                <a:gd name="T13" fmla="*/ 19 h 51"/>
                <a:gd name="T14" fmla="*/ 69 w 136"/>
                <a:gd name="T15" fmla="*/ 5 h 51"/>
                <a:gd name="T16" fmla="*/ 115 w 136"/>
                <a:gd name="T17" fmla="*/ 19 h 51"/>
                <a:gd name="T18" fmla="*/ 68 w 136"/>
                <a:gd name="T19"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51">
                  <a:moveTo>
                    <a:pt x="129" y="21"/>
                  </a:moveTo>
                  <a:cubicBezTo>
                    <a:pt x="123" y="8"/>
                    <a:pt x="96" y="0"/>
                    <a:pt x="69" y="0"/>
                  </a:cubicBezTo>
                  <a:cubicBezTo>
                    <a:pt x="41" y="0"/>
                    <a:pt x="13" y="8"/>
                    <a:pt x="7" y="21"/>
                  </a:cubicBezTo>
                  <a:cubicBezTo>
                    <a:pt x="0" y="33"/>
                    <a:pt x="28" y="51"/>
                    <a:pt x="68" y="51"/>
                  </a:cubicBezTo>
                  <a:cubicBezTo>
                    <a:pt x="108" y="51"/>
                    <a:pt x="136" y="33"/>
                    <a:pt x="129" y="21"/>
                  </a:cubicBezTo>
                  <a:close/>
                  <a:moveTo>
                    <a:pt x="68" y="39"/>
                  </a:moveTo>
                  <a:cubicBezTo>
                    <a:pt x="39" y="39"/>
                    <a:pt x="19" y="28"/>
                    <a:pt x="22" y="19"/>
                  </a:cubicBezTo>
                  <a:cubicBezTo>
                    <a:pt x="26" y="10"/>
                    <a:pt x="47" y="5"/>
                    <a:pt x="69" y="5"/>
                  </a:cubicBezTo>
                  <a:cubicBezTo>
                    <a:pt x="91" y="5"/>
                    <a:pt x="111" y="10"/>
                    <a:pt x="115" y="19"/>
                  </a:cubicBezTo>
                  <a:cubicBezTo>
                    <a:pt x="118" y="28"/>
                    <a:pt x="98" y="39"/>
                    <a:pt x="68" y="39"/>
                  </a:cubicBez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 name="Freeform 170"/>
            <p:cNvSpPr/>
            <p:nvPr/>
          </p:nvSpPr>
          <p:spPr bwMode="auto">
            <a:xfrm>
              <a:off x="9179761" y="3886657"/>
              <a:ext cx="67589" cy="224733"/>
            </a:xfrm>
            <a:custGeom>
              <a:avLst/>
              <a:gdLst>
                <a:gd name="T0" fmla="*/ 0 w 20"/>
                <a:gd name="T1" fmla="*/ 0 h 67"/>
                <a:gd name="T2" fmla="*/ 2 w 20"/>
                <a:gd name="T3" fmla="*/ 67 h 67"/>
                <a:gd name="T4" fmla="*/ 19 w 20"/>
                <a:gd name="T5" fmla="*/ 67 h 67"/>
                <a:gd name="T6" fmla="*/ 19 w 20"/>
                <a:gd name="T7" fmla="*/ 0 h 67"/>
                <a:gd name="T8" fmla="*/ 0 w 20"/>
                <a:gd name="T9" fmla="*/ 0 h 67"/>
              </a:gdLst>
              <a:ahLst/>
              <a:cxnLst>
                <a:cxn ang="0">
                  <a:pos x="T0" y="T1"/>
                </a:cxn>
                <a:cxn ang="0">
                  <a:pos x="T2" y="T3"/>
                </a:cxn>
                <a:cxn ang="0">
                  <a:pos x="T4" y="T5"/>
                </a:cxn>
                <a:cxn ang="0">
                  <a:pos x="T6" y="T7"/>
                </a:cxn>
                <a:cxn ang="0">
                  <a:pos x="T8" y="T9"/>
                </a:cxn>
              </a:cxnLst>
              <a:rect l="0" t="0" r="r" b="b"/>
              <a:pathLst>
                <a:path w="20" h="67">
                  <a:moveTo>
                    <a:pt x="0" y="0"/>
                  </a:moveTo>
                  <a:cubicBezTo>
                    <a:pt x="2" y="67"/>
                    <a:pt x="2" y="67"/>
                    <a:pt x="2" y="67"/>
                  </a:cubicBezTo>
                  <a:cubicBezTo>
                    <a:pt x="19" y="67"/>
                    <a:pt x="19" y="67"/>
                    <a:pt x="19" y="67"/>
                  </a:cubicBezTo>
                  <a:cubicBezTo>
                    <a:pt x="20" y="44"/>
                    <a:pt x="19" y="0"/>
                    <a:pt x="19" y="0"/>
                  </a:cubicBezTo>
                  <a:cubicBezTo>
                    <a:pt x="19" y="0"/>
                    <a:pt x="7" y="0"/>
                    <a:pt x="0" y="0"/>
                  </a:cubicBez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 name="Freeform 171"/>
            <p:cNvSpPr/>
            <p:nvPr/>
          </p:nvSpPr>
          <p:spPr bwMode="auto">
            <a:xfrm>
              <a:off x="9250730" y="3886657"/>
              <a:ext cx="67589" cy="224733"/>
            </a:xfrm>
            <a:custGeom>
              <a:avLst/>
              <a:gdLst>
                <a:gd name="T0" fmla="*/ 0 w 20"/>
                <a:gd name="T1" fmla="*/ 0 h 67"/>
                <a:gd name="T2" fmla="*/ 2 w 20"/>
                <a:gd name="T3" fmla="*/ 67 h 67"/>
                <a:gd name="T4" fmla="*/ 19 w 20"/>
                <a:gd name="T5" fmla="*/ 67 h 67"/>
                <a:gd name="T6" fmla="*/ 19 w 20"/>
                <a:gd name="T7" fmla="*/ 0 h 67"/>
                <a:gd name="T8" fmla="*/ 0 w 20"/>
                <a:gd name="T9" fmla="*/ 0 h 67"/>
              </a:gdLst>
              <a:ahLst/>
              <a:cxnLst>
                <a:cxn ang="0">
                  <a:pos x="T0" y="T1"/>
                </a:cxn>
                <a:cxn ang="0">
                  <a:pos x="T2" y="T3"/>
                </a:cxn>
                <a:cxn ang="0">
                  <a:pos x="T4" y="T5"/>
                </a:cxn>
                <a:cxn ang="0">
                  <a:pos x="T6" y="T7"/>
                </a:cxn>
                <a:cxn ang="0">
                  <a:pos x="T8" y="T9"/>
                </a:cxn>
              </a:cxnLst>
              <a:rect l="0" t="0" r="r" b="b"/>
              <a:pathLst>
                <a:path w="20" h="67">
                  <a:moveTo>
                    <a:pt x="0" y="0"/>
                  </a:moveTo>
                  <a:cubicBezTo>
                    <a:pt x="2" y="67"/>
                    <a:pt x="2" y="67"/>
                    <a:pt x="2" y="67"/>
                  </a:cubicBezTo>
                  <a:cubicBezTo>
                    <a:pt x="19" y="67"/>
                    <a:pt x="19" y="67"/>
                    <a:pt x="19" y="67"/>
                  </a:cubicBezTo>
                  <a:cubicBezTo>
                    <a:pt x="20" y="44"/>
                    <a:pt x="19" y="0"/>
                    <a:pt x="19" y="0"/>
                  </a:cubicBezTo>
                  <a:cubicBezTo>
                    <a:pt x="19" y="0"/>
                    <a:pt x="7" y="0"/>
                    <a:pt x="0" y="0"/>
                  </a:cubicBez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 name="Oval 172"/>
            <p:cNvSpPr>
              <a:spLocks noChangeArrowheads="1"/>
            </p:cNvSpPr>
            <p:nvPr/>
          </p:nvSpPr>
          <p:spPr bwMode="auto">
            <a:xfrm>
              <a:off x="9203418" y="3557163"/>
              <a:ext cx="87866" cy="104763"/>
            </a:xfrm>
            <a:prstGeom prst="ellipse">
              <a:avLst/>
            </a:pr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 name="Rectangle 173"/>
            <p:cNvSpPr>
              <a:spLocks noChangeArrowheads="1"/>
            </p:cNvSpPr>
            <p:nvPr/>
          </p:nvSpPr>
          <p:spPr bwMode="auto">
            <a:xfrm>
              <a:off x="9247350" y="3812309"/>
              <a:ext cx="1690" cy="1690"/>
            </a:xfrm>
            <a:prstGeom prst="rect">
              <a:avLst/>
            </a:pr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 name="Freeform 174"/>
            <p:cNvSpPr/>
            <p:nvPr/>
          </p:nvSpPr>
          <p:spPr bwMode="auto">
            <a:xfrm>
              <a:off x="9145967" y="3675442"/>
              <a:ext cx="204456" cy="228112"/>
            </a:xfrm>
            <a:custGeom>
              <a:avLst/>
              <a:gdLst>
                <a:gd name="T0" fmla="*/ 56 w 61"/>
                <a:gd name="T1" fmla="*/ 8 h 68"/>
                <a:gd name="T2" fmla="*/ 49 w 61"/>
                <a:gd name="T3" fmla="*/ 1 h 68"/>
                <a:gd name="T4" fmla="*/ 41 w 61"/>
                <a:gd name="T5" fmla="*/ 0 h 68"/>
                <a:gd name="T6" fmla="*/ 41 w 61"/>
                <a:gd name="T7" fmla="*/ 0 h 68"/>
                <a:gd name="T8" fmla="*/ 46 w 61"/>
                <a:gd name="T9" fmla="*/ 5 h 68"/>
                <a:gd name="T10" fmla="*/ 40 w 61"/>
                <a:gd name="T11" fmla="*/ 8 h 68"/>
                <a:gd name="T12" fmla="*/ 43 w 61"/>
                <a:gd name="T13" fmla="*/ 13 h 68"/>
                <a:gd name="T14" fmla="*/ 30 w 61"/>
                <a:gd name="T15" fmla="*/ 41 h 68"/>
                <a:gd name="T16" fmla="*/ 30 w 61"/>
                <a:gd name="T17" fmla="*/ 41 h 68"/>
                <a:gd name="T18" fmla="*/ 30 w 61"/>
                <a:gd name="T19" fmla="*/ 41 h 68"/>
                <a:gd name="T20" fmla="*/ 30 w 61"/>
                <a:gd name="T21" fmla="*/ 41 h 68"/>
                <a:gd name="T22" fmla="*/ 30 w 61"/>
                <a:gd name="T23" fmla="*/ 41 h 68"/>
                <a:gd name="T24" fmla="*/ 17 w 61"/>
                <a:gd name="T25" fmla="*/ 13 h 68"/>
                <a:gd name="T26" fmla="*/ 20 w 61"/>
                <a:gd name="T27" fmla="*/ 8 h 68"/>
                <a:gd name="T28" fmla="*/ 14 w 61"/>
                <a:gd name="T29" fmla="*/ 5 h 68"/>
                <a:gd name="T30" fmla="*/ 19 w 61"/>
                <a:gd name="T31" fmla="*/ 0 h 68"/>
                <a:gd name="T32" fmla="*/ 19 w 61"/>
                <a:gd name="T33" fmla="*/ 0 h 68"/>
                <a:gd name="T34" fmla="*/ 12 w 61"/>
                <a:gd name="T35" fmla="*/ 1 h 68"/>
                <a:gd name="T36" fmla="*/ 12 w 61"/>
                <a:gd name="T37" fmla="*/ 1 h 68"/>
                <a:gd name="T38" fmla="*/ 5 w 61"/>
                <a:gd name="T39" fmla="*/ 8 h 68"/>
                <a:gd name="T40" fmla="*/ 0 w 61"/>
                <a:gd name="T41" fmla="*/ 68 h 68"/>
                <a:gd name="T42" fmla="*/ 8 w 61"/>
                <a:gd name="T43" fmla="*/ 68 h 68"/>
                <a:gd name="T44" fmla="*/ 8 w 61"/>
                <a:gd name="T45" fmla="*/ 68 h 68"/>
                <a:gd name="T46" fmla="*/ 9 w 61"/>
                <a:gd name="T47" fmla="*/ 68 h 68"/>
                <a:gd name="T48" fmla="*/ 18 w 61"/>
                <a:gd name="T49" fmla="*/ 68 h 68"/>
                <a:gd name="T50" fmla="*/ 18 w 61"/>
                <a:gd name="T51" fmla="*/ 68 h 68"/>
                <a:gd name="T52" fmla="*/ 43 w 61"/>
                <a:gd name="T53" fmla="*/ 68 h 68"/>
                <a:gd name="T54" fmla="*/ 43 w 61"/>
                <a:gd name="T55" fmla="*/ 68 h 68"/>
                <a:gd name="T56" fmla="*/ 52 w 61"/>
                <a:gd name="T57" fmla="*/ 68 h 68"/>
                <a:gd name="T58" fmla="*/ 52 w 61"/>
                <a:gd name="T59" fmla="*/ 68 h 68"/>
                <a:gd name="T60" fmla="*/ 52 w 61"/>
                <a:gd name="T61" fmla="*/ 68 h 68"/>
                <a:gd name="T62" fmla="*/ 61 w 61"/>
                <a:gd name="T63" fmla="*/ 68 h 68"/>
                <a:gd name="T64" fmla="*/ 56 w 61"/>
                <a:gd name="T65" fmla="*/ 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68">
                  <a:moveTo>
                    <a:pt x="56" y="8"/>
                  </a:moveTo>
                  <a:cubicBezTo>
                    <a:pt x="56" y="4"/>
                    <a:pt x="53" y="1"/>
                    <a:pt x="49" y="1"/>
                  </a:cubicBezTo>
                  <a:cubicBezTo>
                    <a:pt x="48" y="1"/>
                    <a:pt x="43" y="0"/>
                    <a:pt x="41" y="0"/>
                  </a:cubicBezTo>
                  <a:cubicBezTo>
                    <a:pt x="41" y="0"/>
                    <a:pt x="41" y="0"/>
                    <a:pt x="41" y="0"/>
                  </a:cubicBezTo>
                  <a:cubicBezTo>
                    <a:pt x="46" y="5"/>
                    <a:pt x="46" y="5"/>
                    <a:pt x="46" y="5"/>
                  </a:cubicBezTo>
                  <a:cubicBezTo>
                    <a:pt x="40" y="8"/>
                    <a:pt x="40" y="8"/>
                    <a:pt x="40" y="8"/>
                  </a:cubicBezTo>
                  <a:cubicBezTo>
                    <a:pt x="43" y="13"/>
                    <a:pt x="43" y="13"/>
                    <a:pt x="43" y="13"/>
                  </a:cubicBezTo>
                  <a:cubicBezTo>
                    <a:pt x="30" y="41"/>
                    <a:pt x="30" y="41"/>
                    <a:pt x="30" y="41"/>
                  </a:cubicBezTo>
                  <a:cubicBezTo>
                    <a:pt x="30" y="41"/>
                    <a:pt x="30" y="41"/>
                    <a:pt x="30" y="41"/>
                  </a:cubicBezTo>
                  <a:cubicBezTo>
                    <a:pt x="30" y="41"/>
                    <a:pt x="30" y="41"/>
                    <a:pt x="30" y="41"/>
                  </a:cubicBezTo>
                  <a:cubicBezTo>
                    <a:pt x="30" y="41"/>
                    <a:pt x="30" y="41"/>
                    <a:pt x="30" y="41"/>
                  </a:cubicBezTo>
                  <a:cubicBezTo>
                    <a:pt x="30" y="41"/>
                    <a:pt x="30" y="41"/>
                    <a:pt x="30" y="41"/>
                  </a:cubicBezTo>
                  <a:cubicBezTo>
                    <a:pt x="17" y="13"/>
                    <a:pt x="17" y="13"/>
                    <a:pt x="17" y="13"/>
                  </a:cubicBezTo>
                  <a:cubicBezTo>
                    <a:pt x="20" y="8"/>
                    <a:pt x="20" y="8"/>
                    <a:pt x="20" y="8"/>
                  </a:cubicBezTo>
                  <a:cubicBezTo>
                    <a:pt x="14" y="5"/>
                    <a:pt x="14" y="5"/>
                    <a:pt x="14" y="5"/>
                  </a:cubicBezTo>
                  <a:cubicBezTo>
                    <a:pt x="19" y="0"/>
                    <a:pt x="19" y="0"/>
                    <a:pt x="19" y="0"/>
                  </a:cubicBezTo>
                  <a:cubicBezTo>
                    <a:pt x="19" y="0"/>
                    <a:pt x="19" y="0"/>
                    <a:pt x="19" y="0"/>
                  </a:cubicBezTo>
                  <a:cubicBezTo>
                    <a:pt x="17" y="0"/>
                    <a:pt x="13" y="0"/>
                    <a:pt x="12" y="1"/>
                  </a:cubicBezTo>
                  <a:cubicBezTo>
                    <a:pt x="12" y="1"/>
                    <a:pt x="12" y="1"/>
                    <a:pt x="12" y="1"/>
                  </a:cubicBezTo>
                  <a:cubicBezTo>
                    <a:pt x="8" y="1"/>
                    <a:pt x="5" y="4"/>
                    <a:pt x="5" y="8"/>
                  </a:cubicBezTo>
                  <a:cubicBezTo>
                    <a:pt x="0" y="68"/>
                    <a:pt x="0" y="68"/>
                    <a:pt x="0" y="68"/>
                  </a:cubicBezTo>
                  <a:cubicBezTo>
                    <a:pt x="3" y="68"/>
                    <a:pt x="5" y="68"/>
                    <a:pt x="8" y="68"/>
                  </a:cubicBezTo>
                  <a:cubicBezTo>
                    <a:pt x="8" y="68"/>
                    <a:pt x="8" y="68"/>
                    <a:pt x="8" y="68"/>
                  </a:cubicBezTo>
                  <a:cubicBezTo>
                    <a:pt x="8" y="68"/>
                    <a:pt x="9" y="68"/>
                    <a:pt x="9" y="68"/>
                  </a:cubicBezTo>
                  <a:cubicBezTo>
                    <a:pt x="12" y="68"/>
                    <a:pt x="15" y="68"/>
                    <a:pt x="18" y="68"/>
                  </a:cubicBezTo>
                  <a:cubicBezTo>
                    <a:pt x="18" y="68"/>
                    <a:pt x="18" y="68"/>
                    <a:pt x="18" y="68"/>
                  </a:cubicBezTo>
                  <a:cubicBezTo>
                    <a:pt x="26" y="68"/>
                    <a:pt x="35" y="68"/>
                    <a:pt x="43" y="68"/>
                  </a:cubicBezTo>
                  <a:cubicBezTo>
                    <a:pt x="43" y="68"/>
                    <a:pt x="43" y="68"/>
                    <a:pt x="43" y="68"/>
                  </a:cubicBezTo>
                  <a:cubicBezTo>
                    <a:pt x="46" y="68"/>
                    <a:pt x="49" y="68"/>
                    <a:pt x="52" y="68"/>
                  </a:cubicBezTo>
                  <a:cubicBezTo>
                    <a:pt x="52" y="68"/>
                    <a:pt x="52" y="68"/>
                    <a:pt x="52" y="68"/>
                  </a:cubicBezTo>
                  <a:cubicBezTo>
                    <a:pt x="52" y="68"/>
                    <a:pt x="52" y="68"/>
                    <a:pt x="52" y="68"/>
                  </a:cubicBezTo>
                  <a:cubicBezTo>
                    <a:pt x="55" y="68"/>
                    <a:pt x="58" y="68"/>
                    <a:pt x="61" y="68"/>
                  </a:cubicBezTo>
                  <a:lnTo>
                    <a:pt x="56" y="8"/>
                  </a:ln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 name="Freeform 175"/>
            <p:cNvSpPr/>
            <p:nvPr/>
          </p:nvSpPr>
          <p:spPr bwMode="auto">
            <a:xfrm>
              <a:off x="9233832" y="3672063"/>
              <a:ext cx="27036" cy="33795"/>
            </a:xfrm>
            <a:custGeom>
              <a:avLst/>
              <a:gdLst>
                <a:gd name="T0" fmla="*/ 14 w 16"/>
                <a:gd name="T1" fmla="*/ 0 h 20"/>
                <a:gd name="T2" fmla="*/ 16 w 16"/>
                <a:gd name="T3" fmla="*/ 12 h 20"/>
                <a:gd name="T4" fmla="*/ 8 w 16"/>
                <a:gd name="T5" fmla="*/ 20 h 20"/>
                <a:gd name="T6" fmla="*/ 0 w 16"/>
                <a:gd name="T7" fmla="*/ 12 h 20"/>
                <a:gd name="T8" fmla="*/ 4 w 16"/>
                <a:gd name="T9" fmla="*/ 0 h 20"/>
                <a:gd name="T10" fmla="*/ 14 w 16"/>
                <a:gd name="T11" fmla="*/ 0 h 20"/>
              </a:gdLst>
              <a:ahLst/>
              <a:cxnLst>
                <a:cxn ang="0">
                  <a:pos x="T0" y="T1"/>
                </a:cxn>
                <a:cxn ang="0">
                  <a:pos x="T2" y="T3"/>
                </a:cxn>
                <a:cxn ang="0">
                  <a:pos x="T4" y="T5"/>
                </a:cxn>
                <a:cxn ang="0">
                  <a:pos x="T6" y="T7"/>
                </a:cxn>
                <a:cxn ang="0">
                  <a:pos x="T8" y="T9"/>
                </a:cxn>
                <a:cxn ang="0">
                  <a:pos x="T10" y="T11"/>
                </a:cxn>
              </a:cxnLst>
              <a:rect l="0" t="0" r="r" b="b"/>
              <a:pathLst>
                <a:path w="16" h="20">
                  <a:moveTo>
                    <a:pt x="14" y="0"/>
                  </a:moveTo>
                  <a:lnTo>
                    <a:pt x="16" y="12"/>
                  </a:lnTo>
                  <a:lnTo>
                    <a:pt x="8" y="20"/>
                  </a:lnTo>
                  <a:lnTo>
                    <a:pt x="0" y="12"/>
                  </a:lnTo>
                  <a:lnTo>
                    <a:pt x="4" y="0"/>
                  </a:lnTo>
                  <a:lnTo>
                    <a:pt x="14" y="0"/>
                  </a:ln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 name="Freeform 176"/>
            <p:cNvSpPr/>
            <p:nvPr/>
          </p:nvSpPr>
          <p:spPr bwMode="auto">
            <a:xfrm>
              <a:off x="9230453" y="3695719"/>
              <a:ext cx="33795" cy="130108"/>
            </a:xfrm>
            <a:custGeom>
              <a:avLst/>
              <a:gdLst>
                <a:gd name="T0" fmla="*/ 16 w 20"/>
                <a:gd name="T1" fmla="*/ 0 h 77"/>
                <a:gd name="T2" fmla="*/ 20 w 20"/>
                <a:gd name="T3" fmla="*/ 69 h 77"/>
                <a:gd name="T4" fmla="*/ 10 w 20"/>
                <a:gd name="T5" fmla="*/ 77 h 77"/>
                <a:gd name="T6" fmla="*/ 0 w 20"/>
                <a:gd name="T7" fmla="*/ 69 h 77"/>
                <a:gd name="T8" fmla="*/ 4 w 20"/>
                <a:gd name="T9" fmla="*/ 0 h 77"/>
                <a:gd name="T10" fmla="*/ 16 w 20"/>
                <a:gd name="T11" fmla="*/ 0 h 77"/>
              </a:gdLst>
              <a:ahLst/>
              <a:cxnLst>
                <a:cxn ang="0">
                  <a:pos x="T0" y="T1"/>
                </a:cxn>
                <a:cxn ang="0">
                  <a:pos x="T2" y="T3"/>
                </a:cxn>
                <a:cxn ang="0">
                  <a:pos x="T4" y="T5"/>
                </a:cxn>
                <a:cxn ang="0">
                  <a:pos x="T6" y="T7"/>
                </a:cxn>
                <a:cxn ang="0">
                  <a:pos x="T8" y="T9"/>
                </a:cxn>
                <a:cxn ang="0">
                  <a:pos x="T10" y="T11"/>
                </a:cxn>
              </a:cxnLst>
              <a:rect l="0" t="0" r="r" b="b"/>
              <a:pathLst>
                <a:path w="20" h="77">
                  <a:moveTo>
                    <a:pt x="16" y="0"/>
                  </a:moveTo>
                  <a:lnTo>
                    <a:pt x="20" y="69"/>
                  </a:lnTo>
                  <a:lnTo>
                    <a:pt x="10" y="77"/>
                  </a:lnTo>
                  <a:lnTo>
                    <a:pt x="0" y="69"/>
                  </a:lnTo>
                  <a:lnTo>
                    <a:pt x="4" y="0"/>
                  </a:lnTo>
                  <a:lnTo>
                    <a:pt x="16" y="0"/>
                  </a:ln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 name="Freeform 177"/>
            <p:cNvSpPr/>
            <p:nvPr/>
          </p:nvSpPr>
          <p:spPr bwMode="auto">
            <a:xfrm>
              <a:off x="9019238" y="3863002"/>
              <a:ext cx="43932" cy="140247"/>
            </a:xfrm>
            <a:custGeom>
              <a:avLst/>
              <a:gdLst>
                <a:gd name="T0" fmla="*/ 0 w 13"/>
                <a:gd name="T1" fmla="*/ 0 h 42"/>
                <a:gd name="T2" fmla="*/ 1 w 13"/>
                <a:gd name="T3" fmla="*/ 42 h 42"/>
                <a:gd name="T4" fmla="*/ 12 w 13"/>
                <a:gd name="T5" fmla="*/ 42 h 42"/>
                <a:gd name="T6" fmla="*/ 12 w 13"/>
                <a:gd name="T7" fmla="*/ 0 h 42"/>
                <a:gd name="T8" fmla="*/ 0 w 13"/>
                <a:gd name="T9" fmla="*/ 0 h 42"/>
              </a:gdLst>
              <a:ahLst/>
              <a:cxnLst>
                <a:cxn ang="0">
                  <a:pos x="T0" y="T1"/>
                </a:cxn>
                <a:cxn ang="0">
                  <a:pos x="T2" y="T3"/>
                </a:cxn>
                <a:cxn ang="0">
                  <a:pos x="T4" y="T5"/>
                </a:cxn>
                <a:cxn ang="0">
                  <a:pos x="T6" y="T7"/>
                </a:cxn>
                <a:cxn ang="0">
                  <a:pos x="T8" y="T9"/>
                </a:cxn>
              </a:cxnLst>
              <a:rect l="0" t="0" r="r" b="b"/>
              <a:pathLst>
                <a:path w="13" h="42">
                  <a:moveTo>
                    <a:pt x="0" y="0"/>
                  </a:moveTo>
                  <a:cubicBezTo>
                    <a:pt x="1" y="42"/>
                    <a:pt x="1" y="42"/>
                    <a:pt x="1" y="42"/>
                  </a:cubicBezTo>
                  <a:cubicBezTo>
                    <a:pt x="12" y="42"/>
                    <a:pt x="12" y="42"/>
                    <a:pt x="12" y="42"/>
                  </a:cubicBezTo>
                  <a:cubicBezTo>
                    <a:pt x="13" y="28"/>
                    <a:pt x="12" y="0"/>
                    <a:pt x="12" y="0"/>
                  </a:cubicBezTo>
                  <a:cubicBezTo>
                    <a:pt x="12" y="0"/>
                    <a:pt x="5" y="0"/>
                    <a:pt x="0" y="0"/>
                  </a:cubicBez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 name="Freeform 178"/>
            <p:cNvSpPr/>
            <p:nvPr/>
          </p:nvSpPr>
          <p:spPr bwMode="auto">
            <a:xfrm>
              <a:off x="8971926" y="3863002"/>
              <a:ext cx="43932" cy="140247"/>
            </a:xfrm>
            <a:custGeom>
              <a:avLst/>
              <a:gdLst>
                <a:gd name="T0" fmla="*/ 0 w 13"/>
                <a:gd name="T1" fmla="*/ 0 h 42"/>
                <a:gd name="T2" fmla="*/ 2 w 13"/>
                <a:gd name="T3" fmla="*/ 42 h 42"/>
                <a:gd name="T4" fmla="*/ 13 w 13"/>
                <a:gd name="T5" fmla="*/ 42 h 42"/>
                <a:gd name="T6" fmla="*/ 13 w 13"/>
                <a:gd name="T7" fmla="*/ 0 h 42"/>
                <a:gd name="T8" fmla="*/ 0 w 13"/>
                <a:gd name="T9" fmla="*/ 0 h 42"/>
              </a:gdLst>
              <a:ahLst/>
              <a:cxnLst>
                <a:cxn ang="0">
                  <a:pos x="T0" y="T1"/>
                </a:cxn>
                <a:cxn ang="0">
                  <a:pos x="T2" y="T3"/>
                </a:cxn>
                <a:cxn ang="0">
                  <a:pos x="T4" y="T5"/>
                </a:cxn>
                <a:cxn ang="0">
                  <a:pos x="T6" y="T7"/>
                </a:cxn>
                <a:cxn ang="0">
                  <a:pos x="T8" y="T9"/>
                </a:cxn>
              </a:cxnLst>
              <a:rect l="0" t="0" r="r" b="b"/>
              <a:pathLst>
                <a:path w="13" h="42">
                  <a:moveTo>
                    <a:pt x="0" y="0"/>
                  </a:moveTo>
                  <a:cubicBezTo>
                    <a:pt x="2" y="42"/>
                    <a:pt x="2" y="42"/>
                    <a:pt x="2" y="42"/>
                  </a:cubicBezTo>
                  <a:cubicBezTo>
                    <a:pt x="13" y="42"/>
                    <a:pt x="13" y="42"/>
                    <a:pt x="13" y="42"/>
                  </a:cubicBezTo>
                  <a:cubicBezTo>
                    <a:pt x="13" y="28"/>
                    <a:pt x="13" y="0"/>
                    <a:pt x="13" y="0"/>
                  </a:cubicBezTo>
                  <a:cubicBezTo>
                    <a:pt x="13" y="0"/>
                    <a:pt x="5" y="0"/>
                    <a:pt x="0" y="0"/>
                  </a:cubicBez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7" name="Oval 179"/>
            <p:cNvSpPr>
              <a:spLocks noChangeArrowheads="1"/>
            </p:cNvSpPr>
            <p:nvPr/>
          </p:nvSpPr>
          <p:spPr bwMode="auto">
            <a:xfrm>
              <a:off x="8988824" y="3655165"/>
              <a:ext cx="57450" cy="67589"/>
            </a:xfrm>
            <a:prstGeom prst="ellipse">
              <a:avLst/>
            </a:pr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8" name="Rectangle 180"/>
            <p:cNvSpPr>
              <a:spLocks noChangeArrowheads="1"/>
            </p:cNvSpPr>
            <p:nvPr/>
          </p:nvSpPr>
          <p:spPr bwMode="auto">
            <a:xfrm>
              <a:off x="9015858" y="3815689"/>
              <a:ext cx="3379" cy="1690"/>
            </a:xfrm>
            <a:prstGeom prst="rect">
              <a:avLst/>
            </a:pr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9" name="Freeform 181"/>
            <p:cNvSpPr>
              <a:spLocks noEditPoints="1"/>
            </p:cNvSpPr>
            <p:nvPr/>
          </p:nvSpPr>
          <p:spPr bwMode="auto">
            <a:xfrm>
              <a:off x="8941511" y="3729513"/>
              <a:ext cx="174041" cy="153764"/>
            </a:xfrm>
            <a:custGeom>
              <a:avLst/>
              <a:gdLst>
                <a:gd name="T0" fmla="*/ 51 w 52"/>
                <a:gd name="T1" fmla="*/ 17 h 46"/>
                <a:gd name="T2" fmla="*/ 51 w 52"/>
                <a:gd name="T3" fmla="*/ 17 h 46"/>
                <a:gd name="T4" fmla="*/ 51 w 52"/>
                <a:gd name="T5" fmla="*/ 17 h 46"/>
                <a:gd name="T6" fmla="*/ 37 w 52"/>
                <a:gd name="T7" fmla="*/ 2 h 46"/>
                <a:gd name="T8" fmla="*/ 34 w 52"/>
                <a:gd name="T9" fmla="*/ 0 h 46"/>
                <a:gd name="T10" fmla="*/ 29 w 52"/>
                <a:gd name="T11" fmla="*/ 0 h 46"/>
                <a:gd name="T12" fmla="*/ 29 w 52"/>
                <a:gd name="T13" fmla="*/ 0 h 46"/>
                <a:gd name="T14" fmla="*/ 33 w 52"/>
                <a:gd name="T15" fmla="*/ 3 h 46"/>
                <a:gd name="T16" fmla="*/ 29 w 52"/>
                <a:gd name="T17" fmla="*/ 5 h 46"/>
                <a:gd name="T18" fmla="*/ 31 w 52"/>
                <a:gd name="T19" fmla="*/ 9 h 46"/>
                <a:gd name="T20" fmla="*/ 23 w 52"/>
                <a:gd name="T21" fmla="*/ 26 h 46"/>
                <a:gd name="T22" fmla="*/ 23 w 52"/>
                <a:gd name="T23" fmla="*/ 26 h 46"/>
                <a:gd name="T24" fmla="*/ 22 w 52"/>
                <a:gd name="T25" fmla="*/ 26 h 46"/>
                <a:gd name="T26" fmla="*/ 22 w 52"/>
                <a:gd name="T27" fmla="*/ 26 h 46"/>
                <a:gd name="T28" fmla="*/ 22 w 52"/>
                <a:gd name="T29" fmla="*/ 26 h 46"/>
                <a:gd name="T30" fmla="*/ 14 w 52"/>
                <a:gd name="T31" fmla="*/ 9 h 46"/>
                <a:gd name="T32" fmla="*/ 16 w 52"/>
                <a:gd name="T33" fmla="*/ 5 h 46"/>
                <a:gd name="T34" fmla="*/ 12 w 52"/>
                <a:gd name="T35" fmla="*/ 3 h 46"/>
                <a:gd name="T36" fmla="*/ 16 w 52"/>
                <a:gd name="T37" fmla="*/ 0 h 46"/>
                <a:gd name="T38" fmla="*/ 16 w 52"/>
                <a:gd name="T39" fmla="*/ 0 h 46"/>
                <a:gd name="T40" fmla="*/ 11 w 52"/>
                <a:gd name="T41" fmla="*/ 0 h 46"/>
                <a:gd name="T42" fmla="*/ 7 w 52"/>
                <a:gd name="T43" fmla="*/ 4 h 46"/>
                <a:gd name="T44" fmla="*/ 0 w 52"/>
                <a:gd name="T45" fmla="*/ 23 h 46"/>
                <a:gd name="T46" fmla="*/ 8 w 52"/>
                <a:gd name="T47" fmla="*/ 46 h 46"/>
                <a:gd name="T48" fmla="*/ 13 w 52"/>
                <a:gd name="T49" fmla="*/ 44 h 46"/>
                <a:gd name="T50" fmla="*/ 37 w 52"/>
                <a:gd name="T51" fmla="*/ 44 h 46"/>
                <a:gd name="T52" fmla="*/ 37 w 52"/>
                <a:gd name="T53" fmla="*/ 43 h 46"/>
                <a:gd name="T54" fmla="*/ 36 w 52"/>
                <a:gd name="T55" fmla="*/ 38 h 46"/>
                <a:gd name="T56" fmla="*/ 43 w 52"/>
                <a:gd name="T57" fmla="*/ 41 h 46"/>
                <a:gd name="T58" fmla="*/ 47 w 52"/>
                <a:gd name="T59" fmla="*/ 32 h 46"/>
                <a:gd name="T60" fmla="*/ 49 w 52"/>
                <a:gd name="T61" fmla="*/ 27 h 46"/>
                <a:gd name="T62" fmla="*/ 51 w 52"/>
                <a:gd name="T63" fmla="*/ 25 h 46"/>
                <a:gd name="T64" fmla="*/ 51 w 52"/>
                <a:gd name="T65" fmla="*/ 24 h 46"/>
                <a:gd name="T66" fmla="*/ 51 w 52"/>
                <a:gd name="T67" fmla="*/ 23 h 46"/>
                <a:gd name="T68" fmla="*/ 52 w 52"/>
                <a:gd name="T69" fmla="*/ 23 h 46"/>
                <a:gd name="T70" fmla="*/ 52 w 52"/>
                <a:gd name="T71" fmla="*/ 23 h 46"/>
                <a:gd name="T72" fmla="*/ 52 w 52"/>
                <a:gd name="T73" fmla="*/ 23 h 46"/>
                <a:gd name="T74" fmla="*/ 52 w 52"/>
                <a:gd name="T75" fmla="*/ 23 h 46"/>
                <a:gd name="T76" fmla="*/ 51 w 52"/>
                <a:gd name="T77" fmla="*/ 17 h 46"/>
                <a:gd name="T78" fmla="*/ 40 w 52"/>
                <a:gd name="T79" fmla="*/ 22 h 46"/>
                <a:gd name="T80" fmla="*/ 38 w 52"/>
                <a:gd name="T81" fmla="*/ 27 h 46"/>
                <a:gd name="T82" fmla="*/ 36 w 52"/>
                <a:gd name="T83" fmla="*/ 29 h 46"/>
                <a:gd name="T84" fmla="*/ 36 w 52"/>
                <a:gd name="T85" fmla="*/ 15 h 46"/>
                <a:gd name="T86" fmla="*/ 41 w 52"/>
                <a:gd name="T87" fmla="*/ 21 h 46"/>
                <a:gd name="T88" fmla="*/ 40 w 52"/>
                <a:gd name="T89"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 h="46">
                  <a:moveTo>
                    <a:pt x="51" y="17"/>
                  </a:moveTo>
                  <a:cubicBezTo>
                    <a:pt x="51" y="17"/>
                    <a:pt x="51" y="17"/>
                    <a:pt x="51" y="17"/>
                  </a:cubicBezTo>
                  <a:cubicBezTo>
                    <a:pt x="51" y="17"/>
                    <a:pt x="51" y="17"/>
                    <a:pt x="51" y="17"/>
                  </a:cubicBezTo>
                  <a:cubicBezTo>
                    <a:pt x="37" y="2"/>
                    <a:pt x="37" y="2"/>
                    <a:pt x="37" y="2"/>
                  </a:cubicBezTo>
                  <a:cubicBezTo>
                    <a:pt x="36" y="1"/>
                    <a:pt x="35" y="1"/>
                    <a:pt x="34" y="0"/>
                  </a:cubicBezTo>
                  <a:cubicBezTo>
                    <a:pt x="34" y="0"/>
                    <a:pt x="31" y="0"/>
                    <a:pt x="29" y="0"/>
                  </a:cubicBezTo>
                  <a:cubicBezTo>
                    <a:pt x="29" y="0"/>
                    <a:pt x="29" y="0"/>
                    <a:pt x="29" y="0"/>
                  </a:cubicBezTo>
                  <a:cubicBezTo>
                    <a:pt x="33" y="3"/>
                    <a:pt x="33" y="3"/>
                    <a:pt x="33" y="3"/>
                  </a:cubicBezTo>
                  <a:cubicBezTo>
                    <a:pt x="29" y="5"/>
                    <a:pt x="29" y="5"/>
                    <a:pt x="29" y="5"/>
                  </a:cubicBezTo>
                  <a:cubicBezTo>
                    <a:pt x="31" y="9"/>
                    <a:pt x="31" y="9"/>
                    <a:pt x="31" y="9"/>
                  </a:cubicBezTo>
                  <a:cubicBezTo>
                    <a:pt x="23" y="26"/>
                    <a:pt x="23" y="26"/>
                    <a:pt x="23" y="26"/>
                  </a:cubicBezTo>
                  <a:cubicBezTo>
                    <a:pt x="23" y="26"/>
                    <a:pt x="23" y="26"/>
                    <a:pt x="23" y="26"/>
                  </a:cubicBezTo>
                  <a:cubicBezTo>
                    <a:pt x="22" y="26"/>
                    <a:pt x="22" y="26"/>
                    <a:pt x="22" y="26"/>
                  </a:cubicBezTo>
                  <a:cubicBezTo>
                    <a:pt x="22" y="26"/>
                    <a:pt x="22" y="26"/>
                    <a:pt x="22" y="26"/>
                  </a:cubicBezTo>
                  <a:cubicBezTo>
                    <a:pt x="22" y="26"/>
                    <a:pt x="22" y="26"/>
                    <a:pt x="22" y="26"/>
                  </a:cubicBezTo>
                  <a:cubicBezTo>
                    <a:pt x="14" y="9"/>
                    <a:pt x="14" y="9"/>
                    <a:pt x="14" y="9"/>
                  </a:cubicBezTo>
                  <a:cubicBezTo>
                    <a:pt x="16" y="5"/>
                    <a:pt x="16" y="5"/>
                    <a:pt x="16" y="5"/>
                  </a:cubicBezTo>
                  <a:cubicBezTo>
                    <a:pt x="12" y="3"/>
                    <a:pt x="12" y="3"/>
                    <a:pt x="12" y="3"/>
                  </a:cubicBezTo>
                  <a:cubicBezTo>
                    <a:pt x="16" y="0"/>
                    <a:pt x="16" y="0"/>
                    <a:pt x="16" y="0"/>
                  </a:cubicBezTo>
                  <a:cubicBezTo>
                    <a:pt x="16" y="0"/>
                    <a:pt x="16" y="0"/>
                    <a:pt x="16" y="0"/>
                  </a:cubicBezTo>
                  <a:cubicBezTo>
                    <a:pt x="14" y="0"/>
                    <a:pt x="12" y="0"/>
                    <a:pt x="11" y="0"/>
                  </a:cubicBezTo>
                  <a:cubicBezTo>
                    <a:pt x="10" y="1"/>
                    <a:pt x="8" y="2"/>
                    <a:pt x="7" y="4"/>
                  </a:cubicBezTo>
                  <a:cubicBezTo>
                    <a:pt x="0" y="23"/>
                    <a:pt x="0" y="23"/>
                    <a:pt x="0" y="23"/>
                  </a:cubicBezTo>
                  <a:cubicBezTo>
                    <a:pt x="2" y="37"/>
                    <a:pt x="5" y="38"/>
                    <a:pt x="8" y="46"/>
                  </a:cubicBezTo>
                  <a:cubicBezTo>
                    <a:pt x="9" y="45"/>
                    <a:pt x="11" y="44"/>
                    <a:pt x="13" y="44"/>
                  </a:cubicBezTo>
                  <a:cubicBezTo>
                    <a:pt x="21" y="44"/>
                    <a:pt x="29" y="44"/>
                    <a:pt x="37" y="44"/>
                  </a:cubicBezTo>
                  <a:cubicBezTo>
                    <a:pt x="37" y="43"/>
                    <a:pt x="37" y="43"/>
                    <a:pt x="37" y="43"/>
                  </a:cubicBezTo>
                  <a:cubicBezTo>
                    <a:pt x="37" y="41"/>
                    <a:pt x="36" y="39"/>
                    <a:pt x="36" y="38"/>
                  </a:cubicBezTo>
                  <a:cubicBezTo>
                    <a:pt x="38" y="39"/>
                    <a:pt x="41" y="40"/>
                    <a:pt x="43" y="41"/>
                  </a:cubicBezTo>
                  <a:cubicBezTo>
                    <a:pt x="47" y="32"/>
                    <a:pt x="47" y="32"/>
                    <a:pt x="47" y="32"/>
                  </a:cubicBezTo>
                  <a:cubicBezTo>
                    <a:pt x="49" y="27"/>
                    <a:pt x="49" y="27"/>
                    <a:pt x="49" y="27"/>
                  </a:cubicBezTo>
                  <a:cubicBezTo>
                    <a:pt x="51" y="25"/>
                    <a:pt x="51" y="25"/>
                    <a:pt x="51" y="25"/>
                  </a:cubicBezTo>
                  <a:cubicBezTo>
                    <a:pt x="51" y="24"/>
                    <a:pt x="51" y="24"/>
                    <a:pt x="51" y="24"/>
                  </a:cubicBezTo>
                  <a:cubicBezTo>
                    <a:pt x="51" y="23"/>
                    <a:pt x="51" y="23"/>
                    <a:pt x="51" y="23"/>
                  </a:cubicBezTo>
                  <a:cubicBezTo>
                    <a:pt x="52" y="23"/>
                    <a:pt x="52" y="23"/>
                    <a:pt x="52" y="23"/>
                  </a:cubicBezTo>
                  <a:cubicBezTo>
                    <a:pt x="52" y="23"/>
                    <a:pt x="52" y="23"/>
                    <a:pt x="52" y="23"/>
                  </a:cubicBezTo>
                  <a:cubicBezTo>
                    <a:pt x="52" y="23"/>
                    <a:pt x="52" y="23"/>
                    <a:pt x="52" y="23"/>
                  </a:cubicBezTo>
                  <a:cubicBezTo>
                    <a:pt x="52" y="23"/>
                    <a:pt x="52" y="23"/>
                    <a:pt x="52" y="23"/>
                  </a:cubicBezTo>
                  <a:cubicBezTo>
                    <a:pt x="51" y="20"/>
                    <a:pt x="52" y="29"/>
                    <a:pt x="51" y="17"/>
                  </a:cubicBezTo>
                  <a:close/>
                  <a:moveTo>
                    <a:pt x="40" y="22"/>
                  </a:moveTo>
                  <a:cubicBezTo>
                    <a:pt x="38" y="27"/>
                    <a:pt x="38" y="27"/>
                    <a:pt x="38" y="27"/>
                  </a:cubicBezTo>
                  <a:cubicBezTo>
                    <a:pt x="36" y="29"/>
                    <a:pt x="36" y="29"/>
                    <a:pt x="36" y="29"/>
                  </a:cubicBezTo>
                  <a:cubicBezTo>
                    <a:pt x="36" y="24"/>
                    <a:pt x="36" y="20"/>
                    <a:pt x="36" y="15"/>
                  </a:cubicBezTo>
                  <a:cubicBezTo>
                    <a:pt x="41" y="21"/>
                    <a:pt x="41" y="21"/>
                    <a:pt x="41" y="21"/>
                  </a:cubicBezTo>
                  <a:lnTo>
                    <a:pt x="40" y="22"/>
                  </a:ln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0" name="Freeform 182"/>
            <p:cNvSpPr/>
            <p:nvPr/>
          </p:nvSpPr>
          <p:spPr bwMode="auto">
            <a:xfrm>
              <a:off x="9009100" y="3726134"/>
              <a:ext cx="16897" cy="20277"/>
            </a:xfrm>
            <a:custGeom>
              <a:avLst/>
              <a:gdLst>
                <a:gd name="T0" fmla="*/ 2 w 10"/>
                <a:gd name="T1" fmla="*/ 0 h 12"/>
                <a:gd name="T2" fmla="*/ 0 w 10"/>
                <a:gd name="T3" fmla="*/ 8 h 12"/>
                <a:gd name="T4" fmla="*/ 4 w 10"/>
                <a:gd name="T5" fmla="*/ 12 h 12"/>
                <a:gd name="T6" fmla="*/ 10 w 10"/>
                <a:gd name="T7" fmla="*/ 8 h 12"/>
                <a:gd name="T8" fmla="*/ 8 w 10"/>
                <a:gd name="T9" fmla="*/ 0 h 12"/>
                <a:gd name="T10" fmla="*/ 2 w 10"/>
                <a:gd name="T11" fmla="*/ 0 h 12"/>
              </a:gdLst>
              <a:ahLst/>
              <a:cxnLst>
                <a:cxn ang="0">
                  <a:pos x="T0" y="T1"/>
                </a:cxn>
                <a:cxn ang="0">
                  <a:pos x="T2" y="T3"/>
                </a:cxn>
                <a:cxn ang="0">
                  <a:pos x="T4" y="T5"/>
                </a:cxn>
                <a:cxn ang="0">
                  <a:pos x="T6" y="T7"/>
                </a:cxn>
                <a:cxn ang="0">
                  <a:pos x="T8" y="T9"/>
                </a:cxn>
                <a:cxn ang="0">
                  <a:pos x="T10" y="T11"/>
                </a:cxn>
              </a:cxnLst>
              <a:rect l="0" t="0" r="r" b="b"/>
              <a:pathLst>
                <a:path w="10" h="12">
                  <a:moveTo>
                    <a:pt x="2" y="0"/>
                  </a:moveTo>
                  <a:lnTo>
                    <a:pt x="0" y="8"/>
                  </a:lnTo>
                  <a:lnTo>
                    <a:pt x="4" y="12"/>
                  </a:lnTo>
                  <a:lnTo>
                    <a:pt x="10" y="8"/>
                  </a:lnTo>
                  <a:lnTo>
                    <a:pt x="8" y="0"/>
                  </a:lnTo>
                  <a:lnTo>
                    <a:pt x="2" y="0"/>
                  </a:ln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1" name="Freeform 183"/>
            <p:cNvSpPr/>
            <p:nvPr/>
          </p:nvSpPr>
          <p:spPr bwMode="auto">
            <a:xfrm>
              <a:off x="9005720" y="3739651"/>
              <a:ext cx="23656" cy="82796"/>
            </a:xfrm>
            <a:custGeom>
              <a:avLst/>
              <a:gdLst>
                <a:gd name="T0" fmla="*/ 4 w 14"/>
                <a:gd name="T1" fmla="*/ 0 h 49"/>
                <a:gd name="T2" fmla="*/ 0 w 14"/>
                <a:gd name="T3" fmla="*/ 45 h 49"/>
                <a:gd name="T4" fmla="*/ 6 w 14"/>
                <a:gd name="T5" fmla="*/ 49 h 49"/>
                <a:gd name="T6" fmla="*/ 14 w 14"/>
                <a:gd name="T7" fmla="*/ 45 h 49"/>
                <a:gd name="T8" fmla="*/ 10 w 14"/>
                <a:gd name="T9" fmla="*/ 0 h 49"/>
                <a:gd name="T10" fmla="*/ 4 w 14"/>
                <a:gd name="T11" fmla="*/ 0 h 49"/>
              </a:gdLst>
              <a:ahLst/>
              <a:cxnLst>
                <a:cxn ang="0">
                  <a:pos x="T0" y="T1"/>
                </a:cxn>
                <a:cxn ang="0">
                  <a:pos x="T2" y="T3"/>
                </a:cxn>
                <a:cxn ang="0">
                  <a:pos x="T4" y="T5"/>
                </a:cxn>
                <a:cxn ang="0">
                  <a:pos x="T6" y="T7"/>
                </a:cxn>
                <a:cxn ang="0">
                  <a:pos x="T8" y="T9"/>
                </a:cxn>
                <a:cxn ang="0">
                  <a:pos x="T10" y="T11"/>
                </a:cxn>
              </a:cxnLst>
              <a:rect l="0" t="0" r="r" b="b"/>
              <a:pathLst>
                <a:path w="14" h="49">
                  <a:moveTo>
                    <a:pt x="4" y="0"/>
                  </a:moveTo>
                  <a:lnTo>
                    <a:pt x="0" y="45"/>
                  </a:lnTo>
                  <a:lnTo>
                    <a:pt x="6" y="49"/>
                  </a:lnTo>
                  <a:lnTo>
                    <a:pt x="14" y="45"/>
                  </a:lnTo>
                  <a:lnTo>
                    <a:pt x="10" y="0"/>
                  </a:lnTo>
                  <a:lnTo>
                    <a:pt x="4" y="0"/>
                  </a:ln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2" name="Freeform 184"/>
            <p:cNvSpPr/>
            <p:nvPr/>
          </p:nvSpPr>
          <p:spPr bwMode="auto">
            <a:xfrm>
              <a:off x="9478842" y="3866381"/>
              <a:ext cx="40553" cy="143626"/>
            </a:xfrm>
            <a:custGeom>
              <a:avLst/>
              <a:gdLst>
                <a:gd name="T0" fmla="*/ 0 w 12"/>
                <a:gd name="T1" fmla="*/ 0 h 43"/>
                <a:gd name="T2" fmla="*/ 1 w 12"/>
                <a:gd name="T3" fmla="*/ 43 h 43"/>
                <a:gd name="T4" fmla="*/ 12 w 12"/>
                <a:gd name="T5" fmla="*/ 43 h 43"/>
                <a:gd name="T6" fmla="*/ 12 w 12"/>
                <a:gd name="T7" fmla="*/ 0 h 43"/>
                <a:gd name="T8" fmla="*/ 0 w 12"/>
                <a:gd name="T9" fmla="*/ 0 h 43"/>
              </a:gdLst>
              <a:ahLst/>
              <a:cxnLst>
                <a:cxn ang="0">
                  <a:pos x="T0" y="T1"/>
                </a:cxn>
                <a:cxn ang="0">
                  <a:pos x="T2" y="T3"/>
                </a:cxn>
                <a:cxn ang="0">
                  <a:pos x="T4" y="T5"/>
                </a:cxn>
                <a:cxn ang="0">
                  <a:pos x="T6" y="T7"/>
                </a:cxn>
                <a:cxn ang="0">
                  <a:pos x="T8" y="T9"/>
                </a:cxn>
              </a:cxnLst>
              <a:rect l="0" t="0" r="r" b="b"/>
              <a:pathLst>
                <a:path w="12" h="43">
                  <a:moveTo>
                    <a:pt x="0" y="0"/>
                  </a:moveTo>
                  <a:cubicBezTo>
                    <a:pt x="1" y="43"/>
                    <a:pt x="1" y="43"/>
                    <a:pt x="1" y="43"/>
                  </a:cubicBezTo>
                  <a:cubicBezTo>
                    <a:pt x="12" y="43"/>
                    <a:pt x="12" y="43"/>
                    <a:pt x="12" y="43"/>
                  </a:cubicBezTo>
                  <a:cubicBezTo>
                    <a:pt x="12" y="28"/>
                    <a:pt x="12" y="0"/>
                    <a:pt x="12" y="0"/>
                  </a:cubicBezTo>
                  <a:cubicBezTo>
                    <a:pt x="12" y="0"/>
                    <a:pt x="4" y="0"/>
                    <a:pt x="0" y="0"/>
                  </a:cubicBez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3" name="Freeform 185"/>
            <p:cNvSpPr/>
            <p:nvPr/>
          </p:nvSpPr>
          <p:spPr bwMode="auto">
            <a:xfrm>
              <a:off x="9431530" y="3866381"/>
              <a:ext cx="43932" cy="143626"/>
            </a:xfrm>
            <a:custGeom>
              <a:avLst/>
              <a:gdLst>
                <a:gd name="T0" fmla="*/ 0 w 13"/>
                <a:gd name="T1" fmla="*/ 0 h 43"/>
                <a:gd name="T2" fmla="*/ 1 w 13"/>
                <a:gd name="T3" fmla="*/ 43 h 43"/>
                <a:gd name="T4" fmla="*/ 13 w 13"/>
                <a:gd name="T5" fmla="*/ 43 h 43"/>
                <a:gd name="T6" fmla="*/ 13 w 13"/>
                <a:gd name="T7" fmla="*/ 0 h 43"/>
                <a:gd name="T8" fmla="*/ 0 w 13"/>
                <a:gd name="T9" fmla="*/ 0 h 43"/>
              </a:gdLst>
              <a:ahLst/>
              <a:cxnLst>
                <a:cxn ang="0">
                  <a:pos x="T0" y="T1"/>
                </a:cxn>
                <a:cxn ang="0">
                  <a:pos x="T2" y="T3"/>
                </a:cxn>
                <a:cxn ang="0">
                  <a:pos x="T4" y="T5"/>
                </a:cxn>
                <a:cxn ang="0">
                  <a:pos x="T6" y="T7"/>
                </a:cxn>
                <a:cxn ang="0">
                  <a:pos x="T8" y="T9"/>
                </a:cxn>
              </a:cxnLst>
              <a:rect l="0" t="0" r="r" b="b"/>
              <a:pathLst>
                <a:path w="13" h="43">
                  <a:moveTo>
                    <a:pt x="0" y="0"/>
                  </a:moveTo>
                  <a:cubicBezTo>
                    <a:pt x="1" y="43"/>
                    <a:pt x="1" y="43"/>
                    <a:pt x="1" y="43"/>
                  </a:cubicBezTo>
                  <a:cubicBezTo>
                    <a:pt x="13" y="43"/>
                    <a:pt x="13" y="43"/>
                    <a:pt x="13" y="43"/>
                  </a:cubicBezTo>
                  <a:cubicBezTo>
                    <a:pt x="13" y="28"/>
                    <a:pt x="13" y="0"/>
                    <a:pt x="13" y="0"/>
                  </a:cubicBezTo>
                  <a:cubicBezTo>
                    <a:pt x="13" y="0"/>
                    <a:pt x="5" y="0"/>
                    <a:pt x="0" y="0"/>
                  </a:cubicBez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 name="Oval 186"/>
            <p:cNvSpPr>
              <a:spLocks noChangeArrowheads="1"/>
            </p:cNvSpPr>
            <p:nvPr/>
          </p:nvSpPr>
          <p:spPr bwMode="auto">
            <a:xfrm>
              <a:off x="9448427" y="3658545"/>
              <a:ext cx="54071" cy="67589"/>
            </a:xfrm>
            <a:prstGeom prst="ellipse">
              <a:avLst/>
            </a:pr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 name="Rectangle 187"/>
            <p:cNvSpPr>
              <a:spLocks noChangeArrowheads="1"/>
            </p:cNvSpPr>
            <p:nvPr/>
          </p:nvSpPr>
          <p:spPr bwMode="auto">
            <a:xfrm>
              <a:off x="9475462" y="3819068"/>
              <a:ext cx="1690" cy="1690"/>
            </a:xfrm>
            <a:prstGeom prst="rect">
              <a:avLst/>
            </a:pr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 name="Freeform 188"/>
            <p:cNvSpPr/>
            <p:nvPr/>
          </p:nvSpPr>
          <p:spPr bwMode="auto">
            <a:xfrm>
              <a:off x="9401115" y="3732893"/>
              <a:ext cx="145316" cy="153764"/>
            </a:xfrm>
            <a:custGeom>
              <a:avLst/>
              <a:gdLst>
                <a:gd name="T0" fmla="*/ 42 w 43"/>
                <a:gd name="T1" fmla="*/ 24 h 46"/>
                <a:gd name="T2" fmla="*/ 38 w 43"/>
                <a:gd name="T3" fmla="*/ 5 h 46"/>
                <a:gd name="T4" fmla="*/ 34 w 43"/>
                <a:gd name="T5" fmla="*/ 1 h 46"/>
                <a:gd name="T6" fmla="*/ 29 w 43"/>
                <a:gd name="T7" fmla="*/ 0 h 46"/>
                <a:gd name="T8" fmla="*/ 29 w 43"/>
                <a:gd name="T9" fmla="*/ 0 h 46"/>
                <a:gd name="T10" fmla="*/ 32 w 43"/>
                <a:gd name="T11" fmla="*/ 3 h 46"/>
                <a:gd name="T12" fmla="*/ 28 w 43"/>
                <a:gd name="T13" fmla="*/ 5 h 46"/>
                <a:gd name="T14" fmla="*/ 30 w 43"/>
                <a:gd name="T15" fmla="*/ 9 h 46"/>
                <a:gd name="T16" fmla="*/ 22 w 43"/>
                <a:gd name="T17" fmla="*/ 26 h 46"/>
                <a:gd name="T18" fmla="*/ 22 w 43"/>
                <a:gd name="T19" fmla="*/ 26 h 46"/>
                <a:gd name="T20" fmla="*/ 22 w 43"/>
                <a:gd name="T21" fmla="*/ 26 h 46"/>
                <a:gd name="T22" fmla="*/ 22 w 43"/>
                <a:gd name="T23" fmla="*/ 26 h 46"/>
                <a:gd name="T24" fmla="*/ 22 w 43"/>
                <a:gd name="T25" fmla="*/ 26 h 46"/>
                <a:gd name="T26" fmla="*/ 14 w 43"/>
                <a:gd name="T27" fmla="*/ 9 h 46"/>
                <a:gd name="T28" fmla="*/ 16 w 43"/>
                <a:gd name="T29" fmla="*/ 5 h 46"/>
                <a:gd name="T30" fmla="*/ 12 w 43"/>
                <a:gd name="T31" fmla="*/ 3 h 46"/>
                <a:gd name="T32" fmla="*/ 15 w 43"/>
                <a:gd name="T33" fmla="*/ 0 h 46"/>
                <a:gd name="T34" fmla="*/ 15 w 43"/>
                <a:gd name="T35" fmla="*/ 0 h 46"/>
                <a:gd name="T36" fmla="*/ 11 w 43"/>
                <a:gd name="T37" fmla="*/ 1 h 46"/>
                <a:gd name="T38" fmla="*/ 7 w 43"/>
                <a:gd name="T39" fmla="*/ 4 h 46"/>
                <a:gd name="T40" fmla="*/ 0 w 43"/>
                <a:gd name="T41" fmla="*/ 23 h 46"/>
                <a:gd name="T42" fmla="*/ 7 w 43"/>
                <a:gd name="T43" fmla="*/ 46 h 46"/>
                <a:gd name="T44" fmla="*/ 12 w 43"/>
                <a:gd name="T45" fmla="*/ 44 h 46"/>
                <a:gd name="T46" fmla="*/ 30 w 43"/>
                <a:gd name="T47" fmla="*/ 44 h 46"/>
                <a:gd name="T48" fmla="*/ 30 w 43"/>
                <a:gd name="T49" fmla="*/ 45 h 46"/>
                <a:gd name="T50" fmla="*/ 42 w 43"/>
                <a:gd name="T51" fmla="*/ 45 h 46"/>
                <a:gd name="T52" fmla="*/ 42 w 43"/>
                <a:gd name="T53"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 h="46">
                  <a:moveTo>
                    <a:pt x="42" y="24"/>
                  </a:moveTo>
                  <a:cubicBezTo>
                    <a:pt x="38" y="5"/>
                    <a:pt x="38" y="5"/>
                    <a:pt x="38" y="5"/>
                  </a:cubicBezTo>
                  <a:cubicBezTo>
                    <a:pt x="37" y="3"/>
                    <a:pt x="36" y="1"/>
                    <a:pt x="34" y="1"/>
                  </a:cubicBezTo>
                  <a:cubicBezTo>
                    <a:pt x="34" y="1"/>
                    <a:pt x="30" y="0"/>
                    <a:pt x="29" y="0"/>
                  </a:cubicBezTo>
                  <a:cubicBezTo>
                    <a:pt x="29" y="0"/>
                    <a:pt x="29" y="0"/>
                    <a:pt x="29" y="0"/>
                  </a:cubicBezTo>
                  <a:cubicBezTo>
                    <a:pt x="32" y="3"/>
                    <a:pt x="32" y="3"/>
                    <a:pt x="32" y="3"/>
                  </a:cubicBezTo>
                  <a:cubicBezTo>
                    <a:pt x="28" y="5"/>
                    <a:pt x="28" y="5"/>
                    <a:pt x="28" y="5"/>
                  </a:cubicBezTo>
                  <a:cubicBezTo>
                    <a:pt x="30" y="9"/>
                    <a:pt x="30" y="9"/>
                    <a:pt x="30" y="9"/>
                  </a:cubicBezTo>
                  <a:cubicBezTo>
                    <a:pt x="22" y="26"/>
                    <a:pt x="22" y="26"/>
                    <a:pt x="22" y="26"/>
                  </a:cubicBezTo>
                  <a:cubicBezTo>
                    <a:pt x="22" y="26"/>
                    <a:pt x="22" y="26"/>
                    <a:pt x="22" y="26"/>
                  </a:cubicBezTo>
                  <a:cubicBezTo>
                    <a:pt x="22" y="26"/>
                    <a:pt x="22" y="26"/>
                    <a:pt x="22" y="26"/>
                  </a:cubicBezTo>
                  <a:cubicBezTo>
                    <a:pt x="22" y="26"/>
                    <a:pt x="22" y="26"/>
                    <a:pt x="22" y="26"/>
                  </a:cubicBezTo>
                  <a:cubicBezTo>
                    <a:pt x="22" y="26"/>
                    <a:pt x="22" y="26"/>
                    <a:pt x="22" y="26"/>
                  </a:cubicBezTo>
                  <a:cubicBezTo>
                    <a:pt x="14" y="9"/>
                    <a:pt x="14" y="9"/>
                    <a:pt x="14" y="9"/>
                  </a:cubicBezTo>
                  <a:cubicBezTo>
                    <a:pt x="16" y="5"/>
                    <a:pt x="16" y="5"/>
                    <a:pt x="16" y="5"/>
                  </a:cubicBezTo>
                  <a:cubicBezTo>
                    <a:pt x="12" y="3"/>
                    <a:pt x="12" y="3"/>
                    <a:pt x="12" y="3"/>
                  </a:cubicBezTo>
                  <a:cubicBezTo>
                    <a:pt x="15" y="0"/>
                    <a:pt x="15" y="0"/>
                    <a:pt x="15" y="0"/>
                  </a:cubicBezTo>
                  <a:cubicBezTo>
                    <a:pt x="15" y="0"/>
                    <a:pt x="15" y="0"/>
                    <a:pt x="15" y="0"/>
                  </a:cubicBezTo>
                  <a:cubicBezTo>
                    <a:pt x="14" y="0"/>
                    <a:pt x="11" y="0"/>
                    <a:pt x="11" y="1"/>
                  </a:cubicBezTo>
                  <a:cubicBezTo>
                    <a:pt x="9" y="1"/>
                    <a:pt x="8" y="2"/>
                    <a:pt x="7" y="4"/>
                  </a:cubicBezTo>
                  <a:cubicBezTo>
                    <a:pt x="0" y="23"/>
                    <a:pt x="0" y="23"/>
                    <a:pt x="0" y="23"/>
                  </a:cubicBezTo>
                  <a:cubicBezTo>
                    <a:pt x="1" y="37"/>
                    <a:pt x="5" y="38"/>
                    <a:pt x="7" y="46"/>
                  </a:cubicBezTo>
                  <a:cubicBezTo>
                    <a:pt x="9" y="45"/>
                    <a:pt x="11" y="44"/>
                    <a:pt x="12" y="44"/>
                  </a:cubicBezTo>
                  <a:cubicBezTo>
                    <a:pt x="18" y="44"/>
                    <a:pt x="24" y="44"/>
                    <a:pt x="30" y="44"/>
                  </a:cubicBezTo>
                  <a:cubicBezTo>
                    <a:pt x="30" y="44"/>
                    <a:pt x="30" y="44"/>
                    <a:pt x="30" y="45"/>
                  </a:cubicBezTo>
                  <a:cubicBezTo>
                    <a:pt x="34" y="45"/>
                    <a:pt x="38" y="45"/>
                    <a:pt x="42" y="45"/>
                  </a:cubicBezTo>
                  <a:cubicBezTo>
                    <a:pt x="42" y="38"/>
                    <a:pt x="43" y="33"/>
                    <a:pt x="42" y="24"/>
                  </a:cubicBez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 name="Freeform 189"/>
            <p:cNvSpPr/>
            <p:nvPr/>
          </p:nvSpPr>
          <p:spPr bwMode="auto">
            <a:xfrm>
              <a:off x="9465324" y="3732893"/>
              <a:ext cx="20277" cy="20277"/>
            </a:xfrm>
            <a:custGeom>
              <a:avLst/>
              <a:gdLst>
                <a:gd name="T0" fmla="*/ 2 w 12"/>
                <a:gd name="T1" fmla="*/ 0 h 12"/>
                <a:gd name="T2" fmla="*/ 0 w 12"/>
                <a:gd name="T3" fmla="*/ 8 h 12"/>
                <a:gd name="T4" fmla="*/ 6 w 12"/>
                <a:gd name="T5" fmla="*/ 12 h 12"/>
                <a:gd name="T6" fmla="*/ 12 w 12"/>
                <a:gd name="T7" fmla="*/ 8 h 12"/>
                <a:gd name="T8" fmla="*/ 10 w 12"/>
                <a:gd name="T9" fmla="*/ 0 h 12"/>
                <a:gd name="T10" fmla="*/ 2 w 12"/>
                <a:gd name="T11" fmla="*/ 0 h 12"/>
              </a:gdLst>
              <a:ahLst/>
              <a:cxnLst>
                <a:cxn ang="0">
                  <a:pos x="T0" y="T1"/>
                </a:cxn>
                <a:cxn ang="0">
                  <a:pos x="T2" y="T3"/>
                </a:cxn>
                <a:cxn ang="0">
                  <a:pos x="T4" y="T5"/>
                </a:cxn>
                <a:cxn ang="0">
                  <a:pos x="T6" y="T7"/>
                </a:cxn>
                <a:cxn ang="0">
                  <a:pos x="T8" y="T9"/>
                </a:cxn>
                <a:cxn ang="0">
                  <a:pos x="T10" y="T11"/>
                </a:cxn>
              </a:cxnLst>
              <a:rect l="0" t="0" r="r" b="b"/>
              <a:pathLst>
                <a:path w="12" h="12">
                  <a:moveTo>
                    <a:pt x="2" y="0"/>
                  </a:moveTo>
                  <a:lnTo>
                    <a:pt x="0" y="8"/>
                  </a:lnTo>
                  <a:lnTo>
                    <a:pt x="6" y="12"/>
                  </a:lnTo>
                  <a:lnTo>
                    <a:pt x="12" y="8"/>
                  </a:lnTo>
                  <a:lnTo>
                    <a:pt x="10" y="0"/>
                  </a:lnTo>
                  <a:lnTo>
                    <a:pt x="2" y="0"/>
                  </a:ln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8" name="Freeform 190"/>
            <p:cNvSpPr/>
            <p:nvPr/>
          </p:nvSpPr>
          <p:spPr bwMode="auto">
            <a:xfrm>
              <a:off x="9465324" y="3746410"/>
              <a:ext cx="20277" cy="82796"/>
            </a:xfrm>
            <a:custGeom>
              <a:avLst/>
              <a:gdLst>
                <a:gd name="T0" fmla="*/ 2 w 12"/>
                <a:gd name="T1" fmla="*/ 0 h 49"/>
                <a:gd name="T2" fmla="*/ 0 w 12"/>
                <a:gd name="T3" fmla="*/ 43 h 49"/>
                <a:gd name="T4" fmla="*/ 6 w 12"/>
                <a:gd name="T5" fmla="*/ 49 h 49"/>
                <a:gd name="T6" fmla="*/ 12 w 12"/>
                <a:gd name="T7" fmla="*/ 43 h 49"/>
                <a:gd name="T8" fmla="*/ 10 w 12"/>
                <a:gd name="T9" fmla="*/ 0 h 49"/>
                <a:gd name="T10" fmla="*/ 2 w 12"/>
                <a:gd name="T11" fmla="*/ 0 h 49"/>
              </a:gdLst>
              <a:ahLst/>
              <a:cxnLst>
                <a:cxn ang="0">
                  <a:pos x="T0" y="T1"/>
                </a:cxn>
                <a:cxn ang="0">
                  <a:pos x="T2" y="T3"/>
                </a:cxn>
                <a:cxn ang="0">
                  <a:pos x="T4" y="T5"/>
                </a:cxn>
                <a:cxn ang="0">
                  <a:pos x="T6" y="T7"/>
                </a:cxn>
                <a:cxn ang="0">
                  <a:pos x="T8" y="T9"/>
                </a:cxn>
                <a:cxn ang="0">
                  <a:pos x="T10" y="T11"/>
                </a:cxn>
              </a:cxnLst>
              <a:rect l="0" t="0" r="r" b="b"/>
              <a:pathLst>
                <a:path w="12" h="49">
                  <a:moveTo>
                    <a:pt x="2" y="0"/>
                  </a:moveTo>
                  <a:lnTo>
                    <a:pt x="0" y="43"/>
                  </a:lnTo>
                  <a:lnTo>
                    <a:pt x="6" y="49"/>
                  </a:lnTo>
                  <a:lnTo>
                    <a:pt x="12" y="43"/>
                  </a:lnTo>
                  <a:lnTo>
                    <a:pt x="10" y="0"/>
                  </a:lnTo>
                  <a:lnTo>
                    <a:pt x="2" y="0"/>
                  </a:lnTo>
                  <a:close/>
                </a:path>
              </a:pathLst>
            </a:custGeom>
            <a:grpFill/>
            <a:ln>
              <a:noFill/>
            </a:ln>
          </p:spPr>
          <p:txBody>
            <a:bodyPr vert="horz" wrap="square" lIns="121920" tIns="60960" rIns="121920" bIns="6096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76"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72" name="图片 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060" name="think-cell Slide" r:id="rId2" imgW="12700" imgH="12700" progId="TCLayout.ActiveDocument.1">
                  <p:embed/>
                </p:oleObj>
              </mc:Choice>
              <mc:Fallback>
                <p:oleObj name="think-cell Slide" r:id="rId2" imgW="12700" imgH="12700" progId="TCLayout.ActiveDocument.1">
                  <p:embed/>
                  <p:pic>
                    <p:nvPicPr>
                      <p:cNvPr id="0" name="对象 3" hidden="1"/>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116747" name="组合 116746"/>
          <p:cNvGrpSpPr/>
          <p:nvPr/>
        </p:nvGrpSpPr>
        <p:grpSpPr>
          <a:xfrm>
            <a:off x="3809314" y="1649273"/>
            <a:ext cx="4501493" cy="3944506"/>
            <a:chOff x="3867750" y="1667203"/>
            <a:chExt cx="4501493" cy="3944506"/>
          </a:xfrm>
        </p:grpSpPr>
        <p:sp>
          <p:nvSpPr>
            <p:cNvPr id="17" name="椭圆 16"/>
            <p:cNvSpPr/>
            <p:nvPr/>
          </p:nvSpPr>
          <p:spPr>
            <a:xfrm>
              <a:off x="4421585" y="1884942"/>
              <a:ext cx="3393823" cy="3393821"/>
            </a:xfrm>
            <a:prstGeom prst="ellipse">
              <a:avLst/>
            </a:prstGeom>
            <a:noFill/>
            <a:ln w="57150" cap="rnd" cmpd="sng" algn="ctr">
              <a:solidFill>
                <a:schemeClr val="bg1">
                  <a:lumMod val="65000"/>
                </a:schemeClr>
              </a:solid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116746" name="组合 116745"/>
            <p:cNvGrpSpPr/>
            <p:nvPr/>
          </p:nvGrpSpPr>
          <p:grpSpPr>
            <a:xfrm>
              <a:off x="3867750" y="1667203"/>
              <a:ext cx="4501493" cy="3944506"/>
              <a:chOff x="3863575" y="1667203"/>
              <a:chExt cx="4501493" cy="3944506"/>
            </a:xfrm>
          </p:grpSpPr>
          <p:sp>
            <p:nvSpPr>
              <p:cNvPr id="18" name="Oval 46"/>
              <p:cNvSpPr/>
              <p:nvPr/>
            </p:nvSpPr>
            <p:spPr>
              <a:xfrm>
                <a:off x="4664231" y="1667203"/>
                <a:ext cx="1046490" cy="1046484"/>
              </a:xfrm>
              <a:prstGeom prst="ellipse">
                <a:avLst/>
              </a:prstGeom>
              <a:solidFill>
                <a:srgbClr val="FFFFFF"/>
              </a:solidFill>
              <a:ln w="38100" cap="flat" cmpd="sng" algn="ctr">
                <a:solidFill>
                  <a:srgbClr val="FE5817"/>
                </a:solidFill>
                <a:prstDash val="solid"/>
              </a:ln>
              <a:effectLst/>
            </p:spPr>
            <p:txBody>
              <a:bodyPr wrap="none" lIns="0" tIns="0" rIns="0" bIns="0" rtlCol="0" anchor="ct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20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XX</a:t>
                </a:r>
                <a:endParaRPr kumimoji="0" lang="zh-CN" altLang="en-US" sz="2000" b="1" i="0" u="none" strike="noStrike" kern="120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endParaRPr>
              </a:p>
            </p:txBody>
          </p:sp>
          <p:sp>
            <p:nvSpPr>
              <p:cNvPr id="19" name="Oval 50"/>
              <p:cNvSpPr/>
              <p:nvPr/>
            </p:nvSpPr>
            <p:spPr>
              <a:xfrm>
                <a:off x="4664231" y="4565225"/>
                <a:ext cx="1046490" cy="1046484"/>
              </a:xfrm>
              <a:prstGeom prst="ellipse">
                <a:avLst/>
              </a:prstGeom>
              <a:solidFill>
                <a:srgbClr val="FFFFFF"/>
              </a:solidFill>
              <a:ln w="38100" cap="flat" cmpd="sng" algn="ctr">
                <a:solidFill>
                  <a:srgbClr val="FE5817"/>
                </a:solidFill>
                <a:prstDash val="solid"/>
              </a:ln>
              <a:effectLst/>
            </p:spPr>
            <p:txBody>
              <a:bodyPr wrap="none" lIns="0" tIns="0" rIns="0" bIns="0" rtlCol="0" anchor="ctr"/>
              <a:lstStyle/>
              <a:p>
                <a:pPr algn="ctr">
                  <a:lnSpc>
                    <a:spcPct val="90000"/>
                  </a:lnSpc>
                  <a:spcAft>
                    <a:spcPts val="1000"/>
                  </a:spcAft>
                </a:pPr>
                <a:r>
                  <a:rPr lang="en-US" altLang="zh-CN" sz="2000" b="1" dirty="0">
                    <a:solidFill>
                      <a:srgbClr val="FE8637">
                        <a:lumMod val="75000"/>
                      </a:srgbClr>
                    </a:solidFill>
                    <a:latin typeface="Arial" panose="020B0604020202020204"/>
                    <a:ea typeface="华文楷体" panose="02010600040101010101" charset="-122"/>
                  </a:rPr>
                  <a:t>XX</a:t>
                </a:r>
                <a:endParaRPr lang="zh-CN" altLang="en-US" sz="2000" b="1" dirty="0">
                  <a:solidFill>
                    <a:srgbClr val="FE8637">
                      <a:lumMod val="75000"/>
                    </a:srgbClr>
                  </a:solidFill>
                  <a:latin typeface="Arial" panose="020B0604020202020204"/>
                  <a:ea typeface="华文楷体" panose="02010600040101010101" charset="-122"/>
                </a:endParaRPr>
              </a:p>
            </p:txBody>
          </p:sp>
          <p:sp>
            <p:nvSpPr>
              <p:cNvPr id="20" name="Oval 11"/>
              <p:cNvSpPr/>
              <p:nvPr/>
            </p:nvSpPr>
            <p:spPr>
              <a:xfrm>
                <a:off x="6596247" y="1667203"/>
                <a:ext cx="1046490" cy="1046484"/>
              </a:xfrm>
              <a:prstGeom prst="ellipse">
                <a:avLst/>
              </a:prstGeom>
              <a:solidFill>
                <a:srgbClr val="FFFFFF"/>
              </a:solidFill>
              <a:ln w="38100" cap="flat" cmpd="sng" algn="ctr">
                <a:solidFill>
                  <a:srgbClr val="FE5817"/>
                </a:solidFill>
                <a:prstDash val="solid"/>
              </a:ln>
              <a:effectLst/>
            </p:spPr>
            <p:txBody>
              <a:bodyPr wrap="none" lIns="0" tIns="0" rIns="0" bIns="0" rtlCol="0" anchor="ctr"/>
              <a:lstStyle/>
              <a:p>
                <a:pPr algn="ctr">
                  <a:lnSpc>
                    <a:spcPct val="90000"/>
                  </a:lnSpc>
                  <a:spcAft>
                    <a:spcPts val="1000"/>
                  </a:spcAft>
                </a:pPr>
                <a:r>
                  <a:rPr lang="en-US" altLang="zh-CN" sz="2000" b="1" dirty="0">
                    <a:solidFill>
                      <a:srgbClr val="FE8637">
                        <a:lumMod val="75000"/>
                      </a:srgbClr>
                    </a:solidFill>
                    <a:latin typeface="Arial" panose="020B0604020202020204"/>
                    <a:ea typeface="华文楷体" panose="02010600040101010101" charset="-122"/>
                  </a:rPr>
                  <a:t>XXX</a:t>
                </a:r>
                <a:endParaRPr lang="zh-CN" altLang="en-US" sz="2000" b="1" dirty="0">
                  <a:solidFill>
                    <a:srgbClr val="FE8637">
                      <a:lumMod val="75000"/>
                    </a:srgbClr>
                  </a:solidFill>
                  <a:latin typeface="Arial" panose="020B0604020202020204"/>
                  <a:ea typeface="华文楷体" panose="02010600040101010101" charset="-122"/>
                </a:endParaRPr>
              </a:p>
            </p:txBody>
          </p:sp>
          <p:sp>
            <p:nvSpPr>
              <p:cNvPr id="21" name="Oval 48"/>
              <p:cNvSpPr/>
              <p:nvPr/>
            </p:nvSpPr>
            <p:spPr>
              <a:xfrm>
                <a:off x="7318578" y="3085755"/>
                <a:ext cx="1046490" cy="1046484"/>
              </a:xfrm>
              <a:prstGeom prst="ellipse">
                <a:avLst/>
              </a:prstGeom>
              <a:solidFill>
                <a:srgbClr val="FFFFFF"/>
              </a:solidFill>
              <a:ln w="38100" cap="flat" cmpd="sng" algn="ctr">
                <a:solidFill>
                  <a:srgbClr val="FE5817"/>
                </a:solidFill>
                <a:prstDash val="solid"/>
              </a:ln>
              <a:effectLst/>
            </p:spPr>
            <p:txBody>
              <a:bodyPr wrap="none" lIns="0" tIns="0" rIns="0" bIns="0" rtlCol="0" anchor="ctr"/>
              <a:lstStyle/>
              <a:p>
                <a:pPr algn="ctr">
                  <a:lnSpc>
                    <a:spcPct val="90000"/>
                  </a:lnSpc>
                  <a:spcAft>
                    <a:spcPts val="1000"/>
                  </a:spcAft>
                </a:pPr>
                <a:r>
                  <a:rPr lang="en-US" altLang="zh-CN" sz="2000" b="1" dirty="0">
                    <a:solidFill>
                      <a:srgbClr val="FE8637">
                        <a:lumMod val="75000"/>
                      </a:srgbClr>
                    </a:solidFill>
                    <a:latin typeface="Arial" panose="020B0604020202020204"/>
                    <a:ea typeface="华文楷体" panose="02010600040101010101" charset="-122"/>
                  </a:rPr>
                  <a:t>XX</a:t>
                </a:r>
                <a:endParaRPr lang="zh-CN" altLang="en-US" sz="2000" b="1" dirty="0">
                  <a:solidFill>
                    <a:srgbClr val="FE8637">
                      <a:lumMod val="75000"/>
                    </a:srgbClr>
                  </a:solidFill>
                  <a:latin typeface="Arial" panose="020B0604020202020204"/>
                  <a:ea typeface="华文楷体" panose="02010600040101010101" charset="-122"/>
                </a:endParaRPr>
              </a:p>
            </p:txBody>
          </p:sp>
          <p:sp>
            <p:nvSpPr>
              <p:cNvPr id="22" name="Oval 49"/>
              <p:cNvSpPr/>
              <p:nvPr/>
            </p:nvSpPr>
            <p:spPr>
              <a:xfrm>
                <a:off x="6596247" y="4565225"/>
                <a:ext cx="1046490" cy="1046484"/>
              </a:xfrm>
              <a:prstGeom prst="ellipse">
                <a:avLst/>
              </a:prstGeom>
              <a:solidFill>
                <a:srgbClr val="FFFFFF"/>
              </a:solidFill>
              <a:ln w="38100" cap="flat" cmpd="sng" algn="ctr">
                <a:solidFill>
                  <a:srgbClr val="FE5817"/>
                </a:solidFill>
                <a:prstDash val="solid"/>
              </a:ln>
              <a:effectLst/>
            </p:spPr>
            <p:txBody>
              <a:bodyPr wrap="none" lIns="0" tIns="0" rIns="0" bIns="0" rtlCol="0" anchor="ctr"/>
              <a:lstStyle/>
              <a:p>
                <a:pPr algn="ctr">
                  <a:lnSpc>
                    <a:spcPct val="90000"/>
                  </a:lnSpc>
                  <a:spcAft>
                    <a:spcPts val="1000"/>
                  </a:spcAft>
                </a:pPr>
                <a:r>
                  <a:rPr lang="en-US" altLang="zh-CN" sz="2000" b="1" dirty="0">
                    <a:solidFill>
                      <a:srgbClr val="FE8637">
                        <a:lumMod val="75000"/>
                      </a:srgbClr>
                    </a:solidFill>
                    <a:latin typeface="Arial" panose="020B0604020202020204"/>
                    <a:ea typeface="华文楷体" panose="02010600040101010101" charset="-122"/>
                  </a:rPr>
                  <a:t>XX</a:t>
                </a:r>
                <a:endParaRPr lang="zh-CN" altLang="en-US" sz="2000" b="1" dirty="0">
                  <a:solidFill>
                    <a:srgbClr val="FE8637">
                      <a:lumMod val="75000"/>
                    </a:srgbClr>
                  </a:solidFill>
                  <a:latin typeface="Arial" panose="020B0604020202020204"/>
                  <a:ea typeface="华文楷体" panose="02010600040101010101" charset="-122"/>
                </a:endParaRPr>
              </a:p>
            </p:txBody>
          </p:sp>
          <p:sp>
            <p:nvSpPr>
              <p:cNvPr id="23" name="Oval 47"/>
              <p:cNvSpPr/>
              <p:nvPr/>
            </p:nvSpPr>
            <p:spPr>
              <a:xfrm>
                <a:off x="3863575" y="3085755"/>
                <a:ext cx="1046490" cy="1046484"/>
              </a:xfrm>
              <a:prstGeom prst="ellipse">
                <a:avLst/>
              </a:prstGeom>
              <a:solidFill>
                <a:srgbClr val="FFFFFF"/>
              </a:solidFill>
              <a:ln w="38100" cap="flat" cmpd="sng" algn="ctr">
                <a:solidFill>
                  <a:srgbClr val="FE5817"/>
                </a:solidFill>
                <a:prstDash val="solid"/>
              </a:ln>
              <a:effectLst/>
            </p:spPr>
            <p:txBody>
              <a:bodyPr wrap="none" lIns="0" tIns="0" rIns="0" bIns="0" rtlCol="0" anchor="ctr"/>
              <a:lstStyle/>
              <a:p>
                <a:pPr algn="ctr">
                  <a:lnSpc>
                    <a:spcPct val="90000"/>
                  </a:lnSpc>
                  <a:spcAft>
                    <a:spcPts val="1000"/>
                  </a:spcAft>
                </a:pPr>
                <a:r>
                  <a:rPr lang="en-US" altLang="zh-CN" sz="2000" b="1" dirty="0">
                    <a:solidFill>
                      <a:srgbClr val="FE8637">
                        <a:lumMod val="75000"/>
                      </a:srgbClr>
                    </a:solidFill>
                    <a:latin typeface="Arial" panose="020B0604020202020204"/>
                    <a:ea typeface="华文楷体" panose="02010600040101010101" charset="-122"/>
                  </a:rPr>
                  <a:t>XX</a:t>
                </a:r>
                <a:endParaRPr lang="zh-CN" altLang="en-US" sz="2000" b="1" dirty="0">
                  <a:solidFill>
                    <a:srgbClr val="FE8637">
                      <a:lumMod val="75000"/>
                    </a:srgbClr>
                  </a:solidFill>
                  <a:latin typeface="Arial" panose="020B0604020202020204"/>
                  <a:ea typeface="华文楷体" panose="02010600040101010101" charset="-122"/>
                </a:endParaRPr>
              </a:p>
            </p:txBody>
          </p:sp>
        </p:grpSp>
      </p:grpSp>
      <p:cxnSp>
        <p:nvCxnSpPr>
          <p:cNvPr id="32" name="直接连接符 31"/>
          <p:cNvCxnSpPr/>
          <p:nvPr/>
        </p:nvCxnSpPr>
        <p:spPr>
          <a:xfrm flipV="1">
            <a:off x="6055436" y="942894"/>
            <a:ext cx="0" cy="78895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V="1">
            <a:off x="6081671" y="5499800"/>
            <a:ext cx="0" cy="79275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6745" name="矩形 116744"/>
          <p:cNvSpPr/>
          <p:nvPr/>
        </p:nvSpPr>
        <p:spPr>
          <a:xfrm>
            <a:off x="8148585" y="1111954"/>
            <a:ext cx="2420803" cy="76764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07950" marR="0" lvl="1" indent="0" algn="l" defTabSz="914400" rtl="0" eaLnBrk="1" fontAlgn="auto" latinLnBrk="0" hangingPunct="1">
              <a:lnSpc>
                <a:spcPct val="100000"/>
              </a:lnSpc>
              <a:spcBef>
                <a:spcPts val="0"/>
              </a:spcBef>
              <a:spcAft>
                <a:spcPts val="0"/>
              </a:spcAft>
              <a:buClr>
                <a:srgbClr val="575F6D">
                  <a:lumMod val="100000"/>
                </a:srgbClr>
              </a:buClr>
              <a:buSzPct val="100000"/>
              <a:buFontTx/>
              <a:buNone/>
              <a:defRPr/>
            </a:pPr>
            <a:r>
              <a:rPr kumimoji="0" lang="en-US" altLang="zh-CN" sz="20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20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79" name="矩形 78"/>
          <p:cNvSpPr/>
          <p:nvPr/>
        </p:nvSpPr>
        <p:spPr>
          <a:xfrm>
            <a:off x="721825" y="1111954"/>
            <a:ext cx="3296355" cy="76764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07950" marR="0" lvl="1" indent="0" algn="l" defTabSz="914400" rtl="0" eaLnBrk="1" fontAlgn="auto" latinLnBrk="0" hangingPunct="1">
              <a:lnSpc>
                <a:spcPct val="100000"/>
              </a:lnSpc>
              <a:spcBef>
                <a:spcPts val="0"/>
              </a:spcBef>
              <a:spcAft>
                <a:spcPts val="0"/>
              </a:spcAft>
              <a:buClr>
                <a:srgbClr val="575F6D">
                  <a:lumMod val="100000"/>
                </a:srgbClr>
              </a:buClr>
              <a:buSzPct val="100000"/>
              <a:buFontTx/>
              <a:buNone/>
              <a:defRPr/>
            </a:pPr>
            <a:r>
              <a:rPr kumimoji="0" lang="en-US" altLang="zh-CN" sz="20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2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80" name="矩形 79"/>
          <p:cNvSpPr/>
          <p:nvPr/>
        </p:nvSpPr>
        <p:spPr>
          <a:xfrm>
            <a:off x="529467" y="3192603"/>
            <a:ext cx="2186839" cy="76764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07950" marR="0" lvl="1" indent="0" algn="l" defTabSz="914400" rtl="0" eaLnBrk="1" fontAlgn="auto" latinLnBrk="0" hangingPunct="1">
              <a:lnSpc>
                <a:spcPct val="100000"/>
              </a:lnSpc>
              <a:spcBef>
                <a:spcPts val="0"/>
              </a:spcBef>
              <a:spcAft>
                <a:spcPts val="0"/>
              </a:spcAft>
              <a:buClr>
                <a:srgbClr val="575F6D">
                  <a:lumMod val="100000"/>
                </a:srgbClr>
              </a:buClr>
              <a:buSzPct val="100000"/>
              <a:buFontTx/>
              <a:buNone/>
              <a:defRPr/>
            </a:pPr>
            <a:r>
              <a:rPr kumimoji="0" lang="en-US" altLang="zh-CN" sz="20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20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81" name="矩形 80"/>
          <p:cNvSpPr/>
          <p:nvPr/>
        </p:nvSpPr>
        <p:spPr>
          <a:xfrm>
            <a:off x="555812" y="5342963"/>
            <a:ext cx="2408082" cy="60063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07950" marR="0" lvl="1" indent="0" algn="l" defTabSz="914400" rtl="0" eaLnBrk="1" fontAlgn="auto" latinLnBrk="0" hangingPunct="1">
              <a:lnSpc>
                <a:spcPct val="100000"/>
              </a:lnSpc>
              <a:spcBef>
                <a:spcPts val="0"/>
              </a:spcBef>
              <a:spcAft>
                <a:spcPts val="0"/>
              </a:spcAft>
              <a:buClr>
                <a:srgbClr val="575F6D">
                  <a:lumMod val="100000"/>
                </a:srgbClr>
              </a:buClr>
              <a:buSzPct val="100000"/>
              <a:buFontTx/>
              <a:buNone/>
              <a:defRPr/>
            </a:pPr>
            <a:r>
              <a:rPr kumimoji="0" lang="en-US" altLang="zh-CN" sz="20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2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82" name="矩形 81"/>
          <p:cNvSpPr/>
          <p:nvPr/>
        </p:nvSpPr>
        <p:spPr>
          <a:xfrm>
            <a:off x="8767307" y="5342963"/>
            <a:ext cx="2408082" cy="60063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07950" marR="0" lvl="1" indent="0" algn="l" defTabSz="914400" rtl="0" eaLnBrk="1" fontAlgn="auto" latinLnBrk="0" hangingPunct="1">
              <a:lnSpc>
                <a:spcPct val="100000"/>
              </a:lnSpc>
              <a:spcBef>
                <a:spcPts val="0"/>
              </a:spcBef>
              <a:spcAft>
                <a:spcPts val="0"/>
              </a:spcAft>
              <a:buClr>
                <a:srgbClr val="575F6D">
                  <a:lumMod val="100000"/>
                </a:srgbClr>
              </a:buClr>
              <a:buSzPct val="100000"/>
              <a:buFontTx/>
              <a:buNone/>
              <a:defRPr/>
            </a:pPr>
            <a:r>
              <a:rPr kumimoji="0" lang="en-US" altLang="zh-CN" sz="20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2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83" name="矩形 82"/>
          <p:cNvSpPr/>
          <p:nvPr/>
        </p:nvSpPr>
        <p:spPr>
          <a:xfrm>
            <a:off x="10008598" y="3188114"/>
            <a:ext cx="1770315" cy="76764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107950" marR="0" lvl="1" indent="0" algn="l" defTabSz="914400" rtl="0" eaLnBrk="1" fontAlgn="auto" latinLnBrk="0" hangingPunct="1">
              <a:lnSpc>
                <a:spcPct val="100000"/>
              </a:lnSpc>
              <a:spcBef>
                <a:spcPts val="0"/>
              </a:spcBef>
              <a:spcAft>
                <a:spcPts val="0"/>
              </a:spcAft>
              <a:buClr>
                <a:srgbClr val="575F6D">
                  <a:lumMod val="100000"/>
                </a:srgbClr>
              </a:buClr>
              <a:buSzPct val="100000"/>
              <a:buFontTx/>
              <a:buNone/>
              <a:defRPr/>
            </a:pPr>
            <a:r>
              <a:rPr kumimoji="0" lang="en-US" altLang="zh-CN" sz="20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20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pic>
        <p:nvPicPr>
          <p:cNvPr id="113668"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21427" y="3269594"/>
            <a:ext cx="1607958" cy="769434"/>
          </a:xfrm>
          <a:prstGeom prst="rect">
            <a:avLst/>
          </a:prstGeom>
          <a:noFill/>
          <a:extLst>
            <a:ext uri="{909E8E84-426E-40DD-AFC4-6F175D3DCCD1}">
              <a14:hiddenFill xmlns:a14="http://schemas.microsoft.com/office/drawing/2010/main">
                <a:solidFill>
                  <a:srgbClr val="FFFFFF"/>
                </a:solidFill>
              </a14:hiddenFill>
            </a:ext>
          </a:extLst>
        </p:spPr>
      </p:pic>
      <p:pic>
        <p:nvPicPr>
          <p:cNvPr id="113672" name="Picture 8" descr="查看源图像"/>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99089" y="3358451"/>
            <a:ext cx="876440" cy="547776"/>
          </a:xfrm>
          <a:prstGeom prst="rect">
            <a:avLst/>
          </a:prstGeom>
          <a:noFill/>
          <a:extLst>
            <a:ext uri="{909E8E84-426E-40DD-AFC4-6F175D3DCCD1}">
              <a14:hiddenFill xmlns:a14="http://schemas.microsoft.com/office/drawing/2010/main">
                <a:solidFill>
                  <a:srgbClr val="FFFFFF"/>
                </a:solidFill>
              </a14:hiddenFill>
            </a:ext>
          </a:extLst>
        </p:spPr>
      </p:pic>
      <p:pic>
        <p:nvPicPr>
          <p:cNvPr id="113674" name="Picture 10" descr="查看源图像"/>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54479" y="5483695"/>
            <a:ext cx="1078533" cy="415775"/>
          </a:xfrm>
          <a:prstGeom prst="rect">
            <a:avLst/>
          </a:prstGeom>
          <a:noFill/>
          <a:extLst>
            <a:ext uri="{909E8E84-426E-40DD-AFC4-6F175D3DCCD1}">
              <a14:hiddenFill xmlns:a14="http://schemas.microsoft.com/office/drawing/2010/main">
                <a:solidFill>
                  <a:srgbClr val="FFFFFF"/>
                </a:solidFill>
              </a14:hiddenFill>
            </a:ext>
          </a:extLst>
        </p:spPr>
      </p:pic>
      <p:pic>
        <p:nvPicPr>
          <p:cNvPr id="113676" name="Picture 12" descr="查看源图像"/>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49688" y="1016414"/>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13678" name="Picture 14" descr="查看源图像"/>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34255" y="1176615"/>
            <a:ext cx="585909" cy="585910"/>
          </a:xfrm>
          <a:prstGeom prst="rect">
            <a:avLst/>
          </a:prstGeom>
          <a:noFill/>
          <a:extLst>
            <a:ext uri="{909E8E84-426E-40DD-AFC4-6F175D3DCCD1}">
              <a14:hiddenFill xmlns:a14="http://schemas.microsoft.com/office/drawing/2010/main">
                <a:solidFill>
                  <a:srgbClr val="FFFFFF"/>
                </a:solidFill>
              </a14:hiddenFill>
            </a:ext>
          </a:extLst>
        </p:spPr>
      </p:pic>
      <p:pic>
        <p:nvPicPr>
          <p:cNvPr id="113682" name="Picture 18" descr="查看源图像"/>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55672" y="3355955"/>
            <a:ext cx="1585388" cy="471448"/>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c18c74ab-84c2-4156-bcd2-7efce9ecc08f"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0"/>
            </p:custDataLst>
          </p:nvPr>
        </p:nvGrpSpPr>
        <p:grpSpPr>
          <a:xfrm>
            <a:off x="3485236" y="5296899"/>
            <a:ext cx="1167446" cy="549172"/>
            <a:chOff x="3191761" y="1681661"/>
            <a:chExt cx="6272894" cy="2950800"/>
          </a:xfrm>
        </p:grpSpPr>
        <p:grpSp>
          <p:nvGrpSpPr>
            <p:cNvPr id="35" name="îsḻíḑè"/>
            <p:cNvGrpSpPr/>
            <p:nvPr/>
          </p:nvGrpSpPr>
          <p:grpSpPr bwMode="auto">
            <a:xfrm>
              <a:off x="6997601" y="2193231"/>
              <a:ext cx="1498613" cy="1947269"/>
              <a:chOff x="4489" y="496"/>
              <a:chExt cx="1453" cy="1888"/>
            </a:xfrm>
          </p:grpSpPr>
          <p:sp>
            <p:nvSpPr>
              <p:cNvPr id="308" name="íŝľîde"/>
              <p:cNvSpPr/>
              <p:nvPr/>
            </p:nvSpPr>
            <p:spPr bwMode="auto">
              <a:xfrm>
                <a:off x="4846" y="643"/>
                <a:ext cx="740" cy="1495"/>
              </a:xfrm>
              <a:prstGeom prst="rect">
                <a:avLst/>
              </a:prstGeom>
              <a:solidFill>
                <a:srgbClr val="F0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9" name="ïšḻiďê"/>
              <p:cNvSpPr/>
              <p:nvPr/>
            </p:nvSpPr>
            <p:spPr bwMode="auto">
              <a:xfrm>
                <a:off x="4898" y="919"/>
                <a:ext cx="213" cy="247"/>
              </a:xfrm>
              <a:custGeom>
                <a:avLst/>
                <a:gdLst>
                  <a:gd name="T0" fmla="*/ 0 w 700"/>
                  <a:gd name="T1" fmla="*/ 796 h 813"/>
                  <a:gd name="T2" fmla="*/ 17 w 700"/>
                  <a:gd name="T3" fmla="*/ 813 h 813"/>
                  <a:gd name="T4" fmla="*/ 683 w 700"/>
                  <a:gd name="T5" fmla="*/ 813 h 813"/>
                  <a:gd name="T6" fmla="*/ 700 w 700"/>
                  <a:gd name="T7" fmla="*/ 796 h 813"/>
                  <a:gd name="T8" fmla="*/ 700 w 700"/>
                  <a:gd name="T9" fmla="*/ 17 h 813"/>
                  <a:gd name="T10" fmla="*/ 683 w 700"/>
                  <a:gd name="T11" fmla="*/ 0 h 813"/>
                  <a:gd name="T12" fmla="*/ 17 w 700"/>
                  <a:gd name="T13" fmla="*/ 0 h 813"/>
                  <a:gd name="T14" fmla="*/ 0 w 700"/>
                  <a:gd name="T15" fmla="*/ 17 h 813"/>
                  <a:gd name="T16" fmla="*/ 0 w 700"/>
                  <a:gd name="T17" fmla="*/ 796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813">
                    <a:moveTo>
                      <a:pt x="0" y="796"/>
                    </a:moveTo>
                    <a:cubicBezTo>
                      <a:pt x="0" y="806"/>
                      <a:pt x="8" y="813"/>
                      <a:pt x="17" y="813"/>
                    </a:cubicBezTo>
                    <a:cubicBezTo>
                      <a:pt x="683" y="813"/>
                      <a:pt x="683" y="813"/>
                      <a:pt x="683" y="813"/>
                    </a:cubicBezTo>
                    <a:cubicBezTo>
                      <a:pt x="692" y="813"/>
                      <a:pt x="700" y="806"/>
                      <a:pt x="700" y="796"/>
                    </a:cubicBezTo>
                    <a:cubicBezTo>
                      <a:pt x="700" y="17"/>
                      <a:pt x="700" y="17"/>
                      <a:pt x="700" y="17"/>
                    </a:cubicBezTo>
                    <a:cubicBezTo>
                      <a:pt x="700" y="7"/>
                      <a:pt x="692" y="0"/>
                      <a:pt x="683" y="0"/>
                    </a:cubicBezTo>
                    <a:cubicBezTo>
                      <a:pt x="17" y="0"/>
                      <a:pt x="17" y="0"/>
                      <a:pt x="17" y="0"/>
                    </a:cubicBezTo>
                    <a:cubicBezTo>
                      <a:pt x="8" y="0"/>
                      <a:pt x="0" y="7"/>
                      <a:pt x="0" y="17"/>
                    </a:cubicBezTo>
                    <a:lnTo>
                      <a:pt x="0" y="796"/>
                    </a:lnTo>
                    <a:close/>
                  </a:path>
                </a:pathLst>
              </a:custGeom>
              <a:solidFill>
                <a:srgbClr val="E78D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0" name="îş1ïde"/>
              <p:cNvSpPr/>
              <p:nvPr/>
            </p:nvSpPr>
            <p:spPr bwMode="auto">
              <a:xfrm>
                <a:off x="5088" y="93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3"/>
                      <a:pt x="46" y="23"/>
                      <a:pt x="46" y="23"/>
                    </a:cubicBezTo>
                    <a:cubicBezTo>
                      <a:pt x="46" y="10"/>
                      <a:pt x="35"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1" name="iṡḷiďe"/>
              <p:cNvSpPr/>
              <p:nvPr/>
            </p:nvSpPr>
            <p:spPr bwMode="auto">
              <a:xfrm>
                <a:off x="5066" y="93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2" name="îṧ1ïḓè"/>
              <p:cNvSpPr/>
              <p:nvPr/>
            </p:nvSpPr>
            <p:spPr bwMode="auto">
              <a:xfrm>
                <a:off x="5043" y="93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3" name="íşļiďê"/>
              <p:cNvSpPr/>
              <p:nvPr/>
            </p:nvSpPr>
            <p:spPr bwMode="auto">
              <a:xfrm>
                <a:off x="5021" y="930"/>
                <a:ext cx="13" cy="223"/>
              </a:xfrm>
              <a:custGeom>
                <a:avLst/>
                <a:gdLst>
                  <a:gd name="T0" fmla="*/ 0 w 45"/>
                  <a:gd name="T1" fmla="*/ 712 h 735"/>
                  <a:gd name="T2" fmla="*/ 22 w 45"/>
                  <a:gd name="T3" fmla="*/ 735 h 735"/>
                  <a:gd name="T4" fmla="*/ 23 w 45"/>
                  <a:gd name="T5" fmla="*/ 735 h 735"/>
                  <a:gd name="T6" fmla="*/ 45 w 45"/>
                  <a:gd name="T7" fmla="*/ 712 h 735"/>
                  <a:gd name="T8" fmla="*/ 45 w 45"/>
                  <a:gd name="T9" fmla="*/ 23 h 735"/>
                  <a:gd name="T10" fmla="*/ 23 w 45"/>
                  <a:gd name="T11" fmla="*/ 0 h 735"/>
                  <a:gd name="T12" fmla="*/ 22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2"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2" y="0"/>
                      <a:pt x="22" y="0"/>
                      <a:pt x="22"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4" name="îṥlíďe"/>
              <p:cNvSpPr/>
              <p:nvPr/>
            </p:nvSpPr>
            <p:spPr bwMode="auto">
              <a:xfrm>
                <a:off x="4998" y="93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5" name="iṣ1íḓê"/>
              <p:cNvSpPr/>
              <p:nvPr/>
            </p:nvSpPr>
            <p:spPr bwMode="auto">
              <a:xfrm>
                <a:off x="4975" y="930"/>
                <a:ext cx="14" cy="223"/>
              </a:xfrm>
              <a:custGeom>
                <a:avLst/>
                <a:gdLst>
                  <a:gd name="T0" fmla="*/ 0 w 45"/>
                  <a:gd name="T1" fmla="*/ 712 h 735"/>
                  <a:gd name="T2" fmla="*/ 23 w 45"/>
                  <a:gd name="T3" fmla="*/ 735 h 735"/>
                  <a:gd name="T4" fmla="*/ 23 w 45"/>
                  <a:gd name="T5" fmla="*/ 735 h 735"/>
                  <a:gd name="T6" fmla="*/ 45 w 45"/>
                  <a:gd name="T7" fmla="*/ 712 h 735"/>
                  <a:gd name="T8" fmla="*/ 45 w 45"/>
                  <a:gd name="T9" fmla="*/ 23 h 735"/>
                  <a:gd name="T10" fmla="*/ 23 w 45"/>
                  <a:gd name="T11" fmla="*/ 0 h 735"/>
                  <a:gd name="T12" fmla="*/ 23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3"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6" name="í$ļíḓê"/>
              <p:cNvSpPr/>
              <p:nvPr/>
            </p:nvSpPr>
            <p:spPr bwMode="auto">
              <a:xfrm>
                <a:off x="4952" y="932"/>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1" y="735"/>
                      <a:pt x="23" y="735"/>
                    </a:cubicBezTo>
                    <a:cubicBezTo>
                      <a:pt x="23" y="735"/>
                      <a:pt x="23" y="735"/>
                      <a:pt x="23" y="735"/>
                    </a:cubicBezTo>
                    <a:cubicBezTo>
                      <a:pt x="36" y="735"/>
                      <a:pt x="46" y="725"/>
                      <a:pt x="46" y="713"/>
                    </a:cubicBezTo>
                    <a:cubicBezTo>
                      <a:pt x="46" y="23"/>
                      <a:pt x="46" y="23"/>
                      <a:pt x="46" y="23"/>
                    </a:cubicBezTo>
                    <a:cubicBezTo>
                      <a:pt x="46" y="10"/>
                      <a:pt x="36" y="0"/>
                      <a:pt x="23" y="0"/>
                    </a:cubicBezTo>
                    <a:cubicBezTo>
                      <a:pt x="23" y="0"/>
                      <a:pt x="23" y="0"/>
                      <a:pt x="23" y="0"/>
                    </a:cubicBezTo>
                    <a:cubicBezTo>
                      <a:pt x="11" y="0"/>
                      <a:pt x="0" y="10"/>
                      <a:pt x="0" y="23"/>
                    </a:cubicBezTo>
                    <a:lnTo>
                      <a:pt x="0" y="713"/>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7" name="îśḷiḓè"/>
              <p:cNvSpPr/>
              <p:nvPr/>
            </p:nvSpPr>
            <p:spPr bwMode="auto">
              <a:xfrm>
                <a:off x="4930" y="932"/>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0" y="735"/>
                      <a:pt x="23" y="735"/>
                    </a:cubicBezTo>
                    <a:cubicBezTo>
                      <a:pt x="23" y="735"/>
                      <a:pt x="23" y="735"/>
                      <a:pt x="23" y="735"/>
                    </a:cubicBezTo>
                    <a:cubicBezTo>
                      <a:pt x="35" y="735"/>
                      <a:pt x="46" y="725"/>
                      <a:pt x="46" y="713"/>
                    </a:cubicBezTo>
                    <a:cubicBezTo>
                      <a:pt x="46" y="23"/>
                      <a:pt x="46" y="23"/>
                      <a:pt x="46" y="23"/>
                    </a:cubicBezTo>
                    <a:cubicBezTo>
                      <a:pt x="46" y="10"/>
                      <a:pt x="35" y="0"/>
                      <a:pt x="23" y="0"/>
                    </a:cubicBezTo>
                    <a:cubicBezTo>
                      <a:pt x="23" y="0"/>
                      <a:pt x="23" y="0"/>
                      <a:pt x="23" y="0"/>
                    </a:cubicBezTo>
                    <a:cubicBezTo>
                      <a:pt x="10" y="0"/>
                      <a:pt x="0" y="10"/>
                      <a:pt x="0" y="23"/>
                    </a:cubicBezTo>
                    <a:lnTo>
                      <a:pt x="0" y="713"/>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8" name="ïslíḓê"/>
              <p:cNvSpPr/>
              <p:nvPr/>
            </p:nvSpPr>
            <p:spPr bwMode="auto">
              <a:xfrm>
                <a:off x="4907" y="93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19" name="íṥ1iḋè"/>
              <p:cNvSpPr/>
              <p:nvPr/>
            </p:nvSpPr>
            <p:spPr bwMode="auto">
              <a:xfrm>
                <a:off x="5111" y="918"/>
                <a:ext cx="213" cy="247"/>
              </a:xfrm>
              <a:custGeom>
                <a:avLst/>
                <a:gdLst>
                  <a:gd name="T0" fmla="*/ 0 w 700"/>
                  <a:gd name="T1" fmla="*/ 797 h 814"/>
                  <a:gd name="T2" fmla="*/ 17 w 700"/>
                  <a:gd name="T3" fmla="*/ 814 h 814"/>
                  <a:gd name="T4" fmla="*/ 683 w 700"/>
                  <a:gd name="T5" fmla="*/ 814 h 814"/>
                  <a:gd name="T6" fmla="*/ 700 w 700"/>
                  <a:gd name="T7" fmla="*/ 797 h 814"/>
                  <a:gd name="T8" fmla="*/ 700 w 700"/>
                  <a:gd name="T9" fmla="*/ 17 h 814"/>
                  <a:gd name="T10" fmla="*/ 683 w 700"/>
                  <a:gd name="T11" fmla="*/ 0 h 814"/>
                  <a:gd name="T12" fmla="*/ 17 w 700"/>
                  <a:gd name="T13" fmla="*/ 0 h 814"/>
                  <a:gd name="T14" fmla="*/ 0 w 700"/>
                  <a:gd name="T15" fmla="*/ 17 h 814"/>
                  <a:gd name="T16" fmla="*/ 0 w 700"/>
                  <a:gd name="T17" fmla="*/ 79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814">
                    <a:moveTo>
                      <a:pt x="0" y="797"/>
                    </a:moveTo>
                    <a:cubicBezTo>
                      <a:pt x="0" y="806"/>
                      <a:pt x="8" y="814"/>
                      <a:pt x="17" y="814"/>
                    </a:cubicBezTo>
                    <a:cubicBezTo>
                      <a:pt x="683" y="814"/>
                      <a:pt x="683" y="814"/>
                      <a:pt x="683" y="814"/>
                    </a:cubicBezTo>
                    <a:cubicBezTo>
                      <a:pt x="692" y="814"/>
                      <a:pt x="700" y="806"/>
                      <a:pt x="700" y="797"/>
                    </a:cubicBezTo>
                    <a:cubicBezTo>
                      <a:pt x="700" y="17"/>
                      <a:pt x="700" y="17"/>
                      <a:pt x="700" y="17"/>
                    </a:cubicBezTo>
                    <a:cubicBezTo>
                      <a:pt x="700" y="8"/>
                      <a:pt x="692" y="0"/>
                      <a:pt x="683" y="0"/>
                    </a:cubicBezTo>
                    <a:cubicBezTo>
                      <a:pt x="17" y="0"/>
                      <a:pt x="17" y="0"/>
                      <a:pt x="17" y="0"/>
                    </a:cubicBezTo>
                    <a:cubicBezTo>
                      <a:pt x="8" y="0"/>
                      <a:pt x="0" y="8"/>
                      <a:pt x="0" y="17"/>
                    </a:cubicBezTo>
                    <a:lnTo>
                      <a:pt x="0" y="797"/>
                    </a:lnTo>
                    <a:close/>
                  </a:path>
                </a:pathLst>
              </a:custGeom>
              <a:solidFill>
                <a:srgbClr val="1090B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0" name="ïşľîďè"/>
              <p:cNvSpPr/>
              <p:nvPr/>
            </p:nvSpPr>
            <p:spPr bwMode="auto">
              <a:xfrm>
                <a:off x="5301" y="929"/>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3"/>
                      <a:pt x="46" y="23"/>
                      <a:pt x="46" y="23"/>
                    </a:cubicBezTo>
                    <a:cubicBezTo>
                      <a:pt x="46" y="10"/>
                      <a:pt x="35" y="0"/>
                      <a:pt x="23" y="0"/>
                    </a:cubicBezTo>
                    <a:cubicBezTo>
                      <a:pt x="23" y="0"/>
                      <a:pt x="23" y="0"/>
                      <a:pt x="23"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1" name="iṡ1íḍè"/>
              <p:cNvSpPr/>
              <p:nvPr/>
            </p:nvSpPr>
            <p:spPr bwMode="auto">
              <a:xfrm>
                <a:off x="5278" y="929"/>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2" name="ïS1îḍé"/>
              <p:cNvSpPr/>
              <p:nvPr/>
            </p:nvSpPr>
            <p:spPr bwMode="auto">
              <a:xfrm>
                <a:off x="5256" y="929"/>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3" name="iṩḷïḍê"/>
              <p:cNvSpPr/>
              <p:nvPr/>
            </p:nvSpPr>
            <p:spPr bwMode="auto">
              <a:xfrm>
                <a:off x="5233" y="929"/>
                <a:ext cx="14" cy="223"/>
              </a:xfrm>
              <a:custGeom>
                <a:avLst/>
                <a:gdLst>
                  <a:gd name="T0" fmla="*/ 0 w 45"/>
                  <a:gd name="T1" fmla="*/ 712 h 735"/>
                  <a:gd name="T2" fmla="*/ 22 w 45"/>
                  <a:gd name="T3" fmla="*/ 735 h 735"/>
                  <a:gd name="T4" fmla="*/ 23 w 45"/>
                  <a:gd name="T5" fmla="*/ 735 h 735"/>
                  <a:gd name="T6" fmla="*/ 45 w 45"/>
                  <a:gd name="T7" fmla="*/ 712 h 735"/>
                  <a:gd name="T8" fmla="*/ 45 w 45"/>
                  <a:gd name="T9" fmla="*/ 23 h 735"/>
                  <a:gd name="T10" fmla="*/ 23 w 45"/>
                  <a:gd name="T11" fmla="*/ 0 h 735"/>
                  <a:gd name="T12" fmla="*/ 22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2"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2" y="0"/>
                      <a:pt x="22" y="0"/>
                      <a:pt x="22"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4" name="ïṧḻide"/>
              <p:cNvSpPr/>
              <p:nvPr/>
            </p:nvSpPr>
            <p:spPr bwMode="auto">
              <a:xfrm>
                <a:off x="5211" y="929"/>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5" name="îṡḻiḍê"/>
              <p:cNvSpPr/>
              <p:nvPr/>
            </p:nvSpPr>
            <p:spPr bwMode="auto">
              <a:xfrm>
                <a:off x="5188" y="929"/>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3"/>
                      <a:pt x="46" y="23"/>
                      <a:pt x="46" y="23"/>
                    </a:cubicBezTo>
                    <a:cubicBezTo>
                      <a:pt x="46" y="10"/>
                      <a:pt x="35" y="0"/>
                      <a:pt x="23" y="0"/>
                    </a:cubicBezTo>
                    <a:cubicBezTo>
                      <a:pt x="23" y="0"/>
                      <a:pt x="23" y="0"/>
                      <a:pt x="23"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6" name="îslîdè"/>
              <p:cNvSpPr/>
              <p:nvPr/>
            </p:nvSpPr>
            <p:spPr bwMode="auto">
              <a:xfrm>
                <a:off x="5165" y="931"/>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2 h 735"/>
                  <a:gd name="T10" fmla="*/ 23 w 46"/>
                  <a:gd name="T11" fmla="*/ 0 h 735"/>
                  <a:gd name="T12" fmla="*/ 23 w 46"/>
                  <a:gd name="T13" fmla="*/ 0 h 735"/>
                  <a:gd name="T14" fmla="*/ 0 w 46"/>
                  <a:gd name="T15" fmla="*/ 22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2"/>
                      <a:pt x="46" y="22"/>
                      <a:pt x="46" y="22"/>
                    </a:cubicBezTo>
                    <a:cubicBezTo>
                      <a:pt x="46" y="10"/>
                      <a:pt x="36" y="0"/>
                      <a:pt x="23" y="0"/>
                    </a:cubicBezTo>
                    <a:cubicBezTo>
                      <a:pt x="23" y="0"/>
                      <a:pt x="23" y="0"/>
                      <a:pt x="23" y="0"/>
                    </a:cubicBezTo>
                    <a:cubicBezTo>
                      <a:pt x="11" y="0"/>
                      <a:pt x="0" y="10"/>
                      <a:pt x="0" y="22"/>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7" name="íṣḷîḑé"/>
              <p:cNvSpPr/>
              <p:nvPr/>
            </p:nvSpPr>
            <p:spPr bwMode="auto">
              <a:xfrm>
                <a:off x="5143" y="931"/>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2 h 735"/>
                  <a:gd name="T10" fmla="*/ 23 w 46"/>
                  <a:gd name="T11" fmla="*/ 0 h 735"/>
                  <a:gd name="T12" fmla="*/ 23 w 46"/>
                  <a:gd name="T13" fmla="*/ 0 h 735"/>
                  <a:gd name="T14" fmla="*/ 0 w 46"/>
                  <a:gd name="T15" fmla="*/ 22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2"/>
                      <a:pt x="46" y="22"/>
                      <a:pt x="46" y="22"/>
                    </a:cubicBezTo>
                    <a:cubicBezTo>
                      <a:pt x="46" y="10"/>
                      <a:pt x="35" y="0"/>
                      <a:pt x="23" y="0"/>
                    </a:cubicBezTo>
                    <a:cubicBezTo>
                      <a:pt x="23" y="0"/>
                      <a:pt x="23" y="0"/>
                      <a:pt x="23" y="0"/>
                    </a:cubicBezTo>
                    <a:cubicBezTo>
                      <a:pt x="10" y="0"/>
                      <a:pt x="0" y="10"/>
                      <a:pt x="0" y="22"/>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8" name="ïṣ1îďê"/>
              <p:cNvSpPr/>
              <p:nvPr/>
            </p:nvSpPr>
            <p:spPr bwMode="auto">
              <a:xfrm>
                <a:off x="5120" y="929"/>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29" name="ïSļîḓe"/>
              <p:cNvSpPr/>
              <p:nvPr/>
            </p:nvSpPr>
            <p:spPr bwMode="auto">
              <a:xfrm>
                <a:off x="5324" y="917"/>
                <a:ext cx="213" cy="247"/>
              </a:xfrm>
              <a:custGeom>
                <a:avLst/>
                <a:gdLst>
                  <a:gd name="T0" fmla="*/ 0 w 700"/>
                  <a:gd name="T1" fmla="*/ 797 h 814"/>
                  <a:gd name="T2" fmla="*/ 17 w 700"/>
                  <a:gd name="T3" fmla="*/ 814 h 814"/>
                  <a:gd name="T4" fmla="*/ 683 w 700"/>
                  <a:gd name="T5" fmla="*/ 814 h 814"/>
                  <a:gd name="T6" fmla="*/ 700 w 700"/>
                  <a:gd name="T7" fmla="*/ 797 h 814"/>
                  <a:gd name="T8" fmla="*/ 700 w 700"/>
                  <a:gd name="T9" fmla="*/ 17 h 814"/>
                  <a:gd name="T10" fmla="*/ 683 w 700"/>
                  <a:gd name="T11" fmla="*/ 0 h 814"/>
                  <a:gd name="T12" fmla="*/ 17 w 700"/>
                  <a:gd name="T13" fmla="*/ 0 h 814"/>
                  <a:gd name="T14" fmla="*/ 0 w 700"/>
                  <a:gd name="T15" fmla="*/ 17 h 814"/>
                  <a:gd name="T16" fmla="*/ 0 w 700"/>
                  <a:gd name="T17" fmla="*/ 79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814">
                    <a:moveTo>
                      <a:pt x="0" y="797"/>
                    </a:moveTo>
                    <a:cubicBezTo>
                      <a:pt x="0" y="806"/>
                      <a:pt x="8" y="814"/>
                      <a:pt x="17" y="814"/>
                    </a:cubicBezTo>
                    <a:cubicBezTo>
                      <a:pt x="683" y="814"/>
                      <a:pt x="683" y="814"/>
                      <a:pt x="683" y="814"/>
                    </a:cubicBezTo>
                    <a:cubicBezTo>
                      <a:pt x="692" y="814"/>
                      <a:pt x="700" y="806"/>
                      <a:pt x="700" y="797"/>
                    </a:cubicBezTo>
                    <a:cubicBezTo>
                      <a:pt x="700" y="17"/>
                      <a:pt x="700" y="17"/>
                      <a:pt x="700" y="17"/>
                    </a:cubicBezTo>
                    <a:cubicBezTo>
                      <a:pt x="700" y="8"/>
                      <a:pt x="692" y="0"/>
                      <a:pt x="683" y="0"/>
                    </a:cubicBezTo>
                    <a:cubicBezTo>
                      <a:pt x="17" y="0"/>
                      <a:pt x="17" y="0"/>
                      <a:pt x="17" y="0"/>
                    </a:cubicBezTo>
                    <a:cubicBezTo>
                      <a:pt x="8" y="0"/>
                      <a:pt x="0" y="8"/>
                      <a:pt x="0" y="17"/>
                    </a:cubicBezTo>
                    <a:lnTo>
                      <a:pt x="0" y="797"/>
                    </a:lnTo>
                    <a:close/>
                  </a:path>
                </a:pathLst>
              </a:custGeom>
              <a:solidFill>
                <a:srgbClr val="E54F4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0" name="íşlïḓê"/>
              <p:cNvSpPr/>
              <p:nvPr/>
            </p:nvSpPr>
            <p:spPr bwMode="auto">
              <a:xfrm>
                <a:off x="5514" y="928"/>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3"/>
                      <a:pt x="46" y="23"/>
                      <a:pt x="46" y="23"/>
                    </a:cubicBezTo>
                    <a:cubicBezTo>
                      <a:pt x="46" y="10"/>
                      <a:pt x="35"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1" name="îṣļídè"/>
              <p:cNvSpPr/>
              <p:nvPr/>
            </p:nvSpPr>
            <p:spPr bwMode="auto">
              <a:xfrm>
                <a:off x="5491" y="928"/>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2" name="iṣľíḑé"/>
              <p:cNvSpPr/>
              <p:nvPr/>
            </p:nvSpPr>
            <p:spPr bwMode="auto">
              <a:xfrm>
                <a:off x="5469" y="928"/>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3" name="ïslíḍè"/>
              <p:cNvSpPr/>
              <p:nvPr/>
            </p:nvSpPr>
            <p:spPr bwMode="auto">
              <a:xfrm>
                <a:off x="5446" y="928"/>
                <a:ext cx="14" cy="223"/>
              </a:xfrm>
              <a:custGeom>
                <a:avLst/>
                <a:gdLst>
                  <a:gd name="T0" fmla="*/ 0 w 45"/>
                  <a:gd name="T1" fmla="*/ 712 h 735"/>
                  <a:gd name="T2" fmla="*/ 22 w 45"/>
                  <a:gd name="T3" fmla="*/ 735 h 735"/>
                  <a:gd name="T4" fmla="*/ 23 w 45"/>
                  <a:gd name="T5" fmla="*/ 735 h 735"/>
                  <a:gd name="T6" fmla="*/ 45 w 45"/>
                  <a:gd name="T7" fmla="*/ 712 h 735"/>
                  <a:gd name="T8" fmla="*/ 45 w 45"/>
                  <a:gd name="T9" fmla="*/ 23 h 735"/>
                  <a:gd name="T10" fmla="*/ 23 w 45"/>
                  <a:gd name="T11" fmla="*/ 0 h 735"/>
                  <a:gd name="T12" fmla="*/ 22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2"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2" y="0"/>
                      <a:pt x="22" y="0"/>
                      <a:pt x="22"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4" name="iSľiḍè"/>
              <p:cNvSpPr/>
              <p:nvPr/>
            </p:nvSpPr>
            <p:spPr bwMode="auto">
              <a:xfrm>
                <a:off x="5424" y="928"/>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5" name="işľiḋe"/>
              <p:cNvSpPr/>
              <p:nvPr/>
            </p:nvSpPr>
            <p:spPr bwMode="auto">
              <a:xfrm>
                <a:off x="5401" y="928"/>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3"/>
                      <a:pt x="46" y="23"/>
                      <a:pt x="46" y="23"/>
                    </a:cubicBezTo>
                    <a:cubicBezTo>
                      <a:pt x="46" y="10"/>
                      <a:pt x="35"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6" name="iṩḻïdê"/>
              <p:cNvSpPr/>
              <p:nvPr/>
            </p:nvSpPr>
            <p:spPr bwMode="auto">
              <a:xfrm>
                <a:off x="5378" y="93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7" name="iṩļïḍè"/>
              <p:cNvSpPr/>
              <p:nvPr/>
            </p:nvSpPr>
            <p:spPr bwMode="auto">
              <a:xfrm>
                <a:off x="5356" y="93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3"/>
                      <a:pt x="46" y="23"/>
                      <a:pt x="46" y="23"/>
                    </a:cubicBezTo>
                    <a:cubicBezTo>
                      <a:pt x="46" y="10"/>
                      <a:pt x="35"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8" name="íṥľïḑé"/>
              <p:cNvSpPr/>
              <p:nvPr/>
            </p:nvSpPr>
            <p:spPr bwMode="auto">
              <a:xfrm>
                <a:off x="5333" y="928"/>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39" name="ïSļïḑé"/>
              <p:cNvSpPr/>
              <p:nvPr/>
            </p:nvSpPr>
            <p:spPr bwMode="auto">
              <a:xfrm>
                <a:off x="4985" y="1167"/>
                <a:ext cx="247" cy="212"/>
              </a:xfrm>
              <a:custGeom>
                <a:avLst/>
                <a:gdLst>
                  <a:gd name="T0" fmla="*/ 17 w 814"/>
                  <a:gd name="T1" fmla="*/ 0 h 700"/>
                  <a:gd name="T2" fmla="*/ 0 w 814"/>
                  <a:gd name="T3" fmla="*/ 17 h 700"/>
                  <a:gd name="T4" fmla="*/ 0 w 814"/>
                  <a:gd name="T5" fmla="*/ 683 h 700"/>
                  <a:gd name="T6" fmla="*/ 17 w 814"/>
                  <a:gd name="T7" fmla="*/ 700 h 700"/>
                  <a:gd name="T8" fmla="*/ 797 w 814"/>
                  <a:gd name="T9" fmla="*/ 700 h 700"/>
                  <a:gd name="T10" fmla="*/ 814 w 814"/>
                  <a:gd name="T11" fmla="*/ 683 h 700"/>
                  <a:gd name="T12" fmla="*/ 814 w 814"/>
                  <a:gd name="T13" fmla="*/ 17 h 700"/>
                  <a:gd name="T14" fmla="*/ 797 w 814"/>
                  <a:gd name="T15" fmla="*/ 0 h 700"/>
                  <a:gd name="T16" fmla="*/ 17 w 814"/>
                  <a:gd name="T17"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4" h="700">
                    <a:moveTo>
                      <a:pt x="17" y="0"/>
                    </a:moveTo>
                    <a:cubicBezTo>
                      <a:pt x="8" y="0"/>
                      <a:pt x="0" y="7"/>
                      <a:pt x="0" y="17"/>
                    </a:cubicBezTo>
                    <a:cubicBezTo>
                      <a:pt x="0" y="683"/>
                      <a:pt x="0" y="683"/>
                      <a:pt x="0" y="683"/>
                    </a:cubicBezTo>
                    <a:cubicBezTo>
                      <a:pt x="0" y="692"/>
                      <a:pt x="8" y="700"/>
                      <a:pt x="17" y="700"/>
                    </a:cubicBezTo>
                    <a:cubicBezTo>
                      <a:pt x="797" y="700"/>
                      <a:pt x="797" y="700"/>
                      <a:pt x="797" y="700"/>
                    </a:cubicBezTo>
                    <a:cubicBezTo>
                      <a:pt x="806" y="700"/>
                      <a:pt x="814" y="692"/>
                      <a:pt x="814" y="683"/>
                    </a:cubicBezTo>
                    <a:cubicBezTo>
                      <a:pt x="814" y="17"/>
                      <a:pt x="814" y="17"/>
                      <a:pt x="814" y="17"/>
                    </a:cubicBezTo>
                    <a:cubicBezTo>
                      <a:pt x="814" y="7"/>
                      <a:pt x="806" y="0"/>
                      <a:pt x="797" y="0"/>
                    </a:cubicBezTo>
                    <a:lnTo>
                      <a:pt x="17" y="0"/>
                    </a:lnTo>
                    <a:close/>
                  </a:path>
                </a:pathLst>
              </a:custGeom>
              <a:solidFill>
                <a:srgbClr val="E54F4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0" name="îṩlide"/>
              <p:cNvSpPr/>
              <p:nvPr/>
            </p:nvSpPr>
            <p:spPr bwMode="auto">
              <a:xfrm>
                <a:off x="4998" y="1356"/>
                <a:ext cx="223" cy="14"/>
              </a:xfrm>
              <a:custGeom>
                <a:avLst/>
                <a:gdLst>
                  <a:gd name="T0" fmla="*/ 22 w 735"/>
                  <a:gd name="T1" fmla="*/ 0 h 45"/>
                  <a:gd name="T2" fmla="*/ 0 w 735"/>
                  <a:gd name="T3" fmla="*/ 22 h 45"/>
                  <a:gd name="T4" fmla="*/ 0 w 735"/>
                  <a:gd name="T5" fmla="*/ 23 h 45"/>
                  <a:gd name="T6" fmla="*/ 22 w 735"/>
                  <a:gd name="T7" fmla="*/ 45 h 45"/>
                  <a:gd name="T8" fmla="*/ 712 w 735"/>
                  <a:gd name="T9" fmla="*/ 45 h 45"/>
                  <a:gd name="T10" fmla="*/ 735 w 735"/>
                  <a:gd name="T11" fmla="*/ 23 h 45"/>
                  <a:gd name="T12" fmla="*/ 735 w 735"/>
                  <a:gd name="T13" fmla="*/ 22 h 45"/>
                  <a:gd name="T14" fmla="*/ 712 w 735"/>
                  <a:gd name="T15" fmla="*/ 0 h 45"/>
                  <a:gd name="T16" fmla="*/ 22 w 735"/>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5">
                    <a:moveTo>
                      <a:pt x="22" y="0"/>
                    </a:moveTo>
                    <a:cubicBezTo>
                      <a:pt x="10" y="0"/>
                      <a:pt x="0" y="10"/>
                      <a:pt x="0" y="22"/>
                    </a:cubicBezTo>
                    <a:cubicBezTo>
                      <a:pt x="0" y="23"/>
                      <a:pt x="0" y="23"/>
                      <a:pt x="0" y="23"/>
                    </a:cubicBezTo>
                    <a:cubicBezTo>
                      <a:pt x="0" y="35"/>
                      <a:pt x="10" y="45"/>
                      <a:pt x="22" y="45"/>
                    </a:cubicBezTo>
                    <a:cubicBezTo>
                      <a:pt x="712" y="45"/>
                      <a:pt x="712" y="45"/>
                      <a:pt x="712" y="45"/>
                    </a:cubicBezTo>
                    <a:cubicBezTo>
                      <a:pt x="725" y="45"/>
                      <a:pt x="735" y="35"/>
                      <a:pt x="735" y="23"/>
                    </a:cubicBezTo>
                    <a:cubicBezTo>
                      <a:pt x="735" y="22"/>
                      <a:pt x="735" y="22"/>
                      <a:pt x="735" y="22"/>
                    </a:cubicBezTo>
                    <a:cubicBezTo>
                      <a:pt x="735" y="10"/>
                      <a:pt x="725" y="0"/>
                      <a:pt x="712" y="0"/>
                    </a:cubicBezTo>
                    <a:lnTo>
                      <a:pt x="22"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1" name="ïSľíde"/>
              <p:cNvSpPr/>
              <p:nvPr/>
            </p:nvSpPr>
            <p:spPr bwMode="auto">
              <a:xfrm>
                <a:off x="4998" y="1334"/>
                <a:ext cx="223" cy="14"/>
              </a:xfrm>
              <a:custGeom>
                <a:avLst/>
                <a:gdLst>
                  <a:gd name="T0" fmla="*/ 22 w 735"/>
                  <a:gd name="T1" fmla="*/ 0 h 46"/>
                  <a:gd name="T2" fmla="*/ 0 w 735"/>
                  <a:gd name="T3" fmla="*/ 23 h 46"/>
                  <a:gd name="T4" fmla="*/ 0 w 735"/>
                  <a:gd name="T5" fmla="*/ 23 h 46"/>
                  <a:gd name="T6" fmla="*/ 22 w 735"/>
                  <a:gd name="T7" fmla="*/ 46 h 46"/>
                  <a:gd name="T8" fmla="*/ 712 w 735"/>
                  <a:gd name="T9" fmla="*/ 46 h 46"/>
                  <a:gd name="T10" fmla="*/ 735 w 735"/>
                  <a:gd name="T11" fmla="*/ 23 h 46"/>
                  <a:gd name="T12" fmla="*/ 735 w 735"/>
                  <a:gd name="T13" fmla="*/ 23 h 46"/>
                  <a:gd name="T14" fmla="*/ 712 w 735"/>
                  <a:gd name="T15" fmla="*/ 0 h 46"/>
                  <a:gd name="T16" fmla="*/ 22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2" y="0"/>
                    </a:moveTo>
                    <a:cubicBezTo>
                      <a:pt x="10" y="0"/>
                      <a:pt x="0" y="10"/>
                      <a:pt x="0" y="23"/>
                    </a:cubicBezTo>
                    <a:cubicBezTo>
                      <a:pt x="0" y="23"/>
                      <a:pt x="0" y="23"/>
                      <a:pt x="0" y="23"/>
                    </a:cubicBezTo>
                    <a:cubicBezTo>
                      <a:pt x="0" y="36"/>
                      <a:pt x="10" y="46"/>
                      <a:pt x="22" y="46"/>
                    </a:cubicBezTo>
                    <a:cubicBezTo>
                      <a:pt x="712" y="46"/>
                      <a:pt x="712" y="46"/>
                      <a:pt x="712" y="46"/>
                    </a:cubicBezTo>
                    <a:cubicBezTo>
                      <a:pt x="725" y="46"/>
                      <a:pt x="735" y="36"/>
                      <a:pt x="735" y="23"/>
                    </a:cubicBezTo>
                    <a:cubicBezTo>
                      <a:pt x="735" y="23"/>
                      <a:pt x="735" y="23"/>
                      <a:pt x="735" y="23"/>
                    </a:cubicBezTo>
                    <a:cubicBezTo>
                      <a:pt x="735" y="10"/>
                      <a:pt x="725" y="0"/>
                      <a:pt x="712" y="0"/>
                    </a:cubicBezTo>
                    <a:lnTo>
                      <a:pt x="22"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2" name="ïs1íḋê"/>
              <p:cNvSpPr/>
              <p:nvPr/>
            </p:nvSpPr>
            <p:spPr bwMode="auto">
              <a:xfrm>
                <a:off x="4998" y="1311"/>
                <a:ext cx="223" cy="14"/>
              </a:xfrm>
              <a:custGeom>
                <a:avLst/>
                <a:gdLst>
                  <a:gd name="T0" fmla="*/ 22 w 735"/>
                  <a:gd name="T1" fmla="*/ 0 h 46"/>
                  <a:gd name="T2" fmla="*/ 0 w 735"/>
                  <a:gd name="T3" fmla="*/ 23 h 46"/>
                  <a:gd name="T4" fmla="*/ 0 w 735"/>
                  <a:gd name="T5" fmla="*/ 23 h 46"/>
                  <a:gd name="T6" fmla="*/ 22 w 735"/>
                  <a:gd name="T7" fmla="*/ 46 h 46"/>
                  <a:gd name="T8" fmla="*/ 712 w 735"/>
                  <a:gd name="T9" fmla="*/ 46 h 46"/>
                  <a:gd name="T10" fmla="*/ 735 w 735"/>
                  <a:gd name="T11" fmla="*/ 23 h 46"/>
                  <a:gd name="T12" fmla="*/ 735 w 735"/>
                  <a:gd name="T13" fmla="*/ 23 h 46"/>
                  <a:gd name="T14" fmla="*/ 712 w 735"/>
                  <a:gd name="T15" fmla="*/ 0 h 46"/>
                  <a:gd name="T16" fmla="*/ 22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2" y="0"/>
                    </a:moveTo>
                    <a:cubicBezTo>
                      <a:pt x="10" y="0"/>
                      <a:pt x="0" y="10"/>
                      <a:pt x="0" y="23"/>
                    </a:cubicBezTo>
                    <a:cubicBezTo>
                      <a:pt x="0" y="23"/>
                      <a:pt x="0" y="23"/>
                      <a:pt x="0" y="23"/>
                    </a:cubicBezTo>
                    <a:cubicBezTo>
                      <a:pt x="0" y="35"/>
                      <a:pt x="10" y="46"/>
                      <a:pt x="22" y="46"/>
                    </a:cubicBezTo>
                    <a:cubicBezTo>
                      <a:pt x="712" y="46"/>
                      <a:pt x="712" y="46"/>
                      <a:pt x="712" y="46"/>
                    </a:cubicBezTo>
                    <a:cubicBezTo>
                      <a:pt x="725" y="46"/>
                      <a:pt x="735" y="35"/>
                      <a:pt x="735" y="23"/>
                    </a:cubicBezTo>
                    <a:cubicBezTo>
                      <a:pt x="735" y="23"/>
                      <a:pt x="735" y="23"/>
                      <a:pt x="735" y="23"/>
                    </a:cubicBezTo>
                    <a:cubicBezTo>
                      <a:pt x="735" y="10"/>
                      <a:pt x="725" y="0"/>
                      <a:pt x="712" y="0"/>
                    </a:cubicBezTo>
                    <a:lnTo>
                      <a:pt x="22"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3" name="ïṡļiḓê"/>
              <p:cNvSpPr/>
              <p:nvPr/>
            </p:nvSpPr>
            <p:spPr bwMode="auto">
              <a:xfrm>
                <a:off x="4998" y="1288"/>
                <a:ext cx="223" cy="14"/>
              </a:xfrm>
              <a:custGeom>
                <a:avLst/>
                <a:gdLst>
                  <a:gd name="T0" fmla="*/ 22 w 735"/>
                  <a:gd name="T1" fmla="*/ 0 h 46"/>
                  <a:gd name="T2" fmla="*/ 0 w 735"/>
                  <a:gd name="T3" fmla="*/ 23 h 46"/>
                  <a:gd name="T4" fmla="*/ 0 w 735"/>
                  <a:gd name="T5" fmla="*/ 23 h 46"/>
                  <a:gd name="T6" fmla="*/ 22 w 735"/>
                  <a:gd name="T7" fmla="*/ 46 h 46"/>
                  <a:gd name="T8" fmla="*/ 712 w 735"/>
                  <a:gd name="T9" fmla="*/ 46 h 46"/>
                  <a:gd name="T10" fmla="*/ 735 w 735"/>
                  <a:gd name="T11" fmla="*/ 23 h 46"/>
                  <a:gd name="T12" fmla="*/ 735 w 735"/>
                  <a:gd name="T13" fmla="*/ 23 h 46"/>
                  <a:gd name="T14" fmla="*/ 712 w 735"/>
                  <a:gd name="T15" fmla="*/ 0 h 46"/>
                  <a:gd name="T16" fmla="*/ 22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2" y="0"/>
                    </a:moveTo>
                    <a:cubicBezTo>
                      <a:pt x="10" y="0"/>
                      <a:pt x="0" y="11"/>
                      <a:pt x="0" y="23"/>
                    </a:cubicBezTo>
                    <a:cubicBezTo>
                      <a:pt x="0" y="23"/>
                      <a:pt x="0" y="23"/>
                      <a:pt x="0" y="23"/>
                    </a:cubicBezTo>
                    <a:cubicBezTo>
                      <a:pt x="0" y="36"/>
                      <a:pt x="10" y="46"/>
                      <a:pt x="22" y="46"/>
                    </a:cubicBezTo>
                    <a:cubicBezTo>
                      <a:pt x="712" y="46"/>
                      <a:pt x="712" y="46"/>
                      <a:pt x="712" y="46"/>
                    </a:cubicBezTo>
                    <a:cubicBezTo>
                      <a:pt x="725" y="46"/>
                      <a:pt x="735" y="36"/>
                      <a:pt x="735" y="23"/>
                    </a:cubicBezTo>
                    <a:cubicBezTo>
                      <a:pt x="735" y="23"/>
                      <a:pt x="735" y="23"/>
                      <a:pt x="735" y="23"/>
                    </a:cubicBezTo>
                    <a:cubicBezTo>
                      <a:pt x="735" y="11"/>
                      <a:pt x="725" y="0"/>
                      <a:pt x="712" y="0"/>
                    </a:cubicBezTo>
                    <a:lnTo>
                      <a:pt x="22"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4" name="ïślïḋe"/>
              <p:cNvSpPr/>
              <p:nvPr/>
            </p:nvSpPr>
            <p:spPr bwMode="auto">
              <a:xfrm>
                <a:off x="4998" y="1266"/>
                <a:ext cx="223" cy="14"/>
              </a:xfrm>
              <a:custGeom>
                <a:avLst/>
                <a:gdLst>
                  <a:gd name="T0" fmla="*/ 22 w 735"/>
                  <a:gd name="T1" fmla="*/ 0 h 46"/>
                  <a:gd name="T2" fmla="*/ 0 w 735"/>
                  <a:gd name="T3" fmla="*/ 23 h 46"/>
                  <a:gd name="T4" fmla="*/ 0 w 735"/>
                  <a:gd name="T5" fmla="*/ 23 h 46"/>
                  <a:gd name="T6" fmla="*/ 22 w 735"/>
                  <a:gd name="T7" fmla="*/ 46 h 46"/>
                  <a:gd name="T8" fmla="*/ 712 w 735"/>
                  <a:gd name="T9" fmla="*/ 46 h 46"/>
                  <a:gd name="T10" fmla="*/ 735 w 735"/>
                  <a:gd name="T11" fmla="*/ 23 h 46"/>
                  <a:gd name="T12" fmla="*/ 735 w 735"/>
                  <a:gd name="T13" fmla="*/ 23 h 46"/>
                  <a:gd name="T14" fmla="*/ 712 w 735"/>
                  <a:gd name="T15" fmla="*/ 0 h 46"/>
                  <a:gd name="T16" fmla="*/ 22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2" y="0"/>
                    </a:moveTo>
                    <a:cubicBezTo>
                      <a:pt x="10" y="0"/>
                      <a:pt x="0" y="10"/>
                      <a:pt x="0" y="23"/>
                    </a:cubicBezTo>
                    <a:cubicBezTo>
                      <a:pt x="0" y="23"/>
                      <a:pt x="0" y="23"/>
                      <a:pt x="0" y="23"/>
                    </a:cubicBezTo>
                    <a:cubicBezTo>
                      <a:pt x="0" y="36"/>
                      <a:pt x="10" y="46"/>
                      <a:pt x="22" y="46"/>
                    </a:cubicBezTo>
                    <a:cubicBezTo>
                      <a:pt x="712" y="46"/>
                      <a:pt x="712" y="46"/>
                      <a:pt x="712" y="46"/>
                    </a:cubicBezTo>
                    <a:cubicBezTo>
                      <a:pt x="725" y="46"/>
                      <a:pt x="735" y="36"/>
                      <a:pt x="735" y="23"/>
                    </a:cubicBezTo>
                    <a:cubicBezTo>
                      <a:pt x="735" y="23"/>
                      <a:pt x="735" y="23"/>
                      <a:pt x="735" y="23"/>
                    </a:cubicBezTo>
                    <a:cubicBezTo>
                      <a:pt x="735" y="10"/>
                      <a:pt x="725" y="0"/>
                      <a:pt x="712" y="0"/>
                    </a:cubicBezTo>
                    <a:lnTo>
                      <a:pt x="22"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5" name="îṡḷíḍé"/>
              <p:cNvSpPr/>
              <p:nvPr/>
            </p:nvSpPr>
            <p:spPr bwMode="auto">
              <a:xfrm>
                <a:off x="4998" y="1244"/>
                <a:ext cx="223" cy="13"/>
              </a:xfrm>
              <a:custGeom>
                <a:avLst/>
                <a:gdLst>
                  <a:gd name="T0" fmla="*/ 22 w 735"/>
                  <a:gd name="T1" fmla="*/ 0 h 45"/>
                  <a:gd name="T2" fmla="*/ 0 w 735"/>
                  <a:gd name="T3" fmla="*/ 22 h 45"/>
                  <a:gd name="T4" fmla="*/ 0 w 735"/>
                  <a:gd name="T5" fmla="*/ 23 h 45"/>
                  <a:gd name="T6" fmla="*/ 22 w 735"/>
                  <a:gd name="T7" fmla="*/ 45 h 45"/>
                  <a:gd name="T8" fmla="*/ 712 w 735"/>
                  <a:gd name="T9" fmla="*/ 45 h 45"/>
                  <a:gd name="T10" fmla="*/ 735 w 735"/>
                  <a:gd name="T11" fmla="*/ 23 h 45"/>
                  <a:gd name="T12" fmla="*/ 735 w 735"/>
                  <a:gd name="T13" fmla="*/ 22 h 45"/>
                  <a:gd name="T14" fmla="*/ 712 w 735"/>
                  <a:gd name="T15" fmla="*/ 0 h 45"/>
                  <a:gd name="T16" fmla="*/ 22 w 735"/>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5">
                    <a:moveTo>
                      <a:pt x="22" y="0"/>
                    </a:moveTo>
                    <a:cubicBezTo>
                      <a:pt x="10" y="0"/>
                      <a:pt x="0" y="10"/>
                      <a:pt x="0" y="22"/>
                    </a:cubicBezTo>
                    <a:cubicBezTo>
                      <a:pt x="0" y="23"/>
                      <a:pt x="0" y="23"/>
                      <a:pt x="0" y="23"/>
                    </a:cubicBezTo>
                    <a:cubicBezTo>
                      <a:pt x="0" y="35"/>
                      <a:pt x="10" y="45"/>
                      <a:pt x="22" y="45"/>
                    </a:cubicBezTo>
                    <a:cubicBezTo>
                      <a:pt x="712" y="45"/>
                      <a:pt x="712" y="45"/>
                      <a:pt x="712" y="45"/>
                    </a:cubicBezTo>
                    <a:cubicBezTo>
                      <a:pt x="725" y="45"/>
                      <a:pt x="735" y="35"/>
                      <a:pt x="735" y="23"/>
                    </a:cubicBezTo>
                    <a:cubicBezTo>
                      <a:pt x="735" y="22"/>
                      <a:pt x="735" y="22"/>
                      <a:pt x="735" y="22"/>
                    </a:cubicBezTo>
                    <a:cubicBezTo>
                      <a:pt x="735" y="10"/>
                      <a:pt x="725" y="0"/>
                      <a:pt x="712" y="0"/>
                    </a:cubicBezTo>
                    <a:lnTo>
                      <a:pt x="22"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6" name="îšlíďè"/>
              <p:cNvSpPr/>
              <p:nvPr/>
            </p:nvSpPr>
            <p:spPr bwMode="auto">
              <a:xfrm>
                <a:off x="4996" y="1221"/>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0"/>
                      <a:pt x="725" y="0"/>
                      <a:pt x="712" y="0"/>
                    </a:cubicBezTo>
                    <a:lnTo>
                      <a:pt x="23"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7" name="ïsľídé"/>
              <p:cNvSpPr/>
              <p:nvPr/>
            </p:nvSpPr>
            <p:spPr bwMode="auto">
              <a:xfrm>
                <a:off x="4996" y="1198"/>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5"/>
                      <a:pt x="10" y="46"/>
                      <a:pt x="23" y="46"/>
                    </a:cubicBezTo>
                    <a:cubicBezTo>
                      <a:pt x="712" y="46"/>
                      <a:pt x="712" y="46"/>
                      <a:pt x="712" y="46"/>
                    </a:cubicBezTo>
                    <a:cubicBezTo>
                      <a:pt x="725" y="46"/>
                      <a:pt x="735" y="35"/>
                      <a:pt x="735" y="23"/>
                    </a:cubicBezTo>
                    <a:cubicBezTo>
                      <a:pt x="735" y="23"/>
                      <a:pt x="735" y="23"/>
                      <a:pt x="735" y="23"/>
                    </a:cubicBezTo>
                    <a:cubicBezTo>
                      <a:pt x="735" y="10"/>
                      <a:pt x="725" y="0"/>
                      <a:pt x="712" y="0"/>
                    </a:cubicBezTo>
                    <a:lnTo>
                      <a:pt x="23"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8" name="îṣḷîďè"/>
              <p:cNvSpPr/>
              <p:nvPr/>
            </p:nvSpPr>
            <p:spPr bwMode="auto">
              <a:xfrm>
                <a:off x="4998" y="1175"/>
                <a:ext cx="223" cy="14"/>
              </a:xfrm>
              <a:custGeom>
                <a:avLst/>
                <a:gdLst>
                  <a:gd name="T0" fmla="*/ 22 w 735"/>
                  <a:gd name="T1" fmla="*/ 0 h 46"/>
                  <a:gd name="T2" fmla="*/ 0 w 735"/>
                  <a:gd name="T3" fmla="*/ 23 h 46"/>
                  <a:gd name="T4" fmla="*/ 0 w 735"/>
                  <a:gd name="T5" fmla="*/ 23 h 46"/>
                  <a:gd name="T6" fmla="*/ 22 w 735"/>
                  <a:gd name="T7" fmla="*/ 46 h 46"/>
                  <a:gd name="T8" fmla="*/ 712 w 735"/>
                  <a:gd name="T9" fmla="*/ 46 h 46"/>
                  <a:gd name="T10" fmla="*/ 735 w 735"/>
                  <a:gd name="T11" fmla="*/ 23 h 46"/>
                  <a:gd name="T12" fmla="*/ 735 w 735"/>
                  <a:gd name="T13" fmla="*/ 23 h 46"/>
                  <a:gd name="T14" fmla="*/ 712 w 735"/>
                  <a:gd name="T15" fmla="*/ 0 h 46"/>
                  <a:gd name="T16" fmla="*/ 22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2" y="0"/>
                    </a:moveTo>
                    <a:cubicBezTo>
                      <a:pt x="10" y="0"/>
                      <a:pt x="0" y="11"/>
                      <a:pt x="0" y="23"/>
                    </a:cubicBezTo>
                    <a:cubicBezTo>
                      <a:pt x="0" y="23"/>
                      <a:pt x="0" y="23"/>
                      <a:pt x="0" y="23"/>
                    </a:cubicBezTo>
                    <a:cubicBezTo>
                      <a:pt x="0" y="36"/>
                      <a:pt x="10" y="46"/>
                      <a:pt x="22" y="46"/>
                    </a:cubicBezTo>
                    <a:cubicBezTo>
                      <a:pt x="712" y="46"/>
                      <a:pt x="712" y="46"/>
                      <a:pt x="712" y="46"/>
                    </a:cubicBezTo>
                    <a:cubicBezTo>
                      <a:pt x="725" y="46"/>
                      <a:pt x="735" y="36"/>
                      <a:pt x="735" y="23"/>
                    </a:cubicBezTo>
                    <a:cubicBezTo>
                      <a:pt x="735" y="23"/>
                      <a:pt x="735" y="23"/>
                      <a:pt x="735" y="23"/>
                    </a:cubicBezTo>
                    <a:cubicBezTo>
                      <a:pt x="735" y="11"/>
                      <a:pt x="725" y="0"/>
                      <a:pt x="712" y="0"/>
                    </a:cubicBezTo>
                    <a:lnTo>
                      <a:pt x="22"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49" name="ïṡḷíḋê"/>
              <p:cNvSpPr/>
              <p:nvPr/>
            </p:nvSpPr>
            <p:spPr bwMode="auto">
              <a:xfrm>
                <a:off x="4736" y="1167"/>
                <a:ext cx="248" cy="212"/>
              </a:xfrm>
              <a:custGeom>
                <a:avLst/>
                <a:gdLst>
                  <a:gd name="T0" fmla="*/ 17 w 814"/>
                  <a:gd name="T1" fmla="*/ 0 h 700"/>
                  <a:gd name="T2" fmla="*/ 0 w 814"/>
                  <a:gd name="T3" fmla="*/ 17 h 700"/>
                  <a:gd name="T4" fmla="*/ 0 w 814"/>
                  <a:gd name="T5" fmla="*/ 683 h 700"/>
                  <a:gd name="T6" fmla="*/ 17 w 814"/>
                  <a:gd name="T7" fmla="*/ 700 h 700"/>
                  <a:gd name="T8" fmla="*/ 797 w 814"/>
                  <a:gd name="T9" fmla="*/ 700 h 700"/>
                  <a:gd name="T10" fmla="*/ 814 w 814"/>
                  <a:gd name="T11" fmla="*/ 683 h 700"/>
                  <a:gd name="T12" fmla="*/ 814 w 814"/>
                  <a:gd name="T13" fmla="*/ 17 h 700"/>
                  <a:gd name="T14" fmla="*/ 797 w 814"/>
                  <a:gd name="T15" fmla="*/ 0 h 700"/>
                  <a:gd name="T16" fmla="*/ 17 w 814"/>
                  <a:gd name="T17"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4" h="700">
                    <a:moveTo>
                      <a:pt x="17" y="0"/>
                    </a:moveTo>
                    <a:cubicBezTo>
                      <a:pt x="8" y="0"/>
                      <a:pt x="0" y="7"/>
                      <a:pt x="0" y="17"/>
                    </a:cubicBezTo>
                    <a:cubicBezTo>
                      <a:pt x="0" y="683"/>
                      <a:pt x="0" y="683"/>
                      <a:pt x="0" y="683"/>
                    </a:cubicBezTo>
                    <a:cubicBezTo>
                      <a:pt x="0" y="692"/>
                      <a:pt x="8" y="700"/>
                      <a:pt x="17" y="700"/>
                    </a:cubicBezTo>
                    <a:cubicBezTo>
                      <a:pt x="797" y="700"/>
                      <a:pt x="797" y="700"/>
                      <a:pt x="797" y="700"/>
                    </a:cubicBezTo>
                    <a:cubicBezTo>
                      <a:pt x="806" y="700"/>
                      <a:pt x="814" y="692"/>
                      <a:pt x="814" y="683"/>
                    </a:cubicBezTo>
                    <a:cubicBezTo>
                      <a:pt x="814" y="17"/>
                      <a:pt x="814" y="17"/>
                      <a:pt x="814" y="17"/>
                    </a:cubicBezTo>
                    <a:cubicBezTo>
                      <a:pt x="814" y="7"/>
                      <a:pt x="806" y="0"/>
                      <a:pt x="797" y="0"/>
                    </a:cubicBezTo>
                    <a:lnTo>
                      <a:pt x="17" y="0"/>
                    </a:lnTo>
                    <a:close/>
                  </a:path>
                </a:pathLst>
              </a:custGeom>
              <a:solidFill>
                <a:srgbClr val="1090B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0" name="ïSḷíḓé"/>
              <p:cNvSpPr/>
              <p:nvPr/>
            </p:nvSpPr>
            <p:spPr bwMode="auto">
              <a:xfrm>
                <a:off x="4749" y="1356"/>
                <a:ext cx="224" cy="14"/>
              </a:xfrm>
              <a:custGeom>
                <a:avLst/>
                <a:gdLst>
                  <a:gd name="T0" fmla="*/ 22 w 735"/>
                  <a:gd name="T1" fmla="*/ 0 h 45"/>
                  <a:gd name="T2" fmla="*/ 0 w 735"/>
                  <a:gd name="T3" fmla="*/ 22 h 45"/>
                  <a:gd name="T4" fmla="*/ 0 w 735"/>
                  <a:gd name="T5" fmla="*/ 23 h 45"/>
                  <a:gd name="T6" fmla="*/ 22 w 735"/>
                  <a:gd name="T7" fmla="*/ 45 h 45"/>
                  <a:gd name="T8" fmla="*/ 712 w 735"/>
                  <a:gd name="T9" fmla="*/ 45 h 45"/>
                  <a:gd name="T10" fmla="*/ 735 w 735"/>
                  <a:gd name="T11" fmla="*/ 23 h 45"/>
                  <a:gd name="T12" fmla="*/ 735 w 735"/>
                  <a:gd name="T13" fmla="*/ 22 h 45"/>
                  <a:gd name="T14" fmla="*/ 712 w 735"/>
                  <a:gd name="T15" fmla="*/ 0 h 45"/>
                  <a:gd name="T16" fmla="*/ 22 w 735"/>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5">
                    <a:moveTo>
                      <a:pt x="22" y="0"/>
                    </a:moveTo>
                    <a:cubicBezTo>
                      <a:pt x="10" y="0"/>
                      <a:pt x="0" y="10"/>
                      <a:pt x="0" y="22"/>
                    </a:cubicBezTo>
                    <a:cubicBezTo>
                      <a:pt x="0" y="23"/>
                      <a:pt x="0" y="23"/>
                      <a:pt x="0" y="23"/>
                    </a:cubicBezTo>
                    <a:cubicBezTo>
                      <a:pt x="0" y="35"/>
                      <a:pt x="10" y="45"/>
                      <a:pt x="22" y="45"/>
                    </a:cubicBezTo>
                    <a:cubicBezTo>
                      <a:pt x="712" y="45"/>
                      <a:pt x="712" y="45"/>
                      <a:pt x="712" y="45"/>
                    </a:cubicBezTo>
                    <a:cubicBezTo>
                      <a:pt x="725" y="45"/>
                      <a:pt x="735" y="35"/>
                      <a:pt x="735" y="23"/>
                    </a:cubicBezTo>
                    <a:cubicBezTo>
                      <a:pt x="735" y="22"/>
                      <a:pt x="735" y="22"/>
                      <a:pt x="735" y="22"/>
                    </a:cubicBezTo>
                    <a:cubicBezTo>
                      <a:pt x="735" y="10"/>
                      <a:pt x="725" y="0"/>
                      <a:pt x="712" y="0"/>
                    </a:cubicBezTo>
                    <a:lnTo>
                      <a:pt x="22"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1" name="íṥḷíḑè"/>
              <p:cNvSpPr/>
              <p:nvPr/>
            </p:nvSpPr>
            <p:spPr bwMode="auto">
              <a:xfrm>
                <a:off x="4749" y="1334"/>
                <a:ext cx="224" cy="14"/>
              </a:xfrm>
              <a:custGeom>
                <a:avLst/>
                <a:gdLst>
                  <a:gd name="T0" fmla="*/ 22 w 735"/>
                  <a:gd name="T1" fmla="*/ 0 h 46"/>
                  <a:gd name="T2" fmla="*/ 0 w 735"/>
                  <a:gd name="T3" fmla="*/ 23 h 46"/>
                  <a:gd name="T4" fmla="*/ 0 w 735"/>
                  <a:gd name="T5" fmla="*/ 23 h 46"/>
                  <a:gd name="T6" fmla="*/ 22 w 735"/>
                  <a:gd name="T7" fmla="*/ 46 h 46"/>
                  <a:gd name="T8" fmla="*/ 712 w 735"/>
                  <a:gd name="T9" fmla="*/ 46 h 46"/>
                  <a:gd name="T10" fmla="*/ 735 w 735"/>
                  <a:gd name="T11" fmla="*/ 23 h 46"/>
                  <a:gd name="T12" fmla="*/ 735 w 735"/>
                  <a:gd name="T13" fmla="*/ 23 h 46"/>
                  <a:gd name="T14" fmla="*/ 712 w 735"/>
                  <a:gd name="T15" fmla="*/ 0 h 46"/>
                  <a:gd name="T16" fmla="*/ 22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2" y="0"/>
                    </a:moveTo>
                    <a:cubicBezTo>
                      <a:pt x="10" y="0"/>
                      <a:pt x="0" y="10"/>
                      <a:pt x="0" y="23"/>
                    </a:cubicBezTo>
                    <a:cubicBezTo>
                      <a:pt x="0" y="23"/>
                      <a:pt x="0" y="23"/>
                      <a:pt x="0" y="23"/>
                    </a:cubicBezTo>
                    <a:cubicBezTo>
                      <a:pt x="0" y="36"/>
                      <a:pt x="10" y="46"/>
                      <a:pt x="22" y="46"/>
                    </a:cubicBezTo>
                    <a:cubicBezTo>
                      <a:pt x="712" y="46"/>
                      <a:pt x="712" y="46"/>
                      <a:pt x="712" y="46"/>
                    </a:cubicBezTo>
                    <a:cubicBezTo>
                      <a:pt x="725" y="46"/>
                      <a:pt x="735" y="36"/>
                      <a:pt x="735" y="23"/>
                    </a:cubicBezTo>
                    <a:cubicBezTo>
                      <a:pt x="735" y="23"/>
                      <a:pt x="735" y="23"/>
                      <a:pt x="735" y="23"/>
                    </a:cubicBezTo>
                    <a:cubicBezTo>
                      <a:pt x="735" y="10"/>
                      <a:pt x="725" y="0"/>
                      <a:pt x="712" y="0"/>
                    </a:cubicBezTo>
                    <a:lnTo>
                      <a:pt x="22"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2" name="îṩľíḋé"/>
              <p:cNvSpPr/>
              <p:nvPr/>
            </p:nvSpPr>
            <p:spPr bwMode="auto">
              <a:xfrm>
                <a:off x="4749" y="1311"/>
                <a:ext cx="224" cy="14"/>
              </a:xfrm>
              <a:custGeom>
                <a:avLst/>
                <a:gdLst>
                  <a:gd name="T0" fmla="*/ 22 w 735"/>
                  <a:gd name="T1" fmla="*/ 0 h 46"/>
                  <a:gd name="T2" fmla="*/ 0 w 735"/>
                  <a:gd name="T3" fmla="*/ 23 h 46"/>
                  <a:gd name="T4" fmla="*/ 0 w 735"/>
                  <a:gd name="T5" fmla="*/ 23 h 46"/>
                  <a:gd name="T6" fmla="*/ 22 w 735"/>
                  <a:gd name="T7" fmla="*/ 46 h 46"/>
                  <a:gd name="T8" fmla="*/ 712 w 735"/>
                  <a:gd name="T9" fmla="*/ 46 h 46"/>
                  <a:gd name="T10" fmla="*/ 735 w 735"/>
                  <a:gd name="T11" fmla="*/ 23 h 46"/>
                  <a:gd name="T12" fmla="*/ 735 w 735"/>
                  <a:gd name="T13" fmla="*/ 23 h 46"/>
                  <a:gd name="T14" fmla="*/ 712 w 735"/>
                  <a:gd name="T15" fmla="*/ 0 h 46"/>
                  <a:gd name="T16" fmla="*/ 22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2" y="0"/>
                    </a:moveTo>
                    <a:cubicBezTo>
                      <a:pt x="10" y="0"/>
                      <a:pt x="0" y="10"/>
                      <a:pt x="0" y="23"/>
                    </a:cubicBezTo>
                    <a:cubicBezTo>
                      <a:pt x="0" y="23"/>
                      <a:pt x="0" y="23"/>
                      <a:pt x="0" y="23"/>
                    </a:cubicBezTo>
                    <a:cubicBezTo>
                      <a:pt x="0" y="35"/>
                      <a:pt x="10" y="46"/>
                      <a:pt x="22" y="46"/>
                    </a:cubicBezTo>
                    <a:cubicBezTo>
                      <a:pt x="712" y="46"/>
                      <a:pt x="712" y="46"/>
                      <a:pt x="712" y="46"/>
                    </a:cubicBezTo>
                    <a:cubicBezTo>
                      <a:pt x="725" y="46"/>
                      <a:pt x="735" y="35"/>
                      <a:pt x="735" y="23"/>
                    </a:cubicBezTo>
                    <a:cubicBezTo>
                      <a:pt x="735" y="23"/>
                      <a:pt x="735" y="23"/>
                      <a:pt x="735" y="23"/>
                    </a:cubicBezTo>
                    <a:cubicBezTo>
                      <a:pt x="735" y="10"/>
                      <a:pt x="725" y="0"/>
                      <a:pt x="712" y="0"/>
                    </a:cubicBezTo>
                    <a:lnTo>
                      <a:pt x="22"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3" name="íŝlîḋé"/>
              <p:cNvSpPr/>
              <p:nvPr/>
            </p:nvSpPr>
            <p:spPr bwMode="auto">
              <a:xfrm>
                <a:off x="4749" y="1288"/>
                <a:ext cx="224" cy="14"/>
              </a:xfrm>
              <a:custGeom>
                <a:avLst/>
                <a:gdLst>
                  <a:gd name="T0" fmla="*/ 22 w 735"/>
                  <a:gd name="T1" fmla="*/ 0 h 46"/>
                  <a:gd name="T2" fmla="*/ 0 w 735"/>
                  <a:gd name="T3" fmla="*/ 23 h 46"/>
                  <a:gd name="T4" fmla="*/ 0 w 735"/>
                  <a:gd name="T5" fmla="*/ 23 h 46"/>
                  <a:gd name="T6" fmla="*/ 22 w 735"/>
                  <a:gd name="T7" fmla="*/ 46 h 46"/>
                  <a:gd name="T8" fmla="*/ 712 w 735"/>
                  <a:gd name="T9" fmla="*/ 46 h 46"/>
                  <a:gd name="T10" fmla="*/ 735 w 735"/>
                  <a:gd name="T11" fmla="*/ 23 h 46"/>
                  <a:gd name="T12" fmla="*/ 735 w 735"/>
                  <a:gd name="T13" fmla="*/ 23 h 46"/>
                  <a:gd name="T14" fmla="*/ 712 w 735"/>
                  <a:gd name="T15" fmla="*/ 0 h 46"/>
                  <a:gd name="T16" fmla="*/ 22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2" y="0"/>
                    </a:moveTo>
                    <a:cubicBezTo>
                      <a:pt x="10" y="0"/>
                      <a:pt x="0" y="11"/>
                      <a:pt x="0" y="23"/>
                    </a:cubicBezTo>
                    <a:cubicBezTo>
                      <a:pt x="0" y="23"/>
                      <a:pt x="0" y="23"/>
                      <a:pt x="0" y="23"/>
                    </a:cubicBezTo>
                    <a:cubicBezTo>
                      <a:pt x="0" y="36"/>
                      <a:pt x="10" y="46"/>
                      <a:pt x="22" y="46"/>
                    </a:cubicBezTo>
                    <a:cubicBezTo>
                      <a:pt x="712" y="46"/>
                      <a:pt x="712" y="46"/>
                      <a:pt x="712" y="46"/>
                    </a:cubicBezTo>
                    <a:cubicBezTo>
                      <a:pt x="725" y="46"/>
                      <a:pt x="735" y="36"/>
                      <a:pt x="735" y="23"/>
                    </a:cubicBezTo>
                    <a:cubicBezTo>
                      <a:pt x="735" y="23"/>
                      <a:pt x="735" y="23"/>
                      <a:pt x="735" y="23"/>
                    </a:cubicBezTo>
                    <a:cubicBezTo>
                      <a:pt x="735" y="11"/>
                      <a:pt x="725" y="0"/>
                      <a:pt x="712" y="0"/>
                    </a:cubicBezTo>
                    <a:lnTo>
                      <a:pt x="22"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4" name="íšľîḋê"/>
              <p:cNvSpPr/>
              <p:nvPr/>
            </p:nvSpPr>
            <p:spPr bwMode="auto">
              <a:xfrm>
                <a:off x="4749" y="1266"/>
                <a:ext cx="224" cy="14"/>
              </a:xfrm>
              <a:custGeom>
                <a:avLst/>
                <a:gdLst>
                  <a:gd name="T0" fmla="*/ 22 w 735"/>
                  <a:gd name="T1" fmla="*/ 0 h 46"/>
                  <a:gd name="T2" fmla="*/ 0 w 735"/>
                  <a:gd name="T3" fmla="*/ 23 h 46"/>
                  <a:gd name="T4" fmla="*/ 0 w 735"/>
                  <a:gd name="T5" fmla="*/ 23 h 46"/>
                  <a:gd name="T6" fmla="*/ 22 w 735"/>
                  <a:gd name="T7" fmla="*/ 46 h 46"/>
                  <a:gd name="T8" fmla="*/ 712 w 735"/>
                  <a:gd name="T9" fmla="*/ 46 h 46"/>
                  <a:gd name="T10" fmla="*/ 735 w 735"/>
                  <a:gd name="T11" fmla="*/ 23 h 46"/>
                  <a:gd name="T12" fmla="*/ 735 w 735"/>
                  <a:gd name="T13" fmla="*/ 23 h 46"/>
                  <a:gd name="T14" fmla="*/ 712 w 735"/>
                  <a:gd name="T15" fmla="*/ 0 h 46"/>
                  <a:gd name="T16" fmla="*/ 22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2" y="0"/>
                    </a:moveTo>
                    <a:cubicBezTo>
                      <a:pt x="10" y="0"/>
                      <a:pt x="0" y="10"/>
                      <a:pt x="0" y="23"/>
                    </a:cubicBezTo>
                    <a:cubicBezTo>
                      <a:pt x="0" y="23"/>
                      <a:pt x="0" y="23"/>
                      <a:pt x="0" y="23"/>
                    </a:cubicBezTo>
                    <a:cubicBezTo>
                      <a:pt x="0" y="36"/>
                      <a:pt x="10" y="46"/>
                      <a:pt x="22" y="46"/>
                    </a:cubicBezTo>
                    <a:cubicBezTo>
                      <a:pt x="712" y="46"/>
                      <a:pt x="712" y="46"/>
                      <a:pt x="712" y="46"/>
                    </a:cubicBezTo>
                    <a:cubicBezTo>
                      <a:pt x="725" y="46"/>
                      <a:pt x="735" y="36"/>
                      <a:pt x="735" y="23"/>
                    </a:cubicBezTo>
                    <a:cubicBezTo>
                      <a:pt x="735" y="23"/>
                      <a:pt x="735" y="23"/>
                      <a:pt x="735" y="23"/>
                    </a:cubicBezTo>
                    <a:cubicBezTo>
                      <a:pt x="735" y="10"/>
                      <a:pt x="725" y="0"/>
                      <a:pt x="712" y="0"/>
                    </a:cubicBezTo>
                    <a:lnTo>
                      <a:pt x="22"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5" name="ïśļîḑê"/>
              <p:cNvSpPr/>
              <p:nvPr/>
            </p:nvSpPr>
            <p:spPr bwMode="auto">
              <a:xfrm>
                <a:off x="4749" y="1244"/>
                <a:ext cx="224" cy="13"/>
              </a:xfrm>
              <a:custGeom>
                <a:avLst/>
                <a:gdLst>
                  <a:gd name="T0" fmla="*/ 22 w 735"/>
                  <a:gd name="T1" fmla="*/ 0 h 45"/>
                  <a:gd name="T2" fmla="*/ 0 w 735"/>
                  <a:gd name="T3" fmla="*/ 22 h 45"/>
                  <a:gd name="T4" fmla="*/ 0 w 735"/>
                  <a:gd name="T5" fmla="*/ 23 h 45"/>
                  <a:gd name="T6" fmla="*/ 22 w 735"/>
                  <a:gd name="T7" fmla="*/ 45 h 45"/>
                  <a:gd name="T8" fmla="*/ 712 w 735"/>
                  <a:gd name="T9" fmla="*/ 45 h 45"/>
                  <a:gd name="T10" fmla="*/ 735 w 735"/>
                  <a:gd name="T11" fmla="*/ 23 h 45"/>
                  <a:gd name="T12" fmla="*/ 735 w 735"/>
                  <a:gd name="T13" fmla="*/ 22 h 45"/>
                  <a:gd name="T14" fmla="*/ 712 w 735"/>
                  <a:gd name="T15" fmla="*/ 0 h 45"/>
                  <a:gd name="T16" fmla="*/ 22 w 735"/>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5">
                    <a:moveTo>
                      <a:pt x="22" y="0"/>
                    </a:moveTo>
                    <a:cubicBezTo>
                      <a:pt x="10" y="0"/>
                      <a:pt x="0" y="10"/>
                      <a:pt x="0" y="22"/>
                    </a:cubicBezTo>
                    <a:cubicBezTo>
                      <a:pt x="0" y="23"/>
                      <a:pt x="0" y="23"/>
                      <a:pt x="0" y="23"/>
                    </a:cubicBezTo>
                    <a:cubicBezTo>
                      <a:pt x="0" y="35"/>
                      <a:pt x="10" y="45"/>
                      <a:pt x="22" y="45"/>
                    </a:cubicBezTo>
                    <a:cubicBezTo>
                      <a:pt x="712" y="45"/>
                      <a:pt x="712" y="45"/>
                      <a:pt x="712" y="45"/>
                    </a:cubicBezTo>
                    <a:cubicBezTo>
                      <a:pt x="725" y="45"/>
                      <a:pt x="735" y="35"/>
                      <a:pt x="735" y="23"/>
                    </a:cubicBezTo>
                    <a:cubicBezTo>
                      <a:pt x="735" y="22"/>
                      <a:pt x="735" y="22"/>
                      <a:pt x="735" y="22"/>
                    </a:cubicBezTo>
                    <a:cubicBezTo>
                      <a:pt x="735" y="10"/>
                      <a:pt x="725" y="0"/>
                      <a:pt x="712" y="0"/>
                    </a:cubicBezTo>
                    <a:lnTo>
                      <a:pt x="22"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6" name="îṣľîďé"/>
              <p:cNvSpPr/>
              <p:nvPr/>
            </p:nvSpPr>
            <p:spPr bwMode="auto">
              <a:xfrm>
                <a:off x="4747" y="1221"/>
                <a:ext cx="224"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0"/>
                      <a:pt x="725" y="0"/>
                      <a:pt x="712" y="0"/>
                    </a:cubicBezTo>
                    <a:lnTo>
                      <a:pt x="23"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7" name="ï$1ídè"/>
              <p:cNvSpPr/>
              <p:nvPr/>
            </p:nvSpPr>
            <p:spPr bwMode="auto">
              <a:xfrm>
                <a:off x="4747" y="1198"/>
                <a:ext cx="224"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5"/>
                      <a:pt x="10" y="46"/>
                      <a:pt x="23" y="46"/>
                    </a:cubicBezTo>
                    <a:cubicBezTo>
                      <a:pt x="712" y="46"/>
                      <a:pt x="712" y="46"/>
                      <a:pt x="712" y="46"/>
                    </a:cubicBezTo>
                    <a:cubicBezTo>
                      <a:pt x="725" y="46"/>
                      <a:pt x="735" y="35"/>
                      <a:pt x="735" y="23"/>
                    </a:cubicBezTo>
                    <a:cubicBezTo>
                      <a:pt x="735" y="23"/>
                      <a:pt x="735" y="23"/>
                      <a:pt x="735" y="23"/>
                    </a:cubicBezTo>
                    <a:cubicBezTo>
                      <a:pt x="735" y="10"/>
                      <a:pt x="725" y="0"/>
                      <a:pt x="712" y="0"/>
                    </a:cubicBezTo>
                    <a:lnTo>
                      <a:pt x="23"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8" name="ïŝliďé"/>
              <p:cNvSpPr/>
              <p:nvPr/>
            </p:nvSpPr>
            <p:spPr bwMode="auto">
              <a:xfrm>
                <a:off x="4749" y="1175"/>
                <a:ext cx="224" cy="14"/>
              </a:xfrm>
              <a:custGeom>
                <a:avLst/>
                <a:gdLst>
                  <a:gd name="T0" fmla="*/ 22 w 735"/>
                  <a:gd name="T1" fmla="*/ 0 h 46"/>
                  <a:gd name="T2" fmla="*/ 0 w 735"/>
                  <a:gd name="T3" fmla="*/ 23 h 46"/>
                  <a:gd name="T4" fmla="*/ 0 w 735"/>
                  <a:gd name="T5" fmla="*/ 23 h 46"/>
                  <a:gd name="T6" fmla="*/ 22 w 735"/>
                  <a:gd name="T7" fmla="*/ 46 h 46"/>
                  <a:gd name="T8" fmla="*/ 712 w 735"/>
                  <a:gd name="T9" fmla="*/ 46 h 46"/>
                  <a:gd name="T10" fmla="*/ 735 w 735"/>
                  <a:gd name="T11" fmla="*/ 23 h 46"/>
                  <a:gd name="T12" fmla="*/ 735 w 735"/>
                  <a:gd name="T13" fmla="*/ 23 h 46"/>
                  <a:gd name="T14" fmla="*/ 712 w 735"/>
                  <a:gd name="T15" fmla="*/ 0 h 46"/>
                  <a:gd name="T16" fmla="*/ 22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2" y="0"/>
                    </a:moveTo>
                    <a:cubicBezTo>
                      <a:pt x="10" y="0"/>
                      <a:pt x="0" y="11"/>
                      <a:pt x="0" y="23"/>
                    </a:cubicBezTo>
                    <a:cubicBezTo>
                      <a:pt x="0" y="23"/>
                      <a:pt x="0" y="23"/>
                      <a:pt x="0" y="23"/>
                    </a:cubicBezTo>
                    <a:cubicBezTo>
                      <a:pt x="0" y="36"/>
                      <a:pt x="10" y="46"/>
                      <a:pt x="22" y="46"/>
                    </a:cubicBezTo>
                    <a:cubicBezTo>
                      <a:pt x="712" y="46"/>
                      <a:pt x="712" y="46"/>
                      <a:pt x="712" y="46"/>
                    </a:cubicBezTo>
                    <a:cubicBezTo>
                      <a:pt x="725" y="46"/>
                      <a:pt x="735" y="36"/>
                      <a:pt x="735" y="23"/>
                    </a:cubicBezTo>
                    <a:cubicBezTo>
                      <a:pt x="735" y="23"/>
                      <a:pt x="735" y="23"/>
                      <a:pt x="735" y="23"/>
                    </a:cubicBezTo>
                    <a:cubicBezTo>
                      <a:pt x="735" y="11"/>
                      <a:pt x="725" y="0"/>
                      <a:pt x="712" y="0"/>
                    </a:cubicBezTo>
                    <a:lnTo>
                      <a:pt x="22"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59" name="îsḷíďê"/>
              <p:cNvSpPr/>
              <p:nvPr/>
            </p:nvSpPr>
            <p:spPr bwMode="auto">
              <a:xfrm>
                <a:off x="4593" y="1381"/>
                <a:ext cx="213" cy="247"/>
              </a:xfrm>
              <a:custGeom>
                <a:avLst/>
                <a:gdLst>
                  <a:gd name="T0" fmla="*/ 0 w 700"/>
                  <a:gd name="T1" fmla="*/ 796 h 813"/>
                  <a:gd name="T2" fmla="*/ 17 w 700"/>
                  <a:gd name="T3" fmla="*/ 813 h 813"/>
                  <a:gd name="T4" fmla="*/ 683 w 700"/>
                  <a:gd name="T5" fmla="*/ 813 h 813"/>
                  <a:gd name="T6" fmla="*/ 700 w 700"/>
                  <a:gd name="T7" fmla="*/ 796 h 813"/>
                  <a:gd name="T8" fmla="*/ 700 w 700"/>
                  <a:gd name="T9" fmla="*/ 17 h 813"/>
                  <a:gd name="T10" fmla="*/ 683 w 700"/>
                  <a:gd name="T11" fmla="*/ 0 h 813"/>
                  <a:gd name="T12" fmla="*/ 17 w 700"/>
                  <a:gd name="T13" fmla="*/ 0 h 813"/>
                  <a:gd name="T14" fmla="*/ 0 w 700"/>
                  <a:gd name="T15" fmla="*/ 17 h 813"/>
                  <a:gd name="T16" fmla="*/ 0 w 700"/>
                  <a:gd name="T17" fmla="*/ 796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813">
                    <a:moveTo>
                      <a:pt x="0" y="796"/>
                    </a:moveTo>
                    <a:cubicBezTo>
                      <a:pt x="0" y="806"/>
                      <a:pt x="7" y="813"/>
                      <a:pt x="17" y="813"/>
                    </a:cubicBezTo>
                    <a:cubicBezTo>
                      <a:pt x="683" y="813"/>
                      <a:pt x="683" y="813"/>
                      <a:pt x="683" y="813"/>
                    </a:cubicBezTo>
                    <a:cubicBezTo>
                      <a:pt x="692" y="813"/>
                      <a:pt x="700" y="806"/>
                      <a:pt x="700" y="796"/>
                    </a:cubicBezTo>
                    <a:cubicBezTo>
                      <a:pt x="700" y="17"/>
                      <a:pt x="700" y="17"/>
                      <a:pt x="700" y="17"/>
                    </a:cubicBezTo>
                    <a:cubicBezTo>
                      <a:pt x="700" y="7"/>
                      <a:pt x="692" y="0"/>
                      <a:pt x="683" y="0"/>
                    </a:cubicBezTo>
                    <a:cubicBezTo>
                      <a:pt x="17" y="0"/>
                      <a:pt x="17" y="0"/>
                      <a:pt x="17" y="0"/>
                    </a:cubicBezTo>
                    <a:cubicBezTo>
                      <a:pt x="7" y="0"/>
                      <a:pt x="0" y="7"/>
                      <a:pt x="0" y="17"/>
                    </a:cubicBezTo>
                    <a:lnTo>
                      <a:pt x="0" y="796"/>
                    </a:lnTo>
                    <a:close/>
                  </a:path>
                </a:pathLst>
              </a:custGeom>
              <a:solidFill>
                <a:srgbClr val="1090B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0" name="íṧlïḍè"/>
              <p:cNvSpPr/>
              <p:nvPr/>
            </p:nvSpPr>
            <p:spPr bwMode="auto">
              <a:xfrm>
                <a:off x="4783" y="1392"/>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1" name="ïSḻîḓé"/>
              <p:cNvSpPr/>
              <p:nvPr/>
            </p:nvSpPr>
            <p:spPr bwMode="auto">
              <a:xfrm>
                <a:off x="4760" y="1392"/>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2" name="iṧḷîďe"/>
              <p:cNvSpPr/>
              <p:nvPr/>
            </p:nvSpPr>
            <p:spPr bwMode="auto">
              <a:xfrm>
                <a:off x="4738" y="1392"/>
                <a:ext cx="13" cy="224"/>
              </a:xfrm>
              <a:custGeom>
                <a:avLst/>
                <a:gdLst>
                  <a:gd name="T0" fmla="*/ 0 w 45"/>
                  <a:gd name="T1" fmla="*/ 712 h 735"/>
                  <a:gd name="T2" fmla="*/ 22 w 45"/>
                  <a:gd name="T3" fmla="*/ 735 h 735"/>
                  <a:gd name="T4" fmla="*/ 23 w 45"/>
                  <a:gd name="T5" fmla="*/ 735 h 735"/>
                  <a:gd name="T6" fmla="*/ 45 w 45"/>
                  <a:gd name="T7" fmla="*/ 712 h 735"/>
                  <a:gd name="T8" fmla="*/ 45 w 45"/>
                  <a:gd name="T9" fmla="*/ 23 h 735"/>
                  <a:gd name="T10" fmla="*/ 23 w 45"/>
                  <a:gd name="T11" fmla="*/ 0 h 735"/>
                  <a:gd name="T12" fmla="*/ 22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2"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2" y="0"/>
                      <a:pt x="22" y="0"/>
                      <a:pt x="22"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3" name="íšḷiḓé"/>
              <p:cNvSpPr/>
              <p:nvPr/>
            </p:nvSpPr>
            <p:spPr bwMode="auto">
              <a:xfrm>
                <a:off x="4715" y="1392"/>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4" name="ïŝľiďé"/>
              <p:cNvSpPr/>
              <p:nvPr/>
            </p:nvSpPr>
            <p:spPr bwMode="auto">
              <a:xfrm>
                <a:off x="4692" y="1392"/>
                <a:ext cx="14" cy="224"/>
              </a:xfrm>
              <a:custGeom>
                <a:avLst/>
                <a:gdLst>
                  <a:gd name="T0" fmla="*/ 0 w 45"/>
                  <a:gd name="T1" fmla="*/ 712 h 735"/>
                  <a:gd name="T2" fmla="*/ 23 w 45"/>
                  <a:gd name="T3" fmla="*/ 735 h 735"/>
                  <a:gd name="T4" fmla="*/ 23 w 45"/>
                  <a:gd name="T5" fmla="*/ 735 h 735"/>
                  <a:gd name="T6" fmla="*/ 45 w 45"/>
                  <a:gd name="T7" fmla="*/ 712 h 735"/>
                  <a:gd name="T8" fmla="*/ 45 w 45"/>
                  <a:gd name="T9" fmla="*/ 23 h 735"/>
                  <a:gd name="T10" fmla="*/ 23 w 45"/>
                  <a:gd name="T11" fmla="*/ 0 h 735"/>
                  <a:gd name="T12" fmla="*/ 23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3"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3" y="0"/>
                      <a:pt x="23" y="0"/>
                      <a:pt x="23"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5" name="i$ļíḍe"/>
              <p:cNvSpPr/>
              <p:nvPr/>
            </p:nvSpPr>
            <p:spPr bwMode="auto">
              <a:xfrm>
                <a:off x="4670" y="1392"/>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6" name="íSḻïḑê"/>
              <p:cNvSpPr/>
              <p:nvPr/>
            </p:nvSpPr>
            <p:spPr bwMode="auto">
              <a:xfrm>
                <a:off x="4647" y="1394"/>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0" y="735"/>
                      <a:pt x="23" y="735"/>
                    </a:cubicBezTo>
                    <a:cubicBezTo>
                      <a:pt x="23" y="735"/>
                      <a:pt x="23" y="735"/>
                      <a:pt x="23" y="735"/>
                    </a:cubicBezTo>
                    <a:cubicBezTo>
                      <a:pt x="35" y="735"/>
                      <a:pt x="46" y="725"/>
                      <a:pt x="46" y="713"/>
                    </a:cubicBezTo>
                    <a:cubicBezTo>
                      <a:pt x="46" y="23"/>
                      <a:pt x="46" y="23"/>
                      <a:pt x="46" y="23"/>
                    </a:cubicBezTo>
                    <a:cubicBezTo>
                      <a:pt x="46" y="10"/>
                      <a:pt x="35" y="0"/>
                      <a:pt x="23" y="0"/>
                    </a:cubicBezTo>
                    <a:cubicBezTo>
                      <a:pt x="23" y="0"/>
                      <a:pt x="23" y="0"/>
                      <a:pt x="23" y="0"/>
                    </a:cubicBezTo>
                    <a:cubicBezTo>
                      <a:pt x="10" y="0"/>
                      <a:pt x="0" y="10"/>
                      <a:pt x="0" y="23"/>
                    </a:cubicBezTo>
                    <a:lnTo>
                      <a:pt x="0" y="71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7" name="î$ḻîde"/>
              <p:cNvSpPr/>
              <p:nvPr/>
            </p:nvSpPr>
            <p:spPr bwMode="auto">
              <a:xfrm>
                <a:off x="4624" y="1394"/>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1" y="735"/>
                      <a:pt x="23" y="735"/>
                    </a:cubicBezTo>
                    <a:cubicBezTo>
                      <a:pt x="23" y="735"/>
                      <a:pt x="23" y="735"/>
                      <a:pt x="23" y="735"/>
                    </a:cubicBezTo>
                    <a:cubicBezTo>
                      <a:pt x="36" y="735"/>
                      <a:pt x="46" y="725"/>
                      <a:pt x="46" y="713"/>
                    </a:cubicBezTo>
                    <a:cubicBezTo>
                      <a:pt x="46" y="23"/>
                      <a:pt x="46" y="23"/>
                      <a:pt x="46" y="23"/>
                    </a:cubicBezTo>
                    <a:cubicBezTo>
                      <a:pt x="46" y="10"/>
                      <a:pt x="36" y="0"/>
                      <a:pt x="23" y="0"/>
                    </a:cubicBezTo>
                    <a:cubicBezTo>
                      <a:pt x="23" y="0"/>
                      <a:pt x="23" y="0"/>
                      <a:pt x="23" y="0"/>
                    </a:cubicBezTo>
                    <a:cubicBezTo>
                      <a:pt x="11" y="0"/>
                      <a:pt x="0" y="10"/>
                      <a:pt x="0" y="23"/>
                    </a:cubicBezTo>
                    <a:lnTo>
                      <a:pt x="0" y="71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8" name="îṧlîḓe"/>
              <p:cNvSpPr/>
              <p:nvPr/>
            </p:nvSpPr>
            <p:spPr bwMode="auto">
              <a:xfrm>
                <a:off x="4602" y="1392"/>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69" name="iś1îdé"/>
              <p:cNvSpPr/>
              <p:nvPr/>
            </p:nvSpPr>
            <p:spPr bwMode="auto">
              <a:xfrm>
                <a:off x="4806" y="1380"/>
                <a:ext cx="213" cy="247"/>
              </a:xfrm>
              <a:custGeom>
                <a:avLst/>
                <a:gdLst>
                  <a:gd name="T0" fmla="*/ 0 w 700"/>
                  <a:gd name="T1" fmla="*/ 797 h 814"/>
                  <a:gd name="T2" fmla="*/ 17 w 700"/>
                  <a:gd name="T3" fmla="*/ 814 h 814"/>
                  <a:gd name="T4" fmla="*/ 683 w 700"/>
                  <a:gd name="T5" fmla="*/ 814 h 814"/>
                  <a:gd name="T6" fmla="*/ 700 w 700"/>
                  <a:gd name="T7" fmla="*/ 797 h 814"/>
                  <a:gd name="T8" fmla="*/ 700 w 700"/>
                  <a:gd name="T9" fmla="*/ 17 h 814"/>
                  <a:gd name="T10" fmla="*/ 683 w 700"/>
                  <a:gd name="T11" fmla="*/ 0 h 814"/>
                  <a:gd name="T12" fmla="*/ 17 w 700"/>
                  <a:gd name="T13" fmla="*/ 0 h 814"/>
                  <a:gd name="T14" fmla="*/ 0 w 700"/>
                  <a:gd name="T15" fmla="*/ 17 h 814"/>
                  <a:gd name="T16" fmla="*/ 0 w 700"/>
                  <a:gd name="T17" fmla="*/ 79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814">
                    <a:moveTo>
                      <a:pt x="0" y="797"/>
                    </a:moveTo>
                    <a:cubicBezTo>
                      <a:pt x="0" y="806"/>
                      <a:pt x="7" y="814"/>
                      <a:pt x="17" y="814"/>
                    </a:cubicBezTo>
                    <a:cubicBezTo>
                      <a:pt x="683" y="814"/>
                      <a:pt x="683" y="814"/>
                      <a:pt x="683" y="814"/>
                    </a:cubicBezTo>
                    <a:cubicBezTo>
                      <a:pt x="692" y="814"/>
                      <a:pt x="700" y="806"/>
                      <a:pt x="700" y="797"/>
                    </a:cubicBezTo>
                    <a:cubicBezTo>
                      <a:pt x="700" y="17"/>
                      <a:pt x="700" y="17"/>
                      <a:pt x="700" y="17"/>
                    </a:cubicBezTo>
                    <a:cubicBezTo>
                      <a:pt x="700" y="8"/>
                      <a:pt x="692" y="0"/>
                      <a:pt x="683" y="0"/>
                    </a:cubicBezTo>
                    <a:cubicBezTo>
                      <a:pt x="17" y="0"/>
                      <a:pt x="17" y="0"/>
                      <a:pt x="17" y="0"/>
                    </a:cubicBezTo>
                    <a:cubicBezTo>
                      <a:pt x="7" y="0"/>
                      <a:pt x="0" y="8"/>
                      <a:pt x="0" y="17"/>
                    </a:cubicBezTo>
                    <a:lnTo>
                      <a:pt x="0" y="797"/>
                    </a:lnTo>
                    <a:close/>
                  </a:path>
                </a:pathLst>
              </a:custGeom>
              <a:solidFill>
                <a:srgbClr val="E54F4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0" name="ïŝ1íḍé"/>
              <p:cNvSpPr/>
              <p:nvPr/>
            </p:nvSpPr>
            <p:spPr bwMode="auto">
              <a:xfrm>
                <a:off x="4996" y="1391"/>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1" name="iŝľîḍê"/>
              <p:cNvSpPr/>
              <p:nvPr/>
            </p:nvSpPr>
            <p:spPr bwMode="auto">
              <a:xfrm>
                <a:off x="4973" y="1391"/>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2" name="iŝlïḍé"/>
              <p:cNvSpPr/>
              <p:nvPr/>
            </p:nvSpPr>
            <p:spPr bwMode="auto">
              <a:xfrm>
                <a:off x="4951" y="1391"/>
                <a:ext cx="13" cy="223"/>
              </a:xfrm>
              <a:custGeom>
                <a:avLst/>
                <a:gdLst>
                  <a:gd name="T0" fmla="*/ 0 w 45"/>
                  <a:gd name="T1" fmla="*/ 712 h 735"/>
                  <a:gd name="T2" fmla="*/ 22 w 45"/>
                  <a:gd name="T3" fmla="*/ 735 h 735"/>
                  <a:gd name="T4" fmla="*/ 23 w 45"/>
                  <a:gd name="T5" fmla="*/ 735 h 735"/>
                  <a:gd name="T6" fmla="*/ 45 w 45"/>
                  <a:gd name="T7" fmla="*/ 712 h 735"/>
                  <a:gd name="T8" fmla="*/ 45 w 45"/>
                  <a:gd name="T9" fmla="*/ 23 h 735"/>
                  <a:gd name="T10" fmla="*/ 23 w 45"/>
                  <a:gd name="T11" fmla="*/ 0 h 735"/>
                  <a:gd name="T12" fmla="*/ 22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2"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2" y="0"/>
                      <a:pt x="22" y="0"/>
                      <a:pt x="22"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3" name="î$ḷiḍe"/>
              <p:cNvSpPr/>
              <p:nvPr/>
            </p:nvSpPr>
            <p:spPr bwMode="auto">
              <a:xfrm>
                <a:off x="4928" y="1391"/>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4" name="íṥľíḋe"/>
              <p:cNvSpPr/>
              <p:nvPr/>
            </p:nvSpPr>
            <p:spPr bwMode="auto">
              <a:xfrm>
                <a:off x="4905" y="1391"/>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3"/>
                      <a:pt x="46" y="23"/>
                      <a:pt x="46" y="23"/>
                    </a:cubicBezTo>
                    <a:cubicBezTo>
                      <a:pt x="46" y="10"/>
                      <a:pt x="35"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5" name="iŝḻiḓê"/>
              <p:cNvSpPr/>
              <p:nvPr/>
            </p:nvSpPr>
            <p:spPr bwMode="auto">
              <a:xfrm>
                <a:off x="4883" y="1391"/>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6" name="ï$ḷíḑè"/>
              <p:cNvSpPr/>
              <p:nvPr/>
            </p:nvSpPr>
            <p:spPr bwMode="auto">
              <a:xfrm>
                <a:off x="4860" y="1393"/>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2 h 735"/>
                  <a:gd name="T10" fmla="*/ 23 w 46"/>
                  <a:gd name="T11" fmla="*/ 0 h 735"/>
                  <a:gd name="T12" fmla="*/ 23 w 46"/>
                  <a:gd name="T13" fmla="*/ 0 h 735"/>
                  <a:gd name="T14" fmla="*/ 0 w 46"/>
                  <a:gd name="T15" fmla="*/ 22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2"/>
                      <a:pt x="46" y="22"/>
                      <a:pt x="46" y="22"/>
                    </a:cubicBezTo>
                    <a:cubicBezTo>
                      <a:pt x="46" y="10"/>
                      <a:pt x="35" y="0"/>
                      <a:pt x="23" y="0"/>
                    </a:cubicBezTo>
                    <a:cubicBezTo>
                      <a:pt x="23" y="0"/>
                      <a:pt x="23" y="0"/>
                      <a:pt x="23" y="0"/>
                    </a:cubicBezTo>
                    <a:cubicBezTo>
                      <a:pt x="10" y="0"/>
                      <a:pt x="0" y="10"/>
                      <a:pt x="0" y="22"/>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7" name="ïşľíḍe"/>
              <p:cNvSpPr/>
              <p:nvPr/>
            </p:nvSpPr>
            <p:spPr bwMode="auto">
              <a:xfrm>
                <a:off x="4837" y="1393"/>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2 h 735"/>
                  <a:gd name="T10" fmla="*/ 23 w 46"/>
                  <a:gd name="T11" fmla="*/ 0 h 735"/>
                  <a:gd name="T12" fmla="*/ 23 w 46"/>
                  <a:gd name="T13" fmla="*/ 0 h 735"/>
                  <a:gd name="T14" fmla="*/ 0 w 46"/>
                  <a:gd name="T15" fmla="*/ 22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2"/>
                      <a:pt x="46" y="22"/>
                      <a:pt x="46" y="22"/>
                    </a:cubicBezTo>
                    <a:cubicBezTo>
                      <a:pt x="46" y="10"/>
                      <a:pt x="36" y="0"/>
                      <a:pt x="23" y="0"/>
                    </a:cubicBezTo>
                    <a:cubicBezTo>
                      <a:pt x="23" y="0"/>
                      <a:pt x="23" y="0"/>
                      <a:pt x="23" y="0"/>
                    </a:cubicBezTo>
                    <a:cubicBezTo>
                      <a:pt x="11" y="0"/>
                      <a:pt x="0" y="10"/>
                      <a:pt x="0" y="22"/>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8" name="ïṡḷîďê"/>
              <p:cNvSpPr/>
              <p:nvPr/>
            </p:nvSpPr>
            <p:spPr bwMode="auto">
              <a:xfrm>
                <a:off x="4815" y="1391"/>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79" name="ïŝlïdê"/>
              <p:cNvSpPr/>
              <p:nvPr/>
            </p:nvSpPr>
            <p:spPr bwMode="auto">
              <a:xfrm>
                <a:off x="5019" y="1379"/>
                <a:ext cx="213" cy="247"/>
              </a:xfrm>
              <a:custGeom>
                <a:avLst/>
                <a:gdLst>
                  <a:gd name="T0" fmla="*/ 0 w 700"/>
                  <a:gd name="T1" fmla="*/ 797 h 814"/>
                  <a:gd name="T2" fmla="*/ 17 w 700"/>
                  <a:gd name="T3" fmla="*/ 814 h 814"/>
                  <a:gd name="T4" fmla="*/ 683 w 700"/>
                  <a:gd name="T5" fmla="*/ 814 h 814"/>
                  <a:gd name="T6" fmla="*/ 700 w 700"/>
                  <a:gd name="T7" fmla="*/ 797 h 814"/>
                  <a:gd name="T8" fmla="*/ 700 w 700"/>
                  <a:gd name="T9" fmla="*/ 17 h 814"/>
                  <a:gd name="T10" fmla="*/ 683 w 700"/>
                  <a:gd name="T11" fmla="*/ 0 h 814"/>
                  <a:gd name="T12" fmla="*/ 17 w 700"/>
                  <a:gd name="T13" fmla="*/ 0 h 814"/>
                  <a:gd name="T14" fmla="*/ 0 w 700"/>
                  <a:gd name="T15" fmla="*/ 17 h 814"/>
                  <a:gd name="T16" fmla="*/ 0 w 700"/>
                  <a:gd name="T17" fmla="*/ 79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814">
                    <a:moveTo>
                      <a:pt x="0" y="797"/>
                    </a:moveTo>
                    <a:cubicBezTo>
                      <a:pt x="0" y="806"/>
                      <a:pt x="7" y="814"/>
                      <a:pt x="17" y="814"/>
                    </a:cubicBezTo>
                    <a:cubicBezTo>
                      <a:pt x="683" y="814"/>
                      <a:pt x="683" y="814"/>
                      <a:pt x="683" y="814"/>
                    </a:cubicBezTo>
                    <a:cubicBezTo>
                      <a:pt x="692" y="814"/>
                      <a:pt x="700" y="806"/>
                      <a:pt x="700" y="797"/>
                    </a:cubicBezTo>
                    <a:cubicBezTo>
                      <a:pt x="700" y="17"/>
                      <a:pt x="700" y="17"/>
                      <a:pt x="700" y="17"/>
                    </a:cubicBezTo>
                    <a:cubicBezTo>
                      <a:pt x="700" y="8"/>
                      <a:pt x="692" y="0"/>
                      <a:pt x="683" y="0"/>
                    </a:cubicBezTo>
                    <a:cubicBezTo>
                      <a:pt x="17" y="0"/>
                      <a:pt x="17" y="0"/>
                      <a:pt x="17" y="0"/>
                    </a:cubicBezTo>
                    <a:cubicBezTo>
                      <a:pt x="7" y="0"/>
                      <a:pt x="0" y="8"/>
                      <a:pt x="0" y="17"/>
                    </a:cubicBezTo>
                    <a:lnTo>
                      <a:pt x="0" y="797"/>
                    </a:lnTo>
                    <a:close/>
                  </a:path>
                </a:pathLst>
              </a:custGeom>
              <a:solidFill>
                <a:srgbClr val="E78D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0" name="iṥľíḓê"/>
              <p:cNvSpPr/>
              <p:nvPr/>
            </p:nvSpPr>
            <p:spPr bwMode="auto">
              <a:xfrm>
                <a:off x="5209" y="139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1" name="ïşḻiďè"/>
              <p:cNvSpPr/>
              <p:nvPr/>
            </p:nvSpPr>
            <p:spPr bwMode="auto">
              <a:xfrm>
                <a:off x="5186" y="139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2" name="îśļíḍè"/>
              <p:cNvSpPr/>
              <p:nvPr/>
            </p:nvSpPr>
            <p:spPr bwMode="auto">
              <a:xfrm>
                <a:off x="5164" y="1390"/>
                <a:ext cx="13" cy="223"/>
              </a:xfrm>
              <a:custGeom>
                <a:avLst/>
                <a:gdLst>
                  <a:gd name="T0" fmla="*/ 0 w 45"/>
                  <a:gd name="T1" fmla="*/ 712 h 735"/>
                  <a:gd name="T2" fmla="*/ 22 w 45"/>
                  <a:gd name="T3" fmla="*/ 735 h 735"/>
                  <a:gd name="T4" fmla="*/ 23 w 45"/>
                  <a:gd name="T5" fmla="*/ 735 h 735"/>
                  <a:gd name="T6" fmla="*/ 45 w 45"/>
                  <a:gd name="T7" fmla="*/ 712 h 735"/>
                  <a:gd name="T8" fmla="*/ 45 w 45"/>
                  <a:gd name="T9" fmla="*/ 23 h 735"/>
                  <a:gd name="T10" fmla="*/ 23 w 45"/>
                  <a:gd name="T11" fmla="*/ 0 h 735"/>
                  <a:gd name="T12" fmla="*/ 22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2"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2" y="0"/>
                      <a:pt x="22" y="0"/>
                      <a:pt x="22"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3" name="ïS1íḑê"/>
              <p:cNvSpPr/>
              <p:nvPr/>
            </p:nvSpPr>
            <p:spPr bwMode="auto">
              <a:xfrm>
                <a:off x="5141" y="139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4" name="íṩḷiḋe"/>
              <p:cNvSpPr/>
              <p:nvPr/>
            </p:nvSpPr>
            <p:spPr bwMode="auto">
              <a:xfrm>
                <a:off x="5118" y="139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3"/>
                      <a:pt x="46" y="23"/>
                      <a:pt x="46" y="23"/>
                    </a:cubicBezTo>
                    <a:cubicBezTo>
                      <a:pt x="46" y="10"/>
                      <a:pt x="35"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5" name="îšlïḍe"/>
              <p:cNvSpPr/>
              <p:nvPr/>
            </p:nvSpPr>
            <p:spPr bwMode="auto">
              <a:xfrm>
                <a:off x="5095" y="139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6" name="ïṩlîḍè"/>
              <p:cNvSpPr/>
              <p:nvPr/>
            </p:nvSpPr>
            <p:spPr bwMode="auto">
              <a:xfrm>
                <a:off x="5073" y="1392"/>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3"/>
                      <a:pt x="46" y="23"/>
                      <a:pt x="46" y="23"/>
                    </a:cubicBezTo>
                    <a:cubicBezTo>
                      <a:pt x="46" y="10"/>
                      <a:pt x="35"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7" name="iŝľîďé"/>
              <p:cNvSpPr/>
              <p:nvPr/>
            </p:nvSpPr>
            <p:spPr bwMode="auto">
              <a:xfrm>
                <a:off x="5050" y="1392"/>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8" name="iṩľïḋe"/>
              <p:cNvSpPr/>
              <p:nvPr/>
            </p:nvSpPr>
            <p:spPr bwMode="auto">
              <a:xfrm>
                <a:off x="5028" y="1390"/>
                <a:ext cx="14" cy="223"/>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9" name="ïŝḻíďe"/>
              <p:cNvSpPr/>
              <p:nvPr/>
            </p:nvSpPr>
            <p:spPr bwMode="auto">
              <a:xfrm>
                <a:off x="5482" y="1164"/>
                <a:ext cx="247" cy="213"/>
              </a:xfrm>
              <a:custGeom>
                <a:avLst/>
                <a:gdLst>
                  <a:gd name="T0" fmla="*/ 17 w 814"/>
                  <a:gd name="T1" fmla="*/ 0 h 700"/>
                  <a:gd name="T2" fmla="*/ 0 w 814"/>
                  <a:gd name="T3" fmla="*/ 17 h 700"/>
                  <a:gd name="T4" fmla="*/ 0 w 814"/>
                  <a:gd name="T5" fmla="*/ 683 h 700"/>
                  <a:gd name="T6" fmla="*/ 17 w 814"/>
                  <a:gd name="T7" fmla="*/ 700 h 700"/>
                  <a:gd name="T8" fmla="*/ 797 w 814"/>
                  <a:gd name="T9" fmla="*/ 700 h 700"/>
                  <a:gd name="T10" fmla="*/ 814 w 814"/>
                  <a:gd name="T11" fmla="*/ 683 h 700"/>
                  <a:gd name="T12" fmla="*/ 814 w 814"/>
                  <a:gd name="T13" fmla="*/ 17 h 700"/>
                  <a:gd name="T14" fmla="*/ 797 w 814"/>
                  <a:gd name="T15" fmla="*/ 0 h 700"/>
                  <a:gd name="T16" fmla="*/ 17 w 814"/>
                  <a:gd name="T17"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4" h="700">
                    <a:moveTo>
                      <a:pt x="17" y="0"/>
                    </a:moveTo>
                    <a:cubicBezTo>
                      <a:pt x="8" y="0"/>
                      <a:pt x="0" y="7"/>
                      <a:pt x="0" y="17"/>
                    </a:cubicBezTo>
                    <a:cubicBezTo>
                      <a:pt x="0" y="683"/>
                      <a:pt x="0" y="683"/>
                      <a:pt x="0" y="683"/>
                    </a:cubicBezTo>
                    <a:cubicBezTo>
                      <a:pt x="0" y="692"/>
                      <a:pt x="8" y="700"/>
                      <a:pt x="17" y="700"/>
                    </a:cubicBezTo>
                    <a:cubicBezTo>
                      <a:pt x="797" y="700"/>
                      <a:pt x="797" y="700"/>
                      <a:pt x="797" y="700"/>
                    </a:cubicBezTo>
                    <a:cubicBezTo>
                      <a:pt x="806" y="700"/>
                      <a:pt x="814" y="692"/>
                      <a:pt x="814" y="683"/>
                    </a:cubicBezTo>
                    <a:cubicBezTo>
                      <a:pt x="814" y="17"/>
                      <a:pt x="814" y="17"/>
                      <a:pt x="814" y="17"/>
                    </a:cubicBezTo>
                    <a:cubicBezTo>
                      <a:pt x="814" y="7"/>
                      <a:pt x="806" y="0"/>
                      <a:pt x="797" y="0"/>
                    </a:cubicBezTo>
                    <a:lnTo>
                      <a:pt x="17" y="0"/>
                    </a:lnTo>
                    <a:close/>
                  </a:path>
                </a:pathLst>
              </a:custGeom>
              <a:solidFill>
                <a:srgbClr val="1090B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0" name="ïṧļïḍe"/>
              <p:cNvSpPr/>
              <p:nvPr/>
            </p:nvSpPr>
            <p:spPr bwMode="auto">
              <a:xfrm>
                <a:off x="5495" y="1353"/>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1"/>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1"/>
                      <a:pt x="725" y="0"/>
                      <a:pt x="712" y="0"/>
                    </a:cubicBezTo>
                    <a:lnTo>
                      <a:pt x="23"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1" name="iṧḻîḑê"/>
              <p:cNvSpPr/>
              <p:nvPr/>
            </p:nvSpPr>
            <p:spPr bwMode="auto">
              <a:xfrm>
                <a:off x="5495" y="1331"/>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5"/>
                      <a:pt x="10" y="46"/>
                      <a:pt x="23" y="46"/>
                    </a:cubicBezTo>
                    <a:cubicBezTo>
                      <a:pt x="712" y="46"/>
                      <a:pt x="712" y="46"/>
                      <a:pt x="712" y="46"/>
                    </a:cubicBezTo>
                    <a:cubicBezTo>
                      <a:pt x="725" y="46"/>
                      <a:pt x="735" y="35"/>
                      <a:pt x="735" y="23"/>
                    </a:cubicBezTo>
                    <a:cubicBezTo>
                      <a:pt x="735" y="23"/>
                      <a:pt x="735" y="23"/>
                      <a:pt x="735" y="23"/>
                    </a:cubicBezTo>
                    <a:cubicBezTo>
                      <a:pt x="735" y="10"/>
                      <a:pt x="725" y="0"/>
                      <a:pt x="712" y="0"/>
                    </a:cubicBezTo>
                    <a:lnTo>
                      <a:pt x="23"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2" name="isļîdê"/>
              <p:cNvSpPr/>
              <p:nvPr/>
            </p:nvSpPr>
            <p:spPr bwMode="auto">
              <a:xfrm>
                <a:off x="5495" y="1308"/>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1"/>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1"/>
                      <a:pt x="725" y="0"/>
                      <a:pt x="712" y="0"/>
                    </a:cubicBezTo>
                    <a:lnTo>
                      <a:pt x="23"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3" name="îṧļiďê"/>
              <p:cNvSpPr/>
              <p:nvPr/>
            </p:nvSpPr>
            <p:spPr bwMode="auto">
              <a:xfrm>
                <a:off x="5495" y="1286"/>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0"/>
                      <a:pt x="725" y="0"/>
                      <a:pt x="712" y="0"/>
                    </a:cubicBezTo>
                    <a:lnTo>
                      <a:pt x="23"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4" name="îšļidé"/>
              <p:cNvSpPr/>
              <p:nvPr/>
            </p:nvSpPr>
            <p:spPr bwMode="auto">
              <a:xfrm>
                <a:off x="5495" y="1263"/>
                <a:ext cx="223" cy="14"/>
              </a:xfrm>
              <a:custGeom>
                <a:avLst/>
                <a:gdLst>
                  <a:gd name="T0" fmla="*/ 23 w 735"/>
                  <a:gd name="T1" fmla="*/ 0 h 45"/>
                  <a:gd name="T2" fmla="*/ 0 w 735"/>
                  <a:gd name="T3" fmla="*/ 22 h 45"/>
                  <a:gd name="T4" fmla="*/ 0 w 735"/>
                  <a:gd name="T5" fmla="*/ 23 h 45"/>
                  <a:gd name="T6" fmla="*/ 23 w 735"/>
                  <a:gd name="T7" fmla="*/ 45 h 45"/>
                  <a:gd name="T8" fmla="*/ 712 w 735"/>
                  <a:gd name="T9" fmla="*/ 45 h 45"/>
                  <a:gd name="T10" fmla="*/ 735 w 735"/>
                  <a:gd name="T11" fmla="*/ 23 h 45"/>
                  <a:gd name="T12" fmla="*/ 735 w 735"/>
                  <a:gd name="T13" fmla="*/ 22 h 45"/>
                  <a:gd name="T14" fmla="*/ 712 w 735"/>
                  <a:gd name="T15" fmla="*/ 0 h 45"/>
                  <a:gd name="T16" fmla="*/ 23 w 735"/>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5">
                    <a:moveTo>
                      <a:pt x="23" y="0"/>
                    </a:moveTo>
                    <a:cubicBezTo>
                      <a:pt x="10" y="0"/>
                      <a:pt x="0" y="10"/>
                      <a:pt x="0" y="22"/>
                    </a:cubicBezTo>
                    <a:cubicBezTo>
                      <a:pt x="0" y="23"/>
                      <a:pt x="0" y="23"/>
                      <a:pt x="0" y="23"/>
                    </a:cubicBezTo>
                    <a:cubicBezTo>
                      <a:pt x="0" y="35"/>
                      <a:pt x="10" y="45"/>
                      <a:pt x="23" y="45"/>
                    </a:cubicBezTo>
                    <a:cubicBezTo>
                      <a:pt x="712" y="45"/>
                      <a:pt x="712" y="45"/>
                      <a:pt x="712" y="45"/>
                    </a:cubicBezTo>
                    <a:cubicBezTo>
                      <a:pt x="725" y="45"/>
                      <a:pt x="735" y="35"/>
                      <a:pt x="735" y="23"/>
                    </a:cubicBezTo>
                    <a:cubicBezTo>
                      <a:pt x="735" y="22"/>
                      <a:pt x="735" y="22"/>
                      <a:pt x="735" y="22"/>
                    </a:cubicBezTo>
                    <a:cubicBezTo>
                      <a:pt x="735" y="10"/>
                      <a:pt x="725" y="0"/>
                      <a:pt x="712" y="0"/>
                    </a:cubicBezTo>
                    <a:lnTo>
                      <a:pt x="23"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5" name="iṡļiḑé"/>
              <p:cNvSpPr/>
              <p:nvPr/>
            </p:nvSpPr>
            <p:spPr bwMode="auto">
              <a:xfrm>
                <a:off x="5495" y="1240"/>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0"/>
                      <a:pt x="725" y="0"/>
                      <a:pt x="712" y="0"/>
                    </a:cubicBezTo>
                    <a:lnTo>
                      <a:pt x="23"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6" name="ïṡlíḍe"/>
              <p:cNvSpPr/>
              <p:nvPr/>
            </p:nvSpPr>
            <p:spPr bwMode="auto">
              <a:xfrm>
                <a:off x="5493" y="1218"/>
                <a:ext cx="223" cy="14"/>
              </a:xfrm>
              <a:custGeom>
                <a:avLst/>
                <a:gdLst>
                  <a:gd name="T0" fmla="*/ 23 w 735"/>
                  <a:gd name="T1" fmla="*/ 0 h 46"/>
                  <a:gd name="T2" fmla="*/ 0 w 735"/>
                  <a:gd name="T3" fmla="*/ 23 h 46"/>
                  <a:gd name="T4" fmla="*/ 0 w 735"/>
                  <a:gd name="T5" fmla="*/ 23 h 46"/>
                  <a:gd name="T6" fmla="*/ 23 w 735"/>
                  <a:gd name="T7" fmla="*/ 46 h 46"/>
                  <a:gd name="T8" fmla="*/ 713 w 735"/>
                  <a:gd name="T9" fmla="*/ 46 h 46"/>
                  <a:gd name="T10" fmla="*/ 735 w 735"/>
                  <a:gd name="T11" fmla="*/ 23 h 46"/>
                  <a:gd name="T12" fmla="*/ 735 w 735"/>
                  <a:gd name="T13" fmla="*/ 23 h 46"/>
                  <a:gd name="T14" fmla="*/ 713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5"/>
                      <a:pt x="10" y="46"/>
                      <a:pt x="23" y="46"/>
                    </a:cubicBezTo>
                    <a:cubicBezTo>
                      <a:pt x="713" y="46"/>
                      <a:pt x="713" y="46"/>
                      <a:pt x="713" y="46"/>
                    </a:cubicBezTo>
                    <a:cubicBezTo>
                      <a:pt x="725" y="46"/>
                      <a:pt x="735" y="35"/>
                      <a:pt x="735" y="23"/>
                    </a:cubicBezTo>
                    <a:cubicBezTo>
                      <a:pt x="735" y="23"/>
                      <a:pt x="735" y="23"/>
                      <a:pt x="735" y="23"/>
                    </a:cubicBezTo>
                    <a:cubicBezTo>
                      <a:pt x="735" y="10"/>
                      <a:pt x="725" y="0"/>
                      <a:pt x="713" y="0"/>
                    </a:cubicBezTo>
                    <a:lnTo>
                      <a:pt x="23"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7" name="îṣḷíḓe"/>
              <p:cNvSpPr/>
              <p:nvPr/>
            </p:nvSpPr>
            <p:spPr bwMode="auto">
              <a:xfrm>
                <a:off x="5493" y="1195"/>
                <a:ext cx="223" cy="14"/>
              </a:xfrm>
              <a:custGeom>
                <a:avLst/>
                <a:gdLst>
                  <a:gd name="T0" fmla="*/ 23 w 735"/>
                  <a:gd name="T1" fmla="*/ 0 h 46"/>
                  <a:gd name="T2" fmla="*/ 0 w 735"/>
                  <a:gd name="T3" fmla="*/ 23 h 46"/>
                  <a:gd name="T4" fmla="*/ 0 w 735"/>
                  <a:gd name="T5" fmla="*/ 23 h 46"/>
                  <a:gd name="T6" fmla="*/ 23 w 735"/>
                  <a:gd name="T7" fmla="*/ 46 h 46"/>
                  <a:gd name="T8" fmla="*/ 713 w 735"/>
                  <a:gd name="T9" fmla="*/ 46 h 46"/>
                  <a:gd name="T10" fmla="*/ 735 w 735"/>
                  <a:gd name="T11" fmla="*/ 23 h 46"/>
                  <a:gd name="T12" fmla="*/ 735 w 735"/>
                  <a:gd name="T13" fmla="*/ 23 h 46"/>
                  <a:gd name="T14" fmla="*/ 713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1"/>
                      <a:pt x="0" y="23"/>
                    </a:cubicBezTo>
                    <a:cubicBezTo>
                      <a:pt x="0" y="23"/>
                      <a:pt x="0" y="23"/>
                      <a:pt x="0" y="23"/>
                    </a:cubicBezTo>
                    <a:cubicBezTo>
                      <a:pt x="0" y="36"/>
                      <a:pt x="10" y="46"/>
                      <a:pt x="23" y="46"/>
                    </a:cubicBezTo>
                    <a:cubicBezTo>
                      <a:pt x="713" y="46"/>
                      <a:pt x="713" y="46"/>
                      <a:pt x="713" y="46"/>
                    </a:cubicBezTo>
                    <a:cubicBezTo>
                      <a:pt x="725" y="46"/>
                      <a:pt x="735" y="36"/>
                      <a:pt x="735" y="23"/>
                    </a:cubicBezTo>
                    <a:cubicBezTo>
                      <a:pt x="735" y="23"/>
                      <a:pt x="735" y="23"/>
                      <a:pt x="735" y="23"/>
                    </a:cubicBezTo>
                    <a:cubicBezTo>
                      <a:pt x="735" y="11"/>
                      <a:pt x="725" y="0"/>
                      <a:pt x="713" y="0"/>
                    </a:cubicBezTo>
                    <a:lnTo>
                      <a:pt x="23"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8" name="íśļiďe"/>
              <p:cNvSpPr/>
              <p:nvPr/>
            </p:nvSpPr>
            <p:spPr bwMode="auto">
              <a:xfrm>
                <a:off x="5495" y="1173"/>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0"/>
                      <a:pt x="725" y="0"/>
                      <a:pt x="712" y="0"/>
                    </a:cubicBezTo>
                    <a:lnTo>
                      <a:pt x="23" y="0"/>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9" name="îšḻïdé"/>
              <p:cNvSpPr/>
              <p:nvPr/>
            </p:nvSpPr>
            <p:spPr bwMode="auto">
              <a:xfrm>
                <a:off x="5233" y="1164"/>
                <a:ext cx="248" cy="213"/>
              </a:xfrm>
              <a:custGeom>
                <a:avLst/>
                <a:gdLst>
                  <a:gd name="T0" fmla="*/ 17 w 814"/>
                  <a:gd name="T1" fmla="*/ 0 h 700"/>
                  <a:gd name="T2" fmla="*/ 0 w 814"/>
                  <a:gd name="T3" fmla="*/ 17 h 700"/>
                  <a:gd name="T4" fmla="*/ 0 w 814"/>
                  <a:gd name="T5" fmla="*/ 683 h 700"/>
                  <a:gd name="T6" fmla="*/ 17 w 814"/>
                  <a:gd name="T7" fmla="*/ 700 h 700"/>
                  <a:gd name="T8" fmla="*/ 797 w 814"/>
                  <a:gd name="T9" fmla="*/ 700 h 700"/>
                  <a:gd name="T10" fmla="*/ 814 w 814"/>
                  <a:gd name="T11" fmla="*/ 683 h 700"/>
                  <a:gd name="T12" fmla="*/ 814 w 814"/>
                  <a:gd name="T13" fmla="*/ 17 h 700"/>
                  <a:gd name="T14" fmla="*/ 797 w 814"/>
                  <a:gd name="T15" fmla="*/ 0 h 700"/>
                  <a:gd name="T16" fmla="*/ 17 w 814"/>
                  <a:gd name="T17"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4" h="700">
                    <a:moveTo>
                      <a:pt x="17" y="0"/>
                    </a:moveTo>
                    <a:cubicBezTo>
                      <a:pt x="8" y="0"/>
                      <a:pt x="0" y="7"/>
                      <a:pt x="0" y="17"/>
                    </a:cubicBezTo>
                    <a:cubicBezTo>
                      <a:pt x="0" y="683"/>
                      <a:pt x="0" y="683"/>
                      <a:pt x="0" y="683"/>
                    </a:cubicBezTo>
                    <a:cubicBezTo>
                      <a:pt x="0" y="692"/>
                      <a:pt x="8" y="700"/>
                      <a:pt x="17" y="700"/>
                    </a:cubicBezTo>
                    <a:cubicBezTo>
                      <a:pt x="797" y="700"/>
                      <a:pt x="797" y="700"/>
                      <a:pt x="797" y="700"/>
                    </a:cubicBezTo>
                    <a:cubicBezTo>
                      <a:pt x="806" y="700"/>
                      <a:pt x="814" y="692"/>
                      <a:pt x="814" y="683"/>
                    </a:cubicBezTo>
                    <a:cubicBezTo>
                      <a:pt x="814" y="17"/>
                      <a:pt x="814" y="17"/>
                      <a:pt x="814" y="17"/>
                    </a:cubicBezTo>
                    <a:cubicBezTo>
                      <a:pt x="814" y="7"/>
                      <a:pt x="806" y="0"/>
                      <a:pt x="797" y="0"/>
                    </a:cubicBezTo>
                    <a:lnTo>
                      <a:pt x="17" y="0"/>
                    </a:lnTo>
                    <a:close/>
                  </a:path>
                </a:pathLst>
              </a:custGeom>
              <a:solidFill>
                <a:srgbClr val="E78D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0" name="íşḷíḑe"/>
              <p:cNvSpPr/>
              <p:nvPr/>
            </p:nvSpPr>
            <p:spPr bwMode="auto">
              <a:xfrm>
                <a:off x="5247" y="1353"/>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1"/>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1"/>
                      <a:pt x="725" y="0"/>
                      <a:pt x="712" y="0"/>
                    </a:cubicBezTo>
                    <a:lnTo>
                      <a:pt x="23"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1" name="íSļïḓé"/>
              <p:cNvSpPr/>
              <p:nvPr/>
            </p:nvSpPr>
            <p:spPr bwMode="auto">
              <a:xfrm>
                <a:off x="5247" y="1331"/>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5"/>
                      <a:pt x="10" y="46"/>
                      <a:pt x="23" y="46"/>
                    </a:cubicBezTo>
                    <a:cubicBezTo>
                      <a:pt x="712" y="46"/>
                      <a:pt x="712" y="46"/>
                      <a:pt x="712" y="46"/>
                    </a:cubicBezTo>
                    <a:cubicBezTo>
                      <a:pt x="725" y="46"/>
                      <a:pt x="735" y="35"/>
                      <a:pt x="735" y="23"/>
                    </a:cubicBezTo>
                    <a:cubicBezTo>
                      <a:pt x="735" y="23"/>
                      <a:pt x="735" y="23"/>
                      <a:pt x="735" y="23"/>
                    </a:cubicBezTo>
                    <a:cubicBezTo>
                      <a:pt x="735" y="10"/>
                      <a:pt x="725" y="0"/>
                      <a:pt x="712" y="0"/>
                    </a:cubicBezTo>
                    <a:lnTo>
                      <a:pt x="23"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2" name="î$ľîḍè"/>
              <p:cNvSpPr/>
              <p:nvPr/>
            </p:nvSpPr>
            <p:spPr bwMode="auto">
              <a:xfrm>
                <a:off x="5247" y="1308"/>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1"/>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1"/>
                      <a:pt x="725" y="0"/>
                      <a:pt x="712" y="0"/>
                    </a:cubicBezTo>
                    <a:lnTo>
                      <a:pt x="23"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3" name="iṡ1îḓê"/>
              <p:cNvSpPr/>
              <p:nvPr/>
            </p:nvSpPr>
            <p:spPr bwMode="auto">
              <a:xfrm>
                <a:off x="5247" y="1286"/>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0"/>
                      <a:pt x="725" y="0"/>
                      <a:pt x="712" y="0"/>
                    </a:cubicBezTo>
                    <a:lnTo>
                      <a:pt x="23"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4" name="išļíḍê"/>
              <p:cNvSpPr/>
              <p:nvPr/>
            </p:nvSpPr>
            <p:spPr bwMode="auto">
              <a:xfrm>
                <a:off x="5247" y="1263"/>
                <a:ext cx="223" cy="14"/>
              </a:xfrm>
              <a:custGeom>
                <a:avLst/>
                <a:gdLst>
                  <a:gd name="T0" fmla="*/ 23 w 735"/>
                  <a:gd name="T1" fmla="*/ 0 h 45"/>
                  <a:gd name="T2" fmla="*/ 0 w 735"/>
                  <a:gd name="T3" fmla="*/ 22 h 45"/>
                  <a:gd name="T4" fmla="*/ 0 w 735"/>
                  <a:gd name="T5" fmla="*/ 23 h 45"/>
                  <a:gd name="T6" fmla="*/ 23 w 735"/>
                  <a:gd name="T7" fmla="*/ 45 h 45"/>
                  <a:gd name="T8" fmla="*/ 712 w 735"/>
                  <a:gd name="T9" fmla="*/ 45 h 45"/>
                  <a:gd name="T10" fmla="*/ 735 w 735"/>
                  <a:gd name="T11" fmla="*/ 23 h 45"/>
                  <a:gd name="T12" fmla="*/ 735 w 735"/>
                  <a:gd name="T13" fmla="*/ 22 h 45"/>
                  <a:gd name="T14" fmla="*/ 712 w 735"/>
                  <a:gd name="T15" fmla="*/ 0 h 45"/>
                  <a:gd name="T16" fmla="*/ 23 w 735"/>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5">
                    <a:moveTo>
                      <a:pt x="23" y="0"/>
                    </a:moveTo>
                    <a:cubicBezTo>
                      <a:pt x="10" y="0"/>
                      <a:pt x="0" y="10"/>
                      <a:pt x="0" y="22"/>
                    </a:cubicBezTo>
                    <a:cubicBezTo>
                      <a:pt x="0" y="23"/>
                      <a:pt x="0" y="23"/>
                      <a:pt x="0" y="23"/>
                    </a:cubicBezTo>
                    <a:cubicBezTo>
                      <a:pt x="0" y="35"/>
                      <a:pt x="10" y="45"/>
                      <a:pt x="23" y="45"/>
                    </a:cubicBezTo>
                    <a:cubicBezTo>
                      <a:pt x="712" y="45"/>
                      <a:pt x="712" y="45"/>
                      <a:pt x="712" y="45"/>
                    </a:cubicBezTo>
                    <a:cubicBezTo>
                      <a:pt x="725" y="45"/>
                      <a:pt x="735" y="35"/>
                      <a:pt x="735" y="23"/>
                    </a:cubicBezTo>
                    <a:cubicBezTo>
                      <a:pt x="735" y="22"/>
                      <a:pt x="735" y="22"/>
                      <a:pt x="735" y="22"/>
                    </a:cubicBezTo>
                    <a:cubicBezTo>
                      <a:pt x="735" y="10"/>
                      <a:pt x="725" y="0"/>
                      <a:pt x="712" y="0"/>
                    </a:cubicBezTo>
                    <a:lnTo>
                      <a:pt x="23"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5" name="ïSľîďè"/>
              <p:cNvSpPr/>
              <p:nvPr/>
            </p:nvSpPr>
            <p:spPr bwMode="auto">
              <a:xfrm>
                <a:off x="5247" y="1240"/>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0"/>
                      <a:pt x="725" y="0"/>
                      <a:pt x="712" y="0"/>
                    </a:cubicBezTo>
                    <a:lnTo>
                      <a:pt x="23"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6" name="íṡḻîďé"/>
              <p:cNvSpPr/>
              <p:nvPr/>
            </p:nvSpPr>
            <p:spPr bwMode="auto">
              <a:xfrm>
                <a:off x="5244" y="1218"/>
                <a:ext cx="224" cy="14"/>
              </a:xfrm>
              <a:custGeom>
                <a:avLst/>
                <a:gdLst>
                  <a:gd name="T0" fmla="*/ 23 w 735"/>
                  <a:gd name="T1" fmla="*/ 0 h 46"/>
                  <a:gd name="T2" fmla="*/ 0 w 735"/>
                  <a:gd name="T3" fmla="*/ 23 h 46"/>
                  <a:gd name="T4" fmla="*/ 0 w 735"/>
                  <a:gd name="T5" fmla="*/ 23 h 46"/>
                  <a:gd name="T6" fmla="*/ 23 w 735"/>
                  <a:gd name="T7" fmla="*/ 46 h 46"/>
                  <a:gd name="T8" fmla="*/ 713 w 735"/>
                  <a:gd name="T9" fmla="*/ 46 h 46"/>
                  <a:gd name="T10" fmla="*/ 735 w 735"/>
                  <a:gd name="T11" fmla="*/ 23 h 46"/>
                  <a:gd name="T12" fmla="*/ 735 w 735"/>
                  <a:gd name="T13" fmla="*/ 23 h 46"/>
                  <a:gd name="T14" fmla="*/ 713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5"/>
                      <a:pt x="10" y="46"/>
                      <a:pt x="23" y="46"/>
                    </a:cubicBezTo>
                    <a:cubicBezTo>
                      <a:pt x="713" y="46"/>
                      <a:pt x="713" y="46"/>
                      <a:pt x="713" y="46"/>
                    </a:cubicBezTo>
                    <a:cubicBezTo>
                      <a:pt x="725" y="46"/>
                      <a:pt x="735" y="35"/>
                      <a:pt x="735" y="23"/>
                    </a:cubicBezTo>
                    <a:cubicBezTo>
                      <a:pt x="735" y="23"/>
                      <a:pt x="735" y="23"/>
                      <a:pt x="735" y="23"/>
                    </a:cubicBezTo>
                    <a:cubicBezTo>
                      <a:pt x="735" y="10"/>
                      <a:pt x="725" y="0"/>
                      <a:pt x="713" y="0"/>
                    </a:cubicBezTo>
                    <a:lnTo>
                      <a:pt x="23"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7" name="îṥļïḑé"/>
              <p:cNvSpPr/>
              <p:nvPr/>
            </p:nvSpPr>
            <p:spPr bwMode="auto">
              <a:xfrm>
                <a:off x="5244" y="1195"/>
                <a:ext cx="224" cy="14"/>
              </a:xfrm>
              <a:custGeom>
                <a:avLst/>
                <a:gdLst>
                  <a:gd name="T0" fmla="*/ 23 w 735"/>
                  <a:gd name="T1" fmla="*/ 0 h 46"/>
                  <a:gd name="T2" fmla="*/ 0 w 735"/>
                  <a:gd name="T3" fmla="*/ 23 h 46"/>
                  <a:gd name="T4" fmla="*/ 0 w 735"/>
                  <a:gd name="T5" fmla="*/ 23 h 46"/>
                  <a:gd name="T6" fmla="*/ 23 w 735"/>
                  <a:gd name="T7" fmla="*/ 46 h 46"/>
                  <a:gd name="T8" fmla="*/ 713 w 735"/>
                  <a:gd name="T9" fmla="*/ 46 h 46"/>
                  <a:gd name="T10" fmla="*/ 735 w 735"/>
                  <a:gd name="T11" fmla="*/ 23 h 46"/>
                  <a:gd name="T12" fmla="*/ 735 w 735"/>
                  <a:gd name="T13" fmla="*/ 23 h 46"/>
                  <a:gd name="T14" fmla="*/ 713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1"/>
                      <a:pt x="0" y="23"/>
                    </a:cubicBezTo>
                    <a:cubicBezTo>
                      <a:pt x="0" y="23"/>
                      <a:pt x="0" y="23"/>
                      <a:pt x="0" y="23"/>
                    </a:cubicBezTo>
                    <a:cubicBezTo>
                      <a:pt x="0" y="36"/>
                      <a:pt x="10" y="46"/>
                      <a:pt x="23" y="46"/>
                    </a:cubicBezTo>
                    <a:cubicBezTo>
                      <a:pt x="713" y="46"/>
                      <a:pt x="713" y="46"/>
                      <a:pt x="713" y="46"/>
                    </a:cubicBezTo>
                    <a:cubicBezTo>
                      <a:pt x="725" y="46"/>
                      <a:pt x="735" y="36"/>
                      <a:pt x="735" y="23"/>
                    </a:cubicBezTo>
                    <a:cubicBezTo>
                      <a:pt x="735" y="23"/>
                      <a:pt x="735" y="23"/>
                      <a:pt x="735" y="23"/>
                    </a:cubicBezTo>
                    <a:cubicBezTo>
                      <a:pt x="735" y="11"/>
                      <a:pt x="725" y="0"/>
                      <a:pt x="713" y="0"/>
                    </a:cubicBezTo>
                    <a:lnTo>
                      <a:pt x="23"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8" name="ïSľîḓé"/>
              <p:cNvSpPr/>
              <p:nvPr/>
            </p:nvSpPr>
            <p:spPr bwMode="auto">
              <a:xfrm>
                <a:off x="5247" y="1173"/>
                <a:ext cx="223" cy="14"/>
              </a:xfrm>
              <a:custGeom>
                <a:avLst/>
                <a:gdLst>
                  <a:gd name="T0" fmla="*/ 23 w 735"/>
                  <a:gd name="T1" fmla="*/ 0 h 46"/>
                  <a:gd name="T2" fmla="*/ 0 w 735"/>
                  <a:gd name="T3" fmla="*/ 23 h 46"/>
                  <a:gd name="T4" fmla="*/ 0 w 735"/>
                  <a:gd name="T5" fmla="*/ 23 h 46"/>
                  <a:gd name="T6" fmla="*/ 23 w 735"/>
                  <a:gd name="T7" fmla="*/ 46 h 46"/>
                  <a:gd name="T8" fmla="*/ 712 w 735"/>
                  <a:gd name="T9" fmla="*/ 46 h 46"/>
                  <a:gd name="T10" fmla="*/ 735 w 735"/>
                  <a:gd name="T11" fmla="*/ 23 h 46"/>
                  <a:gd name="T12" fmla="*/ 735 w 735"/>
                  <a:gd name="T13" fmla="*/ 23 h 46"/>
                  <a:gd name="T14" fmla="*/ 712 w 735"/>
                  <a:gd name="T15" fmla="*/ 0 h 46"/>
                  <a:gd name="T16" fmla="*/ 23 w 73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46">
                    <a:moveTo>
                      <a:pt x="23" y="0"/>
                    </a:moveTo>
                    <a:cubicBezTo>
                      <a:pt x="10" y="0"/>
                      <a:pt x="0" y="10"/>
                      <a:pt x="0" y="23"/>
                    </a:cubicBezTo>
                    <a:cubicBezTo>
                      <a:pt x="0" y="23"/>
                      <a:pt x="0" y="23"/>
                      <a:pt x="0" y="23"/>
                    </a:cubicBezTo>
                    <a:cubicBezTo>
                      <a:pt x="0" y="36"/>
                      <a:pt x="10" y="46"/>
                      <a:pt x="23" y="46"/>
                    </a:cubicBezTo>
                    <a:cubicBezTo>
                      <a:pt x="712" y="46"/>
                      <a:pt x="712" y="46"/>
                      <a:pt x="712" y="46"/>
                    </a:cubicBezTo>
                    <a:cubicBezTo>
                      <a:pt x="725" y="46"/>
                      <a:pt x="735" y="36"/>
                      <a:pt x="735" y="23"/>
                    </a:cubicBezTo>
                    <a:cubicBezTo>
                      <a:pt x="735" y="23"/>
                      <a:pt x="735" y="23"/>
                      <a:pt x="735" y="23"/>
                    </a:cubicBezTo>
                    <a:cubicBezTo>
                      <a:pt x="735" y="10"/>
                      <a:pt x="725" y="0"/>
                      <a:pt x="712" y="0"/>
                    </a:cubicBezTo>
                    <a:lnTo>
                      <a:pt x="23"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9" name="îṧlïḋé"/>
              <p:cNvSpPr/>
              <p:nvPr/>
            </p:nvSpPr>
            <p:spPr bwMode="auto">
              <a:xfrm>
                <a:off x="4578" y="496"/>
                <a:ext cx="1273" cy="147"/>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0" name="îsļïdé"/>
              <p:cNvSpPr/>
              <p:nvPr/>
            </p:nvSpPr>
            <p:spPr bwMode="auto">
              <a:xfrm>
                <a:off x="5209" y="1378"/>
                <a:ext cx="213" cy="248"/>
              </a:xfrm>
              <a:custGeom>
                <a:avLst/>
                <a:gdLst>
                  <a:gd name="T0" fmla="*/ 0 w 700"/>
                  <a:gd name="T1" fmla="*/ 797 h 814"/>
                  <a:gd name="T2" fmla="*/ 17 w 700"/>
                  <a:gd name="T3" fmla="*/ 814 h 814"/>
                  <a:gd name="T4" fmla="*/ 683 w 700"/>
                  <a:gd name="T5" fmla="*/ 814 h 814"/>
                  <a:gd name="T6" fmla="*/ 700 w 700"/>
                  <a:gd name="T7" fmla="*/ 797 h 814"/>
                  <a:gd name="T8" fmla="*/ 700 w 700"/>
                  <a:gd name="T9" fmla="*/ 17 h 814"/>
                  <a:gd name="T10" fmla="*/ 683 w 700"/>
                  <a:gd name="T11" fmla="*/ 0 h 814"/>
                  <a:gd name="T12" fmla="*/ 17 w 700"/>
                  <a:gd name="T13" fmla="*/ 0 h 814"/>
                  <a:gd name="T14" fmla="*/ 0 w 700"/>
                  <a:gd name="T15" fmla="*/ 17 h 814"/>
                  <a:gd name="T16" fmla="*/ 0 w 700"/>
                  <a:gd name="T17" fmla="*/ 79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814">
                    <a:moveTo>
                      <a:pt x="0" y="797"/>
                    </a:moveTo>
                    <a:cubicBezTo>
                      <a:pt x="0" y="806"/>
                      <a:pt x="8" y="814"/>
                      <a:pt x="17" y="814"/>
                    </a:cubicBezTo>
                    <a:cubicBezTo>
                      <a:pt x="683" y="814"/>
                      <a:pt x="683" y="814"/>
                      <a:pt x="683" y="814"/>
                    </a:cubicBezTo>
                    <a:cubicBezTo>
                      <a:pt x="693" y="814"/>
                      <a:pt x="700" y="806"/>
                      <a:pt x="700" y="797"/>
                    </a:cubicBezTo>
                    <a:cubicBezTo>
                      <a:pt x="700" y="17"/>
                      <a:pt x="700" y="17"/>
                      <a:pt x="700" y="17"/>
                    </a:cubicBezTo>
                    <a:cubicBezTo>
                      <a:pt x="700" y="8"/>
                      <a:pt x="693" y="0"/>
                      <a:pt x="683" y="0"/>
                    </a:cubicBezTo>
                    <a:cubicBezTo>
                      <a:pt x="17" y="0"/>
                      <a:pt x="17" y="0"/>
                      <a:pt x="17" y="0"/>
                    </a:cubicBezTo>
                    <a:cubicBezTo>
                      <a:pt x="8" y="0"/>
                      <a:pt x="0" y="8"/>
                      <a:pt x="0" y="17"/>
                    </a:cubicBezTo>
                    <a:lnTo>
                      <a:pt x="0" y="797"/>
                    </a:lnTo>
                    <a:close/>
                  </a:path>
                </a:pathLst>
              </a:custGeom>
              <a:solidFill>
                <a:srgbClr val="1090B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1" name="íSlïḋe"/>
              <p:cNvSpPr/>
              <p:nvPr/>
            </p:nvSpPr>
            <p:spPr bwMode="auto">
              <a:xfrm>
                <a:off x="5399" y="1389"/>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0" y="735"/>
                      <a:pt x="23" y="735"/>
                    </a:cubicBezTo>
                    <a:cubicBezTo>
                      <a:pt x="23" y="735"/>
                      <a:pt x="23" y="735"/>
                      <a:pt x="23" y="735"/>
                    </a:cubicBezTo>
                    <a:cubicBezTo>
                      <a:pt x="35" y="735"/>
                      <a:pt x="46" y="725"/>
                      <a:pt x="46" y="713"/>
                    </a:cubicBezTo>
                    <a:cubicBezTo>
                      <a:pt x="46" y="23"/>
                      <a:pt x="46" y="23"/>
                      <a:pt x="46" y="23"/>
                    </a:cubicBezTo>
                    <a:cubicBezTo>
                      <a:pt x="46" y="11"/>
                      <a:pt x="35" y="0"/>
                      <a:pt x="23" y="0"/>
                    </a:cubicBezTo>
                    <a:cubicBezTo>
                      <a:pt x="23" y="0"/>
                      <a:pt x="23" y="0"/>
                      <a:pt x="23" y="0"/>
                    </a:cubicBezTo>
                    <a:cubicBezTo>
                      <a:pt x="10" y="0"/>
                      <a:pt x="0" y="11"/>
                      <a:pt x="0" y="23"/>
                    </a:cubicBezTo>
                    <a:lnTo>
                      <a:pt x="0" y="71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2" name="íṥľíde"/>
              <p:cNvSpPr/>
              <p:nvPr/>
            </p:nvSpPr>
            <p:spPr bwMode="auto">
              <a:xfrm>
                <a:off x="5377" y="1389"/>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1" y="735"/>
                      <a:pt x="23" y="735"/>
                    </a:cubicBezTo>
                    <a:cubicBezTo>
                      <a:pt x="23" y="735"/>
                      <a:pt x="23" y="735"/>
                      <a:pt x="23" y="735"/>
                    </a:cubicBezTo>
                    <a:cubicBezTo>
                      <a:pt x="36" y="735"/>
                      <a:pt x="46" y="725"/>
                      <a:pt x="46" y="713"/>
                    </a:cubicBezTo>
                    <a:cubicBezTo>
                      <a:pt x="46" y="23"/>
                      <a:pt x="46" y="23"/>
                      <a:pt x="46" y="23"/>
                    </a:cubicBezTo>
                    <a:cubicBezTo>
                      <a:pt x="46" y="11"/>
                      <a:pt x="36" y="0"/>
                      <a:pt x="23" y="0"/>
                    </a:cubicBezTo>
                    <a:cubicBezTo>
                      <a:pt x="23" y="0"/>
                      <a:pt x="23" y="0"/>
                      <a:pt x="23" y="0"/>
                    </a:cubicBezTo>
                    <a:cubicBezTo>
                      <a:pt x="11" y="0"/>
                      <a:pt x="0" y="11"/>
                      <a:pt x="0" y="23"/>
                    </a:cubicBezTo>
                    <a:lnTo>
                      <a:pt x="0" y="71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3" name="íśľïḑè"/>
              <p:cNvSpPr/>
              <p:nvPr/>
            </p:nvSpPr>
            <p:spPr bwMode="auto">
              <a:xfrm>
                <a:off x="5354" y="1389"/>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0" y="735"/>
                      <a:pt x="23" y="735"/>
                    </a:cubicBezTo>
                    <a:cubicBezTo>
                      <a:pt x="23" y="735"/>
                      <a:pt x="23" y="735"/>
                      <a:pt x="23" y="735"/>
                    </a:cubicBezTo>
                    <a:cubicBezTo>
                      <a:pt x="36" y="735"/>
                      <a:pt x="46" y="725"/>
                      <a:pt x="46" y="713"/>
                    </a:cubicBezTo>
                    <a:cubicBezTo>
                      <a:pt x="46" y="23"/>
                      <a:pt x="46" y="23"/>
                      <a:pt x="46" y="23"/>
                    </a:cubicBezTo>
                    <a:cubicBezTo>
                      <a:pt x="46" y="11"/>
                      <a:pt x="36" y="0"/>
                      <a:pt x="23" y="0"/>
                    </a:cubicBezTo>
                    <a:cubicBezTo>
                      <a:pt x="23" y="0"/>
                      <a:pt x="23" y="0"/>
                      <a:pt x="23" y="0"/>
                    </a:cubicBezTo>
                    <a:cubicBezTo>
                      <a:pt x="10" y="0"/>
                      <a:pt x="0" y="11"/>
                      <a:pt x="0" y="23"/>
                    </a:cubicBezTo>
                    <a:lnTo>
                      <a:pt x="0" y="71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4" name="í$lîde"/>
              <p:cNvSpPr/>
              <p:nvPr/>
            </p:nvSpPr>
            <p:spPr bwMode="auto">
              <a:xfrm>
                <a:off x="5332" y="1389"/>
                <a:ext cx="13" cy="223"/>
              </a:xfrm>
              <a:custGeom>
                <a:avLst/>
                <a:gdLst>
                  <a:gd name="T0" fmla="*/ 0 w 45"/>
                  <a:gd name="T1" fmla="*/ 713 h 735"/>
                  <a:gd name="T2" fmla="*/ 22 w 45"/>
                  <a:gd name="T3" fmla="*/ 735 h 735"/>
                  <a:gd name="T4" fmla="*/ 23 w 45"/>
                  <a:gd name="T5" fmla="*/ 735 h 735"/>
                  <a:gd name="T6" fmla="*/ 45 w 45"/>
                  <a:gd name="T7" fmla="*/ 713 h 735"/>
                  <a:gd name="T8" fmla="*/ 45 w 45"/>
                  <a:gd name="T9" fmla="*/ 23 h 735"/>
                  <a:gd name="T10" fmla="*/ 23 w 45"/>
                  <a:gd name="T11" fmla="*/ 0 h 735"/>
                  <a:gd name="T12" fmla="*/ 22 w 45"/>
                  <a:gd name="T13" fmla="*/ 0 h 735"/>
                  <a:gd name="T14" fmla="*/ 0 w 45"/>
                  <a:gd name="T15" fmla="*/ 23 h 735"/>
                  <a:gd name="T16" fmla="*/ 0 w 45"/>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3"/>
                    </a:moveTo>
                    <a:cubicBezTo>
                      <a:pt x="0" y="725"/>
                      <a:pt x="10" y="735"/>
                      <a:pt x="22" y="735"/>
                    </a:cubicBezTo>
                    <a:cubicBezTo>
                      <a:pt x="23" y="735"/>
                      <a:pt x="23" y="735"/>
                      <a:pt x="23" y="735"/>
                    </a:cubicBezTo>
                    <a:cubicBezTo>
                      <a:pt x="35" y="735"/>
                      <a:pt x="45" y="725"/>
                      <a:pt x="45" y="713"/>
                    </a:cubicBezTo>
                    <a:cubicBezTo>
                      <a:pt x="45" y="23"/>
                      <a:pt x="45" y="23"/>
                      <a:pt x="45" y="23"/>
                    </a:cubicBezTo>
                    <a:cubicBezTo>
                      <a:pt x="45" y="11"/>
                      <a:pt x="35" y="0"/>
                      <a:pt x="23" y="0"/>
                    </a:cubicBezTo>
                    <a:cubicBezTo>
                      <a:pt x="22" y="0"/>
                      <a:pt x="22" y="0"/>
                      <a:pt x="22" y="0"/>
                    </a:cubicBezTo>
                    <a:cubicBezTo>
                      <a:pt x="10" y="0"/>
                      <a:pt x="0" y="11"/>
                      <a:pt x="0" y="23"/>
                    </a:cubicBezTo>
                    <a:lnTo>
                      <a:pt x="0" y="71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5" name="iṥliďê"/>
              <p:cNvSpPr/>
              <p:nvPr/>
            </p:nvSpPr>
            <p:spPr bwMode="auto">
              <a:xfrm>
                <a:off x="5309" y="1389"/>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0" y="735"/>
                      <a:pt x="23" y="735"/>
                    </a:cubicBezTo>
                    <a:cubicBezTo>
                      <a:pt x="23" y="735"/>
                      <a:pt x="23" y="735"/>
                      <a:pt x="23" y="735"/>
                    </a:cubicBezTo>
                    <a:cubicBezTo>
                      <a:pt x="36" y="735"/>
                      <a:pt x="46" y="725"/>
                      <a:pt x="46" y="713"/>
                    </a:cubicBezTo>
                    <a:cubicBezTo>
                      <a:pt x="46" y="23"/>
                      <a:pt x="46" y="23"/>
                      <a:pt x="46" y="23"/>
                    </a:cubicBezTo>
                    <a:cubicBezTo>
                      <a:pt x="46" y="11"/>
                      <a:pt x="36" y="0"/>
                      <a:pt x="23" y="0"/>
                    </a:cubicBezTo>
                    <a:cubicBezTo>
                      <a:pt x="23" y="0"/>
                      <a:pt x="23" y="0"/>
                      <a:pt x="23" y="0"/>
                    </a:cubicBezTo>
                    <a:cubicBezTo>
                      <a:pt x="10" y="0"/>
                      <a:pt x="0" y="11"/>
                      <a:pt x="0" y="23"/>
                    </a:cubicBezTo>
                    <a:lnTo>
                      <a:pt x="0" y="71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6" name="iṧľïḍè"/>
              <p:cNvSpPr/>
              <p:nvPr/>
            </p:nvSpPr>
            <p:spPr bwMode="auto">
              <a:xfrm>
                <a:off x="5286" y="1389"/>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0" y="735"/>
                      <a:pt x="23" y="735"/>
                    </a:cubicBezTo>
                    <a:cubicBezTo>
                      <a:pt x="23" y="735"/>
                      <a:pt x="23" y="735"/>
                      <a:pt x="23" y="735"/>
                    </a:cubicBezTo>
                    <a:cubicBezTo>
                      <a:pt x="35" y="735"/>
                      <a:pt x="46" y="725"/>
                      <a:pt x="46" y="713"/>
                    </a:cubicBezTo>
                    <a:cubicBezTo>
                      <a:pt x="46" y="23"/>
                      <a:pt x="46" y="23"/>
                      <a:pt x="46" y="23"/>
                    </a:cubicBezTo>
                    <a:cubicBezTo>
                      <a:pt x="46" y="11"/>
                      <a:pt x="35" y="0"/>
                      <a:pt x="23" y="0"/>
                    </a:cubicBezTo>
                    <a:cubicBezTo>
                      <a:pt x="23" y="0"/>
                      <a:pt x="23" y="0"/>
                      <a:pt x="23" y="0"/>
                    </a:cubicBezTo>
                    <a:cubicBezTo>
                      <a:pt x="10" y="0"/>
                      <a:pt x="0" y="11"/>
                      <a:pt x="0" y="23"/>
                    </a:cubicBezTo>
                    <a:lnTo>
                      <a:pt x="0" y="71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7" name="íšḷíḋe"/>
              <p:cNvSpPr/>
              <p:nvPr/>
            </p:nvSpPr>
            <p:spPr bwMode="auto">
              <a:xfrm>
                <a:off x="5264" y="1391"/>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8" name="íSḷiḑê"/>
              <p:cNvSpPr/>
              <p:nvPr/>
            </p:nvSpPr>
            <p:spPr bwMode="auto">
              <a:xfrm>
                <a:off x="5241" y="1391"/>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9" name="íṧļiḍê"/>
              <p:cNvSpPr/>
              <p:nvPr/>
            </p:nvSpPr>
            <p:spPr bwMode="auto">
              <a:xfrm>
                <a:off x="5219" y="1389"/>
                <a:ext cx="13" cy="223"/>
              </a:xfrm>
              <a:custGeom>
                <a:avLst/>
                <a:gdLst>
                  <a:gd name="T0" fmla="*/ 0 w 45"/>
                  <a:gd name="T1" fmla="*/ 713 h 735"/>
                  <a:gd name="T2" fmla="*/ 22 w 45"/>
                  <a:gd name="T3" fmla="*/ 735 h 735"/>
                  <a:gd name="T4" fmla="*/ 23 w 45"/>
                  <a:gd name="T5" fmla="*/ 735 h 735"/>
                  <a:gd name="T6" fmla="*/ 45 w 45"/>
                  <a:gd name="T7" fmla="*/ 713 h 735"/>
                  <a:gd name="T8" fmla="*/ 45 w 45"/>
                  <a:gd name="T9" fmla="*/ 23 h 735"/>
                  <a:gd name="T10" fmla="*/ 23 w 45"/>
                  <a:gd name="T11" fmla="*/ 0 h 735"/>
                  <a:gd name="T12" fmla="*/ 22 w 45"/>
                  <a:gd name="T13" fmla="*/ 0 h 735"/>
                  <a:gd name="T14" fmla="*/ 0 w 45"/>
                  <a:gd name="T15" fmla="*/ 23 h 735"/>
                  <a:gd name="T16" fmla="*/ 0 w 45"/>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3"/>
                    </a:moveTo>
                    <a:cubicBezTo>
                      <a:pt x="0" y="725"/>
                      <a:pt x="10" y="735"/>
                      <a:pt x="22" y="735"/>
                    </a:cubicBezTo>
                    <a:cubicBezTo>
                      <a:pt x="23" y="735"/>
                      <a:pt x="23" y="735"/>
                      <a:pt x="23" y="735"/>
                    </a:cubicBezTo>
                    <a:cubicBezTo>
                      <a:pt x="35" y="735"/>
                      <a:pt x="45" y="725"/>
                      <a:pt x="45" y="713"/>
                    </a:cubicBezTo>
                    <a:cubicBezTo>
                      <a:pt x="45" y="23"/>
                      <a:pt x="45" y="23"/>
                      <a:pt x="45" y="23"/>
                    </a:cubicBezTo>
                    <a:cubicBezTo>
                      <a:pt x="45" y="11"/>
                      <a:pt x="35" y="0"/>
                      <a:pt x="23" y="0"/>
                    </a:cubicBezTo>
                    <a:cubicBezTo>
                      <a:pt x="22" y="0"/>
                      <a:pt x="22" y="0"/>
                      <a:pt x="22" y="0"/>
                    </a:cubicBezTo>
                    <a:cubicBezTo>
                      <a:pt x="10" y="0"/>
                      <a:pt x="0" y="11"/>
                      <a:pt x="0" y="23"/>
                    </a:cubicBezTo>
                    <a:lnTo>
                      <a:pt x="0" y="71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0" name="íŝḻïḓé"/>
              <p:cNvSpPr/>
              <p:nvPr/>
            </p:nvSpPr>
            <p:spPr bwMode="auto">
              <a:xfrm>
                <a:off x="5422" y="1377"/>
                <a:ext cx="213" cy="247"/>
              </a:xfrm>
              <a:custGeom>
                <a:avLst/>
                <a:gdLst>
                  <a:gd name="T0" fmla="*/ 0 w 700"/>
                  <a:gd name="T1" fmla="*/ 796 h 813"/>
                  <a:gd name="T2" fmla="*/ 17 w 700"/>
                  <a:gd name="T3" fmla="*/ 813 h 813"/>
                  <a:gd name="T4" fmla="*/ 683 w 700"/>
                  <a:gd name="T5" fmla="*/ 813 h 813"/>
                  <a:gd name="T6" fmla="*/ 700 w 700"/>
                  <a:gd name="T7" fmla="*/ 796 h 813"/>
                  <a:gd name="T8" fmla="*/ 700 w 700"/>
                  <a:gd name="T9" fmla="*/ 17 h 813"/>
                  <a:gd name="T10" fmla="*/ 683 w 700"/>
                  <a:gd name="T11" fmla="*/ 0 h 813"/>
                  <a:gd name="T12" fmla="*/ 17 w 700"/>
                  <a:gd name="T13" fmla="*/ 0 h 813"/>
                  <a:gd name="T14" fmla="*/ 0 w 700"/>
                  <a:gd name="T15" fmla="*/ 17 h 813"/>
                  <a:gd name="T16" fmla="*/ 0 w 700"/>
                  <a:gd name="T17" fmla="*/ 796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813">
                    <a:moveTo>
                      <a:pt x="0" y="796"/>
                    </a:moveTo>
                    <a:cubicBezTo>
                      <a:pt x="0" y="806"/>
                      <a:pt x="8" y="813"/>
                      <a:pt x="17" y="813"/>
                    </a:cubicBezTo>
                    <a:cubicBezTo>
                      <a:pt x="683" y="813"/>
                      <a:pt x="683" y="813"/>
                      <a:pt x="683" y="813"/>
                    </a:cubicBezTo>
                    <a:cubicBezTo>
                      <a:pt x="693" y="813"/>
                      <a:pt x="700" y="806"/>
                      <a:pt x="700" y="796"/>
                    </a:cubicBezTo>
                    <a:cubicBezTo>
                      <a:pt x="700" y="17"/>
                      <a:pt x="700" y="17"/>
                      <a:pt x="700" y="17"/>
                    </a:cubicBezTo>
                    <a:cubicBezTo>
                      <a:pt x="700" y="7"/>
                      <a:pt x="693" y="0"/>
                      <a:pt x="683" y="0"/>
                    </a:cubicBezTo>
                    <a:cubicBezTo>
                      <a:pt x="17" y="0"/>
                      <a:pt x="17" y="0"/>
                      <a:pt x="17" y="0"/>
                    </a:cubicBezTo>
                    <a:cubicBezTo>
                      <a:pt x="8" y="0"/>
                      <a:pt x="0" y="7"/>
                      <a:pt x="0" y="17"/>
                    </a:cubicBezTo>
                    <a:lnTo>
                      <a:pt x="0" y="796"/>
                    </a:lnTo>
                    <a:close/>
                  </a:path>
                </a:pathLst>
              </a:custGeom>
              <a:solidFill>
                <a:srgbClr val="E54F4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1" name="ïsļíḍè"/>
              <p:cNvSpPr/>
              <p:nvPr/>
            </p:nvSpPr>
            <p:spPr bwMode="auto">
              <a:xfrm>
                <a:off x="5612" y="1388"/>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2" name="ïṥḷïḍé"/>
              <p:cNvSpPr/>
              <p:nvPr/>
            </p:nvSpPr>
            <p:spPr bwMode="auto">
              <a:xfrm>
                <a:off x="5590" y="1388"/>
                <a:ext cx="14" cy="224"/>
              </a:xfrm>
              <a:custGeom>
                <a:avLst/>
                <a:gdLst>
                  <a:gd name="T0" fmla="*/ 0 w 45"/>
                  <a:gd name="T1" fmla="*/ 712 h 735"/>
                  <a:gd name="T2" fmla="*/ 22 w 45"/>
                  <a:gd name="T3" fmla="*/ 735 h 735"/>
                  <a:gd name="T4" fmla="*/ 22 w 45"/>
                  <a:gd name="T5" fmla="*/ 735 h 735"/>
                  <a:gd name="T6" fmla="*/ 45 w 45"/>
                  <a:gd name="T7" fmla="*/ 712 h 735"/>
                  <a:gd name="T8" fmla="*/ 45 w 45"/>
                  <a:gd name="T9" fmla="*/ 23 h 735"/>
                  <a:gd name="T10" fmla="*/ 22 w 45"/>
                  <a:gd name="T11" fmla="*/ 0 h 735"/>
                  <a:gd name="T12" fmla="*/ 22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2" y="735"/>
                    </a:cubicBezTo>
                    <a:cubicBezTo>
                      <a:pt x="22" y="735"/>
                      <a:pt x="22" y="735"/>
                      <a:pt x="22" y="735"/>
                    </a:cubicBezTo>
                    <a:cubicBezTo>
                      <a:pt x="35" y="735"/>
                      <a:pt x="45" y="725"/>
                      <a:pt x="45" y="712"/>
                    </a:cubicBezTo>
                    <a:cubicBezTo>
                      <a:pt x="45" y="23"/>
                      <a:pt x="45" y="23"/>
                      <a:pt x="45" y="23"/>
                    </a:cubicBezTo>
                    <a:cubicBezTo>
                      <a:pt x="45" y="10"/>
                      <a:pt x="35" y="0"/>
                      <a:pt x="22" y="0"/>
                    </a:cubicBezTo>
                    <a:cubicBezTo>
                      <a:pt x="22" y="0"/>
                      <a:pt x="22" y="0"/>
                      <a:pt x="22"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3" name="îšḻiḋê"/>
              <p:cNvSpPr/>
              <p:nvPr/>
            </p:nvSpPr>
            <p:spPr bwMode="auto">
              <a:xfrm>
                <a:off x="5567" y="1388"/>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4" name="í$ḻiḓe"/>
              <p:cNvSpPr/>
              <p:nvPr/>
            </p:nvSpPr>
            <p:spPr bwMode="auto">
              <a:xfrm>
                <a:off x="5545" y="1388"/>
                <a:ext cx="13" cy="224"/>
              </a:xfrm>
              <a:custGeom>
                <a:avLst/>
                <a:gdLst>
                  <a:gd name="T0" fmla="*/ 0 w 45"/>
                  <a:gd name="T1" fmla="*/ 712 h 735"/>
                  <a:gd name="T2" fmla="*/ 23 w 45"/>
                  <a:gd name="T3" fmla="*/ 735 h 735"/>
                  <a:gd name="T4" fmla="*/ 23 w 45"/>
                  <a:gd name="T5" fmla="*/ 735 h 735"/>
                  <a:gd name="T6" fmla="*/ 45 w 45"/>
                  <a:gd name="T7" fmla="*/ 712 h 735"/>
                  <a:gd name="T8" fmla="*/ 45 w 45"/>
                  <a:gd name="T9" fmla="*/ 23 h 735"/>
                  <a:gd name="T10" fmla="*/ 23 w 45"/>
                  <a:gd name="T11" fmla="*/ 0 h 735"/>
                  <a:gd name="T12" fmla="*/ 23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3"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5" name="íšlíḍé"/>
              <p:cNvSpPr/>
              <p:nvPr/>
            </p:nvSpPr>
            <p:spPr bwMode="auto">
              <a:xfrm>
                <a:off x="5522" y="1388"/>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6" name="íṩliḑe"/>
              <p:cNvSpPr/>
              <p:nvPr/>
            </p:nvSpPr>
            <p:spPr bwMode="auto">
              <a:xfrm>
                <a:off x="5499" y="1388"/>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3"/>
                      <a:pt x="46" y="23"/>
                      <a:pt x="46" y="23"/>
                    </a:cubicBezTo>
                    <a:cubicBezTo>
                      <a:pt x="46" y="10"/>
                      <a:pt x="35" y="0"/>
                      <a:pt x="23" y="0"/>
                    </a:cubicBezTo>
                    <a:cubicBezTo>
                      <a:pt x="23" y="0"/>
                      <a:pt x="23" y="0"/>
                      <a:pt x="23"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7" name="îšḷíḋê"/>
              <p:cNvSpPr/>
              <p:nvPr/>
            </p:nvSpPr>
            <p:spPr bwMode="auto">
              <a:xfrm>
                <a:off x="5476" y="1390"/>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1" y="735"/>
                      <a:pt x="23" y="735"/>
                    </a:cubicBezTo>
                    <a:cubicBezTo>
                      <a:pt x="23" y="735"/>
                      <a:pt x="23" y="735"/>
                      <a:pt x="23" y="735"/>
                    </a:cubicBezTo>
                    <a:cubicBezTo>
                      <a:pt x="36" y="735"/>
                      <a:pt x="46" y="725"/>
                      <a:pt x="46" y="713"/>
                    </a:cubicBezTo>
                    <a:cubicBezTo>
                      <a:pt x="46" y="23"/>
                      <a:pt x="46" y="23"/>
                      <a:pt x="46" y="23"/>
                    </a:cubicBezTo>
                    <a:cubicBezTo>
                      <a:pt x="46" y="11"/>
                      <a:pt x="36" y="0"/>
                      <a:pt x="23" y="0"/>
                    </a:cubicBezTo>
                    <a:cubicBezTo>
                      <a:pt x="23" y="0"/>
                      <a:pt x="23" y="0"/>
                      <a:pt x="23" y="0"/>
                    </a:cubicBezTo>
                    <a:cubicBezTo>
                      <a:pt x="11" y="0"/>
                      <a:pt x="0" y="11"/>
                      <a:pt x="0" y="23"/>
                    </a:cubicBezTo>
                    <a:lnTo>
                      <a:pt x="0" y="713"/>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8" name="iṩlïḑé"/>
              <p:cNvSpPr/>
              <p:nvPr/>
            </p:nvSpPr>
            <p:spPr bwMode="auto">
              <a:xfrm>
                <a:off x="5454" y="1390"/>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0" y="735"/>
                      <a:pt x="23" y="735"/>
                    </a:cubicBezTo>
                    <a:cubicBezTo>
                      <a:pt x="23" y="735"/>
                      <a:pt x="23" y="735"/>
                      <a:pt x="23" y="735"/>
                    </a:cubicBezTo>
                    <a:cubicBezTo>
                      <a:pt x="36" y="735"/>
                      <a:pt x="46" y="725"/>
                      <a:pt x="46" y="713"/>
                    </a:cubicBezTo>
                    <a:cubicBezTo>
                      <a:pt x="46" y="23"/>
                      <a:pt x="46" y="23"/>
                      <a:pt x="46" y="23"/>
                    </a:cubicBezTo>
                    <a:cubicBezTo>
                      <a:pt x="46" y="11"/>
                      <a:pt x="36" y="0"/>
                      <a:pt x="23" y="0"/>
                    </a:cubicBezTo>
                    <a:cubicBezTo>
                      <a:pt x="23" y="0"/>
                      <a:pt x="23" y="0"/>
                      <a:pt x="23" y="0"/>
                    </a:cubicBezTo>
                    <a:cubicBezTo>
                      <a:pt x="10" y="0"/>
                      <a:pt x="0" y="11"/>
                      <a:pt x="0" y="23"/>
                    </a:cubicBezTo>
                    <a:lnTo>
                      <a:pt x="0" y="713"/>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9" name="iśľïḑè"/>
              <p:cNvSpPr/>
              <p:nvPr/>
            </p:nvSpPr>
            <p:spPr bwMode="auto">
              <a:xfrm>
                <a:off x="5431" y="1388"/>
                <a:ext cx="14" cy="224"/>
              </a:xfrm>
              <a:custGeom>
                <a:avLst/>
                <a:gdLst>
                  <a:gd name="T0" fmla="*/ 0 w 45"/>
                  <a:gd name="T1" fmla="*/ 712 h 735"/>
                  <a:gd name="T2" fmla="*/ 22 w 45"/>
                  <a:gd name="T3" fmla="*/ 735 h 735"/>
                  <a:gd name="T4" fmla="*/ 23 w 45"/>
                  <a:gd name="T5" fmla="*/ 735 h 735"/>
                  <a:gd name="T6" fmla="*/ 45 w 45"/>
                  <a:gd name="T7" fmla="*/ 712 h 735"/>
                  <a:gd name="T8" fmla="*/ 45 w 45"/>
                  <a:gd name="T9" fmla="*/ 23 h 735"/>
                  <a:gd name="T10" fmla="*/ 23 w 45"/>
                  <a:gd name="T11" fmla="*/ 0 h 735"/>
                  <a:gd name="T12" fmla="*/ 22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2"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2" y="0"/>
                      <a:pt x="22" y="0"/>
                      <a:pt x="22" y="0"/>
                    </a:cubicBezTo>
                    <a:cubicBezTo>
                      <a:pt x="10" y="0"/>
                      <a:pt x="0" y="10"/>
                      <a:pt x="0" y="23"/>
                    </a:cubicBezTo>
                    <a:lnTo>
                      <a:pt x="0" y="712"/>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0" name="îṣlídè"/>
              <p:cNvSpPr/>
              <p:nvPr/>
            </p:nvSpPr>
            <p:spPr bwMode="auto">
              <a:xfrm>
                <a:off x="5635" y="1377"/>
                <a:ext cx="213" cy="246"/>
              </a:xfrm>
              <a:custGeom>
                <a:avLst/>
                <a:gdLst>
                  <a:gd name="T0" fmla="*/ 0 w 700"/>
                  <a:gd name="T1" fmla="*/ 796 h 813"/>
                  <a:gd name="T2" fmla="*/ 17 w 700"/>
                  <a:gd name="T3" fmla="*/ 813 h 813"/>
                  <a:gd name="T4" fmla="*/ 683 w 700"/>
                  <a:gd name="T5" fmla="*/ 813 h 813"/>
                  <a:gd name="T6" fmla="*/ 700 w 700"/>
                  <a:gd name="T7" fmla="*/ 796 h 813"/>
                  <a:gd name="T8" fmla="*/ 700 w 700"/>
                  <a:gd name="T9" fmla="*/ 17 h 813"/>
                  <a:gd name="T10" fmla="*/ 683 w 700"/>
                  <a:gd name="T11" fmla="*/ 0 h 813"/>
                  <a:gd name="T12" fmla="*/ 17 w 700"/>
                  <a:gd name="T13" fmla="*/ 0 h 813"/>
                  <a:gd name="T14" fmla="*/ 0 w 700"/>
                  <a:gd name="T15" fmla="*/ 17 h 813"/>
                  <a:gd name="T16" fmla="*/ 0 w 700"/>
                  <a:gd name="T17" fmla="*/ 796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813">
                    <a:moveTo>
                      <a:pt x="0" y="796"/>
                    </a:moveTo>
                    <a:cubicBezTo>
                      <a:pt x="0" y="806"/>
                      <a:pt x="8" y="813"/>
                      <a:pt x="17" y="813"/>
                    </a:cubicBezTo>
                    <a:cubicBezTo>
                      <a:pt x="683" y="813"/>
                      <a:pt x="683" y="813"/>
                      <a:pt x="683" y="813"/>
                    </a:cubicBezTo>
                    <a:cubicBezTo>
                      <a:pt x="693" y="813"/>
                      <a:pt x="700" y="806"/>
                      <a:pt x="700" y="796"/>
                    </a:cubicBezTo>
                    <a:cubicBezTo>
                      <a:pt x="700" y="17"/>
                      <a:pt x="700" y="17"/>
                      <a:pt x="700" y="17"/>
                    </a:cubicBezTo>
                    <a:cubicBezTo>
                      <a:pt x="700" y="7"/>
                      <a:pt x="693" y="0"/>
                      <a:pt x="683" y="0"/>
                    </a:cubicBezTo>
                    <a:cubicBezTo>
                      <a:pt x="17" y="0"/>
                      <a:pt x="17" y="0"/>
                      <a:pt x="17" y="0"/>
                    </a:cubicBezTo>
                    <a:cubicBezTo>
                      <a:pt x="8" y="0"/>
                      <a:pt x="0" y="7"/>
                      <a:pt x="0" y="17"/>
                    </a:cubicBezTo>
                    <a:lnTo>
                      <a:pt x="0" y="796"/>
                    </a:lnTo>
                    <a:close/>
                  </a:path>
                </a:pathLst>
              </a:custGeom>
              <a:solidFill>
                <a:srgbClr val="E78D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1" name="ïṡliḍe"/>
              <p:cNvSpPr/>
              <p:nvPr/>
            </p:nvSpPr>
            <p:spPr bwMode="auto">
              <a:xfrm>
                <a:off x="5825" y="1387"/>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2" name="íṣlïḑè"/>
              <p:cNvSpPr/>
              <p:nvPr/>
            </p:nvSpPr>
            <p:spPr bwMode="auto">
              <a:xfrm>
                <a:off x="5803" y="1387"/>
                <a:ext cx="13" cy="224"/>
              </a:xfrm>
              <a:custGeom>
                <a:avLst/>
                <a:gdLst>
                  <a:gd name="T0" fmla="*/ 0 w 45"/>
                  <a:gd name="T1" fmla="*/ 712 h 735"/>
                  <a:gd name="T2" fmla="*/ 22 w 45"/>
                  <a:gd name="T3" fmla="*/ 735 h 735"/>
                  <a:gd name="T4" fmla="*/ 23 w 45"/>
                  <a:gd name="T5" fmla="*/ 735 h 735"/>
                  <a:gd name="T6" fmla="*/ 45 w 45"/>
                  <a:gd name="T7" fmla="*/ 712 h 735"/>
                  <a:gd name="T8" fmla="*/ 45 w 45"/>
                  <a:gd name="T9" fmla="*/ 23 h 735"/>
                  <a:gd name="T10" fmla="*/ 23 w 45"/>
                  <a:gd name="T11" fmla="*/ 0 h 735"/>
                  <a:gd name="T12" fmla="*/ 22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2"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2" y="0"/>
                      <a:pt x="22" y="0"/>
                      <a:pt x="22"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3" name="íş1idè"/>
              <p:cNvSpPr/>
              <p:nvPr/>
            </p:nvSpPr>
            <p:spPr bwMode="auto">
              <a:xfrm>
                <a:off x="5780" y="1387"/>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4" name="ïṡľîḍe"/>
              <p:cNvSpPr/>
              <p:nvPr/>
            </p:nvSpPr>
            <p:spPr bwMode="auto">
              <a:xfrm>
                <a:off x="5757" y="1387"/>
                <a:ext cx="14" cy="224"/>
              </a:xfrm>
              <a:custGeom>
                <a:avLst/>
                <a:gdLst>
                  <a:gd name="T0" fmla="*/ 0 w 45"/>
                  <a:gd name="T1" fmla="*/ 712 h 735"/>
                  <a:gd name="T2" fmla="*/ 23 w 45"/>
                  <a:gd name="T3" fmla="*/ 735 h 735"/>
                  <a:gd name="T4" fmla="*/ 23 w 45"/>
                  <a:gd name="T5" fmla="*/ 735 h 735"/>
                  <a:gd name="T6" fmla="*/ 45 w 45"/>
                  <a:gd name="T7" fmla="*/ 712 h 735"/>
                  <a:gd name="T8" fmla="*/ 45 w 45"/>
                  <a:gd name="T9" fmla="*/ 23 h 735"/>
                  <a:gd name="T10" fmla="*/ 23 w 45"/>
                  <a:gd name="T11" fmla="*/ 0 h 735"/>
                  <a:gd name="T12" fmla="*/ 23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3"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5" name="íṥḻîḍê"/>
              <p:cNvSpPr/>
              <p:nvPr/>
            </p:nvSpPr>
            <p:spPr bwMode="auto">
              <a:xfrm>
                <a:off x="5735" y="1387"/>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1" y="735"/>
                      <a:pt x="23" y="735"/>
                    </a:cubicBezTo>
                    <a:cubicBezTo>
                      <a:pt x="23" y="735"/>
                      <a:pt x="23" y="735"/>
                      <a:pt x="23" y="735"/>
                    </a:cubicBezTo>
                    <a:cubicBezTo>
                      <a:pt x="36" y="735"/>
                      <a:pt x="46" y="725"/>
                      <a:pt x="46" y="712"/>
                    </a:cubicBezTo>
                    <a:cubicBezTo>
                      <a:pt x="46" y="23"/>
                      <a:pt x="46" y="23"/>
                      <a:pt x="46" y="23"/>
                    </a:cubicBezTo>
                    <a:cubicBezTo>
                      <a:pt x="46" y="10"/>
                      <a:pt x="36" y="0"/>
                      <a:pt x="23" y="0"/>
                    </a:cubicBezTo>
                    <a:cubicBezTo>
                      <a:pt x="23" y="0"/>
                      <a:pt x="23" y="0"/>
                      <a:pt x="23" y="0"/>
                    </a:cubicBezTo>
                    <a:cubicBezTo>
                      <a:pt x="11"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6" name="ïSḷiḑê"/>
              <p:cNvSpPr/>
              <p:nvPr/>
            </p:nvSpPr>
            <p:spPr bwMode="auto">
              <a:xfrm>
                <a:off x="5712" y="1387"/>
                <a:ext cx="14" cy="224"/>
              </a:xfrm>
              <a:custGeom>
                <a:avLst/>
                <a:gdLst>
                  <a:gd name="T0" fmla="*/ 0 w 46"/>
                  <a:gd name="T1" fmla="*/ 712 h 735"/>
                  <a:gd name="T2" fmla="*/ 23 w 46"/>
                  <a:gd name="T3" fmla="*/ 735 h 735"/>
                  <a:gd name="T4" fmla="*/ 23 w 46"/>
                  <a:gd name="T5" fmla="*/ 735 h 735"/>
                  <a:gd name="T6" fmla="*/ 46 w 46"/>
                  <a:gd name="T7" fmla="*/ 712 h 735"/>
                  <a:gd name="T8" fmla="*/ 46 w 46"/>
                  <a:gd name="T9" fmla="*/ 23 h 735"/>
                  <a:gd name="T10" fmla="*/ 23 w 46"/>
                  <a:gd name="T11" fmla="*/ 0 h 735"/>
                  <a:gd name="T12" fmla="*/ 23 w 46"/>
                  <a:gd name="T13" fmla="*/ 0 h 735"/>
                  <a:gd name="T14" fmla="*/ 0 w 46"/>
                  <a:gd name="T15" fmla="*/ 23 h 735"/>
                  <a:gd name="T16" fmla="*/ 0 w 46"/>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2"/>
                    </a:moveTo>
                    <a:cubicBezTo>
                      <a:pt x="0" y="725"/>
                      <a:pt x="10" y="735"/>
                      <a:pt x="23" y="735"/>
                    </a:cubicBezTo>
                    <a:cubicBezTo>
                      <a:pt x="23" y="735"/>
                      <a:pt x="23" y="735"/>
                      <a:pt x="23" y="735"/>
                    </a:cubicBezTo>
                    <a:cubicBezTo>
                      <a:pt x="35" y="735"/>
                      <a:pt x="46" y="725"/>
                      <a:pt x="46" y="712"/>
                    </a:cubicBezTo>
                    <a:cubicBezTo>
                      <a:pt x="46" y="23"/>
                      <a:pt x="46" y="23"/>
                      <a:pt x="46" y="23"/>
                    </a:cubicBezTo>
                    <a:cubicBezTo>
                      <a:pt x="46" y="10"/>
                      <a:pt x="35" y="0"/>
                      <a:pt x="23" y="0"/>
                    </a:cubicBezTo>
                    <a:cubicBezTo>
                      <a:pt x="23" y="0"/>
                      <a:pt x="23" y="0"/>
                      <a:pt x="23"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7" name="îS1íḍê"/>
              <p:cNvSpPr/>
              <p:nvPr/>
            </p:nvSpPr>
            <p:spPr bwMode="auto">
              <a:xfrm>
                <a:off x="5689" y="1389"/>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1" y="735"/>
                      <a:pt x="23" y="735"/>
                    </a:cubicBezTo>
                    <a:cubicBezTo>
                      <a:pt x="23" y="735"/>
                      <a:pt x="23" y="735"/>
                      <a:pt x="23" y="735"/>
                    </a:cubicBezTo>
                    <a:cubicBezTo>
                      <a:pt x="36" y="735"/>
                      <a:pt x="46" y="725"/>
                      <a:pt x="46" y="713"/>
                    </a:cubicBezTo>
                    <a:cubicBezTo>
                      <a:pt x="46" y="23"/>
                      <a:pt x="46" y="23"/>
                      <a:pt x="46" y="23"/>
                    </a:cubicBezTo>
                    <a:cubicBezTo>
                      <a:pt x="46" y="11"/>
                      <a:pt x="36" y="0"/>
                      <a:pt x="23" y="0"/>
                    </a:cubicBezTo>
                    <a:cubicBezTo>
                      <a:pt x="23" y="0"/>
                      <a:pt x="23" y="0"/>
                      <a:pt x="23" y="0"/>
                    </a:cubicBezTo>
                    <a:cubicBezTo>
                      <a:pt x="11" y="0"/>
                      <a:pt x="0" y="11"/>
                      <a:pt x="0" y="23"/>
                    </a:cubicBezTo>
                    <a:lnTo>
                      <a:pt x="0" y="713"/>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8" name="í$ḷiḑé"/>
              <p:cNvSpPr/>
              <p:nvPr/>
            </p:nvSpPr>
            <p:spPr bwMode="auto">
              <a:xfrm>
                <a:off x="5667" y="1389"/>
                <a:ext cx="14" cy="223"/>
              </a:xfrm>
              <a:custGeom>
                <a:avLst/>
                <a:gdLst>
                  <a:gd name="T0" fmla="*/ 0 w 46"/>
                  <a:gd name="T1" fmla="*/ 713 h 735"/>
                  <a:gd name="T2" fmla="*/ 23 w 46"/>
                  <a:gd name="T3" fmla="*/ 735 h 735"/>
                  <a:gd name="T4" fmla="*/ 23 w 46"/>
                  <a:gd name="T5" fmla="*/ 735 h 735"/>
                  <a:gd name="T6" fmla="*/ 46 w 46"/>
                  <a:gd name="T7" fmla="*/ 713 h 735"/>
                  <a:gd name="T8" fmla="*/ 46 w 46"/>
                  <a:gd name="T9" fmla="*/ 23 h 735"/>
                  <a:gd name="T10" fmla="*/ 23 w 46"/>
                  <a:gd name="T11" fmla="*/ 0 h 735"/>
                  <a:gd name="T12" fmla="*/ 23 w 46"/>
                  <a:gd name="T13" fmla="*/ 0 h 735"/>
                  <a:gd name="T14" fmla="*/ 0 w 46"/>
                  <a:gd name="T15" fmla="*/ 23 h 735"/>
                  <a:gd name="T16" fmla="*/ 0 w 46"/>
                  <a:gd name="T17" fmla="*/ 713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35">
                    <a:moveTo>
                      <a:pt x="0" y="713"/>
                    </a:moveTo>
                    <a:cubicBezTo>
                      <a:pt x="0" y="725"/>
                      <a:pt x="10" y="735"/>
                      <a:pt x="23" y="735"/>
                    </a:cubicBezTo>
                    <a:cubicBezTo>
                      <a:pt x="23" y="735"/>
                      <a:pt x="23" y="735"/>
                      <a:pt x="23" y="735"/>
                    </a:cubicBezTo>
                    <a:cubicBezTo>
                      <a:pt x="36" y="735"/>
                      <a:pt x="46" y="725"/>
                      <a:pt x="46" y="713"/>
                    </a:cubicBezTo>
                    <a:cubicBezTo>
                      <a:pt x="46" y="23"/>
                      <a:pt x="46" y="23"/>
                      <a:pt x="46" y="23"/>
                    </a:cubicBezTo>
                    <a:cubicBezTo>
                      <a:pt x="46" y="11"/>
                      <a:pt x="36" y="0"/>
                      <a:pt x="23" y="0"/>
                    </a:cubicBezTo>
                    <a:cubicBezTo>
                      <a:pt x="23" y="0"/>
                      <a:pt x="23" y="0"/>
                      <a:pt x="23" y="0"/>
                    </a:cubicBezTo>
                    <a:cubicBezTo>
                      <a:pt x="10" y="0"/>
                      <a:pt x="0" y="11"/>
                      <a:pt x="0" y="23"/>
                    </a:cubicBezTo>
                    <a:lnTo>
                      <a:pt x="0" y="713"/>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9" name="íŝļïḑé"/>
              <p:cNvSpPr/>
              <p:nvPr/>
            </p:nvSpPr>
            <p:spPr bwMode="auto">
              <a:xfrm>
                <a:off x="5644" y="1387"/>
                <a:ext cx="14" cy="224"/>
              </a:xfrm>
              <a:custGeom>
                <a:avLst/>
                <a:gdLst>
                  <a:gd name="T0" fmla="*/ 0 w 45"/>
                  <a:gd name="T1" fmla="*/ 712 h 735"/>
                  <a:gd name="T2" fmla="*/ 22 w 45"/>
                  <a:gd name="T3" fmla="*/ 735 h 735"/>
                  <a:gd name="T4" fmla="*/ 23 w 45"/>
                  <a:gd name="T5" fmla="*/ 735 h 735"/>
                  <a:gd name="T6" fmla="*/ 45 w 45"/>
                  <a:gd name="T7" fmla="*/ 712 h 735"/>
                  <a:gd name="T8" fmla="*/ 45 w 45"/>
                  <a:gd name="T9" fmla="*/ 23 h 735"/>
                  <a:gd name="T10" fmla="*/ 23 w 45"/>
                  <a:gd name="T11" fmla="*/ 0 h 735"/>
                  <a:gd name="T12" fmla="*/ 22 w 45"/>
                  <a:gd name="T13" fmla="*/ 0 h 735"/>
                  <a:gd name="T14" fmla="*/ 0 w 45"/>
                  <a:gd name="T15" fmla="*/ 23 h 735"/>
                  <a:gd name="T16" fmla="*/ 0 w 45"/>
                  <a:gd name="T17" fmla="*/ 712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35">
                    <a:moveTo>
                      <a:pt x="0" y="712"/>
                    </a:moveTo>
                    <a:cubicBezTo>
                      <a:pt x="0" y="725"/>
                      <a:pt x="10" y="735"/>
                      <a:pt x="22" y="735"/>
                    </a:cubicBezTo>
                    <a:cubicBezTo>
                      <a:pt x="23" y="735"/>
                      <a:pt x="23" y="735"/>
                      <a:pt x="23" y="735"/>
                    </a:cubicBezTo>
                    <a:cubicBezTo>
                      <a:pt x="35" y="735"/>
                      <a:pt x="45" y="725"/>
                      <a:pt x="45" y="712"/>
                    </a:cubicBezTo>
                    <a:cubicBezTo>
                      <a:pt x="45" y="23"/>
                      <a:pt x="45" y="23"/>
                      <a:pt x="45" y="23"/>
                    </a:cubicBezTo>
                    <a:cubicBezTo>
                      <a:pt x="45" y="10"/>
                      <a:pt x="35" y="0"/>
                      <a:pt x="23" y="0"/>
                    </a:cubicBezTo>
                    <a:cubicBezTo>
                      <a:pt x="22" y="0"/>
                      <a:pt x="22" y="0"/>
                      <a:pt x="22" y="0"/>
                    </a:cubicBezTo>
                    <a:cubicBezTo>
                      <a:pt x="10" y="0"/>
                      <a:pt x="0" y="10"/>
                      <a:pt x="0" y="23"/>
                    </a:cubicBezTo>
                    <a:lnTo>
                      <a:pt x="0" y="7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0" name="iśḻiḓê"/>
              <p:cNvSpPr/>
              <p:nvPr/>
            </p:nvSpPr>
            <p:spPr bwMode="auto">
              <a:xfrm>
                <a:off x="5201" y="1172"/>
                <a:ext cx="30" cy="771"/>
              </a:xfrm>
              <a:prstGeom prst="rect">
                <a:avLst/>
              </a:prstGeom>
              <a:solidFill>
                <a:srgbClr val="EAEAE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1" name="iŝlíďè"/>
              <p:cNvSpPr/>
              <p:nvPr/>
            </p:nvSpPr>
            <p:spPr bwMode="auto">
              <a:xfrm>
                <a:off x="5179" y="1155"/>
                <a:ext cx="73" cy="27"/>
              </a:xfrm>
              <a:custGeom>
                <a:avLst/>
                <a:gdLst>
                  <a:gd name="T0" fmla="*/ 0 w 239"/>
                  <a:gd name="T1" fmla="*/ 45 h 88"/>
                  <a:gd name="T2" fmla="*/ 44 w 239"/>
                  <a:gd name="T3" fmla="*/ 88 h 88"/>
                  <a:gd name="T4" fmla="*/ 196 w 239"/>
                  <a:gd name="T5" fmla="*/ 88 h 88"/>
                  <a:gd name="T6" fmla="*/ 239 w 239"/>
                  <a:gd name="T7" fmla="*/ 45 h 88"/>
                  <a:gd name="T8" fmla="*/ 239 w 239"/>
                  <a:gd name="T9" fmla="*/ 43 h 88"/>
                  <a:gd name="T10" fmla="*/ 196 w 239"/>
                  <a:gd name="T11" fmla="*/ 0 h 88"/>
                  <a:gd name="T12" fmla="*/ 44 w 239"/>
                  <a:gd name="T13" fmla="*/ 0 h 88"/>
                  <a:gd name="T14" fmla="*/ 0 w 239"/>
                  <a:gd name="T15" fmla="*/ 43 h 88"/>
                  <a:gd name="T16" fmla="*/ 0 w 239"/>
                  <a:gd name="T17" fmla="*/ 4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88">
                    <a:moveTo>
                      <a:pt x="0" y="45"/>
                    </a:moveTo>
                    <a:cubicBezTo>
                      <a:pt x="0" y="69"/>
                      <a:pt x="20" y="88"/>
                      <a:pt x="44" y="88"/>
                    </a:cubicBezTo>
                    <a:cubicBezTo>
                      <a:pt x="196" y="88"/>
                      <a:pt x="196" y="88"/>
                      <a:pt x="196" y="88"/>
                    </a:cubicBezTo>
                    <a:cubicBezTo>
                      <a:pt x="219" y="88"/>
                      <a:pt x="239" y="69"/>
                      <a:pt x="239" y="45"/>
                    </a:cubicBezTo>
                    <a:cubicBezTo>
                      <a:pt x="239" y="43"/>
                      <a:pt x="239" y="43"/>
                      <a:pt x="239" y="43"/>
                    </a:cubicBezTo>
                    <a:cubicBezTo>
                      <a:pt x="239" y="19"/>
                      <a:pt x="219" y="0"/>
                      <a:pt x="196" y="0"/>
                    </a:cubicBezTo>
                    <a:cubicBezTo>
                      <a:pt x="44" y="0"/>
                      <a:pt x="44" y="0"/>
                      <a:pt x="44" y="0"/>
                    </a:cubicBezTo>
                    <a:cubicBezTo>
                      <a:pt x="20" y="0"/>
                      <a:pt x="0" y="19"/>
                      <a:pt x="0" y="43"/>
                    </a:cubicBezTo>
                    <a:lnTo>
                      <a:pt x="0" y="45"/>
                    </a:lnTo>
                    <a:close/>
                  </a:path>
                </a:pathLst>
              </a:custGeom>
              <a:solidFill>
                <a:srgbClr val="E1DFD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2" name="îsľiḋê"/>
              <p:cNvSpPr/>
              <p:nvPr/>
            </p:nvSpPr>
            <p:spPr bwMode="auto">
              <a:xfrm>
                <a:off x="4489" y="1473"/>
                <a:ext cx="727" cy="282"/>
              </a:xfrm>
              <a:custGeom>
                <a:avLst/>
                <a:gdLst>
                  <a:gd name="T0" fmla="*/ 2390 w 2393"/>
                  <a:gd name="T1" fmla="*/ 377 h 929"/>
                  <a:gd name="T2" fmla="*/ 34 w 2393"/>
                  <a:gd name="T3" fmla="*/ 929 h 929"/>
                  <a:gd name="T4" fmla="*/ 1 w 2393"/>
                  <a:gd name="T5" fmla="*/ 583 h 929"/>
                  <a:gd name="T6" fmla="*/ 0 w 2393"/>
                  <a:gd name="T7" fmla="*/ 583 h 929"/>
                  <a:gd name="T8" fmla="*/ 0 w 2393"/>
                  <a:gd name="T9" fmla="*/ 583 h 929"/>
                  <a:gd name="T10" fmla="*/ 0 w 2393"/>
                  <a:gd name="T11" fmla="*/ 583 h 929"/>
                  <a:gd name="T12" fmla="*/ 2390 w 2393"/>
                  <a:gd name="T13" fmla="*/ 13 h 929"/>
                  <a:gd name="T14" fmla="*/ 2393 w 2393"/>
                  <a:gd name="T15" fmla="*/ 13 h 929"/>
                  <a:gd name="T16" fmla="*/ 2393 w 2393"/>
                  <a:gd name="T17" fmla="*/ 377 h 929"/>
                  <a:gd name="T18" fmla="*/ 2390 w 2393"/>
                  <a:gd name="T19" fmla="*/ 377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3" h="929">
                    <a:moveTo>
                      <a:pt x="2390" y="377"/>
                    </a:moveTo>
                    <a:cubicBezTo>
                      <a:pt x="1669" y="365"/>
                      <a:pt x="851" y="497"/>
                      <a:pt x="34" y="929"/>
                    </a:cubicBezTo>
                    <a:cubicBezTo>
                      <a:pt x="15" y="723"/>
                      <a:pt x="1" y="591"/>
                      <a:pt x="1" y="583"/>
                    </a:cubicBezTo>
                    <a:cubicBezTo>
                      <a:pt x="0" y="583"/>
                      <a:pt x="0" y="583"/>
                      <a:pt x="0" y="583"/>
                    </a:cubicBezTo>
                    <a:cubicBezTo>
                      <a:pt x="0" y="583"/>
                      <a:pt x="0" y="583"/>
                      <a:pt x="0" y="583"/>
                    </a:cubicBezTo>
                    <a:cubicBezTo>
                      <a:pt x="0" y="583"/>
                      <a:pt x="0" y="583"/>
                      <a:pt x="0" y="583"/>
                    </a:cubicBezTo>
                    <a:cubicBezTo>
                      <a:pt x="828" y="136"/>
                      <a:pt x="1660" y="0"/>
                      <a:pt x="2390" y="13"/>
                    </a:cubicBezTo>
                    <a:cubicBezTo>
                      <a:pt x="2391" y="13"/>
                      <a:pt x="2388" y="13"/>
                      <a:pt x="2393" y="13"/>
                    </a:cubicBezTo>
                    <a:cubicBezTo>
                      <a:pt x="2393" y="377"/>
                      <a:pt x="2393" y="377"/>
                      <a:pt x="2393" y="377"/>
                    </a:cubicBezTo>
                    <a:cubicBezTo>
                      <a:pt x="2388" y="377"/>
                      <a:pt x="2391" y="377"/>
                      <a:pt x="2390" y="377"/>
                    </a:cubicBezTo>
                    <a:close/>
                  </a:path>
                </a:pathLst>
              </a:custGeom>
              <a:solidFill>
                <a:srgbClr val="E1DFD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3" name="iṥḻíḍe"/>
              <p:cNvSpPr/>
              <p:nvPr/>
            </p:nvSpPr>
            <p:spPr bwMode="auto">
              <a:xfrm>
                <a:off x="4499" y="1584"/>
                <a:ext cx="717" cy="666"/>
              </a:xfrm>
              <a:custGeom>
                <a:avLst/>
                <a:gdLst>
                  <a:gd name="T0" fmla="*/ 2356 w 2359"/>
                  <a:gd name="T1" fmla="*/ 12 h 2195"/>
                  <a:gd name="T2" fmla="*/ 2359 w 2359"/>
                  <a:gd name="T3" fmla="*/ 12 h 2195"/>
                  <a:gd name="T4" fmla="*/ 2359 w 2359"/>
                  <a:gd name="T5" fmla="*/ 2195 h 2195"/>
                  <a:gd name="T6" fmla="*/ 109 w 2359"/>
                  <a:gd name="T7" fmla="*/ 2195 h 2195"/>
                  <a:gd name="T8" fmla="*/ 0 w 2359"/>
                  <a:gd name="T9" fmla="*/ 564 h 2195"/>
                  <a:gd name="T10" fmla="*/ 2356 w 2359"/>
                  <a:gd name="T11" fmla="*/ 12 h 2195"/>
                </a:gdLst>
                <a:ahLst/>
                <a:cxnLst>
                  <a:cxn ang="0">
                    <a:pos x="T0" y="T1"/>
                  </a:cxn>
                  <a:cxn ang="0">
                    <a:pos x="T2" y="T3"/>
                  </a:cxn>
                  <a:cxn ang="0">
                    <a:pos x="T4" y="T5"/>
                  </a:cxn>
                  <a:cxn ang="0">
                    <a:pos x="T6" y="T7"/>
                  </a:cxn>
                  <a:cxn ang="0">
                    <a:pos x="T8" y="T9"/>
                  </a:cxn>
                  <a:cxn ang="0">
                    <a:pos x="T10" y="T11"/>
                  </a:cxn>
                </a:cxnLst>
                <a:rect l="0" t="0" r="r" b="b"/>
                <a:pathLst>
                  <a:path w="2359" h="2195">
                    <a:moveTo>
                      <a:pt x="2356" y="12"/>
                    </a:moveTo>
                    <a:cubicBezTo>
                      <a:pt x="2357" y="12"/>
                      <a:pt x="2354" y="12"/>
                      <a:pt x="2359" y="12"/>
                    </a:cubicBezTo>
                    <a:cubicBezTo>
                      <a:pt x="2359" y="2195"/>
                      <a:pt x="2359" y="2195"/>
                      <a:pt x="2359" y="2195"/>
                    </a:cubicBezTo>
                    <a:cubicBezTo>
                      <a:pt x="109" y="2195"/>
                      <a:pt x="109" y="2195"/>
                      <a:pt x="109" y="2195"/>
                    </a:cubicBezTo>
                    <a:cubicBezTo>
                      <a:pt x="89" y="1602"/>
                      <a:pt x="36" y="951"/>
                      <a:pt x="0" y="564"/>
                    </a:cubicBezTo>
                    <a:cubicBezTo>
                      <a:pt x="817" y="132"/>
                      <a:pt x="1635" y="0"/>
                      <a:pt x="2356" y="12"/>
                    </a:cubicBezTo>
                    <a:close/>
                  </a:path>
                </a:pathLst>
              </a:custGeom>
              <a:solidFill>
                <a:srgbClr val="324E78"/>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4" name="í$ḻíḋé"/>
              <p:cNvSpPr/>
              <p:nvPr/>
            </p:nvSpPr>
            <p:spPr bwMode="auto">
              <a:xfrm>
                <a:off x="4532" y="2250"/>
                <a:ext cx="684" cy="134"/>
              </a:xfrm>
              <a:custGeom>
                <a:avLst/>
                <a:gdLst>
                  <a:gd name="T0" fmla="*/ 2250 w 2250"/>
                  <a:gd name="T1" fmla="*/ 0 h 439"/>
                  <a:gd name="T2" fmla="*/ 2250 w 2250"/>
                  <a:gd name="T3" fmla="*/ 439 h 439"/>
                  <a:gd name="T4" fmla="*/ 1292 w 2250"/>
                  <a:gd name="T5" fmla="*/ 439 h 439"/>
                  <a:gd name="T6" fmla="*/ 8 w 2250"/>
                  <a:gd name="T7" fmla="*/ 439 h 439"/>
                  <a:gd name="T8" fmla="*/ 0 w 2250"/>
                  <a:gd name="T9" fmla="*/ 0 h 439"/>
                  <a:gd name="T10" fmla="*/ 2250 w 2250"/>
                  <a:gd name="T11" fmla="*/ 0 h 439"/>
                </a:gdLst>
                <a:ahLst/>
                <a:cxnLst>
                  <a:cxn ang="0">
                    <a:pos x="T0" y="T1"/>
                  </a:cxn>
                  <a:cxn ang="0">
                    <a:pos x="T2" y="T3"/>
                  </a:cxn>
                  <a:cxn ang="0">
                    <a:pos x="T4" y="T5"/>
                  </a:cxn>
                  <a:cxn ang="0">
                    <a:pos x="T6" y="T7"/>
                  </a:cxn>
                  <a:cxn ang="0">
                    <a:pos x="T8" y="T9"/>
                  </a:cxn>
                  <a:cxn ang="0">
                    <a:pos x="T10" y="T11"/>
                  </a:cxn>
                </a:cxnLst>
                <a:rect l="0" t="0" r="r" b="b"/>
                <a:pathLst>
                  <a:path w="2250" h="439">
                    <a:moveTo>
                      <a:pt x="2250" y="0"/>
                    </a:moveTo>
                    <a:cubicBezTo>
                      <a:pt x="2250" y="439"/>
                      <a:pt x="2250" y="439"/>
                      <a:pt x="2250" y="439"/>
                    </a:cubicBezTo>
                    <a:cubicBezTo>
                      <a:pt x="1292" y="439"/>
                      <a:pt x="1292" y="439"/>
                      <a:pt x="1292" y="439"/>
                    </a:cubicBezTo>
                    <a:cubicBezTo>
                      <a:pt x="8" y="439"/>
                      <a:pt x="8" y="439"/>
                      <a:pt x="8" y="439"/>
                    </a:cubicBezTo>
                    <a:cubicBezTo>
                      <a:pt x="8" y="300"/>
                      <a:pt x="5" y="152"/>
                      <a:pt x="0" y="0"/>
                    </a:cubicBezTo>
                    <a:lnTo>
                      <a:pt x="2250" y="0"/>
                    </a:lnTo>
                    <a:close/>
                  </a:path>
                </a:pathLst>
              </a:custGeom>
              <a:solidFill>
                <a:srgbClr val="982725"/>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5" name="íşľidè"/>
              <p:cNvSpPr/>
              <p:nvPr/>
            </p:nvSpPr>
            <p:spPr bwMode="auto">
              <a:xfrm>
                <a:off x="5801" y="1592"/>
                <a:ext cx="141" cy="163"/>
              </a:xfrm>
              <a:custGeom>
                <a:avLst/>
                <a:gdLst>
                  <a:gd name="T0" fmla="*/ 1 w 461"/>
                  <a:gd name="T1" fmla="*/ 338 h 538"/>
                  <a:gd name="T2" fmla="*/ 0 w 461"/>
                  <a:gd name="T3" fmla="*/ 338 h 538"/>
                  <a:gd name="T4" fmla="*/ 1 w 461"/>
                  <a:gd name="T5" fmla="*/ 338 h 538"/>
                  <a:gd name="T6" fmla="*/ 2 w 461"/>
                  <a:gd name="T7" fmla="*/ 338 h 538"/>
                  <a:gd name="T8" fmla="*/ 63 w 461"/>
                  <a:gd name="T9" fmla="*/ 0 h 538"/>
                  <a:gd name="T10" fmla="*/ 461 w 461"/>
                  <a:gd name="T11" fmla="*/ 192 h 538"/>
                  <a:gd name="T12" fmla="*/ 461 w 461"/>
                  <a:gd name="T13" fmla="*/ 192 h 538"/>
                  <a:gd name="T14" fmla="*/ 461 w 461"/>
                  <a:gd name="T15" fmla="*/ 192 h 538"/>
                  <a:gd name="T16" fmla="*/ 461 w 461"/>
                  <a:gd name="T17" fmla="*/ 192 h 538"/>
                  <a:gd name="T18" fmla="*/ 428 w 461"/>
                  <a:gd name="T19" fmla="*/ 538 h 538"/>
                  <a:gd name="T20" fmla="*/ 1 w 461"/>
                  <a:gd name="T21" fmla="*/ 339 h 538"/>
                  <a:gd name="T22" fmla="*/ 1 w 461"/>
                  <a:gd name="T23" fmla="*/ 3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1" h="538">
                    <a:moveTo>
                      <a:pt x="1" y="338"/>
                    </a:moveTo>
                    <a:cubicBezTo>
                      <a:pt x="1" y="338"/>
                      <a:pt x="1" y="338"/>
                      <a:pt x="0" y="338"/>
                    </a:cubicBezTo>
                    <a:cubicBezTo>
                      <a:pt x="1" y="338"/>
                      <a:pt x="1" y="338"/>
                      <a:pt x="1" y="338"/>
                    </a:cubicBezTo>
                    <a:cubicBezTo>
                      <a:pt x="1" y="338"/>
                      <a:pt x="1" y="338"/>
                      <a:pt x="2" y="338"/>
                    </a:cubicBezTo>
                    <a:cubicBezTo>
                      <a:pt x="23" y="210"/>
                      <a:pt x="44" y="98"/>
                      <a:pt x="63" y="0"/>
                    </a:cubicBezTo>
                    <a:cubicBezTo>
                      <a:pt x="196" y="57"/>
                      <a:pt x="329" y="120"/>
                      <a:pt x="461" y="192"/>
                    </a:cubicBezTo>
                    <a:cubicBezTo>
                      <a:pt x="461" y="192"/>
                      <a:pt x="461" y="192"/>
                      <a:pt x="461" y="192"/>
                    </a:cubicBezTo>
                    <a:cubicBezTo>
                      <a:pt x="461" y="192"/>
                      <a:pt x="461" y="192"/>
                      <a:pt x="461" y="192"/>
                    </a:cubicBezTo>
                    <a:cubicBezTo>
                      <a:pt x="461" y="192"/>
                      <a:pt x="461" y="192"/>
                      <a:pt x="461" y="192"/>
                    </a:cubicBezTo>
                    <a:cubicBezTo>
                      <a:pt x="460" y="200"/>
                      <a:pt x="447" y="332"/>
                      <a:pt x="428" y="538"/>
                    </a:cubicBezTo>
                    <a:cubicBezTo>
                      <a:pt x="286" y="463"/>
                      <a:pt x="143" y="397"/>
                      <a:pt x="1" y="339"/>
                    </a:cubicBezTo>
                    <a:cubicBezTo>
                      <a:pt x="1" y="339"/>
                      <a:pt x="1" y="339"/>
                      <a:pt x="1" y="338"/>
                    </a:cubicBezTo>
                    <a:close/>
                  </a:path>
                </a:pathLst>
              </a:custGeom>
              <a:solidFill>
                <a:srgbClr val="F0EF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6" name="ïṥliḋé"/>
              <p:cNvSpPr/>
              <p:nvPr/>
            </p:nvSpPr>
            <p:spPr bwMode="auto">
              <a:xfrm>
                <a:off x="5216" y="1474"/>
                <a:ext cx="605" cy="220"/>
              </a:xfrm>
              <a:custGeom>
                <a:avLst/>
                <a:gdLst>
                  <a:gd name="T0" fmla="*/ 1925 w 1988"/>
                  <a:gd name="T1" fmla="*/ 727 h 727"/>
                  <a:gd name="T2" fmla="*/ 84 w 1988"/>
                  <a:gd name="T3" fmla="*/ 375 h 727"/>
                  <a:gd name="T4" fmla="*/ 0 w 1988"/>
                  <a:gd name="T5" fmla="*/ 375 h 727"/>
                  <a:gd name="T6" fmla="*/ 0 w 1988"/>
                  <a:gd name="T7" fmla="*/ 11 h 727"/>
                  <a:gd name="T8" fmla="*/ 1988 w 1988"/>
                  <a:gd name="T9" fmla="*/ 389 h 727"/>
                  <a:gd name="T10" fmla="*/ 1987 w 1988"/>
                  <a:gd name="T11" fmla="*/ 389 h 727"/>
                  <a:gd name="T12" fmla="*/ 1987 w 1988"/>
                  <a:gd name="T13" fmla="*/ 389 h 727"/>
                  <a:gd name="T14" fmla="*/ 1925 w 1988"/>
                  <a:gd name="T15" fmla="*/ 727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8" h="727">
                    <a:moveTo>
                      <a:pt x="1925" y="727"/>
                    </a:moveTo>
                    <a:cubicBezTo>
                      <a:pt x="1285" y="466"/>
                      <a:pt x="655" y="374"/>
                      <a:pt x="84" y="375"/>
                    </a:cubicBezTo>
                    <a:cubicBezTo>
                      <a:pt x="56" y="375"/>
                      <a:pt x="28" y="375"/>
                      <a:pt x="0" y="375"/>
                    </a:cubicBezTo>
                    <a:cubicBezTo>
                      <a:pt x="0" y="11"/>
                      <a:pt x="0" y="11"/>
                      <a:pt x="0" y="11"/>
                    </a:cubicBezTo>
                    <a:cubicBezTo>
                      <a:pt x="612" y="0"/>
                      <a:pt x="1295" y="94"/>
                      <a:pt x="1988" y="389"/>
                    </a:cubicBezTo>
                    <a:cubicBezTo>
                      <a:pt x="1987" y="389"/>
                      <a:pt x="1987" y="389"/>
                      <a:pt x="1987" y="389"/>
                    </a:cubicBezTo>
                    <a:cubicBezTo>
                      <a:pt x="1987" y="389"/>
                      <a:pt x="1987" y="389"/>
                      <a:pt x="1987" y="389"/>
                    </a:cubicBezTo>
                    <a:cubicBezTo>
                      <a:pt x="1967" y="486"/>
                      <a:pt x="1946" y="599"/>
                      <a:pt x="1925" y="727"/>
                    </a:cubicBezTo>
                    <a:close/>
                  </a:path>
                </a:pathLst>
              </a:custGeom>
              <a:solidFill>
                <a:srgbClr val="EAEAE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7" name="îSlíḍé"/>
              <p:cNvSpPr/>
              <p:nvPr/>
            </p:nvSpPr>
            <p:spPr bwMode="auto">
              <a:xfrm>
                <a:off x="5802" y="1592"/>
                <a:ext cx="19" cy="102"/>
              </a:xfrm>
              <a:custGeom>
                <a:avLst/>
                <a:gdLst>
                  <a:gd name="T0" fmla="*/ 0 w 62"/>
                  <a:gd name="T1" fmla="*/ 338 h 338"/>
                  <a:gd name="T2" fmla="*/ 62 w 62"/>
                  <a:gd name="T3" fmla="*/ 0 h 338"/>
                  <a:gd name="T4" fmla="*/ 62 w 62"/>
                  <a:gd name="T5" fmla="*/ 0 h 338"/>
                  <a:gd name="T6" fmla="*/ 1 w 62"/>
                  <a:gd name="T7" fmla="*/ 338 h 338"/>
                  <a:gd name="T8" fmla="*/ 0 w 62"/>
                  <a:gd name="T9" fmla="*/ 338 h 338"/>
                </a:gdLst>
                <a:ahLst/>
                <a:cxnLst>
                  <a:cxn ang="0">
                    <a:pos x="T0" y="T1"/>
                  </a:cxn>
                  <a:cxn ang="0">
                    <a:pos x="T2" y="T3"/>
                  </a:cxn>
                  <a:cxn ang="0">
                    <a:pos x="T4" y="T5"/>
                  </a:cxn>
                  <a:cxn ang="0">
                    <a:pos x="T6" y="T7"/>
                  </a:cxn>
                  <a:cxn ang="0">
                    <a:pos x="T8" y="T9"/>
                  </a:cxn>
                </a:cxnLst>
                <a:rect l="0" t="0" r="r" b="b"/>
                <a:pathLst>
                  <a:path w="62" h="338">
                    <a:moveTo>
                      <a:pt x="0" y="338"/>
                    </a:moveTo>
                    <a:cubicBezTo>
                      <a:pt x="21" y="210"/>
                      <a:pt x="42" y="97"/>
                      <a:pt x="62" y="0"/>
                    </a:cubicBezTo>
                    <a:cubicBezTo>
                      <a:pt x="62" y="0"/>
                      <a:pt x="62" y="0"/>
                      <a:pt x="62" y="0"/>
                    </a:cubicBezTo>
                    <a:cubicBezTo>
                      <a:pt x="43" y="98"/>
                      <a:pt x="22" y="210"/>
                      <a:pt x="1" y="338"/>
                    </a:cubicBezTo>
                    <a:cubicBezTo>
                      <a:pt x="0" y="338"/>
                      <a:pt x="0" y="338"/>
                      <a:pt x="0" y="338"/>
                    </a:cubicBezTo>
                    <a:close/>
                  </a:path>
                </a:pathLst>
              </a:custGeom>
              <a:solidFill>
                <a:srgbClr val="EAEAE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8" name="iśľîḓe"/>
              <p:cNvSpPr/>
              <p:nvPr/>
            </p:nvSpPr>
            <p:spPr bwMode="auto">
              <a:xfrm>
                <a:off x="5745" y="2250"/>
                <a:ext cx="153" cy="134"/>
              </a:xfrm>
              <a:custGeom>
                <a:avLst/>
                <a:gdLst>
                  <a:gd name="T0" fmla="*/ 504 w 504"/>
                  <a:gd name="T1" fmla="*/ 0 h 439"/>
                  <a:gd name="T2" fmla="*/ 496 w 504"/>
                  <a:gd name="T3" fmla="*/ 439 h 439"/>
                  <a:gd name="T4" fmla="*/ 0 w 504"/>
                  <a:gd name="T5" fmla="*/ 439 h 439"/>
                  <a:gd name="T6" fmla="*/ 12 w 504"/>
                  <a:gd name="T7" fmla="*/ 0 h 439"/>
                  <a:gd name="T8" fmla="*/ 504 w 504"/>
                  <a:gd name="T9" fmla="*/ 0 h 439"/>
                </a:gdLst>
                <a:ahLst/>
                <a:cxnLst>
                  <a:cxn ang="0">
                    <a:pos x="T0" y="T1"/>
                  </a:cxn>
                  <a:cxn ang="0">
                    <a:pos x="T2" y="T3"/>
                  </a:cxn>
                  <a:cxn ang="0">
                    <a:pos x="T4" y="T5"/>
                  </a:cxn>
                  <a:cxn ang="0">
                    <a:pos x="T6" y="T7"/>
                  </a:cxn>
                  <a:cxn ang="0">
                    <a:pos x="T8" y="T9"/>
                  </a:cxn>
                </a:cxnLst>
                <a:rect l="0" t="0" r="r" b="b"/>
                <a:pathLst>
                  <a:path w="504" h="439">
                    <a:moveTo>
                      <a:pt x="504" y="0"/>
                    </a:moveTo>
                    <a:cubicBezTo>
                      <a:pt x="499" y="152"/>
                      <a:pt x="496" y="300"/>
                      <a:pt x="496" y="439"/>
                    </a:cubicBezTo>
                    <a:cubicBezTo>
                      <a:pt x="0" y="439"/>
                      <a:pt x="0" y="439"/>
                      <a:pt x="0" y="439"/>
                    </a:cubicBezTo>
                    <a:cubicBezTo>
                      <a:pt x="3" y="287"/>
                      <a:pt x="7" y="141"/>
                      <a:pt x="12" y="0"/>
                    </a:cubicBezTo>
                    <a:lnTo>
                      <a:pt x="504" y="0"/>
                    </a:lnTo>
                    <a:close/>
                  </a:path>
                </a:pathLst>
              </a:custGeom>
              <a:solidFill>
                <a:srgbClr val="AC3B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9" name="ïṣḻîďé"/>
              <p:cNvSpPr/>
              <p:nvPr/>
            </p:nvSpPr>
            <p:spPr bwMode="auto">
              <a:xfrm>
                <a:off x="5749" y="1695"/>
                <a:ext cx="183" cy="555"/>
              </a:xfrm>
              <a:custGeom>
                <a:avLst/>
                <a:gdLst>
                  <a:gd name="T0" fmla="*/ 174 w 601"/>
                  <a:gd name="T1" fmla="*/ 0 h 1830"/>
                  <a:gd name="T2" fmla="*/ 601 w 601"/>
                  <a:gd name="T3" fmla="*/ 199 h 1830"/>
                  <a:gd name="T4" fmla="*/ 492 w 601"/>
                  <a:gd name="T5" fmla="*/ 1830 h 1830"/>
                  <a:gd name="T6" fmla="*/ 0 w 601"/>
                  <a:gd name="T7" fmla="*/ 1830 h 1830"/>
                  <a:gd name="T8" fmla="*/ 174 w 601"/>
                  <a:gd name="T9" fmla="*/ 0 h 1830"/>
                </a:gdLst>
                <a:ahLst/>
                <a:cxnLst>
                  <a:cxn ang="0">
                    <a:pos x="T0" y="T1"/>
                  </a:cxn>
                  <a:cxn ang="0">
                    <a:pos x="T2" y="T3"/>
                  </a:cxn>
                  <a:cxn ang="0">
                    <a:pos x="T4" y="T5"/>
                  </a:cxn>
                  <a:cxn ang="0">
                    <a:pos x="T6" y="T7"/>
                  </a:cxn>
                  <a:cxn ang="0">
                    <a:pos x="T8" y="T9"/>
                  </a:cxn>
                </a:cxnLst>
                <a:rect l="0" t="0" r="r" b="b"/>
                <a:pathLst>
                  <a:path w="601" h="1830">
                    <a:moveTo>
                      <a:pt x="174" y="0"/>
                    </a:moveTo>
                    <a:cubicBezTo>
                      <a:pt x="316" y="58"/>
                      <a:pt x="459" y="124"/>
                      <a:pt x="601" y="199"/>
                    </a:cubicBezTo>
                    <a:cubicBezTo>
                      <a:pt x="565" y="586"/>
                      <a:pt x="512" y="1237"/>
                      <a:pt x="492" y="1830"/>
                    </a:cubicBezTo>
                    <a:cubicBezTo>
                      <a:pt x="0" y="1830"/>
                      <a:pt x="0" y="1830"/>
                      <a:pt x="0" y="1830"/>
                    </a:cubicBezTo>
                    <a:cubicBezTo>
                      <a:pt x="30" y="1042"/>
                      <a:pt x="103" y="433"/>
                      <a:pt x="174" y="0"/>
                    </a:cubicBezTo>
                    <a:close/>
                  </a:path>
                </a:pathLst>
              </a:custGeom>
              <a:solidFill>
                <a:srgbClr val="56799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0" name="iŝľîḓê"/>
              <p:cNvSpPr/>
              <p:nvPr/>
            </p:nvSpPr>
            <p:spPr bwMode="auto">
              <a:xfrm>
                <a:off x="5216" y="2250"/>
                <a:ext cx="533" cy="134"/>
              </a:xfrm>
              <a:custGeom>
                <a:avLst/>
                <a:gdLst>
                  <a:gd name="T0" fmla="*/ 1751 w 1751"/>
                  <a:gd name="T1" fmla="*/ 0 h 439"/>
                  <a:gd name="T2" fmla="*/ 1739 w 1751"/>
                  <a:gd name="T3" fmla="*/ 439 h 439"/>
                  <a:gd name="T4" fmla="*/ 951 w 1751"/>
                  <a:gd name="T5" fmla="*/ 439 h 439"/>
                  <a:gd name="T6" fmla="*/ 0 w 1751"/>
                  <a:gd name="T7" fmla="*/ 439 h 439"/>
                  <a:gd name="T8" fmla="*/ 0 w 1751"/>
                  <a:gd name="T9" fmla="*/ 0 h 439"/>
                  <a:gd name="T10" fmla="*/ 1751 w 1751"/>
                  <a:gd name="T11" fmla="*/ 0 h 439"/>
                </a:gdLst>
                <a:ahLst/>
                <a:cxnLst>
                  <a:cxn ang="0">
                    <a:pos x="T0" y="T1"/>
                  </a:cxn>
                  <a:cxn ang="0">
                    <a:pos x="T2" y="T3"/>
                  </a:cxn>
                  <a:cxn ang="0">
                    <a:pos x="T4" y="T5"/>
                  </a:cxn>
                  <a:cxn ang="0">
                    <a:pos x="T6" y="T7"/>
                  </a:cxn>
                  <a:cxn ang="0">
                    <a:pos x="T8" y="T9"/>
                  </a:cxn>
                  <a:cxn ang="0">
                    <a:pos x="T10" y="T11"/>
                  </a:cxn>
                </a:cxnLst>
                <a:rect l="0" t="0" r="r" b="b"/>
                <a:pathLst>
                  <a:path w="1751" h="439">
                    <a:moveTo>
                      <a:pt x="1751" y="0"/>
                    </a:moveTo>
                    <a:cubicBezTo>
                      <a:pt x="1746" y="141"/>
                      <a:pt x="1742" y="287"/>
                      <a:pt x="1739" y="439"/>
                    </a:cubicBezTo>
                    <a:cubicBezTo>
                      <a:pt x="951" y="439"/>
                      <a:pt x="951" y="439"/>
                      <a:pt x="951" y="439"/>
                    </a:cubicBezTo>
                    <a:cubicBezTo>
                      <a:pt x="0" y="439"/>
                      <a:pt x="0" y="439"/>
                      <a:pt x="0" y="439"/>
                    </a:cubicBezTo>
                    <a:cubicBezTo>
                      <a:pt x="0" y="0"/>
                      <a:pt x="0" y="0"/>
                      <a:pt x="0" y="0"/>
                    </a:cubicBezTo>
                    <a:lnTo>
                      <a:pt x="1751" y="0"/>
                    </a:lnTo>
                    <a:close/>
                  </a:path>
                </a:pathLst>
              </a:custGeom>
              <a:solidFill>
                <a:srgbClr val="A2302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1" name="iṣ1iḋê"/>
              <p:cNvSpPr/>
              <p:nvPr/>
            </p:nvSpPr>
            <p:spPr bwMode="auto">
              <a:xfrm>
                <a:off x="5216" y="1587"/>
                <a:ext cx="585" cy="663"/>
              </a:xfrm>
              <a:custGeom>
                <a:avLst/>
                <a:gdLst>
                  <a:gd name="T0" fmla="*/ 84 w 1924"/>
                  <a:gd name="T1" fmla="*/ 1 h 2184"/>
                  <a:gd name="T2" fmla="*/ 1924 w 1924"/>
                  <a:gd name="T3" fmla="*/ 353 h 2184"/>
                  <a:gd name="T4" fmla="*/ 1924 w 1924"/>
                  <a:gd name="T5" fmla="*/ 353 h 2184"/>
                  <a:gd name="T6" fmla="*/ 1751 w 1924"/>
                  <a:gd name="T7" fmla="*/ 2184 h 2184"/>
                  <a:gd name="T8" fmla="*/ 0 w 1924"/>
                  <a:gd name="T9" fmla="*/ 2184 h 2184"/>
                  <a:gd name="T10" fmla="*/ 0 w 1924"/>
                  <a:gd name="T11" fmla="*/ 1 h 2184"/>
                  <a:gd name="T12" fmla="*/ 84 w 1924"/>
                  <a:gd name="T13" fmla="*/ 1 h 2184"/>
                </a:gdLst>
                <a:ahLst/>
                <a:cxnLst>
                  <a:cxn ang="0">
                    <a:pos x="T0" y="T1"/>
                  </a:cxn>
                  <a:cxn ang="0">
                    <a:pos x="T2" y="T3"/>
                  </a:cxn>
                  <a:cxn ang="0">
                    <a:pos x="T4" y="T5"/>
                  </a:cxn>
                  <a:cxn ang="0">
                    <a:pos x="T6" y="T7"/>
                  </a:cxn>
                  <a:cxn ang="0">
                    <a:pos x="T8" y="T9"/>
                  </a:cxn>
                  <a:cxn ang="0">
                    <a:pos x="T10" y="T11"/>
                  </a:cxn>
                  <a:cxn ang="0">
                    <a:pos x="T12" y="T13"/>
                  </a:cxn>
                </a:cxnLst>
                <a:rect l="0" t="0" r="r" b="b"/>
                <a:pathLst>
                  <a:path w="1924" h="2184">
                    <a:moveTo>
                      <a:pt x="84" y="1"/>
                    </a:moveTo>
                    <a:cubicBezTo>
                      <a:pt x="655" y="0"/>
                      <a:pt x="1285" y="92"/>
                      <a:pt x="1924" y="353"/>
                    </a:cubicBezTo>
                    <a:cubicBezTo>
                      <a:pt x="1924" y="353"/>
                      <a:pt x="1924" y="353"/>
                      <a:pt x="1924" y="353"/>
                    </a:cubicBezTo>
                    <a:cubicBezTo>
                      <a:pt x="1853" y="786"/>
                      <a:pt x="1780" y="1396"/>
                      <a:pt x="1751" y="2184"/>
                    </a:cubicBezTo>
                    <a:cubicBezTo>
                      <a:pt x="0" y="2184"/>
                      <a:pt x="0" y="2184"/>
                      <a:pt x="0" y="2184"/>
                    </a:cubicBezTo>
                    <a:cubicBezTo>
                      <a:pt x="0" y="1"/>
                      <a:pt x="0" y="1"/>
                      <a:pt x="0" y="1"/>
                    </a:cubicBezTo>
                    <a:cubicBezTo>
                      <a:pt x="28" y="1"/>
                      <a:pt x="56" y="1"/>
                      <a:pt x="84" y="1"/>
                    </a:cubicBezTo>
                    <a:close/>
                  </a:path>
                </a:pathLst>
              </a:custGeom>
              <a:solidFill>
                <a:srgbClr val="44658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2" name="îSľiḓè"/>
              <p:cNvSpPr/>
              <p:nvPr/>
            </p:nvSpPr>
            <p:spPr bwMode="auto">
              <a:xfrm>
                <a:off x="5801" y="1694"/>
                <a:ext cx="1" cy="1"/>
              </a:xfrm>
              <a:custGeom>
                <a:avLst/>
                <a:gdLst>
                  <a:gd name="T0" fmla="*/ 0 w 1"/>
                  <a:gd name="T1" fmla="*/ 0 h 1"/>
                  <a:gd name="T2" fmla="*/ 1 w 1"/>
                  <a:gd name="T3" fmla="*/ 0 h 1"/>
                  <a:gd name="T4" fmla="*/ 1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1" y="0"/>
                      <a:pt x="1" y="0"/>
                      <a:pt x="1" y="0"/>
                    </a:cubicBezTo>
                    <a:cubicBezTo>
                      <a:pt x="1" y="1"/>
                      <a:pt x="1" y="1"/>
                      <a:pt x="1" y="1"/>
                    </a:cubicBezTo>
                    <a:cubicBezTo>
                      <a:pt x="1" y="1"/>
                      <a:pt x="1" y="1"/>
                      <a:pt x="0" y="0"/>
                    </a:cubicBezTo>
                    <a:cubicBezTo>
                      <a:pt x="0" y="0"/>
                      <a:pt x="0" y="0"/>
                      <a:pt x="0" y="0"/>
                    </a:cubicBezTo>
                    <a:close/>
                  </a:path>
                </a:pathLst>
              </a:custGeom>
              <a:solidFill>
                <a:srgbClr val="44658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3" name="ïşḷíḋê"/>
              <p:cNvSpPr/>
              <p:nvPr/>
            </p:nvSpPr>
            <p:spPr bwMode="auto">
              <a:xfrm>
                <a:off x="5216" y="1588"/>
                <a:ext cx="26" cy="0"/>
              </a:xfrm>
              <a:custGeom>
                <a:avLst/>
                <a:gdLst>
                  <a:gd name="T0" fmla="*/ 84 w 84"/>
                  <a:gd name="T1" fmla="*/ 0 w 84"/>
                  <a:gd name="T2" fmla="*/ 84 w 84"/>
                </a:gdLst>
                <a:ahLst/>
                <a:cxnLst>
                  <a:cxn ang="0">
                    <a:pos x="T0" y="0"/>
                  </a:cxn>
                  <a:cxn ang="0">
                    <a:pos x="T1" y="0"/>
                  </a:cxn>
                  <a:cxn ang="0">
                    <a:pos x="T2" y="0"/>
                  </a:cxn>
                </a:cxnLst>
                <a:rect l="0" t="0" r="r" b="b"/>
                <a:pathLst>
                  <a:path w="84">
                    <a:moveTo>
                      <a:pt x="84" y="0"/>
                    </a:moveTo>
                    <a:cubicBezTo>
                      <a:pt x="56" y="0"/>
                      <a:pt x="28" y="0"/>
                      <a:pt x="0" y="0"/>
                    </a:cubicBezTo>
                    <a:cubicBezTo>
                      <a:pt x="28" y="0"/>
                      <a:pt x="56" y="0"/>
                      <a:pt x="84" y="0"/>
                    </a:cubicBezTo>
                    <a:close/>
                  </a:path>
                </a:pathLst>
              </a:custGeom>
              <a:solidFill>
                <a:srgbClr val="44658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4" name="íšlíḋè"/>
              <p:cNvSpPr/>
              <p:nvPr/>
            </p:nvSpPr>
            <p:spPr bwMode="auto">
              <a:xfrm>
                <a:off x="5749" y="1694"/>
                <a:ext cx="53" cy="556"/>
              </a:xfrm>
              <a:custGeom>
                <a:avLst/>
                <a:gdLst>
                  <a:gd name="T0" fmla="*/ 174 w 174"/>
                  <a:gd name="T1" fmla="*/ 1 h 1831"/>
                  <a:gd name="T2" fmla="*/ 0 w 174"/>
                  <a:gd name="T3" fmla="*/ 1831 h 1831"/>
                  <a:gd name="T4" fmla="*/ 0 w 174"/>
                  <a:gd name="T5" fmla="*/ 1831 h 1831"/>
                  <a:gd name="T6" fmla="*/ 173 w 174"/>
                  <a:gd name="T7" fmla="*/ 0 h 1831"/>
                  <a:gd name="T8" fmla="*/ 174 w 174"/>
                  <a:gd name="T9" fmla="*/ 1 h 1831"/>
                </a:gdLst>
                <a:ahLst/>
                <a:cxnLst>
                  <a:cxn ang="0">
                    <a:pos x="T0" y="T1"/>
                  </a:cxn>
                  <a:cxn ang="0">
                    <a:pos x="T2" y="T3"/>
                  </a:cxn>
                  <a:cxn ang="0">
                    <a:pos x="T4" y="T5"/>
                  </a:cxn>
                  <a:cxn ang="0">
                    <a:pos x="T6" y="T7"/>
                  </a:cxn>
                  <a:cxn ang="0">
                    <a:pos x="T8" y="T9"/>
                  </a:cxn>
                </a:cxnLst>
                <a:rect l="0" t="0" r="r" b="b"/>
                <a:pathLst>
                  <a:path w="174" h="1831">
                    <a:moveTo>
                      <a:pt x="174" y="1"/>
                    </a:moveTo>
                    <a:cubicBezTo>
                      <a:pt x="103" y="434"/>
                      <a:pt x="30" y="1043"/>
                      <a:pt x="0" y="1831"/>
                    </a:cubicBezTo>
                    <a:cubicBezTo>
                      <a:pt x="0" y="1831"/>
                      <a:pt x="0" y="1831"/>
                      <a:pt x="0" y="1831"/>
                    </a:cubicBezTo>
                    <a:cubicBezTo>
                      <a:pt x="29" y="1043"/>
                      <a:pt x="102" y="433"/>
                      <a:pt x="173" y="0"/>
                    </a:cubicBezTo>
                    <a:cubicBezTo>
                      <a:pt x="174" y="1"/>
                      <a:pt x="174" y="1"/>
                      <a:pt x="174" y="1"/>
                    </a:cubicBezTo>
                    <a:close/>
                  </a:path>
                </a:pathLst>
              </a:custGeom>
              <a:solidFill>
                <a:srgbClr val="44658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5" name="í$ḷîḋè"/>
              <p:cNvSpPr/>
              <p:nvPr/>
            </p:nvSpPr>
            <p:spPr bwMode="auto">
              <a:xfrm>
                <a:off x="5745" y="2250"/>
                <a:ext cx="4" cy="134"/>
              </a:xfrm>
              <a:custGeom>
                <a:avLst/>
                <a:gdLst>
                  <a:gd name="T0" fmla="*/ 12 w 12"/>
                  <a:gd name="T1" fmla="*/ 0 h 439"/>
                  <a:gd name="T2" fmla="*/ 0 w 12"/>
                  <a:gd name="T3" fmla="*/ 439 h 439"/>
                  <a:gd name="T4" fmla="*/ 12 w 12"/>
                  <a:gd name="T5" fmla="*/ 0 h 439"/>
                </a:gdLst>
                <a:ahLst/>
                <a:cxnLst>
                  <a:cxn ang="0">
                    <a:pos x="T0" y="T1"/>
                  </a:cxn>
                  <a:cxn ang="0">
                    <a:pos x="T2" y="T3"/>
                  </a:cxn>
                  <a:cxn ang="0">
                    <a:pos x="T4" y="T5"/>
                  </a:cxn>
                </a:cxnLst>
                <a:rect l="0" t="0" r="r" b="b"/>
                <a:pathLst>
                  <a:path w="12" h="439">
                    <a:moveTo>
                      <a:pt x="12" y="0"/>
                    </a:moveTo>
                    <a:cubicBezTo>
                      <a:pt x="7" y="141"/>
                      <a:pt x="3" y="287"/>
                      <a:pt x="0" y="439"/>
                    </a:cubicBezTo>
                    <a:cubicBezTo>
                      <a:pt x="3" y="287"/>
                      <a:pt x="7" y="141"/>
                      <a:pt x="12" y="0"/>
                    </a:cubicBezTo>
                    <a:close/>
                  </a:path>
                </a:pathLst>
              </a:custGeom>
              <a:solidFill>
                <a:srgbClr val="982725"/>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6" name="íslíḋê"/>
              <p:cNvSpPr/>
              <p:nvPr/>
            </p:nvSpPr>
            <p:spPr bwMode="auto">
              <a:xfrm>
                <a:off x="5307" y="1695"/>
                <a:ext cx="277" cy="278"/>
              </a:xfrm>
              <a:custGeom>
                <a:avLst/>
                <a:gdLst>
                  <a:gd name="T0" fmla="*/ 277 w 277"/>
                  <a:gd name="T1" fmla="*/ 38 h 278"/>
                  <a:gd name="T2" fmla="*/ 43 w 277"/>
                  <a:gd name="T3" fmla="*/ 0 h 278"/>
                  <a:gd name="T4" fmla="*/ 0 w 277"/>
                  <a:gd name="T5" fmla="*/ 278 h 278"/>
                  <a:gd name="T6" fmla="*/ 182 w 277"/>
                  <a:gd name="T7" fmla="*/ 278 h 278"/>
                  <a:gd name="T8" fmla="*/ 277 w 277"/>
                  <a:gd name="T9" fmla="*/ 42 h 278"/>
                  <a:gd name="T10" fmla="*/ 277 w 277"/>
                  <a:gd name="T11" fmla="*/ 38 h 278"/>
                </a:gdLst>
                <a:ahLst/>
                <a:cxnLst>
                  <a:cxn ang="0">
                    <a:pos x="T0" y="T1"/>
                  </a:cxn>
                  <a:cxn ang="0">
                    <a:pos x="T2" y="T3"/>
                  </a:cxn>
                  <a:cxn ang="0">
                    <a:pos x="T4" y="T5"/>
                  </a:cxn>
                  <a:cxn ang="0">
                    <a:pos x="T6" y="T7"/>
                  </a:cxn>
                  <a:cxn ang="0">
                    <a:pos x="T8" y="T9"/>
                  </a:cxn>
                  <a:cxn ang="0">
                    <a:pos x="T10" y="T11"/>
                  </a:cxn>
                </a:cxnLst>
                <a:rect l="0" t="0" r="r" b="b"/>
                <a:pathLst>
                  <a:path w="277" h="278">
                    <a:moveTo>
                      <a:pt x="277" y="38"/>
                    </a:moveTo>
                    <a:lnTo>
                      <a:pt x="43" y="0"/>
                    </a:lnTo>
                    <a:lnTo>
                      <a:pt x="0" y="278"/>
                    </a:lnTo>
                    <a:lnTo>
                      <a:pt x="182" y="278"/>
                    </a:lnTo>
                    <a:lnTo>
                      <a:pt x="277" y="42"/>
                    </a:lnTo>
                    <a:lnTo>
                      <a:pt x="277" y="38"/>
                    </a:lnTo>
                    <a:close/>
                  </a:path>
                </a:pathLst>
              </a:custGeom>
              <a:solidFill>
                <a:srgbClr val="2A405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7" name="íš1îḓé"/>
              <p:cNvSpPr/>
              <p:nvPr/>
            </p:nvSpPr>
            <p:spPr bwMode="auto">
              <a:xfrm>
                <a:off x="5307" y="1695"/>
                <a:ext cx="277" cy="278"/>
              </a:xfrm>
              <a:custGeom>
                <a:avLst/>
                <a:gdLst>
                  <a:gd name="T0" fmla="*/ 277 w 277"/>
                  <a:gd name="T1" fmla="*/ 38 h 278"/>
                  <a:gd name="T2" fmla="*/ 43 w 277"/>
                  <a:gd name="T3" fmla="*/ 0 h 278"/>
                  <a:gd name="T4" fmla="*/ 0 w 277"/>
                  <a:gd name="T5" fmla="*/ 278 h 278"/>
                  <a:gd name="T6" fmla="*/ 182 w 277"/>
                  <a:gd name="T7" fmla="*/ 278 h 278"/>
                  <a:gd name="T8" fmla="*/ 277 w 277"/>
                  <a:gd name="T9" fmla="*/ 42 h 278"/>
                </a:gdLst>
                <a:ahLst/>
                <a:cxnLst>
                  <a:cxn ang="0">
                    <a:pos x="T0" y="T1"/>
                  </a:cxn>
                  <a:cxn ang="0">
                    <a:pos x="T2" y="T3"/>
                  </a:cxn>
                  <a:cxn ang="0">
                    <a:pos x="T4" y="T5"/>
                  </a:cxn>
                  <a:cxn ang="0">
                    <a:pos x="T6" y="T7"/>
                  </a:cxn>
                  <a:cxn ang="0">
                    <a:pos x="T8" y="T9"/>
                  </a:cxn>
                </a:cxnLst>
                <a:rect l="0" t="0" r="r" b="b"/>
                <a:pathLst>
                  <a:path w="277" h="278">
                    <a:moveTo>
                      <a:pt x="277" y="38"/>
                    </a:moveTo>
                    <a:lnTo>
                      <a:pt x="43" y="0"/>
                    </a:lnTo>
                    <a:lnTo>
                      <a:pt x="0" y="278"/>
                    </a:lnTo>
                    <a:lnTo>
                      <a:pt x="182" y="278"/>
                    </a:lnTo>
                    <a:lnTo>
                      <a:pt x="277"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8" name="îṣḻíḓê"/>
              <p:cNvSpPr/>
              <p:nvPr/>
            </p:nvSpPr>
            <p:spPr bwMode="auto">
              <a:xfrm>
                <a:off x="4847" y="1695"/>
                <a:ext cx="277" cy="278"/>
              </a:xfrm>
              <a:custGeom>
                <a:avLst/>
                <a:gdLst>
                  <a:gd name="T0" fmla="*/ 0 w 277"/>
                  <a:gd name="T1" fmla="*/ 38 h 278"/>
                  <a:gd name="T2" fmla="*/ 234 w 277"/>
                  <a:gd name="T3" fmla="*/ 0 h 278"/>
                  <a:gd name="T4" fmla="*/ 277 w 277"/>
                  <a:gd name="T5" fmla="*/ 278 h 278"/>
                  <a:gd name="T6" fmla="*/ 95 w 277"/>
                  <a:gd name="T7" fmla="*/ 278 h 278"/>
                  <a:gd name="T8" fmla="*/ 0 w 277"/>
                  <a:gd name="T9" fmla="*/ 42 h 278"/>
                  <a:gd name="T10" fmla="*/ 0 w 277"/>
                  <a:gd name="T11" fmla="*/ 38 h 278"/>
                </a:gdLst>
                <a:ahLst/>
                <a:cxnLst>
                  <a:cxn ang="0">
                    <a:pos x="T0" y="T1"/>
                  </a:cxn>
                  <a:cxn ang="0">
                    <a:pos x="T2" y="T3"/>
                  </a:cxn>
                  <a:cxn ang="0">
                    <a:pos x="T4" y="T5"/>
                  </a:cxn>
                  <a:cxn ang="0">
                    <a:pos x="T6" y="T7"/>
                  </a:cxn>
                  <a:cxn ang="0">
                    <a:pos x="T8" y="T9"/>
                  </a:cxn>
                  <a:cxn ang="0">
                    <a:pos x="T10" y="T11"/>
                  </a:cxn>
                </a:cxnLst>
                <a:rect l="0" t="0" r="r" b="b"/>
                <a:pathLst>
                  <a:path w="277" h="278">
                    <a:moveTo>
                      <a:pt x="0" y="38"/>
                    </a:moveTo>
                    <a:lnTo>
                      <a:pt x="234" y="0"/>
                    </a:lnTo>
                    <a:lnTo>
                      <a:pt x="277" y="278"/>
                    </a:lnTo>
                    <a:lnTo>
                      <a:pt x="95" y="278"/>
                    </a:lnTo>
                    <a:lnTo>
                      <a:pt x="0" y="42"/>
                    </a:lnTo>
                    <a:lnTo>
                      <a:pt x="0" y="38"/>
                    </a:lnTo>
                    <a:close/>
                  </a:path>
                </a:pathLst>
              </a:custGeom>
              <a:solidFill>
                <a:srgbClr val="2A405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9" name="ïŝľíḋê"/>
              <p:cNvSpPr/>
              <p:nvPr/>
            </p:nvSpPr>
            <p:spPr bwMode="auto">
              <a:xfrm>
                <a:off x="4847" y="1695"/>
                <a:ext cx="277" cy="278"/>
              </a:xfrm>
              <a:custGeom>
                <a:avLst/>
                <a:gdLst>
                  <a:gd name="T0" fmla="*/ 0 w 277"/>
                  <a:gd name="T1" fmla="*/ 38 h 278"/>
                  <a:gd name="T2" fmla="*/ 234 w 277"/>
                  <a:gd name="T3" fmla="*/ 0 h 278"/>
                  <a:gd name="T4" fmla="*/ 277 w 277"/>
                  <a:gd name="T5" fmla="*/ 278 h 278"/>
                  <a:gd name="T6" fmla="*/ 95 w 277"/>
                  <a:gd name="T7" fmla="*/ 278 h 278"/>
                  <a:gd name="T8" fmla="*/ 0 w 277"/>
                  <a:gd name="T9" fmla="*/ 42 h 278"/>
                </a:gdLst>
                <a:ahLst/>
                <a:cxnLst>
                  <a:cxn ang="0">
                    <a:pos x="T0" y="T1"/>
                  </a:cxn>
                  <a:cxn ang="0">
                    <a:pos x="T2" y="T3"/>
                  </a:cxn>
                  <a:cxn ang="0">
                    <a:pos x="T4" y="T5"/>
                  </a:cxn>
                  <a:cxn ang="0">
                    <a:pos x="T6" y="T7"/>
                  </a:cxn>
                  <a:cxn ang="0">
                    <a:pos x="T8" y="T9"/>
                  </a:cxn>
                </a:cxnLst>
                <a:rect l="0" t="0" r="r" b="b"/>
                <a:pathLst>
                  <a:path w="277" h="278">
                    <a:moveTo>
                      <a:pt x="0" y="38"/>
                    </a:moveTo>
                    <a:lnTo>
                      <a:pt x="234" y="0"/>
                    </a:lnTo>
                    <a:lnTo>
                      <a:pt x="277" y="278"/>
                    </a:lnTo>
                    <a:lnTo>
                      <a:pt x="95" y="27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0" name="îŝľîḓe"/>
              <p:cNvSpPr/>
              <p:nvPr/>
            </p:nvSpPr>
            <p:spPr bwMode="auto">
              <a:xfrm>
                <a:off x="4965" y="1760"/>
                <a:ext cx="54" cy="54"/>
              </a:xfrm>
              <a:custGeom>
                <a:avLst/>
                <a:gdLst>
                  <a:gd name="T0" fmla="*/ 10 w 178"/>
                  <a:gd name="T1" fmla="*/ 106 h 177"/>
                  <a:gd name="T2" fmla="*/ 106 w 178"/>
                  <a:gd name="T3" fmla="*/ 168 h 177"/>
                  <a:gd name="T4" fmla="*/ 168 w 178"/>
                  <a:gd name="T5" fmla="*/ 71 h 177"/>
                  <a:gd name="T6" fmla="*/ 71 w 178"/>
                  <a:gd name="T7" fmla="*/ 10 h 177"/>
                  <a:gd name="T8" fmla="*/ 10 w 178"/>
                  <a:gd name="T9" fmla="*/ 106 h 177"/>
                  <a:gd name="T10" fmla="*/ 45 w 178"/>
                  <a:gd name="T11" fmla="*/ 98 h 177"/>
                  <a:gd name="T12" fmla="*/ 79 w 178"/>
                  <a:gd name="T13" fmla="*/ 45 h 177"/>
                  <a:gd name="T14" fmla="*/ 133 w 178"/>
                  <a:gd name="T15" fmla="*/ 79 h 177"/>
                  <a:gd name="T16" fmla="*/ 99 w 178"/>
                  <a:gd name="T17" fmla="*/ 132 h 177"/>
                  <a:gd name="T18" fmla="*/ 45 w 178"/>
                  <a:gd name="T19" fmla="*/ 9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177">
                    <a:moveTo>
                      <a:pt x="10" y="106"/>
                    </a:moveTo>
                    <a:cubicBezTo>
                      <a:pt x="20" y="150"/>
                      <a:pt x="63" y="177"/>
                      <a:pt x="106" y="168"/>
                    </a:cubicBezTo>
                    <a:cubicBezTo>
                      <a:pt x="150" y="158"/>
                      <a:pt x="178" y="115"/>
                      <a:pt x="168" y="71"/>
                    </a:cubicBezTo>
                    <a:cubicBezTo>
                      <a:pt x="158" y="28"/>
                      <a:pt x="115" y="0"/>
                      <a:pt x="71" y="10"/>
                    </a:cubicBezTo>
                    <a:cubicBezTo>
                      <a:pt x="28" y="19"/>
                      <a:pt x="0" y="63"/>
                      <a:pt x="10" y="106"/>
                    </a:cubicBezTo>
                    <a:close/>
                    <a:moveTo>
                      <a:pt x="45" y="98"/>
                    </a:moveTo>
                    <a:cubicBezTo>
                      <a:pt x="40" y="74"/>
                      <a:pt x="55" y="50"/>
                      <a:pt x="79" y="45"/>
                    </a:cubicBezTo>
                    <a:cubicBezTo>
                      <a:pt x="103" y="40"/>
                      <a:pt x="127" y="55"/>
                      <a:pt x="133" y="79"/>
                    </a:cubicBezTo>
                    <a:cubicBezTo>
                      <a:pt x="138" y="103"/>
                      <a:pt x="123" y="127"/>
                      <a:pt x="99" y="132"/>
                    </a:cubicBezTo>
                    <a:cubicBezTo>
                      <a:pt x="74" y="138"/>
                      <a:pt x="51" y="123"/>
                      <a:pt x="45" y="98"/>
                    </a:cubicBezTo>
                    <a:close/>
                  </a:path>
                </a:pathLst>
              </a:custGeom>
              <a:solidFill>
                <a:srgbClr val="E1DFD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1" name="iSḻïďé"/>
              <p:cNvSpPr/>
              <p:nvPr/>
            </p:nvSpPr>
            <p:spPr bwMode="auto">
              <a:xfrm>
                <a:off x="4988" y="1804"/>
                <a:ext cx="40" cy="115"/>
              </a:xfrm>
              <a:custGeom>
                <a:avLst/>
                <a:gdLst>
                  <a:gd name="T0" fmla="*/ 25 w 40"/>
                  <a:gd name="T1" fmla="*/ 115 h 115"/>
                  <a:gd name="T2" fmla="*/ 40 w 40"/>
                  <a:gd name="T3" fmla="*/ 111 h 115"/>
                  <a:gd name="T4" fmla="*/ 16 w 40"/>
                  <a:gd name="T5" fmla="*/ 0 h 115"/>
                  <a:gd name="T6" fmla="*/ 0 w 40"/>
                  <a:gd name="T7" fmla="*/ 4 h 115"/>
                  <a:gd name="T8" fmla="*/ 25 w 40"/>
                  <a:gd name="T9" fmla="*/ 115 h 115"/>
                </a:gdLst>
                <a:ahLst/>
                <a:cxnLst>
                  <a:cxn ang="0">
                    <a:pos x="T0" y="T1"/>
                  </a:cxn>
                  <a:cxn ang="0">
                    <a:pos x="T2" y="T3"/>
                  </a:cxn>
                  <a:cxn ang="0">
                    <a:pos x="T4" y="T5"/>
                  </a:cxn>
                  <a:cxn ang="0">
                    <a:pos x="T6" y="T7"/>
                  </a:cxn>
                  <a:cxn ang="0">
                    <a:pos x="T8" y="T9"/>
                  </a:cxn>
                </a:cxnLst>
                <a:rect l="0" t="0" r="r" b="b"/>
                <a:pathLst>
                  <a:path w="40" h="115">
                    <a:moveTo>
                      <a:pt x="25" y="115"/>
                    </a:moveTo>
                    <a:lnTo>
                      <a:pt x="40" y="111"/>
                    </a:lnTo>
                    <a:lnTo>
                      <a:pt x="16" y="0"/>
                    </a:lnTo>
                    <a:lnTo>
                      <a:pt x="0" y="4"/>
                    </a:lnTo>
                    <a:lnTo>
                      <a:pt x="25" y="115"/>
                    </a:lnTo>
                    <a:close/>
                  </a:path>
                </a:pathLst>
              </a:custGeom>
              <a:solidFill>
                <a:srgbClr val="E1DFD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2" name="iṣḷïďè"/>
              <p:cNvSpPr/>
              <p:nvPr/>
            </p:nvSpPr>
            <p:spPr bwMode="auto">
              <a:xfrm>
                <a:off x="5018" y="1831"/>
                <a:ext cx="61" cy="94"/>
              </a:xfrm>
              <a:custGeom>
                <a:avLst/>
                <a:gdLst>
                  <a:gd name="T0" fmla="*/ 6 w 199"/>
                  <a:gd name="T1" fmla="*/ 308 h 308"/>
                  <a:gd name="T2" fmla="*/ 158 w 199"/>
                  <a:gd name="T3" fmla="*/ 203 h 308"/>
                  <a:gd name="T4" fmla="*/ 139 w 199"/>
                  <a:gd name="T5" fmla="*/ 0 h 308"/>
                  <a:gd name="T6" fmla="*/ 113 w 199"/>
                  <a:gd name="T7" fmla="*/ 14 h 308"/>
                  <a:gd name="T8" fmla="*/ 126 w 199"/>
                  <a:gd name="T9" fmla="*/ 7 h 308"/>
                  <a:gd name="T10" fmla="*/ 113 w 199"/>
                  <a:gd name="T11" fmla="*/ 14 h 308"/>
                  <a:gd name="T12" fmla="*/ 131 w 199"/>
                  <a:gd name="T13" fmla="*/ 191 h 308"/>
                  <a:gd name="T14" fmla="*/ 0 w 199"/>
                  <a:gd name="T15" fmla="*/ 279 h 308"/>
                  <a:gd name="T16" fmla="*/ 6 w 199"/>
                  <a:gd name="T1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308">
                    <a:moveTo>
                      <a:pt x="6" y="308"/>
                    </a:moveTo>
                    <a:cubicBezTo>
                      <a:pt x="84" y="290"/>
                      <a:pt x="135" y="255"/>
                      <a:pt x="158" y="203"/>
                    </a:cubicBezTo>
                    <a:cubicBezTo>
                      <a:pt x="199" y="112"/>
                      <a:pt x="141" y="5"/>
                      <a:pt x="139" y="0"/>
                    </a:cubicBezTo>
                    <a:cubicBezTo>
                      <a:pt x="113" y="14"/>
                      <a:pt x="113" y="14"/>
                      <a:pt x="113" y="14"/>
                    </a:cubicBezTo>
                    <a:cubicBezTo>
                      <a:pt x="126" y="7"/>
                      <a:pt x="126" y="7"/>
                      <a:pt x="126" y="7"/>
                    </a:cubicBezTo>
                    <a:cubicBezTo>
                      <a:pt x="113" y="14"/>
                      <a:pt x="113" y="14"/>
                      <a:pt x="113" y="14"/>
                    </a:cubicBezTo>
                    <a:cubicBezTo>
                      <a:pt x="114" y="15"/>
                      <a:pt x="166" y="114"/>
                      <a:pt x="131" y="191"/>
                    </a:cubicBezTo>
                    <a:cubicBezTo>
                      <a:pt x="112" y="234"/>
                      <a:pt x="68" y="264"/>
                      <a:pt x="0" y="279"/>
                    </a:cubicBezTo>
                    <a:lnTo>
                      <a:pt x="6" y="308"/>
                    </a:lnTo>
                    <a:close/>
                  </a:path>
                </a:pathLst>
              </a:custGeom>
              <a:solidFill>
                <a:srgbClr val="E1DFD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3" name="ïṣ1îḑé"/>
              <p:cNvSpPr/>
              <p:nvPr/>
            </p:nvSpPr>
            <p:spPr bwMode="auto">
              <a:xfrm>
                <a:off x="4946" y="1856"/>
                <a:ext cx="78" cy="73"/>
              </a:xfrm>
              <a:custGeom>
                <a:avLst/>
                <a:gdLst>
                  <a:gd name="T0" fmla="*/ 258 w 258"/>
                  <a:gd name="T1" fmla="*/ 223 h 240"/>
                  <a:gd name="T2" fmla="*/ 76 w 258"/>
                  <a:gd name="T3" fmla="*/ 192 h 240"/>
                  <a:gd name="T4" fmla="*/ 8 w 258"/>
                  <a:gd name="T5" fmla="*/ 0 h 240"/>
                  <a:gd name="T6" fmla="*/ 37 w 258"/>
                  <a:gd name="T7" fmla="*/ 2 h 240"/>
                  <a:gd name="T8" fmla="*/ 22 w 258"/>
                  <a:gd name="T9" fmla="*/ 1 h 240"/>
                  <a:gd name="T10" fmla="*/ 37 w 258"/>
                  <a:gd name="T11" fmla="*/ 2 h 240"/>
                  <a:gd name="T12" fmla="*/ 95 w 258"/>
                  <a:gd name="T13" fmla="*/ 170 h 240"/>
                  <a:gd name="T14" fmla="*/ 251 w 258"/>
                  <a:gd name="T15" fmla="*/ 194 h 240"/>
                  <a:gd name="T16" fmla="*/ 258 w 258"/>
                  <a:gd name="T17"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40">
                    <a:moveTo>
                      <a:pt x="258" y="223"/>
                    </a:moveTo>
                    <a:cubicBezTo>
                      <a:pt x="180" y="240"/>
                      <a:pt x="119" y="229"/>
                      <a:pt x="76" y="192"/>
                    </a:cubicBezTo>
                    <a:cubicBezTo>
                      <a:pt x="0" y="127"/>
                      <a:pt x="7" y="5"/>
                      <a:pt x="8" y="0"/>
                    </a:cubicBezTo>
                    <a:cubicBezTo>
                      <a:pt x="37" y="2"/>
                      <a:pt x="37" y="2"/>
                      <a:pt x="37" y="2"/>
                    </a:cubicBezTo>
                    <a:cubicBezTo>
                      <a:pt x="22" y="1"/>
                      <a:pt x="22" y="1"/>
                      <a:pt x="22" y="1"/>
                    </a:cubicBezTo>
                    <a:cubicBezTo>
                      <a:pt x="37" y="2"/>
                      <a:pt x="37" y="2"/>
                      <a:pt x="37" y="2"/>
                    </a:cubicBezTo>
                    <a:cubicBezTo>
                      <a:pt x="37" y="3"/>
                      <a:pt x="31" y="115"/>
                      <a:pt x="95" y="170"/>
                    </a:cubicBezTo>
                    <a:cubicBezTo>
                      <a:pt x="131" y="201"/>
                      <a:pt x="183" y="209"/>
                      <a:pt x="251" y="194"/>
                    </a:cubicBezTo>
                    <a:lnTo>
                      <a:pt x="258" y="223"/>
                    </a:lnTo>
                    <a:close/>
                  </a:path>
                </a:pathLst>
              </a:custGeom>
              <a:solidFill>
                <a:srgbClr val="E1DFD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4" name="îšľïďè"/>
              <p:cNvSpPr/>
              <p:nvPr/>
            </p:nvSpPr>
            <p:spPr bwMode="auto">
              <a:xfrm>
                <a:off x="5012" y="1918"/>
                <a:ext cx="18" cy="17"/>
              </a:xfrm>
              <a:custGeom>
                <a:avLst/>
                <a:gdLst>
                  <a:gd name="T0" fmla="*/ 9 w 18"/>
                  <a:gd name="T1" fmla="*/ 2 h 17"/>
                  <a:gd name="T2" fmla="*/ 0 w 18"/>
                  <a:gd name="T3" fmla="*/ 4 h 17"/>
                  <a:gd name="T4" fmla="*/ 6 w 18"/>
                  <a:gd name="T5" fmla="*/ 11 h 17"/>
                  <a:gd name="T6" fmla="*/ 13 w 18"/>
                  <a:gd name="T7" fmla="*/ 17 h 17"/>
                  <a:gd name="T8" fmla="*/ 15 w 18"/>
                  <a:gd name="T9" fmla="*/ 8 h 17"/>
                  <a:gd name="T10" fmla="*/ 18 w 18"/>
                  <a:gd name="T11" fmla="*/ 0 h 17"/>
                  <a:gd name="T12" fmla="*/ 9 w 18"/>
                  <a:gd name="T13" fmla="*/ 2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9" y="2"/>
                    </a:moveTo>
                    <a:lnTo>
                      <a:pt x="0" y="4"/>
                    </a:lnTo>
                    <a:lnTo>
                      <a:pt x="6" y="11"/>
                    </a:lnTo>
                    <a:lnTo>
                      <a:pt x="13" y="17"/>
                    </a:lnTo>
                    <a:lnTo>
                      <a:pt x="15" y="8"/>
                    </a:lnTo>
                    <a:lnTo>
                      <a:pt x="18" y="0"/>
                    </a:lnTo>
                    <a:lnTo>
                      <a:pt x="9" y="2"/>
                    </a:lnTo>
                    <a:close/>
                  </a:path>
                </a:pathLst>
              </a:custGeom>
              <a:solidFill>
                <a:srgbClr val="E1DFD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5" name="ïṧḷíḑé"/>
              <p:cNvSpPr/>
              <p:nvPr/>
            </p:nvSpPr>
            <p:spPr bwMode="auto">
              <a:xfrm>
                <a:off x="5050" y="1823"/>
                <a:ext cx="14" cy="16"/>
              </a:xfrm>
              <a:custGeom>
                <a:avLst/>
                <a:gdLst>
                  <a:gd name="T0" fmla="*/ 7 w 14"/>
                  <a:gd name="T1" fmla="*/ 12 h 16"/>
                  <a:gd name="T2" fmla="*/ 14 w 14"/>
                  <a:gd name="T3" fmla="*/ 8 h 16"/>
                  <a:gd name="T4" fmla="*/ 7 w 14"/>
                  <a:gd name="T5" fmla="*/ 4 h 16"/>
                  <a:gd name="T6" fmla="*/ 0 w 14"/>
                  <a:gd name="T7" fmla="*/ 0 h 16"/>
                  <a:gd name="T8" fmla="*/ 1 w 14"/>
                  <a:gd name="T9" fmla="*/ 8 h 16"/>
                  <a:gd name="T10" fmla="*/ 1 w 14"/>
                  <a:gd name="T11" fmla="*/ 16 h 16"/>
                  <a:gd name="T12" fmla="*/ 7 w 14"/>
                  <a:gd name="T13" fmla="*/ 12 h 16"/>
                </a:gdLst>
                <a:ahLst/>
                <a:cxnLst>
                  <a:cxn ang="0">
                    <a:pos x="T0" y="T1"/>
                  </a:cxn>
                  <a:cxn ang="0">
                    <a:pos x="T2" y="T3"/>
                  </a:cxn>
                  <a:cxn ang="0">
                    <a:pos x="T4" y="T5"/>
                  </a:cxn>
                  <a:cxn ang="0">
                    <a:pos x="T6" y="T7"/>
                  </a:cxn>
                  <a:cxn ang="0">
                    <a:pos x="T8" y="T9"/>
                  </a:cxn>
                  <a:cxn ang="0">
                    <a:pos x="T10" y="T11"/>
                  </a:cxn>
                  <a:cxn ang="0">
                    <a:pos x="T12" y="T13"/>
                  </a:cxn>
                </a:cxnLst>
                <a:rect l="0" t="0" r="r" b="b"/>
                <a:pathLst>
                  <a:path w="14" h="16">
                    <a:moveTo>
                      <a:pt x="7" y="12"/>
                    </a:moveTo>
                    <a:lnTo>
                      <a:pt x="14" y="8"/>
                    </a:lnTo>
                    <a:lnTo>
                      <a:pt x="7" y="4"/>
                    </a:lnTo>
                    <a:lnTo>
                      <a:pt x="0" y="0"/>
                    </a:lnTo>
                    <a:lnTo>
                      <a:pt x="1" y="8"/>
                    </a:lnTo>
                    <a:lnTo>
                      <a:pt x="1" y="16"/>
                    </a:lnTo>
                    <a:lnTo>
                      <a:pt x="7" y="12"/>
                    </a:lnTo>
                    <a:close/>
                  </a:path>
                </a:pathLst>
              </a:custGeom>
              <a:solidFill>
                <a:srgbClr val="E1DFD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6" name="íṧ1iḑê"/>
              <p:cNvSpPr/>
              <p:nvPr/>
            </p:nvSpPr>
            <p:spPr bwMode="auto">
              <a:xfrm>
                <a:off x="4945" y="1844"/>
                <a:ext cx="15" cy="15"/>
              </a:xfrm>
              <a:custGeom>
                <a:avLst/>
                <a:gdLst>
                  <a:gd name="T0" fmla="*/ 7 w 15"/>
                  <a:gd name="T1" fmla="*/ 14 h 15"/>
                  <a:gd name="T2" fmla="*/ 0 w 15"/>
                  <a:gd name="T3" fmla="*/ 13 h 15"/>
                  <a:gd name="T4" fmla="*/ 4 w 15"/>
                  <a:gd name="T5" fmla="*/ 7 h 15"/>
                  <a:gd name="T6" fmla="*/ 9 w 15"/>
                  <a:gd name="T7" fmla="*/ 0 h 15"/>
                  <a:gd name="T8" fmla="*/ 12 w 15"/>
                  <a:gd name="T9" fmla="*/ 8 h 15"/>
                  <a:gd name="T10" fmla="*/ 15 w 15"/>
                  <a:gd name="T11" fmla="*/ 15 h 15"/>
                  <a:gd name="T12" fmla="*/ 7 w 15"/>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7" y="14"/>
                    </a:moveTo>
                    <a:lnTo>
                      <a:pt x="0" y="13"/>
                    </a:lnTo>
                    <a:lnTo>
                      <a:pt x="4" y="7"/>
                    </a:lnTo>
                    <a:lnTo>
                      <a:pt x="9" y="0"/>
                    </a:lnTo>
                    <a:lnTo>
                      <a:pt x="12" y="8"/>
                    </a:lnTo>
                    <a:lnTo>
                      <a:pt x="15" y="15"/>
                    </a:lnTo>
                    <a:lnTo>
                      <a:pt x="7" y="14"/>
                    </a:lnTo>
                    <a:close/>
                  </a:path>
                </a:pathLst>
              </a:custGeom>
              <a:solidFill>
                <a:srgbClr val="E1DFD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7" name="ïṧļiḍe"/>
              <p:cNvSpPr/>
              <p:nvPr/>
            </p:nvSpPr>
            <p:spPr bwMode="auto">
              <a:xfrm>
                <a:off x="5409" y="1760"/>
                <a:ext cx="54" cy="54"/>
              </a:xfrm>
              <a:custGeom>
                <a:avLst/>
                <a:gdLst>
                  <a:gd name="T0" fmla="*/ 106 w 177"/>
                  <a:gd name="T1" fmla="*/ 10 h 177"/>
                  <a:gd name="T2" fmla="*/ 10 w 177"/>
                  <a:gd name="T3" fmla="*/ 71 h 177"/>
                  <a:gd name="T4" fmla="*/ 71 w 177"/>
                  <a:gd name="T5" fmla="*/ 168 h 177"/>
                  <a:gd name="T6" fmla="*/ 168 w 177"/>
                  <a:gd name="T7" fmla="*/ 106 h 177"/>
                  <a:gd name="T8" fmla="*/ 106 w 177"/>
                  <a:gd name="T9" fmla="*/ 10 h 177"/>
                  <a:gd name="T10" fmla="*/ 79 w 177"/>
                  <a:gd name="T11" fmla="*/ 132 h 177"/>
                  <a:gd name="T12" fmla="*/ 45 w 177"/>
                  <a:gd name="T13" fmla="*/ 79 h 177"/>
                  <a:gd name="T14" fmla="*/ 98 w 177"/>
                  <a:gd name="T15" fmla="*/ 45 h 177"/>
                  <a:gd name="T16" fmla="*/ 132 w 177"/>
                  <a:gd name="T17" fmla="*/ 98 h 177"/>
                  <a:gd name="T18" fmla="*/ 79 w 177"/>
                  <a:gd name="T19" fmla="*/ 13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7">
                    <a:moveTo>
                      <a:pt x="106" y="10"/>
                    </a:moveTo>
                    <a:cubicBezTo>
                      <a:pt x="63" y="0"/>
                      <a:pt x="19" y="28"/>
                      <a:pt x="10" y="71"/>
                    </a:cubicBezTo>
                    <a:cubicBezTo>
                      <a:pt x="0" y="115"/>
                      <a:pt x="27" y="158"/>
                      <a:pt x="71" y="168"/>
                    </a:cubicBezTo>
                    <a:cubicBezTo>
                      <a:pt x="115" y="177"/>
                      <a:pt x="158" y="150"/>
                      <a:pt x="168" y="106"/>
                    </a:cubicBezTo>
                    <a:cubicBezTo>
                      <a:pt x="177" y="63"/>
                      <a:pt x="150" y="19"/>
                      <a:pt x="106" y="10"/>
                    </a:cubicBezTo>
                    <a:close/>
                    <a:moveTo>
                      <a:pt x="79" y="132"/>
                    </a:moveTo>
                    <a:cubicBezTo>
                      <a:pt x="55" y="127"/>
                      <a:pt x="39" y="103"/>
                      <a:pt x="45" y="79"/>
                    </a:cubicBezTo>
                    <a:cubicBezTo>
                      <a:pt x="50" y="55"/>
                      <a:pt x="74" y="40"/>
                      <a:pt x="98" y="45"/>
                    </a:cubicBezTo>
                    <a:cubicBezTo>
                      <a:pt x="122" y="50"/>
                      <a:pt x="138" y="74"/>
                      <a:pt x="132" y="98"/>
                    </a:cubicBezTo>
                    <a:cubicBezTo>
                      <a:pt x="127" y="123"/>
                      <a:pt x="103" y="138"/>
                      <a:pt x="79" y="132"/>
                    </a:cubicBezTo>
                    <a:close/>
                  </a:path>
                </a:pathLst>
              </a:custGeom>
              <a:solidFill>
                <a:srgbClr val="EAEAE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8" name="iṧḻiḑé"/>
              <p:cNvSpPr/>
              <p:nvPr/>
            </p:nvSpPr>
            <p:spPr bwMode="auto">
              <a:xfrm>
                <a:off x="5399" y="1804"/>
                <a:ext cx="40" cy="115"/>
              </a:xfrm>
              <a:custGeom>
                <a:avLst/>
                <a:gdLst>
                  <a:gd name="T0" fmla="*/ 16 w 40"/>
                  <a:gd name="T1" fmla="*/ 115 h 115"/>
                  <a:gd name="T2" fmla="*/ 0 w 40"/>
                  <a:gd name="T3" fmla="*/ 111 h 115"/>
                  <a:gd name="T4" fmla="*/ 25 w 40"/>
                  <a:gd name="T5" fmla="*/ 0 h 115"/>
                  <a:gd name="T6" fmla="*/ 40 w 40"/>
                  <a:gd name="T7" fmla="*/ 4 h 115"/>
                  <a:gd name="T8" fmla="*/ 16 w 40"/>
                  <a:gd name="T9" fmla="*/ 115 h 115"/>
                </a:gdLst>
                <a:ahLst/>
                <a:cxnLst>
                  <a:cxn ang="0">
                    <a:pos x="T0" y="T1"/>
                  </a:cxn>
                  <a:cxn ang="0">
                    <a:pos x="T2" y="T3"/>
                  </a:cxn>
                  <a:cxn ang="0">
                    <a:pos x="T4" y="T5"/>
                  </a:cxn>
                  <a:cxn ang="0">
                    <a:pos x="T6" y="T7"/>
                  </a:cxn>
                  <a:cxn ang="0">
                    <a:pos x="T8" y="T9"/>
                  </a:cxn>
                </a:cxnLst>
                <a:rect l="0" t="0" r="r" b="b"/>
                <a:pathLst>
                  <a:path w="40" h="115">
                    <a:moveTo>
                      <a:pt x="16" y="115"/>
                    </a:moveTo>
                    <a:lnTo>
                      <a:pt x="0" y="111"/>
                    </a:lnTo>
                    <a:lnTo>
                      <a:pt x="25" y="0"/>
                    </a:lnTo>
                    <a:lnTo>
                      <a:pt x="40" y="4"/>
                    </a:lnTo>
                    <a:lnTo>
                      <a:pt x="16" y="115"/>
                    </a:lnTo>
                    <a:close/>
                  </a:path>
                </a:pathLst>
              </a:custGeom>
              <a:solidFill>
                <a:srgbClr val="EAEAE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9" name="ï$lîdê"/>
              <p:cNvSpPr/>
              <p:nvPr/>
            </p:nvSpPr>
            <p:spPr bwMode="auto">
              <a:xfrm>
                <a:off x="5349" y="1831"/>
                <a:ext cx="61" cy="94"/>
              </a:xfrm>
              <a:custGeom>
                <a:avLst/>
                <a:gdLst>
                  <a:gd name="T0" fmla="*/ 193 w 200"/>
                  <a:gd name="T1" fmla="*/ 308 h 308"/>
                  <a:gd name="T2" fmla="*/ 41 w 200"/>
                  <a:gd name="T3" fmla="*/ 203 h 308"/>
                  <a:gd name="T4" fmla="*/ 61 w 200"/>
                  <a:gd name="T5" fmla="*/ 0 h 308"/>
                  <a:gd name="T6" fmla="*/ 86 w 200"/>
                  <a:gd name="T7" fmla="*/ 14 h 308"/>
                  <a:gd name="T8" fmla="*/ 73 w 200"/>
                  <a:gd name="T9" fmla="*/ 7 h 308"/>
                  <a:gd name="T10" fmla="*/ 86 w 200"/>
                  <a:gd name="T11" fmla="*/ 14 h 308"/>
                  <a:gd name="T12" fmla="*/ 68 w 200"/>
                  <a:gd name="T13" fmla="*/ 191 h 308"/>
                  <a:gd name="T14" fmla="*/ 200 w 200"/>
                  <a:gd name="T15" fmla="*/ 279 h 308"/>
                  <a:gd name="T16" fmla="*/ 193 w 200"/>
                  <a:gd name="T1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308">
                    <a:moveTo>
                      <a:pt x="193" y="308"/>
                    </a:moveTo>
                    <a:cubicBezTo>
                      <a:pt x="116" y="290"/>
                      <a:pt x="65" y="255"/>
                      <a:pt x="41" y="203"/>
                    </a:cubicBezTo>
                    <a:cubicBezTo>
                      <a:pt x="0" y="112"/>
                      <a:pt x="58" y="5"/>
                      <a:pt x="61" y="0"/>
                    </a:cubicBezTo>
                    <a:cubicBezTo>
                      <a:pt x="86" y="14"/>
                      <a:pt x="86" y="14"/>
                      <a:pt x="86" y="14"/>
                    </a:cubicBezTo>
                    <a:cubicBezTo>
                      <a:pt x="73" y="7"/>
                      <a:pt x="73" y="7"/>
                      <a:pt x="73" y="7"/>
                    </a:cubicBezTo>
                    <a:cubicBezTo>
                      <a:pt x="86" y="14"/>
                      <a:pt x="86" y="14"/>
                      <a:pt x="86" y="14"/>
                    </a:cubicBezTo>
                    <a:cubicBezTo>
                      <a:pt x="86" y="15"/>
                      <a:pt x="33" y="114"/>
                      <a:pt x="68" y="191"/>
                    </a:cubicBezTo>
                    <a:cubicBezTo>
                      <a:pt x="88" y="234"/>
                      <a:pt x="131" y="264"/>
                      <a:pt x="200" y="279"/>
                    </a:cubicBezTo>
                    <a:lnTo>
                      <a:pt x="193" y="308"/>
                    </a:lnTo>
                    <a:close/>
                  </a:path>
                </a:pathLst>
              </a:custGeom>
              <a:solidFill>
                <a:srgbClr val="EAEAE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0" name="îś1íďe"/>
              <p:cNvSpPr/>
              <p:nvPr/>
            </p:nvSpPr>
            <p:spPr bwMode="auto">
              <a:xfrm>
                <a:off x="5403" y="1856"/>
                <a:ext cx="79" cy="73"/>
              </a:xfrm>
              <a:custGeom>
                <a:avLst/>
                <a:gdLst>
                  <a:gd name="T0" fmla="*/ 0 w 257"/>
                  <a:gd name="T1" fmla="*/ 223 h 240"/>
                  <a:gd name="T2" fmla="*/ 182 w 257"/>
                  <a:gd name="T3" fmla="*/ 192 h 240"/>
                  <a:gd name="T4" fmla="*/ 250 w 257"/>
                  <a:gd name="T5" fmla="*/ 0 h 240"/>
                  <a:gd name="T6" fmla="*/ 220 w 257"/>
                  <a:gd name="T7" fmla="*/ 2 h 240"/>
                  <a:gd name="T8" fmla="*/ 235 w 257"/>
                  <a:gd name="T9" fmla="*/ 1 h 240"/>
                  <a:gd name="T10" fmla="*/ 220 w 257"/>
                  <a:gd name="T11" fmla="*/ 2 h 240"/>
                  <a:gd name="T12" fmla="*/ 162 w 257"/>
                  <a:gd name="T13" fmla="*/ 170 h 240"/>
                  <a:gd name="T14" fmla="*/ 6 w 257"/>
                  <a:gd name="T15" fmla="*/ 194 h 240"/>
                  <a:gd name="T16" fmla="*/ 0 w 257"/>
                  <a:gd name="T17"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240">
                    <a:moveTo>
                      <a:pt x="0" y="223"/>
                    </a:moveTo>
                    <a:cubicBezTo>
                      <a:pt x="77" y="240"/>
                      <a:pt x="138" y="229"/>
                      <a:pt x="182" y="192"/>
                    </a:cubicBezTo>
                    <a:cubicBezTo>
                      <a:pt x="257" y="127"/>
                      <a:pt x="250" y="5"/>
                      <a:pt x="250" y="0"/>
                    </a:cubicBezTo>
                    <a:cubicBezTo>
                      <a:pt x="220" y="2"/>
                      <a:pt x="220" y="2"/>
                      <a:pt x="220" y="2"/>
                    </a:cubicBezTo>
                    <a:cubicBezTo>
                      <a:pt x="235" y="1"/>
                      <a:pt x="235" y="1"/>
                      <a:pt x="235" y="1"/>
                    </a:cubicBezTo>
                    <a:cubicBezTo>
                      <a:pt x="220" y="2"/>
                      <a:pt x="220" y="2"/>
                      <a:pt x="220" y="2"/>
                    </a:cubicBezTo>
                    <a:cubicBezTo>
                      <a:pt x="220" y="3"/>
                      <a:pt x="227" y="115"/>
                      <a:pt x="162" y="170"/>
                    </a:cubicBezTo>
                    <a:cubicBezTo>
                      <a:pt x="126" y="201"/>
                      <a:pt x="75" y="209"/>
                      <a:pt x="6" y="194"/>
                    </a:cubicBezTo>
                    <a:lnTo>
                      <a:pt x="0" y="223"/>
                    </a:lnTo>
                    <a:close/>
                  </a:path>
                </a:pathLst>
              </a:custGeom>
              <a:solidFill>
                <a:srgbClr val="EAEAE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1" name="ïšḻiḍe"/>
              <p:cNvSpPr/>
              <p:nvPr/>
            </p:nvSpPr>
            <p:spPr bwMode="auto">
              <a:xfrm>
                <a:off x="5398" y="1918"/>
                <a:ext cx="17" cy="17"/>
              </a:xfrm>
              <a:custGeom>
                <a:avLst/>
                <a:gdLst>
                  <a:gd name="T0" fmla="*/ 8 w 17"/>
                  <a:gd name="T1" fmla="*/ 2 h 17"/>
                  <a:gd name="T2" fmla="*/ 17 w 17"/>
                  <a:gd name="T3" fmla="*/ 4 h 17"/>
                  <a:gd name="T4" fmla="*/ 11 w 17"/>
                  <a:gd name="T5" fmla="*/ 11 h 17"/>
                  <a:gd name="T6" fmla="*/ 5 w 17"/>
                  <a:gd name="T7" fmla="*/ 17 h 17"/>
                  <a:gd name="T8" fmla="*/ 2 w 17"/>
                  <a:gd name="T9" fmla="*/ 8 h 17"/>
                  <a:gd name="T10" fmla="*/ 0 w 17"/>
                  <a:gd name="T11" fmla="*/ 0 h 17"/>
                  <a:gd name="T12" fmla="*/ 8 w 17"/>
                  <a:gd name="T13" fmla="*/ 2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8" y="2"/>
                    </a:moveTo>
                    <a:lnTo>
                      <a:pt x="17" y="4"/>
                    </a:lnTo>
                    <a:lnTo>
                      <a:pt x="11" y="11"/>
                    </a:lnTo>
                    <a:lnTo>
                      <a:pt x="5" y="17"/>
                    </a:lnTo>
                    <a:lnTo>
                      <a:pt x="2" y="8"/>
                    </a:lnTo>
                    <a:lnTo>
                      <a:pt x="0" y="0"/>
                    </a:lnTo>
                    <a:lnTo>
                      <a:pt x="8" y="2"/>
                    </a:lnTo>
                    <a:close/>
                  </a:path>
                </a:pathLst>
              </a:custGeom>
              <a:solidFill>
                <a:srgbClr val="EAEAE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2" name="íš1iḓê"/>
              <p:cNvSpPr/>
              <p:nvPr/>
            </p:nvSpPr>
            <p:spPr bwMode="auto">
              <a:xfrm>
                <a:off x="5363" y="1823"/>
                <a:ext cx="14" cy="16"/>
              </a:xfrm>
              <a:custGeom>
                <a:avLst/>
                <a:gdLst>
                  <a:gd name="T0" fmla="*/ 7 w 14"/>
                  <a:gd name="T1" fmla="*/ 12 h 16"/>
                  <a:gd name="T2" fmla="*/ 0 w 14"/>
                  <a:gd name="T3" fmla="*/ 8 h 16"/>
                  <a:gd name="T4" fmla="*/ 7 w 14"/>
                  <a:gd name="T5" fmla="*/ 4 h 16"/>
                  <a:gd name="T6" fmla="*/ 14 w 14"/>
                  <a:gd name="T7" fmla="*/ 0 h 16"/>
                  <a:gd name="T8" fmla="*/ 14 w 14"/>
                  <a:gd name="T9" fmla="*/ 8 h 16"/>
                  <a:gd name="T10" fmla="*/ 14 w 14"/>
                  <a:gd name="T11" fmla="*/ 16 h 16"/>
                  <a:gd name="T12" fmla="*/ 7 w 14"/>
                  <a:gd name="T13" fmla="*/ 12 h 16"/>
                </a:gdLst>
                <a:ahLst/>
                <a:cxnLst>
                  <a:cxn ang="0">
                    <a:pos x="T0" y="T1"/>
                  </a:cxn>
                  <a:cxn ang="0">
                    <a:pos x="T2" y="T3"/>
                  </a:cxn>
                  <a:cxn ang="0">
                    <a:pos x="T4" y="T5"/>
                  </a:cxn>
                  <a:cxn ang="0">
                    <a:pos x="T6" y="T7"/>
                  </a:cxn>
                  <a:cxn ang="0">
                    <a:pos x="T8" y="T9"/>
                  </a:cxn>
                  <a:cxn ang="0">
                    <a:pos x="T10" y="T11"/>
                  </a:cxn>
                  <a:cxn ang="0">
                    <a:pos x="T12" y="T13"/>
                  </a:cxn>
                </a:cxnLst>
                <a:rect l="0" t="0" r="r" b="b"/>
                <a:pathLst>
                  <a:path w="14" h="16">
                    <a:moveTo>
                      <a:pt x="7" y="12"/>
                    </a:moveTo>
                    <a:lnTo>
                      <a:pt x="0" y="8"/>
                    </a:lnTo>
                    <a:lnTo>
                      <a:pt x="7" y="4"/>
                    </a:lnTo>
                    <a:lnTo>
                      <a:pt x="14" y="0"/>
                    </a:lnTo>
                    <a:lnTo>
                      <a:pt x="14" y="8"/>
                    </a:lnTo>
                    <a:lnTo>
                      <a:pt x="14" y="16"/>
                    </a:lnTo>
                    <a:lnTo>
                      <a:pt x="7" y="12"/>
                    </a:lnTo>
                    <a:close/>
                  </a:path>
                </a:pathLst>
              </a:custGeom>
              <a:solidFill>
                <a:srgbClr val="EAEAE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3" name="iṩļiḑe"/>
              <p:cNvSpPr/>
              <p:nvPr/>
            </p:nvSpPr>
            <p:spPr bwMode="auto">
              <a:xfrm>
                <a:off x="5467" y="1844"/>
                <a:ext cx="16" cy="15"/>
              </a:xfrm>
              <a:custGeom>
                <a:avLst/>
                <a:gdLst>
                  <a:gd name="T0" fmla="*/ 8 w 16"/>
                  <a:gd name="T1" fmla="*/ 14 h 15"/>
                  <a:gd name="T2" fmla="*/ 16 w 16"/>
                  <a:gd name="T3" fmla="*/ 13 h 15"/>
                  <a:gd name="T4" fmla="*/ 11 w 16"/>
                  <a:gd name="T5" fmla="*/ 7 h 15"/>
                  <a:gd name="T6" fmla="*/ 7 w 16"/>
                  <a:gd name="T7" fmla="*/ 0 h 15"/>
                  <a:gd name="T8" fmla="*/ 3 w 16"/>
                  <a:gd name="T9" fmla="*/ 8 h 15"/>
                  <a:gd name="T10" fmla="*/ 0 w 16"/>
                  <a:gd name="T11" fmla="*/ 15 h 15"/>
                  <a:gd name="T12" fmla="*/ 8 w 16"/>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8" y="14"/>
                    </a:moveTo>
                    <a:lnTo>
                      <a:pt x="16" y="13"/>
                    </a:lnTo>
                    <a:lnTo>
                      <a:pt x="11" y="7"/>
                    </a:lnTo>
                    <a:lnTo>
                      <a:pt x="7" y="0"/>
                    </a:lnTo>
                    <a:lnTo>
                      <a:pt x="3" y="8"/>
                    </a:lnTo>
                    <a:lnTo>
                      <a:pt x="0" y="15"/>
                    </a:lnTo>
                    <a:lnTo>
                      <a:pt x="8" y="14"/>
                    </a:lnTo>
                    <a:close/>
                  </a:path>
                </a:pathLst>
              </a:custGeom>
              <a:solidFill>
                <a:srgbClr val="EAEAE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4" name="îşliḍè"/>
              <p:cNvSpPr/>
              <p:nvPr/>
            </p:nvSpPr>
            <p:spPr bwMode="auto">
              <a:xfrm>
                <a:off x="4608" y="514"/>
                <a:ext cx="1222" cy="108"/>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5" name="íṧḷiḍe"/>
              <p:cNvSpPr/>
              <p:nvPr/>
            </p:nvSpPr>
            <p:spPr bwMode="auto">
              <a:xfrm>
                <a:off x="5773" y="503"/>
                <a:ext cx="25"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6" name="îṩḻíḋè"/>
              <p:cNvSpPr/>
              <p:nvPr/>
            </p:nvSpPr>
            <p:spPr bwMode="auto">
              <a:xfrm>
                <a:off x="5719"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7" name="išľïḑé"/>
              <p:cNvSpPr/>
              <p:nvPr/>
            </p:nvSpPr>
            <p:spPr bwMode="auto">
              <a:xfrm>
                <a:off x="5665" y="503"/>
                <a:ext cx="25"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8" name="îṣľíḓé"/>
              <p:cNvSpPr/>
              <p:nvPr/>
            </p:nvSpPr>
            <p:spPr bwMode="auto">
              <a:xfrm>
                <a:off x="5611"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9" name="íṩḷïḓê"/>
              <p:cNvSpPr/>
              <p:nvPr/>
            </p:nvSpPr>
            <p:spPr bwMode="auto">
              <a:xfrm>
                <a:off x="5557" y="503"/>
                <a:ext cx="25"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0" name="ïŝľîďé"/>
              <p:cNvSpPr/>
              <p:nvPr/>
            </p:nvSpPr>
            <p:spPr bwMode="auto">
              <a:xfrm>
                <a:off x="5503" y="503"/>
                <a:ext cx="25"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1" name="íśļïḑè"/>
              <p:cNvSpPr/>
              <p:nvPr/>
            </p:nvSpPr>
            <p:spPr bwMode="auto">
              <a:xfrm>
                <a:off x="5449" y="503"/>
                <a:ext cx="25"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2" name="ïṥ1iďé"/>
              <p:cNvSpPr/>
              <p:nvPr/>
            </p:nvSpPr>
            <p:spPr bwMode="auto">
              <a:xfrm>
                <a:off x="5396"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3" name="ïṧľîḑé"/>
              <p:cNvSpPr/>
              <p:nvPr/>
            </p:nvSpPr>
            <p:spPr bwMode="auto">
              <a:xfrm>
                <a:off x="5341"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4" name="ïş1iḓê"/>
              <p:cNvSpPr/>
              <p:nvPr/>
            </p:nvSpPr>
            <p:spPr bwMode="auto">
              <a:xfrm>
                <a:off x="5288"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5" name="îṧḷïḑé"/>
              <p:cNvSpPr/>
              <p:nvPr/>
            </p:nvSpPr>
            <p:spPr bwMode="auto">
              <a:xfrm>
                <a:off x="5233"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6" name="ïṣ1îḑè"/>
              <p:cNvSpPr/>
              <p:nvPr/>
            </p:nvSpPr>
            <p:spPr bwMode="auto">
              <a:xfrm>
                <a:off x="5179" y="503"/>
                <a:ext cx="25"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7" name="iṣ1iḑe"/>
              <p:cNvSpPr/>
              <p:nvPr/>
            </p:nvSpPr>
            <p:spPr bwMode="auto">
              <a:xfrm>
                <a:off x="5126"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8" name="íśľïdê"/>
              <p:cNvSpPr/>
              <p:nvPr/>
            </p:nvSpPr>
            <p:spPr bwMode="auto">
              <a:xfrm>
                <a:off x="5071" y="503"/>
                <a:ext cx="25"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9" name="îṩ1ïḑê"/>
              <p:cNvSpPr/>
              <p:nvPr/>
            </p:nvSpPr>
            <p:spPr bwMode="auto">
              <a:xfrm>
                <a:off x="5018"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0" name="îsļîḍé"/>
              <p:cNvSpPr/>
              <p:nvPr/>
            </p:nvSpPr>
            <p:spPr bwMode="auto">
              <a:xfrm>
                <a:off x="4963" y="503"/>
                <a:ext cx="25"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1" name="îş1îdè"/>
              <p:cNvSpPr/>
              <p:nvPr/>
            </p:nvSpPr>
            <p:spPr bwMode="auto">
              <a:xfrm>
                <a:off x="4910"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2" name="îsliḍê"/>
              <p:cNvSpPr/>
              <p:nvPr/>
            </p:nvSpPr>
            <p:spPr bwMode="auto">
              <a:xfrm>
                <a:off x="4855" y="503"/>
                <a:ext cx="25"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3" name="îŝľïḓè"/>
              <p:cNvSpPr/>
              <p:nvPr/>
            </p:nvSpPr>
            <p:spPr bwMode="auto">
              <a:xfrm>
                <a:off x="4802"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4" name="íṥḷîḋe"/>
              <p:cNvSpPr/>
              <p:nvPr/>
            </p:nvSpPr>
            <p:spPr bwMode="auto">
              <a:xfrm>
                <a:off x="4748"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5" name="í$ḻidè"/>
              <p:cNvSpPr/>
              <p:nvPr/>
            </p:nvSpPr>
            <p:spPr bwMode="auto">
              <a:xfrm>
                <a:off x="4694"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6" name="ïṩlíḑé"/>
              <p:cNvSpPr/>
              <p:nvPr/>
            </p:nvSpPr>
            <p:spPr bwMode="auto">
              <a:xfrm>
                <a:off x="4640" y="503"/>
                <a:ext cx="24" cy="132"/>
              </a:xfrm>
              <a:prstGeom prst="rect">
                <a:avLst/>
              </a:prstGeom>
              <a:solidFill>
                <a:srgbClr val="E1DF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7" name="išliḋê"/>
              <p:cNvSpPr/>
              <p:nvPr/>
            </p:nvSpPr>
            <p:spPr bwMode="auto">
              <a:xfrm>
                <a:off x="5500" y="677"/>
                <a:ext cx="45"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8" name="îṣ1idê"/>
              <p:cNvSpPr/>
              <p:nvPr/>
            </p:nvSpPr>
            <p:spPr bwMode="auto">
              <a:xfrm>
                <a:off x="5447" y="677"/>
                <a:ext cx="44"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9" name="îṧľiḋê"/>
              <p:cNvSpPr/>
              <p:nvPr/>
            </p:nvSpPr>
            <p:spPr bwMode="auto">
              <a:xfrm>
                <a:off x="4941" y="677"/>
                <a:ext cx="44"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00" name="iṧḷïdê"/>
              <p:cNvSpPr/>
              <p:nvPr/>
            </p:nvSpPr>
            <p:spPr bwMode="auto">
              <a:xfrm>
                <a:off x="4887" y="677"/>
                <a:ext cx="44"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01" name="íŝ1ïḋê"/>
              <p:cNvSpPr/>
              <p:nvPr/>
            </p:nvSpPr>
            <p:spPr bwMode="auto">
              <a:xfrm>
                <a:off x="5221" y="677"/>
                <a:ext cx="44"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02" name="îs1ïḓê"/>
              <p:cNvSpPr/>
              <p:nvPr/>
            </p:nvSpPr>
            <p:spPr bwMode="auto">
              <a:xfrm>
                <a:off x="5167" y="677"/>
                <a:ext cx="44"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03" name="íślîdé"/>
              <p:cNvSpPr/>
              <p:nvPr/>
            </p:nvSpPr>
            <p:spPr bwMode="auto">
              <a:xfrm>
                <a:off x="5500" y="819"/>
                <a:ext cx="45"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04" name="ïś1iḍe"/>
              <p:cNvSpPr/>
              <p:nvPr/>
            </p:nvSpPr>
            <p:spPr bwMode="auto">
              <a:xfrm>
                <a:off x="5447" y="819"/>
                <a:ext cx="44"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05" name="iŝlîḍê"/>
              <p:cNvSpPr/>
              <p:nvPr/>
            </p:nvSpPr>
            <p:spPr bwMode="auto">
              <a:xfrm>
                <a:off x="4941" y="819"/>
                <a:ext cx="44"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06" name="ï$ḷíḓé"/>
              <p:cNvSpPr/>
              <p:nvPr/>
            </p:nvSpPr>
            <p:spPr bwMode="auto">
              <a:xfrm>
                <a:off x="4887" y="819"/>
                <a:ext cx="44"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07" name="ïšľiḍê"/>
              <p:cNvSpPr/>
              <p:nvPr/>
            </p:nvSpPr>
            <p:spPr bwMode="auto">
              <a:xfrm>
                <a:off x="5221" y="819"/>
                <a:ext cx="44"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36" name="iṩļïďè"/>
            <p:cNvGrpSpPr/>
            <p:nvPr/>
          </p:nvGrpSpPr>
          <p:grpSpPr bwMode="auto">
            <a:xfrm>
              <a:off x="3191761" y="1681661"/>
              <a:ext cx="6272894" cy="2950800"/>
              <a:chOff x="799" y="0"/>
              <a:chExt cx="6082" cy="2861"/>
            </a:xfrm>
          </p:grpSpPr>
          <p:sp>
            <p:nvSpPr>
              <p:cNvPr id="108" name="ïṧ1îḓê"/>
              <p:cNvSpPr/>
              <p:nvPr/>
            </p:nvSpPr>
            <p:spPr bwMode="auto">
              <a:xfrm>
                <a:off x="5167" y="819"/>
                <a:ext cx="44" cy="80"/>
              </a:xfrm>
              <a:prstGeom prst="rect">
                <a:avLst/>
              </a:prstGeom>
              <a:solidFill>
                <a:srgbClr val="44658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9" name="îśḷiďê"/>
              <p:cNvSpPr/>
              <p:nvPr/>
            </p:nvSpPr>
            <p:spPr bwMode="auto">
              <a:xfrm>
                <a:off x="2581" y="1681"/>
                <a:ext cx="469" cy="250"/>
              </a:xfrm>
              <a:custGeom>
                <a:avLst/>
                <a:gdLst>
                  <a:gd name="T0" fmla="*/ 0 w 1542"/>
                  <a:gd name="T1" fmla="*/ 797 h 821"/>
                  <a:gd name="T2" fmla="*/ 24 w 1542"/>
                  <a:gd name="T3" fmla="*/ 821 h 821"/>
                  <a:gd name="T4" fmla="*/ 1518 w 1542"/>
                  <a:gd name="T5" fmla="*/ 821 h 821"/>
                  <a:gd name="T6" fmla="*/ 1542 w 1542"/>
                  <a:gd name="T7" fmla="*/ 797 h 821"/>
                  <a:gd name="T8" fmla="*/ 1542 w 1542"/>
                  <a:gd name="T9" fmla="*/ 24 h 821"/>
                  <a:gd name="T10" fmla="*/ 1518 w 1542"/>
                  <a:gd name="T11" fmla="*/ 0 h 821"/>
                  <a:gd name="T12" fmla="*/ 24 w 1542"/>
                  <a:gd name="T13" fmla="*/ 0 h 821"/>
                  <a:gd name="T14" fmla="*/ 0 w 1542"/>
                  <a:gd name="T15" fmla="*/ 24 h 821"/>
                  <a:gd name="T16" fmla="*/ 0 w 1542"/>
                  <a:gd name="T17" fmla="*/ 797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2" h="821">
                    <a:moveTo>
                      <a:pt x="0" y="797"/>
                    </a:moveTo>
                    <a:cubicBezTo>
                      <a:pt x="0" y="811"/>
                      <a:pt x="10" y="821"/>
                      <a:pt x="24" y="821"/>
                    </a:cubicBezTo>
                    <a:cubicBezTo>
                      <a:pt x="1518" y="821"/>
                      <a:pt x="1518" y="821"/>
                      <a:pt x="1518" y="821"/>
                    </a:cubicBezTo>
                    <a:cubicBezTo>
                      <a:pt x="1531" y="821"/>
                      <a:pt x="1542" y="811"/>
                      <a:pt x="1542" y="797"/>
                    </a:cubicBezTo>
                    <a:cubicBezTo>
                      <a:pt x="1542" y="24"/>
                      <a:pt x="1542" y="24"/>
                      <a:pt x="1542" y="24"/>
                    </a:cubicBezTo>
                    <a:cubicBezTo>
                      <a:pt x="1542" y="11"/>
                      <a:pt x="1531" y="0"/>
                      <a:pt x="1518" y="0"/>
                    </a:cubicBezTo>
                    <a:cubicBezTo>
                      <a:pt x="24" y="0"/>
                      <a:pt x="24" y="0"/>
                      <a:pt x="24" y="0"/>
                    </a:cubicBezTo>
                    <a:cubicBezTo>
                      <a:pt x="10" y="0"/>
                      <a:pt x="0" y="11"/>
                      <a:pt x="0" y="24"/>
                    </a:cubicBezTo>
                    <a:lnTo>
                      <a:pt x="0" y="797"/>
                    </a:lnTo>
                    <a:close/>
                  </a:path>
                </a:pathLst>
              </a:custGeom>
              <a:solidFill>
                <a:srgbClr val="E78D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0" name="ïṡlïḓé"/>
              <p:cNvSpPr/>
              <p:nvPr/>
            </p:nvSpPr>
            <p:spPr bwMode="auto">
              <a:xfrm>
                <a:off x="2996" y="1699"/>
                <a:ext cx="30" cy="216"/>
              </a:xfrm>
              <a:custGeom>
                <a:avLst/>
                <a:gdLst>
                  <a:gd name="T0" fmla="*/ 0 w 97"/>
                  <a:gd name="T1" fmla="*/ 663 h 711"/>
                  <a:gd name="T2" fmla="*/ 49 w 97"/>
                  <a:gd name="T3" fmla="*/ 711 h 711"/>
                  <a:gd name="T4" fmla="*/ 49 w 97"/>
                  <a:gd name="T5" fmla="*/ 711 h 711"/>
                  <a:gd name="T6" fmla="*/ 97 w 97"/>
                  <a:gd name="T7" fmla="*/ 663 h 711"/>
                  <a:gd name="T8" fmla="*/ 97 w 97"/>
                  <a:gd name="T9" fmla="*/ 48 h 711"/>
                  <a:gd name="T10" fmla="*/ 49 w 97"/>
                  <a:gd name="T11" fmla="*/ 0 h 711"/>
                  <a:gd name="T12" fmla="*/ 49 w 97"/>
                  <a:gd name="T13" fmla="*/ 0 h 711"/>
                  <a:gd name="T14" fmla="*/ 0 w 97"/>
                  <a:gd name="T15" fmla="*/ 48 h 711"/>
                  <a:gd name="T16" fmla="*/ 0 w 97"/>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711">
                    <a:moveTo>
                      <a:pt x="0" y="663"/>
                    </a:moveTo>
                    <a:cubicBezTo>
                      <a:pt x="0" y="689"/>
                      <a:pt x="22" y="711"/>
                      <a:pt x="49" y="711"/>
                    </a:cubicBezTo>
                    <a:cubicBezTo>
                      <a:pt x="49" y="711"/>
                      <a:pt x="49" y="711"/>
                      <a:pt x="49" y="711"/>
                    </a:cubicBezTo>
                    <a:cubicBezTo>
                      <a:pt x="75" y="711"/>
                      <a:pt x="97" y="689"/>
                      <a:pt x="97" y="663"/>
                    </a:cubicBezTo>
                    <a:cubicBezTo>
                      <a:pt x="97" y="48"/>
                      <a:pt x="97" y="48"/>
                      <a:pt x="97" y="48"/>
                    </a:cubicBezTo>
                    <a:cubicBezTo>
                      <a:pt x="97" y="21"/>
                      <a:pt x="75" y="0"/>
                      <a:pt x="49" y="0"/>
                    </a:cubicBezTo>
                    <a:cubicBezTo>
                      <a:pt x="49" y="0"/>
                      <a:pt x="49" y="0"/>
                      <a:pt x="49" y="0"/>
                    </a:cubicBezTo>
                    <a:cubicBezTo>
                      <a:pt x="22" y="0"/>
                      <a:pt x="0" y="21"/>
                      <a:pt x="0" y="48"/>
                    </a:cubicBezTo>
                    <a:lnTo>
                      <a:pt x="0" y="663"/>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1" name="îsḷiďé"/>
              <p:cNvSpPr/>
              <p:nvPr/>
            </p:nvSpPr>
            <p:spPr bwMode="auto">
              <a:xfrm>
                <a:off x="2672" y="1699"/>
                <a:ext cx="29"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1" y="711"/>
                      <a:pt x="48" y="711"/>
                    </a:cubicBezTo>
                    <a:cubicBezTo>
                      <a:pt x="48" y="711"/>
                      <a:pt x="48" y="711"/>
                      <a:pt x="48" y="711"/>
                    </a:cubicBezTo>
                    <a:cubicBezTo>
                      <a:pt x="74" y="711"/>
                      <a:pt x="96" y="689"/>
                      <a:pt x="96" y="663"/>
                    </a:cubicBezTo>
                    <a:cubicBezTo>
                      <a:pt x="96" y="48"/>
                      <a:pt x="96" y="48"/>
                      <a:pt x="96" y="48"/>
                    </a:cubicBezTo>
                    <a:cubicBezTo>
                      <a:pt x="96" y="21"/>
                      <a:pt x="74" y="0"/>
                      <a:pt x="48" y="0"/>
                    </a:cubicBezTo>
                    <a:cubicBezTo>
                      <a:pt x="48" y="0"/>
                      <a:pt x="48" y="0"/>
                      <a:pt x="48" y="0"/>
                    </a:cubicBezTo>
                    <a:cubicBezTo>
                      <a:pt x="21" y="0"/>
                      <a:pt x="0" y="21"/>
                      <a:pt x="0" y="48"/>
                    </a:cubicBezTo>
                    <a:lnTo>
                      <a:pt x="0" y="663"/>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2" name="işļîďe"/>
              <p:cNvSpPr/>
              <p:nvPr/>
            </p:nvSpPr>
            <p:spPr bwMode="auto">
              <a:xfrm>
                <a:off x="2736" y="1699"/>
                <a:ext cx="30"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2" y="711"/>
                      <a:pt x="48" y="711"/>
                    </a:cubicBezTo>
                    <a:cubicBezTo>
                      <a:pt x="48" y="711"/>
                      <a:pt x="48" y="711"/>
                      <a:pt x="48" y="711"/>
                    </a:cubicBezTo>
                    <a:cubicBezTo>
                      <a:pt x="75" y="711"/>
                      <a:pt x="96" y="689"/>
                      <a:pt x="96" y="663"/>
                    </a:cubicBezTo>
                    <a:cubicBezTo>
                      <a:pt x="96" y="48"/>
                      <a:pt x="96" y="48"/>
                      <a:pt x="96" y="48"/>
                    </a:cubicBezTo>
                    <a:cubicBezTo>
                      <a:pt x="96" y="21"/>
                      <a:pt x="75" y="0"/>
                      <a:pt x="48" y="0"/>
                    </a:cubicBezTo>
                    <a:cubicBezTo>
                      <a:pt x="48" y="0"/>
                      <a:pt x="48" y="0"/>
                      <a:pt x="48" y="0"/>
                    </a:cubicBezTo>
                    <a:cubicBezTo>
                      <a:pt x="22" y="0"/>
                      <a:pt x="0" y="21"/>
                      <a:pt x="0" y="48"/>
                    </a:cubicBezTo>
                    <a:lnTo>
                      <a:pt x="0" y="663"/>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3" name="íṧḻidé"/>
              <p:cNvSpPr/>
              <p:nvPr/>
            </p:nvSpPr>
            <p:spPr bwMode="auto">
              <a:xfrm>
                <a:off x="2801" y="1699"/>
                <a:ext cx="30"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2" y="711"/>
                      <a:pt x="48" y="711"/>
                    </a:cubicBezTo>
                    <a:cubicBezTo>
                      <a:pt x="48" y="711"/>
                      <a:pt x="48" y="711"/>
                      <a:pt x="48" y="711"/>
                    </a:cubicBezTo>
                    <a:cubicBezTo>
                      <a:pt x="75" y="711"/>
                      <a:pt x="96" y="689"/>
                      <a:pt x="96" y="663"/>
                    </a:cubicBezTo>
                    <a:cubicBezTo>
                      <a:pt x="96" y="48"/>
                      <a:pt x="96" y="48"/>
                      <a:pt x="96" y="48"/>
                    </a:cubicBezTo>
                    <a:cubicBezTo>
                      <a:pt x="96" y="21"/>
                      <a:pt x="75" y="0"/>
                      <a:pt x="48" y="0"/>
                    </a:cubicBezTo>
                    <a:cubicBezTo>
                      <a:pt x="48" y="0"/>
                      <a:pt x="48" y="0"/>
                      <a:pt x="48" y="0"/>
                    </a:cubicBezTo>
                    <a:cubicBezTo>
                      <a:pt x="22" y="0"/>
                      <a:pt x="0" y="21"/>
                      <a:pt x="0" y="48"/>
                    </a:cubicBezTo>
                    <a:lnTo>
                      <a:pt x="0" y="663"/>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4" name="iṡḻíďe"/>
              <p:cNvSpPr/>
              <p:nvPr/>
            </p:nvSpPr>
            <p:spPr bwMode="auto">
              <a:xfrm>
                <a:off x="2866" y="1699"/>
                <a:ext cx="30"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1" y="711"/>
                      <a:pt x="48" y="711"/>
                    </a:cubicBezTo>
                    <a:cubicBezTo>
                      <a:pt x="48" y="711"/>
                      <a:pt x="48" y="711"/>
                      <a:pt x="48" y="711"/>
                    </a:cubicBezTo>
                    <a:cubicBezTo>
                      <a:pt x="74" y="711"/>
                      <a:pt x="96" y="689"/>
                      <a:pt x="96" y="663"/>
                    </a:cubicBezTo>
                    <a:cubicBezTo>
                      <a:pt x="96" y="48"/>
                      <a:pt x="96" y="48"/>
                      <a:pt x="96" y="48"/>
                    </a:cubicBezTo>
                    <a:cubicBezTo>
                      <a:pt x="96" y="21"/>
                      <a:pt x="74" y="0"/>
                      <a:pt x="48" y="0"/>
                    </a:cubicBezTo>
                    <a:cubicBezTo>
                      <a:pt x="48" y="0"/>
                      <a:pt x="48" y="0"/>
                      <a:pt x="48" y="0"/>
                    </a:cubicBezTo>
                    <a:cubicBezTo>
                      <a:pt x="21" y="0"/>
                      <a:pt x="0" y="21"/>
                      <a:pt x="0" y="48"/>
                    </a:cubicBezTo>
                    <a:lnTo>
                      <a:pt x="0" y="663"/>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5" name="išlïḑè"/>
              <p:cNvSpPr/>
              <p:nvPr/>
            </p:nvSpPr>
            <p:spPr bwMode="auto">
              <a:xfrm>
                <a:off x="2932" y="1699"/>
                <a:ext cx="29"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1" y="711"/>
                      <a:pt x="48" y="711"/>
                    </a:cubicBezTo>
                    <a:cubicBezTo>
                      <a:pt x="48" y="711"/>
                      <a:pt x="48" y="711"/>
                      <a:pt x="48" y="711"/>
                    </a:cubicBezTo>
                    <a:cubicBezTo>
                      <a:pt x="74" y="711"/>
                      <a:pt x="96" y="689"/>
                      <a:pt x="96" y="663"/>
                    </a:cubicBezTo>
                    <a:cubicBezTo>
                      <a:pt x="96" y="48"/>
                      <a:pt x="96" y="48"/>
                      <a:pt x="96" y="48"/>
                    </a:cubicBezTo>
                    <a:cubicBezTo>
                      <a:pt x="96" y="21"/>
                      <a:pt x="74" y="0"/>
                      <a:pt x="48" y="0"/>
                    </a:cubicBezTo>
                    <a:cubicBezTo>
                      <a:pt x="48" y="0"/>
                      <a:pt x="48" y="0"/>
                      <a:pt x="48" y="0"/>
                    </a:cubicBezTo>
                    <a:cubicBezTo>
                      <a:pt x="21" y="0"/>
                      <a:pt x="0" y="21"/>
                      <a:pt x="0" y="48"/>
                    </a:cubicBezTo>
                    <a:lnTo>
                      <a:pt x="0" y="663"/>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6" name="íş1ïḑè"/>
              <p:cNvSpPr/>
              <p:nvPr/>
            </p:nvSpPr>
            <p:spPr bwMode="auto">
              <a:xfrm>
                <a:off x="2606" y="1699"/>
                <a:ext cx="30"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1" y="711"/>
                      <a:pt x="48" y="711"/>
                    </a:cubicBezTo>
                    <a:cubicBezTo>
                      <a:pt x="48" y="711"/>
                      <a:pt x="48" y="711"/>
                      <a:pt x="48" y="711"/>
                    </a:cubicBezTo>
                    <a:cubicBezTo>
                      <a:pt x="74" y="711"/>
                      <a:pt x="96" y="689"/>
                      <a:pt x="96" y="663"/>
                    </a:cubicBezTo>
                    <a:cubicBezTo>
                      <a:pt x="96" y="48"/>
                      <a:pt x="96" y="48"/>
                      <a:pt x="96" y="48"/>
                    </a:cubicBezTo>
                    <a:cubicBezTo>
                      <a:pt x="96" y="21"/>
                      <a:pt x="74" y="0"/>
                      <a:pt x="48" y="0"/>
                    </a:cubicBezTo>
                    <a:cubicBezTo>
                      <a:pt x="48" y="0"/>
                      <a:pt x="48" y="0"/>
                      <a:pt x="48" y="0"/>
                    </a:cubicBezTo>
                    <a:cubicBezTo>
                      <a:pt x="21" y="0"/>
                      <a:pt x="0" y="21"/>
                      <a:pt x="0" y="48"/>
                    </a:cubicBezTo>
                    <a:lnTo>
                      <a:pt x="0" y="663"/>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7" name="íṣḻîḑê"/>
              <p:cNvSpPr/>
              <p:nvPr/>
            </p:nvSpPr>
            <p:spPr bwMode="auto">
              <a:xfrm>
                <a:off x="2581" y="1429"/>
                <a:ext cx="469" cy="249"/>
              </a:xfrm>
              <a:custGeom>
                <a:avLst/>
                <a:gdLst>
                  <a:gd name="T0" fmla="*/ 0 w 1542"/>
                  <a:gd name="T1" fmla="*/ 797 h 821"/>
                  <a:gd name="T2" fmla="*/ 24 w 1542"/>
                  <a:gd name="T3" fmla="*/ 821 h 821"/>
                  <a:gd name="T4" fmla="*/ 1518 w 1542"/>
                  <a:gd name="T5" fmla="*/ 821 h 821"/>
                  <a:gd name="T6" fmla="*/ 1542 w 1542"/>
                  <a:gd name="T7" fmla="*/ 797 h 821"/>
                  <a:gd name="T8" fmla="*/ 1542 w 1542"/>
                  <a:gd name="T9" fmla="*/ 24 h 821"/>
                  <a:gd name="T10" fmla="*/ 1518 w 1542"/>
                  <a:gd name="T11" fmla="*/ 0 h 821"/>
                  <a:gd name="T12" fmla="*/ 24 w 1542"/>
                  <a:gd name="T13" fmla="*/ 0 h 821"/>
                  <a:gd name="T14" fmla="*/ 0 w 1542"/>
                  <a:gd name="T15" fmla="*/ 24 h 821"/>
                  <a:gd name="T16" fmla="*/ 0 w 1542"/>
                  <a:gd name="T17" fmla="*/ 797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2" h="821">
                    <a:moveTo>
                      <a:pt x="0" y="797"/>
                    </a:moveTo>
                    <a:cubicBezTo>
                      <a:pt x="0" y="811"/>
                      <a:pt x="10" y="821"/>
                      <a:pt x="24" y="821"/>
                    </a:cubicBezTo>
                    <a:cubicBezTo>
                      <a:pt x="1518" y="821"/>
                      <a:pt x="1518" y="821"/>
                      <a:pt x="1518" y="821"/>
                    </a:cubicBezTo>
                    <a:cubicBezTo>
                      <a:pt x="1531" y="821"/>
                      <a:pt x="1542" y="811"/>
                      <a:pt x="1542" y="797"/>
                    </a:cubicBezTo>
                    <a:cubicBezTo>
                      <a:pt x="1542" y="24"/>
                      <a:pt x="1542" y="24"/>
                      <a:pt x="1542" y="24"/>
                    </a:cubicBezTo>
                    <a:cubicBezTo>
                      <a:pt x="1542" y="11"/>
                      <a:pt x="1531" y="0"/>
                      <a:pt x="1518" y="0"/>
                    </a:cubicBezTo>
                    <a:cubicBezTo>
                      <a:pt x="24" y="0"/>
                      <a:pt x="24" y="0"/>
                      <a:pt x="24" y="0"/>
                    </a:cubicBezTo>
                    <a:cubicBezTo>
                      <a:pt x="10" y="0"/>
                      <a:pt x="0" y="11"/>
                      <a:pt x="0" y="24"/>
                    </a:cubicBezTo>
                    <a:lnTo>
                      <a:pt x="0" y="797"/>
                    </a:lnTo>
                    <a:close/>
                  </a:path>
                </a:pathLst>
              </a:custGeom>
              <a:solidFill>
                <a:srgbClr val="1090B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8" name="íşľîḓe"/>
              <p:cNvSpPr/>
              <p:nvPr/>
            </p:nvSpPr>
            <p:spPr bwMode="auto">
              <a:xfrm>
                <a:off x="2996" y="1447"/>
                <a:ext cx="30" cy="216"/>
              </a:xfrm>
              <a:custGeom>
                <a:avLst/>
                <a:gdLst>
                  <a:gd name="T0" fmla="*/ 0 w 97"/>
                  <a:gd name="T1" fmla="*/ 663 h 711"/>
                  <a:gd name="T2" fmla="*/ 49 w 97"/>
                  <a:gd name="T3" fmla="*/ 711 h 711"/>
                  <a:gd name="T4" fmla="*/ 49 w 97"/>
                  <a:gd name="T5" fmla="*/ 711 h 711"/>
                  <a:gd name="T6" fmla="*/ 97 w 97"/>
                  <a:gd name="T7" fmla="*/ 663 h 711"/>
                  <a:gd name="T8" fmla="*/ 97 w 97"/>
                  <a:gd name="T9" fmla="*/ 48 h 711"/>
                  <a:gd name="T10" fmla="*/ 49 w 97"/>
                  <a:gd name="T11" fmla="*/ 0 h 711"/>
                  <a:gd name="T12" fmla="*/ 49 w 97"/>
                  <a:gd name="T13" fmla="*/ 0 h 711"/>
                  <a:gd name="T14" fmla="*/ 0 w 97"/>
                  <a:gd name="T15" fmla="*/ 48 h 711"/>
                  <a:gd name="T16" fmla="*/ 0 w 97"/>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711">
                    <a:moveTo>
                      <a:pt x="0" y="663"/>
                    </a:moveTo>
                    <a:cubicBezTo>
                      <a:pt x="0" y="689"/>
                      <a:pt x="22" y="711"/>
                      <a:pt x="49" y="711"/>
                    </a:cubicBezTo>
                    <a:cubicBezTo>
                      <a:pt x="49" y="711"/>
                      <a:pt x="49" y="711"/>
                      <a:pt x="49" y="711"/>
                    </a:cubicBezTo>
                    <a:cubicBezTo>
                      <a:pt x="75" y="711"/>
                      <a:pt x="97" y="689"/>
                      <a:pt x="97" y="663"/>
                    </a:cubicBezTo>
                    <a:cubicBezTo>
                      <a:pt x="97" y="48"/>
                      <a:pt x="97" y="48"/>
                      <a:pt x="97" y="48"/>
                    </a:cubicBezTo>
                    <a:cubicBezTo>
                      <a:pt x="97" y="21"/>
                      <a:pt x="75" y="0"/>
                      <a:pt x="49" y="0"/>
                    </a:cubicBezTo>
                    <a:cubicBezTo>
                      <a:pt x="49" y="0"/>
                      <a:pt x="49" y="0"/>
                      <a:pt x="49" y="0"/>
                    </a:cubicBezTo>
                    <a:cubicBezTo>
                      <a:pt x="22" y="0"/>
                      <a:pt x="0" y="21"/>
                      <a:pt x="0" y="48"/>
                    </a:cubicBezTo>
                    <a:lnTo>
                      <a:pt x="0" y="66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19" name="ïŝlîḓè"/>
              <p:cNvSpPr/>
              <p:nvPr/>
            </p:nvSpPr>
            <p:spPr bwMode="auto">
              <a:xfrm>
                <a:off x="2672" y="1447"/>
                <a:ext cx="29"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1" y="711"/>
                      <a:pt x="48" y="711"/>
                    </a:cubicBezTo>
                    <a:cubicBezTo>
                      <a:pt x="48" y="711"/>
                      <a:pt x="48" y="711"/>
                      <a:pt x="48" y="711"/>
                    </a:cubicBezTo>
                    <a:cubicBezTo>
                      <a:pt x="74" y="711"/>
                      <a:pt x="96" y="689"/>
                      <a:pt x="96" y="663"/>
                    </a:cubicBezTo>
                    <a:cubicBezTo>
                      <a:pt x="96" y="48"/>
                      <a:pt x="96" y="48"/>
                      <a:pt x="96" y="48"/>
                    </a:cubicBezTo>
                    <a:cubicBezTo>
                      <a:pt x="96" y="21"/>
                      <a:pt x="74" y="0"/>
                      <a:pt x="48" y="0"/>
                    </a:cubicBezTo>
                    <a:cubicBezTo>
                      <a:pt x="48" y="0"/>
                      <a:pt x="48" y="0"/>
                      <a:pt x="48" y="0"/>
                    </a:cubicBezTo>
                    <a:cubicBezTo>
                      <a:pt x="21" y="0"/>
                      <a:pt x="0" y="21"/>
                      <a:pt x="0" y="48"/>
                    </a:cubicBezTo>
                    <a:lnTo>
                      <a:pt x="0" y="66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0" name="î$lîḋe"/>
              <p:cNvSpPr/>
              <p:nvPr/>
            </p:nvSpPr>
            <p:spPr bwMode="auto">
              <a:xfrm>
                <a:off x="2736" y="1447"/>
                <a:ext cx="30"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2" y="711"/>
                      <a:pt x="48" y="711"/>
                    </a:cubicBezTo>
                    <a:cubicBezTo>
                      <a:pt x="48" y="711"/>
                      <a:pt x="48" y="711"/>
                      <a:pt x="48" y="711"/>
                    </a:cubicBezTo>
                    <a:cubicBezTo>
                      <a:pt x="75" y="711"/>
                      <a:pt x="96" y="689"/>
                      <a:pt x="96" y="663"/>
                    </a:cubicBezTo>
                    <a:cubicBezTo>
                      <a:pt x="96" y="48"/>
                      <a:pt x="96" y="48"/>
                      <a:pt x="96" y="48"/>
                    </a:cubicBezTo>
                    <a:cubicBezTo>
                      <a:pt x="96" y="21"/>
                      <a:pt x="75" y="0"/>
                      <a:pt x="48" y="0"/>
                    </a:cubicBezTo>
                    <a:cubicBezTo>
                      <a:pt x="48" y="0"/>
                      <a:pt x="48" y="0"/>
                      <a:pt x="48" y="0"/>
                    </a:cubicBezTo>
                    <a:cubicBezTo>
                      <a:pt x="22" y="0"/>
                      <a:pt x="0" y="21"/>
                      <a:pt x="0" y="48"/>
                    </a:cubicBezTo>
                    <a:lnTo>
                      <a:pt x="0" y="66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1" name="íSľiḋê"/>
              <p:cNvSpPr/>
              <p:nvPr/>
            </p:nvSpPr>
            <p:spPr bwMode="auto">
              <a:xfrm>
                <a:off x="2801" y="1447"/>
                <a:ext cx="30"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2" y="711"/>
                      <a:pt x="48" y="711"/>
                    </a:cubicBezTo>
                    <a:cubicBezTo>
                      <a:pt x="48" y="711"/>
                      <a:pt x="48" y="711"/>
                      <a:pt x="48" y="711"/>
                    </a:cubicBezTo>
                    <a:cubicBezTo>
                      <a:pt x="75" y="711"/>
                      <a:pt x="96" y="689"/>
                      <a:pt x="96" y="663"/>
                    </a:cubicBezTo>
                    <a:cubicBezTo>
                      <a:pt x="96" y="48"/>
                      <a:pt x="96" y="48"/>
                      <a:pt x="96" y="48"/>
                    </a:cubicBezTo>
                    <a:cubicBezTo>
                      <a:pt x="96" y="21"/>
                      <a:pt x="75" y="0"/>
                      <a:pt x="48" y="0"/>
                    </a:cubicBezTo>
                    <a:cubicBezTo>
                      <a:pt x="48" y="0"/>
                      <a:pt x="48" y="0"/>
                      <a:pt x="48" y="0"/>
                    </a:cubicBezTo>
                    <a:cubicBezTo>
                      <a:pt x="22" y="0"/>
                      <a:pt x="0" y="21"/>
                      <a:pt x="0" y="48"/>
                    </a:cubicBezTo>
                    <a:lnTo>
                      <a:pt x="0" y="66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2" name="iṩlîďè"/>
              <p:cNvSpPr/>
              <p:nvPr/>
            </p:nvSpPr>
            <p:spPr bwMode="auto">
              <a:xfrm>
                <a:off x="2866" y="1447"/>
                <a:ext cx="30"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1" y="711"/>
                      <a:pt x="48" y="711"/>
                    </a:cubicBezTo>
                    <a:cubicBezTo>
                      <a:pt x="48" y="711"/>
                      <a:pt x="48" y="711"/>
                      <a:pt x="48" y="711"/>
                    </a:cubicBezTo>
                    <a:cubicBezTo>
                      <a:pt x="74" y="711"/>
                      <a:pt x="96" y="689"/>
                      <a:pt x="96" y="663"/>
                    </a:cubicBezTo>
                    <a:cubicBezTo>
                      <a:pt x="96" y="48"/>
                      <a:pt x="96" y="48"/>
                      <a:pt x="96" y="48"/>
                    </a:cubicBezTo>
                    <a:cubicBezTo>
                      <a:pt x="96" y="21"/>
                      <a:pt x="74" y="0"/>
                      <a:pt x="48" y="0"/>
                    </a:cubicBezTo>
                    <a:cubicBezTo>
                      <a:pt x="48" y="0"/>
                      <a:pt x="48" y="0"/>
                      <a:pt x="48" y="0"/>
                    </a:cubicBezTo>
                    <a:cubicBezTo>
                      <a:pt x="21" y="0"/>
                      <a:pt x="0" y="21"/>
                      <a:pt x="0" y="48"/>
                    </a:cubicBezTo>
                    <a:lnTo>
                      <a:pt x="0" y="66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3" name="ïṣḷide"/>
              <p:cNvSpPr/>
              <p:nvPr/>
            </p:nvSpPr>
            <p:spPr bwMode="auto">
              <a:xfrm>
                <a:off x="2932" y="1447"/>
                <a:ext cx="29"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1" y="711"/>
                      <a:pt x="48" y="711"/>
                    </a:cubicBezTo>
                    <a:cubicBezTo>
                      <a:pt x="48" y="711"/>
                      <a:pt x="48" y="711"/>
                      <a:pt x="48" y="711"/>
                    </a:cubicBezTo>
                    <a:cubicBezTo>
                      <a:pt x="74" y="711"/>
                      <a:pt x="96" y="689"/>
                      <a:pt x="96" y="663"/>
                    </a:cubicBezTo>
                    <a:cubicBezTo>
                      <a:pt x="96" y="48"/>
                      <a:pt x="96" y="48"/>
                      <a:pt x="96" y="48"/>
                    </a:cubicBezTo>
                    <a:cubicBezTo>
                      <a:pt x="96" y="21"/>
                      <a:pt x="74" y="0"/>
                      <a:pt x="48" y="0"/>
                    </a:cubicBezTo>
                    <a:cubicBezTo>
                      <a:pt x="48" y="0"/>
                      <a:pt x="48" y="0"/>
                      <a:pt x="48" y="0"/>
                    </a:cubicBezTo>
                    <a:cubicBezTo>
                      <a:pt x="21" y="0"/>
                      <a:pt x="0" y="21"/>
                      <a:pt x="0" y="48"/>
                    </a:cubicBezTo>
                    <a:lnTo>
                      <a:pt x="0" y="66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4" name="ïṩ1iďê"/>
              <p:cNvSpPr/>
              <p:nvPr/>
            </p:nvSpPr>
            <p:spPr bwMode="auto">
              <a:xfrm>
                <a:off x="2606" y="1447"/>
                <a:ext cx="30"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1" y="711"/>
                      <a:pt x="48" y="711"/>
                    </a:cubicBezTo>
                    <a:cubicBezTo>
                      <a:pt x="48" y="711"/>
                      <a:pt x="48" y="711"/>
                      <a:pt x="48" y="711"/>
                    </a:cubicBezTo>
                    <a:cubicBezTo>
                      <a:pt x="74" y="711"/>
                      <a:pt x="96" y="689"/>
                      <a:pt x="96" y="663"/>
                    </a:cubicBezTo>
                    <a:cubicBezTo>
                      <a:pt x="96" y="48"/>
                      <a:pt x="96" y="48"/>
                      <a:pt x="96" y="48"/>
                    </a:cubicBezTo>
                    <a:cubicBezTo>
                      <a:pt x="96" y="21"/>
                      <a:pt x="74" y="0"/>
                      <a:pt x="48" y="0"/>
                    </a:cubicBezTo>
                    <a:cubicBezTo>
                      <a:pt x="48" y="0"/>
                      <a:pt x="48" y="0"/>
                      <a:pt x="48" y="0"/>
                    </a:cubicBezTo>
                    <a:cubicBezTo>
                      <a:pt x="21" y="0"/>
                      <a:pt x="0" y="21"/>
                      <a:pt x="0" y="48"/>
                    </a:cubicBezTo>
                    <a:lnTo>
                      <a:pt x="0" y="663"/>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5" name="iŝlïḋè"/>
              <p:cNvSpPr/>
              <p:nvPr/>
            </p:nvSpPr>
            <p:spPr bwMode="auto">
              <a:xfrm>
                <a:off x="2323" y="1676"/>
                <a:ext cx="251" cy="251"/>
              </a:xfrm>
              <a:custGeom>
                <a:avLst/>
                <a:gdLst>
                  <a:gd name="T0" fmla="*/ 0 w 826"/>
                  <a:gd name="T1" fmla="*/ 777 h 827"/>
                  <a:gd name="T2" fmla="*/ 49 w 826"/>
                  <a:gd name="T3" fmla="*/ 827 h 827"/>
                  <a:gd name="T4" fmla="*/ 777 w 826"/>
                  <a:gd name="T5" fmla="*/ 827 h 827"/>
                  <a:gd name="T6" fmla="*/ 826 w 826"/>
                  <a:gd name="T7" fmla="*/ 777 h 827"/>
                  <a:gd name="T8" fmla="*/ 826 w 826"/>
                  <a:gd name="T9" fmla="*/ 50 h 827"/>
                  <a:gd name="T10" fmla="*/ 777 w 826"/>
                  <a:gd name="T11" fmla="*/ 0 h 827"/>
                  <a:gd name="T12" fmla="*/ 49 w 826"/>
                  <a:gd name="T13" fmla="*/ 0 h 827"/>
                  <a:gd name="T14" fmla="*/ 0 w 826"/>
                  <a:gd name="T15" fmla="*/ 50 h 827"/>
                  <a:gd name="T16" fmla="*/ 0 w 826"/>
                  <a:gd name="T17" fmla="*/ 77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827">
                    <a:moveTo>
                      <a:pt x="0" y="777"/>
                    </a:moveTo>
                    <a:cubicBezTo>
                      <a:pt x="0" y="805"/>
                      <a:pt x="22" y="827"/>
                      <a:pt x="49" y="827"/>
                    </a:cubicBezTo>
                    <a:cubicBezTo>
                      <a:pt x="777" y="827"/>
                      <a:pt x="777" y="827"/>
                      <a:pt x="777" y="827"/>
                    </a:cubicBezTo>
                    <a:cubicBezTo>
                      <a:pt x="804" y="827"/>
                      <a:pt x="826" y="805"/>
                      <a:pt x="826" y="777"/>
                    </a:cubicBezTo>
                    <a:cubicBezTo>
                      <a:pt x="826" y="50"/>
                      <a:pt x="826" y="50"/>
                      <a:pt x="826" y="50"/>
                    </a:cubicBezTo>
                    <a:cubicBezTo>
                      <a:pt x="826" y="23"/>
                      <a:pt x="804" y="0"/>
                      <a:pt x="777" y="0"/>
                    </a:cubicBezTo>
                    <a:cubicBezTo>
                      <a:pt x="49" y="0"/>
                      <a:pt x="49" y="0"/>
                      <a:pt x="49" y="0"/>
                    </a:cubicBezTo>
                    <a:cubicBezTo>
                      <a:pt x="22" y="0"/>
                      <a:pt x="0" y="23"/>
                      <a:pt x="0" y="50"/>
                    </a:cubicBezTo>
                    <a:lnTo>
                      <a:pt x="0" y="777"/>
                    </a:lnTo>
                    <a:close/>
                  </a:path>
                </a:pathLst>
              </a:custGeom>
              <a:solidFill>
                <a:srgbClr val="E54F4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6" name="iŝľîḋé"/>
              <p:cNvSpPr/>
              <p:nvPr/>
            </p:nvSpPr>
            <p:spPr bwMode="auto">
              <a:xfrm>
                <a:off x="2340" y="1757"/>
                <a:ext cx="217" cy="29"/>
              </a:xfrm>
              <a:custGeom>
                <a:avLst/>
                <a:gdLst>
                  <a:gd name="T0" fmla="*/ 48 w 711"/>
                  <a:gd name="T1" fmla="*/ 0 h 96"/>
                  <a:gd name="T2" fmla="*/ 0 w 711"/>
                  <a:gd name="T3" fmla="*/ 48 h 96"/>
                  <a:gd name="T4" fmla="*/ 0 w 711"/>
                  <a:gd name="T5" fmla="*/ 48 h 96"/>
                  <a:gd name="T6" fmla="*/ 48 w 711"/>
                  <a:gd name="T7" fmla="*/ 96 h 96"/>
                  <a:gd name="T8" fmla="*/ 663 w 711"/>
                  <a:gd name="T9" fmla="*/ 96 h 96"/>
                  <a:gd name="T10" fmla="*/ 711 w 711"/>
                  <a:gd name="T11" fmla="*/ 48 h 96"/>
                  <a:gd name="T12" fmla="*/ 711 w 711"/>
                  <a:gd name="T13" fmla="*/ 48 h 96"/>
                  <a:gd name="T14" fmla="*/ 663 w 711"/>
                  <a:gd name="T15" fmla="*/ 0 h 96"/>
                  <a:gd name="T16" fmla="*/ 48 w 711"/>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96">
                    <a:moveTo>
                      <a:pt x="48" y="0"/>
                    </a:moveTo>
                    <a:cubicBezTo>
                      <a:pt x="21" y="0"/>
                      <a:pt x="0" y="21"/>
                      <a:pt x="0" y="48"/>
                    </a:cubicBezTo>
                    <a:cubicBezTo>
                      <a:pt x="0" y="48"/>
                      <a:pt x="0" y="48"/>
                      <a:pt x="0" y="48"/>
                    </a:cubicBezTo>
                    <a:cubicBezTo>
                      <a:pt x="0" y="74"/>
                      <a:pt x="21" y="96"/>
                      <a:pt x="48" y="96"/>
                    </a:cubicBezTo>
                    <a:cubicBezTo>
                      <a:pt x="663" y="96"/>
                      <a:pt x="663" y="96"/>
                      <a:pt x="663" y="96"/>
                    </a:cubicBezTo>
                    <a:cubicBezTo>
                      <a:pt x="689" y="96"/>
                      <a:pt x="711" y="74"/>
                      <a:pt x="711" y="48"/>
                    </a:cubicBezTo>
                    <a:cubicBezTo>
                      <a:pt x="711" y="48"/>
                      <a:pt x="711" y="48"/>
                      <a:pt x="711" y="48"/>
                    </a:cubicBezTo>
                    <a:cubicBezTo>
                      <a:pt x="711" y="21"/>
                      <a:pt x="689" y="0"/>
                      <a:pt x="663" y="0"/>
                    </a:cubicBezTo>
                    <a:lnTo>
                      <a:pt x="48"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7" name="íSļíḍè"/>
              <p:cNvSpPr/>
              <p:nvPr/>
            </p:nvSpPr>
            <p:spPr bwMode="auto">
              <a:xfrm>
                <a:off x="2340" y="1817"/>
                <a:ext cx="217" cy="30"/>
              </a:xfrm>
              <a:custGeom>
                <a:avLst/>
                <a:gdLst>
                  <a:gd name="T0" fmla="*/ 48 w 711"/>
                  <a:gd name="T1" fmla="*/ 0 h 96"/>
                  <a:gd name="T2" fmla="*/ 0 w 711"/>
                  <a:gd name="T3" fmla="*/ 48 h 96"/>
                  <a:gd name="T4" fmla="*/ 0 w 711"/>
                  <a:gd name="T5" fmla="*/ 48 h 96"/>
                  <a:gd name="T6" fmla="*/ 48 w 711"/>
                  <a:gd name="T7" fmla="*/ 96 h 96"/>
                  <a:gd name="T8" fmla="*/ 663 w 711"/>
                  <a:gd name="T9" fmla="*/ 96 h 96"/>
                  <a:gd name="T10" fmla="*/ 711 w 711"/>
                  <a:gd name="T11" fmla="*/ 48 h 96"/>
                  <a:gd name="T12" fmla="*/ 711 w 711"/>
                  <a:gd name="T13" fmla="*/ 48 h 96"/>
                  <a:gd name="T14" fmla="*/ 663 w 711"/>
                  <a:gd name="T15" fmla="*/ 0 h 96"/>
                  <a:gd name="T16" fmla="*/ 48 w 711"/>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96">
                    <a:moveTo>
                      <a:pt x="48" y="0"/>
                    </a:moveTo>
                    <a:cubicBezTo>
                      <a:pt x="21" y="0"/>
                      <a:pt x="0" y="21"/>
                      <a:pt x="0" y="48"/>
                    </a:cubicBezTo>
                    <a:cubicBezTo>
                      <a:pt x="0" y="48"/>
                      <a:pt x="0" y="48"/>
                      <a:pt x="0" y="48"/>
                    </a:cubicBezTo>
                    <a:cubicBezTo>
                      <a:pt x="0" y="74"/>
                      <a:pt x="21" y="96"/>
                      <a:pt x="48" y="96"/>
                    </a:cubicBezTo>
                    <a:cubicBezTo>
                      <a:pt x="663" y="96"/>
                      <a:pt x="663" y="96"/>
                      <a:pt x="663" y="96"/>
                    </a:cubicBezTo>
                    <a:cubicBezTo>
                      <a:pt x="689" y="96"/>
                      <a:pt x="711" y="74"/>
                      <a:pt x="711" y="48"/>
                    </a:cubicBezTo>
                    <a:cubicBezTo>
                      <a:pt x="711" y="48"/>
                      <a:pt x="711" y="48"/>
                      <a:pt x="711" y="48"/>
                    </a:cubicBezTo>
                    <a:cubicBezTo>
                      <a:pt x="711" y="21"/>
                      <a:pt x="689" y="0"/>
                      <a:pt x="663" y="0"/>
                    </a:cubicBezTo>
                    <a:lnTo>
                      <a:pt x="48"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8" name="ïṩḻïďe"/>
              <p:cNvSpPr/>
              <p:nvPr/>
            </p:nvSpPr>
            <p:spPr bwMode="auto">
              <a:xfrm>
                <a:off x="2340" y="1878"/>
                <a:ext cx="217" cy="29"/>
              </a:xfrm>
              <a:custGeom>
                <a:avLst/>
                <a:gdLst>
                  <a:gd name="T0" fmla="*/ 48 w 711"/>
                  <a:gd name="T1" fmla="*/ 0 h 96"/>
                  <a:gd name="T2" fmla="*/ 0 w 711"/>
                  <a:gd name="T3" fmla="*/ 48 h 96"/>
                  <a:gd name="T4" fmla="*/ 0 w 711"/>
                  <a:gd name="T5" fmla="*/ 48 h 96"/>
                  <a:gd name="T6" fmla="*/ 48 w 711"/>
                  <a:gd name="T7" fmla="*/ 96 h 96"/>
                  <a:gd name="T8" fmla="*/ 663 w 711"/>
                  <a:gd name="T9" fmla="*/ 96 h 96"/>
                  <a:gd name="T10" fmla="*/ 711 w 711"/>
                  <a:gd name="T11" fmla="*/ 48 h 96"/>
                  <a:gd name="T12" fmla="*/ 711 w 711"/>
                  <a:gd name="T13" fmla="*/ 48 h 96"/>
                  <a:gd name="T14" fmla="*/ 663 w 711"/>
                  <a:gd name="T15" fmla="*/ 0 h 96"/>
                  <a:gd name="T16" fmla="*/ 48 w 711"/>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96">
                    <a:moveTo>
                      <a:pt x="48" y="0"/>
                    </a:moveTo>
                    <a:cubicBezTo>
                      <a:pt x="21" y="0"/>
                      <a:pt x="0" y="21"/>
                      <a:pt x="0" y="48"/>
                    </a:cubicBezTo>
                    <a:cubicBezTo>
                      <a:pt x="0" y="48"/>
                      <a:pt x="0" y="48"/>
                      <a:pt x="0" y="48"/>
                    </a:cubicBezTo>
                    <a:cubicBezTo>
                      <a:pt x="0" y="74"/>
                      <a:pt x="21" y="96"/>
                      <a:pt x="48" y="96"/>
                    </a:cubicBezTo>
                    <a:cubicBezTo>
                      <a:pt x="663" y="96"/>
                      <a:pt x="663" y="96"/>
                      <a:pt x="663" y="96"/>
                    </a:cubicBezTo>
                    <a:cubicBezTo>
                      <a:pt x="689" y="96"/>
                      <a:pt x="711" y="74"/>
                      <a:pt x="711" y="48"/>
                    </a:cubicBezTo>
                    <a:cubicBezTo>
                      <a:pt x="711" y="48"/>
                      <a:pt x="711" y="48"/>
                      <a:pt x="711" y="48"/>
                    </a:cubicBezTo>
                    <a:cubicBezTo>
                      <a:pt x="711" y="21"/>
                      <a:pt x="689" y="0"/>
                      <a:pt x="663" y="0"/>
                    </a:cubicBezTo>
                    <a:lnTo>
                      <a:pt x="48"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29" name="îś1iḓé"/>
              <p:cNvSpPr/>
              <p:nvPr/>
            </p:nvSpPr>
            <p:spPr bwMode="auto">
              <a:xfrm>
                <a:off x="2340" y="1697"/>
                <a:ext cx="217" cy="29"/>
              </a:xfrm>
              <a:custGeom>
                <a:avLst/>
                <a:gdLst>
                  <a:gd name="T0" fmla="*/ 48 w 711"/>
                  <a:gd name="T1" fmla="*/ 0 h 96"/>
                  <a:gd name="T2" fmla="*/ 0 w 711"/>
                  <a:gd name="T3" fmla="*/ 48 h 96"/>
                  <a:gd name="T4" fmla="*/ 0 w 711"/>
                  <a:gd name="T5" fmla="*/ 48 h 96"/>
                  <a:gd name="T6" fmla="*/ 48 w 711"/>
                  <a:gd name="T7" fmla="*/ 96 h 96"/>
                  <a:gd name="T8" fmla="*/ 663 w 711"/>
                  <a:gd name="T9" fmla="*/ 96 h 96"/>
                  <a:gd name="T10" fmla="*/ 711 w 711"/>
                  <a:gd name="T11" fmla="*/ 48 h 96"/>
                  <a:gd name="T12" fmla="*/ 711 w 711"/>
                  <a:gd name="T13" fmla="*/ 48 h 96"/>
                  <a:gd name="T14" fmla="*/ 663 w 711"/>
                  <a:gd name="T15" fmla="*/ 0 h 96"/>
                  <a:gd name="T16" fmla="*/ 48 w 711"/>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96">
                    <a:moveTo>
                      <a:pt x="48" y="0"/>
                    </a:moveTo>
                    <a:cubicBezTo>
                      <a:pt x="21" y="0"/>
                      <a:pt x="0" y="21"/>
                      <a:pt x="0" y="48"/>
                    </a:cubicBezTo>
                    <a:cubicBezTo>
                      <a:pt x="0" y="48"/>
                      <a:pt x="0" y="48"/>
                      <a:pt x="0" y="48"/>
                    </a:cubicBezTo>
                    <a:cubicBezTo>
                      <a:pt x="0" y="74"/>
                      <a:pt x="21" y="96"/>
                      <a:pt x="48" y="96"/>
                    </a:cubicBezTo>
                    <a:cubicBezTo>
                      <a:pt x="663" y="96"/>
                      <a:pt x="663" y="96"/>
                      <a:pt x="663" y="96"/>
                    </a:cubicBezTo>
                    <a:cubicBezTo>
                      <a:pt x="689" y="96"/>
                      <a:pt x="711" y="74"/>
                      <a:pt x="711" y="48"/>
                    </a:cubicBezTo>
                    <a:cubicBezTo>
                      <a:pt x="711" y="48"/>
                      <a:pt x="711" y="48"/>
                      <a:pt x="711" y="48"/>
                    </a:cubicBezTo>
                    <a:cubicBezTo>
                      <a:pt x="711" y="21"/>
                      <a:pt x="689" y="0"/>
                      <a:pt x="663" y="0"/>
                    </a:cubicBezTo>
                    <a:lnTo>
                      <a:pt x="48"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0" name="ïś1îdé"/>
              <p:cNvSpPr/>
              <p:nvPr/>
            </p:nvSpPr>
            <p:spPr bwMode="auto">
              <a:xfrm>
                <a:off x="2505" y="1674"/>
                <a:ext cx="6" cy="257"/>
              </a:xfrm>
              <a:custGeom>
                <a:avLst/>
                <a:gdLst>
                  <a:gd name="T0" fmla="*/ 0 w 21"/>
                  <a:gd name="T1" fmla="*/ 835 h 845"/>
                  <a:gd name="T2" fmla="*/ 10 w 21"/>
                  <a:gd name="T3" fmla="*/ 845 h 845"/>
                  <a:gd name="T4" fmla="*/ 10 w 21"/>
                  <a:gd name="T5" fmla="*/ 845 h 845"/>
                  <a:gd name="T6" fmla="*/ 21 w 21"/>
                  <a:gd name="T7" fmla="*/ 835 h 845"/>
                  <a:gd name="T8" fmla="*/ 21 w 21"/>
                  <a:gd name="T9" fmla="*/ 11 h 845"/>
                  <a:gd name="T10" fmla="*/ 10 w 21"/>
                  <a:gd name="T11" fmla="*/ 0 h 845"/>
                  <a:gd name="T12" fmla="*/ 10 w 21"/>
                  <a:gd name="T13" fmla="*/ 0 h 845"/>
                  <a:gd name="T14" fmla="*/ 0 w 21"/>
                  <a:gd name="T15" fmla="*/ 11 h 845"/>
                  <a:gd name="T16" fmla="*/ 0 w 21"/>
                  <a:gd name="T17" fmla="*/ 835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45">
                    <a:moveTo>
                      <a:pt x="0" y="835"/>
                    </a:moveTo>
                    <a:cubicBezTo>
                      <a:pt x="0" y="841"/>
                      <a:pt x="4" y="845"/>
                      <a:pt x="10" y="845"/>
                    </a:cubicBezTo>
                    <a:cubicBezTo>
                      <a:pt x="10" y="845"/>
                      <a:pt x="10" y="845"/>
                      <a:pt x="10" y="845"/>
                    </a:cubicBezTo>
                    <a:cubicBezTo>
                      <a:pt x="16" y="845"/>
                      <a:pt x="21" y="841"/>
                      <a:pt x="21" y="835"/>
                    </a:cubicBezTo>
                    <a:cubicBezTo>
                      <a:pt x="21" y="11"/>
                      <a:pt x="21" y="11"/>
                      <a:pt x="21" y="11"/>
                    </a:cubicBezTo>
                    <a:cubicBezTo>
                      <a:pt x="21" y="5"/>
                      <a:pt x="16" y="0"/>
                      <a:pt x="10" y="0"/>
                    </a:cubicBezTo>
                    <a:cubicBezTo>
                      <a:pt x="10" y="0"/>
                      <a:pt x="10" y="0"/>
                      <a:pt x="10" y="0"/>
                    </a:cubicBezTo>
                    <a:cubicBezTo>
                      <a:pt x="4" y="0"/>
                      <a:pt x="0" y="5"/>
                      <a:pt x="0" y="11"/>
                    </a:cubicBezTo>
                    <a:lnTo>
                      <a:pt x="0" y="835"/>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1" name="îś1ïḍe"/>
              <p:cNvSpPr/>
              <p:nvPr/>
            </p:nvSpPr>
            <p:spPr bwMode="auto">
              <a:xfrm>
                <a:off x="2445" y="1674"/>
                <a:ext cx="6" cy="257"/>
              </a:xfrm>
              <a:custGeom>
                <a:avLst/>
                <a:gdLst>
                  <a:gd name="T0" fmla="*/ 0 w 21"/>
                  <a:gd name="T1" fmla="*/ 835 h 845"/>
                  <a:gd name="T2" fmla="*/ 10 w 21"/>
                  <a:gd name="T3" fmla="*/ 845 h 845"/>
                  <a:gd name="T4" fmla="*/ 10 w 21"/>
                  <a:gd name="T5" fmla="*/ 845 h 845"/>
                  <a:gd name="T6" fmla="*/ 21 w 21"/>
                  <a:gd name="T7" fmla="*/ 835 h 845"/>
                  <a:gd name="T8" fmla="*/ 21 w 21"/>
                  <a:gd name="T9" fmla="*/ 11 h 845"/>
                  <a:gd name="T10" fmla="*/ 10 w 21"/>
                  <a:gd name="T11" fmla="*/ 0 h 845"/>
                  <a:gd name="T12" fmla="*/ 10 w 21"/>
                  <a:gd name="T13" fmla="*/ 0 h 845"/>
                  <a:gd name="T14" fmla="*/ 0 w 21"/>
                  <a:gd name="T15" fmla="*/ 11 h 845"/>
                  <a:gd name="T16" fmla="*/ 0 w 21"/>
                  <a:gd name="T17" fmla="*/ 835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45">
                    <a:moveTo>
                      <a:pt x="0" y="835"/>
                    </a:moveTo>
                    <a:cubicBezTo>
                      <a:pt x="0" y="841"/>
                      <a:pt x="4" y="845"/>
                      <a:pt x="10" y="845"/>
                    </a:cubicBezTo>
                    <a:cubicBezTo>
                      <a:pt x="10" y="845"/>
                      <a:pt x="10" y="845"/>
                      <a:pt x="10" y="845"/>
                    </a:cubicBezTo>
                    <a:cubicBezTo>
                      <a:pt x="16" y="845"/>
                      <a:pt x="21" y="841"/>
                      <a:pt x="21" y="835"/>
                    </a:cubicBezTo>
                    <a:cubicBezTo>
                      <a:pt x="21" y="11"/>
                      <a:pt x="21" y="11"/>
                      <a:pt x="21" y="11"/>
                    </a:cubicBezTo>
                    <a:cubicBezTo>
                      <a:pt x="21" y="5"/>
                      <a:pt x="16" y="0"/>
                      <a:pt x="10" y="0"/>
                    </a:cubicBezTo>
                    <a:cubicBezTo>
                      <a:pt x="10" y="0"/>
                      <a:pt x="10" y="0"/>
                      <a:pt x="10" y="0"/>
                    </a:cubicBezTo>
                    <a:cubicBezTo>
                      <a:pt x="4" y="0"/>
                      <a:pt x="0" y="5"/>
                      <a:pt x="0" y="11"/>
                    </a:cubicBezTo>
                    <a:lnTo>
                      <a:pt x="0" y="835"/>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2" name="ïSliďê"/>
              <p:cNvSpPr/>
              <p:nvPr/>
            </p:nvSpPr>
            <p:spPr bwMode="auto">
              <a:xfrm>
                <a:off x="2443" y="1706"/>
                <a:ext cx="70" cy="7"/>
              </a:xfrm>
              <a:custGeom>
                <a:avLst/>
                <a:gdLst>
                  <a:gd name="T0" fmla="*/ 0 w 233"/>
                  <a:gd name="T1" fmla="*/ 11 h 21"/>
                  <a:gd name="T2" fmla="*/ 11 w 233"/>
                  <a:gd name="T3" fmla="*/ 21 h 21"/>
                  <a:gd name="T4" fmla="*/ 222 w 233"/>
                  <a:gd name="T5" fmla="*/ 21 h 21"/>
                  <a:gd name="T6" fmla="*/ 233 w 233"/>
                  <a:gd name="T7" fmla="*/ 11 h 21"/>
                  <a:gd name="T8" fmla="*/ 233 w 233"/>
                  <a:gd name="T9" fmla="*/ 11 h 21"/>
                  <a:gd name="T10" fmla="*/ 222 w 233"/>
                  <a:gd name="T11" fmla="*/ 0 h 21"/>
                  <a:gd name="T12" fmla="*/ 11 w 233"/>
                  <a:gd name="T13" fmla="*/ 0 h 21"/>
                  <a:gd name="T14" fmla="*/ 0 w 233"/>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1">
                    <a:moveTo>
                      <a:pt x="0" y="11"/>
                    </a:moveTo>
                    <a:cubicBezTo>
                      <a:pt x="0" y="16"/>
                      <a:pt x="5" y="21"/>
                      <a:pt x="11" y="21"/>
                    </a:cubicBezTo>
                    <a:cubicBezTo>
                      <a:pt x="222" y="21"/>
                      <a:pt x="222" y="21"/>
                      <a:pt x="222" y="21"/>
                    </a:cubicBezTo>
                    <a:cubicBezTo>
                      <a:pt x="228" y="21"/>
                      <a:pt x="233" y="16"/>
                      <a:pt x="233" y="11"/>
                    </a:cubicBezTo>
                    <a:cubicBezTo>
                      <a:pt x="233" y="11"/>
                      <a:pt x="233" y="11"/>
                      <a:pt x="233" y="11"/>
                    </a:cubicBezTo>
                    <a:cubicBezTo>
                      <a:pt x="233" y="5"/>
                      <a:pt x="228" y="0"/>
                      <a:pt x="222" y="0"/>
                    </a:cubicBezTo>
                    <a:cubicBezTo>
                      <a:pt x="11" y="0"/>
                      <a:pt x="11" y="0"/>
                      <a:pt x="11" y="0"/>
                    </a:cubicBezTo>
                    <a:cubicBezTo>
                      <a:pt x="5" y="0"/>
                      <a:pt x="0" y="5"/>
                      <a:pt x="0" y="11"/>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3" name="íṡḻïdè"/>
              <p:cNvSpPr/>
              <p:nvPr/>
            </p:nvSpPr>
            <p:spPr bwMode="auto">
              <a:xfrm>
                <a:off x="2443" y="1744"/>
                <a:ext cx="70" cy="7"/>
              </a:xfrm>
              <a:custGeom>
                <a:avLst/>
                <a:gdLst>
                  <a:gd name="T0" fmla="*/ 0 w 233"/>
                  <a:gd name="T1" fmla="*/ 11 h 22"/>
                  <a:gd name="T2" fmla="*/ 11 w 233"/>
                  <a:gd name="T3" fmla="*/ 22 h 22"/>
                  <a:gd name="T4" fmla="*/ 222 w 233"/>
                  <a:gd name="T5" fmla="*/ 22 h 22"/>
                  <a:gd name="T6" fmla="*/ 233 w 233"/>
                  <a:gd name="T7" fmla="*/ 11 h 22"/>
                  <a:gd name="T8" fmla="*/ 233 w 233"/>
                  <a:gd name="T9" fmla="*/ 11 h 22"/>
                  <a:gd name="T10" fmla="*/ 222 w 233"/>
                  <a:gd name="T11" fmla="*/ 0 h 22"/>
                  <a:gd name="T12" fmla="*/ 11 w 233"/>
                  <a:gd name="T13" fmla="*/ 0 h 22"/>
                  <a:gd name="T14" fmla="*/ 0 w 233"/>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2">
                    <a:moveTo>
                      <a:pt x="0" y="11"/>
                    </a:moveTo>
                    <a:cubicBezTo>
                      <a:pt x="0" y="17"/>
                      <a:pt x="5" y="22"/>
                      <a:pt x="11" y="22"/>
                    </a:cubicBezTo>
                    <a:cubicBezTo>
                      <a:pt x="222" y="22"/>
                      <a:pt x="222" y="22"/>
                      <a:pt x="222" y="22"/>
                    </a:cubicBezTo>
                    <a:cubicBezTo>
                      <a:pt x="228" y="22"/>
                      <a:pt x="233" y="17"/>
                      <a:pt x="233" y="11"/>
                    </a:cubicBezTo>
                    <a:cubicBezTo>
                      <a:pt x="233" y="11"/>
                      <a:pt x="233" y="11"/>
                      <a:pt x="233" y="11"/>
                    </a:cubicBezTo>
                    <a:cubicBezTo>
                      <a:pt x="233" y="5"/>
                      <a:pt x="228" y="0"/>
                      <a:pt x="222" y="0"/>
                    </a:cubicBezTo>
                    <a:cubicBezTo>
                      <a:pt x="11" y="0"/>
                      <a:pt x="11" y="0"/>
                      <a:pt x="11" y="0"/>
                    </a:cubicBezTo>
                    <a:cubicBezTo>
                      <a:pt x="5" y="0"/>
                      <a:pt x="0" y="5"/>
                      <a:pt x="0" y="11"/>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4" name="iśḷidê"/>
              <p:cNvSpPr/>
              <p:nvPr/>
            </p:nvSpPr>
            <p:spPr bwMode="auto">
              <a:xfrm>
                <a:off x="2443" y="1782"/>
                <a:ext cx="70" cy="6"/>
              </a:xfrm>
              <a:custGeom>
                <a:avLst/>
                <a:gdLst>
                  <a:gd name="T0" fmla="*/ 0 w 233"/>
                  <a:gd name="T1" fmla="*/ 10 h 21"/>
                  <a:gd name="T2" fmla="*/ 11 w 233"/>
                  <a:gd name="T3" fmla="*/ 21 h 21"/>
                  <a:gd name="T4" fmla="*/ 222 w 233"/>
                  <a:gd name="T5" fmla="*/ 21 h 21"/>
                  <a:gd name="T6" fmla="*/ 233 w 233"/>
                  <a:gd name="T7" fmla="*/ 10 h 21"/>
                  <a:gd name="T8" fmla="*/ 233 w 233"/>
                  <a:gd name="T9" fmla="*/ 10 h 21"/>
                  <a:gd name="T10" fmla="*/ 222 w 233"/>
                  <a:gd name="T11" fmla="*/ 0 h 21"/>
                  <a:gd name="T12" fmla="*/ 11 w 233"/>
                  <a:gd name="T13" fmla="*/ 0 h 21"/>
                  <a:gd name="T14" fmla="*/ 0 w 233"/>
                  <a:gd name="T15" fmla="*/ 1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1">
                    <a:moveTo>
                      <a:pt x="0" y="10"/>
                    </a:moveTo>
                    <a:cubicBezTo>
                      <a:pt x="0" y="16"/>
                      <a:pt x="5" y="21"/>
                      <a:pt x="11" y="21"/>
                    </a:cubicBezTo>
                    <a:cubicBezTo>
                      <a:pt x="222" y="21"/>
                      <a:pt x="222" y="21"/>
                      <a:pt x="222" y="21"/>
                    </a:cubicBezTo>
                    <a:cubicBezTo>
                      <a:pt x="228" y="21"/>
                      <a:pt x="233" y="16"/>
                      <a:pt x="233" y="10"/>
                    </a:cubicBezTo>
                    <a:cubicBezTo>
                      <a:pt x="233" y="10"/>
                      <a:pt x="233" y="10"/>
                      <a:pt x="233" y="10"/>
                    </a:cubicBezTo>
                    <a:cubicBezTo>
                      <a:pt x="233" y="5"/>
                      <a:pt x="228" y="0"/>
                      <a:pt x="222" y="0"/>
                    </a:cubicBezTo>
                    <a:cubicBezTo>
                      <a:pt x="11" y="0"/>
                      <a:pt x="11" y="0"/>
                      <a:pt x="11" y="0"/>
                    </a:cubicBezTo>
                    <a:cubicBezTo>
                      <a:pt x="5" y="0"/>
                      <a:pt x="0" y="5"/>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5" name="işḻïḓê"/>
              <p:cNvSpPr/>
              <p:nvPr/>
            </p:nvSpPr>
            <p:spPr bwMode="auto">
              <a:xfrm>
                <a:off x="2443" y="1820"/>
                <a:ext cx="70" cy="7"/>
              </a:xfrm>
              <a:custGeom>
                <a:avLst/>
                <a:gdLst>
                  <a:gd name="T0" fmla="*/ 0 w 233"/>
                  <a:gd name="T1" fmla="*/ 10 h 21"/>
                  <a:gd name="T2" fmla="*/ 11 w 233"/>
                  <a:gd name="T3" fmla="*/ 21 h 21"/>
                  <a:gd name="T4" fmla="*/ 222 w 233"/>
                  <a:gd name="T5" fmla="*/ 21 h 21"/>
                  <a:gd name="T6" fmla="*/ 233 w 233"/>
                  <a:gd name="T7" fmla="*/ 10 h 21"/>
                  <a:gd name="T8" fmla="*/ 233 w 233"/>
                  <a:gd name="T9" fmla="*/ 10 h 21"/>
                  <a:gd name="T10" fmla="*/ 222 w 233"/>
                  <a:gd name="T11" fmla="*/ 0 h 21"/>
                  <a:gd name="T12" fmla="*/ 11 w 233"/>
                  <a:gd name="T13" fmla="*/ 0 h 21"/>
                  <a:gd name="T14" fmla="*/ 0 w 233"/>
                  <a:gd name="T15" fmla="*/ 1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1">
                    <a:moveTo>
                      <a:pt x="0" y="10"/>
                    </a:moveTo>
                    <a:cubicBezTo>
                      <a:pt x="0" y="16"/>
                      <a:pt x="5" y="21"/>
                      <a:pt x="11" y="21"/>
                    </a:cubicBezTo>
                    <a:cubicBezTo>
                      <a:pt x="222" y="21"/>
                      <a:pt x="222" y="21"/>
                      <a:pt x="222" y="21"/>
                    </a:cubicBezTo>
                    <a:cubicBezTo>
                      <a:pt x="228" y="21"/>
                      <a:pt x="233" y="16"/>
                      <a:pt x="233" y="10"/>
                    </a:cubicBezTo>
                    <a:cubicBezTo>
                      <a:pt x="233" y="10"/>
                      <a:pt x="233" y="10"/>
                      <a:pt x="233" y="10"/>
                    </a:cubicBezTo>
                    <a:cubicBezTo>
                      <a:pt x="233" y="4"/>
                      <a:pt x="228" y="0"/>
                      <a:pt x="222" y="0"/>
                    </a:cubicBezTo>
                    <a:cubicBezTo>
                      <a:pt x="11" y="0"/>
                      <a:pt x="11" y="0"/>
                      <a:pt x="11" y="0"/>
                    </a:cubicBezTo>
                    <a:cubicBezTo>
                      <a:pt x="5" y="0"/>
                      <a:pt x="0" y="4"/>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6" name="íṧḻiḓe"/>
              <p:cNvSpPr/>
              <p:nvPr/>
            </p:nvSpPr>
            <p:spPr bwMode="auto">
              <a:xfrm>
                <a:off x="2443" y="1858"/>
                <a:ext cx="70" cy="7"/>
              </a:xfrm>
              <a:custGeom>
                <a:avLst/>
                <a:gdLst>
                  <a:gd name="T0" fmla="*/ 0 w 233"/>
                  <a:gd name="T1" fmla="*/ 11 h 21"/>
                  <a:gd name="T2" fmla="*/ 11 w 233"/>
                  <a:gd name="T3" fmla="*/ 21 h 21"/>
                  <a:gd name="T4" fmla="*/ 222 w 233"/>
                  <a:gd name="T5" fmla="*/ 21 h 21"/>
                  <a:gd name="T6" fmla="*/ 233 w 233"/>
                  <a:gd name="T7" fmla="*/ 11 h 21"/>
                  <a:gd name="T8" fmla="*/ 233 w 233"/>
                  <a:gd name="T9" fmla="*/ 11 h 21"/>
                  <a:gd name="T10" fmla="*/ 222 w 233"/>
                  <a:gd name="T11" fmla="*/ 0 h 21"/>
                  <a:gd name="T12" fmla="*/ 11 w 233"/>
                  <a:gd name="T13" fmla="*/ 0 h 21"/>
                  <a:gd name="T14" fmla="*/ 0 w 233"/>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1">
                    <a:moveTo>
                      <a:pt x="0" y="11"/>
                    </a:moveTo>
                    <a:cubicBezTo>
                      <a:pt x="0" y="16"/>
                      <a:pt x="5" y="21"/>
                      <a:pt x="11" y="21"/>
                    </a:cubicBezTo>
                    <a:cubicBezTo>
                      <a:pt x="222" y="21"/>
                      <a:pt x="222" y="21"/>
                      <a:pt x="222" y="21"/>
                    </a:cubicBezTo>
                    <a:cubicBezTo>
                      <a:pt x="228" y="21"/>
                      <a:pt x="233" y="16"/>
                      <a:pt x="233" y="11"/>
                    </a:cubicBezTo>
                    <a:cubicBezTo>
                      <a:pt x="233" y="11"/>
                      <a:pt x="233" y="11"/>
                      <a:pt x="233" y="11"/>
                    </a:cubicBezTo>
                    <a:cubicBezTo>
                      <a:pt x="233" y="5"/>
                      <a:pt x="228" y="0"/>
                      <a:pt x="222" y="0"/>
                    </a:cubicBezTo>
                    <a:cubicBezTo>
                      <a:pt x="11" y="0"/>
                      <a:pt x="11" y="0"/>
                      <a:pt x="11" y="0"/>
                    </a:cubicBezTo>
                    <a:cubicBezTo>
                      <a:pt x="5" y="0"/>
                      <a:pt x="0" y="5"/>
                      <a:pt x="0" y="11"/>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7" name="iş1îďê"/>
              <p:cNvSpPr/>
              <p:nvPr/>
            </p:nvSpPr>
            <p:spPr bwMode="auto">
              <a:xfrm>
                <a:off x="2443" y="1896"/>
                <a:ext cx="70" cy="6"/>
              </a:xfrm>
              <a:custGeom>
                <a:avLst/>
                <a:gdLst>
                  <a:gd name="T0" fmla="*/ 0 w 233"/>
                  <a:gd name="T1" fmla="*/ 11 h 22"/>
                  <a:gd name="T2" fmla="*/ 11 w 233"/>
                  <a:gd name="T3" fmla="*/ 22 h 22"/>
                  <a:gd name="T4" fmla="*/ 222 w 233"/>
                  <a:gd name="T5" fmla="*/ 22 h 22"/>
                  <a:gd name="T6" fmla="*/ 233 w 233"/>
                  <a:gd name="T7" fmla="*/ 11 h 22"/>
                  <a:gd name="T8" fmla="*/ 233 w 233"/>
                  <a:gd name="T9" fmla="*/ 11 h 22"/>
                  <a:gd name="T10" fmla="*/ 222 w 233"/>
                  <a:gd name="T11" fmla="*/ 0 h 22"/>
                  <a:gd name="T12" fmla="*/ 11 w 233"/>
                  <a:gd name="T13" fmla="*/ 0 h 22"/>
                  <a:gd name="T14" fmla="*/ 0 w 233"/>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2">
                    <a:moveTo>
                      <a:pt x="0" y="11"/>
                    </a:moveTo>
                    <a:cubicBezTo>
                      <a:pt x="0" y="17"/>
                      <a:pt x="5" y="22"/>
                      <a:pt x="11" y="22"/>
                    </a:cubicBezTo>
                    <a:cubicBezTo>
                      <a:pt x="222" y="22"/>
                      <a:pt x="222" y="22"/>
                      <a:pt x="222" y="22"/>
                    </a:cubicBezTo>
                    <a:cubicBezTo>
                      <a:pt x="228" y="22"/>
                      <a:pt x="233" y="17"/>
                      <a:pt x="233" y="11"/>
                    </a:cubicBezTo>
                    <a:cubicBezTo>
                      <a:pt x="233" y="11"/>
                      <a:pt x="233" y="11"/>
                      <a:pt x="233" y="11"/>
                    </a:cubicBezTo>
                    <a:cubicBezTo>
                      <a:pt x="233" y="5"/>
                      <a:pt x="228" y="0"/>
                      <a:pt x="222" y="0"/>
                    </a:cubicBezTo>
                    <a:cubicBezTo>
                      <a:pt x="11" y="0"/>
                      <a:pt x="11" y="0"/>
                      <a:pt x="11" y="0"/>
                    </a:cubicBezTo>
                    <a:cubicBezTo>
                      <a:pt x="5" y="0"/>
                      <a:pt x="0" y="5"/>
                      <a:pt x="0" y="11"/>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8" name="ïṡľiḓè"/>
              <p:cNvSpPr/>
              <p:nvPr/>
            </p:nvSpPr>
            <p:spPr bwMode="auto">
              <a:xfrm>
                <a:off x="2086" y="1691"/>
                <a:ext cx="236" cy="236"/>
              </a:xfrm>
              <a:custGeom>
                <a:avLst/>
                <a:gdLst>
                  <a:gd name="T0" fmla="*/ 0 w 779"/>
                  <a:gd name="T1" fmla="*/ 733 h 779"/>
                  <a:gd name="T2" fmla="*/ 46 w 779"/>
                  <a:gd name="T3" fmla="*/ 779 h 779"/>
                  <a:gd name="T4" fmla="*/ 732 w 779"/>
                  <a:gd name="T5" fmla="*/ 779 h 779"/>
                  <a:gd name="T6" fmla="*/ 779 w 779"/>
                  <a:gd name="T7" fmla="*/ 733 h 779"/>
                  <a:gd name="T8" fmla="*/ 779 w 779"/>
                  <a:gd name="T9" fmla="*/ 47 h 779"/>
                  <a:gd name="T10" fmla="*/ 732 w 779"/>
                  <a:gd name="T11" fmla="*/ 0 h 779"/>
                  <a:gd name="T12" fmla="*/ 46 w 779"/>
                  <a:gd name="T13" fmla="*/ 0 h 779"/>
                  <a:gd name="T14" fmla="*/ 0 w 779"/>
                  <a:gd name="T15" fmla="*/ 47 h 779"/>
                  <a:gd name="T16" fmla="*/ 0 w 779"/>
                  <a:gd name="T17" fmla="*/ 733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9" h="779">
                    <a:moveTo>
                      <a:pt x="0" y="733"/>
                    </a:moveTo>
                    <a:cubicBezTo>
                      <a:pt x="0" y="759"/>
                      <a:pt x="21" y="779"/>
                      <a:pt x="46" y="779"/>
                    </a:cubicBezTo>
                    <a:cubicBezTo>
                      <a:pt x="732" y="779"/>
                      <a:pt x="732" y="779"/>
                      <a:pt x="732" y="779"/>
                    </a:cubicBezTo>
                    <a:cubicBezTo>
                      <a:pt x="758" y="779"/>
                      <a:pt x="779" y="759"/>
                      <a:pt x="779" y="733"/>
                    </a:cubicBezTo>
                    <a:cubicBezTo>
                      <a:pt x="779" y="47"/>
                      <a:pt x="779" y="47"/>
                      <a:pt x="779" y="47"/>
                    </a:cubicBezTo>
                    <a:cubicBezTo>
                      <a:pt x="779" y="21"/>
                      <a:pt x="758" y="0"/>
                      <a:pt x="732" y="0"/>
                    </a:cubicBezTo>
                    <a:cubicBezTo>
                      <a:pt x="46" y="0"/>
                      <a:pt x="46" y="0"/>
                      <a:pt x="46" y="0"/>
                    </a:cubicBezTo>
                    <a:cubicBezTo>
                      <a:pt x="21" y="0"/>
                      <a:pt x="0" y="21"/>
                      <a:pt x="0" y="47"/>
                    </a:cubicBezTo>
                    <a:lnTo>
                      <a:pt x="0" y="733"/>
                    </a:lnTo>
                    <a:close/>
                  </a:path>
                </a:pathLst>
              </a:custGeom>
              <a:solidFill>
                <a:srgbClr val="E78D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39" name="îslîḍê"/>
              <p:cNvSpPr/>
              <p:nvPr/>
            </p:nvSpPr>
            <p:spPr bwMode="auto">
              <a:xfrm>
                <a:off x="2102" y="1767"/>
                <a:ext cx="204" cy="27"/>
              </a:xfrm>
              <a:custGeom>
                <a:avLst/>
                <a:gdLst>
                  <a:gd name="T0" fmla="*/ 45 w 670"/>
                  <a:gd name="T1" fmla="*/ 0 h 90"/>
                  <a:gd name="T2" fmla="*/ 0 w 670"/>
                  <a:gd name="T3" fmla="*/ 45 h 90"/>
                  <a:gd name="T4" fmla="*/ 0 w 670"/>
                  <a:gd name="T5" fmla="*/ 45 h 90"/>
                  <a:gd name="T6" fmla="*/ 45 w 670"/>
                  <a:gd name="T7" fmla="*/ 90 h 90"/>
                  <a:gd name="T8" fmla="*/ 625 w 670"/>
                  <a:gd name="T9" fmla="*/ 90 h 90"/>
                  <a:gd name="T10" fmla="*/ 670 w 670"/>
                  <a:gd name="T11" fmla="*/ 45 h 90"/>
                  <a:gd name="T12" fmla="*/ 670 w 670"/>
                  <a:gd name="T13" fmla="*/ 45 h 90"/>
                  <a:gd name="T14" fmla="*/ 625 w 670"/>
                  <a:gd name="T15" fmla="*/ 0 h 90"/>
                  <a:gd name="T16" fmla="*/ 45 w 670"/>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0" h="90">
                    <a:moveTo>
                      <a:pt x="45" y="0"/>
                    </a:moveTo>
                    <a:cubicBezTo>
                      <a:pt x="20" y="0"/>
                      <a:pt x="0" y="20"/>
                      <a:pt x="0" y="45"/>
                    </a:cubicBezTo>
                    <a:cubicBezTo>
                      <a:pt x="0" y="45"/>
                      <a:pt x="0" y="45"/>
                      <a:pt x="0" y="45"/>
                    </a:cubicBezTo>
                    <a:cubicBezTo>
                      <a:pt x="0" y="70"/>
                      <a:pt x="20" y="90"/>
                      <a:pt x="45" y="90"/>
                    </a:cubicBezTo>
                    <a:cubicBezTo>
                      <a:pt x="625" y="90"/>
                      <a:pt x="625" y="90"/>
                      <a:pt x="625" y="90"/>
                    </a:cubicBezTo>
                    <a:cubicBezTo>
                      <a:pt x="650" y="90"/>
                      <a:pt x="670" y="70"/>
                      <a:pt x="670" y="45"/>
                    </a:cubicBezTo>
                    <a:cubicBezTo>
                      <a:pt x="670" y="45"/>
                      <a:pt x="670" y="45"/>
                      <a:pt x="670" y="45"/>
                    </a:cubicBezTo>
                    <a:cubicBezTo>
                      <a:pt x="670" y="20"/>
                      <a:pt x="650" y="0"/>
                      <a:pt x="625" y="0"/>
                    </a:cubicBezTo>
                    <a:lnTo>
                      <a:pt x="45"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0" name="ïŝ1iḓè"/>
              <p:cNvSpPr/>
              <p:nvPr/>
            </p:nvSpPr>
            <p:spPr bwMode="auto">
              <a:xfrm>
                <a:off x="2102" y="1824"/>
                <a:ext cx="204" cy="27"/>
              </a:xfrm>
              <a:custGeom>
                <a:avLst/>
                <a:gdLst>
                  <a:gd name="T0" fmla="*/ 45 w 670"/>
                  <a:gd name="T1" fmla="*/ 0 h 91"/>
                  <a:gd name="T2" fmla="*/ 0 w 670"/>
                  <a:gd name="T3" fmla="*/ 45 h 91"/>
                  <a:gd name="T4" fmla="*/ 0 w 670"/>
                  <a:gd name="T5" fmla="*/ 45 h 91"/>
                  <a:gd name="T6" fmla="*/ 45 w 670"/>
                  <a:gd name="T7" fmla="*/ 91 h 91"/>
                  <a:gd name="T8" fmla="*/ 625 w 670"/>
                  <a:gd name="T9" fmla="*/ 91 h 91"/>
                  <a:gd name="T10" fmla="*/ 670 w 670"/>
                  <a:gd name="T11" fmla="*/ 45 h 91"/>
                  <a:gd name="T12" fmla="*/ 670 w 670"/>
                  <a:gd name="T13" fmla="*/ 45 h 91"/>
                  <a:gd name="T14" fmla="*/ 625 w 670"/>
                  <a:gd name="T15" fmla="*/ 0 h 91"/>
                  <a:gd name="T16" fmla="*/ 45 w 670"/>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0" h="91">
                    <a:moveTo>
                      <a:pt x="45" y="0"/>
                    </a:moveTo>
                    <a:cubicBezTo>
                      <a:pt x="20" y="0"/>
                      <a:pt x="0" y="20"/>
                      <a:pt x="0" y="45"/>
                    </a:cubicBezTo>
                    <a:cubicBezTo>
                      <a:pt x="0" y="45"/>
                      <a:pt x="0" y="45"/>
                      <a:pt x="0" y="45"/>
                    </a:cubicBezTo>
                    <a:cubicBezTo>
                      <a:pt x="0" y="70"/>
                      <a:pt x="20" y="91"/>
                      <a:pt x="45" y="91"/>
                    </a:cubicBezTo>
                    <a:cubicBezTo>
                      <a:pt x="625" y="91"/>
                      <a:pt x="625" y="91"/>
                      <a:pt x="625" y="91"/>
                    </a:cubicBezTo>
                    <a:cubicBezTo>
                      <a:pt x="650" y="91"/>
                      <a:pt x="670" y="70"/>
                      <a:pt x="670" y="45"/>
                    </a:cubicBezTo>
                    <a:cubicBezTo>
                      <a:pt x="670" y="45"/>
                      <a:pt x="670" y="45"/>
                      <a:pt x="670" y="45"/>
                    </a:cubicBezTo>
                    <a:cubicBezTo>
                      <a:pt x="670" y="20"/>
                      <a:pt x="650" y="0"/>
                      <a:pt x="625" y="0"/>
                    </a:cubicBezTo>
                    <a:lnTo>
                      <a:pt x="45"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 name="íslíḓe"/>
              <p:cNvSpPr/>
              <p:nvPr/>
            </p:nvSpPr>
            <p:spPr bwMode="auto">
              <a:xfrm>
                <a:off x="2102" y="1881"/>
                <a:ext cx="204" cy="27"/>
              </a:xfrm>
              <a:custGeom>
                <a:avLst/>
                <a:gdLst>
                  <a:gd name="T0" fmla="*/ 45 w 670"/>
                  <a:gd name="T1" fmla="*/ 0 h 90"/>
                  <a:gd name="T2" fmla="*/ 0 w 670"/>
                  <a:gd name="T3" fmla="*/ 45 h 90"/>
                  <a:gd name="T4" fmla="*/ 0 w 670"/>
                  <a:gd name="T5" fmla="*/ 45 h 90"/>
                  <a:gd name="T6" fmla="*/ 45 w 670"/>
                  <a:gd name="T7" fmla="*/ 90 h 90"/>
                  <a:gd name="T8" fmla="*/ 625 w 670"/>
                  <a:gd name="T9" fmla="*/ 90 h 90"/>
                  <a:gd name="T10" fmla="*/ 670 w 670"/>
                  <a:gd name="T11" fmla="*/ 45 h 90"/>
                  <a:gd name="T12" fmla="*/ 670 w 670"/>
                  <a:gd name="T13" fmla="*/ 45 h 90"/>
                  <a:gd name="T14" fmla="*/ 625 w 670"/>
                  <a:gd name="T15" fmla="*/ 0 h 90"/>
                  <a:gd name="T16" fmla="*/ 45 w 670"/>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0" h="90">
                    <a:moveTo>
                      <a:pt x="45" y="0"/>
                    </a:moveTo>
                    <a:cubicBezTo>
                      <a:pt x="20" y="0"/>
                      <a:pt x="0" y="20"/>
                      <a:pt x="0" y="45"/>
                    </a:cubicBezTo>
                    <a:cubicBezTo>
                      <a:pt x="0" y="45"/>
                      <a:pt x="0" y="45"/>
                      <a:pt x="0" y="45"/>
                    </a:cubicBezTo>
                    <a:cubicBezTo>
                      <a:pt x="0" y="70"/>
                      <a:pt x="20" y="90"/>
                      <a:pt x="45" y="90"/>
                    </a:cubicBezTo>
                    <a:cubicBezTo>
                      <a:pt x="625" y="90"/>
                      <a:pt x="625" y="90"/>
                      <a:pt x="625" y="90"/>
                    </a:cubicBezTo>
                    <a:cubicBezTo>
                      <a:pt x="650" y="90"/>
                      <a:pt x="670" y="70"/>
                      <a:pt x="670" y="45"/>
                    </a:cubicBezTo>
                    <a:cubicBezTo>
                      <a:pt x="670" y="45"/>
                      <a:pt x="670" y="45"/>
                      <a:pt x="670" y="45"/>
                    </a:cubicBezTo>
                    <a:cubicBezTo>
                      <a:pt x="670" y="20"/>
                      <a:pt x="650" y="0"/>
                      <a:pt x="625" y="0"/>
                    </a:cubicBezTo>
                    <a:lnTo>
                      <a:pt x="45"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 name="iśļïḓe"/>
              <p:cNvSpPr/>
              <p:nvPr/>
            </p:nvSpPr>
            <p:spPr bwMode="auto">
              <a:xfrm>
                <a:off x="2102" y="1710"/>
                <a:ext cx="204" cy="28"/>
              </a:xfrm>
              <a:custGeom>
                <a:avLst/>
                <a:gdLst>
                  <a:gd name="T0" fmla="*/ 45 w 670"/>
                  <a:gd name="T1" fmla="*/ 0 h 91"/>
                  <a:gd name="T2" fmla="*/ 0 w 670"/>
                  <a:gd name="T3" fmla="*/ 45 h 91"/>
                  <a:gd name="T4" fmla="*/ 0 w 670"/>
                  <a:gd name="T5" fmla="*/ 45 h 91"/>
                  <a:gd name="T6" fmla="*/ 45 w 670"/>
                  <a:gd name="T7" fmla="*/ 91 h 91"/>
                  <a:gd name="T8" fmla="*/ 625 w 670"/>
                  <a:gd name="T9" fmla="*/ 91 h 91"/>
                  <a:gd name="T10" fmla="*/ 670 w 670"/>
                  <a:gd name="T11" fmla="*/ 45 h 91"/>
                  <a:gd name="T12" fmla="*/ 670 w 670"/>
                  <a:gd name="T13" fmla="*/ 45 h 91"/>
                  <a:gd name="T14" fmla="*/ 625 w 670"/>
                  <a:gd name="T15" fmla="*/ 0 h 91"/>
                  <a:gd name="T16" fmla="*/ 45 w 670"/>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0" h="91">
                    <a:moveTo>
                      <a:pt x="45" y="0"/>
                    </a:moveTo>
                    <a:cubicBezTo>
                      <a:pt x="20" y="0"/>
                      <a:pt x="0" y="20"/>
                      <a:pt x="0" y="45"/>
                    </a:cubicBezTo>
                    <a:cubicBezTo>
                      <a:pt x="0" y="45"/>
                      <a:pt x="0" y="45"/>
                      <a:pt x="0" y="45"/>
                    </a:cubicBezTo>
                    <a:cubicBezTo>
                      <a:pt x="0" y="70"/>
                      <a:pt x="20" y="91"/>
                      <a:pt x="45" y="91"/>
                    </a:cubicBezTo>
                    <a:cubicBezTo>
                      <a:pt x="625" y="91"/>
                      <a:pt x="625" y="91"/>
                      <a:pt x="625" y="91"/>
                    </a:cubicBezTo>
                    <a:cubicBezTo>
                      <a:pt x="650" y="91"/>
                      <a:pt x="670" y="70"/>
                      <a:pt x="670" y="45"/>
                    </a:cubicBezTo>
                    <a:cubicBezTo>
                      <a:pt x="670" y="45"/>
                      <a:pt x="670" y="45"/>
                      <a:pt x="670" y="45"/>
                    </a:cubicBezTo>
                    <a:cubicBezTo>
                      <a:pt x="670" y="20"/>
                      <a:pt x="650" y="0"/>
                      <a:pt x="625" y="0"/>
                    </a:cubicBezTo>
                    <a:lnTo>
                      <a:pt x="45"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 name="íṡľiḋê"/>
              <p:cNvSpPr/>
              <p:nvPr/>
            </p:nvSpPr>
            <p:spPr bwMode="auto">
              <a:xfrm>
                <a:off x="2257" y="1689"/>
                <a:ext cx="6" cy="242"/>
              </a:xfrm>
              <a:custGeom>
                <a:avLst/>
                <a:gdLst>
                  <a:gd name="T0" fmla="*/ 0 w 20"/>
                  <a:gd name="T1" fmla="*/ 786 h 796"/>
                  <a:gd name="T2" fmla="*/ 10 w 20"/>
                  <a:gd name="T3" fmla="*/ 796 h 796"/>
                  <a:gd name="T4" fmla="*/ 10 w 20"/>
                  <a:gd name="T5" fmla="*/ 796 h 796"/>
                  <a:gd name="T6" fmla="*/ 20 w 20"/>
                  <a:gd name="T7" fmla="*/ 786 h 796"/>
                  <a:gd name="T8" fmla="*/ 20 w 20"/>
                  <a:gd name="T9" fmla="*/ 10 h 796"/>
                  <a:gd name="T10" fmla="*/ 10 w 20"/>
                  <a:gd name="T11" fmla="*/ 0 h 796"/>
                  <a:gd name="T12" fmla="*/ 10 w 20"/>
                  <a:gd name="T13" fmla="*/ 0 h 796"/>
                  <a:gd name="T14" fmla="*/ 0 w 20"/>
                  <a:gd name="T15" fmla="*/ 10 h 796"/>
                  <a:gd name="T16" fmla="*/ 0 w 20"/>
                  <a:gd name="T17" fmla="*/ 78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6">
                    <a:moveTo>
                      <a:pt x="0" y="786"/>
                    </a:moveTo>
                    <a:cubicBezTo>
                      <a:pt x="0" y="792"/>
                      <a:pt x="5" y="796"/>
                      <a:pt x="10" y="796"/>
                    </a:cubicBezTo>
                    <a:cubicBezTo>
                      <a:pt x="10" y="796"/>
                      <a:pt x="10" y="796"/>
                      <a:pt x="10" y="796"/>
                    </a:cubicBezTo>
                    <a:cubicBezTo>
                      <a:pt x="16" y="796"/>
                      <a:pt x="20" y="792"/>
                      <a:pt x="20" y="786"/>
                    </a:cubicBezTo>
                    <a:cubicBezTo>
                      <a:pt x="20" y="10"/>
                      <a:pt x="20" y="10"/>
                      <a:pt x="20" y="10"/>
                    </a:cubicBezTo>
                    <a:cubicBezTo>
                      <a:pt x="20" y="4"/>
                      <a:pt x="16" y="0"/>
                      <a:pt x="10" y="0"/>
                    </a:cubicBezTo>
                    <a:cubicBezTo>
                      <a:pt x="10" y="0"/>
                      <a:pt x="10" y="0"/>
                      <a:pt x="10" y="0"/>
                    </a:cubicBezTo>
                    <a:cubicBezTo>
                      <a:pt x="5" y="0"/>
                      <a:pt x="0" y="4"/>
                      <a:pt x="0" y="10"/>
                    </a:cubicBezTo>
                    <a:lnTo>
                      <a:pt x="0" y="786"/>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4" name="íşlídé"/>
              <p:cNvSpPr/>
              <p:nvPr/>
            </p:nvSpPr>
            <p:spPr bwMode="auto">
              <a:xfrm>
                <a:off x="2201" y="1689"/>
                <a:ext cx="6" cy="242"/>
              </a:xfrm>
              <a:custGeom>
                <a:avLst/>
                <a:gdLst>
                  <a:gd name="T0" fmla="*/ 0 w 20"/>
                  <a:gd name="T1" fmla="*/ 786 h 796"/>
                  <a:gd name="T2" fmla="*/ 10 w 20"/>
                  <a:gd name="T3" fmla="*/ 796 h 796"/>
                  <a:gd name="T4" fmla="*/ 10 w 20"/>
                  <a:gd name="T5" fmla="*/ 796 h 796"/>
                  <a:gd name="T6" fmla="*/ 20 w 20"/>
                  <a:gd name="T7" fmla="*/ 786 h 796"/>
                  <a:gd name="T8" fmla="*/ 20 w 20"/>
                  <a:gd name="T9" fmla="*/ 10 h 796"/>
                  <a:gd name="T10" fmla="*/ 10 w 20"/>
                  <a:gd name="T11" fmla="*/ 0 h 796"/>
                  <a:gd name="T12" fmla="*/ 10 w 20"/>
                  <a:gd name="T13" fmla="*/ 0 h 796"/>
                  <a:gd name="T14" fmla="*/ 0 w 20"/>
                  <a:gd name="T15" fmla="*/ 10 h 796"/>
                  <a:gd name="T16" fmla="*/ 0 w 20"/>
                  <a:gd name="T17" fmla="*/ 78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96">
                    <a:moveTo>
                      <a:pt x="0" y="786"/>
                    </a:moveTo>
                    <a:cubicBezTo>
                      <a:pt x="0" y="792"/>
                      <a:pt x="5" y="796"/>
                      <a:pt x="10" y="796"/>
                    </a:cubicBezTo>
                    <a:cubicBezTo>
                      <a:pt x="10" y="796"/>
                      <a:pt x="10" y="796"/>
                      <a:pt x="10" y="796"/>
                    </a:cubicBezTo>
                    <a:cubicBezTo>
                      <a:pt x="16" y="796"/>
                      <a:pt x="20" y="792"/>
                      <a:pt x="20" y="786"/>
                    </a:cubicBezTo>
                    <a:cubicBezTo>
                      <a:pt x="20" y="10"/>
                      <a:pt x="20" y="10"/>
                      <a:pt x="20" y="10"/>
                    </a:cubicBezTo>
                    <a:cubicBezTo>
                      <a:pt x="20" y="4"/>
                      <a:pt x="16" y="0"/>
                      <a:pt x="10" y="0"/>
                    </a:cubicBezTo>
                    <a:cubicBezTo>
                      <a:pt x="10" y="0"/>
                      <a:pt x="10" y="0"/>
                      <a:pt x="10" y="0"/>
                    </a:cubicBezTo>
                    <a:cubicBezTo>
                      <a:pt x="5" y="0"/>
                      <a:pt x="0" y="4"/>
                      <a:pt x="0" y="10"/>
                    </a:cubicBezTo>
                    <a:lnTo>
                      <a:pt x="0" y="786"/>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5" name="îṧľiḋê"/>
              <p:cNvSpPr/>
              <p:nvPr/>
            </p:nvSpPr>
            <p:spPr bwMode="auto">
              <a:xfrm>
                <a:off x="2199" y="1719"/>
                <a:ext cx="66" cy="6"/>
              </a:xfrm>
              <a:custGeom>
                <a:avLst/>
                <a:gdLst>
                  <a:gd name="T0" fmla="*/ 0 w 219"/>
                  <a:gd name="T1" fmla="*/ 10 h 20"/>
                  <a:gd name="T2" fmla="*/ 10 w 219"/>
                  <a:gd name="T3" fmla="*/ 20 h 20"/>
                  <a:gd name="T4" fmla="*/ 209 w 219"/>
                  <a:gd name="T5" fmla="*/ 20 h 20"/>
                  <a:gd name="T6" fmla="*/ 219 w 219"/>
                  <a:gd name="T7" fmla="*/ 10 h 20"/>
                  <a:gd name="T8" fmla="*/ 219 w 219"/>
                  <a:gd name="T9" fmla="*/ 10 h 20"/>
                  <a:gd name="T10" fmla="*/ 209 w 219"/>
                  <a:gd name="T11" fmla="*/ 0 h 20"/>
                  <a:gd name="T12" fmla="*/ 10 w 219"/>
                  <a:gd name="T13" fmla="*/ 0 h 20"/>
                  <a:gd name="T14" fmla="*/ 0 w 21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0">
                    <a:moveTo>
                      <a:pt x="0" y="10"/>
                    </a:moveTo>
                    <a:cubicBezTo>
                      <a:pt x="0" y="16"/>
                      <a:pt x="4" y="20"/>
                      <a:pt x="10" y="20"/>
                    </a:cubicBezTo>
                    <a:cubicBezTo>
                      <a:pt x="209" y="20"/>
                      <a:pt x="209" y="20"/>
                      <a:pt x="209" y="20"/>
                    </a:cubicBezTo>
                    <a:cubicBezTo>
                      <a:pt x="214" y="20"/>
                      <a:pt x="219" y="16"/>
                      <a:pt x="219" y="10"/>
                    </a:cubicBezTo>
                    <a:cubicBezTo>
                      <a:pt x="219" y="10"/>
                      <a:pt x="219" y="10"/>
                      <a:pt x="219" y="10"/>
                    </a:cubicBezTo>
                    <a:cubicBezTo>
                      <a:pt x="219" y="5"/>
                      <a:pt x="214" y="0"/>
                      <a:pt x="209" y="0"/>
                    </a:cubicBezTo>
                    <a:cubicBezTo>
                      <a:pt x="10" y="0"/>
                      <a:pt x="10" y="0"/>
                      <a:pt x="10" y="0"/>
                    </a:cubicBezTo>
                    <a:cubicBezTo>
                      <a:pt x="4" y="0"/>
                      <a:pt x="0" y="5"/>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6" name="iş1ïḍé"/>
              <p:cNvSpPr/>
              <p:nvPr/>
            </p:nvSpPr>
            <p:spPr bwMode="auto">
              <a:xfrm>
                <a:off x="2199" y="1755"/>
                <a:ext cx="66" cy="6"/>
              </a:xfrm>
              <a:custGeom>
                <a:avLst/>
                <a:gdLst>
                  <a:gd name="T0" fmla="*/ 0 w 219"/>
                  <a:gd name="T1" fmla="*/ 10 h 20"/>
                  <a:gd name="T2" fmla="*/ 10 w 219"/>
                  <a:gd name="T3" fmla="*/ 20 h 20"/>
                  <a:gd name="T4" fmla="*/ 209 w 219"/>
                  <a:gd name="T5" fmla="*/ 20 h 20"/>
                  <a:gd name="T6" fmla="*/ 219 w 219"/>
                  <a:gd name="T7" fmla="*/ 10 h 20"/>
                  <a:gd name="T8" fmla="*/ 219 w 219"/>
                  <a:gd name="T9" fmla="*/ 10 h 20"/>
                  <a:gd name="T10" fmla="*/ 209 w 219"/>
                  <a:gd name="T11" fmla="*/ 0 h 20"/>
                  <a:gd name="T12" fmla="*/ 10 w 219"/>
                  <a:gd name="T13" fmla="*/ 0 h 20"/>
                  <a:gd name="T14" fmla="*/ 0 w 21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0">
                    <a:moveTo>
                      <a:pt x="0" y="10"/>
                    </a:moveTo>
                    <a:cubicBezTo>
                      <a:pt x="0" y="15"/>
                      <a:pt x="4" y="20"/>
                      <a:pt x="10" y="20"/>
                    </a:cubicBezTo>
                    <a:cubicBezTo>
                      <a:pt x="209" y="20"/>
                      <a:pt x="209" y="20"/>
                      <a:pt x="209" y="20"/>
                    </a:cubicBezTo>
                    <a:cubicBezTo>
                      <a:pt x="214" y="20"/>
                      <a:pt x="219" y="15"/>
                      <a:pt x="219" y="10"/>
                    </a:cubicBezTo>
                    <a:cubicBezTo>
                      <a:pt x="219" y="10"/>
                      <a:pt x="219" y="10"/>
                      <a:pt x="219" y="10"/>
                    </a:cubicBezTo>
                    <a:cubicBezTo>
                      <a:pt x="219" y="4"/>
                      <a:pt x="214" y="0"/>
                      <a:pt x="209" y="0"/>
                    </a:cubicBezTo>
                    <a:cubicBezTo>
                      <a:pt x="10" y="0"/>
                      <a:pt x="10" y="0"/>
                      <a:pt x="10" y="0"/>
                    </a:cubicBezTo>
                    <a:cubicBezTo>
                      <a:pt x="4" y="0"/>
                      <a:pt x="0" y="4"/>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7" name="îṩļídè"/>
              <p:cNvSpPr/>
              <p:nvPr/>
            </p:nvSpPr>
            <p:spPr bwMode="auto">
              <a:xfrm>
                <a:off x="2199" y="1790"/>
                <a:ext cx="66" cy="6"/>
              </a:xfrm>
              <a:custGeom>
                <a:avLst/>
                <a:gdLst>
                  <a:gd name="T0" fmla="*/ 0 w 219"/>
                  <a:gd name="T1" fmla="*/ 10 h 20"/>
                  <a:gd name="T2" fmla="*/ 10 w 219"/>
                  <a:gd name="T3" fmla="*/ 20 h 20"/>
                  <a:gd name="T4" fmla="*/ 209 w 219"/>
                  <a:gd name="T5" fmla="*/ 20 h 20"/>
                  <a:gd name="T6" fmla="*/ 219 w 219"/>
                  <a:gd name="T7" fmla="*/ 10 h 20"/>
                  <a:gd name="T8" fmla="*/ 219 w 219"/>
                  <a:gd name="T9" fmla="*/ 10 h 20"/>
                  <a:gd name="T10" fmla="*/ 209 w 219"/>
                  <a:gd name="T11" fmla="*/ 0 h 20"/>
                  <a:gd name="T12" fmla="*/ 10 w 219"/>
                  <a:gd name="T13" fmla="*/ 0 h 20"/>
                  <a:gd name="T14" fmla="*/ 0 w 21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0">
                    <a:moveTo>
                      <a:pt x="0" y="10"/>
                    </a:moveTo>
                    <a:cubicBezTo>
                      <a:pt x="0" y="15"/>
                      <a:pt x="4" y="20"/>
                      <a:pt x="10" y="20"/>
                    </a:cubicBezTo>
                    <a:cubicBezTo>
                      <a:pt x="209" y="20"/>
                      <a:pt x="209" y="20"/>
                      <a:pt x="209" y="20"/>
                    </a:cubicBezTo>
                    <a:cubicBezTo>
                      <a:pt x="214" y="20"/>
                      <a:pt x="219" y="15"/>
                      <a:pt x="219" y="10"/>
                    </a:cubicBezTo>
                    <a:cubicBezTo>
                      <a:pt x="219" y="10"/>
                      <a:pt x="219" y="10"/>
                      <a:pt x="219" y="10"/>
                    </a:cubicBezTo>
                    <a:cubicBezTo>
                      <a:pt x="219" y="4"/>
                      <a:pt x="214" y="0"/>
                      <a:pt x="209" y="0"/>
                    </a:cubicBezTo>
                    <a:cubicBezTo>
                      <a:pt x="10" y="0"/>
                      <a:pt x="10" y="0"/>
                      <a:pt x="10" y="0"/>
                    </a:cubicBezTo>
                    <a:cubicBezTo>
                      <a:pt x="4" y="0"/>
                      <a:pt x="0" y="4"/>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8" name="ïšľiḋe"/>
              <p:cNvSpPr/>
              <p:nvPr/>
            </p:nvSpPr>
            <p:spPr bwMode="auto">
              <a:xfrm>
                <a:off x="2199" y="1827"/>
                <a:ext cx="66" cy="6"/>
              </a:xfrm>
              <a:custGeom>
                <a:avLst/>
                <a:gdLst>
                  <a:gd name="T0" fmla="*/ 0 w 219"/>
                  <a:gd name="T1" fmla="*/ 10 h 20"/>
                  <a:gd name="T2" fmla="*/ 10 w 219"/>
                  <a:gd name="T3" fmla="*/ 20 h 20"/>
                  <a:gd name="T4" fmla="*/ 209 w 219"/>
                  <a:gd name="T5" fmla="*/ 20 h 20"/>
                  <a:gd name="T6" fmla="*/ 219 w 219"/>
                  <a:gd name="T7" fmla="*/ 10 h 20"/>
                  <a:gd name="T8" fmla="*/ 219 w 219"/>
                  <a:gd name="T9" fmla="*/ 10 h 20"/>
                  <a:gd name="T10" fmla="*/ 209 w 219"/>
                  <a:gd name="T11" fmla="*/ 0 h 20"/>
                  <a:gd name="T12" fmla="*/ 10 w 219"/>
                  <a:gd name="T13" fmla="*/ 0 h 20"/>
                  <a:gd name="T14" fmla="*/ 0 w 21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0">
                    <a:moveTo>
                      <a:pt x="0" y="10"/>
                    </a:moveTo>
                    <a:cubicBezTo>
                      <a:pt x="0" y="16"/>
                      <a:pt x="4" y="20"/>
                      <a:pt x="10" y="20"/>
                    </a:cubicBezTo>
                    <a:cubicBezTo>
                      <a:pt x="209" y="20"/>
                      <a:pt x="209" y="20"/>
                      <a:pt x="209" y="20"/>
                    </a:cubicBezTo>
                    <a:cubicBezTo>
                      <a:pt x="214" y="20"/>
                      <a:pt x="219" y="16"/>
                      <a:pt x="219" y="10"/>
                    </a:cubicBezTo>
                    <a:cubicBezTo>
                      <a:pt x="219" y="10"/>
                      <a:pt x="219" y="10"/>
                      <a:pt x="219" y="10"/>
                    </a:cubicBezTo>
                    <a:cubicBezTo>
                      <a:pt x="219" y="5"/>
                      <a:pt x="214" y="0"/>
                      <a:pt x="209" y="0"/>
                    </a:cubicBezTo>
                    <a:cubicBezTo>
                      <a:pt x="10" y="0"/>
                      <a:pt x="10" y="0"/>
                      <a:pt x="10" y="0"/>
                    </a:cubicBezTo>
                    <a:cubicBezTo>
                      <a:pt x="4" y="0"/>
                      <a:pt x="0" y="5"/>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9" name="íṧľíḓê"/>
              <p:cNvSpPr/>
              <p:nvPr/>
            </p:nvSpPr>
            <p:spPr bwMode="auto">
              <a:xfrm>
                <a:off x="2199" y="1862"/>
                <a:ext cx="66" cy="6"/>
              </a:xfrm>
              <a:custGeom>
                <a:avLst/>
                <a:gdLst>
                  <a:gd name="T0" fmla="*/ 0 w 219"/>
                  <a:gd name="T1" fmla="*/ 10 h 20"/>
                  <a:gd name="T2" fmla="*/ 10 w 219"/>
                  <a:gd name="T3" fmla="*/ 20 h 20"/>
                  <a:gd name="T4" fmla="*/ 209 w 219"/>
                  <a:gd name="T5" fmla="*/ 20 h 20"/>
                  <a:gd name="T6" fmla="*/ 219 w 219"/>
                  <a:gd name="T7" fmla="*/ 10 h 20"/>
                  <a:gd name="T8" fmla="*/ 219 w 219"/>
                  <a:gd name="T9" fmla="*/ 10 h 20"/>
                  <a:gd name="T10" fmla="*/ 209 w 219"/>
                  <a:gd name="T11" fmla="*/ 0 h 20"/>
                  <a:gd name="T12" fmla="*/ 10 w 219"/>
                  <a:gd name="T13" fmla="*/ 0 h 20"/>
                  <a:gd name="T14" fmla="*/ 0 w 21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0">
                    <a:moveTo>
                      <a:pt x="0" y="10"/>
                    </a:moveTo>
                    <a:cubicBezTo>
                      <a:pt x="0" y="15"/>
                      <a:pt x="4" y="20"/>
                      <a:pt x="10" y="20"/>
                    </a:cubicBezTo>
                    <a:cubicBezTo>
                      <a:pt x="209" y="20"/>
                      <a:pt x="209" y="20"/>
                      <a:pt x="209" y="20"/>
                    </a:cubicBezTo>
                    <a:cubicBezTo>
                      <a:pt x="214" y="20"/>
                      <a:pt x="219" y="15"/>
                      <a:pt x="219" y="10"/>
                    </a:cubicBezTo>
                    <a:cubicBezTo>
                      <a:pt x="219" y="10"/>
                      <a:pt x="219" y="10"/>
                      <a:pt x="219" y="10"/>
                    </a:cubicBezTo>
                    <a:cubicBezTo>
                      <a:pt x="219" y="4"/>
                      <a:pt x="214" y="0"/>
                      <a:pt x="209" y="0"/>
                    </a:cubicBezTo>
                    <a:cubicBezTo>
                      <a:pt x="10" y="0"/>
                      <a:pt x="10" y="0"/>
                      <a:pt x="10" y="0"/>
                    </a:cubicBezTo>
                    <a:cubicBezTo>
                      <a:pt x="4" y="0"/>
                      <a:pt x="0" y="4"/>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0" name="išḻîḑê"/>
              <p:cNvSpPr/>
              <p:nvPr/>
            </p:nvSpPr>
            <p:spPr bwMode="auto">
              <a:xfrm>
                <a:off x="2199" y="1898"/>
                <a:ext cx="66" cy="6"/>
              </a:xfrm>
              <a:custGeom>
                <a:avLst/>
                <a:gdLst>
                  <a:gd name="T0" fmla="*/ 0 w 219"/>
                  <a:gd name="T1" fmla="*/ 10 h 20"/>
                  <a:gd name="T2" fmla="*/ 10 w 219"/>
                  <a:gd name="T3" fmla="*/ 20 h 20"/>
                  <a:gd name="T4" fmla="*/ 209 w 219"/>
                  <a:gd name="T5" fmla="*/ 20 h 20"/>
                  <a:gd name="T6" fmla="*/ 219 w 219"/>
                  <a:gd name="T7" fmla="*/ 10 h 20"/>
                  <a:gd name="T8" fmla="*/ 219 w 219"/>
                  <a:gd name="T9" fmla="*/ 10 h 20"/>
                  <a:gd name="T10" fmla="*/ 209 w 219"/>
                  <a:gd name="T11" fmla="*/ 0 h 20"/>
                  <a:gd name="T12" fmla="*/ 10 w 219"/>
                  <a:gd name="T13" fmla="*/ 0 h 20"/>
                  <a:gd name="T14" fmla="*/ 0 w 21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0">
                    <a:moveTo>
                      <a:pt x="0" y="10"/>
                    </a:moveTo>
                    <a:cubicBezTo>
                      <a:pt x="0" y="15"/>
                      <a:pt x="4" y="20"/>
                      <a:pt x="10" y="20"/>
                    </a:cubicBezTo>
                    <a:cubicBezTo>
                      <a:pt x="209" y="20"/>
                      <a:pt x="209" y="20"/>
                      <a:pt x="209" y="20"/>
                    </a:cubicBezTo>
                    <a:cubicBezTo>
                      <a:pt x="214" y="20"/>
                      <a:pt x="219" y="15"/>
                      <a:pt x="219" y="10"/>
                    </a:cubicBezTo>
                    <a:cubicBezTo>
                      <a:pt x="219" y="10"/>
                      <a:pt x="219" y="10"/>
                      <a:pt x="219" y="10"/>
                    </a:cubicBezTo>
                    <a:cubicBezTo>
                      <a:pt x="219" y="4"/>
                      <a:pt x="214" y="0"/>
                      <a:pt x="209" y="0"/>
                    </a:cubicBezTo>
                    <a:cubicBezTo>
                      <a:pt x="10" y="0"/>
                      <a:pt x="10" y="0"/>
                      <a:pt x="10" y="0"/>
                    </a:cubicBezTo>
                    <a:cubicBezTo>
                      <a:pt x="4" y="0"/>
                      <a:pt x="0" y="4"/>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1" name="îš1îḓê"/>
              <p:cNvSpPr/>
              <p:nvPr/>
            </p:nvSpPr>
            <p:spPr bwMode="auto">
              <a:xfrm>
                <a:off x="2321" y="1424"/>
                <a:ext cx="251" cy="251"/>
              </a:xfrm>
              <a:custGeom>
                <a:avLst/>
                <a:gdLst>
                  <a:gd name="T0" fmla="*/ 0 w 826"/>
                  <a:gd name="T1" fmla="*/ 776 h 826"/>
                  <a:gd name="T2" fmla="*/ 49 w 826"/>
                  <a:gd name="T3" fmla="*/ 826 h 826"/>
                  <a:gd name="T4" fmla="*/ 777 w 826"/>
                  <a:gd name="T5" fmla="*/ 826 h 826"/>
                  <a:gd name="T6" fmla="*/ 826 w 826"/>
                  <a:gd name="T7" fmla="*/ 776 h 826"/>
                  <a:gd name="T8" fmla="*/ 826 w 826"/>
                  <a:gd name="T9" fmla="*/ 49 h 826"/>
                  <a:gd name="T10" fmla="*/ 777 w 826"/>
                  <a:gd name="T11" fmla="*/ 0 h 826"/>
                  <a:gd name="T12" fmla="*/ 49 w 826"/>
                  <a:gd name="T13" fmla="*/ 0 h 826"/>
                  <a:gd name="T14" fmla="*/ 0 w 826"/>
                  <a:gd name="T15" fmla="*/ 49 h 826"/>
                  <a:gd name="T16" fmla="*/ 0 w 826"/>
                  <a:gd name="T17" fmla="*/ 776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826">
                    <a:moveTo>
                      <a:pt x="0" y="776"/>
                    </a:moveTo>
                    <a:cubicBezTo>
                      <a:pt x="0" y="804"/>
                      <a:pt x="22" y="826"/>
                      <a:pt x="49" y="826"/>
                    </a:cubicBezTo>
                    <a:cubicBezTo>
                      <a:pt x="777" y="826"/>
                      <a:pt x="777" y="826"/>
                      <a:pt x="777" y="826"/>
                    </a:cubicBezTo>
                    <a:cubicBezTo>
                      <a:pt x="804" y="826"/>
                      <a:pt x="826" y="804"/>
                      <a:pt x="826" y="776"/>
                    </a:cubicBezTo>
                    <a:cubicBezTo>
                      <a:pt x="826" y="49"/>
                      <a:pt x="826" y="49"/>
                      <a:pt x="826" y="49"/>
                    </a:cubicBezTo>
                    <a:cubicBezTo>
                      <a:pt x="826" y="22"/>
                      <a:pt x="804" y="0"/>
                      <a:pt x="777" y="0"/>
                    </a:cubicBezTo>
                    <a:cubicBezTo>
                      <a:pt x="49" y="0"/>
                      <a:pt x="49" y="0"/>
                      <a:pt x="49" y="0"/>
                    </a:cubicBezTo>
                    <a:cubicBezTo>
                      <a:pt x="22" y="0"/>
                      <a:pt x="0" y="22"/>
                      <a:pt x="0" y="49"/>
                    </a:cubicBezTo>
                    <a:lnTo>
                      <a:pt x="0" y="776"/>
                    </a:lnTo>
                    <a:close/>
                  </a:path>
                </a:pathLst>
              </a:custGeom>
              <a:solidFill>
                <a:srgbClr val="9C9995"/>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2" name="ïṥḻïḑê"/>
              <p:cNvSpPr/>
              <p:nvPr/>
            </p:nvSpPr>
            <p:spPr bwMode="auto">
              <a:xfrm>
                <a:off x="2338" y="1505"/>
                <a:ext cx="216" cy="29"/>
              </a:xfrm>
              <a:custGeom>
                <a:avLst/>
                <a:gdLst>
                  <a:gd name="T0" fmla="*/ 48 w 711"/>
                  <a:gd name="T1" fmla="*/ 0 h 96"/>
                  <a:gd name="T2" fmla="*/ 0 w 711"/>
                  <a:gd name="T3" fmla="*/ 48 h 96"/>
                  <a:gd name="T4" fmla="*/ 0 w 711"/>
                  <a:gd name="T5" fmla="*/ 48 h 96"/>
                  <a:gd name="T6" fmla="*/ 48 w 711"/>
                  <a:gd name="T7" fmla="*/ 96 h 96"/>
                  <a:gd name="T8" fmla="*/ 663 w 711"/>
                  <a:gd name="T9" fmla="*/ 96 h 96"/>
                  <a:gd name="T10" fmla="*/ 711 w 711"/>
                  <a:gd name="T11" fmla="*/ 48 h 96"/>
                  <a:gd name="T12" fmla="*/ 711 w 711"/>
                  <a:gd name="T13" fmla="*/ 48 h 96"/>
                  <a:gd name="T14" fmla="*/ 663 w 711"/>
                  <a:gd name="T15" fmla="*/ 0 h 96"/>
                  <a:gd name="T16" fmla="*/ 48 w 711"/>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96">
                    <a:moveTo>
                      <a:pt x="48" y="0"/>
                    </a:moveTo>
                    <a:cubicBezTo>
                      <a:pt x="21" y="0"/>
                      <a:pt x="0" y="21"/>
                      <a:pt x="0" y="48"/>
                    </a:cubicBezTo>
                    <a:cubicBezTo>
                      <a:pt x="0" y="48"/>
                      <a:pt x="0" y="48"/>
                      <a:pt x="0" y="48"/>
                    </a:cubicBezTo>
                    <a:cubicBezTo>
                      <a:pt x="0" y="74"/>
                      <a:pt x="21" y="96"/>
                      <a:pt x="48" y="96"/>
                    </a:cubicBezTo>
                    <a:cubicBezTo>
                      <a:pt x="663" y="96"/>
                      <a:pt x="663" y="96"/>
                      <a:pt x="663" y="96"/>
                    </a:cubicBezTo>
                    <a:cubicBezTo>
                      <a:pt x="689" y="96"/>
                      <a:pt x="711" y="74"/>
                      <a:pt x="711" y="48"/>
                    </a:cubicBezTo>
                    <a:cubicBezTo>
                      <a:pt x="711" y="48"/>
                      <a:pt x="711" y="48"/>
                      <a:pt x="711" y="48"/>
                    </a:cubicBezTo>
                    <a:cubicBezTo>
                      <a:pt x="711" y="21"/>
                      <a:pt x="689" y="0"/>
                      <a:pt x="663" y="0"/>
                    </a:cubicBezTo>
                    <a:lnTo>
                      <a:pt x="48" y="0"/>
                    </a:lnTo>
                    <a:close/>
                  </a:path>
                </a:pathLst>
              </a:custGeom>
              <a:solidFill>
                <a:srgbClr val="D2CFC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3" name="iSḻîḑè"/>
              <p:cNvSpPr/>
              <p:nvPr/>
            </p:nvSpPr>
            <p:spPr bwMode="auto">
              <a:xfrm>
                <a:off x="2338" y="1565"/>
                <a:ext cx="216" cy="29"/>
              </a:xfrm>
              <a:custGeom>
                <a:avLst/>
                <a:gdLst>
                  <a:gd name="T0" fmla="*/ 48 w 711"/>
                  <a:gd name="T1" fmla="*/ 0 h 96"/>
                  <a:gd name="T2" fmla="*/ 0 w 711"/>
                  <a:gd name="T3" fmla="*/ 48 h 96"/>
                  <a:gd name="T4" fmla="*/ 0 w 711"/>
                  <a:gd name="T5" fmla="*/ 48 h 96"/>
                  <a:gd name="T6" fmla="*/ 48 w 711"/>
                  <a:gd name="T7" fmla="*/ 96 h 96"/>
                  <a:gd name="T8" fmla="*/ 663 w 711"/>
                  <a:gd name="T9" fmla="*/ 96 h 96"/>
                  <a:gd name="T10" fmla="*/ 711 w 711"/>
                  <a:gd name="T11" fmla="*/ 48 h 96"/>
                  <a:gd name="T12" fmla="*/ 711 w 711"/>
                  <a:gd name="T13" fmla="*/ 48 h 96"/>
                  <a:gd name="T14" fmla="*/ 663 w 711"/>
                  <a:gd name="T15" fmla="*/ 0 h 96"/>
                  <a:gd name="T16" fmla="*/ 48 w 711"/>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96">
                    <a:moveTo>
                      <a:pt x="48" y="0"/>
                    </a:moveTo>
                    <a:cubicBezTo>
                      <a:pt x="21" y="0"/>
                      <a:pt x="0" y="21"/>
                      <a:pt x="0" y="48"/>
                    </a:cubicBezTo>
                    <a:cubicBezTo>
                      <a:pt x="0" y="48"/>
                      <a:pt x="0" y="48"/>
                      <a:pt x="0" y="48"/>
                    </a:cubicBezTo>
                    <a:cubicBezTo>
                      <a:pt x="0" y="74"/>
                      <a:pt x="21" y="96"/>
                      <a:pt x="48" y="96"/>
                    </a:cubicBezTo>
                    <a:cubicBezTo>
                      <a:pt x="663" y="96"/>
                      <a:pt x="663" y="96"/>
                      <a:pt x="663" y="96"/>
                    </a:cubicBezTo>
                    <a:cubicBezTo>
                      <a:pt x="689" y="96"/>
                      <a:pt x="711" y="74"/>
                      <a:pt x="711" y="48"/>
                    </a:cubicBezTo>
                    <a:cubicBezTo>
                      <a:pt x="711" y="48"/>
                      <a:pt x="711" y="48"/>
                      <a:pt x="711" y="48"/>
                    </a:cubicBezTo>
                    <a:cubicBezTo>
                      <a:pt x="711" y="21"/>
                      <a:pt x="689" y="0"/>
                      <a:pt x="663" y="0"/>
                    </a:cubicBezTo>
                    <a:lnTo>
                      <a:pt x="48" y="0"/>
                    </a:lnTo>
                    <a:close/>
                  </a:path>
                </a:pathLst>
              </a:custGeom>
              <a:solidFill>
                <a:srgbClr val="D2CFC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4" name="iṣľíḓé"/>
              <p:cNvSpPr/>
              <p:nvPr/>
            </p:nvSpPr>
            <p:spPr bwMode="auto">
              <a:xfrm>
                <a:off x="2338" y="1626"/>
                <a:ext cx="216" cy="29"/>
              </a:xfrm>
              <a:custGeom>
                <a:avLst/>
                <a:gdLst>
                  <a:gd name="T0" fmla="*/ 48 w 711"/>
                  <a:gd name="T1" fmla="*/ 0 h 96"/>
                  <a:gd name="T2" fmla="*/ 0 w 711"/>
                  <a:gd name="T3" fmla="*/ 48 h 96"/>
                  <a:gd name="T4" fmla="*/ 0 w 711"/>
                  <a:gd name="T5" fmla="*/ 48 h 96"/>
                  <a:gd name="T6" fmla="*/ 48 w 711"/>
                  <a:gd name="T7" fmla="*/ 96 h 96"/>
                  <a:gd name="T8" fmla="*/ 663 w 711"/>
                  <a:gd name="T9" fmla="*/ 96 h 96"/>
                  <a:gd name="T10" fmla="*/ 711 w 711"/>
                  <a:gd name="T11" fmla="*/ 48 h 96"/>
                  <a:gd name="T12" fmla="*/ 711 w 711"/>
                  <a:gd name="T13" fmla="*/ 48 h 96"/>
                  <a:gd name="T14" fmla="*/ 663 w 711"/>
                  <a:gd name="T15" fmla="*/ 0 h 96"/>
                  <a:gd name="T16" fmla="*/ 48 w 711"/>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96">
                    <a:moveTo>
                      <a:pt x="48" y="0"/>
                    </a:moveTo>
                    <a:cubicBezTo>
                      <a:pt x="21" y="0"/>
                      <a:pt x="0" y="21"/>
                      <a:pt x="0" y="48"/>
                    </a:cubicBezTo>
                    <a:cubicBezTo>
                      <a:pt x="0" y="48"/>
                      <a:pt x="0" y="48"/>
                      <a:pt x="0" y="48"/>
                    </a:cubicBezTo>
                    <a:cubicBezTo>
                      <a:pt x="0" y="74"/>
                      <a:pt x="21" y="96"/>
                      <a:pt x="48" y="96"/>
                    </a:cubicBezTo>
                    <a:cubicBezTo>
                      <a:pt x="663" y="96"/>
                      <a:pt x="663" y="96"/>
                      <a:pt x="663" y="96"/>
                    </a:cubicBezTo>
                    <a:cubicBezTo>
                      <a:pt x="689" y="96"/>
                      <a:pt x="711" y="74"/>
                      <a:pt x="711" y="48"/>
                    </a:cubicBezTo>
                    <a:cubicBezTo>
                      <a:pt x="711" y="48"/>
                      <a:pt x="711" y="48"/>
                      <a:pt x="711" y="48"/>
                    </a:cubicBezTo>
                    <a:cubicBezTo>
                      <a:pt x="711" y="21"/>
                      <a:pt x="689" y="0"/>
                      <a:pt x="663" y="0"/>
                    </a:cubicBezTo>
                    <a:lnTo>
                      <a:pt x="48" y="0"/>
                    </a:lnTo>
                    <a:close/>
                  </a:path>
                </a:pathLst>
              </a:custGeom>
              <a:solidFill>
                <a:srgbClr val="D2CFC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5" name="îṣlíḑé"/>
              <p:cNvSpPr/>
              <p:nvPr/>
            </p:nvSpPr>
            <p:spPr bwMode="auto">
              <a:xfrm>
                <a:off x="2338" y="1444"/>
                <a:ext cx="216" cy="29"/>
              </a:xfrm>
              <a:custGeom>
                <a:avLst/>
                <a:gdLst>
                  <a:gd name="T0" fmla="*/ 48 w 711"/>
                  <a:gd name="T1" fmla="*/ 0 h 96"/>
                  <a:gd name="T2" fmla="*/ 0 w 711"/>
                  <a:gd name="T3" fmla="*/ 48 h 96"/>
                  <a:gd name="T4" fmla="*/ 0 w 711"/>
                  <a:gd name="T5" fmla="*/ 48 h 96"/>
                  <a:gd name="T6" fmla="*/ 48 w 711"/>
                  <a:gd name="T7" fmla="*/ 96 h 96"/>
                  <a:gd name="T8" fmla="*/ 663 w 711"/>
                  <a:gd name="T9" fmla="*/ 96 h 96"/>
                  <a:gd name="T10" fmla="*/ 711 w 711"/>
                  <a:gd name="T11" fmla="*/ 48 h 96"/>
                  <a:gd name="T12" fmla="*/ 711 w 711"/>
                  <a:gd name="T13" fmla="*/ 48 h 96"/>
                  <a:gd name="T14" fmla="*/ 663 w 711"/>
                  <a:gd name="T15" fmla="*/ 0 h 96"/>
                  <a:gd name="T16" fmla="*/ 48 w 711"/>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96">
                    <a:moveTo>
                      <a:pt x="48" y="0"/>
                    </a:moveTo>
                    <a:cubicBezTo>
                      <a:pt x="21" y="0"/>
                      <a:pt x="0" y="21"/>
                      <a:pt x="0" y="48"/>
                    </a:cubicBezTo>
                    <a:cubicBezTo>
                      <a:pt x="0" y="48"/>
                      <a:pt x="0" y="48"/>
                      <a:pt x="0" y="48"/>
                    </a:cubicBezTo>
                    <a:cubicBezTo>
                      <a:pt x="0" y="75"/>
                      <a:pt x="21" y="96"/>
                      <a:pt x="48" y="96"/>
                    </a:cubicBezTo>
                    <a:cubicBezTo>
                      <a:pt x="663" y="96"/>
                      <a:pt x="663" y="96"/>
                      <a:pt x="663" y="96"/>
                    </a:cubicBezTo>
                    <a:cubicBezTo>
                      <a:pt x="689" y="96"/>
                      <a:pt x="711" y="75"/>
                      <a:pt x="711" y="48"/>
                    </a:cubicBezTo>
                    <a:cubicBezTo>
                      <a:pt x="711" y="48"/>
                      <a:pt x="711" y="48"/>
                      <a:pt x="711" y="48"/>
                    </a:cubicBezTo>
                    <a:cubicBezTo>
                      <a:pt x="711" y="21"/>
                      <a:pt x="689" y="0"/>
                      <a:pt x="663" y="0"/>
                    </a:cubicBezTo>
                    <a:lnTo>
                      <a:pt x="48" y="0"/>
                    </a:lnTo>
                    <a:close/>
                  </a:path>
                </a:pathLst>
              </a:custGeom>
              <a:solidFill>
                <a:srgbClr val="D2CFC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6" name="îṧḷîḓe"/>
              <p:cNvSpPr/>
              <p:nvPr/>
            </p:nvSpPr>
            <p:spPr bwMode="auto">
              <a:xfrm>
                <a:off x="2503" y="1422"/>
                <a:ext cx="6" cy="256"/>
              </a:xfrm>
              <a:custGeom>
                <a:avLst/>
                <a:gdLst>
                  <a:gd name="T0" fmla="*/ 0 w 21"/>
                  <a:gd name="T1" fmla="*/ 835 h 845"/>
                  <a:gd name="T2" fmla="*/ 10 w 21"/>
                  <a:gd name="T3" fmla="*/ 845 h 845"/>
                  <a:gd name="T4" fmla="*/ 10 w 21"/>
                  <a:gd name="T5" fmla="*/ 845 h 845"/>
                  <a:gd name="T6" fmla="*/ 21 w 21"/>
                  <a:gd name="T7" fmla="*/ 835 h 845"/>
                  <a:gd name="T8" fmla="*/ 21 w 21"/>
                  <a:gd name="T9" fmla="*/ 11 h 845"/>
                  <a:gd name="T10" fmla="*/ 10 w 21"/>
                  <a:gd name="T11" fmla="*/ 0 h 845"/>
                  <a:gd name="T12" fmla="*/ 10 w 21"/>
                  <a:gd name="T13" fmla="*/ 0 h 845"/>
                  <a:gd name="T14" fmla="*/ 0 w 21"/>
                  <a:gd name="T15" fmla="*/ 11 h 845"/>
                  <a:gd name="T16" fmla="*/ 0 w 21"/>
                  <a:gd name="T17" fmla="*/ 835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45">
                    <a:moveTo>
                      <a:pt x="0" y="835"/>
                    </a:moveTo>
                    <a:cubicBezTo>
                      <a:pt x="0" y="841"/>
                      <a:pt x="4" y="845"/>
                      <a:pt x="10" y="845"/>
                    </a:cubicBezTo>
                    <a:cubicBezTo>
                      <a:pt x="10" y="845"/>
                      <a:pt x="10" y="845"/>
                      <a:pt x="10" y="845"/>
                    </a:cubicBezTo>
                    <a:cubicBezTo>
                      <a:pt x="16" y="845"/>
                      <a:pt x="21" y="841"/>
                      <a:pt x="21" y="835"/>
                    </a:cubicBezTo>
                    <a:cubicBezTo>
                      <a:pt x="21" y="11"/>
                      <a:pt x="21" y="11"/>
                      <a:pt x="21" y="11"/>
                    </a:cubicBezTo>
                    <a:cubicBezTo>
                      <a:pt x="21" y="5"/>
                      <a:pt x="16" y="0"/>
                      <a:pt x="10" y="0"/>
                    </a:cubicBezTo>
                    <a:cubicBezTo>
                      <a:pt x="10" y="0"/>
                      <a:pt x="10" y="0"/>
                      <a:pt x="10" y="0"/>
                    </a:cubicBezTo>
                    <a:cubicBezTo>
                      <a:pt x="4" y="0"/>
                      <a:pt x="0" y="5"/>
                      <a:pt x="0" y="11"/>
                    </a:cubicBezTo>
                    <a:lnTo>
                      <a:pt x="0" y="835"/>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7" name="ís1îḋê"/>
              <p:cNvSpPr/>
              <p:nvPr/>
            </p:nvSpPr>
            <p:spPr bwMode="auto">
              <a:xfrm>
                <a:off x="2443" y="1422"/>
                <a:ext cx="6" cy="256"/>
              </a:xfrm>
              <a:custGeom>
                <a:avLst/>
                <a:gdLst>
                  <a:gd name="T0" fmla="*/ 0 w 22"/>
                  <a:gd name="T1" fmla="*/ 835 h 845"/>
                  <a:gd name="T2" fmla="*/ 11 w 22"/>
                  <a:gd name="T3" fmla="*/ 845 h 845"/>
                  <a:gd name="T4" fmla="*/ 11 w 22"/>
                  <a:gd name="T5" fmla="*/ 845 h 845"/>
                  <a:gd name="T6" fmla="*/ 22 w 22"/>
                  <a:gd name="T7" fmla="*/ 835 h 845"/>
                  <a:gd name="T8" fmla="*/ 22 w 22"/>
                  <a:gd name="T9" fmla="*/ 11 h 845"/>
                  <a:gd name="T10" fmla="*/ 11 w 22"/>
                  <a:gd name="T11" fmla="*/ 0 h 845"/>
                  <a:gd name="T12" fmla="*/ 11 w 22"/>
                  <a:gd name="T13" fmla="*/ 0 h 845"/>
                  <a:gd name="T14" fmla="*/ 0 w 22"/>
                  <a:gd name="T15" fmla="*/ 11 h 845"/>
                  <a:gd name="T16" fmla="*/ 0 w 22"/>
                  <a:gd name="T17" fmla="*/ 835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845">
                    <a:moveTo>
                      <a:pt x="0" y="835"/>
                    </a:moveTo>
                    <a:cubicBezTo>
                      <a:pt x="0" y="841"/>
                      <a:pt x="5" y="845"/>
                      <a:pt x="11" y="845"/>
                    </a:cubicBezTo>
                    <a:cubicBezTo>
                      <a:pt x="11" y="845"/>
                      <a:pt x="11" y="845"/>
                      <a:pt x="11" y="845"/>
                    </a:cubicBezTo>
                    <a:cubicBezTo>
                      <a:pt x="17" y="845"/>
                      <a:pt x="22" y="841"/>
                      <a:pt x="22" y="835"/>
                    </a:cubicBezTo>
                    <a:cubicBezTo>
                      <a:pt x="22" y="11"/>
                      <a:pt x="22" y="11"/>
                      <a:pt x="22" y="11"/>
                    </a:cubicBezTo>
                    <a:cubicBezTo>
                      <a:pt x="22" y="5"/>
                      <a:pt x="17" y="0"/>
                      <a:pt x="11" y="0"/>
                    </a:cubicBezTo>
                    <a:cubicBezTo>
                      <a:pt x="11" y="0"/>
                      <a:pt x="11" y="0"/>
                      <a:pt x="11" y="0"/>
                    </a:cubicBezTo>
                    <a:cubicBezTo>
                      <a:pt x="5" y="0"/>
                      <a:pt x="0" y="5"/>
                      <a:pt x="0" y="11"/>
                    </a:cubicBezTo>
                    <a:lnTo>
                      <a:pt x="0" y="835"/>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8" name="iṥlîḋé"/>
              <p:cNvSpPr/>
              <p:nvPr/>
            </p:nvSpPr>
            <p:spPr bwMode="auto">
              <a:xfrm>
                <a:off x="2440" y="1454"/>
                <a:ext cx="71" cy="6"/>
              </a:xfrm>
              <a:custGeom>
                <a:avLst/>
                <a:gdLst>
                  <a:gd name="T0" fmla="*/ 0 w 233"/>
                  <a:gd name="T1" fmla="*/ 11 h 21"/>
                  <a:gd name="T2" fmla="*/ 11 w 233"/>
                  <a:gd name="T3" fmla="*/ 21 h 21"/>
                  <a:gd name="T4" fmla="*/ 222 w 233"/>
                  <a:gd name="T5" fmla="*/ 21 h 21"/>
                  <a:gd name="T6" fmla="*/ 233 w 233"/>
                  <a:gd name="T7" fmla="*/ 11 h 21"/>
                  <a:gd name="T8" fmla="*/ 233 w 233"/>
                  <a:gd name="T9" fmla="*/ 11 h 21"/>
                  <a:gd name="T10" fmla="*/ 222 w 233"/>
                  <a:gd name="T11" fmla="*/ 0 h 21"/>
                  <a:gd name="T12" fmla="*/ 11 w 233"/>
                  <a:gd name="T13" fmla="*/ 0 h 21"/>
                  <a:gd name="T14" fmla="*/ 0 w 233"/>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1">
                    <a:moveTo>
                      <a:pt x="0" y="11"/>
                    </a:moveTo>
                    <a:cubicBezTo>
                      <a:pt x="0" y="16"/>
                      <a:pt x="5" y="21"/>
                      <a:pt x="11" y="21"/>
                    </a:cubicBezTo>
                    <a:cubicBezTo>
                      <a:pt x="222" y="21"/>
                      <a:pt x="222" y="21"/>
                      <a:pt x="222" y="21"/>
                    </a:cubicBezTo>
                    <a:cubicBezTo>
                      <a:pt x="228" y="21"/>
                      <a:pt x="233" y="16"/>
                      <a:pt x="233" y="11"/>
                    </a:cubicBezTo>
                    <a:cubicBezTo>
                      <a:pt x="233" y="11"/>
                      <a:pt x="233" y="11"/>
                      <a:pt x="233" y="11"/>
                    </a:cubicBezTo>
                    <a:cubicBezTo>
                      <a:pt x="233" y="5"/>
                      <a:pt x="228" y="0"/>
                      <a:pt x="222" y="0"/>
                    </a:cubicBezTo>
                    <a:cubicBezTo>
                      <a:pt x="11" y="0"/>
                      <a:pt x="11" y="0"/>
                      <a:pt x="11" y="0"/>
                    </a:cubicBezTo>
                    <a:cubicBezTo>
                      <a:pt x="5" y="0"/>
                      <a:pt x="0" y="5"/>
                      <a:pt x="0" y="11"/>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59" name="ïṩlîḑe"/>
              <p:cNvSpPr/>
              <p:nvPr/>
            </p:nvSpPr>
            <p:spPr bwMode="auto">
              <a:xfrm>
                <a:off x="2440" y="1492"/>
                <a:ext cx="71" cy="6"/>
              </a:xfrm>
              <a:custGeom>
                <a:avLst/>
                <a:gdLst>
                  <a:gd name="T0" fmla="*/ 0 w 233"/>
                  <a:gd name="T1" fmla="*/ 10 h 21"/>
                  <a:gd name="T2" fmla="*/ 11 w 233"/>
                  <a:gd name="T3" fmla="*/ 21 h 21"/>
                  <a:gd name="T4" fmla="*/ 222 w 233"/>
                  <a:gd name="T5" fmla="*/ 21 h 21"/>
                  <a:gd name="T6" fmla="*/ 233 w 233"/>
                  <a:gd name="T7" fmla="*/ 10 h 21"/>
                  <a:gd name="T8" fmla="*/ 233 w 233"/>
                  <a:gd name="T9" fmla="*/ 10 h 21"/>
                  <a:gd name="T10" fmla="*/ 222 w 233"/>
                  <a:gd name="T11" fmla="*/ 0 h 21"/>
                  <a:gd name="T12" fmla="*/ 11 w 233"/>
                  <a:gd name="T13" fmla="*/ 0 h 21"/>
                  <a:gd name="T14" fmla="*/ 0 w 233"/>
                  <a:gd name="T15" fmla="*/ 1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1">
                    <a:moveTo>
                      <a:pt x="0" y="10"/>
                    </a:moveTo>
                    <a:cubicBezTo>
                      <a:pt x="0" y="16"/>
                      <a:pt x="5" y="21"/>
                      <a:pt x="11" y="21"/>
                    </a:cubicBezTo>
                    <a:cubicBezTo>
                      <a:pt x="222" y="21"/>
                      <a:pt x="222" y="21"/>
                      <a:pt x="222" y="21"/>
                    </a:cubicBezTo>
                    <a:cubicBezTo>
                      <a:pt x="228" y="21"/>
                      <a:pt x="233" y="16"/>
                      <a:pt x="233" y="10"/>
                    </a:cubicBezTo>
                    <a:cubicBezTo>
                      <a:pt x="233" y="10"/>
                      <a:pt x="233" y="10"/>
                      <a:pt x="233" y="10"/>
                    </a:cubicBezTo>
                    <a:cubicBezTo>
                      <a:pt x="233" y="4"/>
                      <a:pt x="228" y="0"/>
                      <a:pt x="222" y="0"/>
                    </a:cubicBezTo>
                    <a:cubicBezTo>
                      <a:pt x="11" y="0"/>
                      <a:pt x="11" y="0"/>
                      <a:pt x="11" y="0"/>
                    </a:cubicBezTo>
                    <a:cubicBezTo>
                      <a:pt x="5" y="0"/>
                      <a:pt x="0" y="4"/>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0" name="îṡ1îde"/>
              <p:cNvSpPr/>
              <p:nvPr/>
            </p:nvSpPr>
            <p:spPr bwMode="auto">
              <a:xfrm>
                <a:off x="2440" y="1530"/>
                <a:ext cx="71" cy="6"/>
              </a:xfrm>
              <a:custGeom>
                <a:avLst/>
                <a:gdLst>
                  <a:gd name="T0" fmla="*/ 0 w 233"/>
                  <a:gd name="T1" fmla="*/ 10 h 21"/>
                  <a:gd name="T2" fmla="*/ 11 w 233"/>
                  <a:gd name="T3" fmla="*/ 21 h 21"/>
                  <a:gd name="T4" fmla="*/ 222 w 233"/>
                  <a:gd name="T5" fmla="*/ 21 h 21"/>
                  <a:gd name="T6" fmla="*/ 233 w 233"/>
                  <a:gd name="T7" fmla="*/ 10 h 21"/>
                  <a:gd name="T8" fmla="*/ 233 w 233"/>
                  <a:gd name="T9" fmla="*/ 10 h 21"/>
                  <a:gd name="T10" fmla="*/ 222 w 233"/>
                  <a:gd name="T11" fmla="*/ 0 h 21"/>
                  <a:gd name="T12" fmla="*/ 11 w 233"/>
                  <a:gd name="T13" fmla="*/ 0 h 21"/>
                  <a:gd name="T14" fmla="*/ 0 w 233"/>
                  <a:gd name="T15" fmla="*/ 1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1">
                    <a:moveTo>
                      <a:pt x="0" y="10"/>
                    </a:moveTo>
                    <a:cubicBezTo>
                      <a:pt x="0" y="16"/>
                      <a:pt x="5" y="21"/>
                      <a:pt x="11" y="21"/>
                    </a:cubicBezTo>
                    <a:cubicBezTo>
                      <a:pt x="222" y="21"/>
                      <a:pt x="222" y="21"/>
                      <a:pt x="222" y="21"/>
                    </a:cubicBezTo>
                    <a:cubicBezTo>
                      <a:pt x="228" y="21"/>
                      <a:pt x="233" y="16"/>
                      <a:pt x="233" y="10"/>
                    </a:cubicBezTo>
                    <a:cubicBezTo>
                      <a:pt x="233" y="10"/>
                      <a:pt x="233" y="10"/>
                      <a:pt x="233" y="10"/>
                    </a:cubicBezTo>
                    <a:cubicBezTo>
                      <a:pt x="233" y="5"/>
                      <a:pt x="228" y="0"/>
                      <a:pt x="222" y="0"/>
                    </a:cubicBezTo>
                    <a:cubicBezTo>
                      <a:pt x="11" y="0"/>
                      <a:pt x="11" y="0"/>
                      <a:pt x="11" y="0"/>
                    </a:cubicBezTo>
                    <a:cubicBezTo>
                      <a:pt x="5" y="0"/>
                      <a:pt x="0" y="5"/>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1" name="îṣḻídé"/>
              <p:cNvSpPr/>
              <p:nvPr/>
            </p:nvSpPr>
            <p:spPr bwMode="auto">
              <a:xfrm>
                <a:off x="2440" y="1568"/>
                <a:ext cx="71" cy="7"/>
              </a:xfrm>
              <a:custGeom>
                <a:avLst/>
                <a:gdLst>
                  <a:gd name="T0" fmla="*/ 0 w 233"/>
                  <a:gd name="T1" fmla="*/ 10 h 21"/>
                  <a:gd name="T2" fmla="*/ 11 w 233"/>
                  <a:gd name="T3" fmla="*/ 21 h 21"/>
                  <a:gd name="T4" fmla="*/ 222 w 233"/>
                  <a:gd name="T5" fmla="*/ 21 h 21"/>
                  <a:gd name="T6" fmla="*/ 233 w 233"/>
                  <a:gd name="T7" fmla="*/ 10 h 21"/>
                  <a:gd name="T8" fmla="*/ 233 w 233"/>
                  <a:gd name="T9" fmla="*/ 10 h 21"/>
                  <a:gd name="T10" fmla="*/ 222 w 233"/>
                  <a:gd name="T11" fmla="*/ 0 h 21"/>
                  <a:gd name="T12" fmla="*/ 11 w 233"/>
                  <a:gd name="T13" fmla="*/ 0 h 21"/>
                  <a:gd name="T14" fmla="*/ 0 w 233"/>
                  <a:gd name="T15" fmla="*/ 1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1">
                    <a:moveTo>
                      <a:pt x="0" y="10"/>
                    </a:moveTo>
                    <a:cubicBezTo>
                      <a:pt x="0" y="16"/>
                      <a:pt x="5" y="21"/>
                      <a:pt x="11" y="21"/>
                    </a:cubicBezTo>
                    <a:cubicBezTo>
                      <a:pt x="222" y="21"/>
                      <a:pt x="222" y="21"/>
                      <a:pt x="222" y="21"/>
                    </a:cubicBezTo>
                    <a:cubicBezTo>
                      <a:pt x="228" y="21"/>
                      <a:pt x="233" y="16"/>
                      <a:pt x="233" y="10"/>
                    </a:cubicBezTo>
                    <a:cubicBezTo>
                      <a:pt x="233" y="10"/>
                      <a:pt x="233" y="10"/>
                      <a:pt x="233" y="10"/>
                    </a:cubicBezTo>
                    <a:cubicBezTo>
                      <a:pt x="233" y="4"/>
                      <a:pt x="228" y="0"/>
                      <a:pt x="222" y="0"/>
                    </a:cubicBezTo>
                    <a:cubicBezTo>
                      <a:pt x="11" y="0"/>
                      <a:pt x="11" y="0"/>
                      <a:pt x="11" y="0"/>
                    </a:cubicBezTo>
                    <a:cubicBezTo>
                      <a:pt x="5" y="0"/>
                      <a:pt x="0" y="4"/>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2" name="ïṩlîḋè"/>
              <p:cNvSpPr/>
              <p:nvPr/>
            </p:nvSpPr>
            <p:spPr bwMode="auto">
              <a:xfrm>
                <a:off x="2440" y="1606"/>
                <a:ext cx="71" cy="6"/>
              </a:xfrm>
              <a:custGeom>
                <a:avLst/>
                <a:gdLst>
                  <a:gd name="T0" fmla="*/ 0 w 233"/>
                  <a:gd name="T1" fmla="*/ 11 h 21"/>
                  <a:gd name="T2" fmla="*/ 11 w 233"/>
                  <a:gd name="T3" fmla="*/ 21 h 21"/>
                  <a:gd name="T4" fmla="*/ 222 w 233"/>
                  <a:gd name="T5" fmla="*/ 21 h 21"/>
                  <a:gd name="T6" fmla="*/ 233 w 233"/>
                  <a:gd name="T7" fmla="*/ 11 h 21"/>
                  <a:gd name="T8" fmla="*/ 233 w 233"/>
                  <a:gd name="T9" fmla="*/ 11 h 21"/>
                  <a:gd name="T10" fmla="*/ 222 w 233"/>
                  <a:gd name="T11" fmla="*/ 0 h 21"/>
                  <a:gd name="T12" fmla="*/ 11 w 233"/>
                  <a:gd name="T13" fmla="*/ 0 h 21"/>
                  <a:gd name="T14" fmla="*/ 0 w 233"/>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1">
                    <a:moveTo>
                      <a:pt x="0" y="11"/>
                    </a:moveTo>
                    <a:cubicBezTo>
                      <a:pt x="0" y="16"/>
                      <a:pt x="5" y="21"/>
                      <a:pt x="11" y="21"/>
                    </a:cubicBezTo>
                    <a:cubicBezTo>
                      <a:pt x="222" y="21"/>
                      <a:pt x="222" y="21"/>
                      <a:pt x="222" y="21"/>
                    </a:cubicBezTo>
                    <a:cubicBezTo>
                      <a:pt x="228" y="21"/>
                      <a:pt x="233" y="16"/>
                      <a:pt x="233" y="11"/>
                    </a:cubicBezTo>
                    <a:cubicBezTo>
                      <a:pt x="233" y="11"/>
                      <a:pt x="233" y="11"/>
                      <a:pt x="233" y="11"/>
                    </a:cubicBezTo>
                    <a:cubicBezTo>
                      <a:pt x="233" y="5"/>
                      <a:pt x="228" y="0"/>
                      <a:pt x="222" y="0"/>
                    </a:cubicBezTo>
                    <a:cubicBezTo>
                      <a:pt x="11" y="0"/>
                      <a:pt x="11" y="0"/>
                      <a:pt x="11" y="0"/>
                    </a:cubicBezTo>
                    <a:cubicBezTo>
                      <a:pt x="5" y="0"/>
                      <a:pt x="0" y="5"/>
                      <a:pt x="0" y="11"/>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3" name="íṥľîde"/>
              <p:cNvSpPr/>
              <p:nvPr/>
            </p:nvSpPr>
            <p:spPr bwMode="auto">
              <a:xfrm>
                <a:off x="2440" y="1643"/>
                <a:ext cx="71" cy="7"/>
              </a:xfrm>
              <a:custGeom>
                <a:avLst/>
                <a:gdLst>
                  <a:gd name="T0" fmla="*/ 0 w 233"/>
                  <a:gd name="T1" fmla="*/ 11 h 22"/>
                  <a:gd name="T2" fmla="*/ 11 w 233"/>
                  <a:gd name="T3" fmla="*/ 22 h 22"/>
                  <a:gd name="T4" fmla="*/ 222 w 233"/>
                  <a:gd name="T5" fmla="*/ 22 h 22"/>
                  <a:gd name="T6" fmla="*/ 233 w 233"/>
                  <a:gd name="T7" fmla="*/ 11 h 22"/>
                  <a:gd name="T8" fmla="*/ 233 w 233"/>
                  <a:gd name="T9" fmla="*/ 11 h 22"/>
                  <a:gd name="T10" fmla="*/ 222 w 233"/>
                  <a:gd name="T11" fmla="*/ 0 h 22"/>
                  <a:gd name="T12" fmla="*/ 11 w 233"/>
                  <a:gd name="T13" fmla="*/ 0 h 22"/>
                  <a:gd name="T14" fmla="*/ 0 w 233"/>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22">
                    <a:moveTo>
                      <a:pt x="0" y="11"/>
                    </a:moveTo>
                    <a:cubicBezTo>
                      <a:pt x="0" y="17"/>
                      <a:pt x="5" y="22"/>
                      <a:pt x="11" y="22"/>
                    </a:cubicBezTo>
                    <a:cubicBezTo>
                      <a:pt x="222" y="22"/>
                      <a:pt x="222" y="22"/>
                      <a:pt x="222" y="22"/>
                    </a:cubicBezTo>
                    <a:cubicBezTo>
                      <a:pt x="228" y="22"/>
                      <a:pt x="233" y="17"/>
                      <a:pt x="233" y="11"/>
                    </a:cubicBezTo>
                    <a:cubicBezTo>
                      <a:pt x="233" y="11"/>
                      <a:pt x="233" y="11"/>
                      <a:pt x="233" y="11"/>
                    </a:cubicBezTo>
                    <a:cubicBezTo>
                      <a:pt x="233" y="5"/>
                      <a:pt x="228" y="0"/>
                      <a:pt x="222" y="0"/>
                    </a:cubicBezTo>
                    <a:cubicBezTo>
                      <a:pt x="11" y="0"/>
                      <a:pt x="11" y="0"/>
                      <a:pt x="11" y="0"/>
                    </a:cubicBezTo>
                    <a:cubicBezTo>
                      <a:pt x="5" y="0"/>
                      <a:pt x="0" y="5"/>
                      <a:pt x="0" y="11"/>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4" name="íşlîḋe"/>
              <p:cNvSpPr/>
              <p:nvPr/>
            </p:nvSpPr>
            <p:spPr bwMode="auto">
              <a:xfrm>
                <a:off x="3056" y="1681"/>
                <a:ext cx="469" cy="250"/>
              </a:xfrm>
              <a:custGeom>
                <a:avLst/>
                <a:gdLst>
                  <a:gd name="T0" fmla="*/ 0 w 1542"/>
                  <a:gd name="T1" fmla="*/ 797 h 821"/>
                  <a:gd name="T2" fmla="*/ 24 w 1542"/>
                  <a:gd name="T3" fmla="*/ 821 h 821"/>
                  <a:gd name="T4" fmla="*/ 1518 w 1542"/>
                  <a:gd name="T5" fmla="*/ 821 h 821"/>
                  <a:gd name="T6" fmla="*/ 1542 w 1542"/>
                  <a:gd name="T7" fmla="*/ 797 h 821"/>
                  <a:gd name="T8" fmla="*/ 1542 w 1542"/>
                  <a:gd name="T9" fmla="*/ 24 h 821"/>
                  <a:gd name="T10" fmla="*/ 1518 w 1542"/>
                  <a:gd name="T11" fmla="*/ 0 h 821"/>
                  <a:gd name="T12" fmla="*/ 24 w 1542"/>
                  <a:gd name="T13" fmla="*/ 0 h 821"/>
                  <a:gd name="T14" fmla="*/ 0 w 1542"/>
                  <a:gd name="T15" fmla="*/ 24 h 821"/>
                  <a:gd name="T16" fmla="*/ 0 w 1542"/>
                  <a:gd name="T17" fmla="*/ 797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2" h="821">
                    <a:moveTo>
                      <a:pt x="0" y="797"/>
                    </a:moveTo>
                    <a:cubicBezTo>
                      <a:pt x="0" y="811"/>
                      <a:pt x="10" y="821"/>
                      <a:pt x="24" y="821"/>
                    </a:cubicBezTo>
                    <a:cubicBezTo>
                      <a:pt x="1518" y="821"/>
                      <a:pt x="1518" y="821"/>
                      <a:pt x="1518" y="821"/>
                    </a:cubicBezTo>
                    <a:cubicBezTo>
                      <a:pt x="1531" y="821"/>
                      <a:pt x="1542" y="811"/>
                      <a:pt x="1542" y="797"/>
                    </a:cubicBezTo>
                    <a:cubicBezTo>
                      <a:pt x="1542" y="24"/>
                      <a:pt x="1542" y="24"/>
                      <a:pt x="1542" y="24"/>
                    </a:cubicBezTo>
                    <a:cubicBezTo>
                      <a:pt x="1542" y="11"/>
                      <a:pt x="1531" y="0"/>
                      <a:pt x="1518" y="0"/>
                    </a:cubicBezTo>
                    <a:cubicBezTo>
                      <a:pt x="24" y="0"/>
                      <a:pt x="24" y="0"/>
                      <a:pt x="24" y="0"/>
                    </a:cubicBezTo>
                    <a:cubicBezTo>
                      <a:pt x="10" y="0"/>
                      <a:pt x="0" y="11"/>
                      <a:pt x="0" y="24"/>
                    </a:cubicBezTo>
                    <a:lnTo>
                      <a:pt x="0" y="797"/>
                    </a:lnTo>
                    <a:close/>
                  </a:path>
                </a:pathLst>
              </a:custGeom>
              <a:solidFill>
                <a:srgbClr val="E54F4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5" name="íşlïdè"/>
              <p:cNvSpPr/>
              <p:nvPr/>
            </p:nvSpPr>
            <p:spPr bwMode="auto">
              <a:xfrm>
                <a:off x="3471" y="1699"/>
                <a:ext cx="29" cy="216"/>
              </a:xfrm>
              <a:custGeom>
                <a:avLst/>
                <a:gdLst>
                  <a:gd name="T0" fmla="*/ 0 w 97"/>
                  <a:gd name="T1" fmla="*/ 663 h 711"/>
                  <a:gd name="T2" fmla="*/ 48 w 97"/>
                  <a:gd name="T3" fmla="*/ 711 h 711"/>
                  <a:gd name="T4" fmla="*/ 48 w 97"/>
                  <a:gd name="T5" fmla="*/ 711 h 711"/>
                  <a:gd name="T6" fmla="*/ 97 w 97"/>
                  <a:gd name="T7" fmla="*/ 663 h 711"/>
                  <a:gd name="T8" fmla="*/ 97 w 97"/>
                  <a:gd name="T9" fmla="*/ 48 h 711"/>
                  <a:gd name="T10" fmla="*/ 48 w 97"/>
                  <a:gd name="T11" fmla="*/ 0 h 711"/>
                  <a:gd name="T12" fmla="*/ 48 w 97"/>
                  <a:gd name="T13" fmla="*/ 0 h 711"/>
                  <a:gd name="T14" fmla="*/ 0 w 97"/>
                  <a:gd name="T15" fmla="*/ 48 h 711"/>
                  <a:gd name="T16" fmla="*/ 0 w 97"/>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711">
                    <a:moveTo>
                      <a:pt x="0" y="663"/>
                    </a:moveTo>
                    <a:cubicBezTo>
                      <a:pt x="0" y="689"/>
                      <a:pt x="22" y="711"/>
                      <a:pt x="48" y="711"/>
                    </a:cubicBezTo>
                    <a:cubicBezTo>
                      <a:pt x="48" y="711"/>
                      <a:pt x="48" y="711"/>
                      <a:pt x="48" y="711"/>
                    </a:cubicBezTo>
                    <a:cubicBezTo>
                      <a:pt x="75" y="711"/>
                      <a:pt x="97" y="689"/>
                      <a:pt x="97" y="663"/>
                    </a:cubicBezTo>
                    <a:cubicBezTo>
                      <a:pt x="97" y="48"/>
                      <a:pt x="97" y="48"/>
                      <a:pt x="97" y="48"/>
                    </a:cubicBezTo>
                    <a:cubicBezTo>
                      <a:pt x="97" y="21"/>
                      <a:pt x="75" y="0"/>
                      <a:pt x="48" y="0"/>
                    </a:cubicBezTo>
                    <a:cubicBezTo>
                      <a:pt x="48" y="0"/>
                      <a:pt x="48" y="0"/>
                      <a:pt x="48" y="0"/>
                    </a:cubicBezTo>
                    <a:cubicBezTo>
                      <a:pt x="22" y="0"/>
                      <a:pt x="0" y="21"/>
                      <a:pt x="0" y="48"/>
                    </a:cubicBezTo>
                    <a:lnTo>
                      <a:pt x="0" y="663"/>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6" name="iş1ïdé"/>
              <p:cNvSpPr/>
              <p:nvPr/>
            </p:nvSpPr>
            <p:spPr bwMode="auto">
              <a:xfrm>
                <a:off x="3146" y="1699"/>
                <a:ext cx="29" cy="216"/>
              </a:xfrm>
              <a:custGeom>
                <a:avLst/>
                <a:gdLst>
                  <a:gd name="T0" fmla="*/ 0 w 97"/>
                  <a:gd name="T1" fmla="*/ 663 h 711"/>
                  <a:gd name="T2" fmla="*/ 48 w 97"/>
                  <a:gd name="T3" fmla="*/ 711 h 711"/>
                  <a:gd name="T4" fmla="*/ 48 w 97"/>
                  <a:gd name="T5" fmla="*/ 711 h 711"/>
                  <a:gd name="T6" fmla="*/ 97 w 97"/>
                  <a:gd name="T7" fmla="*/ 663 h 711"/>
                  <a:gd name="T8" fmla="*/ 97 w 97"/>
                  <a:gd name="T9" fmla="*/ 48 h 711"/>
                  <a:gd name="T10" fmla="*/ 48 w 97"/>
                  <a:gd name="T11" fmla="*/ 0 h 711"/>
                  <a:gd name="T12" fmla="*/ 48 w 97"/>
                  <a:gd name="T13" fmla="*/ 0 h 711"/>
                  <a:gd name="T14" fmla="*/ 0 w 97"/>
                  <a:gd name="T15" fmla="*/ 48 h 711"/>
                  <a:gd name="T16" fmla="*/ 0 w 97"/>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711">
                    <a:moveTo>
                      <a:pt x="0" y="663"/>
                    </a:moveTo>
                    <a:cubicBezTo>
                      <a:pt x="0" y="689"/>
                      <a:pt x="22" y="711"/>
                      <a:pt x="48" y="711"/>
                    </a:cubicBezTo>
                    <a:cubicBezTo>
                      <a:pt x="48" y="711"/>
                      <a:pt x="48" y="711"/>
                      <a:pt x="48" y="711"/>
                    </a:cubicBezTo>
                    <a:cubicBezTo>
                      <a:pt x="75" y="711"/>
                      <a:pt x="97" y="689"/>
                      <a:pt x="97" y="663"/>
                    </a:cubicBezTo>
                    <a:cubicBezTo>
                      <a:pt x="97" y="48"/>
                      <a:pt x="97" y="48"/>
                      <a:pt x="97" y="48"/>
                    </a:cubicBezTo>
                    <a:cubicBezTo>
                      <a:pt x="97" y="21"/>
                      <a:pt x="75" y="0"/>
                      <a:pt x="48" y="0"/>
                    </a:cubicBezTo>
                    <a:cubicBezTo>
                      <a:pt x="48" y="0"/>
                      <a:pt x="48" y="0"/>
                      <a:pt x="48" y="0"/>
                    </a:cubicBezTo>
                    <a:cubicBezTo>
                      <a:pt x="22" y="0"/>
                      <a:pt x="0" y="21"/>
                      <a:pt x="0" y="48"/>
                    </a:cubicBezTo>
                    <a:lnTo>
                      <a:pt x="0" y="663"/>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7" name="ïṣļîḑê"/>
              <p:cNvSpPr/>
              <p:nvPr/>
            </p:nvSpPr>
            <p:spPr bwMode="auto">
              <a:xfrm>
                <a:off x="3211" y="1699"/>
                <a:ext cx="29"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2" y="711"/>
                      <a:pt x="48" y="711"/>
                    </a:cubicBezTo>
                    <a:cubicBezTo>
                      <a:pt x="48" y="711"/>
                      <a:pt x="48" y="711"/>
                      <a:pt x="48" y="711"/>
                    </a:cubicBezTo>
                    <a:cubicBezTo>
                      <a:pt x="75" y="711"/>
                      <a:pt x="96" y="689"/>
                      <a:pt x="96" y="663"/>
                    </a:cubicBezTo>
                    <a:cubicBezTo>
                      <a:pt x="96" y="48"/>
                      <a:pt x="96" y="48"/>
                      <a:pt x="96" y="48"/>
                    </a:cubicBezTo>
                    <a:cubicBezTo>
                      <a:pt x="96" y="21"/>
                      <a:pt x="75" y="0"/>
                      <a:pt x="48" y="0"/>
                    </a:cubicBezTo>
                    <a:cubicBezTo>
                      <a:pt x="48" y="0"/>
                      <a:pt x="48" y="0"/>
                      <a:pt x="48" y="0"/>
                    </a:cubicBezTo>
                    <a:cubicBezTo>
                      <a:pt x="22" y="0"/>
                      <a:pt x="0" y="21"/>
                      <a:pt x="0" y="48"/>
                    </a:cubicBezTo>
                    <a:lnTo>
                      <a:pt x="0" y="663"/>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8" name="íṡ1ïḍê"/>
              <p:cNvSpPr/>
              <p:nvPr/>
            </p:nvSpPr>
            <p:spPr bwMode="auto">
              <a:xfrm>
                <a:off x="3276" y="1699"/>
                <a:ext cx="29"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2" y="711"/>
                      <a:pt x="48" y="711"/>
                    </a:cubicBezTo>
                    <a:cubicBezTo>
                      <a:pt x="48" y="711"/>
                      <a:pt x="48" y="711"/>
                      <a:pt x="48" y="711"/>
                    </a:cubicBezTo>
                    <a:cubicBezTo>
                      <a:pt x="75" y="711"/>
                      <a:pt x="96" y="689"/>
                      <a:pt x="96" y="663"/>
                    </a:cubicBezTo>
                    <a:cubicBezTo>
                      <a:pt x="96" y="48"/>
                      <a:pt x="96" y="48"/>
                      <a:pt x="96" y="48"/>
                    </a:cubicBezTo>
                    <a:cubicBezTo>
                      <a:pt x="96" y="21"/>
                      <a:pt x="75" y="0"/>
                      <a:pt x="48" y="0"/>
                    </a:cubicBezTo>
                    <a:cubicBezTo>
                      <a:pt x="48" y="0"/>
                      <a:pt x="48" y="0"/>
                      <a:pt x="48" y="0"/>
                    </a:cubicBezTo>
                    <a:cubicBezTo>
                      <a:pt x="22" y="0"/>
                      <a:pt x="0" y="21"/>
                      <a:pt x="0" y="48"/>
                    </a:cubicBezTo>
                    <a:lnTo>
                      <a:pt x="0" y="663"/>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9" name="îšlïḋe"/>
              <p:cNvSpPr/>
              <p:nvPr/>
            </p:nvSpPr>
            <p:spPr bwMode="auto">
              <a:xfrm>
                <a:off x="3341" y="1699"/>
                <a:ext cx="29"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1" y="711"/>
                      <a:pt x="48" y="711"/>
                    </a:cubicBezTo>
                    <a:cubicBezTo>
                      <a:pt x="48" y="711"/>
                      <a:pt x="48" y="711"/>
                      <a:pt x="48" y="711"/>
                    </a:cubicBezTo>
                    <a:cubicBezTo>
                      <a:pt x="74" y="711"/>
                      <a:pt x="96" y="689"/>
                      <a:pt x="96" y="663"/>
                    </a:cubicBezTo>
                    <a:cubicBezTo>
                      <a:pt x="96" y="48"/>
                      <a:pt x="96" y="48"/>
                      <a:pt x="96" y="48"/>
                    </a:cubicBezTo>
                    <a:cubicBezTo>
                      <a:pt x="96" y="21"/>
                      <a:pt x="74" y="0"/>
                      <a:pt x="48" y="0"/>
                    </a:cubicBezTo>
                    <a:cubicBezTo>
                      <a:pt x="48" y="0"/>
                      <a:pt x="48" y="0"/>
                      <a:pt x="48" y="0"/>
                    </a:cubicBezTo>
                    <a:cubicBezTo>
                      <a:pt x="21" y="0"/>
                      <a:pt x="0" y="21"/>
                      <a:pt x="0" y="48"/>
                    </a:cubicBezTo>
                    <a:lnTo>
                      <a:pt x="0" y="663"/>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0" name="ïSlîde"/>
              <p:cNvSpPr/>
              <p:nvPr/>
            </p:nvSpPr>
            <p:spPr bwMode="auto">
              <a:xfrm>
                <a:off x="3406" y="1699"/>
                <a:ext cx="29"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1" y="711"/>
                      <a:pt x="48" y="711"/>
                    </a:cubicBezTo>
                    <a:cubicBezTo>
                      <a:pt x="48" y="711"/>
                      <a:pt x="48" y="711"/>
                      <a:pt x="48" y="711"/>
                    </a:cubicBezTo>
                    <a:cubicBezTo>
                      <a:pt x="74" y="711"/>
                      <a:pt x="96" y="689"/>
                      <a:pt x="96" y="663"/>
                    </a:cubicBezTo>
                    <a:cubicBezTo>
                      <a:pt x="96" y="48"/>
                      <a:pt x="96" y="48"/>
                      <a:pt x="96" y="48"/>
                    </a:cubicBezTo>
                    <a:cubicBezTo>
                      <a:pt x="96" y="21"/>
                      <a:pt x="74" y="0"/>
                      <a:pt x="48" y="0"/>
                    </a:cubicBezTo>
                    <a:cubicBezTo>
                      <a:pt x="48" y="0"/>
                      <a:pt x="48" y="0"/>
                      <a:pt x="48" y="0"/>
                    </a:cubicBezTo>
                    <a:cubicBezTo>
                      <a:pt x="21" y="0"/>
                      <a:pt x="0" y="21"/>
                      <a:pt x="0" y="48"/>
                    </a:cubicBezTo>
                    <a:lnTo>
                      <a:pt x="0" y="663"/>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1" name="í$ľïḍè"/>
              <p:cNvSpPr/>
              <p:nvPr/>
            </p:nvSpPr>
            <p:spPr bwMode="auto">
              <a:xfrm>
                <a:off x="3081" y="1699"/>
                <a:ext cx="29" cy="216"/>
              </a:xfrm>
              <a:custGeom>
                <a:avLst/>
                <a:gdLst>
                  <a:gd name="T0" fmla="*/ 0 w 96"/>
                  <a:gd name="T1" fmla="*/ 663 h 711"/>
                  <a:gd name="T2" fmla="*/ 48 w 96"/>
                  <a:gd name="T3" fmla="*/ 711 h 711"/>
                  <a:gd name="T4" fmla="*/ 48 w 96"/>
                  <a:gd name="T5" fmla="*/ 711 h 711"/>
                  <a:gd name="T6" fmla="*/ 96 w 96"/>
                  <a:gd name="T7" fmla="*/ 663 h 711"/>
                  <a:gd name="T8" fmla="*/ 96 w 96"/>
                  <a:gd name="T9" fmla="*/ 48 h 711"/>
                  <a:gd name="T10" fmla="*/ 48 w 96"/>
                  <a:gd name="T11" fmla="*/ 0 h 711"/>
                  <a:gd name="T12" fmla="*/ 48 w 96"/>
                  <a:gd name="T13" fmla="*/ 0 h 711"/>
                  <a:gd name="T14" fmla="*/ 0 w 96"/>
                  <a:gd name="T15" fmla="*/ 48 h 711"/>
                  <a:gd name="T16" fmla="*/ 0 w 96"/>
                  <a:gd name="T17" fmla="*/ 663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711">
                    <a:moveTo>
                      <a:pt x="0" y="663"/>
                    </a:moveTo>
                    <a:cubicBezTo>
                      <a:pt x="0" y="689"/>
                      <a:pt x="21" y="711"/>
                      <a:pt x="48" y="711"/>
                    </a:cubicBezTo>
                    <a:cubicBezTo>
                      <a:pt x="48" y="711"/>
                      <a:pt x="48" y="711"/>
                      <a:pt x="48" y="711"/>
                    </a:cubicBezTo>
                    <a:cubicBezTo>
                      <a:pt x="74" y="711"/>
                      <a:pt x="96" y="689"/>
                      <a:pt x="96" y="663"/>
                    </a:cubicBezTo>
                    <a:cubicBezTo>
                      <a:pt x="96" y="48"/>
                      <a:pt x="96" y="48"/>
                      <a:pt x="96" y="48"/>
                    </a:cubicBezTo>
                    <a:cubicBezTo>
                      <a:pt x="96" y="21"/>
                      <a:pt x="74" y="0"/>
                      <a:pt x="48" y="0"/>
                    </a:cubicBezTo>
                    <a:cubicBezTo>
                      <a:pt x="48" y="0"/>
                      <a:pt x="48" y="0"/>
                      <a:pt x="48" y="0"/>
                    </a:cubicBezTo>
                    <a:cubicBezTo>
                      <a:pt x="21" y="0"/>
                      <a:pt x="0" y="21"/>
                      <a:pt x="0" y="48"/>
                    </a:cubicBezTo>
                    <a:lnTo>
                      <a:pt x="0" y="663"/>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2" name="íṩļïďè"/>
              <p:cNvSpPr/>
              <p:nvPr/>
            </p:nvSpPr>
            <p:spPr bwMode="auto">
              <a:xfrm>
                <a:off x="2534" y="0"/>
                <a:ext cx="1875" cy="2088"/>
              </a:xfrm>
              <a:custGeom>
                <a:avLst/>
                <a:gdLst>
                  <a:gd name="T0" fmla="*/ 4831 w 6166"/>
                  <a:gd name="T1" fmla="*/ 6875 h 6875"/>
                  <a:gd name="T2" fmla="*/ 2080 w 6166"/>
                  <a:gd name="T3" fmla="*/ 6459 h 6875"/>
                  <a:gd name="T4" fmla="*/ 2080 w 6166"/>
                  <a:gd name="T5" fmla="*/ 1703 h 6875"/>
                  <a:gd name="T6" fmla="*/ 5648 w 6166"/>
                  <a:gd name="T7" fmla="*/ 2721 h 6875"/>
                  <a:gd name="T8" fmla="*/ 5708 w 6166"/>
                  <a:gd name="T9" fmla="*/ 2848 h 6875"/>
                  <a:gd name="T10" fmla="*/ 5376 w 6166"/>
                  <a:gd name="T11" fmla="*/ 3287 h 6875"/>
                  <a:gd name="T12" fmla="*/ 5805 w 6166"/>
                  <a:gd name="T13" fmla="*/ 2941 h 6875"/>
                  <a:gd name="T14" fmla="*/ 5878 w 6166"/>
                  <a:gd name="T15" fmla="*/ 2864 h 6875"/>
                  <a:gd name="T16" fmla="*/ 5940 w 6166"/>
                  <a:gd name="T17" fmla="*/ 2485 h 6875"/>
                  <a:gd name="T18" fmla="*/ 6060 w 6166"/>
                  <a:gd name="T19" fmla="*/ 1511 h 6875"/>
                  <a:gd name="T20" fmla="*/ 5516 w 6166"/>
                  <a:gd name="T21" fmla="*/ 1099 h 6875"/>
                  <a:gd name="T22" fmla="*/ 3501 w 6166"/>
                  <a:gd name="T23" fmla="*/ 569 h 6875"/>
                  <a:gd name="T24" fmla="*/ 1082 w 6166"/>
                  <a:gd name="T25" fmla="*/ 596 h 6875"/>
                  <a:gd name="T26" fmla="*/ 1100 w 6166"/>
                  <a:gd name="T27" fmla="*/ 1243 h 6875"/>
                  <a:gd name="T28" fmla="*/ 932 w 6166"/>
                  <a:gd name="T29" fmla="*/ 1703 h 6875"/>
                  <a:gd name="T30" fmla="*/ 5752 w 6166"/>
                  <a:gd name="T31" fmla="*/ 1703 h 6875"/>
                  <a:gd name="T32" fmla="*/ 5752 w 6166"/>
                  <a:gd name="T33" fmla="*/ 1703 h 6875"/>
                  <a:gd name="T34" fmla="*/ 5340 w 6166"/>
                  <a:gd name="T35" fmla="*/ 1511 h 6875"/>
                  <a:gd name="T36" fmla="*/ 1100 w 6166"/>
                  <a:gd name="T37" fmla="*/ 1099 h 6875"/>
                  <a:gd name="T38" fmla="*/ 1384 w 6166"/>
                  <a:gd name="T39" fmla="*/ 979 h 6875"/>
                  <a:gd name="T40" fmla="*/ 1644 w 6166"/>
                  <a:gd name="T41" fmla="*/ 215 h 6875"/>
                  <a:gd name="T42" fmla="*/ 1649 w 6166"/>
                  <a:gd name="T43" fmla="*/ 180 h 6875"/>
                  <a:gd name="T44" fmla="*/ 1456 w 6166"/>
                  <a:gd name="T45" fmla="*/ 979 h 6875"/>
                  <a:gd name="T46" fmla="*/ 1768 w 6166"/>
                  <a:gd name="T47" fmla="*/ 1511 h 6875"/>
                  <a:gd name="T48" fmla="*/ 5229 w 6166"/>
                  <a:gd name="T49" fmla="*/ 1511 h 6875"/>
                  <a:gd name="T50" fmla="*/ 5229 w 6166"/>
                  <a:gd name="T51" fmla="*/ 1511 h 6875"/>
                  <a:gd name="T52" fmla="*/ 4764 w 6166"/>
                  <a:gd name="T53" fmla="*/ 1511 h 6875"/>
                  <a:gd name="T54" fmla="*/ 4696 w 6166"/>
                  <a:gd name="T55" fmla="*/ 1243 h 6875"/>
                  <a:gd name="T56" fmla="*/ 4211 w 6166"/>
                  <a:gd name="T57" fmla="*/ 1243 h 6875"/>
                  <a:gd name="T58" fmla="*/ 4074 w 6166"/>
                  <a:gd name="T59" fmla="*/ 1511 h 6875"/>
                  <a:gd name="T60" fmla="*/ 4074 w 6166"/>
                  <a:gd name="T61" fmla="*/ 1511 h 6875"/>
                  <a:gd name="T62" fmla="*/ 3584 w 6166"/>
                  <a:gd name="T63" fmla="*/ 1511 h 6875"/>
                  <a:gd name="T64" fmla="*/ 3516 w 6166"/>
                  <a:gd name="T65" fmla="*/ 1099 h 6875"/>
                  <a:gd name="T66" fmla="*/ 1716 w 6166"/>
                  <a:gd name="T67" fmla="*/ 255 h 6875"/>
                  <a:gd name="T68" fmla="*/ 4722 w 6166"/>
                  <a:gd name="T69" fmla="*/ 1099 h 6875"/>
                  <a:gd name="T70" fmla="*/ 4112 w 6166"/>
                  <a:gd name="T71" fmla="*/ 1085 h 6875"/>
                  <a:gd name="T72" fmla="*/ 3138 w 6166"/>
                  <a:gd name="T73" fmla="*/ 1243 h 6875"/>
                  <a:gd name="T74" fmla="*/ 3016 w 6166"/>
                  <a:gd name="T75" fmla="*/ 1243 h 6875"/>
                  <a:gd name="T76" fmla="*/ 3016 w 6166"/>
                  <a:gd name="T77" fmla="*/ 1243 h 6875"/>
                  <a:gd name="T78" fmla="*/ 2948 w 6166"/>
                  <a:gd name="T79" fmla="*/ 1511 h 6875"/>
                  <a:gd name="T80" fmla="*/ 2440 w 6166"/>
                  <a:gd name="T81" fmla="*/ 1511 h 6875"/>
                  <a:gd name="T82" fmla="*/ 2372 w 6166"/>
                  <a:gd name="T83" fmla="*/ 1243 h 6875"/>
                  <a:gd name="T84" fmla="*/ 1874 w 6166"/>
                  <a:gd name="T85" fmla="*/ 1243 h 6875"/>
                  <a:gd name="T86" fmla="*/ 1319 w 6166"/>
                  <a:gd name="T87" fmla="*/ 4515 h 6875"/>
                  <a:gd name="T88" fmla="*/ 1928 w 6166"/>
                  <a:gd name="T89" fmla="*/ 5674 h 6875"/>
                  <a:gd name="T90" fmla="*/ 1928 w 6166"/>
                  <a:gd name="T91" fmla="*/ 6206 h 6875"/>
                  <a:gd name="T92" fmla="*/ 1928 w 6166"/>
                  <a:gd name="T93" fmla="*/ 6317 h 6875"/>
                  <a:gd name="T94" fmla="*/ 1316 w 6166"/>
                  <a:gd name="T95" fmla="*/ 5330 h 6875"/>
                  <a:gd name="T96" fmla="*/ 1316 w 6166"/>
                  <a:gd name="T97" fmla="*/ 4635 h 6875"/>
                  <a:gd name="T98" fmla="*/ 1316 w 6166"/>
                  <a:gd name="T99" fmla="*/ 3941 h 6875"/>
                  <a:gd name="T100" fmla="*/ 1316 w 6166"/>
                  <a:gd name="T101" fmla="*/ 3787 h 6875"/>
                  <a:gd name="T102" fmla="*/ 1316 w 6166"/>
                  <a:gd name="T103" fmla="*/ 3787 h 6875"/>
                  <a:gd name="T104" fmla="*/ 1316 w 6166"/>
                  <a:gd name="T105" fmla="*/ 3256 h 6875"/>
                  <a:gd name="T106" fmla="*/ 1316 w 6166"/>
                  <a:gd name="T107" fmla="*/ 3136 h 6875"/>
                  <a:gd name="T108" fmla="*/ 1316 w 6166"/>
                  <a:gd name="T109" fmla="*/ 3023 h 6875"/>
                  <a:gd name="T110" fmla="*/ 1928 w 6166"/>
                  <a:gd name="T111" fmla="*/ 2955 h 6875"/>
                  <a:gd name="T112" fmla="*/ 1861 w 6166"/>
                  <a:gd name="T113" fmla="*/ 2295 h 6875"/>
                  <a:gd name="T114" fmla="*/ 1928 w 6166"/>
                  <a:gd name="T115" fmla="*/ 1703 h 6875"/>
                  <a:gd name="T116" fmla="*/ 1168 w 6166"/>
                  <a:gd name="T117" fmla="*/ 1252 h 6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66" h="6875">
                    <a:moveTo>
                      <a:pt x="0" y="6573"/>
                    </a:moveTo>
                    <a:cubicBezTo>
                      <a:pt x="0" y="6760"/>
                      <a:pt x="0" y="6760"/>
                      <a:pt x="0" y="6760"/>
                    </a:cubicBezTo>
                    <a:cubicBezTo>
                      <a:pt x="0" y="6824"/>
                      <a:pt x="51" y="6875"/>
                      <a:pt x="114" y="6875"/>
                    </a:cubicBezTo>
                    <a:cubicBezTo>
                      <a:pt x="4831" y="6875"/>
                      <a:pt x="4831" y="6875"/>
                      <a:pt x="4831" y="6875"/>
                    </a:cubicBezTo>
                    <a:cubicBezTo>
                      <a:pt x="4894" y="6875"/>
                      <a:pt x="4944" y="6824"/>
                      <a:pt x="4944" y="6760"/>
                    </a:cubicBezTo>
                    <a:cubicBezTo>
                      <a:pt x="4944" y="6573"/>
                      <a:pt x="4944" y="6573"/>
                      <a:pt x="4944" y="6573"/>
                    </a:cubicBezTo>
                    <a:cubicBezTo>
                      <a:pt x="4944" y="6510"/>
                      <a:pt x="4894" y="6459"/>
                      <a:pt x="4831" y="6459"/>
                    </a:cubicBezTo>
                    <a:cubicBezTo>
                      <a:pt x="2080" y="6459"/>
                      <a:pt x="2080" y="6459"/>
                      <a:pt x="2080" y="6459"/>
                    </a:cubicBezTo>
                    <a:cubicBezTo>
                      <a:pt x="2080" y="5189"/>
                      <a:pt x="2080" y="5189"/>
                      <a:pt x="2080" y="5189"/>
                    </a:cubicBezTo>
                    <a:cubicBezTo>
                      <a:pt x="2088" y="5186"/>
                      <a:pt x="2084" y="5183"/>
                      <a:pt x="2085" y="5180"/>
                    </a:cubicBezTo>
                    <a:cubicBezTo>
                      <a:pt x="2090" y="5166"/>
                      <a:pt x="2092" y="5150"/>
                      <a:pt x="2080" y="5138"/>
                    </a:cubicBezTo>
                    <a:cubicBezTo>
                      <a:pt x="2080" y="1703"/>
                      <a:pt x="2080" y="1703"/>
                      <a:pt x="2080" y="1703"/>
                    </a:cubicBezTo>
                    <a:cubicBezTo>
                      <a:pt x="5688" y="1703"/>
                      <a:pt x="5688" y="1703"/>
                      <a:pt x="5688" y="1703"/>
                    </a:cubicBezTo>
                    <a:cubicBezTo>
                      <a:pt x="5688" y="2485"/>
                      <a:pt x="5688" y="2485"/>
                      <a:pt x="5688" y="2485"/>
                    </a:cubicBezTo>
                    <a:cubicBezTo>
                      <a:pt x="5596" y="2485"/>
                      <a:pt x="5596" y="2485"/>
                      <a:pt x="5596" y="2485"/>
                    </a:cubicBezTo>
                    <a:cubicBezTo>
                      <a:pt x="5648" y="2721"/>
                      <a:pt x="5648" y="2721"/>
                      <a:pt x="5648" y="2721"/>
                    </a:cubicBezTo>
                    <a:cubicBezTo>
                      <a:pt x="5708" y="2721"/>
                      <a:pt x="5708" y="2721"/>
                      <a:pt x="5708" y="2721"/>
                    </a:cubicBezTo>
                    <a:cubicBezTo>
                      <a:pt x="5708" y="2804"/>
                      <a:pt x="5708" y="2804"/>
                      <a:pt x="5708" y="2804"/>
                    </a:cubicBezTo>
                    <a:cubicBezTo>
                      <a:pt x="5816" y="2804"/>
                      <a:pt x="5810" y="2890"/>
                      <a:pt x="5758" y="2890"/>
                    </a:cubicBezTo>
                    <a:cubicBezTo>
                      <a:pt x="5706" y="2890"/>
                      <a:pt x="5708" y="2848"/>
                      <a:pt x="5708" y="2848"/>
                    </a:cubicBezTo>
                    <a:cubicBezTo>
                      <a:pt x="5690" y="2854"/>
                      <a:pt x="5690" y="2854"/>
                      <a:pt x="5690" y="2854"/>
                    </a:cubicBezTo>
                    <a:cubicBezTo>
                      <a:pt x="5686" y="2886"/>
                      <a:pt x="5696" y="2907"/>
                      <a:pt x="5707" y="2922"/>
                    </a:cubicBezTo>
                    <a:cubicBezTo>
                      <a:pt x="5388" y="3289"/>
                      <a:pt x="5388" y="3289"/>
                      <a:pt x="5388" y="3289"/>
                    </a:cubicBezTo>
                    <a:cubicBezTo>
                      <a:pt x="5384" y="3288"/>
                      <a:pt x="5380" y="3288"/>
                      <a:pt x="5376" y="3287"/>
                    </a:cubicBezTo>
                    <a:cubicBezTo>
                      <a:pt x="5404" y="3294"/>
                      <a:pt x="5430" y="3308"/>
                      <a:pt x="5444" y="3316"/>
                    </a:cubicBezTo>
                    <a:cubicBezTo>
                      <a:pt x="5441" y="3314"/>
                      <a:pt x="5438" y="3311"/>
                      <a:pt x="5434" y="3309"/>
                    </a:cubicBezTo>
                    <a:cubicBezTo>
                      <a:pt x="5751" y="2944"/>
                      <a:pt x="5751" y="2944"/>
                      <a:pt x="5751" y="2944"/>
                    </a:cubicBezTo>
                    <a:cubicBezTo>
                      <a:pt x="5765" y="2945"/>
                      <a:pt x="5785" y="2945"/>
                      <a:pt x="5805" y="2941"/>
                    </a:cubicBezTo>
                    <a:cubicBezTo>
                      <a:pt x="6114" y="3298"/>
                      <a:pt x="6114" y="3298"/>
                      <a:pt x="6114" y="3298"/>
                    </a:cubicBezTo>
                    <a:cubicBezTo>
                      <a:pt x="6131" y="3289"/>
                      <a:pt x="6149" y="3285"/>
                      <a:pt x="6166" y="3284"/>
                    </a:cubicBezTo>
                    <a:cubicBezTo>
                      <a:pt x="5851" y="2922"/>
                      <a:pt x="5851" y="2922"/>
                      <a:pt x="5851" y="2922"/>
                    </a:cubicBezTo>
                    <a:cubicBezTo>
                      <a:pt x="5867" y="2909"/>
                      <a:pt x="5878" y="2891"/>
                      <a:pt x="5878" y="2864"/>
                    </a:cubicBezTo>
                    <a:cubicBezTo>
                      <a:pt x="5878" y="2768"/>
                      <a:pt x="5812" y="2756"/>
                      <a:pt x="5812" y="2756"/>
                    </a:cubicBezTo>
                    <a:cubicBezTo>
                      <a:pt x="5812" y="2721"/>
                      <a:pt x="5812" y="2721"/>
                      <a:pt x="5812" y="2721"/>
                    </a:cubicBezTo>
                    <a:cubicBezTo>
                      <a:pt x="5888" y="2721"/>
                      <a:pt x="5888" y="2721"/>
                      <a:pt x="5888" y="2721"/>
                    </a:cubicBezTo>
                    <a:cubicBezTo>
                      <a:pt x="5940" y="2485"/>
                      <a:pt x="5940" y="2485"/>
                      <a:pt x="5940" y="2485"/>
                    </a:cubicBezTo>
                    <a:cubicBezTo>
                      <a:pt x="5852" y="2485"/>
                      <a:pt x="5852" y="2485"/>
                      <a:pt x="5852" y="2485"/>
                    </a:cubicBezTo>
                    <a:cubicBezTo>
                      <a:pt x="5852" y="1703"/>
                      <a:pt x="5852" y="1703"/>
                      <a:pt x="5852" y="1703"/>
                    </a:cubicBezTo>
                    <a:cubicBezTo>
                      <a:pt x="6060" y="1703"/>
                      <a:pt x="6060" y="1703"/>
                      <a:pt x="6060" y="1703"/>
                    </a:cubicBezTo>
                    <a:cubicBezTo>
                      <a:pt x="6060" y="1511"/>
                      <a:pt x="6060" y="1511"/>
                      <a:pt x="6060" y="1511"/>
                    </a:cubicBezTo>
                    <a:cubicBezTo>
                      <a:pt x="5792" y="1511"/>
                      <a:pt x="5792" y="1511"/>
                      <a:pt x="5792" y="1511"/>
                    </a:cubicBezTo>
                    <a:cubicBezTo>
                      <a:pt x="5460" y="1243"/>
                      <a:pt x="5460" y="1243"/>
                      <a:pt x="5460" y="1243"/>
                    </a:cubicBezTo>
                    <a:cubicBezTo>
                      <a:pt x="5516" y="1243"/>
                      <a:pt x="5516" y="1243"/>
                      <a:pt x="5516" y="1243"/>
                    </a:cubicBezTo>
                    <a:cubicBezTo>
                      <a:pt x="5516" y="1099"/>
                      <a:pt x="5516" y="1099"/>
                      <a:pt x="5516" y="1099"/>
                    </a:cubicBezTo>
                    <a:cubicBezTo>
                      <a:pt x="5285" y="1099"/>
                      <a:pt x="5285" y="1099"/>
                      <a:pt x="5285" y="1099"/>
                    </a:cubicBezTo>
                    <a:cubicBezTo>
                      <a:pt x="5276" y="1092"/>
                      <a:pt x="5276" y="1092"/>
                      <a:pt x="5276" y="1092"/>
                    </a:cubicBezTo>
                    <a:cubicBezTo>
                      <a:pt x="5276" y="1101"/>
                      <a:pt x="5276" y="1101"/>
                      <a:pt x="5276" y="1101"/>
                    </a:cubicBezTo>
                    <a:cubicBezTo>
                      <a:pt x="4980" y="1012"/>
                      <a:pt x="4240" y="788"/>
                      <a:pt x="3501" y="569"/>
                    </a:cubicBezTo>
                    <a:cubicBezTo>
                      <a:pt x="2371" y="235"/>
                      <a:pt x="1886" y="101"/>
                      <a:pt x="1675" y="49"/>
                    </a:cubicBezTo>
                    <a:cubicBezTo>
                      <a:pt x="1643" y="19"/>
                      <a:pt x="1600" y="0"/>
                      <a:pt x="1551" y="0"/>
                    </a:cubicBezTo>
                    <a:cubicBezTo>
                      <a:pt x="1457" y="0"/>
                      <a:pt x="1380" y="71"/>
                      <a:pt x="1371" y="163"/>
                    </a:cubicBezTo>
                    <a:cubicBezTo>
                      <a:pt x="1310" y="247"/>
                      <a:pt x="1218" y="381"/>
                      <a:pt x="1082" y="596"/>
                    </a:cubicBezTo>
                    <a:cubicBezTo>
                      <a:pt x="949" y="804"/>
                      <a:pt x="822" y="1015"/>
                      <a:pt x="769" y="1099"/>
                    </a:cubicBezTo>
                    <a:cubicBezTo>
                      <a:pt x="448" y="1099"/>
                      <a:pt x="448" y="1099"/>
                      <a:pt x="448" y="1099"/>
                    </a:cubicBezTo>
                    <a:cubicBezTo>
                      <a:pt x="448" y="1243"/>
                      <a:pt x="448" y="1243"/>
                      <a:pt x="448" y="1243"/>
                    </a:cubicBezTo>
                    <a:cubicBezTo>
                      <a:pt x="1100" y="1243"/>
                      <a:pt x="1100" y="1243"/>
                      <a:pt x="1100" y="1243"/>
                    </a:cubicBezTo>
                    <a:cubicBezTo>
                      <a:pt x="1100" y="1511"/>
                      <a:pt x="1100" y="1511"/>
                      <a:pt x="1100" y="1511"/>
                    </a:cubicBezTo>
                    <a:cubicBezTo>
                      <a:pt x="448" y="1511"/>
                      <a:pt x="448" y="1511"/>
                      <a:pt x="448" y="1511"/>
                    </a:cubicBezTo>
                    <a:cubicBezTo>
                      <a:pt x="448" y="1703"/>
                      <a:pt x="448" y="1703"/>
                      <a:pt x="448" y="1703"/>
                    </a:cubicBezTo>
                    <a:cubicBezTo>
                      <a:pt x="932" y="1703"/>
                      <a:pt x="932" y="1703"/>
                      <a:pt x="932" y="1703"/>
                    </a:cubicBezTo>
                    <a:cubicBezTo>
                      <a:pt x="932" y="6459"/>
                      <a:pt x="932" y="6459"/>
                      <a:pt x="932" y="6459"/>
                    </a:cubicBezTo>
                    <a:cubicBezTo>
                      <a:pt x="114" y="6459"/>
                      <a:pt x="114" y="6459"/>
                      <a:pt x="114" y="6459"/>
                    </a:cubicBezTo>
                    <a:cubicBezTo>
                      <a:pt x="51" y="6459"/>
                      <a:pt x="0" y="6510"/>
                      <a:pt x="0" y="6573"/>
                    </a:cubicBezTo>
                    <a:close/>
                    <a:moveTo>
                      <a:pt x="5752" y="1703"/>
                    </a:moveTo>
                    <a:cubicBezTo>
                      <a:pt x="5788" y="1703"/>
                      <a:pt x="5788" y="1703"/>
                      <a:pt x="5788" y="1703"/>
                    </a:cubicBezTo>
                    <a:cubicBezTo>
                      <a:pt x="5788" y="2485"/>
                      <a:pt x="5788" y="2485"/>
                      <a:pt x="5788" y="2485"/>
                    </a:cubicBezTo>
                    <a:cubicBezTo>
                      <a:pt x="5752" y="2485"/>
                      <a:pt x="5752" y="2485"/>
                      <a:pt x="5752" y="2485"/>
                    </a:cubicBezTo>
                    <a:lnTo>
                      <a:pt x="5752" y="1703"/>
                    </a:lnTo>
                    <a:close/>
                    <a:moveTo>
                      <a:pt x="5340" y="1243"/>
                    </a:moveTo>
                    <a:cubicBezTo>
                      <a:pt x="5354" y="1243"/>
                      <a:pt x="5354" y="1243"/>
                      <a:pt x="5354" y="1243"/>
                    </a:cubicBezTo>
                    <a:cubicBezTo>
                      <a:pt x="5685" y="1511"/>
                      <a:pt x="5685" y="1511"/>
                      <a:pt x="5685" y="1511"/>
                    </a:cubicBezTo>
                    <a:cubicBezTo>
                      <a:pt x="5340" y="1511"/>
                      <a:pt x="5340" y="1511"/>
                      <a:pt x="5340" y="1511"/>
                    </a:cubicBezTo>
                    <a:lnTo>
                      <a:pt x="5340" y="1243"/>
                    </a:lnTo>
                    <a:close/>
                    <a:moveTo>
                      <a:pt x="1384" y="979"/>
                    </a:moveTo>
                    <a:cubicBezTo>
                      <a:pt x="1100" y="979"/>
                      <a:pt x="1100" y="979"/>
                      <a:pt x="1100" y="979"/>
                    </a:cubicBezTo>
                    <a:cubicBezTo>
                      <a:pt x="1100" y="1099"/>
                      <a:pt x="1100" y="1099"/>
                      <a:pt x="1100" y="1099"/>
                    </a:cubicBezTo>
                    <a:cubicBezTo>
                      <a:pt x="825" y="1099"/>
                      <a:pt x="825" y="1099"/>
                      <a:pt x="825" y="1099"/>
                    </a:cubicBezTo>
                    <a:cubicBezTo>
                      <a:pt x="1025" y="771"/>
                      <a:pt x="1239" y="431"/>
                      <a:pt x="1378" y="234"/>
                    </a:cubicBezTo>
                    <a:cubicBezTo>
                      <a:pt x="1380" y="240"/>
                      <a:pt x="1380" y="246"/>
                      <a:pt x="1384" y="252"/>
                    </a:cubicBezTo>
                    <a:lnTo>
                      <a:pt x="1384" y="979"/>
                    </a:lnTo>
                    <a:close/>
                    <a:moveTo>
                      <a:pt x="1649" y="180"/>
                    </a:moveTo>
                    <a:cubicBezTo>
                      <a:pt x="1649" y="191"/>
                      <a:pt x="1646" y="203"/>
                      <a:pt x="1643" y="211"/>
                    </a:cubicBezTo>
                    <a:cubicBezTo>
                      <a:pt x="1644" y="211"/>
                      <a:pt x="1644" y="211"/>
                      <a:pt x="1644" y="211"/>
                    </a:cubicBezTo>
                    <a:cubicBezTo>
                      <a:pt x="1644" y="215"/>
                      <a:pt x="1644" y="215"/>
                      <a:pt x="1644" y="215"/>
                    </a:cubicBezTo>
                    <a:cubicBezTo>
                      <a:pt x="1628" y="252"/>
                      <a:pt x="1594" y="278"/>
                      <a:pt x="1553" y="278"/>
                    </a:cubicBezTo>
                    <a:cubicBezTo>
                      <a:pt x="1499" y="278"/>
                      <a:pt x="1454" y="235"/>
                      <a:pt x="1454" y="181"/>
                    </a:cubicBezTo>
                    <a:cubicBezTo>
                      <a:pt x="1454" y="127"/>
                      <a:pt x="1498" y="84"/>
                      <a:pt x="1551" y="84"/>
                    </a:cubicBezTo>
                    <a:cubicBezTo>
                      <a:pt x="1605" y="84"/>
                      <a:pt x="1649" y="126"/>
                      <a:pt x="1649" y="180"/>
                    </a:cubicBezTo>
                    <a:close/>
                    <a:moveTo>
                      <a:pt x="1551" y="362"/>
                    </a:moveTo>
                    <a:cubicBezTo>
                      <a:pt x="1584" y="362"/>
                      <a:pt x="1616" y="353"/>
                      <a:pt x="1644" y="337"/>
                    </a:cubicBezTo>
                    <a:cubicBezTo>
                      <a:pt x="1644" y="979"/>
                      <a:pt x="1644" y="979"/>
                      <a:pt x="1644" y="979"/>
                    </a:cubicBezTo>
                    <a:cubicBezTo>
                      <a:pt x="1456" y="979"/>
                      <a:pt x="1456" y="979"/>
                      <a:pt x="1456" y="979"/>
                    </a:cubicBezTo>
                    <a:cubicBezTo>
                      <a:pt x="1456" y="336"/>
                      <a:pt x="1456" y="336"/>
                      <a:pt x="1456" y="336"/>
                    </a:cubicBezTo>
                    <a:cubicBezTo>
                      <a:pt x="1484" y="352"/>
                      <a:pt x="1517" y="362"/>
                      <a:pt x="1551" y="362"/>
                    </a:cubicBezTo>
                    <a:close/>
                    <a:moveTo>
                      <a:pt x="1768" y="1243"/>
                    </a:moveTo>
                    <a:cubicBezTo>
                      <a:pt x="1768" y="1511"/>
                      <a:pt x="1768" y="1511"/>
                      <a:pt x="1768" y="1511"/>
                    </a:cubicBezTo>
                    <a:cubicBezTo>
                      <a:pt x="1723" y="1511"/>
                      <a:pt x="1723" y="1511"/>
                      <a:pt x="1723" y="1511"/>
                    </a:cubicBezTo>
                    <a:cubicBezTo>
                      <a:pt x="1281" y="1243"/>
                      <a:pt x="1281" y="1243"/>
                      <a:pt x="1281" y="1243"/>
                    </a:cubicBezTo>
                    <a:lnTo>
                      <a:pt x="1768" y="1243"/>
                    </a:lnTo>
                    <a:close/>
                    <a:moveTo>
                      <a:pt x="5229" y="1511"/>
                    </a:moveTo>
                    <a:cubicBezTo>
                      <a:pt x="4897" y="1243"/>
                      <a:pt x="4897" y="1243"/>
                      <a:pt x="4897" y="1243"/>
                    </a:cubicBezTo>
                    <a:cubicBezTo>
                      <a:pt x="5276" y="1243"/>
                      <a:pt x="5276" y="1243"/>
                      <a:pt x="5276" y="1243"/>
                    </a:cubicBezTo>
                    <a:cubicBezTo>
                      <a:pt x="5276" y="1511"/>
                      <a:pt x="5276" y="1511"/>
                      <a:pt x="5276" y="1511"/>
                    </a:cubicBezTo>
                    <a:lnTo>
                      <a:pt x="5229" y="1511"/>
                    </a:lnTo>
                    <a:close/>
                    <a:moveTo>
                      <a:pt x="4764" y="1243"/>
                    </a:moveTo>
                    <a:cubicBezTo>
                      <a:pt x="4790" y="1243"/>
                      <a:pt x="4790" y="1243"/>
                      <a:pt x="4790" y="1243"/>
                    </a:cubicBezTo>
                    <a:cubicBezTo>
                      <a:pt x="5122" y="1511"/>
                      <a:pt x="5122" y="1511"/>
                      <a:pt x="5122" y="1511"/>
                    </a:cubicBezTo>
                    <a:cubicBezTo>
                      <a:pt x="4764" y="1511"/>
                      <a:pt x="4764" y="1511"/>
                      <a:pt x="4764" y="1511"/>
                    </a:cubicBezTo>
                    <a:lnTo>
                      <a:pt x="4764" y="1243"/>
                    </a:lnTo>
                    <a:close/>
                    <a:moveTo>
                      <a:pt x="4685" y="1511"/>
                    </a:moveTo>
                    <a:cubicBezTo>
                      <a:pt x="4324" y="1243"/>
                      <a:pt x="4324" y="1243"/>
                      <a:pt x="4324" y="1243"/>
                    </a:cubicBezTo>
                    <a:cubicBezTo>
                      <a:pt x="4696" y="1243"/>
                      <a:pt x="4696" y="1243"/>
                      <a:pt x="4696" y="1243"/>
                    </a:cubicBezTo>
                    <a:cubicBezTo>
                      <a:pt x="4696" y="1511"/>
                      <a:pt x="4696" y="1511"/>
                      <a:pt x="4696" y="1511"/>
                    </a:cubicBezTo>
                    <a:lnTo>
                      <a:pt x="4685" y="1511"/>
                    </a:lnTo>
                    <a:close/>
                    <a:moveTo>
                      <a:pt x="4180" y="1243"/>
                    </a:moveTo>
                    <a:cubicBezTo>
                      <a:pt x="4211" y="1243"/>
                      <a:pt x="4211" y="1243"/>
                      <a:pt x="4211" y="1243"/>
                    </a:cubicBezTo>
                    <a:cubicBezTo>
                      <a:pt x="4572" y="1511"/>
                      <a:pt x="4572" y="1511"/>
                      <a:pt x="4572" y="1511"/>
                    </a:cubicBezTo>
                    <a:cubicBezTo>
                      <a:pt x="4180" y="1511"/>
                      <a:pt x="4180" y="1511"/>
                      <a:pt x="4180" y="1511"/>
                    </a:cubicBezTo>
                    <a:lnTo>
                      <a:pt x="4180" y="1243"/>
                    </a:lnTo>
                    <a:close/>
                    <a:moveTo>
                      <a:pt x="4074" y="1511"/>
                    </a:moveTo>
                    <a:cubicBezTo>
                      <a:pt x="3723" y="1243"/>
                      <a:pt x="3723" y="1243"/>
                      <a:pt x="3723" y="1243"/>
                    </a:cubicBezTo>
                    <a:cubicBezTo>
                      <a:pt x="4112" y="1243"/>
                      <a:pt x="4112" y="1243"/>
                      <a:pt x="4112" y="1243"/>
                    </a:cubicBezTo>
                    <a:cubicBezTo>
                      <a:pt x="4112" y="1511"/>
                      <a:pt x="4112" y="1511"/>
                      <a:pt x="4112" y="1511"/>
                    </a:cubicBezTo>
                    <a:lnTo>
                      <a:pt x="4074" y="1511"/>
                    </a:lnTo>
                    <a:close/>
                    <a:moveTo>
                      <a:pt x="3584" y="1243"/>
                    </a:moveTo>
                    <a:cubicBezTo>
                      <a:pt x="3612" y="1243"/>
                      <a:pt x="3612" y="1243"/>
                      <a:pt x="3612" y="1243"/>
                    </a:cubicBezTo>
                    <a:cubicBezTo>
                      <a:pt x="3964" y="1511"/>
                      <a:pt x="3964" y="1511"/>
                      <a:pt x="3964" y="1511"/>
                    </a:cubicBezTo>
                    <a:cubicBezTo>
                      <a:pt x="3584" y="1511"/>
                      <a:pt x="3584" y="1511"/>
                      <a:pt x="3584" y="1511"/>
                    </a:cubicBezTo>
                    <a:lnTo>
                      <a:pt x="3584" y="1243"/>
                    </a:lnTo>
                    <a:close/>
                    <a:moveTo>
                      <a:pt x="3537" y="1099"/>
                    </a:moveTo>
                    <a:cubicBezTo>
                      <a:pt x="3516" y="1084"/>
                      <a:pt x="3516" y="1084"/>
                      <a:pt x="3516" y="1084"/>
                    </a:cubicBezTo>
                    <a:cubicBezTo>
                      <a:pt x="3516" y="1099"/>
                      <a:pt x="3516" y="1099"/>
                      <a:pt x="3516" y="1099"/>
                    </a:cubicBezTo>
                    <a:cubicBezTo>
                      <a:pt x="1992" y="1099"/>
                      <a:pt x="1992" y="1099"/>
                      <a:pt x="1992" y="1099"/>
                    </a:cubicBezTo>
                    <a:cubicBezTo>
                      <a:pt x="1992" y="979"/>
                      <a:pt x="1992" y="979"/>
                      <a:pt x="1992" y="979"/>
                    </a:cubicBezTo>
                    <a:cubicBezTo>
                      <a:pt x="1716" y="979"/>
                      <a:pt x="1716" y="979"/>
                      <a:pt x="1716" y="979"/>
                    </a:cubicBezTo>
                    <a:cubicBezTo>
                      <a:pt x="1716" y="255"/>
                      <a:pt x="1716" y="255"/>
                      <a:pt x="1716" y="255"/>
                    </a:cubicBezTo>
                    <a:cubicBezTo>
                      <a:pt x="1724" y="233"/>
                      <a:pt x="1732" y="207"/>
                      <a:pt x="1732" y="180"/>
                    </a:cubicBezTo>
                    <a:cubicBezTo>
                      <a:pt x="1732" y="155"/>
                      <a:pt x="1727" y="130"/>
                      <a:pt x="1718" y="108"/>
                    </a:cubicBezTo>
                    <a:cubicBezTo>
                      <a:pt x="2277" y="253"/>
                      <a:pt x="3874" y="727"/>
                      <a:pt x="5110" y="1099"/>
                    </a:cubicBezTo>
                    <a:cubicBezTo>
                      <a:pt x="4722" y="1099"/>
                      <a:pt x="4722" y="1099"/>
                      <a:pt x="4722" y="1099"/>
                    </a:cubicBezTo>
                    <a:cubicBezTo>
                      <a:pt x="4696" y="1082"/>
                      <a:pt x="4696" y="1082"/>
                      <a:pt x="4696" y="1082"/>
                    </a:cubicBezTo>
                    <a:cubicBezTo>
                      <a:pt x="4696" y="1099"/>
                      <a:pt x="4696" y="1099"/>
                      <a:pt x="4696" y="1099"/>
                    </a:cubicBezTo>
                    <a:cubicBezTo>
                      <a:pt x="4133" y="1099"/>
                      <a:pt x="4133" y="1099"/>
                      <a:pt x="4133" y="1099"/>
                    </a:cubicBezTo>
                    <a:cubicBezTo>
                      <a:pt x="4112" y="1085"/>
                      <a:pt x="4112" y="1085"/>
                      <a:pt x="4112" y="1085"/>
                    </a:cubicBezTo>
                    <a:cubicBezTo>
                      <a:pt x="4112" y="1099"/>
                      <a:pt x="4112" y="1099"/>
                      <a:pt x="4112" y="1099"/>
                    </a:cubicBezTo>
                    <a:lnTo>
                      <a:pt x="3537" y="1099"/>
                    </a:lnTo>
                    <a:close/>
                    <a:moveTo>
                      <a:pt x="3514" y="1511"/>
                    </a:moveTo>
                    <a:cubicBezTo>
                      <a:pt x="3138" y="1243"/>
                      <a:pt x="3138" y="1243"/>
                      <a:pt x="3138" y="1243"/>
                    </a:cubicBezTo>
                    <a:cubicBezTo>
                      <a:pt x="3516" y="1243"/>
                      <a:pt x="3516" y="1243"/>
                      <a:pt x="3516" y="1243"/>
                    </a:cubicBezTo>
                    <a:cubicBezTo>
                      <a:pt x="3516" y="1511"/>
                      <a:pt x="3516" y="1511"/>
                      <a:pt x="3516" y="1511"/>
                    </a:cubicBezTo>
                    <a:lnTo>
                      <a:pt x="3514" y="1511"/>
                    </a:lnTo>
                    <a:close/>
                    <a:moveTo>
                      <a:pt x="3016" y="1243"/>
                    </a:moveTo>
                    <a:cubicBezTo>
                      <a:pt x="3023" y="1243"/>
                      <a:pt x="3023" y="1243"/>
                      <a:pt x="3023" y="1243"/>
                    </a:cubicBezTo>
                    <a:cubicBezTo>
                      <a:pt x="3399" y="1511"/>
                      <a:pt x="3399" y="1511"/>
                      <a:pt x="3399" y="1511"/>
                    </a:cubicBezTo>
                    <a:cubicBezTo>
                      <a:pt x="3016" y="1511"/>
                      <a:pt x="3016" y="1511"/>
                      <a:pt x="3016" y="1511"/>
                    </a:cubicBezTo>
                    <a:lnTo>
                      <a:pt x="3016" y="1243"/>
                    </a:lnTo>
                    <a:close/>
                    <a:moveTo>
                      <a:pt x="2920" y="1511"/>
                    </a:moveTo>
                    <a:cubicBezTo>
                      <a:pt x="2548" y="1243"/>
                      <a:pt x="2548" y="1243"/>
                      <a:pt x="2548" y="1243"/>
                    </a:cubicBezTo>
                    <a:cubicBezTo>
                      <a:pt x="2948" y="1243"/>
                      <a:pt x="2948" y="1243"/>
                      <a:pt x="2948" y="1243"/>
                    </a:cubicBezTo>
                    <a:cubicBezTo>
                      <a:pt x="2948" y="1511"/>
                      <a:pt x="2948" y="1511"/>
                      <a:pt x="2948" y="1511"/>
                    </a:cubicBezTo>
                    <a:lnTo>
                      <a:pt x="2920" y="1511"/>
                    </a:lnTo>
                    <a:close/>
                    <a:moveTo>
                      <a:pt x="2440" y="1248"/>
                    </a:moveTo>
                    <a:cubicBezTo>
                      <a:pt x="2805" y="1511"/>
                      <a:pt x="2805" y="1511"/>
                      <a:pt x="2805" y="1511"/>
                    </a:cubicBezTo>
                    <a:cubicBezTo>
                      <a:pt x="2440" y="1511"/>
                      <a:pt x="2440" y="1511"/>
                      <a:pt x="2440" y="1511"/>
                    </a:cubicBezTo>
                    <a:lnTo>
                      <a:pt x="2440" y="1248"/>
                    </a:lnTo>
                    <a:close/>
                    <a:moveTo>
                      <a:pt x="2372" y="1503"/>
                    </a:moveTo>
                    <a:cubicBezTo>
                      <a:pt x="1993" y="1243"/>
                      <a:pt x="1993" y="1243"/>
                      <a:pt x="1993" y="1243"/>
                    </a:cubicBezTo>
                    <a:cubicBezTo>
                      <a:pt x="2372" y="1243"/>
                      <a:pt x="2372" y="1243"/>
                      <a:pt x="2372" y="1243"/>
                    </a:cubicBezTo>
                    <a:lnTo>
                      <a:pt x="2372" y="1503"/>
                    </a:lnTo>
                    <a:close/>
                    <a:moveTo>
                      <a:pt x="1832" y="1511"/>
                    </a:moveTo>
                    <a:cubicBezTo>
                      <a:pt x="1832" y="1243"/>
                      <a:pt x="1832" y="1243"/>
                      <a:pt x="1832" y="1243"/>
                    </a:cubicBezTo>
                    <a:cubicBezTo>
                      <a:pt x="1874" y="1243"/>
                      <a:pt x="1874" y="1243"/>
                      <a:pt x="1874" y="1243"/>
                    </a:cubicBezTo>
                    <a:cubicBezTo>
                      <a:pt x="2266" y="1511"/>
                      <a:pt x="2266" y="1511"/>
                      <a:pt x="2266" y="1511"/>
                    </a:cubicBezTo>
                    <a:lnTo>
                      <a:pt x="1832" y="1511"/>
                    </a:lnTo>
                    <a:close/>
                    <a:moveTo>
                      <a:pt x="1928" y="5012"/>
                    </a:moveTo>
                    <a:cubicBezTo>
                      <a:pt x="1319" y="4515"/>
                      <a:pt x="1319" y="4515"/>
                      <a:pt x="1319" y="4515"/>
                    </a:cubicBezTo>
                    <a:cubicBezTo>
                      <a:pt x="1928" y="4515"/>
                      <a:pt x="1928" y="4515"/>
                      <a:pt x="1928" y="4515"/>
                    </a:cubicBezTo>
                    <a:lnTo>
                      <a:pt x="1928" y="5012"/>
                    </a:lnTo>
                    <a:close/>
                    <a:moveTo>
                      <a:pt x="1928" y="5211"/>
                    </a:moveTo>
                    <a:cubicBezTo>
                      <a:pt x="1928" y="5674"/>
                      <a:pt x="1928" y="5674"/>
                      <a:pt x="1928" y="5674"/>
                    </a:cubicBezTo>
                    <a:cubicBezTo>
                      <a:pt x="1317" y="5211"/>
                      <a:pt x="1317" y="5211"/>
                      <a:pt x="1317" y="5211"/>
                    </a:cubicBezTo>
                    <a:lnTo>
                      <a:pt x="1928" y="5211"/>
                    </a:lnTo>
                    <a:close/>
                    <a:moveTo>
                      <a:pt x="1928" y="5859"/>
                    </a:moveTo>
                    <a:cubicBezTo>
                      <a:pt x="1928" y="6206"/>
                      <a:pt x="1928" y="6206"/>
                      <a:pt x="1928" y="6206"/>
                    </a:cubicBezTo>
                    <a:cubicBezTo>
                      <a:pt x="1340" y="5859"/>
                      <a:pt x="1340" y="5859"/>
                      <a:pt x="1340" y="5859"/>
                    </a:cubicBezTo>
                    <a:lnTo>
                      <a:pt x="1928" y="5859"/>
                    </a:lnTo>
                    <a:close/>
                    <a:moveTo>
                      <a:pt x="1316" y="5955"/>
                    </a:moveTo>
                    <a:cubicBezTo>
                      <a:pt x="1928" y="6317"/>
                      <a:pt x="1928" y="6317"/>
                      <a:pt x="1928" y="6317"/>
                    </a:cubicBezTo>
                    <a:cubicBezTo>
                      <a:pt x="1928" y="6459"/>
                      <a:pt x="1928" y="6459"/>
                      <a:pt x="1928" y="6459"/>
                    </a:cubicBezTo>
                    <a:cubicBezTo>
                      <a:pt x="1316" y="6459"/>
                      <a:pt x="1316" y="6459"/>
                      <a:pt x="1316" y="6459"/>
                    </a:cubicBezTo>
                    <a:lnTo>
                      <a:pt x="1316" y="5955"/>
                    </a:lnTo>
                    <a:close/>
                    <a:moveTo>
                      <a:pt x="1316" y="5330"/>
                    </a:moveTo>
                    <a:cubicBezTo>
                      <a:pt x="1889" y="5763"/>
                      <a:pt x="1889" y="5763"/>
                      <a:pt x="1889" y="5763"/>
                    </a:cubicBezTo>
                    <a:cubicBezTo>
                      <a:pt x="1316" y="5763"/>
                      <a:pt x="1316" y="5763"/>
                      <a:pt x="1316" y="5763"/>
                    </a:cubicBezTo>
                    <a:lnTo>
                      <a:pt x="1316" y="5330"/>
                    </a:lnTo>
                    <a:close/>
                    <a:moveTo>
                      <a:pt x="1316" y="4635"/>
                    </a:moveTo>
                    <a:cubicBezTo>
                      <a:pt x="1908" y="5115"/>
                      <a:pt x="1908" y="5115"/>
                      <a:pt x="1908" y="5115"/>
                    </a:cubicBezTo>
                    <a:cubicBezTo>
                      <a:pt x="1316" y="5115"/>
                      <a:pt x="1316" y="5115"/>
                      <a:pt x="1316" y="5115"/>
                    </a:cubicBezTo>
                    <a:lnTo>
                      <a:pt x="1316" y="4635"/>
                    </a:lnTo>
                    <a:close/>
                    <a:moveTo>
                      <a:pt x="1316" y="3941"/>
                    </a:moveTo>
                    <a:cubicBezTo>
                      <a:pt x="1898" y="4419"/>
                      <a:pt x="1898" y="4419"/>
                      <a:pt x="1898" y="4419"/>
                    </a:cubicBezTo>
                    <a:cubicBezTo>
                      <a:pt x="1316" y="4419"/>
                      <a:pt x="1316" y="4419"/>
                      <a:pt x="1316" y="4419"/>
                    </a:cubicBezTo>
                    <a:lnTo>
                      <a:pt x="1316" y="3941"/>
                    </a:lnTo>
                    <a:close/>
                    <a:moveTo>
                      <a:pt x="1316" y="3787"/>
                    </a:moveTo>
                    <a:cubicBezTo>
                      <a:pt x="1928" y="3787"/>
                      <a:pt x="1928" y="3787"/>
                      <a:pt x="1928" y="3787"/>
                    </a:cubicBezTo>
                    <a:cubicBezTo>
                      <a:pt x="1928" y="4322"/>
                      <a:pt x="1928" y="4322"/>
                      <a:pt x="1928" y="4322"/>
                    </a:cubicBezTo>
                    <a:cubicBezTo>
                      <a:pt x="1316" y="3818"/>
                      <a:pt x="1316" y="3818"/>
                      <a:pt x="1316" y="3818"/>
                    </a:cubicBezTo>
                    <a:lnTo>
                      <a:pt x="1316" y="3787"/>
                    </a:lnTo>
                    <a:close/>
                    <a:moveTo>
                      <a:pt x="1316" y="3256"/>
                    </a:moveTo>
                    <a:cubicBezTo>
                      <a:pt x="1881" y="3691"/>
                      <a:pt x="1881" y="3691"/>
                      <a:pt x="1881" y="3691"/>
                    </a:cubicBezTo>
                    <a:cubicBezTo>
                      <a:pt x="1316" y="3691"/>
                      <a:pt x="1316" y="3691"/>
                      <a:pt x="1316" y="3691"/>
                    </a:cubicBezTo>
                    <a:lnTo>
                      <a:pt x="1316" y="3256"/>
                    </a:lnTo>
                    <a:close/>
                    <a:moveTo>
                      <a:pt x="1316" y="3119"/>
                    </a:moveTo>
                    <a:cubicBezTo>
                      <a:pt x="1928" y="3119"/>
                      <a:pt x="1928" y="3119"/>
                      <a:pt x="1928" y="3119"/>
                    </a:cubicBezTo>
                    <a:cubicBezTo>
                      <a:pt x="1928" y="3609"/>
                      <a:pt x="1928" y="3609"/>
                      <a:pt x="1928" y="3609"/>
                    </a:cubicBezTo>
                    <a:cubicBezTo>
                      <a:pt x="1316" y="3136"/>
                      <a:pt x="1316" y="3136"/>
                      <a:pt x="1316" y="3136"/>
                    </a:cubicBezTo>
                    <a:lnTo>
                      <a:pt x="1316" y="3119"/>
                    </a:lnTo>
                    <a:close/>
                    <a:moveTo>
                      <a:pt x="1316" y="2541"/>
                    </a:moveTo>
                    <a:cubicBezTo>
                      <a:pt x="1865" y="3023"/>
                      <a:pt x="1865" y="3023"/>
                      <a:pt x="1865" y="3023"/>
                    </a:cubicBezTo>
                    <a:cubicBezTo>
                      <a:pt x="1316" y="3023"/>
                      <a:pt x="1316" y="3023"/>
                      <a:pt x="1316" y="3023"/>
                    </a:cubicBezTo>
                    <a:lnTo>
                      <a:pt x="1316" y="2541"/>
                    </a:lnTo>
                    <a:close/>
                    <a:moveTo>
                      <a:pt x="1316" y="2391"/>
                    </a:moveTo>
                    <a:cubicBezTo>
                      <a:pt x="1928" y="2391"/>
                      <a:pt x="1928" y="2391"/>
                      <a:pt x="1928" y="2391"/>
                    </a:cubicBezTo>
                    <a:cubicBezTo>
                      <a:pt x="1928" y="2955"/>
                      <a:pt x="1928" y="2955"/>
                      <a:pt x="1928" y="2955"/>
                    </a:cubicBezTo>
                    <a:cubicBezTo>
                      <a:pt x="1316" y="2414"/>
                      <a:pt x="1316" y="2414"/>
                      <a:pt x="1316" y="2414"/>
                    </a:cubicBezTo>
                    <a:lnTo>
                      <a:pt x="1316" y="2391"/>
                    </a:lnTo>
                    <a:close/>
                    <a:moveTo>
                      <a:pt x="1316" y="1838"/>
                    </a:moveTo>
                    <a:cubicBezTo>
                      <a:pt x="1861" y="2295"/>
                      <a:pt x="1861" y="2295"/>
                      <a:pt x="1861" y="2295"/>
                    </a:cubicBezTo>
                    <a:cubicBezTo>
                      <a:pt x="1316" y="2295"/>
                      <a:pt x="1316" y="2295"/>
                      <a:pt x="1316" y="2295"/>
                    </a:cubicBezTo>
                    <a:lnTo>
                      <a:pt x="1316" y="1838"/>
                    </a:lnTo>
                    <a:close/>
                    <a:moveTo>
                      <a:pt x="1316" y="1703"/>
                    </a:moveTo>
                    <a:cubicBezTo>
                      <a:pt x="1928" y="1703"/>
                      <a:pt x="1928" y="1703"/>
                      <a:pt x="1928" y="1703"/>
                    </a:cubicBezTo>
                    <a:cubicBezTo>
                      <a:pt x="1928" y="2231"/>
                      <a:pt x="1928" y="2231"/>
                      <a:pt x="1928" y="2231"/>
                    </a:cubicBezTo>
                    <a:cubicBezTo>
                      <a:pt x="1316" y="1713"/>
                      <a:pt x="1316" y="1713"/>
                      <a:pt x="1316" y="1713"/>
                    </a:cubicBezTo>
                    <a:lnTo>
                      <a:pt x="1316" y="1703"/>
                    </a:lnTo>
                    <a:close/>
                    <a:moveTo>
                      <a:pt x="1168" y="1252"/>
                    </a:moveTo>
                    <a:cubicBezTo>
                      <a:pt x="1594" y="1511"/>
                      <a:pt x="1594" y="1511"/>
                      <a:pt x="1594" y="1511"/>
                    </a:cubicBezTo>
                    <a:cubicBezTo>
                      <a:pt x="1168" y="1511"/>
                      <a:pt x="1168" y="1511"/>
                      <a:pt x="1168" y="1511"/>
                    </a:cubicBezTo>
                    <a:lnTo>
                      <a:pt x="1168" y="1252"/>
                    </a:lnTo>
                    <a:close/>
                  </a:path>
                </a:pathLst>
              </a:custGeom>
              <a:solidFill>
                <a:srgbClr val="61605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3" name="îŝlídê"/>
              <p:cNvSpPr/>
              <p:nvPr/>
            </p:nvSpPr>
            <p:spPr bwMode="auto">
              <a:xfrm>
                <a:off x="3802" y="2240"/>
                <a:ext cx="262" cy="447"/>
              </a:xfrm>
              <a:prstGeom prst="rect">
                <a:avLst/>
              </a:prstGeom>
              <a:solidFill>
                <a:srgbClr val="B1AF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4" name="iṥļídè"/>
              <p:cNvSpPr/>
              <p:nvPr/>
            </p:nvSpPr>
            <p:spPr bwMode="auto">
              <a:xfrm>
                <a:off x="2704" y="2240"/>
                <a:ext cx="262" cy="447"/>
              </a:xfrm>
              <a:prstGeom prst="rect">
                <a:avLst/>
              </a:prstGeom>
              <a:solidFill>
                <a:srgbClr val="B1AF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5" name="iśḷïďê"/>
              <p:cNvSpPr/>
              <p:nvPr/>
            </p:nvSpPr>
            <p:spPr bwMode="auto">
              <a:xfrm>
                <a:off x="1606" y="2240"/>
                <a:ext cx="261" cy="447"/>
              </a:xfrm>
              <a:prstGeom prst="rect">
                <a:avLst/>
              </a:prstGeom>
              <a:solidFill>
                <a:srgbClr val="B1AF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6" name="isļídè"/>
              <p:cNvSpPr/>
              <p:nvPr/>
            </p:nvSpPr>
            <p:spPr bwMode="auto">
              <a:xfrm>
                <a:off x="799" y="2441"/>
                <a:ext cx="6082" cy="420"/>
              </a:xfrm>
              <a:prstGeom prst="rect">
                <a:avLst/>
              </a:prstGeom>
              <a:solidFill>
                <a:srgbClr val="92B3D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7" name="íṥḻïḋe"/>
              <p:cNvSpPr/>
              <p:nvPr/>
            </p:nvSpPr>
            <p:spPr bwMode="auto">
              <a:xfrm>
                <a:off x="6656" y="2300"/>
                <a:ext cx="214"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8" y="433"/>
                      <a:pt x="353" y="433"/>
                    </a:cubicBezTo>
                    <a:cubicBezTo>
                      <a:pt x="158" y="433"/>
                      <a:pt x="0" y="275"/>
                      <a:pt x="0" y="81"/>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8" name="íŝḻïdé"/>
              <p:cNvSpPr/>
              <p:nvPr/>
            </p:nvSpPr>
            <p:spPr bwMode="auto">
              <a:xfrm>
                <a:off x="6447" y="2301"/>
                <a:ext cx="214"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7"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9" name="ïṩḻíḓé"/>
              <p:cNvSpPr/>
              <p:nvPr/>
            </p:nvSpPr>
            <p:spPr bwMode="auto">
              <a:xfrm>
                <a:off x="6238" y="2300"/>
                <a:ext cx="214" cy="132"/>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0" name="î$1iḓe"/>
              <p:cNvSpPr/>
              <p:nvPr/>
            </p:nvSpPr>
            <p:spPr bwMode="auto">
              <a:xfrm>
                <a:off x="6029" y="2301"/>
                <a:ext cx="214"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1" name="îṥļîḑê"/>
              <p:cNvSpPr/>
              <p:nvPr/>
            </p:nvSpPr>
            <p:spPr bwMode="auto">
              <a:xfrm>
                <a:off x="5820" y="2300"/>
                <a:ext cx="214" cy="132"/>
              </a:xfrm>
              <a:custGeom>
                <a:avLst/>
                <a:gdLst>
                  <a:gd name="T0" fmla="*/ 352 w 705"/>
                  <a:gd name="T1" fmla="*/ 272 h 433"/>
                  <a:gd name="T2" fmla="*/ 695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5" y="0"/>
                    </a:cubicBezTo>
                    <a:cubicBezTo>
                      <a:pt x="702" y="26"/>
                      <a:pt x="705" y="53"/>
                      <a:pt x="705" y="81"/>
                    </a:cubicBezTo>
                    <a:cubicBezTo>
                      <a:pt x="705" y="275"/>
                      <a:pt x="547" y="433"/>
                      <a:pt x="352" y="433"/>
                    </a:cubicBezTo>
                    <a:cubicBezTo>
                      <a:pt x="157"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2" name="ïśļïďé"/>
              <p:cNvSpPr/>
              <p:nvPr/>
            </p:nvSpPr>
            <p:spPr bwMode="auto">
              <a:xfrm>
                <a:off x="5611" y="2301"/>
                <a:ext cx="214"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3" name="ïślîḓè"/>
              <p:cNvSpPr/>
              <p:nvPr/>
            </p:nvSpPr>
            <p:spPr bwMode="auto">
              <a:xfrm>
                <a:off x="5402" y="2300"/>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4" name="íṡlidè"/>
              <p:cNvSpPr/>
              <p:nvPr/>
            </p:nvSpPr>
            <p:spPr bwMode="auto">
              <a:xfrm>
                <a:off x="5192" y="2301"/>
                <a:ext cx="215"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5" name="iṧľïďê"/>
              <p:cNvSpPr/>
              <p:nvPr/>
            </p:nvSpPr>
            <p:spPr bwMode="auto">
              <a:xfrm>
                <a:off x="4985" y="2300"/>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6" name="íṩḻïdé"/>
              <p:cNvSpPr/>
              <p:nvPr/>
            </p:nvSpPr>
            <p:spPr bwMode="auto">
              <a:xfrm>
                <a:off x="4776" y="2301"/>
                <a:ext cx="214"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8" y="433"/>
                      <a:pt x="353" y="433"/>
                    </a:cubicBezTo>
                    <a:cubicBezTo>
                      <a:pt x="158" y="433"/>
                      <a:pt x="0" y="275"/>
                      <a:pt x="0" y="80"/>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7" name="íš1iḓê"/>
              <p:cNvSpPr/>
              <p:nvPr/>
            </p:nvSpPr>
            <p:spPr bwMode="auto">
              <a:xfrm>
                <a:off x="4567" y="2300"/>
                <a:ext cx="214"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5"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8" name="ïşľíḍè"/>
              <p:cNvSpPr/>
              <p:nvPr/>
            </p:nvSpPr>
            <p:spPr bwMode="auto">
              <a:xfrm>
                <a:off x="4357" y="2301"/>
                <a:ext cx="215" cy="131"/>
              </a:xfrm>
              <a:custGeom>
                <a:avLst/>
                <a:gdLst>
                  <a:gd name="T0" fmla="*/ 353 w 706"/>
                  <a:gd name="T1" fmla="*/ 272 h 433"/>
                  <a:gd name="T2" fmla="*/ 696 w 706"/>
                  <a:gd name="T3" fmla="*/ 0 h 433"/>
                  <a:gd name="T4" fmla="*/ 706 w 706"/>
                  <a:gd name="T5" fmla="*/ 80 h 433"/>
                  <a:gd name="T6" fmla="*/ 353 w 706"/>
                  <a:gd name="T7" fmla="*/ 433 h 433"/>
                  <a:gd name="T8" fmla="*/ 0 w 706"/>
                  <a:gd name="T9" fmla="*/ 80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0"/>
                    </a:cubicBezTo>
                    <a:cubicBezTo>
                      <a:pt x="706" y="275"/>
                      <a:pt x="548" y="433"/>
                      <a:pt x="353" y="433"/>
                    </a:cubicBezTo>
                    <a:cubicBezTo>
                      <a:pt x="158" y="433"/>
                      <a:pt x="0" y="275"/>
                      <a:pt x="0" y="80"/>
                    </a:cubicBezTo>
                    <a:cubicBezTo>
                      <a:pt x="0" y="53"/>
                      <a:pt x="3" y="26"/>
                      <a:pt x="10"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9" name="íşľîḓè"/>
              <p:cNvSpPr/>
              <p:nvPr/>
            </p:nvSpPr>
            <p:spPr bwMode="auto">
              <a:xfrm>
                <a:off x="4148" y="2300"/>
                <a:ext cx="215"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0" name="ïṥļiḍê"/>
              <p:cNvSpPr/>
              <p:nvPr/>
            </p:nvSpPr>
            <p:spPr bwMode="auto">
              <a:xfrm>
                <a:off x="3939" y="2301"/>
                <a:ext cx="215" cy="131"/>
              </a:xfrm>
              <a:custGeom>
                <a:avLst/>
                <a:gdLst>
                  <a:gd name="T0" fmla="*/ 353 w 706"/>
                  <a:gd name="T1" fmla="*/ 272 h 433"/>
                  <a:gd name="T2" fmla="*/ 696 w 706"/>
                  <a:gd name="T3" fmla="*/ 0 h 433"/>
                  <a:gd name="T4" fmla="*/ 706 w 706"/>
                  <a:gd name="T5" fmla="*/ 80 h 433"/>
                  <a:gd name="T6" fmla="*/ 353 w 706"/>
                  <a:gd name="T7" fmla="*/ 433 h 433"/>
                  <a:gd name="T8" fmla="*/ 0 w 706"/>
                  <a:gd name="T9" fmla="*/ 80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0"/>
                    </a:cubicBezTo>
                    <a:cubicBezTo>
                      <a:pt x="706" y="275"/>
                      <a:pt x="548" y="433"/>
                      <a:pt x="353" y="433"/>
                    </a:cubicBezTo>
                    <a:cubicBezTo>
                      <a:pt x="158" y="433"/>
                      <a:pt x="0" y="275"/>
                      <a:pt x="0" y="80"/>
                    </a:cubicBezTo>
                    <a:cubicBezTo>
                      <a:pt x="0" y="53"/>
                      <a:pt x="4" y="26"/>
                      <a:pt x="10"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1" name="íslïḑé"/>
              <p:cNvSpPr/>
              <p:nvPr/>
            </p:nvSpPr>
            <p:spPr bwMode="auto">
              <a:xfrm>
                <a:off x="3730" y="2300"/>
                <a:ext cx="215"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8" y="433"/>
                      <a:pt x="353" y="433"/>
                    </a:cubicBezTo>
                    <a:cubicBezTo>
                      <a:pt x="158" y="433"/>
                      <a:pt x="0" y="275"/>
                      <a:pt x="0" y="81"/>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2" name="î$1ídê"/>
              <p:cNvSpPr/>
              <p:nvPr/>
            </p:nvSpPr>
            <p:spPr bwMode="auto">
              <a:xfrm>
                <a:off x="3521" y="2301"/>
                <a:ext cx="215"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7"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3" name="íSļíḋe"/>
              <p:cNvSpPr/>
              <p:nvPr/>
            </p:nvSpPr>
            <p:spPr bwMode="auto">
              <a:xfrm>
                <a:off x="3312" y="2300"/>
                <a:ext cx="215" cy="132"/>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4" name="ïṧľiḍê"/>
              <p:cNvSpPr/>
              <p:nvPr/>
            </p:nvSpPr>
            <p:spPr bwMode="auto">
              <a:xfrm>
                <a:off x="3103" y="2301"/>
                <a:ext cx="215"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5" name="íṣļîḓé"/>
              <p:cNvSpPr/>
              <p:nvPr/>
            </p:nvSpPr>
            <p:spPr bwMode="auto">
              <a:xfrm>
                <a:off x="2894" y="2300"/>
                <a:ext cx="215" cy="132"/>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6" name="iṡľíďé"/>
              <p:cNvSpPr/>
              <p:nvPr/>
            </p:nvSpPr>
            <p:spPr bwMode="auto">
              <a:xfrm>
                <a:off x="2685" y="2301"/>
                <a:ext cx="215"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7" name="îsľïḓe"/>
              <p:cNvSpPr/>
              <p:nvPr/>
            </p:nvSpPr>
            <p:spPr bwMode="auto">
              <a:xfrm>
                <a:off x="2476" y="2300"/>
                <a:ext cx="215"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7"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8" name="íşḻîḍé"/>
              <p:cNvSpPr/>
              <p:nvPr/>
            </p:nvSpPr>
            <p:spPr bwMode="auto">
              <a:xfrm>
                <a:off x="2267" y="2301"/>
                <a:ext cx="214"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5"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9" name="îŝlîdé"/>
              <p:cNvSpPr/>
              <p:nvPr/>
            </p:nvSpPr>
            <p:spPr bwMode="auto">
              <a:xfrm>
                <a:off x="2058" y="2300"/>
                <a:ext cx="215"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0" name="íṡḷíḍê"/>
              <p:cNvSpPr/>
              <p:nvPr/>
            </p:nvSpPr>
            <p:spPr bwMode="auto">
              <a:xfrm>
                <a:off x="1849" y="2301"/>
                <a:ext cx="214"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1" name="ïSľîḋé"/>
              <p:cNvSpPr/>
              <p:nvPr/>
            </p:nvSpPr>
            <p:spPr bwMode="auto">
              <a:xfrm>
                <a:off x="1639" y="2300"/>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2" name="íSlïḓe"/>
              <p:cNvSpPr/>
              <p:nvPr/>
            </p:nvSpPr>
            <p:spPr bwMode="auto">
              <a:xfrm>
                <a:off x="1430" y="2301"/>
                <a:ext cx="214"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3" name="îS1iḓè"/>
              <p:cNvSpPr/>
              <p:nvPr/>
            </p:nvSpPr>
            <p:spPr bwMode="auto">
              <a:xfrm>
                <a:off x="1221" y="2300"/>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4" name="išlïďe"/>
              <p:cNvSpPr/>
              <p:nvPr/>
            </p:nvSpPr>
            <p:spPr bwMode="auto">
              <a:xfrm>
                <a:off x="1012" y="2301"/>
                <a:ext cx="214"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8" y="433"/>
                      <a:pt x="353" y="433"/>
                    </a:cubicBezTo>
                    <a:cubicBezTo>
                      <a:pt x="158" y="433"/>
                      <a:pt x="0" y="275"/>
                      <a:pt x="0" y="80"/>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5" name="íṣlïďè"/>
              <p:cNvSpPr/>
              <p:nvPr/>
            </p:nvSpPr>
            <p:spPr bwMode="auto">
              <a:xfrm>
                <a:off x="803" y="2300"/>
                <a:ext cx="214"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6" name="i$ḷídé"/>
              <p:cNvSpPr/>
              <p:nvPr/>
            </p:nvSpPr>
            <p:spPr bwMode="auto">
              <a:xfrm>
                <a:off x="6656" y="2348"/>
                <a:ext cx="214" cy="131"/>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8" y="433"/>
                      <a:pt x="353" y="433"/>
                    </a:cubicBezTo>
                    <a:cubicBezTo>
                      <a:pt x="158" y="433"/>
                      <a:pt x="0" y="275"/>
                      <a:pt x="0" y="81"/>
                    </a:cubicBezTo>
                    <a:cubicBezTo>
                      <a:pt x="0" y="53"/>
                      <a:pt x="3" y="26"/>
                      <a:pt x="9"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7" name="îṧḷídè"/>
              <p:cNvSpPr/>
              <p:nvPr/>
            </p:nvSpPr>
            <p:spPr bwMode="auto">
              <a:xfrm>
                <a:off x="6447" y="2348"/>
                <a:ext cx="214"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7" y="433"/>
                      <a:pt x="0" y="275"/>
                      <a:pt x="0" y="80"/>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8" name="íŝḻiďe"/>
              <p:cNvSpPr/>
              <p:nvPr/>
            </p:nvSpPr>
            <p:spPr bwMode="auto">
              <a:xfrm>
                <a:off x="6238" y="2348"/>
                <a:ext cx="214" cy="131"/>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9" name="îsļiḋé"/>
              <p:cNvSpPr/>
              <p:nvPr/>
            </p:nvSpPr>
            <p:spPr bwMode="auto">
              <a:xfrm>
                <a:off x="6029" y="2348"/>
                <a:ext cx="214"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0" name="ïş1ídé"/>
              <p:cNvSpPr/>
              <p:nvPr/>
            </p:nvSpPr>
            <p:spPr bwMode="auto">
              <a:xfrm>
                <a:off x="5820" y="2348"/>
                <a:ext cx="214" cy="131"/>
              </a:xfrm>
              <a:custGeom>
                <a:avLst/>
                <a:gdLst>
                  <a:gd name="T0" fmla="*/ 352 w 705"/>
                  <a:gd name="T1" fmla="*/ 272 h 433"/>
                  <a:gd name="T2" fmla="*/ 695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5" y="0"/>
                    </a:cubicBezTo>
                    <a:cubicBezTo>
                      <a:pt x="702" y="26"/>
                      <a:pt x="705" y="53"/>
                      <a:pt x="705" y="81"/>
                    </a:cubicBezTo>
                    <a:cubicBezTo>
                      <a:pt x="705" y="275"/>
                      <a:pt x="547" y="433"/>
                      <a:pt x="352" y="433"/>
                    </a:cubicBezTo>
                    <a:cubicBezTo>
                      <a:pt x="157" y="433"/>
                      <a:pt x="0" y="275"/>
                      <a:pt x="0" y="81"/>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1" name="íṣ1ïďé"/>
              <p:cNvSpPr/>
              <p:nvPr/>
            </p:nvSpPr>
            <p:spPr bwMode="auto">
              <a:xfrm>
                <a:off x="5611" y="2348"/>
                <a:ext cx="214"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2" name="íśḻíḍê"/>
              <p:cNvSpPr/>
              <p:nvPr/>
            </p:nvSpPr>
            <p:spPr bwMode="auto">
              <a:xfrm>
                <a:off x="5402" y="2348"/>
                <a:ext cx="214" cy="131"/>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3" name="ïṧḷïḍe"/>
              <p:cNvSpPr/>
              <p:nvPr/>
            </p:nvSpPr>
            <p:spPr bwMode="auto">
              <a:xfrm>
                <a:off x="5192" y="2348"/>
                <a:ext cx="215"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4" name="i$ḷiḋé"/>
              <p:cNvSpPr/>
              <p:nvPr/>
            </p:nvSpPr>
            <p:spPr bwMode="auto">
              <a:xfrm>
                <a:off x="4985" y="2348"/>
                <a:ext cx="214" cy="131"/>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5" name="ïṧḻiḑe"/>
              <p:cNvSpPr/>
              <p:nvPr/>
            </p:nvSpPr>
            <p:spPr bwMode="auto">
              <a:xfrm>
                <a:off x="4776" y="2348"/>
                <a:ext cx="214"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8" y="433"/>
                      <a:pt x="353" y="433"/>
                    </a:cubicBezTo>
                    <a:cubicBezTo>
                      <a:pt x="158" y="433"/>
                      <a:pt x="0" y="275"/>
                      <a:pt x="0" y="80"/>
                    </a:cubicBezTo>
                    <a:cubicBezTo>
                      <a:pt x="0" y="53"/>
                      <a:pt x="3" y="26"/>
                      <a:pt x="9"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6" name="íṡļiḓè"/>
              <p:cNvSpPr/>
              <p:nvPr/>
            </p:nvSpPr>
            <p:spPr bwMode="auto">
              <a:xfrm>
                <a:off x="4567" y="2348"/>
                <a:ext cx="214" cy="131"/>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5"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7" name="iŝḷíḓé"/>
              <p:cNvSpPr/>
              <p:nvPr/>
            </p:nvSpPr>
            <p:spPr bwMode="auto">
              <a:xfrm>
                <a:off x="4357" y="2348"/>
                <a:ext cx="215" cy="131"/>
              </a:xfrm>
              <a:custGeom>
                <a:avLst/>
                <a:gdLst>
                  <a:gd name="T0" fmla="*/ 353 w 706"/>
                  <a:gd name="T1" fmla="*/ 272 h 433"/>
                  <a:gd name="T2" fmla="*/ 696 w 706"/>
                  <a:gd name="T3" fmla="*/ 0 h 433"/>
                  <a:gd name="T4" fmla="*/ 706 w 706"/>
                  <a:gd name="T5" fmla="*/ 80 h 433"/>
                  <a:gd name="T6" fmla="*/ 353 w 706"/>
                  <a:gd name="T7" fmla="*/ 433 h 433"/>
                  <a:gd name="T8" fmla="*/ 0 w 706"/>
                  <a:gd name="T9" fmla="*/ 80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0"/>
                    </a:cubicBezTo>
                    <a:cubicBezTo>
                      <a:pt x="706" y="275"/>
                      <a:pt x="548" y="433"/>
                      <a:pt x="353" y="433"/>
                    </a:cubicBezTo>
                    <a:cubicBezTo>
                      <a:pt x="158" y="433"/>
                      <a:pt x="0" y="275"/>
                      <a:pt x="0" y="80"/>
                    </a:cubicBezTo>
                    <a:cubicBezTo>
                      <a:pt x="0" y="53"/>
                      <a:pt x="3" y="26"/>
                      <a:pt x="10"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8" name="isļîḍé"/>
              <p:cNvSpPr/>
              <p:nvPr/>
            </p:nvSpPr>
            <p:spPr bwMode="auto">
              <a:xfrm>
                <a:off x="4148" y="2348"/>
                <a:ext cx="215" cy="131"/>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19" name="ïşľïḋê"/>
              <p:cNvSpPr/>
              <p:nvPr/>
            </p:nvSpPr>
            <p:spPr bwMode="auto">
              <a:xfrm>
                <a:off x="3939" y="2348"/>
                <a:ext cx="215" cy="131"/>
              </a:xfrm>
              <a:custGeom>
                <a:avLst/>
                <a:gdLst>
                  <a:gd name="T0" fmla="*/ 353 w 706"/>
                  <a:gd name="T1" fmla="*/ 272 h 433"/>
                  <a:gd name="T2" fmla="*/ 696 w 706"/>
                  <a:gd name="T3" fmla="*/ 0 h 433"/>
                  <a:gd name="T4" fmla="*/ 706 w 706"/>
                  <a:gd name="T5" fmla="*/ 80 h 433"/>
                  <a:gd name="T6" fmla="*/ 353 w 706"/>
                  <a:gd name="T7" fmla="*/ 433 h 433"/>
                  <a:gd name="T8" fmla="*/ 0 w 706"/>
                  <a:gd name="T9" fmla="*/ 80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0"/>
                    </a:cubicBezTo>
                    <a:cubicBezTo>
                      <a:pt x="706" y="275"/>
                      <a:pt x="548" y="433"/>
                      <a:pt x="353" y="433"/>
                    </a:cubicBezTo>
                    <a:cubicBezTo>
                      <a:pt x="158" y="433"/>
                      <a:pt x="0" y="275"/>
                      <a:pt x="0" y="80"/>
                    </a:cubicBezTo>
                    <a:cubicBezTo>
                      <a:pt x="0" y="53"/>
                      <a:pt x="4" y="26"/>
                      <a:pt x="10"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0" name="ïśľíďe"/>
              <p:cNvSpPr/>
              <p:nvPr/>
            </p:nvSpPr>
            <p:spPr bwMode="auto">
              <a:xfrm>
                <a:off x="3730" y="2348"/>
                <a:ext cx="215" cy="131"/>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8" y="433"/>
                      <a:pt x="353" y="433"/>
                    </a:cubicBezTo>
                    <a:cubicBezTo>
                      <a:pt x="158" y="433"/>
                      <a:pt x="0" y="275"/>
                      <a:pt x="0" y="81"/>
                    </a:cubicBezTo>
                    <a:cubicBezTo>
                      <a:pt x="0" y="53"/>
                      <a:pt x="3" y="26"/>
                      <a:pt x="9"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1" name="î$ļïďe"/>
              <p:cNvSpPr/>
              <p:nvPr/>
            </p:nvSpPr>
            <p:spPr bwMode="auto">
              <a:xfrm>
                <a:off x="3521" y="2348"/>
                <a:ext cx="215"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7" y="433"/>
                      <a:pt x="0" y="275"/>
                      <a:pt x="0" y="80"/>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2" name="íṧḻíḑé"/>
              <p:cNvSpPr/>
              <p:nvPr/>
            </p:nvSpPr>
            <p:spPr bwMode="auto">
              <a:xfrm>
                <a:off x="3312" y="2348"/>
                <a:ext cx="215" cy="131"/>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3" name="íŝļiďe"/>
              <p:cNvSpPr/>
              <p:nvPr/>
            </p:nvSpPr>
            <p:spPr bwMode="auto">
              <a:xfrm>
                <a:off x="3103" y="2348"/>
                <a:ext cx="215"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4" name="isľíḍé"/>
              <p:cNvSpPr/>
              <p:nvPr/>
            </p:nvSpPr>
            <p:spPr bwMode="auto">
              <a:xfrm>
                <a:off x="2894" y="2348"/>
                <a:ext cx="215" cy="131"/>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5" name="îṣlîdé"/>
              <p:cNvSpPr/>
              <p:nvPr/>
            </p:nvSpPr>
            <p:spPr bwMode="auto">
              <a:xfrm>
                <a:off x="2685" y="2348"/>
                <a:ext cx="215" cy="131"/>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6" name="iṧḷîḓé"/>
              <p:cNvSpPr/>
              <p:nvPr/>
            </p:nvSpPr>
            <p:spPr bwMode="auto">
              <a:xfrm>
                <a:off x="2476" y="2348"/>
                <a:ext cx="215" cy="131"/>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7" y="433"/>
                      <a:pt x="0" y="275"/>
                      <a:pt x="0" y="81"/>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7" name="iṡ1îḍé"/>
              <p:cNvSpPr/>
              <p:nvPr/>
            </p:nvSpPr>
            <p:spPr bwMode="auto">
              <a:xfrm>
                <a:off x="2267" y="2348"/>
                <a:ext cx="214"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5"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8" name="îṥlîḍè"/>
              <p:cNvSpPr/>
              <p:nvPr/>
            </p:nvSpPr>
            <p:spPr bwMode="auto">
              <a:xfrm>
                <a:off x="2058" y="2348"/>
                <a:ext cx="215" cy="131"/>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29" name="íšľíḍê"/>
              <p:cNvSpPr/>
              <p:nvPr/>
            </p:nvSpPr>
            <p:spPr bwMode="auto">
              <a:xfrm>
                <a:off x="1849" y="2348"/>
                <a:ext cx="214"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0" name="îṡḷïdè"/>
              <p:cNvSpPr/>
              <p:nvPr/>
            </p:nvSpPr>
            <p:spPr bwMode="auto">
              <a:xfrm>
                <a:off x="1639" y="2348"/>
                <a:ext cx="214" cy="131"/>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1" name="ïṣḷíḋê"/>
              <p:cNvSpPr/>
              <p:nvPr/>
            </p:nvSpPr>
            <p:spPr bwMode="auto">
              <a:xfrm>
                <a:off x="1430" y="2348"/>
                <a:ext cx="214"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2" name="ïṧḻïdé"/>
              <p:cNvSpPr/>
              <p:nvPr/>
            </p:nvSpPr>
            <p:spPr bwMode="auto">
              <a:xfrm>
                <a:off x="1221" y="2348"/>
                <a:ext cx="214" cy="131"/>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3" name="iṩḷïḓê"/>
              <p:cNvSpPr/>
              <p:nvPr/>
            </p:nvSpPr>
            <p:spPr bwMode="auto">
              <a:xfrm>
                <a:off x="1012" y="2348"/>
                <a:ext cx="214" cy="131"/>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8" y="433"/>
                      <a:pt x="353" y="433"/>
                    </a:cubicBezTo>
                    <a:cubicBezTo>
                      <a:pt x="158" y="433"/>
                      <a:pt x="0" y="275"/>
                      <a:pt x="0" y="80"/>
                    </a:cubicBezTo>
                    <a:cubicBezTo>
                      <a:pt x="0" y="53"/>
                      <a:pt x="3" y="26"/>
                      <a:pt x="9"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4" name="íş1îḋe"/>
              <p:cNvSpPr/>
              <p:nvPr/>
            </p:nvSpPr>
            <p:spPr bwMode="auto">
              <a:xfrm>
                <a:off x="803" y="2348"/>
                <a:ext cx="214" cy="131"/>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6" y="272"/>
                      <a:pt x="353" y="272"/>
                    </a:cubicBezTo>
                    <a:close/>
                  </a:path>
                </a:pathLst>
              </a:custGeom>
              <a:solidFill>
                <a:srgbClr val="A2C1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5" name="iṧľiďè"/>
              <p:cNvSpPr/>
              <p:nvPr/>
            </p:nvSpPr>
            <p:spPr bwMode="auto">
              <a:xfrm>
                <a:off x="6656" y="2395"/>
                <a:ext cx="214"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8" y="433"/>
                      <a:pt x="353" y="433"/>
                    </a:cubicBezTo>
                    <a:cubicBezTo>
                      <a:pt x="158" y="433"/>
                      <a:pt x="0" y="275"/>
                      <a:pt x="0" y="81"/>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6" name="ïSlîḓé"/>
              <p:cNvSpPr/>
              <p:nvPr/>
            </p:nvSpPr>
            <p:spPr bwMode="auto">
              <a:xfrm>
                <a:off x="6447" y="2395"/>
                <a:ext cx="214"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7"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7" name="ï$ľíḓé"/>
              <p:cNvSpPr/>
              <p:nvPr/>
            </p:nvSpPr>
            <p:spPr bwMode="auto">
              <a:xfrm>
                <a:off x="6238" y="2395"/>
                <a:ext cx="214" cy="132"/>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8" name="íṩḷïḋê"/>
              <p:cNvSpPr/>
              <p:nvPr/>
            </p:nvSpPr>
            <p:spPr bwMode="auto">
              <a:xfrm>
                <a:off x="6029" y="2395"/>
                <a:ext cx="214"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39" name="ïšļïḑe"/>
              <p:cNvSpPr/>
              <p:nvPr/>
            </p:nvSpPr>
            <p:spPr bwMode="auto">
              <a:xfrm>
                <a:off x="5820" y="2395"/>
                <a:ext cx="214" cy="132"/>
              </a:xfrm>
              <a:custGeom>
                <a:avLst/>
                <a:gdLst>
                  <a:gd name="T0" fmla="*/ 352 w 705"/>
                  <a:gd name="T1" fmla="*/ 272 h 433"/>
                  <a:gd name="T2" fmla="*/ 695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5" y="0"/>
                    </a:cubicBezTo>
                    <a:cubicBezTo>
                      <a:pt x="702" y="26"/>
                      <a:pt x="705" y="53"/>
                      <a:pt x="705" y="81"/>
                    </a:cubicBezTo>
                    <a:cubicBezTo>
                      <a:pt x="705" y="275"/>
                      <a:pt x="547" y="433"/>
                      <a:pt x="352" y="433"/>
                    </a:cubicBezTo>
                    <a:cubicBezTo>
                      <a:pt x="157"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0" name="ísľîḋè"/>
              <p:cNvSpPr/>
              <p:nvPr/>
            </p:nvSpPr>
            <p:spPr bwMode="auto">
              <a:xfrm>
                <a:off x="5611" y="2395"/>
                <a:ext cx="214"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1" name="íšḻîḋe"/>
              <p:cNvSpPr/>
              <p:nvPr/>
            </p:nvSpPr>
            <p:spPr bwMode="auto">
              <a:xfrm>
                <a:off x="5402" y="2395"/>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2" name="íṡḷiďé"/>
              <p:cNvSpPr/>
              <p:nvPr/>
            </p:nvSpPr>
            <p:spPr bwMode="auto">
              <a:xfrm>
                <a:off x="5192" y="2395"/>
                <a:ext cx="215"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3" name="îş1íḋê"/>
              <p:cNvSpPr/>
              <p:nvPr/>
            </p:nvSpPr>
            <p:spPr bwMode="auto">
              <a:xfrm>
                <a:off x="4985" y="2395"/>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4" name="íṡļîde"/>
              <p:cNvSpPr/>
              <p:nvPr/>
            </p:nvSpPr>
            <p:spPr bwMode="auto">
              <a:xfrm>
                <a:off x="4776" y="2395"/>
                <a:ext cx="214"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8" y="433"/>
                      <a:pt x="353" y="433"/>
                    </a:cubicBezTo>
                    <a:cubicBezTo>
                      <a:pt x="158" y="433"/>
                      <a:pt x="0" y="275"/>
                      <a:pt x="0" y="80"/>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5" name="ïSļïḍé"/>
              <p:cNvSpPr/>
              <p:nvPr/>
            </p:nvSpPr>
            <p:spPr bwMode="auto">
              <a:xfrm>
                <a:off x="4567" y="2395"/>
                <a:ext cx="214"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5"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6" name="íṡḻïdê"/>
              <p:cNvSpPr/>
              <p:nvPr/>
            </p:nvSpPr>
            <p:spPr bwMode="auto">
              <a:xfrm>
                <a:off x="4357" y="2395"/>
                <a:ext cx="215" cy="132"/>
              </a:xfrm>
              <a:custGeom>
                <a:avLst/>
                <a:gdLst>
                  <a:gd name="T0" fmla="*/ 353 w 706"/>
                  <a:gd name="T1" fmla="*/ 272 h 433"/>
                  <a:gd name="T2" fmla="*/ 696 w 706"/>
                  <a:gd name="T3" fmla="*/ 0 h 433"/>
                  <a:gd name="T4" fmla="*/ 706 w 706"/>
                  <a:gd name="T5" fmla="*/ 80 h 433"/>
                  <a:gd name="T6" fmla="*/ 353 w 706"/>
                  <a:gd name="T7" fmla="*/ 433 h 433"/>
                  <a:gd name="T8" fmla="*/ 0 w 706"/>
                  <a:gd name="T9" fmla="*/ 80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0"/>
                    </a:cubicBezTo>
                    <a:cubicBezTo>
                      <a:pt x="706" y="275"/>
                      <a:pt x="548" y="433"/>
                      <a:pt x="353" y="433"/>
                    </a:cubicBezTo>
                    <a:cubicBezTo>
                      <a:pt x="158" y="433"/>
                      <a:pt x="0" y="275"/>
                      <a:pt x="0" y="80"/>
                    </a:cubicBezTo>
                    <a:cubicBezTo>
                      <a:pt x="0" y="53"/>
                      <a:pt x="3" y="26"/>
                      <a:pt x="10"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7" name="ïšlîḍê"/>
              <p:cNvSpPr/>
              <p:nvPr/>
            </p:nvSpPr>
            <p:spPr bwMode="auto">
              <a:xfrm>
                <a:off x="4148" y="2395"/>
                <a:ext cx="215"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8" name="išḻiḋé"/>
              <p:cNvSpPr/>
              <p:nvPr/>
            </p:nvSpPr>
            <p:spPr bwMode="auto">
              <a:xfrm>
                <a:off x="3939" y="2395"/>
                <a:ext cx="215" cy="132"/>
              </a:xfrm>
              <a:custGeom>
                <a:avLst/>
                <a:gdLst>
                  <a:gd name="T0" fmla="*/ 353 w 706"/>
                  <a:gd name="T1" fmla="*/ 272 h 433"/>
                  <a:gd name="T2" fmla="*/ 696 w 706"/>
                  <a:gd name="T3" fmla="*/ 0 h 433"/>
                  <a:gd name="T4" fmla="*/ 706 w 706"/>
                  <a:gd name="T5" fmla="*/ 80 h 433"/>
                  <a:gd name="T6" fmla="*/ 353 w 706"/>
                  <a:gd name="T7" fmla="*/ 433 h 433"/>
                  <a:gd name="T8" fmla="*/ 0 w 706"/>
                  <a:gd name="T9" fmla="*/ 80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0"/>
                    </a:cubicBezTo>
                    <a:cubicBezTo>
                      <a:pt x="706" y="275"/>
                      <a:pt x="548" y="433"/>
                      <a:pt x="353" y="433"/>
                    </a:cubicBezTo>
                    <a:cubicBezTo>
                      <a:pt x="158" y="433"/>
                      <a:pt x="0" y="275"/>
                      <a:pt x="0" y="80"/>
                    </a:cubicBezTo>
                    <a:cubicBezTo>
                      <a:pt x="0" y="53"/>
                      <a:pt x="4" y="26"/>
                      <a:pt x="10"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49" name="iṧḻîdê"/>
              <p:cNvSpPr/>
              <p:nvPr/>
            </p:nvSpPr>
            <p:spPr bwMode="auto">
              <a:xfrm>
                <a:off x="3730" y="2395"/>
                <a:ext cx="215"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8" y="433"/>
                      <a:pt x="353" y="433"/>
                    </a:cubicBezTo>
                    <a:cubicBezTo>
                      <a:pt x="158" y="433"/>
                      <a:pt x="0" y="275"/>
                      <a:pt x="0" y="81"/>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0" name="ïṧḷïďe"/>
              <p:cNvSpPr/>
              <p:nvPr/>
            </p:nvSpPr>
            <p:spPr bwMode="auto">
              <a:xfrm>
                <a:off x="3521" y="2395"/>
                <a:ext cx="215"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7"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1" name="íṡḻiḓé"/>
              <p:cNvSpPr/>
              <p:nvPr/>
            </p:nvSpPr>
            <p:spPr bwMode="auto">
              <a:xfrm>
                <a:off x="3312" y="2395"/>
                <a:ext cx="215" cy="132"/>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2" name="îṣḻiḓè"/>
              <p:cNvSpPr/>
              <p:nvPr/>
            </p:nvSpPr>
            <p:spPr bwMode="auto">
              <a:xfrm>
                <a:off x="3103" y="2395"/>
                <a:ext cx="215"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3" name="îŝ1îḑe"/>
              <p:cNvSpPr/>
              <p:nvPr/>
            </p:nvSpPr>
            <p:spPr bwMode="auto">
              <a:xfrm>
                <a:off x="2894" y="2395"/>
                <a:ext cx="215" cy="132"/>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4" name="iṣḻiďé"/>
              <p:cNvSpPr/>
              <p:nvPr/>
            </p:nvSpPr>
            <p:spPr bwMode="auto">
              <a:xfrm>
                <a:off x="2685" y="2395"/>
                <a:ext cx="215"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5" name="îŝlide"/>
              <p:cNvSpPr/>
              <p:nvPr/>
            </p:nvSpPr>
            <p:spPr bwMode="auto">
              <a:xfrm>
                <a:off x="2476" y="2395"/>
                <a:ext cx="215"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7"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6" name="iş1iḋe"/>
              <p:cNvSpPr/>
              <p:nvPr/>
            </p:nvSpPr>
            <p:spPr bwMode="auto">
              <a:xfrm>
                <a:off x="2267" y="2395"/>
                <a:ext cx="214"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5"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7" name="ïṧ1íḑé"/>
              <p:cNvSpPr/>
              <p:nvPr/>
            </p:nvSpPr>
            <p:spPr bwMode="auto">
              <a:xfrm>
                <a:off x="2058" y="2395"/>
                <a:ext cx="215"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8" name="îš1îdè"/>
              <p:cNvSpPr/>
              <p:nvPr/>
            </p:nvSpPr>
            <p:spPr bwMode="auto">
              <a:xfrm>
                <a:off x="1849" y="2395"/>
                <a:ext cx="214"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59" name="ï$lîḓe"/>
              <p:cNvSpPr/>
              <p:nvPr/>
            </p:nvSpPr>
            <p:spPr bwMode="auto">
              <a:xfrm>
                <a:off x="1639" y="2395"/>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0" name="íṡľíḑe"/>
              <p:cNvSpPr/>
              <p:nvPr/>
            </p:nvSpPr>
            <p:spPr bwMode="auto">
              <a:xfrm>
                <a:off x="1430" y="2395"/>
                <a:ext cx="214"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1" name="íṩļîdé"/>
              <p:cNvSpPr/>
              <p:nvPr/>
            </p:nvSpPr>
            <p:spPr bwMode="auto">
              <a:xfrm>
                <a:off x="1221" y="2395"/>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2" name="íṥľiḓé"/>
              <p:cNvSpPr/>
              <p:nvPr/>
            </p:nvSpPr>
            <p:spPr bwMode="auto">
              <a:xfrm>
                <a:off x="1012" y="2395"/>
                <a:ext cx="214"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8" y="433"/>
                      <a:pt x="353" y="433"/>
                    </a:cubicBezTo>
                    <a:cubicBezTo>
                      <a:pt x="158" y="433"/>
                      <a:pt x="0" y="275"/>
                      <a:pt x="0" y="80"/>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3" name="iṧ1íḍe"/>
              <p:cNvSpPr/>
              <p:nvPr/>
            </p:nvSpPr>
            <p:spPr bwMode="auto">
              <a:xfrm>
                <a:off x="803" y="2395"/>
                <a:ext cx="214"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6" y="272"/>
                      <a:pt x="353" y="272"/>
                    </a:cubicBezTo>
                    <a:close/>
                  </a:path>
                </a:pathLst>
              </a:custGeom>
              <a:solidFill>
                <a:srgbClr val="5A90C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4" name="ísļïḋê"/>
              <p:cNvSpPr/>
              <p:nvPr/>
            </p:nvSpPr>
            <p:spPr bwMode="auto">
              <a:xfrm>
                <a:off x="6656" y="2441"/>
                <a:ext cx="214"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8" y="433"/>
                      <a:pt x="353" y="433"/>
                    </a:cubicBezTo>
                    <a:cubicBezTo>
                      <a:pt x="158" y="433"/>
                      <a:pt x="0" y="275"/>
                      <a:pt x="0" y="81"/>
                    </a:cubicBezTo>
                    <a:cubicBezTo>
                      <a:pt x="0" y="53"/>
                      <a:pt x="3" y="26"/>
                      <a:pt x="9"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5" name="ïṩlïḓê"/>
              <p:cNvSpPr/>
              <p:nvPr/>
            </p:nvSpPr>
            <p:spPr bwMode="auto">
              <a:xfrm>
                <a:off x="6447" y="2441"/>
                <a:ext cx="214"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7" y="433"/>
                      <a:pt x="0" y="275"/>
                      <a:pt x="0" y="80"/>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6" name="îṥlïde"/>
              <p:cNvSpPr/>
              <p:nvPr/>
            </p:nvSpPr>
            <p:spPr bwMode="auto">
              <a:xfrm>
                <a:off x="6238" y="2441"/>
                <a:ext cx="214" cy="132"/>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7" name="ïṧḷíḋè"/>
              <p:cNvSpPr/>
              <p:nvPr/>
            </p:nvSpPr>
            <p:spPr bwMode="auto">
              <a:xfrm>
                <a:off x="6029" y="2441"/>
                <a:ext cx="214"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8" name="ïṧľîḍê"/>
              <p:cNvSpPr/>
              <p:nvPr/>
            </p:nvSpPr>
            <p:spPr bwMode="auto">
              <a:xfrm>
                <a:off x="5820" y="2441"/>
                <a:ext cx="214" cy="132"/>
              </a:xfrm>
              <a:custGeom>
                <a:avLst/>
                <a:gdLst>
                  <a:gd name="T0" fmla="*/ 352 w 705"/>
                  <a:gd name="T1" fmla="*/ 272 h 433"/>
                  <a:gd name="T2" fmla="*/ 695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5" y="0"/>
                    </a:cubicBezTo>
                    <a:cubicBezTo>
                      <a:pt x="702" y="26"/>
                      <a:pt x="705" y="53"/>
                      <a:pt x="705" y="81"/>
                    </a:cubicBezTo>
                    <a:cubicBezTo>
                      <a:pt x="705" y="275"/>
                      <a:pt x="547" y="433"/>
                      <a:pt x="352" y="433"/>
                    </a:cubicBezTo>
                    <a:cubicBezTo>
                      <a:pt x="157" y="433"/>
                      <a:pt x="0" y="275"/>
                      <a:pt x="0" y="81"/>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69" name="iSḻíďè"/>
              <p:cNvSpPr/>
              <p:nvPr/>
            </p:nvSpPr>
            <p:spPr bwMode="auto">
              <a:xfrm>
                <a:off x="5611" y="2441"/>
                <a:ext cx="214"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0" name="íś1îḓé"/>
              <p:cNvSpPr/>
              <p:nvPr/>
            </p:nvSpPr>
            <p:spPr bwMode="auto">
              <a:xfrm>
                <a:off x="5402" y="2441"/>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1" name="íṩḻíḍe"/>
              <p:cNvSpPr/>
              <p:nvPr/>
            </p:nvSpPr>
            <p:spPr bwMode="auto">
              <a:xfrm>
                <a:off x="5192" y="2441"/>
                <a:ext cx="215"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2" name="îśḷïḋé"/>
              <p:cNvSpPr/>
              <p:nvPr/>
            </p:nvSpPr>
            <p:spPr bwMode="auto">
              <a:xfrm>
                <a:off x="4985" y="2441"/>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3" name="íSḻidé"/>
              <p:cNvSpPr/>
              <p:nvPr/>
            </p:nvSpPr>
            <p:spPr bwMode="auto">
              <a:xfrm>
                <a:off x="4776" y="2441"/>
                <a:ext cx="214"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8" y="433"/>
                      <a:pt x="353" y="433"/>
                    </a:cubicBezTo>
                    <a:cubicBezTo>
                      <a:pt x="158" y="433"/>
                      <a:pt x="0" y="275"/>
                      <a:pt x="0" y="80"/>
                    </a:cubicBezTo>
                    <a:cubicBezTo>
                      <a:pt x="0" y="53"/>
                      <a:pt x="3" y="26"/>
                      <a:pt x="9"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4" name="îṡ1íḓé"/>
              <p:cNvSpPr/>
              <p:nvPr/>
            </p:nvSpPr>
            <p:spPr bwMode="auto">
              <a:xfrm>
                <a:off x="4567" y="2441"/>
                <a:ext cx="214"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5"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5" name="isļïḍé"/>
              <p:cNvSpPr/>
              <p:nvPr/>
            </p:nvSpPr>
            <p:spPr bwMode="auto">
              <a:xfrm>
                <a:off x="4357" y="2441"/>
                <a:ext cx="215" cy="132"/>
              </a:xfrm>
              <a:custGeom>
                <a:avLst/>
                <a:gdLst>
                  <a:gd name="T0" fmla="*/ 353 w 706"/>
                  <a:gd name="T1" fmla="*/ 272 h 433"/>
                  <a:gd name="T2" fmla="*/ 696 w 706"/>
                  <a:gd name="T3" fmla="*/ 0 h 433"/>
                  <a:gd name="T4" fmla="*/ 706 w 706"/>
                  <a:gd name="T5" fmla="*/ 80 h 433"/>
                  <a:gd name="T6" fmla="*/ 353 w 706"/>
                  <a:gd name="T7" fmla="*/ 433 h 433"/>
                  <a:gd name="T8" fmla="*/ 0 w 706"/>
                  <a:gd name="T9" fmla="*/ 80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0"/>
                    </a:cubicBezTo>
                    <a:cubicBezTo>
                      <a:pt x="706" y="275"/>
                      <a:pt x="548" y="433"/>
                      <a:pt x="353" y="433"/>
                    </a:cubicBezTo>
                    <a:cubicBezTo>
                      <a:pt x="158" y="433"/>
                      <a:pt x="0" y="275"/>
                      <a:pt x="0" y="80"/>
                    </a:cubicBezTo>
                    <a:cubicBezTo>
                      <a:pt x="0" y="53"/>
                      <a:pt x="3" y="26"/>
                      <a:pt x="10"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6" name="iṩ1ïdé"/>
              <p:cNvSpPr/>
              <p:nvPr/>
            </p:nvSpPr>
            <p:spPr bwMode="auto">
              <a:xfrm>
                <a:off x="4148" y="2441"/>
                <a:ext cx="215"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7" name="îṩlíde"/>
              <p:cNvSpPr/>
              <p:nvPr/>
            </p:nvSpPr>
            <p:spPr bwMode="auto">
              <a:xfrm>
                <a:off x="3939" y="2441"/>
                <a:ext cx="215" cy="132"/>
              </a:xfrm>
              <a:custGeom>
                <a:avLst/>
                <a:gdLst>
                  <a:gd name="T0" fmla="*/ 353 w 706"/>
                  <a:gd name="T1" fmla="*/ 272 h 433"/>
                  <a:gd name="T2" fmla="*/ 696 w 706"/>
                  <a:gd name="T3" fmla="*/ 0 h 433"/>
                  <a:gd name="T4" fmla="*/ 706 w 706"/>
                  <a:gd name="T5" fmla="*/ 80 h 433"/>
                  <a:gd name="T6" fmla="*/ 353 w 706"/>
                  <a:gd name="T7" fmla="*/ 433 h 433"/>
                  <a:gd name="T8" fmla="*/ 0 w 706"/>
                  <a:gd name="T9" fmla="*/ 80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0"/>
                    </a:cubicBezTo>
                    <a:cubicBezTo>
                      <a:pt x="706" y="275"/>
                      <a:pt x="548" y="433"/>
                      <a:pt x="353" y="433"/>
                    </a:cubicBezTo>
                    <a:cubicBezTo>
                      <a:pt x="158" y="433"/>
                      <a:pt x="0" y="275"/>
                      <a:pt x="0" y="80"/>
                    </a:cubicBezTo>
                    <a:cubicBezTo>
                      <a:pt x="0" y="53"/>
                      <a:pt x="4" y="26"/>
                      <a:pt x="10"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8" name="i$ḷidê"/>
              <p:cNvSpPr/>
              <p:nvPr/>
            </p:nvSpPr>
            <p:spPr bwMode="auto">
              <a:xfrm>
                <a:off x="3730" y="2441"/>
                <a:ext cx="215"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8" y="433"/>
                      <a:pt x="353" y="433"/>
                    </a:cubicBezTo>
                    <a:cubicBezTo>
                      <a:pt x="158" y="433"/>
                      <a:pt x="0" y="275"/>
                      <a:pt x="0" y="81"/>
                    </a:cubicBezTo>
                    <a:cubicBezTo>
                      <a:pt x="0" y="53"/>
                      <a:pt x="3" y="26"/>
                      <a:pt x="9"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79" name="íślîdè"/>
              <p:cNvSpPr/>
              <p:nvPr/>
            </p:nvSpPr>
            <p:spPr bwMode="auto">
              <a:xfrm>
                <a:off x="3521" y="2441"/>
                <a:ext cx="215"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7" y="433"/>
                      <a:pt x="0" y="275"/>
                      <a:pt x="0" y="80"/>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0" name="îSḷiḍè"/>
              <p:cNvSpPr/>
              <p:nvPr/>
            </p:nvSpPr>
            <p:spPr bwMode="auto">
              <a:xfrm>
                <a:off x="3312" y="2441"/>
                <a:ext cx="215" cy="132"/>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1" name="îŝḻiďê"/>
              <p:cNvSpPr/>
              <p:nvPr/>
            </p:nvSpPr>
            <p:spPr bwMode="auto">
              <a:xfrm>
                <a:off x="3103" y="2441"/>
                <a:ext cx="215"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2" name="îṡḻiḑé"/>
              <p:cNvSpPr/>
              <p:nvPr/>
            </p:nvSpPr>
            <p:spPr bwMode="auto">
              <a:xfrm>
                <a:off x="2894" y="2441"/>
                <a:ext cx="215" cy="132"/>
              </a:xfrm>
              <a:custGeom>
                <a:avLst/>
                <a:gdLst>
                  <a:gd name="T0" fmla="*/ 353 w 706"/>
                  <a:gd name="T1" fmla="*/ 272 h 433"/>
                  <a:gd name="T2" fmla="*/ 696 w 706"/>
                  <a:gd name="T3" fmla="*/ 0 h 433"/>
                  <a:gd name="T4" fmla="*/ 706 w 706"/>
                  <a:gd name="T5" fmla="*/ 81 h 433"/>
                  <a:gd name="T6" fmla="*/ 353 w 706"/>
                  <a:gd name="T7" fmla="*/ 433 h 433"/>
                  <a:gd name="T8" fmla="*/ 0 w 706"/>
                  <a:gd name="T9" fmla="*/ 81 h 433"/>
                  <a:gd name="T10" fmla="*/ 10 w 706"/>
                  <a:gd name="T11" fmla="*/ 0 h 433"/>
                  <a:gd name="T12" fmla="*/ 353 w 706"/>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6" h="433">
                    <a:moveTo>
                      <a:pt x="353" y="272"/>
                    </a:moveTo>
                    <a:cubicBezTo>
                      <a:pt x="520" y="272"/>
                      <a:pt x="660" y="156"/>
                      <a:pt x="696" y="0"/>
                    </a:cubicBezTo>
                    <a:cubicBezTo>
                      <a:pt x="702" y="26"/>
                      <a:pt x="706" y="53"/>
                      <a:pt x="706" y="81"/>
                    </a:cubicBezTo>
                    <a:cubicBezTo>
                      <a:pt x="706" y="275"/>
                      <a:pt x="548" y="433"/>
                      <a:pt x="353" y="433"/>
                    </a:cubicBezTo>
                    <a:cubicBezTo>
                      <a:pt x="158" y="433"/>
                      <a:pt x="0" y="275"/>
                      <a:pt x="0" y="81"/>
                    </a:cubicBezTo>
                    <a:cubicBezTo>
                      <a:pt x="0" y="53"/>
                      <a:pt x="4" y="26"/>
                      <a:pt x="10"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3" name="i$ľïḋè"/>
              <p:cNvSpPr/>
              <p:nvPr/>
            </p:nvSpPr>
            <p:spPr bwMode="auto">
              <a:xfrm>
                <a:off x="2685" y="2441"/>
                <a:ext cx="215" cy="132"/>
              </a:xfrm>
              <a:custGeom>
                <a:avLst/>
                <a:gdLst>
                  <a:gd name="T0" fmla="*/ 352 w 705"/>
                  <a:gd name="T1" fmla="*/ 272 h 433"/>
                  <a:gd name="T2" fmla="*/ 696 w 705"/>
                  <a:gd name="T3" fmla="*/ 0 h 433"/>
                  <a:gd name="T4" fmla="*/ 705 w 705"/>
                  <a:gd name="T5" fmla="*/ 80 h 433"/>
                  <a:gd name="T6" fmla="*/ 352 w 705"/>
                  <a:gd name="T7" fmla="*/ 433 h 433"/>
                  <a:gd name="T8" fmla="*/ 0 w 705"/>
                  <a:gd name="T9" fmla="*/ 80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0"/>
                    </a:cubicBezTo>
                    <a:cubicBezTo>
                      <a:pt x="705" y="275"/>
                      <a:pt x="547" y="433"/>
                      <a:pt x="352" y="433"/>
                    </a:cubicBezTo>
                    <a:cubicBezTo>
                      <a:pt x="158" y="433"/>
                      <a:pt x="0" y="275"/>
                      <a:pt x="0" y="80"/>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4" name="ïš1îḋe"/>
              <p:cNvSpPr/>
              <p:nvPr/>
            </p:nvSpPr>
            <p:spPr bwMode="auto">
              <a:xfrm>
                <a:off x="2476" y="2441"/>
                <a:ext cx="215"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7" y="433"/>
                      <a:pt x="0" y="275"/>
                      <a:pt x="0" y="81"/>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5" name="íṩľîḋe"/>
              <p:cNvSpPr/>
              <p:nvPr/>
            </p:nvSpPr>
            <p:spPr bwMode="auto">
              <a:xfrm>
                <a:off x="2267" y="2441"/>
                <a:ext cx="214"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5"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6" name="ïṩ1ïḓè"/>
              <p:cNvSpPr/>
              <p:nvPr/>
            </p:nvSpPr>
            <p:spPr bwMode="auto">
              <a:xfrm>
                <a:off x="2058" y="2441"/>
                <a:ext cx="215"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7" name="ísľïḑé"/>
              <p:cNvSpPr/>
              <p:nvPr/>
            </p:nvSpPr>
            <p:spPr bwMode="auto">
              <a:xfrm>
                <a:off x="1849" y="2441"/>
                <a:ext cx="214"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8" name="ï$ḷîḍê"/>
              <p:cNvSpPr/>
              <p:nvPr/>
            </p:nvSpPr>
            <p:spPr bwMode="auto">
              <a:xfrm>
                <a:off x="1639" y="2441"/>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19"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89" name="ïṧḷíḋé"/>
              <p:cNvSpPr/>
              <p:nvPr/>
            </p:nvSpPr>
            <p:spPr bwMode="auto">
              <a:xfrm>
                <a:off x="1430" y="2441"/>
                <a:ext cx="214"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7" y="433"/>
                      <a:pt x="353" y="433"/>
                    </a:cubicBezTo>
                    <a:cubicBezTo>
                      <a:pt x="158" y="433"/>
                      <a:pt x="0" y="275"/>
                      <a:pt x="0" y="80"/>
                    </a:cubicBezTo>
                    <a:cubicBezTo>
                      <a:pt x="0" y="53"/>
                      <a:pt x="3" y="26"/>
                      <a:pt x="9"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0" name="íṧľïḑè"/>
              <p:cNvSpPr/>
              <p:nvPr/>
            </p:nvSpPr>
            <p:spPr bwMode="auto">
              <a:xfrm>
                <a:off x="1221" y="2441"/>
                <a:ext cx="214" cy="132"/>
              </a:xfrm>
              <a:custGeom>
                <a:avLst/>
                <a:gdLst>
                  <a:gd name="T0" fmla="*/ 352 w 705"/>
                  <a:gd name="T1" fmla="*/ 272 h 433"/>
                  <a:gd name="T2" fmla="*/ 696 w 705"/>
                  <a:gd name="T3" fmla="*/ 0 h 433"/>
                  <a:gd name="T4" fmla="*/ 705 w 705"/>
                  <a:gd name="T5" fmla="*/ 81 h 433"/>
                  <a:gd name="T6" fmla="*/ 352 w 705"/>
                  <a:gd name="T7" fmla="*/ 433 h 433"/>
                  <a:gd name="T8" fmla="*/ 0 w 705"/>
                  <a:gd name="T9" fmla="*/ 81 h 433"/>
                  <a:gd name="T10" fmla="*/ 9 w 705"/>
                  <a:gd name="T11" fmla="*/ 0 h 433"/>
                  <a:gd name="T12" fmla="*/ 352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2" y="272"/>
                    </a:moveTo>
                    <a:cubicBezTo>
                      <a:pt x="520" y="272"/>
                      <a:pt x="659" y="156"/>
                      <a:pt x="696" y="0"/>
                    </a:cubicBezTo>
                    <a:cubicBezTo>
                      <a:pt x="702" y="26"/>
                      <a:pt x="705" y="53"/>
                      <a:pt x="705" y="81"/>
                    </a:cubicBezTo>
                    <a:cubicBezTo>
                      <a:pt x="705" y="275"/>
                      <a:pt x="547" y="433"/>
                      <a:pt x="352" y="433"/>
                    </a:cubicBezTo>
                    <a:cubicBezTo>
                      <a:pt x="158" y="433"/>
                      <a:pt x="0" y="275"/>
                      <a:pt x="0" y="81"/>
                    </a:cubicBezTo>
                    <a:cubicBezTo>
                      <a:pt x="0" y="53"/>
                      <a:pt x="3" y="26"/>
                      <a:pt x="9" y="0"/>
                    </a:cubicBezTo>
                    <a:cubicBezTo>
                      <a:pt x="45" y="156"/>
                      <a:pt x="185" y="272"/>
                      <a:pt x="352"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1" name="îş1ïḍe"/>
              <p:cNvSpPr/>
              <p:nvPr/>
            </p:nvSpPr>
            <p:spPr bwMode="auto">
              <a:xfrm>
                <a:off x="1012" y="2441"/>
                <a:ext cx="214" cy="132"/>
              </a:xfrm>
              <a:custGeom>
                <a:avLst/>
                <a:gdLst>
                  <a:gd name="T0" fmla="*/ 353 w 705"/>
                  <a:gd name="T1" fmla="*/ 272 h 433"/>
                  <a:gd name="T2" fmla="*/ 696 w 705"/>
                  <a:gd name="T3" fmla="*/ 0 h 433"/>
                  <a:gd name="T4" fmla="*/ 705 w 705"/>
                  <a:gd name="T5" fmla="*/ 80 h 433"/>
                  <a:gd name="T6" fmla="*/ 353 w 705"/>
                  <a:gd name="T7" fmla="*/ 433 h 433"/>
                  <a:gd name="T8" fmla="*/ 0 w 705"/>
                  <a:gd name="T9" fmla="*/ 80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0"/>
                    </a:cubicBezTo>
                    <a:cubicBezTo>
                      <a:pt x="705" y="275"/>
                      <a:pt x="548" y="433"/>
                      <a:pt x="353" y="433"/>
                    </a:cubicBezTo>
                    <a:cubicBezTo>
                      <a:pt x="158" y="433"/>
                      <a:pt x="0" y="275"/>
                      <a:pt x="0" y="80"/>
                    </a:cubicBezTo>
                    <a:cubicBezTo>
                      <a:pt x="0" y="53"/>
                      <a:pt x="3" y="26"/>
                      <a:pt x="9"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2" name="íśļiḑe"/>
              <p:cNvSpPr/>
              <p:nvPr/>
            </p:nvSpPr>
            <p:spPr bwMode="auto">
              <a:xfrm>
                <a:off x="803" y="2441"/>
                <a:ext cx="214" cy="132"/>
              </a:xfrm>
              <a:custGeom>
                <a:avLst/>
                <a:gdLst>
                  <a:gd name="T0" fmla="*/ 353 w 705"/>
                  <a:gd name="T1" fmla="*/ 272 h 433"/>
                  <a:gd name="T2" fmla="*/ 696 w 705"/>
                  <a:gd name="T3" fmla="*/ 0 h 433"/>
                  <a:gd name="T4" fmla="*/ 705 w 705"/>
                  <a:gd name="T5" fmla="*/ 81 h 433"/>
                  <a:gd name="T6" fmla="*/ 353 w 705"/>
                  <a:gd name="T7" fmla="*/ 433 h 433"/>
                  <a:gd name="T8" fmla="*/ 0 w 705"/>
                  <a:gd name="T9" fmla="*/ 81 h 433"/>
                  <a:gd name="T10" fmla="*/ 9 w 705"/>
                  <a:gd name="T11" fmla="*/ 0 h 433"/>
                  <a:gd name="T12" fmla="*/ 353 w 705"/>
                  <a:gd name="T13" fmla="*/ 272 h 433"/>
                </a:gdLst>
                <a:ahLst/>
                <a:cxnLst>
                  <a:cxn ang="0">
                    <a:pos x="T0" y="T1"/>
                  </a:cxn>
                  <a:cxn ang="0">
                    <a:pos x="T2" y="T3"/>
                  </a:cxn>
                  <a:cxn ang="0">
                    <a:pos x="T4" y="T5"/>
                  </a:cxn>
                  <a:cxn ang="0">
                    <a:pos x="T6" y="T7"/>
                  </a:cxn>
                  <a:cxn ang="0">
                    <a:pos x="T8" y="T9"/>
                  </a:cxn>
                  <a:cxn ang="0">
                    <a:pos x="T10" y="T11"/>
                  </a:cxn>
                  <a:cxn ang="0">
                    <a:pos x="T12" y="T13"/>
                  </a:cxn>
                </a:cxnLst>
                <a:rect l="0" t="0" r="r" b="b"/>
                <a:pathLst>
                  <a:path w="705" h="433">
                    <a:moveTo>
                      <a:pt x="353" y="272"/>
                    </a:moveTo>
                    <a:cubicBezTo>
                      <a:pt x="520" y="272"/>
                      <a:pt x="660" y="156"/>
                      <a:pt x="696" y="0"/>
                    </a:cubicBezTo>
                    <a:cubicBezTo>
                      <a:pt x="702" y="26"/>
                      <a:pt x="705" y="53"/>
                      <a:pt x="705" y="81"/>
                    </a:cubicBezTo>
                    <a:cubicBezTo>
                      <a:pt x="705" y="275"/>
                      <a:pt x="547" y="433"/>
                      <a:pt x="353" y="433"/>
                    </a:cubicBezTo>
                    <a:cubicBezTo>
                      <a:pt x="158" y="433"/>
                      <a:pt x="0" y="275"/>
                      <a:pt x="0" y="81"/>
                    </a:cubicBezTo>
                    <a:cubicBezTo>
                      <a:pt x="0" y="53"/>
                      <a:pt x="3" y="26"/>
                      <a:pt x="9" y="0"/>
                    </a:cubicBezTo>
                    <a:cubicBezTo>
                      <a:pt x="46" y="156"/>
                      <a:pt x="186" y="272"/>
                      <a:pt x="353" y="272"/>
                    </a:cubicBezTo>
                    <a:close/>
                  </a:path>
                </a:pathLst>
              </a:custGeom>
              <a:solidFill>
                <a:srgbClr val="BBCD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3" name="islíḓe"/>
              <p:cNvSpPr/>
              <p:nvPr/>
            </p:nvSpPr>
            <p:spPr bwMode="auto">
              <a:xfrm>
                <a:off x="799" y="2173"/>
                <a:ext cx="3356" cy="67"/>
              </a:xfrm>
              <a:prstGeom prst="rect">
                <a:avLst/>
              </a:prstGeom>
              <a:solidFill>
                <a:srgbClr val="908E8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4" name="íṧ1îḓé"/>
              <p:cNvSpPr/>
              <p:nvPr/>
            </p:nvSpPr>
            <p:spPr bwMode="auto">
              <a:xfrm>
                <a:off x="799" y="1936"/>
                <a:ext cx="3356" cy="237"/>
              </a:xfrm>
              <a:prstGeom prst="rect">
                <a:avLst/>
              </a:prstGeom>
              <a:solidFill>
                <a:srgbClr val="7D7B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5" name="iṩ1îḑê"/>
              <p:cNvSpPr/>
              <p:nvPr/>
            </p:nvSpPr>
            <p:spPr bwMode="auto">
              <a:xfrm>
                <a:off x="4097" y="969"/>
                <a:ext cx="433" cy="230"/>
              </a:xfrm>
              <a:custGeom>
                <a:avLst/>
                <a:gdLst>
                  <a:gd name="T0" fmla="*/ 0 w 1424"/>
                  <a:gd name="T1" fmla="*/ 736 h 758"/>
                  <a:gd name="T2" fmla="*/ 23 w 1424"/>
                  <a:gd name="T3" fmla="*/ 758 h 758"/>
                  <a:gd name="T4" fmla="*/ 1402 w 1424"/>
                  <a:gd name="T5" fmla="*/ 758 h 758"/>
                  <a:gd name="T6" fmla="*/ 1424 w 1424"/>
                  <a:gd name="T7" fmla="*/ 736 h 758"/>
                  <a:gd name="T8" fmla="*/ 1424 w 1424"/>
                  <a:gd name="T9" fmla="*/ 22 h 758"/>
                  <a:gd name="T10" fmla="*/ 1402 w 1424"/>
                  <a:gd name="T11" fmla="*/ 0 h 758"/>
                  <a:gd name="T12" fmla="*/ 23 w 1424"/>
                  <a:gd name="T13" fmla="*/ 0 h 758"/>
                  <a:gd name="T14" fmla="*/ 0 w 1424"/>
                  <a:gd name="T15" fmla="*/ 22 h 758"/>
                  <a:gd name="T16" fmla="*/ 0 w 1424"/>
                  <a:gd name="T17" fmla="*/ 736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4" h="758">
                    <a:moveTo>
                      <a:pt x="0" y="736"/>
                    </a:moveTo>
                    <a:cubicBezTo>
                      <a:pt x="0" y="748"/>
                      <a:pt x="10" y="758"/>
                      <a:pt x="23" y="758"/>
                    </a:cubicBezTo>
                    <a:cubicBezTo>
                      <a:pt x="1402" y="758"/>
                      <a:pt x="1402" y="758"/>
                      <a:pt x="1402" y="758"/>
                    </a:cubicBezTo>
                    <a:cubicBezTo>
                      <a:pt x="1414" y="758"/>
                      <a:pt x="1424" y="748"/>
                      <a:pt x="1424" y="736"/>
                    </a:cubicBezTo>
                    <a:cubicBezTo>
                      <a:pt x="1424" y="22"/>
                      <a:pt x="1424" y="22"/>
                      <a:pt x="1424" y="22"/>
                    </a:cubicBezTo>
                    <a:cubicBezTo>
                      <a:pt x="1424" y="10"/>
                      <a:pt x="1414" y="0"/>
                      <a:pt x="1402" y="0"/>
                    </a:cubicBezTo>
                    <a:cubicBezTo>
                      <a:pt x="23" y="0"/>
                      <a:pt x="23" y="0"/>
                      <a:pt x="23" y="0"/>
                    </a:cubicBezTo>
                    <a:cubicBezTo>
                      <a:pt x="10" y="0"/>
                      <a:pt x="0" y="10"/>
                      <a:pt x="0" y="22"/>
                    </a:cubicBezTo>
                    <a:lnTo>
                      <a:pt x="0" y="736"/>
                    </a:lnTo>
                    <a:close/>
                  </a:path>
                </a:pathLst>
              </a:custGeom>
              <a:solidFill>
                <a:srgbClr val="E78D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6" name="ïṩļïḋé"/>
              <p:cNvSpPr/>
              <p:nvPr/>
            </p:nvSpPr>
            <p:spPr bwMode="auto">
              <a:xfrm>
                <a:off x="4481" y="985"/>
                <a:ext cx="27" cy="199"/>
              </a:xfrm>
              <a:custGeom>
                <a:avLst/>
                <a:gdLst>
                  <a:gd name="T0" fmla="*/ 0 w 89"/>
                  <a:gd name="T1" fmla="*/ 612 h 656"/>
                  <a:gd name="T2" fmla="*/ 44 w 89"/>
                  <a:gd name="T3" fmla="*/ 656 h 656"/>
                  <a:gd name="T4" fmla="*/ 44 w 89"/>
                  <a:gd name="T5" fmla="*/ 656 h 656"/>
                  <a:gd name="T6" fmla="*/ 89 w 89"/>
                  <a:gd name="T7" fmla="*/ 612 h 656"/>
                  <a:gd name="T8" fmla="*/ 89 w 89"/>
                  <a:gd name="T9" fmla="*/ 44 h 656"/>
                  <a:gd name="T10" fmla="*/ 44 w 89"/>
                  <a:gd name="T11" fmla="*/ 0 h 656"/>
                  <a:gd name="T12" fmla="*/ 44 w 89"/>
                  <a:gd name="T13" fmla="*/ 0 h 656"/>
                  <a:gd name="T14" fmla="*/ 0 w 89"/>
                  <a:gd name="T15" fmla="*/ 44 h 656"/>
                  <a:gd name="T16" fmla="*/ 0 w 89"/>
                  <a:gd name="T17" fmla="*/ 612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656">
                    <a:moveTo>
                      <a:pt x="0" y="612"/>
                    </a:moveTo>
                    <a:cubicBezTo>
                      <a:pt x="0" y="637"/>
                      <a:pt x="20" y="656"/>
                      <a:pt x="44" y="656"/>
                    </a:cubicBezTo>
                    <a:cubicBezTo>
                      <a:pt x="44" y="656"/>
                      <a:pt x="44" y="656"/>
                      <a:pt x="44" y="656"/>
                    </a:cubicBezTo>
                    <a:cubicBezTo>
                      <a:pt x="69" y="656"/>
                      <a:pt x="89" y="637"/>
                      <a:pt x="89" y="612"/>
                    </a:cubicBezTo>
                    <a:cubicBezTo>
                      <a:pt x="89" y="44"/>
                      <a:pt x="89" y="44"/>
                      <a:pt x="89" y="44"/>
                    </a:cubicBezTo>
                    <a:cubicBezTo>
                      <a:pt x="89" y="20"/>
                      <a:pt x="69" y="0"/>
                      <a:pt x="44" y="0"/>
                    </a:cubicBezTo>
                    <a:cubicBezTo>
                      <a:pt x="44" y="0"/>
                      <a:pt x="44" y="0"/>
                      <a:pt x="44" y="0"/>
                    </a:cubicBezTo>
                    <a:cubicBezTo>
                      <a:pt x="20" y="0"/>
                      <a:pt x="0" y="20"/>
                      <a:pt x="0" y="44"/>
                    </a:cubicBezTo>
                    <a:lnTo>
                      <a:pt x="0" y="6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7" name="îşḻîḋe"/>
              <p:cNvSpPr/>
              <p:nvPr/>
            </p:nvSpPr>
            <p:spPr bwMode="auto">
              <a:xfrm>
                <a:off x="4181" y="985"/>
                <a:ext cx="27" cy="199"/>
              </a:xfrm>
              <a:custGeom>
                <a:avLst/>
                <a:gdLst>
                  <a:gd name="T0" fmla="*/ 0 w 89"/>
                  <a:gd name="T1" fmla="*/ 612 h 656"/>
                  <a:gd name="T2" fmla="*/ 45 w 89"/>
                  <a:gd name="T3" fmla="*/ 656 h 656"/>
                  <a:gd name="T4" fmla="*/ 45 w 89"/>
                  <a:gd name="T5" fmla="*/ 656 h 656"/>
                  <a:gd name="T6" fmla="*/ 89 w 89"/>
                  <a:gd name="T7" fmla="*/ 612 h 656"/>
                  <a:gd name="T8" fmla="*/ 89 w 89"/>
                  <a:gd name="T9" fmla="*/ 44 h 656"/>
                  <a:gd name="T10" fmla="*/ 45 w 89"/>
                  <a:gd name="T11" fmla="*/ 0 h 656"/>
                  <a:gd name="T12" fmla="*/ 45 w 89"/>
                  <a:gd name="T13" fmla="*/ 0 h 656"/>
                  <a:gd name="T14" fmla="*/ 0 w 89"/>
                  <a:gd name="T15" fmla="*/ 44 h 656"/>
                  <a:gd name="T16" fmla="*/ 0 w 89"/>
                  <a:gd name="T17" fmla="*/ 612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656">
                    <a:moveTo>
                      <a:pt x="0" y="612"/>
                    </a:moveTo>
                    <a:cubicBezTo>
                      <a:pt x="0" y="637"/>
                      <a:pt x="20" y="656"/>
                      <a:pt x="45" y="656"/>
                    </a:cubicBezTo>
                    <a:cubicBezTo>
                      <a:pt x="45" y="656"/>
                      <a:pt x="45" y="656"/>
                      <a:pt x="45" y="656"/>
                    </a:cubicBezTo>
                    <a:cubicBezTo>
                      <a:pt x="69" y="656"/>
                      <a:pt x="89" y="637"/>
                      <a:pt x="89" y="612"/>
                    </a:cubicBezTo>
                    <a:cubicBezTo>
                      <a:pt x="89" y="44"/>
                      <a:pt x="89" y="44"/>
                      <a:pt x="89" y="44"/>
                    </a:cubicBezTo>
                    <a:cubicBezTo>
                      <a:pt x="89" y="20"/>
                      <a:pt x="69" y="0"/>
                      <a:pt x="45" y="0"/>
                    </a:cubicBezTo>
                    <a:cubicBezTo>
                      <a:pt x="45" y="0"/>
                      <a:pt x="45" y="0"/>
                      <a:pt x="45" y="0"/>
                    </a:cubicBezTo>
                    <a:cubicBezTo>
                      <a:pt x="20" y="0"/>
                      <a:pt x="0" y="20"/>
                      <a:pt x="0" y="44"/>
                    </a:cubicBezTo>
                    <a:lnTo>
                      <a:pt x="0" y="6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8" name="íṧ1îḍe"/>
              <p:cNvSpPr/>
              <p:nvPr/>
            </p:nvSpPr>
            <p:spPr bwMode="auto">
              <a:xfrm>
                <a:off x="4241" y="985"/>
                <a:ext cx="27" cy="199"/>
              </a:xfrm>
              <a:custGeom>
                <a:avLst/>
                <a:gdLst>
                  <a:gd name="T0" fmla="*/ 0 w 88"/>
                  <a:gd name="T1" fmla="*/ 612 h 656"/>
                  <a:gd name="T2" fmla="*/ 44 w 88"/>
                  <a:gd name="T3" fmla="*/ 656 h 656"/>
                  <a:gd name="T4" fmla="*/ 44 w 88"/>
                  <a:gd name="T5" fmla="*/ 656 h 656"/>
                  <a:gd name="T6" fmla="*/ 88 w 88"/>
                  <a:gd name="T7" fmla="*/ 612 h 656"/>
                  <a:gd name="T8" fmla="*/ 88 w 88"/>
                  <a:gd name="T9" fmla="*/ 44 h 656"/>
                  <a:gd name="T10" fmla="*/ 44 w 88"/>
                  <a:gd name="T11" fmla="*/ 0 h 656"/>
                  <a:gd name="T12" fmla="*/ 44 w 88"/>
                  <a:gd name="T13" fmla="*/ 0 h 656"/>
                  <a:gd name="T14" fmla="*/ 0 w 88"/>
                  <a:gd name="T15" fmla="*/ 44 h 656"/>
                  <a:gd name="T16" fmla="*/ 0 w 88"/>
                  <a:gd name="T17" fmla="*/ 612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656">
                    <a:moveTo>
                      <a:pt x="0" y="612"/>
                    </a:moveTo>
                    <a:cubicBezTo>
                      <a:pt x="0" y="637"/>
                      <a:pt x="20" y="656"/>
                      <a:pt x="44" y="656"/>
                    </a:cubicBezTo>
                    <a:cubicBezTo>
                      <a:pt x="44" y="656"/>
                      <a:pt x="44" y="656"/>
                      <a:pt x="44" y="656"/>
                    </a:cubicBezTo>
                    <a:cubicBezTo>
                      <a:pt x="69" y="656"/>
                      <a:pt x="88" y="637"/>
                      <a:pt x="88" y="612"/>
                    </a:cubicBezTo>
                    <a:cubicBezTo>
                      <a:pt x="88" y="44"/>
                      <a:pt x="88" y="44"/>
                      <a:pt x="88" y="44"/>
                    </a:cubicBezTo>
                    <a:cubicBezTo>
                      <a:pt x="88" y="20"/>
                      <a:pt x="69" y="0"/>
                      <a:pt x="44" y="0"/>
                    </a:cubicBezTo>
                    <a:cubicBezTo>
                      <a:pt x="44" y="0"/>
                      <a:pt x="44" y="0"/>
                      <a:pt x="44" y="0"/>
                    </a:cubicBezTo>
                    <a:cubicBezTo>
                      <a:pt x="20" y="0"/>
                      <a:pt x="0" y="20"/>
                      <a:pt x="0" y="44"/>
                    </a:cubicBezTo>
                    <a:lnTo>
                      <a:pt x="0" y="6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9" name="íş1íḍê"/>
              <p:cNvSpPr/>
              <p:nvPr/>
            </p:nvSpPr>
            <p:spPr bwMode="auto">
              <a:xfrm>
                <a:off x="4301" y="985"/>
                <a:ext cx="27" cy="199"/>
              </a:xfrm>
              <a:custGeom>
                <a:avLst/>
                <a:gdLst>
                  <a:gd name="T0" fmla="*/ 0 w 89"/>
                  <a:gd name="T1" fmla="*/ 612 h 656"/>
                  <a:gd name="T2" fmla="*/ 44 w 89"/>
                  <a:gd name="T3" fmla="*/ 656 h 656"/>
                  <a:gd name="T4" fmla="*/ 44 w 89"/>
                  <a:gd name="T5" fmla="*/ 656 h 656"/>
                  <a:gd name="T6" fmla="*/ 89 w 89"/>
                  <a:gd name="T7" fmla="*/ 612 h 656"/>
                  <a:gd name="T8" fmla="*/ 89 w 89"/>
                  <a:gd name="T9" fmla="*/ 44 h 656"/>
                  <a:gd name="T10" fmla="*/ 44 w 89"/>
                  <a:gd name="T11" fmla="*/ 0 h 656"/>
                  <a:gd name="T12" fmla="*/ 44 w 89"/>
                  <a:gd name="T13" fmla="*/ 0 h 656"/>
                  <a:gd name="T14" fmla="*/ 0 w 89"/>
                  <a:gd name="T15" fmla="*/ 44 h 656"/>
                  <a:gd name="T16" fmla="*/ 0 w 89"/>
                  <a:gd name="T17" fmla="*/ 612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656">
                    <a:moveTo>
                      <a:pt x="0" y="612"/>
                    </a:moveTo>
                    <a:cubicBezTo>
                      <a:pt x="0" y="637"/>
                      <a:pt x="20" y="656"/>
                      <a:pt x="44" y="656"/>
                    </a:cubicBezTo>
                    <a:cubicBezTo>
                      <a:pt x="44" y="656"/>
                      <a:pt x="44" y="656"/>
                      <a:pt x="44" y="656"/>
                    </a:cubicBezTo>
                    <a:cubicBezTo>
                      <a:pt x="69" y="656"/>
                      <a:pt x="89" y="637"/>
                      <a:pt x="89" y="612"/>
                    </a:cubicBezTo>
                    <a:cubicBezTo>
                      <a:pt x="89" y="44"/>
                      <a:pt x="89" y="44"/>
                      <a:pt x="89" y="44"/>
                    </a:cubicBezTo>
                    <a:cubicBezTo>
                      <a:pt x="89" y="20"/>
                      <a:pt x="69" y="0"/>
                      <a:pt x="44" y="0"/>
                    </a:cubicBezTo>
                    <a:cubicBezTo>
                      <a:pt x="44" y="0"/>
                      <a:pt x="44" y="0"/>
                      <a:pt x="44" y="0"/>
                    </a:cubicBezTo>
                    <a:cubicBezTo>
                      <a:pt x="20" y="0"/>
                      <a:pt x="0" y="20"/>
                      <a:pt x="0" y="44"/>
                    </a:cubicBezTo>
                    <a:lnTo>
                      <a:pt x="0" y="6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0" name="íşlîḓê"/>
              <p:cNvSpPr/>
              <p:nvPr/>
            </p:nvSpPr>
            <p:spPr bwMode="auto">
              <a:xfrm>
                <a:off x="4361" y="985"/>
                <a:ext cx="27" cy="199"/>
              </a:xfrm>
              <a:custGeom>
                <a:avLst/>
                <a:gdLst>
                  <a:gd name="T0" fmla="*/ 0 w 89"/>
                  <a:gd name="T1" fmla="*/ 612 h 656"/>
                  <a:gd name="T2" fmla="*/ 45 w 89"/>
                  <a:gd name="T3" fmla="*/ 656 h 656"/>
                  <a:gd name="T4" fmla="*/ 45 w 89"/>
                  <a:gd name="T5" fmla="*/ 656 h 656"/>
                  <a:gd name="T6" fmla="*/ 89 w 89"/>
                  <a:gd name="T7" fmla="*/ 612 h 656"/>
                  <a:gd name="T8" fmla="*/ 89 w 89"/>
                  <a:gd name="T9" fmla="*/ 44 h 656"/>
                  <a:gd name="T10" fmla="*/ 45 w 89"/>
                  <a:gd name="T11" fmla="*/ 0 h 656"/>
                  <a:gd name="T12" fmla="*/ 45 w 89"/>
                  <a:gd name="T13" fmla="*/ 0 h 656"/>
                  <a:gd name="T14" fmla="*/ 0 w 89"/>
                  <a:gd name="T15" fmla="*/ 44 h 656"/>
                  <a:gd name="T16" fmla="*/ 0 w 89"/>
                  <a:gd name="T17" fmla="*/ 612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656">
                    <a:moveTo>
                      <a:pt x="0" y="612"/>
                    </a:moveTo>
                    <a:cubicBezTo>
                      <a:pt x="0" y="637"/>
                      <a:pt x="20" y="656"/>
                      <a:pt x="45" y="656"/>
                    </a:cubicBezTo>
                    <a:cubicBezTo>
                      <a:pt x="45" y="656"/>
                      <a:pt x="45" y="656"/>
                      <a:pt x="45" y="656"/>
                    </a:cubicBezTo>
                    <a:cubicBezTo>
                      <a:pt x="69" y="656"/>
                      <a:pt x="89" y="637"/>
                      <a:pt x="89" y="612"/>
                    </a:cubicBezTo>
                    <a:cubicBezTo>
                      <a:pt x="89" y="44"/>
                      <a:pt x="89" y="44"/>
                      <a:pt x="89" y="44"/>
                    </a:cubicBezTo>
                    <a:cubicBezTo>
                      <a:pt x="89" y="20"/>
                      <a:pt x="69" y="0"/>
                      <a:pt x="45" y="0"/>
                    </a:cubicBezTo>
                    <a:cubicBezTo>
                      <a:pt x="45" y="0"/>
                      <a:pt x="45" y="0"/>
                      <a:pt x="45" y="0"/>
                    </a:cubicBezTo>
                    <a:cubicBezTo>
                      <a:pt x="20" y="0"/>
                      <a:pt x="0" y="20"/>
                      <a:pt x="0" y="44"/>
                    </a:cubicBezTo>
                    <a:lnTo>
                      <a:pt x="0" y="6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1" name="ïšḷîḋe"/>
              <p:cNvSpPr/>
              <p:nvPr/>
            </p:nvSpPr>
            <p:spPr bwMode="auto">
              <a:xfrm>
                <a:off x="4421" y="985"/>
                <a:ext cx="27" cy="199"/>
              </a:xfrm>
              <a:custGeom>
                <a:avLst/>
                <a:gdLst>
                  <a:gd name="T0" fmla="*/ 0 w 88"/>
                  <a:gd name="T1" fmla="*/ 612 h 656"/>
                  <a:gd name="T2" fmla="*/ 44 w 88"/>
                  <a:gd name="T3" fmla="*/ 656 h 656"/>
                  <a:gd name="T4" fmla="*/ 44 w 88"/>
                  <a:gd name="T5" fmla="*/ 656 h 656"/>
                  <a:gd name="T6" fmla="*/ 88 w 88"/>
                  <a:gd name="T7" fmla="*/ 612 h 656"/>
                  <a:gd name="T8" fmla="*/ 88 w 88"/>
                  <a:gd name="T9" fmla="*/ 44 h 656"/>
                  <a:gd name="T10" fmla="*/ 44 w 88"/>
                  <a:gd name="T11" fmla="*/ 0 h 656"/>
                  <a:gd name="T12" fmla="*/ 44 w 88"/>
                  <a:gd name="T13" fmla="*/ 0 h 656"/>
                  <a:gd name="T14" fmla="*/ 0 w 88"/>
                  <a:gd name="T15" fmla="*/ 44 h 656"/>
                  <a:gd name="T16" fmla="*/ 0 w 88"/>
                  <a:gd name="T17" fmla="*/ 612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656">
                    <a:moveTo>
                      <a:pt x="0" y="612"/>
                    </a:moveTo>
                    <a:cubicBezTo>
                      <a:pt x="0" y="637"/>
                      <a:pt x="20" y="656"/>
                      <a:pt x="44" y="656"/>
                    </a:cubicBezTo>
                    <a:cubicBezTo>
                      <a:pt x="44" y="656"/>
                      <a:pt x="44" y="656"/>
                      <a:pt x="44" y="656"/>
                    </a:cubicBezTo>
                    <a:cubicBezTo>
                      <a:pt x="69" y="656"/>
                      <a:pt x="88" y="637"/>
                      <a:pt x="88" y="612"/>
                    </a:cubicBezTo>
                    <a:cubicBezTo>
                      <a:pt x="88" y="44"/>
                      <a:pt x="88" y="44"/>
                      <a:pt x="88" y="44"/>
                    </a:cubicBezTo>
                    <a:cubicBezTo>
                      <a:pt x="88" y="20"/>
                      <a:pt x="69" y="0"/>
                      <a:pt x="44" y="0"/>
                    </a:cubicBezTo>
                    <a:cubicBezTo>
                      <a:pt x="44" y="0"/>
                      <a:pt x="44" y="0"/>
                      <a:pt x="44" y="0"/>
                    </a:cubicBezTo>
                    <a:cubicBezTo>
                      <a:pt x="20" y="0"/>
                      <a:pt x="0" y="20"/>
                      <a:pt x="0" y="44"/>
                    </a:cubicBezTo>
                    <a:lnTo>
                      <a:pt x="0" y="6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2" name="îsḷîďê"/>
              <p:cNvSpPr/>
              <p:nvPr/>
            </p:nvSpPr>
            <p:spPr bwMode="auto">
              <a:xfrm>
                <a:off x="4121" y="985"/>
                <a:ext cx="27" cy="199"/>
              </a:xfrm>
              <a:custGeom>
                <a:avLst/>
                <a:gdLst>
                  <a:gd name="T0" fmla="*/ 0 w 89"/>
                  <a:gd name="T1" fmla="*/ 612 h 656"/>
                  <a:gd name="T2" fmla="*/ 44 w 89"/>
                  <a:gd name="T3" fmla="*/ 656 h 656"/>
                  <a:gd name="T4" fmla="*/ 44 w 89"/>
                  <a:gd name="T5" fmla="*/ 656 h 656"/>
                  <a:gd name="T6" fmla="*/ 89 w 89"/>
                  <a:gd name="T7" fmla="*/ 612 h 656"/>
                  <a:gd name="T8" fmla="*/ 89 w 89"/>
                  <a:gd name="T9" fmla="*/ 44 h 656"/>
                  <a:gd name="T10" fmla="*/ 44 w 89"/>
                  <a:gd name="T11" fmla="*/ 0 h 656"/>
                  <a:gd name="T12" fmla="*/ 44 w 89"/>
                  <a:gd name="T13" fmla="*/ 0 h 656"/>
                  <a:gd name="T14" fmla="*/ 0 w 89"/>
                  <a:gd name="T15" fmla="*/ 44 h 656"/>
                  <a:gd name="T16" fmla="*/ 0 w 89"/>
                  <a:gd name="T17" fmla="*/ 612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656">
                    <a:moveTo>
                      <a:pt x="0" y="612"/>
                    </a:moveTo>
                    <a:cubicBezTo>
                      <a:pt x="0" y="637"/>
                      <a:pt x="20" y="656"/>
                      <a:pt x="44" y="656"/>
                    </a:cubicBezTo>
                    <a:cubicBezTo>
                      <a:pt x="44" y="656"/>
                      <a:pt x="44" y="656"/>
                      <a:pt x="44" y="656"/>
                    </a:cubicBezTo>
                    <a:cubicBezTo>
                      <a:pt x="69" y="656"/>
                      <a:pt x="89" y="637"/>
                      <a:pt x="89" y="612"/>
                    </a:cubicBezTo>
                    <a:cubicBezTo>
                      <a:pt x="89" y="44"/>
                      <a:pt x="89" y="44"/>
                      <a:pt x="89" y="44"/>
                    </a:cubicBezTo>
                    <a:cubicBezTo>
                      <a:pt x="89" y="20"/>
                      <a:pt x="69" y="0"/>
                      <a:pt x="44" y="0"/>
                    </a:cubicBezTo>
                    <a:cubicBezTo>
                      <a:pt x="44" y="0"/>
                      <a:pt x="44" y="0"/>
                      <a:pt x="44" y="0"/>
                    </a:cubicBezTo>
                    <a:cubicBezTo>
                      <a:pt x="20" y="0"/>
                      <a:pt x="0" y="20"/>
                      <a:pt x="0" y="44"/>
                    </a:cubicBezTo>
                    <a:lnTo>
                      <a:pt x="0" y="612"/>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3" name="iṣļïḋê"/>
              <p:cNvSpPr/>
              <p:nvPr/>
            </p:nvSpPr>
            <p:spPr bwMode="auto">
              <a:xfrm>
                <a:off x="1178" y="1699"/>
                <a:ext cx="433" cy="230"/>
              </a:xfrm>
              <a:custGeom>
                <a:avLst/>
                <a:gdLst>
                  <a:gd name="T0" fmla="*/ 1422 w 1422"/>
                  <a:gd name="T1" fmla="*/ 735 h 757"/>
                  <a:gd name="T2" fmla="*/ 1400 w 1422"/>
                  <a:gd name="T3" fmla="*/ 757 h 757"/>
                  <a:gd name="T4" fmla="*/ 23 w 1422"/>
                  <a:gd name="T5" fmla="*/ 757 h 757"/>
                  <a:gd name="T6" fmla="*/ 0 w 1422"/>
                  <a:gd name="T7" fmla="*/ 735 h 757"/>
                  <a:gd name="T8" fmla="*/ 0 w 1422"/>
                  <a:gd name="T9" fmla="*/ 22 h 757"/>
                  <a:gd name="T10" fmla="*/ 23 w 1422"/>
                  <a:gd name="T11" fmla="*/ 0 h 757"/>
                  <a:gd name="T12" fmla="*/ 1400 w 1422"/>
                  <a:gd name="T13" fmla="*/ 0 h 757"/>
                  <a:gd name="T14" fmla="*/ 1422 w 1422"/>
                  <a:gd name="T15" fmla="*/ 22 h 757"/>
                  <a:gd name="T16" fmla="*/ 1422 w 1422"/>
                  <a:gd name="T17" fmla="*/ 735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2" h="757">
                    <a:moveTo>
                      <a:pt x="1422" y="735"/>
                    </a:moveTo>
                    <a:cubicBezTo>
                      <a:pt x="1422" y="747"/>
                      <a:pt x="1412" y="757"/>
                      <a:pt x="1400" y="757"/>
                    </a:cubicBezTo>
                    <a:cubicBezTo>
                      <a:pt x="23" y="757"/>
                      <a:pt x="23" y="757"/>
                      <a:pt x="23" y="757"/>
                    </a:cubicBezTo>
                    <a:cubicBezTo>
                      <a:pt x="10" y="757"/>
                      <a:pt x="0" y="747"/>
                      <a:pt x="0" y="735"/>
                    </a:cubicBezTo>
                    <a:cubicBezTo>
                      <a:pt x="0" y="22"/>
                      <a:pt x="0" y="22"/>
                      <a:pt x="0" y="22"/>
                    </a:cubicBezTo>
                    <a:cubicBezTo>
                      <a:pt x="0" y="10"/>
                      <a:pt x="10" y="0"/>
                      <a:pt x="23" y="0"/>
                    </a:cubicBezTo>
                    <a:cubicBezTo>
                      <a:pt x="1400" y="0"/>
                      <a:pt x="1400" y="0"/>
                      <a:pt x="1400" y="0"/>
                    </a:cubicBezTo>
                    <a:cubicBezTo>
                      <a:pt x="1412" y="0"/>
                      <a:pt x="1422" y="10"/>
                      <a:pt x="1422" y="22"/>
                    </a:cubicBezTo>
                    <a:lnTo>
                      <a:pt x="1422" y="735"/>
                    </a:lnTo>
                    <a:close/>
                  </a:path>
                </a:pathLst>
              </a:custGeom>
              <a:solidFill>
                <a:srgbClr val="1090B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4" name="íṥ1ïḋé"/>
              <p:cNvSpPr/>
              <p:nvPr/>
            </p:nvSpPr>
            <p:spPr bwMode="auto">
              <a:xfrm>
                <a:off x="1201" y="1715"/>
                <a:ext cx="26" cy="200"/>
              </a:xfrm>
              <a:custGeom>
                <a:avLst/>
                <a:gdLst>
                  <a:gd name="T0" fmla="*/ 88 w 88"/>
                  <a:gd name="T1" fmla="*/ 611 h 656"/>
                  <a:gd name="T2" fmla="*/ 44 w 88"/>
                  <a:gd name="T3" fmla="*/ 656 h 656"/>
                  <a:gd name="T4" fmla="*/ 44 w 88"/>
                  <a:gd name="T5" fmla="*/ 656 h 656"/>
                  <a:gd name="T6" fmla="*/ 0 w 88"/>
                  <a:gd name="T7" fmla="*/ 611 h 656"/>
                  <a:gd name="T8" fmla="*/ 0 w 88"/>
                  <a:gd name="T9" fmla="*/ 45 h 656"/>
                  <a:gd name="T10" fmla="*/ 44 w 88"/>
                  <a:gd name="T11" fmla="*/ 0 h 656"/>
                  <a:gd name="T12" fmla="*/ 44 w 88"/>
                  <a:gd name="T13" fmla="*/ 0 h 656"/>
                  <a:gd name="T14" fmla="*/ 88 w 88"/>
                  <a:gd name="T15" fmla="*/ 45 h 656"/>
                  <a:gd name="T16" fmla="*/ 88 w 88"/>
                  <a:gd name="T17" fmla="*/ 611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656">
                    <a:moveTo>
                      <a:pt x="88" y="611"/>
                    </a:moveTo>
                    <a:cubicBezTo>
                      <a:pt x="88" y="636"/>
                      <a:pt x="68" y="656"/>
                      <a:pt x="44" y="656"/>
                    </a:cubicBezTo>
                    <a:cubicBezTo>
                      <a:pt x="44" y="656"/>
                      <a:pt x="44" y="656"/>
                      <a:pt x="44" y="656"/>
                    </a:cubicBezTo>
                    <a:cubicBezTo>
                      <a:pt x="19" y="656"/>
                      <a:pt x="0" y="636"/>
                      <a:pt x="0" y="611"/>
                    </a:cubicBezTo>
                    <a:cubicBezTo>
                      <a:pt x="0" y="45"/>
                      <a:pt x="0" y="45"/>
                      <a:pt x="0" y="45"/>
                    </a:cubicBezTo>
                    <a:cubicBezTo>
                      <a:pt x="0" y="20"/>
                      <a:pt x="19" y="0"/>
                      <a:pt x="44" y="0"/>
                    </a:cubicBezTo>
                    <a:cubicBezTo>
                      <a:pt x="44" y="0"/>
                      <a:pt x="44" y="0"/>
                      <a:pt x="44" y="0"/>
                    </a:cubicBezTo>
                    <a:cubicBezTo>
                      <a:pt x="68" y="0"/>
                      <a:pt x="88" y="20"/>
                      <a:pt x="88" y="45"/>
                    </a:cubicBezTo>
                    <a:lnTo>
                      <a:pt x="88" y="61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5" name="ïṩḻîḍè"/>
              <p:cNvSpPr/>
              <p:nvPr/>
            </p:nvSpPr>
            <p:spPr bwMode="auto">
              <a:xfrm>
                <a:off x="1500" y="1715"/>
                <a:ext cx="27" cy="200"/>
              </a:xfrm>
              <a:custGeom>
                <a:avLst/>
                <a:gdLst>
                  <a:gd name="T0" fmla="*/ 88 w 88"/>
                  <a:gd name="T1" fmla="*/ 611 h 656"/>
                  <a:gd name="T2" fmla="*/ 44 w 88"/>
                  <a:gd name="T3" fmla="*/ 656 h 656"/>
                  <a:gd name="T4" fmla="*/ 44 w 88"/>
                  <a:gd name="T5" fmla="*/ 656 h 656"/>
                  <a:gd name="T6" fmla="*/ 0 w 88"/>
                  <a:gd name="T7" fmla="*/ 611 h 656"/>
                  <a:gd name="T8" fmla="*/ 0 w 88"/>
                  <a:gd name="T9" fmla="*/ 45 h 656"/>
                  <a:gd name="T10" fmla="*/ 44 w 88"/>
                  <a:gd name="T11" fmla="*/ 0 h 656"/>
                  <a:gd name="T12" fmla="*/ 44 w 88"/>
                  <a:gd name="T13" fmla="*/ 0 h 656"/>
                  <a:gd name="T14" fmla="*/ 88 w 88"/>
                  <a:gd name="T15" fmla="*/ 45 h 656"/>
                  <a:gd name="T16" fmla="*/ 88 w 88"/>
                  <a:gd name="T17" fmla="*/ 611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656">
                    <a:moveTo>
                      <a:pt x="88" y="611"/>
                    </a:moveTo>
                    <a:cubicBezTo>
                      <a:pt x="88" y="636"/>
                      <a:pt x="69" y="656"/>
                      <a:pt x="44" y="656"/>
                    </a:cubicBezTo>
                    <a:cubicBezTo>
                      <a:pt x="44" y="656"/>
                      <a:pt x="44" y="656"/>
                      <a:pt x="44" y="656"/>
                    </a:cubicBezTo>
                    <a:cubicBezTo>
                      <a:pt x="20" y="656"/>
                      <a:pt x="0" y="636"/>
                      <a:pt x="0" y="611"/>
                    </a:cubicBezTo>
                    <a:cubicBezTo>
                      <a:pt x="0" y="45"/>
                      <a:pt x="0" y="45"/>
                      <a:pt x="0" y="45"/>
                    </a:cubicBezTo>
                    <a:cubicBezTo>
                      <a:pt x="0" y="20"/>
                      <a:pt x="20" y="0"/>
                      <a:pt x="44" y="0"/>
                    </a:cubicBezTo>
                    <a:cubicBezTo>
                      <a:pt x="44" y="0"/>
                      <a:pt x="44" y="0"/>
                      <a:pt x="44" y="0"/>
                    </a:cubicBezTo>
                    <a:cubicBezTo>
                      <a:pt x="69" y="0"/>
                      <a:pt x="88" y="20"/>
                      <a:pt x="88" y="45"/>
                    </a:cubicBezTo>
                    <a:lnTo>
                      <a:pt x="88" y="61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6" name="íS1iḓè"/>
              <p:cNvSpPr/>
              <p:nvPr/>
            </p:nvSpPr>
            <p:spPr bwMode="auto">
              <a:xfrm>
                <a:off x="1440" y="1715"/>
                <a:ext cx="27" cy="200"/>
              </a:xfrm>
              <a:custGeom>
                <a:avLst/>
                <a:gdLst>
                  <a:gd name="T0" fmla="*/ 88 w 88"/>
                  <a:gd name="T1" fmla="*/ 611 h 656"/>
                  <a:gd name="T2" fmla="*/ 44 w 88"/>
                  <a:gd name="T3" fmla="*/ 656 h 656"/>
                  <a:gd name="T4" fmla="*/ 44 w 88"/>
                  <a:gd name="T5" fmla="*/ 656 h 656"/>
                  <a:gd name="T6" fmla="*/ 0 w 88"/>
                  <a:gd name="T7" fmla="*/ 611 h 656"/>
                  <a:gd name="T8" fmla="*/ 0 w 88"/>
                  <a:gd name="T9" fmla="*/ 45 h 656"/>
                  <a:gd name="T10" fmla="*/ 44 w 88"/>
                  <a:gd name="T11" fmla="*/ 0 h 656"/>
                  <a:gd name="T12" fmla="*/ 44 w 88"/>
                  <a:gd name="T13" fmla="*/ 0 h 656"/>
                  <a:gd name="T14" fmla="*/ 88 w 88"/>
                  <a:gd name="T15" fmla="*/ 45 h 656"/>
                  <a:gd name="T16" fmla="*/ 88 w 88"/>
                  <a:gd name="T17" fmla="*/ 611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656">
                    <a:moveTo>
                      <a:pt x="88" y="611"/>
                    </a:moveTo>
                    <a:cubicBezTo>
                      <a:pt x="88" y="636"/>
                      <a:pt x="69" y="656"/>
                      <a:pt x="44" y="656"/>
                    </a:cubicBezTo>
                    <a:cubicBezTo>
                      <a:pt x="44" y="656"/>
                      <a:pt x="44" y="656"/>
                      <a:pt x="44" y="656"/>
                    </a:cubicBezTo>
                    <a:cubicBezTo>
                      <a:pt x="20" y="656"/>
                      <a:pt x="0" y="636"/>
                      <a:pt x="0" y="611"/>
                    </a:cubicBezTo>
                    <a:cubicBezTo>
                      <a:pt x="0" y="45"/>
                      <a:pt x="0" y="45"/>
                      <a:pt x="0" y="45"/>
                    </a:cubicBezTo>
                    <a:cubicBezTo>
                      <a:pt x="0" y="20"/>
                      <a:pt x="20" y="0"/>
                      <a:pt x="44" y="0"/>
                    </a:cubicBezTo>
                    <a:cubicBezTo>
                      <a:pt x="44" y="0"/>
                      <a:pt x="44" y="0"/>
                      <a:pt x="44" y="0"/>
                    </a:cubicBezTo>
                    <a:cubicBezTo>
                      <a:pt x="69" y="0"/>
                      <a:pt x="88" y="20"/>
                      <a:pt x="88" y="45"/>
                    </a:cubicBezTo>
                    <a:lnTo>
                      <a:pt x="88" y="61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7" name="íŝľide"/>
              <p:cNvSpPr/>
              <p:nvPr/>
            </p:nvSpPr>
            <p:spPr bwMode="auto">
              <a:xfrm>
                <a:off x="1380" y="1715"/>
                <a:ext cx="27" cy="200"/>
              </a:xfrm>
              <a:custGeom>
                <a:avLst/>
                <a:gdLst>
                  <a:gd name="T0" fmla="*/ 88 w 88"/>
                  <a:gd name="T1" fmla="*/ 611 h 656"/>
                  <a:gd name="T2" fmla="*/ 44 w 88"/>
                  <a:gd name="T3" fmla="*/ 656 h 656"/>
                  <a:gd name="T4" fmla="*/ 44 w 88"/>
                  <a:gd name="T5" fmla="*/ 656 h 656"/>
                  <a:gd name="T6" fmla="*/ 0 w 88"/>
                  <a:gd name="T7" fmla="*/ 611 h 656"/>
                  <a:gd name="T8" fmla="*/ 0 w 88"/>
                  <a:gd name="T9" fmla="*/ 45 h 656"/>
                  <a:gd name="T10" fmla="*/ 44 w 88"/>
                  <a:gd name="T11" fmla="*/ 0 h 656"/>
                  <a:gd name="T12" fmla="*/ 44 w 88"/>
                  <a:gd name="T13" fmla="*/ 0 h 656"/>
                  <a:gd name="T14" fmla="*/ 88 w 88"/>
                  <a:gd name="T15" fmla="*/ 45 h 656"/>
                  <a:gd name="T16" fmla="*/ 88 w 88"/>
                  <a:gd name="T17" fmla="*/ 611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656">
                    <a:moveTo>
                      <a:pt x="88" y="611"/>
                    </a:moveTo>
                    <a:cubicBezTo>
                      <a:pt x="88" y="636"/>
                      <a:pt x="68" y="656"/>
                      <a:pt x="44" y="656"/>
                    </a:cubicBezTo>
                    <a:cubicBezTo>
                      <a:pt x="44" y="656"/>
                      <a:pt x="44" y="656"/>
                      <a:pt x="44" y="656"/>
                    </a:cubicBezTo>
                    <a:cubicBezTo>
                      <a:pt x="20" y="656"/>
                      <a:pt x="0" y="636"/>
                      <a:pt x="0" y="611"/>
                    </a:cubicBezTo>
                    <a:cubicBezTo>
                      <a:pt x="0" y="45"/>
                      <a:pt x="0" y="45"/>
                      <a:pt x="0" y="45"/>
                    </a:cubicBezTo>
                    <a:cubicBezTo>
                      <a:pt x="0" y="20"/>
                      <a:pt x="20" y="0"/>
                      <a:pt x="44" y="0"/>
                    </a:cubicBezTo>
                    <a:cubicBezTo>
                      <a:pt x="44" y="0"/>
                      <a:pt x="44" y="0"/>
                      <a:pt x="44" y="0"/>
                    </a:cubicBezTo>
                    <a:cubicBezTo>
                      <a:pt x="68" y="0"/>
                      <a:pt x="88" y="20"/>
                      <a:pt x="88" y="45"/>
                    </a:cubicBezTo>
                    <a:lnTo>
                      <a:pt x="88" y="61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37" name="íṣ1iḋê"/>
            <p:cNvSpPr/>
            <p:nvPr/>
          </p:nvSpPr>
          <p:spPr bwMode="auto">
            <a:xfrm>
              <a:off x="3730151" y="3450499"/>
              <a:ext cx="26816" cy="206278"/>
            </a:xfrm>
            <a:custGeom>
              <a:avLst/>
              <a:gdLst>
                <a:gd name="T0" fmla="*/ 88 w 88"/>
                <a:gd name="T1" fmla="*/ 611 h 656"/>
                <a:gd name="T2" fmla="*/ 44 w 88"/>
                <a:gd name="T3" fmla="*/ 656 h 656"/>
                <a:gd name="T4" fmla="*/ 44 w 88"/>
                <a:gd name="T5" fmla="*/ 656 h 656"/>
                <a:gd name="T6" fmla="*/ 0 w 88"/>
                <a:gd name="T7" fmla="*/ 611 h 656"/>
                <a:gd name="T8" fmla="*/ 0 w 88"/>
                <a:gd name="T9" fmla="*/ 45 h 656"/>
                <a:gd name="T10" fmla="*/ 44 w 88"/>
                <a:gd name="T11" fmla="*/ 0 h 656"/>
                <a:gd name="T12" fmla="*/ 44 w 88"/>
                <a:gd name="T13" fmla="*/ 0 h 656"/>
                <a:gd name="T14" fmla="*/ 88 w 88"/>
                <a:gd name="T15" fmla="*/ 45 h 656"/>
                <a:gd name="T16" fmla="*/ 88 w 88"/>
                <a:gd name="T17" fmla="*/ 611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656">
                  <a:moveTo>
                    <a:pt x="88" y="611"/>
                  </a:moveTo>
                  <a:cubicBezTo>
                    <a:pt x="88" y="636"/>
                    <a:pt x="68" y="656"/>
                    <a:pt x="44" y="656"/>
                  </a:cubicBezTo>
                  <a:cubicBezTo>
                    <a:pt x="44" y="656"/>
                    <a:pt x="44" y="656"/>
                    <a:pt x="44" y="656"/>
                  </a:cubicBezTo>
                  <a:cubicBezTo>
                    <a:pt x="19" y="656"/>
                    <a:pt x="0" y="636"/>
                    <a:pt x="0" y="611"/>
                  </a:cubicBezTo>
                  <a:cubicBezTo>
                    <a:pt x="0" y="45"/>
                    <a:pt x="0" y="45"/>
                    <a:pt x="0" y="45"/>
                  </a:cubicBezTo>
                  <a:cubicBezTo>
                    <a:pt x="0" y="20"/>
                    <a:pt x="19" y="0"/>
                    <a:pt x="44" y="0"/>
                  </a:cubicBezTo>
                  <a:cubicBezTo>
                    <a:pt x="44" y="0"/>
                    <a:pt x="44" y="0"/>
                    <a:pt x="44" y="0"/>
                  </a:cubicBezTo>
                  <a:cubicBezTo>
                    <a:pt x="68" y="0"/>
                    <a:pt x="88" y="20"/>
                    <a:pt x="88" y="45"/>
                  </a:cubicBezTo>
                  <a:lnTo>
                    <a:pt x="88" y="61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8" name="íṥḷíde"/>
            <p:cNvSpPr/>
            <p:nvPr/>
          </p:nvSpPr>
          <p:spPr bwMode="auto">
            <a:xfrm>
              <a:off x="3668267" y="3450499"/>
              <a:ext cx="26816" cy="206278"/>
            </a:xfrm>
            <a:custGeom>
              <a:avLst/>
              <a:gdLst>
                <a:gd name="T0" fmla="*/ 88 w 88"/>
                <a:gd name="T1" fmla="*/ 611 h 656"/>
                <a:gd name="T2" fmla="*/ 44 w 88"/>
                <a:gd name="T3" fmla="*/ 656 h 656"/>
                <a:gd name="T4" fmla="*/ 44 w 88"/>
                <a:gd name="T5" fmla="*/ 656 h 656"/>
                <a:gd name="T6" fmla="*/ 0 w 88"/>
                <a:gd name="T7" fmla="*/ 611 h 656"/>
                <a:gd name="T8" fmla="*/ 0 w 88"/>
                <a:gd name="T9" fmla="*/ 45 h 656"/>
                <a:gd name="T10" fmla="*/ 44 w 88"/>
                <a:gd name="T11" fmla="*/ 0 h 656"/>
                <a:gd name="T12" fmla="*/ 44 w 88"/>
                <a:gd name="T13" fmla="*/ 0 h 656"/>
                <a:gd name="T14" fmla="*/ 88 w 88"/>
                <a:gd name="T15" fmla="*/ 45 h 656"/>
                <a:gd name="T16" fmla="*/ 88 w 88"/>
                <a:gd name="T17" fmla="*/ 611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656">
                  <a:moveTo>
                    <a:pt x="88" y="611"/>
                  </a:moveTo>
                  <a:cubicBezTo>
                    <a:pt x="88" y="636"/>
                    <a:pt x="68" y="656"/>
                    <a:pt x="44" y="656"/>
                  </a:cubicBezTo>
                  <a:cubicBezTo>
                    <a:pt x="44" y="656"/>
                    <a:pt x="44" y="656"/>
                    <a:pt x="44" y="656"/>
                  </a:cubicBezTo>
                  <a:cubicBezTo>
                    <a:pt x="19" y="656"/>
                    <a:pt x="0" y="636"/>
                    <a:pt x="0" y="611"/>
                  </a:cubicBezTo>
                  <a:cubicBezTo>
                    <a:pt x="0" y="45"/>
                    <a:pt x="0" y="45"/>
                    <a:pt x="0" y="45"/>
                  </a:cubicBezTo>
                  <a:cubicBezTo>
                    <a:pt x="0" y="20"/>
                    <a:pt x="19" y="0"/>
                    <a:pt x="44" y="0"/>
                  </a:cubicBezTo>
                  <a:cubicBezTo>
                    <a:pt x="44" y="0"/>
                    <a:pt x="44" y="0"/>
                    <a:pt x="44" y="0"/>
                  </a:cubicBezTo>
                  <a:cubicBezTo>
                    <a:pt x="68" y="0"/>
                    <a:pt x="88" y="20"/>
                    <a:pt x="88" y="45"/>
                  </a:cubicBezTo>
                  <a:lnTo>
                    <a:pt x="88" y="61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9" name="îSļiḓê"/>
            <p:cNvSpPr/>
            <p:nvPr/>
          </p:nvSpPr>
          <p:spPr bwMode="auto">
            <a:xfrm>
              <a:off x="3976654" y="3450499"/>
              <a:ext cx="27848" cy="206278"/>
            </a:xfrm>
            <a:custGeom>
              <a:avLst/>
              <a:gdLst>
                <a:gd name="T0" fmla="*/ 88 w 88"/>
                <a:gd name="T1" fmla="*/ 611 h 656"/>
                <a:gd name="T2" fmla="*/ 44 w 88"/>
                <a:gd name="T3" fmla="*/ 656 h 656"/>
                <a:gd name="T4" fmla="*/ 44 w 88"/>
                <a:gd name="T5" fmla="*/ 656 h 656"/>
                <a:gd name="T6" fmla="*/ 0 w 88"/>
                <a:gd name="T7" fmla="*/ 611 h 656"/>
                <a:gd name="T8" fmla="*/ 0 w 88"/>
                <a:gd name="T9" fmla="*/ 45 h 656"/>
                <a:gd name="T10" fmla="*/ 44 w 88"/>
                <a:gd name="T11" fmla="*/ 0 h 656"/>
                <a:gd name="T12" fmla="*/ 44 w 88"/>
                <a:gd name="T13" fmla="*/ 0 h 656"/>
                <a:gd name="T14" fmla="*/ 88 w 88"/>
                <a:gd name="T15" fmla="*/ 45 h 656"/>
                <a:gd name="T16" fmla="*/ 88 w 88"/>
                <a:gd name="T17" fmla="*/ 611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656">
                  <a:moveTo>
                    <a:pt x="88" y="611"/>
                  </a:moveTo>
                  <a:cubicBezTo>
                    <a:pt x="88" y="636"/>
                    <a:pt x="69" y="656"/>
                    <a:pt x="44" y="656"/>
                  </a:cubicBezTo>
                  <a:cubicBezTo>
                    <a:pt x="44" y="656"/>
                    <a:pt x="44" y="656"/>
                    <a:pt x="44" y="656"/>
                  </a:cubicBezTo>
                  <a:cubicBezTo>
                    <a:pt x="20" y="656"/>
                    <a:pt x="0" y="636"/>
                    <a:pt x="0" y="611"/>
                  </a:cubicBezTo>
                  <a:cubicBezTo>
                    <a:pt x="0" y="45"/>
                    <a:pt x="0" y="45"/>
                    <a:pt x="0" y="45"/>
                  </a:cubicBezTo>
                  <a:cubicBezTo>
                    <a:pt x="0" y="20"/>
                    <a:pt x="20" y="0"/>
                    <a:pt x="44" y="0"/>
                  </a:cubicBezTo>
                  <a:cubicBezTo>
                    <a:pt x="44" y="0"/>
                    <a:pt x="44" y="0"/>
                    <a:pt x="44" y="0"/>
                  </a:cubicBezTo>
                  <a:cubicBezTo>
                    <a:pt x="69" y="0"/>
                    <a:pt x="88" y="20"/>
                    <a:pt x="88" y="45"/>
                  </a:cubicBezTo>
                  <a:lnTo>
                    <a:pt x="88" y="61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0" name="išḷíḋê"/>
            <p:cNvSpPr/>
            <p:nvPr/>
          </p:nvSpPr>
          <p:spPr bwMode="auto">
            <a:xfrm>
              <a:off x="4035443" y="3429871"/>
              <a:ext cx="238252" cy="238252"/>
            </a:xfrm>
            <a:custGeom>
              <a:avLst/>
              <a:gdLst>
                <a:gd name="T0" fmla="*/ 761 w 761"/>
                <a:gd name="T1" fmla="*/ 716 h 762"/>
                <a:gd name="T2" fmla="*/ 716 w 761"/>
                <a:gd name="T3" fmla="*/ 762 h 762"/>
                <a:gd name="T4" fmla="*/ 45 w 761"/>
                <a:gd name="T5" fmla="*/ 762 h 762"/>
                <a:gd name="T6" fmla="*/ 0 w 761"/>
                <a:gd name="T7" fmla="*/ 716 h 762"/>
                <a:gd name="T8" fmla="*/ 0 w 761"/>
                <a:gd name="T9" fmla="*/ 45 h 762"/>
                <a:gd name="T10" fmla="*/ 45 w 761"/>
                <a:gd name="T11" fmla="*/ 0 h 762"/>
                <a:gd name="T12" fmla="*/ 716 w 761"/>
                <a:gd name="T13" fmla="*/ 0 h 762"/>
                <a:gd name="T14" fmla="*/ 761 w 761"/>
                <a:gd name="T15" fmla="*/ 45 h 762"/>
                <a:gd name="T16" fmla="*/ 761 w 761"/>
                <a:gd name="T17" fmla="*/ 716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1" h="762">
                  <a:moveTo>
                    <a:pt x="761" y="716"/>
                  </a:moveTo>
                  <a:cubicBezTo>
                    <a:pt x="761" y="741"/>
                    <a:pt x="741" y="762"/>
                    <a:pt x="716" y="762"/>
                  </a:cubicBezTo>
                  <a:cubicBezTo>
                    <a:pt x="45" y="762"/>
                    <a:pt x="45" y="762"/>
                    <a:pt x="45" y="762"/>
                  </a:cubicBezTo>
                  <a:cubicBezTo>
                    <a:pt x="20" y="762"/>
                    <a:pt x="0" y="741"/>
                    <a:pt x="0" y="716"/>
                  </a:cubicBezTo>
                  <a:cubicBezTo>
                    <a:pt x="0" y="45"/>
                    <a:pt x="0" y="45"/>
                    <a:pt x="0" y="45"/>
                  </a:cubicBezTo>
                  <a:cubicBezTo>
                    <a:pt x="0" y="20"/>
                    <a:pt x="20" y="0"/>
                    <a:pt x="45" y="0"/>
                  </a:cubicBezTo>
                  <a:cubicBezTo>
                    <a:pt x="716" y="0"/>
                    <a:pt x="716" y="0"/>
                    <a:pt x="716" y="0"/>
                  </a:cubicBezTo>
                  <a:cubicBezTo>
                    <a:pt x="741" y="0"/>
                    <a:pt x="761" y="20"/>
                    <a:pt x="761" y="45"/>
                  </a:cubicBezTo>
                  <a:lnTo>
                    <a:pt x="761" y="716"/>
                  </a:lnTo>
                  <a:close/>
                </a:path>
              </a:pathLst>
            </a:custGeom>
            <a:solidFill>
              <a:srgbClr val="E54F4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1" name="îsḻiḍé"/>
            <p:cNvSpPr/>
            <p:nvPr/>
          </p:nvSpPr>
          <p:spPr bwMode="auto">
            <a:xfrm>
              <a:off x="4051945" y="3506194"/>
              <a:ext cx="205247" cy="27848"/>
            </a:xfrm>
            <a:custGeom>
              <a:avLst/>
              <a:gdLst>
                <a:gd name="T0" fmla="*/ 611 w 655"/>
                <a:gd name="T1" fmla="*/ 0 h 88"/>
                <a:gd name="T2" fmla="*/ 655 w 655"/>
                <a:gd name="T3" fmla="*/ 44 h 88"/>
                <a:gd name="T4" fmla="*/ 655 w 655"/>
                <a:gd name="T5" fmla="*/ 44 h 88"/>
                <a:gd name="T6" fmla="*/ 611 w 655"/>
                <a:gd name="T7" fmla="*/ 88 h 88"/>
                <a:gd name="T8" fmla="*/ 44 w 655"/>
                <a:gd name="T9" fmla="*/ 88 h 88"/>
                <a:gd name="T10" fmla="*/ 0 w 655"/>
                <a:gd name="T11" fmla="*/ 44 h 88"/>
                <a:gd name="T12" fmla="*/ 0 w 655"/>
                <a:gd name="T13" fmla="*/ 44 h 88"/>
                <a:gd name="T14" fmla="*/ 44 w 655"/>
                <a:gd name="T15" fmla="*/ 0 h 88"/>
                <a:gd name="T16" fmla="*/ 611 w 655"/>
                <a:gd name="T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5" h="88">
                  <a:moveTo>
                    <a:pt x="611" y="0"/>
                  </a:moveTo>
                  <a:cubicBezTo>
                    <a:pt x="635" y="0"/>
                    <a:pt x="655" y="19"/>
                    <a:pt x="655" y="44"/>
                  </a:cubicBezTo>
                  <a:cubicBezTo>
                    <a:pt x="655" y="44"/>
                    <a:pt x="655" y="44"/>
                    <a:pt x="655" y="44"/>
                  </a:cubicBezTo>
                  <a:cubicBezTo>
                    <a:pt x="655" y="68"/>
                    <a:pt x="635" y="88"/>
                    <a:pt x="611" y="88"/>
                  </a:cubicBezTo>
                  <a:cubicBezTo>
                    <a:pt x="44" y="88"/>
                    <a:pt x="44" y="88"/>
                    <a:pt x="44" y="88"/>
                  </a:cubicBezTo>
                  <a:cubicBezTo>
                    <a:pt x="19" y="88"/>
                    <a:pt x="0" y="68"/>
                    <a:pt x="0" y="44"/>
                  </a:cubicBezTo>
                  <a:cubicBezTo>
                    <a:pt x="0" y="44"/>
                    <a:pt x="0" y="44"/>
                    <a:pt x="0" y="44"/>
                  </a:cubicBezTo>
                  <a:cubicBezTo>
                    <a:pt x="0" y="19"/>
                    <a:pt x="19" y="0"/>
                    <a:pt x="44" y="0"/>
                  </a:cubicBezTo>
                  <a:lnTo>
                    <a:pt x="611"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3" name="íṡļïḑé"/>
            <p:cNvSpPr/>
            <p:nvPr/>
          </p:nvSpPr>
          <p:spPr bwMode="auto">
            <a:xfrm>
              <a:off x="4051945" y="3563952"/>
              <a:ext cx="205247" cy="26816"/>
            </a:xfrm>
            <a:custGeom>
              <a:avLst/>
              <a:gdLst>
                <a:gd name="T0" fmla="*/ 611 w 655"/>
                <a:gd name="T1" fmla="*/ 0 h 88"/>
                <a:gd name="T2" fmla="*/ 655 w 655"/>
                <a:gd name="T3" fmla="*/ 44 h 88"/>
                <a:gd name="T4" fmla="*/ 655 w 655"/>
                <a:gd name="T5" fmla="*/ 44 h 88"/>
                <a:gd name="T6" fmla="*/ 611 w 655"/>
                <a:gd name="T7" fmla="*/ 88 h 88"/>
                <a:gd name="T8" fmla="*/ 44 w 655"/>
                <a:gd name="T9" fmla="*/ 88 h 88"/>
                <a:gd name="T10" fmla="*/ 0 w 655"/>
                <a:gd name="T11" fmla="*/ 44 h 88"/>
                <a:gd name="T12" fmla="*/ 0 w 655"/>
                <a:gd name="T13" fmla="*/ 44 h 88"/>
                <a:gd name="T14" fmla="*/ 44 w 655"/>
                <a:gd name="T15" fmla="*/ 0 h 88"/>
                <a:gd name="T16" fmla="*/ 611 w 655"/>
                <a:gd name="T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5" h="88">
                  <a:moveTo>
                    <a:pt x="611" y="0"/>
                  </a:moveTo>
                  <a:cubicBezTo>
                    <a:pt x="635" y="0"/>
                    <a:pt x="655" y="20"/>
                    <a:pt x="655" y="44"/>
                  </a:cubicBezTo>
                  <a:cubicBezTo>
                    <a:pt x="655" y="44"/>
                    <a:pt x="655" y="44"/>
                    <a:pt x="655" y="44"/>
                  </a:cubicBezTo>
                  <a:cubicBezTo>
                    <a:pt x="655" y="69"/>
                    <a:pt x="635" y="88"/>
                    <a:pt x="611" y="88"/>
                  </a:cubicBezTo>
                  <a:cubicBezTo>
                    <a:pt x="44" y="88"/>
                    <a:pt x="44" y="88"/>
                    <a:pt x="44" y="88"/>
                  </a:cubicBezTo>
                  <a:cubicBezTo>
                    <a:pt x="19" y="88"/>
                    <a:pt x="0" y="69"/>
                    <a:pt x="0" y="44"/>
                  </a:cubicBezTo>
                  <a:cubicBezTo>
                    <a:pt x="0" y="44"/>
                    <a:pt x="0" y="44"/>
                    <a:pt x="0" y="44"/>
                  </a:cubicBezTo>
                  <a:cubicBezTo>
                    <a:pt x="0" y="20"/>
                    <a:pt x="19" y="0"/>
                    <a:pt x="44" y="0"/>
                  </a:cubicBezTo>
                  <a:lnTo>
                    <a:pt x="611"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4" name="îṧliḍê"/>
            <p:cNvSpPr/>
            <p:nvPr/>
          </p:nvSpPr>
          <p:spPr bwMode="auto">
            <a:xfrm>
              <a:off x="4051945" y="3620678"/>
              <a:ext cx="205247" cy="27848"/>
            </a:xfrm>
            <a:custGeom>
              <a:avLst/>
              <a:gdLst>
                <a:gd name="T0" fmla="*/ 611 w 655"/>
                <a:gd name="T1" fmla="*/ 0 h 89"/>
                <a:gd name="T2" fmla="*/ 655 w 655"/>
                <a:gd name="T3" fmla="*/ 45 h 89"/>
                <a:gd name="T4" fmla="*/ 655 w 655"/>
                <a:gd name="T5" fmla="*/ 45 h 89"/>
                <a:gd name="T6" fmla="*/ 611 w 655"/>
                <a:gd name="T7" fmla="*/ 89 h 89"/>
                <a:gd name="T8" fmla="*/ 44 w 655"/>
                <a:gd name="T9" fmla="*/ 89 h 89"/>
                <a:gd name="T10" fmla="*/ 0 w 655"/>
                <a:gd name="T11" fmla="*/ 45 h 89"/>
                <a:gd name="T12" fmla="*/ 0 w 655"/>
                <a:gd name="T13" fmla="*/ 45 h 89"/>
                <a:gd name="T14" fmla="*/ 44 w 655"/>
                <a:gd name="T15" fmla="*/ 0 h 89"/>
                <a:gd name="T16" fmla="*/ 611 w 65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5" h="89">
                  <a:moveTo>
                    <a:pt x="611" y="0"/>
                  </a:moveTo>
                  <a:cubicBezTo>
                    <a:pt x="635" y="0"/>
                    <a:pt x="655" y="20"/>
                    <a:pt x="655" y="45"/>
                  </a:cubicBezTo>
                  <a:cubicBezTo>
                    <a:pt x="655" y="45"/>
                    <a:pt x="655" y="45"/>
                    <a:pt x="655" y="45"/>
                  </a:cubicBezTo>
                  <a:cubicBezTo>
                    <a:pt x="655" y="69"/>
                    <a:pt x="635" y="89"/>
                    <a:pt x="611" y="89"/>
                  </a:cubicBezTo>
                  <a:cubicBezTo>
                    <a:pt x="44" y="89"/>
                    <a:pt x="44" y="89"/>
                    <a:pt x="44" y="89"/>
                  </a:cubicBezTo>
                  <a:cubicBezTo>
                    <a:pt x="19" y="89"/>
                    <a:pt x="0" y="69"/>
                    <a:pt x="0" y="45"/>
                  </a:cubicBezTo>
                  <a:cubicBezTo>
                    <a:pt x="0" y="45"/>
                    <a:pt x="0" y="45"/>
                    <a:pt x="0" y="45"/>
                  </a:cubicBezTo>
                  <a:cubicBezTo>
                    <a:pt x="0" y="20"/>
                    <a:pt x="19" y="0"/>
                    <a:pt x="44" y="0"/>
                  </a:cubicBezTo>
                  <a:lnTo>
                    <a:pt x="611"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 name="îSḻïḋé"/>
            <p:cNvSpPr/>
            <p:nvPr/>
          </p:nvSpPr>
          <p:spPr bwMode="auto">
            <a:xfrm>
              <a:off x="4051945" y="3448436"/>
              <a:ext cx="205247" cy="27848"/>
            </a:xfrm>
            <a:custGeom>
              <a:avLst/>
              <a:gdLst>
                <a:gd name="T0" fmla="*/ 611 w 655"/>
                <a:gd name="T1" fmla="*/ 0 h 89"/>
                <a:gd name="T2" fmla="*/ 655 w 655"/>
                <a:gd name="T3" fmla="*/ 44 h 89"/>
                <a:gd name="T4" fmla="*/ 655 w 655"/>
                <a:gd name="T5" fmla="*/ 44 h 89"/>
                <a:gd name="T6" fmla="*/ 611 w 655"/>
                <a:gd name="T7" fmla="*/ 89 h 89"/>
                <a:gd name="T8" fmla="*/ 44 w 655"/>
                <a:gd name="T9" fmla="*/ 89 h 89"/>
                <a:gd name="T10" fmla="*/ 0 w 655"/>
                <a:gd name="T11" fmla="*/ 44 h 89"/>
                <a:gd name="T12" fmla="*/ 0 w 655"/>
                <a:gd name="T13" fmla="*/ 44 h 89"/>
                <a:gd name="T14" fmla="*/ 44 w 655"/>
                <a:gd name="T15" fmla="*/ 0 h 89"/>
                <a:gd name="T16" fmla="*/ 611 w 65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5" h="89">
                  <a:moveTo>
                    <a:pt x="611" y="0"/>
                  </a:moveTo>
                  <a:cubicBezTo>
                    <a:pt x="635" y="0"/>
                    <a:pt x="655" y="20"/>
                    <a:pt x="655" y="44"/>
                  </a:cubicBezTo>
                  <a:cubicBezTo>
                    <a:pt x="655" y="44"/>
                    <a:pt x="655" y="44"/>
                    <a:pt x="655" y="44"/>
                  </a:cubicBezTo>
                  <a:cubicBezTo>
                    <a:pt x="655" y="69"/>
                    <a:pt x="635" y="89"/>
                    <a:pt x="611" y="89"/>
                  </a:cubicBezTo>
                  <a:cubicBezTo>
                    <a:pt x="44" y="89"/>
                    <a:pt x="44" y="89"/>
                    <a:pt x="44" y="89"/>
                  </a:cubicBezTo>
                  <a:cubicBezTo>
                    <a:pt x="19" y="89"/>
                    <a:pt x="0" y="69"/>
                    <a:pt x="0" y="44"/>
                  </a:cubicBezTo>
                  <a:cubicBezTo>
                    <a:pt x="0" y="44"/>
                    <a:pt x="0" y="44"/>
                    <a:pt x="0" y="44"/>
                  </a:cubicBezTo>
                  <a:cubicBezTo>
                    <a:pt x="0" y="20"/>
                    <a:pt x="19" y="0"/>
                    <a:pt x="44" y="0"/>
                  </a:cubicBezTo>
                  <a:lnTo>
                    <a:pt x="611" y="0"/>
                  </a:lnTo>
                  <a:close/>
                </a:path>
              </a:pathLst>
            </a:custGeom>
            <a:solidFill>
              <a:srgbClr val="F1A6B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 name="îṡḻîďe"/>
            <p:cNvSpPr/>
            <p:nvPr/>
          </p:nvSpPr>
          <p:spPr bwMode="auto">
            <a:xfrm>
              <a:off x="4094232" y="3426776"/>
              <a:ext cx="6188" cy="244440"/>
            </a:xfrm>
            <a:custGeom>
              <a:avLst/>
              <a:gdLst>
                <a:gd name="T0" fmla="*/ 0 w 20"/>
                <a:gd name="T1" fmla="*/ 10 h 779"/>
                <a:gd name="T2" fmla="*/ 9 w 20"/>
                <a:gd name="T3" fmla="*/ 0 h 779"/>
                <a:gd name="T4" fmla="*/ 10 w 20"/>
                <a:gd name="T5" fmla="*/ 0 h 779"/>
                <a:gd name="T6" fmla="*/ 20 w 20"/>
                <a:gd name="T7" fmla="*/ 10 h 779"/>
                <a:gd name="T8" fmla="*/ 20 w 20"/>
                <a:gd name="T9" fmla="*/ 770 h 779"/>
                <a:gd name="T10" fmla="*/ 10 w 20"/>
                <a:gd name="T11" fmla="*/ 779 h 779"/>
                <a:gd name="T12" fmla="*/ 9 w 20"/>
                <a:gd name="T13" fmla="*/ 779 h 779"/>
                <a:gd name="T14" fmla="*/ 0 w 20"/>
                <a:gd name="T15" fmla="*/ 770 h 779"/>
                <a:gd name="T16" fmla="*/ 0 w 20"/>
                <a:gd name="T17" fmla="*/ 1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79">
                  <a:moveTo>
                    <a:pt x="0" y="10"/>
                  </a:moveTo>
                  <a:cubicBezTo>
                    <a:pt x="0" y="5"/>
                    <a:pt x="4" y="0"/>
                    <a:pt x="9" y="0"/>
                  </a:cubicBezTo>
                  <a:cubicBezTo>
                    <a:pt x="10" y="0"/>
                    <a:pt x="10" y="0"/>
                    <a:pt x="10" y="0"/>
                  </a:cubicBezTo>
                  <a:cubicBezTo>
                    <a:pt x="15" y="0"/>
                    <a:pt x="20" y="5"/>
                    <a:pt x="20" y="10"/>
                  </a:cubicBezTo>
                  <a:cubicBezTo>
                    <a:pt x="20" y="770"/>
                    <a:pt x="20" y="770"/>
                    <a:pt x="20" y="770"/>
                  </a:cubicBezTo>
                  <a:cubicBezTo>
                    <a:pt x="20" y="775"/>
                    <a:pt x="15" y="779"/>
                    <a:pt x="10" y="779"/>
                  </a:cubicBezTo>
                  <a:cubicBezTo>
                    <a:pt x="9" y="779"/>
                    <a:pt x="9" y="779"/>
                    <a:pt x="9" y="779"/>
                  </a:cubicBezTo>
                  <a:cubicBezTo>
                    <a:pt x="4" y="779"/>
                    <a:pt x="0" y="775"/>
                    <a:pt x="0" y="770"/>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7" name="íSľíḍe"/>
            <p:cNvSpPr/>
            <p:nvPr/>
          </p:nvSpPr>
          <p:spPr bwMode="auto">
            <a:xfrm>
              <a:off x="4150959" y="3426776"/>
              <a:ext cx="7220" cy="244440"/>
            </a:xfrm>
            <a:custGeom>
              <a:avLst/>
              <a:gdLst>
                <a:gd name="T0" fmla="*/ 0 w 20"/>
                <a:gd name="T1" fmla="*/ 10 h 779"/>
                <a:gd name="T2" fmla="*/ 10 w 20"/>
                <a:gd name="T3" fmla="*/ 0 h 779"/>
                <a:gd name="T4" fmla="*/ 11 w 20"/>
                <a:gd name="T5" fmla="*/ 0 h 779"/>
                <a:gd name="T6" fmla="*/ 20 w 20"/>
                <a:gd name="T7" fmla="*/ 10 h 779"/>
                <a:gd name="T8" fmla="*/ 20 w 20"/>
                <a:gd name="T9" fmla="*/ 770 h 779"/>
                <a:gd name="T10" fmla="*/ 11 w 20"/>
                <a:gd name="T11" fmla="*/ 779 h 779"/>
                <a:gd name="T12" fmla="*/ 10 w 20"/>
                <a:gd name="T13" fmla="*/ 779 h 779"/>
                <a:gd name="T14" fmla="*/ 0 w 20"/>
                <a:gd name="T15" fmla="*/ 770 h 779"/>
                <a:gd name="T16" fmla="*/ 0 w 20"/>
                <a:gd name="T17" fmla="*/ 1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79">
                  <a:moveTo>
                    <a:pt x="0" y="10"/>
                  </a:moveTo>
                  <a:cubicBezTo>
                    <a:pt x="0" y="5"/>
                    <a:pt x="5" y="0"/>
                    <a:pt x="10" y="0"/>
                  </a:cubicBezTo>
                  <a:cubicBezTo>
                    <a:pt x="11" y="0"/>
                    <a:pt x="11" y="0"/>
                    <a:pt x="11" y="0"/>
                  </a:cubicBezTo>
                  <a:cubicBezTo>
                    <a:pt x="16" y="0"/>
                    <a:pt x="20" y="5"/>
                    <a:pt x="20" y="10"/>
                  </a:cubicBezTo>
                  <a:cubicBezTo>
                    <a:pt x="20" y="770"/>
                    <a:pt x="20" y="770"/>
                    <a:pt x="20" y="770"/>
                  </a:cubicBezTo>
                  <a:cubicBezTo>
                    <a:pt x="20" y="775"/>
                    <a:pt x="16" y="779"/>
                    <a:pt x="11" y="779"/>
                  </a:cubicBezTo>
                  <a:cubicBezTo>
                    <a:pt x="10" y="779"/>
                    <a:pt x="10" y="779"/>
                    <a:pt x="10" y="779"/>
                  </a:cubicBezTo>
                  <a:cubicBezTo>
                    <a:pt x="5" y="779"/>
                    <a:pt x="0" y="775"/>
                    <a:pt x="0" y="770"/>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8" name="is1iďé"/>
            <p:cNvSpPr/>
            <p:nvPr/>
          </p:nvSpPr>
          <p:spPr bwMode="auto">
            <a:xfrm>
              <a:off x="4093201" y="3458750"/>
              <a:ext cx="67040" cy="6188"/>
            </a:xfrm>
            <a:custGeom>
              <a:avLst/>
              <a:gdLst>
                <a:gd name="T0" fmla="*/ 0 w 215"/>
                <a:gd name="T1" fmla="*/ 9 h 20"/>
                <a:gd name="T2" fmla="*/ 9 w 215"/>
                <a:gd name="T3" fmla="*/ 0 h 20"/>
                <a:gd name="T4" fmla="*/ 205 w 215"/>
                <a:gd name="T5" fmla="*/ 0 h 20"/>
                <a:gd name="T6" fmla="*/ 215 w 215"/>
                <a:gd name="T7" fmla="*/ 9 h 20"/>
                <a:gd name="T8" fmla="*/ 215 w 215"/>
                <a:gd name="T9" fmla="*/ 10 h 20"/>
                <a:gd name="T10" fmla="*/ 205 w 215"/>
                <a:gd name="T11" fmla="*/ 20 h 20"/>
                <a:gd name="T12" fmla="*/ 9 w 215"/>
                <a:gd name="T13" fmla="*/ 20 h 20"/>
                <a:gd name="T14" fmla="*/ 0 w 215"/>
                <a:gd name="T15" fmla="*/ 10 h 20"/>
                <a:gd name="T16" fmla="*/ 0 w 215"/>
                <a:gd name="T17"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0">
                  <a:moveTo>
                    <a:pt x="0" y="9"/>
                  </a:moveTo>
                  <a:cubicBezTo>
                    <a:pt x="0" y="4"/>
                    <a:pt x="4" y="0"/>
                    <a:pt x="9" y="0"/>
                  </a:cubicBezTo>
                  <a:cubicBezTo>
                    <a:pt x="205" y="0"/>
                    <a:pt x="205" y="0"/>
                    <a:pt x="205" y="0"/>
                  </a:cubicBezTo>
                  <a:cubicBezTo>
                    <a:pt x="211" y="0"/>
                    <a:pt x="215" y="4"/>
                    <a:pt x="215" y="9"/>
                  </a:cubicBezTo>
                  <a:cubicBezTo>
                    <a:pt x="215" y="10"/>
                    <a:pt x="215" y="10"/>
                    <a:pt x="215" y="10"/>
                  </a:cubicBezTo>
                  <a:cubicBezTo>
                    <a:pt x="215" y="15"/>
                    <a:pt x="211" y="20"/>
                    <a:pt x="205" y="20"/>
                  </a:cubicBezTo>
                  <a:cubicBezTo>
                    <a:pt x="9" y="20"/>
                    <a:pt x="9" y="20"/>
                    <a:pt x="9" y="20"/>
                  </a:cubicBezTo>
                  <a:cubicBezTo>
                    <a:pt x="4" y="20"/>
                    <a:pt x="0" y="15"/>
                    <a:pt x="0" y="10"/>
                  </a:cubicBezTo>
                  <a:lnTo>
                    <a:pt x="0" y="9"/>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 name="îŝľïḑê"/>
            <p:cNvSpPr/>
            <p:nvPr/>
          </p:nvSpPr>
          <p:spPr bwMode="auto">
            <a:xfrm>
              <a:off x="4093201" y="3493817"/>
              <a:ext cx="67040" cy="6188"/>
            </a:xfrm>
            <a:custGeom>
              <a:avLst/>
              <a:gdLst>
                <a:gd name="T0" fmla="*/ 0 w 215"/>
                <a:gd name="T1" fmla="*/ 10 h 20"/>
                <a:gd name="T2" fmla="*/ 9 w 215"/>
                <a:gd name="T3" fmla="*/ 0 h 20"/>
                <a:gd name="T4" fmla="*/ 205 w 215"/>
                <a:gd name="T5" fmla="*/ 0 h 20"/>
                <a:gd name="T6" fmla="*/ 215 w 215"/>
                <a:gd name="T7" fmla="*/ 10 h 20"/>
                <a:gd name="T8" fmla="*/ 215 w 215"/>
                <a:gd name="T9" fmla="*/ 11 h 20"/>
                <a:gd name="T10" fmla="*/ 205 w 215"/>
                <a:gd name="T11" fmla="*/ 20 h 20"/>
                <a:gd name="T12" fmla="*/ 9 w 215"/>
                <a:gd name="T13" fmla="*/ 20 h 20"/>
                <a:gd name="T14" fmla="*/ 0 w 215"/>
                <a:gd name="T15" fmla="*/ 11 h 20"/>
                <a:gd name="T16" fmla="*/ 0 w 215"/>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0">
                  <a:moveTo>
                    <a:pt x="0" y="10"/>
                  </a:moveTo>
                  <a:cubicBezTo>
                    <a:pt x="0" y="5"/>
                    <a:pt x="4" y="0"/>
                    <a:pt x="9" y="0"/>
                  </a:cubicBezTo>
                  <a:cubicBezTo>
                    <a:pt x="205" y="0"/>
                    <a:pt x="205" y="0"/>
                    <a:pt x="205" y="0"/>
                  </a:cubicBezTo>
                  <a:cubicBezTo>
                    <a:pt x="211" y="0"/>
                    <a:pt x="215" y="5"/>
                    <a:pt x="215" y="10"/>
                  </a:cubicBezTo>
                  <a:cubicBezTo>
                    <a:pt x="215" y="11"/>
                    <a:pt x="215" y="11"/>
                    <a:pt x="215" y="11"/>
                  </a:cubicBezTo>
                  <a:cubicBezTo>
                    <a:pt x="215" y="16"/>
                    <a:pt x="211" y="20"/>
                    <a:pt x="205" y="20"/>
                  </a:cubicBezTo>
                  <a:cubicBezTo>
                    <a:pt x="9" y="20"/>
                    <a:pt x="9" y="20"/>
                    <a:pt x="9" y="20"/>
                  </a:cubicBezTo>
                  <a:cubicBezTo>
                    <a:pt x="4"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0" name="îSľïḓe"/>
            <p:cNvSpPr/>
            <p:nvPr/>
          </p:nvSpPr>
          <p:spPr bwMode="auto">
            <a:xfrm>
              <a:off x="4093201" y="3529916"/>
              <a:ext cx="67040" cy="6188"/>
            </a:xfrm>
            <a:custGeom>
              <a:avLst/>
              <a:gdLst>
                <a:gd name="T0" fmla="*/ 0 w 215"/>
                <a:gd name="T1" fmla="*/ 10 h 21"/>
                <a:gd name="T2" fmla="*/ 9 w 215"/>
                <a:gd name="T3" fmla="*/ 0 h 21"/>
                <a:gd name="T4" fmla="*/ 205 w 215"/>
                <a:gd name="T5" fmla="*/ 0 h 21"/>
                <a:gd name="T6" fmla="*/ 215 w 215"/>
                <a:gd name="T7" fmla="*/ 10 h 21"/>
                <a:gd name="T8" fmla="*/ 215 w 215"/>
                <a:gd name="T9" fmla="*/ 11 h 21"/>
                <a:gd name="T10" fmla="*/ 205 w 215"/>
                <a:gd name="T11" fmla="*/ 21 h 21"/>
                <a:gd name="T12" fmla="*/ 9 w 215"/>
                <a:gd name="T13" fmla="*/ 21 h 21"/>
                <a:gd name="T14" fmla="*/ 0 w 215"/>
                <a:gd name="T15" fmla="*/ 11 h 21"/>
                <a:gd name="T16" fmla="*/ 0 w 215"/>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1">
                  <a:moveTo>
                    <a:pt x="0" y="10"/>
                  </a:moveTo>
                  <a:cubicBezTo>
                    <a:pt x="0" y="5"/>
                    <a:pt x="4" y="0"/>
                    <a:pt x="9" y="0"/>
                  </a:cubicBezTo>
                  <a:cubicBezTo>
                    <a:pt x="205" y="0"/>
                    <a:pt x="205" y="0"/>
                    <a:pt x="205" y="0"/>
                  </a:cubicBezTo>
                  <a:cubicBezTo>
                    <a:pt x="211" y="0"/>
                    <a:pt x="215" y="5"/>
                    <a:pt x="215" y="10"/>
                  </a:cubicBezTo>
                  <a:cubicBezTo>
                    <a:pt x="215" y="11"/>
                    <a:pt x="215" y="11"/>
                    <a:pt x="215" y="11"/>
                  </a:cubicBezTo>
                  <a:cubicBezTo>
                    <a:pt x="215" y="16"/>
                    <a:pt x="211" y="21"/>
                    <a:pt x="205" y="21"/>
                  </a:cubicBezTo>
                  <a:cubicBezTo>
                    <a:pt x="9" y="21"/>
                    <a:pt x="9" y="21"/>
                    <a:pt x="9" y="21"/>
                  </a:cubicBezTo>
                  <a:cubicBezTo>
                    <a:pt x="4" y="21"/>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1" name="ïŝḷiḍe"/>
            <p:cNvSpPr/>
            <p:nvPr/>
          </p:nvSpPr>
          <p:spPr bwMode="auto">
            <a:xfrm>
              <a:off x="4093201" y="3566014"/>
              <a:ext cx="67040" cy="7220"/>
            </a:xfrm>
            <a:custGeom>
              <a:avLst/>
              <a:gdLst>
                <a:gd name="T0" fmla="*/ 0 w 215"/>
                <a:gd name="T1" fmla="*/ 10 h 20"/>
                <a:gd name="T2" fmla="*/ 9 w 215"/>
                <a:gd name="T3" fmla="*/ 0 h 20"/>
                <a:gd name="T4" fmla="*/ 205 w 215"/>
                <a:gd name="T5" fmla="*/ 0 h 20"/>
                <a:gd name="T6" fmla="*/ 215 w 215"/>
                <a:gd name="T7" fmla="*/ 10 h 20"/>
                <a:gd name="T8" fmla="*/ 215 w 215"/>
                <a:gd name="T9" fmla="*/ 11 h 20"/>
                <a:gd name="T10" fmla="*/ 205 w 215"/>
                <a:gd name="T11" fmla="*/ 20 h 20"/>
                <a:gd name="T12" fmla="*/ 9 w 215"/>
                <a:gd name="T13" fmla="*/ 20 h 20"/>
                <a:gd name="T14" fmla="*/ 0 w 215"/>
                <a:gd name="T15" fmla="*/ 11 h 20"/>
                <a:gd name="T16" fmla="*/ 0 w 215"/>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0">
                  <a:moveTo>
                    <a:pt x="0" y="10"/>
                  </a:moveTo>
                  <a:cubicBezTo>
                    <a:pt x="0" y="5"/>
                    <a:pt x="4" y="0"/>
                    <a:pt x="9" y="0"/>
                  </a:cubicBezTo>
                  <a:cubicBezTo>
                    <a:pt x="205" y="0"/>
                    <a:pt x="205" y="0"/>
                    <a:pt x="205" y="0"/>
                  </a:cubicBezTo>
                  <a:cubicBezTo>
                    <a:pt x="211" y="0"/>
                    <a:pt x="215" y="5"/>
                    <a:pt x="215" y="10"/>
                  </a:cubicBezTo>
                  <a:cubicBezTo>
                    <a:pt x="215" y="11"/>
                    <a:pt x="215" y="11"/>
                    <a:pt x="215" y="11"/>
                  </a:cubicBezTo>
                  <a:cubicBezTo>
                    <a:pt x="215" y="16"/>
                    <a:pt x="211" y="20"/>
                    <a:pt x="205" y="20"/>
                  </a:cubicBezTo>
                  <a:cubicBezTo>
                    <a:pt x="9" y="20"/>
                    <a:pt x="9" y="20"/>
                    <a:pt x="9" y="20"/>
                  </a:cubicBezTo>
                  <a:cubicBezTo>
                    <a:pt x="4"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2" name="îṧļíḑè"/>
            <p:cNvSpPr/>
            <p:nvPr/>
          </p:nvSpPr>
          <p:spPr bwMode="auto">
            <a:xfrm>
              <a:off x="4093201" y="3602113"/>
              <a:ext cx="67040" cy="6188"/>
            </a:xfrm>
            <a:custGeom>
              <a:avLst/>
              <a:gdLst>
                <a:gd name="T0" fmla="*/ 0 w 215"/>
                <a:gd name="T1" fmla="*/ 10 h 20"/>
                <a:gd name="T2" fmla="*/ 9 w 215"/>
                <a:gd name="T3" fmla="*/ 0 h 20"/>
                <a:gd name="T4" fmla="*/ 205 w 215"/>
                <a:gd name="T5" fmla="*/ 0 h 20"/>
                <a:gd name="T6" fmla="*/ 215 w 215"/>
                <a:gd name="T7" fmla="*/ 10 h 20"/>
                <a:gd name="T8" fmla="*/ 215 w 215"/>
                <a:gd name="T9" fmla="*/ 11 h 20"/>
                <a:gd name="T10" fmla="*/ 205 w 215"/>
                <a:gd name="T11" fmla="*/ 20 h 20"/>
                <a:gd name="T12" fmla="*/ 9 w 215"/>
                <a:gd name="T13" fmla="*/ 20 h 20"/>
                <a:gd name="T14" fmla="*/ 0 w 215"/>
                <a:gd name="T15" fmla="*/ 11 h 20"/>
                <a:gd name="T16" fmla="*/ 0 w 215"/>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0">
                  <a:moveTo>
                    <a:pt x="0" y="10"/>
                  </a:moveTo>
                  <a:cubicBezTo>
                    <a:pt x="0" y="5"/>
                    <a:pt x="4" y="0"/>
                    <a:pt x="9" y="0"/>
                  </a:cubicBezTo>
                  <a:cubicBezTo>
                    <a:pt x="205" y="0"/>
                    <a:pt x="205" y="0"/>
                    <a:pt x="205" y="0"/>
                  </a:cubicBezTo>
                  <a:cubicBezTo>
                    <a:pt x="211" y="0"/>
                    <a:pt x="215" y="5"/>
                    <a:pt x="215" y="10"/>
                  </a:cubicBezTo>
                  <a:cubicBezTo>
                    <a:pt x="215" y="11"/>
                    <a:pt x="215" y="11"/>
                    <a:pt x="215" y="11"/>
                  </a:cubicBezTo>
                  <a:cubicBezTo>
                    <a:pt x="215" y="16"/>
                    <a:pt x="211" y="20"/>
                    <a:pt x="205" y="20"/>
                  </a:cubicBezTo>
                  <a:cubicBezTo>
                    <a:pt x="9" y="20"/>
                    <a:pt x="9" y="20"/>
                    <a:pt x="9" y="20"/>
                  </a:cubicBezTo>
                  <a:cubicBezTo>
                    <a:pt x="4"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3" name="i$ľidè"/>
            <p:cNvSpPr/>
            <p:nvPr/>
          </p:nvSpPr>
          <p:spPr bwMode="auto">
            <a:xfrm>
              <a:off x="4093201" y="3638212"/>
              <a:ext cx="67040" cy="6188"/>
            </a:xfrm>
            <a:custGeom>
              <a:avLst/>
              <a:gdLst>
                <a:gd name="T0" fmla="*/ 0 w 215"/>
                <a:gd name="T1" fmla="*/ 10 h 20"/>
                <a:gd name="T2" fmla="*/ 9 w 215"/>
                <a:gd name="T3" fmla="*/ 0 h 20"/>
                <a:gd name="T4" fmla="*/ 205 w 215"/>
                <a:gd name="T5" fmla="*/ 0 h 20"/>
                <a:gd name="T6" fmla="*/ 215 w 215"/>
                <a:gd name="T7" fmla="*/ 10 h 20"/>
                <a:gd name="T8" fmla="*/ 215 w 215"/>
                <a:gd name="T9" fmla="*/ 11 h 20"/>
                <a:gd name="T10" fmla="*/ 205 w 215"/>
                <a:gd name="T11" fmla="*/ 20 h 20"/>
                <a:gd name="T12" fmla="*/ 9 w 215"/>
                <a:gd name="T13" fmla="*/ 20 h 20"/>
                <a:gd name="T14" fmla="*/ 0 w 215"/>
                <a:gd name="T15" fmla="*/ 11 h 20"/>
                <a:gd name="T16" fmla="*/ 0 w 215"/>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0">
                  <a:moveTo>
                    <a:pt x="0" y="10"/>
                  </a:moveTo>
                  <a:cubicBezTo>
                    <a:pt x="0" y="4"/>
                    <a:pt x="4" y="0"/>
                    <a:pt x="9" y="0"/>
                  </a:cubicBezTo>
                  <a:cubicBezTo>
                    <a:pt x="205" y="0"/>
                    <a:pt x="205" y="0"/>
                    <a:pt x="205" y="0"/>
                  </a:cubicBezTo>
                  <a:cubicBezTo>
                    <a:pt x="211" y="0"/>
                    <a:pt x="215" y="4"/>
                    <a:pt x="215" y="10"/>
                  </a:cubicBezTo>
                  <a:cubicBezTo>
                    <a:pt x="215" y="11"/>
                    <a:pt x="215" y="11"/>
                    <a:pt x="215" y="11"/>
                  </a:cubicBezTo>
                  <a:cubicBezTo>
                    <a:pt x="215" y="16"/>
                    <a:pt x="211" y="20"/>
                    <a:pt x="205" y="20"/>
                  </a:cubicBezTo>
                  <a:cubicBezTo>
                    <a:pt x="9" y="20"/>
                    <a:pt x="9" y="20"/>
                    <a:pt x="9" y="20"/>
                  </a:cubicBezTo>
                  <a:cubicBezTo>
                    <a:pt x="4"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4" name="ïṣ1iḍé"/>
            <p:cNvSpPr/>
            <p:nvPr/>
          </p:nvSpPr>
          <p:spPr bwMode="auto">
            <a:xfrm>
              <a:off x="4275757" y="3429871"/>
              <a:ext cx="238252" cy="238252"/>
            </a:xfrm>
            <a:custGeom>
              <a:avLst/>
              <a:gdLst>
                <a:gd name="T0" fmla="*/ 762 w 762"/>
                <a:gd name="T1" fmla="*/ 716 h 762"/>
                <a:gd name="T2" fmla="*/ 717 w 762"/>
                <a:gd name="T3" fmla="*/ 762 h 762"/>
                <a:gd name="T4" fmla="*/ 46 w 762"/>
                <a:gd name="T5" fmla="*/ 762 h 762"/>
                <a:gd name="T6" fmla="*/ 0 w 762"/>
                <a:gd name="T7" fmla="*/ 716 h 762"/>
                <a:gd name="T8" fmla="*/ 0 w 762"/>
                <a:gd name="T9" fmla="*/ 45 h 762"/>
                <a:gd name="T10" fmla="*/ 46 w 762"/>
                <a:gd name="T11" fmla="*/ 0 h 762"/>
                <a:gd name="T12" fmla="*/ 717 w 762"/>
                <a:gd name="T13" fmla="*/ 0 h 762"/>
                <a:gd name="T14" fmla="*/ 762 w 762"/>
                <a:gd name="T15" fmla="*/ 45 h 762"/>
                <a:gd name="T16" fmla="*/ 762 w 762"/>
                <a:gd name="T17" fmla="*/ 716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2" h="762">
                  <a:moveTo>
                    <a:pt x="762" y="716"/>
                  </a:moveTo>
                  <a:cubicBezTo>
                    <a:pt x="762" y="741"/>
                    <a:pt x="742" y="762"/>
                    <a:pt x="717" y="762"/>
                  </a:cubicBezTo>
                  <a:cubicBezTo>
                    <a:pt x="46" y="762"/>
                    <a:pt x="46" y="762"/>
                    <a:pt x="46" y="762"/>
                  </a:cubicBezTo>
                  <a:cubicBezTo>
                    <a:pt x="21" y="762"/>
                    <a:pt x="0" y="741"/>
                    <a:pt x="0" y="716"/>
                  </a:cubicBezTo>
                  <a:cubicBezTo>
                    <a:pt x="0" y="45"/>
                    <a:pt x="0" y="45"/>
                    <a:pt x="0" y="45"/>
                  </a:cubicBezTo>
                  <a:cubicBezTo>
                    <a:pt x="0" y="20"/>
                    <a:pt x="21" y="0"/>
                    <a:pt x="46" y="0"/>
                  </a:cubicBezTo>
                  <a:cubicBezTo>
                    <a:pt x="717" y="0"/>
                    <a:pt x="717" y="0"/>
                    <a:pt x="717" y="0"/>
                  </a:cubicBezTo>
                  <a:cubicBezTo>
                    <a:pt x="742" y="0"/>
                    <a:pt x="762" y="20"/>
                    <a:pt x="762" y="45"/>
                  </a:cubicBezTo>
                  <a:lnTo>
                    <a:pt x="762" y="716"/>
                  </a:lnTo>
                  <a:close/>
                </a:path>
              </a:pathLst>
            </a:custGeom>
            <a:solidFill>
              <a:srgbClr val="E78D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5" name="íṧḷïďê"/>
            <p:cNvSpPr/>
            <p:nvPr/>
          </p:nvSpPr>
          <p:spPr bwMode="auto">
            <a:xfrm>
              <a:off x="4292260" y="3506194"/>
              <a:ext cx="205247" cy="27848"/>
            </a:xfrm>
            <a:custGeom>
              <a:avLst/>
              <a:gdLst>
                <a:gd name="T0" fmla="*/ 611 w 655"/>
                <a:gd name="T1" fmla="*/ 0 h 88"/>
                <a:gd name="T2" fmla="*/ 655 w 655"/>
                <a:gd name="T3" fmla="*/ 44 h 88"/>
                <a:gd name="T4" fmla="*/ 655 w 655"/>
                <a:gd name="T5" fmla="*/ 44 h 88"/>
                <a:gd name="T6" fmla="*/ 611 w 655"/>
                <a:gd name="T7" fmla="*/ 88 h 88"/>
                <a:gd name="T8" fmla="*/ 44 w 655"/>
                <a:gd name="T9" fmla="*/ 88 h 88"/>
                <a:gd name="T10" fmla="*/ 0 w 655"/>
                <a:gd name="T11" fmla="*/ 44 h 88"/>
                <a:gd name="T12" fmla="*/ 0 w 655"/>
                <a:gd name="T13" fmla="*/ 44 h 88"/>
                <a:gd name="T14" fmla="*/ 44 w 655"/>
                <a:gd name="T15" fmla="*/ 0 h 88"/>
                <a:gd name="T16" fmla="*/ 611 w 655"/>
                <a:gd name="T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5" h="88">
                  <a:moveTo>
                    <a:pt x="611" y="0"/>
                  </a:moveTo>
                  <a:cubicBezTo>
                    <a:pt x="635" y="0"/>
                    <a:pt x="655" y="19"/>
                    <a:pt x="655" y="44"/>
                  </a:cubicBezTo>
                  <a:cubicBezTo>
                    <a:pt x="655" y="44"/>
                    <a:pt x="655" y="44"/>
                    <a:pt x="655" y="44"/>
                  </a:cubicBezTo>
                  <a:cubicBezTo>
                    <a:pt x="655" y="68"/>
                    <a:pt x="635" y="88"/>
                    <a:pt x="611" y="88"/>
                  </a:cubicBezTo>
                  <a:cubicBezTo>
                    <a:pt x="44" y="88"/>
                    <a:pt x="44" y="88"/>
                    <a:pt x="44" y="88"/>
                  </a:cubicBezTo>
                  <a:cubicBezTo>
                    <a:pt x="19" y="88"/>
                    <a:pt x="0" y="68"/>
                    <a:pt x="0" y="44"/>
                  </a:cubicBezTo>
                  <a:cubicBezTo>
                    <a:pt x="0" y="44"/>
                    <a:pt x="0" y="44"/>
                    <a:pt x="0" y="44"/>
                  </a:cubicBezTo>
                  <a:cubicBezTo>
                    <a:pt x="0" y="19"/>
                    <a:pt x="19" y="0"/>
                    <a:pt x="44" y="0"/>
                  </a:cubicBezTo>
                  <a:lnTo>
                    <a:pt x="611"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6" name="ïṣlíḍé"/>
            <p:cNvSpPr/>
            <p:nvPr/>
          </p:nvSpPr>
          <p:spPr bwMode="auto">
            <a:xfrm>
              <a:off x="4292260" y="3563952"/>
              <a:ext cx="205247" cy="26816"/>
            </a:xfrm>
            <a:custGeom>
              <a:avLst/>
              <a:gdLst>
                <a:gd name="T0" fmla="*/ 611 w 655"/>
                <a:gd name="T1" fmla="*/ 0 h 88"/>
                <a:gd name="T2" fmla="*/ 655 w 655"/>
                <a:gd name="T3" fmla="*/ 44 h 88"/>
                <a:gd name="T4" fmla="*/ 655 w 655"/>
                <a:gd name="T5" fmla="*/ 44 h 88"/>
                <a:gd name="T6" fmla="*/ 611 w 655"/>
                <a:gd name="T7" fmla="*/ 88 h 88"/>
                <a:gd name="T8" fmla="*/ 44 w 655"/>
                <a:gd name="T9" fmla="*/ 88 h 88"/>
                <a:gd name="T10" fmla="*/ 0 w 655"/>
                <a:gd name="T11" fmla="*/ 44 h 88"/>
                <a:gd name="T12" fmla="*/ 0 w 655"/>
                <a:gd name="T13" fmla="*/ 44 h 88"/>
                <a:gd name="T14" fmla="*/ 44 w 655"/>
                <a:gd name="T15" fmla="*/ 0 h 88"/>
                <a:gd name="T16" fmla="*/ 611 w 655"/>
                <a:gd name="T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5" h="88">
                  <a:moveTo>
                    <a:pt x="611" y="0"/>
                  </a:moveTo>
                  <a:cubicBezTo>
                    <a:pt x="635" y="0"/>
                    <a:pt x="655" y="20"/>
                    <a:pt x="655" y="44"/>
                  </a:cubicBezTo>
                  <a:cubicBezTo>
                    <a:pt x="655" y="44"/>
                    <a:pt x="655" y="44"/>
                    <a:pt x="655" y="44"/>
                  </a:cubicBezTo>
                  <a:cubicBezTo>
                    <a:pt x="655" y="69"/>
                    <a:pt x="635" y="88"/>
                    <a:pt x="611" y="88"/>
                  </a:cubicBezTo>
                  <a:cubicBezTo>
                    <a:pt x="44" y="88"/>
                    <a:pt x="44" y="88"/>
                    <a:pt x="44" y="88"/>
                  </a:cubicBezTo>
                  <a:cubicBezTo>
                    <a:pt x="19" y="88"/>
                    <a:pt x="0" y="69"/>
                    <a:pt x="0" y="44"/>
                  </a:cubicBezTo>
                  <a:cubicBezTo>
                    <a:pt x="0" y="44"/>
                    <a:pt x="0" y="44"/>
                    <a:pt x="0" y="44"/>
                  </a:cubicBezTo>
                  <a:cubicBezTo>
                    <a:pt x="0" y="20"/>
                    <a:pt x="19" y="0"/>
                    <a:pt x="44" y="0"/>
                  </a:cubicBezTo>
                  <a:lnTo>
                    <a:pt x="611"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7" name="íşļïḍe"/>
            <p:cNvSpPr/>
            <p:nvPr/>
          </p:nvSpPr>
          <p:spPr bwMode="auto">
            <a:xfrm>
              <a:off x="4292260" y="3620678"/>
              <a:ext cx="205247" cy="27848"/>
            </a:xfrm>
            <a:custGeom>
              <a:avLst/>
              <a:gdLst>
                <a:gd name="T0" fmla="*/ 611 w 655"/>
                <a:gd name="T1" fmla="*/ 0 h 89"/>
                <a:gd name="T2" fmla="*/ 655 w 655"/>
                <a:gd name="T3" fmla="*/ 45 h 89"/>
                <a:gd name="T4" fmla="*/ 655 w 655"/>
                <a:gd name="T5" fmla="*/ 45 h 89"/>
                <a:gd name="T6" fmla="*/ 611 w 655"/>
                <a:gd name="T7" fmla="*/ 89 h 89"/>
                <a:gd name="T8" fmla="*/ 44 w 655"/>
                <a:gd name="T9" fmla="*/ 89 h 89"/>
                <a:gd name="T10" fmla="*/ 0 w 655"/>
                <a:gd name="T11" fmla="*/ 45 h 89"/>
                <a:gd name="T12" fmla="*/ 0 w 655"/>
                <a:gd name="T13" fmla="*/ 45 h 89"/>
                <a:gd name="T14" fmla="*/ 44 w 655"/>
                <a:gd name="T15" fmla="*/ 0 h 89"/>
                <a:gd name="T16" fmla="*/ 611 w 65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5" h="89">
                  <a:moveTo>
                    <a:pt x="611" y="0"/>
                  </a:moveTo>
                  <a:cubicBezTo>
                    <a:pt x="635" y="0"/>
                    <a:pt x="655" y="20"/>
                    <a:pt x="655" y="45"/>
                  </a:cubicBezTo>
                  <a:cubicBezTo>
                    <a:pt x="655" y="45"/>
                    <a:pt x="655" y="45"/>
                    <a:pt x="655" y="45"/>
                  </a:cubicBezTo>
                  <a:cubicBezTo>
                    <a:pt x="655" y="69"/>
                    <a:pt x="635" y="89"/>
                    <a:pt x="611" y="89"/>
                  </a:cubicBezTo>
                  <a:cubicBezTo>
                    <a:pt x="44" y="89"/>
                    <a:pt x="44" y="89"/>
                    <a:pt x="44" y="89"/>
                  </a:cubicBezTo>
                  <a:cubicBezTo>
                    <a:pt x="19" y="89"/>
                    <a:pt x="0" y="69"/>
                    <a:pt x="0" y="45"/>
                  </a:cubicBezTo>
                  <a:cubicBezTo>
                    <a:pt x="0" y="45"/>
                    <a:pt x="0" y="45"/>
                    <a:pt x="0" y="45"/>
                  </a:cubicBezTo>
                  <a:cubicBezTo>
                    <a:pt x="0" y="20"/>
                    <a:pt x="19" y="0"/>
                    <a:pt x="44" y="0"/>
                  </a:cubicBezTo>
                  <a:lnTo>
                    <a:pt x="611"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8" name="iśliḓè"/>
            <p:cNvSpPr/>
            <p:nvPr/>
          </p:nvSpPr>
          <p:spPr bwMode="auto">
            <a:xfrm>
              <a:off x="4292260" y="3448436"/>
              <a:ext cx="205247" cy="27848"/>
            </a:xfrm>
            <a:custGeom>
              <a:avLst/>
              <a:gdLst>
                <a:gd name="T0" fmla="*/ 611 w 655"/>
                <a:gd name="T1" fmla="*/ 0 h 89"/>
                <a:gd name="T2" fmla="*/ 655 w 655"/>
                <a:gd name="T3" fmla="*/ 44 h 89"/>
                <a:gd name="T4" fmla="*/ 655 w 655"/>
                <a:gd name="T5" fmla="*/ 44 h 89"/>
                <a:gd name="T6" fmla="*/ 611 w 655"/>
                <a:gd name="T7" fmla="*/ 89 h 89"/>
                <a:gd name="T8" fmla="*/ 44 w 655"/>
                <a:gd name="T9" fmla="*/ 89 h 89"/>
                <a:gd name="T10" fmla="*/ 0 w 655"/>
                <a:gd name="T11" fmla="*/ 44 h 89"/>
                <a:gd name="T12" fmla="*/ 0 w 655"/>
                <a:gd name="T13" fmla="*/ 44 h 89"/>
                <a:gd name="T14" fmla="*/ 44 w 655"/>
                <a:gd name="T15" fmla="*/ 0 h 89"/>
                <a:gd name="T16" fmla="*/ 611 w 65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5" h="89">
                  <a:moveTo>
                    <a:pt x="611" y="0"/>
                  </a:moveTo>
                  <a:cubicBezTo>
                    <a:pt x="635" y="0"/>
                    <a:pt x="655" y="20"/>
                    <a:pt x="655" y="44"/>
                  </a:cubicBezTo>
                  <a:cubicBezTo>
                    <a:pt x="655" y="44"/>
                    <a:pt x="655" y="44"/>
                    <a:pt x="655" y="44"/>
                  </a:cubicBezTo>
                  <a:cubicBezTo>
                    <a:pt x="655" y="69"/>
                    <a:pt x="635" y="89"/>
                    <a:pt x="611" y="89"/>
                  </a:cubicBezTo>
                  <a:cubicBezTo>
                    <a:pt x="44" y="89"/>
                    <a:pt x="44" y="89"/>
                    <a:pt x="44" y="89"/>
                  </a:cubicBezTo>
                  <a:cubicBezTo>
                    <a:pt x="19" y="89"/>
                    <a:pt x="0" y="69"/>
                    <a:pt x="0" y="44"/>
                  </a:cubicBezTo>
                  <a:cubicBezTo>
                    <a:pt x="0" y="44"/>
                    <a:pt x="0" y="44"/>
                    <a:pt x="0" y="44"/>
                  </a:cubicBezTo>
                  <a:cubicBezTo>
                    <a:pt x="0" y="20"/>
                    <a:pt x="19" y="0"/>
                    <a:pt x="44" y="0"/>
                  </a:cubicBezTo>
                  <a:lnTo>
                    <a:pt x="611" y="0"/>
                  </a:lnTo>
                  <a:close/>
                </a:path>
              </a:pathLst>
            </a:custGeom>
            <a:solidFill>
              <a:srgbClr val="F5A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9" name="îṥḻide"/>
            <p:cNvSpPr/>
            <p:nvPr/>
          </p:nvSpPr>
          <p:spPr bwMode="auto">
            <a:xfrm>
              <a:off x="4334547" y="3426776"/>
              <a:ext cx="6188" cy="244440"/>
            </a:xfrm>
            <a:custGeom>
              <a:avLst/>
              <a:gdLst>
                <a:gd name="T0" fmla="*/ 0 w 20"/>
                <a:gd name="T1" fmla="*/ 10 h 779"/>
                <a:gd name="T2" fmla="*/ 10 w 20"/>
                <a:gd name="T3" fmla="*/ 0 h 779"/>
                <a:gd name="T4" fmla="*/ 10 w 20"/>
                <a:gd name="T5" fmla="*/ 0 h 779"/>
                <a:gd name="T6" fmla="*/ 20 w 20"/>
                <a:gd name="T7" fmla="*/ 10 h 779"/>
                <a:gd name="T8" fmla="*/ 20 w 20"/>
                <a:gd name="T9" fmla="*/ 770 h 779"/>
                <a:gd name="T10" fmla="*/ 10 w 20"/>
                <a:gd name="T11" fmla="*/ 779 h 779"/>
                <a:gd name="T12" fmla="*/ 10 w 20"/>
                <a:gd name="T13" fmla="*/ 779 h 779"/>
                <a:gd name="T14" fmla="*/ 0 w 20"/>
                <a:gd name="T15" fmla="*/ 770 h 779"/>
                <a:gd name="T16" fmla="*/ 0 w 20"/>
                <a:gd name="T17" fmla="*/ 1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79">
                  <a:moveTo>
                    <a:pt x="0" y="10"/>
                  </a:moveTo>
                  <a:cubicBezTo>
                    <a:pt x="0" y="5"/>
                    <a:pt x="4" y="0"/>
                    <a:pt x="10" y="0"/>
                  </a:cubicBezTo>
                  <a:cubicBezTo>
                    <a:pt x="10" y="0"/>
                    <a:pt x="10" y="0"/>
                    <a:pt x="10" y="0"/>
                  </a:cubicBezTo>
                  <a:cubicBezTo>
                    <a:pt x="16" y="0"/>
                    <a:pt x="20" y="5"/>
                    <a:pt x="20" y="10"/>
                  </a:cubicBezTo>
                  <a:cubicBezTo>
                    <a:pt x="20" y="770"/>
                    <a:pt x="20" y="770"/>
                    <a:pt x="20" y="770"/>
                  </a:cubicBezTo>
                  <a:cubicBezTo>
                    <a:pt x="20" y="775"/>
                    <a:pt x="16" y="779"/>
                    <a:pt x="10" y="779"/>
                  </a:cubicBezTo>
                  <a:cubicBezTo>
                    <a:pt x="10" y="779"/>
                    <a:pt x="10" y="779"/>
                    <a:pt x="10" y="779"/>
                  </a:cubicBezTo>
                  <a:cubicBezTo>
                    <a:pt x="4" y="779"/>
                    <a:pt x="0" y="775"/>
                    <a:pt x="0" y="770"/>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0" name="iṣľiďé"/>
            <p:cNvSpPr/>
            <p:nvPr/>
          </p:nvSpPr>
          <p:spPr bwMode="auto">
            <a:xfrm>
              <a:off x="4392305" y="3426776"/>
              <a:ext cx="6188" cy="244440"/>
            </a:xfrm>
            <a:custGeom>
              <a:avLst/>
              <a:gdLst>
                <a:gd name="T0" fmla="*/ 0 w 20"/>
                <a:gd name="T1" fmla="*/ 10 h 779"/>
                <a:gd name="T2" fmla="*/ 9 w 20"/>
                <a:gd name="T3" fmla="*/ 0 h 779"/>
                <a:gd name="T4" fmla="*/ 10 w 20"/>
                <a:gd name="T5" fmla="*/ 0 h 779"/>
                <a:gd name="T6" fmla="*/ 20 w 20"/>
                <a:gd name="T7" fmla="*/ 10 h 779"/>
                <a:gd name="T8" fmla="*/ 20 w 20"/>
                <a:gd name="T9" fmla="*/ 770 h 779"/>
                <a:gd name="T10" fmla="*/ 10 w 20"/>
                <a:gd name="T11" fmla="*/ 779 h 779"/>
                <a:gd name="T12" fmla="*/ 9 w 20"/>
                <a:gd name="T13" fmla="*/ 779 h 779"/>
                <a:gd name="T14" fmla="*/ 0 w 20"/>
                <a:gd name="T15" fmla="*/ 770 h 779"/>
                <a:gd name="T16" fmla="*/ 0 w 20"/>
                <a:gd name="T17" fmla="*/ 1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79">
                  <a:moveTo>
                    <a:pt x="0" y="10"/>
                  </a:moveTo>
                  <a:cubicBezTo>
                    <a:pt x="0" y="5"/>
                    <a:pt x="4" y="0"/>
                    <a:pt x="9" y="0"/>
                  </a:cubicBezTo>
                  <a:cubicBezTo>
                    <a:pt x="10" y="0"/>
                    <a:pt x="10" y="0"/>
                    <a:pt x="10" y="0"/>
                  </a:cubicBezTo>
                  <a:cubicBezTo>
                    <a:pt x="16" y="0"/>
                    <a:pt x="20" y="5"/>
                    <a:pt x="20" y="10"/>
                  </a:cubicBezTo>
                  <a:cubicBezTo>
                    <a:pt x="20" y="770"/>
                    <a:pt x="20" y="770"/>
                    <a:pt x="20" y="770"/>
                  </a:cubicBezTo>
                  <a:cubicBezTo>
                    <a:pt x="20" y="775"/>
                    <a:pt x="16" y="779"/>
                    <a:pt x="10" y="779"/>
                  </a:cubicBezTo>
                  <a:cubicBezTo>
                    <a:pt x="9" y="779"/>
                    <a:pt x="9" y="779"/>
                    <a:pt x="9" y="779"/>
                  </a:cubicBezTo>
                  <a:cubicBezTo>
                    <a:pt x="4" y="779"/>
                    <a:pt x="0" y="775"/>
                    <a:pt x="0" y="770"/>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1" name="íŝḷîḑê"/>
            <p:cNvSpPr/>
            <p:nvPr/>
          </p:nvSpPr>
          <p:spPr bwMode="auto">
            <a:xfrm>
              <a:off x="4332484" y="3458750"/>
              <a:ext cx="67040" cy="6188"/>
            </a:xfrm>
            <a:custGeom>
              <a:avLst/>
              <a:gdLst>
                <a:gd name="T0" fmla="*/ 0 w 216"/>
                <a:gd name="T1" fmla="*/ 9 h 20"/>
                <a:gd name="T2" fmla="*/ 10 w 216"/>
                <a:gd name="T3" fmla="*/ 0 h 20"/>
                <a:gd name="T4" fmla="*/ 206 w 216"/>
                <a:gd name="T5" fmla="*/ 0 h 20"/>
                <a:gd name="T6" fmla="*/ 216 w 216"/>
                <a:gd name="T7" fmla="*/ 9 h 20"/>
                <a:gd name="T8" fmla="*/ 216 w 216"/>
                <a:gd name="T9" fmla="*/ 10 h 20"/>
                <a:gd name="T10" fmla="*/ 206 w 216"/>
                <a:gd name="T11" fmla="*/ 20 h 20"/>
                <a:gd name="T12" fmla="*/ 10 w 216"/>
                <a:gd name="T13" fmla="*/ 20 h 20"/>
                <a:gd name="T14" fmla="*/ 0 w 216"/>
                <a:gd name="T15" fmla="*/ 10 h 20"/>
                <a:gd name="T16" fmla="*/ 0 w 216"/>
                <a:gd name="T17"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
                  <a:moveTo>
                    <a:pt x="0" y="9"/>
                  </a:moveTo>
                  <a:cubicBezTo>
                    <a:pt x="0" y="4"/>
                    <a:pt x="5" y="0"/>
                    <a:pt x="10" y="0"/>
                  </a:cubicBezTo>
                  <a:cubicBezTo>
                    <a:pt x="206" y="0"/>
                    <a:pt x="206" y="0"/>
                    <a:pt x="206" y="0"/>
                  </a:cubicBezTo>
                  <a:cubicBezTo>
                    <a:pt x="212" y="0"/>
                    <a:pt x="216" y="4"/>
                    <a:pt x="216" y="9"/>
                  </a:cubicBezTo>
                  <a:cubicBezTo>
                    <a:pt x="216" y="10"/>
                    <a:pt x="216" y="10"/>
                    <a:pt x="216" y="10"/>
                  </a:cubicBezTo>
                  <a:cubicBezTo>
                    <a:pt x="216" y="15"/>
                    <a:pt x="212" y="20"/>
                    <a:pt x="206" y="20"/>
                  </a:cubicBezTo>
                  <a:cubicBezTo>
                    <a:pt x="10" y="20"/>
                    <a:pt x="10" y="20"/>
                    <a:pt x="10" y="20"/>
                  </a:cubicBezTo>
                  <a:cubicBezTo>
                    <a:pt x="5" y="20"/>
                    <a:pt x="0" y="15"/>
                    <a:pt x="0" y="10"/>
                  </a:cubicBezTo>
                  <a:lnTo>
                    <a:pt x="0" y="9"/>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2" name="işḷîḓe"/>
            <p:cNvSpPr/>
            <p:nvPr/>
          </p:nvSpPr>
          <p:spPr bwMode="auto">
            <a:xfrm>
              <a:off x="4332484" y="3493817"/>
              <a:ext cx="67040" cy="6188"/>
            </a:xfrm>
            <a:custGeom>
              <a:avLst/>
              <a:gdLst>
                <a:gd name="T0" fmla="*/ 0 w 216"/>
                <a:gd name="T1" fmla="*/ 10 h 20"/>
                <a:gd name="T2" fmla="*/ 10 w 216"/>
                <a:gd name="T3" fmla="*/ 0 h 20"/>
                <a:gd name="T4" fmla="*/ 206 w 216"/>
                <a:gd name="T5" fmla="*/ 0 h 20"/>
                <a:gd name="T6" fmla="*/ 216 w 216"/>
                <a:gd name="T7" fmla="*/ 10 h 20"/>
                <a:gd name="T8" fmla="*/ 216 w 216"/>
                <a:gd name="T9" fmla="*/ 11 h 20"/>
                <a:gd name="T10" fmla="*/ 206 w 216"/>
                <a:gd name="T11" fmla="*/ 20 h 20"/>
                <a:gd name="T12" fmla="*/ 10 w 216"/>
                <a:gd name="T13" fmla="*/ 20 h 20"/>
                <a:gd name="T14" fmla="*/ 0 w 216"/>
                <a:gd name="T15" fmla="*/ 11 h 20"/>
                <a:gd name="T16" fmla="*/ 0 w 216"/>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
                  <a:moveTo>
                    <a:pt x="0" y="10"/>
                  </a:moveTo>
                  <a:cubicBezTo>
                    <a:pt x="0" y="5"/>
                    <a:pt x="5" y="0"/>
                    <a:pt x="10" y="0"/>
                  </a:cubicBezTo>
                  <a:cubicBezTo>
                    <a:pt x="206" y="0"/>
                    <a:pt x="206" y="0"/>
                    <a:pt x="206" y="0"/>
                  </a:cubicBezTo>
                  <a:cubicBezTo>
                    <a:pt x="212" y="0"/>
                    <a:pt x="216" y="5"/>
                    <a:pt x="216" y="10"/>
                  </a:cubicBezTo>
                  <a:cubicBezTo>
                    <a:pt x="216" y="11"/>
                    <a:pt x="216" y="11"/>
                    <a:pt x="216" y="11"/>
                  </a:cubicBezTo>
                  <a:cubicBezTo>
                    <a:pt x="216" y="16"/>
                    <a:pt x="212" y="20"/>
                    <a:pt x="206" y="20"/>
                  </a:cubicBezTo>
                  <a:cubicBezTo>
                    <a:pt x="10" y="20"/>
                    <a:pt x="10" y="20"/>
                    <a:pt x="10" y="20"/>
                  </a:cubicBezTo>
                  <a:cubicBezTo>
                    <a:pt x="5"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3" name="îṧ1ïde"/>
            <p:cNvSpPr/>
            <p:nvPr/>
          </p:nvSpPr>
          <p:spPr bwMode="auto">
            <a:xfrm>
              <a:off x="4332484" y="3529916"/>
              <a:ext cx="67040" cy="6188"/>
            </a:xfrm>
            <a:custGeom>
              <a:avLst/>
              <a:gdLst>
                <a:gd name="T0" fmla="*/ 0 w 216"/>
                <a:gd name="T1" fmla="*/ 10 h 21"/>
                <a:gd name="T2" fmla="*/ 10 w 216"/>
                <a:gd name="T3" fmla="*/ 0 h 21"/>
                <a:gd name="T4" fmla="*/ 206 w 216"/>
                <a:gd name="T5" fmla="*/ 0 h 21"/>
                <a:gd name="T6" fmla="*/ 216 w 216"/>
                <a:gd name="T7" fmla="*/ 10 h 21"/>
                <a:gd name="T8" fmla="*/ 216 w 216"/>
                <a:gd name="T9" fmla="*/ 11 h 21"/>
                <a:gd name="T10" fmla="*/ 206 w 216"/>
                <a:gd name="T11" fmla="*/ 21 h 21"/>
                <a:gd name="T12" fmla="*/ 10 w 216"/>
                <a:gd name="T13" fmla="*/ 21 h 21"/>
                <a:gd name="T14" fmla="*/ 0 w 216"/>
                <a:gd name="T15" fmla="*/ 11 h 21"/>
                <a:gd name="T16" fmla="*/ 0 w 216"/>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1">
                  <a:moveTo>
                    <a:pt x="0" y="10"/>
                  </a:moveTo>
                  <a:cubicBezTo>
                    <a:pt x="0" y="5"/>
                    <a:pt x="5" y="0"/>
                    <a:pt x="10" y="0"/>
                  </a:cubicBezTo>
                  <a:cubicBezTo>
                    <a:pt x="206" y="0"/>
                    <a:pt x="206" y="0"/>
                    <a:pt x="206" y="0"/>
                  </a:cubicBezTo>
                  <a:cubicBezTo>
                    <a:pt x="212" y="0"/>
                    <a:pt x="216" y="5"/>
                    <a:pt x="216" y="10"/>
                  </a:cubicBezTo>
                  <a:cubicBezTo>
                    <a:pt x="216" y="11"/>
                    <a:pt x="216" y="11"/>
                    <a:pt x="216" y="11"/>
                  </a:cubicBezTo>
                  <a:cubicBezTo>
                    <a:pt x="216" y="16"/>
                    <a:pt x="212" y="21"/>
                    <a:pt x="206" y="21"/>
                  </a:cubicBezTo>
                  <a:cubicBezTo>
                    <a:pt x="10" y="21"/>
                    <a:pt x="10" y="21"/>
                    <a:pt x="10" y="21"/>
                  </a:cubicBezTo>
                  <a:cubicBezTo>
                    <a:pt x="5" y="21"/>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4" name="íś1îḍè"/>
            <p:cNvSpPr/>
            <p:nvPr/>
          </p:nvSpPr>
          <p:spPr bwMode="auto">
            <a:xfrm>
              <a:off x="4332484" y="3566014"/>
              <a:ext cx="67040" cy="7220"/>
            </a:xfrm>
            <a:custGeom>
              <a:avLst/>
              <a:gdLst>
                <a:gd name="T0" fmla="*/ 0 w 216"/>
                <a:gd name="T1" fmla="*/ 10 h 20"/>
                <a:gd name="T2" fmla="*/ 10 w 216"/>
                <a:gd name="T3" fmla="*/ 0 h 20"/>
                <a:gd name="T4" fmla="*/ 206 w 216"/>
                <a:gd name="T5" fmla="*/ 0 h 20"/>
                <a:gd name="T6" fmla="*/ 216 w 216"/>
                <a:gd name="T7" fmla="*/ 10 h 20"/>
                <a:gd name="T8" fmla="*/ 216 w 216"/>
                <a:gd name="T9" fmla="*/ 11 h 20"/>
                <a:gd name="T10" fmla="*/ 206 w 216"/>
                <a:gd name="T11" fmla="*/ 20 h 20"/>
                <a:gd name="T12" fmla="*/ 10 w 216"/>
                <a:gd name="T13" fmla="*/ 20 h 20"/>
                <a:gd name="T14" fmla="*/ 0 w 216"/>
                <a:gd name="T15" fmla="*/ 11 h 20"/>
                <a:gd name="T16" fmla="*/ 0 w 216"/>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
                  <a:moveTo>
                    <a:pt x="0" y="10"/>
                  </a:moveTo>
                  <a:cubicBezTo>
                    <a:pt x="0" y="5"/>
                    <a:pt x="5" y="0"/>
                    <a:pt x="10" y="0"/>
                  </a:cubicBezTo>
                  <a:cubicBezTo>
                    <a:pt x="206" y="0"/>
                    <a:pt x="206" y="0"/>
                    <a:pt x="206" y="0"/>
                  </a:cubicBezTo>
                  <a:cubicBezTo>
                    <a:pt x="212" y="0"/>
                    <a:pt x="216" y="5"/>
                    <a:pt x="216" y="10"/>
                  </a:cubicBezTo>
                  <a:cubicBezTo>
                    <a:pt x="216" y="11"/>
                    <a:pt x="216" y="11"/>
                    <a:pt x="216" y="11"/>
                  </a:cubicBezTo>
                  <a:cubicBezTo>
                    <a:pt x="216" y="16"/>
                    <a:pt x="212" y="20"/>
                    <a:pt x="206" y="20"/>
                  </a:cubicBezTo>
                  <a:cubicBezTo>
                    <a:pt x="10" y="20"/>
                    <a:pt x="10" y="20"/>
                    <a:pt x="10" y="20"/>
                  </a:cubicBezTo>
                  <a:cubicBezTo>
                    <a:pt x="5"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5" name="ïṧļiḋê"/>
            <p:cNvSpPr/>
            <p:nvPr/>
          </p:nvSpPr>
          <p:spPr bwMode="auto">
            <a:xfrm>
              <a:off x="4332484" y="3602113"/>
              <a:ext cx="67040" cy="6188"/>
            </a:xfrm>
            <a:custGeom>
              <a:avLst/>
              <a:gdLst>
                <a:gd name="T0" fmla="*/ 0 w 216"/>
                <a:gd name="T1" fmla="*/ 10 h 20"/>
                <a:gd name="T2" fmla="*/ 10 w 216"/>
                <a:gd name="T3" fmla="*/ 0 h 20"/>
                <a:gd name="T4" fmla="*/ 206 w 216"/>
                <a:gd name="T5" fmla="*/ 0 h 20"/>
                <a:gd name="T6" fmla="*/ 216 w 216"/>
                <a:gd name="T7" fmla="*/ 10 h 20"/>
                <a:gd name="T8" fmla="*/ 216 w 216"/>
                <a:gd name="T9" fmla="*/ 11 h 20"/>
                <a:gd name="T10" fmla="*/ 206 w 216"/>
                <a:gd name="T11" fmla="*/ 20 h 20"/>
                <a:gd name="T12" fmla="*/ 10 w 216"/>
                <a:gd name="T13" fmla="*/ 20 h 20"/>
                <a:gd name="T14" fmla="*/ 0 w 216"/>
                <a:gd name="T15" fmla="*/ 11 h 20"/>
                <a:gd name="T16" fmla="*/ 0 w 216"/>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
                  <a:moveTo>
                    <a:pt x="0" y="10"/>
                  </a:moveTo>
                  <a:cubicBezTo>
                    <a:pt x="0" y="5"/>
                    <a:pt x="5" y="0"/>
                    <a:pt x="10" y="0"/>
                  </a:cubicBezTo>
                  <a:cubicBezTo>
                    <a:pt x="206" y="0"/>
                    <a:pt x="206" y="0"/>
                    <a:pt x="206" y="0"/>
                  </a:cubicBezTo>
                  <a:cubicBezTo>
                    <a:pt x="212" y="0"/>
                    <a:pt x="216" y="5"/>
                    <a:pt x="216" y="10"/>
                  </a:cubicBezTo>
                  <a:cubicBezTo>
                    <a:pt x="216" y="11"/>
                    <a:pt x="216" y="11"/>
                    <a:pt x="216" y="11"/>
                  </a:cubicBezTo>
                  <a:cubicBezTo>
                    <a:pt x="216" y="16"/>
                    <a:pt x="212" y="20"/>
                    <a:pt x="206" y="20"/>
                  </a:cubicBezTo>
                  <a:cubicBezTo>
                    <a:pt x="10" y="20"/>
                    <a:pt x="10" y="20"/>
                    <a:pt x="10" y="20"/>
                  </a:cubicBezTo>
                  <a:cubicBezTo>
                    <a:pt x="5"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6" name="is1iḓê"/>
            <p:cNvSpPr/>
            <p:nvPr/>
          </p:nvSpPr>
          <p:spPr bwMode="auto">
            <a:xfrm>
              <a:off x="4332484" y="3638212"/>
              <a:ext cx="67040" cy="6188"/>
            </a:xfrm>
            <a:custGeom>
              <a:avLst/>
              <a:gdLst>
                <a:gd name="T0" fmla="*/ 0 w 216"/>
                <a:gd name="T1" fmla="*/ 10 h 20"/>
                <a:gd name="T2" fmla="*/ 10 w 216"/>
                <a:gd name="T3" fmla="*/ 0 h 20"/>
                <a:gd name="T4" fmla="*/ 206 w 216"/>
                <a:gd name="T5" fmla="*/ 0 h 20"/>
                <a:gd name="T6" fmla="*/ 216 w 216"/>
                <a:gd name="T7" fmla="*/ 10 h 20"/>
                <a:gd name="T8" fmla="*/ 216 w 216"/>
                <a:gd name="T9" fmla="*/ 11 h 20"/>
                <a:gd name="T10" fmla="*/ 206 w 216"/>
                <a:gd name="T11" fmla="*/ 20 h 20"/>
                <a:gd name="T12" fmla="*/ 10 w 216"/>
                <a:gd name="T13" fmla="*/ 20 h 20"/>
                <a:gd name="T14" fmla="*/ 0 w 216"/>
                <a:gd name="T15" fmla="*/ 11 h 20"/>
                <a:gd name="T16" fmla="*/ 0 w 216"/>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
                  <a:moveTo>
                    <a:pt x="0" y="10"/>
                  </a:moveTo>
                  <a:cubicBezTo>
                    <a:pt x="0" y="4"/>
                    <a:pt x="5" y="0"/>
                    <a:pt x="10" y="0"/>
                  </a:cubicBezTo>
                  <a:cubicBezTo>
                    <a:pt x="206" y="0"/>
                    <a:pt x="206" y="0"/>
                    <a:pt x="206" y="0"/>
                  </a:cubicBezTo>
                  <a:cubicBezTo>
                    <a:pt x="212" y="0"/>
                    <a:pt x="216" y="4"/>
                    <a:pt x="216" y="10"/>
                  </a:cubicBezTo>
                  <a:cubicBezTo>
                    <a:pt x="216" y="11"/>
                    <a:pt x="216" y="11"/>
                    <a:pt x="216" y="11"/>
                  </a:cubicBezTo>
                  <a:cubicBezTo>
                    <a:pt x="216" y="16"/>
                    <a:pt x="212" y="20"/>
                    <a:pt x="206" y="20"/>
                  </a:cubicBezTo>
                  <a:cubicBezTo>
                    <a:pt x="10" y="20"/>
                    <a:pt x="10" y="20"/>
                    <a:pt x="10" y="20"/>
                  </a:cubicBezTo>
                  <a:cubicBezTo>
                    <a:pt x="5"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7" name="íṩḷiḓé"/>
            <p:cNvSpPr/>
            <p:nvPr/>
          </p:nvSpPr>
          <p:spPr bwMode="auto">
            <a:xfrm>
              <a:off x="4037506" y="3189556"/>
              <a:ext cx="239283" cy="239283"/>
            </a:xfrm>
            <a:custGeom>
              <a:avLst/>
              <a:gdLst>
                <a:gd name="T0" fmla="*/ 762 w 762"/>
                <a:gd name="T1" fmla="*/ 716 h 762"/>
                <a:gd name="T2" fmla="*/ 716 w 762"/>
                <a:gd name="T3" fmla="*/ 762 h 762"/>
                <a:gd name="T4" fmla="*/ 45 w 762"/>
                <a:gd name="T5" fmla="*/ 762 h 762"/>
                <a:gd name="T6" fmla="*/ 0 w 762"/>
                <a:gd name="T7" fmla="*/ 716 h 762"/>
                <a:gd name="T8" fmla="*/ 0 w 762"/>
                <a:gd name="T9" fmla="*/ 45 h 762"/>
                <a:gd name="T10" fmla="*/ 45 w 762"/>
                <a:gd name="T11" fmla="*/ 0 h 762"/>
                <a:gd name="T12" fmla="*/ 716 w 762"/>
                <a:gd name="T13" fmla="*/ 0 h 762"/>
                <a:gd name="T14" fmla="*/ 762 w 762"/>
                <a:gd name="T15" fmla="*/ 45 h 762"/>
                <a:gd name="T16" fmla="*/ 762 w 762"/>
                <a:gd name="T17" fmla="*/ 716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2" h="762">
                  <a:moveTo>
                    <a:pt x="762" y="716"/>
                  </a:moveTo>
                  <a:cubicBezTo>
                    <a:pt x="762" y="741"/>
                    <a:pt x="741" y="762"/>
                    <a:pt x="716" y="762"/>
                  </a:cubicBezTo>
                  <a:cubicBezTo>
                    <a:pt x="45" y="762"/>
                    <a:pt x="45" y="762"/>
                    <a:pt x="45" y="762"/>
                  </a:cubicBezTo>
                  <a:cubicBezTo>
                    <a:pt x="20" y="762"/>
                    <a:pt x="0" y="741"/>
                    <a:pt x="0" y="716"/>
                  </a:cubicBezTo>
                  <a:cubicBezTo>
                    <a:pt x="0" y="45"/>
                    <a:pt x="0" y="45"/>
                    <a:pt x="0" y="45"/>
                  </a:cubicBezTo>
                  <a:cubicBezTo>
                    <a:pt x="0" y="20"/>
                    <a:pt x="20" y="0"/>
                    <a:pt x="45" y="0"/>
                  </a:cubicBezTo>
                  <a:cubicBezTo>
                    <a:pt x="716" y="0"/>
                    <a:pt x="716" y="0"/>
                    <a:pt x="716" y="0"/>
                  </a:cubicBezTo>
                  <a:cubicBezTo>
                    <a:pt x="741" y="0"/>
                    <a:pt x="762" y="20"/>
                    <a:pt x="762" y="45"/>
                  </a:cubicBezTo>
                  <a:lnTo>
                    <a:pt x="762" y="716"/>
                  </a:lnTo>
                  <a:close/>
                </a:path>
              </a:pathLst>
            </a:custGeom>
            <a:solidFill>
              <a:srgbClr val="9C9995"/>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8" name="îšḷïḋè"/>
            <p:cNvSpPr/>
            <p:nvPr/>
          </p:nvSpPr>
          <p:spPr bwMode="auto">
            <a:xfrm>
              <a:off x="4054008" y="3266911"/>
              <a:ext cx="205247" cy="26816"/>
            </a:xfrm>
            <a:custGeom>
              <a:avLst/>
              <a:gdLst>
                <a:gd name="T0" fmla="*/ 611 w 656"/>
                <a:gd name="T1" fmla="*/ 0 h 88"/>
                <a:gd name="T2" fmla="*/ 656 w 656"/>
                <a:gd name="T3" fmla="*/ 44 h 88"/>
                <a:gd name="T4" fmla="*/ 656 w 656"/>
                <a:gd name="T5" fmla="*/ 44 h 88"/>
                <a:gd name="T6" fmla="*/ 611 w 656"/>
                <a:gd name="T7" fmla="*/ 88 h 88"/>
                <a:gd name="T8" fmla="*/ 44 w 656"/>
                <a:gd name="T9" fmla="*/ 88 h 88"/>
                <a:gd name="T10" fmla="*/ 0 w 656"/>
                <a:gd name="T11" fmla="*/ 44 h 88"/>
                <a:gd name="T12" fmla="*/ 0 w 656"/>
                <a:gd name="T13" fmla="*/ 44 h 88"/>
                <a:gd name="T14" fmla="*/ 44 w 656"/>
                <a:gd name="T15" fmla="*/ 0 h 88"/>
                <a:gd name="T16" fmla="*/ 611 w 656"/>
                <a:gd name="T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6" h="88">
                  <a:moveTo>
                    <a:pt x="611" y="0"/>
                  </a:moveTo>
                  <a:cubicBezTo>
                    <a:pt x="636" y="0"/>
                    <a:pt x="656" y="19"/>
                    <a:pt x="656" y="44"/>
                  </a:cubicBezTo>
                  <a:cubicBezTo>
                    <a:pt x="656" y="44"/>
                    <a:pt x="656" y="44"/>
                    <a:pt x="656" y="44"/>
                  </a:cubicBezTo>
                  <a:cubicBezTo>
                    <a:pt x="656" y="68"/>
                    <a:pt x="636" y="88"/>
                    <a:pt x="611" y="88"/>
                  </a:cubicBezTo>
                  <a:cubicBezTo>
                    <a:pt x="44" y="88"/>
                    <a:pt x="44" y="88"/>
                    <a:pt x="44" y="88"/>
                  </a:cubicBezTo>
                  <a:cubicBezTo>
                    <a:pt x="20" y="88"/>
                    <a:pt x="0" y="68"/>
                    <a:pt x="0" y="44"/>
                  </a:cubicBezTo>
                  <a:cubicBezTo>
                    <a:pt x="0" y="44"/>
                    <a:pt x="0" y="44"/>
                    <a:pt x="0" y="44"/>
                  </a:cubicBezTo>
                  <a:cubicBezTo>
                    <a:pt x="0" y="19"/>
                    <a:pt x="20" y="0"/>
                    <a:pt x="44" y="0"/>
                  </a:cubicBezTo>
                  <a:lnTo>
                    <a:pt x="611" y="0"/>
                  </a:lnTo>
                  <a:close/>
                </a:path>
              </a:pathLst>
            </a:custGeom>
            <a:solidFill>
              <a:srgbClr val="D2CFC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69" name="ï$ļíḓé"/>
            <p:cNvSpPr/>
            <p:nvPr/>
          </p:nvSpPr>
          <p:spPr bwMode="auto">
            <a:xfrm>
              <a:off x="4054008" y="3323637"/>
              <a:ext cx="205247" cy="27848"/>
            </a:xfrm>
            <a:custGeom>
              <a:avLst/>
              <a:gdLst>
                <a:gd name="T0" fmla="*/ 611 w 656"/>
                <a:gd name="T1" fmla="*/ 0 h 89"/>
                <a:gd name="T2" fmla="*/ 656 w 656"/>
                <a:gd name="T3" fmla="*/ 44 h 89"/>
                <a:gd name="T4" fmla="*/ 656 w 656"/>
                <a:gd name="T5" fmla="*/ 44 h 89"/>
                <a:gd name="T6" fmla="*/ 611 w 656"/>
                <a:gd name="T7" fmla="*/ 89 h 89"/>
                <a:gd name="T8" fmla="*/ 44 w 656"/>
                <a:gd name="T9" fmla="*/ 89 h 89"/>
                <a:gd name="T10" fmla="*/ 0 w 656"/>
                <a:gd name="T11" fmla="*/ 44 h 89"/>
                <a:gd name="T12" fmla="*/ 0 w 656"/>
                <a:gd name="T13" fmla="*/ 44 h 89"/>
                <a:gd name="T14" fmla="*/ 44 w 656"/>
                <a:gd name="T15" fmla="*/ 0 h 89"/>
                <a:gd name="T16" fmla="*/ 611 w 656"/>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6" h="89">
                  <a:moveTo>
                    <a:pt x="611" y="0"/>
                  </a:moveTo>
                  <a:cubicBezTo>
                    <a:pt x="636" y="0"/>
                    <a:pt x="656" y="20"/>
                    <a:pt x="656" y="44"/>
                  </a:cubicBezTo>
                  <a:cubicBezTo>
                    <a:pt x="656" y="44"/>
                    <a:pt x="656" y="44"/>
                    <a:pt x="656" y="44"/>
                  </a:cubicBezTo>
                  <a:cubicBezTo>
                    <a:pt x="656" y="69"/>
                    <a:pt x="636" y="89"/>
                    <a:pt x="611" y="89"/>
                  </a:cubicBezTo>
                  <a:cubicBezTo>
                    <a:pt x="44" y="89"/>
                    <a:pt x="44" y="89"/>
                    <a:pt x="44" y="89"/>
                  </a:cubicBezTo>
                  <a:cubicBezTo>
                    <a:pt x="20" y="89"/>
                    <a:pt x="0" y="69"/>
                    <a:pt x="0" y="44"/>
                  </a:cubicBezTo>
                  <a:cubicBezTo>
                    <a:pt x="0" y="44"/>
                    <a:pt x="0" y="44"/>
                    <a:pt x="0" y="44"/>
                  </a:cubicBezTo>
                  <a:cubicBezTo>
                    <a:pt x="0" y="20"/>
                    <a:pt x="20" y="0"/>
                    <a:pt x="44" y="0"/>
                  </a:cubicBezTo>
                  <a:lnTo>
                    <a:pt x="611" y="0"/>
                  </a:lnTo>
                  <a:close/>
                </a:path>
              </a:pathLst>
            </a:custGeom>
            <a:solidFill>
              <a:srgbClr val="D2CFC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0" name="îṧlíďé"/>
            <p:cNvSpPr/>
            <p:nvPr/>
          </p:nvSpPr>
          <p:spPr bwMode="auto">
            <a:xfrm>
              <a:off x="4054008" y="3381395"/>
              <a:ext cx="205247" cy="27848"/>
            </a:xfrm>
            <a:custGeom>
              <a:avLst/>
              <a:gdLst>
                <a:gd name="T0" fmla="*/ 611 w 656"/>
                <a:gd name="T1" fmla="*/ 0 h 89"/>
                <a:gd name="T2" fmla="*/ 656 w 656"/>
                <a:gd name="T3" fmla="*/ 45 h 89"/>
                <a:gd name="T4" fmla="*/ 656 w 656"/>
                <a:gd name="T5" fmla="*/ 45 h 89"/>
                <a:gd name="T6" fmla="*/ 611 w 656"/>
                <a:gd name="T7" fmla="*/ 89 h 89"/>
                <a:gd name="T8" fmla="*/ 44 w 656"/>
                <a:gd name="T9" fmla="*/ 89 h 89"/>
                <a:gd name="T10" fmla="*/ 0 w 656"/>
                <a:gd name="T11" fmla="*/ 45 h 89"/>
                <a:gd name="T12" fmla="*/ 0 w 656"/>
                <a:gd name="T13" fmla="*/ 45 h 89"/>
                <a:gd name="T14" fmla="*/ 44 w 656"/>
                <a:gd name="T15" fmla="*/ 0 h 89"/>
                <a:gd name="T16" fmla="*/ 611 w 656"/>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6" h="89">
                  <a:moveTo>
                    <a:pt x="611" y="0"/>
                  </a:moveTo>
                  <a:cubicBezTo>
                    <a:pt x="636" y="0"/>
                    <a:pt x="656" y="20"/>
                    <a:pt x="656" y="45"/>
                  </a:cubicBezTo>
                  <a:cubicBezTo>
                    <a:pt x="656" y="45"/>
                    <a:pt x="656" y="45"/>
                    <a:pt x="656" y="45"/>
                  </a:cubicBezTo>
                  <a:cubicBezTo>
                    <a:pt x="656" y="69"/>
                    <a:pt x="636" y="89"/>
                    <a:pt x="611" y="89"/>
                  </a:cubicBezTo>
                  <a:cubicBezTo>
                    <a:pt x="44" y="89"/>
                    <a:pt x="44" y="89"/>
                    <a:pt x="44" y="89"/>
                  </a:cubicBezTo>
                  <a:cubicBezTo>
                    <a:pt x="20" y="89"/>
                    <a:pt x="0" y="69"/>
                    <a:pt x="0" y="45"/>
                  </a:cubicBezTo>
                  <a:cubicBezTo>
                    <a:pt x="0" y="45"/>
                    <a:pt x="0" y="45"/>
                    <a:pt x="0" y="45"/>
                  </a:cubicBezTo>
                  <a:cubicBezTo>
                    <a:pt x="0" y="20"/>
                    <a:pt x="20" y="0"/>
                    <a:pt x="44" y="0"/>
                  </a:cubicBezTo>
                  <a:lnTo>
                    <a:pt x="611" y="0"/>
                  </a:lnTo>
                  <a:close/>
                </a:path>
              </a:pathLst>
            </a:custGeom>
            <a:solidFill>
              <a:srgbClr val="D2CFC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1" name="íşḷïḑé"/>
            <p:cNvSpPr/>
            <p:nvPr/>
          </p:nvSpPr>
          <p:spPr bwMode="auto">
            <a:xfrm>
              <a:off x="4054008" y="3209153"/>
              <a:ext cx="205247" cy="27848"/>
            </a:xfrm>
            <a:custGeom>
              <a:avLst/>
              <a:gdLst>
                <a:gd name="T0" fmla="*/ 611 w 656"/>
                <a:gd name="T1" fmla="*/ 0 h 89"/>
                <a:gd name="T2" fmla="*/ 656 w 656"/>
                <a:gd name="T3" fmla="*/ 45 h 89"/>
                <a:gd name="T4" fmla="*/ 656 w 656"/>
                <a:gd name="T5" fmla="*/ 45 h 89"/>
                <a:gd name="T6" fmla="*/ 611 w 656"/>
                <a:gd name="T7" fmla="*/ 89 h 89"/>
                <a:gd name="T8" fmla="*/ 44 w 656"/>
                <a:gd name="T9" fmla="*/ 89 h 89"/>
                <a:gd name="T10" fmla="*/ 0 w 656"/>
                <a:gd name="T11" fmla="*/ 45 h 89"/>
                <a:gd name="T12" fmla="*/ 0 w 656"/>
                <a:gd name="T13" fmla="*/ 45 h 89"/>
                <a:gd name="T14" fmla="*/ 44 w 656"/>
                <a:gd name="T15" fmla="*/ 0 h 89"/>
                <a:gd name="T16" fmla="*/ 611 w 656"/>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6" h="89">
                  <a:moveTo>
                    <a:pt x="611" y="0"/>
                  </a:moveTo>
                  <a:cubicBezTo>
                    <a:pt x="636" y="0"/>
                    <a:pt x="656" y="20"/>
                    <a:pt x="656" y="45"/>
                  </a:cubicBezTo>
                  <a:cubicBezTo>
                    <a:pt x="656" y="45"/>
                    <a:pt x="656" y="45"/>
                    <a:pt x="656" y="45"/>
                  </a:cubicBezTo>
                  <a:cubicBezTo>
                    <a:pt x="656" y="69"/>
                    <a:pt x="636" y="89"/>
                    <a:pt x="611" y="89"/>
                  </a:cubicBezTo>
                  <a:cubicBezTo>
                    <a:pt x="44" y="89"/>
                    <a:pt x="44" y="89"/>
                    <a:pt x="44" y="89"/>
                  </a:cubicBezTo>
                  <a:cubicBezTo>
                    <a:pt x="20" y="89"/>
                    <a:pt x="0" y="69"/>
                    <a:pt x="0" y="45"/>
                  </a:cubicBezTo>
                  <a:cubicBezTo>
                    <a:pt x="0" y="45"/>
                    <a:pt x="0" y="45"/>
                    <a:pt x="0" y="45"/>
                  </a:cubicBezTo>
                  <a:cubicBezTo>
                    <a:pt x="0" y="20"/>
                    <a:pt x="20" y="0"/>
                    <a:pt x="44" y="0"/>
                  </a:cubicBezTo>
                  <a:lnTo>
                    <a:pt x="611" y="0"/>
                  </a:lnTo>
                  <a:close/>
                </a:path>
              </a:pathLst>
            </a:custGeom>
            <a:solidFill>
              <a:srgbClr val="D2CFC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2" name="iŝ1íḑé"/>
            <p:cNvSpPr/>
            <p:nvPr/>
          </p:nvSpPr>
          <p:spPr bwMode="auto">
            <a:xfrm>
              <a:off x="4096295" y="3187494"/>
              <a:ext cx="6188" cy="244440"/>
            </a:xfrm>
            <a:custGeom>
              <a:avLst/>
              <a:gdLst>
                <a:gd name="T0" fmla="*/ 0 w 20"/>
                <a:gd name="T1" fmla="*/ 10 h 779"/>
                <a:gd name="T2" fmla="*/ 10 w 20"/>
                <a:gd name="T3" fmla="*/ 0 h 779"/>
                <a:gd name="T4" fmla="*/ 10 w 20"/>
                <a:gd name="T5" fmla="*/ 0 h 779"/>
                <a:gd name="T6" fmla="*/ 20 w 20"/>
                <a:gd name="T7" fmla="*/ 10 h 779"/>
                <a:gd name="T8" fmla="*/ 20 w 20"/>
                <a:gd name="T9" fmla="*/ 770 h 779"/>
                <a:gd name="T10" fmla="*/ 10 w 20"/>
                <a:gd name="T11" fmla="*/ 779 h 779"/>
                <a:gd name="T12" fmla="*/ 10 w 20"/>
                <a:gd name="T13" fmla="*/ 779 h 779"/>
                <a:gd name="T14" fmla="*/ 0 w 20"/>
                <a:gd name="T15" fmla="*/ 770 h 779"/>
                <a:gd name="T16" fmla="*/ 0 w 20"/>
                <a:gd name="T17" fmla="*/ 1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79">
                  <a:moveTo>
                    <a:pt x="0" y="10"/>
                  </a:moveTo>
                  <a:cubicBezTo>
                    <a:pt x="0" y="5"/>
                    <a:pt x="4" y="0"/>
                    <a:pt x="10" y="0"/>
                  </a:cubicBezTo>
                  <a:cubicBezTo>
                    <a:pt x="10" y="0"/>
                    <a:pt x="10" y="0"/>
                    <a:pt x="10" y="0"/>
                  </a:cubicBezTo>
                  <a:cubicBezTo>
                    <a:pt x="16" y="0"/>
                    <a:pt x="20" y="5"/>
                    <a:pt x="20" y="10"/>
                  </a:cubicBezTo>
                  <a:cubicBezTo>
                    <a:pt x="20" y="770"/>
                    <a:pt x="20" y="770"/>
                    <a:pt x="20" y="770"/>
                  </a:cubicBezTo>
                  <a:cubicBezTo>
                    <a:pt x="20" y="775"/>
                    <a:pt x="16" y="779"/>
                    <a:pt x="10" y="779"/>
                  </a:cubicBezTo>
                  <a:cubicBezTo>
                    <a:pt x="10" y="779"/>
                    <a:pt x="10" y="779"/>
                    <a:pt x="10" y="779"/>
                  </a:cubicBezTo>
                  <a:cubicBezTo>
                    <a:pt x="4" y="779"/>
                    <a:pt x="0" y="775"/>
                    <a:pt x="0" y="770"/>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3" name="i$ľídé"/>
            <p:cNvSpPr/>
            <p:nvPr/>
          </p:nvSpPr>
          <p:spPr bwMode="auto">
            <a:xfrm>
              <a:off x="4154053" y="3187494"/>
              <a:ext cx="6188" cy="244440"/>
            </a:xfrm>
            <a:custGeom>
              <a:avLst/>
              <a:gdLst>
                <a:gd name="T0" fmla="*/ 0 w 20"/>
                <a:gd name="T1" fmla="*/ 10 h 779"/>
                <a:gd name="T2" fmla="*/ 9 w 20"/>
                <a:gd name="T3" fmla="*/ 0 h 779"/>
                <a:gd name="T4" fmla="*/ 10 w 20"/>
                <a:gd name="T5" fmla="*/ 0 h 779"/>
                <a:gd name="T6" fmla="*/ 20 w 20"/>
                <a:gd name="T7" fmla="*/ 10 h 779"/>
                <a:gd name="T8" fmla="*/ 20 w 20"/>
                <a:gd name="T9" fmla="*/ 770 h 779"/>
                <a:gd name="T10" fmla="*/ 10 w 20"/>
                <a:gd name="T11" fmla="*/ 779 h 779"/>
                <a:gd name="T12" fmla="*/ 9 w 20"/>
                <a:gd name="T13" fmla="*/ 779 h 779"/>
                <a:gd name="T14" fmla="*/ 0 w 20"/>
                <a:gd name="T15" fmla="*/ 770 h 779"/>
                <a:gd name="T16" fmla="*/ 0 w 20"/>
                <a:gd name="T17" fmla="*/ 1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79">
                  <a:moveTo>
                    <a:pt x="0" y="10"/>
                  </a:moveTo>
                  <a:cubicBezTo>
                    <a:pt x="0" y="5"/>
                    <a:pt x="4" y="0"/>
                    <a:pt x="9" y="0"/>
                  </a:cubicBezTo>
                  <a:cubicBezTo>
                    <a:pt x="10" y="0"/>
                    <a:pt x="10" y="0"/>
                    <a:pt x="10" y="0"/>
                  </a:cubicBezTo>
                  <a:cubicBezTo>
                    <a:pt x="16" y="0"/>
                    <a:pt x="20" y="5"/>
                    <a:pt x="20" y="10"/>
                  </a:cubicBezTo>
                  <a:cubicBezTo>
                    <a:pt x="20" y="770"/>
                    <a:pt x="20" y="770"/>
                    <a:pt x="20" y="770"/>
                  </a:cubicBezTo>
                  <a:cubicBezTo>
                    <a:pt x="20" y="775"/>
                    <a:pt x="16" y="779"/>
                    <a:pt x="10" y="779"/>
                  </a:cubicBezTo>
                  <a:cubicBezTo>
                    <a:pt x="9" y="779"/>
                    <a:pt x="9" y="779"/>
                    <a:pt x="9" y="779"/>
                  </a:cubicBezTo>
                  <a:cubicBezTo>
                    <a:pt x="4" y="779"/>
                    <a:pt x="0" y="775"/>
                    <a:pt x="0" y="770"/>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4" name="îşľiḋê"/>
            <p:cNvSpPr/>
            <p:nvPr/>
          </p:nvSpPr>
          <p:spPr bwMode="auto">
            <a:xfrm>
              <a:off x="4094232" y="3218435"/>
              <a:ext cx="68072" cy="6188"/>
            </a:xfrm>
            <a:custGeom>
              <a:avLst/>
              <a:gdLst>
                <a:gd name="T0" fmla="*/ 0 w 215"/>
                <a:gd name="T1" fmla="*/ 10 h 20"/>
                <a:gd name="T2" fmla="*/ 9 w 215"/>
                <a:gd name="T3" fmla="*/ 0 h 20"/>
                <a:gd name="T4" fmla="*/ 205 w 215"/>
                <a:gd name="T5" fmla="*/ 0 h 20"/>
                <a:gd name="T6" fmla="*/ 215 w 215"/>
                <a:gd name="T7" fmla="*/ 10 h 20"/>
                <a:gd name="T8" fmla="*/ 215 w 215"/>
                <a:gd name="T9" fmla="*/ 11 h 20"/>
                <a:gd name="T10" fmla="*/ 205 w 215"/>
                <a:gd name="T11" fmla="*/ 20 h 20"/>
                <a:gd name="T12" fmla="*/ 9 w 215"/>
                <a:gd name="T13" fmla="*/ 20 h 20"/>
                <a:gd name="T14" fmla="*/ 0 w 215"/>
                <a:gd name="T15" fmla="*/ 11 h 20"/>
                <a:gd name="T16" fmla="*/ 0 w 215"/>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0">
                  <a:moveTo>
                    <a:pt x="0" y="10"/>
                  </a:moveTo>
                  <a:cubicBezTo>
                    <a:pt x="0" y="4"/>
                    <a:pt x="4" y="0"/>
                    <a:pt x="9" y="0"/>
                  </a:cubicBezTo>
                  <a:cubicBezTo>
                    <a:pt x="205" y="0"/>
                    <a:pt x="205" y="0"/>
                    <a:pt x="205" y="0"/>
                  </a:cubicBezTo>
                  <a:cubicBezTo>
                    <a:pt x="211" y="0"/>
                    <a:pt x="215" y="4"/>
                    <a:pt x="215" y="10"/>
                  </a:cubicBezTo>
                  <a:cubicBezTo>
                    <a:pt x="215" y="11"/>
                    <a:pt x="215" y="11"/>
                    <a:pt x="215" y="11"/>
                  </a:cubicBezTo>
                  <a:cubicBezTo>
                    <a:pt x="215" y="16"/>
                    <a:pt x="211" y="20"/>
                    <a:pt x="205" y="20"/>
                  </a:cubicBezTo>
                  <a:cubicBezTo>
                    <a:pt x="9" y="20"/>
                    <a:pt x="9" y="20"/>
                    <a:pt x="9" y="20"/>
                  </a:cubicBezTo>
                  <a:cubicBezTo>
                    <a:pt x="4"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6" name="íšľîḍê"/>
            <p:cNvSpPr/>
            <p:nvPr/>
          </p:nvSpPr>
          <p:spPr bwMode="auto">
            <a:xfrm>
              <a:off x="4094232" y="3254534"/>
              <a:ext cx="68072" cy="6188"/>
            </a:xfrm>
            <a:custGeom>
              <a:avLst/>
              <a:gdLst>
                <a:gd name="T0" fmla="*/ 0 w 215"/>
                <a:gd name="T1" fmla="*/ 10 h 20"/>
                <a:gd name="T2" fmla="*/ 9 w 215"/>
                <a:gd name="T3" fmla="*/ 0 h 20"/>
                <a:gd name="T4" fmla="*/ 205 w 215"/>
                <a:gd name="T5" fmla="*/ 0 h 20"/>
                <a:gd name="T6" fmla="*/ 215 w 215"/>
                <a:gd name="T7" fmla="*/ 10 h 20"/>
                <a:gd name="T8" fmla="*/ 215 w 215"/>
                <a:gd name="T9" fmla="*/ 11 h 20"/>
                <a:gd name="T10" fmla="*/ 205 w 215"/>
                <a:gd name="T11" fmla="*/ 20 h 20"/>
                <a:gd name="T12" fmla="*/ 9 w 215"/>
                <a:gd name="T13" fmla="*/ 20 h 20"/>
                <a:gd name="T14" fmla="*/ 0 w 215"/>
                <a:gd name="T15" fmla="*/ 11 h 20"/>
                <a:gd name="T16" fmla="*/ 0 w 215"/>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0">
                  <a:moveTo>
                    <a:pt x="0" y="10"/>
                  </a:moveTo>
                  <a:cubicBezTo>
                    <a:pt x="0" y="5"/>
                    <a:pt x="4" y="0"/>
                    <a:pt x="9" y="0"/>
                  </a:cubicBezTo>
                  <a:cubicBezTo>
                    <a:pt x="205" y="0"/>
                    <a:pt x="205" y="0"/>
                    <a:pt x="205" y="0"/>
                  </a:cubicBezTo>
                  <a:cubicBezTo>
                    <a:pt x="211" y="0"/>
                    <a:pt x="215" y="5"/>
                    <a:pt x="215" y="10"/>
                  </a:cubicBezTo>
                  <a:cubicBezTo>
                    <a:pt x="215" y="11"/>
                    <a:pt x="215" y="11"/>
                    <a:pt x="215" y="11"/>
                  </a:cubicBezTo>
                  <a:cubicBezTo>
                    <a:pt x="215" y="16"/>
                    <a:pt x="211" y="20"/>
                    <a:pt x="205" y="20"/>
                  </a:cubicBezTo>
                  <a:cubicBezTo>
                    <a:pt x="9" y="20"/>
                    <a:pt x="9" y="20"/>
                    <a:pt x="9" y="20"/>
                  </a:cubicBezTo>
                  <a:cubicBezTo>
                    <a:pt x="4"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78" name="íşļiḓê"/>
            <p:cNvSpPr/>
            <p:nvPr/>
          </p:nvSpPr>
          <p:spPr bwMode="auto">
            <a:xfrm>
              <a:off x="4094232" y="3289601"/>
              <a:ext cx="68072" cy="6188"/>
            </a:xfrm>
            <a:custGeom>
              <a:avLst/>
              <a:gdLst>
                <a:gd name="T0" fmla="*/ 0 w 215"/>
                <a:gd name="T1" fmla="*/ 10 h 20"/>
                <a:gd name="T2" fmla="*/ 9 w 215"/>
                <a:gd name="T3" fmla="*/ 0 h 20"/>
                <a:gd name="T4" fmla="*/ 205 w 215"/>
                <a:gd name="T5" fmla="*/ 0 h 20"/>
                <a:gd name="T6" fmla="*/ 215 w 215"/>
                <a:gd name="T7" fmla="*/ 10 h 20"/>
                <a:gd name="T8" fmla="*/ 215 w 215"/>
                <a:gd name="T9" fmla="*/ 11 h 20"/>
                <a:gd name="T10" fmla="*/ 205 w 215"/>
                <a:gd name="T11" fmla="*/ 20 h 20"/>
                <a:gd name="T12" fmla="*/ 9 w 215"/>
                <a:gd name="T13" fmla="*/ 20 h 20"/>
                <a:gd name="T14" fmla="*/ 0 w 215"/>
                <a:gd name="T15" fmla="*/ 11 h 20"/>
                <a:gd name="T16" fmla="*/ 0 w 215"/>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0">
                  <a:moveTo>
                    <a:pt x="0" y="10"/>
                  </a:moveTo>
                  <a:cubicBezTo>
                    <a:pt x="0" y="4"/>
                    <a:pt x="4" y="0"/>
                    <a:pt x="9" y="0"/>
                  </a:cubicBezTo>
                  <a:cubicBezTo>
                    <a:pt x="205" y="0"/>
                    <a:pt x="205" y="0"/>
                    <a:pt x="205" y="0"/>
                  </a:cubicBezTo>
                  <a:cubicBezTo>
                    <a:pt x="211" y="0"/>
                    <a:pt x="215" y="4"/>
                    <a:pt x="215" y="10"/>
                  </a:cubicBezTo>
                  <a:cubicBezTo>
                    <a:pt x="215" y="11"/>
                    <a:pt x="215" y="11"/>
                    <a:pt x="215" y="11"/>
                  </a:cubicBezTo>
                  <a:cubicBezTo>
                    <a:pt x="215" y="16"/>
                    <a:pt x="211" y="20"/>
                    <a:pt x="205" y="20"/>
                  </a:cubicBezTo>
                  <a:cubicBezTo>
                    <a:pt x="9" y="20"/>
                    <a:pt x="9" y="20"/>
                    <a:pt x="9" y="20"/>
                  </a:cubicBezTo>
                  <a:cubicBezTo>
                    <a:pt x="4"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4" name="ïṥliďé"/>
            <p:cNvSpPr/>
            <p:nvPr/>
          </p:nvSpPr>
          <p:spPr bwMode="auto">
            <a:xfrm>
              <a:off x="4094232" y="3326731"/>
              <a:ext cx="68072" cy="6188"/>
            </a:xfrm>
            <a:custGeom>
              <a:avLst/>
              <a:gdLst>
                <a:gd name="T0" fmla="*/ 0 w 215"/>
                <a:gd name="T1" fmla="*/ 9 h 20"/>
                <a:gd name="T2" fmla="*/ 9 w 215"/>
                <a:gd name="T3" fmla="*/ 0 h 20"/>
                <a:gd name="T4" fmla="*/ 205 w 215"/>
                <a:gd name="T5" fmla="*/ 0 h 20"/>
                <a:gd name="T6" fmla="*/ 215 w 215"/>
                <a:gd name="T7" fmla="*/ 9 h 20"/>
                <a:gd name="T8" fmla="*/ 215 w 215"/>
                <a:gd name="T9" fmla="*/ 10 h 20"/>
                <a:gd name="T10" fmla="*/ 205 w 215"/>
                <a:gd name="T11" fmla="*/ 20 h 20"/>
                <a:gd name="T12" fmla="*/ 9 w 215"/>
                <a:gd name="T13" fmla="*/ 20 h 20"/>
                <a:gd name="T14" fmla="*/ 0 w 215"/>
                <a:gd name="T15" fmla="*/ 10 h 20"/>
                <a:gd name="T16" fmla="*/ 0 w 215"/>
                <a:gd name="T17"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0">
                  <a:moveTo>
                    <a:pt x="0" y="9"/>
                  </a:moveTo>
                  <a:cubicBezTo>
                    <a:pt x="0" y="4"/>
                    <a:pt x="4" y="0"/>
                    <a:pt x="9" y="0"/>
                  </a:cubicBezTo>
                  <a:cubicBezTo>
                    <a:pt x="205" y="0"/>
                    <a:pt x="205" y="0"/>
                    <a:pt x="205" y="0"/>
                  </a:cubicBezTo>
                  <a:cubicBezTo>
                    <a:pt x="211" y="0"/>
                    <a:pt x="215" y="4"/>
                    <a:pt x="215" y="9"/>
                  </a:cubicBezTo>
                  <a:cubicBezTo>
                    <a:pt x="215" y="10"/>
                    <a:pt x="215" y="10"/>
                    <a:pt x="215" y="10"/>
                  </a:cubicBezTo>
                  <a:cubicBezTo>
                    <a:pt x="215" y="16"/>
                    <a:pt x="211" y="20"/>
                    <a:pt x="205" y="20"/>
                  </a:cubicBezTo>
                  <a:cubicBezTo>
                    <a:pt x="9" y="20"/>
                    <a:pt x="9" y="20"/>
                    <a:pt x="9" y="20"/>
                  </a:cubicBezTo>
                  <a:cubicBezTo>
                    <a:pt x="4" y="20"/>
                    <a:pt x="0" y="16"/>
                    <a:pt x="0" y="10"/>
                  </a:cubicBezTo>
                  <a:lnTo>
                    <a:pt x="0" y="9"/>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5" name="iṥḷïḋé"/>
            <p:cNvSpPr/>
            <p:nvPr/>
          </p:nvSpPr>
          <p:spPr bwMode="auto">
            <a:xfrm>
              <a:off x="4094232" y="3362830"/>
              <a:ext cx="68072" cy="6188"/>
            </a:xfrm>
            <a:custGeom>
              <a:avLst/>
              <a:gdLst>
                <a:gd name="T0" fmla="*/ 0 w 215"/>
                <a:gd name="T1" fmla="*/ 10 h 20"/>
                <a:gd name="T2" fmla="*/ 9 w 215"/>
                <a:gd name="T3" fmla="*/ 0 h 20"/>
                <a:gd name="T4" fmla="*/ 205 w 215"/>
                <a:gd name="T5" fmla="*/ 0 h 20"/>
                <a:gd name="T6" fmla="*/ 215 w 215"/>
                <a:gd name="T7" fmla="*/ 10 h 20"/>
                <a:gd name="T8" fmla="*/ 215 w 215"/>
                <a:gd name="T9" fmla="*/ 10 h 20"/>
                <a:gd name="T10" fmla="*/ 205 w 215"/>
                <a:gd name="T11" fmla="*/ 20 h 20"/>
                <a:gd name="T12" fmla="*/ 9 w 215"/>
                <a:gd name="T13" fmla="*/ 20 h 20"/>
                <a:gd name="T14" fmla="*/ 0 w 215"/>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20">
                  <a:moveTo>
                    <a:pt x="0" y="10"/>
                  </a:moveTo>
                  <a:cubicBezTo>
                    <a:pt x="0" y="4"/>
                    <a:pt x="4" y="0"/>
                    <a:pt x="9" y="0"/>
                  </a:cubicBezTo>
                  <a:cubicBezTo>
                    <a:pt x="205" y="0"/>
                    <a:pt x="205" y="0"/>
                    <a:pt x="205" y="0"/>
                  </a:cubicBezTo>
                  <a:cubicBezTo>
                    <a:pt x="211" y="0"/>
                    <a:pt x="215" y="4"/>
                    <a:pt x="215" y="10"/>
                  </a:cubicBezTo>
                  <a:cubicBezTo>
                    <a:pt x="215" y="10"/>
                    <a:pt x="215" y="10"/>
                    <a:pt x="215" y="10"/>
                  </a:cubicBezTo>
                  <a:cubicBezTo>
                    <a:pt x="215" y="16"/>
                    <a:pt x="211" y="20"/>
                    <a:pt x="205" y="20"/>
                  </a:cubicBezTo>
                  <a:cubicBezTo>
                    <a:pt x="9" y="20"/>
                    <a:pt x="9" y="20"/>
                    <a:pt x="9" y="20"/>
                  </a:cubicBezTo>
                  <a:cubicBezTo>
                    <a:pt x="4" y="20"/>
                    <a:pt x="0" y="16"/>
                    <a:pt x="0" y="10"/>
                  </a:cubicBez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6" name="i$ḷîḓê"/>
            <p:cNvSpPr/>
            <p:nvPr/>
          </p:nvSpPr>
          <p:spPr bwMode="auto">
            <a:xfrm>
              <a:off x="4094232" y="3398929"/>
              <a:ext cx="68072" cy="6188"/>
            </a:xfrm>
            <a:custGeom>
              <a:avLst/>
              <a:gdLst>
                <a:gd name="T0" fmla="*/ 0 w 215"/>
                <a:gd name="T1" fmla="*/ 10 h 20"/>
                <a:gd name="T2" fmla="*/ 9 w 215"/>
                <a:gd name="T3" fmla="*/ 0 h 20"/>
                <a:gd name="T4" fmla="*/ 205 w 215"/>
                <a:gd name="T5" fmla="*/ 0 h 20"/>
                <a:gd name="T6" fmla="*/ 215 w 215"/>
                <a:gd name="T7" fmla="*/ 10 h 20"/>
                <a:gd name="T8" fmla="*/ 215 w 215"/>
                <a:gd name="T9" fmla="*/ 11 h 20"/>
                <a:gd name="T10" fmla="*/ 205 w 215"/>
                <a:gd name="T11" fmla="*/ 20 h 20"/>
                <a:gd name="T12" fmla="*/ 9 w 215"/>
                <a:gd name="T13" fmla="*/ 20 h 20"/>
                <a:gd name="T14" fmla="*/ 0 w 215"/>
                <a:gd name="T15" fmla="*/ 11 h 20"/>
                <a:gd name="T16" fmla="*/ 0 w 215"/>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0">
                  <a:moveTo>
                    <a:pt x="0" y="10"/>
                  </a:moveTo>
                  <a:cubicBezTo>
                    <a:pt x="0" y="5"/>
                    <a:pt x="4" y="0"/>
                    <a:pt x="9" y="0"/>
                  </a:cubicBezTo>
                  <a:cubicBezTo>
                    <a:pt x="205" y="0"/>
                    <a:pt x="205" y="0"/>
                    <a:pt x="205" y="0"/>
                  </a:cubicBezTo>
                  <a:cubicBezTo>
                    <a:pt x="211" y="0"/>
                    <a:pt x="215" y="5"/>
                    <a:pt x="215" y="10"/>
                  </a:cubicBezTo>
                  <a:cubicBezTo>
                    <a:pt x="215" y="11"/>
                    <a:pt x="215" y="11"/>
                    <a:pt x="215" y="11"/>
                  </a:cubicBezTo>
                  <a:cubicBezTo>
                    <a:pt x="215" y="16"/>
                    <a:pt x="211" y="20"/>
                    <a:pt x="205" y="20"/>
                  </a:cubicBezTo>
                  <a:cubicBezTo>
                    <a:pt x="9" y="20"/>
                    <a:pt x="9" y="20"/>
                    <a:pt x="9" y="20"/>
                  </a:cubicBezTo>
                  <a:cubicBezTo>
                    <a:pt x="4" y="20"/>
                    <a:pt x="0" y="16"/>
                    <a:pt x="0" y="11"/>
                  </a:cubicBezTo>
                  <a:lnTo>
                    <a:pt x="0" y="10"/>
                  </a:lnTo>
                  <a:close/>
                </a:path>
              </a:pathLst>
            </a:custGeom>
            <a:solidFill>
              <a:srgbClr val="FCEA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7" name="iśḷïḓé"/>
            <p:cNvSpPr/>
            <p:nvPr/>
          </p:nvSpPr>
          <p:spPr bwMode="auto">
            <a:xfrm>
              <a:off x="4366520" y="3214310"/>
              <a:ext cx="395023" cy="210404"/>
            </a:xfrm>
            <a:custGeom>
              <a:avLst/>
              <a:gdLst>
                <a:gd name="T0" fmla="*/ 1259 w 1259"/>
                <a:gd name="T1" fmla="*/ 651 h 670"/>
                <a:gd name="T2" fmla="*/ 1239 w 1259"/>
                <a:gd name="T3" fmla="*/ 670 h 670"/>
                <a:gd name="T4" fmla="*/ 20 w 1259"/>
                <a:gd name="T5" fmla="*/ 670 h 670"/>
                <a:gd name="T6" fmla="*/ 0 w 1259"/>
                <a:gd name="T7" fmla="*/ 651 h 670"/>
                <a:gd name="T8" fmla="*/ 0 w 1259"/>
                <a:gd name="T9" fmla="*/ 19 h 670"/>
                <a:gd name="T10" fmla="*/ 20 w 1259"/>
                <a:gd name="T11" fmla="*/ 0 h 670"/>
                <a:gd name="T12" fmla="*/ 1239 w 1259"/>
                <a:gd name="T13" fmla="*/ 0 h 670"/>
                <a:gd name="T14" fmla="*/ 1259 w 1259"/>
                <a:gd name="T15" fmla="*/ 19 h 670"/>
                <a:gd name="T16" fmla="*/ 1259 w 1259"/>
                <a:gd name="T17" fmla="*/ 651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9" h="670">
                  <a:moveTo>
                    <a:pt x="1259" y="651"/>
                  </a:moveTo>
                  <a:cubicBezTo>
                    <a:pt x="1259" y="661"/>
                    <a:pt x="1250" y="670"/>
                    <a:pt x="1239" y="670"/>
                  </a:cubicBezTo>
                  <a:cubicBezTo>
                    <a:pt x="20" y="670"/>
                    <a:pt x="20" y="670"/>
                    <a:pt x="20" y="670"/>
                  </a:cubicBezTo>
                  <a:cubicBezTo>
                    <a:pt x="9" y="670"/>
                    <a:pt x="0" y="661"/>
                    <a:pt x="0" y="651"/>
                  </a:cubicBezTo>
                  <a:cubicBezTo>
                    <a:pt x="0" y="19"/>
                    <a:pt x="0" y="19"/>
                    <a:pt x="0" y="19"/>
                  </a:cubicBezTo>
                  <a:cubicBezTo>
                    <a:pt x="0" y="8"/>
                    <a:pt x="9" y="0"/>
                    <a:pt x="20" y="0"/>
                  </a:cubicBezTo>
                  <a:cubicBezTo>
                    <a:pt x="1239" y="0"/>
                    <a:pt x="1239" y="0"/>
                    <a:pt x="1239" y="0"/>
                  </a:cubicBezTo>
                  <a:cubicBezTo>
                    <a:pt x="1250" y="0"/>
                    <a:pt x="1259" y="8"/>
                    <a:pt x="1259" y="19"/>
                  </a:cubicBezTo>
                  <a:lnTo>
                    <a:pt x="1259" y="651"/>
                  </a:lnTo>
                  <a:close/>
                </a:path>
              </a:pathLst>
            </a:custGeom>
            <a:solidFill>
              <a:srgbClr val="1090B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8" name="íṥliďé"/>
            <p:cNvSpPr/>
            <p:nvPr/>
          </p:nvSpPr>
          <p:spPr bwMode="auto">
            <a:xfrm>
              <a:off x="4387148" y="3229781"/>
              <a:ext cx="23722" cy="181525"/>
            </a:xfrm>
            <a:custGeom>
              <a:avLst/>
              <a:gdLst>
                <a:gd name="T0" fmla="*/ 78 w 78"/>
                <a:gd name="T1" fmla="*/ 541 h 580"/>
                <a:gd name="T2" fmla="*/ 39 w 78"/>
                <a:gd name="T3" fmla="*/ 580 h 580"/>
                <a:gd name="T4" fmla="*/ 39 w 78"/>
                <a:gd name="T5" fmla="*/ 580 h 580"/>
                <a:gd name="T6" fmla="*/ 0 w 78"/>
                <a:gd name="T7" fmla="*/ 541 h 580"/>
                <a:gd name="T8" fmla="*/ 0 w 78"/>
                <a:gd name="T9" fmla="*/ 39 h 580"/>
                <a:gd name="T10" fmla="*/ 39 w 78"/>
                <a:gd name="T11" fmla="*/ 0 h 580"/>
                <a:gd name="T12" fmla="*/ 39 w 78"/>
                <a:gd name="T13" fmla="*/ 0 h 580"/>
                <a:gd name="T14" fmla="*/ 78 w 78"/>
                <a:gd name="T15" fmla="*/ 39 h 580"/>
                <a:gd name="T16" fmla="*/ 78 w 78"/>
                <a:gd name="T17" fmla="*/ 541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580">
                  <a:moveTo>
                    <a:pt x="78" y="541"/>
                  </a:moveTo>
                  <a:cubicBezTo>
                    <a:pt x="78" y="562"/>
                    <a:pt x="61" y="580"/>
                    <a:pt x="39" y="580"/>
                  </a:cubicBezTo>
                  <a:cubicBezTo>
                    <a:pt x="39" y="580"/>
                    <a:pt x="39" y="580"/>
                    <a:pt x="39" y="580"/>
                  </a:cubicBezTo>
                  <a:cubicBezTo>
                    <a:pt x="18" y="580"/>
                    <a:pt x="0" y="562"/>
                    <a:pt x="0" y="541"/>
                  </a:cubicBezTo>
                  <a:cubicBezTo>
                    <a:pt x="0" y="39"/>
                    <a:pt x="0" y="39"/>
                    <a:pt x="0" y="39"/>
                  </a:cubicBezTo>
                  <a:cubicBezTo>
                    <a:pt x="0" y="17"/>
                    <a:pt x="18" y="0"/>
                    <a:pt x="39" y="0"/>
                  </a:cubicBezTo>
                  <a:cubicBezTo>
                    <a:pt x="39" y="0"/>
                    <a:pt x="39" y="0"/>
                    <a:pt x="39" y="0"/>
                  </a:cubicBezTo>
                  <a:cubicBezTo>
                    <a:pt x="61" y="0"/>
                    <a:pt x="78" y="17"/>
                    <a:pt x="78" y="39"/>
                  </a:cubicBezTo>
                  <a:lnTo>
                    <a:pt x="78" y="54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89" name="isľîḍè"/>
            <p:cNvSpPr/>
            <p:nvPr/>
          </p:nvSpPr>
          <p:spPr bwMode="auto">
            <a:xfrm>
              <a:off x="4660467" y="3229781"/>
              <a:ext cx="24753" cy="181525"/>
            </a:xfrm>
            <a:custGeom>
              <a:avLst/>
              <a:gdLst>
                <a:gd name="T0" fmla="*/ 78 w 78"/>
                <a:gd name="T1" fmla="*/ 541 h 580"/>
                <a:gd name="T2" fmla="*/ 39 w 78"/>
                <a:gd name="T3" fmla="*/ 580 h 580"/>
                <a:gd name="T4" fmla="*/ 39 w 78"/>
                <a:gd name="T5" fmla="*/ 580 h 580"/>
                <a:gd name="T6" fmla="*/ 0 w 78"/>
                <a:gd name="T7" fmla="*/ 541 h 580"/>
                <a:gd name="T8" fmla="*/ 0 w 78"/>
                <a:gd name="T9" fmla="*/ 39 h 580"/>
                <a:gd name="T10" fmla="*/ 39 w 78"/>
                <a:gd name="T11" fmla="*/ 0 h 580"/>
                <a:gd name="T12" fmla="*/ 39 w 78"/>
                <a:gd name="T13" fmla="*/ 0 h 580"/>
                <a:gd name="T14" fmla="*/ 78 w 78"/>
                <a:gd name="T15" fmla="*/ 39 h 580"/>
                <a:gd name="T16" fmla="*/ 78 w 78"/>
                <a:gd name="T17" fmla="*/ 541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580">
                  <a:moveTo>
                    <a:pt x="78" y="541"/>
                  </a:moveTo>
                  <a:cubicBezTo>
                    <a:pt x="78" y="562"/>
                    <a:pt x="60" y="580"/>
                    <a:pt x="39" y="580"/>
                  </a:cubicBezTo>
                  <a:cubicBezTo>
                    <a:pt x="39" y="580"/>
                    <a:pt x="39" y="580"/>
                    <a:pt x="39" y="580"/>
                  </a:cubicBezTo>
                  <a:cubicBezTo>
                    <a:pt x="17" y="580"/>
                    <a:pt x="0" y="562"/>
                    <a:pt x="0" y="541"/>
                  </a:cubicBezTo>
                  <a:cubicBezTo>
                    <a:pt x="0" y="39"/>
                    <a:pt x="0" y="39"/>
                    <a:pt x="0" y="39"/>
                  </a:cubicBezTo>
                  <a:cubicBezTo>
                    <a:pt x="0" y="17"/>
                    <a:pt x="17" y="0"/>
                    <a:pt x="39" y="0"/>
                  </a:cubicBezTo>
                  <a:cubicBezTo>
                    <a:pt x="39" y="0"/>
                    <a:pt x="39" y="0"/>
                    <a:pt x="39" y="0"/>
                  </a:cubicBezTo>
                  <a:cubicBezTo>
                    <a:pt x="60" y="0"/>
                    <a:pt x="78" y="17"/>
                    <a:pt x="78" y="39"/>
                  </a:cubicBezTo>
                  <a:lnTo>
                    <a:pt x="78" y="54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0" name="iṥ1ïďé"/>
            <p:cNvSpPr/>
            <p:nvPr/>
          </p:nvSpPr>
          <p:spPr bwMode="auto">
            <a:xfrm>
              <a:off x="4605803" y="3229781"/>
              <a:ext cx="24753" cy="181525"/>
            </a:xfrm>
            <a:custGeom>
              <a:avLst/>
              <a:gdLst>
                <a:gd name="T0" fmla="*/ 78 w 78"/>
                <a:gd name="T1" fmla="*/ 541 h 580"/>
                <a:gd name="T2" fmla="*/ 39 w 78"/>
                <a:gd name="T3" fmla="*/ 580 h 580"/>
                <a:gd name="T4" fmla="*/ 39 w 78"/>
                <a:gd name="T5" fmla="*/ 580 h 580"/>
                <a:gd name="T6" fmla="*/ 0 w 78"/>
                <a:gd name="T7" fmla="*/ 541 h 580"/>
                <a:gd name="T8" fmla="*/ 0 w 78"/>
                <a:gd name="T9" fmla="*/ 39 h 580"/>
                <a:gd name="T10" fmla="*/ 39 w 78"/>
                <a:gd name="T11" fmla="*/ 0 h 580"/>
                <a:gd name="T12" fmla="*/ 39 w 78"/>
                <a:gd name="T13" fmla="*/ 0 h 580"/>
                <a:gd name="T14" fmla="*/ 78 w 78"/>
                <a:gd name="T15" fmla="*/ 39 h 580"/>
                <a:gd name="T16" fmla="*/ 78 w 78"/>
                <a:gd name="T17" fmla="*/ 541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580">
                  <a:moveTo>
                    <a:pt x="78" y="541"/>
                  </a:moveTo>
                  <a:cubicBezTo>
                    <a:pt x="78" y="562"/>
                    <a:pt x="61" y="580"/>
                    <a:pt x="39" y="580"/>
                  </a:cubicBezTo>
                  <a:cubicBezTo>
                    <a:pt x="39" y="580"/>
                    <a:pt x="39" y="580"/>
                    <a:pt x="39" y="580"/>
                  </a:cubicBezTo>
                  <a:cubicBezTo>
                    <a:pt x="18" y="580"/>
                    <a:pt x="0" y="562"/>
                    <a:pt x="0" y="541"/>
                  </a:cubicBezTo>
                  <a:cubicBezTo>
                    <a:pt x="0" y="39"/>
                    <a:pt x="0" y="39"/>
                    <a:pt x="0" y="39"/>
                  </a:cubicBezTo>
                  <a:cubicBezTo>
                    <a:pt x="0" y="17"/>
                    <a:pt x="18" y="0"/>
                    <a:pt x="39" y="0"/>
                  </a:cubicBezTo>
                  <a:cubicBezTo>
                    <a:pt x="39" y="0"/>
                    <a:pt x="39" y="0"/>
                    <a:pt x="39" y="0"/>
                  </a:cubicBezTo>
                  <a:cubicBezTo>
                    <a:pt x="61" y="0"/>
                    <a:pt x="78" y="17"/>
                    <a:pt x="78" y="39"/>
                  </a:cubicBezTo>
                  <a:lnTo>
                    <a:pt x="78" y="54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1" name="íśļïḍe"/>
            <p:cNvSpPr/>
            <p:nvPr/>
          </p:nvSpPr>
          <p:spPr bwMode="auto">
            <a:xfrm>
              <a:off x="4551139" y="3229781"/>
              <a:ext cx="24753" cy="181525"/>
            </a:xfrm>
            <a:custGeom>
              <a:avLst/>
              <a:gdLst>
                <a:gd name="T0" fmla="*/ 78 w 78"/>
                <a:gd name="T1" fmla="*/ 541 h 580"/>
                <a:gd name="T2" fmla="*/ 39 w 78"/>
                <a:gd name="T3" fmla="*/ 580 h 580"/>
                <a:gd name="T4" fmla="*/ 39 w 78"/>
                <a:gd name="T5" fmla="*/ 580 h 580"/>
                <a:gd name="T6" fmla="*/ 0 w 78"/>
                <a:gd name="T7" fmla="*/ 541 h 580"/>
                <a:gd name="T8" fmla="*/ 0 w 78"/>
                <a:gd name="T9" fmla="*/ 39 h 580"/>
                <a:gd name="T10" fmla="*/ 39 w 78"/>
                <a:gd name="T11" fmla="*/ 0 h 580"/>
                <a:gd name="T12" fmla="*/ 39 w 78"/>
                <a:gd name="T13" fmla="*/ 0 h 580"/>
                <a:gd name="T14" fmla="*/ 78 w 78"/>
                <a:gd name="T15" fmla="*/ 39 h 580"/>
                <a:gd name="T16" fmla="*/ 78 w 78"/>
                <a:gd name="T17" fmla="*/ 541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580">
                  <a:moveTo>
                    <a:pt x="78" y="541"/>
                  </a:moveTo>
                  <a:cubicBezTo>
                    <a:pt x="78" y="562"/>
                    <a:pt x="60" y="580"/>
                    <a:pt x="39" y="580"/>
                  </a:cubicBezTo>
                  <a:cubicBezTo>
                    <a:pt x="39" y="580"/>
                    <a:pt x="39" y="580"/>
                    <a:pt x="39" y="580"/>
                  </a:cubicBezTo>
                  <a:cubicBezTo>
                    <a:pt x="17" y="580"/>
                    <a:pt x="0" y="562"/>
                    <a:pt x="0" y="541"/>
                  </a:cubicBezTo>
                  <a:cubicBezTo>
                    <a:pt x="0" y="39"/>
                    <a:pt x="0" y="39"/>
                    <a:pt x="0" y="39"/>
                  </a:cubicBezTo>
                  <a:cubicBezTo>
                    <a:pt x="0" y="17"/>
                    <a:pt x="17" y="0"/>
                    <a:pt x="39" y="0"/>
                  </a:cubicBezTo>
                  <a:cubicBezTo>
                    <a:pt x="39" y="0"/>
                    <a:pt x="39" y="0"/>
                    <a:pt x="39" y="0"/>
                  </a:cubicBezTo>
                  <a:cubicBezTo>
                    <a:pt x="60" y="0"/>
                    <a:pt x="78" y="17"/>
                    <a:pt x="78" y="39"/>
                  </a:cubicBezTo>
                  <a:lnTo>
                    <a:pt x="78" y="54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2" name="iṧ1îḓé"/>
            <p:cNvSpPr/>
            <p:nvPr/>
          </p:nvSpPr>
          <p:spPr bwMode="auto">
            <a:xfrm>
              <a:off x="4496475" y="3229781"/>
              <a:ext cx="23722" cy="181525"/>
            </a:xfrm>
            <a:custGeom>
              <a:avLst/>
              <a:gdLst>
                <a:gd name="T0" fmla="*/ 78 w 78"/>
                <a:gd name="T1" fmla="*/ 541 h 580"/>
                <a:gd name="T2" fmla="*/ 39 w 78"/>
                <a:gd name="T3" fmla="*/ 580 h 580"/>
                <a:gd name="T4" fmla="*/ 39 w 78"/>
                <a:gd name="T5" fmla="*/ 580 h 580"/>
                <a:gd name="T6" fmla="*/ 0 w 78"/>
                <a:gd name="T7" fmla="*/ 541 h 580"/>
                <a:gd name="T8" fmla="*/ 0 w 78"/>
                <a:gd name="T9" fmla="*/ 39 h 580"/>
                <a:gd name="T10" fmla="*/ 39 w 78"/>
                <a:gd name="T11" fmla="*/ 0 h 580"/>
                <a:gd name="T12" fmla="*/ 39 w 78"/>
                <a:gd name="T13" fmla="*/ 0 h 580"/>
                <a:gd name="T14" fmla="*/ 78 w 78"/>
                <a:gd name="T15" fmla="*/ 39 h 580"/>
                <a:gd name="T16" fmla="*/ 78 w 78"/>
                <a:gd name="T17" fmla="*/ 541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580">
                  <a:moveTo>
                    <a:pt x="78" y="541"/>
                  </a:moveTo>
                  <a:cubicBezTo>
                    <a:pt x="78" y="562"/>
                    <a:pt x="61" y="580"/>
                    <a:pt x="39" y="580"/>
                  </a:cubicBezTo>
                  <a:cubicBezTo>
                    <a:pt x="39" y="580"/>
                    <a:pt x="39" y="580"/>
                    <a:pt x="39" y="580"/>
                  </a:cubicBezTo>
                  <a:cubicBezTo>
                    <a:pt x="18" y="580"/>
                    <a:pt x="0" y="562"/>
                    <a:pt x="0" y="541"/>
                  </a:cubicBezTo>
                  <a:cubicBezTo>
                    <a:pt x="0" y="39"/>
                    <a:pt x="0" y="39"/>
                    <a:pt x="0" y="39"/>
                  </a:cubicBezTo>
                  <a:cubicBezTo>
                    <a:pt x="0" y="17"/>
                    <a:pt x="18" y="0"/>
                    <a:pt x="39" y="0"/>
                  </a:cubicBezTo>
                  <a:cubicBezTo>
                    <a:pt x="39" y="0"/>
                    <a:pt x="39" y="0"/>
                    <a:pt x="39" y="0"/>
                  </a:cubicBezTo>
                  <a:cubicBezTo>
                    <a:pt x="61" y="0"/>
                    <a:pt x="78" y="17"/>
                    <a:pt x="78" y="39"/>
                  </a:cubicBezTo>
                  <a:lnTo>
                    <a:pt x="78" y="54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3" name="isḻîḓè"/>
            <p:cNvSpPr/>
            <p:nvPr/>
          </p:nvSpPr>
          <p:spPr bwMode="auto">
            <a:xfrm>
              <a:off x="4441811" y="3229781"/>
              <a:ext cx="23722" cy="181525"/>
            </a:xfrm>
            <a:custGeom>
              <a:avLst/>
              <a:gdLst>
                <a:gd name="T0" fmla="*/ 78 w 78"/>
                <a:gd name="T1" fmla="*/ 541 h 580"/>
                <a:gd name="T2" fmla="*/ 39 w 78"/>
                <a:gd name="T3" fmla="*/ 580 h 580"/>
                <a:gd name="T4" fmla="*/ 39 w 78"/>
                <a:gd name="T5" fmla="*/ 580 h 580"/>
                <a:gd name="T6" fmla="*/ 0 w 78"/>
                <a:gd name="T7" fmla="*/ 541 h 580"/>
                <a:gd name="T8" fmla="*/ 0 w 78"/>
                <a:gd name="T9" fmla="*/ 39 h 580"/>
                <a:gd name="T10" fmla="*/ 39 w 78"/>
                <a:gd name="T11" fmla="*/ 0 h 580"/>
                <a:gd name="T12" fmla="*/ 39 w 78"/>
                <a:gd name="T13" fmla="*/ 0 h 580"/>
                <a:gd name="T14" fmla="*/ 78 w 78"/>
                <a:gd name="T15" fmla="*/ 39 h 580"/>
                <a:gd name="T16" fmla="*/ 78 w 78"/>
                <a:gd name="T17" fmla="*/ 541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580">
                  <a:moveTo>
                    <a:pt x="78" y="541"/>
                  </a:moveTo>
                  <a:cubicBezTo>
                    <a:pt x="78" y="562"/>
                    <a:pt x="60" y="580"/>
                    <a:pt x="39" y="580"/>
                  </a:cubicBezTo>
                  <a:cubicBezTo>
                    <a:pt x="39" y="580"/>
                    <a:pt x="39" y="580"/>
                    <a:pt x="39" y="580"/>
                  </a:cubicBezTo>
                  <a:cubicBezTo>
                    <a:pt x="17" y="580"/>
                    <a:pt x="0" y="562"/>
                    <a:pt x="0" y="541"/>
                  </a:cubicBezTo>
                  <a:cubicBezTo>
                    <a:pt x="0" y="39"/>
                    <a:pt x="0" y="39"/>
                    <a:pt x="0" y="39"/>
                  </a:cubicBezTo>
                  <a:cubicBezTo>
                    <a:pt x="0" y="17"/>
                    <a:pt x="17" y="0"/>
                    <a:pt x="39" y="0"/>
                  </a:cubicBezTo>
                  <a:cubicBezTo>
                    <a:pt x="39" y="0"/>
                    <a:pt x="39" y="0"/>
                    <a:pt x="39" y="0"/>
                  </a:cubicBezTo>
                  <a:cubicBezTo>
                    <a:pt x="60" y="0"/>
                    <a:pt x="78" y="17"/>
                    <a:pt x="78" y="39"/>
                  </a:cubicBezTo>
                  <a:lnTo>
                    <a:pt x="78" y="54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4" name="íşļiďe"/>
            <p:cNvSpPr/>
            <p:nvPr/>
          </p:nvSpPr>
          <p:spPr bwMode="auto">
            <a:xfrm>
              <a:off x="4715130" y="3229781"/>
              <a:ext cx="24753" cy="181525"/>
            </a:xfrm>
            <a:custGeom>
              <a:avLst/>
              <a:gdLst>
                <a:gd name="T0" fmla="*/ 78 w 78"/>
                <a:gd name="T1" fmla="*/ 541 h 580"/>
                <a:gd name="T2" fmla="*/ 39 w 78"/>
                <a:gd name="T3" fmla="*/ 580 h 580"/>
                <a:gd name="T4" fmla="*/ 39 w 78"/>
                <a:gd name="T5" fmla="*/ 580 h 580"/>
                <a:gd name="T6" fmla="*/ 0 w 78"/>
                <a:gd name="T7" fmla="*/ 541 h 580"/>
                <a:gd name="T8" fmla="*/ 0 w 78"/>
                <a:gd name="T9" fmla="*/ 39 h 580"/>
                <a:gd name="T10" fmla="*/ 39 w 78"/>
                <a:gd name="T11" fmla="*/ 0 h 580"/>
                <a:gd name="T12" fmla="*/ 39 w 78"/>
                <a:gd name="T13" fmla="*/ 0 h 580"/>
                <a:gd name="T14" fmla="*/ 78 w 78"/>
                <a:gd name="T15" fmla="*/ 39 h 580"/>
                <a:gd name="T16" fmla="*/ 78 w 78"/>
                <a:gd name="T17" fmla="*/ 541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580">
                  <a:moveTo>
                    <a:pt x="78" y="541"/>
                  </a:moveTo>
                  <a:cubicBezTo>
                    <a:pt x="78" y="562"/>
                    <a:pt x="61" y="580"/>
                    <a:pt x="39" y="580"/>
                  </a:cubicBezTo>
                  <a:cubicBezTo>
                    <a:pt x="39" y="580"/>
                    <a:pt x="39" y="580"/>
                    <a:pt x="39" y="580"/>
                  </a:cubicBezTo>
                  <a:cubicBezTo>
                    <a:pt x="18" y="580"/>
                    <a:pt x="0" y="562"/>
                    <a:pt x="0" y="541"/>
                  </a:cubicBezTo>
                  <a:cubicBezTo>
                    <a:pt x="0" y="39"/>
                    <a:pt x="0" y="39"/>
                    <a:pt x="0" y="39"/>
                  </a:cubicBezTo>
                  <a:cubicBezTo>
                    <a:pt x="0" y="17"/>
                    <a:pt x="18" y="0"/>
                    <a:pt x="39" y="0"/>
                  </a:cubicBezTo>
                  <a:cubicBezTo>
                    <a:pt x="39" y="0"/>
                    <a:pt x="39" y="0"/>
                    <a:pt x="39" y="0"/>
                  </a:cubicBezTo>
                  <a:cubicBezTo>
                    <a:pt x="61" y="0"/>
                    <a:pt x="78" y="17"/>
                    <a:pt x="78" y="39"/>
                  </a:cubicBezTo>
                  <a:lnTo>
                    <a:pt x="78" y="541"/>
                  </a:lnTo>
                  <a:close/>
                </a:path>
              </a:pathLst>
            </a:custGeom>
            <a:solidFill>
              <a:srgbClr val="30A7E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5" name="iṥḷíḍe"/>
            <p:cNvSpPr/>
            <p:nvPr/>
          </p:nvSpPr>
          <p:spPr bwMode="auto">
            <a:xfrm>
              <a:off x="3311406" y="3141081"/>
              <a:ext cx="276413" cy="456907"/>
            </a:xfrm>
            <a:custGeom>
              <a:avLst/>
              <a:gdLst>
                <a:gd name="T0" fmla="*/ 735 w 883"/>
                <a:gd name="T1" fmla="*/ 1263 h 1458"/>
                <a:gd name="T2" fmla="*/ 735 w 883"/>
                <a:gd name="T3" fmla="*/ 0 h 1458"/>
                <a:gd name="T4" fmla="*/ 883 w 883"/>
                <a:gd name="T5" fmla="*/ 0 h 1458"/>
                <a:gd name="T6" fmla="*/ 883 w 883"/>
                <a:gd name="T7" fmla="*/ 1263 h 1458"/>
                <a:gd name="T8" fmla="*/ 883 w 883"/>
                <a:gd name="T9" fmla="*/ 1276 h 1458"/>
                <a:gd name="T10" fmla="*/ 882 w 883"/>
                <a:gd name="T11" fmla="*/ 1277 h 1458"/>
                <a:gd name="T12" fmla="*/ 791 w 883"/>
                <a:gd name="T13" fmla="*/ 1453 h 1458"/>
                <a:gd name="T14" fmla="*/ 790 w 883"/>
                <a:gd name="T15" fmla="*/ 1458 h 1458"/>
                <a:gd name="T16" fmla="*/ 0 w 883"/>
                <a:gd name="T17" fmla="*/ 1458 h 1458"/>
                <a:gd name="T18" fmla="*/ 0 w 883"/>
                <a:gd name="T19" fmla="*/ 1263 h 1458"/>
                <a:gd name="T20" fmla="*/ 735 w 883"/>
                <a:gd name="T21" fmla="*/ 1263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3" h="1458">
                  <a:moveTo>
                    <a:pt x="735" y="1263"/>
                  </a:moveTo>
                  <a:cubicBezTo>
                    <a:pt x="735" y="0"/>
                    <a:pt x="735" y="0"/>
                    <a:pt x="735" y="0"/>
                  </a:cubicBezTo>
                  <a:cubicBezTo>
                    <a:pt x="883" y="0"/>
                    <a:pt x="883" y="0"/>
                    <a:pt x="883" y="0"/>
                  </a:cubicBezTo>
                  <a:cubicBezTo>
                    <a:pt x="883" y="1263"/>
                    <a:pt x="883" y="1263"/>
                    <a:pt x="883" y="1263"/>
                  </a:cubicBezTo>
                  <a:cubicBezTo>
                    <a:pt x="883" y="1276"/>
                    <a:pt x="883" y="1276"/>
                    <a:pt x="883" y="1276"/>
                  </a:cubicBezTo>
                  <a:cubicBezTo>
                    <a:pt x="883" y="1276"/>
                    <a:pt x="882" y="1277"/>
                    <a:pt x="882" y="1277"/>
                  </a:cubicBezTo>
                  <a:cubicBezTo>
                    <a:pt x="845" y="1309"/>
                    <a:pt x="805" y="1363"/>
                    <a:pt x="791" y="1453"/>
                  </a:cubicBezTo>
                  <a:cubicBezTo>
                    <a:pt x="791" y="1455"/>
                    <a:pt x="790" y="1456"/>
                    <a:pt x="790" y="1458"/>
                  </a:cubicBezTo>
                  <a:cubicBezTo>
                    <a:pt x="0" y="1458"/>
                    <a:pt x="0" y="1458"/>
                    <a:pt x="0" y="1458"/>
                  </a:cubicBezTo>
                  <a:cubicBezTo>
                    <a:pt x="0" y="1263"/>
                    <a:pt x="0" y="1263"/>
                    <a:pt x="0" y="1263"/>
                  </a:cubicBezTo>
                  <a:lnTo>
                    <a:pt x="735" y="1263"/>
                  </a:lnTo>
                  <a:close/>
                </a:path>
              </a:pathLst>
            </a:custGeom>
            <a:solidFill>
              <a:srgbClr val="3F505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6" name="ïśliḑè"/>
            <p:cNvSpPr/>
            <p:nvPr/>
          </p:nvSpPr>
          <p:spPr bwMode="auto">
            <a:xfrm>
              <a:off x="3606384" y="3536104"/>
              <a:ext cx="2063" cy="4126"/>
            </a:xfrm>
            <a:custGeom>
              <a:avLst/>
              <a:gdLst>
                <a:gd name="T0" fmla="*/ 0 w 5"/>
                <a:gd name="T1" fmla="*/ 0 h 13"/>
                <a:gd name="T2" fmla="*/ 5 w 5"/>
                <a:gd name="T3" fmla="*/ 0 h 13"/>
                <a:gd name="T4" fmla="*/ 5 w 5"/>
                <a:gd name="T5" fmla="*/ 9 h 13"/>
                <a:gd name="T6" fmla="*/ 0 w 5"/>
                <a:gd name="T7" fmla="*/ 13 h 13"/>
                <a:gd name="T8" fmla="*/ 0 w 5"/>
                <a:gd name="T9" fmla="*/ 0 h 13"/>
              </a:gdLst>
              <a:ahLst/>
              <a:cxnLst>
                <a:cxn ang="0">
                  <a:pos x="T0" y="T1"/>
                </a:cxn>
                <a:cxn ang="0">
                  <a:pos x="T2" y="T3"/>
                </a:cxn>
                <a:cxn ang="0">
                  <a:pos x="T4" y="T5"/>
                </a:cxn>
                <a:cxn ang="0">
                  <a:pos x="T6" y="T7"/>
                </a:cxn>
                <a:cxn ang="0">
                  <a:pos x="T8" y="T9"/>
                </a:cxn>
              </a:cxnLst>
              <a:rect l="0" t="0" r="r" b="b"/>
              <a:pathLst>
                <a:path w="5" h="13">
                  <a:moveTo>
                    <a:pt x="0" y="0"/>
                  </a:moveTo>
                  <a:cubicBezTo>
                    <a:pt x="5" y="0"/>
                    <a:pt x="5" y="0"/>
                    <a:pt x="5" y="0"/>
                  </a:cubicBezTo>
                  <a:cubicBezTo>
                    <a:pt x="5" y="9"/>
                    <a:pt x="5" y="9"/>
                    <a:pt x="5" y="9"/>
                  </a:cubicBezTo>
                  <a:cubicBezTo>
                    <a:pt x="3" y="10"/>
                    <a:pt x="2" y="11"/>
                    <a:pt x="0" y="13"/>
                  </a:cubicBezTo>
                  <a:lnTo>
                    <a:pt x="0" y="0"/>
                  </a:lnTo>
                  <a:close/>
                </a:path>
              </a:pathLst>
            </a:custGeom>
            <a:solidFill>
              <a:srgbClr val="3F505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7" name="iṩlide"/>
            <p:cNvSpPr/>
            <p:nvPr/>
          </p:nvSpPr>
          <p:spPr bwMode="auto">
            <a:xfrm>
              <a:off x="3605352" y="3540230"/>
              <a:ext cx="1031" cy="1031"/>
            </a:xfrm>
            <a:custGeom>
              <a:avLst/>
              <a:gdLst>
                <a:gd name="T0" fmla="*/ 2 w 2"/>
                <a:gd name="T1" fmla="*/ 1 h 1"/>
                <a:gd name="T2" fmla="*/ 0 w 2"/>
                <a:gd name="T3" fmla="*/ 1 h 1"/>
                <a:gd name="T4" fmla="*/ 2 w 2"/>
                <a:gd name="T5" fmla="*/ 0 h 1"/>
                <a:gd name="T6" fmla="*/ 2 w 2"/>
                <a:gd name="T7" fmla="*/ 1 h 1"/>
              </a:gdLst>
              <a:ahLst/>
              <a:cxnLst>
                <a:cxn ang="0">
                  <a:pos x="T0" y="T1"/>
                </a:cxn>
                <a:cxn ang="0">
                  <a:pos x="T2" y="T3"/>
                </a:cxn>
                <a:cxn ang="0">
                  <a:pos x="T4" y="T5"/>
                </a:cxn>
                <a:cxn ang="0">
                  <a:pos x="T6" y="T7"/>
                </a:cxn>
              </a:cxnLst>
              <a:rect l="0" t="0" r="r" b="b"/>
              <a:pathLst>
                <a:path w="2" h="1">
                  <a:moveTo>
                    <a:pt x="2" y="1"/>
                  </a:moveTo>
                  <a:cubicBezTo>
                    <a:pt x="0" y="1"/>
                    <a:pt x="0" y="1"/>
                    <a:pt x="0" y="1"/>
                  </a:cubicBezTo>
                  <a:cubicBezTo>
                    <a:pt x="1" y="1"/>
                    <a:pt x="1" y="0"/>
                    <a:pt x="2" y="0"/>
                  </a:cubicBezTo>
                  <a:lnTo>
                    <a:pt x="2" y="1"/>
                  </a:lnTo>
                  <a:close/>
                </a:path>
              </a:pathLst>
            </a:custGeom>
            <a:solidFill>
              <a:srgbClr val="3F505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8" name="íṥlïḍè"/>
            <p:cNvSpPr/>
            <p:nvPr/>
          </p:nvSpPr>
          <p:spPr bwMode="auto">
            <a:xfrm>
              <a:off x="3648671" y="3418525"/>
              <a:ext cx="124798" cy="100045"/>
            </a:xfrm>
            <a:custGeom>
              <a:avLst/>
              <a:gdLst>
                <a:gd name="T0" fmla="*/ 0 w 396"/>
                <a:gd name="T1" fmla="*/ 248 h 321"/>
                <a:gd name="T2" fmla="*/ 270 w 396"/>
                <a:gd name="T3" fmla="*/ 12 h 321"/>
                <a:gd name="T4" fmla="*/ 323 w 396"/>
                <a:gd name="T5" fmla="*/ 25 h 321"/>
                <a:gd name="T6" fmla="*/ 377 w 396"/>
                <a:gd name="T7" fmla="*/ 87 h 321"/>
                <a:gd name="T8" fmla="*/ 383 w 396"/>
                <a:gd name="T9" fmla="*/ 141 h 321"/>
                <a:gd name="T10" fmla="*/ 176 w 396"/>
                <a:gd name="T11" fmla="*/ 321 h 321"/>
                <a:gd name="T12" fmla="*/ 0 w 396"/>
                <a:gd name="T13" fmla="*/ 248 h 321"/>
                <a:gd name="T14" fmla="*/ 0 w 396"/>
                <a:gd name="T15" fmla="*/ 248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6" h="321">
                  <a:moveTo>
                    <a:pt x="0" y="248"/>
                  </a:moveTo>
                  <a:cubicBezTo>
                    <a:pt x="270" y="12"/>
                    <a:pt x="270" y="12"/>
                    <a:pt x="270" y="12"/>
                  </a:cubicBezTo>
                  <a:cubicBezTo>
                    <a:pt x="283" y="0"/>
                    <a:pt x="307" y="6"/>
                    <a:pt x="323" y="25"/>
                  </a:cubicBezTo>
                  <a:cubicBezTo>
                    <a:pt x="377" y="87"/>
                    <a:pt x="377" y="87"/>
                    <a:pt x="377" y="87"/>
                  </a:cubicBezTo>
                  <a:cubicBezTo>
                    <a:pt x="393" y="105"/>
                    <a:pt x="396" y="129"/>
                    <a:pt x="383" y="141"/>
                  </a:cubicBezTo>
                  <a:cubicBezTo>
                    <a:pt x="176" y="321"/>
                    <a:pt x="176" y="321"/>
                    <a:pt x="176" y="321"/>
                  </a:cubicBezTo>
                  <a:cubicBezTo>
                    <a:pt x="0" y="248"/>
                    <a:pt x="0" y="248"/>
                    <a:pt x="0" y="248"/>
                  </a:cubicBezTo>
                  <a:cubicBezTo>
                    <a:pt x="0" y="248"/>
                    <a:pt x="0" y="248"/>
                    <a:pt x="0" y="248"/>
                  </a:cubicBezTo>
                  <a:close/>
                </a:path>
              </a:pathLst>
            </a:custGeom>
            <a:solidFill>
              <a:srgbClr val="3F505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99" name="îṥḷïḑe"/>
            <p:cNvSpPr/>
            <p:nvPr/>
          </p:nvSpPr>
          <p:spPr bwMode="auto">
            <a:xfrm>
              <a:off x="3747684" y="3448436"/>
              <a:ext cx="226906" cy="129955"/>
            </a:xfrm>
            <a:custGeom>
              <a:avLst/>
              <a:gdLst>
                <a:gd name="T0" fmla="*/ 597 w 726"/>
                <a:gd name="T1" fmla="*/ 0 h 417"/>
                <a:gd name="T2" fmla="*/ 314 w 726"/>
                <a:gd name="T3" fmla="*/ 0 h 417"/>
                <a:gd name="T4" fmla="*/ 0 w 726"/>
                <a:gd name="T5" fmla="*/ 218 h 417"/>
                <a:gd name="T6" fmla="*/ 157 w 726"/>
                <a:gd name="T7" fmla="*/ 296 h 417"/>
                <a:gd name="T8" fmla="*/ 467 w 726"/>
                <a:gd name="T9" fmla="*/ 296 h 417"/>
                <a:gd name="T10" fmla="*/ 638 w 726"/>
                <a:gd name="T11" fmla="*/ 199 h 417"/>
                <a:gd name="T12" fmla="*/ 726 w 726"/>
                <a:gd name="T13" fmla="*/ 79 h 417"/>
                <a:gd name="T14" fmla="*/ 597 w 726"/>
                <a:gd name="T15" fmla="*/ 0 h 4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6" h="417">
                  <a:moveTo>
                    <a:pt x="597" y="0"/>
                  </a:moveTo>
                  <a:cubicBezTo>
                    <a:pt x="314" y="0"/>
                    <a:pt x="314" y="0"/>
                    <a:pt x="314" y="0"/>
                  </a:cubicBezTo>
                  <a:cubicBezTo>
                    <a:pt x="314" y="0"/>
                    <a:pt x="0" y="19"/>
                    <a:pt x="0" y="218"/>
                  </a:cubicBezTo>
                  <a:cubicBezTo>
                    <a:pt x="0" y="417"/>
                    <a:pt x="157" y="296"/>
                    <a:pt x="157" y="296"/>
                  </a:cubicBezTo>
                  <a:cubicBezTo>
                    <a:pt x="467" y="296"/>
                    <a:pt x="467" y="296"/>
                    <a:pt x="467" y="296"/>
                  </a:cubicBezTo>
                  <a:cubicBezTo>
                    <a:pt x="638" y="199"/>
                    <a:pt x="638" y="199"/>
                    <a:pt x="638" y="199"/>
                  </a:cubicBezTo>
                  <a:cubicBezTo>
                    <a:pt x="726" y="79"/>
                    <a:pt x="726" y="79"/>
                    <a:pt x="726" y="79"/>
                  </a:cubicBezTo>
                  <a:lnTo>
                    <a:pt x="597" y="0"/>
                  </a:lnTo>
                  <a:close/>
                </a:path>
              </a:pathLst>
            </a:custGeom>
            <a:solidFill>
              <a:srgbClr val="3F505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0" name="ï$lîḓê"/>
            <p:cNvSpPr/>
            <p:nvPr/>
          </p:nvSpPr>
          <p:spPr bwMode="auto">
            <a:xfrm>
              <a:off x="3916833" y="3333951"/>
              <a:ext cx="43318" cy="183588"/>
            </a:xfrm>
            <a:custGeom>
              <a:avLst/>
              <a:gdLst>
                <a:gd name="T0" fmla="*/ 0 w 139"/>
                <a:gd name="T1" fmla="*/ 556 h 587"/>
                <a:gd name="T2" fmla="*/ 31 w 139"/>
                <a:gd name="T3" fmla="*/ 587 h 587"/>
                <a:gd name="T4" fmla="*/ 108 w 139"/>
                <a:gd name="T5" fmla="*/ 587 h 587"/>
                <a:gd name="T6" fmla="*/ 139 w 139"/>
                <a:gd name="T7" fmla="*/ 556 h 587"/>
                <a:gd name="T8" fmla="*/ 139 w 139"/>
                <a:gd name="T9" fmla="*/ 31 h 587"/>
                <a:gd name="T10" fmla="*/ 108 w 139"/>
                <a:gd name="T11" fmla="*/ 0 h 587"/>
                <a:gd name="T12" fmla="*/ 31 w 139"/>
                <a:gd name="T13" fmla="*/ 0 h 587"/>
                <a:gd name="T14" fmla="*/ 0 w 139"/>
                <a:gd name="T15" fmla="*/ 31 h 587"/>
                <a:gd name="T16" fmla="*/ 0 w 139"/>
                <a:gd name="T17" fmla="*/ 556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587">
                  <a:moveTo>
                    <a:pt x="0" y="556"/>
                  </a:moveTo>
                  <a:cubicBezTo>
                    <a:pt x="0" y="573"/>
                    <a:pt x="14" y="587"/>
                    <a:pt x="31" y="587"/>
                  </a:cubicBezTo>
                  <a:cubicBezTo>
                    <a:pt x="108" y="587"/>
                    <a:pt x="108" y="587"/>
                    <a:pt x="108" y="587"/>
                  </a:cubicBezTo>
                  <a:cubicBezTo>
                    <a:pt x="125" y="587"/>
                    <a:pt x="139" y="573"/>
                    <a:pt x="139" y="556"/>
                  </a:cubicBezTo>
                  <a:cubicBezTo>
                    <a:pt x="139" y="31"/>
                    <a:pt x="139" y="31"/>
                    <a:pt x="139" y="31"/>
                  </a:cubicBezTo>
                  <a:cubicBezTo>
                    <a:pt x="139" y="14"/>
                    <a:pt x="125" y="0"/>
                    <a:pt x="108" y="0"/>
                  </a:cubicBezTo>
                  <a:cubicBezTo>
                    <a:pt x="31" y="0"/>
                    <a:pt x="31" y="0"/>
                    <a:pt x="31" y="0"/>
                  </a:cubicBezTo>
                  <a:cubicBezTo>
                    <a:pt x="14" y="0"/>
                    <a:pt x="0" y="14"/>
                    <a:pt x="0" y="31"/>
                  </a:cubicBezTo>
                  <a:lnTo>
                    <a:pt x="0" y="556"/>
                  </a:lnTo>
                  <a:close/>
                </a:path>
              </a:pathLst>
            </a:custGeom>
            <a:solidFill>
              <a:srgbClr val="3F505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1" name="íṧlïḑé"/>
            <p:cNvSpPr/>
            <p:nvPr/>
          </p:nvSpPr>
          <p:spPr bwMode="auto">
            <a:xfrm>
              <a:off x="3623917" y="3215341"/>
              <a:ext cx="397086" cy="304261"/>
            </a:xfrm>
            <a:custGeom>
              <a:avLst/>
              <a:gdLst>
                <a:gd name="T0" fmla="*/ 106 w 1265"/>
                <a:gd name="T1" fmla="*/ 969 h 969"/>
                <a:gd name="T2" fmla="*/ 426 w 1265"/>
                <a:gd name="T3" fmla="*/ 286 h 969"/>
                <a:gd name="T4" fmla="*/ 542 w 1265"/>
                <a:gd name="T5" fmla="*/ 124 h 969"/>
                <a:gd name="T6" fmla="*/ 596 w 1265"/>
                <a:gd name="T7" fmla="*/ 101 h 969"/>
                <a:gd name="T8" fmla="*/ 597 w 1265"/>
                <a:gd name="T9" fmla="*/ 102 h 969"/>
                <a:gd name="T10" fmla="*/ 597 w 1265"/>
                <a:gd name="T11" fmla="*/ 101 h 969"/>
                <a:gd name="T12" fmla="*/ 597 w 1265"/>
                <a:gd name="T13" fmla="*/ 101 h 969"/>
                <a:gd name="T14" fmla="*/ 1071 w 1265"/>
                <a:gd name="T15" fmla="*/ 101 h 969"/>
                <a:gd name="T16" fmla="*/ 1142 w 1265"/>
                <a:gd name="T17" fmla="*/ 125 h 969"/>
                <a:gd name="T18" fmla="*/ 1161 w 1265"/>
                <a:gd name="T19" fmla="*/ 187 h 969"/>
                <a:gd name="T20" fmla="*/ 1161 w 1265"/>
                <a:gd name="T21" fmla="*/ 190 h 969"/>
                <a:gd name="T22" fmla="*/ 1161 w 1265"/>
                <a:gd name="T23" fmla="*/ 192 h 969"/>
                <a:gd name="T24" fmla="*/ 1161 w 1265"/>
                <a:gd name="T25" fmla="*/ 747 h 969"/>
                <a:gd name="T26" fmla="*/ 1263 w 1265"/>
                <a:gd name="T27" fmla="*/ 747 h 969"/>
                <a:gd name="T28" fmla="*/ 1263 w 1265"/>
                <a:gd name="T29" fmla="*/ 194 h 969"/>
                <a:gd name="T30" fmla="*/ 1217 w 1265"/>
                <a:gd name="T31" fmla="*/ 57 h 969"/>
                <a:gd name="T32" fmla="*/ 1071 w 1265"/>
                <a:gd name="T33" fmla="*/ 0 h 969"/>
                <a:gd name="T34" fmla="*/ 597 w 1265"/>
                <a:gd name="T35" fmla="*/ 0 h 969"/>
                <a:gd name="T36" fmla="*/ 496 w 1265"/>
                <a:gd name="T37" fmla="*/ 33 h 969"/>
                <a:gd name="T38" fmla="*/ 332 w 1265"/>
                <a:gd name="T39" fmla="*/ 246 h 969"/>
                <a:gd name="T40" fmla="*/ 0 w 1265"/>
                <a:gd name="T41" fmla="*/ 961 h 969"/>
                <a:gd name="T42" fmla="*/ 106 w 1265"/>
                <a:gd name="T43" fmla="*/ 969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5" h="969">
                  <a:moveTo>
                    <a:pt x="106" y="969"/>
                  </a:moveTo>
                  <a:cubicBezTo>
                    <a:pt x="108" y="964"/>
                    <a:pt x="334" y="502"/>
                    <a:pt x="426" y="286"/>
                  </a:cubicBezTo>
                  <a:cubicBezTo>
                    <a:pt x="466" y="191"/>
                    <a:pt x="511" y="145"/>
                    <a:pt x="542" y="124"/>
                  </a:cubicBezTo>
                  <a:cubicBezTo>
                    <a:pt x="571" y="105"/>
                    <a:pt x="592" y="102"/>
                    <a:pt x="596" y="101"/>
                  </a:cubicBezTo>
                  <a:cubicBezTo>
                    <a:pt x="597" y="102"/>
                    <a:pt x="597" y="102"/>
                    <a:pt x="597" y="102"/>
                  </a:cubicBezTo>
                  <a:cubicBezTo>
                    <a:pt x="597" y="101"/>
                    <a:pt x="597" y="101"/>
                    <a:pt x="597" y="101"/>
                  </a:cubicBezTo>
                  <a:cubicBezTo>
                    <a:pt x="597" y="101"/>
                    <a:pt x="597" y="101"/>
                    <a:pt x="597" y="101"/>
                  </a:cubicBezTo>
                  <a:cubicBezTo>
                    <a:pt x="1071" y="101"/>
                    <a:pt x="1071" y="101"/>
                    <a:pt x="1071" y="101"/>
                  </a:cubicBezTo>
                  <a:cubicBezTo>
                    <a:pt x="1103" y="101"/>
                    <a:pt x="1127" y="109"/>
                    <a:pt x="1142" y="125"/>
                  </a:cubicBezTo>
                  <a:cubicBezTo>
                    <a:pt x="1163" y="148"/>
                    <a:pt x="1161" y="184"/>
                    <a:pt x="1161" y="187"/>
                  </a:cubicBezTo>
                  <a:cubicBezTo>
                    <a:pt x="1161" y="190"/>
                    <a:pt x="1161" y="190"/>
                    <a:pt x="1161" y="190"/>
                  </a:cubicBezTo>
                  <a:cubicBezTo>
                    <a:pt x="1161" y="192"/>
                    <a:pt x="1161" y="192"/>
                    <a:pt x="1161" y="192"/>
                  </a:cubicBezTo>
                  <a:cubicBezTo>
                    <a:pt x="1161" y="747"/>
                    <a:pt x="1161" y="747"/>
                    <a:pt x="1161" y="747"/>
                  </a:cubicBezTo>
                  <a:cubicBezTo>
                    <a:pt x="1263" y="747"/>
                    <a:pt x="1263" y="747"/>
                    <a:pt x="1263" y="747"/>
                  </a:cubicBezTo>
                  <a:cubicBezTo>
                    <a:pt x="1263" y="194"/>
                    <a:pt x="1263" y="194"/>
                    <a:pt x="1263" y="194"/>
                  </a:cubicBezTo>
                  <a:cubicBezTo>
                    <a:pt x="1264" y="177"/>
                    <a:pt x="1265" y="109"/>
                    <a:pt x="1217" y="57"/>
                  </a:cubicBezTo>
                  <a:cubicBezTo>
                    <a:pt x="1183" y="19"/>
                    <a:pt x="1134" y="0"/>
                    <a:pt x="1071" y="0"/>
                  </a:cubicBezTo>
                  <a:cubicBezTo>
                    <a:pt x="597" y="0"/>
                    <a:pt x="597" y="0"/>
                    <a:pt x="597" y="0"/>
                  </a:cubicBezTo>
                  <a:cubicBezTo>
                    <a:pt x="587" y="0"/>
                    <a:pt x="547" y="2"/>
                    <a:pt x="496" y="33"/>
                  </a:cubicBezTo>
                  <a:cubicBezTo>
                    <a:pt x="430" y="74"/>
                    <a:pt x="375" y="146"/>
                    <a:pt x="332" y="246"/>
                  </a:cubicBezTo>
                  <a:cubicBezTo>
                    <a:pt x="241" y="460"/>
                    <a:pt x="3" y="956"/>
                    <a:pt x="0" y="961"/>
                  </a:cubicBezTo>
                  <a:lnTo>
                    <a:pt x="106" y="969"/>
                  </a:lnTo>
                  <a:close/>
                </a:path>
              </a:pathLst>
            </a:custGeom>
            <a:solidFill>
              <a:srgbClr val="DA4127"/>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2" name="íşļíḑè"/>
            <p:cNvSpPr/>
            <p:nvPr/>
          </p:nvSpPr>
          <p:spPr bwMode="auto">
            <a:xfrm>
              <a:off x="3930241" y="3526822"/>
              <a:ext cx="152646" cy="151615"/>
            </a:xfrm>
            <a:custGeom>
              <a:avLst/>
              <a:gdLst>
                <a:gd name="T0" fmla="*/ 0 w 486"/>
                <a:gd name="T1" fmla="*/ 242 h 485"/>
                <a:gd name="T2" fmla="*/ 11 w 486"/>
                <a:gd name="T3" fmla="*/ 313 h 485"/>
                <a:gd name="T4" fmla="*/ 243 w 486"/>
                <a:gd name="T5" fmla="*/ 485 h 485"/>
                <a:gd name="T6" fmla="*/ 486 w 486"/>
                <a:gd name="T7" fmla="*/ 242 h 485"/>
                <a:gd name="T8" fmla="*/ 380 w 486"/>
                <a:gd name="T9" fmla="*/ 41 h 485"/>
                <a:gd name="T10" fmla="*/ 243 w 486"/>
                <a:gd name="T11" fmla="*/ 0 h 485"/>
                <a:gd name="T12" fmla="*/ 0 w 486"/>
                <a:gd name="T13" fmla="*/ 242 h 485"/>
                <a:gd name="T14" fmla="*/ 153 w 486"/>
                <a:gd name="T15" fmla="*/ 313 h 485"/>
                <a:gd name="T16" fmla="*/ 128 w 486"/>
                <a:gd name="T17" fmla="*/ 242 h 485"/>
                <a:gd name="T18" fmla="*/ 243 w 486"/>
                <a:gd name="T19" fmla="*/ 127 h 485"/>
                <a:gd name="T20" fmla="*/ 358 w 486"/>
                <a:gd name="T21" fmla="*/ 242 h 485"/>
                <a:gd name="T22" fmla="*/ 334 w 486"/>
                <a:gd name="T23" fmla="*/ 313 h 485"/>
                <a:gd name="T24" fmla="*/ 243 w 486"/>
                <a:gd name="T25" fmla="*/ 358 h 485"/>
                <a:gd name="T26" fmla="*/ 153 w 486"/>
                <a:gd name="T27" fmla="*/ 31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6" h="485">
                  <a:moveTo>
                    <a:pt x="0" y="242"/>
                  </a:moveTo>
                  <a:cubicBezTo>
                    <a:pt x="0" y="267"/>
                    <a:pt x="4" y="291"/>
                    <a:pt x="11" y="313"/>
                  </a:cubicBezTo>
                  <a:cubicBezTo>
                    <a:pt x="41" y="413"/>
                    <a:pt x="134" y="485"/>
                    <a:pt x="243" y="485"/>
                  </a:cubicBezTo>
                  <a:cubicBezTo>
                    <a:pt x="377" y="485"/>
                    <a:pt x="486" y="377"/>
                    <a:pt x="486" y="242"/>
                  </a:cubicBezTo>
                  <a:cubicBezTo>
                    <a:pt x="486" y="159"/>
                    <a:pt x="444" y="85"/>
                    <a:pt x="380" y="41"/>
                  </a:cubicBezTo>
                  <a:cubicBezTo>
                    <a:pt x="341" y="15"/>
                    <a:pt x="294" y="0"/>
                    <a:pt x="243" y="0"/>
                  </a:cubicBezTo>
                  <a:cubicBezTo>
                    <a:pt x="109" y="0"/>
                    <a:pt x="0" y="108"/>
                    <a:pt x="0" y="242"/>
                  </a:cubicBezTo>
                  <a:close/>
                  <a:moveTo>
                    <a:pt x="153" y="313"/>
                  </a:moveTo>
                  <a:cubicBezTo>
                    <a:pt x="137" y="294"/>
                    <a:pt x="128" y="269"/>
                    <a:pt x="128" y="242"/>
                  </a:cubicBezTo>
                  <a:cubicBezTo>
                    <a:pt x="128" y="179"/>
                    <a:pt x="180" y="127"/>
                    <a:pt x="243" y="127"/>
                  </a:cubicBezTo>
                  <a:cubicBezTo>
                    <a:pt x="307" y="127"/>
                    <a:pt x="358" y="179"/>
                    <a:pt x="358" y="242"/>
                  </a:cubicBezTo>
                  <a:cubicBezTo>
                    <a:pt x="358" y="269"/>
                    <a:pt x="349" y="294"/>
                    <a:pt x="334" y="313"/>
                  </a:cubicBezTo>
                  <a:cubicBezTo>
                    <a:pt x="313" y="340"/>
                    <a:pt x="280" y="358"/>
                    <a:pt x="243" y="358"/>
                  </a:cubicBezTo>
                  <a:cubicBezTo>
                    <a:pt x="207" y="358"/>
                    <a:pt x="174" y="340"/>
                    <a:pt x="153" y="313"/>
                  </a:cubicBezTo>
                  <a:close/>
                </a:path>
              </a:pathLst>
            </a:custGeom>
            <a:solidFill>
              <a:srgbClr val="3F505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3" name="iśḻîḑè"/>
            <p:cNvSpPr/>
            <p:nvPr/>
          </p:nvSpPr>
          <p:spPr bwMode="auto">
            <a:xfrm>
              <a:off x="3604321" y="3539198"/>
              <a:ext cx="139238" cy="139238"/>
            </a:xfrm>
            <a:custGeom>
              <a:avLst/>
              <a:gdLst>
                <a:gd name="T0" fmla="*/ 0 w 446"/>
                <a:gd name="T1" fmla="*/ 223 h 446"/>
                <a:gd name="T2" fmla="*/ 223 w 446"/>
                <a:gd name="T3" fmla="*/ 446 h 446"/>
                <a:gd name="T4" fmla="*/ 444 w 446"/>
                <a:gd name="T5" fmla="*/ 252 h 446"/>
                <a:gd name="T6" fmla="*/ 446 w 446"/>
                <a:gd name="T7" fmla="*/ 223 h 446"/>
                <a:gd name="T8" fmla="*/ 223 w 446"/>
                <a:gd name="T9" fmla="*/ 0 h 446"/>
                <a:gd name="T10" fmla="*/ 151 w 446"/>
                <a:gd name="T11" fmla="*/ 12 h 446"/>
                <a:gd name="T12" fmla="*/ 104 w 446"/>
                <a:gd name="T13" fmla="*/ 34 h 446"/>
                <a:gd name="T14" fmla="*/ 0 w 446"/>
                <a:gd name="T15" fmla="*/ 206 h 446"/>
                <a:gd name="T16" fmla="*/ 0 w 446"/>
                <a:gd name="T17" fmla="*/ 223 h 446"/>
                <a:gd name="T18" fmla="*/ 135 w 446"/>
                <a:gd name="T19" fmla="*/ 223 h 446"/>
                <a:gd name="T20" fmla="*/ 151 w 446"/>
                <a:gd name="T21" fmla="*/ 173 h 446"/>
                <a:gd name="T22" fmla="*/ 223 w 446"/>
                <a:gd name="T23" fmla="*/ 135 h 446"/>
                <a:gd name="T24" fmla="*/ 311 w 446"/>
                <a:gd name="T25" fmla="*/ 223 h 446"/>
                <a:gd name="T26" fmla="*/ 306 w 446"/>
                <a:gd name="T27" fmla="*/ 252 h 446"/>
                <a:gd name="T28" fmla="*/ 223 w 446"/>
                <a:gd name="T29" fmla="*/ 311 h 446"/>
                <a:gd name="T30" fmla="*/ 135 w 446"/>
                <a:gd name="T31" fmla="*/ 22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6" h="446">
                  <a:moveTo>
                    <a:pt x="0" y="223"/>
                  </a:moveTo>
                  <a:cubicBezTo>
                    <a:pt x="0" y="346"/>
                    <a:pt x="100" y="446"/>
                    <a:pt x="223" y="446"/>
                  </a:cubicBezTo>
                  <a:cubicBezTo>
                    <a:pt x="336" y="446"/>
                    <a:pt x="430" y="362"/>
                    <a:pt x="444" y="252"/>
                  </a:cubicBezTo>
                  <a:cubicBezTo>
                    <a:pt x="445" y="243"/>
                    <a:pt x="446" y="233"/>
                    <a:pt x="446" y="223"/>
                  </a:cubicBezTo>
                  <a:cubicBezTo>
                    <a:pt x="446" y="100"/>
                    <a:pt x="346" y="0"/>
                    <a:pt x="223" y="0"/>
                  </a:cubicBezTo>
                  <a:cubicBezTo>
                    <a:pt x="198" y="0"/>
                    <a:pt x="173" y="4"/>
                    <a:pt x="151" y="12"/>
                  </a:cubicBezTo>
                  <a:cubicBezTo>
                    <a:pt x="134" y="17"/>
                    <a:pt x="119" y="25"/>
                    <a:pt x="104" y="34"/>
                  </a:cubicBezTo>
                  <a:cubicBezTo>
                    <a:pt x="46" y="71"/>
                    <a:pt x="6" y="133"/>
                    <a:pt x="0" y="206"/>
                  </a:cubicBezTo>
                  <a:cubicBezTo>
                    <a:pt x="0" y="211"/>
                    <a:pt x="0" y="217"/>
                    <a:pt x="0" y="223"/>
                  </a:cubicBezTo>
                  <a:close/>
                  <a:moveTo>
                    <a:pt x="135" y="223"/>
                  </a:moveTo>
                  <a:cubicBezTo>
                    <a:pt x="135" y="204"/>
                    <a:pt x="141" y="187"/>
                    <a:pt x="151" y="173"/>
                  </a:cubicBezTo>
                  <a:cubicBezTo>
                    <a:pt x="167" y="150"/>
                    <a:pt x="193" y="135"/>
                    <a:pt x="223" y="135"/>
                  </a:cubicBezTo>
                  <a:cubicBezTo>
                    <a:pt x="271" y="135"/>
                    <a:pt x="311" y="175"/>
                    <a:pt x="311" y="223"/>
                  </a:cubicBezTo>
                  <a:cubicBezTo>
                    <a:pt x="311" y="233"/>
                    <a:pt x="309" y="243"/>
                    <a:pt x="306" y="252"/>
                  </a:cubicBezTo>
                  <a:cubicBezTo>
                    <a:pt x="294" y="286"/>
                    <a:pt x="261" y="311"/>
                    <a:pt x="223" y="311"/>
                  </a:cubicBezTo>
                  <a:cubicBezTo>
                    <a:pt x="174" y="311"/>
                    <a:pt x="135" y="272"/>
                    <a:pt x="135" y="223"/>
                  </a:cubicBezTo>
                  <a:close/>
                </a:path>
              </a:pathLst>
            </a:custGeom>
            <a:solidFill>
              <a:srgbClr val="3F505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4" name="îś1îḓê"/>
            <p:cNvSpPr/>
            <p:nvPr/>
          </p:nvSpPr>
          <p:spPr bwMode="auto">
            <a:xfrm>
              <a:off x="3656922" y="3439153"/>
              <a:ext cx="413588" cy="191839"/>
            </a:xfrm>
            <a:custGeom>
              <a:avLst/>
              <a:gdLst>
                <a:gd name="T0" fmla="*/ 814 w 1319"/>
                <a:gd name="T1" fmla="*/ 611 h 611"/>
                <a:gd name="T2" fmla="*/ 347 w 1319"/>
                <a:gd name="T3" fmla="*/ 611 h 611"/>
                <a:gd name="T4" fmla="*/ 342 w 1319"/>
                <a:gd name="T5" fmla="*/ 431 h 611"/>
                <a:gd name="T6" fmla="*/ 241 w 1319"/>
                <a:gd name="T7" fmla="*/ 292 h 611"/>
                <a:gd name="T8" fmla="*/ 0 w 1319"/>
                <a:gd name="T9" fmla="*/ 227 h 611"/>
                <a:gd name="T10" fmla="*/ 837 w 1319"/>
                <a:gd name="T11" fmla="*/ 227 h 611"/>
                <a:gd name="T12" fmla="*/ 948 w 1319"/>
                <a:gd name="T13" fmla="*/ 0 h 611"/>
                <a:gd name="T14" fmla="*/ 1235 w 1319"/>
                <a:gd name="T15" fmla="*/ 0 h 611"/>
                <a:gd name="T16" fmla="*/ 1319 w 1319"/>
                <a:gd name="T17" fmla="*/ 292 h 611"/>
                <a:gd name="T18" fmla="*/ 1221 w 1319"/>
                <a:gd name="T19" fmla="*/ 260 h 611"/>
                <a:gd name="T20" fmla="*/ 1120 w 1319"/>
                <a:gd name="T21" fmla="*/ 236 h 611"/>
                <a:gd name="T22" fmla="*/ 1004 w 1319"/>
                <a:gd name="T23" fmla="*/ 236 h 611"/>
                <a:gd name="T24" fmla="*/ 898 w 1319"/>
                <a:gd name="T25" fmla="*/ 315 h 611"/>
                <a:gd name="T26" fmla="*/ 828 w 1319"/>
                <a:gd name="T27" fmla="*/ 486 h 611"/>
                <a:gd name="T28" fmla="*/ 814 w 1319"/>
                <a:gd name="T29" fmla="*/ 611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9" h="611">
                  <a:moveTo>
                    <a:pt x="814" y="611"/>
                  </a:moveTo>
                  <a:cubicBezTo>
                    <a:pt x="347" y="611"/>
                    <a:pt x="347" y="611"/>
                    <a:pt x="347" y="611"/>
                  </a:cubicBezTo>
                  <a:cubicBezTo>
                    <a:pt x="342" y="431"/>
                    <a:pt x="342" y="431"/>
                    <a:pt x="342" y="431"/>
                  </a:cubicBezTo>
                  <a:cubicBezTo>
                    <a:pt x="241" y="292"/>
                    <a:pt x="241" y="292"/>
                    <a:pt x="241" y="292"/>
                  </a:cubicBezTo>
                  <a:cubicBezTo>
                    <a:pt x="0" y="227"/>
                    <a:pt x="0" y="227"/>
                    <a:pt x="0" y="227"/>
                  </a:cubicBezTo>
                  <a:cubicBezTo>
                    <a:pt x="837" y="227"/>
                    <a:pt x="837" y="227"/>
                    <a:pt x="837" y="227"/>
                  </a:cubicBezTo>
                  <a:cubicBezTo>
                    <a:pt x="948" y="0"/>
                    <a:pt x="948" y="0"/>
                    <a:pt x="948" y="0"/>
                  </a:cubicBezTo>
                  <a:cubicBezTo>
                    <a:pt x="1235" y="0"/>
                    <a:pt x="1235" y="0"/>
                    <a:pt x="1235" y="0"/>
                  </a:cubicBezTo>
                  <a:cubicBezTo>
                    <a:pt x="1235" y="0"/>
                    <a:pt x="1319" y="19"/>
                    <a:pt x="1319" y="292"/>
                  </a:cubicBezTo>
                  <a:cubicBezTo>
                    <a:pt x="1221" y="260"/>
                    <a:pt x="1221" y="260"/>
                    <a:pt x="1221" y="260"/>
                  </a:cubicBezTo>
                  <a:cubicBezTo>
                    <a:pt x="1120" y="236"/>
                    <a:pt x="1120" y="236"/>
                    <a:pt x="1120" y="236"/>
                  </a:cubicBezTo>
                  <a:cubicBezTo>
                    <a:pt x="1004" y="236"/>
                    <a:pt x="1004" y="236"/>
                    <a:pt x="1004" y="236"/>
                  </a:cubicBezTo>
                  <a:cubicBezTo>
                    <a:pt x="898" y="315"/>
                    <a:pt x="898" y="315"/>
                    <a:pt x="898" y="315"/>
                  </a:cubicBezTo>
                  <a:cubicBezTo>
                    <a:pt x="828" y="486"/>
                    <a:pt x="828" y="486"/>
                    <a:pt x="828" y="486"/>
                  </a:cubicBezTo>
                  <a:lnTo>
                    <a:pt x="814" y="611"/>
                  </a:lnTo>
                  <a:close/>
                </a:path>
              </a:pathLst>
            </a:custGeom>
            <a:solidFill>
              <a:srgbClr val="E6720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5" name="ísḷídè"/>
            <p:cNvSpPr/>
            <p:nvPr/>
          </p:nvSpPr>
          <p:spPr bwMode="auto">
            <a:xfrm>
              <a:off x="3902393" y="3505162"/>
              <a:ext cx="207310" cy="134081"/>
            </a:xfrm>
            <a:custGeom>
              <a:avLst/>
              <a:gdLst>
                <a:gd name="T0" fmla="*/ 528 w 661"/>
                <a:gd name="T1" fmla="*/ 140 h 430"/>
                <a:gd name="T2" fmla="*/ 331 w 661"/>
                <a:gd name="T3" fmla="*/ 54 h 430"/>
                <a:gd name="T4" fmla="*/ 134 w 661"/>
                <a:gd name="T5" fmla="*/ 140 h 430"/>
                <a:gd name="T6" fmla="*/ 52 w 661"/>
                <a:gd name="T7" fmla="*/ 347 h 430"/>
                <a:gd name="T8" fmla="*/ 63 w 661"/>
                <a:gd name="T9" fmla="*/ 430 h 430"/>
                <a:gd name="T10" fmla="*/ 9 w 661"/>
                <a:gd name="T11" fmla="*/ 430 h 430"/>
                <a:gd name="T12" fmla="*/ 0 w 661"/>
                <a:gd name="T13" fmla="*/ 347 h 430"/>
                <a:gd name="T14" fmla="*/ 331 w 661"/>
                <a:gd name="T15" fmla="*/ 0 h 430"/>
                <a:gd name="T16" fmla="*/ 661 w 661"/>
                <a:gd name="T17" fmla="*/ 324 h 430"/>
                <a:gd name="T18" fmla="*/ 608 w 661"/>
                <a:gd name="T19" fmla="*/ 324 h 430"/>
                <a:gd name="T20" fmla="*/ 528 w 661"/>
                <a:gd name="T21" fmla="*/ 14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1" h="430">
                  <a:moveTo>
                    <a:pt x="528" y="140"/>
                  </a:moveTo>
                  <a:cubicBezTo>
                    <a:pt x="475" y="85"/>
                    <a:pt x="405" y="54"/>
                    <a:pt x="331" y="54"/>
                  </a:cubicBezTo>
                  <a:cubicBezTo>
                    <a:pt x="256" y="54"/>
                    <a:pt x="186" y="85"/>
                    <a:pt x="134" y="140"/>
                  </a:cubicBezTo>
                  <a:cubicBezTo>
                    <a:pt x="81" y="195"/>
                    <a:pt x="52" y="269"/>
                    <a:pt x="52" y="347"/>
                  </a:cubicBezTo>
                  <a:cubicBezTo>
                    <a:pt x="52" y="375"/>
                    <a:pt x="56" y="403"/>
                    <a:pt x="63" y="430"/>
                  </a:cubicBezTo>
                  <a:cubicBezTo>
                    <a:pt x="9" y="430"/>
                    <a:pt x="9" y="430"/>
                    <a:pt x="9" y="430"/>
                  </a:cubicBezTo>
                  <a:cubicBezTo>
                    <a:pt x="3" y="403"/>
                    <a:pt x="0" y="375"/>
                    <a:pt x="0" y="347"/>
                  </a:cubicBezTo>
                  <a:cubicBezTo>
                    <a:pt x="0" y="155"/>
                    <a:pt x="148" y="0"/>
                    <a:pt x="331" y="0"/>
                  </a:cubicBezTo>
                  <a:cubicBezTo>
                    <a:pt x="506" y="0"/>
                    <a:pt x="649" y="143"/>
                    <a:pt x="661" y="324"/>
                  </a:cubicBezTo>
                  <a:cubicBezTo>
                    <a:pt x="608" y="324"/>
                    <a:pt x="608" y="324"/>
                    <a:pt x="608" y="324"/>
                  </a:cubicBezTo>
                  <a:cubicBezTo>
                    <a:pt x="603" y="254"/>
                    <a:pt x="575" y="190"/>
                    <a:pt x="528" y="140"/>
                  </a:cubicBezTo>
                  <a:close/>
                </a:path>
              </a:pathLst>
            </a:custGeom>
            <a:solidFill>
              <a:srgbClr val="DA4127"/>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6" name="iṡḷíḑè"/>
            <p:cNvSpPr/>
            <p:nvPr/>
          </p:nvSpPr>
          <p:spPr bwMode="auto">
            <a:xfrm>
              <a:off x="3566159" y="3490723"/>
              <a:ext cx="220718" cy="154709"/>
            </a:xfrm>
            <a:custGeom>
              <a:avLst/>
              <a:gdLst>
                <a:gd name="T0" fmla="*/ 589 w 701"/>
                <a:gd name="T1" fmla="*/ 273 h 493"/>
                <a:gd name="T2" fmla="*/ 439 w 701"/>
                <a:gd name="T3" fmla="*/ 119 h 493"/>
                <a:gd name="T4" fmla="*/ 224 w 701"/>
                <a:gd name="T5" fmla="*/ 125 h 493"/>
                <a:gd name="T6" fmla="*/ 71 w 701"/>
                <a:gd name="T7" fmla="*/ 285 h 493"/>
                <a:gd name="T8" fmla="*/ 50 w 701"/>
                <a:gd name="T9" fmla="*/ 367 h 493"/>
                <a:gd name="T10" fmla="*/ 0 w 701"/>
                <a:gd name="T11" fmla="*/ 347 h 493"/>
                <a:gd name="T12" fmla="*/ 23 w 701"/>
                <a:gd name="T13" fmla="*/ 266 h 493"/>
                <a:gd name="T14" fmla="*/ 460 w 701"/>
                <a:gd name="T15" fmla="*/ 69 h 493"/>
                <a:gd name="T16" fmla="*/ 644 w 701"/>
                <a:gd name="T17" fmla="*/ 493 h 493"/>
                <a:gd name="T18" fmla="*/ 595 w 701"/>
                <a:gd name="T19" fmla="*/ 473 h 493"/>
                <a:gd name="T20" fmla="*/ 589 w 701"/>
                <a:gd name="T21" fmla="*/ 27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1" h="493">
                  <a:moveTo>
                    <a:pt x="589" y="273"/>
                  </a:moveTo>
                  <a:cubicBezTo>
                    <a:pt x="561" y="202"/>
                    <a:pt x="508" y="147"/>
                    <a:pt x="439" y="119"/>
                  </a:cubicBezTo>
                  <a:cubicBezTo>
                    <a:pt x="370" y="91"/>
                    <a:pt x="294" y="93"/>
                    <a:pt x="224" y="125"/>
                  </a:cubicBezTo>
                  <a:cubicBezTo>
                    <a:pt x="155" y="156"/>
                    <a:pt x="100" y="213"/>
                    <a:pt x="71" y="285"/>
                  </a:cubicBezTo>
                  <a:cubicBezTo>
                    <a:pt x="60" y="312"/>
                    <a:pt x="53" y="339"/>
                    <a:pt x="50" y="367"/>
                  </a:cubicBezTo>
                  <a:cubicBezTo>
                    <a:pt x="0" y="347"/>
                    <a:pt x="0" y="347"/>
                    <a:pt x="0" y="347"/>
                  </a:cubicBezTo>
                  <a:cubicBezTo>
                    <a:pt x="4" y="320"/>
                    <a:pt x="12" y="292"/>
                    <a:pt x="23" y="266"/>
                  </a:cubicBezTo>
                  <a:cubicBezTo>
                    <a:pt x="95" y="88"/>
                    <a:pt x="290" y="0"/>
                    <a:pt x="460" y="69"/>
                  </a:cubicBezTo>
                  <a:cubicBezTo>
                    <a:pt x="622" y="134"/>
                    <a:pt x="701" y="321"/>
                    <a:pt x="644" y="493"/>
                  </a:cubicBezTo>
                  <a:cubicBezTo>
                    <a:pt x="595" y="473"/>
                    <a:pt x="595" y="473"/>
                    <a:pt x="595" y="473"/>
                  </a:cubicBezTo>
                  <a:cubicBezTo>
                    <a:pt x="617" y="407"/>
                    <a:pt x="615" y="337"/>
                    <a:pt x="589" y="273"/>
                  </a:cubicBezTo>
                  <a:close/>
                </a:path>
              </a:pathLst>
            </a:custGeom>
            <a:solidFill>
              <a:srgbClr val="DA4127"/>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07" name="ïṩḻïḑé"/>
            <p:cNvSpPr/>
            <p:nvPr/>
          </p:nvSpPr>
          <p:spPr bwMode="auto">
            <a:xfrm>
              <a:off x="3747684" y="3355610"/>
              <a:ext cx="94888" cy="89731"/>
            </a:xfrm>
            <a:custGeom>
              <a:avLst/>
              <a:gdLst>
                <a:gd name="T0" fmla="*/ 164 w 300"/>
                <a:gd name="T1" fmla="*/ 124 h 286"/>
                <a:gd name="T2" fmla="*/ 103 w 300"/>
                <a:gd name="T3" fmla="*/ 52 h 286"/>
                <a:gd name="T4" fmla="*/ 105 w 300"/>
                <a:gd name="T5" fmla="*/ 17 h 286"/>
                <a:gd name="T6" fmla="*/ 115 w 300"/>
                <a:gd name="T7" fmla="*/ 9 h 286"/>
                <a:gd name="T8" fmla="*/ 149 w 300"/>
                <a:gd name="T9" fmla="*/ 12 h 286"/>
                <a:gd name="T10" fmla="*/ 291 w 300"/>
                <a:gd name="T11" fmla="*/ 178 h 286"/>
                <a:gd name="T12" fmla="*/ 289 w 300"/>
                <a:gd name="T13" fmla="*/ 212 h 286"/>
                <a:gd name="T14" fmla="*/ 279 w 300"/>
                <a:gd name="T15" fmla="*/ 220 h 286"/>
                <a:gd name="T16" fmla="*/ 245 w 300"/>
                <a:gd name="T17" fmla="*/ 218 h 286"/>
                <a:gd name="T18" fmla="*/ 183 w 300"/>
                <a:gd name="T19" fmla="*/ 146 h 286"/>
                <a:gd name="T20" fmla="*/ 18 w 300"/>
                <a:gd name="T21" fmla="*/ 286 h 286"/>
                <a:gd name="T22" fmla="*/ 0 w 300"/>
                <a:gd name="T23" fmla="*/ 265 h 286"/>
                <a:gd name="T24" fmla="*/ 164 w 300"/>
                <a:gd name="T25" fmla="*/ 12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0" h="286">
                  <a:moveTo>
                    <a:pt x="164" y="124"/>
                  </a:moveTo>
                  <a:cubicBezTo>
                    <a:pt x="103" y="52"/>
                    <a:pt x="103" y="52"/>
                    <a:pt x="103" y="52"/>
                  </a:cubicBezTo>
                  <a:cubicBezTo>
                    <a:pt x="94" y="41"/>
                    <a:pt x="95" y="26"/>
                    <a:pt x="105" y="17"/>
                  </a:cubicBezTo>
                  <a:cubicBezTo>
                    <a:pt x="115" y="9"/>
                    <a:pt x="115" y="9"/>
                    <a:pt x="115" y="9"/>
                  </a:cubicBezTo>
                  <a:cubicBezTo>
                    <a:pt x="125" y="0"/>
                    <a:pt x="141" y="2"/>
                    <a:pt x="149" y="12"/>
                  </a:cubicBezTo>
                  <a:cubicBezTo>
                    <a:pt x="291" y="178"/>
                    <a:pt x="291" y="178"/>
                    <a:pt x="291" y="178"/>
                  </a:cubicBezTo>
                  <a:cubicBezTo>
                    <a:pt x="300" y="188"/>
                    <a:pt x="299" y="203"/>
                    <a:pt x="289" y="212"/>
                  </a:cubicBezTo>
                  <a:cubicBezTo>
                    <a:pt x="279" y="220"/>
                    <a:pt x="279" y="220"/>
                    <a:pt x="279" y="220"/>
                  </a:cubicBezTo>
                  <a:cubicBezTo>
                    <a:pt x="269" y="229"/>
                    <a:pt x="253" y="228"/>
                    <a:pt x="245" y="218"/>
                  </a:cubicBezTo>
                  <a:cubicBezTo>
                    <a:pt x="183" y="146"/>
                    <a:pt x="183" y="146"/>
                    <a:pt x="183" y="146"/>
                  </a:cubicBezTo>
                  <a:cubicBezTo>
                    <a:pt x="18" y="286"/>
                    <a:pt x="18" y="286"/>
                    <a:pt x="18" y="286"/>
                  </a:cubicBezTo>
                  <a:cubicBezTo>
                    <a:pt x="0" y="265"/>
                    <a:pt x="0" y="265"/>
                    <a:pt x="0" y="265"/>
                  </a:cubicBezTo>
                  <a:lnTo>
                    <a:pt x="164" y="124"/>
                  </a:lnTo>
                  <a:close/>
                </a:path>
              </a:pathLst>
            </a:custGeom>
            <a:solidFill>
              <a:srgbClr val="3F505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8" name="组合 7"/>
          <p:cNvGrpSpPr/>
          <p:nvPr/>
        </p:nvGrpSpPr>
        <p:grpSpPr>
          <a:xfrm>
            <a:off x="663388" y="2268072"/>
            <a:ext cx="3836894" cy="2644586"/>
            <a:chOff x="699247" y="2366682"/>
            <a:chExt cx="3836894" cy="2447365"/>
          </a:xfrm>
        </p:grpSpPr>
        <p:sp>
          <p:nvSpPr>
            <p:cNvPr id="6" name="任意多边形 5"/>
            <p:cNvSpPr/>
            <p:nvPr/>
          </p:nvSpPr>
          <p:spPr>
            <a:xfrm>
              <a:off x="699247" y="2366682"/>
              <a:ext cx="3836894" cy="412376"/>
            </a:xfrm>
            <a:custGeom>
              <a:avLst/>
              <a:gdLst>
                <a:gd name="connsiteX0" fmla="*/ 3836894 w 3836894"/>
                <a:gd name="connsiteY0" fmla="*/ 412376 h 412376"/>
                <a:gd name="connsiteX1" fmla="*/ 3254188 w 3836894"/>
                <a:gd name="connsiteY1" fmla="*/ 0 h 412376"/>
                <a:gd name="connsiteX2" fmla="*/ 0 w 3836894"/>
                <a:gd name="connsiteY2" fmla="*/ 0 h 412376"/>
              </a:gdLst>
              <a:ahLst/>
              <a:cxnLst>
                <a:cxn ang="0">
                  <a:pos x="connsiteX0" y="connsiteY0"/>
                </a:cxn>
                <a:cxn ang="0">
                  <a:pos x="connsiteX1" y="connsiteY1"/>
                </a:cxn>
                <a:cxn ang="0">
                  <a:pos x="connsiteX2" y="connsiteY2"/>
                </a:cxn>
              </a:cxnLst>
              <a:rect l="l" t="t" r="r" b="b"/>
              <a:pathLst>
                <a:path w="3836894" h="412376">
                  <a:moveTo>
                    <a:pt x="3836894" y="412376"/>
                  </a:moveTo>
                  <a:lnTo>
                    <a:pt x="3254188" y="0"/>
                  </a:lnTo>
                  <a:lnTo>
                    <a:pt x="0" y="0"/>
                  </a:lnTo>
                </a:path>
              </a:pathLst>
            </a:custGeom>
            <a:ln w="9525" cap="rnd">
              <a:solidFill>
                <a:schemeClr val="bg1">
                  <a:lumMod val="50000"/>
                </a:schemeClr>
              </a:solidFill>
              <a:prstDash val="dash"/>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08" name="任意多边形 507"/>
            <p:cNvSpPr/>
            <p:nvPr/>
          </p:nvSpPr>
          <p:spPr>
            <a:xfrm flipV="1">
              <a:off x="699247" y="4401671"/>
              <a:ext cx="3836894" cy="412376"/>
            </a:xfrm>
            <a:custGeom>
              <a:avLst/>
              <a:gdLst>
                <a:gd name="connsiteX0" fmla="*/ 3836894 w 3836894"/>
                <a:gd name="connsiteY0" fmla="*/ 412376 h 412376"/>
                <a:gd name="connsiteX1" fmla="*/ 3254188 w 3836894"/>
                <a:gd name="connsiteY1" fmla="*/ 0 h 412376"/>
                <a:gd name="connsiteX2" fmla="*/ 0 w 3836894"/>
                <a:gd name="connsiteY2" fmla="*/ 0 h 412376"/>
              </a:gdLst>
              <a:ahLst/>
              <a:cxnLst>
                <a:cxn ang="0">
                  <a:pos x="connsiteX0" y="connsiteY0"/>
                </a:cxn>
                <a:cxn ang="0">
                  <a:pos x="connsiteX1" y="connsiteY1"/>
                </a:cxn>
                <a:cxn ang="0">
                  <a:pos x="connsiteX2" y="connsiteY2"/>
                </a:cxn>
              </a:cxnLst>
              <a:rect l="l" t="t" r="r" b="b"/>
              <a:pathLst>
                <a:path w="3836894" h="412376">
                  <a:moveTo>
                    <a:pt x="3836894" y="412376"/>
                  </a:moveTo>
                  <a:lnTo>
                    <a:pt x="3254188" y="0"/>
                  </a:lnTo>
                  <a:lnTo>
                    <a:pt x="0" y="0"/>
                  </a:lnTo>
                </a:path>
              </a:pathLst>
            </a:custGeom>
            <a:ln w="9525" cap="rnd">
              <a:solidFill>
                <a:schemeClr val="bg1">
                  <a:lumMod val="50000"/>
                </a:schemeClr>
              </a:solidFill>
              <a:prstDash val="dash"/>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7" name="组合 6"/>
          <p:cNvGrpSpPr/>
          <p:nvPr/>
        </p:nvGrpSpPr>
        <p:grpSpPr>
          <a:xfrm flipH="1">
            <a:off x="7620000" y="2268072"/>
            <a:ext cx="3836894" cy="2644586"/>
            <a:chOff x="6795247" y="2366682"/>
            <a:chExt cx="3836894" cy="2447365"/>
          </a:xfrm>
        </p:grpSpPr>
        <p:sp>
          <p:nvSpPr>
            <p:cNvPr id="509" name="任意多边形 508"/>
            <p:cNvSpPr/>
            <p:nvPr/>
          </p:nvSpPr>
          <p:spPr>
            <a:xfrm>
              <a:off x="6795247" y="2366682"/>
              <a:ext cx="3836894" cy="412376"/>
            </a:xfrm>
            <a:custGeom>
              <a:avLst/>
              <a:gdLst>
                <a:gd name="connsiteX0" fmla="*/ 3836894 w 3836894"/>
                <a:gd name="connsiteY0" fmla="*/ 412376 h 412376"/>
                <a:gd name="connsiteX1" fmla="*/ 3254188 w 3836894"/>
                <a:gd name="connsiteY1" fmla="*/ 0 h 412376"/>
                <a:gd name="connsiteX2" fmla="*/ 0 w 3836894"/>
                <a:gd name="connsiteY2" fmla="*/ 0 h 412376"/>
              </a:gdLst>
              <a:ahLst/>
              <a:cxnLst>
                <a:cxn ang="0">
                  <a:pos x="connsiteX0" y="connsiteY0"/>
                </a:cxn>
                <a:cxn ang="0">
                  <a:pos x="connsiteX1" y="connsiteY1"/>
                </a:cxn>
                <a:cxn ang="0">
                  <a:pos x="connsiteX2" y="connsiteY2"/>
                </a:cxn>
              </a:cxnLst>
              <a:rect l="l" t="t" r="r" b="b"/>
              <a:pathLst>
                <a:path w="3836894" h="412376">
                  <a:moveTo>
                    <a:pt x="3836894" y="412376"/>
                  </a:moveTo>
                  <a:lnTo>
                    <a:pt x="3254188" y="0"/>
                  </a:lnTo>
                  <a:lnTo>
                    <a:pt x="0" y="0"/>
                  </a:lnTo>
                </a:path>
              </a:pathLst>
            </a:custGeom>
            <a:ln w="9525" cap="rnd">
              <a:solidFill>
                <a:schemeClr val="bg1">
                  <a:lumMod val="50000"/>
                </a:schemeClr>
              </a:solidFill>
              <a:prstDash val="dash"/>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10" name="任意多边形 509"/>
            <p:cNvSpPr/>
            <p:nvPr/>
          </p:nvSpPr>
          <p:spPr>
            <a:xfrm flipV="1">
              <a:off x="6795247" y="4401671"/>
              <a:ext cx="3836894" cy="412376"/>
            </a:xfrm>
            <a:custGeom>
              <a:avLst/>
              <a:gdLst>
                <a:gd name="connsiteX0" fmla="*/ 3836894 w 3836894"/>
                <a:gd name="connsiteY0" fmla="*/ 412376 h 412376"/>
                <a:gd name="connsiteX1" fmla="*/ 3254188 w 3836894"/>
                <a:gd name="connsiteY1" fmla="*/ 0 h 412376"/>
                <a:gd name="connsiteX2" fmla="*/ 0 w 3836894"/>
                <a:gd name="connsiteY2" fmla="*/ 0 h 412376"/>
              </a:gdLst>
              <a:ahLst/>
              <a:cxnLst>
                <a:cxn ang="0">
                  <a:pos x="connsiteX0" y="connsiteY0"/>
                </a:cxn>
                <a:cxn ang="0">
                  <a:pos x="connsiteX1" y="connsiteY1"/>
                </a:cxn>
                <a:cxn ang="0">
                  <a:pos x="connsiteX2" y="connsiteY2"/>
                </a:cxn>
              </a:cxnLst>
              <a:rect l="l" t="t" r="r" b="b"/>
              <a:pathLst>
                <a:path w="3836894" h="412376">
                  <a:moveTo>
                    <a:pt x="3836894" y="412376"/>
                  </a:moveTo>
                  <a:lnTo>
                    <a:pt x="3254188" y="0"/>
                  </a:lnTo>
                  <a:lnTo>
                    <a:pt x="0" y="0"/>
                  </a:lnTo>
                </a:path>
              </a:pathLst>
            </a:custGeom>
            <a:ln w="9525" cap="rnd">
              <a:solidFill>
                <a:schemeClr val="bg1">
                  <a:lumMod val="50000"/>
                </a:schemeClr>
              </a:solidFill>
              <a:prstDash val="dash"/>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51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pic>
        <p:nvPicPr>
          <p:cNvPr id="512" name="图片 5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963917" y="2341176"/>
            <a:ext cx="5762297" cy="772510"/>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4" name="文本框 3"/>
          <p:cNvSpPr txBox="1"/>
          <p:nvPr/>
        </p:nvSpPr>
        <p:spPr>
          <a:xfrm>
            <a:off x="494643" y="11824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32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目录</a:t>
            </a:r>
            <a:endParaRPr kumimoji="0" lang="zh-CN" altLang="en-US" sz="32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5" name="文本框 4"/>
          <p:cNvSpPr txBox="1"/>
          <p:nvPr/>
        </p:nvSpPr>
        <p:spPr>
          <a:xfrm>
            <a:off x="3579356" y="2656486"/>
            <a:ext cx="4895193"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rPr>
              <a:t>1. </a:t>
            </a:r>
            <a:r>
              <a:rPr lang="zh-CN" altLang="en-US" sz="2800" b="1" noProof="0" dirty="0" smtClean="0">
                <a:solidFill>
                  <a:prstClr val="white"/>
                </a:solidFill>
                <a:latin typeface="Arial" panose="020B0604020202020204"/>
                <a:ea typeface="华文楷体" panose="02010600040101010101" charset="-122"/>
              </a:rPr>
              <a:t>工具模板</a:t>
            </a:r>
            <a:endParaRPr kumimoji="0" lang="en-US" altLang="zh-CN" sz="2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2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rPr>
              <a:t>2. </a:t>
            </a:r>
            <a:r>
              <a:rPr kumimoji="0" lang="zh-CN" altLang="en-US" sz="2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rPr>
              <a:t>分析模板</a:t>
            </a:r>
            <a:endParaRPr kumimoji="0" lang="zh-CN" altLang="en-US" sz="2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endParaRPr>
          </a:p>
        </p:txBody>
      </p:sp>
      <p:pic>
        <p:nvPicPr>
          <p:cNvPr id="6" name="图片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椭圆 2"/>
          <p:cNvSpPr>
            <a:spLocks noChangeArrowheads="1"/>
          </p:cNvSpPr>
          <p:nvPr/>
        </p:nvSpPr>
        <p:spPr bwMode="auto">
          <a:xfrm>
            <a:off x="3726380" y="666666"/>
            <a:ext cx="4428522" cy="4518315"/>
          </a:xfrm>
          <a:prstGeom prst="ellipse">
            <a:avLst/>
          </a:prstGeom>
          <a:noFill/>
          <a:ln w="152400">
            <a:solidFill>
              <a:srgbClr val="BCBCBC"/>
            </a:solidFill>
            <a:round/>
          </a:ln>
          <a:extLst>
            <a:ext uri="{909E8E84-426E-40DD-AFC4-6F175D3DCCD1}">
              <a14:hiddenFill xmlns:a14="http://schemas.microsoft.com/office/drawing/2010/main">
                <a:solidFill>
                  <a:srgbClr val="FFFFFF"/>
                </a:solidFill>
              </a14:hiddenFill>
            </a:ext>
          </a:extLst>
        </p:spPr>
        <p:txBody>
          <a:bodyPr anchor="ctr"/>
          <a:lstStyle/>
          <a:p>
            <a:pPr algn="ctr" defTabSz="914400" fontAlgn="base">
              <a:spcBef>
                <a:spcPct val="0"/>
              </a:spcBef>
              <a:spcAft>
                <a:spcPct val="0"/>
              </a:spcAft>
              <a:defRPr/>
            </a:pPr>
            <a:endParaRPr lang="zh-CN" altLang="en-US" kern="0">
              <a:solidFill>
                <a:srgbClr val="000000"/>
              </a:solidFill>
              <a:latin typeface="+mn-ea"/>
            </a:endParaRPr>
          </a:p>
        </p:txBody>
      </p:sp>
      <p:sp>
        <p:nvSpPr>
          <p:cNvPr id="64" name="椭圆 63"/>
          <p:cNvSpPr>
            <a:spLocks noChangeArrowheads="1"/>
          </p:cNvSpPr>
          <p:nvPr/>
        </p:nvSpPr>
        <p:spPr bwMode="auto">
          <a:xfrm>
            <a:off x="5030881" y="2054549"/>
            <a:ext cx="1802194" cy="1773352"/>
          </a:xfrm>
          <a:prstGeom prst="ellipse">
            <a:avLst/>
          </a:prstGeom>
          <a:noFill/>
          <a:ln w="76200">
            <a:solidFill>
              <a:srgbClr val="BCBCBC"/>
            </a:solidFill>
            <a:round/>
          </a:ln>
          <a:extLst>
            <a:ext uri="{909E8E84-426E-40DD-AFC4-6F175D3DCCD1}">
              <a14:hiddenFill xmlns:a14="http://schemas.microsoft.com/office/drawing/2010/main">
                <a:solidFill>
                  <a:srgbClr val="FFFFFF"/>
                </a:solidFill>
              </a14:hiddenFill>
            </a:ext>
          </a:extLst>
        </p:spPr>
        <p:txBody>
          <a:bodyPr anchor="ctr"/>
          <a:lstStyle/>
          <a:p>
            <a:pPr algn="ctr" defTabSz="914400" fontAlgn="base">
              <a:spcBef>
                <a:spcPct val="0"/>
              </a:spcBef>
              <a:spcAft>
                <a:spcPct val="0"/>
              </a:spcAft>
              <a:defRPr/>
            </a:pPr>
            <a:endParaRPr lang="en-US" altLang="zh-CN" sz="1600" kern="0" dirty="0">
              <a:solidFill>
                <a:srgbClr val="000000"/>
              </a:solidFill>
              <a:latin typeface="+mn-ea"/>
            </a:endParaRPr>
          </a:p>
          <a:p>
            <a:pPr algn="ctr" defTabSz="914400" fontAlgn="base">
              <a:spcBef>
                <a:spcPct val="0"/>
              </a:spcBef>
              <a:spcAft>
                <a:spcPct val="0"/>
              </a:spcAft>
              <a:defRPr/>
            </a:pPr>
            <a:endParaRPr lang="en-US" altLang="zh-CN" sz="1600" kern="0" dirty="0">
              <a:solidFill>
                <a:srgbClr val="000000"/>
              </a:solidFill>
              <a:latin typeface="+mn-ea"/>
            </a:endParaRPr>
          </a:p>
          <a:p>
            <a:pPr algn="ctr" defTabSz="914400" fontAlgn="base">
              <a:spcBef>
                <a:spcPct val="0"/>
              </a:spcBef>
              <a:spcAft>
                <a:spcPct val="0"/>
              </a:spcAft>
              <a:defRPr/>
            </a:pPr>
            <a:endParaRPr lang="en-US" altLang="zh-CN" sz="1600" kern="0" dirty="0">
              <a:solidFill>
                <a:srgbClr val="000000"/>
              </a:solidFill>
              <a:latin typeface="+mn-ea"/>
            </a:endParaRPr>
          </a:p>
          <a:p>
            <a:pPr algn="ctr" defTabSz="914400" fontAlgn="base">
              <a:spcBef>
                <a:spcPct val="0"/>
              </a:spcBef>
              <a:spcAft>
                <a:spcPct val="0"/>
              </a:spcAft>
              <a:defRPr/>
            </a:pPr>
            <a:endParaRPr lang="en-US" altLang="zh-CN" sz="1600" kern="0" dirty="0">
              <a:solidFill>
                <a:srgbClr val="000000"/>
              </a:solidFill>
              <a:latin typeface="+mn-ea"/>
            </a:endParaRPr>
          </a:p>
          <a:p>
            <a:pPr algn="ctr" defTabSz="914400" fontAlgn="base">
              <a:spcBef>
                <a:spcPct val="0"/>
              </a:spcBef>
              <a:spcAft>
                <a:spcPct val="0"/>
              </a:spcAft>
              <a:defRPr/>
            </a:pPr>
            <a:r>
              <a:rPr lang="en-US" altLang="zh-CN" sz="1600" kern="0" dirty="0">
                <a:solidFill>
                  <a:srgbClr val="000000"/>
                </a:solidFill>
                <a:latin typeface="+mn-ea"/>
              </a:rPr>
              <a:t>XXXXXX</a:t>
            </a:r>
            <a:endParaRPr lang="en-US" altLang="zh-CN" sz="1600" kern="0" dirty="0">
              <a:solidFill>
                <a:srgbClr val="000000"/>
              </a:solidFill>
              <a:latin typeface="+mn-ea"/>
            </a:endParaRPr>
          </a:p>
        </p:txBody>
      </p:sp>
      <p:cxnSp>
        <p:nvCxnSpPr>
          <p:cNvPr id="65" name="肘形连接符 64"/>
          <p:cNvCxnSpPr>
            <a:stCxn id="97" idx="3"/>
            <a:endCxn id="126" idx="6"/>
          </p:cNvCxnSpPr>
          <p:nvPr/>
        </p:nvCxnSpPr>
        <p:spPr>
          <a:xfrm flipV="1">
            <a:off x="2875024" y="1211827"/>
            <a:ext cx="1160929" cy="314072"/>
          </a:xfrm>
          <a:prstGeom prst="bentConnector3">
            <a:avLst>
              <a:gd name="adj1" fmla="val 50000"/>
            </a:avLst>
          </a:prstGeom>
          <a:ln w="57150">
            <a:solidFill>
              <a:srgbClr val="FE5817"/>
            </a:solidFill>
            <a:tailEnd type="triangle"/>
          </a:ln>
        </p:spPr>
        <p:style>
          <a:lnRef idx="1">
            <a:schemeClr val="accent4"/>
          </a:lnRef>
          <a:fillRef idx="0">
            <a:schemeClr val="accent4"/>
          </a:fillRef>
          <a:effectRef idx="0">
            <a:schemeClr val="accent4"/>
          </a:effectRef>
          <a:fontRef idx="minor">
            <a:schemeClr val="tx1"/>
          </a:fontRef>
        </p:style>
      </p:cxnSp>
      <p:grpSp>
        <p:nvGrpSpPr>
          <p:cNvPr id="66" name="组合 65"/>
          <p:cNvGrpSpPr/>
          <p:nvPr/>
        </p:nvGrpSpPr>
        <p:grpSpPr>
          <a:xfrm>
            <a:off x="9296696" y="1297456"/>
            <a:ext cx="2602126" cy="1935322"/>
            <a:chOff x="8384297" y="3740987"/>
            <a:chExt cx="2603067" cy="1936022"/>
          </a:xfrm>
        </p:grpSpPr>
        <p:grpSp>
          <p:nvGrpSpPr>
            <p:cNvPr id="67" name="组合 66"/>
            <p:cNvGrpSpPr/>
            <p:nvPr/>
          </p:nvGrpSpPr>
          <p:grpSpPr>
            <a:xfrm>
              <a:off x="8384297" y="3740987"/>
              <a:ext cx="2603067" cy="1423316"/>
              <a:chOff x="1916079" y="4429928"/>
              <a:chExt cx="2603067" cy="1423316"/>
            </a:xfrm>
          </p:grpSpPr>
          <p:sp>
            <p:nvSpPr>
              <p:cNvPr id="71" name="圆角矩形 70"/>
              <p:cNvSpPr/>
              <p:nvPr/>
            </p:nvSpPr>
            <p:spPr bwMode="gray">
              <a:xfrm>
                <a:off x="1922528" y="4429928"/>
                <a:ext cx="2596617" cy="41941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sp>
            <p:nvSpPr>
              <p:cNvPr id="78" name="圆角矩形 77"/>
              <p:cNvSpPr/>
              <p:nvPr/>
            </p:nvSpPr>
            <p:spPr bwMode="gray">
              <a:xfrm>
                <a:off x="1916079" y="4942634"/>
                <a:ext cx="2603066" cy="41941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sp>
            <p:nvSpPr>
              <p:cNvPr id="80" name="圆角矩形 79"/>
              <p:cNvSpPr/>
              <p:nvPr/>
            </p:nvSpPr>
            <p:spPr bwMode="gray">
              <a:xfrm>
                <a:off x="1916080" y="5433827"/>
                <a:ext cx="2603066" cy="41941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grpSp>
        <p:sp>
          <p:nvSpPr>
            <p:cNvPr id="69" name="圆角矩形 68"/>
            <p:cNvSpPr/>
            <p:nvPr/>
          </p:nvSpPr>
          <p:spPr bwMode="gray">
            <a:xfrm>
              <a:off x="8384297" y="5257592"/>
              <a:ext cx="2596617" cy="41941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grpSp>
      <p:cxnSp>
        <p:nvCxnSpPr>
          <p:cNvPr id="88" name="肘形连接符 87"/>
          <p:cNvCxnSpPr>
            <a:stCxn id="71" idx="1"/>
            <a:endCxn id="124" idx="2"/>
          </p:cNvCxnSpPr>
          <p:nvPr/>
        </p:nvCxnSpPr>
        <p:spPr>
          <a:xfrm rot="10800000">
            <a:off x="7820198" y="1187531"/>
            <a:ext cx="1482945" cy="319559"/>
          </a:xfrm>
          <a:prstGeom prst="bentConnector3">
            <a:avLst>
              <a:gd name="adj1" fmla="val 50000"/>
            </a:avLst>
          </a:prstGeom>
          <a:ln w="57150">
            <a:tailEnd type="triangle"/>
          </a:ln>
        </p:spPr>
        <p:style>
          <a:lnRef idx="1">
            <a:schemeClr val="accent2"/>
          </a:lnRef>
          <a:fillRef idx="0">
            <a:schemeClr val="accent2"/>
          </a:fillRef>
          <a:effectRef idx="0">
            <a:schemeClr val="accent2"/>
          </a:effectRef>
          <a:fontRef idx="minor">
            <a:schemeClr val="tx1"/>
          </a:fontRef>
        </p:style>
      </p:cxnSp>
      <p:sp>
        <p:nvSpPr>
          <p:cNvPr id="89" name="TextBox 5"/>
          <p:cNvSpPr txBox="1"/>
          <p:nvPr/>
        </p:nvSpPr>
        <p:spPr>
          <a:xfrm>
            <a:off x="9253856" y="700480"/>
            <a:ext cx="2644966" cy="461558"/>
          </a:xfrm>
          <a:prstGeom prst="rect">
            <a:avLst/>
          </a:prstGeom>
          <a:noFill/>
        </p:spPr>
        <p:txBody>
          <a:bodyPr wrap="square" rtlCol="0">
            <a:spAutoFit/>
          </a:bodyPr>
          <a:lstStyle/>
          <a:p>
            <a:pPr algn="ctr" defTabSz="914400"/>
            <a:r>
              <a:rPr lang="en-US" altLang="zh-CN" sz="2400" b="1" dirty="0">
                <a:solidFill>
                  <a:srgbClr val="B32C16"/>
                </a:solidFill>
                <a:latin typeface="+mn-ea"/>
                <a:sym typeface="+mn-lt"/>
              </a:rPr>
              <a:t>XXXXXXX</a:t>
            </a:r>
            <a:endParaRPr lang="zh-CN" altLang="en-US" sz="2400" b="1" dirty="0">
              <a:solidFill>
                <a:srgbClr val="B32C16"/>
              </a:solidFill>
              <a:latin typeface="+mn-ea"/>
            </a:endParaRPr>
          </a:p>
        </p:txBody>
      </p:sp>
      <p:sp>
        <p:nvSpPr>
          <p:cNvPr id="90" name="TextBox 64"/>
          <p:cNvSpPr txBox="1"/>
          <p:nvPr/>
        </p:nvSpPr>
        <p:spPr>
          <a:xfrm>
            <a:off x="4188790" y="5630713"/>
            <a:ext cx="1858658" cy="461558"/>
          </a:xfrm>
          <a:prstGeom prst="rect">
            <a:avLst/>
          </a:prstGeom>
          <a:noFill/>
        </p:spPr>
        <p:txBody>
          <a:bodyPr wrap="square" rtlCol="0">
            <a:spAutoFit/>
          </a:bodyPr>
          <a:lstStyle/>
          <a:p>
            <a:pPr defTabSz="914400"/>
            <a:r>
              <a:rPr lang="en-US" altLang="zh-CN" sz="2400" b="1" dirty="0">
                <a:solidFill>
                  <a:srgbClr val="777C84"/>
                </a:solidFill>
                <a:latin typeface="+mn-ea"/>
              </a:rPr>
              <a:t>XXXXXXX</a:t>
            </a:r>
            <a:endParaRPr lang="en-US" altLang="zh-CN" sz="2400" b="1" dirty="0">
              <a:solidFill>
                <a:srgbClr val="777C84"/>
              </a:solidFill>
              <a:latin typeface="+mn-ea"/>
            </a:endParaRPr>
          </a:p>
        </p:txBody>
      </p:sp>
      <p:sp>
        <p:nvSpPr>
          <p:cNvPr id="91" name="TextBox 79"/>
          <p:cNvSpPr txBox="1"/>
          <p:nvPr/>
        </p:nvSpPr>
        <p:spPr>
          <a:xfrm rot="3013704">
            <a:off x="5383811" y="1676340"/>
            <a:ext cx="2117974" cy="1315976"/>
          </a:xfrm>
          <a:prstGeom prst="rect">
            <a:avLst/>
          </a:prstGeom>
          <a:noFill/>
        </p:spPr>
        <p:txBody>
          <a:bodyPr wrap="square" rtlCol="0">
            <a:prstTxWarp prst="textArchUp">
              <a:avLst/>
            </a:prstTxWarp>
            <a:spAutoFit/>
          </a:bodyPr>
          <a:lstStyle/>
          <a:p>
            <a:pPr algn="ctr" defTabSz="914400"/>
            <a:r>
              <a:rPr lang="zh-CN" altLang="en-US" sz="2000" spc="600" dirty="0">
                <a:solidFill>
                  <a:prstClr val="white"/>
                </a:solidFill>
                <a:latin typeface="+mn-ea"/>
              </a:rPr>
              <a:t>医疗健康</a:t>
            </a:r>
            <a:endParaRPr lang="zh-CN" altLang="en-US" sz="2000" spc="600" dirty="0">
              <a:solidFill>
                <a:prstClr val="white"/>
              </a:solidFill>
              <a:latin typeface="+mn-ea"/>
            </a:endParaRPr>
          </a:p>
        </p:txBody>
      </p:sp>
      <p:grpSp>
        <p:nvGrpSpPr>
          <p:cNvPr id="92" name="组合 91"/>
          <p:cNvGrpSpPr/>
          <p:nvPr/>
        </p:nvGrpSpPr>
        <p:grpSpPr>
          <a:xfrm>
            <a:off x="5593029" y="2355486"/>
            <a:ext cx="857290" cy="857290"/>
            <a:chOff x="5216265" y="3511307"/>
            <a:chExt cx="857488" cy="857488"/>
          </a:xfrm>
        </p:grpSpPr>
        <p:pic>
          <p:nvPicPr>
            <p:cNvPr id="93" name="图片 9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216265" y="3511307"/>
              <a:ext cx="857488" cy="857488"/>
            </a:xfrm>
            <a:prstGeom prst="rect">
              <a:avLst/>
            </a:prstGeom>
          </p:spPr>
        </p:pic>
        <p:pic>
          <p:nvPicPr>
            <p:cNvPr id="94" name="图片 93"/>
            <p:cNvPicPr>
              <a:picLocks noChangeAspect="1"/>
            </p:cNvPicPr>
            <p:nvPr/>
          </p:nvPicPr>
          <p:blipFill>
            <a:blip r:embed="rId2"/>
            <a:stretch>
              <a:fillRect/>
            </a:stretch>
          </p:blipFill>
          <p:spPr>
            <a:xfrm>
              <a:off x="5249305" y="3898894"/>
              <a:ext cx="310535" cy="465802"/>
            </a:xfrm>
            <a:prstGeom prst="rect">
              <a:avLst/>
            </a:prstGeom>
          </p:spPr>
        </p:pic>
      </p:grpSp>
      <p:grpSp>
        <p:nvGrpSpPr>
          <p:cNvPr id="95" name="组合 94"/>
          <p:cNvGrpSpPr/>
          <p:nvPr/>
        </p:nvGrpSpPr>
        <p:grpSpPr>
          <a:xfrm>
            <a:off x="279346" y="1316266"/>
            <a:ext cx="2602259" cy="1928740"/>
            <a:chOff x="1115997" y="4145476"/>
            <a:chExt cx="2603200" cy="1929437"/>
          </a:xfrm>
          <a:solidFill>
            <a:srgbClr val="FE5817"/>
          </a:solidFill>
        </p:grpSpPr>
        <p:grpSp>
          <p:nvGrpSpPr>
            <p:cNvPr id="96" name="组合 95"/>
            <p:cNvGrpSpPr/>
            <p:nvPr/>
          </p:nvGrpSpPr>
          <p:grpSpPr>
            <a:xfrm>
              <a:off x="1116130" y="4651597"/>
              <a:ext cx="2603067" cy="1423316"/>
              <a:chOff x="1916079" y="4429928"/>
              <a:chExt cx="2603067" cy="1423316"/>
            </a:xfrm>
            <a:grpFill/>
          </p:grpSpPr>
          <p:sp>
            <p:nvSpPr>
              <p:cNvPr id="98" name="圆角矩形 97"/>
              <p:cNvSpPr/>
              <p:nvPr/>
            </p:nvSpPr>
            <p:spPr bwMode="gray">
              <a:xfrm>
                <a:off x="1922528" y="4429928"/>
                <a:ext cx="2596617" cy="419417"/>
              </a:xfrm>
              <a:prstGeom prst="round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cs typeface="+mn-ea"/>
                    <a:sym typeface="+mn-lt"/>
                  </a:rPr>
                  <a:t>XXXXXX</a:t>
                </a:r>
                <a:endParaRPr lang="zh-CN" altLang="en-US" sz="1400" kern="0" dirty="0">
                  <a:solidFill>
                    <a:prstClr val="white"/>
                  </a:solidFill>
                  <a:latin typeface="+mn-ea"/>
                  <a:cs typeface="+mn-ea"/>
                  <a:sym typeface="+mn-lt"/>
                </a:endParaRPr>
              </a:p>
              <a:p>
                <a:pPr marL="171450" indent="-171450" defTabSz="914400" fontAlgn="base">
                  <a:spcBef>
                    <a:spcPct val="0"/>
                  </a:spcBef>
                  <a:spcAft>
                    <a:spcPct val="0"/>
                  </a:spcAft>
                  <a:buSzPct val="80000"/>
                  <a:buFont typeface="Wingdings" panose="05000000000000000000" pitchFamily="2" charset="2"/>
                  <a:buChar char="u"/>
                  <a:defRPr/>
                </a:pPr>
                <a:endParaRPr lang="zh-CN" altLang="en-US" sz="1400" kern="0" dirty="0">
                  <a:solidFill>
                    <a:prstClr val="white"/>
                  </a:solidFill>
                  <a:latin typeface="+mn-ea"/>
                </a:endParaRPr>
              </a:p>
            </p:txBody>
          </p:sp>
          <p:sp>
            <p:nvSpPr>
              <p:cNvPr id="99" name="圆角矩形 98"/>
              <p:cNvSpPr/>
              <p:nvPr/>
            </p:nvSpPr>
            <p:spPr bwMode="gray">
              <a:xfrm>
                <a:off x="1916079" y="4942634"/>
                <a:ext cx="2603066" cy="419417"/>
              </a:xfrm>
              <a:prstGeom prst="round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cs typeface="+mn-ea"/>
                    <a:sym typeface="+mn-lt"/>
                  </a:rPr>
                  <a:t>XXXXXX</a:t>
                </a:r>
                <a:endParaRPr lang="en-US" altLang="zh-CN" sz="1400" kern="0" dirty="0">
                  <a:solidFill>
                    <a:prstClr val="white"/>
                  </a:solidFill>
                  <a:latin typeface="+mn-ea"/>
                  <a:cs typeface="+mn-ea"/>
                  <a:sym typeface="+mn-lt"/>
                </a:endParaRPr>
              </a:p>
            </p:txBody>
          </p:sp>
          <p:sp>
            <p:nvSpPr>
              <p:cNvPr id="100" name="圆角矩形 99"/>
              <p:cNvSpPr/>
              <p:nvPr/>
            </p:nvSpPr>
            <p:spPr bwMode="gray">
              <a:xfrm>
                <a:off x="1916080" y="5433827"/>
                <a:ext cx="2603066" cy="419417"/>
              </a:xfrm>
              <a:prstGeom prst="round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grpSp>
        <p:sp>
          <p:nvSpPr>
            <p:cNvPr id="97" name="圆角矩形 96"/>
            <p:cNvSpPr/>
            <p:nvPr/>
          </p:nvSpPr>
          <p:spPr bwMode="gray">
            <a:xfrm>
              <a:off x="1115997" y="4145476"/>
              <a:ext cx="2596617" cy="419417"/>
            </a:xfrm>
            <a:prstGeom prst="round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grpSp>
      <p:sp>
        <p:nvSpPr>
          <p:cNvPr id="101" name="TextBox 67"/>
          <p:cNvSpPr txBox="1"/>
          <p:nvPr/>
        </p:nvSpPr>
        <p:spPr>
          <a:xfrm>
            <a:off x="154893" y="784145"/>
            <a:ext cx="2925977" cy="461558"/>
          </a:xfrm>
          <a:prstGeom prst="rect">
            <a:avLst/>
          </a:prstGeom>
          <a:noFill/>
        </p:spPr>
        <p:txBody>
          <a:bodyPr wrap="square" rtlCol="0">
            <a:spAutoFit/>
          </a:bodyPr>
          <a:lstStyle/>
          <a:p>
            <a:pPr algn="ctr" defTabSz="914400"/>
            <a:r>
              <a:rPr lang="en-US" altLang="zh-CN" sz="2400" b="1" dirty="0">
                <a:solidFill>
                  <a:srgbClr val="FE5817"/>
                </a:solidFill>
                <a:latin typeface="+mn-ea"/>
              </a:rPr>
              <a:t>XXXXXXX</a:t>
            </a:r>
            <a:endParaRPr lang="en-US" altLang="zh-CN" sz="2400" b="1" dirty="0">
              <a:solidFill>
                <a:srgbClr val="FE5817"/>
              </a:solidFill>
              <a:latin typeface="+mn-ea"/>
            </a:endParaRPr>
          </a:p>
        </p:txBody>
      </p:sp>
      <p:pic>
        <p:nvPicPr>
          <p:cNvPr id="102" name="Picture 4" descr="D:\Users\renjunmeng799\Downloads\medical91.png"/>
          <p:cNvPicPr>
            <a:picLocks noChangeAspect="1" noChangeArrowheads="1"/>
          </p:cNvPicPr>
          <p:nvPr/>
        </p:nvPicPr>
        <p:blipFill>
          <a:blip r:embed="rId3" cstate="email">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29912" y="1060501"/>
            <a:ext cx="345847" cy="345847"/>
          </a:xfrm>
          <a:prstGeom prst="rect">
            <a:avLst/>
          </a:prstGeom>
          <a:noFill/>
          <a:extLst>
            <a:ext uri="{909E8E84-426E-40DD-AFC4-6F175D3DCCD1}">
              <a14:hiddenFill xmlns:a14="http://schemas.microsoft.com/office/drawing/2010/main">
                <a:solidFill>
                  <a:srgbClr val="FFFFFF"/>
                </a:solidFill>
              </a14:hiddenFill>
            </a:ext>
          </a:extLst>
        </p:spPr>
      </p:pic>
      <p:grpSp>
        <p:nvGrpSpPr>
          <p:cNvPr id="103" name="组合 102"/>
          <p:cNvGrpSpPr/>
          <p:nvPr/>
        </p:nvGrpSpPr>
        <p:grpSpPr>
          <a:xfrm>
            <a:off x="283786" y="3849128"/>
            <a:ext cx="2602598" cy="1928990"/>
            <a:chOff x="1115997" y="4145476"/>
            <a:chExt cx="2603200" cy="1929437"/>
          </a:xfrm>
          <a:solidFill>
            <a:schemeClr val="accent1">
              <a:lumMod val="50000"/>
            </a:schemeClr>
          </a:solidFill>
        </p:grpSpPr>
        <p:grpSp>
          <p:nvGrpSpPr>
            <p:cNvPr id="104" name="组合 103"/>
            <p:cNvGrpSpPr/>
            <p:nvPr/>
          </p:nvGrpSpPr>
          <p:grpSpPr>
            <a:xfrm>
              <a:off x="1116130" y="4651597"/>
              <a:ext cx="2603067" cy="1423316"/>
              <a:chOff x="1916079" y="4429928"/>
              <a:chExt cx="2603067" cy="1423316"/>
            </a:xfrm>
            <a:grpFill/>
          </p:grpSpPr>
          <p:sp>
            <p:nvSpPr>
              <p:cNvPr id="106" name="圆角矩形 105"/>
              <p:cNvSpPr/>
              <p:nvPr/>
            </p:nvSpPr>
            <p:spPr bwMode="gray">
              <a:xfrm>
                <a:off x="1922528" y="4429928"/>
                <a:ext cx="2596617" cy="419417"/>
              </a:xfrm>
              <a:prstGeom prst="roundRect">
                <a:avLst/>
              </a:prstGeom>
              <a:grpFill/>
              <a:ln>
                <a:noFill/>
              </a:ln>
              <a:effectLst/>
            </p:spPr>
            <p:txBody>
              <a:bodyPr rot="0" spcFirstLastPara="0" vertOverflow="overflow" horzOverflow="overflow" vert="horz" wrap="square" lIns="0" tIns="25394" rIns="0" bIns="25394"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sp>
            <p:nvSpPr>
              <p:cNvPr id="107" name="圆角矩形 106"/>
              <p:cNvSpPr/>
              <p:nvPr/>
            </p:nvSpPr>
            <p:spPr bwMode="gray">
              <a:xfrm>
                <a:off x="1916079" y="4942634"/>
                <a:ext cx="2603066" cy="419417"/>
              </a:xfrm>
              <a:prstGeom prst="roundRect">
                <a:avLst/>
              </a:prstGeom>
              <a:grpFill/>
              <a:ln>
                <a:noFill/>
              </a:ln>
              <a:effectLst/>
            </p:spPr>
            <p:txBody>
              <a:bodyPr rot="0" spcFirstLastPara="0" vertOverflow="overflow" horzOverflow="overflow" vert="horz" wrap="square" lIns="0" tIns="25394" rIns="0" bIns="25394"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sp>
            <p:nvSpPr>
              <p:cNvPr id="108" name="圆角矩形 107"/>
              <p:cNvSpPr/>
              <p:nvPr/>
            </p:nvSpPr>
            <p:spPr bwMode="gray">
              <a:xfrm>
                <a:off x="1916080" y="5433827"/>
                <a:ext cx="2603066" cy="419417"/>
              </a:xfrm>
              <a:prstGeom prst="roundRect">
                <a:avLst/>
              </a:prstGeom>
              <a:grpFill/>
              <a:ln>
                <a:noFill/>
              </a:ln>
              <a:effectLst/>
            </p:spPr>
            <p:txBody>
              <a:bodyPr rot="0" spcFirstLastPara="0" vertOverflow="overflow" horzOverflow="overflow" vert="horz" wrap="square" lIns="0" tIns="25394" rIns="0" bIns="25394"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grpSp>
        <p:sp>
          <p:nvSpPr>
            <p:cNvPr id="105" name="圆角矩形 104"/>
            <p:cNvSpPr/>
            <p:nvPr/>
          </p:nvSpPr>
          <p:spPr bwMode="gray">
            <a:xfrm>
              <a:off x="1115997" y="4145476"/>
              <a:ext cx="2596617" cy="419417"/>
            </a:xfrm>
            <a:prstGeom prst="roundRect">
              <a:avLst/>
            </a:prstGeom>
            <a:grpFill/>
            <a:ln>
              <a:noFill/>
            </a:ln>
            <a:effectLst/>
          </p:spPr>
          <p:txBody>
            <a:bodyPr rot="0" spcFirstLastPara="0" vertOverflow="overflow" horzOverflow="overflow" vert="horz" wrap="square" lIns="0" tIns="25394" rIns="0" bIns="25394"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grpSp>
      <p:sp>
        <p:nvSpPr>
          <p:cNvPr id="109" name="矩形 108"/>
          <p:cNvSpPr/>
          <p:nvPr/>
        </p:nvSpPr>
        <p:spPr>
          <a:xfrm>
            <a:off x="312343" y="3302857"/>
            <a:ext cx="2507267" cy="572464"/>
          </a:xfrm>
          <a:prstGeom prst="rect">
            <a:avLst/>
          </a:prstGeom>
        </p:spPr>
        <p:txBody>
          <a:bodyPr wrap="square">
            <a:spAutoFit/>
          </a:bodyPr>
          <a:lstStyle/>
          <a:p>
            <a:pPr algn="ctr" defTabSz="914400">
              <a:lnSpc>
                <a:spcPct val="130000"/>
              </a:lnSpc>
              <a:spcBef>
                <a:spcPts val="600"/>
              </a:spcBef>
            </a:pPr>
            <a:r>
              <a:rPr lang="en-US" altLang="zh-CN" sz="2400" b="1" dirty="0">
                <a:solidFill>
                  <a:srgbClr val="9A3D01"/>
                </a:solidFill>
                <a:latin typeface="+mn-ea"/>
                <a:sym typeface="+mn-lt"/>
              </a:rPr>
              <a:t>XXXXXXX</a:t>
            </a:r>
            <a:endParaRPr lang="en-US" altLang="zh-CN" sz="2400" b="1" dirty="0">
              <a:solidFill>
                <a:srgbClr val="9A3D01"/>
              </a:solidFill>
              <a:latin typeface="+mn-ea"/>
              <a:sym typeface="+mn-lt"/>
            </a:endParaRPr>
          </a:p>
        </p:txBody>
      </p:sp>
      <p:sp>
        <p:nvSpPr>
          <p:cNvPr id="110" name="圆角矩形 109"/>
          <p:cNvSpPr/>
          <p:nvPr/>
        </p:nvSpPr>
        <p:spPr bwMode="gray">
          <a:xfrm>
            <a:off x="287142" y="5875417"/>
            <a:ext cx="2602464" cy="419320"/>
          </a:xfrm>
          <a:prstGeom prst="roundRect">
            <a:avLst/>
          </a:prstGeom>
          <a:solidFill>
            <a:schemeClr val="accent1">
              <a:lumMod val="50000"/>
            </a:schemeClr>
          </a:solidFill>
          <a:ln>
            <a:noFill/>
          </a:ln>
          <a:effectLst/>
        </p:spPr>
        <p:txBody>
          <a:bodyPr rot="0" spcFirstLastPara="0" vertOverflow="overflow" horzOverflow="overflow" vert="horz" wrap="square" lIns="0" tIns="25394" rIns="0" bIns="25394"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cxnSp>
        <p:nvCxnSpPr>
          <p:cNvPr id="111" name="肘形连接符 110"/>
          <p:cNvCxnSpPr>
            <a:stCxn id="106" idx="3"/>
            <a:endCxn id="133" idx="6"/>
          </p:cNvCxnSpPr>
          <p:nvPr/>
        </p:nvCxnSpPr>
        <p:spPr>
          <a:xfrm flipV="1">
            <a:off x="2886383" y="3755812"/>
            <a:ext cx="578969" cy="808980"/>
          </a:xfrm>
          <a:prstGeom prst="bentConnector3">
            <a:avLst>
              <a:gd name="adj1" fmla="val 50000"/>
            </a:avLst>
          </a:prstGeom>
          <a:noFill/>
          <a:ln w="57150" cap="flat" cmpd="sng" algn="ctr">
            <a:solidFill>
              <a:srgbClr val="9A3D01"/>
            </a:solidFill>
            <a:prstDash val="solid"/>
            <a:tailEnd type="triangle"/>
          </a:ln>
          <a:effectLst/>
        </p:spPr>
      </p:cxnSp>
      <p:sp>
        <p:nvSpPr>
          <p:cNvPr id="112" name="弦形 20"/>
          <p:cNvSpPr>
            <a:spLocks noChangeArrowheads="1"/>
          </p:cNvSpPr>
          <p:nvPr/>
        </p:nvSpPr>
        <p:spPr bwMode="auto">
          <a:xfrm rot="4326166">
            <a:off x="4571813" y="429572"/>
            <a:ext cx="1301281" cy="2905133"/>
          </a:xfrm>
          <a:custGeom>
            <a:avLst/>
            <a:gdLst>
              <a:gd name="T0" fmla="*/ 0 w 976515"/>
              <a:gd name="T1" fmla="*/ 0 h 2179550"/>
              <a:gd name="T2" fmla="*/ 976515 w 976515"/>
              <a:gd name="T3" fmla="*/ 2179550 h 2179550"/>
            </a:gdLst>
            <a:ahLst/>
            <a:cxnLst/>
            <a:rect l="T0" t="T1" r="T2" b="T3"/>
            <a:pathLst>
              <a:path w="976515" h="2179550">
                <a:moveTo>
                  <a:pt x="721" y="827023"/>
                </a:moveTo>
                <a:lnTo>
                  <a:pt x="431684" y="510647"/>
                </a:lnTo>
                <a:lnTo>
                  <a:pt x="976515" y="2179550"/>
                </a:lnTo>
                <a:cubicBezTo>
                  <a:pt x="546432" y="2038102"/>
                  <a:pt x="209395" y="1700327"/>
                  <a:pt x="68889" y="1269935"/>
                </a:cubicBezTo>
                <a:cubicBezTo>
                  <a:pt x="21613" y="1125121"/>
                  <a:pt x="-1513" y="975644"/>
                  <a:pt x="721" y="827023"/>
                </a:cubicBezTo>
                <a:close/>
                <a:moveTo>
                  <a:pt x="251160" y="21907"/>
                </a:moveTo>
                <a:cubicBezTo>
                  <a:pt x="254984" y="14076"/>
                  <a:pt x="259946" y="7019"/>
                  <a:pt x="264978" y="0"/>
                </a:cubicBezTo>
                <a:lnTo>
                  <a:pt x="265768" y="2419"/>
                </a:lnTo>
                <a:close/>
                <a:moveTo>
                  <a:pt x="5323" y="716406"/>
                </a:moveTo>
                <a:lnTo>
                  <a:pt x="203" y="802696"/>
                </a:lnTo>
                <a:cubicBezTo>
                  <a:pt x="-574" y="773801"/>
                  <a:pt x="833" y="744974"/>
                  <a:pt x="5323" y="716406"/>
                </a:cubicBezTo>
                <a:close/>
                <a:moveTo>
                  <a:pt x="164474" y="164768"/>
                </a:moveTo>
                <a:cubicBezTo>
                  <a:pt x="175948" y="140419"/>
                  <a:pt x="189215" y="116946"/>
                  <a:pt x="205085" y="94955"/>
                </a:cubicBezTo>
                <a:close/>
                <a:moveTo>
                  <a:pt x="27800" y="553402"/>
                </a:moveTo>
                <a:lnTo>
                  <a:pt x="12987" y="636081"/>
                </a:lnTo>
                <a:cubicBezTo>
                  <a:pt x="15579" y="608141"/>
                  <a:pt x="20198" y="580481"/>
                  <a:pt x="27800" y="553402"/>
                </a:cubicBezTo>
                <a:close/>
                <a:moveTo>
                  <a:pt x="95615" y="315745"/>
                </a:moveTo>
                <a:cubicBezTo>
                  <a:pt x="104369" y="289819"/>
                  <a:pt x="114984" y="264570"/>
                  <a:pt x="128372" y="240524"/>
                </a:cubicBezTo>
                <a:close/>
                <a:moveTo>
                  <a:pt x="49968" y="450037"/>
                </a:moveTo>
                <a:cubicBezTo>
                  <a:pt x="55212" y="431044"/>
                  <a:pt x="60853" y="412148"/>
                  <a:pt x="69001" y="394042"/>
                </a:cubicBezTo>
                <a:lnTo>
                  <a:pt x="44988" y="473257"/>
                </a:lnTo>
                <a:cubicBezTo>
                  <a:pt x="45822" y="465305"/>
                  <a:pt x="47863" y="457663"/>
                  <a:pt x="49968" y="450037"/>
                </a:cubicBezTo>
                <a:close/>
              </a:path>
            </a:pathLst>
          </a:custGeom>
          <a:solidFill>
            <a:srgbClr val="FE5817"/>
          </a:solidFill>
          <a:ln>
            <a:noFill/>
          </a:ln>
        </p:spPr>
        <p:txBody>
          <a:bodyPr anchor="ctr"/>
          <a:lstStyle/>
          <a:p>
            <a:pPr algn="ctr" defTabSz="914400"/>
            <a:endParaRPr lang="zh-CN" altLang="zh-CN" sz="2400">
              <a:solidFill>
                <a:srgbClr val="FFFFFF"/>
              </a:solidFill>
              <a:latin typeface="+mn-ea"/>
            </a:endParaRPr>
          </a:p>
        </p:txBody>
      </p:sp>
      <p:sp>
        <p:nvSpPr>
          <p:cNvPr id="113" name="弦形 23"/>
          <p:cNvSpPr>
            <a:spLocks noChangeArrowheads="1"/>
          </p:cNvSpPr>
          <p:nvPr/>
        </p:nvSpPr>
        <p:spPr bwMode="auto">
          <a:xfrm rot="8633981">
            <a:off x="6082566" y="493049"/>
            <a:ext cx="1301281" cy="2905133"/>
          </a:xfrm>
          <a:custGeom>
            <a:avLst/>
            <a:gdLst>
              <a:gd name="T0" fmla="*/ 0 w 976536"/>
              <a:gd name="T1" fmla="*/ 0 h 2179550"/>
              <a:gd name="T2" fmla="*/ 976536 w 976536"/>
              <a:gd name="T3" fmla="*/ 2179550 h 2179550"/>
            </a:gdLst>
            <a:ahLst/>
            <a:cxnLst/>
            <a:rect l="T0" t="T1" r="T2" b="T3"/>
            <a:pathLst>
              <a:path w="976536" h="2179550">
                <a:moveTo>
                  <a:pt x="249861" y="24000"/>
                </a:moveTo>
                <a:cubicBezTo>
                  <a:pt x="254056" y="15428"/>
                  <a:pt x="259486" y="7692"/>
                  <a:pt x="264999" y="0"/>
                </a:cubicBezTo>
                <a:lnTo>
                  <a:pt x="265828" y="2540"/>
                </a:lnTo>
                <a:close/>
                <a:moveTo>
                  <a:pt x="163416" y="167032"/>
                </a:moveTo>
                <a:cubicBezTo>
                  <a:pt x="174787" y="142557"/>
                  <a:pt x="188047" y="119005"/>
                  <a:pt x="203874" y="96907"/>
                </a:cubicBezTo>
                <a:close/>
                <a:moveTo>
                  <a:pt x="94823" y="318135"/>
                </a:moveTo>
                <a:cubicBezTo>
                  <a:pt x="103445" y="292133"/>
                  <a:pt x="114026" y="266843"/>
                  <a:pt x="127341" y="242733"/>
                </a:cubicBezTo>
                <a:close/>
                <a:moveTo>
                  <a:pt x="44478" y="475734"/>
                </a:moveTo>
                <a:cubicBezTo>
                  <a:pt x="50087" y="448680"/>
                  <a:pt x="57722" y="422126"/>
                  <a:pt x="68204" y="396450"/>
                </a:cubicBezTo>
                <a:close/>
                <a:moveTo>
                  <a:pt x="12765" y="638620"/>
                </a:moveTo>
                <a:cubicBezTo>
                  <a:pt x="15203" y="610692"/>
                  <a:pt x="19766" y="583054"/>
                  <a:pt x="27267" y="555983"/>
                </a:cubicBezTo>
                <a:close/>
                <a:moveTo>
                  <a:pt x="279" y="805278"/>
                </a:moveTo>
                <a:cubicBezTo>
                  <a:pt x="-651" y="776449"/>
                  <a:pt x="698" y="747685"/>
                  <a:pt x="5080" y="719171"/>
                </a:cubicBezTo>
                <a:close/>
                <a:moveTo>
                  <a:pt x="537404" y="1943065"/>
                </a:moveTo>
                <a:cubicBezTo>
                  <a:pt x="321313" y="1771747"/>
                  <a:pt x="156726" y="1538930"/>
                  <a:pt x="68910" y="1269935"/>
                </a:cubicBezTo>
                <a:cubicBezTo>
                  <a:pt x="22163" y="1126742"/>
                  <a:pt x="-971" y="978990"/>
                  <a:pt x="847" y="832007"/>
                </a:cubicBezTo>
                <a:lnTo>
                  <a:pt x="432413" y="512816"/>
                </a:lnTo>
                <a:lnTo>
                  <a:pt x="976536" y="2179550"/>
                </a:lnTo>
                <a:cubicBezTo>
                  <a:pt x="815255" y="2126507"/>
                  <a:pt x="667058" y="2045856"/>
                  <a:pt x="537404" y="1943065"/>
                </a:cubicBezTo>
                <a:close/>
              </a:path>
            </a:pathLst>
          </a:custGeom>
          <a:solidFill>
            <a:schemeClr val="accent2"/>
          </a:solidFill>
          <a:ln>
            <a:noFill/>
          </a:ln>
        </p:spPr>
        <p:txBody>
          <a:bodyPr anchor="ctr"/>
          <a:lstStyle/>
          <a:p>
            <a:pPr algn="ctr" defTabSz="914400"/>
            <a:endParaRPr lang="zh-CN" altLang="zh-CN" sz="2400">
              <a:solidFill>
                <a:srgbClr val="FFFFFF"/>
              </a:solidFill>
              <a:latin typeface="+mn-ea"/>
            </a:endParaRPr>
          </a:p>
        </p:txBody>
      </p:sp>
      <p:sp>
        <p:nvSpPr>
          <p:cNvPr id="114" name="弦形 26"/>
          <p:cNvSpPr>
            <a:spLocks noChangeArrowheads="1"/>
          </p:cNvSpPr>
          <p:nvPr/>
        </p:nvSpPr>
        <p:spPr bwMode="auto">
          <a:xfrm rot="12929544">
            <a:off x="6497283" y="1944557"/>
            <a:ext cx="1303395" cy="2905133"/>
          </a:xfrm>
          <a:custGeom>
            <a:avLst/>
            <a:gdLst>
              <a:gd name="T0" fmla="*/ 0 w 976966"/>
              <a:gd name="T1" fmla="*/ 0 h 2179550"/>
              <a:gd name="T2" fmla="*/ 976966 w 976966"/>
              <a:gd name="T3" fmla="*/ 2179550 h 2179550"/>
            </a:gdLst>
            <a:ahLst/>
            <a:cxnLst/>
            <a:rect l="T0" t="T1" r="T2" b="T3"/>
            <a:pathLst>
              <a:path w="976966" h="2179550">
                <a:moveTo>
                  <a:pt x="259407" y="9548"/>
                </a:moveTo>
                <a:cubicBezTo>
                  <a:pt x="261061" y="6119"/>
                  <a:pt x="263239" y="3056"/>
                  <a:pt x="265429" y="0"/>
                </a:cubicBezTo>
                <a:lnTo>
                  <a:pt x="265856" y="1307"/>
                </a:lnTo>
                <a:close/>
                <a:moveTo>
                  <a:pt x="171270" y="151452"/>
                </a:moveTo>
                <a:cubicBezTo>
                  <a:pt x="182997" y="128666"/>
                  <a:pt x="195840" y="106416"/>
                  <a:pt x="211358" y="85725"/>
                </a:cubicBezTo>
                <a:close/>
                <a:moveTo>
                  <a:pt x="100836" y="301712"/>
                </a:moveTo>
                <a:cubicBezTo>
                  <a:pt x="110271" y="276716"/>
                  <a:pt x="120885" y="252146"/>
                  <a:pt x="134381" y="228862"/>
                </a:cubicBezTo>
                <a:close/>
                <a:moveTo>
                  <a:pt x="48554" y="458734"/>
                </a:moveTo>
                <a:cubicBezTo>
                  <a:pt x="55239" y="432038"/>
                  <a:pt x="63171" y="405657"/>
                  <a:pt x="74139" y="380253"/>
                </a:cubicBezTo>
                <a:close/>
                <a:moveTo>
                  <a:pt x="14855" y="621226"/>
                </a:moveTo>
                <a:cubicBezTo>
                  <a:pt x="18484" y="592975"/>
                  <a:pt x="23483" y="564927"/>
                  <a:pt x="31654" y="537532"/>
                </a:cubicBezTo>
                <a:close/>
                <a:moveTo>
                  <a:pt x="334" y="787642"/>
                </a:moveTo>
                <a:cubicBezTo>
                  <a:pt x="569" y="757672"/>
                  <a:pt x="2380" y="727776"/>
                  <a:pt x="7511" y="698199"/>
                </a:cubicBezTo>
                <a:close/>
                <a:moveTo>
                  <a:pt x="976966" y="2179550"/>
                </a:moveTo>
                <a:cubicBezTo>
                  <a:pt x="546883" y="2038102"/>
                  <a:pt x="209846" y="1700327"/>
                  <a:pt x="69340" y="1269935"/>
                </a:cubicBezTo>
                <a:cubicBezTo>
                  <a:pt x="18998" y="1115730"/>
                  <a:pt x="-3959" y="956238"/>
                  <a:pt x="558" y="798143"/>
                </a:cubicBezTo>
                <a:lnTo>
                  <a:pt x="427961" y="497862"/>
                </a:lnTo>
                <a:close/>
              </a:path>
            </a:pathLst>
          </a:custGeom>
          <a:solidFill>
            <a:srgbClr val="FFC000"/>
          </a:solidFill>
          <a:ln>
            <a:noFill/>
          </a:ln>
        </p:spPr>
        <p:txBody>
          <a:bodyPr anchor="ctr"/>
          <a:lstStyle/>
          <a:p>
            <a:pPr algn="ctr" defTabSz="914400"/>
            <a:endParaRPr lang="zh-CN" altLang="zh-CN" sz="2400">
              <a:solidFill>
                <a:srgbClr val="FFFFFF"/>
              </a:solidFill>
              <a:latin typeface="+mn-ea"/>
            </a:endParaRPr>
          </a:p>
        </p:txBody>
      </p:sp>
      <p:sp>
        <p:nvSpPr>
          <p:cNvPr id="115" name="弦形 30"/>
          <p:cNvSpPr>
            <a:spLocks noChangeArrowheads="1"/>
          </p:cNvSpPr>
          <p:nvPr/>
        </p:nvSpPr>
        <p:spPr bwMode="auto">
          <a:xfrm rot="17308887">
            <a:off x="5220335" y="2796207"/>
            <a:ext cx="1301281" cy="2903017"/>
          </a:xfrm>
          <a:custGeom>
            <a:avLst/>
            <a:gdLst>
              <a:gd name="T0" fmla="*/ 0 w 976545"/>
              <a:gd name="T1" fmla="*/ 0 h 2179550"/>
              <a:gd name="T2" fmla="*/ 976545 w 976545"/>
              <a:gd name="T3" fmla="*/ 2179550 h 2179550"/>
            </a:gdLst>
            <a:ahLst/>
            <a:cxnLst/>
            <a:rect l="T0" t="T1" r="T2" b="T3"/>
            <a:pathLst>
              <a:path w="976545" h="2179550">
                <a:moveTo>
                  <a:pt x="5001" y="720091"/>
                </a:moveTo>
                <a:lnTo>
                  <a:pt x="309" y="806257"/>
                </a:lnTo>
                <a:cubicBezTo>
                  <a:pt x="-678" y="777410"/>
                  <a:pt x="653" y="748627"/>
                  <a:pt x="5001" y="720091"/>
                </a:cubicBezTo>
                <a:close/>
                <a:moveTo>
                  <a:pt x="27092" y="556842"/>
                </a:moveTo>
                <a:lnTo>
                  <a:pt x="12683" y="639580"/>
                </a:lnTo>
                <a:cubicBezTo>
                  <a:pt x="15068" y="611617"/>
                  <a:pt x="19618" y="583948"/>
                  <a:pt x="27092" y="556842"/>
                </a:cubicBezTo>
                <a:close/>
                <a:moveTo>
                  <a:pt x="67939" y="397256"/>
                </a:moveTo>
                <a:lnTo>
                  <a:pt x="44287" y="476668"/>
                </a:lnTo>
                <a:cubicBezTo>
                  <a:pt x="49850" y="449567"/>
                  <a:pt x="57477" y="422975"/>
                  <a:pt x="67939" y="397256"/>
                </a:cubicBezTo>
                <a:close/>
                <a:moveTo>
                  <a:pt x="126994" y="243479"/>
                </a:moveTo>
                <a:lnTo>
                  <a:pt x="94527" y="319034"/>
                </a:lnTo>
                <a:cubicBezTo>
                  <a:pt x="103111" y="292975"/>
                  <a:pt x="113691" y="267640"/>
                  <a:pt x="126994" y="243479"/>
                </a:cubicBezTo>
                <a:close/>
                <a:moveTo>
                  <a:pt x="203462" y="97574"/>
                </a:moveTo>
                <a:lnTo>
                  <a:pt x="163020" y="167881"/>
                </a:lnTo>
                <a:cubicBezTo>
                  <a:pt x="174366" y="143337"/>
                  <a:pt x="187636" y="119733"/>
                  <a:pt x="203462" y="97574"/>
                </a:cubicBezTo>
                <a:close/>
                <a:moveTo>
                  <a:pt x="432679" y="513603"/>
                </a:moveTo>
                <a:lnTo>
                  <a:pt x="976545" y="2179550"/>
                </a:lnTo>
                <a:cubicBezTo>
                  <a:pt x="546462" y="2038102"/>
                  <a:pt x="209425" y="1700327"/>
                  <a:pt x="68919" y="1269935"/>
                </a:cubicBezTo>
                <a:cubicBezTo>
                  <a:pt x="22365" y="1127332"/>
                  <a:pt x="-771" y="980208"/>
                  <a:pt x="895" y="833822"/>
                </a:cubicBezTo>
                <a:close/>
                <a:moveTo>
                  <a:pt x="265008" y="0"/>
                </a:moveTo>
                <a:lnTo>
                  <a:pt x="265851" y="2581"/>
                </a:lnTo>
                <a:lnTo>
                  <a:pt x="249376" y="24783"/>
                </a:lnTo>
                <a:cubicBezTo>
                  <a:pt x="253709" y="15934"/>
                  <a:pt x="259314" y="7943"/>
                  <a:pt x="265008" y="0"/>
                </a:cubicBezTo>
                <a:close/>
              </a:path>
            </a:pathLst>
          </a:custGeom>
          <a:solidFill>
            <a:schemeClr val="accent5"/>
          </a:solidFill>
          <a:ln>
            <a:noFill/>
          </a:ln>
        </p:spPr>
        <p:txBody>
          <a:bodyPr anchor="ctr"/>
          <a:lstStyle/>
          <a:p>
            <a:pPr algn="ctr" defTabSz="914400"/>
            <a:endParaRPr lang="zh-CN" altLang="zh-CN" sz="2400">
              <a:solidFill>
                <a:srgbClr val="FFFFFF"/>
              </a:solidFill>
              <a:latin typeface="+mn-ea"/>
            </a:endParaRPr>
          </a:p>
        </p:txBody>
      </p:sp>
      <p:sp>
        <p:nvSpPr>
          <p:cNvPr id="116" name="弦形 32"/>
          <p:cNvSpPr>
            <a:spLocks noChangeArrowheads="1"/>
          </p:cNvSpPr>
          <p:nvPr/>
        </p:nvSpPr>
        <p:spPr bwMode="auto">
          <a:xfrm>
            <a:off x="4040722" y="1853571"/>
            <a:ext cx="1301279" cy="2905134"/>
          </a:xfrm>
          <a:custGeom>
            <a:avLst/>
            <a:gdLst>
              <a:gd name="T0" fmla="*/ 0 w 976499"/>
              <a:gd name="T1" fmla="*/ 0 h 2179550"/>
              <a:gd name="T2" fmla="*/ 976499 w 976499"/>
              <a:gd name="T3" fmla="*/ 2179550 h 2179550"/>
            </a:gdLst>
            <a:ahLst/>
            <a:cxnLst/>
            <a:rect l="T0" t="T1" r="T2" b="T3"/>
            <a:pathLst>
              <a:path w="976499" h="2179550">
                <a:moveTo>
                  <a:pt x="5707" y="712205"/>
                </a:moveTo>
                <a:lnTo>
                  <a:pt x="105" y="798818"/>
                </a:lnTo>
                <a:cubicBezTo>
                  <a:pt x="-432" y="769809"/>
                  <a:pt x="1062" y="740870"/>
                  <a:pt x="5707" y="712205"/>
                </a:cubicBezTo>
                <a:close/>
                <a:moveTo>
                  <a:pt x="28614" y="549532"/>
                </a:moveTo>
                <a:lnTo>
                  <a:pt x="13335" y="632264"/>
                </a:lnTo>
                <a:cubicBezTo>
                  <a:pt x="16169" y="604311"/>
                  <a:pt x="20870" y="576621"/>
                  <a:pt x="28614" y="549532"/>
                </a:cubicBezTo>
                <a:close/>
                <a:moveTo>
                  <a:pt x="430604" y="507387"/>
                </a:moveTo>
                <a:lnTo>
                  <a:pt x="976499" y="2179550"/>
                </a:lnTo>
                <a:cubicBezTo>
                  <a:pt x="546416" y="2038102"/>
                  <a:pt x="209379" y="1700327"/>
                  <a:pt x="68873" y="1269935"/>
                </a:cubicBezTo>
                <a:cubicBezTo>
                  <a:pt x="20807" y="1122700"/>
                  <a:pt x="-2295" y="970645"/>
                  <a:pt x="546" y="819579"/>
                </a:cubicBezTo>
                <a:close/>
                <a:moveTo>
                  <a:pt x="70200" y="390469"/>
                </a:moveTo>
                <a:lnTo>
                  <a:pt x="45771" y="469532"/>
                </a:lnTo>
                <a:cubicBezTo>
                  <a:pt x="51756" y="442576"/>
                  <a:pt x="59507" y="416061"/>
                  <a:pt x="70200" y="390469"/>
                </a:cubicBezTo>
                <a:close/>
                <a:moveTo>
                  <a:pt x="129902" y="237280"/>
                </a:moveTo>
                <a:lnTo>
                  <a:pt x="96821" y="312151"/>
                </a:lnTo>
                <a:cubicBezTo>
                  <a:pt x="105771" y="286369"/>
                  <a:pt x="116427" y="261208"/>
                  <a:pt x="129902" y="237280"/>
                </a:cubicBezTo>
                <a:close/>
                <a:moveTo>
                  <a:pt x="206847" y="92135"/>
                </a:moveTo>
                <a:lnTo>
                  <a:pt x="166080" y="161365"/>
                </a:lnTo>
                <a:cubicBezTo>
                  <a:pt x="177693" y="137249"/>
                  <a:pt x="190948" y="113935"/>
                  <a:pt x="206847" y="92135"/>
                </a:cubicBezTo>
                <a:close/>
                <a:moveTo>
                  <a:pt x="264962" y="0"/>
                </a:moveTo>
                <a:lnTo>
                  <a:pt x="265680" y="2200"/>
                </a:lnTo>
                <a:lnTo>
                  <a:pt x="253131" y="18758"/>
                </a:lnTo>
                <a:cubicBezTo>
                  <a:pt x="256399" y="12045"/>
                  <a:pt x="260655" y="6008"/>
                  <a:pt x="264962" y="0"/>
                </a:cubicBezTo>
                <a:close/>
              </a:path>
            </a:pathLst>
          </a:custGeom>
          <a:solidFill>
            <a:schemeClr val="accent1">
              <a:lumMod val="50000"/>
            </a:schemeClr>
          </a:solidFill>
          <a:ln>
            <a:noFill/>
          </a:ln>
        </p:spPr>
        <p:txBody>
          <a:bodyPr anchor="ctr"/>
          <a:lstStyle/>
          <a:p>
            <a:pPr algn="ctr" defTabSz="914400"/>
            <a:endParaRPr lang="zh-CN" altLang="zh-CN" sz="2400">
              <a:solidFill>
                <a:srgbClr val="FFFFFF"/>
              </a:solidFill>
              <a:latin typeface="+mn-ea"/>
            </a:endParaRPr>
          </a:p>
        </p:txBody>
      </p:sp>
      <p:sp>
        <p:nvSpPr>
          <p:cNvPr id="117" name="矩形 55"/>
          <p:cNvSpPr>
            <a:spLocks noChangeArrowheads="1"/>
          </p:cNvSpPr>
          <p:nvPr/>
        </p:nvSpPr>
        <p:spPr bwMode="auto">
          <a:xfrm rot="19498213">
            <a:off x="4113443" y="1714446"/>
            <a:ext cx="1649096" cy="400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4400"/>
            <a:r>
              <a:rPr lang="en-US" altLang="zh-CN" sz="2000" dirty="0">
                <a:solidFill>
                  <a:prstClr val="white"/>
                </a:solidFill>
                <a:latin typeface="+mn-ea"/>
              </a:rPr>
              <a:t>XXXXXX</a:t>
            </a:r>
            <a:endParaRPr lang="zh-CN" altLang="en-US" sz="2000" dirty="0">
              <a:solidFill>
                <a:prstClr val="white"/>
              </a:solidFill>
              <a:latin typeface="+mn-ea"/>
            </a:endParaRPr>
          </a:p>
        </p:txBody>
      </p:sp>
      <p:sp>
        <p:nvSpPr>
          <p:cNvPr id="118" name="矩形 56"/>
          <p:cNvSpPr>
            <a:spLocks noChangeArrowheads="1"/>
          </p:cNvSpPr>
          <p:nvPr/>
        </p:nvSpPr>
        <p:spPr bwMode="auto">
          <a:xfrm rot="2217783">
            <a:off x="6075815" y="1628472"/>
            <a:ext cx="1464873" cy="400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4400"/>
            <a:r>
              <a:rPr lang="en-US" altLang="zh-CN" sz="2000" dirty="0">
                <a:solidFill>
                  <a:prstClr val="white"/>
                </a:solidFill>
                <a:latin typeface="+mn-ea"/>
              </a:rPr>
              <a:t>XXXXXX</a:t>
            </a:r>
            <a:endParaRPr lang="zh-CN" altLang="en-US" sz="2000" dirty="0">
              <a:solidFill>
                <a:prstClr val="white"/>
              </a:solidFill>
              <a:latin typeface="+mn-ea"/>
            </a:endParaRPr>
          </a:p>
        </p:txBody>
      </p:sp>
      <p:sp>
        <p:nvSpPr>
          <p:cNvPr id="119" name="矩形 57"/>
          <p:cNvSpPr>
            <a:spLocks noChangeArrowheads="1"/>
          </p:cNvSpPr>
          <p:nvPr/>
        </p:nvSpPr>
        <p:spPr bwMode="auto">
          <a:xfrm rot="4269457">
            <a:off x="3274384" y="3205194"/>
            <a:ext cx="2568516" cy="400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4400"/>
            <a:r>
              <a:rPr lang="en-US" altLang="zh-CN" sz="2000" dirty="0">
                <a:solidFill>
                  <a:prstClr val="white"/>
                </a:solidFill>
                <a:latin typeface="+mn-ea"/>
              </a:rPr>
              <a:t>XXXXXX</a:t>
            </a:r>
            <a:endParaRPr lang="zh-CN" altLang="en-US" sz="2000" dirty="0">
              <a:solidFill>
                <a:prstClr val="white"/>
              </a:solidFill>
              <a:latin typeface="+mn-ea"/>
            </a:endParaRPr>
          </a:p>
        </p:txBody>
      </p:sp>
      <p:sp>
        <p:nvSpPr>
          <p:cNvPr id="120" name="矩形 58"/>
          <p:cNvSpPr>
            <a:spLocks noChangeArrowheads="1"/>
          </p:cNvSpPr>
          <p:nvPr/>
        </p:nvSpPr>
        <p:spPr bwMode="auto">
          <a:xfrm rot="17255857">
            <a:off x="6443224" y="3067499"/>
            <a:ext cx="1781058" cy="400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4400"/>
            <a:r>
              <a:rPr lang="en-US" altLang="zh-CN" sz="2000" dirty="0">
                <a:solidFill>
                  <a:prstClr val="white"/>
                </a:solidFill>
                <a:latin typeface="+mn-ea"/>
              </a:rPr>
              <a:t>XXXXXX</a:t>
            </a:r>
            <a:endParaRPr lang="zh-CN" altLang="en-US" sz="2000" dirty="0">
              <a:solidFill>
                <a:prstClr val="white"/>
              </a:solidFill>
              <a:latin typeface="+mn-ea"/>
            </a:endParaRPr>
          </a:p>
        </p:txBody>
      </p:sp>
      <p:sp>
        <p:nvSpPr>
          <p:cNvPr id="121" name="矩形 59"/>
          <p:cNvSpPr>
            <a:spLocks noChangeArrowheads="1"/>
          </p:cNvSpPr>
          <p:nvPr/>
        </p:nvSpPr>
        <p:spPr bwMode="auto">
          <a:xfrm>
            <a:off x="5300403" y="4178948"/>
            <a:ext cx="1499906" cy="400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4400"/>
            <a:r>
              <a:rPr lang="en-US" altLang="zh-CN" sz="2000" dirty="0">
                <a:solidFill>
                  <a:prstClr val="white"/>
                </a:solidFill>
                <a:latin typeface="+mn-ea"/>
              </a:rPr>
              <a:t>XXXXXX</a:t>
            </a:r>
            <a:endParaRPr lang="zh-CN" altLang="en-US" sz="2000" dirty="0">
              <a:solidFill>
                <a:prstClr val="white"/>
              </a:solidFill>
              <a:latin typeface="+mn-ea"/>
            </a:endParaRPr>
          </a:p>
        </p:txBody>
      </p:sp>
      <p:sp>
        <p:nvSpPr>
          <p:cNvPr id="122" name="椭圆 2"/>
          <p:cNvSpPr>
            <a:spLocks noChangeArrowheads="1"/>
          </p:cNvSpPr>
          <p:nvPr/>
        </p:nvSpPr>
        <p:spPr bwMode="auto">
          <a:xfrm>
            <a:off x="3726380" y="666666"/>
            <a:ext cx="4428522" cy="4518315"/>
          </a:xfrm>
          <a:prstGeom prst="ellipse">
            <a:avLst/>
          </a:prstGeom>
          <a:noFill/>
          <a:ln w="152400">
            <a:solidFill>
              <a:srgbClr val="BCBCBC"/>
            </a:solidFill>
            <a:round/>
          </a:ln>
          <a:extLst>
            <a:ext uri="{909E8E84-426E-40DD-AFC4-6F175D3DCCD1}">
              <a14:hiddenFill xmlns:a14="http://schemas.microsoft.com/office/drawing/2010/main">
                <a:solidFill>
                  <a:srgbClr val="FFFFFF"/>
                </a:solidFill>
              </a14:hiddenFill>
            </a:ext>
          </a:extLst>
        </p:spPr>
        <p:txBody>
          <a:bodyPr anchor="ctr"/>
          <a:lstStyle/>
          <a:p>
            <a:pPr algn="ctr" defTabSz="914400" fontAlgn="base">
              <a:spcBef>
                <a:spcPct val="0"/>
              </a:spcBef>
              <a:spcAft>
                <a:spcPct val="0"/>
              </a:spcAft>
              <a:defRPr/>
            </a:pPr>
            <a:endParaRPr lang="zh-CN" altLang="en-US" kern="0">
              <a:solidFill>
                <a:srgbClr val="000000"/>
              </a:solidFill>
              <a:latin typeface="+mn-ea"/>
            </a:endParaRPr>
          </a:p>
        </p:txBody>
      </p:sp>
      <p:sp>
        <p:nvSpPr>
          <p:cNvPr id="123" name="椭圆 122"/>
          <p:cNvSpPr>
            <a:spLocks noChangeArrowheads="1"/>
          </p:cNvSpPr>
          <p:nvPr/>
        </p:nvSpPr>
        <p:spPr bwMode="auto">
          <a:xfrm>
            <a:off x="5030881" y="2054549"/>
            <a:ext cx="1802194" cy="1773352"/>
          </a:xfrm>
          <a:prstGeom prst="ellipse">
            <a:avLst/>
          </a:prstGeom>
          <a:noFill/>
          <a:ln w="76200">
            <a:solidFill>
              <a:srgbClr val="BCBCBC"/>
            </a:solidFill>
            <a:round/>
          </a:ln>
          <a:extLst>
            <a:ext uri="{909E8E84-426E-40DD-AFC4-6F175D3DCCD1}">
              <a14:hiddenFill xmlns:a14="http://schemas.microsoft.com/office/drawing/2010/main">
                <a:solidFill>
                  <a:srgbClr val="FFFFFF"/>
                </a:solidFill>
              </a14:hiddenFill>
            </a:ext>
          </a:extLst>
        </p:spPr>
        <p:txBody>
          <a:bodyPr anchor="ctr"/>
          <a:lstStyle/>
          <a:p>
            <a:pPr algn="ctr" defTabSz="914400" fontAlgn="base">
              <a:spcBef>
                <a:spcPct val="0"/>
              </a:spcBef>
              <a:spcAft>
                <a:spcPct val="0"/>
              </a:spcAft>
              <a:defRPr/>
            </a:pPr>
            <a:endParaRPr lang="en-US" altLang="zh-CN" sz="1600" kern="0" dirty="0">
              <a:solidFill>
                <a:srgbClr val="000000"/>
              </a:solidFill>
              <a:latin typeface="+mn-ea"/>
            </a:endParaRPr>
          </a:p>
          <a:p>
            <a:pPr algn="ctr" defTabSz="914400" fontAlgn="base">
              <a:spcBef>
                <a:spcPct val="0"/>
              </a:spcBef>
              <a:spcAft>
                <a:spcPct val="0"/>
              </a:spcAft>
              <a:defRPr/>
            </a:pPr>
            <a:endParaRPr lang="en-US" altLang="zh-CN" sz="1600" kern="0" dirty="0">
              <a:solidFill>
                <a:srgbClr val="000000"/>
              </a:solidFill>
              <a:latin typeface="+mn-ea"/>
            </a:endParaRPr>
          </a:p>
          <a:p>
            <a:pPr algn="ctr" defTabSz="914400" fontAlgn="base">
              <a:spcBef>
                <a:spcPct val="0"/>
              </a:spcBef>
              <a:spcAft>
                <a:spcPct val="0"/>
              </a:spcAft>
              <a:defRPr/>
            </a:pPr>
            <a:endParaRPr lang="en-US" altLang="zh-CN" sz="1600" kern="0" dirty="0">
              <a:solidFill>
                <a:srgbClr val="000000"/>
              </a:solidFill>
              <a:latin typeface="+mn-ea"/>
            </a:endParaRPr>
          </a:p>
          <a:p>
            <a:pPr algn="ctr" defTabSz="914400" fontAlgn="base">
              <a:spcBef>
                <a:spcPct val="0"/>
              </a:spcBef>
              <a:spcAft>
                <a:spcPct val="0"/>
              </a:spcAft>
              <a:defRPr/>
            </a:pPr>
            <a:endParaRPr lang="en-US" altLang="zh-CN" sz="1600" kern="0" dirty="0">
              <a:solidFill>
                <a:srgbClr val="000000"/>
              </a:solidFill>
              <a:latin typeface="+mn-ea"/>
            </a:endParaRPr>
          </a:p>
        </p:txBody>
      </p:sp>
      <p:sp>
        <p:nvSpPr>
          <p:cNvPr id="124" name="椭圆 123"/>
          <p:cNvSpPr>
            <a:spLocks noChangeArrowheads="1"/>
          </p:cNvSpPr>
          <p:nvPr/>
        </p:nvSpPr>
        <p:spPr bwMode="auto">
          <a:xfrm flipH="1">
            <a:off x="7210818" y="882839"/>
            <a:ext cx="609380" cy="609381"/>
          </a:xfrm>
          <a:prstGeom prst="ellipse">
            <a:avLst/>
          </a:prstGeom>
          <a:solidFill>
            <a:srgbClr val="FFFFFF"/>
          </a:solidFill>
          <a:ln w="76200">
            <a:solidFill>
              <a:schemeClr val="accent2"/>
            </a:solidFill>
            <a:round/>
          </a:ln>
        </p:spPr>
        <p:txBody>
          <a:bodyPr anchor="ctr"/>
          <a:lstStyle/>
          <a:p>
            <a:pPr algn="ctr" defTabSz="914400" fontAlgn="base">
              <a:spcBef>
                <a:spcPct val="0"/>
              </a:spcBef>
              <a:spcAft>
                <a:spcPct val="0"/>
              </a:spcAft>
              <a:defRPr/>
            </a:pPr>
            <a:endParaRPr lang="zh-CN" altLang="en-US" kern="0">
              <a:solidFill>
                <a:srgbClr val="000000"/>
              </a:solidFill>
              <a:latin typeface="+mn-ea"/>
            </a:endParaRPr>
          </a:p>
        </p:txBody>
      </p:sp>
      <p:sp>
        <p:nvSpPr>
          <p:cNvPr id="125" name="椭圆 124"/>
          <p:cNvSpPr>
            <a:spLocks noChangeArrowheads="1"/>
          </p:cNvSpPr>
          <p:nvPr/>
        </p:nvSpPr>
        <p:spPr bwMode="auto">
          <a:xfrm flipH="1">
            <a:off x="5746364" y="4964646"/>
            <a:ext cx="609380" cy="609380"/>
          </a:xfrm>
          <a:prstGeom prst="ellipse">
            <a:avLst/>
          </a:prstGeom>
          <a:solidFill>
            <a:srgbClr val="FFFFFF"/>
          </a:solidFill>
          <a:ln w="76200">
            <a:solidFill>
              <a:schemeClr val="accent5"/>
            </a:solidFill>
            <a:round/>
          </a:ln>
        </p:spPr>
        <p:txBody>
          <a:bodyPr anchor="ctr"/>
          <a:lstStyle/>
          <a:p>
            <a:pPr algn="ctr" defTabSz="914400" fontAlgn="base">
              <a:spcBef>
                <a:spcPct val="0"/>
              </a:spcBef>
              <a:spcAft>
                <a:spcPct val="0"/>
              </a:spcAft>
              <a:defRPr/>
            </a:pPr>
            <a:endParaRPr lang="zh-CN" altLang="en-US" kern="0">
              <a:solidFill>
                <a:srgbClr val="000000"/>
              </a:solidFill>
              <a:latin typeface="+mn-ea"/>
            </a:endParaRPr>
          </a:p>
        </p:txBody>
      </p:sp>
      <p:sp>
        <p:nvSpPr>
          <p:cNvPr id="126" name="椭圆 125"/>
          <p:cNvSpPr>
            <a:spLocks noChangeArrowheads="1"/>
          </p:cNvSpPr>
          <p:nvPr/>
        </p:nvSpPr>
        <p:spPr bwMode="auto">
          <a:xfrm flipH="1">
            <a:off x="4035953" y="907136"/>
            <a:ext cx="609380" cy="609381"/>
          </a:xfrm>
          <a:prstGeom prst="ellipse">
            <a:avLst/>
          </a:prstGeom>
          <a:solidFill>
            <a:schemeClr val="bg1"/>
          </a:solidFill>
          <a:ln w="76200">
            <a:solidFill>
              <a:srgbClr val="FE5817"/>
            </a:solidFill>
            <a:round/>
          </a:ln>
        </p:spPr>
        <p:txBody>
          <a:bodyPr anchor="ctr"/>
          <a:lstStyle/>
          <a:p>
            <a:pPr algn="ctr" defTabSz="914400" fontAlgn="base">
              <a:spcBef>
                <a:spcPct val="0"/>
              </a:spcBef>
              <a:spcAft>
                <a:spcPct val="0"/>
              </a:spcAft>
              <a:defRPr/>
            </a:pPr>
            <a:endParaRPr lang="zh-CN" altLang="en-US" kern="0">
              <a:solidFill>
                <a:srgbClr val="000000"/>
              </a:solidFill>
              <a:latin typeface="+mn-ea"/>
            </a:endParaRPr>
          </a:p>
        </p:txBody>
      </p:sp>
      <p:grpSp>
        <p:nvGrpSpPr>
          <p:cNvPr id="127" name="组合 126"/>
          <p:cNvGrpSpPr/>
          <p:nvPr/>
        </p:nvGrpSpPr>
        <p:grpSpPr>
          <a:xfrm>
            <a:off x="5593029" y="2355486"/>
            <a:ext cx="857290" cy="857290"/>
            <a:chOff x="5216265" y="3511307"/>
            <a:chExt cx="857488" cy="857488"/>
          </a:xfrm>
        </p:grpSpPr>
        <p:pic>
          <p:nvPicPr>
            <p:cNvPr id="128" name="图片 12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216265" y="3511307"/>
              <a:ext cx="857488" cy="857488"/>
            </a:xfrm>
            <a:prstGeom prst="rect">
              <a:avLst/>
            </a:prstGeom>
          </p:spPr>
        </p:pic>
        <p:pic>
          <p:nvPicPr>
            <p:cNvPr id="129" name="图片 128"/>
            <p:cNvPicPr>
              <a:picLocks noChangeAspect="1"/>
            </p:cNvPicPr>
            <p:nvPr/>
          </p:nvPicPr>
          <p:blipFill>
            <a:blip r:embed="rId2"/>
            <a:stretch>
              <a:fillRect/>
            </a:stretch>
          </p:blipFill>
          <p:spPr>
            <a:xfrm>
              <a:off x="5249305" y="3898894"/>
              <a:ext cx="310535" cy="465802"/>
            </a:xfrm>
            <a:prstGeom prst="rect">
              <a:avLst/>
            </a:prstGeom>
          </p:spPr>
        </p:pic>
      </p:grpSp>
      <p:pic>
        <p:nvPicPr>
          <p:cNvPr id="130" name="Picture 7" descr="D:\任俊猛\图片、图标素材\个人健康.png"/>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0478224">
            <a:off x="7368906" y="1034913"/>
            <a:ext cx="381017" cy="381017"/>
          </a:xfrm>
          <a:prstGeom prst="rect">
            <a:avLst/>
          </a:prstGeom>
          <a:noFill/>
          <a:extLst>
            <a:ext uri="{909E8E84-426E-40DD-AFC4-6F175D3DCCD1}">
              <a14:hiddenFill xmlns:a14="http://schemas.microsoft.com/office/drawing/2010/main">
                <a:solidFill>
                  <a:srgbClr val="FFFFFF"/>
                </a:solidFill>
              </a14:hiddenFill>
            </a:ext>
          </a:extLst>
        </p:spPr>
      </p:pic>
      <p:pic>
        <p:nvPicPr>
          <p:cNvPr id="131" name="图片 130"/>
          <p:cNvPicPr>
            <a:picLocks noChangeAspect="1"/>
          </p:cNvPicPr>
          <p:nvPr/>
        </p:nvPicPr>
        <p:blipFill>
          <a:blip r:embed="rId5">
            <a:duotone>
              <a:schemeClr val="accent5">
                <a:shade val="45000"/>
                <a:satMod val="135000"/>
              </a:schemeClr>
              <a:prstClr val="white"/>
            </a:duotone>
          </a:blip>
          <a:stretch>
            <a:fillRect/>
          </a:stretch>
        </p:blipFill>
        <p:spPr>
          <a:xfrm>
            <a:off x="5863145" y="5069967"/>
            <a:ext cx="354785" cy="341139"/>
          </a:xfrm>
          <a:prstGeom prst="rect">
            <a:avLst/>
          </a:prstGeom>
        </p:spPr>
      </p:pic>
      <p:pic>
        <p:nvPicPr>
          <p:cNvPr id="132" name="Picture 4" descr="D:\Users\renjunmeng799\Downloads\medical91.png"/>
          <p:cNvPicPr>
            <a:picLocks noChangeAspect="1" noChangeArrowheads="1"/>
          </p:cNvPicPr>
          <p:nvPr/>
        </p:nvPicPr>
        <p:blipFill>
          <a:blip r:embed="rId3" cstate="email">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50907" y="1020169"/>
            <a:ext cx="345847" cy="345847"/>
          </a:xfrm>
          <a:prstGeom prst="rect">
            <a:avLst/>
          </a:prstGeom>
          <a:noFill/>
          <a:extLst>
            <a:ext uri="{909E8E84-426E-40DD-AFC4-6F175D3DCCD1}">
              <a14:hiddenFill xmlns:a14="http://schemas.microsoft.com/office/drawing/2010/main">
                <a:solidFill>
                  <a:srgbClr val="FFFFFF"/>
                </a:solidFill>
              </a14:hiddenFill>
            </a:ext>
          </a:extLst>
        </p:spPr>
      </p:pic>
      <p:sp>
        <p:nvSpPr>
          <p:cNvPr id="133" name="椭圆 132"/>
          <p:cNvSpPr>
            <a:spLocks noChangeArrowheads="1"/>
          </p:cNvSpPr>
          <p:nvPr/>
        </p:nvSpPr>
        <p:spPr bwMode="auto">
          <a:xfrm flipH="1">
            <a:off x="3465352" y="3473476"/>
            <a:ext cx="609380" cy="564671"/>
          </a:xfrm>
          <a:prstGeom prst="ellipse">
            <a:avLst/>
          </a:prstGeom>
          <a:solidFill>
            <a:srgbClr val="FFFFFF"/>
          </a:solidFill>
          <a:ln w="76200">
            <a:solidFill>
              <a:srgbClr val="9A3D01"/>
            </a:solidFill>
            <a:round/>
          </a:ln>
        </p:spPr>
        <p:txBody>
          <a:bodyPr anchor="ctr"/>
          <a:lstStyle/>
          <a:p>
            <a:pPr algn="ctr" defTabSz="914400" fontAlgn="base">
              <a:spcBef>
                <a:spcPct val="0"/>
              </a:spcBef>
              <a:spcAft>
                <a:spcPct val="0"/>
              </a:spcAft>
              <a:defRPr/>
            </a:pPr>
            <a:endParaRPr lang="zh-CN" altLang="en-US" kern="0">
              <a:solidFill>
                <a:srgbClr val="000000"/>
              </a:solidFill>
              <a:latin typeface="+mn-ea"/>
            </a:endParaRPr>
          </a:p>
        </p:txBody>
      </p:sp>
      <p:pic>
        <p:nvPicPr>
          <p:cNvPr id="134" name="Picture 4" descr="D:\Users\renjunmeng799\Downloads\medical91.png"/>
          <p:cNvPicPr>
            <a:picLocks noChangeAspect="1" noChangeArrowheads="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93367" y="3567174"/>
            <a:ext cx="345847" cy="320473"/>
          </a:xfrm>
          <a:prstGeom prst="rect">
            <a:avLst/>
          </a:prstGeom>
          <a:noFill/>
          <a:extLst>
            <a:ext uri="{909E8E84-426E-40DD-AFC4-6F175D3DCCD1}">
              <a14:hiddenFill xmlns:a14="http://schemas.microsoft.com/office/drawing/2010/main">
                <a:solidFill>
                  <a:srgbClr val="FFFFFF"/>
                </a:solidFill>
              </a14:hiddenFill>
            </a:ext>
          </a:extLst>
        </p:spPr>
      </p:pic>
      <p:sp>
        <p:nvSpPr>
          <p:cNvPr id="135" name="椭圆 134"/>
          <p:cNvSpPr>
            <a:spLocks noChangeArrowheads="1"/>
          </p:cNvSpPr>
          <p:nvPr/>
        </p:nvSpPr>
        <p:spPr bwMode="auto">
          <a:xfrm flipH="1">
            <a:off x="7838745" y="3380526"/>
            <a:ext cx="609380" cy="609380"/>
          </a:xfrm>
          <a:prstGeom prst="ellipse">
            <a:avLst/>
          </a:prstGeom>
          <a:solidFill>
            <a:srgbClr val="FFFFFF"/>
          </a:solidFill>
          <a:ln w="76200">
            <a:solidFill>
              <a:srgbClr val="FFC000"/>
            </a:solidFill>
            <a:round/>
          </a:ln>
        </p:spPr>
        <p:txBody>
          <a:bodyPr anchor="ctr"/>
          <a:lstStyle/>
          <a:p>
            <a:pPr algn="ctr" defTabSz="914400" fontAlgn="base">
              <a:spcBef>
                <a:spcPct val="0"/>
              </a:spcBef>
              <a:spcAft>
                <a:spcPct val="0"/>
              </a:spcAft>
              <a:defRPr/>
            </a:pPr>
            <a:endParaRPr lang="zh-CN" altLang="en-US" kern="0">
              <a:solidFill>
                <a:srgbClr val="000000"/>
              </a:solidFill>
              <a:latin typeface="+mn-ea"/>
            </a:endParaRPr>
          </a:p>
        </p:txBody>
      </p:sp>
      <p:cxnSp>
        <p:nvCxnSpPr>
          <p:cNvPr id="136" name="肘形连接符 135"/>
          <p:cNvCxnSpPr>
            <a:stCxn id="146" idx="1"/>
            <a:endCxn id="135" idx="2"/>
          </p:cNvCxnSpPr>
          <p:nvPr/>
        </p:nvCxnSpPr>
        <p:spPr>
          <a:xfrm rot="10800000">
            <a:off x="8448124" y="3685216"/>
            <a:ext cx="870209" cy="1394081"/>
          </a:xfrm>
          <a:prstGeom prst="bentConnector3">
            <a:avLst>
              <a:gd name="adj1" fmla="val 65449"/>
            </a:avLst>
          </a:prstGeom>
          <a:ln w="57150">
            <a:solidFill>
              <a:srgbClr val="FFC000"/>
            </a:solidFill>
            <a:tailEnd type="triangle"/>
          </a:ln>
        </p:spPr>
        <p:style>
          <a:lnRef idx="1">
            <a:schemeClr val="accent5"/>
          </a:lnRef>
          <a:fillRef idx="0">
            <a:schemeClr val="accent5"/>
          </a:fillRef>
          <a:effectRef idx="0">
            <a:schemeClr val="accent5"/>
          </a:effectRef>
          <a:fontRef idx="minor">
            <a:schemeClr val="tx1"/>
          </a:fontRef>
        </p:style>
      </p:cxnSp>
      <p:pic>
        <p:nvPicPr>
          <p:cNvPr id="137" name="图片 136"/>
          <p:cNvPicPr>
            <a:picLocks noChangeAspect="1"/>
          </p:cNvPicPr>
          <p:nvPr/>
        </p:nvPicPr>
        <p:blipFill>
          <a:blip r:embed="rId6">
            <a:duotone>
              <a:schemeClr val="accent4">
                <a:shade val="45000"/>
                <a:satMod val="135000"/>
              </a:schemeClr>
              <a:prstClr val="white"/>
            </a:duotone>
          </a:blip>
          <a:stretch>
            <a:fillRect/>
          </a:stretch>
        </p:blipFill>
        <p:spPr>
          <a:xfrm>
            <a:off x="7981319" y="3510632"/>
            <a:ext cx="322314" cy="333690"/>
          </a:xfrm>
          <a:prstGeom prst="rect">
            <a:avLst/>
          </a:prstGeom>
        </p:spPr>
      </p:pic>
      <p:grpSp>
        <p:nvGrpSpPr>
          <p:cNvPr id="138" name="组合 137"/>
          <p:cNvGrpSpPr/>
          <p:nvPr/>
        </p:nvGrpSpPr>
        <p:grpSpPr>
          <a:xfrm>
            <a:off x="6051054" y="5349421"/>
            <a:ext cx="2492582" cy="895272"/>
            <a:chOff x="3360850" y="5833371"/>
            <a:chExt cx="2493159" cy="895479"/>
          </a:xfrm>
        </p:grpSpPr>
        <p:sp>
          <p:nvSpPr>
            <p:cNvPr id="139" name="圆角矩形 138"/>
            <p:cNvSpPr/>
            <p:nvPr/>
          </p:nvSpPr>
          <p:spPr bwMode="gray">
            <a:xfrm>
              <a:off x="3775956" y="5833371"/>
              <a:ext cx="1016351" cy="419363"/>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sp>
          <p:nvSpPr>
            <p:cNvPr id="140" name="圆角矩形 139"/>
            <p:cNvSpPr/>
            <p:nvPr/>
          </p:nvSpPr>
          <p:spPr bwMode="gray">
            <a:xfrm>
              <a:off x="3796269" y="6306981"/>
              <a:ext cx="995154" cy="419363"/>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sp>
          <p:nvSpPr>
            <p:cNvPr id="141" name="圆角矩形 140"/>
            <p:cNvSpPr/>
            <p:nvPr/>
          </p:nvSpPr>
          <p:spPr bwMode="gray">
            <a:xfrm>
              <a:off x="4851127" y="5836335"/>
              <a:ext cx="1002882" cy="419363"/>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cxnSp>
          <p:nvCxnSpPr>
            <p:cNvPr id="142" name="肘形连接符 141"/>
            <p:cNvCxnSpPr>
              <a:stCxn id="140" idx="1"/>
              <a:endCxn id="125" idx="4"/>
            </p:cNvCxnSpPr>
            <p:nvPr/>
          </p:nvCxnSpPr>
          <p:spPr>
            <a:xfrm rot="10800000">
              <a:off x="3360850" y="6066497"/>
              <a:ext cx="435419" cy="450166"/>
            </a:xfrm>
            <a:prstGeom prst="bentConnector2">
              <a:avLst/>
            </a:prstGeom>
            <a:ln w="57150">
              <a:tailEnd type="triangle"/>
            </a:ln>
          </p:spPr>
          <p:style>
            <a:lnRef idx="1">
              <a:schemeClr val="accent5"/>
            </a:lnRef>
            <a:fillRef idx="0">
              <a:schemeClr val="accent5"/>
            </a:fillRef>
            <a:effectRef idx="0">
              <a:schemeClr val="accent5"/>
            </a:effectRef>
            <a:fontRef idx="minor">
              <a:schemeClr val="tx1"/>
            </a:fontRef>
          </p:style>
        </p:cxnSp>
        <p:sp>
          <p:nvSpPr>
            <p:cNvPr id="143" name="圆角矩形 142"/>
            <p:cNvSpPr/>
            <p:nvPr/>
          </p:nvSpPr>
          <p:spPr bwMode="gray">
            <a:xfrm>
              <a:off x="4849217" y="6309487"/>
              <a:ext cx="1002882" cy="419363"/>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grpSp>
      <p:grpSp>
        <p:nvGrpSpPr>
          <p:cNvPr id="144" name="组合 143"/>
          <p:cNvGrpSpPr/>
          <p:nvPr/>
        </p:nvGrpSpPr>
        <p:grpSpPr>
          <a:xfrm>
            <a:off x="9318334" y="3881409"/>
            <a:ext cx="2611856" cy="1893397"/>
            <a:chOff x="740447" y="2799837"/>
            <a:chExt cx="1529922" cy="1304772"/>
          </a:xfrm>
          <a:solidFill>
            <a:srgbClr val="FFC000"/>
          </a:solidFill>
        </p:grpSpPr>
        <p:sp>
          <p:nvSpPr>
            <p:cNvPr id="145" name="圆角矩形 144"/>
            <p:cNvSpPr/>
            <p:nvPr/>
          </p:nvSpPr>
          <p:spPr bwMode="gray">
            <a:xfrm>
              <a:off x="740447" y="3146032"/>
              <a:ext cx="1527297" cy="288923"/>
            </a:xfrm>
            <a:prstGeom prst="round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sp>
          <p:nvSpPr>
            <p:cNvPr id="146" name="圆角矩形 145"/>
            <p:cNvSpPr/>
            <p:nvPr/>
          </p:nvSpPr>
          <p:spPr bwMode="gray">
            <a:xfrm>
              <a:off x="740447" y="3480859"/>
              <a:ext cx="1527297" cy="288923"/>
            </a:xfrm>
            <a:prstGeom prst="round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sp>
          <p:nvSpPr>
            <p:cNvPr id="147" name="圆角矩形 146"/>
            <p:cNvSpPr/>
            <p:nvPr/>
          </p:nvSpPr>
          <p:spPr bwMode="gray">
            <a:xfrm>
              <a:off x="740447" y="3815686"/>
              <a:ext cx="1527297" cy="288923"/>
            </a:xfrm>
            <a:prstGeom prst="round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sp>
          <p:nvSpPr>
            <p:cNvPr id="75" name="圆角矩形 74"/>
            <p:cNvSpPr/>
            <p:nvPr/>
          </p:nvSpPr>
          <p:spPr bwMode="gray">
            <a:xfrm>
              <a:off x="743072" y="2799837"/>
              <a:ext cx="1527297" cy="288923"/>
            </a:xfrm>
            <a:prstGeom prst="round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grpSp>
      <p:sp>
        <p:nvSpPr>
          <p:cNvPr id="148" name="圆角矩形 147"/>
          <p:cNvSpPr/>
          <p:nvPr/>
        </p:nvSpPr>
        <p:spPr bwMode="gray">
          <a:xfrm>
            <a:off x="9322816" y="5830560"/>
            <a:ext cx="2607375" cy="419266"/>
          </a:xfrm>
          <a:prstGeom prst="round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25391" rIns="0" bIns="25391" numCol="1" spcCol="0" rtlCol="0" fromWordArt="0" anchor="ctr" anchorCtr="0" forceAA="0" compatLnSpc="1">
            <a:noAutofit/>
          </a:bodyPr>
          <a:lstStyle/>
          <a:p>
            <a:pPr defTabSz="914400" fontAlgn="base">
              <a:spcBef>
                <a:spcPct val="0"/>
              </a:spcBef>
              <a:spcAft>
                <a:spcPct val="0"/>
              </a:spcAft>
              <a:buSzPct val="80000"/>
              <a:defRPr/>
            </a:pPr>
            <a:r>
              <a:rPr lang="en-US" altLang="zh-CN" sz="1400" kern="0" dirty="0">
                <a:solidFill>
                  <a:prstClr val="white"/>
                </a:solidFill>
                <a:latin typeface="+mn-ea"/>
              </a:rPr>
              <a:t>XXXXXX</a:t>
            </a:r>
            <a:endParaRPr lang="zh-CN" altLang="en-US" sz="1400" kern="0" dirty="0">
              <a:solidFill>
                <a:prstClr val="white"/>
              </a:solidFill>
              <a:latin typeface="+mn-ea"/>
            </a:endParaRPr>
          </a:p>
        </p:txBody>
      </p:sp>
      <p:sp>
        <p:nvSpPr>
          <p:cNvPr id="149" name="TextBox 5"/>
          <p:cNvSpPr txBox="1"/>
          <p:nvPr/>
        </p:nvSpPr>
        <p:spPr>
          <a:xfrm>
            <a:off x="9296696" y="3426140"/>
            <a:ext cx="2595678" cy="461558"/>
          </a:xfrm>
          <a:prstGeom prst="rect">
            <a:avLst/>
          </a:prstGeom>
          <a:noFill/>
        </p:spPr>
        <p:txBody>
          <a:bodyPr wrap="square" rtlCol="0">
            <a:spAutoFit/>
          </a:bodyPr>
          <a:lstStyle/>
          <a:p>
            <a:pPr algn="ctr" defTabSz="914400"/>
            <a:r>
              <a:rPr lang="en-US" altLang="zh-CN" sz="2400" b="1" dirty="0">
                <a:solidFill>
                  <a:srgbClr val="FFC000"/>
                </a:solidFill>
                <a:latin typeface="+mn-ea"/>
                <a:sym typeface="+mn-lt"/>
              </a:rPr>
              <a:t>XXXXXXX</a:t>
            </a:r>
            <a:endParaRPr lang="zh-CN" altLang="en-US" sz="2400" b="1" dirty="0">
              <a:solidFill>
                <a:srgbClr val="ED7D31"/>
              </a:solidFill>
              <a:latin typeface="+mn-ea"/>
            </a:endParaRPr>
          </a:p>
        </p:txBody>
      </p:sp>
      <p:sp>
        <p:nvSpPr>
          <p:cNvPr id="76"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n-ea"/>
                <a:ea typeface="+mn-ea"/>
              </a:rPr>
              <a:t>内容</a:t>
            </a:r>
            <a:endParaRPr lang="zh-CN" altLang="en-US" sz="2400" dirty="0">
              <a:solidFill>
                <a:prstClr val="black"/>
              </a:solidFill>
              <a:latin typeface="+mn-ea"/>
              <a:ea typeface="+mn-ea"/>
            </a:endParaRPr>
          </a:p>
        </p:txBody>
      </p:sp>
    </p:spTree>
  </p:cSld>
  <p:clrMapOvr>
    <a:masterClrMapping/>
  </p:clrMapOvr>
  <p:transition spd="slow">
    <p:push dir="u"/>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对象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515" name="think-cell Slide" r:id="rId2" imgW="12700" imgH="12700" progId="TCLayout.ActiveDocument.1">
                  <p:embed/>
                </p:oleObj>
              </mc:Choice>
              <mc:Fallback>
                <p:oleObj name="think-cell Slide" r:id="rId2" imgW="12700" imgH="12700" progId="TCLayout.ActiveDocument.1">
                  <p:embed/>
                  <p:pic>
                    <p:nvPicPr>
                      <p:cNvPr id="0" name="对象 12"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8" name="矩形 7"/>
          <p:cNvSpPr/>
          <p:nvPr/>
        </p:nvSpPr>
        <p:spPr>
          <a:xfrm>
            <a:off x="1457325" y="1390650"/>
            <a:ext cx="7887396" cy="4786032"/>
          </a:xfrm>
          <a:prstGeom prst="rect">
            <a:avLst/>
          </a:prstGeom>
          <a:solidFill>
            <a:srgbClr val="FFFFFF"/>
          </a:solidFill>
          <a:ln w="19050" cap="rnd" cmpd="sng" algn="ctr">
            <a:solidFill>
              <a:schemeClr val="accent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7" name="文本占位符 16"/>
          <p:cNvSpPr>
            <a:spLocks noGrp="1"/>
          </p:cNvSpPr>
          <p:nvPr>
            <p:ph type="body" sz="quarter" idx="11"/>
          </p:nvPr>
        </p:nvSpPr>
        <p:spPr/>
        <p:txBody>
          <a:bodyPr/>
          <a:lstStyle/>
          <a:p>
            <a:endParaRPr lang="zh-CN" altLang="en-US"/>
          </a:p>
        </p:txBody>
      </p:sp>
      <p:sp>
        <p:nvSpPr>
          <p:cNvPr id="4" name="矩形 3"/>
          <p:cNvSpPr/>
          <p:nvPr/>
        </p:nvSpPr>
        <p:spPr>
          <a:xfrm>
            <a:off x="9768468" y="1390650"/>
            <a:ext cx="2109767" cy="4786032"/>
          </a:xfrm>
          <a:prstGeom prst="rect">
            <a:avLst/>
          </a:prstGeom>
          <a:solidFill>
            <a:srgbClr val="FFFFFF"/>
          </a:solidFill>
          <a:ln w="19050" cap="rnd" cmpd="sng" algn="ctr">
            <a:solidFill>
              <a:schemeClr val="accent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XXXXXXX</a:t>
            </a: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7" name="组合 6"/>
          <p:cNvGrpSpPr/>
          <p:nvPr/>
        </p:nvGrpSpPr>
        <p:grpSpPr>
          <a:xfrm>
            <a:off x="9493191" y="3281082"/>
            <a:ext cx="384398" cy="788894"/>
            <a:chOff x="6786282" y="2026333"/>
            <a:chExt cx="735415" cy="1425389"/>
          </a:xfrm>
          <a:effectLst>
            <a:outerShdw blurRad="50800" dist="38100" algn="l" rotWithShape="0">
              <a:prstClr val="black">
                <a:alpha val="40000"/>
              </a:prstClr>
            </a:outerShdw>
          </a:effectLst>
        </p:grpSpPr>
        <p:sp>
          <p:nvSpPr>
            <p:cNvPr id="5" name="等腰三角形 4"/>
            <p:cNvSpPr/>
            <p:nvPr/>
          </p:nvSpPr>
          <p:spPr>
            <a:xfrm rot="5400000">
              <a:off x="6557837" y="2487860"/>
              <a:ext cx="1425388" cy="502333"/>
            </a:xfrm>
            <a:prstGeom prst="triangle">
              <a:avLst/>
            </a:prstGeom>
            <a:solidFill>
              <a:schemeClr val="bg1"/>
            </a:solidFill>
            <a:ln w="9525" cap="rnd" cmpd="sng" algn="ctr">
              <a:solidFill>
                <a:schemeClr val="bg2">
                  <a:lumMod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6" name="等腰三角形 5"/>
            <p:cNvSpPr/>
            <p:nvPr/>
          </p:nvSpPr>
          <p:spPr>
            <a:xfrm rot="5400000">
              <a:off x="6324755" y="2487861"/>
              <a:ext cx="1425388" cy="502333"/>
            </a:xfrm>
            <a:prstGeom prst="triangle">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grpSp>
        <p:nvGrpSpPr>
          <p:cNvPr id="67" name="组合 66"/>
          <p:cNvGrpSpPr/>
          <p:nvPr/>
        </p:nvGrpSpPr>
        <p:grpSpPr>
          <a:xfrm>
            <a:off x="1600200" y="5564459"/>
            <a:ext cx="7596651" cy="524107"/>
            <a:chOff x="709844" y="5564459"/>
            <a:chExt cx="8487007" cy="524107"/>
          </a:xfrm>
        </p:grpSpPr>
        <p:sp>
          <p:nvSpPr>
            <p:cNvPr id="23" name="矩形 22"/>
            <p:cNvSpPr/>
            <p:nvPr/>
          </p:nvSpPr>
          <p:spPr>
            <a:xfrm>
              <a:off x="709844" y="5564459"/>
              <a:ext cx="8487007" cy="52410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185" name="直接连接符 184"/>
            <p:cNvCxnSpPr/>
            <p:nvPr/>
          </p:nvCxnSpPr>
          <p:spPr>
            <a:xfrm>
              <a:off x="6349737" y="5664820"/>
              <a:ext cx="0" cy="36799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87" name="直接连接符 186"/>
            <p:cNvCxnSpPr/>
            <p:nvPr/>
          </p:nvCxnSpPr>
          <p:spPr>
            <a:xfrm>
              <a:off x="3524357" y="5664820"/>
              <a:ext cx="0" cy="36799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6" name="矩形 25"/>
            <p:cNvSpPr/>
            <p:nvPr/>
          </p:nvSpPr>
          <p:spPr>
            <a:xfrm>
              <a:off x="764178" y="5564459"/>
              <a:ext cx="2629777" cy="52410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X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89" name="矩形 188"/>
            <p:cNvSpPr/>
            <p:nvPr/>
          </p:nvSpPr>
          <p:spPr>
            <a:xfrm>
              <a:off x="3611292" y="5564459"/>
              <a:ext cx="2629777" cy="52410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X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90" name="矩形 189"/>
            <p:cNvSpPr/>
            <p:nvPr/>
          </p:nvSpPr>
          <p:spPr>
            <a:xfrm>
              <a:off x="6480138" y="5564459"/>
              <a:ext cx="2629777" cy="52410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X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grpSp>
        <p:nvGrpSpPr>
          <p:cNvPr id="31" name="组合 30"/>
          <p:cNvGrpSpPr/>
          <p:nvPr/>
        </p:nvGrpSpPr>
        <p:grpSpPr>
          <a:xfrm>
            <a:off x="1616469" y="1687785"/>
            <a:ext cx="7545900" cy="3802924"/>
            <a:chOff x="1359294" y="1687785"/>
            <a:chExt cx="7545900" cy="3802924"/>
          </a:xfrm>
        </p:grpSpPr>
        <p:sp>
          <p:nvSpPr>
            <p:cNvPr id="116" name="椭圆 115"/>
            <p:cNvSpPr/>
            <p:nvPr/>
          </p:nvSpPr>
          <p:spPr>
            <a:xfrm>
              <a:off x="2320511" y="3378579"/>
              <a:ext cx="975603" cy="462657"/>
            </a:xfrm>
            <a:prstGeom prst="ellipse">
              <a:avLst/>
            </a:prstGeom>
            <a:gradFill flip="none" rotWithShape="1">
              <a:gsLst>
                <a:gs pos="0">
                  <a:schemeClr val="accent5">
                    <a:lumMod val="0"/>
                    <a:lumOff val="100000"/>
                  </a:schemeClr>
                </a:gs>
                <a:gs pos="18000">
                  <a:schemeClr val="accent5">
                    <a:lumMod val="0"/>
                    <a:lumOff val="100000"/>
                  </a:schemeClr>
                </a:gs>
                <a:gs pos="100000">
                  <a:schemeClr val="accent1"/>
                </a:gs>
              </a:gsLst>
              <a:path path="circle">
                <a:fillToRect l="50000" t="-80000" r="50000" b="180000"/>
              </a:path>
              <a:tileRect/>
            </a:gradFill>
            <a:ln w="19050" cap="rnd"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17" name="椭圆 116"/>
            <p:cNvSpPr/>
            <p:nvPr/>
          </p:nvSpPr>
          <p:spPr>
            <a:xfrm>
              <a:off x="4600551" y="3378579"/>
              <a:ext cx="975603" cy="462657"/>
            </a:xfrm>
            <a:prstGeom prst="ellipse">
              <a:avLst/>
            </a:prstGeom>
            <a:gradFill flip="none" rotWithShape="1">
              <a:gsLst>
                <a:gs pos="0">
                  <a:schemeClr val="accent5">
                    <a:lumMod val="0"/>
                    <a:lumOff val="100000"/>
                  </a:schemeClr>
                </a:gs>
                <a:gs pos="18000">
                  <a:schemeClr val="accent5">
                    <a:lumMod val="0"/>
                    <a:lumOff val="100000"/>
                  </a:schemeClr>
                </a:gs>
                <a:gs pos="100000">
                  <a:schemeClr val="accent1"/>
                </a:gs>
              </a:gsLst>
              <a:path path="circle">
                <a:fillToRect l="50000" t="-80000" r="50000" b="180000"/>
              </a:path>
              <a:tileRect/>
            </a:gradFill>
            <a:ln w="19050" cap="rnd"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18" name="椭圆 117"/>
            <p:cNvSpPr/>
            <p:nvPr/>
          </p:nvSpPr>
          <p:spPr>
            <a:xfrm>
              <a:off x="6954990" y="3378579"/>
              <a:ext cx="975603" cy="462657"/>
            </a:xfrm>
            <a:prstGeom prst="ellipse">
              <a:avLst/>
            </a:prstGeom>
            <a:gradFill flip="none" rotWithShape="1">
              <a:gsLst>
                <a:gs pos="0">
                  <a:schemeClr val="accent5">
                    <a:lumMod val="0"/>
                    <a:lumOff val="100000"/>
                  </a:schemeClr>
                </a:gs>
                <a:gs pos="18000">
                  <a:schemeClr val="accent5">
                    <a:lumMod val="0"/>
                    <a:lumOff val="100000"/>
                  </a:schemeClr>
                </a:gs>
                <a:gs pos="100000">
                  <a:schemeClr val="accent1"/>
                </a:gs>
              </a:gsLst>
              <a:path path="circle">
                <a:fillToRect l="50000" t="-80000" r="50000" b="180000"/>
              </a:path>
              <a:tileRect/>
            </a:gradFill>
            <a:ln w="19050" cap="rnd"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19" name="椭圆 118"/>
            <p:cNvSpPr/>
            <p:nvPr/>
          </p:nvSpPr>
          <p:spPr>
            <a:xfrm>
              <a:off x="4600551" y="1869913"/>
              <a:ext cx="975603" cy="462657"/>
            </a:xfrm>
            <a:prstGeom prst="ellipse">
              <a:avLst/>
            </a:prstGeom>
            <a:gradFill flip="none" rotWithShape="1">
              <a:gsLst>
                <a:gs pos="0">
                  <a:schemeClr val="accent5">
                    <a:lumMod val="0"/>
                    <a:lumOff val="100000"/>
                  </a:schemeClr>
                </a:gs>
                <a:gs pos="18000">
                  <a:schemeClr val="accent5">
                    <a:lumMod val="0"/>
                    <a:lumOff val="100000"/>
                  </a:schemeClr>
                </a:gs>
                <a:gs pos="100000">
                  <a:schemeClr val="accent1"/>
                </a:gs>
              </a:gsLst>
              <a:path path="circle">
                <a:fillToRect l="50000" t="-80000" r="50000" b="180000"/>
              </a:path>
              <a:tileRect/>
            </a:gradFill>
            <a:ln w="19050" cap="rnd"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0" name="椭圆 119"/>
            <p:cNvSpPr/>
            <p:nvPr/>
          </p:nvSpPr>
          <p:spPr>
            <a:xfrm>
              <a:off x="4600551" y="4686088"/>
              <a:ext cx="975603" cy="462657"/>
            </a:xfrm>
            <a:prstGeom prst="ellipse">
              <a:avLst/>
            </a:prstGeom>
            <a:gradFill flip="none" rotWithShape="1">
              <a:gsLst>
                <a:gs pos="0">
                  <a:schemeClr val="accent5">
                    <a:lumMod val="0"/>
                    <a:lumOff val="100000"/>
                  </a:schemeClr>
                </a:gs>
                <a:gs pos="18000">
                  <a:schemeClr val="accent5">
                    <a:lumMod val="0"/>
                    <a:lumOff val="100000"/>
                  </a:schemeClr>
                </a:gs>
                <a:gs pos="100000">
                  <a:schemeClr val="accent1"/>
                </a:gs>
              </a:gsLst>
              <a:path path="circle">
                <a:fillToRect l="50000" t="-80000" r="50000" b="180000"/>
              </a:path>
              <a:tileRect/>
            </a:gradFill>
            <a:ln w="19050" cap="rnd"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1" name="矩形 120"/>
            <p:cNvSpPr/>
            <p:nvPr/>
          </p:nvSpPr>
          <p:spPr>
            <a:xfrm>
              <a:off x="5430309" y="1809773"/>
              <a:ext cx="1095911" cy="28161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2" name="矩形 121"/>
            <p:cNvSpPr/>
            <p:nvPr/>
          </p:nvSpPr>
          <p:spPr>
            <a:xfrm>
              <a:off x="4710180" y="3901582"/>
              <a:ext cx="796574" cy="28161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3" name="矩形 122"/>
            <p:cNvSpPr/>
            <p:nvPr/>
          </p:nvSpPr>
          <p:spPr>
            <a:xfrm>
              <a:off x="4710180" y="5209092"/>
              <a:ext cx="796574" cy="28161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4" name="矩形 123"/>
            <p:cNvSpPr/>
            <p:nvPr/>
          </p:nvSpPr>
          <p:spPr>
            <a:xfrm>
              <a:off x="2170284" y="3901582"/>
              <a:ext cx="1185536" cy="28161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5" name="矩形 124"/>
            <p:cNvSpPr/>
            <p:nvPr/>
          </p:nvSpPr>
          <p:spPr>
            <a:xfrm>
              <a:off x="6895649" y="3901582"/>
              <a:ext cx="1084227" cy="28161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6" name="右箭头 125"/>
            <p:cNvSpPr/>
            <p:nvPr/>
          </p:nvSpPr>
          <p:spPr>
            <a:xfrm>
              <a:off x="5701876" y="3569676"/>
              <a:ext cx="1190554" cy="130751"/>
            </a:xfrm>
            <a:prstGeom prst="rightArrow">
              <a:avLst/>
            </a:prstGeom>
            <a:solidFill>
              <a:schemeClr val="tx2">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7" name="右箭头 126"/>
            <p:cNvSpPr/>
            <p:nvPr/>
          </p:nvSpPr>
          <p:spPr>
            <a:xfrm flipH="1">
              <a:off x="3344619" y="3569676"/>
              <a:ext cx="1190554" cy="130751"/>
            </a:xfrm>
            <a:prstGeom prst="rightArrow">
              <a:avLst/>
            </a:prstGeom>
            <a:solidFill>
              <a:schemeClr val="tx2">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128" name="组合 127"/>
            <p:cNvGrpSpPr/>
            <p:nvPr/>
          </p:nvGrpSpPr>
          <p:grpSpPr>
            <a:xfrm>
              <a:off x="2621711" y="3111644"/>
              <a:ext cx="414745" cy="556155"/>
              <a:chOff x="10433466" y="1088191"/>
              <a:chExt cx="459835" cy="616619"/>
            </a:xfrm>
            <a:solidFill>
              <a:schemeClr val="tx2">
                <a:lumMod val="75000"/>
              </a:schemeClr>
            </a:solidFill>
          </p:grpSpPr>
          <p:sp>
            <p:nvSpPr>
              <p:cNvPr id="175" name="Freeform 18"/>
              <p:cNvSpPr>
                <a:spLocks noEditPoints="1"/>
              </p:cNvSpPr>
              <p:nvPr/>
            </p:nvSpPr>
            <p:spPr bwMode="auto">
              <a:xfrm>
                <a:off x="10695442" y="1388736"/>
                <a:ext cx="197859" cy="316074"/>
              </a:xfrm>
              <a:custGeom>
                <a:avLst/>
                <a:gdLst>
                  <a:gd name="T0" fmla="*/ 27 w 395"/>
                  <a:gd name="T1" fmla="*/ 2 h 631"/>
                  <a:gd name="T2" fmla="*/ 0 w 395"/>
                  <a:gd name="T3" fmla="*/ 33 h 631"/>
                  <a:gd name="T4" fmla="*/ 2 w 395"/>
                  <a:gd name="T5" fmla="*/ 604 h 631"/>
                  <a:gd name="T6" fmla="*/ 35 w 395"/>
                  <a:gd name="T7" fmla="*/ 631 h 631"/>
                  <a:gd name="T8" fmla="*/ 236 w 395"/>
                  <a:gd name="T9" fmla="*/ 508 h 631"/>
                  <a:gd name="T10" fmla="*/ 311 w 395"/>
                  <a:gd name="T11" fmla="*/ 498 h 631"/>
                  <a:gd name="T12" fmla="*/ 330 w 395"/>
                  <a:gd name="T13" fmla="*/ 631 h 631"/>
                  <a:gd name="T14" fmla="*/ 376 w 395"/>
                  <a:gd name="T15" fmla="*/ 625 h 631"/>
                  <a:gd name="T16" fmla="*/ 395 w 395"/>
                  <a:gd name="T17" fmla="*/ 587 h 631"/>
                  <a:gd name="T18" fmla="*/ 389 w 395"/>
                  <a:gd name="T19" fmla="*/ 19 h 631"/>
                  <a:gd name="T20" fmla="*/ 351 w 395"/>
                  <a:gd name="T21" fmla="*/ 0 h 631"/>
                  <a:gd name="T22" fmla="*/ 161 w 395"/>
                  <a:gd name="T23" fmla="*/ 546 h 631"/>
                  <a:gd name="T24" fmla="*/ 83 w 395"/>
                  <a:gd name="T25" fmla="*/ 550 h 631"/>
                  <a:gd name="T26" fmla="*/ 73 w 395"/>
                  <a:gd name="T27" fmla="*/ 510 h 631"/>
                  <a:gd name="T28" fmla="*/ 148 w 395"/>
                  <a:gd name="T29" fmla="*/ 493 h 631"/>
                  <a:gd name="T30" fmla="*/ 167 w 395"/>
                  <a:gd name="T31" fmla="*/ 510 h 631"/>
                  <a:gd name="T32" fmla="*/ 161 w 395"/>
                  <a:gd name="T33" fmla="*/ 441 h 631"/>
                  <a:gd name="T34" fmla="*/ 83 w 395"/>
                  <a:gd name="T35" fmla="*/ 445 h 631"/>
                  <a:gd name="T36" fmla="*/ 73 w 395"/>
                  <a:gd name="T37" fmla="*/ 406 h 631"/>
                  <a:gd name="T38" fmla="*/ 148 w 395"/>
                  <a:gd name="T39" fmla="*/ 389 h 631"/>
                  <a:gd name="T40" fmla="*/ 167 w 395"/>
                  <a:gd name="T41" fmla="*/ 406 h 631"/>
                  <a:gd name="T42" fmla="*/ 161 w 395"/>
                  <a:gd name="T43" fmla="*/ 337 h 631"/>
                  <a:gd name="T44" fmla="*/ 83 w 395"/>
                  <a:gd name="T45" fmla="*/ 341 h 631"/>
                  <a:gd name="T46" fmla="*/ 73 w 395"/>
                  <a:gd name="T47" fmla="*/ 301 h 631"/>
                  <a:gd name="T48" fmla="*/ 148 w 395"/>
                  <a:gd name="T49" fmla="*/ 282 h 631"/>
                  <a:gd name="T50" fmla="*/ 167 w 395"/>
                  <a:gd name="T51" fmla="*/ 301 h 631"/>
                  <a:gd name="T52" fmla="*/ 161 w 395"/>
                  <a:gd name="T53" fmla="*/ 232 h 631"/>
                  <a:gd name="T54" fmla="*/ 83 w 395"/>
                  <a:gd name="T55" fmla="*/ 236 h 631"/>
                  <a:gd name="T56" fmla="*/ 73 w 395"/>
                  <a:gd name="T57" fmla="*/ 197 h 631"/>
                  <a:gd name="T58" fmla="*/ 148 w 395"/>
                  <a:gd name="T59" fmla="*/ 178 h 631"/>
                  <a:gd name="T60" fmla="*/ 167 w 395"/>
                  <a:gd name="T61" fmla="*/ 197 h 631"/>
                  <a:gd name="T62" fmla="*/ 161 w 395"/>
                  <a:gd name="T63" fmla="*/ 128 h 631"/>
                  <a:gd name="T64" fmla="*/ 83 w 395"/>
                  <a:gd name="T65" fmla="*/ 132 h 631"/>
                  <a:gd name="T66" fmla="*/ 73 w 395"/>
                  <a:gd name="T67" fmla="*/ 92 h 631"/>
                  <a:gd name="T68" fmla="*/ 148 w 395"/>
                  <a:gd name="T69" fmla="*/ 73 h 631"/>
                  <a:gd name="T70" fmla="*/ 167 w 395"/>
                  <a:gd name="T71" fmla="*/ 92 h 631"/>
                  <a:gd name="T72" fmla="*/ 318 w 395"/>
                  <a:gd name="T73" fmla="*/ 441 h 631"/>
                  <a:gd name="T74" fmla="*/ 238 w 395"/>
                  <a:gd name="T75" fmla="*/ 445 h 631"/>
                  <a:gd name="T76" fmla="*/ 228 w 395"/>
                  <a:gd name="T77" fmla="*/ 406 h 631"/>
                  <a:gd name="T78" fmla="*/ 305 w 395"/>
                  <a:gd name="T79" fmla="*/ 389 h 631"/>
                  <a:gd name="T80" fmla="*/ 322 w 395"/>
                  <a:gd name="T81" fmla="*/ 406 h 631"/>
                  <a:gd name="T82" fmla="*/ 318 w 395"/>
                  <a:gd name="T83" fmla="*/ 337 h 631"/>
                  <a:gd name="T84" fmla="*/ 238 w 395"/>
                  <a:gd name="T85" fmla="*/ 341 h 631"/>
                  <a:gd name="T86" fmla="*/ 228 w 395"/>
                  <a:gd name="T87" fmla="*/ 301 h 631"/>
                  <a:gd name="T88" fmla="*/ 305 w 395"/>
                  <a:gd name="T89" fmla="*/ 282 h 631"/>
                  <a:gd name="T90" fmla="*/ 322 w 395"/>
                  <a:gd name="T91" fmla="*/ 301 h 631"/>
                  <a:gd name="T92" fmla="*/ 318 w 395"/>
                  <a:gd name="T93" fmla="*/ 232 h 631"/>
                  <a:gd name="T94" fmla="*/ 238 w 395"/>
                  <a:gd name="T95" fmla="*/ 236 h 631"/>
                  <a:gd name="T96" fmla="*/ 228 w 395"/>
                  <a:gd name="T97" fmla="*/ 197 h 631"/>
                  <a:gd name="T98" fmla="*/ 305 w 395"/>
                  <a:gd name="T99" fmla="*/ 178 h 631"/>
                  <a:gd name="T100" fmla="*/ 322 w 395"/>
                  <a:gd name="T101" fmla="*/ 197 h 631"/>
                  <a:gd name="T102" fmla="*/ 318 w 395"/>
                  <a:gd name="T103" fmla="*/ 128 h 631"/>
                  <a:gd name="T104" fmla="*/ 238 w 395"/>
                  <a:gd name="T105" fmla="*/ 132 h 631"/>
                  <a:gd name="T106" fmla="*/ 228 w 395"/>
                  <a:gd name="T107" fmla="*/ 92 h 631"/>
                  <a:gd name="T108" fmla="*/ 305 w 395"/>
                  <a:gd name="T109" fmla="*/ 73 h 631"/>
                  <a:gd name="T110" fmla="*/ 322 w 395"/>
                  <a:gd name="T111" fmla="*/ 92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5" h="631">
                    <a:moveTo>
                      <a:pt x="351" y="0"/>
                    </a:moveTo>
                    <a:lnTo>
                      <a:pt x="44" y="0"/>
                    </a:lnTo>
                    <a:lnTo>
                      <a:pt x="44" y="0"/>
                    </a:lnTo>
                    <a:lnTo>
                      <a:pt x="35" y="0"/>
                    </a:lnTo>
                    <a:lnTo>
                      <a:pt x="27" y="2"/>
                    </a:lnTo>
                    <a:lnTo>
                      <a:pt x="19" y="6"/>
                    </a:lnTo>
                    <a:lnTo>
                      <a:pt x="12" y="13"/>
                    </a:lnTo>
                    <a:lnTo>
                      <a:pt x="6" y="19"/>
                    </a:lnTo>
                    <a:lnTo>
                      <a:pt x="2" y="25"/>
                    </a:lnTo>
                    <a:lnTo>
                      <a:pt x="0" y="33"/>
                    </a:lnTo>
                    <a:lnTo>
                      <a:pt x="0" y="44"/>
                    </a:lnTo>
                    <a:lnTo>
                      <a:pt x="0" y="587"/>
                    </a:lnTo>
                    <a:lnTo>
                      <a:pt x="0" y="587"/>
                    </a:lnTo>
                    <a:lnTo>
                      <a:pt x="0" y="596"/>
                    </a:lnTo>
                    <a:lnTo>
                      <a:pt x="2" y="604"/>
                    </a:lnTo>
                    <a:lnTo>
                      <a:pt x="6" y="613"/>
                    </a:lnTo>
                    <a:lnTo>
                      <a:pt x="12" y="619"/>
                    </a:lnTo>
                    <a:lnTo>
                      <a:pt x="19" y="625"/>
                    </a:lnTo>
                    <a:lnTo>
                      <a:pt x="27" y="629"/>
                    </a:lnTo>
                    <a:lnTo>
                      <a:pt x="35" y="631"/>
                    </a:lnTo>
                    <a:lnTo>
                      <a:pt x="44" y="631"/>
                    </a:lnTo>
                    <a:lnTo>
                      <a:pt x="236" y="631"/>
                    </a:lnTo>
                    <a:lnTo>
                      <a:pt x="236" y="514"/>
                    </a:lnTo>
                    <a:lnTo>
                      <a:pt x="236" y="514"/>
                    </a:lnTo>
                    <a:lnTo>
                      <a:pt x="236" y="508"/>
                    </a:lnTo>
                    <a:lnTo>
                      <a:pt x="240" y="502"/>
                    </a:lnTo>
                    <a:lnTo>
                      <a:pt x="247" y="498"/>
                    </a:lnTo>
                    <a:lnTo>
                      <a:pt x="255" y="498"/>
                    </a:lnTo>
                    <a:lnTo>
                      <a:pt x="311" y="498"/>
                    </a:lnTo>
                    <a:lnTo>
                      <a:pt x="311" y="498"/>
                    </a:lnTo>
                    <a:lnTo>
                      <a:pt x="318" y="498"/>
                    </a:lnTo>
                    <a:lnTo>
                      <a:pt x="324" y="502"/>
                    </a:lnTo>
                    <a:lnTo>
                      <a:pt x="328" y="508"/>
                    </a:lnTo>
                    <a:lnTo>
                      <a:pt x="330" y="514"/>
                    </a:lnTo>
                    <a:lnTo>
                      <a:pt x="330" y="631"/>
                    </a:lnTo>
                    <a:lnTo>
                      <a:pt x="351" y="631"/>
                    </a:lnTo>
                    <a:lnTo>
                      <a:pt x="351" y="631"/>
                    </a:lnTo>
                    <a:lnTo>
                      <a:pt x="359" y="631"/>
                    </a:lnTo>
                    <a:lnTo>
                      <a:pt x="368" y="629"/>
                    </a:lnTo>
                    <a:lnTo>
                      <a:pt x="376" y="625"/>
                    </a:lnTo>
                    <a:lnTo>
                      <a:pt x="382" y="619"/>
                    </a:lnTo>
                    <a:lnTo>
                      <a:pt x="389" y="613"/>
                    </a:lnTo>
                    <a:lnTo>
                      <a:pt x="393" y="604"/>
                    </a:lnTo>
                    <a:lnTo>
                      <a:pt x="395" y="596"/>
                    </a:lnTo>
                    <a:lnTo>
                      <a:pt x="395" y="587"/>
                    </a:lnTo>
                    <a:lnTo>
                      <a:pt x="395" y="44"/>
                    </a:lnTo>
                    <a:lnTo>
                      <a:pt x="395" y="44"/>
                    </a:lnTo>
                    <a:lnTo>
                      <a:pt x="395" y="33"/>
                    </a:lnTo>
                    <a:lnTo>
                      <a:pt x="393" y="25"/>
                    </a:lnTo>
                    <a:lnTo>
                      <a:pt x="389" y="19"/>
                    </a:lnTo>
                    <a:lnTo>
                      <a:pt x="382" y="13"/>
                    </a:lnTo>
                    <a:lnTo>
                      <a:pt x="376" y="6"/>
                    </a:lnTo>
                    <a:lnTo>
                      <a:pt x="368" y="2"/>
                    </a:lnTo>
                    <a:lnTo>
                      <a:pt x="359" y="0"/>
                    </a:lnTo>
                    <a:lnTo>
                      <a:pt x="351" y="0"/>
                    </a:lnTo>
                    <a:lnTo>
                      <a:pt x="351" y="0"/>
                    </a:lnTo>
                    <a:close/>
                    <a:moveTo>
                      <a:pt x="167" y="533"/>
                    </a:moveTo>
                    <a:lnTo>
                      <a:pt x="167" y="533"/>
                    </a:lnTo>
                    <a:lnTo>
                      <a:pt x="165" y="539"/>
                    </a:lnTo>
                    <a:lnTo>
                      <a:pt x="161" y="546"/>
                    </a:lnTo>
                    <a:lnTo>
                      <a:pt x="157" y="550"/>
                    </a:lnTo>
                    <a:lnTo>
                      <a:pt x="148" y="552"/>
                    </a:lnTo>
                    <a:lnTo>
                      <a:pt x="90" y="552"/>
                    </a:lnTo>
                    <a:lnTo>
                      <a:pt x="90" y="552"/>
                    </a:lnTo>
                    <a:lnTo>
                      <a:pt x="83" y="550"/>
                    </a:lnTo>
                    <a:lnTo>
                      <a:pt x="77" y="546"/>
                    </a:lnTo>
                    <a:lnTo>
                      <a:pt x="73" y="539"/>
                    </a:lnTo>
                    <a:lnTo>
                      <a:pt x="73" y="533"/>
                    </a:lnTo>
                    <a:lnTo>
                      <a:pt x="73" y="510"/>
                    </a:lnTo>
                    <a:lnTo>
                      <a:pt x="73" y="510"/>
                    </a:lnTo>
                    <a:lnTo>
                      <a:pt x="73" y="504"/>
                    </a:lnTo>
                    <a:lnTo>
                      <a:pt x="77" y="498"/>
                    </a:lnTo>
                    <a:lnTo>
                      <a:pt x="83" y="493"/>
                    </a:lnTo>
                    <a:lnTo>
                      <a:pt x="90" y="493"/>
                    </a:lnTo>
                    <a:lnTo>
                      <a:pt x="148" y="493"/>
                    </a:lnTo>
                    <a:lnTo>
                      <a:pt x="148" y="493"/>
                    </a:lnTo>
                    <a:lnTo>
                      <a:pt x="157" y="493"/>
                    </a:lnTo>
                    <a:lnTo>
                      <a:pt x="161" y="498"/>
                    </a:lnTo>
                    <a:lnTo>
                      <a:pt x="165" y="504"/>
                    </a:lnTo>
                    <a:lnTo>
                      <a:pt x="167" y="510"/>
                    </a:lnTo>
                    <a:lnTo>
                      <a:pt x="167" y="533"/>
                    </a:lnTo>
                    <a:close/>
                    <a:moveTo>
                      <a:pt x="167" y="429"/>
                    </a:moveTo>
                    <a:lnTo>
                      <a:pt x="167" y="429"/>
                    </a:lnTo>
                    <a:lnTo>
                      <a:pt x="165" y="435"/>
                    </a:lnTo>
                    <a:lnTo>
                      <a:pt x="161" y="441"/>
                    </a:lnTo>
                    <a:lnTo>
                      <a:pt x="157" y="445"/>
                    </a:lnTo>
                    <a:lnTo>
                      <a:pt x="148" y="447"/>
                    </a:lnTo>
                    <a:lnTo>
                      <a:pt x="90" y="447"/>
                    </a:lnTo>
                    <a:lnTo>
                      <a:pt x="90" y="447"/>
                    </a:lnTo>
                    <a:lnTo>
                      <a:pt x="83" y="445"/>
                    </a:lnTo>
                    <a:lnTo>
                      <a:pt x="77" y="441"/>
                    </a:lnTo>
                    <a:lnTo>
                      <a:pt x="73" y="435"/>
                    </a:lnTo>
                    <a:lnTo>
                      <a:pt x="73" y="429"/>
                    </a:lnTo>
                    <a:lnTo>
                      <a:pt x="73" y="406"/>
                    </a:lnTo>
                    <a:lnTo>
                      <a:pt x="73" y="406"/>
                    </a:lnTo>
                    <a:lnTo>
                      <a:pt x="73" y="399"/>
                    </a:lnTo>
                    <a:lnTo>
                      <a:pt x="77" y="393"/>
                    </a:lnTo>
                    <a:lnTo>
                      <a:pt x="83" y="389"/>
                    </a:lnTo>
                    <a:lnTo>
                      <a:pt x="90" y="389"/>
                    </a:lnTo>
                    <a:lnTo>
                      <a:pt x="148" y="389"/>
                    </a:lnTo>
                    <a:lnTo>
                      <a:pt x="148" y="389"/>
                    </a:lnTo>
                    <a:lnTo>
                      <a:pt x="157" y="389"/>
                    </a:lnTo>
                    <a:lnTo>
                      <a:pt x="161" y="393"/>
                    </a:lnTo>
                    <a:lnTo>
                      <a:pt x="165" y="399"/>
                    </a:lnTo>
                    <a:lnTo>
                      <a:pt x="167" y="406"/>
                    </a:lnTo>
                    <a:lnTo>
                      <a:pt x="167" y="429"/>
                    </a:lnTo>
                    <a:close/>
                    <a:moveTo>
                      <a:pt x="167" y="324"/>
                    </a:moveTo>
                    <a:lnTo>
                      <a:pt x="167" y="324"/>
                    </a:lnTo>
                    <a:lnTo>
                      <a:pt x="165" y="330"/>
                    </a:lnTo>
                    <a:lnTo>
                      <a:pt x="161" y="337"/>
                    </a:lnTo>
                    <a:lnTo>
                      <a:pt x="157" y="341"/>
                    </a:lnTo>
                    <a:lnTo>
                      <a:pt x="148" y="341"/>
                    </a:lnTo>
                    <a:lnTo>
                      <a:pt x="90" y="341"/>
                    </a:lnTo>
                    <a:lnTo>
                      <a:pt x="90" y="341"/>
                    </a:lnTo>
                    <a:lnTo>
                      <a:pt x="83" y="341"/>
                    </a:lnTo>
                    <a:lnTo>
                      <a:pt x="77" y="337"/>
                    </a:lnTo>
                    <a:lnTo>
                      <a:pt x="73" y="330"/>
                    </a:lnTo>
                    <a:lnTo>
                      <a:pt x="73" y="324"/>
                    </a:lnTo>
                    <a:lnTo>
                      <a:pt x="73" y="301"/>
                    </a:lnTo>
                    <a:lnTo>
                      <a:pt x="73" y="301"/>
                    </a:lnTo>
                    <a:lnTo>
                      <a:pt x="73" y="295"/>
                    </a:lnTo>
                    <a:lnTo>
                      <a:pt x="77" y="289"/>
                    </a:lnTo>
                    <a:lnTo>
                      <a:pt x="83" y="284"/>
                    </a:lnTo>
                    <a:lnTo>
                      <a:pt x="90" y="282"/>
                    </a:lnTo>
                    <a:lnTo>
                      <a:pt x="148" y="282"/>
                    </a:lnTo>
                    <a:lnTo>
                      <a:pt x="148" y="282"/>
                    </a:lnTo>
                    <a:lnTo>
                      <a:pt x="157" y="284"/>
                    </a:lnTo>
                    <a:lnTo>
                      <a:pt x="161" y="289"/>
                    </a:lnTo>
                    <a:lnTo>
                      <a:pt x="165" y="295"/>
                    </a:lnTo>
                    <a:lnTo>
                      <a:pt x="167" y="301"/>
                    </a:lnTo>
                    <a:lnTo>
                      <a:pt x="167" y="324"/>
                    </a:lnTo>
                    <a:close/>
                    <a:moveTo>
                      <a:pt x="167" y="220"/>
                    </a:moveTo>
                    <a:lnTo>
                      <a:pt x="167" y="220"/>
                    </a:lnTo>
                    <a:lnTo>
                      <a:pt x="165" y="226"/>
                    </a:lnTo>
                    <a:lnTo>
                      <a:pt x="161" y="232"/>
                    </a:lnTo>
                    <a:lnTo>
                      <a:pt x="157" y="236"/>
                    </a:lnTo>
                    <a:lnTo>
                      <a:pt x="148" y="236"/>
                    </a:lnTo>
                    <a:lnTo>
                      <a:pt x="90" y="236"/>
                    </a:lnTo>
                    <a:lnTo>
                      <a:pt x="90" y="236"/>
                    </a:lnTo>
                    <a:lnTo>
                      <a:pt x="83" y="236"/>
                    </a:lnTo>
                    <a:lnTo>
                      <a:pt x="77" y="232"/>
                    </a:lnTo>
                    <a:lnTo>
                      <a:pt x="73" y="226"/>
                    </a:lnTo>
                    <a:lnTo>
                      <a:pt x="73" y="220"/>
                    </a:lnTo>
                    <a:lnTo>
                      <a:pt x="73" y="197"/>
                    </a:lnTo>
                    <a:lnTo>
                      <a:pt x="73" y="197"/>
                    </a:lnTo>
                    <a:lnTo>
                      <a:pt x="73" y="190"/>
                    </a:lnTo>
                    <a:lnTo>
                      <a:pt x="77" y="184"/>
                    </a:lnTo>
                    <a:lnTo>
                      <a:pt x="83" y="180"/>
                    </a:lnTo>
                    <a:lnTo>
                      <a:pt x="90" y="178"/>
                    </a:lnTo>
                    <a:lnTo>
                      <a:pt x="148" y="178"/>
                    </a:lnTo>
                    <a:lnTo>
                      <a:pt x="148" y="178"/>
                    </a:lnTo>
                    <a:lnTo>
                      <a:pt x="157" y="180"/>
                    </a:lnTo>
                    <a:lnTo>
                      <a:pt x="161" y="184"/>
                    </a:lnTo>
                    <a:lnTo>
                      <a:pt x="165" y="190"/>
                    </a:lnTo>
                    <a:lnTo>
                      <a:pt x="167" y="197"/>
                    </a:lnTo>
                    <a:lnTo>
                      <a:pt x="167" y="220"/>
                    </a:lnTo>
                    <a:close/>
                    <a:moveTo>
                      <a:pt x="167" y="115"/>
                    </a:moveTo>
                    <a:lnTo>
                      <a:pt x="167" y="115"/>
                    </a:lnTo>
                    <a:lnTo>
                      <a:pt x="165" y="121"/>
                    </a:lnTo>
                    <a:lnTo>
                      <a:pt x="161" y="128"/>
                    </a:lnTo>
                    <a:lnTo>
                      <a:pt x="157" y="132"/>
                    </a:lnTo>
                    <a:lnTo>
                      <a:pt x="148" y="132"/>
                    </a:lnTo>
                    <a:lnTo>
                      <a:pt x="90" y="132"/>
                    </a:lnTo>
                    <a:lnTo>
                      <a:pt x="90" y="132"/>
                    </a:lnTo>
                    <a:lnTo>
                      <a:pt x="83" y="132"/>
                    </a:lnTo>
                    <a:lnTo>
                      <a:pt x="77" y="128"/>
                    </a:lnTo>
                    <a:lnTo>
                      <a:pt x="73" y="121"/>
                    </a:lnTo>
                    <a:lnTo>
                      <a:pt x="73" y="115"/>
                    </a:lnTo>
                    <a:lnTo>
                      <a:pt x="73" y="92"/>
                    </a:lnTo>
                    <a:lnTo>
                      <a:pt x="73" y="92"/>
                    </a:lnTo>
                    <a:lnTo>
                      <a:pt x="73" y="86"/>
                    </a:lnTo>
                    <a:lnTo>
                      <a:pt x="77" y="79"/>
                    </a:lnTo>
                    <a:lnTo>
                      <a:pt x="83" y="75"/>
                    </a:lnTo>
                    <a:lnTo>
                      <a:pt x="90" y="73"/>
                    </a:lnTo>
                    <a:lnTo>
                      <a:pt x="148" y="73"/>
                    </a:lnTo>
                    <a:lnTo>
                      <a:pt x="148" y="73"/>
                    </a:lnTo>
                    <a:lnTo>
                      <a:pt x="157" y="75"/>
                    </a:lnTo>
                    <a:lnTo>
                      <a:pt x="161" y="79"/>
                    </a:lnTo>
                    <a:lnTo>
                      <a:pt x="165" y="86"/>
                    </a:lnTo>
                    <a:lnTo>
                      <a:pt x="167" y="92"/>
                    </a:lnTo>
                    <a:lnTo>
                      <a:pt x="167" y="115"/>
                    </a:lnTo>
                    <a:close/>
                    <a:moveTo>
                      <a:pt x="322" y="429"/>
                    </a:moveTo>
                    <a:lnTo>
                      <a:pt x="322" y="429"/>
                    </a:lnTo>
                    <a:lnTo>
                      <a:pt x="322" y="435"/>
                    </a:lnTo>
                    <a:lnTo>
                      <a:pt x="318" y="441"/>
                    </a:lnTo>
                    <a:lnTo>
                      <a:pt x="311" y="445"/>
                    </a:lnTo>
                    <a:lnTo>
                      <a:pt x="305" y="447"/>
                    </a:lnTo>
                    <a:lnTo>
                      <a:pt x="247" y="447"/>
                    </a:lnTo>
                    <a:lnTo>
                      <a:pt x="247" y="447"/>
                    </a:lnTo>
                    <a:lnTo>
                      <a:pt x="238" y="445"/>
                    </a:lnTo>
                    <a:lnTo>
                      <a:pt x="234" y="441"/>
                    </a:lnTo>
                    <a:lnTo>
                      <a:pt x="230" y="435"/>
                    </a:lnTo>
                    <a:lnTo>
                      <a:pt x="228" y="429"/>
                    </a:lnTo>
                    <a:lnTo>
                      <a:pt x="228" y="406"/>
                    </a:lnTo>
                    <a:lnTo>
                      <a:pt x="228" y="406"/>
                    </a:lnTo>
                    <a:lnTo>
                      <a:pt x="230" y="399"/>
                    </a:lnTo>
                    <a:lnTo>
                      <a:pt x="234" y="393"/>
                    </a:lnTo>
                    <a:lnTo>
                      <a:pt x="238" y="389"/>
                    </a:lnTo>
                    <a:lnTo>
                      <a:pt x="247" y="389"/>
                    </a:lnTo>
                    <a:lnTo>
                      <a:pt x="305" y="389"/>
                    </a:lnTo>
                    <a:lnTo>
                      <a:pt x="305" y="389"/>
                    </a:lnTo>
                    <a:lnTo>
                      <a:pt x="311" y="389"/>
                    </a:lnTo>
                    <a:lnTo>
                      <a:pt x="318" y="393"/>
                    </a:lnTo>
                    <a:lnTo>
                      <a:pt x="322" y="399"/>
                    </a:lnTo>
                    <a:lnTo>
                      <a:pt x="322" y="406"/>
                    </a:lnTo>
                    <a:lnTo>
                      <a:pt x="322" y="429"/>
                    </a:lnTo>
                    <a:close/>
                    <a:moveTo>
                      <a:pt x="322" y="324"/>
                    </a:moveTo>
                    <a:lnTo>
                      <a:pt x="322" y="324"/>
                    </a:lnTo>
                    <a:lnTo>
                      <a:pt x="322" y="330"/>
                    </a:lnTo>
                    <a:lnTo>
                      <a:pt x="318" y="337"/>
                    </a:lnTo>
                    <a:lnTo>
                      <a:pt x="311" y="341"/>
                    </a:lnTo>
                    <a:lnTo>
                      <a:pt x="305" y="341"/>
                    </a:lnTo>
                    <a:lnTo>
                      <a:pt x="247" y="341"/>
                    </a:lnTo>
                    <a:lnTo>
                      <a:pt x="247" y="341"/>
                    </a:lnTo>
                    <a:lnTo>
                      <a:pt x="238" y="341"/>
                    </a:lnTo>
                    <a:lnTo>
                      <a:pt x="234" y="337"/>
                    </a:lnTo>
                    <a:lnTo>
                      <a:pt x="230" y="330"/>
                    </a:lnTo>
                    <a:lnTo>
                      <a:pt x="228" y="324"/>
                    </a:lnTo>
                    <a:lnTo>
                      <a:pt x="228" y="301"/>
                    </a:lnTo>
                    <a:lnTo>
                      <a:pt x="228" y="301"/>
                    </a:lnTo>
                    <a:lnTo>
                      <a:pt x="230" y="295"/>
                    </a:lnTo>
                    <a:lnTo>
                      <a:pt x="234" y="289"/>
                    </a:lnTo>
                    <a:lnTo>
                      <a:pt x="238" y="284"/>
                    </a:lnTo>
                    <a:lnTo>
                      <a:pt x="247" y="282"/>
                    </a:lnTo>
                    <a:lnTo>
                      <a:pt x="305" y="282"/>
                    </a:lnTo>
                    <a:lnTo>
                      <a:pt x="305" y="282"/>
                    </a:lnTo>
                    <a:lnTo>
                      <a:pt x="311" y="284"/>
                    </a:lnTo>
                    <a:lnTo>
                      <a:pt x="318" y="289"/>
                    </a:lnTo>
                    <a:lnTo>
                      <a:pt x="322" y="295"/>
                    </a:lnTo>
                    <a:lnTo>
                      <a:pt x="322" y="301"/>
                    </a:lnTo>
                    <a:lnTo>
                      <a:pt x="322" y="324"/>
                    </a:lnTo>
                    <a:close/>
                    <a:moveTo>
                      <a:pt x="322" y="220"/>
                    </a:moveTo>
                    <a:lnTo>
                      <a:pt x="322" y="220"/>
                    </a:lnTo>
                    <a:lnTo>
                      <a:pt x="322" y="226"/>
                    </a:lnTo>
                    <a:lnTo>
                      <a:pt x="318" y="232"/>
                    </a:lnTo>
                    <a:lnTo>
                      <a:pt x="311" y="236"/>
                    </a:lnTo>
                    <a:lnTo>
                      <a:pt x="305" y="236"/>
                    </a:lnTo>
                    <a:lnTo>
                      <a:pt x="247" y="236"/>
                    </a:lnTo>
                    <a:lnTo>
                      <a:pt x="247" y="236"/>
                    </a:lnTo>
                    <a:lnTo>
                      <a:pt x="238" y="236"/>
                    </a:lnTo>
                    <a:lnTo>
                      <a:pt x="234" y="232"/>
                    </a:lnTo>
                    <a:lnTo>
                      <a:pt x="230" y="226"/>
                    </a:lnTo>
                    <a:lnTo>
                      <a:pt x="228" y="220"/>
                    </a:lnTo>
                    <a:lnTo>
                      <a:pt x="228" y="197"/>
                    </a:lnTo>
                    <a:lnTo>
                      <a:pt x="228" y="197"/>
                    </a:lnTo>
                    <a:lnTo>
                      <a:pt x="230" y="190"/>
                    </a:lnTo>
                    <a:lnTo>
                      <a:pt x="234" y="184"/>
                    </a:lnTo>
                    <a:lnTo>
                      <a:pt x="238" y="180"/>
                    </a:lnTo>
                    <a:lnTo>
                      <a:pt x="247" y="178"/>
                    </a:lnTo>
                    <a:lnTo>
                      <a:pt x="305" y="178"/>
                    </a:lnTo>
                    <a:lnTo>
                      <a:pt x="305" y="178"/>
                    </a:lnTo>
                    <a:lnTo>
                      <a:pt x="311" y="180"/>
                    </a:lnTo>
                    <a:lnTo>
                      <a:pt x="318" y="184"/>
                    </a:lnTo>
                    <a:lnTo>
                      <a:pt x="322" y="190"/>
                    </a:lnTo>
                    <a:lnTo>
                      <a:pt x="322" y="197"/>
                    </a:lnTo>
                    <a:lnTo>
                      <a:pt x="322" y="220"/>
                    </a:lnTo>
                    <a:close/>
                    <a:moveTo>
                      <a:pt x="322" y="115"/>
                    </a:moveTo>
                    <a:lnTo>
                      <a:pt x="322" y="115"/>
                    </a:lnTo>
                    <a:lnTo>
                      <a:pt x="322" y="121"/>
                    </a:lnTo>
                    <a:lnTo>
                      <a:pt x="318" y="128"/>
                    </a:lnTo>
                    <a:lnTo>
                      <a:pt x="311" y="132"/>
                    </a:lnTo>
                    <a:lnTo>
                      <a:pt x="305" y="132"/>
                    </a:lnTo>
                    <a:lnTo>
                      <a:pt x="247" y="132"/>
                    </a:lnTo>
                    <a:lnTo>
                      <a:pt x="247" y="132"/>
                    </a:lnTo>
                    <a:lnTo>
                      <a:pt x="238" y="132"/>
                    </a:lnTo>
                    <a:lnTo>
                      <a:pt x="234" y="128"/>
                    </a:lnTo>
                    <a:lnTo>
                      <a:pt x="230" y="121"/>
                    </a:lnTo>
                    <a:lnTo>
                      <a:pt x="228" y="115"/>
                    </a:lnTo>
                    <a:lnTo>
                      <a:pt x="228" y="92"/>
                    </a:lnTo>
                    <a:lnTo>
                      <a:pt x="228" y="92"/>
                    </a:lnTo>
                    <a:lnTo>
                      <a:pt x="230" y="86"/>
                    </a:lnTo>
                    <a:lnTo>
                      <a:pt x="234" y="79"/>
                    </a:lnTo>
                    <a:lnTo>
                      <a:pt x="238" y="75"/>
                    </a:lnTo>
                    <a:lnTo>
                      <a:pt x="247" y="73"/>
                    </a:lnTo>
                    <a:lnTo>
                      <a:pt x="305" y="73"/>
                    </a:lnTo>
                    <a:lnTo>
                      <a:pt x="305" y="73"/>
                    </a:lnTo>
                    <a:lnTo>
                      <a:pt x="311" y="75"/>
                    </a:lnTo>
                    <a:lnTo>
                      <a:pt x="318" y="79"/>
                    </a:lnTo>
                    <a:lnTo>
                      <a:pt x="322" y="86"/>
                    </a:lnTo>
                    <a:lnTo>
                      <a:pt x="322" y="92"/>
                    </a:lnTo>
                    <a:lnTo>
                      <a:pt x="322" y="115"/>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6" name="Freeform 19"/>
              <p:cNvSpPr>
                <a:spLocks noEditPoints="1"/>
              </p:cNvSpPr>
              <p:nvPr/>
            </p:nvSpPr>
            <p:spPr bwMode="auto">
              <a:xfrm>
                <a:off x="10433466" y="1088191"/>
                <a:ext cx="226411" cy="614615"/>
              </a:xfrm>
              <a:custGeom>
                <a:avLst/>
                <a:gdLst>
                  <a:gd name="T0" fmla="*/ 385 w 452"/>
                  <a:gd name="T1" fmla="*/ 351 h 1227"/>
                  <a:gd name="T2" fmla="*/ 364 w 452"/>
                  <a:gd name="T3" fmla="*/ 314 h 1227"/>
                  <a:gd name="T4" fmla="*/ 335 w 452"/>
                  <a:gd name="T5" fmla="*/ 291 h 1227"/>
                  <a:gd name="T6" fmla="*/ 322 w 452"/>
                  <a:gd name="T7" fmla="*/ 255 h 1227"/>
                  <a:gd name="T8" fmla="*/ 282 w 452"/>
                  <a:gd name="T9" fmla="*/ 228 h 1227"/>
                  <a:gd name="T10" fmla="*/ 236 w 452"/>
                  <a:gd name="T11" fmla="*/ 27 h 1227"/>
                  <a:gd name="T12" fmla="*/ 226 w 452"/>
                  <a:gd name="T13" fmla="*/ 0 h 1227"/>
                  <a:gd name="T14" fmla="*/ 215 w 452"/>
                  <a:gd name="T15" fmla="*/ 17 h 1227"/>
                  <a:gd name="T16" fmla="*/ 182 w 452"/>
                  <a:gd name="T17" fmla="*/ 226 h 1227"/>
                  <a:gd name="T18" fmla="*/ 136 w 452"/>
                  <a:gd name="T19" fmla="*/ 245 h 1227"/>
                  <a:gd name="T20" fmla="*/ 117 w 452"/>
                  <a:gd name="T21" fmla="*/ 291 h 1227"/>
                  <a:gd name="T22" fmla="*/ 96 w 452"/>
                  <a:gd name="T23" fmla="*/ 309 h 1227"/>
                  <a:gd name="T24" fmla="*/ 69 w 452"/>
                  <a:gd name="T25" fmla="*/ 341 h 1227"/>
                  <a:gd name="T26" fmla="*/ 65 w 452"/>
                  <a:gd name="T27" fmla="*/ 362 h 1227"/>
                  <a:gd name="T28" fmla="*/ 19 w 452"/>
                  <a:gd name="T29" fmla="*/ 380 h 1227"/>
                  <a:gd name="T30" fmla="*/ 0 w 452"/>
                  <a:gd name="T31" fmla="*/ 426 h 1227"/>
                  <a:gd name="T32" fmla="*/ 4 w 452"/>
                  <a:gd name="T33" fmla="*/ 1200 h 1227"/>
                  <a:gd name="T34" fmla="*/ 27 w 452"/>
                  <a:gd name="T35" fmla="*/ 1223 h 1227"/>
                  <a:gd name="T36" fmla="*/ 126 w 452"/>
                  <a:gd name="T37" fmla="*/ 1227 h 1227"/>
                  <a:gd name="T38" fmla="*/ 169 w 452"/>
                  <a:gd name="T39" fmla="*/ 1075 h 1227"/>
                  <a:gd name="T40" fmla="*/ 276 w 452"/>
                  <a:gd name="T41" fmla="*/ 1066 h 1227"/>
                  <a:gd name="T42" fmla="*/ 324 w 452"/>
                  <a:gd name="T43" fmla="*/ 1227 h 1227"/>
                  <a:gd name="T44" fmla="*/ 408 w 452"/>
                  <a:gd name="T45" fmla="*/ 1227 h 1227"/>
                  <a:gd name="T46" fmla="*/ 439 w 452"/>
                  <a:gd name="T47" fmla="*/ 1213 h 1227"/>
                  <a:gd name="T48" fmla="*/ 452 w 452"/>
                  <a:gd name="T49" fmla="*/ 1183 h 1227"/>
                  <a:gd name="T50" fmla="*/ 445 w 452"/>
                  <a:gd name="T51" fmla="*/ 401 h 1227"/>
                  <a:gd name="T52" fmla="*/ 412 w 452"/>
                  <a:gd name="T53" fmla="*/ 368 h 1227"/>
                  <a:gd name="T54" fmla="*/ 324 w 452"/>
                  <a:gd name="T55" fmla="*/ 968 h 1227"/>
                  <a:gd name="T56" fmla="*/ 105 w 452"/>
                  <a:gd name="T57" fmla="*/ 962 h 1227"/>
                  <a:gd name="T58" fmla="*/ 100 w 452"/>
                  <a:gd name="T59" fmla="*/ 935 h 1227"/>
                  <a:gd name="T60" fmla="*/ 324 w 452"/>
                  <a:gd name="T61" fmla="*/ 918 h 1227"/>
                  <a:gd name="T62" fmla="*/ 349 w 452"/>
                  <a:gd name="T63" fmla="*/ 935 h 1227"/>
                  <a:gd name="T64" fmla="*/ 345 w 452"/>
                  <a:gd name="T65" fmla="*/ 962 h 1227"/>
                  <a:gd name="T66" fmla="*/ 324 w 452"/>
                  <a:gd name="T67" fmla="*/ 847 h 1227"/>
                  <a:gd name="T68" fmla="*/ 105 w 452"/>
                  <a:gd name="T69" fmla="*/ 838 h 1227"/>
                  <a:gd name="T70" fmla="*/ 100 w 452"/>
                  <a:gd name="T71" fmla="*/ 811 h 1227"/>
                  <a:gd name="T72" fmla="*/ 324 w 452"/>
                  <a:gd name="T73" fmla="*/ 797 h 1227"/>
                  <a:gd name="T74" fmla="*/ 349 w 452"/>
                  <a:gd name="T75" fmla="*/ 811 h 1227"/>
                  <a:gd name="T76" fmla="*/ 345 w 452"/>
                  <a:gd name="T77" fmla="*/ 838 h 1227"/>
                  <a:gd name="T78" fmla="*/ 324 w 452"/>
                  <a:gd name="T79" fmla="*/ 723 h 1227"/>
                  <a:gd name="T80" fmla="*/ 105 w 452"/>
                  <a:gd name="T81" fmla="*/ 717 h 1227"/>
                  <a:gd name="T82" fmla="*/ 100 w 452"/>
                  <a:gd name="T83" fmla="*/ 690 h 1227"/>
                  <a:gd name="T84" fmla="*/ 324 w 452"/>
                  <a:gd name="T85" fmla="*/ 673 h 1227"/>
                  <a:gd name="T86" fmla="*/ 349 w 452"/>
                  <a:gd name="T87" fmla="*/ 690 h 1227"/>
                  <a:gd name="T88" fmla="*/ 345 w 452"/>
                  <a:gd name="T89" fmla="*/ 717 h 1227"/>
                  <a:gd name="T90" fmla="*/ 324 w 452"/>
                  <a:gd name="T91" fmla="*/ 602 h 1227"/>
                  <a:gd name="T92" fmla="*/ 105 w 452"/>
                  <a:gd name="T93" fmla="*/ 594 h 1227"/>
                  <a:gd name="T94" fmla="*/ 100 w 452"/>
                  <a:gd name="T95" fmla="*/ 567 h 1227"/>
                  <a:gd name="T96" fmla="*/ 324 w 452"/>
                  <a:gd name="T97" fmla="*/ 552 h 1227"/>
                  <a:gd name="T98" fmla="*/ 349 w 452"/>
                  <a:gd name="T99" fmla="*/ 567 h 1227"/>
                  <a:gd name="T100" fmla="*/ 345 w 452"/>
                  <a:gd name="T101" fmla="*/ 594 h 1227"/>
                  <a:gd name="T102" fmla="*/ 324 w 452"/>
                  <a:gd name="T103" fmla="*/ 479 h 1227"/>
                  <a:gd name="T104" fmla="*/ 105 w 452"/>
                  <a:gd name="T105" fmla="*/ 472 h 1227"/>
                  <a:gd name="T106" fmla="*/ 100 w 452"/>
                  <a:gd name="T107" fmla="*/ 445 h 1227"/>
                  <a:gd name="T108" fmla="*/ 324 w 452"/>
                  <a:gd name="T109" fmla="*/ 429 h 1227"/>
                  <a:gd name="T110" fmla="*/ 349 w 452"/>
                  <a:gd name="T111" fmla="*/ 445 h 1227"/>
                  <a:gd name="T112" fmla="*/ 345 w 452"/>
                  <a:gd name="T113" fmla="*/ 472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2" h="1227">
                    <a:moveTo>
                      <a:pt x="387" y="362"/>
                    </a:moveTo>
                    <a:lnTo>
                      <a:pt x="387" y="362"/>
                    </a:lnTo>
                    <a:lnTo>
                      <a:pt x="387" y="362"/>
                    </a:lnTo>
                    <a:lnTo>
                      <a:pt x="385" y="351"/>
                    </a:lnTo>
                    <a:lnTo>
                      <a:pt x="383" y="341"/>
                    </a:lnTo>
                    <a:lnTo>
                      <a:pt x="376" y="330"/>
                    </a:lnTo>
                    <a:lnTo>
                      <a:pt x="370" y="322"/>
                    </a:lnTo>
                    <a:lnTo>
                      <a:pt x="364" y="314"/>
                    </a:lnTo>
                    <a:lnTo>
                      <a:pt x="356" y="309"/>
                    </a:lnTo>
                    <a:lnTo>
                      <a:pt x="345" y="303"/>
                    </a:lnTo>
                    <a:lnTo>
                      <a:pt x="335" y="301"/>
                    </a:lnTo>
                    <a:lnTo>
                      <a:pt x="335" y="291"/>
                    </a:lnTo>
                    <a:lnTo>
                      <a:pt x="335" y="291"/>
                    </a:lnTo>
                    <a:lnTo>
                      <a:pt x="333" y="278"/>
                    </a:lnTo>
                    <a:lnTo>
                      <a:pt x="328" y="266"/>
                    </a:lnTo>
                    <a:lnTo>
                      <a:pt x="322" y="255"/>
                    </a:lnTo>
                    <a:lnTo>
                      <a:pt x="316" y="245"/>
                    </a:lnTo>
                    <a:lnTo>
                      <a:pt x="305" y="236"/>
                    </a:lnTo>
                    <a:lnTo>
                      <a:pt x="295" y="232"/>
                    </a:lnTo>
                    <a:lnTo>
                      <a:pt x="282" y="228"/>
                    </a:lnTo>
                    <a:lnTo>
                      <a:pt x="270" y="226"/>
                    </a:lnTo>
                    <a:lnTo>
                      <a:pt x="251" y="226"/>
                    </a:lnTo>
                    <a:lnTo>
                      <a:pt x="236" y="27"/>
                    </a:lnTo>
                    <a:lnTo>
                      <a:pt x="236" y="27"/>
                    </a:lnTo>
                    <a:lnTo>
                      <a:pt x="236" y="17"/>
                    </a:lnTo>
                    <a:lnTo>
                      <a:pt x="234" y="8"/>
                    </a:lnTo>
                    <a:lnTo>
                      <a:pt x="230" y="2"/>
                    </a:lnTo>
                    <a:lnTo>
                      <a:pt x="226" y="0"/>
                    </a:lnTo>
                    <a:lnTo>
                      <a:pt x="226" y="0"/>
                    </a:lnTo>
                    <a:lnTo>
                      <a:pt x="222" y="2"/>
                    </a:lnTo>
                    <a:lnTo>
                      <a:pt x="218" y="8"/>
                    </a:lnTo>
                    <a:lnTo>
                      <a:pt x="215" y="17"/>
                    </a:lnTo>
                    <a:lnTo>
                      <a:pt x="215" y="27"/>
                    </a:lnTo>
                    <a:lnTo>
                      <a:pt x="201" y="226"/>
                    </a:lnTo>
                    <a:lnTo>
                      <a:pt x="182" y="226"/>
                    </a:lnTo>
                    <a:lnTo>
                      <a:pt x="182" y="226"/>
                    </a:lnTo>
                    <a:lnTo>
                      <a:pt x="169" y="228"/>
                    </a:lnTo>
                    <a:lnTo>
                      <a:pt x="157" y="232"/>
                    </a:lnTo>
                    <a:lnTo>
                      <a:pt x="146" y="236"/>
                    </a:lnTo>
                    <a:lnTo>
                      <a:pt x="136" y="245"/>
                    </a:lnTo>
                    <a:lnTo>
                      <a:pt x="128" y="255"/>
                    </a:lnTo>
                    <a:lnTo>
                      <a:pt x="123" y="266"/>
                    </a:lnTo>
                    <a:lnTo>
                      <a:pt x="119" y="278"/>
                    </a:lnTo>
                    <a:lnTo>
                      <a:pt x="117" y="291"/>
                    </a:lnTo>
                    <a:lnTo>
                      <a:pt x="117" y="301"/>
                    </a:lnTo>
                    <a:lnTo>
                      <a:pt x="117" y="301"/>
                    </a:lnTo>
                    <a:lnTo>
                      <a:pt x="107" y="303"/>
                    </a:lnTo>
                    <a:lnTo>
                      <a:pt x="96" y="309"/>
                    </a:lnTo>
                    <a:lnTo>
                      <a:pt x="88" y="314"/>
                    </a:lnTo>
                    <a:lnTo>
                      <a:pt x="80" y="322"/>
                    </a:lnTo>
                    <a:lnTo>
                      <a:pt x="73" y="330"/>
                    </a:lnTo>
                    <a:lnTo>
                      <a:pt x="69" y="341"/>
                    </a:lnTo>
                    <a:lnTo>
                      <a:pt x="67" y="351"/>
                    </a:lnTo>
                    <a:lnTo>
                      <a:pt x="65" y="362"/>
                    </a:lnTo>
                    <a:lnTo>
                      <a:pt x="65" y="362"/>
                    </a:lnTo>
                    <a:lnTo>
                      <a:pt x="65" y="362"/>
                    </a:lnTo>
                    <a:lnTo>
                      <a:pt x="52" y="364"/>
                    </a:lnTo>
                    <a:lnTo>
                      <a:pt x="40" y="368"/>
                    </a:lnTo>
                    <a:lnTo>
                      <a:pt x="29" y="374"/>
                    </a:lnTo>
                    <a:lnTo>
                      <a:pt x="19" y="380"/>
                    </a:lnTo>
                    <a:lnTo>
                      <a:pt x="11" y="391"/>
                    </a:lnTo>
                    <a:lnTo>
                      <a:pt x="6" y="401"/>
                    </a:lnTo>
                    <a:lnTo>
                      <a:pt x="2" y="414"/>
                    </a:lnTo>
                    <a:lnTo>
                      <a:pt x="0" y="426"/>
                    </a:lnTo>
                    <a:lnTo>
                      <a:pt x="0" y="1183"/>
                    </a:lnTo>
                    <a:lnTo>
                      <a:pt x="0" y="1183"/>
                    </a:lnTo>
                    <a:lnTo>
                      <a:pt x="2" y="1192"/>
                    </a:lnTo>
                    <a:lnTo>
                      <a:pt x="4" y="1200"/>
                    </a:lnTo>
                    <a:lnTo>
                      <a:pt x="8" y="1206"/>
                    </a:lnTo>
                    <a:lnTo>
                      <a:pt x="13" y="1213"/>
                    </a:lnTo>
                    <a:lnTo>
                      <a:pt x="19" y="1219"/>
                    </a:lnTo>
                    <a:lnTo>
                      <a:pt x="27" y="1223"/>
                    </a:lnTo>
                    <a:lnTo>
                      <a:pt x="36" y="1225"/>
                    </a:lnTo>
                    <a:lnTo>
                      <a:pt x="44" y="1227"/>
                    </a:lnTo>
                    <a:lnTo>
                      <a:pt x="126" y="1227"/>
                    </a:lnTo>
                    <a:lnTo>
                      <a:pt x="126" y="1227"/>
                    </a:lnTo>
                    <a:lnTo>
                      <a:pt x="128" y="1227"/>
                    </a:lnTo>
                    <a:lnTo>
                      <a:pt x="169" y="1227"/>
                    </a:lnTo>
                    <a:lnTo>
                      <a:pt x="169" y="1075"/>
                    </a:lnTo>
                    <a:lnTo>
                      <a:pt x="169" y="1075"/>
                    </a:lnTo>
                    <a:lnTo>
                      <a:pt x="172" y="1068"/>
                    </a:lnTo>
                    <a:lnTo>
                      <a:pt x="178" y="1066"/>
                    </a:lnTo>
                    <a:lnTo>
                      <a:pt x="276" y="1066"/>
                    </a:lnTo>
                    <a:lnTo>
                      <a:pt x="276" y="1066"/>
                    </a:lnTo>
                    <a:lnTo>
                      <a:pt x="280" y="1068"/>
                    </a:lnTo>
                    <a:lnTo>
                      <a:pt x="282" y="1075"/>
                    </a:lnTo>
                    <a:lnTo>
                      <a:pt x="282" y="1227"/>
                    </a:lnTo>
                    <a:lnTo>
                      <a:pt x="324" y="1227"/>
                    </a:lnTo>
                    <a:lnTo>
                      <a:pt x="324" y="1227"/>
                    </a:lnTo>
                    <a:lnTo>
                      <a:pt x="326" y="1227"/>
                    </a:lnTo>
                    <a:lnTo>
                      <a:pt x="408" y="1227"/>
                    </a:lnTo>
                    <a:lnTo>
                      <a:pt x="408" y="1227"/>
                    </a:lnTo>
                    <a:lnTo>
                      <a:pt x="416" y="1225"/>
                    </a:lnTo>
                    <a:lnTo>
                      <a:pt x="425" y="1223"/>
                    </a:lnTo>
                    <a:lnTo>
                      <a:pt x="431" y="1219"/>
                    </a:lnTo>
                    <a:lnTo>
                      <a:pt x="439" y="1213"/>
                    </a:lnTo>
                    <a:lnTo>
                      <a:pt x="443" y="1206"/>
                    </a:lnTo>
                    <a:lnTo>
                      <a:pt x="448" y="1200"/>
                    </a:lnTo>
                    <a:lnTo>
                      <a:pt x="450" y="1192"/>
                    </a:lnTo>
                    <a:lnTo>
                      <a:pt x="452" y="1183"/>
                    </a:lnTo>
                    <a:lnTo>
                      <a:pt x="452" y="426"/>
                    </a:lnTo>
                    <a:lnTo>
                      <a:pt x="452" y="426"/>
                    </a:lnTo>
                    <a:lnTo>
                      <a:pt x="450" y="414"/>
                    </a:lnTo>
                    <a:lnTo>
                      <a:pt x="445" y="401"/>
                    </a:lnTo>
                    <a:lnTo>
                      <a:pt x="441" y="391"/>
                    </a:lnTo>
                    <a:lnTo>
                      <a:pt x="433" y="380"/>
                    </a:lnTo>
                    <a:lnTo>
                      <a:pt x="422" y="374"/>
                    </a:lnTo>
                    <a:lnTo>
                      <a:pt x="412" y="368"/>
                    </a:lnTo>
                    <a:lnTo>
                      <a:pt x="399" y="364"/>
                    </a:lnTo>
                    <a:lnTo>
                      <a:pt x="387" y="362"/>
                    </a:lnTo>
                    <a:lnTo>
                      <a:pt x="387" y="362"/>
                    </a:lnTo>
                    <a:close/>
                    <a:moveTo>
                      <a:pt x="324" y="968"/>
                    </a:moveTo>
                    <a:lnTo>
                      <a:pt x="126" y="968"/>
                    </a:lnTo>
                    <a:lnTo>
                      <a:pt x="126" y="968"/>
                    </a:lnTo>
                    <a:lnTo>
                      <a:pt x="115" y="966"/>
                    </a:lnTo>
                    <a:lnTo>
                      <a:pt x="105" y="962"/>
                    </a:lnTo>
                    <a:lnTo>
                      <a:pt x="100" y="953"/>
                    </a:lnTo>
                    <a:lnTo>
                      <a:pt x="98" y="943"/>
                    </a:lnTo>
                    <a:lnTo>
                      <a:pt x="98" y="943"/>
                    </a:lnTo>
                    <a:lnTo>
                      <a:pt x="100" y="935"/>
                    </a:lnTo>
                    <a:lnTo>
                      <a:pt x="105" y="926"/>
                    </a:lnTo>
                    <a:lnTo>
                      <a:pt x="115" y="920"/>
                    </a:lnTo>
                    <a:lnTo>
                      <a:pt x="126" y="918"/>
                    </a:lnTo>
                    <a:lnTo>
                      <a:pt x="324" y="918"/>
                    </a:lnTo>
                    <a:lnTo>
                      <a:pt x="324" y="918"/>
                    </a:lnTo>
                    <a:lnTo>
                      <a:pt x="335" y="920"/>
                    </a:lnTo>
                    <a:lnTo>
                      <a:pt x="345" y="926"/>
                    </a:lnTo>
                    <a:lnTo>
                      <a:pt x="349" y="935"/>
                    </a:lnTo>
                    <a:lnTo>
                      <a:pt x="351" y="943"/>
                    </a:lnTo>
                    <a:lnTo>
                      <a:pt x="351" y="943"/>
                    </a:lnTo>
                    <a:lnTo>
                      <a:pt x="349" y="953"/>
                    </a:lnTo>
                    <a:lnTo>
                      <a:pt x="345" y="962"/>
                    </a:lnTo>
                    <a:lnTo>
                      <a:pt x="335" y="966"/>
                    </a:lnTo>
                    <a:lnTo>
                      <a:pt x="324" y="968"/>
                    </a:lnTo>
                    <a:lnTo>
                      <a:pt x="324" y="968"/>
                    </a:lnTo>
                    <a:close/>
                    <a:moveTo>
                      <a:pt x="324" y="847"/>
                    </a:moveTo>
                    <a:lnTo>
                      <a:pt x="126" y="847"/>
                    </a:lnTo>
                    <a:lnTo>
                      <a:pt x="126" y="847"/>
                    </a:lnTo>
                    <a:lnTo>
                      <a:pt x="115" y="845"/>
                    </a:lnTo>
                    <a:lnTo>
                      <a:pt x="105" y="838"/>
                    </a:lnTo>
                    <a:lnTo>
                      <a:pt x="100" y="830"/>
                    </a:lnTo>
                    <a:lnTo>
                      <a:pt x="98" y="822"/>
                    </a:lnTo>
                    <a:lnTo>
                      <a:pt x="98" y="822"/>
                    </a:lnTo>
                    <a:lnTo>
                      <a:pt x="100" y="811"/>
                    </a:lnTo>
                    <a:lnTo>
                      <a:pt x="105" y="803"/>
                    </a:lnTo>
                    <a:lnTo>
                      <a:pt x="115" y="799"/>
                    </a:lnTo>
                    <a:lnTo>
                      <a:pt x="126" y="797"/>
                    </a:lnTo>
                    <a:lnTo>
                      <a:pt x="324" y="797"/>
                    </a:lnTo>
                    <a:lnTo>
                      <a:pt x="324" y="797"/>
                    </a:lnTo>
                    <a:lnTo>
                      <a:pt x="335" y="799"/>
                    </a:lnTo>
                    <a:lnTo>
                      <a:pt x="345" y="803"/>
                    </a:lnTo>
                    <a:lnTo>
                      <a:pt x="349" y="811"/>
                    </a:lnTo>
                    <a:lnTo>
                      <a:pt x="351" y="822"/>
                    </a:lnTo>
                    <a:lnTo>
                      <a:pt x="351" y="822"/>
                    </a:lnTo>
                    <a:lnTo>
                      <a:pt x="349" y="830"/>
                    </a:lnTo>
                    <a:lnTo>
                      <a:pt x="345" y="838"/>
                    </a:lnTo>
                    <a:lnTo>
                      <a:pt x="335" y="845"/>
                    </a:lnTo>
                    <a:lnTo>
                      <a:pt x="324" y="847"/>
                    </a:lnTo>
                    <a:lnTo>
                      <a:pt x="324" y="847"/>
                    </a:lnTo>
                    <a:close/>
                    <a:moveTo>
                      <a:pt x="324" y="723"/>
                    </a:moveTo>
                    <a:lnTo>
                      <a:pt x="126" y="723"/>
                    </a:lnTo>
                    <a:lnTo>
                      <a:pt x="126" y="723"/>
                    </a:lnTo>
                    <a:lnTo>
                      <a:pt x="115" y="721"/>
                    </a:lnTo>
                    <a:lnTo>
                      <a:pt x="105" y="717"/>
                    </a:lnTo>
                    <a:lnTo>
                      <a:pt x="100" y="709"/>
                    </a:lnTo>
                    <a:lnTo>
                      <a:pt x="98" y="698"/>
                    </a:lnTo>
                    <a:lnTo>
                      <a:pt x="98" y="698"/>
                    </a:lnTo>
                    <a:lnTo>
                      <a:pt x="100" y="690"/>
                    </a:lnTo>
                    <a:lnTo>
                      <a:pt x="105" y="682"/>
                    </a:lnTo>
                    <a:lnTo>
                      <a:pt x="115" y="675"/>
                    </a:lnTo>
                    <a:lnTo>
                      <a:pt x="126" y="673"/>
                    </a:lnTo>
                    <a:lnTo>
                      <a:pt x="324" y="673"/>
                    </a:lnTo>
                    <a:lnTo>
                      <a:pt x="324" y="673"/>
                    </a:lnTo>
                    <a:lnTo>
                      <a:pt x="335" y="675"/>
                    </a:lnTo>
                    <a:lnTo>
                      <a:pt x="345" y="682"/>
                    </a:lnTo>
                    <a:lnTo>
                      <a:pt x="349" y="690"/>
                    </a:lnTo>
                    <a:lnTo>
                      <a:pt x="351" y="698"/>
                    </a:lnTo>
                    <a:lnTo>
                      <a:pt x="351" y="698"/>
                    </a:lnTo>
                    <a:lnTo>
                      <a:pt x="349" y="709"/>
                    </a:lnTo>
                    <a:lnTo>
                      <a:pt x="345" y="717"/>
                    </a:lnTo>
                    <a:lnTo>
                      <a:pt x="335" y="721"/>
                    </a:lnTo>
                    <a:lnTo>
                      <a:pt x="324" y="723"/>
                    </a:lnTo>
                    <a:lnTo>
                      <a:pt x="324" y="723"/>
                    </a:lnTo>
                    <a:close/>
                    <a:moveTo>
                      <a:pt x="324" y="602"/>
                    </a:moveTo>
                    <a:lnTo>
                      <a:pt x="126" y="602"/>
                    </a:lnTo>
                    <a:lnTo>
                      <a:pt x="126" y="602"/>
                    </a:lnTo>
                    <a:lnTo>
                      <a:pt x="115" y="600"/>
                    </a:lnTo>
                    <a:lnTo>
                      <a:pt x="105" y="594"/>
                    </a:lnTo>
                    <a:lnTo>
                      <a:pt x="100" y="585"/>
                    </a:lnTo>
                    <a:lnTo>
                      <a:pt x="98" y="577"/>
                    </a:lnTo>
                    <a:lnTo>
                      <a:pt x="98" y="577"/>
                    </a:lnTo>
                    <a:lnTo>
                      <a:pt x="100" y="567"/>
                    </a:lnTo>
                    <a:lnTo>
                      <a:pt x="105" y="558"/>
                    </a:lnTo>
                    <a:lnTo>
                      <a:pt x="115" y="554"/>
                    </a:lnTo>
                    <a:lnTo>
                      <a:pt x="126" y="552"/>
                    </a:lnTo>
                    <a:lnTo>
                      <a:pt x="324" y="552"/>
                    </a:lnTo>
                    <a:lnTo>
                      <a:pt x="324" y="552"/>
                    </a:lnTo>
                    <a:lnTo>
                      <a:pt x="335" y="554"/>
                    </a:lnTo>
                    <a:lnTo>
                      <a:pt x="345" y="558"/>
                    </a:lnTo>
                    <a:lnTo>
                      <a:pt x="349" y="567"/>
                    </a:lnTo>
                    <a:lnTo>
                      <a:pt x="351" y="577"/>
                    </a:lnTo>
                    <a:lnTo>
                      <a:pt x="351" y="577"/>
                    </a:lnTo>
                    <a:lnTo>
                      <a:pt x="349" y="585"/>
                    </a:lnTo>
                    <a:lnTo>
                      <a:pt x="345" y="594"/>
                    </a:lnTo>
                    <a:lnTo>
                      <a:pt x="335" y="600"/>
                    </a:lnTo>
                    <a:lnTo>
                      <a:pt x="324" y="602"/>
                    </a:lnTo>
                    <a:lnTo>
                      <a:pt x="324" y="602"/>
                    </a:lnTo>
                    <a:close/>
                    <a:moveTo>
                      <a:pt x="324" y="479"/>
                    </a:moveTo>
                    <a:lnTo>
                      <a:pt x="126" y="479"/>
                    </a:lnTo>
                    <a:lnTo>
                      <a:pt x="126" y="479"/>
                    </a:lnTo>
                    <a:lnTo>
                      <a:pt x="115" y="477"/>
                    </a:lnTo>
                    <a:lnTo>
                      <a:pt x="105" y="472"/>
                    </a:lnTo>
                    <a:lnTo>
                      <a:pt x="100" y="464"/>
                    </a:lnTo>
                    <a:lnTo>
                      <a:pt x="98" y="454"/>
                    </a:lnTo>
                    <a:lnTo>
                      <a:pt x="98" y="454"/>
                    </a:lnTo>
                    <a:lnTo>
                      <a:pt x="100" y="445"/>
                    </a:lnTo>
                    <a:lnTo>
                      <a:pt x="105" y="437"/>
                    </a:lnTo>
                    <a:lnTo>
                      <a:pt x="115" y="431"/>
                    </a:lnTo>
                    <a:lnTo>
                      <a:pt x="126" y="429"/>
                    </a:lnTo>
                    <a:lnTo>
                      <a:pt x="324" y="429"/>
                    </a:lnTo>
                    <a:lnTo>
                      <a:pt x="324" y="429"/>
                    </a:lnTo>
                    <a:lnTo>
                      <a:pt x="335" y="431"/>
                    </a:lnTo>
                    <a:lnTo>
                      <a:pt x="345" y="437"/>
                    </a:lnTo>
                    <a:lnTo>
                      <a:pt x="349" y="445"/>
                    </a:lnTo>
                    <a:lnTo>
                      <a:pt x="351" y="454"/>
                    </a:lnTo>
                    <a:lnTo>
                      <a:pt x="351" y="454"/>
                    </a:lnTo>
                    <a:lnTo>
                      <a:pt x="349" y="464"/>
                    </a:lnTo>
                    <a:lnTo>
                      <a:pt x="345" y="472"/>
                    </a:lnTo>
                    <a:lnTo>
                      <a:pt x="335" y="477"/>
                    </a:lnTo>
                    <a:lnTo>
                      <a:pt x="324" y="479"/>
                    </a:lnTo>
                    <a:lnTo>
                      <a:pt x="324" y="479"/>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29" name="组合 128"/>
            <p:cNvGrpSpPr/>
            <p:nvPr/>
          </p:nvGrpSpPr>
          <p:grpSpPr>
            <a:xfrm>
              <a:off x="7256190" y="3111644"/>
              <a:ext cx="414745" cy="556155"/>
              <a:chOff x="10433466" y="1088191"/>
              <a:chExt cx="459835" cy="616619"/>
            </a:xfrm>
            <a:solidFill>
              <a:schemeClr val="tx2">
                <a:lumMod val="75000"/>
              </a:schemeClr>
            </a:solidFill>
          </p:grpSpPr>
          <p:sp>
            <p:nvSpPr>
              <p:cNvPr id="173" name="Freeform 18"/>
              <p:cNvSpPr>
                <a:spLocks noEditPoints="1"/>
              </p:cNvSpPr>
              <p:nvPr/>
            </p:nvSpPr>
            <p:spPr bwMode="auto">
              <a:xfrm>
                <a:off x="10695442" y="1388736"/>
                <a:ext cx="197859" cy="316074"/>
              </a:xfrm>
              <a:custGeom>
                <a:avLst/>
                <a:gdLst>
                  <a:gd name="T0" fmla="*/ 27 w 395"/>
                  <a:gd name="T1" fmla="*/ 2 h 631"/>
                  <a:gd name="T2" fmla="*/ 0 w 395"/>
                  <a:gd name="T3" fmla="*/ 33 h 631"/>
                  <a:gd name="T4" fmla="*/ 2 w 395"/>
                  <a:gd name="T5" fmla="*/ 604 h 631"/>
                  <a:gd name="T6" fmla="*/ 35 w 395"/>
                  <a:gd name="T7" fmla="*/ 631 h 631"/>
                  <a:gd name="T8" fmla="*/ 236 w 395"/>
                  <a:gd name="T9" fmla="*/ 508 h 631"/>
                  <a:gd name="T10" fmla="*/ 311 w 395"/>
                  <a:gd name="T11" fmla="*/ 498 h 631"/>
                  <a:gd name="T12" fmla="*/ 330 w 395"/>
                  <a:gd name="T13" fmla="*/ 631 h 631"/>
                  <a:gd name="T14" fmla="*/ 376 w 395"/>
                  <a:gd name="T15" fmla="*/ 625 h 631"/>
                  <a:gd name="T16" fmla="*/ 395 w 395"/>
                  <a:gd name="T17" fmla="*/ 587 h 631"/>
                  <a:gd name="T18" fmla="*/ 389 w 395"/>
                  <a:gd name="T19" fmla="*/ 19 h 631"/>
                  <a:gd name="T20" fmla="*/ 351 w 395"/>
                  <a:gd name="T21" fmla="*/ 0 h 631"/>
                  <a:gd name="T22" fmla="*/ 161 w 395"/>
                  <a:gd name="T23" fmla="*/ 546 h 631"/>
                  <a:gd name="T24" fmla="*/ 83 w 395"/>
                  <a:gd name="T25" fmla="*/ 550 h 631"/>
                  <a:gd name="T26" fmla="*/ 73 w 395"/>
                  <a:gd name="T27" fmla="*/ 510 h 631"/>
                  <a:gd name="T28" fmla="*/ 148 w 395"/>
                  <a:gd name="T29" fmla="*/ 493 h 631"/>
                  <a:gd name="T30" fmla="*/ 167 w 395"/>
                  <a:gd name="T31" fmla="*/ 510 h 631"/>
                  <a:gd name="T32" fmla="*/ 161 w 395"/>
                  <a:gd name="T33" fmla="*/ 441 h 631"/>
                  <a:gd name="T34" fmla="*/ 83 w 395"/>
                  <a:gd name="T35" fmla="*/ 445 h 631"/>
                  <a:gd name="T36" fmla="*/ 73 w 395"/>
                  <a:gd name="T37" fmla="*/ 406 h 631"/>
                  <a:gd name="T38" fmla="*/ 148 w 395"/>
                  <a:gd name="T39" fmla="*/ 389 h 631"/>
                  <a:gd name="T40" fmla="*/ 167 w 395"/>
                  <a:gd name="T41" fmla="*/ 406 h 631"/>
                  <a:gd name="T42" fmla="*/ 161 w 395"/>
                  <a:gd name="T43" fmla="*/ 337 h 631"/>
                  <a:gd name="T44" fmla="*/ 83 w 395"/>
                  <a:gd name="T45" fmla="*/ 341 h 631"/>
                  <a:gd name="T46" fmla="*/ 73 w 395"/>
                  <a:gd name="T47" fmla="*/ 301 h 631"/>
                  <a:gd name="T48" fmla="*/ 148 w 395"/>
                  <a:gd name="T49" fmla="*/ 282 h 631"/>
                  <a:gd name="T50" fmla="*/ 167 w 395"/>
                  <a:gd name="T51" fmla="*/ 301 h 631"/>
                  <a:gd name="T52" fmla="*/ 161 w 395"/>
                  <a:gd name="T53" fmla="*/ 232 h 631"/>
                  <a:gd name="T54" fmla="*/ 83 w 395"/>
                  <a:gd name="T55" fmla="*/ 236 h 631"/>
                  <a:gd name="T56" fmla="*/ 73 w 395"/>
                  <a:gd name="T57" fmla="*/ 197 h 631"/>
                  <a:gd name="T58" fmla="*/ 148 w 395"/>
                  <a:gd name="T59" fmla="*/ 178 h 631"/>
                  <a:gd name="T60" fmla="*/ 167 w 395"/>
                  <a:gd name="T61" fmla="*/ 197 h 631"/>
                  <a:gd name="T62" fmla="*/ 161 w 395"/>
                  <a:gd name="T63" fmla="*/ 128 h 631"/>
                  <a:gd name="T64" fmla="*/ 83 w 395"/>
                  <a:gd name="T65" fmla="*/ 132 h 631"/>
                  <a:gd name="T66" fmla="*/ 73 w 395"/>
                  <a:gd name="T67" fmla="*/ 92 h 631"/>
                  <a:gd name="T68" fmla="*/ 148 w 395"/>
                  <a:gd name="T69" fmla="*/ 73 h 631"/>
                  <a:gd name="T70" fmla="*/ 167 w 395"/>
                  <a:gd name="T71" fmla="*/ 92 h 631"/>
                  <a:gd name="T72" fmla="*/ 318 w 395"/>
                  <a:gd name="T73" fmla="*/ 441 h 631"/>
                  <a:gd name="T74" fmla="*/ 238 w 395"/>
                  <a:gd name="T75" fmla="*/ 445 h 631"/>
                  <a:gd name="T76" fmla="*/ 228 w 395"/>
                  <a:gd name="T77" fmla="*/ 406 h 631"/>
                  <a:gd name="T78" fmla="*/ 305 w 395"/>
                  <a:gd name="T79" fmla="*/ 389 h 631"/>
                  <a:gd name="T80" fmla="*/ 322 w 395"/>
                  <a:gd name="T81" fmla="*/ 406 h 631"/>
                  <a:gd name="T82" fmla="*/ 318 w 395"/>
                  <a:gd name="T83" fmla="*/ 337 h 631"/>
                  <a:gd name="T84" fmla="*/ 238 w 395"/>
                  <a:gd name="T85" fmla="*/ 341 h 631"/>
                  <a:gd name="T86" fmla="*/ 228 w 395"/>
                  <a:gd name="T87" fmla="*/ 301 h 631"/>
                  <a:gd name="T88" fmla="*/ 305 w 395"/>
                  <a:gd name="T89" fmla="*/ 282 h 631"/>
                  <a:gd name="T90" fmla="*/ 322 w 395"/>
                  <a:gd name="T91" fmla="*/ 301 h 631"/>
                  <a:gd name="T92" fmla="*/ 318 w 395"/>
                  <a:gd name="T93" fmla="*/ 232 h 631"/>
                  <a:gd name="T94" fmla="*/ 238 w 395"/>
                  <a:gd name="T95" fmla="*/ 236 h 631"/>
                  <a:gd name="T96" fmla="*/ 228 w 395"/>
                  <a:gd name="T97" fmla="*/ 197 h 631"/>
                  <a:gd name="T98" fmla="*/ 305 w 395"/>
                  <a:gd name="T99" fmla="*/ 178 h 631"/>
                  <a:gd name="T100" fmla="*/ 322 w 395"/>
                  <a:gd name="T101" fmla="*/ 197 h 631"/>
                  <a:gd name="T102" fmla="*/ 318 w 395"/>
                  <a:gd name="T103" fmla="*/ 128 h 631"/>
                  <a:gd name="T104" fmla="*/ 238 w 395"/>
                  <a:gd name="T105" fmla="*/ 132 h 631"/>
                  <a:gd name="T106" fmla="*/ 228 w 395"/>
                  <a:gd name="T107" fmla="*/ 92 h 631"/>
                  <a:gd name="T108" fmla="*/ 305 w 395"/>
                  <a:gd name="T109" fmla="*/ 73 h 631"/>
                  <a:gd name="T110" fmla="*/ 322 w 395"/>
                  <a:gd name="T111" fmla="*/ 92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5" h="631">
                    <a:moveTo>
                      <a:pt x="351" y="0"/>
                    </a:moveTo>
                    <a:lnTo>
                      <a:pt x="44" y="0"/>
                    </a:lnTo>
                    <a:lnTo>
                      <a:pt x="44" y="0"/>
                    </a:lnTo>
                    <a:lnTo>
                      <a:pt x="35" y="0"/>
                    </a:lnTo>
                    <a:lnTo>
                      <a:pt x="27" y="2"/>
                    </a:lnTo>
                    <a:lnTo>
                      <a:pt x="19" y="6"/>
                    </a:lnTo>
                    <a:lnTo>
                      <a:pt x="12" y="13"/>
                    </a:lnTo>
                    <a:lnTo>
                      <a:pt x="6" y="19"/>
                    </a:lnTo>
                    <a:lnTo>
                      <a:pt x="2" y="25"/>
                    </a:lnTo>
                    <a:lnTo>
                      <a:pt x="0" y="33"/>
                    </a:lnTo>
                    <a:lnTo>
                      <a:pt x="0" y="44"/>
                    </a:lnTo>
                    <a:lnTo>
                      <a:pt x="0" y="587"/>
                    </a:lnTo>
                    <a:lnTo>
                      <a:pt x="0" y="587"/>
                    </a:lnTo>
                    <a:lnTo>
                      <a:pt x="0" y="596"/>
                    </a:lnTo>
                    <a:lnTo>
                      <a:pt x="2" y="604"/>
                    </a:lnTo>
                    <a:lnTo>
                      <a:pt x="6" y="613"/>
                    </a:lnTo>
                    <a:lnTo>
                      <a:pt x="12" y="619"/>
                    </a:lnTo>
                    <a:lnTo>
                      <a:pt x="19" y="625"/>
                    </a:lnTo>
                    <a:lnTo>
                      <a:pt x="27" y="629"/>
                    </a:lnTo>
                    <a:lnTo>
                      <a:pt x="35" y="631"/>
                    </a:lnTo>
                    <a:lnTo>
                      <a:pt x="44" y="631"/>
                    </a:lnTo>
                    <a:lnTo>
                      <a:pt x="236" y="631"/>
                    </a:lnTo>
                    <a:lnTo>
                      <a:pt x="236" y="514"/>
                    </a:lnTo>
                    <a:lnTo>
                      <a:pt x="236" y="514"/>
                    </a:lnTo>
                    <a:lnTo>
                      <a:pt x="236" y="508"/>
                    </a:lnTo>
                    <a:lnTo>
                      <a:pt x="240" y="502"/>
                    </a:lnTo>
                    <a:lnTo>
                      <a:pt x="247" y="498"/>
                    </a:lnTo>
                    <a:lnTo>
                      <a:pt x="255" y="498"/>
                    </a:lnTo>
                    <a:lnTo>
                      <a:pt x="311" y="498"/>
                    </a:lnTo>
                    <a:lnTo>
                      <a:pt x="311" y="498"/>
                    </a:lnTo>
                    <a:lnTo>
                      <a:pt x="318" y="498"/>
                    </a:lnTo>
                    <a:lnTo>
                      <a:pt x="324" y="502"/>
                    </a:lnTo>
                    <a:lnTo>
                      <a:pt x="328" y="508"/>
                    </a:lnTo>
                    <a:lnTo>
                      <a:pt x="330" y="514"/>
                    </a:lnTo>
                    <a:lnTo>
                      <a:pt x="330" y="631"/>
                    </a:lnTo>
                    <a:lnTo>
                      <a:pt x="351" y="631"/>
                    </a:lnTo>
                    <a:lnTo>
                      <a:pt x="351" y="631"/>
                    </a:lnTo>
                    <a:lnTo>
                      <a:pt x="359" y="631"/>
                    </a:lnTo>
                    <a:lnTo>
                      <a:pt x="368" y="629"/>
                    </a:lnTo>
                    <a:lnTo>
                      <a:pt x="376" y="625"/>
                    </a:lnTo>
                    <a:lnTo>
                      <a:pt x="382" y="619"/>
                    </a:lnTo>
                    <a:lnTo>
                      <a:pt x="389" y="613"/>
                    </a:lnTo>
                    <a:lnTo>
                      <a:pt x="393" y="604"/>
                    </a:lnTo>
                    <a:lnTo>
                      <a:pt x="395" y="596"/>
                    </a:lnTo>
                    <a:lnTo>
                      <a:pt x="395" y="587"/>
                    </a:lnTo>
                    <a:lnTo>
                      <a:pt x="395" y="44"/>
                    </a:lnTo>
                    <a:lnTo>
                      <a:pt x="395" y="44"/>
                    </a:lnTo>
                    <a:lnTo>
                      <a:pt x="395" y="33"/>
                    </a:lnTo>
                    <a:lnTo>
                      <a:pt x="393" y="25"/>
                    </a:lnTo>
                    <a:lnTo>
                      <a:pt x="389" y="19"/>
                    </a:lnTo>
                    <a:lnTo>
                      <a:pt x="382" y="13"/>
                    </a:lnTo>
                    <a:lnTo>
                      <a:pt x="376" y="6"/>
                    </a:lnTo>
                    <a:lnTo>
                      <a:pt x="368" y="2"/>
                    </a:lnTo>
                    <a:lnTo>
                      <a:pt x="359" y="0"/>
                    </a:lnTo>
                    <a:lnTo>
                      <a:pt x="351" y="0"/>
                    </a:lnTo>
                    <a:lnTo>
                      <a:pt x="351" y="0"/>
                    </a:lnTo>
                    <a:close/>
                    <a:moveTo>
                      <a:pt x="167" y="533"/>
                    </a:moveTo>
                    <a:lnTo>
                      <a:pt x="167" y="533"/>
                    </a:lnTo>
                    <a:lnTo>
                      <a:pt x="165" y="539"/>
                    </a:lnTo>
                    <a:lnTo>
                      <a:pt x="161" y="546"/>
                    </a:lnTo>
                    <a:lnTo>
                      <a:pt x="157" y="550"/>
                    </a:lnTo>
                    <a:lnTo>
                      <a:pt x="148" y="552"/>
                    </a:lnTo>
                    <a:lnTo>
                      <a:pt x="90" y="552"/>
                    </a:lnTo>
                    <a:lnTo>
                      <a:pt x="90" y="552"/>
                    </a:lnTo>
                    <a:lnTo>
                      <a:pt x="83" y="550"/>
                    </a:lnTo>
                    <a:lnTo>
                      <a:pt x="77" y="546"/>
                    </a:lnTo>
                    <a:lnTo>
                      <a:pt x="73" y="539"/>
                    </a:lnTo>
                    <a:lnTo>
                      <a:pt x="73" y="533"/>
                    </a:lnTo>
                    <a:lnTo>
                      <a:pt x="73" y="510"/>
                    </a:lnTo>
                    <a:lnTo>
                      <a:pt x="73" y="510"/>
                    </a:lnTo>
                    <a:lnTo>
                      <a:pt x="73" y="504"/>
                    </a:lnTo>
                    <a:lnTo>
                      <a:pt x="77" y="498"/>
                    </a:lnTo>
                    <a:lnTo>
                      <a:pt x="83" y="493"/>
                    </a:lnTo>
                    <a:lnTo>
                      <a:pt x="90" y="493"/>
                    </a:lnTo>
                    <a:lnTo>
                      <a:pt x="148" y="493"/>
                    </a:lnTo>
                    <a:lnTo>
                      <a:pt x="148" y="493"/>
                    </a:lnTo>
                    <a:lnTo>
                      <a:pt x="157" y="493"/>
                    </a:lnTo>
                    <a:lnTo>
                      <a:pt x="161" y="498"/>
                    </a:lnTo>
                    <a:lnTo>
                      <a:pt x="165" y="504"/>
                    </a:lnTo>
                    <a:lnTo>
                      <a:pt x="167" y="510"/>
                    </a:lnTo>
                    <a:lnTo>
                      <a:pt x="167" y="533"/>
                    </a:lnTo>
                    <a:close/>
                    <a:moveTo>
                      <a:pt x="167" y="429"/>
                    </a:moveTo>
                    <a:lnTo>
                      <a:pt x="167" y="429"/>
                    </a:lnTo>
                    <a:lnTo>
                      <a:pt x="165" y="435"/>
                    </a:lnTo>
                    <a:lnTo>
                      <a:pt x="161" y="441"/>
                    </a:lnTo>
                    <a:lnTo>
                      <a:pt x="157" y="445"/>
                    </a:lnTo>
                    <a:lnTo>
                      <a:pt x="148" y="447"/>
                    </a:lnTo>
                    <a:lnTo>
                      <a:pt x="90" y="447"/>
                    </a:lnTo>
                    <a:lnTo>
                      <a:pt x="90" y="447"/>
                    </a:lnTo>
                    <a:lnTo>
                      <a:pt x="83" y="445"/>
                    </a:lnTo>
                    <a:lnTo>
                      <a:pt x="77" y="441"/>
                    </a:lnTo>
                    <a:lnTo>
                      <a:pt x="73" y="435"/>
                    </a:lnTo>
                    <a:lnTo>
                      <a:pt x="73" y="429"/>
                    </a:lnTo>
                    <a:lnTo>
                      <a:pt x="73" y="406"/>
                    </a:lnTo>
                    <a:lnTo>
                      <a:pt x="73" y="406"/>
                    </a:lnTo>
                    <a:lnTo>
                      <a:pt x="73" y="399"/>
                    </a:lnTo>
                    <a:lnTo>
                      <a:pt x="77" y="393"/>
                    </a:lnTo>
                    <a:lnTo>
                      <a:pt x="83" y="389"/>
                    </a:lnTo>
                    <a:lnTo>
                      <a:pt x="90" y="389"/>
                    </a:lnTo>
                    <a:lnTo>
                      <a:pt x="148" y="389"/>
                    </a:lnTo>
                    <a:lnTo>
                      <a:pt x="148" y="389"/>
                    </a:lnTo>
                    <a:lnTo>
                      <a:pt x="157" y="389"/>
                    </a:lnTo>
                    <a:lnTo>
                      <a:pt x="161" y="393"/>
                    </a:lnTo>
                    <a:lnTo>
                      <a:pt x="165" y="399"/>
                    </a:lnTo>
                    <a:lnTo>
                      <a:pt x="167" y="406"/>
                    </a:lnTo>
                    <a:lnTo>
                      <a:pt x="167" y="429"/>
                    </a:lnTo>
                    <a:close/>
                    <a:moveTo>
                      <a:pt x="167" y="324"/>
                    </a:moveTo>
                    <a:lnTo>
                      <a:pt x="167" y="324"/>
                    </a:lnTo>
                    <a:lnTo>
                      <a:pt x="165" y="330"/>
                    </a:lnTo>
                    <a:lnTo>
                      <a:pt x="161" y="337"/>
                    </a:lnTo>
                    <a:lnTo>
                      <a:pt x="157" y="341"/>
                    </a:lnTo>
                    <a:lnTo>
                      <a:pt x="148" y="341"/>
                    </a:lnTo>
                    <a:lnTo>
                      <a:pt x="90" y="341"/>
                    </a:lnTo>
                    <a:lnTo>
                      <a:pt x="90" y="341"/>
                    </a:lnTo>
                    <a:lnTo>
                      <a:pt x="83" y="341"/>
                    </a:lnTo>
                    <a:lnTo>
                      <a:pt x="77" y="337"/>
                    </a:lnTo>
                    <a:lnTo>
                      <a:pt x="73" y="330"/>
                    </a:lnTo>
                    <a:lnTo>
                      <a:pt x="73" y="324"/>
                    </a:lnTo>
                    <a:lnTo>
                      <a:pt x="73" y="301"/>
                    </a:lnTo>
                    <a:lnTo>
                      <a:pt x="73" y="301"/>
                    </a:lnTo>
                    <a:lnTo>
                      <a:pt x="73" y="295"/>
                    </a:lnTo>
                    <a:lnTo>
                      <a:pt x="77" y="289"/>
                    </a:lnTo>
                    <a:lnTo>
                      <a:pt x="83" y="284"/>
                    </a:lnTo>
                    <a:lnTo>
                      <a:pt x="90" y="282"/>
                    </a:lnTo>
                    <a:lnTo>
                      <a:pt x="148" y="282"/>
                    </a:lnTo>
                    <a:lnTo>
                      <a:pt x="148" y="282"/>
                    </a:lnTo>
                    <a:lnTo>
                      <a:pt x="157" y="284"/>
                    </a:lnTo>
                    <a:lnTo>
                      <a:pt x="161" y="289"/>
                    </a:lnTo>
                    <a:lnTo>
                      <a:pt x="165" y="295"/>
                    </a:lnTo>
                    <a:lnTo>
                      <a:pt x="167" y="301"/>
                    </a:lnTo>
                    <a:lnTo>
                      <a:pt x="167" y="324"/>
                    </a:lnTo>
                    <a:close/>
                    <a:moveTo>
                      <a:pt x="167" y="220"/>
                    </a:moveTo>
                    <a:lnTo>
                      <a:pt x="167" y="220"/>
                    </a:lnTo>
                    <a:lnTo>
                      <a:pt x="165" y="226"/>
                    </a:lnTo>
                    <a:lnTo>
                      <a:pt x="161" y="232"/>
                    </a:lnTo>
                    <a:lnTo>
                      <a:pt x="157" y="236"/>
                    </a:lnTo>
                    <a:lnTo>
                      <a:pt x="148" y="236"/>
                    </a:lnTo>
                    <a:lnTo>
                      <a:pt x="90" y="236"/>
                    </a:lnTo>
                    <a:lnTo>
                      <a:pt x="90" y="236"/>
                    </a:lnTo>
                    <a:lnTo>
                      <a:pt x="83" y="236"/>
                    </a:lnTo>
                    <a:lnTo>
                      <a:pt x="77" y="232"/>
                    </a:lnTo>
                    <a:lnTo>
                      <a:pt x="73" y="226"/>
                    </a:lnTo>
                    <a:lnTo>
                      <a:pt x="73" y="220"/>
                    </a:lnTo>
                    <a:lnTo>
                      <a:pt x="73" y="197"/>
                    </a:lnTo>
                    <a:lnTo>
                      <a:pt x="73" y="197"/>
                    </a:lnTo>
                    <a:lnTo>
                      <a:pt x="73" y="190"/>
                    </a:lnTo>
                    <a:lnTo>
                      <a:pt x="77" y="184"/>
                    </a:lnTo>
                    <a:lnTo>
                      <a:pt x="83" y="180"/>
                    </a:lnTo>
                    <a:lnTo>
                      <a:pt x="90" y="178"/>
                    </a:lnTo>
                    <a:lnTo>
                      <a:pt x="148" y="178"/>
                    </a:lnTo>
                    <a:lnTo>
                      <a:pt x="148" y="178"/>
                    </a:lnTo>
                    <a:lnTo>
                      <a:pt x="157" y="180"/>
                    </a:lnTo>
                    <a:lnTo>
                      <a:pt x="161" y="184"/>
                    </a:lnTo>
                    <a:lnTo>
                      <a:pt x="165" y="190"/>
                    </a:lnTo>
                    <a:lnTo>
                      <a:pt x="167" y="197"/>
                    </a:lnTo>
                    <a:lnTo>
                      <a:pt x="167" y="220"/>
                    </a:lnTo>
                    <a:close/>
                    <a:moveTo>
                      <a:pt x="167" y="115"/>
                    </a:moveTo>
                    <a:lnTo>
                      <a:pt x="167" y="115"/>
                    </a:lnTo>
                    <a:lnTo>
                      <a:pt x="165" y="121"/>
                    </a:lnTo>
                    <a:lnTo>
                      <a:pt x="161" y="128"/>
                    </a:lnTo>
                    <a:lnTo>
                      <a:pt x="157" y="132"/>
                    </a:lnTo>
                    <a:lnTo>
                      <a:pt x="148" y="132"/>
                    </a:lnTo>
                    <a:lnTo>
                      <a:pt x="90" y="132"/>
                    </a:lnTo>
                    <a:lnTo>
                      <a:pt x="90" y="132"/>
                    </a:lnTo>
                    <a:lnTo>
                      <a:pt x="83" y="132"/>
                    </a:lnTo>
                    <a:lnTo>
                      <a:pt x="77" y="128"/>
                    </a:lnTo>
                    <a:lnTo>
                      <a:pt x="73" y="121"/>
                    </a:lnTo>
                    <a:lnTo>
                      <a:pt x="73" y="115"/>
                    </a:lnTo>
                    <a:lnTo>
                      <a:pt x="73" y="92"/>
                    </a:lnTo>
                    <a:lnTo>
                      <a:pt x="73" y="92"/>
                    </a:lnTo>
                    <a:lnTo>
                      <a:pt x="73" y="86"/>
                    </a:lnTo>
                    <a:lnTo>
                      <a:pt x="77" y="79"/>
                    </a:lnTo>
                    <a:lnTo>
                      <a:pt x="83" y="75"/>
                    </a:lnTo>
                    <a:lnTo>
                      <a:pt x="90" y="73"/>
                    </a:lnTo>
                    <a:lnTo>
                      <a:pt x="148" y="73"/>
                    </a:lnTo>
                    <a:lnTo>
                      <a:pt x="148" y="73"/>
                    </a:lnTo>
                    <a:lnTo>
                      <a:pt x="157" y="75"/>
                    </a:lnTo>
                    <a:lnTo>
                      <a:pt x="161" y="79"/>
                    </a:lnTo>
                    <a:lnTo>
                      <a:pt x="165" y="86"/>
                    </a:lnTo>
                    <a:lnTo>
                      <a:pt x="167" y="92"/>
                    </a:lnTo>
                    <a:lnTo>
                      <a:pt x="167" y="115"/>
                    </a:lnTo>
                    <a:close/>
                    <a:moveTo>
                      <a:pt x="322" y="429"/>
                    </a:moveTo>
                    <a:lnTo>
                      <a:pt x="322" y="429"/>
                    </a:lnTo>
                    <a:lnTo>
                      <a:pt x="322" y="435"/>
                    </a:lnTo>
                    <a:lnTo>
                      <a:pt x="318" y="441"/>
                    </a:lnTo>
                    <a:lnTo>
                      <a:pt x="311" y="445"/>
                    </a:lnTo>
                    <a:lnTo>
                      <a:pt x="305" y="447"/>
                    </a:lnTo>
                    <a:lnTo>
                      <a:pt x="247" y="447"/>
                    </a:lnTo>
                    <a:lnTo>
                      <a:pt x="247" y="447"/>
                    </a:lnTo>
                    <a:lnTo>
                      <a:pt x="238" y="445"/>
                    </a:lnTo>
                    <a:lnTo>
                      <a:pt x="234" y="441"/>
                    </a:lnTo>
                    <a:lnTo>
                      <a:pt x="230" y="435"/>
                    </a:lnTo>
                    <a:lnTo>
                      <a:pt x="228" y="429"/>
                    </a:lnTo>
                    <a:lnTo>
                      <a:pt x="228" y="406"/>
                    </a:lnTo>
                    <a:lnTo>
                      <a:pt x="228" y="406"/>
                    </a:lnTo>
                    <a:lnTo>
                      <a:pt x="230" y="399"/>
                    </a:lnTo>
                    <a:lnTo>
                      <a:pt x="234" y="393"/>
                    </a:lnTo>
                    <a:lnTo>
                      <a:pt x="238" y="389"/>
                    </a:lnTo>
                    <a:lnTo>
                      <a:pt x="247" y="389"/>
                    </a:lnTo>
                    <a:lnTo>
                      <a:pt x="305" y="389"/>
                    </a:lnTo>
                    <a:lnTo>
                      <a:pt x="305" y="389"/>
                    </a:lnTo>
                    <a:lnTo>
                      <a:pt x="311" y="389"/>
                    </a:lnTo>
                    <a:lnTo>
                      <a:pt x="318" y="393"/>
                    </a:lnTo>
                    <a:lnTo>
                      <a:pt x="322" y="399"/>
                    </a:lnTo>
                    <a:lnTo>
                      <a:pt x="322" y="406"/>
                    </a:lnTo>
                    <a:lnTo>
                      <a:pt x="322" y="429"/>
                    </a:lnTo>
                    <a:close/>
                    <a:moveTo>
                      <a:pt x="322" y="324"/>
                    </a:moveTo>
                    <a:lnTo>
                      <a:pt x="322" y="324"/>
                    </a:lnTo>
                    <a:lnTo>
                      <a:pt x="322" y="330"/>
                    </a:lnTo>
                    <a:lnTo>
                      <a:pt x="318" y="337"/>
                    </a:lnTo>
                    <a:lnTo>
                      <a:pt x="311" y="341"/>
                    </a:lnTo>
                    <a:lnTo>
                      <a:pt x="305" y="341"/>
                    </a:lnTo>
                    <a:lnTo>
                      <a:pt x="247" y="341"/>
                    </a:lnTo>
                    <a:lnTo>
                      <a:pt x="247" y="341"/>
                    </a:lnTo>
                    <a:lnTo>
                      <a:pt x="238" y="341"/>
                    </a:lnTo>
                    <a:lnTo>
                      <a:pt x="234" y="337"/>
                    </a:lnTo>
                    <a:lnTo>
                      <a:pt x="230" y="330"/>
                    </a:lnTo>
                    <a:lnTo>
                      <a:pt x="228" y="324"/>
                    </a:lnTo>
                    <a:lnTo>
                      <a:pt x="228" y="301"/>
                    </a:lnTo>
                    <a:lnTo>
                      <a:pt x="228" y="301"/>
                    </a:lnTo>
                    <a:lnTo>
                      <a:pt x="230" y="295"/>
                    </a:lnTo>
                    <a:lnTo>
                      <a:pt x="234" y="289"/>
                    </a:lnTo>
                    <a:lnTo>
                      <a:pt x="238" y="284"/>
                    </a:lnTo>
                    <a:lnTo>
                      <a:pt x="247" y="282"/>
                    </a:lnTo>
                    <a:lnTo>
                      <a:pt x="305" y="282"/>
                    </a:lnTo>
                    <a:lnTo>
                      <a:pt x="305" y="282"/>
                    </a:lnTo>
                    <a:lnTo>
                      <a:pt x="311" y="284"/>
                    </a:lnTo>
                    <a:lnTo>
                      <a:pt x="318" y="289"/>
                    </a:lnTo>
                    <a:lnTo>
                      <a:pt x="322" y="295"/>
                    </a:lnTo>
                    <a:lnTo>
                      <a:pt x="322" y="301"/>
                    </a:lnTo>
                    <a:lnTo>
                      <a:pt x="322" y="324"/>
                    </a:lnTo>
                    <a:close/>
                    <a:moveTo>
                      <a:pt x="322" y="220"/>
                    </a:moveTo>
                    <a:lnTo>
                      <a:pt x="322" y="220"/>
                    </a:lnTo>
                    <a:lnTo>
                      <a:pt x="322" y="226"/>
                    </a:lnTo>
                    <a:lnTo>
                      <a:pt x="318" y="232"/>
                    </a:lnTo>
                    <a:lnTo>
                      <a:pt x="311" y="236"/>
                    </a:lnTo>
                    <a:lnTo>
                      <a:pt x="305" y="236"/>
                    </a:lnTo>
                    <a:lnTo>
                      <a:pt x="247" y="236"/>
                    </a:lnTo>
                    <a:lnTo>
                      <a:pt x="247" y="236"/>
                    </a:lnTo>
                    <a:lnTo>
                      <a:pt x="238" y="236"/>
                    </a:lnTo>
                    <a:lnTo>
                      <a:pt x="234" y="232"/>
                    </a:lnTo>
                    <a:lnTo>
                      <a:pt x="230" y="226"/>
                    </a:lnTo>
                    <a:lnTo>
                      <a:pt x="228" y="220"/>
                    </a:lnTo>
                    <a:lnTo>
                      <a:pt x="228" y="197"/>
                    </a:lnTo>
                    <a:lnTo>
                      <a:pt x="228" y="197"/>
                    </a:lnTo>
                    <a:lnTo>
                      <a:pt x="230" y="190"/>
                    </a:lnTo>
                    <a:lnTo>
                      <a:pt x="234" y="184"/>
                    </a:lnTo>
                    <a:lnTo>
                      <a:pt x="238" y="180"/>
                    </a:lnTo>
                    <a:lnTo>
                      <a:pt x="247" y="178"/>
                    </a:lnTo>
                    <a:lnTo>
                      <a:pt x="305" y="178"/>
                    </a:lnTo>
                    <a:lnTo>
                      <a:pt x="305" y="178"/>
                    </a:lnTo>
                    <a:lnTo>
                      <a:pt x="311" y="180"/>
                    </a:lnTo>
                    <a:lnTo>
                      <a:pt x="318" y="184"/>
                    </a:lnTo>
                    <a:lnTo>
                      <a:pt x="322" y="190"/>
                    </a:lnTo>
                    <a:lnTo>
                      <a:pt x="322" y="197"/>
                    </a:lnTo>
                    <a:lnTo>
                      <a:pt x="322" y="220"/>
                    </a:lnTo>
                    <a:close/>
                    <a:moveTo>
                      <a:pt x="322" y="115"/>
                    </a:moveTo>
                    <a:lnTo>
                      <a:pt x="322" y="115"/>
                    </a:lnTo>
                    <a:lnTo>
                      <a:pt x="322" y="121"/>
                    </a:lnTo>
                    <a:lnTo>
                      <a:pt x="318" y="128"/>
                    </a:lnTo>
                    <a:lnTo>
                      <a:pt x="311" y="132"/>
                    </a:lnTo>
                    <a:lnTo>
                      <a:pt x="305" y="132"/>
                    </a:lnTo>
                    <a:lnTo>
                      <a:pt x="247" y="132"/>
                    </a:lnTo>
                    <a:lnTo>
                      <a:pt x="247" y="132"/>
                    </a:lnTo>
                    <a:lnTo>
                      <a:pt x="238" y="132"/>
                    </a:lnTo>
                    <a:lnTo>
                      <a:pt x="234" y="128"/>
                    </a:lnTo>
                    <a:lnTo>
                      <a:pt x="230" y="121"/>
                    </a:lnTo>
                    <a:lnTo>
                      <a:pt x="228" y="115"/>
                    </a:lnTo>
                    <a:lnTo>
                      <a:pt x="228" y="92"/>
                    </a:lnTo>
                    <a:lnTo>
                      <a:pt x="228" y="92"/>
                    </a:lnTo>
                    <a:lnTo>
                      <a:pt x="230" y="86"/>
                    </a:lnTo>
                    <a:lnTo>
                      <a:pt x="234" y="79"/>
                    </a:lnTo>
                    <a:lnTo>
                      <a:pt x="238" y="75"/>
                    </a:lnTo>
                    <a:lnTo>
                      <a:pt x="247" y="73"/>
                    </a:lnTo>
                    <a:lnTo>
                      <a:pt x="305" y="73"/>
                    </a:lnTo>
                    <a:lnTo>
                      <a:pt x="305" y="73"/>
                    </a:lnTo>
                    <a:lnTo>
                      <a:pt x="311" y="75"/>
                    </a:lnTo>
                    <a:lnTo>
                      <a:pt x="318" y="79"/>
                    </a:lnTo>
                    <a:lnTo>
                      <a:pt x="322" y="86"/>
                    </a:lnTo>
                    <a:lnTo>
                      <a:pt x="322" y="92"/>
                    </a:lnTo>
                    <a:lnTo>
                      <a:pt x="322" y="115"/>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4" name="Freeform 19"/>
              <p:cNvSpPr>
                <a:spLocks noEditPoints="1"/>
              </p:cNvSpPr>
              <p:nvPr/>
            </p:nvSpPr>
            <p:spPr bwMode="auto">
              <a:xfrm>
                <a:off x="10433466" y="1088191"/>
                <a:ext cx="226411" cy="614615"/>
              </a:xfrm>
              <a:custGeom>
                <a:avLst/>
                <a:gdLst>
                  <a:gd name="T0" fmla="*/ 385 w 452"/>
                  <a:gd name="T1" fmla="*/ 351 h 1227"/>
                  <a:gd name="T2" fmla="*/ 364 w 452"/>
                  <a:gd name="T3" fmla="*/ 314 h 1227"/>
                  <a:gd name="T4" fmla="*/ 335 w 452"/>
                  <a:gd name="T5" fmla="*/ 291 h 1227"/>
                  <a:gd name="T6" fmla="*/ 322 w 452"/>
                  <a:gd name="T7" fmla="*/ 255 h 1227"/>
                  <a:gd name="T8" fmla="*/ 282 w 452"/>
                  <a:gd name="T9" fmla="*/ 228 h 1227"/>
                  <a:gd name="T10" fmla="*/ 236 w 452"/>
                  <a:gd name="T11" fmla="*/ 27 h 1227"/>
                  <a:gd name="T12" fmla="*/ 226 w 452"/>
                  <a:gd name="T13" fmla="*/ 0 h 1227"/>
                  <a:gd name="T14" fmla="*/ 215 w 452"/>
                  <a:gd name="T15" fmla="*/ 17 h 1227"/>
                  <a:gd name="T16" fmla="*/ 182 w 452"/>
                  <a:gd name="T17" fmla="*/ 226 h 1227"/>
                  <a:gd name="T18" fmla="*/ 136 w 452"/>
                  <a:gd name="T19" fmla="*/ 245 h 1227"/>
                  <a:gd name="T20" fmla="*/ 117 w 452"/>
                  <a:gd name="T21" fmla="*/ 291 h 1227"/>
                  <a:gd name="T22" fmla="*/ 96 w 452"/>
                  <a:gd name="T23" fmla="*/ 309 h 1227"/>
                  <a:gd name="T24" fmla="*/ 69 w 452"/>
                  <a:gd name="T25" fmla="*/ 341 h 1227"/>
                  <a:gd name="T26" fmla="*/ 65 w 452"/>
                  <a:gd name="T27" fmla="*/ 362 h 1227"/>
                  <a:gd name="T28" fmla="*/ 19 w 452"/>
                  <a:gd name="T29" fmla="*/ 380 h 1227"/>
                  <a:gd name="T30" fmla="*/ 0 w 452"/>
                  <a:gd name="T31" fmla="*/ 426 h 1227"/>
                  <a:gd name="T32" fmla="*/ 4 w 452"/>
                  <a:gd name="T33" fmla="*/ 1200 h 1227"/>
                  <a:gd name="T34" fmla="*/ 27 w 452"/>
                  <a:gd name="T35" fmla="*/ 1223 h 1227"/>
                  <a:gd name="T36" fmla="*/ 126 w 452"/>
                  <a:gd name="T37" fmla="*/ 1227 h 1227"/>
                  <a:gd name="T38" fmla="*/ 169 w 452"/>
                  <a:gd name="T39" fmla="*/ 1075 h 1227"/>
                  <a:gd name="T40" fmla="*/ 276 w 452"/>
                  <a:gd name="T41" fmla="*/ 1066 h 1227"/>
                  <a:gd name="T42" fmla="*/ 324 w 452"/>
                  <a:gd name="T43" fmla="*/ 1227 h 1227"/>
                  <a:gd name="T44" fmla="*/ 408 w 452"/>
                  <a:gd name="T45" fmla="*/ 1227 h 1227"/>
                  <a:gd name="T46" fmla="*/ 439 w 452"/>
                  <a:gd name="T47" fmla="*/ 1213 h 1227"/>
                  <a:gd name="T48" fmla="*/ 452 w 452"/>
                  <a:gd name="T49" fmla="*/ 1183 h 1227"/>
                  <a:gd name="T50" fmla="*/ 445 w 452"/>
                  <a:gd name="T51" fmla="*/ 401 h 1227"/>
                  <a:gd name="T52" fmla="*/ 412 w 452"/>
                  <a:gd name="T53" fmla="*/ 368 h 1227"/>
                  <a:gd name="T54" fmla="*/ 324 w 452"/>
                  <a:gd name="T55" fmla="*/ 968 h 1227"/>
                  <a:gd name="T56" fmla="*/ 105 w 452"/>
                  <a:gd name="T57" fmla="*/ 962 h 1227"/>
                  <a:gd name="T58" fmla="*/ 100 w 452"/>
                  <a:gd name="T59" fmla="*/ 935 h 1227"/>
                  <a:gd name="T60" fmla="*/ 324 w 452"/>
                  <a:gd name="T61" fmla="*/ 918 h 1227"/>
                  <a:gd name="T62" fmla="*/ 349 w 452"/>
                  <a:gd name="T63" fmla="*/ 935 h 1227"/>
                  <a:gd name="T64" fmla="*/ 345 w 452"/>
                  <a:gd name="T65" fmla="*/ 962 h 1227"/>
                  <a:gd name="T66" fmla="*/ 324 w 452"/>
                  <a:gd name="T67" fmla="*/ 847 h 1227"/>
                  <a:gd name="T68" fmla="*/ 105 w 452"/>
                  <a:gd name="T69" fmla="*/ 838 h 1227"/>
                  <a:gd name="T70" fmla="*/ 100 w 452"/>
                  <a:gd name="T71" fmla="*/ 811 h 1227"/>
                  <a:gd name="T72" fmla="*/ 324 w 452"/>
                  <a:gd name="T73" fmla="*/ 797 h 1227"/>
                  <a:gd name="T74" fmla="*/ 349 w 452"/>
                  <a:gd name="T75" fmla="*/ 811 h 1227"/>
                  <a:gd name="T76" fmla="*/ 345 w 452"/>
                  <a:gd name="T77" fmla="*/ 838 h 1227"/>
                  <a:gd name="T78" fmla="*/ 324 w 452"/>
                  <a:gd name="T79" fmla="*/ 723 h 1227"/>
                  <a:gd name="T80" fmla="*/ 105 w 452"/>
                  <a:gd name="T81" fmla="*/ 717 h 1227"/>
                  <a:gd name="T82" fmla="*/ 100 w 452"/>
                  <a:gd name="T83" fmla="*/ 690 h 1227"/>
                  <a:gd name="T84" fmla="*/ 324 w 452"/>
                  <a:gd name="T85" fmla="*/ 673 h 1227"/>
                  <a:gd name="T86" fmla="*/ 349 w 452"/>
                  <a:gd name="T87" fmla="*/ 690 h 1227"/>
                  <a:gd name="T88" fmla="*/ 345 w 452"/>
                  <a:gd name="T89" fmla="*/ 717 h 1227"/>
                  <a:gd name="T90" fmla="*/ 324 w 452"/>
                  <a:gd name="T91" fmla="*/ 602 h 1227"/>
                  <a:gd name="T92" fmla="*/ 105 w 452"/>
                  <a:gd name="T93" fmla="*/ 594 h 1227"/>
                  <a:gd name="T94" fmla="*/ 100 w 452"/>
                  <a:gd name="T95" fmla="*/ 567 h 1227"/>
                  <a:gd name="T96" fmla="*/ 324 w 452"/>
                  <a:gd name="T97" fmla="*/ 552 h 1227"/>
                  <a:gd name="T98" fmla="*/ 349 w 452"/>
                  <a:gd name="T99" fmla="*/ 567 h 1227"/>
                  <a:gd name="T100" fmla="*/ 345 w 452"/>
                  <a:gd name="T101" fmla="*/ 594 h 1227"/>
                  <a:gd name="T102" fmla="*/ 324 w 452"/>
                  <a:gd name="T103" fmla="*/ 479 h 1227"/>
                  <a:gd name="T104" fmla="*/ 105 w 452"/>
                  <a:gd name="T105" fmla="*/ 472 h 1227"/>
                  <a:gd name="T106" fmla="*/ 100 w 452"/>
                  <a:gd name="T107" fmla="*/ 445 h 1227"/>
                  <a:gd name="T108" fmla="*/ 324 w 452"/>
                  <a:gd name="T109" fmla="*/ 429 h 1227"/>
                  <a:gd name="T110" fmla="*/ 349 w 452"/>
                  <a:gd name="T111" fmla="*/ 445 h 1227"/>
                  <a:gd name="T112" fmla="*/ 345 w 452"/>
                  <a:gd name="T113" fmla="*/ 472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2" h="1227">
                    <a:moveTo>
                      <a:pt x="387" y="362"/>
                    </a:moveTo>
                    <a:lnTo>
                      <a:pt x="387" y="362"/>
                    </a:lnTo>
                    <a:lnTo>
                      <a:pt x="387" y="362"/>
                    </a:lnTo>
                    <a:lnTo>
                      <a:pt x="385" y="351"/>
                    </a:lnTo>
                    <a:lnTo>
                      <a:pt x="383" y="341"/>
                    </a:lnTo>
                    <a:lnTo>
                      <a:pt x="376" y="330"/>
                    </a:lnTo>
                    <a:lnTo>
                      <a:pt x="370" y="322"/>
                    </a:lnTo>
                    <a:lnTo>
                      <a:pt x="364" y="314"/>
                    </a:lnTo>
                    <a:lnTo>
                      <a:pt x="356" y="309"/>
                    </a:lnTo>
                    <a:lnTo>
                      <a:pt x="345" y="303"/>
                    </a:lnTo>
                    <a:lnTo>
                      <a:pt x="335" y="301"/>
                    </a:lnTo>
                    <a:lnTo>
                      <a:pt x="335" y="291"/>
                    </a:lnTo>
                    <a:lnTo>
                      <a:pt x="335" y="291"/>
                    </a:lnTo>
                    <a:lnTo>
                      <a:pt x="333" y="278"/>
                    </a:lnTo>
                    <a:lnTo>
                      <a:pt x="328" y="266"/>
                    </a:lnTo>
                    <a:lnTo>
                      <a:pt x="322" y="255"/>
                    </a:lnTo>
                    <a:lnTo>
                      <a:pt x="316" y="245"/>
                    </a:lnTo>
                    <a:lnTo>
                      <a:pt x="305" y="236"/>
                    </a:lnTo>
                    <a:lnTo>
                      <a:pt x="295" y="232"/>
                    </a:lnTo>
                    <a:lnTo>
                      <a:pt x="282" y="228"/>
                    </a:lnTo>
                    <a:lnTo>
                      <a:pt x="270" y="226"/>
                    </a:lnTo>
                    <a:lnTo>
                      <a:pt x="251" y="226"/>
                    </a:lnTo>
                    <a:lnTo>
                      <a:pt x="236" y="27"/>
                    </a:lnTo>
                    <a:lnTo>
                      <a:pt x="236" y="27"/>
                    </a:lnTo>
                    <a:lnTo>
                      <a:pt x="236" y="17"/>
                    </a:lnTo>
                    <a:lnTo>
                      <a:pt x="234" y="8"/>
                    </a:lnTo>
                    <a:lnTo>
                      <a:pt x="230" y="2"/>
                    </a:lnTo>
                    <a:lnTo>
                      <a:pt x="226" y="0"/>
                    </a:lnTo>
                    <a:lnTo>
                      <a:pt x="226" y="0"/>
                    </a:lnTo>
                    <a:lnTo>
                      <a:pt x="222" y="2"/>
                    </a:lnTo>
                    <a:lnTo>
                      <a:pt x="218" y="8"/>
                    </a:lnTo>
                    <a:lnTo>
                      <a:pt x="215" y="17"/>
                    </a:lnTo>
                    <a:lnTo>
                      <a:pt x="215" y="27"/>
                    </a:lnTo>
                    <a:lnTo>
                      <a:pt x="201" y="226"/>
                    </a:lnTo>
                    <a:lnTo>
                      <a:pt x="182" y="226"/>
                    </a:lnTo>
                    <a:lnTo>
                      <a:pt x="182" y="226"/>
                    </a:lnTo>
                    <a:lnTo>
                      <a:pt x="169" y="228"/>
                    </a:lnTo>
                    <a:lnTo>
                      <a:pt x="157" y="232"/>
                    </a:lnTo>
                    <a:lnTo>
                      <a:pt x="146" y="236"/>
                    </a:lnTo>
                    <a:lnTo>
                      <a:pt x="136" y="245"/>
                    </a:lnTo>
                    <a:lnTo>
                      <a:pt x="128" y="255"/>
                    </a:lnTo>
                    <a:lnTo>
                      <a:pt x="123" y="266"/>
                    </a:lnTo>
                    <a:lnTo>
                      <a:pt x="119" y="278"/>
                    </a:lnTo>
                    <a:lnTo>
                      <a:pt x="117" y="291"/>
                    </a:lnTo>
                    <a:lnTo>
                      <a:pt x="117" y="301"/>
                    </a:lnTo>
                    <a:lnTo>
                      <a:pt x="117" y="301"/>
                    </a:lnTo>
                    <a:lnTo>
                      <a:pt x="107" y="303"/>
                    </a:lnTo>
                    <a:lnTo>
                      <a:pt x="96" y="309"/>
                    </a:lnTo>
                    <a:lnTo>
                      <a:pt x="88" y="314"/>
                    </a:lnTo>
                    <a:lnTo>
                      <a:pt x="80" y="322"/>
                    </a:lnTo>
                    <a:lnTo>
                      <a:pt x="73" y="330"/>
                    </a:lnTo>
                    <a:lnTo>
                      <a:pt x="69" y="341"/>
                    </a:lnTo>
                    <a:lnTo>
                      <a:pt x="67" y="351"/>
                    </a:lnTo>
                    <a:lnTo>
                      <a:pt x="65" y="362"/>
                    </a:lnTo>
                    <a:lnTo>
                      <a:pt x="65" y="362"/>
                    </a:lnTo>
                    <a:lnTo>
                      <a:pt x="65" y="362"/>
                    </a:lnTo>
                    <a:lnTo>
                      <a:pt x="52" y="364"/>
                    </a:lnTo>
                    <a:lnTo>
                      <a:pt x="40" y="368"/>
                    </a:lnTo>
                    <a:lnTo>
                      <a:pt x="29" y="374"/>
                    </a:lnTo>
                    <a:lnTo>
                      <a:pt x="19" y="380"/>
                    </a:lnTo>
                    <a:lnTo>
                      <a:pt x="11" y="391"/>
                    </a:lnTo>
                    <a:lnTo>
                      <a:pt x="6" y="401"/>
                    </a:lnTo>
                    <a:lnTo>
                      <a:pt x="2" y="414"/>
                    </a:lnTo>
                    <a:lnTo>
                      <a:pt x="0" y="426"/>
                    </a:lnTo>
                    <a:lnTo>
                      <a:pt x="0" y="1183"/>
                    </a:lnTo>
                    <a:lnTo>
                      <a:pt x="0" y="1183"/>
                    </a:lnTo>
                    <a:lnTo>
                      <a:pt x="2" y="1192"/>
                    </a:lnTo>
                    <a:lnTo>
                      <a:pt x="4" y="1200"/>
                    </a:lnTo>
                    <a:lnTo>
                      <a:pt x="8" y="1206"/>
                    </a:lnTo>
                    <a:lnTo>
                      <a:pt x="13" y="1213"/>
                    </a:lnTo>
                    <a:lnTo>
                      <a:pt x="19" y="1219"/>
                    </a:lnTo>
                    <a:lnTo>
                      <a:pt x="27" y="1223"/>
                    </a:lnTo>
                    <a:lnTo>
                      <a:pt x="36" y="1225"/>
                    </a:lnTo>
                    <a:lnTo>
                      <a:pt x="44" y="1227"/>
                    </a:lnTo>
                    <a:lnTo>
                      <a:pt x="126" y="1227"/>
                    </a:lnTo>
                    <a:lnTo>
                      <a:pt x="126" y="1227"/>
                    </a:lnTo>
                    <a:lnTo>
                      <a:pt x="128" y="1227"/>
                    </a:lnTo>
                    <a:lnTo>
                      <a:pt x="169" y="1227"/>
                    </a:lnTo>
                    <a:lnTo>
                      <a:pt x="169" y="1075"/>
                    </a:lnTo>
                    <a:lnTo>
                      <a:pt x="169" y="1075"/>
                    </a:lnTo>
                    <a:lnTo>
                      <a:pt x="172" y="1068"/>
                    </a:lnTo>
                    <a:lnTo>
                      <a:pt x="178" y="1066"/>
                    </a:lnTo>
                    <a:lnTo>
                      <a:pt x="276" y="1066"/>
                    </a:lnTo>
                    <a:lnTo>
                      <a:pt x="276" y="1066"/>
                    </a:lnTo>
                    <a:lnTo>
                      <a:pt x="280" y="1068"/>
                    </a:lnTo>
                    <a:lnTo>
                      <a:pt x="282" y="1075"/>
                    </a:lnTo>
                    <a:lnTo>
                      <a:pt x="282" y="1227"/>
                    </a:lnTo>
                    <a:lnTo>
                      <a:pt x="324" y="1227"/>
                    </a:lnTo>
                    <a:lnTo>
                      <a:pt x="324" y="1227"/>
                    </a:lnTo>
                    <a:lnTo>
                      <a:pt x="326" y="1227"/>
                    </a:lnTo>
                    <a:lnTo>
                      <a:pt x="408" y="1227"/>
                    </a:lnTo>
                    <a:lnTo>
                      <a:pt x="408" y="1227"/>
                    </a:lnTo>
                    <a:lnTo>
                      <a:pt x="416" y="1225"/>
                    </a:lnTo>
                    <a:lnTo>
                      <a:pt x="425" y="1223"/>
                    </a:lnTo>
                    <a:lnTo>
                      <a:pt x="431" y="1219"/>
                    </a:lnTo>
                    <a:lnTo>
                      <a:pt x="439" y="1213"/>
                    </a:lnTo>
                    <a:lnTo>
                      <a:pt x="443" y="1206"/>
                    </a:lnTo>
                    <a:lnTo>
                      <a:pt x="448" y="1200"/>
                    </a:lnTo>
                    <a:lnTo>
                      <a:pt x="450" y="1192"/>
                    </a:lnTo>
                    <a:lnTo>
                      <a:pt x="452" y="1183"/>
                    </a:lnTo>
                    <a:lnTo>
                      <a:pt x="452" y="426"/>
                    </a:lnTo>
                    <a:lnTo>
                      <a:pt x="452" y="426"/>
                    </a:lnTo>
                    <a:lnTo>
                      <a:pt x="450" y="414"/>
                    </a:lnTo>
                    <a:lnTo>
                      <a:pt x="445" y="401"/>
                    </a:lnTo>
                    <a:lnTo>
                      <a:pt x="441" y="391"/>
                    </a:lnTo>
                    <a:lnTo>
                      <a:pt x="433" y="380"/>
                    </a:lnTo>
                    <a:lnTo>
                      <a:pt x="422" y="374"/>
                    </a:lnTo>
                    <a:lnTo>
                      <a:pt x="412" y="368"/>
                    </a:lnTo>
                    <a:lnTo>
                      <a:pt x="399" y="364"/>
                    </a:lnTo>
                    <a:lnTo>
                      <a:pt x="387" y="362"/>
                    </a:lnTo>
                    <a:lnTo>
                      <a:pt x="387" y="362"/>
                    </a:lnTo>
                    <a:close/>
                    <a:moveTo>
                      <a:pt x="324" y="968"/>
                    </a:moveTo>
                    <a:lnTo>
                      <a:pt x="126" y="968"/>
                    </a:lnTo>
                    <a:lnTo>
                      <a:pt x="126" y="968"/>
                    </a:lnTo>
                    <a:lnTo>
                      <a:pt x="115" y="966"/>
                    </a:lnTo>
                    <a:lnTo>
                      <a:pt x="105" y="962"/>
                    </a:lnTo>
                    <a:lnTo>
                      <a:pt x="100" y="953"/>
                    </a:lnTo>
                    <a:lnTo>
                      <a:pt x="98" y="943"/>
                    </a:lnTo>
                    <a:lnTo>
                      <a:pt x="98" y="943"/>
                    </a:lnTo>
                    <a:lnTo>
                      <a:pt x="100" y="935"/>
                    </a:lnTo>
                    <a:lnTo>
                      <a:pt x="105" y="926"/>
                    </a:lnTo>
                    <a:lnTo>
                      <a:pt x="115" y="920"/>
                    </a:lnTo>
                    <a:lnTo>
                      <a:pt x="126" y="918"/>
                    </a:lnTo>
                    <a:lnTo>
                      <a:pt x="324" y="918"/>
                    </a:lnTo>
                    <a:lnTo>
                      <a:pt x="324" y="918"/>
                    </a:lnTo>
                    <a:lnTo>
                      <a:pt x="335" y="920"/>
                    </a:lnTo>
                    <a:lnTo>
                      <a:pt x="345" y="926"/>
                    </a:lnTo>
                    <a:lnTo>
                      <a:pt x="349" y="935"/>
                    </a:lnTo>
                    <a:lnTo>
                      <a:pt x="351" y="943"/>
                    </a:lnTo>
                    <a:lnTo>
                      <a:pt x="351" y="943"/>
                    </a:lnTo>
                    <a:lnTo>
                      <a:pt x="349" y="953"/>
                    </a:lnTo>
                    <a:lnTo>
                      <a:pt x="345" y="962"/>
                    </a:lnTo>
                    <a:lnTo>
                      <a:pt x="335" y="966"/>
                    </a:lnTo>
                    <a:lnTo>
                      <a:pt x="324" y="968"/>
                    </a:lnTo>
                    <a:lnTo>
                      <a:pt x="324" y="968"/>
                    </a:lnTo>
                    <a:close/>
                    <a:moveTo>
                      <a:pt x="324" y="847"/>
                    </a:moveTo>
                    <a:lnTo>
                      <a:pt x="126" y="847"/>
                    </a:lnTo>
                    <a:lnTo>
                      <a:pt x="126" y="847"/>
                    </a:lnTo>
                    <a:lnTo>
                      <a:pt x="115" y="845"/>
                    </a:lnTo>
                    <a:lnTo>
                      <a:pt x="105" y="838"/>
                    </a:lnTo>
                    <a:lnTo>
                      <a:pt x="100" y="830"/>
                    </a:lnTo>
                    <a:lnTo>
                      <a:pt x="98" y="822"/>
                    </a:lnTo>
                    <a:lnTo>
                      <a:pt x="98" y="822"/>
                    </a:lnTo>
                    <a:lnTo>
                      <a:pt x="100" y="811"/>
                    </a:lnTo>
                    <a:lnTo>
                      <a:pt x="105" y="803"/>
                    </a:lnTo>
                    <a:lnTo>
                      <a:pt x="115" y="799"/>
                    </a:lnTo>
                    <a:lnTo>
                      <a:pt x="126" y="797"/>
                    </a:lnTo>
                    <a:lnTo>
                      <a:pt x="324" y="797"/>
                    </a:lnTo>
                    <a:lnTo>
                      <a:pt x="324" y="797"/>
                    </a:lnTo>
                    <a:lnTo>
                      <a:pt x="335" y="799"/>
                    </a:lnTo>
                    <a:lnTo>
                      <a:pt x="345" y="803"/>
                    </a:lnTo>
                    <a:lnTo>
                      <a:pt x="349" y="811"/>
                    </a:lnTo>
                    <a:lnTo>
                      <a:pt x="351" y="822"/>
                    </a:lnTo>
                    <a:lnTo>
                      <a:pt x="351" y="822"/>
                    </a:lnTo>
                    <a:lnTo>
                      <a:pt x="349" y="830"/>
                    </a:lnTo>
                    <a:lnTo>
                      <a:pt x="345" y="838"/>
                    </a:lnTo>
                    <a:lnTo>
                      <a:pt x="335" y="845"/>
                    </a:lnTo>
                    <a:lnTo>
                      <a:pt x="324" y="847"/>
                    </a:lnTo>
                    <a:lnTo>
                      <a:pt x="324" y="847"/>
                    </a:lnTo>
                    <a:close/>
                    <a:moveTo>
                      <a:pt x="324" y="723"/>
                    </a:moveTo>
                    <a:lnTo>
                      <a:pt x="126" y="723"/>
                    </a:lnTo>
                    <a:lnTo>
                      <a:pt x="126" y="723"/>
                    </a:lnTo>
                    <a:lnTo>
                      <a:pt x="115" y="721"/>
                    </a:lnTo>
                    <a:lnTo>
                      <a:pt x="105" y="717"/>
                    </a:lnTo>
                    <a:lnTo>
                      <a:pt x="100" y="709"/>
                    </a:lnTo>
                    <a:lnTo>
                      <a:pt x="98" y="698"/>
                    </a:lnTo>
                    <a:lnTo>
                      <a:pt x="98" y="698"/>
                    </a:lnTo>
                    <a:lnTo>
                      <a:pt x="100" y="690"/>
                    </a:lnTo>
                    <a:lnTo>
                      <a:pt x="105" y="682"/>
                    </a:lnTo>
                    <a:lnTo>
                      <a:pt x="115" y="675"/>
                    </a:lnTo>
                    <a:lnTo>
                      <a:pt x="126" y="673"/>
                    </a:lnTo>
                    <a:lnTo>
                      <a:pt x="324" y="673"/>
                    </a:lnTo>
                    <a:lnTo>
                      <a:pt x="324" y="673"/>
                    </a:lnTo>
                    <a:lnTo>
                      <a:pt x="335" y="675"/>
                    </a:lnTo>
                    <a:lnTo>
                      <a:pt x="345" y="682"/>
                    </a:lnTo>
                    <a:lnTo>
                      <a:pt x="349" y="690"/>
                    </a:lnTo>
                    <a:lnTo>
                      <a:pt x="351" y="698"/>
                    </a:lnTo>
                    <a:lnTo>
                      <a:pt x="351" y="698"/>
                    </a:lnTo>
                    <a:lnTo>
                      <a:pt x="349" y="709"/>
                    </a:lnTo>
                    <a:lnTo>
                      <a:pt x="345" y="717"/>
                    </a:lnTo>
                    <a:lnTo>
                      <a:pt x="335" y="721"/>
                    </a:lnTo>
                    <a:lnTo>
                      <a:pt x="324" y="723"/>
                    </a:lnTo>
                    <a:lnTo>
                      <a:pt x="324" y="723"/>
                    </a:lnTo>
                    <a:close/>
                    <a:moveTo>
                      <a:pt x="324" y="602"/>
                    </a:moveTo>
                    <a:lnTo>
                      <a:pt x="126" y="602"/>
                    </a:lnTo>
                    <a:lnTo>
                      <a:pt x="126" y="602"/>
                    </a:lnTo>
                    <a:lnTo>
                      <a:pt x="115" y="600"/>
                    </a:lnTo>
                    <a:lnTo>
                      <a:pt x="105" y="594"/>
                    </a:lnTo>
                    <a:lnTo>
                      <a:pt x="100" y="585"/>
                    </a:lnTo>
                    <a:lnTo>
                      <a:pt x="98" y="577"/>
                    </a:lnTo>
                    <a:lnTo>
                      <a:pt x="98" y="577"/>
                    </a:lnTo>
                    <a:lnTo>
                      <a:pt x="100" y="567"/>
                    </a:lnTo>
                    <a:lnTo>
                      <a:pt x="105" y="558"/>
                    </a:lnTo>
                    <a:lnTo>
                      <a:pt x="115" y="554"/>
                    </a:lnTo>
                    <a:lnTo>
                      <a:pt x="126" y="552"/>
                    </a:lnTo>
                    <a:lnTo>
                      <a:pt x="324" y="552"/>
                    </a:lnTo>
                    <a:lnTo>
                      <a:pt x="324" y="552"/>
                    </a:lnTo>
                    <a:lnTo>
                      <a:pt x="335" y="554"/>
                    </a:lnTo>
                    <a:lnTo>
                      <a:pt x="345" y="558"/>
                    </a:lnTo>
                    <a:lnTo>
                      <a:pt x="349" y="567"/>
                    </a:lnTo>
                    <a:lnTo>
                      <a:pt x="351" y="577"/>
                    </a:lnTo>
                    <a:lnTo>
                      <a:pt x="351" y="577"/>
                    </a:lnTo>
                    <a:lnTo>
                      <a:pt x="349" y="585"/>
                    </a:lnTo>
                    <a:lnTo>
                      <a:pt x="345" y="594"/>
                    </a:lnTo>
                    <a:lnTo>
                      <a:pt x="335" y="600"/>
                    </a:lnTo>
                    <a:lnTo>
                      <a:pt x="324" y="602"/>
                    </a:lnTo>
                    <a:lnTo>
                      <a:pt x="324" y="602"/>
                    </a:lnTo>
                    <a:close/>
                    <a:moveTo>
                      <a:pt x="324" y="479"/>
                    </a:moveTo>
                    <a:lnTo>
                      <a:pt x="126" y="479"/>
                    </a:lnTo>
                    <a:lnTo>
                      <a:pt x="126" y="479"/>
                    </a:lnTo>
                    <a:lnTo>
                      <a:pt x="115" y="477"/>
                    </a:lnTo>
                    <a:lnTo>
                      <a:pt x="105" y="472"/>
                    </a:lnTo>
                    <a:lnTo>
                      <a:pt x="100" y="464"/>
                    </a:lnTo>
                    <a:lnTo>
                      <a:pt x="98" y="454"/>
                    </a:lnTo>
                    <a:lnTo>
                      <a:pt x="98" y="454"/>
                    </a:lnTo>
                    <a:lnTo>
                      <a:pt x="100" y="445"/>
                    </a:lnTo>
                    <a:lnTo>
                      <a:pt x="105" y="437"/>
                    </a:lnTo>
                    <a:lnTo>
                      <a:pt x="115" y="431"/>
                    </a:lnTo>
                    <a:lnTo>
                      <a:pt x="126" y="429"/>
                    </a:lnTo>
                    <a:lnTo>
                      <a:pt x="324" y="429"/>
                    </a:lnTo>
                    <a:lnTo>
                      <a:pt x="324" y="429"/>
                    </a:lnTo>
                    <a:lnTo>
                      <a:pt x="335" y="431"/>
                    </a:lnTo>
                    <a:lnTo>
                      <a:pt x="345" y="437"/>
                    </a:lnTo>
                    <a:lnTo>
                      <a:pt x="349" y="445"/>
                    </a:lnTo>
                    <a:lnTo>
                      <a:pt x="351" y="454"/>
                    </a:lnTo>
                    <a:lnTo>
                      <a:pt x="351" y="454"/>
                    </a:lnTo>
                    <a:lnTo>
                      <a:pt x="349" y="464"/>
                    </a:lnTo>
                    <a:lnTo>
                      <a:pt x="345" y="472"/>
                    </a:lnTo>
                    <a:lnTo>
                      <a:pt x="335" y="477"/>
                    </a:lnTo>
                    <a:lnTo>
                      <a:pt x="324" y="479"/>
                    </a:lnTo>
                    <a:lnTo>
                      <a:pt x="324" y="479"/>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30" name="Group 175"/>
            <p:cNvGrpSpPr/>
            <p:nvPr/>
          </p:nvGrpSpPr>
          <p:grpSpPr>
            <a:xfrm>
              <a:off x="4796390" y="3172746"/>
              <a:ext cx="513232" cy="479950"/>
              <a:chOff x="3068638" y="5911851"/>
              <a:chExt cx="465138" cy="434975"/>
            </a:xfrm>
            <a:solidFill>
              <a:schemeClr val="tx2">
                <a:lumMod val="75000"/>
              </a:schemeClr>
            </a:solidFill>
          </p:grpSpPr>
          <p:sp>
            <p:nvSpPr>
              <p:cNvPr id="163" name="Freeform 155"/>
              <p:cNvSpPr>
                <a:spLocks noEditPoints="1"/>
              </p:cNvSpPr>
              <p:nvPr/>
            </p:nvSpPr>
            <p:spPr bwMode="auto">
              <a:xfrm>
                <a:off x="3068638" y="5911851"/>
                <a:ext cx="465138" cy="434975"/>
              </a:xfrm>
              <a:custGeom>
                <a:avLst/>
                <a:gdLst>
                  <a:gd name="T0" fmla="*/ 279 w 293"/>
                  <a:gd name="T1" fmla="*/ 257 h 274"/>
                  <a:gd name="T2" fmla="*/ 279 w 293"/>
                  <a:gd name="T3" fmla="*/ 21 h 274"/>
                  <a:gd name="T4" fmla="*/ 246 w 293"/>
                  <a:gd name="T5" fmla="*/ 0 h 274"/>
                  <a:gd name="T6" fmla="*/ 127 w 293"/>
                  <a:gd name="T7" fmla="*/ 56 h 274"/>
                  <a:gd name="T8" fmla="*/ 127 w 293"/>
                  <a:gd name="T9" fmla="*/ 97 h 274"/>
                  <a:gd name="T10" fmla="*/ 61 w 293"/>
                  <a:gd name="T11" fmla="*/ 118 h 274"/>
                  <a:gd name="T12" fmla="*/ 61 w 293"/>
                  <a:gd name="T13" fmla="*/ 146 h 274"/>
                  <a:gd name="T14" fmla="*/ 14 w 293"/>
                  <a:gd name="T15" fmla="*/ 161 h 274"/>
                  <a:gd name="T16" fmla="*/ 14 w 293"/>
                  <a:gd name="T17" fmla="*/ 257 h 274"/>
                  <a:gd name="T18" fmla="*/ 0 w 293"/>
                  <a:gd name="T19" fmla="*/ 257 h 274"/>
                  <a:gd name="T20" fmla="*/ 0 w 293"/>
                  <a:gd name="T21" fmla="*/ 274 h 274"/>
                  <a:gd name="T22" fmla="*/ 14 w 293"/>
                  <a:gd name="T23" fmla="*/ 274 h 274"/>
                  <a:gd name="T24" fmla="*/ 14 w 293"/>
                  <a:gd name="T25" fmla="*/ 274 h 274"/>
                  <a:gd name="T26" fmla="*/ 28 w 293"/>
                  <a:gd name="T27" fmla="*/ 274 h 274"/>
                  <a:gd name="T28" fmla="*/ 28 w 293"/>
                  <a:gd name="T29" fmla="*/ 172 h 274"/>
                  <a:gd name="T30" fmla="*/ 111 w 293"/>
                  <a:gd name="T31" fmla="*/ 151 h 274"/>
                  <a:gd name="T32" fmla="*/ 111 w 293"/>
                  <a:gd name="T33" fmla="*/ 274 h 274"/>
                  <a:gd name="T34" fmla="*/ 123 w 293"/>
                  <a:gd name="T35" fmla="*/ 274 h 274"/>
                  <a:gd name="T36" fmla="*/ 123 w 293"/>
                  <a:gd name="T37" fmla="*/ 274 h 274"/>
                  <a:gd name="T38" fmla="*/ 151 w 293"/>
                  <a:gd name="T39" fmla="*/ 274 h 274"/>
                  <a:gd name="T40" fmla="*/ 151 w 293"/>
                  <a:gd name="T41" fmla="*/ 257 h 274"/>
                  <a:gd name="T42" fmla="*/ 142 w 293"/>
                  <a:gd name="T43" fmla="*/ 257 h 274"/>
                  <a:gd name="T44" fmla="*/ 142 w 293"/>
                  <a:gd name="T45" fmla="*/ 161 h 274"/>
                  <a:gd name="T46" fmla="*/ 120 w 293"/>
                  <a:gd name="T47" fmla="*/ 130 h 274"/>
                  <a:gd name="T48" fmla="*/ 78 w 293"/>
                  <a:gd name="T49" fmla="*/ 142 h 274"/>
                  <a:gd name="T50" fmla="*/ 78 w 293"/>
                  <a:gd name="T51" fmla="*/ 130 h 274"/>
                  <a:gd name="T52" fmla="*/ 163 w 293"/>
                  <a:gd name="T53" fmla="*/ 101 h 274"/>
                  <a:gd name="T54" fmla="*/ 163 w 293"/>
                  <a:gd name="T55" fmla="*/ 274 h 274"/>
                  <a:gd name="T56" fmla="*/ 224 w 293"/>
                  <a:gd name="T57" fmla="*/ 274 h 274"/>
                  <a:gd name="T58" fmla="*/ 224 w 293"/>
                  <a:gd name="T59" fmla="*/ 257 h 274"/>
                  <a:gd name="T60" fmla="*/ 213 w 293"/>
                  <a:gd name="T61" fmla="*/ 257 h 274"/>
                  <a:gd name="T62" fmla="*/ 213 w 293"/>
                  <a:gd name="T63" fmla="*/ 99 h 274"/>
                  <a:gd name="T64" fmla="*/ 179 w 293"/>
                  <a:gd name="T65" fmla="*/ 78 h 274"/>
                  <a:gd name="T66" fmla="*/ 144 w 293"/>
                  <a:gd name="T67" fmla="*/ 90 h 274"/>
                  <a:gd name="T68" fmla="*/ 144 w 293"/>
                  <a:gd name="T69" fmla="*/ 68 h 274"/>
                  <a:gd name="T70" fmla="*/ 232 w 293"/>
                  <a:gd name="T71" fmla="*/ 26 h 274"/>
                  <a:gd name="T72" fmla="*/ 232 w 293"/>
                  <a:gd name="T73" fmla="*/ 274 h 274"/>
                  <a:gd name="T74" fmla="*/ 293 w 293"/>
                  <a:gd name="T75" fmla="*/ 274 h 274"/>
                  <a:gd name="T76" fmla="*/ 293 w 293"/>
                  <a:gd name="T77" fmla="*/ 257 h 274"/>
                  <a:gd name="T78" fmla="*/ 279 w 293"/>
                  <a:gd name="T79" fmla="*/ 257 h 274"/>
                  <a:gd name="T80" fmla="*/ 279 w 293"/>
                  <a:gd name="T81" fmla="*/ 257 h 274"/>
                  <a:gd name="T82" fmla="*/ 279 w 293"/>
                  <a:gd name="T83" fmla="*/ 257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3" h="274">
                    <a:moveTo>
                      <a:pt x="279" y="257"/>
                    </a:moveTo>
                    <a:lnTo>
                      <a:pt x="279" y="21"/>
                    </a:lnTo>
                    <a:lnTo>
                      <a:pt x="246" y="0"/>
                    </a:lnTo>
                    <a:lnTo>
                      <a:pt x="127" y="56"/>
                    </a:lnTo>
                    <a:lnTo>
                      <a:pt x="127" y="97"/>
                    </a:lnTo>
                    <a:lnTo>
                      <a:pt x="61" y="118"/>
                    </a:lnTo>
                    <a:lnTo>
                      <a:pt x="61" y="146"/>
                    </a:lnTo>
                    <a:lnTo>
                      <a:pt x="14" y="161"/>
                    </a:lnTo>
                    <a:lnTo>
                      <a:pt x="14" y="257"/>
                    </a:lnTo>
                    <a:lnTo>
                      <a:pt x="0" y="257"/>
                    </a:lnTo>
                    <a:lnTo>
                      <a:pt x="0" y="274"/>
                    </a:lnTo>
                    <a:lnTo>
                      <a:pt x="14" y="274"/>
                    </a:lnTo>
                    <a:lnTo>
                      <a:pt x="14" y="274"/>
                    </a:lnTo>
                    <a:lnTo>
                      <a:pt x="28" y="274"/>
                    </a:lnTo>
                    <a:lnTo>
                      <a:pt x="28" y="172"/>
                    </a:lnTo>
                    <a:lnTo>
                      <a:pt x="111" y="151"/>
                    </a:lnTo>
                    <a:lnTo>
                      <a:pt x="111" y="274"/>
                    </a:lnTo>
                    <a:lnTo>
                      <a:pt x="123" y="274"/>
                    </a:lnTo>
                    <a:lnTo>
                      <a:pt x="123" y="274"/>
                    </a:lnTo>
                    <a:lnTo>
                      <a:pt x="151" y="274"/>
                    </a:lnTo>
                    <a:lnTo>
                      <a:pt x="151" y="257"/>
                    </a:lnTo>
                    <a:lnTo>
                      <a:pt x="142" y="257"/>
                    </a:lnTo>
                    <a:lnTo>
                      <a:pt x="142" y="161"/>
                    </a:lnTo>
                    <a:lnTo>
                      <a:pt x="120" y="130"/>
                    </a:lnTo>
                    <a:lnTo>
                      <a:pt x="78" y="142"/>
                    </a:lnTo>
                    <a:lnTo>
                      <a:pt x="78" y="130"/>
                    </a:lnTo>
                    <a:lnTo>
                      <a:pt x="163" y="101"/>
                    </a:lnTo>
                    <a:lnTo>
                      <a:pt x="163" y="274"/>
                    </a:lnTo>
                    <a:lnTo>
                      <a:pt x="224" y="274"/>
                    </a:lnTo>
                    <a:lnTo>
                      <a:pt x="224" y="257"/>
                    </a:lnTo>
                    <a:lnTo>
                      <a:pt x="213" y="257"/>
                    </a:lnTo>
                    <a:lnTo>
                      <a:pt x="213" y="99"/>
                    </a:lnTo>
                    <a:lnTo>
                      <a:pt x="179" y="78"/>
                    </a:lnTo>
                    <a:lnTo>
                      <a:pt x="144" y="90"/>
                    </a:lnTo>
                    <a:lnTo>
                      <a:pt x="144" y="68"/>
                    </a:lnTo>
                    <a:lnTo>
                      <a:pt x="232" y="26"/>
                    </a:lnTo>
                    <a:lnTo>
                      <a:pt x="232" y="274"/>
                    </a:lnTo>
                    <a:lnTo>
                      <a:pt x="293" y="274"/>
                    </a:lnTo>
                    <a:lnTo>
                      <a:pt x="293" y="257"/>
                    </a:lnTo>
                    <a:lnTo>
                      <a:pt x="279" y="257"/>
                    </a:lnTo>
                    <a:close/>
                    <a:moveTo>
                      <a:pt x="279" y="257"/>
                    </a:moveTo>
                    <a:lnTo>
                      <a:pt x="279" y="257"/>
                    </a:lnTo>
                    <a:close/>
                  </a:path>
                </a:pathLst>
              </a:custGeom>
              <a:grp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4" name="Freeform 156"/>
              <p:cNvSpPr>
                <a:spLocks noEditPoints="1"/>
              </p:cNvSpPr>
              <p:nvPr/>
            </p:nvSpPr>
            <p:spPr bwMode="auto">
              <a:xfrm>
                <a:off x="3068638" y="5911851"/>
                <a:ext cx="465138" cy="434975"/>
              </a:xfrm>
              <a:custGeom>
                <a:avLst/>
                <a:gdLst>
                  <a:gd name="T0" fmla="*/ 279 w 293"/>
                  <a:gd name="T1" fmla="*/ 257 h 274"/>
                  <a:gd name="T2" fmla="*/ 279 w 293"/>
                  <a:gd name="T3" fmla="*/ 21 h 274"/>
                  <a:gd name="T4" fmla="*/ 246 w 293"/>
                  <a:gd name="T5" fmla="*/ 0 h 274"/>
                  <a:gd name="T6" fmla="*/ 127 w 293"/>
                  <a:gd name="T7" fmla="*/ 56 h 274"/>
                  <a:gd name="T8" fmla="*/ 127 w 293"/>
                  <a:gd name="T9" fmla="*/ 97 h 274"/>
                  <a:gd name="T10" fmla="*/ 61 w 293"/>
                  <a:gd name="T11" fmla="*/ 118 h 274"/>
                  <a:gd name="T12" fmla="*/ 61 w 293"/>
                  <a:gd name="T13" fmla="*/ 146 h 274"/>
                  <a:gd name="T14" fmla="*/ 14 w 293"/>
                  <a:gd name="T15" fmla="*/ 161 h 274"/>
                  <a:gd name="T16" fmla="*/ 14 w 293"/>
                  <a:gd name="T17" fmla="*/ 257 h 274"/>
                  <a:gd name="T18" fmla="*/ 0 w 293"/>
                  <a:gd name="T19" fmla="*/ 257 h 274"/>
                  <a:gd name="T20" fmla="*/ 0 w 293"/>
                  <a:gd name="T21" fmla="*/ 274 h 274"/>
                  <a:gd name="T22" fmla="*/ 14 w 293"/>
                  <a:gd name="T23" fmla="*/ 274 h 274"/>
                  <a:gd name="T24" fmla="*/ 14 w 293"/>
                  <a:gd name="T25" fmla="*/ 274 h 274"/>
                  <a:gd name="T26" fmla="*/ 28 w 293"/>
                  <a:gd name="T27" fmla="*/ 274 h 274"/>
                  <a:gd name="T28" fmla="*/ 28 w 293"/>
                  <a:gd name="T29" fmla="*/ 172 h 274"/>
                  <a:gd name="T30" fmla="*/ 111 w 293"/>
                  <a:gd name="T31" fmla="*/ 151 h 274"/>
                  <a:gd name="T32" fmla="*/ 111 w 293"/>
                  <a:gd name="T33" fmla="*/ 274 h 274"/>
                  <a:gd name="T34" fmla="*/ 123 w 293"/>
                  <a:gd name="T35" fmla="*/ 274 h 274"/>
                  <a:gd name="T36" fmla="*/ 123 w 293"/>
                  <a:gd name="T37" fmla="*/ 274 h 274"/>
                  <a:gd name="T38" fmla="*/ 151 w 293"/>
                  <a:gd name="T39" fmla="*/ 274 h 274"/>
                  <a:gd name="T40" fmla="*/ 151 w 293"/>
                  <a:gd name="T41" fmla="*/ 257 h 274"/>
                  <a:gd name="T42" fmla="*/ 142 w 293"/>
                  <a:gd name="T43" fmla="*/ 257 h 274"/>
                  <a:gd name="T44" fmla="*/ 142 w 293"/>
                  <a:gd name="T45" fmla="*/ 161 h 274"/>
                  <a:gd name="T46" fmla="*/ 120 w 293"/>
                  <a:gd name="T47" fmla="*/ 130 h 274"/>
                  <a:gd name="T48" fmla="*/ 78 w 293"/>
                  <a:gd name="T49" fmla="*/ 142 h 274"/>
                  <a:gd name="T50" fmla="*/ 78 w 293"/>
                  <a:gd name="T51" fmla="*/ 130 h 274"/>
                  <a:gd name="T52" fmla="*/ 163 w 293"/>
                  <a:gd name="T53" fmla="*/ 101 h 274"/>
                  <a:gd name="T54" fmla="*/ 163 w 293"/>
                  <a:gd name="T55" fmla="*/ 274 h 274"/>
                  <a:gd name="T56" fmla="*/ 224 w 293"/>
                  <a:gd name="T57" fmla="*/ 274 h 274"/>
                  <a:gd name="T58" fmla="*/ 224 w 293"/>
                  <a:gd name="T59" fmla="*/ 257 h 274"/>
                  <a:gd name="T60" fmla="*/ 213 w 293"/>
                  <a:gd name="T61" fmla="*/ 257 h 274"/>
                  <a:gd name="T62" fmla="*/ 213 w 293"/>
                  <a:gd name="T63" fmla="*/ 99 h 274"/>
                  <a:gd name="T64" fmla="*/ 179 w 293"/>
                  <a:gd name="T65" fmla="*/ 78 h 274"/>
                  <a:gd name="T66" fmla="*/ 144 w 293"/>
                  <a:gd name="T67" fmla="*/ 90 h 274"/>
                  <a:gd name="T68" fmla="*/ 144 w 293"/>
                  <a:gd name="T69" fmla="*/ 68 h 274"/>
                  <a:gd name="T70" fmla="*/ 232 w 293"/>
                  <a:gd name="T71" fmla="*/ 26 h 274"/>
                  <a:gd name="T72" fmla="*/ 232 w 293"/>
                  <a:gd name="T73" fmla="*/ 274 h 274"/>
                  <a:gd name="T74" fmla="*/ 293 w 293"/>
                  <a:gd name="T75" fmla="*/ 274 h 274"/>
                  <a:gd name="T76" fmla="*/ 293 w 293"/>
                  <a:gd name="T77" fmla="*/ 257 h 274"/>
                  <a:gd name="T78" fmla="*/ 279 w 293"/>
                  <a:gd name="T79" fmla="*/ 257 h 274"/>
                  <a:gd name="T80" fmla="*/ 279 w 293"/>
                  <a:gd name="T81" fmla="*/ 257 h 274"/>
                  <a:gd name="T82" fmla="*/ 279 w 293"/>
                  <a:gd name="T83" fmla="*/ 257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3" h="274">
                    <a:moveTo>
                      <a:pt x="279" y="257"/>
                    </a:moveTo>
                    <a:lnTo>
                      <a:pt x="279" y="21"/>
                    </a:lnTo>
                    <a:lnTo>
                      <a:pt x="246" y="0"/>
                    </a:lnTo>
                    <a:lnTo>
                      <a:pt x="127" y="56"/>
                    </a:lnTo>
                    <a:lnTo>
                      <a:pt x="127" y="97"/>
                    </a:lnTo>
                    <a:lnTo>
                      <a:pt x="61" y="118"/>
                    </a:lnTo>
                    <a:lnTo>
                      <a:pt x="61" y="146"/>
                    </a:lnTo>
                    <a:lnTo>
                      <a:pt x="14" y="161"/>
                    </a:lnTo>
                    <a:lnTo>
                      <a:pt x="14" y="257"/>
                    </a:lnTo>
                    <a:lnTo>
                      <a:pt x="0" y="257"/>
                    </a:lnTo>
                    <a:lnTo>
                      <a:pt x="0" y="274"/>
                    </a:lnTo>
                    <a:lnTo>
                      <a:pt x="14" y="274"/>
                    </a:lnTo>
                    <a:lnTo>
                      <a:pt x="14" y="274"/>
                    </a:lnTo>
                    <a:lnTo>
                      <a:pt x="28" y="274"/>
                    </a:lnTo>
                    <a:lnTo>
                      <a:pt x="28" y="172"/>
                    </a:lnTo>
                    <a:lnTo>
                      <a:pt x="111" y="151"/>
                    </a:lnTo>
                    <a:lnTo>
                      <a:pt x="111" y="274"/>
                    </a:lnTo>
                    <a:lnTo>
                      <a:pt x="123" y="274"/>
                    </a:lnTo>
                    <a:lnTo>
                      <a:pt x="123" y="274"/>
                    </a:lnTo>
                    <a:lnTo>
                      <a:pt x="151" y="274"/>
                    </a:lnTo>
                    <a:lnTo>
                      <a:pt x="151" y="257"/>
                    </a:lnTo>
                    <a:lnTo>
                      <a:pt x="142" y="257"/>
                    </a:lnTo>
                    <a:lnTo>
                      <a:pt x="142" y="161"/>
                    </a:lnTo>
                    <a:lnTo>
                      <a:pt x="120" y="130"/>
                    </a:lnTo>
                    <a:lnTo>
                      <a:pt x="78" y="142"/>
                    </a:lnTo>
                    <a:lnTo>
                      <a:pt x="78" y="130"/>
                    </a:lnTo>
                    <a:lnTo>
                      <a:pt x="163" y="101"/>
                    </a:lnTo>
                    <a:lnTo>
                      <a:pt x="163" y="274"/>
                    </a:lnTo>
                    <a:lnTo>
                      <a:pt x="224" y="274"/>
                    </a:lnTo>
                    <a:lnTo>
                      <a:pt x="224" y="257"/>
                    </a:lnTo>
                    <a:lnTo>
                      <a:pt x="213" y="257"/>
                    </a:lnTo>
                    <a:lnTo>
                      <a:pt x="213" y="99"/>
                    </a:lnTo>
                    <a:lnTo>
                      <a:pt x="179" y="78"/>
                    </a:lnTo>
                    <a:lnTo>
                      <a:pt x="144" y="90"/>
                    </a:lnTo>
                    <a:lnTo>
                      <a:pt x="144" y="68"/>
                    </a:lnTo>
                    <a:lnTo>
                      <a:pt x="232" y="26"/>
                    </a:lnTo>
                    <a:lnTo>
                      <a:pt x="232" y="274"/>
                    </a:lnTo>
                    <a:lnTo>
                      <a:pt x="293" y="274"/>
                    </a:lnTo>
                    <a:lnTo>
                      <a:pt x="293" y="257"/>
                    </a:lnTo>
                    <a:lnTo>
                      <a:pt x="279" y="257"/>
                    </a:lnTo>
                    <a:moveTo>
                      <a:pt x="279" y="257"/>
                    </a:moveTo>
                    <a:lnTo>
                      <a:pt x="279" y="257"/>
                    </a:lnTo>
                  </a:path>
                </a:pathLst>
              </a:custGeom>
              <a:grp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5" name="Freeform 157"/>
              <p:cNvSpPr>
                <a:spLocks noEditPoints="1"/>
              </p:cNvSpPr>
              <p:nvPr/>
            </p:nvSpPr>
            <p:spPr bwMode="auto">
              <a:xfrm>
                <a:off x="3252788" y="6107113"/>
                <a:ext cx="96838" cy="44450"/>
              </a:xfrm>
              <a:custGeom>
                <a:avLst/>
                <a:gdLst>
                  <a:gd name="T0" fmla="*/ 61 w 61"/>
                  <a:gd name="T1" fmla="*/ 28 h 28"/>
                  <a:gd name="T2" fmla="*/ 0 w 61"/>
                  <a:gd name="T3" fmla="*/ 28 h 28"/>
                  <a:gd name="T4" fmla="*/ 0 w 61"/>
                  <a:gd name="T5" fmla="*/ 11 h 28"/>
                  <a:gd name="T6" fmla="*/ 61 w 61"/>
                  <a:gd name="T7" fmla="*/ 0 h 28"/>
                  <a:gd name="T8" fmla="*/ 61 w 61"/>
                  <a:gd name="T9" fmla="*/ 28 h 28"/>
                  <a:gd name="T10" fmla="*/ 61 w 61"/>
                  <a:gd name="T11" fmla="*/ 28 h 28"/>
                  <a:gd name="T12" fmla="*/ 61 w 61"/>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28"/>
                    </a:moveTo>
                    <a:lnTo>
                      <a:pt x="0" y="28"/>
                    </a:lnTo>
                    <a:lnTo>
                      <a:pt x="0" y="11"/>
                    </a:lnTo>
                    <a:lnTo>
                      <a:pt x="61" y="0"/>
                    </a:lnTo>
                    <a:lnTo>
                      <a:pt x="61" y="28"/>
                    </a:lnTo>
                    <a:close/>
                    <a:moveTo>
                      <a:pt x="61" y="28"/>
                    </a:moveTo>
                    <a:lnTo>
                      <a:pt x="61" y="28"/>
                    </a:lnTo>
                    <a:close/>
                  </a:path>
                </a:pathLst>
              </a:custGeom>
              <a:grp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6" name="Freeform 158"/>
              <p:cNvSpPr>
                <a:spLocks noEditPoints="1"/>
              </p:cNvSpPr>
              <p:nvPr/>
            </p:nvSpPr>
            <p:spPr bwMode="auto">
              <a:xfrm>
                <a:off x="3252788" y="6107113"/>
                <a:ext cx="96838" cy="44450"/>
              </a:xfrm>
              <a:custGeom>
                <a:avLst/>
                <a:gdLst>
                  <a:gd name="T0" fmla="*/ 61 w 61"/>
                  <a:gd name="T1" fmla="*/ 28 h 28"/>
                  <a:gd name="T2" fmla="*/ 0 w 61"/>
                  <a:gd name="T3" fmla="*/ 28 h 28"/>
                  <a:gd name="T4" fmla="*/ 0 w 61"/>
                  <a:gd name="T5" fmla="*/ 11 h 28"/>
                  <a:gd name="T6" fmla="*/ 61 w 61"/>
                  <a:gd name="T7" fmla="*/ 0 h 28"/>
                  <a:gd name="T8" fmla="*/ 61 w 61"/>
                  <a:gd name="T9" fmla="*/ 28 h 28"/>
                  <a:gd name="T10" fmla="*/ 61 w 61"/>
                  <a:gd name="T11" fmla="*/ 28 h 28"/>
                  <a:gd name="T12" fmla="*/ 61 w 61"/>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28"/>
                    </a:moveTo>
                    <a:lnTo>
                      <a:pt x="0" y="28"/>
                    </a:lnTo>
                    <a:lnTo>
                      <a:pt x="0" y="11"/>
                    </a:lnTo>
                    <a:lnTo>
                      <a:pt x="61" y="0"/>
                    </a:lnTo>
                    <a:lnTo>
                      <a:pt x="61" y="28"/>
                    </a:lnTo>
                    <a:moveTo>
                      <a:pt x="61" y="28"/>
                    </a:moveTo>
                    <a:lnTo>
                      <a:pt x="61" y="28"/>
                    </a:lnTo>
                  </a:path>
                </a:pathLst>
              </a:custGeom>
              <a:grp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7" name="Freeform 159"/>
              <p:cNvSpPr>
                <a:spLocks noEditPoints="1"/>
              </p:cNvSpPr>
              <p:nvPr/>
            </p:nvSpPr>
            <p:spPr bwMode="auto">
              <a:xfrm>
                <a:off x="3252788" y="6107113"/>
                <a:ext cx="96838" cy="44450"/>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close/>
                    <a:moveTo>
                      <a:pt x="61" y="19"/>
                    </a:moveTo>
                    <a:lnTo>
                      <a:pt x="61" y="19"/>
                    </a:lnTo>
                    <a:close/>
                  </a:path>
                </a:pathLst>
              </a:custGeom>
              <a:grp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8" name="Freeform 160"/>
              <p:cNvSpPr>
                <a:spLocks noEditPoints="1"/>
              </p:cNvSpPr>
              <p:nvPr/>
            </p:nvSpPr>
            <p:spPr bwMode="auto">
              <a:xfrm>
                <a:off x="3252788" y="6107113"/>
                <a:ext cx="96838" cy="44450"/>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moveTo>
                      <a:pt x="61" y="19"/>
                    </a:moveTo>
                    <a:lnTo>
                      <a:pt x="61" y="19"/>
                    </a:lnTo>
                  </a:path>
                </a:pathLst>
              </a:custGeom>
              <a:grp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69" name="Freeform 161"/>
              <p:cNvSpPr>
                <a:spLocks noEditPoints="1"/>
              </p:cNvSpPr>
              <p:nvPr/>
            </p:nvSpPr>
            <p:spPr bwMode="auto">
              <a:xfrm>
                <a:off x="3252788" y="6107113"/>
                <a:ext cx="96838" cy="44450"/>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close/>
                    <a:moveTo>
                      <a:pt x="61" y="19"/>
                    </a:moveTo>
                    <a:lnTo>
                      <a:pt x="61" y="19"/>
                    </a:lnTo>
                    <a:close/>
                  </a:path>
                </a:pathLst>
              </a:custGeom>
              <a:grp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0" name="Freeform 162"/>
              <p:cNvSpPr>
                <a:spLocks noEditPoints="1"/>
              </p:cNvSpPr>
              <p:nvPr/>
            </p:nvSpPr>
            <p:spPr bwMode="auto">
              <a:xfrm>
                <a:off x="3252788" y="6107113"/>
                <a:ext cx="96838" cy="44450"/>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moveTo>
                      <a:pt x="61" y="19"/>
                    </a:moveTo>
                    <a:lnTo>
                      <a:pt x="61" y="19"/>
                    </a:lnTo>
                  </a:path>
                </a:pathLst>
              </a:custGeom>
              <a:grp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1" name="Freeform 163"/>
              <p:cNvSpPr>
                <a:spLocks noEditPoints="1"/>
              </p:cNvSpPr>
              <p:nvPr/>
            </p:nvSpPr>
            <p:spPr bwMode="auto">
              <a:xfrm>
                <a:off x="3252788" y="6107113"/>
                <a:ext cx="96838" cy="44450"/>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close/>
                    <a:moveTo>
                      <a:pt x="61" y="19"/>
                    </a:moveTo>
                    <a:lnTo>
                      <a:pt x="61" y="19"/>
                    </a:lnTo>
                    <a:close/>
                  </a:path>
                </a:pathLst>
              </a:custGeom>
              <a:grp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2" name="Freeform 164"/>
              <p:cNvSpPr>
                <a:spLocks noEditPoints="1"/>
              </p:cNvSpPr>
              <p:nvPr/>
            </p:nvSpPr>
            <p:spPr bwMode="auto">
              <a:xfrm>
                <a:off x="3252788" y="6107113"/>
                <a:ext cx="96838" cy="44450"/>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moveTo>
                      <a:pt x="61" y="19"/>
                    </a:moveTo>
                    <a:lnTo>
                      <a:pt x="61" y="19"/>
                    </a:lnTo>
                  </a:path>
                </a:pathLst>
              </a:custGeom>
              <a:grp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131" name="Freeform 34"/>
            <p:cNvSpPr>
              <a:spLocks noEditPoints="1"/>
            </p:cNvSpPr>
            <p:nvPr/>
          </p:nvSpPr>
          <p:spPr bwMode="auto">
            <a:xfrm>
              <a:off x="4884383" y="4579679"/>
              <a:ext cx="425240" cy="374147"/>
            </a:xfrm>
            <a:custGeom>
              <a:avLst/>
              <a:gdLst/>
              <a:ahLst/>
              <a:cxnLst>
                <a:cxn ang="0">
                  <a:pos x="14" y="38"/>
                </a:cxn>
                <a:cxn ang="0">
                  <a:pos x="130" y="0"/>
                </a:cxn>
                <a:cxn ang="0">
                  <a:pos x="246" y="38"/>
                </a:cxn>
                <a:cxn ang="0">
                  <a:pos x="246" y="61"/>
                </a:cxn>
                <a:cxn ang="0">
                  <a:pos x="14" y="61"/>
                </a:cxn>
                <a:cxn ang="0">
                  <a:pos x="14" y="38"/>
                </a:cxn>
                <a:cxn ang="0">
                  <a:pos x="14" y="38"/>
                </a:cxn>
                <a:cxn ang="0">
                  <a:pos x="189" y="184"/>
                </a:cxn>
                <a:cxn ang="0">
                  <a:pos x="199" y="184"/>
                </a:cxn>
                <a:cxn ang="0">
                  <a:pos x="199" y="83"/>
                </a:cxn>
                <a:cxn ang="0">
                  <a:pos x="189" y="83"/>
                </a:cxn>
                <a:cxn ang="0">
                  <a:pos x="189" y="73"/>
                </a:cxn>
                <a:cxn ang="0">
                  <a:pos x="241" y="73"/>
                </a:cxn>
                <a:cxn ang="0">
                  <a:pos x="241" y="83"/>
                </a:cxn>
                <a:cxn ang="0">
                  <a:pos x="229" y="83"/>
                </a:cxn>
                <a:cxn ang="0">
                  <a:pos x="229" y="184"/>
                </a:cxn>
                <a:cxn ang="0">
                  <a:pos x="241" y="184"/>
                </a:cxn>
                <a:cxn ang="0">
                  <a:pos x="241" y="191"/>
                </a:cxn>
                <a:cxn ang="0">
                  <a:pos x="258" y="191"/>
                </a:cxn>
                <a:cxn ang="0">
                  <a:pos x="258" y="227"/>
                </a:cxn>
                <a:cxn ang="0">
                  <a:pos x="0" y="227"/>
                </a:cxn>
                <a:cxn ang="0">
                  <a:pos x="0" y="191"/>
                </a:cxn>
                <a:cxn ang="0">
                  <a:pos x="21" y="191"/>
                </a:cxn>
                <a:cxn ang="0">
                  <a:pos x="21" y="184"/>
                </a:cxn>
                <a:cxn ang="0">
                  <a:pos x="31" y="184"/>
                </a:cxn>
                <a:cxn ang="0">
                  <a:pos x="31" y="83"/>
                </a:cxn>
                <a:cxn ang="0">
                  <a:pos x="21" y="83"/>
                </a:cxn>
                <a:cxn ang="0">
                  <a:pos x="21" y="73"/>
                </a:cxn>
                <a:cxn ang="0">
                  <a:pos x="73" y="73"/>
                </a:cxn>
                <a:cxn ang="0">
                  <a:pos x="73" y="83"/>
                </a:cxn>
                <a:cxn ang="0">
                  <a:pos x="64" y="83"/>
                </a:cxn>
                <a:cxn ang="0">
                  <a:pos x="64" y="184"/>
                </a:cxn>
                <a:cxn ang="0">
                  <a:pos x="73" y="184"/>
                </a:cxn>
                <a:cxn ang="0">
                  <a:pos x="73" y="191"/>
                </a:cxn>
                <a:cxn ang="0">
                  <a:pos x="109" y="191"/>
                </a:cxn>
                <a:cxn ang="0">
                  <a:pos x="109" y="184"/>
                </a:cxn>
                <a:cxn ang="0">
                  <a:pos x="118" y="184"/>
                </a:cxn>
                <a:cxn ang="0">
                  <a:pos x="118" y="83"/>
                </a:cxn>
                <a:cxn ang="0">
                  <a:pos x="109" y="83"/>
                </a:cxn>
                <a:cxn ang="0">
                  <a:pos x="109" y="73"/>
                </a:cxn>
                <a:cxn ang="0">
                  <a:pos x="161" y="73"/>
                </a:cxn>
                <a:cxn ang="0">
                  <a:pos x="161" y="83"/>
                </a:cxn>
                <a:cxn ang="0">
                  <a:pos x="149" y="83"/>
                </a:cxn>
                <a:cxn ang="0">
                  <a:pos x="149" y="184"/>
                </a:cxn>
                <a:cxn ang="0">
                  <a:pos x="161" y="184"/>
                </a:cxn>
                <a:cxn ang="0">
                  <a:pos x="161" y="191"/>
                </a:cxn>
                <a:cxn ang="0">
                  <a:pos x="189" y="191"/>
                </a:cxn>
                <a:cxn ang="0">
                  <a:pos x="189" y="184"/>
                </a:cxn>
              </a:cxnLst>
              <a:rect l="0" t="0" r="r" b="b"/>
              <a:pathLst>
                <a:path w="258" h="227">
                  <a:moveTo>
                    <a:pt x="14" y="38"/>
                  </a:moveTo>
                  <a:lnTo>
                    <a:pt x="130" y="0"/>
                  </a:lnTo>
                  <a:lnTo>
                    <a:pt x="246" y="38"/>
                  </a:lnTo>
                  <a:lnTo>
                    <a:pt x="246" y="61"/>
                  </a:lnTo>
                  <a:lnTo>
                    <a:pt x="14" y="61"/>
                  </a:lnTo>
                  <a:lnTo>
                    <a:pt x="14" y="38"/>
                  </a:lnTo>
                  <a:lnTo>
                    <a:pt x="14" y="38"/>
                  </a:lnTo>
                  <a:close/>
                  <a:moveTo>
                    <a:pt x="189" y="184"/>
                  </a:moveTo>
                  <a:lnTo>
                    <a:pt x="199" y="184"/>
                  </a:lnTo>
                  <a:lnTo>
                    <a:pt x="199" y="83"/>
                  </a:lnTo>
                  <a:lnTo>
                    <a:pt x="189" y="83"/>
                  </a:lnTo>
                  <a:lnTo>
                    <a:pt x="189" y="73"/>
                  </a:lnTo>
                  <a:lnTo>
                    <a:pt x="241" y="73"/>
                  </a:lnTo>
                  <a:lnTo>
                    <a:pt x="241" y="83"/>
                  </a:lnTo>
                  <a:lnTo>
                    <a:pt x="229" y="83"/>
                  </a:lnTo>
                  <a:lnTo>
                    <a:pt x="229" y="184"/>
                  </a:lnTo>
                  <a:lnTo>
                    <a:pt x="241" y="184"/>
                  </a:lnTo>
                  <a:lnTo>
                    <a:pt x="241" y="191"/>
                  </a:lnTo>
                  <a:lnTo>
                    <a:pt x="258" y="191"/>
                  </a:lnTo>
                  <a:lnTo>
                    <a:pt x="258" y="227"/>
                  </a:lnTo>
                  <a:lnTo>
                    <a:pt x="0" y="227"/>
                  </a:lnTo>
                  <a:lnTo>
                    <a:pt x="0" y="191"/>
                  </a:lnTo>
                  <a:lnTo>
                    <a:pt x="21" y="191"/>
                  </a:lnTo>
                  <a:lnTo>
                    <a:pt x="21" y="184"/>
                  </a:lnTo>
                  <a:lnTo>
                    <a:pt x="31" y="184"/>
                  </a:lnTo>
                  <a:lnTo>
                    <a:pt x="31" y="83"/>
                  </a:lnTo>
                  <a:lnTo>
                    <a:pt x="21" y="83"/>
                  </a:lnTo>
                  <a:lnTo>
                    <a:pt x="21" y="73"/>
                  </a:lnTo>
                  <a:lnTo>
                    <a:pt x="73" y="73"/>
                  </a:lnTo>
                  <a:lnTo>
                    <a:pt x="73" y="83"/>
                  </a:lnTo>
                  <a:lnTo>
                    <a:pt x="64" y="83"/>
                  </a:lnTo>
                  <a:lnTo>
                    <a:pt x="64" y="184"/>
                  </a:lnTo>
                  <a:lnTo>
                    <a:pt x="73" y="184"/>
                  </a:lnTo>
                  <a:lnTo>
                    <a:pt x="73" y="191"/>
                  </a:lnTo>
                  <a:lnTo>
                    <a:pt x="109" y="191"/>
                  </a:lnTo>
                  <a:lnTo>
                    <a:pt x="109" y="184"/>
                  </a:lnTo>
                  <a:lnTo>
                    <a:pt x="118" y="184"/>
                  </a:lnTo>
                  <a:lnTo>
                    <a:pt x="118" y="83"/>
                  </a:lnTo>
                  <a:lnTo>
                    <a:pt x="109" y="83"/>
                  </a:lnTo>
                  <a:lnTo>
                    <a:pt x="109" y="73"/>
                  </a:lnTo>
                  <a:lnTo>
                    <a:pt x="161" y="73"/>
                  </a:lnTo>
                  <a:lnTo>
                    <a:pt x="161" y="83"/>
                  </a:lnTo>
                  <a:lnTo>
                    <a:pt x="149" y="83"/>
                  </a:lnTo>
                  <a:lnTo>
                    <a:pt x="149" y="184"/>
                  </a:lnTo>
                  <a:lnTo>
                    <a:pt x="161" y="184"/>
                  </a:lnTo>
                  <a:lnTo>
                    <a:pt x="161" y="191"/>
                  </a:lnTo>
                  <a:lnTo>
                    <a:pt x="189" y="191"/>
                  </a:lnTo>
                  <a:lnTo>
                    <a:pt x="189" y="184"/>
                  </a:lnTo>
                  <a:close/>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nvGrpSpPr>
            <p:cNvPr id="132" name="组合 131"/>
            <p:cNvGrpSpPr/>
            <p:nvPr/>
          </p:nvGrpSpPr>
          <p:grpSpPr>
            <a:xfrm>
              <a:off x="4874881" y="1687785"/>
              <a:ext cx="477219" cy="483962"/>
              <a:chOff x="4496762" y="1795346"/>
              <a:chExt cx="529101" cy="536577"/>
            </a:xfrm>
          </p:grpSpPr>
          <p:sp>
            <p:nvSpPr>
              <p:cNvPr id="148" name="Freeform 5"/>
              <p:cNvSpPr>
                <a:spLocks noEditPoints="1"/>
              </p:cNvSpPr>
              <p:nvPr/>
            </p:nvSpPr>
            <p:spPr bwMode="auto">
              <a:xfrm>
                <a:off x="4700262" y="2006322"/>
                <a:ext cx="325601" cy="325601"/>
              </a:xfrm>
              <a:custGeom>
                <a:avLst/>
                <a:gdLst>
                  <a:gd name="T0" fmla="*/ 1003 w 2005"/>
                  <a:gd name="T1" fmla="*/ 0 h 2005"/>
                  <a:gd name="T2" fmla="*/ 0 w 2005"/>
                  <a:gd name="T3" fmla="*/ 1003 h 2005"/>
                  <a:gd name="T4" fmla="*/ 1003 w 2005"/>
                  <a:gd name="T5" fmla="*/ 2005 h 2005"/>
                  <a:gd name="T6" fmla="*/ 2005 w 2005"/>
                  <a:gd name="T7" fmla="*/ 1003 h 2005"/>
                  <a:gd name="T8" fmla="*/ 1003 w 2005"/>
                  <a:gd name="T9" fmla="*/ 0 h 2005"/>
                  <a:gd name="T10" fmla="*/ 1003 w 2005"/>
                  <a:gd name="T11" fmla="*/ 1818 h 2005"/>
                  <a:gd name="T12" fmla="*/ 188 w 2005"/>
                  <a:gd name="T13" fmla="*/ 1003 h 2005"/>
                  <a:gd name="T14" fmla="*/ 1003 w 2005"/>
                  <a:gd name="T15" fmla="*/ 188 h 2005"/>
                  <a:gd name="T16" fmla="*/ 1818 w 2005"/>
                  <a:gd name="T17" fmla="*/ 1003 h 2005"/>
                  <a:gd name="T18" fmla="*/ 1003 w 2005"/>
                  <a:gd name="T19" fmla="*/ 1818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5" h="2005">
                    <a:moveTo>
                      <a:pt x="1003" y="0"/>
                    </a:moveTo>
                    <a:cubicBezTo>
                      <a:pt x="449" y="0"/>
                      <a:pt x="0" y="449"/>
                      <a:pt x="0" y="1003"/>
                    </a:cubicBezTo>
                    <a:cubicBezTo>
                      <a:pt x="0" y="1556"/>
                      <a:pt x="449" y="2005"/>
                      <a:pt x="1003" y="2005"/>
                    </a:cubicBezTo>
                    <a:cubicBezTo>
                      <a:pt x="1556" y="2005"/>
                      <a:pt x="2005" y="1556"/>
                      <a:pt x="2005" y="1003"/>
                    </a:cubicBezTo>
                    <a:cubicBezTo>
                      <a:pt x="2005" y="449"/>
                      <a:pt x="1556" y="0"/>
                      <a:pt x="1003" y="0"/>
                    </a:cubicBezTo>
                    <a:close/>
                    <a:moveTo>
                      <a:pt x="1003" y="1818"/>
                    </a:moveTo>
                    <a:cubicBezTo>
                      <a:pt x="553" y="1818"/>
                      <a:pt x="188" y="1453"/>
                      <a:pt x="188" y="1003"/>
                    </a:cubicBezTo>
                    <a:cubicBezTo>
                      <a:pt x="188" y="553"/>
                      <a:pt x="553" y="188"/>
                      <a:pt x="1003" y="188"/>
                    </a:cubicBezTo>
                    <a:cubicBezTo>
                      <a:pt x="1453" y="188"/>
                      <a:pt x="1818" y="553"/>
                      <a:pt x="1818" y="1003"/>
                    </a:cubicBezTo>
                    <a:cubicBezTo>
                      <a:pt x="1818" y="1453"/>
                      <a:pt x="1453" y="1818"/>
                      <a:pt x="1003" y="1818"/>
                    </a:cubicBezTo>
                    <a:close/>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49" name="Freeform 6"/>
              <p:cNvSpPr>
                <a:spLocks noEditPoints="1"/>
              </p:cNvSpPr>
              <p:nvPr/>
            </p:nvSpPr>
            <p:spPr bwMode="auto">
              <a:xfrm>
                <a:off x="4636721" y="1795346"/>
                <a:ext cx="301928" cy="213468"/>
              </a:xfrm>
              <a:custGeom>
                <a:avLst/>
                <a:gdLst>
                  <a:gd name="T0" fmla="*/ 1816 w 1859"/>
                  <a:gd name="T1" fmla="*/ 1295 h 1314"/>
                  <a:gd name="T2" fmla="*/ 1859 w 1859"/>
                  <a:gd name="T3" fmla="*/ 1314 h 1314"/>
                  <a:gd name="T4" fmla="*/ 1859 w 1859"/>
                  <a:gd name="T5" fmla="*/ 363 h 1314"/>
                  <a:gd name="T6" fmla="*/ 1429 w 1859"/>
                  <a:gd name="T7" fmla="*/ 0 h 1314"/>
                  <a:gd name="T8" fmla="*/ 0 w 1859"/>
                  <a:gd name="T9" fmla="*/ 518 h 1314"/>
                  <a:gd name="T10" fmla="*/ 0 w 1859"/>
                  <a:gd name="T11" fmla="*/ 647 h 1314"/>
                  <a:gd name="T12" fmla="*/ 1298 w 1859"/>
                  <a:gd name="T13" fmla="*/ 223 h 1314"/>
                  <a:gd name="T14" fmla="*/ 1298 w 1859"/>
                  <a:gd name="T15" fmla="*/ 1212 h 1314"/>
                  <a:gd name="T16" fmla="*/ 1389 w 1859"/>
                  <a:gd name="T17" fmla="*/ 1208 h 1314"/>
                  <a:gd name="T18" fmla="*/ 1816 w 1859"/>
                  <a:gd name="T19" fmla="*/ 1295 h 1314"/>
                  <a:gd name="T20" fmla="*/ 1816 w 1859"/>
                  <a:gd name="T21" fmla="*/ 1295 h 1314"/>
                  <a:gd name="T22" fmla="*/ 1816 w 1859"/>
                  <a:gd name="T23" fmla="*/ 1295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59" h="1314">
                    <a:moveTo>
                      <a:pt x="1816" y="1295"/>
                    </a:moveTo>
                    <a:cubicBezTo>
                      <a:pt x="1831" y="1302"/>
                      <a:pt x="1845" y="1308"/>
                      <a:pt x="1859" y="1314"/>
                    </a:cubicBezTo>
                    <a:cubicBezTo>
                      <a:pt x="1859" y="363"/>
                      <a:pt x="1859" y="363"/>
                      <a:pt x="1859" y="363"/>
                    </a:cubicBezTo>
                    <a:cubicBezTo>
                      <a:pt x="1429" y="0"/>
                      <a:pt x="1429" y="0"/>
                      <a:pt x="1429" y="0"/>
                    </a:cubicBezTo>
                    <a:cubicBezTo>
                      <a:pt x="0" y="518"/>
                      <a:pt x="0" y="518"/>
                      <a:pt x="0" y="518"/>
                    </a:cubicBezTo>
                    <a:cubicBezTo>
                      <a:pt x="0" y="647"/>
                      <a:pt x="0" y="647"/>
                      <a:pt x="0" y="647"/>
                    </a:cubicBezTo>
                    <a:cubicBezTo>
                      <a:pt x="1298" y="223"/>
                      <a:pt x="1298" y="223"/>
                      <a:pt x="1298" y="223"/>
                    </a:cubicBezTo>
                    <a:cubicBezTo>
                      <a:pt x="1298" y="1212"/>
                      <a:pt x="1298" y="1212"/>
                      <a:pt x="1298" y="1212"/>
                    </a:cubicBezTo>
                    <a:cubicBezTo>
                      <a:pt x="1328" y="1210"/>
                      <a:pt x="1358" y="1208"/>
                      <a:pt x="1389" y="1208"/>
                    </a:cubicBezTo>
                    <a:cubicBezTo>
                      <a:pt x="1537" y="1208"/>
                      <a:pt x="1681" y="1238"/>
                      <a:pt x="1816" y="1295"/>
                    </a:cubicBezTo>
                    <a:close/>
                    <a:moveTo>
                      <a:pt x="1816" y="1295"/>
                    </a:moveTo>
                    <a:cubicBezTo>
                      <a:pt x="1816" y="1295"/>
                      <a:pt x="1816" y="1295"/>
                      <a:pt x="1816" y="1295"/>
                    </a:cubicBezTo>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0" name="Freeform 7"/>
              <p:cNvSpPr>
                <a:spLocks noEditPoints="1"/>
              </p:cNvSpPr>
              <p:nvPr/>
            </p:nvSpPr>
            <p:spPr bwMode="auto">
              <a:xfrm>
                <a:off x="4561135" y="2074017"/>
                <a:ext cx="110472" cy="76001"/>
              </a:xfrm>
              <a:custGeom>
                <a:avLst/>
                <a:gdLst>
                  <a:gd name="T0" fmla="*/ 0 w 266"/>
                  <a:gd name="T1" fmla="*/ 183 h 183"/>
                  <a:gd name="T2" fmla="*/ 266 w 266"/>
                  <a:gd name="T3" fmla="*/ 131 h 183"/>
                  <a:gd name="T4" fmla="*/ 266 w 266"/>
                  <a:gd name="T5" fmla="*/ 0 h 183"/>
                  <a:gd name="T6" fmla="*/ 0 w 266"/>
                  <a:gd name="T7" fmla="*/ 68 h 183"/>
                  <a:gd name="T8" fmla="*/ 0 w 266"/>
                  <a:gd name="T9" fmla="*/ 183 h 183"/>
                  <a:gd name="T10" fmla="*/ 0 w 266"/>
                  <a:gd name="T11" fmla="*/ 183 h 183"/>
                  <a:gd name="T12" fmla="*/ 0 w 266"/>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266" h="183">
                    <a:moveTo>
                      <a:pt x="0" y="183"/>
                    </a:moveTo>
                    <a:lnTo>
                      <a:pt x="266" y="131"/>
                    </a:lnTo>
                    <a:lnTo>
                      <a:pt x="266" y="0"/>
                    </a:lnTo>
                    <a:lnTo>
                      <a:pt x="0" y="68"/>
                    </a:lnTo>
                    <a:lnTo>
                      <a:pt x="0" y="183"/>
                    </a:lnTo>
                    <a:close/>
                    <a:moveTo>
                      <a:pt x="0" y="183"/>
                    </a:moveTo>
                    <a:lnTo>
                      <a:pt x="0" y="183"/>
                    </a:lnTo>
                    <a:close/>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1" name="Freeform 8"/>
              <p:cNvSpPr>
                <a:spLocks noEditPoints="1"/>
              </p:cNvSpPr>
              <p:nvPr/>
            </p:nvSpPr>
            <p:spPr bwMode="auto">
              <a:xfrm>
                <a:off x="4561135" y="2074017"/>
                <a:ext cx="110472" cy="76001"/>
              </a:xfrm>
              <a:custGeom>
                <a:avLst/>
                <a:gdLst>
                  <a:gd name="T0" fmla="*/ 0 w 266"/>
                  <a:gd name="T1" fmla="*/ 183 h 183"/>
                  <a:gd name="T2" fmla="*/ 266 w 266"/>
                  <a:gd name="T3" fmla="*/ 131 h 183"/>
                  <a:gd name="T4" fmla="*/ 266 w 266"/>
                  <a:gd name="T5" fmla="*/ 0 h 183"/>
                  <a:gd name="T6" fmla="*/ 0 w 266"/>
                  <a:gd name="T7" fmla="*/ 68 h 183"/>
                  <a:gd name="T8" fmla="*/ 0 w 266"/>
                  <a:gd name="T9" fmla="*/ 183 h 183"/>
                  <a:gd name="T10" fmla="*/ 0 w 266"/>
                  <a:gd name="T11" fmla="*/ 183 h 183"/>
                  <a:gd name="T12" fmla="*/ 0 w 266"/>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266" h="183">
                    <a:moveTo>
                      <a:pt x="0" y="183"/>
                    </a:moveTo>
                    <a:lnTo>
                      <a:pt x="266" y="131"/>
                    </a:lnTo>
                    <a:lnTo>
                      <a:pt x="266" y="0"/>
                    </a:lnTo>
                    <a:lnTo>
                      <a:pt x="0" y="68"/>
                    </a:lnTo>
                    <a:lnTo>
                      <a:pt x="0" y="183"/>
                    </a:lnTo>
                    <a:moveTo>
                      <a:pt x="0" y="183"/>
                    </a:moveTo>
                    <a:lnTo>
                      <a:pt x="0" y="183"/>
                    </a:lnTo>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2" name="Freeform 9"/>
              <p:cNvSpPr>
                <a:spLocks noEditPoints="1"/>
              </p:cNvSpPr>
              <p:nvPr/>
            </p:nvSpPr>
            <p:spPr bwMode="auto">
              <a:xfrm>
                <a:off x="4561135" y="2256337"/>
                <a:ext cx="110472" cy="56897"/>
              </a:xfrm>
              <a:custGeom>
                <a:avLst/>
                <a:gdLst>
                  <a:gd name="T0" fmla="*/ 0 w 266"/>
                  <a:gd name="T1" fmla="*/ 137 h 137"/>
                  <a:gd name="T2" fmla="*/ 266 w 266"/>
                  <a:gd name="T3" fmla="*/ 137 h 137"/>
                  <a:gd name="T4" fmla="*/ 266 w 266"/>
                  <a:gd name="T5" fmla="*/ 0 h 137"/>
                  <a:gd name="T6" fmla="*/ 0 w 266"/>
                  <a:gd name="T7" fmla="*/ 18 h 137"/>
                  <a:gd name="T8" fmla="*/ 0 w 266"/>
                  <a:gd name="T9" fmla="*/ 137 h 137"/>
                  <a:gd name="T10" fmla="*/ 0 w 266"/>
                  <a:gd name="T11" fmla="*/ 137 h 137"/>
                  <a:gd name="T12" fmla="*/ 0 w 266"/>
                  <a:gd name="T13" fmla="*/ 137 h 137"/>
                </a:gdLst>
                <a:ahLst/>
                <a:cxnLst>
                  <a:cxn ang="0">
                    <a:pos x="T0" y="T1"/>
                  </a:cxn>
                  <a:cxn ang="0">
                    <a:pos x="T2" y="T3"/>
                  </a:cxn>
                  <a:cxn ang="0">
                    <a:pos x="T4" y="T5"/>
                  </a:cxn>
                  <a:cxn ang="0">
                    <a:pos x="T6" y="T7"/>
                  </a:cxn>
                  <a:cxn ang="0">
                    <a:pos x="T8" y="T9"/>
                  </a:cxn>
                  <a:cxn ang="0">
                    <a:pos x="T10" y="T11"/>
                  </a:cxn>
                  <a:cxn ang="0">
                    <a:pos x="T12" y="T13"/>
                  </a:cxn>
                </a:cxnLst>
                <a:rect l="0" t="0" r="r" b="b"/>
                <a:pathLst>
                  <a:path w="266" h="137">
                    <a:moveTo>
                      <a:pt x="0" y="137"/>
                    </a:moveTo>
                    <a:lnTo>
                      <a:pt x="266" y="137"/>
                    </a:lnTo>
                    <a:lnTo>
                      <a:pt x="266" y="0"/>
                    </a:lnTo>
                    <a:lnTo>
                      <a:pt x="0" y="18"/>
                    </a:lnTo>
                    <a:lnTo>
                      <a:pt x="0" y="137"/>
                    </a:lnTo>
                    <a:close/>
                    <a:moveTo>
                      <a:pt x="0" y="137"/>
                    </a:moveTo>
                    <a:lnTo>
                      <a:pt x="0" y="137"/>
                    </a:lnTo>
                    <a:close/>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3" name="Freeform 10"/>
              <p:cNvSpPr>
                <a:spLocks noEditPoints="1"/>
              </p:cNvSpPr>
              <p:nvPr/>
            </p:nvSpPr>
            <p:spPr bwMode="auto">
              <a:xfrm>
                <a:off x="4561135" y="2256337"/>
                <a:ext cx="110472" cy="56897"/>
              </a:xfrm>
              <a:custGeom>
                <a:avLst/>
                <a:gdLst>
                  <a:gd name="T0" fmla="*/ 0 w 266"/>
                  <a:gd name="T1" fmla="*/ 137 h 137"/>
                  <a:gd name="T2" fmla="*/ 266 w 266"/>
                  <a:gd name="T3" fmla="*/ 137 h 137"/>
                  <a:gd name="T4" fmla="*/ 266 w 266"/>
                  <a:gd name="T5" fmla="*/ 0 h 137"/>
                  <a:gd name="T6" fmla="*/ 0 w 266"/>
                  <a:gd name="T7" fmla="*/ 18 h 137"/>
                  <a:gd name="T8" fmla="*/ 0 w 266"/>
                  <a:gd name="T9" fmla="*/ 137 h 137"/>
                  <a:gd name="T10" fmla="*/ 0 w 266"/>
                  <a:gd name="T11" fmla="*/ 137 h 137"/>
                  <a:gd name="T12" fmla="*/ 0 w 266"/>
                  <a:gd name="T13" fmla="*/ 137 h 137"/>
                </a:gdLst>
                <a:ahLst/>
                <a:cxnLst>
                  <a:cxn ang="0">
                    <a:pos x="T0" y="T1"/>
                  </a:cxn>
                  <a:cxn ang="0">
                    <a:pos x="T2" y="T3"/>
                  </a:cxn>
                  <a:cxn ang="0">
                    <a:pos x="T4" y="T5"/>
                  </a:cxn>
                  <a:cxn ang="0">
                    <a:pos x="T6" y="T7"/>
                  </a:cxn>
                  <a:cxn ang="0">
                    <a:pos x="T8" y="T9"/>
                  </a:cxn>
                  <a:cxn ang="0">
                    <a:pos x="T10" y="T11"/>
                  </a:cxn>
                  <a:cxn ang="0">
                    <a:pos x="T12" y="T13"/>
                  </a:cxn>
                </a:cxnLst>
                <a:rect l="0" t="0" r="r" b="b"/>
                <a:pathLst>
                  <a:path w="266" h="137">
                    <a:moveTo>
                      <a:pt x="0" y="137"/>
                    </a:moveTo>
                    <a:lnTo>
                      <a:pt x="266" y="137"/>
                    </a:lnTo>
                    <a:lnTo>
                      <a:pt x="266" y="0"/>
                    </a:lnTo>
                    <a:lnTo>
                      <a:pt x="0" y="18"/>
                    </a:lnTo>
                    <a:lnTo>
                      <a:pt x="0" y="137"/>
                    </a:lnTo>
                    <a:moveTo>
                      <a:pt x="0" y="137"/>
                    </a:moveTo>
                    <a:lnTo>
                      <a:pt x="0" y="137"/>
                    </a:lnTo>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4" name="Freeform 11"/>
              <p:cNvSpPr>
                <a:spLocks noEditPoints="1"/>
              </p:cNvSpPr>
              <p:nvPr/>
            </p:nvSpPr>
            <p:spPr bwMode="auto">
              <a:xfrm>
                <a:off x="4561135" y="2166631"/>
                <a:ext cx="110472" cy="64788"/>
              </a:xfrm>
              <a:custGeom>
                <a:avLst/>
                <a:gdLst>
                  <a:gd name="T0" fmla="*/ 0 w 266"/>
                  <a:gd name="T1" fmla="*/ 156 h 156"/>
                  <a:gd name="T2" fmla="*/ 266 w 266"/>
                  <a:gd name="T3" fmla="*/ 131 h 156"/>
                  <a:gd name="T4" fmla="*/ 266 w 266"/>
                  <a:gd name="T5" fmla="*/ 0 h 156"/>
                  <a:gd name="T6" fmla="*/ 0 w 266"/>
                  <a:gd name="T7" fmla="*/ 44 h 156"/>
                  <a:gd name="T8" fmla="*/ 0 w 266"/>
                  <a:gd name="T9" fmla="*/ 156 h 156"/>
                  <a:gd name="T10" fmla="*/ 0 w 266"/>
                  <a:gd name="T11" fmla="*/ 156 h 156"/>
                  <a:gd name="T12" fmla="*/ 0 w 26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266" h="156">
                    <a:moveTo>
                      <a:pt x="0" y="156"/>
                    </a:moveTo>
                    <a:lnTo>
                      <a:pt x="266" y="131"/>
                    </a:lnTo>
                    <a:lnTo>
                      <a:pt x="266" y="0"/>
                    </a:lnTo>
                    <a:lnTo>
                      <a:pt x="0" y="44"/>
                    </a:lnTo>
                    <a:lnTo>
                      <a:pt x="0" y="156"/>
                    </a:lnTo>
                    <a:close/>
                    <a:moveTo>
                      <a:pt x="0" y="156"/>
                    </a:moveTo>
                    <a:lnTo>
                      <a:pt x="0" y="156"/>
                    </a:lnTo>
                    <a:close/>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5" name="Freeform 12"/>
              <p:cNvSpPr>
                <a:spLocks noEditPoints="1"/>
              </p:cNvSpPr>
              <p:nvPr/>
            </p:nvSpPr>
            <p:spPr bwMode="auto">
              <a:xfrm>
                <a:off x="4561135" y="2166631"/>
                <a:ext cx="110472" cy="64788"/>
              </a:xfrm>
              <a:custGeom>
                <a:avLst/>
                <a:gdLst>
                  <a:gd name="T0" fmla="*/ 0 w 266"/>
                  <a:gd name="T1" fmla="*/ 156 h 156"/>
                  <a:gd name="T2" fmla="*/ 266 w 266"/>
                  <a:gd name="T3" fmla="*/ 131 h 156"/>
                  <a:gd name="T4" fmla="*/ 266 w 266"/>
                  <a:gd name="T5" fmla="*/ 0 h 156"/>
                  <a:gd name="T6" fmla="*/ 0 w 266"/>
                  <a:gd name="T7" fmla="*/ 44 h 156"/>
                  <a:gd name="T8" fmla="*/ 0 w 266"/>
                  <a:gd name="T9" fmla="*/ 156 h 156"/>
                  <a:gd name="T10" fmla="*/ 0 w 266"/>
                  <a:gd name="T11" fmla="*/ 156 h 156"/>
                  <a:gd name="T12" fmla="*/ 0 w 26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266" h="156">
                    <a:moveTo>
                      <a:pt x="0" y="156"/>
                    </a:moveTo>
                    <a:lnTo>
                      <a:pt x="266" y="131"/>
                    </a:lnTo>
                    <a:lnTo>
                      <a:pt x="266" y="0"/>
                    </a:lnTo>
                    <a:lnTo>
                      <a:pt x="0" y="44"/>
                    </a:lnTo>
                    <a:lnTo>
                      <a:pt x="0" y="156"/>
                    </a:lnTo>
                    <a:moveTo>
                      <a:pt x="0" y="156"/>
                    </a:moveTo>
                    <a:lnTo>
                      <a:pt x="0" y="156"/>
                    </a:lnTo>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6" name="Freeform 13"/>
              <p:cNvSpPr>
                <a:spLocks noEditPoints="1"/>
              </p:cNvSpPr>
              <p:nvPr/>
            </p:nvSpPr>
            <p:spPr bwMode="auto">
              <a:xfrm>
                <a:off x="4561135" y="1980988"/>
                <a:ext cx="110472" cy="85969"/>
              </a:xfrm>
              <a:custGeom>
                <a:avLst/>
                <a:gdLst>
                  <a:gd name="T0" fmla="*/ 0 w 266"/>
                  <a:gd name="T1" fmla="*/ 207 h 207"/>
                  <a:gd name="T2" fmla="*/ 266 w 266"/>
                  <a:gd name="T3" fmla="*/ 136 h 207"/>
                  <a:gd name="T4" fmla="*/ 266 w 266"/>
                  <a:gd name="T5" fmla="*/ 0 h 207"/>
                  <a:gd name="T6" fmla="*/ 0 w 266"/>
                  <a:gd name="T7" fmla="*/ 87 h 207"/>
                  <a:gd name="T8" fmla="*/ 0 w 266"/>
                  <a:gd name="T9" fmla="*/ 207 h 207"/>
                  <a:gd name="T10" fmla="*/ 0 w 266"/>
                  <a:gd name="T11" fmla="*/ 207 h 207"/>
                  <a:gd name="T12" fmla="*/ 0 w 266"/>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66" h="207">
                    <a:moveTo>
                      <a:pt x="0" y="207"/>
                    </a:moveTo>
                    <a:lnTo>
                      <a:pt x="266" y="136"/>
                    </a:lnTo>
                    <a:lnTo>
                      <a:pt x="266" y="0"/>
                    </a:lnTo>
                    <a:lnTo>
                      <a:pt x="0" y="87"/>
                    </a:lnTo>
                    <a:lnTo>
                      <a:pt x="0" y="207"/>
                    </a:lnTo>
                    <a:close/>
                    <a:moveTo>
                      <a:pt x="0" y="207"/>
                    </a:moveTo>
                    <a:lnTo>
                      <a:pt x="0" y="207"/>
                    </a:lnTo>
                    <a:close/>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7" name="Freeform 14"/>
              <p:cNvSpPr>
                <a:spLocks noEditPoints="1"/>
              </p:cNvSpPr>
              <p:nvPr/>
            </p:nvSpPr>
            <p:spPr bwMode="auto">
              <a:xfrm>
                <a:off x="4561135" y="1980988"/>
                <a:ext cx="110472" cy="85969"/>
              </a:xfrm>
              <a:custGeom>
                <a:avLst/>
                <a:gdLst>
                  <a:gd name="T0" fmla="*/ 0 w 266"/>
                  <a:gd name="T1" fmla="*/ 207 h 207"/>
                  <a:gd name="T2" fmla="*/ 266 w 266"/>
                  <a:gd name="T3" fmla="*/ 136 h 207"/>
                  <a:gd name="T4" fmla="*/ 266 w 266"/>
                  <a:gd name="T5" fmla="*/ 0 h 207"/>
                  <a:gd name="T6" fmla="*/ 0 w 266"/>
                  <a:gd name="T7" fmla="*/ 87 h 207"/>
                  <a:gd name="T8" fmla="*/ 0 w 266"/>
                  <a:gd name="T9" fmla="*/ 207 h 207"/>
                  <a:gd name="T10" fmla="*/ 0 w 266"/>
                  <a:gd name="T11" fmla="*/ 207 h 207"/>
                  <a:gd name="T12" fmla="*/ 0 w 266"/>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266" h="207">
                    <a:moveTo>
                      <a:pt x="0" y="207"/>
                    </a:moveTo>
                    <a:lnTo>
                      <a:pt x="266" y="136"/>
                    </a:lnTo>
                    <a:lnTo>
                      <a:pt x="266" y="0"/>
                    </a:lnTo>
                    <a:lnTo>
                      <a:pt x="0" y="87"/>
                    </a:lnTo>
                    <a:lnTo>
                      <a:pt x="0" y="207"/>
                    </a:lnTo>
                    <a:moveTo>
                      <a:pt x="0" y="207"/>
                    </a:moveTo>
                    <a:lnTo>
                      <a:pt x="0" y="207"/>
                    </a:lnTo>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8" name="Freeform 15"/>
              <p:cNvSpPr>
                <a:spLocks noEditPoints="1"/>
              </p:cNvSpPr>
              <p:nvPr/>
            </p:nvSpPr>
            <p:spPr bwMode="auto">
              <a:xfrm>
                <a:off x="4703585" y="2251769"/>
                <a:ext cx="51083" cy="61050"/>
              </a:xfrm>
              <a:custGeom>
                <a:avLst/>
                <a:gdLst>
                  <a:gd name="T0" fmla="*/ 0 w 315"/>
                  <a:gd name="T1" fmla="*/ 0 h 374"/>
                  <a:gd name="T2" fmla="*/ 0 w 315"/>
                  <a:gd name="T3" fmla="*/ 374 h 374"/>
                  <a:gd name="T4" fmla="*/ 315 w 315"/>
                  <a:gd name="T5" fmla="*/ 374 h 374"/>
                  <a:gd name="T6" fmla="*/ 200 w 315"/>
                  <a:gd name="T7" fmla="*/ 273 h 374"/>
                  <a:gd name="T8" fmla="*/ 0 w 315"/>
                  <a:gd name="T9" fmla="*/ 0 h 374"/>
                  <a:gd name="T10" fmla="*/ 0 w 315"/>
                  <a:gd name="T11" fmla="*/ 0 h 374"/>
                  <a:gd name="T12" fmla="*/ 0 w 315"/>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315" h="374">
                    <a:moveTo>
                      <a:pt x="0" y="0"/>
                    </a:moveTo>
                    <a:cubicBezTo>
                      <a:pt x="0" y="374"/>
                      <a:pt x="0" y="374"/>
                      <a:pt x="0" y="374"/>
                    </a:cubicBezTo>
                    <a:cubicBezTo>
                      <a:pt x="315" y="374"/>
                      <a:pt x="315" y="374"/>
                      <a:pt x="315" y="374"/>
                    </a:cubicBezTo>
                    <a:cubicBezTo>
                      <a:pt x="274" y="343"/>
                      <a:pt x="236" y="310"/>
                      <a:pt x="200" y="273"/>
                    </a:cubicBezTo>
                    <a:cubicBezTo>
                      <a:pt x="119" y="192"/>
                      <a:pt x="52" y="101"/>
                      <a:pt x="0" y="0"/>
                    </a:cubicBezTo>
                    <a:close/>
                    <a:moveTo>
                      <a:pt x="0" y="0"/>
                    </a:moveTo>
                    <a:cubicBezTo>
                      <a:pt x="0" y="0"/>
                      <a:pt x="0" y="0"/>
                      <a:pt x="0" y="0"/>
                    </a:cubicBezTo>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9" name="Freeform 16"/>
              <p:cNvSpPr>
                <a:spLocks noEditPoints="1"/>
              </p:cNvSpPr>
              <p:nvPr/>
            </p:nvSpPr>
            <p:spPr bwMode="auto">
              <a:xfrm>
                <a:off x="4496762" y="1890036"/>
                <a:ext cx="297360" cy="424444"/>
              </a:xfrm>
              <a:custGeom>
                <a:avLst/>
                <a:gdLst>
                  <a:gd name="T0" fmla="*/ 1823 w 1832"/>
                  <a:gd name="T1" fmla="*/ 712 h 2613"/>
                  <a:gd name="T2" fmla="*/ 1832 w 1832"/>
                  <a:gd name="T3" fmla="*/ 708 h 2613"/>
                  <a:gd name="T4" fmla="*/ 1832 w 1832"/>
                  <a:gd name="T5" fmla="*/ 226 h 2613"/>
                  <a:gd name="T6" fmla="*/ 1448 w 1832"/>
                  <a:gd name="T7" fmla="*/ 0 h 2613"/>
                  <a:gd name="T8" fmla="*/ 1 w 1832"/>
                  <a:gd name="T9" fmla="*/ 505 h 2613"/>
                  <a:gd name="T10" fmla="*/ 0 w 1832"/>
                  <a:gd name="T11" fmla="*/ 2613 h 2613"/>
                  <a:gd name="T12" fmla="*/ 191 w 1832"/>
                  <a:gd name="T13" fmla="*/ 2613 h 2613"/>
                  <a:gd name="T14" fmla="*/ 191 w 1832"/>
                  <a:gd name="T15" fmla="*/ 607 h 2613"/>
                  <a:gd name="T16" fmla="*/ 1274 w 1832"/>
                  <a:gd name="T17" fmla="*/ 261 h 2613"/>
                  <a:gd name="T18" fmla="*/ 1274 w 1832"/>
                  <a:gd name="T19" fmla="*/ 1221 h 2613"/>
                  <a:gd name="T20" fmla="*/ 1474 w 1832"/>
                  <a:gd name="T21" fmla="*/ 947 h 2613"/>
                  <a:gd name="T22" fmla="*/ 1823 w 1832"/>
                  <a:gd name="T23" fmla="*/ 712 h 2613"/>
                  <a:gd name="T24" fmla="*/ 1823 w 1832"/>
                  <a:gd name="T25" fmla="*/ 712 h 2613"/>
                  <a:gd name="T26" fmla="*/ 1823 w 1832"/>
                  <a:gd name="T27" fmla="*/ 712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2" h="2613">
                    <a:moveTo>
                      <a:pt x="1823" y="712"/>
                    </a:moveTo>
                    <a:cubicBezTo>
                      <a:pt x="1832" y="708"/>
                      <a:pt x="1832" y="708"/>
                      <a:pt x="1832" y="708"/>
                    </a:cubicBezTo>
                    <a:cubicBezTo>
                      <a:pt x="1832" y="226"/>
                      <a:pt x="1832" y="226"/>
                      <a:pt x="1832" y="226"/>
                    </a:cubicBezTo>
                    <a:cubicBezTo>
                      <a:pt x="1448" y="0"/>
                      <a:pt x="1448" y="0"/>
                      <a:pt x="1448" y="0"/>
                    </a:cubicBezTo>
                    <a:cubicBezTo>
                      <a:pt x="1" y="505"/>
                      <a:pt x="1" y="505"/>
                      <a:pt x="1" y="505"/>
                    </a:cubicBezTo>
                    <a:cubicBezTo>
                      <a:pt x="0" y="2613"/>
                      <a:pt x="0" y="2613"/>
                      <a:pt x="0" y="2613"/>
                    </a:cubicBezTo>
                    <a:cubicBezTo>
                      <a:pt x="191" y="2613"/>
                      <a:pt x="191" y="2613"/>
                      <a:pt x="191" y="2613"/>
                    </a:cubicBezTo>
                    <a:cubicBezTo>
                      <a:pt x="191" y="607"/>
                      <a:pt x="191" y="607"/>
                      <a:pt x="191" y="607"/>
                    </a:cubicBezTo>
                    <a:cubicBezTo>
                      <a:pt x="1274" y="261"/>
                      <a:pt x="1274" y="261"/>
                      <a:pt x="1274" y="261"/>
                    </a:cubicBezTo>
                    <a:cubicBezTo>
                      <a:pt x="1274" y="1221"/>
                      <a:pt x="1274" y="1221"/>
                      <a:pt x="1274" y="1221"/>
                    </a:cubicBezTo>
                    <a:cubicBezTo>
                      <a:pt x="1325" y="1120"/>
                      <a:pt x="1393" y="1028"/>
                      <a:pt x="1474" y="947"/>
                    </a:cubicBezTo>
                    <a:cubicBezTo>
                      <a:pt x="1574" y="847"/>
                      <a:pt x="1692" y="767"/>
                      <a:pt x="1823" y="712"/>
                    </a:cubicBezTo>
                    <a:close/>
                    <a:moveTo>
                      <a:pt x="1823" y="712"/>
                    </a:moveTo>
                    <a:cubicBezTo>
                      <a:pt x="1823" y="712"/>
                      <a:pt x="1823" y="712"/>
                      <a:pt x="1823" y="712"/>
                    </a:cubicBezTo>
                  </a:path>
                </a:pathLst>
              </a:cu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60" name="Line 17"/>
              <p:cNvSpPr>
                <a:spLocks noChangeShapeType="1"/>
              </p:cNvSpPr>
              <p:nvPr/>
            </p:nvSpPr>
            <p:spPr bwMode="auto">
              <a:xfrm>
                <a:off x="4863063" y="2309081"/>
                <a:ext cx="0" cy="0"/>
              </a:xfrm>
              <a:prstGeom prst="line">
                <a:avLst/>
              </a:pr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61" name="Line 18"/>
              <p:cNvSpPr>
                <a:spLocks noChangeShapeType="1"/>
              </p:cNvSpPr>
              <p:nvPr/>
            </p:nvSpPr>
            <p:spPr bwMode="auto">
              <a:xfrm>
                <a:off x="4863063" y="2309081"/>
                <a:ext cx="0" cy="0"/>
              </a:xfrm>
              <a:prstGeom prst="line">
                <a:avLst/>
              </a:prstGeom>
              <a:solidFill>
                <a:schemeClr val="tx2">
                  <a:lumMod val="75000"/>
                </a:schemeClr>
              </a:solidFill>
              <a:ln w="9525">
                <a:solidFill>
                  <a:srgbClr val="FFFFFF"/>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62" name="任意多边形 161"/>
              <p:cNvSpPr/>
              <p:nvPr/>
            </p:nvSpPr>
            <p:spPr>
              <a:xfrm>
                <a:off x="4745448" y="2084850"/>
                <a:ext cx="217850" cy="180911"/>
              </a:xfrm>
              <a:custGeom>
                <a:avLst/>
                <a:gdLst>
                  <a:gd name="connsiteX0" fmla="*/ 934095 w 1431019"/>
                  <a:gd name="connsiteY0" fmla="*/ 1127531 h 1188375"/>
                  <a:gd name="connsiteX1" fmla="*/ 948151 w 1431019"/>
                  <a:gd name="connsiteY1" fmla="*/ 1127531 h 1188375"/>
                  <a:gd name="connsiteX2" fmla="*/ 960774 w 1431019"/>
                  <a:gd name="connsiteY2" fmla="*/ 1128270 h 1188375"/>
                  <a:gd name="connsiteX3" fmla="*/ 964199 w 1431019"/>
                  <a:gd name="connsiteY3" fmla="*/ 1132908 h 1188375"/>
                  <a:gd name="connsiteX4" fmla="*/ 964919 w 1431019"/>
                  <a:gd name="connsiteY4" fmla="*/ 1143300 h 1188375"/>
                  <a:gd name="connsiteX5" fmla="*/ 961312 w 1431019"/>
                  <a:gd name="connsiteY5" fmla="*/ 1149974 h 1188375"/>
                  <a:gd name="connsiteX6" fmla="*/ 953379 w 1431019"/>
                  <a:gd name="connsiteY6" fmla="*/ 1152206 h 1188375"/>
                  <a:gd name="connsiteX7" fmla="*/ 951401 w 1431019"/>
                  <a:gd name="connsiteY7" fmla="*/ 1161663 h 1188375"/>
                  <a:gd name="connsiteX8" fmla="*/ 951401 w 1431019"/>
                  <a:gd name="connsiteY8" fmla="*/ 1170012 h 1188375"/>
                  <a:gd name="connsiteX9" fmla="*/ 945453 w 1431019"/>
                  <a:gd name="connsiteY9" fmla="*/ 1172794 h 1188375"/>
                  <a:gd name="connsiteX10" fmla="*/ 938240 w 1431019"/>
                  <a:gd name="connsiteY10" fmla="*/ 1173534 h 1188375"/>
                  <a:gd name="connsiteX11" fmla="*/ 932655 w 1431019"/>
                  <a:gd name="connsiteY11" fmla="*/ 1182440 h 1188375"/>
                  <a:gd name="connsiteX12" fmla="*/ 927427 w 1431019"/>
                  <a:gd name="connsiteY12" fmla="*/ 1187078 h 1188375"/>
                  <a:gd name="connsiteX13" fmla="*/ 916789 w 1431019"/>
                  <a:gd name="connsiteY13" fmla="*/ 1188375 h 1188375"/>
                  <a:gd name="connsiteX14" fmla="*/ 904354 w 1431019"/>
                  <a:gd name="connsiteY14" fmla="*/ 1187078 h 1188375"/>
                  <a:gd name="connsiteX15" fmla="*/ 900209 w 1431019"/>
                  <a:gd name="connsiteY15" fmla="*/ 1181700 h 1188375"/>
                  <a:gd name="connsiteX16" fmla="*/ 890116 w 1431019"/>
                  <a:gd name="connsiteY16" fmla="*/ 1174280 h 1188375"/>
                  <a:gd name="connsiteX17" fmla="*/ 891556 w 1431019"/>
                  <a:gd name="connsiteY17" fmla="*/ 1161663 h 1188375"/>
                  <a:gd name="connsiteX18" fmla="*/ 894981 w 1431019"/>
                  <a:gd name="connsiteY18" fmla="*/ 1152206 h 1188375"/>
                  <a:gd name="connsiteX19" fmla="*/ 904354 w 1431019"/>
                  <a:gd name="connsiteY19" fmla="*/ 1141075 h 1188375"/>
                  <a:gd name="connsiteX20" fmla="*/ 909400 w 1431019"/>
                  <a:gd name="connsiteY20" fmla="*/ 1133654 h 1188375"/>
                  <a:gd name="connsiteX21" fmla="*/ 918053 w 1431019"/>
                  <a:gd name="connsiteY21" fmla="*/ 1133654 h 1188375"/>
                  <a:gd name="connsiteX22" fmla="*/ 925442 w 1431019"/>
                  <a:gd name="connsiteY22" fmla="*/ 1137176 h 1188375"/>
                  <a:gd name="connsiteX23" fmla="*/ 930851 w 1431019"/>
                  <a:gd name="connsiteY23" fmla="*/ 1132169 h 1188375"/>
                  <a:gd name="connsiteX24" fmla="*/ 1270080 w 1431019"/>
                  <a:gd name="connsiteY24" fmla="*/ 922723 h 1188375"/>
                  <a:gd name="connsiteX25" fmla="*/ 1278708 w 1431019"/>
                  <a:gd name="connsiteY25" fmla="*/ 928094 h 1188375"/>
                  <a:gd name="connsiteX26" fmla="*/ 1281406 w 1431019"/>
                  <a:gd name="connsiteY26" fmla="*/ 942728 h 1188375"/>
                  <a:gd name="connsiteX27" fmla="*/ 1277994 w 1431019"/>
                  <a:gd name="connsiteY27" fmla="*/ 951621 h 1188375"/>
                  <a:gd name="connsiteX28" fmla="*/ 1272059 w 1431019"/>
                  <a:gd name="connsiteY28" fmla="*/ 959029 h 1188375"/>
                  <a:gd name="connsiteX29" fmla="*/ 1270080 w 1431019"/>
                  <a:gd name="connsiteY29" fmla="*/ 969401 h 1188375"/>
                  <a:gd name="connsiteX30" fmla="*/ 1270800 w 1431019"/>
                  <a:gd name="connsiteY30" fmla="*/ 978294 h 1188375"/>
                  <a:gd name="connsiteX31" fmla="*/ 1272779 w 1431019"/>
                  <a:gd name="connsiteY31" fmla="*/ 988848 h 1188375"/>
                  <a:gd name="connsiteX32" fmla="*/ 1269360 w 1431019"/>
                  <a:gd name="connsiteY32" fmla="*/ 999966 h 1188375"/>
                  <a:gd name="connsiteX33" fmla="*/ 1257672 w 1431019"/>
                  <a:gd name="connsiteY33" fmla="*/ 1012375 h 1188375"/>
                  <a:gd name="connsiteX34" fmla="*/ 1260727 w 1431019"/>
                  <a:gd name="connsiteY34" fmla="*/ 1022747 h 1188375"/>
                  <a:gd name="connsiteX35" fmla="*/ 1259650 w 1431019"/>
                  <a:gd name="connsiteY35" fmla="*/ 1029415 h 1188375"/>
                  <a:gd name="connsiteX36" fmla="*/ 1261447 w 1431019"/>
                  <a:gd name="connsiteY36" fmla="*/ 1044418 h 1188375"/>
                  <a:gd name="connsiteX37" fmla="*/ 1251016 w 1431019"/>
                  <a:gd name="connsiteY37" fmla="*/ 1042193 h 1188375"/>
                  <a:gd name="connsiteX38" fmla="*/ 1249038 w 1431019"/>
                  <a:gd name="connsiteY38" fmla="*/ 1034786 h 1188375"/>
                  <a:gd name="connsiteX39" fmla="*/ 1246164 w 1431019"/>
                  <a:gd name="connsiteY39" fmla="*/ 1024414 h 1188375"/>
                  <a:gd name="connsiteX40" fmla="*/ 1240949 w 1431019"/>
                  <a:gd name="connsiteY40" fmla="*/ 1015521 h 1188375"/>
                  <a:gd name="connsiteX41" fmla="*/ 1233036 w 1431019"/>
                  <a:gd name="connsiteY41" fmla="*/ 1012375 h 1188375"/>
                  <a:gd name="connsiteX42" fmla="*/ 1230337 w 1431019"/>
                  <a:gd name="connsiteY42" fmla="*/ 995334 h 1188375"/>
                  <a:gd name="connsiteX43" fmla="*/ 1231057 w 1431019"/>
                  <a:gd name="connsiteY43" fmla="*/ 982925 h 1188375"/>
                  <a:gd name="connsiteX44" fmla="*/ 1236272 w 1431019"/>
                  <a:gd name="connsiteY44" fmla="*/ 975330 h 1188375"/>
                  <a:gd name="connsiteX45" fmla="*/ 1239691 w 1431019"/>
                  <a:gd name="connsiteY45" fmla="*/ 966437 h 1188375"/>
                  <a:gd name="connsiteX46" fmla="*/ 1246164 w 1431019"/>
                  <a:gd name="connsiteY46" fmla="*/ 953288 h 1188375"/>
                  <a:gd name="connsiteX47" fmla="*/ 1249576 w 1431019"/>
                  <a:gd name="connsiteY47" fmla="*/ 941989 h 1188375"/>
                  <a:gd name="connsiteX48" fmla="*/ 1257672 w 1431019"/>
                  <a:gd name="connsiteY48" fmla="*/ 929580 h 1188375"/>
                  <a:gd name="connsiteX49" fmla="*/ 1264145 w 1431019"/>
                  <a:gd name="connsiteY49" fmla="*/ 926058 h 1188375"/>
                  <a:gd name="connsiteX50" fmla="*/ 1120201 w 1431019"/>
                  <a:gd name="connsiteY50" fmla="*/ 464167 h 1188375"/>
                  <a:gd name="connsiteX51" fmla="*/ 1119397 w 1431019"/>
                  <a:gd name="connsiteY51" fmla="*/ 464822 h 1188375"/>
                  <a:gd name="connsiteX52" fmla="*/ 1119825 w 1431019"/>
                  <a:gd name="connsiteY52" fmla="*/ 465036 h 1188375"/>
                  <a:gd name="connsiteX53" fmla="*/ 1100288 w 1431019"/>
                  <a:gd name="connsiteY53" fmla="*/ 459795 h 1188375"/>
                  <a:gd name="connsiteX54" fmla="*/ 1100145 w 1431019"/>
                  <a:gd name="connsiteY54" fmla="*/ 460989 h 1188375"/>
                  <a:gd name="connsiteX55" fmla="*/ 1100288 w 1431019"/>
                  <a:gd name="connsiteY55" fmla="*/ 460989 h 1188375"/>
                  <a:gd name="connsiteX56" fmla="*/ 1124547 w 1431019"/>
                  <a:gd name="connsiteY56" fmla="*/ 452180 h 1188375"/>
                  <a:gd name="connsiteX57" fmla="*/ 1123263 w 1431019"/>
                  <a:gd name="connsiteY57" fmla="*/ 457058 h 1188375"/>
                  <a:gd name="connsiteX58" fmla="*/ 1124593 w 1431019"/>
                  <a:gd name="connsiteY58" fmla="*/ 453970 h 1188375"/>
                  <a:gd name="connsiteX59" fmla="*/ 1125887 w 1431019"/>
                  <a:gd name="connsiteY59" fmla="*/ 431559 h 1188375"/>
                  <a:gd name="connsiteX60" fmla="*/ 1124647 w 1431019"/>
                  <a:gd name="connsiteY60" fmla="*/ 432847 h 1188375"/>
                  <a:gd name="connsiteX61" fmla="*/ 1128874 w 1431019"/>
                  <a:gd name="connsiteY61" fmla="*/ 431559 h 1188375"/>
                  <a:gd name="connsiteX62" fmla="*/ 1129725 w 1431019"/>
                  <a:gd name="connsiteY62" fmla="*/ 427574 h 1188375"/>
                  <a:gd name="connsiteX63" fmla="*/ 1129393 w 1431019"/>
                  <a:gd name="connsiteY63" fmla="*/ 427918 h 1188375"/>
                  <a:gd name="connsiteX64" fmla="*/ 1129224 w 1431019"/>
                  <a:gd name="connsiteY64" fmla="*/ 430009 h 1188375"/>
                  <a:gd name="connsiteX65" fmla="*/ 1209561 w 1431019"/>
                  <a:gd name="connsiteY65" fmla="*/ 0 h 1188375"/>
                  <a:gd name="connsiteX66" fmla="*/ 1211539 w 1431019"/>
                  <a:gd name="connsiteY66" fmla="*/ 7226 h 1188375"/>
                  <a:gd name="connsiteX67" fmla="*/ 1217481 w 1431019"/>
                  <a:gd name="connsiteY67" fmla="*/ 19265 h 1188375"/>
                  <a:gd name="connsiteX68" fmla="*/ 1217481 w 1431019"/>
                  <a:gd name="connsiteY68" fmla="*/ 22787 h 1188375"/>
                  <a:gd name="connsiteX69" fmla="*/ 1230266 w 1431019"/>
                  <a:gd name="connsiteY69" fmla="*/ 34645 h 1188375"/>
                  <a:gd name="connsiteX70" fmla="*/ 1237466 w 1431019"/>
                  <a:gd name="connsiteY70" fmla="*/ 42798 h 1188375"/>
                  <a:gd name="connsiteX71" fmla="*/ 1242331 w 1431019"/>
                  <a:gd name="connsiteY71" fmla="*/ 54098 h 1188375"/>
                  <a:gd name="connsiteX72" fmla="*/ 1246106 w 1431019"/>
                  <a:gd name="connsiteY72" fmla="*/ 60578 h 1188375"/>
                  <a:gd name="connsiteX73" fmla="*/ 1248273 w 1431019"/>
                  <a:gd name="connsiteY73" fmla="*/ 71138 h 1188375"/>
                  <a:gd name="connsiteX74" fmla="*/ 1263393 w 1431019"/>
                  <a:gd name="connsiteY74" fmla="*/ 82996 h 1188375"/>
                  <a:gd name="connsiteX75" fmla="*/ 1272759 w 1431019"/>
                  <a:gd name="connsiteY75" fmla="*/ 89664 h 1188375"/>
                  <a:gd name="connsiteX76" fmla="*/ 1290040 w 1431019"/>
                  <a:gd name="connsiteY76" fmla="*/ 86518 h 1188375"/>
                  <a:gd name="connsiteX77" fmla="*/ 1302825 w 1431019"/>
                  <a:gd name="connsiteY77" fmla="*/ 85779 h 1188375"/>
                  <a:gd name="connsiteX78" fmla="*/ 1305886 w 1431019"/>
                  <a:gd name="connsiteY78" fmla="*/ 90410 h 1188375"/>
                  <a:gd name="connsiteX79" fmla="*/ 1319392 w 1431019"/>
                  <a:gd name="connsiteY79" fmla="*/ 90410 h 1188375"/>
                  <a:gd name="connsiteX80" fmla="*/ 1323893 w 1431019"/>
                  <a:gd name="connsiteY80" fmla="*/ 97818 h 1188375"/>
                  <a:gd name="connsiteX81" fmla="*/ 1325333 w 1431019"/>
                  <a:gd name="connsiteY81" fmla="*/ 104304 h 1188375"/>
                  <a:gd name="connsiteX82" fmla="*/ 1334693 w 1431019"/>
                  <a:gd name="connsiteY82" fmla="*/ 109675 h 1188375"/>
                  <a:gd name="connsiteX83" fmla="*/ 1344598 w 1431019"/>
                  <a:gd name="connsiteY83" fmla="*/ 114676 h 1188375"/>
                  <a:gd name="connsiteX84" fmla="*/ 1350540 w 1431019"/>
                  <a:gd name="connsiteY84" fmla="*/ 124497 h 1188375"/>
                  <a:gd name="connsiteX85" fmla="*/ 1353959 w 1431019"/>
                  <a:gd name="connsiteY85" fmla="*/ 131723 h 1188375"/>
                  <a:gd name="connsiteX86" fmla="*/ 1365842 w 1431019"/>
                  <a:gd name="connsiteY86" fmla="*/ 129498 h 1188375"/>
                  <a:gd name="connsiteX87" fmla="*/ 1377187 w 1431019"/>
                  <a:gd name="connsiteY87" fmla="*/ 125976 h 1188375"/>
                  <a:gd name="connsiteX88" fmla="*/ 1383129 w 1431019"/>
                  <a:gd name="connsiteY88" fmla="*/ 118568 h 1188375"/>
                  <a:gd name="connsiteX89" fmla="*/ 1385107 w 1431019"/>
                  <a:gd name="connsiteY89" fmla="*/ 112451 h 1188375"/>
                  <a:gd name="connsiteX90" fmla="*/ 1387806 w 1431019"/>
                  <a:gd name="connsiteY90" fmla="*/ 109675 h 1188375"/>
                  <a:gd name="connsiteX91" fmla="*/ 1394474 w 1431019"/>
                  <a:gd name="connsiteY91" fmla="*/ 107450 h 1188375"/>
                  <a:gd name="connsiteX92" fmla="*/ 1400954 w 1431019"/>
                  <a:gd name="connsiteY92" fmla="*/ 102079 h 1188375"/>
                  <a:gd name="connsiteX93" fmla="*/ 1409594 w 1431019"/>
                  <a:gd name="connsiteY93" fmla="*/ 91149 h 1188375"/>
                  <a:gd name="connsiteX94" fmla="*/ 1420401 w 1431019"/>
                  <a:gd name="connsiteY94" fmla="*/ 87997 h 1188375"/>
                  <a:gd name="connsiteX95" fmla="*/ 1424896 w 1431019"/>
                  <a:gd name="connsiteY95" fmla="*/ 94672 h 1188375"/>
                  <a:gd name="connsiteX96" fmla="*/ 1426161 w 1431019"/>
                  <a:gd name="connsiteY96" fmla="*/ 105044 h 1188375"/>
                  <a:gd name="connsiteX97" fmla="*/ 1425622 w 1431019"/>
                  <a:gd name="connsiteY97" fmla="*/ 119866 h 1188375"/>
                  <a:gd name="connsiteX98" fmla="*/ 1426881 w 1431019"/>
                  <a:gd name="connsiteY98" fmla="*/ 128759 h 1188375"/>
                  <a:gd name="connsiteX99" fmla="*/ 1429761 w 1431019"/>
                  <a:gd name="connsiteY99" fmla="*/ 134130 h 1188375"/>
                  <a:gd name="connsiteX100" fmla="*/ 1429041 w 1431019"/>
                  <a:gd name="connsiteY100" fmla="*/ 154141 h 1188375"/>
                  <a:gd name="connsiteX101" fmla="*/ 1431019 w 1431019"/>
                  <a:gd name="connsiteY101" fmla="*/ 161548 h 1188375"/>
                  <a:gd name="connsiteX102" fmla="*/ 1426161 w 1431019"/>
                  <a:gd name="connsiteY102" fmla="*/ 170442 h 1188375"/>
                  <a:gd name="connsiteX103" fmla="*/ 1427601 w 1431019"/>
                  <a:gd name="connsiteY103" fmla="*/ 182111 h 1188375"/>
                  <a:gd name="connsiteX104" fmla="*/ 1426881 w 1431019"/>
                  <a:gd name="connsiteY104" fmla="*/ 197121 h 1188375"/>
                  <a:gd name="connsiteX105" fmla="*/ 1419681 w 1431019"/>
                  <a:gd name="connsiteY105" fmla="*/ 205268 h 1188375"/>
                  <a:gd name="connsiteX106" fmla="*/ 1404554 w 1431019"/>
                  <a:gd name="connsiteY106" fmla="*/ 206753 h 1188375"/>
                  <a:gd name="connsiteX107" fmla="*/ 1393027 w 1431019"/>
                  <a:gd name="connsiteY107" fmla="*/ 208790 h 1188375"/>
                  <a:gd name="connsiteX108" fmla="*/ 1387267 w 1431019"/>
                  <a:gd name="connsiteY108" fmla="*/ 215647 h 1188375"/>
                  <a:gd name="connsiteX109" fmla="*/ 1383667 w 1431019"/>
                  <a:gd name="connsiteY109" fmla="*/ 221206 h 1188375"/>
                  <a:gd name="connsiteX110" fmla="*/ 1391049 w 1431019"/>
                  <a:gd name="connsiteY110" fmla="*/ 229541 h 1188375"/>
                  <a:gd name="connsiteX111" fmla="*/ 1393747 w 1431019"/>
                  <a:gd name="connsiteY111" fmla="*/ 240101 h 1188375"/>
                  <a:gd name="connsiteX112" fmla="*/ 1393747 w 1431019"/>
                  <a:gd name="connsiteY112" fmla="*/ 249734 h 1188375"/>
                  <a:gd name="connsiteX113" fmla="*/ 1398969 w 1431019"/>
                  <a:gd name="connsiteY113" fmla="*/ 257887 h 1188375"/>
                  <a:gd name="connsiteX114" fmla="*/ 1399689 w 1431019"/>
                  <a:gd name="connsiteY114" fmla="*/ 275673 h 1188375"/>
                  <a:gd name="connsiteX115" fmla="*/ 1397574 w 1431019"/>
                  <a:gd name="connsiteY115" fmla="*/ 274551 h 1188375"/>
                  <a:gd name="connsiteX116" fmla="*/ 1397574 w 1431019"/>
                  <a:gd name="connsiteY116" fmla="*/ 279377 h 1188375"/>
                  <a:gd name="connsiteX117" fmla="*/ 1399371 w 1431019"/>
                  <a:gd name="connsiteY117" fmla="*/ 289769 h 1188375"/>
                  <a:gd name="connsiteX118" fmla="*/ 1392002 w 1431019"/>
                  <a:gd name="connsiteY118" fmla="*/ 290508 h 1188375"/>
                  <a:gd name="connsiteX119" fmla="*/ 1398651 w 1431019"/>
                  <a:gd name="connsiteY119" fmla="*/ 294407 h 1188375"/>
                  <a:gd name="connsiteX120" fmla="*/ 1396854 w 1431019"/>
                  <a:gd name="connsiteY120" fmla="*/ 303306 h 1188375"/>
                  <a:gd name="connsiteX121" fmla="*/ 1391457 w 1431019"/>
                  <a:gd name="connsiteY121" fmla="*/ 304052 h 1188375"/>
                  <a:gd name="connsiteX122" fmla="*/ 1384809 w 1431019"/>
                  <a:gd name="connsiteY122" fmla="*/ 300154 h 1188375"/>
                  <a:gd name="connsiteX123" fmla="*/ 1381390 w 1431019"/>
                  <a:gd name="connsiteY123" fmla="*/ 293661 h 1188375"/>
                  <a:gd name="connsiteX124" fmla="*/ 1371680 w 1431019"/>
                  <a:gd name="connsiteY124" fmla="*/ 294407 h 1188375"/>
                  <a:gd name="connsiteX125" fmla="*/ 1371680 w 1431019"/>
                  <a:gd name="connsiteY125" fmla="*/ 304792 h 1188375"/>
                  <a:gd name="connsiteX126" fmla="*/ 1364850 w 1431019"/>
                  <a:gd name="connsiteY126" fmla="*/ 309799 h 1188375"/>
                  <a:gd name="connsiteX127" fmla="*/ 1364129 w 1431019"/>
                  <a:gd name="connsiteY127" fmla="*/ 320373 h 1188375"/>
                  <a:gd name="connsiteX128" fmla="*/ 1353699 w 1431019"/>
                  <a:gd name="connsiteY128" fmla="*/ 326126 h 1188375"/>
                  <a:gd name="connsiteX129" fmla="*/ 1345785 w 1431019"/>
                  <a:gd name="connsiteY129" fmla="*/ 329279 h 1188375"/>
                  <a:gd name="connsiteX130" fmla="*/ 1346862 w 1431019"/>
                  <a:gd name="connsiteY130" fmla="*/ 348576 h 1188375"/>
                  <a:gd name="connsiteX131" fmla="*/ 1343087 w 1431019"/>
                  <a:gd name="connsiteY131" fmla="*/ 354323 h 1188375"/>
                  <a:gd name="connsiteX132" fmla="*/ 1330321 w 1431019"/>
                  <a:gd name="connsiteY132" fmla="*/ 354881 h 1188375"/>
                  <a:gd name="connsiteX133" fmla="*/ 1327085 w 1431019"/>
                  <a:gd name="connsiteY133" fmla="*/ 348576 h 1188375"/>
                  <a:gd name="connsiteX134" fmla="*/ 1312341 w 1431019"/>
                  <a:gd name="connsiteY134" fmla="*/ 350613 h 1188375"/>
                  <a:gd name="connsiteX135" fmla="*/ 1305685 w 1431019"/>
                  <a:gd name="connsiteY135" fmla="*/ 358222 h 1188375"/>
                  <a:gd name="connsiteX136" fmla="*/ 1306405 w 1431019"/>
                  <a:gd name="connsiteY136" fmla="*/ 363787 h 1188375"/>
                  <a:gd name="connsiteX137" fmla="*/ 1301910 w 1431019"/>
                  <a:gd name="connsiteY137" fmla="*/ 371947 h 1188375"/>
                  <a:gd name="connsiteX138" fmla="*/ 1296397 w 1431019"/>
                  <a:gd name="connsiteY138" fmla="*/ 379472 h 1188375"/>
                  <a:gd name="connsiteX139" fmla="*/ 1296507 w 1431019"/>
                  <a:gd name="connsiteY139" fmla="*/ 379660 h 1188375"/>
                  <a:gd name="connsiteX140" fmla="*/ 1289865 w 1431019"/>
                  <a:gd name="connsiteY140" fmla="*/ 389299 h 1188375"/>
                  <a:gd name="connsiteX141" fmla="*/ 1285369 w 1431019"/>
                  <a:gd name="connsiteY141" fmla="*/ 389857 h 1188375"/>
                  <a:gd name="connsiteX142" fmla="*/ 1285369 w 1431019"/>
                  <a:gd name="connsiteY142" fmla="*/ 393930 h 1188375"/>
                  <a:gd name="connsiteX143" fmla="*/ 1276029 w 1431019"/>
                  <a:gd name="connsiteY143" fmla="*/ 394488 h 1188375"/>
                  <a:gd name="connsiteX144" fmla="*/ 1276749 w 1431019"/>
                  <a:gd name="connsiteY144" fmla="*/ 399489 h 1188375"/>
                  <a:gd name="connsiteX145" fmla="*/ 1271897 w 1431019"/>
                  <a:gd name="connsiteY145" fmla="*/ 398750 h 1188375"/>
                  <a:gd name="connsiteX146" fmla="*/ 1270638 w 1431019"/>
                  <a:gd name="connsiteY146" fmla="*/ 404121 h 1188375"/>
                  <a:gd name="connsiteX147" fmla="*/ 1265430 w 1431019"/>
                  <a:gd name="connsiteY147" fmla="*/ 410977 h 1188375"/>
                  <a:gd name="connsiteX148" fmla="*/ 1265430 w 1431019"/>
                  <a:gd name="connsiteY148" fmla="*/ 421168 h 1188375"/>
                  <a:gd name="connsiteX149" fmla="*/ 1257529 w 1431019"/>
                  <a:gd name="connsiteY149" fmla="*/ 421168 h 1188375"/>
                  <a:gd name="connsiteX150" fmla="*/ 1257529 w 1431019"/>
                  <a:gd name="connsiteY150" fmla="*/ 424138 h 1188375"/>
                  <a:gd name="connsiteX151" fmla="*/ 1243336 w 1431019"/>
                  <a:gd name="connsiteY151" fmla="*/ 423393 h 1188375"/>
                  <a:gd name="connsiteX152" fmla="*/ 1241539 w 1431019"/>
                  <a:gd name="connsiteY152" fmla="*/ 429509 h 1188375"/>
                  <a:gd name="connsiteX153" fmla="*/ 1233639 w 1431019"/>
                  <a:gd name="connsiteY153" fmla="*/ 431546 h 1188375"/>
                  <a:gd name="connsiteX154" fmla="*/ 1230940 w 1431019"/>
                  <a:gd name="connsiteY154" fmla="*/ 439700 h 1188375"/>
                  <a:gd name="connsiteX155" fmla="*/ 1224298 w 1431019"/>
                  <a:gd name="connsiteY155" fmla="*/ 441185 h 1188375"/>
                  <a:gd name="connsiteX156" fmla="*/ 1218908 w 1431019"/>
                  <a:gd name="connsiteY156" fmla="*/ 449339 h 1188375"/>
                  <a:gd name="connsiteX157" fmla="*/ 1214951 w 1431019"/>
                  <a:gd name="connsiteY157" fmla="*/ 458232 h 1188375"/>
                  <a:gd name="connsiteX158" fmla="*/ 1213699 w 1431019"/>
                  <a:gd name="connsiteY158" fmla="*/ 466386 h 1188375"/>
                  <a:gd name="connsiteX159" fmla="*/ 1208847 w 1431019"/>
                  <a:gd name="connsiteY159" fmla="*/ 468611 h 1188375"/>
                  <a:gd name="connsiteX160" fmla="*/ 1207050 w 1431019"/>
                  <a:gd name="connsiteY160" fmla="*/ 475279 h 1188375"/>
                  <a:gd name="connsiteX161" fmla="*/ 1194298 w 1431019"/>
                  <a:gd name="connsiteY161" fmla="*/ 474539 h 1188375"/>
                  <a:gd name="connsiteX162" fmla="*/ 1195011 w 1431019"/>
                  <a:gd name="connsiteY162" fmla="*/ 461008 h 1188375"/>
                  <a:gd name="connsiteX163" fmla="*/ 1201660 w 1431019"/>
                  <a:gd name="connsiteY163" fmla="*/ 456747 h 1188375"/>
                  <a:gd name="connsiteX164" fmla="*/ 1205072 w 1431019"/>
                  <a:gd name="connsiteY164" fmla="*/ 452115 h 1188375"/>
                  <a:gd name="connsiteX165" fmla="*/ 1198430 w 1431019"/>
                  <a:gd name="connsiteY165" fmla="*/ 448593 h 1188375"/>
                  <a:gd name="connsiteX166" fmla="*/ 1198430 w 1431019"/>
                  <a:gd name="connsiteY166" fmla="*/ 435068 h 1188375"/>
                  <a:gd name="connsiteX167" fmla="*/ 1205792 w 1431019"/>
                  <a:gd name="connsiteY167" fmla="*/ 427284 h 1188375"/>
                  <a:gd name="connsiteX168" fmla="*/ 1212979 w 1431019"/>
                  <a:gd name="connsiteY168" fmla="*/ 424878 h 1188375"/>
                  <a:gd name="connsiteX169" fmla="*/ 1214951 w 1431019"/>
                  <a:gd name="connsiteY169" fmla="*/ 414499 h 1188375"/>
                  <a:gd name="connsiteX170" fmla="*/ 1210281 w 1431019"/>
                  <a:gd name="connsiteY170" fmla="*/ 413020 h 1188375"/>
                  <a:gd name="connsiteX171" fmla="*/ 1206330 w 1431019"/>
                  <a:gd name="connsiteY171" fmla="*/ 408383 h 1188375"/>
                  <a:gd name="connsiteX172" fmla="*/ 1205072 w 1431019"/>
                  <a:gd name="connsiteY172" fmla="*/ 402084 h 1188375"/>
                  <a:gd name="connsiteX173" fmla="*/ 1197171 w 1431019"/>
                  <a:gd name="connsiteY173" fmla="*/ 400605 h 1188375"/>
                  <a:gd name="connsiteX174" fmla="*/ 1189089 w 1431019"/>
                  <a:gd name="connsiteY174" fmla="*/ 402824 h 1188375"/>
                  <a:gd name="connsiteX175" fmla="*/ 1185671 w 1431019"/>
                  <a:gd name="connsiteY175" fmla="*/ 408383 h 1188375"/>
                  <a:gd name="connsiteX176" fmla="*/ 1175791 w 1431019"/>
                  <a:gd name="connsiteY176" fmla="*/ 408383 h 1188375"/>
                  <a:gd name="connsiteX177" fmla="*/ 1174358 w 1431019"/>
                  <a:gd name="connsiteY177" fmla="*/ 415239 h 1188375"/>
                  <a:gd name="connsiteX178" fmla="*/ 1169863 w 1431019"/>
                  <a:gd name="connsiteY178" fmla="*/ 421168 h 1188375"/>
                  <a:gd name="connsiteX179" fmla="*/ 1170583 w 1431019"/>
                  <a:gd name="connsiteY179" fmla="*/ 428024 h 1188375"/>
                  <a:gd name="connsiteX180" fmla="*/ 1166451 w 1431019"/>
                  <a:gd name="connsiteY180" fmla="*/ 430807 h 1188375"/>
                  <a:gd name="connsiteX181" fmla="*/ 1163940 w 1431019"/>
                  <a:gd name="connsiteY181" fmla="*/ 437663 h 1188375"/>
                  <a:gd name="connsiteX182" fmla="*/ 1159088 w 1431019"/>
                  <a:gd name="connsiteY182" fmla="*/ 441185 h 1188375"/>
                  <a:gd name="connsiteX183" fmla="*/ 1158550 w 1431019"/>
                  <a:gd name="connsiteY183" fmla="*/ 443961 h 1188375"/>
                  <a:gd name="connsiteX184" fmla="*/ 1151181 w 1431019"/>
                  <a:gd name="connsiteY184" fmla="*/ 445077 h 1188375"/>
                  <a:gd name="connsiteX185" fmla="*/ 1148483 w 1431019"/>
                  <a:gd name="connsiteY185" fmla="*/ 449339 h 1188375"/>
                  <a:gd name="connsiteX186" fmla="*/ 1140582 w 1431019"/>
                  <a:gd name="connsiteY186" fmla="*/ 452855 h 1188375"/>
                  <a:gd name="connsiteX187" fmla="*/ 1139862 w 1431019"/>
                  <a:gd name="connsiteY187" fmla="*/ 469908 h 1188375"/>
                  <a:gd name="connsiteX188" fmla="*/ 1136807 w 1431019"/>
                  <a:gd name="connsiteY188" fmla="*/ 470647 h 1188375"/>
                  <a:gd name="connsiteX189" fmla="*/ 1124054 w 1431019"/>
                  <a:gd name="connsiteY189" fmla="*/ 470647 h 1188375"/>
                  <a:gd name="connsiteX190" fmla="*/ 1120454 w 1431019"/>
                  <a:gd name="connsiteY190" fmla="*/ 466639 h 1188375"/>
                  <a:gd name="connsiteX191" fmla="*/ 1116115 w 1431019"/>
                  <a:gd name="connsiteY191" fmla="*/ 474533 h 1188375"/>
                  <a:gd name="connsiteX192" fmla="*/ 1107403 w 1431019"/>
                  <a:gd name="connsiteY192" fmla="*/ 473235 h 1188375"/>
                  <a:gd name="connsiteX193" fmla="*/ 1103051 w 1431019"/>
                  <a:gd name="connsiteY193" fmla="*/ 479540 h 1188375"/>
                  <a:gd name="connsiteX194" fmla="*/ 1100633 w 1431019"/>
                  <a:gd name="connsiteY194" fmla="*/ 485255 h 1188375"/>
                  <a:gd name="connsiteX195" fmla="*/ 1102699 w 1431019"/>
                  <a:gd name="connsiteY195" fmla="*/ 493518 h 1188375"/>
                  <a:gd name="connsiteX196" fmla="*/ 1106229 w 1431019"/>
                  <a:gd name="connsiteY196" fmla="*/ 493941 h 1188375"/>
                  <a:gd name="connsiteX197" fmla="*/ 1111088 w 1431019"/>
                  <a:gd name="connsiteY197" fmla="*/ 505085 h 1188375"/>
                  <a:gd name="connsiteX198" fmla="*/ 1110407 w 1431019"/>
                  <a:gd name="connsiteY198" fmla="*/ 505552 h 1188375"/>
                  <a:gd name="connsiteX199" fmla="*/ 1111652 w 1431019"/>
                  <a:gd name="connsiteY199" fmla="*/ 509398 h 1188375"/>
                  <a:gd name="connsiteX200" fmla="*/ 1119566 w 1431019"/>
                  <a:gd name="connsiteY200" fmla="*/ 510138 h 1188375"/>
                  <a:gd name="connsiteX201" fmla="*/ 1124061 w 1431019"/>
                  <a:gd name="connsiteY201" fmla="*/ 514399 h 1188375"/>
                  <a:gd name="connsiteX202" fmla="*/ 1136106 w 1431019"/>
                  <a:gd name="connsiteY202" fmla="*/ 511623 h 1188375"/>
                  <a:gd name="connsiteX203" fmla="*/ 1143300 w 1431019"/>
                  <a:gd name="connsiteY203" fmla="*/ 509398 h 1188375"/>
                  <a:gd name="connsiteX204" fmla="*/ 1144020 w 1431019"/>
                  <a:gd name="connsiteY204" fmla="*/ 521256 h 1188375"/>
                  <a:gd name="connsiteX205" fmla="*/ 1143300 w 1431019"/>
                  <a:gd name="connsiteY205" fmla="*/ 530149 h 1188375"/>
                  <a:gd name="connsiteX206" fmla="*/ 1149955 w 1431019"/>
                  <a:gd name="connsiteY206" fmla="*/ 534034 h 1188375"/>
                  <a:gd name="connsiteX207" fmla="*/ 1156072 w 1431019"/>
                  <a:gd name="connsiteY207" fmla="*/ 536817 h 1188375"/>
                  <a:gd name="connsiteX208" fmla="*/ 1164706 w 1431019"/>
                  <a:gd name="connsiteY208" fmla="*/ 530888 h 1188375"/>
                  <a:gd name="connsiteX209" fmla="*/ 1174416 w 1431019"/>
                  <a:gd name="connsiteY209" fmla="*/ 521995 h 1188375"/>
                  <a:gd name="connsiteX210" fmla="*/ 1178548 w 1431019"/>
                  <a:gd name="connsiteY210" fmla="*/ 514399 h 1188375"/>
                  <a:gd name="connsiteX211" fmla="*/ 1179268 w 1431019"/>
                  <a:gd name="connsiteY211" fmla="*/ 508840 h 1188375"/>
                  <a:gd name="connsiteX212" fmla="*/ 1185742 w 1431019"/>
                  <a:gd name="connsiteY212" fmla="*/ 506252 h 1188375"/>
                  <a:gd name="connsiteX213" fmla="*/ 1193117 w 1431019"/>
                  <a:gd name="connsiteY213" fmla="*/ 510138 h 1188375"/>
                  <a:gd name="connsiteX214" fmla="*/ 1203723 w 1431019"/>
                  <a:gd name="connsiteY214" fmla="*/ 512363 h 1188375"/>
                  <a:gd name="connsiteX215" fmla="*/ 1210916 w 1431019"/>
                  <a:gd name="connsiteY215" fmla="*/ 513841 h 1188375"/>
                  <a:gd name="connsiteX216" fmla="*/ 1219550 w 1431019"/>
                  <a:gd name="connsiteY216" fmla="*/ 514399 h 1188375"/>
                  <a:gd name="connsiteX217" fmla="*/ 1227645 w 1431019"/>
                  <a:gd name="connsiteY217" fmla="*/ 516994 h 1188375"/>
                  <a:gd name="connsiteX218" fmla="*/ 1237531 w 1431019"/>
                  <a:gd name="connsiteY218" fmla="*/ 518291 h 1188375"/>
                  <a:gd name="connsiteX219" fmla="*/ 1236811 w 1431019"/>
                  <a:gd name="connsiteY219" fmla="*/ 530149 h 1188375"/>
                  <a:gd name="connsiteX220" fmla="*/ 1226925 w 1431019"/>
                  <a:gd name="connsiteY220" fmla="*/ 532925 h 1188375"/>
                  <a:gd name="connsiteX221" fmla="*/ 1215055 w 1431019"/>
                  <a:gd name="connsiteY221" fmla="*/ 532925 h 1188375"/>
                  <a:gd name="connsiteX222" fmla="*/ 1210378 w 1431019"/>
                  <a:gd name="connsiteY222" fmla="*/ 539781 h 1188375"/>
                  <a:gd name="connsiteX223" fmla="*/ 1205163 w 1431019"/>
                  <a:gd name="connsiteY223" fmla="*/ 540333 h 1188375"/>
                  <a:gd name="connsiteX224" fmla="*/ 1199227 w 1431019"/>
                  <a:gd name="connsiteY224" fmla="*/ 545704 h 1188375"/>
                  <a:gd name="connsiteX225" fmla="*/ 1194376 w 1431019"/>
                  <a:gd name="connsiteY225" fmla="*/ 548668 h 1188375"/>
                  <a:gd name="connsiteX226" fmla="*/ 1195096 w 1431019"/>
                  <a:gd name="connsiteY226" fmla="*/ 561453 h 1188375"/>
                  <a:gd name="connsiteX227" fmla="*/ 1186462 w 1431019"/>
                  <a:gd name="connsiteY227" fmla="*/ 560714 h 1188375"/>
                  <a:gd name="connsiteX228" fmla="*/ 1179988 w 1431019"/>
                  <a:gd name="connsiteY228" fmla="*/ 567752 h 1188375"/>
                  <a:gd name="connsiteX229" fmla="*/ 1179268 w 1431019"/>
                  <a:gd name="connsiteY229" fmla="*/ 576645 h 1188375"/>
                  <a:gd name="connsiteX230" fmla="*/ 1171355 w 1431019"/>
                  <a:gd name="connsiteY230" fmla="*/ 580530 h 1188375"/>
                  <a:gd name="connsiteX231" fmla="*/ 1168481 w 1431019"/>
                  <a:gd name="connsiteY231" fmla="*/ 582016 h 1188375"/>
                  <a:gd name="connsiteX232" fmla="*/ 1169201 w 1431019"/>
                  <a:gd name="connsiteY232" fmla="*/ 596280 h 1188375"/>
                  <a:gd name="connsiteX233" fmla="*/ 1161287 w 1431019"/>
                  <a:gd name="connsiteY233" fmla="*/ 600541 h 1188375"/>
                  <a:gd name="connsiteX234" fmla="*/ 1159127 w 1431019"/>
                  <a:gd name="connsiteY234" fmla="*/ 607209 h 1188375"/>
                  <a:gd name="connsiteX235" fmla="*/ 1158758 w 1431019"/>
                  <a:gd name="connsiteY235" fmla="*/ 607903 h 1188375"/>
                  <a:gd name="connsiteX236" fmla="*/ 1162727 w 1431019"/>
                  <a:gd name="connsiteY236" fmla="*/ 610329 h 1188375"/>
                  <a:gd name="connsiteX237" fmla="*/ 1168481 w 1431019"/>
                  <a:gd name="connsiteY237" fmla="*/ 618490 h 1188375"/>
                  <a:gd name="connsiteX238" fmla="*/ 1178555 w 1431019"/>
                  <a:gd name="connsiteY238" fmla="*/ 621272 h 1188375"/>
                  <a:gd name="connsiteX239" fmla="*/ 1185028 w 1431019"/>
                  <a:gd name="connsiteY239" fmla="*/ 623867 h 1188375"/>
                  <a:gd name="connsiteX240" fmla="*/ 1190600 w 1431019"/>
                  <a:gd name="connsiteY240" fmla="*/ 630918 h 1188375"/>
                  <a:gd name="connsiteX241" fmla="*/ 1202289 w 1431019"/>
                  <a:gd name="connsiteY241" fmla="*/ 645201 h 1188375"/>
                  <a:gd name="connsiteX242" fmla="*/ 1209664 w 1431019"/>
                  <a:gd name="connsiteY242" fmla="*/ 651325 h 1188375"/>
                  <a:gd name="connsiteX243" fmla="*/ 1209664 w 1431019"/>
                  <a:gd name="connsiteY243" fmla="*/ 663014 h 1188375"/>
                  <a:gd name="connsiteX244" fmla="*/ 1216495 w 1431019"/>
                  <a:gd name="connsiteY244" fmla="*/ 668949 h 1188375"/>
                  <a:gd name="connsiteX245" fmla="*/ 1223688 w 1431019"/>
                  <a:gd name="connsiteY245" fmla="*/ 673399 h 1188375"/>
                  <a:gd name="connsiteX246" fmla="*/ 1225128 w 1431019"/>
                  <a:gd name="connsiteY246" fmla="*/ 681565 h 1188375"/>
                  <a:gd name="connsiteX247" fmla="*/ 1231777 w 1431019"/>
                  <a:gd name="connsiteY247" fmla="*/ 687500 h 1188375"/>
                  <a:gd name="connsiteX248" fmla="*/ 1233756 w 1431019"/>
                  <a:gd name="connsiteY248" fmla="*/ 693254 h 1188375"/>
                  <a:gd name="connsiteX249" fmla="*/ 1245444 w 1431019"/>
                  <a:gd name="connsiteY249" fmla="*/ 692508 h 1188375"/>
                  <a:gd name="connsiteX250" fmla="*/ 1246164 w 1431019"/>
                  <a:gd name="connsiteY250" fmla="*/ 706052 h 1188375"/>
                  <a:gd name="connsiteX251" fmla="*/ 1231064 w 1431019"/>
                  <a:gd name="connsiteY251" fmla="*/ 705313 h 1188375"/>
                  <a:gd name="connsiteX252" fmla="*/ 1228184 w 1431019"/>
                  <a:gd name="connsiteY252" fmla="*/ 708277 h 1188375"/>
                  <a:gd name="connsiteX253" fmla="*/ 1229591 w 1431019"/>
                  <a:gd name="connsiteY253" fmla="*/ 711767 h 1188375"/>
                  <a:gd name="connsiteX254" fmla="*/ 1229046 w 1431019"/>
                  <a:gd name="connsiteY254" fmla="*/ 708848 h 1188375"/>
                  <a:gd name="connsiteX255" fmla="*/ 1238329 w 1431019"/>
                  <a:gd name="connsiteY255" fmla="*/ 706052 h 1188375"/>
                  <a:gd name="connsiteX256" fmla="*/ 1241721 w 1431019"/>
                  <a:gd name="connsiteY256" fmla="*/ 716489 h 1188375"/>
                  <a:gd name="connsiteX257" fmla="*/ 1249038 w 1431019"/>
                  <a:gd name="connsiteY257" fmla="*/ 722457 h 1188375"/>
                  <a:gd name="connsiteX258" fmla="*/ 1248324 w 1431019"/>
                  <a:gd name="connsiteY258" fmla="*/ 732894 h 1188375"/>
                  <a:gd name="connsiteX259" fmla="*/ 1241008 w 1431019"/>
                  <a:gd name="connsiteY259" fmla="*/ 739795 h 1188375"/>
                  <a:gd name="connsiteX260" fmla="*/ 1236363 w 1431019"/>
                  <a:gd name="connsiteY260" fmla="*/ 744641 h 1188375"/>
                  <a:gd name="connsiteX261" fmla="*/ 1232569 w 1431019"/>
                  <a:gd name="connsiteY261" fmla="*/ 744316 h 1188375"/>
                  <a:gd name="connsiteX262" fmla="*/ 1230876 w 1431019"/>
                  <a:gd name="connsiteY262" fmla="*/ 751289 h 1188375"/>
                  <a:gd name="connsiteX263" fmla="*/ 1231596 w 1431019"/>
                  <a:gd name="connsiteY263" fmla="*/ 758697 h 1188375"/>
                  <a:gd name="connsiteX264" fmla="*/ 1238789 w 1431019"/>
                  <a:gd name="connsiteY264" fmla="*/ 759437 h 1188375"/>
                  <a:gd name="connsiteX265" fmla="*/ 1245263 w 1431019"/>
                  <a:gd name="connsiteY265" fmla="*/ 760922 h 1188375"/>
                  <a:gd name="connsiteX266" fmla="*/ 1257490 w 1431019"/>
                  <a:gd name="connsiteY266" fmla="*/ 761662 h 1188375"/>
                  <a:gd name="connsiteX267" fmla="*/ 1260545 w 1431019"/>
                  <a:gd name="connsiteY267" fmla="*/ 775737 h 1188375"/>
                  <a:gd name="connsiteX268" fmla="*/ 1256050 w 1431019"/>
                  <a:gd name="connsiteY268" fmla="*/ 788334 h 1188375"/>
                  <a:gd name="connsiteX269" fmla="*/ 1252632 w 1431019"/>
                  <a:gd name="connsiteY269" fmla="*/ 795003 h 1188375"/>
                  <a:gd name="connsiteX270" fmla="*/ 1255330 w 1431019"/>
                  <a:gd name="connsiteY270" fmla="*/ 806121 h 1188375"/>
                  <a:gd name="connsiteX271" fmla="*/ 1253352 w 1431019"/>
                  <a:gd name="connsiteY271" fmla="*/ 829090 h 1188375"/>
                  <a:gd name="connsiteX272" fmla="*/ 1237349 w 1431019"/>
                  <a:gd name="connsiteY272" fmla="*/ 832054 h 1188375"/>
                  <a:gd name="connsiteX273" fmla="*/ 1232134 w 1431019"/>
                  <a:gd name="connsiteY273" fmla="*/ 842244 h 1188375"/>
                  <a:gd name="connsiteX274" fmla="*/ 1232134 w 1431019"/>
                  <a:gd name="connsiteY274" fmla="*/ 855023 h 1188375"/>
                  <a:gd name="connsiteX275" fmla="*/ 1224940 w 1431019"/>
                  <a:gd name="connsiteY275" fmla="*/ 862249 h 1188375"/>
                  <a:gd name="connsiteX276" fmla="*/ 1222495 w 1431019"/>
                  <a:gd name="connsiteY276" fmla="*/ 862249 h 1188375"/>
                  <a:gd name="connsiteX277" fmla="*/ 1223144 w 1431019"/>
                  <a:gd name="connsiteY277" fmla="*/ 875845 h 1188375"/>
                  <a:gd name="connsiteX278" fmla="*/ 1219012 w 1431019"/>
                  <a:gd name="connsiteY278" fmla="*/ 881793 h 1188375"/>
                  <a:gd name="connsiteX279" fmla="*/ 1209658 w 1431019"/>
                  <a:gd name="connsiteY279" fmla="*/ 878634 h 1188375"/>
                  <a:gd name="connsiteX280" fmla="*/ 1207141 w 1431019"/>
                  <a:gd name="connsiteY280" fmla="*/ 884018 h 1188375"/>
                  <a:gd name="connsiteX281" fmla="*/ 1210378 w 1431019"/>
                  <a:gd name="connsiteY281" fmla="*/ 904632 h 1188375"/>
                  <a:gd name="connsiteX282" fmla="*/ 1207861 w 1431019"/>
                  <a:gd name="connsiteY282" fmla="*/ 923210 h 1188375"/>
                  <a:gd name="connsiteX283" fmla="*/ 1202289 w 1431019"/>
                  <a:gd name="connsiteY283" fmla="*/ 928594 h 1188375"/>
                  <a:gd name="connsiteX284" fmla="*/ 1195096 w 1431019"/>
                  <a:gd name="connsiteY284" fmla="*/ 932862 h 1188375"/>
                  <a:gd name="connsiteX285" fmla="*/ 1192397 w 1431019"/>
                  <a:gd name="connsiteY285" fmla="*/ 945679 h 1188375"/>
                  <a:gd name="connsiteX286" fmla="*/ 1188622 w 1431019"/>
                  <a:gd name="connsiteY286" fmla="*/ 953107 h 1188375"/>
                  <a:gd name="connsiteX287" fmla="*/ 1177828 w 1431019"/>
                  <a:gd name="connsiteY287" fmla="*/ 952549 h 1188375"/>
                  <a:gd name="connsiteX288" fmla="*/ 1175136 w 1431019"/>
                  <a:gd name="connsiteY288" fmla="*/ 958121 h 1188375"/>
                  <a:gd name="connsiteX289" fmla="*/ 1167761 w 1431019"/>
                  <a:gd name="connsiteY289" fmla="*/ 967040 h 1188375"/>
                  <a:gd name="connsiteX290" fmla="*/ 1167761 w 1431019"/>
                  <a:gd name="connsiteY290" fmla="*/ 975206 h 1188375"/>
                  <a:gd name="connsiteX291" fmla="*/ 1161287 w 1431019"/>
                  <a:gd name="connsiteY291" fmla="*/ 979851 h 1188375"/>
                  <a:gd name="connsiteX292" fmla="*/ 1153374 w 1431019"/>
                  <a:gd name="connsiteY292" fmla="*/ 984865 h 1188375"/>
                  <a:gd name="connsiteX293" fmla="*/ 1148515 w 1431019"/>
                  <a:gd name="connsiteY293" fmla="*/ 988770 h 1188375"/>
                  <a:gd name="connsiteX294" fmla="*/ 1141147 w 1431019"/>
                  <a:gd name="connsiteY294" fmla="*/ 989328 h 1188375"/>
                  <a:gd name="connsiteX295" fmla="*/ 1141147 w 1431019"/>
                  <a:gd name="connsiteY295" fmla="*/ 990936 h 1188375"/>
                  <a:gd name="connsiteX296" fmla="*/ 1131086 w 1431019"/>
                  <a:gd name="connsiteY296" fmla="*/ 1007990 h 1188375"/>
                  <a:gd name="connsiteX297" fmla="*/ 1123179 w 1431019"/>
                  <a:gd name="connsiteY297" fmla="*/ 1019108 h 1188375"/>
                  <a:gd name="connsiteX298" fmla="*/ 1104134 w 1431019"/>
                  <a:gd name="connsiteY298" fmla="*/ 1023551 h 1188375"/>
                  <a:gd name="connsiteX299" fmla="*/ 1098024 w 1431019"/>
                  <a:gd name="connsiteY299" fmla="*/ 1028559 h 1188375"/>
                  <a:gd name="connsiteX300" fmla="*/ 1072149 w 1431019"/>
                  <a:gd name="connsiteY300" fmla="*/ 1029298 h 1188375"/>
                  <a:gd name="connsiteX301" fmla="*/ 1062808 w 1431019"/>
                  <a:gd name="connsiteY301" fmla="*/ 1030038 h 1188375"/>
                  <a:gd name="connsiteX302" fmla="*/ 1056159 w 1431019"/>
                  <a:gd name="connsiteY302" fmla="*/ 1036154 h 1188375"/>
                  <a:gd name="connsiteX303" fmla="*/ 1048972 w 1431019"/>
                  <a:gd name="connsiteY303" fmla="*/ 1039677 h 1188375"/>
                  <a:gd name="connsiteX304" fmla="*/ 1042505 w 1431019"/>
                  <a:gd name="connsiteY304" fmla="*/ 1032451 h 1188375"/>
                  <a:gd name="connsiteX305" fmla="*/ 1033878 w 1431019"/>
                  <a:gd name="connsiteY305" fmla="*/ 1021884 h 1188375"/>
                  <a:gd name="connsiteX306" fmla="*/ 1029026 w 1431019"/>
                  <a:gd name="connsiteY306" fmla="*/ 1028559 h 1188375"/>
                  <a:gd name="connsiteX307" fmla="*/ 1029746 w 1431019"/>
                  <a:gd name="connsiteY307" fmla="*/ 1047084 h 1188375"/>
                  <a:gd name="connsiteX308" fmla="*/ 1025796 w 1431019"/>
                  <a:gd name="connsiteY308" fmla="*/ 1060615 h 1188375"/>
                  <a:gd name="connsiteX309" fmla="*/ 1008003 w 1431019"/>
                  <a:gd name="connsiteY309" fmla="*/ 1059876 h 1188375"/>
                  <a:gd name="connsiteX310" fmla="*/ 1003157 w 1431019"/>
                  <a:gd name="connsiteY310" fmla="*/ 1066356 h 1188375"/>
                  <a:gd name="connsiteX311" fmla="*/ 993090 w 1431019"/>
                  <a:gd name="connsiteY311" fmla="*/ 1064877 h 1188375"/>
                  <a:gd name="connsiteX312" fmla="*/ 991293 w 1431019"/>
                  <a:gd name="connsiteY312" fmla="*/ 1070248 h 1188375"/>
                  <a:gd name="connsiteX313" fmla="*/ 980694 w 1431019"/>
                  <a:gd name="connsiteY313" fmla="*/ 1073031 h 1188375"/>
                  <a:gd name="connsiteX314" fmla="*/ 960755 w 1431019"/>
                  <a:gd name="connsiteY314" fmla="*/ 1073770 h 1188375"/>
                  <a:gd name="connsiteX315" fmla="*/ 954819 w 1431019"/>
                  <a:gd name="connsiteY315" fmla="*/ 1081184 h 1188375"/>
                  <a:gd name="connsiteX316" fmla="*/ 939012 w 1431019"/>
                  <a:gd name="connsiteY316" fmla="*/ 1090817 h 1188375"/>
                  <a:gd name="connsiteX317" fmla="*/ 939012 w 1431019"/>
                  <a:gd name="connsiteY317" fmla="*/ 1098419 h 1188375"/>
                  <a:gd name="connsiteX318" fmla="*/ 944759 w 1431019"/>
                  <a:gd name="connsiteY318" fmla="*/ 1103608 h 1188375"/>
                  <a:gd name="connsiteX319" fmla="*/ 946199 w 1431019"/>
                  <a:gd name="connsiteY319" fmla="*/ 1110088 h 1188375"/>
                  <a:gd name="connsiteX320" fmla="*/ 937572 w 1431019"/>
                  <a:gd name="connsiteY320" fmla="*/ 1111574 h 1188375"/>
                  <a:gd name="connsiteX321" fmla="*/ 927511 w 1431019"/>
                  <a:gd name="connsiteY321" fmla="*/ 1108610 h 1188375"/>
                  <a:gd name="connsiteX322" fmla="*/ 924099 w 1431019"/>
                  <a:gd name="connsiteY322" fmla="*/ 1097673 h 1188375"/>
                  <a:gd name="connsiteX323" fmla="*/ 926791 w 1431019"/>
                  <a:gd name="connsiteY323" fmla="*/ 1082663 h 1188375"/>
                  <a:gd name="connsiteX324" fmla="*/ 919675 w 1431019"/>
                  <a:gd name="connsiteY324" fmla="*/ 1077928 h 1188375"/>
                  <a:gd name="connsiteX325" fmla="*/ 914388 w 1431019"/>
                  <a:gd name="connsiteY325" fmla="*/ 1083377 h 1188375"/>
                  <a:gd name="connsiteX326" fmla="*/ 907552 w 1431019"/>
                  <a:gd name="connsiteY326" fmla="*/ 1082637 h 1188375"/>
                  <a:gd name="connsiteX327" fmla="*/ 902336 w 1431019"/>
                  <a:gd name="connsiteY327" fmla="*/ 1078376 h 1188375"/>
                  <a:gd name="connsiteX328" fmla="*/ 895863 w 1431019"/>
                  <a:gd name="connsiteY328" fmla="*/ 1070961 h 1188375"/>
                  <a:gd name="connsiteX329" fmla="*/ 885076 w 1431019"/>
                  <a:gd name="connsiteY329" fmla="*/ 1069482 h 1188375"/>
                  <a:gd name="connsiteX330" fmla="*/ 880580 w 1431019"/>
                  <a:gd name="connsiteY330" fmla="*/ 1073744 h 1188375"/>
                  <a:gd name="connsiteX331" fmla="*/ 876442 w 1431019"/>
                  <a:gd name="connsiteY331" fmla="*/ 1080600 h 1188375"/>
                  <a:gd name="connsiteX332" fmla="*/ 870513 w 1431019"/>
                  <a:gd name="connsiteY332" fmla="*/ 1082637 h 1188375"/>
                  <a:gd name="connsiteX333" fmla="*/ 862600 w 1431019"/>
                  <a:gd name="connsiteY333" fmla="*/ 1078376 h 1188375"/>
                  <a:gd name="connsiteX334" fmla="*/ 857203 w 1431019"/>
                  <a:gd name="connsiteY334" fmla="*/ 1072998 h 1188375"/>
                  <a:gd name="connsiteX335" fmla="*/ 844619 w 1431019"/>
                  <a:gd name="connsiteY335" fmla="*/ 1073744 h 1188375"/>
                  <a:gd name="connsiteX336" fmla="*/ 841200 w 1431019"/>
                  <a:gd name="connsiteY336" fmla="*/ 1067809 h 1188375"/>
                  <a:gd name="connsiteX337" fmla="*/ 830588 w 1431019"/>
                  <a:gd name="connsiteY337" fmla="*/ 1063366 h 1188375"/>
                  <a:gd name="connsiteX338" fmla="*/ 830588 w 1431019"/>
                  <a:gd name="connsiteY338" fmla="*/ 1047798 h 1188375"/>
                  <a:gd name="connsiteX339" fmla="*/ 826813 w 1431019"/>
                  <a:gd name="connsiteY339" fmla="*/ 1038905 h 1188375"/>
                  <a:gd name="connsiteX340" fmla="*/ 815306 w 1431019"/>
                  <a:gd name="connsiteY340" fmla="*/ 1038905 h 1188375"/>
                  <a:gd name="connsiteX341" fmla="*/ 814586 w 1431019"/>
                  <a:gd name="connsiteY341" fmla="*/ 1035382 h 1188375"/>
                  <a:gd name="connsiteX342" fmla="*/ 808832 w 1431019"/>
                  <a:gd name="connsiteY342" fmla="*/ 1034643 h 1188375"/>
                  <a:gd name="connsiteX343" fmla="*/ 801639 w 1431019"/>
                  <a:gd name="connsiteY343" fmla="*/ 1031491 h 1188375"/>
                  <a:gd name="connsiteX344" fmla="*/ 797357 w 1431019"/>
                  <a:gd name="connsiteY344" fmla="*/ 1024297 h 1188375"/>
                  <a:gd name="connsiteX345" fmla="*/ 788179 w 1431019"/>
                  <a:gd name="connsiteY345" fmla="*/ 1024297 h 1188375"/>
                  <a:gd name="connsiteX346" fmla="*/ 784404 w 1431019"/>
                  <a:gd name="connsiteY346" fmla="*/ 1028552 h 1188375"/>
                  <a:gd name="connsiteX347" fmla="*/ 773623 w 1431019"/>
                  <a:gd name="connsiteY347" fmla="*/ 1039670 h 1188375"/>
                  <a:gd name="connsiteX348" fmla="*/ 759787 w 1431019"/>
                  <a:gd name="connsiteY348" fmla="*/ 1039670 h 1188375"/>
                  <a:gd name="connsiteX349" fmla="*/ 757089 w 1431019"/>
                  <a:gd name="connsiteY349" fmla="*/ 1045599 h 1188375"/>
                  <a:gd name="connsiteX350" fmla="*/ 741274 w 1431019"/>
                  <a:gd name="connsiteY350" fmla="*/ 1047078 h 1188375"/>
                  <a:gd name="connsiteX351" fmla="*/ 731214 w 1431019"/>
                  <a:gd name="connsiteY351" fmla="*/ 1042823 h 1188375"/>
                  <a:gd name="connsiteX352" fmla="*/ 714679 w 1431019"/>
                  <a:gd name="connsiteY352" fmla="*/ 1042823 h 1188375"/>
                  <a:gd name="connsiteX353" fmla="*/ 710191 w 1431019"/>
                  <a:gd name="connsiteY353" fmla="*/ 1048563 h 1188375"/>
                  <a:gd name="connsiteX354" fmla="*/ 690063 w 1431019"/>
                  <a:gd name="connsiteY354" fmla="*/ 1050042 h 1188375"/>
                  <a:gd name="connsiteX355" fmla="*/ 685036 w 1431019"/>
                  <a:gd name="connsiteY355" fmla="*/ 1055231 h 1188375"/>
                  <a:gd name="connsiteX356" fmla="*/ 682876 w 1431019"/>
                  <a:gd name="connsiteY356" fmla="*/ 1064125 h 1188375"/>
                  <a:gd name="connsiteX357" fmla="*/ 690063 w 1431019"/>
                  <a:gd name="connsiteY357" fmla="*/ 1072272 h 1188375"/>
                  <a:gd name="connsiteX358" fmla="*/ 692223 w 1431019"/>
                  <a:gd name="connsiteY358" fmla="*/ 1081904 h 1188375"/>
                  <a:gd name="connsiteX359" fmla="*/ 686288 w 1431019"/>
                  <a:gd name="connsiteY359" fmla="*/ 1089500 h 1188375"/>
                  <a:gd name="connsiteX360" fmla="*/ 682156 w 1431019"/>
                  <a:gd name="connsiteY360" fmla="*/ 1093022 h 1188375"/>
                  <a:gd name="connsiteX361" fmla="*/ 676409 w 1431019"/>
                  <a:gd name="connsiteY361" fmla="*/ 1089500 h 1188375"/>
                  <a:gd name="connsiteX362" fmla="*/ 672815 w 1431019"/>
                  <a:gd name="connsiteY362" fmla="*/ 1083390 h 1188375"/>
                  <a:gd name="connsiteX363" fmla="*/ 664908 w 1431019"/>
                  <a:gd name="connsiteY363" fmla="*/ 1073757 h 1188375"/>
                  <a:gd name="connsiteX364" fmla="*/ 652505 w 1431019"/>
                  <a:gd name="connsiteY364" fmla="*/ 1073757 h 1188375"/>
                  <a:gd name="connsiteX365" fmla="*/ 651792 w 1431019"/>
                  <a:gd name="connsiteY365" fmla="*/ 1079867 h 1188375"/>
                  <a:gd name="connsiteX366" fmla="*/ 643885 w 1431019"/>
                  <a:gd name="connsiteY366" fmla="*/ 1080613 h 1188375"/>
                  <a:gd name="connsiteX367" fmla="*/ 640466 w 1431019"/>
                  <a:gd name="connsiteY367" fmla="*/ 1074497 h 1188375"/>
                  <a:gd name="connsiteX368" fmla="*/ 639033 w 1431019"/>
                  <a:gd name="connsiteY368" fmla="*/ 1067089 h 1188375"/>
                  <a:gd name="connsiteX369" fmla="*/ 631846 w 1431019"/>
                  <a:gd name="connsiteY369" fmla="*/ 1065603 h 1188375"/>
                  <a:gd name="connsiteX370" fmla="*/ 618723 w 1431019"/>
                  <a:gd name="connsiteY370" fmla="*/ 1062088 h 1188375"/>
                  <a:gd name="connsiteX371" fmla="*/ 615311 w 1431019"/>
                  <a:gd name="connsiteY371" fmla="*/ 1053934 h 1188375"/>
                  <a:gd name="connsiteX372" fmla="*/ 617290 w 1431019"/>
                  <a:gd name="connsiteY372" fmla="*/ 1044302 h 1188375"/>
                  <a:gd name="connsiteX373" fmla="*/ 621059 w 1431019"/>
                  <a:gd name="connsiteY373" fmla="*/ 1040410 h 1188375"/>
                  <a:gd name="connsiteX374" fmla="*/ 619443 w 1431019"/>
                  <a:gd name="connsiteY374" fmla="*/ 1033184 h 1188375"/>
                  <a:gd name="connsiteX375" fmla="*/ 609383 w 1431019"/>
                  <a:gd name="connsiteY375" fmla="*/ 1031516 h 1188375"/>
                  <a:gd name="connsiteX376" fmla="*/ 605251 w 1431019"/>
                  <a:gd name="connsiteY376" fmla="*/ 1020405 h 1188375"/>
                  <a:gd name="connsiteX377" fmla="*/ 597344 w 1431019"/>
                  <a:gd name="connsiteY377" fmla="*/ 1003358 h 1188375"/>
                  <a:gd name="connsiteX378" fmla="*/ 592128 w 1431019"/>
                  <a:gd name="connsiteY378" fmla="*/ 993726 h 1188375"/>
                  <a:gd name="connsiteX379" fmla="*/ 587276 w 1431019"/>
                  <a:gd name="connsiteY379" fmla="*/ 990210 h 1188375"/>
                  <a:gd name="connsiteX380" fmla="*/ 584221 w 1431019"/>
                  <a:gd name="connsiteY380" fmla="*/ 995211 h 1188375"/>
                  <a:gd name="connsiteX381" fmla="*/ 576314 w 1431019"/>
                  <a:gd name="connsiteY381" fmla="*/ 995951 h 1188375"/>
                  <a:gd name="connsiteX382" fmla="*/ 574881 w 1431019"/>
                  <a:gd name="connsiteY382" fmla="*/ 999842 h 1188375"/>
                  <a:gd name="connsiteX383" fmla="*/ 568413 w 1431019"/>
                  <a:gd name="connsiteY383" fmla="*/ 1000582 h 1188375"/>
                  <a:gd name="connsiteX384" fmla="*/ 564995 w 1431019"/>
                  <a:gd name="connsiteY384" fmla="*/ 997618 h 1188375"/>
                  <a:gd name="connsiteX385" fmla="*/ 564995 w 1431019"/>
                  <a:gd name="connsiteY385" fmla="*/ 991689 h 1188375"/>
                  <a:gd name="connsiteX386" fmla="*/ 567693 w 1431019"/>
                  <a:gd name="connsiteY386" fmla="*/ 986318 h 1188375"/>
                  <a:gd name="connsiteX387" fmla="*/ 561045 w 1431019"/>
                  <a:gd name="connsiteY387" fmla="*/ 976685 h 1188375"/>
                  <a:gd name="connsiteX388" fmla="*/ 561045 w 1431019"/>
                  <a:gd name="connsiteY388" fmla="*/ 968532 h 1188375"/>
                  <a:gd name="connsiteX389" fmla="*/ 575601 w 1431019"/>
                  <a:gd name="connsiteY389" fmla="*/ 958899 h 1188375"/>
                  <a:gd name="connsiteX390" fmla="*/ 577034 w 1431019"/>
                  <a:gd name="connsiteY390" fmla="*/ 949267 h 1188375"/>
                  <a:gd name="connsiteX391" fmla="*/ 580809 w 1431019"/>
                  <a:gd name="connsiteY391" fmla="*/ 940373 h 1188375"/>
                  <a:gd name="connsiteX392" fmla="*/ 588716 w 1431019"/>
                  <a:gd name="connsiteY392" fmla="*/ 936858 h 1188375"/>
                  <a:gd name="connsiteX393" fmla="*/ 596624 w 1431019"/>
                  <a:gd name="connsiteY393" fmla="*/ 933705 h 1188375"/>
                  <a:gd name="connsiteX394" fmla="*/ 603811 w 1431019"/>
                  <a:gd name="connsiteY394" fmla="*/ 926479 h 1188375"/>
                  <a:gd name="connsiteX395" fmla="*/ 604531 w 1431019"/>
                  <a:gd name="connsiteY395" fmla="*/ 911664 h 1188375"/>
                  <a:gd name="connsiteX396" fmla="*/ 605964 w 1431019"/>
                  <a:gd name="connsiteY396" fmla="*/ 885724 h 1188375"/>
                  <a:gd name="connsiteX397" fmla="*/ 596624 w 1431019"/>
                  <a:gd name="connsiteY397" fmla="*/ 878874 h 1188375"/>
                  <a:gd name="connsiteX398" fmla="*/ 589436 w 1431019"/>
                  <a:gd name="connsiteY398" fmla="*/ 874612 h 1188375"/>
                  <a:gd name="connsiteX399" fmla="*/ 592848 w 1431019"/>
                  <a:gd name="connsiteY399" fmla="*/ 853680 h 1188375"/>
                  <a:gd name="connsiteX400" fmla="*/ 604531 w 1431019"/>
                  <a:gd name="connsiteY400" fmla="*/ 850897 h 1188375"/>
                  <a:gd name="connsiteX401" fmla="*/ 605964 w 1431019"/>
                  <a:gd name="connsiteY401" fmla="*/ 831632 h 1188375"/>
                  <a:gd name="connsiteX402" fmla="*/ 610816 w 1431019"/>
                  <a:gd name="connsiteY402" fmla="*/ 827747 h 1188375"/>
                  <a:gd name="connsiteX403" fmla="*/ 620306 w 1431019"/>
                  <a:gd name="connsiteY403" fmla="*/ 826540 h 1188375"/>
                  <a:gd name="connsiteX404" fmla="*/ 620585 w 1431019"/>
                  <a:gd name="connsiteY404" fmla="*/ 823329 h 1188375"/>
                  <a:gd name="connsiteX405" fmla="*/ 619164 w 1431019"/>
                  <a:gd name="connsiteY405" fmla="*/ 822460 h 1188375"/>
                  <a:gd name="connsiteX406" fmla="*/ 619307 w 1431019"/>
                  <a:gd name="connsiteY406" fmla="*/ 823323 h 1188375"/>
                  <a:gd name="connsiteX407" fmla="*/ 609233 w 1431019"/>
                  <a:gd name="connsiteY407" fmla="*/ 826106 h 1188375"/>
                  <a:gd name="connsiteX408" fmla="*/ 604738 w 1431019"/>
                  <a:gd name="connsiteY408" fmla="*/ 830737 h 1188375"/>
                  <a:gd name="connsiteX409" fmla="*/ 602040 w 1431019"/>
                  <a:gd name="connsiteY409" fmla="*/ 847051 h 1188375"/>
                  <a:gd name="connsiteX410" fmla="*/ 594853 w 1431019"/>
                  <a:gd name="connsiteY410" fmla="*/ 852805 h 1188375"/>
                  <a:gd name="connsiteX411" fmla="*/ 582081 w 1431019"/>
                  <a:gd name="connsiteY411" fmla="*/ 850022 h 1188375"/>
                  <a:gd name="connsiteX412" fmla="*/ 574712 w 1431019"/>
                  <a:gd name="connsiteY412" fmla="*/ 850022 h 1188375"/>
                  <a:gd name="connsiteX413" fmla="*/ 568958 w 1431019"/>
                  <a:gd name="connsiteY413" fmla="*/ 857436 h 1188375"/>
                  <a:gd name="connsiteX414" fmla="*/ 563380 w 1431019"/>
                  <a:gd name="connsiteY414" fmla="*/ 866336 h 1188375"/>
                  <a:gd name="connsiteX415" fmla="*/ 548817 w 1431019"/>
                  <a:gd name="connsiteY415" fmla="*/ 864850 h 1188375"/>
                  <a:gd name="connsiteX416" fmla="*/ 537485 w 1431019"/>
                  <a:gd name="connsiteY416" fmla="*/ 857436 h 1188375"/>
                  <a:gd name="connsiteX417" fmla="*/ 534430 w 1431019"/>
                  <a:gd name="connsiteY417" fmla="*/ 827585 h 1188375"/>
                  <a:gd name="connsiteX418" fmla="*/ 535689 w 1431019"/>
                  <a:gd name="connsiteY418" fmla="*/ 820359 h 1188375"/>
                  <a:gd name="connsiteX419" fmla="*/ 522923 w 1431019"/>
                  <a:gd name="connsiteY419" fmla="*/ 814793 h 1188375"/>
                  <a:gd name="connsiteX420" fmla="*/ 511591 w 1431019"/>
                  <a:gd name="connsiteY420" fmla="*/ 818685 h 1188375"/>
                  <a:gd name="connsiteX421" fmla="*/ 499902 w 1431019"/>
                  <a:gd name="connsiteY421" fmla="*/ 824620 h 1188375"/>
                  <a:gd name="connsiteX422" fmla="*/ 483900 w 1431019"/>
                  <a:gd name="connsiteY422" fmla="*/ 823323 h 1188375"/>
                  <a:gd name="connsiteX423" fmla="*/ 468792 w 1431019"/>
                  <a:gd name="connsiteY423" fmla="*/ 826106 h 1188375"/>
                  <a:gd name="connsiteX424" fmla="*/ 467359 w 1431019"/>
                  <a:gd name="connsiteY424" fmla="*/ 832223 h 1188375"/>
                  <a:gd name="connsiteX425" fmla="*/ 457104 w 1431019"/>
                  <a:gd name="connsiteY425" fmla="*/ 838158 h 1188375"/>
                  <a:gd name="connsiteX426" fmla="*/ 435711 w 1431019"/>
                  <a:gd name="connsiteY426" fmla="*/ 847051 h 1188375"/>
                  <a:gd name="connsiteX427" fmla="*/ 427077 w 1431019"/>
                  <a:gd name="connsiteY427" fmla="*/ 851319 h 1188375"/>
                  <a:gd name="connsiteX428" fmla="*/ 399743 w 1431019"/>
                  <a:gd name="connsiteY428" fmla="*/ 847051 h 1188375"/>
                  <a:gd name="connsiteX429" fmla="*/ 381042 w 1431019"/>
                  <a:gd name="connsiteY429" fmla="*/ 845384 h 1188375"/>
                  <a:gd name="connsiteX430" fmla="*/ 366655 w 1431019"/>
                  <a:gd name="connsiteY430" fmla="*/ 839637 h 1188375"/>
                  <a:gd name="connsiteX431" fmla="*/ 358203 w 1431019"/>
                  <a:gd name="connsiteY431" fmla="*/ 832223 h 1188375"/>
                  <a:gd name="connsiteX432" fmla="*/ 351009 w 1431019"/>
                  <a:gd name="connsiteY432" fmla="*/ 830737 h 1188375"/>
                  <a:gd name="connsiteX433" fmla="*/ 349575 w 1431019"/>
                  <a:gd name="connsiteY433" fmla="*/ 836484 h 1188375"/>
                  <a:gd name="connsiteX434" fmla="*/ 339683 w 1431019"/>
                  <a:gd name="connsiteY434" fmla="*/ 838158 h 1188375"/>
                  <a:gd name="connsiteX435" fmla="*/ 335188 w 1431019"/>
                  <a:gd name="connsiteY435" fmla="*/ 848536 h 1188375"/>
                  <a:gd name="connsiteX436" fmla="*/ 325114 w 1431019"/>
                  <a:gd name="connsiteY436" fmla="*/ 855951 h 1188375"/>
                  <a:gd name="connsiteX437" fmla="*/ 320983 w 1431019"/>
                  <a:gd name="connsiteY437" fmla="*/ 843905 h 1188375"/>
                  <a:gd name="connsiteX438" fmla="*/ 315047 w 1431019"/>
                  <a:gd name="connsiteY438" fmla="*/ 829258 h 1188375"/>
                  <a:gd name="connsiteX439" fmla="*/ 302100 w 1431019"/>
                  <a:gd name="connsiteY439" fmla="*/ 832223 h 1188375"/>
                  <a:gd name="connsiteX440" fmla="*/ 295088 w 1431019"/>
                  <a:gd name="connsiteY440" fmla="*/ 824620 h 1188375"/>
                  <a:gd name="connsiteX441" fmla="*/ 286454 w 1431019"/>
                  <a:gd name="connsiteY441" fmla="*/ 830737 h 1188375"/>
                  <a:gd name="connsiteX442" fmla="*/ 279261 w 1431019"/>
                  <a:gd name="connsiteY442" fmla="*/ 832223 h 1188375"/>
                  <a:gd name="connsiteX443" fmla="*/ 270634 w 1431019"/>
                  <a:gd name="connsiteY443" fmla="*/ 826106 h 1188375"/>
                  <a:gd name="connsiteX444" fmla="*/ 264698 w 1431019"/>
                  <a:gd name="connsiteY444" fmla="*/ 821838 h 1188375"/>
                  <a:gd name="connsiteX445" fmla="*/ 257505 w 1431019"/>
                  <a:gd name="connsiteY445" fmla="*/ 820359 h 1188375"/>
                  <a:gd name="connsiteX446" fmla="*/ 236469 w 1431019"/>
                  <a:gd name="connsiteY446" fmla="*/ 820359 h 1188375"/>
                  <a:gd name="connsiteX447" fmla="*/ 237727 w 1431019"/>
                  <a:gd name="connsiteY447" fmla="*/ 814793 h 1188375"/>
                  <a:gd name="connsiteX448" fmla="*/ 230534 w 1431019"/>
                  <a:gd name="connsiteY448" fmla="*/ 810162 h 1188375"/>
                  <a:gd name="connsiteX449" fmla="*/ 221900 w 1431019"/>
                  <a:gd name="connsiteY449" fmla="*/ 805894 h 1188375"/>
                  <a:gd name="connsiteX450" fmla="*/ 219201 w 1431019"/>
                  <a:gd name="connsiteY450" fmla="*/ 792363 h 1188375"/>
                  <a:gd name="connsiteX451" fmla="*/ 204639 w 1431019"/>
                  <a:gd name="connsiteY451" fmla="*/ 789392 h 1188375"/>
                  <a:gd name="connsiteX452" fmla="*/ 194565 w 1431019"/>
                  <a:gd name="connsiteY452" fmla="*/ 783463 h 1188375"/>
                  <a:gd name="connsiteX453" fmla="*/ 188812 w 1431019"/>
                  <a:gd name="connsiteY453" fmla="*/ 767331 h 1188375"/>
                  <a:gd name="connsiteX454" fmla="*/ 181618 w 1431019"/>
                  <a:gd name="connsiteY454" fmla="*/ 764178 h 1188375"/>
                  <a:gd name="connsiteX455" fmla="*/ 168670 w 1431019"/>
                  <a:gd name="connsiteY455" fmla="*/ 762693 h 1188375"/>
                  <a:gd name="connsiteX456" fmla="*/ 164357 w 1431019"/>
                  <a:gd name="connsiteY456" fmla="*/ 753800 h 1188375"/>
                  <a:gd name="connsiteX457" fmla="*/ 158785 w 1431019"/>
                  <a:gd name="connsiteY457" fmla="*/ 747865 h 1188375"/>
                  <a:gd name="connsiteX458" fmla="*/ 154290 w 1431019"/>
                  <a:gd name="connsiteY458" fmla="*/ 735073 h 1188375"/>
                  <a:gd name="connsiteX459" fmla="*/ 144216 w 1431019"/>
                  <a:gd name="connsiteY459" fmla="*/ 727471 h 1188375"/>
                  <a:gd name="connsiteX460" fmla="*/ 131450 w 1431019"/>
                  <a:gd name="connsiteY460" fmla="*/ 720057 h 1188375"/>
                  <a:gd name="connsiteX461" fmla="*/ 125515 w 1431019"/>
                  <a:gd name="connsiteY461" fmla="*/ 724688 h 1188375"/>
                  <a:gd name="connsiteX462" fmla="*/ 118685 w 1431019"/>
                  <a:gd name="connsiteY462" fmla="*/ 724688 h 1188375"/>
                  <a:gd name="connsiteX463" fmla="*/ 104116 w 1431019"/>
                  <a:gd name="connsiteY463" fmla="*/ 711157 h 1188375"/>
                  <a:gd name="connsiteX464" fmla="*/ 92790 w 1431019"/>
                  <a:gd name="connsiteY464" fmla="*/ 705410 h 1188375"/>
                  <a:gd name="connsiteX465" fmla="*/ 84157 w 1431019"/>
                  <a:gd name="connsiteY465" fmla="*/ 687611 h 1188375"/>
                  <a:gd name="connsiteX466" fmla="*/ 69588 w 1431019"/>
                  <a:gd name="connsiteY466" fmla="*/ 678711 h 1188375"/>
                  <a:gd name="connsiteX467" fmla="*/ 64198 w 1431019"/>
                  <a:gd name="connsiteY467" fmla="*/ 669811 h 1188375"/>
                  <a:gd name="connsiteX468" fmla="*/ 66896 w 1431019"/>
                  <a:gd name="connsiteY468" fmla="*/ 651085 h 1188375"/>
                  <a:gd name="connsiteX469" fmla="*/ 59702 w 1431019"/>
                  <a:gd name="connsiteY469" fmla="*/ 637547 h 1188375"/>
                  <a:gd name="connsiteX470" fmla="*/ 60961 w 1431019"/>
                  <a:gd name="connsiteY470" fmla="*/ 628648 h 1188375"/>
                  <a:gd name="connsiteX471" fmla="*/ 81458 w 1431019"/>
                  <a:gd name="connsiteY471" fmla="*/ 633285 h 1188375"/>
                  <a:gd name="connsiteX472" fmla="*/ 86855 w 1431019"/>
                  <a:gd name="connsiteY472" fmla="*/ 625683 h 1188375"/>
                  <a:gd name="connsiteX473" fmla="*/ 84157 w 1431019"/>
                  <a:gd name="connsiteY473" fmla="*/ 615486 h 1188375"/>
                  <a:gd name="connsiteX474" fmla="*/ 80018 w 1431019"/>
                  <a:gd name="connsiteY474" fmla="*/ 600470 h 1188375"/>
                  <a:gd name="connsiteX475" fmla="*/ 74090 w 1431019"/>
                  <a:gd name="connsiteY475" fmla="*/ 594353 h 1188375"/>
                  <a:gd name="connsiteX476" fmla="*/ 78222 w 1431019"/>
                  <a:gd name="connsiteY476" fmla="*/ 583040 h 1188375"/>
                  <a:gd name="connsiteX477" fmla="*/ 90092 w 1431019"/>
                  <a:gd name="connsiteY477" fmla="*/ 584526 h 1188375"/>
                  <a:gd name="connsiteX478" fmla="*/ 90092 w 1431019"/>
                  <a:gd name="connsiteY478" fmla="*/ 574524 h 1188375"/>
                  <a:gd name="connsiteX479" fmla="*/ 90085 w 1431019"/>
                  <a:gd name="connsiteY479" fmla="*/ 574524 h 1188375"/>
                  <a:gd name="connsiteX480" fmla="*/ 85590 w 1431019"/>
                  <a:gd name="connsiteY480" fmla="*/ 571001 h 1188375"/>
                  <a:gd name="connsiteX481" fmla="*/ 79298 w 1431019"/>
                  <a:gd name="connsiteY481" fmla="*/ 563399 h 1188375"/>
                  <a:gd name="connsiteX482" fmla="*/ 79298 w 1431019"/>
                  <a:gd name="connsiteY482" fmla="*/ 553202 h 1188375"/>
                  <a:gd name="connsiteX483" fmla="*/ 79298 w 1431019"/>
                  <a:gd name="connsiteY483" fmla="*/ 544854 h 1188375"/>
                  <a:gd name="connsiteX484" fmla="*/ 72825 w 1431019"/>
                  <a:gd name="connsiteY484" fmla="*/ 541701 h 1188375"/>
                  <a:gd name="connsiteX485" fmla="*/ 71385 w 1431019"/>
                  <a:gd name="connsiteY485" fmla="*/ 534657 h 1188375"/>
                  <a:gd name="connsiteX486" fmla="*/ 64911 w 1431019"/>
                  <a:gd name="connsiteY486" fmla="*/ 527055 h 1188375"/>
                  <a:gd name="connsiteX487" fmla="*/ 54124 w 1431019"/>
                  <a:gd name="connsiteY487" fmla="*/ 521119 h 1188375"/>
                  <a:gd name="connsiteX488" fmla="*/ 43693 w 1431019"/>
                  <a:gd name="connsiteY488" fmla="*/ 520380 h 1188375"/>
                  <a:gd name="connsiteX489" fmla="*/ 41715 w 1431019"/>
                  <a:gd name="connsiteY489" fmla="*/ 509255 h 1188375"/>
                  <a:gd name="connsiteX490" fmla="*/ 40995 w 1431019"/>
                  <a:gd name="connsiteY490" fmla="*/ 497943 h 1188375"/>
                  <a:gd name="connsiteX491" fmla="*/ 36863 w 1431019"/>
                  <a:gd name="connsiteY491" fmla="*/ 487000 h 1188375"/>
                  <a:gd name="connsiteX492" fmla="*/ 31648 w 1431019"/>
                  <a:gd name="connsiteY492" fmla="*/ 484036 h 1188375"/>
                  <a:gd name="connsiteX493" fmla="*/ 27509 w 1431019"/>
                  <a:gd name="connsiteY493" fmla="*/ 481992 h 1188375"/>
                  <a:gd name="connsiteX494" fmla="*/ 21036 w 1431019"/>
                  <a:gd name="connsiteY494" fmla="*/ 473093 h 1188375"/>
                  <a:gd name="connsiteX495" fmla="*/ 23014 w 1431019"/>
                  <a:gd name="connsiteY495" fmla="*/ 478100 h 1188375"/>
                  <a:gd name="connsiteX496" fmla="*/ 17261 w 1431019"/>
                  <a:gd name="connsiteY496" fmla="*/ 465490 h 1188375"/>
                  <a:gd name="connsiteX497" fmla="*/ 5753 w 1431019"/>
                  <a:gd name="connsiteY497" fmla="*/ 460301 h 1188375"/>
                  <a:gd name="connsiteX498" fmla="*/ 1615 w 1431019"/>
                  <a:gd name="connsiteY498" fmla="*/ 454548 h 1188375"/>
                  <a:gd name="connsiteX499" fmla="*/ 1615 w 1431019"/>
                  <a:gd name="connsiteY499" fmla="*/ 447133 h 1188375"/>
                  <a:gd name="connsiteX500" fmla="*/ 720 w 1431019"/>
                  <a:gd name="connsiteY500" fmla="*/ 441756 h 1188375"/>
                  <a:gd name="connsiteX501" fmla="*/ 14387 w 1431019"/>
                  <a:gd name="connsiteY501" fmla="*/ 441756 h 1188375"/>
                  <a:gd name="connsiteX502" fmla="*/ 13667 w 1431019"/>
                  <a:gd name="connsiteY502" fmla="*/ 432110 h 1188375"/>
                  <a:gd name="connsiteX503" fmla="*/ 18882 w 1431019"/>
                  <a:gd name="connsiteY503" fmla="*/ 423211 h 1188375"/>
                  <a:gd name="connsiteX504" fmla="*/ 21756 w 1431019"/>
                  <a:gd name="connsiteY504" fmla="*/ 416355 h 1188375"/>
                  <a:gd name="connsiteX505" fmla="*/ 21036 w 1431019"/>
                  <a:gd name="connsiteY505" fmla="*/ 406897 h 1188375"/>
                  <a:gd name="connsiteX506" fmla="*/ 3775 w 1431019"/>
                  <a:gd name="connsiteY506" fmla="*/ 404672 h 1188375"/>
                  <a:gd name="connsiteX507" fmla="*/ 0 w 1431019"/>
                  <a:gd name="connsiteY507" fmla="*/ 401144 h 1188375"/>
                  <a:gd name="connsiteX508" fmla="*/ 0 w 1431019"/>
                  <a:gd name="connsiteY508" fmla="*/ 392990 h 1188375"/>
                  <a:gd name="connsiteX509" fmla="*/ 1615 w 1431019"/>
                  <a:gd name="connsiteY509" fmla="*/ 382229 h 1188375"/>
                  <a:gd name="connsiteX510" fmla="*/ 8627 w 1431019"/>
                  <a:gd name="connsiteY510" fmla="*/ 370546 h 1188375"/>
                  <a:gd name="connsiteX511" fmla="*/ 13122 w 1431019"/>
                  <a:gd name="connsiteY511" fmla="*/ 359422 h 1188375"/>
                  <a:gd name="connsiteX512" fmla="*/ 19596 w 1431019"/>
                  <a:gd name="connsiteY512" fmla="*/ 353487 h 1188375"/>
                  <a:gd name="connsiteX513" fmla="*/ 26614 w 1431019"/>
                  <a:gd name="connsiteY513" fmla="*/ 351262 h 1188375"/>
                  <a:gd name="connsiteX514" fmla="*/ 36143 w 1431019"/>
                  <a:gd name="connsiteY514" fmla="*/ 348485 h 1188375"/>
                  <a:gd name="connsiteX515" fmla="*/ 43155 w 1431019"/>
                  <a:gd name="connsiteY515" fmla="*/ 346630 h 1188375"/>
                  <a:gd name="connsiteX516" fmla="*/ 49629 w 1431019"/>
                  <a:gd name="connsiteY516" fmla="*/ 345884 h 1188375"/>
                  <a:gd name="connsiteX517" fmla="*/ 54124 w 1431019"/>
                  <a:gd name="connsiteY517" fmla="*/ 340883 h 1188375"/>
                  <a:gd name="connsiteX518" fmla="*/ 60416 w 1431019"/>
                  <a:gd name="connsiteY518" fmla="*/ 343847 h 1188375"/>
                  <a:gd name="connsiteX519" fmla="*/ 63477 w 1431019"/>
                  <a:gd name="connsiteY519" fmla="*/ 350522 h 1188375"/>
                  <a:gd name="connsiteX520" fmla="*/ 70665 w 1431019"/>
                  <a:gd name="connsiteY520" fmla="*/ 352008 h 1188375"/>
                  <a:gd name="connsiteX521" fmla="*/ 82178 w 1431019"/>
                  <a:gd name="connsiteY521" fmla="*/ 352008 h 1188375"/>
                  <a:gd name="connsiteX522" fmla="*/ 87932 w 1431019"/>
                  <a:gd name="connsiteY522" fmla="*/ 344587 h 1188375"/>
                  <a:gd name="connsiteX523" fmla="*/ 92784 w 1431019"/>
                  <a:gd name="connsiteY523" fmla="*/ 338840 h 1188375"/>
                  <a:gd name="connsiteX524" fmla="*/ 99439 w 1431019"/>
                  <a:gd name="connsiteY524" fmla="*/ 338840 h 1188375"/>
                  <a:gd name="connsiteX525" fmla="*/ 112205 w 1431019"/>
                  <a:gd name="connsiteY525" fmla="*/ 341623 h 1188375"/>
                  <a:gd name="connsiteX526" fmla="*/ 124614 w 1431019"/>
                  <a:gd name="connsiteY526" fmla="*/ 341623 h 1188375"/>
                  <a:gd name="connsiteX527" fmla="*/ 138099 w 1431019"/>
                  <a:gd name="connsiteY527" fmla="*/ 340883 h 1188375"/>
                  <a:gd name="connsiteX528" fmla="*/ 141154 w 1431019"/>
                  <a:gd name="connsiteY528" fmla="*/ 330680 h 1188375"/>
                  <a:gd name="connsiteX529" fmla="*/ 150508 w 1431019"/>
                  <a:gd name="connsiteY529" fmla="*/ 330680 h 1188375"/>
                  <a:gd name="connsiteX530" fmla="*/ 159862 w 1431019"/>
                  <a:gd name="connsiteY530" fmla="*/ 329940 h 1188375"/>
                  <a:gd name="connsiteX531" fmla="*/ 177123 w 1431019"/>
                  <a:gd name="connsiteY531" fmla="*/ 328085 h 1188375"/>
                  <a:gd name="connsiteX532" fmla="*/ 182877 w 1431019"/>
                  <a:gd name="connsiteY532" fmla="*/ 323077 h 1188375"/>
                  <a:gd name="connsiteX533" fmla="*/ 189169 w 1431019"/>
                  <a:gd name="connsiteY533" fmla="*/ 322520 h 1188375"/>
                  <a:gd name="connsiteX534" fmla="*/ 190427 w 1431019"/>
                  <a:gd name="connsiteY534" fmla="*/ 311025 h 1188375"/>
                  <a:gd name="connsiteX535" fmla="*/ 193664 w 1431019"/>
                  <a:gd name="connsiteY535" fmla="*/ 306018 h 1188375"/>
                  <a:gd name="connsiteX536" fmla="*/ 200857 w 1431019"/>
                  <a:gd name="connsiteY536" fmla="*/ 296560 h 1188375"/>
                  <a:gd name="connsiteX537" fmla="*/ 208771 w 1431019"/>
                  <a:gd name="connsiteY537" fmla="*/ 296560 h 1188375"/>
                  <a:gd name="connsiteX538" fmla="*/ 207694 w 1431019"/>
                  <a:gd name="connsiteY538" fmla="*/ 278761 h 1188375"/>
                  <a:gd name="connsiteX539" fmla="*/ 203017 w 1431019"/>
                  <a:gd name="connsiteY539" fmla="*/ 269861 h 1188375"/>
                  <a:gd name="connsiteX540" fmla="*/ 205716 w 1431019"/>
                  <a:gd name="connsiteY540" fmla="*/ 260216 h 1188375"/>
                  <a:gd name="connsiteX541" fmla="*/ 203556 w 1431019"/>
                  <a:gd name="connsiteY541" fmla="*/ 234257 h 1188375"/>
                  <a:gd name="connsiteX542" fmla="*/ 218838 w 1431019"/>
                  <a:gd name="connsiteY542" fmla="*/ 234257 h 1188375"/>
                  <a:gd name="connsiteX543" fmla="*/ 237539 w 1431019"/>
                  <a:gd name="connsiteY543" fmla="*/ 233517 h 1188375"/>
                  <a:gd name="connsiteX544" fmla="*/ 257505 w 1431019"/>
                  <a:gd name="connsiteY544" fmla="*/ 232771 h 1188375"/>
                  <a:gd name="connsiteX545" fmla="*/ 263978 w 1431019"/>
                  <a:gd name="connsiteY545" fmla="*/ 228879 h 1188375"/>
                  <a:gd name="connsiteX546" fmla="*/ 266132 w 1431019"/>
                  <a:gd name="connsiteY546" fmla="*/ 216457 h 1188375"/>
                  <a:gd name="connsiteX547" fmla="*/ 267572 w 1431019"/>
                  <a:gd name="connsiteY547" fmla="*/ 207551 h 1188375"/>
                  <a:gd name="connsiteX548" fmla="*/ 279981 w 1431019"/>
                  <a:gd name="connsiteY548" fmla="*/ 191789 h 1188375"/>
                  <a:gd name="connsiteX549" fmla="*/ 284833 w 1431019"/>
                  <a:gd name="connsiteY549" fmla="*/ 180853 h 1188375"/>
                  <a:gd name="connsiteX550" fmla="*/ 295802 w 1431019"/>
                  <a:gd name="connsiteY550" fmla="*/ 176954 h 1188375"/>
                  <a:gd name="connsiteX551" fmla="*/ 306414 w 1431019"/>
                  <a:gd name="connsiteY551" fmla="*/ 182150 h 1188375"/>
                  <a:gd name="connsiteX552" fmla="*/ 317921 w 1431019"/>
                  <a:gd name="connsiteY552" fmla="*/ 184375 h 1188375"/>
                  <a:gd name="connsiteX553" fmla="*/ 323136 w 1431019"/>
                  <a:gd name="connsiteY553" fmla="*/ 193274 h 1188375"/>
                  <a:gd name="connsiteX554" fmla="*/ 328533 w 1431019"/>
                  <a:gd name="connsiteY554" fmla="*/ 192535 h 1188375"/>
                  <a:gd name="connsiteX555" fmla="*/ 337160 w 1431019"/>
                  <a:gd name="connsiteY555" fmla="*/ 191049 h 1188375"/>
                  <a:gd name="connsiteX556" fmla="*/ 348311 w 1431019"/>
                  <a:gd name="connsiteY556" fmla="*/ 189013 h 1188375"/>
                  <a:gd name="connsiteX557" fmla="*/ 353169 w 1431019"/>
                  <a:gd name="connsiteY557" fmla="*/ 180107 h 1188375"/>
                  <a:gd name="connsiteX558" fmla="*/ 349031 w 1431019"/>
                  <a:gd name="connsiteY558" fmla="*/ 171207 h 1188375"/>
                  <a:gd name="connsiteX559" fmla="*/ 355504 w 1431019"/>
                  <a:gd name="connsiteY559" fmla="*/ 152668 h 1188375"/>
                  <a:gd name="connsiteX560" fmla="*/ 363055 w 1431019"/>
                  <a:gd name="connsiteY560" fmla="*/ 150255 h 1188375"/>
                  <a:gd name="connsiteX561" fmla="*/ 374205 w 1431019"/>
                  <a:gd name="connsiteY561" fmla="*/ 148770 h 1188375"/>
                  <a:gd name="connsiteX562" fmla="*/ 390032 w 1431019"/>
                  <a:gd name="connsiteY562" fmla="*/ 145248 h 1188375"/>
                  <a:gd name="connsiteX563" fmla="*/ 396324 w 1431019"/>
                  <a:gd name="connsiteY563" fmla="*/ 125963 h 1188375"/>
                  <a:gd name="connsiteX564" fmla="*/ 408013 w 1431019"/>
                  <a:gd name="connsiteY564" fmla="*/ 122810 h 1188375"/>
                  <a:gd name="connsiteX565" fmla="*/ 418080 w 1431019"/>
                  <a:gd name="connsiteY565" fmla="*/ 133007 h 1188375"/>
                  <a:gd name="connsiteX566" fmla="*/ 416640 w 1431019"/>
                  <a:gd name="connsiteY566" fmla="*/ 156191 h 1188375"/>
                  <a:gd name="connsiteX567" fmla="*/ 436606 w 1431019"/>
                  <a:gd name="connsiteY567" fmla="*/ 173250 h 1188375"/>
                  <a:gd name="connsiteX568" fmla="*/ 450448 w 1431019"/>
                  <a:gd name="connsiteY568" fmla="*/ 178628 h 1188375"/>
                  <a:gd name="connsiteX569" fmla="*/ 460522 w 1431019"/>
                  <a:gd name="connsiteY569" fmla="*/ 189013 h 1188375"/>
                  <a:gd name="connsiteX570" fmla="*/ 457285 w 1431019"/>
                  <a:gd name="connsiteY570" fmla="*/ 197166 h 1188375"/>
                  <a:gd name="connsiteX571" fmla="*/ 459082 w 1431019"/>
                  <a:gd name="connsiteY571" fmla="*/ 206072 h 1188375"/>
                  <a:gd name="connsiteX572" fmla="*/ 463934 w 1431019"/>
                  <a:gd name="connsiteY572" fmla="*/ 210334 h 1188375"/>
                  <a:gd name="connsiteX573" fmla="*/ 469869 w 1431019"/>
                  <a:gd name="connsiteY573" fmla="*/ 219234 h 1188375"/>
                  <a:gd name="connsiteX574" fmla="*/ 469869 w 1431019"/>
                  <a:gd name="connsiteY574" fmla="*/ 227394 h 1188375"/>
                  <a:gd name="connsiteX575" fmla="*/ 464654 w 1431019"/>
                  <a:gd name="connsiteY575" fmla="*/ 234257 h 1188375"/>
                  <a:gd name="connsiteX576" fmla="*/ 465374 w 1431019"/>
                  <a:gd name="connsiteY576" fmla="*/ 245939 h 1188375"/>
                  <a:gd name="connsiteX577" fmla="*/ 456027 w 1431019"/>
                  <a:gd name="connsiteY577" fmla="*/ 252056 h 1188375"/>
                  <a:gd name="connsiteX578" fmla="*/ 452608 w 1431019"/>
                  <a:gd name="connsiteY578" fmla="*/ 261513 h 1188375"/>
                  <a:gd name="connsiteX579" fmla="*/ 456740 w 1431019"/>
                  <a:gd name="connsiteY579" fmla="*/ 270413 h 1188375"/>
                  <a:gd name="connsiteX580" fmla="*/ 463934 w 1431019"/>
                  <a:gd name="connsiteY580" fmla="*/ 274681 h 1188375"/>
                  <a:gd name="connsiteX581" fmla="*/ 472568 w 1431019"/>
                  <a:gd name="connsiteY581" fmla="*/ 278761 h 1188375"/>
                  <a:gd name="connsiteX582" fmla="*/ 481915 w 1431019"/>
                  <a:gd name="connsiteY582" fmla="*/ 280058 h 1188375"/>
                  <a:gd name="connsiteX583" fmla="*/ 491807 w 1431019"/>
                  <a:gd name="connsiteY583" fmla="*/ 278761 h 1188375"/>
                  <a:gd name="connsiteX584" fmla="*/ 498462 w 1431019"/>
                  <a:gd name="connsiteY584" fmla="*/ 283581 h 1188375"/>
                  <a:gd name="connsiteX585" fmla="*/ 507096 w 1431019"/>
                  <a:gd name="connsiteY585" fmla="*/ 287661 h 1188375"/>
                  <a:gd name="connsiteX586" fmla="*/ 515723 w 1431019"/>
                  <a:gd name="connsiteY586" fmla="*/ 293226 h 1188375"/>
                  <a:gd name="connsiteX587" fmla="*/ 528852 w 1431019"/>
                  <a:gd name="connsiteY587" fmla="*/ 297118 h 1188375"/>
                  <a:gd name="connsiteX588" fmla="*/ 544316 w 1431019"/>
                  <a:gd name="connsiteY588" fmla="*/ 308989 h 1188375"/>
                  <a:gd name="connsiteX589" fmla="*/ 557445 w 1431019"/>
                  <a:gd name="connsiteY589" fmla="*/ 312141 h 1188375"/>
                  <a:gd name="connsiteX590" fmla="*/ 562660 w 1431019"/>
                  <a:gd name="connsiteY590" fmla="*/ 322520 h 1188375"/>
                  <a:gd name="connsiteX591" fmla="*/ 564813 w 1431019"/>
                  <a:gd name="connsiteY591" fmla="*/ 334948 h 1188375"/>
                  <a:gd name="connsiteX592" fmla="*/ 566792 w 1431019"/>
                  <a:gd name="connsiteY592" fmla="*/ 350522 h 1188375"/>
                  <a:gd name="connsiteX593" fmla="*/ 574664 w 1431019"/>
                  <a:gd name="connsiteY593" fmla="*/ 366752 h 1188375"/>
                  <a:gd name="connsiteX594" fmla="*/ 579675 w 1431019"/>
                  <a:gd name="connsiteY594" fmla="*/ 369165 h 1188375"/>
                  <a:gd name="connsiteX595" fmla="*/ 593283 w 1431019"/>
                  <a:gd name="connsiteY595" fmla="*/ 369165 h 1188375"/>
                  <a:gd name="connsiteX596" fmla="*/ 593296 w 1431019"/>
                  <a:gd name="connsiteY596" fmla="*/ 369210 h 1188375"/>
                  <a:gd name="connsiteX597" fmla="*/ 596468 w 1431019"/>
                  <a:gd name="connsiteY597" fmla="*/ 367245 h 1188375"/>
                  <a:gd name="connsiteX598" fmla="*/ 611400 w 1431019"/>
                  <a:gd name="connsiteY598" fmla="*/ 372810 h 1188375"/>
                  <a:gd name="connsiteX599" fmla="*/ 619314 w 1431019"/>
                  <a:gd name="connsiteY599" fmla="*/ 372810 h 1188375"/>
                  <a:gd name="connsiteX600" fmla="*/ 629562 w 1431019"/>
                  <a:gd name="connsiteY600" fmla="*/ 375411 h 1188375"/>
                  <a:gd name="connsiteX601" fmla="*/ 638916 w 1431019"/>
                  <a:gd name="connsiteY601" fmla="*/ 376151 h 1188375"/>
                  <a:gd name="connsiteX602" fmla="*/ 650430 w 1431019"/>
                  <a:gd name="connsiteY602" fmla="*/ 380419 h 1188375"/>
                  <a:gd name="connsiteX603" fmla="*/ 660322 w 1431019"/>
                  <a:gd name="connsiteY603" fmla="*/ 385063 h 1188375"/>
                  <a:gd name="connsiteX604" fmla="*/ 668955 w 1431019"/>
                  <a:gd name="connsiteY604" fmla="*/ 379679 h 1188375"/>
                  <a:gd name="connsiteX605" fmla="*/ 685503 w 1431019"/>
                  <a:gd name="connsiteY605" fmla="*/ 380419 h 1188375"/>
                  <a:gd name="connsiteX606" fmla="*/ 696296 w 1431019"/>
                  <a:gd name="connsiteY606" fmla="*/ 378933 h 1188375"/>
                  <a:gd name="connsiteX607" fmla="*/ 705650 w 1431019"/>
                  <a:gd name="connsiteY607" fmla="*/ 387846 h 1188375"/>
                  <a:gd name="connsiteX608" fmla="*/ 712844 w 1431019"/>
                  <a:gd name="connsiteY608" fmla="*/ 392484 h 1188375"/>
                  <a:gd name="connsiteX609" fmla="*/ 724539 w 1431019"/>
                  <a:gd name="connsiteY609" fmla="*/ 401390 h 1188375"/>
                  <a:gd name="connsiteX610" fmla="*/ 734613 w 1431019"/>
                  <a:gd name="connsiteY610" fmla="*/ 406404 h 1188375"/>
                  <a:gd name="connsiteX611" fmla="*/ 747378 w 1431019"/>
                  <a:gd name="connsiteY611" fmla="*/ 410296 h 1188375"/>
                  <a:gd name="connsiteX612" fmla="*/ 761234 w 1431019"/>
                  <a:gd name="connsiteY612" fmla="*/ 408441 h 1188375"/>
                  <a:gd name="connsiteX613" fmla="*/ 777061 w 1431019"/>
                  <a:gd name="connsiteY613" fmla="*/ 411042 h 1188375"/>
                  <a:gd name="connsiteX614" fmla="*/ 787855 w 1431019"/>
                  <a:gd name="connsiteY614" fmla="*/ 406404 h 1188375"/>
                  <a:gd name="connsiteX615" fmla="*/ 797208 w 1431019"/>
                  <a:gd name="connsiteY615" fmla="*/ 402875 h 1188375"/>
                  <a:gd name="connsiteX616" fmla="*/ 806380 w 1431019"/>
                  <a:gd name="connsiteY616" fmla="*/ 398238 h 1188375"/>
                  <a:gd name="connsiteX617" fmla="*/ 813756 w 1431019"/>
                  <a:gd name="connsiteY617" fmla="*/ 393969 h 1188375"/>
                  <a:gd name="connsiteX618" fmla="*/ 824368 w 1431019"/>
                  <a:gd name="connsiteY618" fmla="*/ 391738 h 1188375"/>
                  <a:gd name="connsiteX619" fmla="*/ 839657 w 1431019"/>
                  <a:gd name="connsiteY619" fmla="*/ 387846 h 1188375"/>
                  <a:gd name="connsiteX620" fmla="*/ 852785 w 1431019"/>
                  <a:gd name="connsiteY620" fmla="*/ 387100 h 1188375"/>
                  <a:gd name="connsiteX621" fmla="*/ 855484 w 1431019"/>
                  <a:gd name="connsiteY621" fmla="*/ 381723 h 1188375"/>
                  <a:gd name="connsiteX622" fmla="*/ 865557 w 1431019"/>
                  <a:gd name="connsiteY622" fmla="*/ 380977 h 1188375"/>
                  <a:gd name="connsiteX623" fmla="*/ 879225 w 1431019"/>
                  <a:gd name="connsiteY623" fmla="*/ 383578 h 1188375"/>
                  <a:gd name="connsiteX624" fmla="*/ 896492 w 1431019"/>
                  <a:gd name="connsiteY624" fmla="*/ 382832 h 1188375"/>
                  <a:gd name="connsiteX625" fmla="*/ 900092 w 1431019"/>
                  <a:gd name="connsiteY625" fmla="*/ 375411 h 1188375"/>
                  <a:gd name="connsiteX626" fmla="*/ 913221 w 1431019"/>
                  <a:gd name="connsiteY626" fmla="*/ 370773 h 1188375"/>
                  <a:gd name="connsiteX627" fmla="*/ 921135 w 1431019"/>
                  <a:gd name="connsiteY627" fmla="*/ 365759 h 1188375"/>
                  <a:gd name="connsiteX628" fmla="*/ 923113 w 1431019"/>
                  <a:gd name="connsiteY628" fmla="*/ 352215 h 1188375"/>
                  <a:gd name="connsiteX629" fmla="*/ 929768 w 1431019"/>
                  <a:gd name="connsiteY629" fmla="*/ 344049 h 1188375"/>
                  <a:gd name="connsiteX630" fmla="*/ 939667 w 1431019"/>
                  <a:gd name="connsiteY630" fmla="*/ 341824 h 1188375"/>
                  <a:gd name="connsiteX631" fmla="*/ 945602 w 1431019"/>
                  <a:gd name="connsiteY631" fmla="*/ 337186 h 1188375"/>
                  <a:gd name="connsiteX632" fmla="*/ 937688 w 1431019"/>
                  <a:gd name="connsiteY632" fmla="*/ 330874 h 1188375"/>
                  <a:gd name="connsiteX633" fmla="*/ 933187 w 1431019"/>
                  <a:gd name="connsiteY633" fmla="*/ 318809 h 1188375"/>
                  <a:gd name="connsiteX634" fmla="*/ 931747 w 1431019"/>
                  <a:gd name="connsiteY634" fmla="*/ 310461 h 1188375"/>
                  <a:gd name="connsiteX635" fmla="*/ 940380 w 1431019"/>
                  <a:gd name="connsiteY635" fmla="*/ 301555 h 1188375"/>
                  <a:gd name="connsiteX636" fmla="*/ 946322 w 1431019"/>
                  <a:gd name="connsiteY636" fmla="*/ 292091 h 1188375"/>
                  <a:gd name="connsiteX637" fmla="*/ 956389 w 1431019"/>
                  <a:gd name="connsiteY637" fmla="*/ 293758 h 1188375"/>
                  <a:gd name="connsiteX638" fmla="*/ 965023 w 1431019"/>
                  <a:gd name="connsiteY638" fmla="*/ 298026 h 1188375"/>
                  <a:gd name="connsiteX639" fmla="*/ 976355 w 1431019"/>
                  <a:gd name="connsiteY639" fmla="*/ 300997 h 1188375"/>
                  <a:gd name="connsiteX640" fmla="*/ 990930 w 1431019"/>
                  <a:gd name="connsiteY640" fmla="*/ 294504 h 1188375"/>
                  <a:gd name="connsiteX641" fmla="*/ 998124 w 1431019"/>
                  <a:gd name="connsiteY641" fmla="*/ 287823 h 1188375"/>
                  <a:gd name="connsiteX642" fmla="*/ 1003696 w 1431019"/>
                  <a:gd name="connsiteY642" fmla="*/ 275946 h 1188375"/>
                  <a:gd name="connsiteX643" fmla="*/ 1012329 w 1431019"/>
                  <a:gd name="connsiteY643" fmla="*/ 278171 h 1188375"/>
                  <a:gd name="connsiteX644" fmla="*/ 1025465 w 1431019"/>
                  <a:gd name="connsiteY644" fmla="*/ 275946 h 1188375"/>
                  <a:gd name="connsiteX645" fmla="*/ 1039132 w 1431019"/>
                  <a:gd name="connsiteY645" fmla="*/ 267033 h 1188375"/>
                  <a:gd name="connsiteX646" fmla="*/ 1039132 w 1431019"/>
                  <a:gd name="connsiteY646" fmla="*/ 249221 h 1188375"/>
                  <a:gd name="connsiteX647" fmla="*/ 1047227 w 1431019"/>
                  <a:gd name="connsiteY647" fmla="*/ 241055 h 1188375"/>
                  <a:gd name="connsiteX648" fmla="*/ 1056399 w 1431019"/>
                  <a:gd name="connsiteY648" fmla="*/ 232894 h 1188375"/>
                  <a:gd name="connsiteX649" fmla="*/ 1068633 w 1431019"/>
                  <a:gd name="connsiteY649" fmla="*/ 233634 h 1188375"/>
                  <a:gd name="connsiteX650" fmla="*/ 1077805 w 1431019"/>
                  <a:gd name="connsiteY650" fmla="*/ 224728 h 1188375"/>
                  <a:gd name="connsiteX651" fmla="*/ 1089676 w 1431019"/>
                  <a:gd name="connsiteY651" fmla="*/ 221387 h 1188375"/>
                  <a:gd name="connsiteX652" fmla="*/ 1110361 w 1431019"/>
                  <a:gd name="connsiteY652" fmla="*/ 223242 h 1188375"/>
                  <a:gd name="connsiteX653" fmla="*/ 1116121 w 1431019"/>
                  <a:gd name="connsiteY653" fmla="*/ 221387 h 1188375"/>
                  <a:gd name="connsiteX654" fmla="*/ 1120973 w 1431019"/>
                  <a:gd name="connsiteY654" fmla="*/ 208213 h 1188375"/>
                  <a:gd name="connsiteX655" fmla="*/ 1113060 w 1431019"/>
                  <a:gd name="connsiteY655" fmla="*/ 205424 h 1188375"/>
                  <a:gd name="connsiteX656" fmla="*/ 1100288 w 1431019"/>
                  <a:gd name="connsiteY656" fmla="*/ 195778 h 1188375"/>
                  <a:gd name="connsiteX657" fmla="*/ 1093094 w 1431019"/>
                  <a:gd name="connsiteY657" fmla="*/ 186872 h 1188375"/>
                  <a:gd name="connsiteX658" fmla="*/ 1082300 w 1431019"/>
                  <a:gd name="connsiteY658" fmla="*/ 182228 h 1188375"/>
                  <a:gd name="connsiteX659" fmla="*/ 1074387 w 1431019"/>
                  <a:gd name="connsiteY659" fmla="*/ 180930 h 1188375"/>
                  <a:gd name="connsiteX660" fmla="*/ 1065753 w 1431019"/>
                  <a:gd name="connsiteY660" fmla="*/ 181488 h 1188375"/>
                  <a:gd name="connsiteX661" fmla="*/ 1061258 w 1431019"/>
                  <a:gd name="connsiteY661" fmla="*/ 194105 h 1188375"/>
                  <a:gd name="connsiteX662" fmla="*/ 1048486 w 1431019"/>
                  <a:gd name="connsiteY662" fmla="*/ 197264 h 1188375"/>
                  <a:gd name="connsiteX663" fmla="*/ 1041292 w 1431019"/>
                  <a:gd name="connsiteY663" fmla="*/ 191880 h 1188375"/>
                  <a:gd name="connsiteX664" fmla="*/ 1031938 w 1431019"/>
                  <a:gd name="connsiteY664" fmla="*/ 195778 h 1188375"/>
                  <a:gd name="connsiteX665" fmla="*/ 1024025 w 1431019"/>
                  <a:gd name="connsiteY665" fmla="*/ 202271 h 1188375"/>
                  <a:gd name="connsiteX666" fmla="*/ 1013951 w 1431019"/>
                  <a:gd name="connsiteY666" fmla="*/ 198749 h 1188375"/>
                  <a:gd name="connsiteX667" fmla="*/ 1009456 w 1431019"/>
                  <a:gd name="connsiteY667" fmla="*/ 183713 h 1188375"/>
                  <a:gd name="connsiteX668" fmla="*/ 1012329 w 1431019"/>
                  <a:gd name="connsiteY668" fmla="*/ 165901 h 1188375"/>
                  <a:gd name="connsiteX669" fmla="*/ 1016831 w 1431019"/>
                  <a:gd name="connsiteY669" fmla="*/ 146603 h 1188375"/>
                  <a:gd name="connsiteX670" fmla="*/ 1022585 w 1431019"/>
                  <a:gd name="connsiteY670" fmla="*/ 137133 h 1188375"/>
                  <a:gd name="connsiteX671" fmla="*/ 1024025 w 1431019"/>
                  <a:gd name="connsiteY671" fmla="*/ 131010 h 1188375"/>
                  <a:gd name="connsiteX672" fmla="*/ 1029960 w 1431019"/>
                  <a:gd name="connsiteY672" fmla="*/ 122849 h 1188375"/>
                  <a:gd name="connsiteX673" fmla="*/ 1035357 w 1431019"/>
                  <a:gd name="connsiteY673" fmla="*/ 128227 h 1188375"/>
                  <a:gd name="connsiteX674" fmla="*/ 1046151 w 1431019"/>
                  <a:gd name="connsiteY674" fmla="*/ 126741 h 1188375"/>
                  <a:gd name="connsiteX675" fmla="*/ 1054064 w 1431019"/>
                  <a:gd name="connsiteY675" fmla="*/ 128785 h 1188375"/>
                  <a:gd name="connsiteX676" fmla="*/ 1059999 w 1431019"/>
                  <a:gd name="connsiteY676" fmla="*/ 122849 h 1188375"/>
                  <a:gd name="connsiteX677" fmla="*/ 1065033 w 1431019"/>
                  <a:gd name="connsiteY677" fmla="*/ 117096 h 1188375"/>
                  <a:gd name="connsiteX678" fmla="*/ 1076547 w 1431019"/>
                  <a:gd name="connsiteY678" fmla="*/ 111712 h 1188375"/>
                  <a:gd name="connsiteX679" fmla="*/ 1081042 w 1431019"/>
                  <a:gd name="connsiteY679" fmla="*/ 103545 h 1188375"/>
                  <a:gd name="connsiteX680" fmla="*/ 1083020 w 1431019"/>
                  <a:gd name="connsiteY680" fmla="*/ 94639 h 1188375"/>
                  <a:gd name="connsiteX681" fmla="*/ 1079965 w 1431019"/>
                  <a:gd name="connsiteY681" fmla="*/ 79980 h 1188375"/>
                  <a:gd name="connsiteX682" fmla="*/ 1084460 w 1431019"/>
                  <a:gd name="connsiteY682" fmla="*/ 65878 h 1188375"/>
                  <a:gd name="connsiteX683" fmla="*/ 1091654 w 1431019"/>
                  <a:gd name="connsiteY683" fmla="*/ 59754 h 1188375"/>
                  <a:gd name="connsiteX684" fmla="*/ 1099568 w 1431019"/>
                  <a:gd name="connsiteY684" fmla="*/ 45834 h 1188375"/>
                  <a:gd name="connsiteX685" fmla="*/ 1099568 w 1431019"/>
                  <a:gd name="connsiteY685" fmla="*/ 35443 h 1188375"/>
                  <a:gd name="connsiteX686" fmla="*/ 1105866 w 1431019"/>
                  <a:gd name="connsiteY686" fmla="*/ 26537 h 1188375"/>
                  <a:gd name="connsiteX687" fmla="*/ 1111801 w 1431019"/>
                  <a:gd name="connsiteY687" fmla="*/ 24863 h 1188375"/>
                  <a:gd name="connsiteX688" fmla="*/ 1127629 w 1431019"/>
                  <a:gd name="connsiteY688" fmla="*/ 27276 h 1188375"/>
                  <a:gd name="connsiteX689" fmla="*/ 1133389 w 1431019"/>
                  <a:gd name="connsiteY689" fmla="*/ 24124 h 1188375"/>
                  <a:gd name="connsiteX690" fmla="*/ 1136982 w 1431019"/>
                  <a:gd name="connsiteY690" fmla="*/ 15957 h 1188375"/>
                  <a:gd name="connsiteX691" fmla="*/ 1144176 w 1431019"/>
                  <a:gd name="connsiteY691" fmla="*/ 23378 h 1188375"/>
                  <a:gd name="connsiteX692" fmla="*/ 1151960 w 1431019"/>
                  <a:gd name="connsiteY692" fmla="*/ 24526 h 1188375"/>
                  <a:gd name="connsiteX693" fmla="*/ 1161125 w 1431019"/>
                  <a:gd name="connsiteY693" fmla="*/ 15380 h 1188375"/>
                  <a:gd name="connsiteX694" fmla="*/ 1168325 w 1431019"/>
                  <a:gd name="connsiteY694" fmla="*/ 8893 h 1188375"/>
                  <a:gd name="connsiteX695" fmla="*/ 1177692 w 1431019"/>
                  <a:gd name="connsiteY695" fmla="*/ 7965 h 1188375"/>
                  <a:gd name="connsiteX696" fmla="*/ 1180390 w 1431019"/>
                  <a:gd name="connsiteY696" fmla="*/ 11857 h 1188375"/>
                  <a:gd name="connsiteX697" fmla="*/ 1197677 w 1431019"/>
                  <a:gd name="connsiteY697" fmla="*/ 13155 h 1188375"/>
                  <a:gd name="connsiteX698" fmla="*/ 1203619 w 1431019"/>
                  <a:gd name="connsiteY698" fmla="*/ 1485 h 1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Lst>
                <a:rect l="l" t="t" r="r" b="b"/>
                <a:pathLst>
                  <a:path w="1431019" h="1188375">
                    <a:moveTo>
                      <a:pt x="934095" y="1127531"/>
                    </a:moveTo>
                    <a:lnTo>
                      <a:pt x="948151" y="1127531"/>
                    </a:lnTo>
                    <a:lnTo>
                      <a:pt x="960774" y="1128270"/>
                    </a:lnTo>
                    <a:lnTo>
                      <a:pt x="964199" y="1132908"/>
                    </a:lnTo>
                    <a:lnTo>
                      <a:pt x="964919" y="1143300"/>
                    </a:lnTo>
                    <a:lnTo>
                      <a:pt x="961312" y="1149974"/>
                    </a:lnTo>
                    <a:lnTo>
                      <a:pt x="953379" y="1152206"/>
                    </a:lnTo>
                    <a:lnTo>
                      <a:pt x="951401" y="1161663"/>
                    </a:lnTo>
                    <a:lnTo>
                      <a:pt x="951401" y="1170012"/>
                    </a:lnTo>
                    <a:lnTo>
                      <a:pt x="945453" y="1172794"/>
                    </a:lnTo>
                    <a:lnTo>
                      <a:pt x="938240" y="1173534"/>
                    </a:lnTo>
                    <a:lnTo>
                      <a:pt x="932655" y="1182440"/>
                    </a:lnTo>
                    <a:lnTo>
                      <a:pt x="927427" y="1187078"/>
                    </a:lnTo>
                    <a:lnTo>
                      <a:pt x="916789" y="1188375"/>
                    </a:lnTo>
                    <a:lnTo>
                      <a:pt x="904354" y="1187078"/>
                    </a:lnTo>
                    <a:lnTo>
                      <a:pt x="900209" y="1181700"/>
                    </a:lnTo>
                    <a:lnTo>
                      <a:pt x="890116" y="1174280"/>
                    </a:lnTo>
                    <a:lnTo>
                      <a:pt x="891556" y="1161663"/>
                    </a:lnTo>
                    <a:lnTo>
                      <a:pt x="894981" y="1152206"/>
                    </a:lnTo>
                    <a:lnTo>
                      <a:pt x="904354" y="1141075"/>
                    </a:lnTo>
                    <a:lnTo>
                      <a:pt x="909400" y="1133654"/>
                    </a:lnTo>
                    <a:lnTo>
                      <a:pt x="918053" y="1133654"/>
                    </a:lnTo>
                    <a:lnTo>
                      <a:pt x="925442" y="1137176"/>
                    </a:lnTo>
                    <a:lnTo>
                      <a:pt x="930851" y="1132169"/>
                    </a:lnTo>
                    <a:close/>
                    <a:moveTo>
                      <a:pt x="1270080" y="922723"/>
                    </a:moveTo>
                    <a:lnTo>
                      <a:pt x="1278708" y="928094"/>
                    </a:lnTo>
                    <a:lnTo>
                      <a:pt x="1281406" y="942728"/>
                    </a:lnTo>
                    <a:lnTo>
                      <a:pt x="1277994" y="951621"/>
                    </a:lnTo>
                    <a:lnTo>
                      <a:pt x="1272059" y="959029"/>
                    </a:lnTo>
                    <a:lnTo>
                      <a:pt x="1270080" y="969401"/>
                    </a:lnTo>
                    <a:lnTo>
                      <a:pt x="1270800" y="978294"/>
                    </a:lnTo>
                    <a:lnTo>
                      <a:pt x="1272779" y="988848"/>
                    </a:lnTo>
                    <a:lnTo>
                      <a:pt x="1269360" y="999966"/>
                    </a:lnTo>
                    <a:lnTo>
                      <a:pt x="1257672" y="1012375"/>
                    </a:lnTo>
                    <a:lnTo>
                      <a:pt x="1260727" y="1022747"/>
                    </a:lnTo>
                    <a:lnTo>
                      <a:pt x="1259650" y="1029415"/>
                    </a:lnTo>
                    <a:lnTo>
                      <a:pt x="1261447" y="1044418"/>
                    </a:lnTo>
                    <a:lnTo>
                      <a:pt x="1251016" y="1042193"/>
                    </a:lnTo>
                    <a:lnTo>
                      <a:pt x="1249038" y="1034786"/>
                    </a:lnTo>
                    <a:lnTo>
                      <a:pt x="1246164" y="1024414"/>
                    </a:lnTo>
                    <a:lnTo>
                      <a:pt x="1240949" y="1015521"/>
                    </a:lnTo>
                    <a:lnTo>
                      <a:pt x="1233036" y="1012375"/>
                    </a:lnTo>
                    <a:lnTo>
                      <a:pt x="1230337" y="995334"/>
                    </a:lnTo>
                    <a:lnTo>
                      <a:pt x="1231057" y="982925"/>
                    </a:lnTo>
                    <a:lnTo>
                      <a:pt x="1236272" y="975330"/>
                    </a:lnTo>
                    <a:lnTo>
                      <a:pt x="1239691" y="966437"/>
                    </a:lnTo>
                    <a:lnTo>
                      <a:pt x="1246164" y="953288"/>
                    </a:lnTo>
                    <a:lnTo>
                      <a:pt x="1249576" y="941989"/>
                    </a:lnTo>
                    <a:lnTo>
                      <a:pt x="1257672" y="929580"/>
                    </a:lnTo>
                    <a:lnTo>
                      <a:pt x="1264145" y="926058"/>
                    </a:lnTo>
                    <a:close/>
                    <a:moveTo>
                      <a:pt x="1120201" y="464167"/>
                    </a:moveTo>
                    <a:lnTo>
                      <a:pt x="1119397" y="464822"/>
                    </a:lnTo>
                    <a:lnTo>
                      <a:pt x="1119825" y="465036"/>
                    </a:lnTo>
                    <a:close/>
                    <a:moveTo>
                      <a:pt x="1100288" y="459795"/>
                    </a:moveTo>
                    <a:lnTo>
                      <a:pt x="1100145" y="460989"/>
                    </a:lnTo>
                    <a:lnTo>
                      <a:pt x="1100288" y="460989"/>
                    </a:lnTo>
                    <a:close/>
                    <a:moveTo>
                      <a:pt x="1124547" y="452180"/>
                    </a:moveTo>
                    <a:lnTo>
                      <a:pt x="1123263" y="457058"/>
                    </a:lnTo>
                    <a:lnTo>
                      <a:pt x="1124593" y="453970"/>
                    </a:lnTo>
                    <a:close/>
                    <a:moveTo>
                      <a:pt x="1125887" y="431559"/>
                    </a:moveTo>
                    <a:lnTo>
                      <a:pt x="1124647" y="432847"/>
                    </a:lnTo>
                    <a:lnTo>
                      <a:pt x="1128874" y="431559"/>
                    </a:lnTo>
                    <a:close/>
                    <a:moveTo>
                      <a:pt x="1129725" y="427574"/>
                    </a:moveTo>
                    <a:lnTo>
                      <a:pt x="1129393" y="427918"/>
                    </a:lnTo>
                    <a:lnTo>
                      <a:pt x="1129224" y="430009"/>
                    </a:lnTo>
                    <a:close/>
                    <a:moveTo>
                      <a:pt x="1209561" y="0"/>
                    </a:moveTo>
                    <a:lnTo>
                      <a:pt x="1211539" y="7226"/>
                    </a:lnTo>
                    <a:lnTo>
                      <a:pt x="1217481" y="19265"/>
                    </a:lnTo>
                    <a:lnTo>
                      <a:pt x="1217481" y="22787"/>
                    </a:lnTo>
                    <a:lnTo>
                      <a:pt x="1230266" y="34645"/>
                    </a:lnTo>
                    <a:lnTo>
                      <a:pt x="1237466" y="42798"/>
                    </a:lnTo>
                    <a:lnTo>
                      <a:pt x="1242331" y="54098"/>
                    </a:lnTo>
                    <a:lnTo>
                      <a:pt x="1246106" y="60578"/>
                    </a:lnTo>
                    <a:lnTo>
                      <a:pt x="1248273" y="71138"/>
                    </a:lnTo>
                    <a:lnTo>
                      <a:pt x="1263393" y="82996"/>
                    </a:lnTo>
                    <a:lnTo>
                      <a:pt x="1272759" y="89664"/>
                    </a:lnTo>
                    <a:lnTo>
                      <a:pt x="1290040" y="86518"/>
                    </a:lnTo>
                    <a:lnTo>
                      <a:pt x="1302825" y="85779"/>
                    </a:lnTo>
                    <a:lnTo>
                      <a:pt x="1305886" y="90410"/>
                    </a:lnTo>
                    <a:lnTo>
                      <a:pt x="1319392" y="90410"/>
                    </a:lnTo>
                    <a:lnTo>
                      <a:pt x="1323893" y="97818"/>
                    </a:lnTo>
                    <a:lnTo>
                      <a:pt x="1325333" y="104304"/>
                    </a:lnTo>
                    <a:lnTo>
                      <a:pt x="1334693" y="109675"/>
                    </a:lnTo>
                    <a:lnTo>
                      <a:pt x="1344598" y="114676"/>
                    </a:lnTo>
                    <a:lnTo>
                      <a:pt x="1350540" y="124497"/>
                    </a:lnTo>
                    <a:lnTo>
                      <a:pt x="1353959" y="131723"/>
                    </a:lnTo>
                    <a:lnTo>
                      <a:pt x="1365842" y="129498"/>
                    </a:lnTo>
                    <a:lnTo>
                      <a:pt x="1377187" y="125976"/>
                    </a:lnTo>
                    <a:lnTo>
                      <a:pt x="1383129" y="118568"/>
                    </a:lnTo>
                    <a:lnTo>
                      <a:pt x="1385107" y="112451"/>
                    </a:lnTo>
                    <a:lnTo>
                      <a:pt x="1387806" y="109675"/>
                    </a:lnTo>
                    <a:lnTo>
                      <a:pt x="1394474" y="107450"/>
                    </a:lnTo>
                    <a:lnTo>
                      <a:pt x="1400954" y="102079"/>
                    </a:lnTo>
                    <a:lnTo>
                      <a:pt x="1409594" y="91149"/>
                    </a:lnTo>
                    <a:lnTo>
                      <a:pt x="1420401" y="87997"/>
                    </a:lnTo>
                    <a:lnTo>
                      <a:pt x="1424896" y="94672"/>
                    </a:lnTo>
                    <a:lnTo>
                      <a:pt x="1426161" y="105044"/>
                    </a:lnTo>
                    <a:lnTo>
                      <a:pt x="1425622" y="119866"/>
                    </a:lnTo>
                    <a:lnTo>
                      <a:pt x="1426881" y="128759"/>
                    </a:lnTo>
                    <a:lnTo>
                      <a:pt x="1429761" y="134130"/>
                    </a:lnTo>
                    <a:lnTo>
                      <a:pt x="1429041" y="154141"/>
                    </a:lnTo>
                    <a:lnTo>
                      <a:pt x="1431019" y="161548"/>
                    </a:lnTo>
                    <a:lnTo>
                      <a:pt x="1426161" y="170442"/>
                    </a:lnTo>
                    <a:lnTo>
                      <a:pt x="1427601" y="182111"/>
                    </a:lnTo>
                    <a:lnTo>
                      <a:pt x="1426881" y="197121"/>
                    </a:lnTo>
                    <a:lnTo>
                      <a:pt x="1419681" y="205268"/>
                    </a:lnTo>
                    <a:lnTo>
                      <a:pt x="1404554" y="206753"/>
                    </a:lnTo>
                    <a:lnTo>
                      <a:pt x="1393027" y="208790"/>
                    </a:lnTo>
                    <a:lnTo>
                      <a:pt x="1387267" y="215647"/>
                    </a:lnTo>
                    <a:lnTo>
                      <a:pt x="1383667" y="221206"/>
                    </a:lnTo>
                    <a:lnTo>
                      <a:pt x="1391049" y="229541"/>
                    </a:lnTo>
                    <a:lnTo>
                      <a:pt x="1393747" y="240101"/>
                    </a:lnTo>
                    <a:lnTo>
                      <a:pt x="1393747" y="249734"/>
                    </a:lnTo>
                    <a:lnTo>
                      <a:pt x="1398969" y="257887"/>
                    </a:lnTo>
                    <a:lnTo>
                      <a:pt x="1399689" y="275673"/>
                    </a:lnTo>
                    <a:lnTo>
                      <a:pt x="1397574" y="274551"/>
                    </a:lnTo>
                    <a:lnTo>
                      <a:pt x="1397574" y="279377"/>
                    </a:lnTo>
                    <a:lnTo>
                      <a:pt x="1399371" y="289769"/>
                    </a:lnTo>
                    <a:lnTo>
                      <a:pt x="1392002" y="290508"/>
                    </a:lnTo>
                    <a:lnTo>
                      <a:pt x="1398651" y="294407"/>
                    </a:lnTo>
                    <a:lnTo>
                      <a:pt x="1396854" y="303306"/>
                    </a:lnTo>
                    <a:lnTo>
                      <a:pt x="1391457" y="304052"/>
                    </a:lnTo>
                    <a:lnTo>
                      <a:pt x="1384809" y="300154"/>
                    </a:lnTo>
                    <a:lnTo>
                      <a:pt x="1381390" y="293661"/>
                    </a:lnTo>
                    <a:lnTo>
                      <a:pt x="1371680" y="294407"/>
                    </a:lnTo>
                    <a:lnTo>
                      <a:pt x="1371680" y="304792"/>
                    </a:lnTo>
                    <a:lnTo>
                      <a:pt x="1364850" y="309799"/>
                    </a:lnTo>
                    <a:lnTo>
                      <a:pt x="1364129" y="320373"/>
                    </a:lnTo>
                    <a:lnTo>
                      <a:pt x="1353699" y="326126"/>
                    </a:lnTo>
                    <a:lnTo>
                      <a:pt x="1345785" y="329279"/>
                    </a:lnTo>
                    <a:lnTo>
                      <a:pt x="1346862" y="348576"/>
                    </a:lnTo>
                    <a:lnTo>
                      <a:pt x="1343087" y="354323"/>
                    </a:lnTo>
                    <a:lnTo>
                      <a:pt x="1330321" y="354881"/>
                    </a:lnTo>
                    <a:lnTo>
                      <a:pt x="1327085" y="348576"/>
                    </a:lnTo>
                    <a:lnTo>
                      <a:pt x="1312341" y="350613"/>
                    </a:lnTo>
                    <a:lnTo>
                      <a:pt x="1305685" y="358222"/>
                    </a:lnTo>
                    <a:lnTo>
                      <a:pt x="1306405" y="363787"/>
                    </a:lnTo>
                    <a:lnTo>
                      <a:pt x="1301910" y="371947"/>
                    </a:lnTo>
                    <a:lnTo>
                      <a:pt x="1296397" y="379472"/>
                    </a:lnTo>
                    <a:lnTo>
                      <a:pt x="1296507" y="379660"/>
                    </a:lnTo>
                    <a:lnTo>
                      <a:pt x="1289865" y="389299"/>
                    </a:lnTo>
                    <a:lnTo>
                      <a:pt x="1285369" y="389857"/>
                    </a:lnTo>
                    <a:lnTo>
                      <a:pt x="1285369" y="393930"/>
                    </a:lnTo>
                    <a:lnTo>
                      <a:pt x="1276029" y="394488"/>
                    </a:lnTo>
                    <a:lnTo>
                      <a:pt x="1276749" y="399489"/>
                    </a:lnTo>
                    <a:lnTo>
                      <a:pt x="1271897" y="398750"/>
                    </a:lnTo>
                    <a:lnTo>
                      <a:pt x="1270638" y="404121"/>
                    </a:lnTo>
                    <a:lnTo>
                      <a:pt x="1265430" y="410977"/>
                    </a:lnTo>
                    <a:lnTo>
                      <a:pt x="1265430" y="421168"/>
                    </a:lnTo>
                    <a:lnTo>
                      <a:pt x="1257529" y="421168"/>
                    </a:lnTo>
                    <a:lnTo>
                      <a:pt x="1257529" y="424138"/>
                    </a:lnTo>
                    <a:lnTo>
                      <a:pt x="1243336" y="423393"/>
                    </a:lnTo>
                    <a:lnTo>
                      <a:pt x="1241539" y="429509"/>
                    </a:lnTo>
                    <a:lnTo>
                      <a:pt x="1233639" y="431546"/>
                    </a:lnTo>
                    <a:lnTo>
                      <a:pt x="1230940" y="439700"/>
                    </a:lnTo>
                    <a:lnTo>
                      <a:pt x="1224298" y="441185"/>
                    </a:lnTo>
                    <a:lnTo>
                      <a:pt x="1218908" y="449339"/>
                    </a:lnTo>
                    <a:lnTo>
                      <a:pt x="1214951" y="458232"/>
                    </a:lnTo>
                    <a:lnTo>
                      <a:pt x="1213699" y="466386"/>
                    </a:lnTo>
                    <a:lnTo>
                      <a:pt x="1208847" y="468611"/>
                    </a:lnTo>
                    <a:lnTo>
                      <a:pt x="1207050" y="475279"/>
                    </a:lnTo>
                    <a:lnTo>
                      <a:pt x="1194298" y="474539"/>
                    </a:lnTo>
                    <a:lnTo>
                      <a:pt x="1195011" y="461008"/>
                    </a:lnTo>
                    <a:lnTo>
                      <a:pt x="1201660" y="456747"/>
                    </a:lnTo>
                    <a:lnTo>
                      <a:pt x="1205072" y="452115"/>
                    </a:lnTo>
                    <a:lnTo>
                      <a:pt x="1198430" y="448593"/>
                    </a:lnTo>
                    <a:lnTo>
                      <a:pt x="1198430" y="435068"/>
                    </a:lnTo>
                    <a:lnTo>
                      <a:pt x="1205792" y="427284"/>
                    </a:lnTo>
                    <a:lnTo>
                      <a:pt x="1212979" y="424878"/>
                    </a:lnTo>
                    <a:lnTo>
                      <a:pt x="1214951" y="414499"/>
                    </a:lnTo>
                    <a:lnTo>
                      <a:pt x="1210281" y="413020"/>
                    </a:lnTo>
                    <a:lnTo>
                      <a:pt x="1206330" y="408383"/>
                    </a:lnTo>
                    <a:lnTo>
                      <a:pt x="1205072" y="402084"/>
                    </a:lnTo>
                    <a:lnTo>
                      <a:pt x="1197171" y="400605"/>
                    </a:lnTo>
                    <a:lnTo>
                      <a:pt x="1189089" y="402824"/>
                    </a:lnTo>
                    <a:lnTo>
                      <a:pt x="1185671" y="408383"/>
                    </a:lnTo>
                    <a:lnTo>
                      <a:pt x="1175791" y="408383"/>
                    </a:lnTo>
                    <a:lnTo>
                      <a:pt x="1174358" y="415239"/>
                    </a:lnTo>
                    <a:lnTo>
                      <a:pt x="1169863" y="421168"/>
                    </a:lnTo>
                    <a:lnTo>
                      <a:pt x="1170583" y="428024"/>
                    </a:lnTo>
                    <a:lnTo>
                      <a:pt x="1166451" y="430807"/>
                    </a:lnTo>
                    <a:lnTo>
                      <a:pt x="1163940" y="437663"/>
                    </a:lnTo>
                    <a:lnTo>
                      <a:pt x="1159088" y="441185"/>
                    </a:lnTo>
                    <a:lnTo>
                      <a:pt x="1158550" y="443961"/>
                    </a:lnTo>
                    <a:lnTo>
                      <a:pt x="1151181" y="445077"/>
                    </a:lnTo>
                    <a:lnTo>
                      <a:pt x="1148483" y="449339"/>
                    </a:lnTo>
                    <a:lnTo>
                      <a:pt x="1140582" y="452855"/>
                    </a:lnTo>
                    <a:lnTo>
                      <a:pt x="1139862" y="469908"/>
                    </a:lnTo>
                    <a:lnTo>
                      <a:pt x="1136807" y="470647"/>
                    </a:lnTo>
                    <a:lnTo>
                      <a:pt x="1124054" y="470647"/>
                    </a:lnTo>
                    <a:lnTo>
                      <a:pt x="1120454" y="466639"/>
                    </a:lnTo>
                    <a:lnTo>
                      <a:pt x="1116115" y="474533"/>
                    </a:lnTo>
                    <a:lnTo>
                      <a:pt x="1107403" y="473235"/>
                    </a:lnTo>
                    <a:lnTo>
                      <a:pt x="1103051" y="479540"/>
                    </a:lnTo>
                    <a:lnTo>
                      <a:pt x="1100633" y="485255"/>
                    </a:lnTo>
                    <a:lnTo>
                      <a:pt x="1102699" y="493518"/>
                    </a:lnTo>
                    <a:lnTo>
                      <a:pt x="1106229" y="493941"/>
                    </a:lnTo>
                    <a:lnTo>
                      <a:pt x="1111088" y="505085"/>
                    </a:lnTo>
                    <a:lnTo>
                      <a:pt x="1110407" y="505552"/>
                    </a:lnTo>
                    <a:lnTo>
                      <a:pt x="1111652" y="509398"/>
                    </a:lnTo>
                    <a:lnTo>
                      <a:pt x="1119566" y="510138"/>
                    </a:lnTo>
                    <a:lnTo>
                      <a:pt x="1124061" y="514399"/>
                    </a:lnTo>
                    <a:lnTo>
                      <a:pt x="1136106" y="511623"/>
                    </a:lnTo>
                    <a:lnTo>
                      <a:pt x="1143300" y="509398"/>
                    </a:lnTo>
                    <a:lnTo>
                      <a:pt x="1144020" y="521256"/>
                    </a:lnTo>
                    <a:lnTo>
                      <a:pt x="1143300" y="530149"/>
                    </a:lnTo>
                    <a:lnTo>
                      <a:pt x="1149955" y="534034"/>
                    </a:lnTo>
                    <a:lnTo>
                      <a:pt x="1156072" y="536817"/>
                    </a:lnTo>
                    <a:lnTo>
                      <a:pt x="1164706" y="530888"/>
                    </a:lnTo>
                    <a:lnTo>
                      <a:pt x="1174416" y="521995"/>
                    </a:lnTo>
                    <a:lnTo>
                      <a:pt x="1178548" y="514399"/>
                    </a:lnTo>
                    <a:lnTo>
                      <a:pt x="1179268" y="508840"/>
                    </a:lnTo>
                    <a:lnTo>
                      <a:pt x="1185742" y="506252"/>
                    </a:lnTo>
                    <a:lnTo>
                      <a:pt x="1193117" y="510138"/>
                    </a:lnTo>
                    <a:lnTo>
                      <a:pt x="1203723" y="512363"/>
                    </a:lnTo>
                    <a:lnTo>
                      <a:pt x="1210916" y="513841"/>
                    </a:lnTo>
                    <a:lnTo>
                      <a:pt x="1219550" y="514399"/>
                    </a:lnTo>
                    <a:lnTo>
                      <a:pt x="1227645" y="516994"/>
                    </a:lnTo>
                    <a:lnTo>
                      <a:pt x="1237531" y="518291"/>
                    </a:lnTo>
                    <a:lnTo>
                      <a:pt x="1236811" y="530149"/>
                    </a:lnTo>
                    <a:lnTo>
                      <a:pt x="1226925" y="532925"/>
                    </a:lnTo>
                    <a:lnTo>
                      <a:pt x="1215055" y="532925"/>
                    </a:lnTo>
                    <a:lnTo>
                      <a:pt x="1210378" y="539781"/>
                    </a:lnTo>
                    <a:lnTo>
                      <a:pt x="1205163" y="540333"/>
                    </a:lnTo>
                    <a:lnTo>
                      <a:pt x="1199227" y="545704"/>
                    </a:lnTo>
                    <a:lnTo>
                      <a:pt x="1194376" y="548668"/>
                    </a:lnTo>
                    <a:lnTo>
                      <a:pt x="1195096" y="561453"/>
                    </a:lnTo>
                    <a:lnTo>
                      <a:pt x="1186462" y="560714"/>
                    </a:lnTo>
                    <a:lnTo>
                      <a:pt x="1179988" y="567752"/>
                    </a:lnTo>
                    <a:lnTo>
                      <a:pt x="1179268" y="576645"/>
                    </a:lnTo>
                    <a:lnTo>
                      <a:pt x="1171355" y="580530"/>
                    </a:lnTo>
                    <a:lnTo>
                      <a:pt x="1168481" y="582016"/>
                    </a:lnTo>
                    <a:lnTo>
                      <a:pt x="1169201" y="596280"/>
                    </a:lnTo>
                    <a:lnTo>
                      <a:pt x="1161287" y="600541"/>
                    </a:lnTo>
                    <a:lnTo>
                      <a:pt x="1159127" y="607209"/>
                    </a:lnTo>
                    <a:lnTo>
                      <a:pt x="1158758" y="607903"/>
                    </a:lnTo>
                    <a:lnTo>
                      <a:pt x="1162727" y="610329"/>
                    </a:lnTo>
                    <a:lnTo>
                      <a:pt x="1168481" y="618490"/>
                    </a:lnTo>
                    <a:lnTo>
                      <a:pt x="1178555" y="621272"/>
                    </a:lnTo>
                    <a:lnTo>
                      <a:pt x="1185028" y="623867"/>
                    </a:lnTo>
                    <a:lnTo>
                      <a:pt x="1190600" y="630918"/>
                    </a:lnTo>
                    <a:lnTo>
                      <a:pt x="1202289" y="645201"/>
                    </a:lnTo>
                    <a:lnTo>
                      <a:pt x="1209664" y="651325"/>
                    </a:lnTo>
                    <a:lnTo>
                      <a:pt x="1209664" y="663014"/>
                    </a:lnTo>
                    <a:lnTo>
                      <a:pt x="1216495" y="668949"/>
                    </a:lnTo>
                    <a:lnTo>
                      <a:pt x="1223688" y="673399"/>
                    </a:lnTo>
                    <a:lnTo>
                      <a:pt x="1225128" y="681565"/>
                    </a:lnTo>
                    <a:lnTo>
                      <a:pt x="1231777" y="687500"/>
                    </a:lnTo>
                    <a:lnTo>
                      <a:pt x="1233756" y="693254"/>
                    </a:lnTo>
                    <a:lnTo>
                      <a:pt x="1245444" y="692508"/>
                    </a:lnTo>
                    <a:lnTo>
                      <a:pt x="1246164" y="706052"/>
                    </a:lnTo>
                    <a:lnTo>
                      <a:pt x="1231064" y="705313"/>
                    </a:lnTo>
                    <a:lnTo>
                      <a:pt x="1228184" y="708277"/>
                    </a:lnTo>
                    <a:lnTo>
                      <a:pt x="1229591" y="711767"/>
                    </a:lnTo>
                    <a:lnTo>
                      <a:pt x="1229046" y="708848"/>
                    </a:lnTo>
                    <a:lnTo>
                      <a:pt x="1238329" y="706052"/>
                    </a:lnTo>
                    <a:lnTo>
                      <a:pt x="1241721" y="716489"/>
                    </a:lnTo>
                    <a:lnTo>
                      <a:pt x="1249038" y="722457"/>
                    </a:lnTo>
                    <a:lnTo>
                      <a:pt x="1248324" y="732894"/>
                    </a:lnTo>
                    <a:lnTo>
                      <a:pt x="1241008" y="739795"/>
                    </a:lnTo>
                    <a:lnTo>
                      <a:pt x="1236363" y="744641"/>
                    </a:lnTo>
                    <a:lnTo>
                      <a:pt x="1232569" y="744316"/>
                    </a:lnTo>
                    <a:lnTo>
                      <a:pt x="1230876" y="751289"/>
                    </a:lnTo>
                    <a:lnTo>
                      <a:pt x="1231596" y="758697"/>
                    </a:lnTo>
                    <a:lnTo>
                      <a:pt x="1238789" y="759437"/>
                    </a:lnTo>
                    <a:lnTo>
                      <a:pt x="1245263" y="760922"/>
                    </a:lnTo>
                    <a:lnTo>
                      <a:pt x="1257490" y="761662"/>
                    </a:lnTo>
                    <a:lnTo>
                      <a:pt x="1260545" y="775737"/>
                    </a:lnTo>
                    <a:lnTo>
                      <a:pt x="1256050" y="788334"/>
                    </a:lnTo>
                    <a:lnTo>
                      <a:pt x="1252632" y="795003"/>
                    </a:lnTo>
                    <a:lnTo>
                      <a:pt x="1255330" y="806121"/>
                    </a:lnTo>
                    <a:lnTo>
                      <a:pt x="1253352" y="829090"/>
                    </a:lnTo>
                    <a:lnTo>
                      <a:pt x="1237349" y="832054"/>
                    </a:lnTo>
                    <a:lnTo>
                      <a:pt x="1232134" y="842244"/>
                    </a:lnTo>
                    <a:lnTo>
                      <a:pt x="1232134" y="855023"/>
                    </a:lnTo>
                    <a:lnTo>
                      <a:pt x="1224940" y="862249"/>
                    </a:lnTo>
                    <a:lnTo>
                      <a:pt x="1222495" y="862249"/>
                    </a:lnTo>
                    <a:lnTo>
                      <a:pt x="1223144" y="875845"/>
                    </a:lnTo>
                    <a:lnTo>
                      <a:pt x="1219012" y="881793"/>
                    </a:lnTo>
                    <a:lnTo>
                      <a:pt x="1209658" y="878634"/>
                    </a:lnTo>
                    <a:lnTo>
                      <a:pt x="1207141" y="884018"/>
                    </a:lnTo>
                    <a:lnTo>
                      <a:pt x="1210378" y="904632"/>
                    </a:lnTo>
                    <a:lnTo>
                      <a:pt x="1207861" y="923210"/>
                    </a:lnTo>
                    <a:lnTo>
                      <a:pt x="1202289" y="928594"/>
                    </a:lnTo>
                    <a:lnTo>
                      <a:pt x="1195096" y="932862"/>
                    </a:lnTo>
                    <a:lnTo>
                      <a:pt x="1192397" y="945679"/>
                    </a:lnTo>
                    <a:lnTo>
                      <a:pt x="1188622" y="953107"/>
                    </a:lnTo>
                    <a:lnTo>
                      <a:pt x="1177828" y="952549"/>
                    </a:lnTo>
                    <a:lnTo>
                      <a:pt x="1175136" y="958121"/>
                    </a:lnTo>
                    <a:lnTo>
                      <a:pt x="1167761" y="967040"/>
                    </a:lnTo>
                    <a:lnTo>
                      <a:pt x="1167761" y="975206"/>
                    </a:lnTo>
                    <a:lnTo>
                      <a:pt x="1161287" y="979851"/>
                    </a:lnTo>
                    <a:lnTo>
                      <a:pt x="1153374" y="984865"/>
                    </a:lnTo>
                    <a:lnTo>
                      <a:pt x="1148515" y="988770"/>
                    </a:lnTo>
                    <a:lnTo>
                      <a:pt x="1141147" y="989328"/>
                    </a:lnTo>
                    <a:lnTo>
                      <a:pt x="1141147" y="990936"/>
                    </a:lnTo>
                    <a:lnTo>
                      <a:pt x="1131086" y="1007990"/>
                    </a:lnTo>
                    <a:lnTo>
                      <a:pt x="1123179" y="1019108"/>
                    </a:lnTo>
                    <a:lnTo>
                      <a:pt x="1104134" y="1023551"/>
                    </a:lnTo>
                    <a:lnTo>
                      <a:pt x="1098024" y="1028559"/>
                    </a:lnTo>
                    <a:lnTo>
                      <a:pt x="1072149" y="1029298"/>
                    </a:lnTo>
                    <a:lnTo>
                      <a:pt x="1062808" y="1030038"/>
                    </a:lnTo>
                    <a:lnTo>
                      <a:pt x="1056159" y="1036154"/>
                    </a:lnTo>
                    <a:lnTo>
                      <a:pt x="1048972" y="1039677"/>
                    </a:lnTo>
                    <a:lnTo>
                      <a:pt x="1042505" y="1032451"/>
                    </a:lnTo>
                    <a:lnTo>
                      <a:pt x="1033878" y="1021884"/>
                    </a:lnTo>
                    <a:lnTo>
                      <a:pt x="1029026" y="1028559"/>
                    </a:lnTo>
                    <a:lnTo>
                      <a:pt x="1029746" y="1047084"/>
                    </a:lnTo>
                    <a:lnTo>
                      <a:pt x="1025796" y="1060615"/>
                    </a:lnTo>
                    <a:lnTo>
                      <a:pt x="1008003" y="1059876"/>
                    </a:lnTo>
                    <a:lnTo>
                      <a:pt x="1003157" y="1066356"/>
                    </a:lnTo>
                    <a:lnTo>
                      <a:pt x="993090" y="1064877"/>
                    </a:lnTo>
                    <a:lnTo>
                      <a:pt x="991293" y="1070248"/>
                    </a:lnTo>
                    <a:lnTo>
                      <a:pt x="980694" y="1073031"/>
                    </a:lnTo>
                    <a:lnTo>
                      <a:pt x="960755" y="1073770"/>
                    </a:lnTo>
                    <a:lnTo>
                      <a:pt x="954819" y="1081184"/>
                    </a:lnTo>
                    <a:lnTo>
                      <a:pt x="939012" y="1090817"/>
                    </a:lnTo>
                    <a:lnTo>
                      <a:pt x="939012" y="1098419"/>
                    </a:lnTo>
                    <a:lnTo>
                      <a:pt x="944759" y="1103608"/>
                    </a:lnTo>
                    <a:lnTo>
                      <a:pt x="946199" y="1110088"/>
                    </a:lnTo>
                    <a:lnTo>
                      <a:pt x="937572" y="1111574"/>
                    </a:lnTo>
                    <a:lnTo>
                      <a:pt x="927511" y="1108610"/>
                    </a:lnTo>
                    <a:lnTo>
                      <a:pt x="924099" y="1097673"/>
                    </a:lnTo>
                    <a:lnTo>
                      <a:pt x="926791" y="1082663"/>
                    </a:lnTo>
                    <a:lnTo>
                      <a:pt x="919675" y="1077928"/>
                    </a:lnTo>
                    <a:lnTo>
                      <a:pt x="914388" y="1083377"/>
                    </a:lnTo>
                    <a:lnTo>
                      <a:pt x="907552" y="1082637"/>
                    </a:lnTo>
                    <a:lnTo>
                      <a:pt x="902336" y="1078376"/>
                    </a:lnTo>
                    <a:lnTo>
                      <a:pt x="895863" y="1070961"/>
                    </a:lnTo>
                    <a:lnTo>
                      <a:pt x="885076" y="1069482"/>
                    </a:lnTo>
                    <a:lnTo>
                      <a:pt x="880580" y="1073744"/>
                    </a:lnTo>
                    <a:lnTo>
                      <a:pt x="876442" y="1080600"/>
                    </a:lnTo>
                    <a:lnTo>
                      <a:pt x="870513" y="1082637"/>
                    </a:lnTo>
                    <a:lnTo>
                      <a:pt x="862600" y="1078376"/>
                    </a:lnTo>
                    <a:lnTo>
                      <a:pt x="857203" y="1072998"/>
                    </a:lnTo>
                    <a:lnTo>
                      <a:pt x="844619" y="1073744"/>
                    </a:lnTo>
                    <a:lnTo>
                      <a:pt x="841200" y="1067809"/>
                    </a:lnTo>
                    <a:lnTo>
                      <a:pt x="830588" y="1063366"/>
                    </a:lnTo>
                    <a:lnTo>
                      <a:pt x="830588" y="1047798"/>
                    </a:lnTo>
                    <a:lnTo>
                      <a:pt x="826813" y="1038905"/>
                    </a:lnTo>
                    <a:lnTo>
                      <a:pt x="815306" y="1038905"/>
                    </a:lnTo>
                    <a:lnTo>
                      <a:pt x="814586" y="1035382"/>
                    </a:lnTo>
                    <a:lnTo>
                      <a:pt x="808832" y="1034643"/>
                    </a:lnTo>
                    <a:lnTo>
                      <a:pt x="801639" y="1031491"/>
                    </a:lnTo>
                    <a:lnTo>
                      <a:pt x="797357" y="1024297"/>
                    </a:lnTo>
                    <a:lnTo>
                      <a:pt x="788179" y="1024297"/>
                    </a:lnTo>
                    <a:lnTo>
                      <a:pt x="784404" y="1028552"/>
                    </a:lnTo>
                    <a:lnTo>
                      <a:pt x="773623" y="1039670"/>
                    </a:lnTo>
                    <a:lnTo>
                      <a:pt x="759787" y="1039670"/>
                    </a:lnTo>
                    <a:lnTo>
                      <a:pt x="757089" y="1045599"/>
                    </a:lnTo>
                    <a:lnTo>
                      <a:pt x="741274" y="1047078"/>
                    </a:lnTo>
                    <a:lnTo>
                      <a:pt x="731214" y="1042823"/>
                    </a:lnTo>
                    <a:lnTo>
                      <a:pt x="714679" y="1042823"/>
                    </a:lnTo>
                    <a:lnTo>
                      <a:pt x="710191" y="1048563"/>
                    </a:lnTo>
                    <a:lnTo>
                      <a:pt x="690063" y="1050042"/>
                    </a:lnTo>
                    <a:lnTo>
                      <a:pt x="685036" y="1055231"/>
                    </a:lnTo>
                    <a:lnTo>
                      <a:pt x="682876" y="1064125"/>
                    </a:lnTo>
                    <a:lnTo>
                      <a:pt x="690063" y="1072272"/>
                    </a:lnTo>
                    <a:lnTo>
                      <a:pt x="692223" y="1081904"/>
                    </a:lnTo>
                    <a:lnTo>
                      <a:pt x="686288" y="1089500"/>
                    </a:lnTo>
                    <a:lnTo>
                      <a:pt x="682156" y="1093022"/>
                    </a:lnTo>
                    <a:lnTo>
                      <a:pt x="676409" y="1089500"/>
                    </a:lnTo>
                    <a:lnTo>
                      <a:pt x="672815" y="1083390"/>
                    </a:lnTo>
                    <a:lnTo>
                      <a:pt x="664908" y="1073757"/>
                    </a:lnTo>
                    <a:lnTo>
                      <a:pt x="652505" y="1073757"/>
                    </a:lnTo>
                    <a:lnTo>
                      <a:pt x="651792" y="1079867"/>
                    </a:lnTo>
                    <a:lnTo>
                      <a:pt x="643885" y="1080613"/>
                    </a:lnTo>
                    <a:lnTo>
                      <a:pt x="640466" y="1074497"/>
                    </a:lnTo>
                    <a:lnTo>
                      <a:pt x="639033" y="1067089"/>
                    </a:lnTo>
                    <a:lnTo>
                      <a:pt x="631846" y="1065603"/>
                    </a:lnTo>
                    <a:lnTo>
                      <a:pt x="618723" y="1062088"/>
                    </a:lnTo>
                    <a:lnTo>
                      <a:pt x="615311" y="1053934"/>
                    </a:lnTo>
                    <a:lnTo>
                      <a:pt x="617290" y="1044302"/>
                    </a:lnTo>
                    <a:lnTo>
                      <a:pt x="621059" y="1040410"/>
                    </a:lnTo>
                    <a:lnTo>
                      <a:pt x="619443" y="1033184"/>
                    </a:lnTo>
                    <a:lnTo>
                      <a:pt x="609383" y="1031516"/>
                    </a:lnTo>
                    <a:lnTo>
                      <a:pt x="605251" y="1020405"/>
                    </a:lnTo>
                    <a:lnTo>
                      <a:pt x="597344" y="1003358"/>
                    </a:lnTo>
                    <a:lnTo>
                      <a:pt x="592128" y="993726"/>
                    </a:lnTo>
                    <a:lnTo>
                      <a:pt x="587276" y="990210"/>
                    </a:lnTo>
                    <a:lnTo>
                      <a:pt x="584221" y="995211"/>
                    </a:lnTo>
                    <a:lnTo>
                      <a:pt x="576314" y="995951"/>
                    </a:lnTo>
                    <a:lnTo>
                      <a:pt x="574881" y="999842"/>
                    </a:lnTo>
                    <a:lnTo>
                      <a:pt x="568413" y="1000582"/>
                    </a:lnTo>
                    <a:lnTo>
                      <a:pt x="564995" y="997618"/>
                    </a:lnTo>
                    <a:lnTo>
                      <a:pt x="564995" y="991689"/>
                    </a:lnTo>
                    <a:lnTo>
                      <a:pt x="567693" y="986318"/>
                    </a:lnTo>
                    <a:lnTo>
                      <a:pt x="561045" y="976685"/>
                    </a:lnTo>
                    <a:lnTo>
                      <a:pt x="561045" y="968532"/>
                    </a:lnTo>
                    <a:lnTo>
                      <a:pt x="575601" y="958899"/>
                    </a:lnTo>
                    <a:lnTo>
                      <a:pt x="577034" y="949267"/>
                    </a:lnTo>
                    <a:lnTo>
                      <a:pt x="580809" y="940373"/>
                    </a:lnTo>
                    <a:lnTo>
                      <a:pt x="588716" y="936858"/>
                    </a:lnTo>
                    <a:lnTo>
                      <a:pt x="596624" y="933705"/>
                    </a:lnTo>
                    <a:lnTo>
                      <a:pt x="603811" y="926479"/>
                    </a:lnTo>
                    <a:lnTo>
                      <a:pt x="604531" y="911664"/>
                    </a:lnTo>
                    <a:lnTo>
                      <a:pt x="605964" y="885724"/>
                    </a:lnTo>
                    <a:lnTo>
                      <a:pt x="596624" y="878874"/>
                    </a:lnTo>
                    <a:lnTo>
                      <a:pt x="589436" y="874612"/>
                    </a:lnTo>
                    <a:lnTo>
                      <a:pt x="592848" y="853680"/>
                    </a:lnTo>
                    <a:lnTo>
                      <a:pt x="604531" y="850897"/>
                    </a:lnTo>
                    <a:lnTo>
                      <a:pt x="605964" y="831632"/>
                    </a:lnTo>
                    <a:lnTo>
                      <a:pt x="610816" y="827747"/>
                    </a:lnTo>
                    <a:lnTo>
                      <a:pt x="620306" y="826540"/>
                    </a:lnTo>
                    <a:lnTo>
                      <a:pt x="620585" y="823329"/>
                    </a:lnTo>
                    <a:lnTo>
                      <a:pt x="619164" y="822460"/>
                    </a:lnTo>
                    <a:lnTo>
                      <a:pt x="619307" y="823323"/>
                    </a:lnTo>
                    <a:lnTo>
                      <a:pt x="609233" y="826106"/>
                    </a:lnTo>
                    <a:lnTo>
                      <a:pt x="604738" y="830737"/>
                    </a:lnTo>
                    <a:lnTo>
                      <a:pt x="602040" y="847051"/>
                    </a:lnTo>
                    <a:lnTo>
                      <a:pt x="594853" y="852805"/>
                    </a:lnTo>
                    <a:lnTo>
                      <a:pt x="582081" y="850022"/>
                    </a:lnTo>
                    <a:lnTo>
                      <a:pt x="574712" y="850022"/>
                    </a:lnTo>
                    <a:lnTo>
                      <a:pt x="568958" y="857436"/>
                    </a:lnTo>
                    <a:lnTo>
                      <a:pt x="563380" y="866336"/>
                    </a:lnTo>
                    <a:lnTo>
                      <a:pt x="548817" y="864850"/>
                    </a:lnTo>
                    <a:lnTo>
                      <a:pt x="537485" y="857436"/>
                    </a:lnTo>
                    <a:lnTo>
                      <a:pt x="534430" y="827585"/>
                    </a:lnTo>
                    <a:lnTo>
                      <a:pt x="535689" y="820359"/>
                    </a:lnTo>
                    <a:lnTo>
                      <a:pt x="522923" y="814793"/>
                    </a:lnTo>
                    <a:lnTo>
                      <a:pt x="511591" y="818685"/>
                    </a:lnTo>
                    <a:lnTo>
                      <a:pt x="499902" y="824620"/>
                    </a:lnTo>
                    <a:lnTo>
                      <a:pt x="483900" y="823323"/>
                    </a:lnTo>
                    <a:lnTo>
                      <a:pt x="468792" y="826106"/>
                    </a:lnTo>
                    <a:lnTo>
                      <a:pt x="467359" y="832223"/>
                    </a:lnTo>
                    <a:lnTo>
                      <a:pt x="457104" y="838158"/>
                    </a:lnTo>
                    <a:lnTo>
                      <a:pt x="435711" y="847051"/>
                    </a:lnTo>
                    <a:lnTo>
                      <a:pt x="427077" y="851319"/>
                    </a:lnTo>
                    <a:lnTo>
                      <a:pt x="399743" y="847051"/>
                    </a:lnTo>
                    <a:lnTo>
                      <a:pt x="381042" y="845384"/>
                    </a:lnTo>
                    <a:lnTo>
                      <a:pt x="366655" y="839637"/>
                    </a:lnTo>
                    <a:lnTo>
                      <a:pt x="358203" y="832223"/>
                    </a:lnTo>
                    <a:lnTo>
                      <a:pt x="351009" y="830737"/>
                    </a:lnTo>
                    <a:lnTo>
                      <a:pt x="349575" y="836484"/>
                    </a:lnTo>
                    <a:lnTo>
                      <a:pt x="339683" y="838158"/>
                    </a:lnTo>
                    <a:lnTo>
                      <a:pt x="335188" y="848536"/>
                    </a:lnTo>
                    <a:lnTo>
                      <a:pt x="325114" y="855951"/>
                    </a:lnTo>
                    <a:lnTo>
                      <a:pt x="320983" y="843905"/>
                    </a:lnTo>
                    <a:lnTo>
                      <a:pt x="315047" y="829258"/>
                    </a:lnTo>
                    <a:lnTo>
                      <a:pt x="302100" y="832223"/>
                    </a:lnTo>
                    <a:lnTo>
                      <a:pt x="295088" y="824620"/>
                    </a:lnTo>
                    <a:lnTo>
                      <a:pt x="286454" y="830737"/>
                    </a:lnTo>
                    <a:lnTo>
                      <a:pt x="279261" y="832223"/>
                    </a:lnTo>
                    <a:lnTo>
                      <a:pt x="270634" y="826106"/>
                    </a:lnTo>
                    <a:lnTo>
                      <a:pt x="264698" y="821838"/>
                    </a:lnTo>
                    <a:lnTo>
                      <a:pt x="257505" y="820359"/>
                    </a:lnTo>
                    <a:lnTo>
                      <a:pt x="236469" y="820359"/>
                    </a:lnTo>
                    <a:lnTo>
                      <a:pt x="237727" y="814793"/>
                    </a:lnTo>
                    <a:lnTo>
                      <a:pt x="230534" y="810162"/>
                    </a:lnTo>
                    <a:lnTo>
                      <a:pt x="221900" y="805894"/>
                    </a:lnTo>
                    <a:lnTo>
                      <a:pt x="219201" y="792363"/>
                    </a:lnTo>
                    <a:lnTo>
                      <a:pt x="204639" y="789392"/>
                    </a:lnTo>
                    <a:lnTo>
                      <a:pt x="194565" y="783463"/>
                    </a:lnTo>
                    <a:lnTo>
                      <a:pt x="188812" y="767331"/>
                    </a:lnTo>
                    <a:lnTo>
                      <a:pt x="181618" y="764178"/>
                    </a:lnTo>
                    <a:lnTo>
                      <a:pt x="168670" y="762693"/>
                    </a:lnTo>
                    <a:lnTo>
                      <a:pt x="164357" y="753800"/>
                    </a:lnTo>
                    <a:lnTo>
                      <a:pt x="158785" y="747865"/>
                    </a:lnTo>
                    <a:lnTo>
                      <a:pt x="154290" y="735073"/>
                    </a:lnTo>
                    <a:lnTo>
                      <a:pt x="144216" y="727471"/>
                    </a:lnTo>
                    <a:lnTo>
                      <a:pt x="131450" y="720057"/>
                    </a:lnTo>
                    <a:lnTo>
                      <a:pt x="125515" y="724688"/>
                    </a:lnTo>
                    <a:lnTo>
                      <a:pt x="118685" y="724688"/>
                    </a:lnTo>
                    <a:lnTo>
                      <a:pt x="104116" y="711157"/>
                    </a:lnTo>
                    <a:lnTo>
                      <a:pt x="92790" y="705410"/>
                    </a:lnTo>
                    <a:lnTo>
                      <a:pt x="84157" y="687611"/>
                    </a:lnTo>
                    <a:lnTo>
                      <a:pt x="69588" y="678711"/>
                    </a:lnTo>
                    <a:lnTo>
                      <a:pt x="64198" y="669811"/>
                    </a:lnTo>
                    <a:lnTo>
                      <a:pt x="66896" y="651085"/>
                    </a:lnTo>
                    <a:lnTo>
                      <a:pt x="59702" y="637547"/>
                    </a:lnTo>
                    <a:lnTo>
                      <a:pt x="60961" y="628648"/>
                    </a:lnTo>
                    <a:lnTo>
                      <a:pt x="81458" y="633285"/>
                    </a:lnTo>
                    <a:lnTo>
                      <a:pt x="86855" y="625683"/>
                    </a:lnTo>
                    <a:lnTo>
                      <a:pt x="84157" y="615486"/>
                    </a:lnTo>
                    <a:lnTo>
                      <a:pt x="80018" y="600470"/>
                    </a:lnTo>
                    <a:lnTo>
                      <a:pt x="74090" y="594353"/>
                    </a:lnTo>
                    <a:lnTo>
                      <a:pt x="78222" y="583040"/>
                    </a:lnTo>
                    <a:lnTo>
                      <a:pt x="90092" y="584526"/>
                    </a:lnTo>
                    <a:lnTo>
                      <a:pt x="90092" y="574524"/>
                    </a:lnTo>
                    <a:lnTo>
                      <a:pt x="90085" y="574524"/>
                    </a:lnTo>
                    <a:lnTo>
                      <a:pt x="85590" y="571001"/>
                    </a:lnTo>
                    <a:lnTo>
                      <a:pt x="79298" y="563399"/>
                    </a:lnTo>
                    <a:lnTo>
                      <a:pt x="79298" y="553202"/>
                    </a:lnTo>
                    <a:lnTo>
                      <a:pt x="79298" y="544854"/>
                    </a:lnTo>
                    <a:lnTo>
                      <a:pt x="72825" y="541701"/>
                    </a:lnTo>
                    <a:lnTo>
                      <a:pt x="71385" y="534657"/>
                    </a:lnTo>
                    <a:lnTo>
                      <a:pt x="64911" y="527055"/>
                    </a:lnTo>
                    <a:lnTo>
                      <a:pt x="54124" y="521119"/>
                    </a:lnTo>
                    <a:lnTo>
                      <a:pt x="43693" y="520380"/>
                    </a:lnTo>
                    <a:lnTo>
                      <a:pt x="41715" y="509255"/>
                    </a:lnTo>
                    <a:lnTo>
                      <a:pt x="40995" y="497943"/>
                    </a:lnTo>
                    <a:lnTo>
                      <a:pt x="36863" y="487000"/>
                    </a:lnTo>
                    <a:lnTo>
                      <a:pt x="31648" y="484036"/>
                    </a:lnTo>
                    <a:lnTo>
                      <a:pt x="27509" y="481992"/>
                    </a:lnTo>
                    <a:lnTo>
                      <a:pt x="21036" y="473093"/>
                    </a:lnTo>
                    <a:lnTo>
                      <a:pt x="23014" y="478100"/>
                    </a:lnTo>
                    <a:lnTo>
                      <a:pt x="17261" y="465490"/>
                    </a:lnTo>
                    <a:lnTo>
                      <a:pt x="5753" y="460301"/>
                    </a:lnTo>
                    <a:lnTo>
                      <a:pt x="1615" y="454548"/>
                    </a:lnTo>
                    <a:lnTo>
                      <a:pt x="1615" y="447133"/>
                    </a:lnTo>
                    <a:lnTo>
                      <a:pt x="720" y="441756"/>
                    </a:lnTo>
                    <a:lnTo>
                      <a:pt x="14387" y="441756"/>
                    </a:lnTo>
                    <a:lnTo>
                      <a:pt x="13667" y="432110"/>
                    </a:lnTo>
                    <a:lnTo>
                      <a:pt x="18882" y="423211"/>
                    </a:lnTo>
                    <a:lnTo>
                      <a:pt x="21756" y="416355"/>
                    </a:lnTo>
                    <a:lnTo>
                      <a:pt x="21036" y="406897"/>
                    </a:lnTo>
                    <a:lnTo>
                      <a:pt x="3775" y="404672"/>
                    </a:lnTo>
                    <a:lnTo>
                      <a:pt x="0" y="401144"/>
                    </a:lnTo>
                    <a:lnTo>
                      <a:pt x="0" y="392990"/>
                    </a:lnTo>
                    <a:lnTo>
                      <a:pt x="1615" y="382229"/>
                    </a:lnTo>
                    <a:lnTo>
                      <a:pt x="8627" y="370546"/>
                    </a:lnTo>
                    <a:lnTo>
                      <a:pt x="13122" y="359422"/>
                    </a:lnTo>
                    <a:lnTo>
                      <a:pt x="19596" y="353487"/>
                    </a:lnTo>
                    <a:lnTo>
                      <a:pt x="26614" y="351262"/>
                    </a:lnTo>
                    <a:lnTo>
                      <a:pt x="36143" y="348485"/>
                    </a:lnTo>
                    <a:lnTo>
                      <a:pt x="43155" y="346630"/>
                    </a:lnTo>
                    <a:lnTo>
                      <a:pt x="49629" y="345884"/>
                    </a:lnTo>
                    <a:lnTo>
                      <a:pt x="54124" y="340883"/>
                    </a:lnTo>
                    <a:lnTo>
                      <a:pt x="60416" y="343847"/>
                    </a:lnTo>
                    <a:lnTo>
                      <a:pt x="63477" y="350522"/>
                    </a:lnTo>
                    <a:lnTo>
                      <a:pt x="70665" y="352008"/>
                    </a:lnTo>
                    <a:lnTo>
                      <a:pt x="82178" y="352008"/>
                    </a:lnTo>
                    <a:lnTo>
                      <a:pt x="87932" y="344587"/>
                    </a:lnTo>
                    <a:lnTo>
                      <a:pt x="92784" y="338840"/>
                    </a:lnTo>
                    <a:lnTo>
                      <a:pt x="99439" y="338840"/>
                    </a:lnTo>
                    <a:lnTo>
                      <a:pt x="112205" y="341623"/>
                    </a:lnTo>
                    <a:lnTo>
                      <a:pt x="124614" y="341623"/>
                    </a:lnTo>
                    <a:lnTo>
                      <a:pt x="138099" y="340883"/>
                    </a:lnTo>
                    <a:lnTo>
                      <a:pt x="141154" y="330680"/>
                    </a:lnTo>
                    <a:lnTo>
                      <a:pt x="150508" y="330680"/>
                    </a:lnTo>
                    <a:lnTo>
                      <a:pt x="159862" y="329940"/>
                    </a:lnTo>
                    <a:lnTo>
                      <a:pt x="177123" y="328085"/>
                    </a:lnTo>
                    <a:lnTo>
                      <a:pt x="182877" y="323077"/>
                    </a:lnTo>
                    <a:lnTo>
                      <a:pt x="189169" y="322520"/>
                    </a:lnTo>
                    <a:lnTo>
                      <a:pt x="190427" y="311025"/>
                    </a:lnTo>
                    <a:lnTo>
                      <a:pt x="193664" y="306018"/>
                    </a:lnTo>
                    <a:lnTo>
                      <a:pt x="200857" y="296560"/>
                    </a:lnTo>
                    <a:lnTo>
                      <a:pt x="208771" y="296560"/>
                    </a:lnTo>
                    <a:lnTo>
                      <a:pt x="207694" y="278761"/>
                    </a:lnTo>
                    <a:lnTo>
                      <a:pt x="203017" y="269861"/>
                    </a:lnTo>
                    <a:lnTo>
                      <a:pt x="205716" y="260216"/>
                    </a:lnTo>
                    <a:lnTo>
                      <a:pt x="203556" y="234257"/>
                    </a:lnTo>
                    <a:lnTo>
                      <a:pt x="218838" y="234257"/>
                    </a:lnTo>
                    <a:lnTo>
                      <a:pt x="237539" y="233517"/>
                    </a:lnTo>
                    <a:lnTo>
                      <a:pt x="257505" y="232771"/>
                    </a:lnTo>
                    <a:lnTo>
                      <a:pt x="263978" y="228879"/>
                    </a:lnTo>
                    <a:lnTo>
                      <a:pt x="266132" y="216457"/>
                    </a:lnTo>
                    <a:lnTo>
                      <a:pt x="267572" y="207551"/>
                    </a:lnTo>
                    <a:lnTo>
                      <a:pt x="279981" y="191789"/>
                    </a:lnTo>
                    <a:lnTo>
                      <a:pt x="284833" y="180853"/>
                    </a:lnTo>
                    <a:lnTo>
                      <a:pt x="295802" y="176954"/>
                    </a:lnTo>
                    <a:lnTo>
                      <a:pt x="306414" y="182150"/>
                    </a:lnTo>
                    <a:lnTo>
                      <a:pt x="317921" y="184375"/>
                    </a:lnTo>
                    <a:lnTo>
                      <a:pt x="323136" y="193274"/>
                    </a:lnTo>
                    <a:lnTo>
                      <a:pt x="328533" y="192535"/>
                    </a:lnTo>
                    <a:lnTo>
                      <a:pt x="337160" y="191049"/>
                    </a:lnTo>
                    <a:lnTo>
                      <a:pt x="348311" y="189013"/>
                    </a:lnTo>
                    <a:lnTo>
                      <a:pt x="353169" y="180107"/>
                    </a:lnTo>
                    <a:lnTo>
                      <a:pt x="349031" y="171207"/>
                    </a:lnTo>
                    <a:lnTo>
                      <a:pt x="355504" y="152668"/>
                    </a:lnTo>
                    <a:lnTo>
                      <a:pt x="363055" y="150255"/>
                    </a:lnTo>
                    <a:lnTo>
                      <a:pt x="374205" y="148770"/>
                    </a:lnTo>
                    <a:lnTo>
                      <a:pt x="390032" y="145248"/>
                    </a:lnTo>
                    <a:lnTo>
                      <a:pt x="396324" y="125963"/>
                    </a:lnTo>
                    <a:lnTo>
                      <a:pt x="408013" y="122810"/>
                    </a:lnTo>
                    <a:lnTo>
                      <a:pt x="418080" y="133007"/>
                    </a:lnTo>
                    <a:lnTo>
                      <a:pt x="416640" y="156191"/>
                    </a:lnTo>
                    <a:lnTo>
                      <a:pt x="436606" y="173250"/>
                    </a:lnTo>
                    <a:lnTo>
                      <a:pt x="450448" y="178628"/>
                    </a:lnTo>
                    <a:lnTo>
                      <a:pt x="460522" y="189013"/>
                    </a:lnTo>
                    <a:lnTo>
                      <a:pt x="457285" y="197166"/>
                    </a:lnTo>
                    <a:lnTo>
                      <a:pt x="459082" y="206072"/>
                    </a:lnTo>
                    <a:lnTo>
                      <a:pt x="463934" y="210334"/>
                    </a:lnTo>
                    <a:lnTo>
                      <a:pt x="469869" y="219234"/>
                    </a:lnTo>
                    <a:lnTo>
                      <a:pt x="469869" y="227394"/>
                    </a:lnTo>
                    <a:lnTo>
                      <a:pt x="464654" y="234257"/>
                    </a:lnTo>
                    <a:lnTo>
                      <a:pt x="465374" y="245939"/>
                    </a:lnTo>
                    <a:lnTo>
                      <a:pt x="456027" y="252056"/>
                    </a:lnTo>
                    <a:lnTo>
                      <a:pt x="452608" y="261513"/>
                    </a:lnTo>
                    <a:lnTo>
                      <a:pt x="456740" y="270413"/>
                    </a:lnTo>
                    <a:lnTo>
                      <a:pt x="463934" y="274681"/>
                    </a:lnTo>
                    <a:lnTo>
                      <a:pt x="472568" y="278761"/>
                    </a:lnTo>
                    <a:lnTo>
                      <a:pt x="481915" y="280058"/>
                    </a:lnTo>
                    <a:lnTo>
                      <a:pt x="491807" y="278761"/>
                    </a:lnTo>
                    <a:lnTo>
                      <a:pt x="498462" y="283581"/>
                    </a:lnTo>
                    <a:lnTo>
                      <a:pt x="507096" y="287661"/>
                    </a:lnTo>
                    <a:lnTo>
                      <a:pt x="515723" y="293226"/>
                    </a:lnTo>
                    <a:lnTo>
                      <a:pt x="528852" y="297118"/>
                    </a:lnTo>
                    <a:lnTo>
                      <a:pt x="544316" y="308989"/>
                    </a:lnTo>
                    <a:lnTo>
                      <a:pt x="557445" y="312141"/>
                    </a:lnTo>
                    <a:lnTo>
                      <a:pt x="562660" y="322520"/>
                    </a:lnTo>
                    <a:lnTo>
                      <a:pt x="564813" y="334948"/>
                    </a:lnTo>
                    <a:lnTo>
                      <a:pt x="566792" y="350522"/>
                    </a:lnTo>
                    <a:lnTo>
                      <a:pt x="574664" y="366752"/>
                    </a:lnTo>
                    <a:lnTo>
                      <a:pt x="579675" y="369165"/>
                    </a:lnTo>
                    <a:lnTo>
                      <a:pt x="593283" y="369165"/>
                    </a:lnTo>
                    <a:lnTo>
                      <a:pt x="593296" y="369210"/>
                    </a:lnTo>
                    <a:lnTo>
                      <a:pt x="596468" y="367245"/>
                    </a:lnTo>
                    <a:lnTo>
                      <a:pt x="611400" y="372810"/>
                    </a:lnTo>
                    <a:lnTo>
                      <a:pt x="619314" y="372810"/>
                    </a:lnTo>
                    <a:lnTo>
                      <a:pt x="629562" y="375411"/>
                    </a:lnTo>
                    <a:lnTo>
                      <a:pt x="638916" y="376151"/>
                    </a:lnTo>
                    <a:lnTo>
                      <a:pt x="650430" y="380419"/>
                    </a:lnTo>
                    <a:lnTo>
                      <a:pt x="660322" y="385063"/>
                    </a:lnTo>
                    <a:lnTo>
                      <a:pt x="668955" y="379679"/>
                    </a:lnTo>
                    <a:lnTo>
                      <a:pt x="685503" y="380419"/>
                    </a:lnTo>
                    <a:lnTo>
                      <a:pt x="696296" y="378933"/>
                    </a:lnTo>
                    <a:lnTo>
                      <a:pt x="705650" y="387846"/>
                    </a:lnTo>
                    <a:lnTo>
                      <a:pt x="712844" y="392484"/>
                    </a:lnTo>
                    <a:lnTo>
                      <a:pt x="724539" y="401390"/>
                    </a:lnTo>
                    <a:lnTo>
                      <a:pt x="734613" y="406404"/>
                    </a:lnTo>
                    <a:lnTo>
                      <a:pt x="747378" y="410296"/>
                    </a:lnTo>
                    <a:lnTo>
                      <a:pt x="761234" y="408441"/>
                    </a:lnTo>
                    <a:lnTo>
                      <a:pt x="777061" y="411042"/>
                    </a:lnTo>
                    <a:lnTo>
                      <a:pt x="787855" y="406404"/>
                    </a:lnTo>
                    <a:lnTo>
                      <a:pt x="797208" y="402875"/>
                    </a:lnTo>
                    <a:lnTo>
                      <a:pt x="806380" y="398238"/>
                    </a:lnTo>
                    <a:lnTo>
                      <a:pt x="813756" y="393969"/>
                    </a:lnTo>
                    <a:lnTo>
                      <a:pt x="824368" y="391738"/>
                    </a:lnTo>
                    <a:lnTo>
                      <a:pt x="839657" y="387846"/>
                    </a:lnTo>
                    <a:lnTo>
                      <a:pt x="852785" y="387100"/>
                    </a:lnTo>
                    <a:lnTo>
                      <a:pt x="855484" y="381723"/>
                    </a:lnTo>
                    <a:lnTo>
                      <a:pt x="865557" y="380977"/>
                    </a:lnTo>
                    <a:lnTo>
                      <a:pt x="879225" y="383578"/>
                    </a:lnTo>
                    <a:lnTo>
                      <a:pt x="896492" y="382832"/>
                    </a:lnTo>
                    <a:lnTo>
                      <a:pt x="900092" y="375411"/>
                    </a:lnTo>
                    <a:lnTo>
                      <a:pt x="913221" y="370773"/>
                    </a:lnTo>
                    <a:lnTo>
                      <a:pt x="921135" y="365759"/>
                    </a:lnTo>
                    <a:lnTo>
                      <a:pt x="923113" y="352215"/>
                    </a:lnTo>
                    <a:lnTo>
                      <a:pt x="929768" y="344049"/>
                    </a:lnTo>
                    <a:lnTo>
                      <a:pt x="939667" y="341824"/>
                    </a:lnTo>
                    <a:lnTo>
                      <a:pt x="945602" y="337186"/>
                    </a:lnTo>
                    <a:lnTo>
                      <a:pt x="937688" y="330874"/>
                    </a:lnTo>
                    <a:lnTo>
                      <a:pt x="933187" y="318809"/>
                    </a:lnTo>
                    <a:lnTo>
                      <a:pt x="931747" y="310461"/>
                    </a:lnTo>
                    <a:lnTo>
                      <a:pt x="940380" y="301555"/>
                    </a:lnTo>
                    <a:lnTo>
                      <a:pt x="946322" y="292091"/>
                    </a:lnTo>
                    <a:lnTo>
                      <a:pt x="956389" y="293758"/>
                    </a:lnTo>
                    <a:lnTo>
                      <a:pt x="965023" y="298026"/>
                    </a:lnTo>
                    <a:lnTo>
                      <a:pt x="976355" y="300997"/>
                    </a:lnTo>
                    <a:lnTo>
                      <a:pt x="990930" y="294504"/>
                    </a:lnTo>
                    <a:lnTo>
                      <a:pt x="998124" y="287823"/>
                    </a:lnTo>
                    <a:lnTo>
                      <a:pt x="1003696" y="275946"/>
                    </a:lnTo>
                    <a:lnTo>
                      <a:pt x="1012329" y="278171"/>
                    </a:lnTo>
                    <a:lnTo>
                      <a:pt x="1025465" y="275946"/>
                    </a:lnTo>
                    <a:lnTo>
                      <a:pt x="1039132" y="267033"/>
                    </a:lnTo>
                    <a:lnTo>
                      <a:pt x="1039132" y="249221"/>
                    </a:lnTo>
                    <a:lnTo>
                      <a:pt x="1047227" y="241055"/>
                    </a:lnTo>
                    <a:lnTo>
                      <a:pt x="1056399" y="232894"/>
                    </a:lnTo>
                    <a:lnTo>
                      <a:pt x="1068633" y="233634"/>
                    </a:lnTo>
                    <a:lnTo>
                      <a:pt x="1077805" y="224728"/>
                    </a:lnTo>
                    <a:lnTo>
                      <a:pt x="1089676" y="221387"/>
                    </a:lnTo>
                    <a:lnTo>
                      <a:pt x="1110361" y="223242"/>
                    </a:lnTo>
                    <a:lnTo>
                      <a:pt x="1116121" y="221387"/>
                    </a:lnTo>
                    <a:lnTo>
                      <a:pt x="1120973" y="208213"/>
                    </a:lnTo>
                    <a:lnTo>
                      <a:pt x="1113060" y="205424"/>
                    </a:lnTo>
                    <a:lnTo>
                      <a:pt x="1100288" y="195778"/>
                    </a:lnTo>
                    <a:lnTo>
                      <a:pt x="1093094" y="186872"/>
                    </a:lnTo>
                    <a:lnTo>
                      <a:pt x="1082300" y="182228"/>
                    </a:lnTo>
                    <a:lnTo>
                      <a:pt x="1074387" y="180930"/>
                    </a:lnTo>
                    <a:lnTo>
                      <a:pt x="1065753" y="181488"/>
                    </a:lnTo>
                    <a:lnTo>
                      <a:pt x="1061258" y="194105"/>
                    </a:lnTo>
                    <a:lnTo>
                      <a:pt x="1048486" y="197264"/>
                    </a:lnTo>
                    <a:lnTo>
                      <a:pt x="1041292" y="191880"/>
                    </a:lnTo>
                    <a:lnTo>
                      <a:pt x="1031938" y="195778"/>
                    </a:lnTo>
                    <a:lnTo>
                      <a:pt x="1024025" y="202271"/>
                    </a:lnTo>
                    <a:lnTo>
                      <a:pt x="1013951" y="198749"/>
                    </a:lnTo>
                    <a:lnTo>
                      <a:pt x="1009456" y="183713"/>
                    </a:lnTo>
                    <a:lnTo>
                      <a:pt x="1012329" y="165901"/>
                    </a:lnTo>
                    <a:lnTo>
                      <a:pt x="1016831" y="146603"/>
                    </a:lnTo>
                    <a:lnTo>
                      <a:pt x="1022585" y="137133"/>
                    </a:lnTo>
                    <a:lnTo>
                      <a:pt x="1024025" y="131010"/>
                    </a:lnTo>
                    <a:lnTo>
                      <a:pt x="1029960" y="122849"/>
                    </a:lnTo>
                    <a:lnTo>
                      <a:pt x="1035357" y="128227"/>
                    </a:lnTo>
                    <a:lnTo>
                      <a:pt x="1046151" y="126741"/>
                    </a:lnTo>
                    <a:lnTo>
                      <a:pt x="1054064" y="128785"/>
                    </a:lnTo>
                    <a:lnTo>
                      <a:pt x="1059999" y="122849"/>
                    </a:lnTo>
                    <a:lnTo>
                      <a:pt x="1065033" y="117096"/>
                    </a:lnTo>
                    <a:lnTo>
                      <a:pt x="1076547" y="111712"/>
                    </a:lnTo>
                    <a:lnTo>
                      <a:pt x="1081042" y="103545"/>
                    </a:lnTo>
                    <a:lnTo>
                      <a:pt x="1083020" y="94639"/>
                    </a:lnTo>
                    <a:lnTo>
                      <a:pt x="1079965" y="79980"/>
                    </a:lnTo>
                    <a:lnTo>
                      <a:pt x="1084460" y="65878"/>
                    </a:lnTo>
                    <a:lnTo>
                      <a:pt x="1091654" y="59754"/>
                    </a:lnTo>
                    <a:lnTo>
                      <a:pt x="1099568" y="45834"/>
                    </a:lnTo>
                    <a:lnTo>
                      <a:pt x="1099568" y="35443"/>
                    </a:lnTo>
                    <a:lnTo>
                      <a:pt x="1105866" y="26537"/>
                    </a:lnTo>
                    <a:lnTo>
                      <a:pt x="1111801" y="24863"/>
                    </a:lnTo>
                    <a:lnTo>
                      <a:pt x="1127629" y="27276"/>
                    </a:lnTo>
                    <a:lnTo>
                      <a:pt x="1133389" y="24124"/>
                    </a:lnTo>
                    <a:lnTo>
                      <a:pt x="1136982" y="15957"/>
                    </a:lnTo>
                    <a:lnTo>
                      <a:pt x="1144176" y="23378"/>
                    </a:lnTo>
                    <a:lnTo>
                      <a:pt x="1151960" y="24526"/>
                    </a:lnTo>
                    <a:lnTo>
                      <a:pt x="1161125" y="15380"/>
                    </a:lnTo>
                    <a:lnTo>
                      <a:pt x="1168325" y="8893"/>
                    </a:lnTo>
                    <a:lnTo>
                      <a:pt x="1177692" y="7965"/>
                    </a:lnTo>
                    <a:lnTo>
                      <a:pt x="1180390" y="11857"/>
                    </a:lnTo>
                    <a:lnTo>
                      <a:pt x="1197677" y="13155"/>
                    </a:lnTo>
                    <a:lnTo>
                      <a:pt x="1203619" y="1485"/>
                    </a:lnTo>
                    <a:close/>
                  </a:path>
                </a:pathLst>
              </a:custGeom>
              <a:solidFill>
                <a:schemeClr val="tx2">
                  <a:lumMod val="75000"/>
                </a:schemeClr>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sp>
          <p:nvSpPr>
            <p:cNvPr id="133" name="任意多边形 132"/>
            <p:cNvSpPr/>
            <p:nvPr/>
          </p:nvSpPr>
          <p:spPr>
            <a:xfrm>
              <a:off x="1582776" y="2242050"/>
              <a:ext cx="2952399" cy="1025257"/>
            </a:xfrm>
            <a:custGeom>
              <a:avLst/>
              <a:gdLst>
                <a:gd name="connsiteX0" fmla="*/ 2743200 w 2743200"/>
                <a:gd name="connsiteY0" fmla="*/ 0 h 903249"/>
                <a:gd name="connsiteX1" fmla="*/ 0 w 2743200"/>
                <a:gd name="connsiteY1" fmla="*/ 903249 h 903249"/>
              </a:gdLst>
              <a:ahLst/>
              <a:cxnLst>
                <a:cxn ang="0">
                  <a:pos x="connsiteX0" y="connsiteY0"/>
                </a:cxn>
                <a:cxn ang="0">
                  <a:pos x="connsiteX1" y="connsiteY1"/>
                </a:cxn>
              </a:cxnLst>
              <a:rect l="l" t="t" r="r" b="b"/>
              <a:pathLst>
                <a:path w="2743200" h="903249">
                  <a:moveTo>
                    <a:pt x="2743200" y="0"/>
                  </a:moveTo>
                  <a:lnTo>
                    <a:pt x="0" y="903249"/>
                  </a:lnTo>
                </a:path>
              </a:pathLst>
            </a:custGeom>
            <a:noFill/>
            <a:ln w="19050" cap="rnd" cmpd="sng" algn="ctr">
              <a:solidFill>
                <a:schemeClr val="bg1">
                  <a:lumMod val="50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134" name="任意多边形 133"/>
            <p:cNvSpPr/>
            <p:nvPr/>
          </p:nvSpPr>
          <p:spPr>
            <a:xfrm flipH="1">
              <a:off x="5631471" y="2242050"/>
              <a:ext cx="3110387" cy="1081013"/>
            </a:xfrm>
            <a:custGeom>
              <a:avLst/>
              <a:gdLst>
                <a:gd name="connsiteX0" fmla="*/ 2743200 w 2743200"/>
                <a:gd name="connsiteY0" fmla="*/ 0 h 903249"/>
                <a:gd name="connsiteX1" fmla="*/ 0 w 2743200"/>
                <a:gd name="connsiteY1" fmla="*/ 903249 h 903249"/>
              </a:gdLst>
              <a:ahLst/>
              <a:cxnLst>
                <a:cxn ang="0">
                  <a:pos x="connsiteX0" y="connsiteY0"/>
                </a:cxn>
                <a:cxn ang="0">
                  <a:pos x="connsiteX1" y="connsiteY1"/>
                </a:cxn>
              </a:cxnLst>
              <a:rect l="l" t="t" r="r" b="b"/>
              <a:pathLst>
                <a:path w="2743200" h="903249">
                  <a:moveTo>
                    <a:pt x="2743200" y="0"/>
                  </a:moveTo>
                  <a:lnTo>
                    <a:pt x="0" y="903249"/>
                  </a:lnTo>
                </a:path>
              </a:pathLst>
            </a:custGeom>
            <a:noFill/>
            <a:ln w="19050" cap="rnd" cmpd="sng" algn="ctr">
              <a:solidFill>
                <a:schemeClr val="bg1">
                  <a:lumMod val="50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135" name="下箭头 134"/>
            <p:cNvSpPr/>
            <p:nvPr/>
          </p:nvSpPr>
          <p:spPr>
            <a:xfrm rot="10800000">
              <a:off x="5041209" y="4190037"/>
              <a:ext cx="126228" cy="368719"/>
            </a:xfrm>
            <a:prstGeom prst="downArrow">
              <a:avLst/>
            </a:prstGeom>
            <a:solidFill>
              <a:schemeClr val="tx2">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nvGrpSpPr>
            <p:cNvPr id="136" name="组合 135"/>
            <p:cNvGrpSpPr/>
            <p:nvPr/>
          </p:nvGrpSpPr>
          <p:grpSpPr>
            <a:xfrm>
              <a:off x="6104985" y="3361861"/>
              <a:ext cx="412545" cy="208097"/>
              <a:chOff x="4950945" y="2312020"/>
              <a:chExt cx="877529" cy="442646"/>
            </a:xfrm>
            <a:solidFill>
              <a:schemeClr val="tx2">
                <a:lumMod val="75000"/>
              </a:schemeClr>
            </a:solidFill>
          </p:grpSpPr>
          <p:sp>
            <p:nvSpPr>
              <p:cNvPr id="144" name="Freeform 354"/>
              <p:cNvSpPr/>
              <p:nvPr/>
            </p:nvSpPr>
            <p:spPr bwMode="auto">
              <a:xfrm>
                <a:off x="5489370" y="2312020"/>
                <a:ext cx="85424" cy="67304"/>
              </a:xfrm>
              <a:custGeom>
                <a:avLst/>
                <a:gdLst>
                  <a:gd name="T0" fmla="*/ 39 w 39"/>
                  <a:gd name="T1" fmla="*/ 30 h 30"/>
                  <a:gd name="T2" fmla="*/ 26 w 39"/>
                  <a:gd name="T3" fmla="*/ 29 h 30"/>
                  <a:gd name="T4" fmla="*/ 0 w 39"/>
                  <a:gd name="T5" fmla="*/ 29 h 30"/>
                  <a:gd name="T6" fmla="*/ 0 w 39"/>
                  <a:gd name="T7" fmla="*/ 0 h 30"/>
                  <a:gd name="T8" fmla="*/ 39 w 39"/>
                  <a:gd name="T9" fmla="*/ 30 h 30"/>
                </a:gdLst>
                <a:ahLst/>
                <a:cxnLst>
                  <a:cxn ang="0">
                    <a:pos x="T0" y="T1"/>
                  </a:cxn>
                  <a:cxn ang="0">
                    <a:pos x="T2" y="T3"/>
                  </a:cxn>
                  <a:cxn ang="0">
                    <a:pos x="T4" y="T5"/>
                  </a:cxn>
                  <a:cxn ang="0">
                    <a:pos x="T6" y="T7"/>
                  </a:cxn>
                  <a:cxn ang="0">
                    <a:pos x="T8" y="T9"/>
                  </a:cxn>
                </a:cxnLst>
                <a:rect l="0" t="0" r="r" b="b"/>
                <a:pathLst>
                  <a:path w="39" h="30">
                    <a:moveTo>
                      <a:pt x="39" y="30"/>
                    </a:moveTo>
                    <a:cubicBezTo>
                      <a:pt x="35" y="29"/>
                      <a:pt x="31" y="29"/>
                      <a:pt x="26" y="29"/>
                    </a:cubicBezTo>
                    <a:cubicBezTo>
                      <a:pt x="0" y="29"/>
                      <a:pt x="0" y="29"/>
                      <a:pt x="0" y="29"/>
                    </a:cubicBezTo>
                    <a:cubicBezTo>
                      <a:pt x="0" y="0"/>
                      <a:pt x="0" y="0"/>
                      <a:pt x="0" y="0"/>
                    </a:cubicBezTo>
                    <a:cubicBezTo>
                      <a:pt x="14" y="0"/>
                      <a:pt x="24" y="9"/>
                      <a:pt x="39" y="30"/>
                    </a:cubicBez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5" name="Freeform 355"/>
              <p:cNvSpPr>
                <a:spLocks noEditPoints="1"/>
              </p:cNvSpPr>
              <p:nvPr/>
            </p:nvSpPr>
            <p:spPr bwMode="auto">
              <a:xfrm>
                <a:off x="5489370" y="2402620"/>
                <a:ext cx="328750" cy="240738"/>
              </a:xfrm>
              <a:custGeom>
                <a:avLst/>
                <a:gdLst>
                  <a:gd name="T0" fmla="*/ 73 w 150"/>
                  <a:gd name="T1" fmla="*/ 19 h 110"/>
                  <a:gd name="T2" fmla="*/ 107 w 150"/>
                  <a:gd name="T3" fmla="*/ 55 h 110"/>
                  <a:gd name="T4" fmla="*/ 136 w 150"/>
                  <a:gd name="T5" fmla="*/ 72 h 110"/>
                  <a:gd name="T6" fmla="*/ 150 w 150"/>
                  <a:gd name="T7" fmla="*/ 101 h 110"/>
                  <a:gd name="T8" fmla="*/ 121 w 150"/>
                  <a:gd name="T9" fmla="*/ 101 h 110"/>
                  <a:gd name="T10" fmla="*/ 109 w 150"/>
                  <a:gd name="T11" fmla="*/ 108 h 110"/>
                  <a:gd name="T12" fmla="*/ 88 w 150"/>
                  <a:gd name="T13" fmla="*/ 101 h 110"/>
                  <a:gd name="T14" fmla="*/ 65 w 150"/>
                  <a:gd name="T15" fmla="*/ 110 h 110"/>
                  <a:gd name="T16" fmla="*/ 0 w 150"/>
                  <a:gd name="T17" fmla="*/ 110 h 110"/>
                  <a:gd name="T18" fmla="*/ 0 w 150"/>
                  <a:gd name="T19" fmla="*/ 0 h 110"/>
                  <a:gd name="T20" fmla="*/ 26 w 150"/>
                  <a:gd name="T21" fmla="*/ 0 h 110"/>
                  <a:gd name="T22" fmla="*/ 73 w 150"/>
                  <a:gd name="T23" fmla="*/ 19 h 110"/>
                  <a:gd name="T24" fmla="*/ 15 w 150"/>
                  <a:gd name="T25" fmla="*/ 57 h 110"/>
                  <a:gd name="T26" fmla="*/ 64 w 150"/>
                  <a:gd name="T27" fmla="*/ 66 h 110"/>
                  <a:gd name="T28" fmla="*/ 84 w 150"/>
                  <a:gd name="T29" fmla="*/ 66 h 110"/>
                  <a:gd name="T30" fmla="*/ 89 w 150"/>
                  <a:gd name="T31" fmla="*/ 56 h 110"/>
                  <a:gd name="T32" fmla="*/ 60 w 150"/>
                  <a:gd name="T33" fmla="*/ 27 h 110"/>
                  <a:gd name="T34" fmla="*/ 32 w 150"/>
                  <a:gd name="T35" fmla="*/ 14 h 110"/>
                  <a:gd name="T36" fmla="*/ 15 w 150"/>
                  <a:gd name="T37" fmla="*/ 14 h 110"/>
                  <a:gd name="T38" fmla="*/ 15 w 150"/>
                  <a:gd name="T39" fmla="*/ 5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10">
                    <a:moveTo>
                      <a:pt x="73" y="19"/>
                    </a:moveTo>
                    <a:cubicBezTo>
                      <a:pt x="78" y="24"/>
                      <a:pt x="107" y="55"/>
                      <a:pt x="107" y="55"/>
                    </a:cubicBezTo>
                    <a:cubicBezTo>
                      <a:pt x="107" y="55"/>
                      <a:pt x="123" y="64"/>
                      <a:pt x="136" y="72"/>
                    </a:cubicBezTo>
                    <a:cubicBezTo>
                      <a:pt x="149" y="79"/>
                      <a:pt x="150" y="89"/>
                      <a:pt x="150" y="101"/>
                    </a:cubicBezTo>
                    <a:cubicBezTo>
                      <a:pt x="121" y="101"/>
                      <a:pt x="121" y="101"/>
                      <a:pt x="121" y="101"/>
                    </a:cubicBezTo>
                    <a:cubicBezTo>
                      <a:pt x="109" y="108"/>
                      <a:pt x="109" y="108"/>
                      <a:pt x="109" y="108"/>
                    </a:cubicBezTo>
                    <a:cubicBezTo>
                      <a:pt x="103" y="104"/>
                      <a:pt x="96" y="101"/>
                      <a:pt x="88" y="101"/>
                    </a:cubicBezTo>
                    <a:cubicBezTo>
                      <a:pt x="80" y="101"/>
                      <a:pt x="72" y="104"/>
                      <a:pt x="65" y="110"/>
                    </a:cubicBezTo>
                    <a:cubicBezTo>
                      <a:pt x="0" y="110"/>
                      <a:pt x="0" y="110"/>
                      <a:pt x="0" y="110"/>
                    </a:cubicBezTo>
                    <a:cubicBezTo>
                      <a:pt x="0" y="0"/>
                      <a:pt x="0" y="0"/>
                      <a:pt x="0" y="0"/>
                    </a:cubicBezTo>
                    <a:cubicBezTo>
                      <a:pt x="26" y="0"/>
                      <a:pt x="26" y="0"/>
                      <a:pt x="26" y="0"/>
                    </a:cubicBezTo>
                    <a:cubicBezTo>
                      <a:pt x="49" y="0"/>
                      <a:pt x="57" y="2"/>
                      <a:pt x="73" y="19"/>
                    </a:cubicBezTo>
                    <a:close/>
                    <a:moveTo>
                      <a:pt x="15" y="57"/>
                    </a:moveTo>
                    <a:cubicBezTo>
                      <a:pt x="44" y="57"/>
                      <a:pt x="49" y="66"/>
                      <a:pt x="64" y="66"/>
                    </a:cubicBezTo>
                    <a:cubicBezTo>
                      <a:pt x="64" y="66"/>
                      <a:pt x="79" y="66"/>
                      <a:pt x="84" y="66"/>
                    </a:cubicBezTo>
                    <a:cubicBezTo>
                      <a:pt x="91" y="66"/>
                      <a:pt x="92" y="60"/>
                      <a:pt x="89" y="56"/>
                    </a:cubicBezTo>
                    <a:cubicBezTo>
                      <a:pt x="70" y="37"/>
                      <a:pt x="64" y="30"/>
                      <a:pt x="60" y="27"/>
                    </a:cubicBezTo>
                    <a:cubicBezTo>
                      <a:pt x="54" y="21"/>
                      <a:pt x="49" y="14"/>
                      <a:pt x="32" y="14"/>
                    </a:cubicBezTo>
                    <a:cubicBezTo>
                      <a:pt x="22" y="14"/>
                      <a:pt x="15" y="14"/>
                      <a:pt x="15" y="14"/>
                    </a:cubicBezTo>
                    <a:lnTo>
                      <a:pt x="15" y="57"/>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6" name="Freeform 356"/>
              <p:cNvSpPr/>
              <p:nvPr/>
            </p:nvSpPr>
            <p:spPr bwMode="auto">
              <a:xfrm>
                <a:off x="5753404" y="2568288"/>
                <a:ext cx="46595" cy="38829"/>
              </a:xfrm>
              <a:custGeom>
                <a:avLst/>
                <a:gdLst>
                  <a:gd name="T0" fmla="*/ 22 w 22"/>
                  <a:gd name="T1" fmla="*/ 18 h 18"/>
                  <a:gd name="T2" fmla="*/ 1 w 22"/>
                  <a:gd name="T3" fmla="*/ 18 h 18"/>
                  <a:gd name="T4" fmla="*/ 5 w 22"/>
                  <a:gd name="T5" fmla="*/ 0 h 18"/>
                  <a:gd name="T6" fmla="*/ 12 w 22"/>
                  <a:gd name="T7" fmla="*/ 3 h 18"/>
                  <a:gd name="T8" fmla="*/ 22 w 22"/>
                  <a:gd name="T9" fmla="*/ 18 h 18"/>
                </a:gdLst>
                <a:ahLst/>
                <a:cxnLst>
                  <a:cxn ang="0">
                    <a:pos x="T0" y="T1"/>
                  </a:cxn>
                  <a:cxn ang="0">
                    <a:pos x="T2" y="T3"/>
                  </a:cxn>
                  <a:cxn ang="0">
                    <a:pos x="T4" y="T5"/>
                  </a:cxn>
                  <a:cxn ang="0">
                    <a:pos x="T6" y="T7"/>
                  </a:cxn>
                  <a:cxn ang="0">
                    <a:pos x="T8" y="T9"/>
                  </a:cxn>
                </a:cxnLst>
                <a:rect l="0" t="0" r="r" b="b"/>
                <a:pathLst>
                  <a:path w="22" h="18">
                    <a:moveTo>
                      <a:pt x="22" y="18"/>
                    </a:moveTo>
                    <a:cubicBezTo>
                      <a:pt x="1" y="18"/>
                      <a:pt x="1" y="18"/>
                      <a:pt x="1" y="18"/>
                    </a:cubicBezTo>
                    <a:cubicBezTo>
                      <a:pt x="1" y="18"/>
                      <a:pt x="0" y="9"/>
                      <a:pt x="5" y="0"/>
                    </a:cubicBezTo>
                    <a:cubicBezTo>
                      <a:pt x="12" y="3"/>
                      <a:pt x="12" y="3"/>
                      <a:pt x="12" y="3"/>
                    </a:cubicBezTo>
                    <a:cubicBezTo>
                      <a:pt x="20" y="8"/>
                      <a:pt x="21" y="12"/>
                      <a:pt x="22" y="18"/>
                    </a:cubicBezTo>
                    <a:close/>
                  </a:path>
                </a:pathLst>
              </a:custGeom>
              <a:grpFill/>
              <a:ln w="9525">
                <a:solidFill>
                  <a:schemeClr val="bg1"/>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7" name="Freeform 357"/>
              <p:cNvSpPr>
                <a:spLocks noEditPoints="1"/>
              </p:cNvSpPr>
              <p:nvPr/>
            </p:nvSpPr>
            <p:spPr bwMode="auto">
              <a:xfrm>
                <a:off x="4950945" y="2312020"/>
                <a:ext cx="877529" cy="442646"/>
              </a:xfrm>
              <a:custGeom>
                <a:avLst/>
                <a:gdLst>
                  <a:gd name="T0" fmla="*/ 334 w 401"/>
                  <a:gd name="T1" fmla="*/ 202 h 202"/>
                  <a:gd name="T2" fmla="*/ 358 w 401"/>
                  <a:gd name="T3" fmla="*/ 179 h 202"/>
                  <a:gd name="T4" fmla="*/ 334 w 401"/>
                  <a:gd name="T5" fmla="*/ 155 h 202"/>
                  <a:gd name="T6" fmla="*/ 310 w 401"/>
                  <a:gd name="T7" fmla="*/ 179 h 202"/>
                  <a:gd name="T8" fmla="*/ 334 w 401"/>
                  <a:gd name="T9" fmla="*/ 202 h 202"/>
                  <a:gd name="T10" fmla="*/ 334 w 401"/>
                  <a:gd name="T11" fmla="*/ 189 h 202"/>
                  <a:gd name="T12" fmla="*/ 324 w 401"/>
                  <a:gd name="T13" fmla="*/ 179 h 202"/>
                  <a:gd name="T14" fmla="*/ 334 w 401"/>
                  <a:gd name="T15" fmla="*/ 168 h 202"/>
                  <a:gd name="T16" fmla="*/ 344 w 401"/>
                  <a:gd name="T17" fmla="*/ 179 h 202"/>
                  <a:gd name="T18" fmla="*/ 334 w 401"/>
                  <a:gd name="T19" fmla="*/ 189 h 202"/>
                  <a:gd name="T20" fmla="*/ 299 w 401"/>
                  <a:gd name="T21" fmla="*/ 179 h 202"/>
                  <a:gd name="T22" fmla="*/ 299 w 401"/>
                  <a:gd name="T23" fmla="*/ 182 h 202"/>
                  <a:gd name="T24" fmla="*/ 246 w 401"/>
                  <a:gd name="T25" fmla="*/ 182 h 202"/>
                  <a:gd name="T26" fmla="*/ 246 w 401"/>
                  <a:gd name="T27" fmla="*/ 163 h 202"/>
                  <a:gd name="T28" fmla="*/ 303 w 401"/>
                  <a:gd name="T29" fmla="*/ 163 h 202"/>
                  <a:gd name="T30" fmla="*/ 299 w 401"/>
                  <a:gd name="T31" fmla="*/ 179 h 202"/>
                  <a:gd name="T32" fmla="*/ 369 w 401"/>
                  <a:gd name="T33" fmla="*/ 179 h 202"/>
                  <a:gd name="T34" fmla="*/ 363 w 401"/>
                  <a:gd name="T35" fmla="*/ 159 h 202"/>
                  <a:gd name="T36" fmla="*/ 370 w 401"/>
                  <a:gd name="T37" fmla="*/ 154 h 202"/>
                  <a:gd name="T38" fmla="*/ 401 w 401"/>
                  <a:gd name="T39" fmla="*/ 154 h 202"/>
                  <a:gd name="T40" fmla="*/ 401 w 401"/>
                  <a:gd name="T41" fmla="*/ 156 h 202"/>
                  <a:gd name="T42" fmla="*/ 401 w 401"/>
                  <a:gd name="T43" fmla="*/ 166 h 202"/>
                  <a:gd name="T44" fmla="*/ 387 w 401"/>
                  <a:gd name="T45" fmla="*/ 182 h 202"/>
                  <a:gd name="T46" fmla="*/ 369 w 401"/>
                  <a:gd name="T47" fmla="*/ 182 h 202"/>
                  <a:gd name="T48" fmla="*/ 369 w 401"/>
                  <a:gd name="T49" fmla="*/ 179 h 202"/>
                  <a:gd name="T50" fmla="*/ 121 w 401"/>
                  <a:gd name="T51" fmla="*/ 179 h 202"/>
                  <a:gd name="T52" fmla="*/ 118 w 401"/>
                  <a:gd name="T53" fmla="*/ 163 h 202"/>
                  <a:gd name="T54" fmla="*/ 235 w 401"/>
                  <a:gd name="T55" fmla="*/ 163 h 202"/>
                  <a:gd name="T56" fmla="*/ 235 w 401"/>
                  <a:gd name="T57" fmla="*/ 182 h 202"/>
                  <a:gd name="T58" fmla="*/ 121 w 401"/>
                  <a:gd name="T59" fmla="*/ 182 h 202"/>
                  <a:gd name="T60" fmla="*/ 121 w 401"/>
                  <a:gd name="T61" fmla="*/ 179 h 202"/>
                  <a:gd name="T62" fmla="*/ 51 w 401"/>
                  <a:gd name="T63" fmla="*/ 179 h 202"/>
                  <a:gd name="T64" fmla="*/ 51 w 401"/>
                  <a:gd name="T65" fmla="*/ 182 h 202"/>
                  <a:gd name="T66" fmla="*/ 43 w 401"/>
                  <a:gd name="T67" fmla="*/ 182 h 202"/>
                  <a:gd name="T68" fmla="*/ 21 w 401"/>
                  <a:gd name="T69" fmla="*/ 163 h 202"/>
                  <a:gd name="T70" fmla="*/ 55 w 401"/>
                  <a:gd name="T71" fmla="*/ 163 h 202"/>
                  <a:gd name="T72" fmla="*/ 51 w 401"/>
                  <a:gd name="T73" fmla="*/ 179 h 202"/>
                  <a:gd name="T74" fmla="*/ 235 w 401"/>
                  <a:gd name="T75" fmla="*/ 0 h 202"/>
                  <a:gd name="T76" fmla="*/ 235 w 401"/>
                  <a:gd name="T77" fmla="*/ 151 h 202"/>
                  <a:gd name="T78" fmla="*/ 109 w 401"/>
                  <a:gd name="T79" fmla="*/ 151 h 202"/>
                  <a:gd name="T80" fmla="*/ 86 w 401"/>
                  <a:gd name="T81" fmla="*/ 143 h 202"/>
                  <a:gd name="T82" fmla="*/ 64 w 401"/>
                  <a:gd name="T83" fmla="*/ 151 h 202"/>
                  <a:gd name="T84" fmla="*/ 0 w 401"/>
                  <a:gd name="T85" fmla="*/ 151 h 202"/>
                  <a:gd name="T86" fmla="*/ 0 w 401"/>
                  <a:gd name="T87" fmla="*/ 0 h 202"/>
                  <a:gd name="T88" fmla="*/ 235 w 401"/>
                  <a:gd name="T89" fmla="*/ 0 h 202"/>
                  <a:gd name="T90" fmla="*/ 86 w 401"/>
                  <a:gd name="T91" fmla="*/ 202 h 202"/>
                  <a:gd name="T92" fmla="*/ 110 w 401"/>
                  <a:gd name="T93" fmla="*/ 179 h 202"/>
                  <a:gd name="T94" fmla="*/ 86 w 401"/>
                  <a:gd name="T95" fmla="*/ 155 h 202"/>
                  <a:gd name="T96" fmla="*/ 62 w 401"/>
                  <a:gd name="T97" fmla="*/ 179 h 202"/>
                  <a:gd name="T98" fmla="*/ 86 w 401"/>
                  <a:gd name="T99" fmla="*/ 202 h 202"/>
                  <a:gd name="T100" fmla="*/ 86 w 401"/>
                  <a:gd name="T101" fmla="*/ 189 h 202"/>
                  <a:gd name="T102" fmla="*/ 76 w 401"/>
                  <a:gd name="T103" fmla="*/ 179 h 202"/>
                  <a:gd name="T104" fmla="*/ 86 w 401"/>
                  <a:gd name="T105" fmla="*/ 168 h 202"/>
                  <a:gd name="T106" fmla="*/ 96 w 401"/>
                  <a:gd name="T107" fmla="*/ 179 h 202"/>
                  <a:gd name="T108" fmla="*/ 86 w 401"/>
                  <a:gd name="T109" fmla="*/ 18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1" h="202">
                    <a:moveTo>
                      <a:pt x="334" y="202"/>
                    </a:moveTo>
                    <a:cubicBezTo>
                      <a:pt x="347" y="202"/>
                      <a:pt x="358" y="192"/>
                      <a:pt x="358" y="179"/>
                    </a:cubicBezTo>
                    <a:cubicBezTo>
                      <a:pt x="358" y="165"/>
                      <a:pt x="347" y="155"/>
                      <a:pt x="334" y="155"/>
                    </a:cubicBezTo>
                    <a:cubicBezTo>
                      <a:pt x="321" y="155"/>
                      <a:pt x="310" y="165"/>
                      <a:pt x="310" y="179"/>
                    </a:cubicBezTo>
                    <a:cubicBezTo>
                      <a:pt x="310" y="192"/>
                      <a:pt x="321" y="202"/>
                      <a:pt x="334" y="202"/>
                    </a:cubicBezTo>
                    <a:close/>
                    <a:moveTo>
                      <a:pt x="334" y="189"/>
                    </a:moveTo>
                    <a:cubicBezTo>
                      <a:pt x="329" y="189"/>
                      <a:pt x="324" y="184"/>
                      <a:pt x="324" y="179"/>
                    </a:cubicBezTo>
                    <a:cubicBezTo>
                      <a:pt x="324" y="173"/>
                      <a:pt x="329" y="168"/>
                      <a:pt x="334" y="168"/>
                    </a:cubicBezTo>
                    <a:cubicBezTo>
                      <a:pt x="340" y="168"/>
                      <a:pt x="344" y="173"/>
                      <a:pt x="344" y="179"/>
                    </a:cubicBezTo>
                    <a:cubicBezTo>
                      <a:pt x="344" y="184"/>
                      <a:pt x="340" y="189"/>
                      <a:pt x="334" y="189"/>
                    </a:cubicBezTo>
                    <a:close/>
                    <a:moveTo>
                      <a:pt x="299" y="179"/>
                    </a:moveTo>
                    <a:cubicBezTo>
                      <a:pt x="299" y="180"/>
                      <a:pt x="299" y="181"/>
                      <a:pt x="299" y="182"/>
                    </a:cubicBezTo>
                    <a:cubicBezTo>
                      <a:pt x="271" y="182"/>
                      <a:pt x="246" y="182"/>
                      <a:pt x="246" y="182"/>
                    </a:cubicBezTo>
                    <a:cubicBezTo>
                      <a:pt x="246" y="163"/>
                      <a:pt x="246" y="163"/>
                      <a:pt x="246" y="163"/>
                    </a:cubicBezTo>
                    <a:cubicBezTo>
                      <a:pt x="303" y="163"/>
                      <a:pt x="303" y="163"/>
                      <a:pt x="303" y="163"/>
                    </a:cubicBezTo>
                    <a:cubicBezTo>
                      <a:pt x="300" y="168"/>
                      <a:pt x="299" y="173"/>
                      <a:pt x="299" y="179"/>
                    </a:cubicBezTo>
                    <a:close/>
                    <a:moveTo>
                      <a:pt x="369" y="179"/>
                    </a:moveTo>
                    <a:cubicBezTo>
                      <a:pt x="369" y="171"/>
                      <a:pt x="367" y="164"/>
                      <a:pt x="363" y="159"/>
                    </a:cubicBezTo>
                    <a:cubicBezTo>
                      <a:pt x="370" y="154"/>
                      <a:pt x="370" y="154"/>
                      <a:pt x="370" y="154"/>
                    </a:cubicBezTo>
                    <a:cubicBezTo>
                      <a:pt x="401" y="154"/>
                      <a:pt x="401" y="154"/>
                      <a:pt x="401" y="154"/>
                    </a:cubicBezTo>
                    <a:cubicBezTo>
                      <a:pt x="401" y="155"/>
                      <a:pt x="401" y="156"/>
                      <a:pt x="401" y="156"/>
                    </a:cubicBezTo>
                    <a:cubicBezTo>
                      <a:pt x="401" y="156"/>
                      <a:pt x="401" y="157"/>
                      <a:pt x="401" y="166"/>
                    </a:cubicBezTo>
                    <a:cubicBezTo>
                      <a:pt x="401" y="177"/>
                      <a:pt x="395" y="182"/>
                      <a:pt x="387" y="182"/>
                    </a:cubicBezTo>
                    <a:cubicBezTo>
                      <a:pt x="386" y="182"/>
                      <a:pt x="379" y="182"/>
                      <a:pt x="369" y="182"/>
                    </a:cubicBezTo>
                    <a:cubicBezTo>
                      <a:pt x="369" y="181"/>
                      <a:pt x="369" y="180"/>
                      <a:pt x="369" y="179"/>
                    </a:cubicBezTo>
                    <a:close/>
                    <a:moveTo>
                      <a:pt x="121" y="179"/>
                    </a:moveTo>
                    <a:cubicBezTo>
                      <a:pt x="121" y="173"/>
                      <a:pt x="120" y="168"/>
                      <a:pt x="118" y="163"/>
                    </a:cubicBezTo>
                    <a:cubicBezTo>
                      <a:pt x="235" y="163"/>
                      <a:pt x="235" y="163"/>
                      <a:pt x="235" y="163"/>
                    </a:cubicBezTo>
                    <a:cubicBezTo>
                      <a:pt x="235" y="182"/>
                      <a:pt x="235" y="182"/>
                      <a:pt x="235" y="182"/>
                    </a:cubicBezTo>
                    <a:cubicBezTo>
                      <a:pt x="235" y="182"/>
                      <a:pt x="174" y="182"/>
                      <a:pt x="121" y="182"/>
                    </a:cubicBezTo>
                    <a:cubicBezTo>
                      <a:pt x="121" y="181"/>
                      <a:pt x="121" y="180"/>
                      <a:pt x="121" y="179"/>
                    </a:cubicBezTo>
                    <a:close/>
                    <a:moveTo>
                      <a:pt x="51" y="179"/>
                    </a:moveTo>
                    <a:cubicBezTo>
                      <a:pt x="51" y="180"/>
                      <a:pt x="51" y="181"/>
                      <a:pt x="51" y="182"/>
                    </a:cubicBezTo>
                    <a:cubicBezTo>
                      <a:pt x="46" y="182"/>
                      <a:pt x="44" y="182"/>
                      <a:pt x="43" y="182"/>
                    </a:cubicBezTo>
                    <a:cubicBezTo>
                      <a:pt x="33" y="182"/>
                      <a:pt x="23" y="176"/>
                      <a:pt x="21" y="163"/>
                    </a:cubicBezTo>
                    <a:cubicBezTo>
                      <a:pt x="55" y="163"/>
                      <a:pt x="55" y="163"/>
                      <a:pt x="55" y="163"/>
                    </a:cubicBezTo>
                    <a:cubicBezTo>
                      <a:pt x="52" y="168"/>
                      <a:pt x="51" y="173"/>
                      <a:pt x="51" y="179"/>
                    </a:cubicBezTo>
                    <a:close/>
                    <a:moveTo>
                      <a:pt x="235" y="0"/>
                    </a:moveTo>
                    <a:cubicBezTo>
                      <a:pt x="235" y="151"/>
                      <a:pt x="235" y="151"/>
                      <a:pt x="235" y="151"/>
                    </a:cubicBezTo>
                    <a:cubicBezTo>
                      <a:pt x="109" y="151"/>
                      <a:pt x="109" y="151"/>
                      <a:pt x="109" y="151"/>
                    </a:cubicBezTo>
                    <a:cubicBezTo>
                      <a:pt x="102" y="146"/>
                      <a:pt x="95" y="143"/>
                      <a:pt x="86" y="143"/>
                    </a:cubicBezTo>
                    <a:cubicBezTo>
                      <a:pt x="78" y="143"/>
                      <a:pt x="70" y="146"/>
                      <a:pt x="64" y="151"/>
                    </a:cubicBezTo>
                    <a:cubicBezTo>
                      <a:pt x="0" y="151"/>
                      <a:pt x="0" y="151"/>
                      <a:pt x="0" y="151"/>
                    </a:cubicBezTo>
                    <a:cubicBezTo>
                      <a:pt x="0" y="0"/>
                      <a:pt x="0" y="0"/>
                      <a:pt x="0" y="0"/>
                    </a:cubicBezTo>
                    <a:lnTo>
                      <a:pt x="235" y="0"/>
                    </a:lnTo>
                    <a:close/>
                    <a:moveTo>
                      <a:pt x="86" y="202"/>
                    </a:moveTo>
                    <a:cubicBezTo>
                      <a:pt x="99" y="202"/>
                      <a:pt x="110" y="192"/>
                      <a:pt x="110" y="179"/>
                    </a:cubicBezTo>
                    <a:cubicBezTo>
                      <a:pt x="110" y="165"/>
                      <a:pt x="99" y="155"/>
                      <a:pt x="86" y="155"/>
                    </a:cubicBezTo>
                    <a:cubicBezTo>
                      <a:pt x="73" y="155"/>
                      <a:pt x="62" y="165"/>
                      <a:pt x="62" y="179"/>
                    </a:cubicBezTo>
                    <a:cubicBezTo>
                      <a:pt x="62" y="192"/>
                      <a:pt x="73" y="202"/>
                      <a:pt x="86" y="202"/>
                    </a:cubicBezTo>
                    <a:close/>
                    <a:moveTo>
                      <a:pt x="86" y="189"/>
                    </a:moveTo>
                    <a:cubicBezTo>
                      <a:pt x="81" y="189"/>
                      <a:pt x="76" y="184"/>
                      <a:pt x="76" y="179"/>
                    </a:cubicBezTo>
                    <a:cubicBezTo>
                      <a:pt x="76" y="173"/>
                      <a:pt x="80" y="168"/>
                      <a:pt x="86" y="168"/>
                    </a:cubicBezTo>
                    <a:cubicBezTo>
                      <a:pt x="92" y="168"/>
                      <a:pt x="96" y="173"/>
                      <a:pt x="96" y="179"/>
                    </a:cubicBezTo>
                    <a:cubicBezTo>
                      <a:pt x="96" y="184"/>
                      <a:pt x="92" y="189"/>
                      <a:pt x="86" y="189"/>
                    </a:cubicBezTo>
                    <a:close/>
                  </a:path>
                </a:pathLst>
              </a:custGeom>
              <a:grpFill/>
              <a:ln w="9525">
                <a:solidFill>
                  <a:schemeClr val="bg1"/>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137" name="组合 136"/>
            <p:cNvGrpSpPr/>
            <p:nvPr/>
          </p:nvGrpSpPr>
          <p:grpSpPr>
            <a:xfrm>
              <a:off x="3833015" y="3361861"/>
              <a:ext cx="412545" cy="208097"/>
              <a:chOff x="4950945" y="2312020"/>
              <a:chExt cx="877529" cy="442646"/>
            </a:xfrm>
            <a:solidFill>
              <a:schemeClr val="tx2">
                <a:lumMod val="75000"/>
              </a:schemeClr>
            </a:solidFill>
          </p:grpSpPr>
          <p:sp>
            <p:nvSpPr>
              <p:cNvPr id="140" name="Freeform 354"/>
              <p:cNvSpPr/>
              <p:nvPr/>
            </p:nvSpPr>
            <p:spPr bwMode="auto">
              <a:xfrm>
                <a:off x="5489370" y="2312020"/>
                <a:ext cx="85424" cy="67304"/>
              </a:xfrm>
              <a:custGeom>
                <a:avLst/>
                <a:gdLst>
                  <a:gd name="T0" fmla="*/ 39 w 39"/>
                  <a:gd name="T1" fmla="*/ 30 h 30"/>
                  <a:gd name="T2" fmla="*/ 26 w 39"/>
                  <a:gd name="T3" fmla="*/ 29 h 30"/>
                  <a:gd name="T4" fmla="*/ 0 w 39"/>
                  <a:gd name="T5" fmla="*/ 29 h 30"/>
                  <a:gd name="T6" fmla="*/ 0 w 39"/>
                  <a:gd name="T7" fmla="*/ 0 h 30"/>
                  <a:gd name="T8" fmla="*/ 39 w 39"/>
                  <a:gd name="T9" fmla="*/ 30 h 30"/>
                </a:gdLst>
                <a:ahLst/>
                <a:cxnLst>
                  <a:cxn ang="0">
                    <a:pos x="T0" y="T1"/>
                  </a:cxn>
                  <a:cxn ang="0">
                    <a:pos x="T2" y="T3"/>
                  </a:cxn>
                  <a:cxn ang="0">
                    <a:pos x="T4" y="T5"/>
                  </a:cxn>
                  <a:cxn ang="0">
                    <a:pos x="T6" y="T7"/>
                  </a:cxn>
                  <a:cxn ang="0">
                    <a:pos x="T8" y="T9"/>
                  </a:cxn>
                </a:cxnLst>
                <a:rect l="0" t="0" r="r" b="b"/>
                <a:pathLst>
                  <a:path w="39" h="30">
                    <a:moveTo>
                      <a:pt x="39" y="30"/>
                    </a:moveTo>
                    <a:cubicBezTo>
                      <a:pt x="35" y="29"/>
                      <a:pt x="31" y="29"/>
                      <a:pt x="26" y="29"/>
                    </a:cubicBezTo>
                    <a:cubicBezTo>
                      <a:pt x="0" y="29"/>
                      <a:pt x="0" y="29"/>
                      <a:pt x="0" y="29"/>
                    </a:cubicBezTo>
                    <a:cubicBezTo>
                      <a:pt x="0" y="0"/>
                      <a:pt x="0" y="0"/>
                      <a:pt x="0" y="0"/>
                    </a:cubicBezTo>
                    <a:cubicBezTo>
                      <a:pt x="14" y="0"/>
                      <a:pt x="24" y="9"/>
                      <a:pt x="39" y="30"/>
                    </a:cubicBez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1" name="Freeform 355"/>
              <p:cNvSpPr>
                <a:spLocks noEditPoints="1"/>
              </p:cNvSpPr>
              <p:nvPr/>
            </p:nvSpPr>
            <p:spPr bwMode="auto">
              <a:xfrm>
                <a:off x="5489370" y="2402620"/>
                <a:ext cx="328750" cy="240738"/>
              </a:xfrm>
              <a:custGeom>
                <a:avLst/>
                <a:gdLst>
                  <a:gd name="T0" fmla="*/ 73 w 150"/>
                  <a:gd name="T1" fmla="*/ 19 h 110"/>
                  <a:gd name="T2" fmla="*/ 107 w 150"/>
                  <a:gd name="T3" fmla="*/ 55 h 110"/>
                  <a:gd name="T4" fmla="*/ 136 w 150"/>
                  <a:gd name="T5" fmla="*/ 72 h 110"/>
                  <a:gd name="T6" fmla="*/ 150 w 150"/>
                  <a:gd name="T7" fmla="*/ 101 h 110"/>
                  <a:gd name="T8" fmla="*/ 121 w 150"/>
                  <a:gd name="T9" fmla="*/ 101 h 110"/>
                  <a:gd name="T10" fmla="*/ 109 w 150"/>
                  <a:gd name="T11" fmla="*/ 108 h 110"/>
                  <a:gd name="T12" fmla="*/ 88 w 150"/>
                  <a:gd name="T13" fmla="*/ 101 h 110"/>
                  <a:gd name="T14" fmla="*/ 65 w 150"/>
                  <a:gd name="T15" fmla="*/ 110 h 110"/>
                  <a:gd name="T16" fmla="*/ 0 w 150"/>
                  <a:gd name="T17" fmla="*/ 110 h 110"/>
                  <a:gd name="T18" fmla="*/ 0 w 150"/>
                  <a:gd name="T19" fmla="*/ 0 h 110"/>
                  <a:gd name="T20" fmla="*/ 26 w 150"/>
                  <a:gd name="T21" fmla="*/ 0 h 110"/>
                  <a:gd name="T22" fmla="*/ 73 w 150"/>
                  <a:gd name="T23" fmla="*/ 19 h 110"/>
                  <a:gd name="T24" fmla="*/ 15 w 150"/>
                  <a:gd name="T25" fmla="*/ 57 h 110"/>
                  <a:gd name="T26" fmla="*/ 64 w 150"/>
                  <a:gd name="T27" fmla="*/ 66 h 110"/>
                  <a:gd name="T28" fmla="*/ 84 w 150"/>
                  <a:gd name="T29" fmla="*/ 66 h 110"/>
                  <a:gd name="T30" fmla="*/ 89 w 150"/>
                  <a:gd name="T31" fmla="*/ 56 h 110"/>
                  <a:gd name="T32" fmla="*/ 60 w 150"/>
                  <a:gd name="T33" fmla="*/ 27 h 110"/>
                  <a:gd name="T34" fmla="*/ 32 w 150"/>
                  <a:gd name="T35" fmla="*/ 14 h 110"/>
                  <a:gd name="T36" fmla="*/ 15 w 150"/>
                  <a:gd name="T37" fmla="*/ 14 h 110"/>
                  <a:gd name="T38" fmla="*/ 15 w 150"/>
                  <a:gd name="T39" fmla="*/ 5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10">
                    <a:moveTo>
                      <a:pt x="73" y="19"/>
                    </a:moveTo>
                    <a:cubicBezTo>
                      <a:pt x="78" y="24"/>
                      <a:pt x="107" y="55"/>
                      <a:pt x="107" y="55"/>
                    </a:cubicBezTo>
                    <a:cubicBezTo>
                      <a:pt x="107" y="55"/>
                      <a:pt x="123" y="64"/>
                      <a:pt x="136" y="72"/>
                    </a:cubicBezTo>
                    <a:cubicBezTo>
                      <a:pt x="149" y="79"/>
                      <a:pt x="150" y="89"/>
                      <a:pt x="150" y="101"/>
                    </a:cubicBezTo>
                    <a:cubicBezTo>
                      <a:pt x="121" y="101"/>
                      <a:pt x="121" y="101"/>
                      <a:pt x="121" y="101"/>
                    </a:cubicBezTo>
                    <a:cubicBezTo>
                      <a:pt x="109" y="108"/>
                      <a:pt x="109" y="108"/>
                      <a:pt x="109" y="108"/>
                    </a:cubicBezTo>
                    <a:cubicBezTo>
                      <a:pt x="103" y="104"/>
                      <a:pt x="96" y="101"/>
                      <a:pt x="88" y="101"/>
                    </a:cubicBezTo>
                    <a:cubicBezTo>
                      <a:pt x="80" y="101"/>
                      <a:pt x="72" y="104"/>
                      <a:pt x="65" y="110"/>
                    </a:cubicBezTo>
                    <a:cubicBezTo>
                      <a:pt x="0" y="110"/>
                      <a:pt x="0" y="110"/>
                      <a:pt x="0" y="110"/>
                    </a:cubicBezTo>
                    <a:cubicBezTo>
                      <a:pt x="0" y="0"/>
                      <a:pt x="0" y="0"/>
                      <a:pt x="0" y="0"/>
                    </a:cubicBezTo>
                    <a:cubicBezTo>
                      <a:pt x="26" y="0"/>
                      <a:pt x="26" y="0"/>
                      <a:pt x="26" y="0"/>
                    </a:cubicBezTo>
                    <a:cubicBezTo>
                      <a:pt x="49" y="0"/>
                      <a:pt x="57" y="2"/>
                      <a:pt x="73" y="19"/>
                    </a:cubicBezTo>
                    <a:close/>
                    <a:moveTo>
                      <a:pt x="15" y="57"/>
                    </a:moveTo>
                    <a:cubicBezTo>
                      <a:pt x="44" y="57"/>
                      <a:pt x="49" y="66"/>
                      <a:pt x="64" y="66"/>
                    </a:cubicBezTo>
                    <a:cubicBezTo>
                      <a:pt x="64" y="66"/>
                      <a:pt x="79" y="66"/>
                      <a:pt x="84" y="66"/>
                    </a:cubicBezTo>
                    <a:cubicBezTo>
                      <a:pt x="91" y="66"/>
                      <a:pt x="92" y="60"/>
                      <a:pt x="89" y="56"/>
                    </a:cubicBezTo>
                    <a:cubicBezTo>
                      <a:pt x="70" y="37"/>
                      <a:pt x="64" y="30"/>
                      <a:pt x="60" y="27"/>
                    </a:cubicBezTo>
                    <a:cubicBezTo>
                      <a:pt x="54" y="21"/>
                      <a:pt x="49" y="14"/>
                      <a:pt x="32" y="14"/>
                    </a:cubicBezTo>
                    <a:cubicBezTo>
                      <a:pt x="22" y="14"/>
                      <a:pt x="15" y="14"/>
                      <a:pt x="15" y="14"/>
                    </a:cubicBezTo>
                    <a:lnTo>
                      <a:pt x="15" y="57"/>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2" name="Freeform 356"/>
              <p:cNvSpPr/>
              <p:nvPr/>
            </p:nvSpPr>
            <p:spPr bwMode="auto">
              <a:xfrm>
                <a:off x="5753404" y="2568288"/>
                <a:ext cx="46595" cy="38829"/>
              </a:xfrm>
              <a:custGeom>
                <a:avLst/>
                <a:gdLst>
                  <a:gd name="T0" fmla="*/ 22 w 22"/>
                  <a:gd name="T1" fmla="*/ 18 h 18"/>
                  <a:gd name="T2" fmla="*/ 1 w 22"/>
                  <a:gd name="T3" fmla="*/ 18 h 18"/>
                  <a:gd name="T4" fmla="*/ 5 w 22"/>
                  <a:gd name="T5" fmla="*/ 0 h 18"/>
                  <a:gd name="T6" fmla="*/ 12 w 22"/>
                  <a:gd name="T7" fmla="*/ 3 h 18"/>
                  <a:gd name="T8" fmla="*/ 22 w 22"/>
                  <a:gd name="T9" fmla="*/ 18 h 18"/>
                </a:gdLst>
                <a:ahLst/>
                <a:cxnLst>
                  <a:cxn ang="0">
                    <a:pos x="T0" y="T1"/>
                  </a:cxn>
                  <a:cxn ang="0">
                    <a:pos x="T2" y="T3"/>
                  </a:cxn>
                  <a:cxn ang="0">
                    <a:pos x="T4" y="T5"/>
                  </a:cxn>
                  <a:cxn ang="0">
                    <a:pos x="T6" y="T7"/>
                  </a:cxn>
                  <a:cxn ang="0">
                    <a:pos x="T8" y="T9"/>
                  </a:cxn>
                </a:cxnLst>
                <a:rect l="0" t="0" r="r" b="b"/>
                <a:pathLst>
                  <a:path w="22" h="18">
                    <a:moveTo>
                      <a:pt x="22" y="18"/>
                    </a:moveTo>
                    <a:cubicBezTo>
                      <a:pt x="1" y="18"/>
                      <a:pt x="1" y="18"/>
                      <a:pt x="1" y="18"/>
                    </a:cubicBezTo>
                    <a:cubicBezTo>
                      <a:pt x="1" y="18"/>
                      <a:pt x="0" y="9"/>
                      <a:pt x="5" y="0"/>
                    </a:cubicBezTo>
                    <a:cubicBezTo>
                      <a:pt x="12" y="3"/>
                      <a:pt x="12" y="3"/>
                      <a:pt x="12" y="3"/>
                    </a:cubicBezTo>
                    <a:cubicBezTo>
                      <a:pt x="20" y="8"/>
                      <a:pt x="21" y="12"/>
                      <a:pt x="22" y="18"/>
                    </a:cubicBezTo>
                    <a:close/>
                  </a:path>
                </a:pathLst>
              </a:custGeom>
              <a:grpFill/>
              <a:ln w="9525">
                <a:solidFill>
                  <a:schemeClr val="bg1"/>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43" name="Freeform 357"/>
              <p:cNvSpPr>
                <a:spLocks noEditPoints="1"/>
              </p:cNvSpPr>
              <p:nvPr/>
            </p:nvSpPr>
            <p:spPr bwMode="auto">
              <a:xfrm>
                <a:off x="4950945" y="2312020"/>
                <a:ext cx="877529" cy="442646"/>
              </a:xfrm>
              <a:custGeom>
                <a:avLst/>
                <a:gdLst>
                  <a:gd name="T0" fmla="*/ 334 w 401"/>
                  <a:gd name="T1" fmla="*/ 202 h 202"/>
                  <a:gd name="T2" fmla="*/ 358 w 401"/>
                  <a:gd name="T3" fmla="*/ 179 h 202"/>
                  <a:gd name="T4" fmla="*/ 334 w 401"/>
                  <a:gd name="T5" fmla="*/ 155 h 202"/>
                  <a:gd name="T6" fmla="*/ 310 w 401"/>
                  <a:gd name="T7" fmla="*/ 179 h 202"/>
                  <a:gd name="T8" fmla="*/ 334 w 401"/>
                  <a:gd name="T9" fmla="*/ 202 h 202"/>
                  <a:gd name="T10" fmla="*/ 334 w 401"/>
                  <a:gd name="T11" fmla="*/ 189 h 202"/>
                  <a:gd name="T12" fmla="*/ 324 w 401"/>
                  <a:gd name="T13" fmla="*/ 179 h 202"/>
                  <a:gd name="T14" fmla="*/ 334 w 401"/>
                  <a:gd name="T15" fmla="*/ 168 h 202"/>
                  <a:gd name="T16" fmla="*/ 344 w 401"/>
                  <a:gd name="T17" fmla="*/ 179 h 202"/>
                  <a:gd name="T18" fmla="*/ 334 w 401"/>
                  <a:gd name="T19" fmla="*/ 189 h 202"/>
                  <a:gd name="T20" fmla="*/ 299 w 401"/>
                  <a:gd name="T21" fmla="*/ 179 h 202"/>
                  <a:gd name="T22" fmla="*/ 299 w 401"/>
                  <a:gd name="T23" fmla="*/ 182 h 202"/>
                  <a:gd name="T24" fmla="*/ 246 w 401"/>
                  <a:gd name="T25" fmla="*/ 182 h 202"/>
                  <a:gd name="T26" fmla="*/ 246 w 401"/>
                  <a:gd name="T27" fmla="*/ 163 h 202"/>
                  <a:gd name="T28" fmla="*/ 303 w 401"/>
                  <a:gd name="T29" fmla="*/ 163 h 202"/>
                  <a:gd name="T30" fmla="*/ 299 w 401"/>
                  <a:gd name="T31" fmla="*/ 179 h 202"/>
                  <a:gd name="T32" fmla="*/ 369 w 401"/>
                  <a:gd name="T33" fmla="*/ 179 h 202"/>
                  <a:gd name="T34" fmla="*/ 363 w 401"/>
                  <a:gd name="T35" fmla="*/ 159 h 202"/>
                  <a:gd name="T36" fmla="*/ 370 w 401"/>
                  <a:gd name="T37" fmla="*/ 154 h 202"/>
                  <a:gd name="T38" fmla="*/ 401 w 401"/>
                  <a:gd name="T39" fmla="*/ 154 h 202"/>
                  <a:gd name="T40" fmla="*/ 401 w 401"/>
                  <a:gd name="T41" fmla="*/ 156 h 202"/>
                  <a:gd name="T42" fmla="*/ 401 w 401"/>
                  <a:gd name="T43" fmla="*/ 166 h 202"/>
                  <a:gd name="T44" fmla="*/ 387 w 401"/>
                  <a:gd name="T45" fmla="*/ 182 h 202"/>
                  <a:gd name="T46" fmla="*/ 369 w 401"/>
                  <a:gd name="T47" fmla="*/ 182 h 202"/>
                  <a:gd name="T48" fmla="*/ 369 w 401"/>
                  <a:gd name="T49" fmla="*/ 179 h 202"/>
                  <a:gd name="T50" fmla="*/ 121 w 401"/>
                  <a:gd name="T51" fmla="*/ 179 h 202"/>
                  <a:gd name="T52" fmla="*/ 118 w 401"/>
                  <a:gd name="T53" fmla="*/ 163 h 202"/>
                  <a:gd name="T54" fmla="*/ 235 w 401"/>
                  <a:gd name="T55" fmla="*/ 163 h 202"/>
                  <a:gd name="T56" fmla="*/ 235 w 401"/>
                  <a:gd name="T57" fmla="*/ 182 h 202"/>
                  <a:gd name="T58" fmla="*/ 121 w 401"/>
                  <a:gd name="T59" fmla="*/ 182 h 202"/>
                  <a:gd name="T60" fmla="*/ 121 w 401"/>
                  <a:gd name="T61" fmla="*/ 179 h 202"/>
                  <a:gd name="T62" fmla="*/ 51 w 401"/>
                  <a:gd name="T63" fmla="*/ 179 h 202"/>
                  <a:gd name="T64" fmla="*/ 51 w 401"/>
                  <a:gd name="T65" fmla="*/ 182 h 202"/>
                  <a:gd name="T66" fmla="*/ 43 w 401"/>
                  <a:gd name="T67" fmla="*/ 182 h 202"/>
                  <a:gd name="T68" fmla="*/ 21 w 401"/>
                  <a:gd name="T69" fmla="*/ 163 h 202"/>
                  <a:gd name="T70" fmla="*/ 55 w 401"/>
                  <a:gd name="T71" fmla="*/ 163 h 202"/>
                  <a:gd name="T72" fmla="*/ 51 w 401"/>
                  <a:gd name="T73" fmla="*/ 179 h 202"/>
                  <a:gd name="T74" fmla="*/ 235 w 401"/>
                  <a:gd name="T75" fmla="*/ 0 h 202"/>
                  <a:gd name="T76" fmla="*/ 235 w 401"/>
                  <a:gd name="T77" fmla="*/ 151 h 202"/>
                  <a:gd name="T78" fmla="*/ 109 w 401"/>
                  <a:gd name="T79" fmla="*/ 151 h 202"/>
                  <a:gd name="T80" fmla="*/ 86 w 401"/>
                  <a:gd name="T81" fmla="*/ 143 h 202"/>
                  <a:gd name="T82" fmla="*/ 64 w 401"/>
                  <a:gd name="T83" fmla="*/ 151 h 202"/>
                  <a:gd name="T84" fmla="*/ 0 w 401"/>
                  <a:gd name="T85" fmla="*/ 151 h 202"/>
                  <a:gd name="T86" fmla="*/ 0 w 401"/>
                  <a:gd name="T87" fmla="*/ 0 h 202"/>
                  <a:gd name="T88" fmla="*/ 235 w 401"/>
                  <a:gd name="T89" fmla="*/ 0 h 202"/>
                  <a:gd name="T90" fmla="*/ 86 w 401"/>
                  <a:gd name="T91" fmla="*/ 202 h 202"/>
                  <a:gd name="T92" fmla="*/ 110 w 401"/>
                  <a:gd name="T93" fmla="*/ 179 h 202"/>
                  <a:gd name="T94" fmla="*/ 86 w 401"/>
                  <a:gd name="T95" fmla="*/ 155 h 202"/>
                  <a:gd name="T96" fmla="*/ 62 w 401"/>
                  <a:gd name="T97" fmla="*/ 179 h 202"/>
                  <a:gd name="T98" fmla="*/ 86 w 401"/>
                  <a:gd name="T99" fmla="*/ 202 h 202"/>
                  <a:gd name="T100" fmla="*/ 86 w 401"/>
                  <a:gd name="T101" fmla="*/ 189 h 202"/>
                  <a:gd name="T102" fmla="*/ 76 w 401"/>
                  <a:gd name="T103" fmla="*/ 179 h 202"/>
                  <a:gd name="T104" fmla="*/ 86 w 401"/>
                  <a:gd name="T105" fmla="*/ 168 h 202"/>
                  <a:gd name="T106" fmla="*/ 96 w 401"/>
                  <a:gd name="T107" fmla="*/ 179 h 202"/>
                  <a:gd name="T108" fmla="*/ 86 w 401"/>
                  <a:gd name="T109" fmla="*/ 18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1" h="202">
                    <a:moveTo>
                      <a:pt x="334" y="202"/>
                    </a:moveTo>
                    <a:cubicBezTo>
                      <a:pt x="347" y="202"/>
                      <a:pt x="358" y="192"/>
                      <a:pt x="358" y="179"/>
                    </a:cubicBezTo>
                    <a:cubicBezTo>
                      <a:pt x="358" y="165"/>
                      <a:pt x="347" y="155"/>
                      <a:pt x="334" y="155"/>
                    </a:cubicBezTo>
                    <a:cubicBezTo>
                      <a:pt x="321" y="155"/>
                      <a:pt x="310" y="165"/>
                      <a:pt x="310" y="179"/>
                    </a:cubicBezTo>
                    <a:cubicBezTo>
                      <a:pt x="310" y="192"/>
                      <a:pt x="321" y="202"/>
                      <a:pt x="334" y="202"/>
                    </a:cubicBezTo>
                    <a:close/>
                    <a:moveTo>
                      <a:pt x="334" y="189"/>
                    </a:moveTo>
                    <a:cubicBezTo>
                      <a:pt x="329" y="189"/>
                      <a:pt x="324" y="184"/>
                      <a:pt x="324" y="179"/>
                    </a:cubicBezTo>
                    <a:cubicBezTo>
                      <a:pt x="324" y="173"/>
                      <a:pt x="329" y="168"/>
                      <a:pt x="334" y="168"/>
                    </a:cubicBezTo>
                    <a:cubicBezTo>
                      <a:pt x="340" y="168"/>
                      <a:pt x="344" y="173"/>
                      <a:pt x="344" y="179"/>
                    </a:cubicBezTo>
                    <a:cubicBezTo>
                      <a:pt x="344" y="184"/>
                      <a:pt x="340" y="189"/>
                      <a:pt x="334" y="189"/>
                    </a:cubicBezTo>
                    <a:close/>
                    <a:moveTo>
                      <a:pt x="299" y="179"/>
                    </a:moveTo>
                    <a:cubicBezTo>
                      <a:pt x="299" y="180"/>
                      <a:pt x="299" y="181"/>
                      <a:pt x="299" y="182"/>
                    </a:cubicBezTo>
                    <a:cubicBezTo>
                      <a:pt x="271" y="182"/>
                      <a:pt x="246" y="182"/>
                      <a:pt x="246" y="182"/>
                    </a:cubicBezTo>
                    <a:cubicBezTo>
                      <a:pt x="246" y="163"/>
                      <a:pt x="246" y="163"/>
                      <a:pt x="246" y="163"/>
                    </a:cubicBezTo>
                    <a:cubicBezTo>
                      <a:pt x="303" y="163"/>
                      <a:pt x="303" y="163"/>
                      <a:pt x="303" y="163"/>
                    </a:cubicBezTo>
                    <a:cubicBezTo>
                      <a:pt x="300" y="168"/>
                      <a:pt x="299" y="173"/>
                      <a:pt x="299" y="179"/>
                    </a:cubicBezTo>
                    <a:close/>
                    <a:moveTo>
                      <a:pt x="369" y="179"/>
                    </a:moveTo>
                    <a:cubicBezTo>
                      <a:pt x="369" y="171"/>
                      <a:pt x="367" y="164"/>
                      <a:pt x="363" y="159"/>
                    </a:cubicBezTo>
                    <a:cubicBezTo>
                      <a:pt x="370" y="154"/>
                      <a:pt x="370" y="154"/>
                      <a:pt x="370" y="154"/>
                    </a:cubicBezTo>
                    <a:cubicBezTo>
                      <a:pt x="401" y="154"/>
                      <a:pt x="401" y="154"/>
                      <a:pt x="401" y="154"/>
                    </a:cubicBezTo>
                    <a:cubicBezTo>
                      <a:pt x="401" y="155"/>
                      <a:pt x="401" y="156"/>
                      <a:pt x="401" y="156"/>
                    </a:cubicBezTo>
                    <a:cubicBezTo>
                      <a:pt x="401" y="156"/>
                      <a:pt x="401" y="157"/>
                      <a:pt x="401" y="166"/>
                    </a:cubicBezTo>
                    <a:cubicBezTo>
                      <a:pt x="401" y="177"/>
                      <a:pt x="395" y="182"/>
                      <a:pt x="387" y="182"/>
                    </a:cubicBezTo>
                    <a:cubicBezTo>
                      <a:pt x="386" y="182"/>
                      <a:pt x="379" y="182"/>
                      <a:pt x="369" y="182"/>
                    </a:cubicBezTo>
                    <a:cubicBezTo>
                      <a:pt x="369" y="181"/>
                      <a:pt x="369" y="180"/>
                      <a:pt x="369" y="179"/>
                    </a:cubicBezTo>
                    <a:close/>
                    <a:moveTo>
                      <a:pt x="121" y="179"/>
                    </a:moveTo>
                    <a:cubicBezTo>
                      <a:pt x="121" y="173"/>
                      <a:pt x="120" y="168"/>
                      <a:pt x="118" y="163"/>
                    </a:cubicBezTo>
                    <a:cubicBezTo>
                      <a:pt x="235" y="163"/>
                      <a:pt x="235" y="163"/>
                      <a:pt x="235" y="163"/>
                    </a:cubicBezTo>
                    <a:cubicBezTo>
                      <a:pt x="235" y="182"/>
                      <a:pt x="235" y="182"/>
                      <a:pt x="235" y="182"/>
                    </a:cubicBezTo>
                    <a:cubicBezTo>
                      <a:pt x="235" y="182"/>
                      <a:pt x="174" y="182"/>
                      <a:pt x="121" y="182"/>
                    </a:cubicBezTo>
                    <a:cubicBezTo>
                      <a:pt x="121" y="181"/>
                      <a:pt x="121" y="180"/>
                      <a:pt x="121" y="179"/>
                    </a:cubicBezTo>
                    <a:close/>
                    <a:moveTo>
                      <a:pt x="51" y="179"/>
                    </a:moveTo>
                    <a:cubicBezTo>
                      <a:pt x="51" y="180"/>
                      <a:pt x="51" y="181"/>
                      <a:pt x="51" y="182"/>
                    </a:cubicBezTo>
                    <a:cubicBezTo>
                      <a:pt x="46" y="182"/>
                      <a:pt x="44" y="182"/>
                      <a:pt x="43" y="182"/>
                    </a:cubicBezTo>
                    <a:cubicBezTo>
                      <a:pt x="33" y="182"/>
                      <a:pt x="23" y="176"/>
                      <a:pt x="21" y="163"/>
                    </a:cubicBezTo>
                    <a:cubicBezTo>
                      <a:pt x="55" y="163"/>
                      <a:pt x="55" y="163"/>
                      <a:pt x="55" y="163"/>
                    </a:cubicBezTo>
                    <a:cubicBezTo>
                      <a:pt x="52" y="168"/>
                      <a:pt x="51" y="173"/>
                      <a:pt x="51" y="179"/>
                    </a:cubicBezTo>
                    <a:close/>
                    <a:moveTo>
                      <a:pt x="235" y="0"/>
                    </a:moveTo>
                    <a:cubicBezTo>
                      <a:pt x="235" y="151"/>
                      <a:pt x="235" y="151"/>
                      <a:pt x="235" y="151"/>
                    </a:cubicBezTo>
                    <a:cubicBezTo>
                      <a:pt x="109" y="151"/>
                      <a:pt x="109" y="151"/>
                      <a:pt x="109" y="151"/>
                    </a:cubicBezTo>
                    <a:cubicBezTo>
                      <a:pt x="102" y="146"/>
                      <a:pt x="95" y="143"/>
                      <a:pt x="86" y="143"/>
                    </a:cubicBezTo>
                    <a:cubicBezTo>
                      <a:pt x="78" y="143"/>
                      <a:pt x="70" y="146"/>
                      <a:pt x="64" y="151"/>
                    </a:cubicBezTo>
                    <a:cubicBezTo>
                      <a:pt x="0" y="151"/>
                      <a:pt x="0" y="151"/>
                      <a:pt x="0" y="151"/>
                    </a:cubicBezTo>
                    <a:cubicBezTo>
                      <a:pt x="0" y="0"/>
                      <a:pt x="0" y="0"/>
                      <a:pt x="0" y="0"/>
                    </a:cubicBezTo>
                    <a:lnTo>
                      <a:pt x="235" y="0"/>
                    </a:lnTo>
                    <a:close/>
                    <a:moveTo>
                      <a:pt x="86" y="202"/>
                    </a:moveTo>
                    <a:cubicBezTo>
                      <a:pt x="99" y="202"/>
                      <a:pt x="110" y="192"/>
                      <a:pt x="110" y="179"/>
                    </a:cubicBezTo>
                    <a:cubicBezTo>
                      <a:pt x="110" y="165"/>
                      <a:pt x="99" y="155"/>
                      <a:pt x="86" y="155"/>
                    </a:cubicBezTo>
                    <a:cubicBezTo>
                      <a:pt x="73" y="155"/>
                      <a:pt x="62" y="165"/>
                      <a:pt x="62" y="179"/>
                    </a:cubicBezTo>
                    <a:cubicBezTo>
                      <a:pt x="62" y="192"/>
                      <a:pt x="73" y="202"/>
                      <a:pt x="86" y="202"/>
                    </a:cubicBezTo>
                    <a:close/>
                    <a:moveTo>
                      <a:pt x="86" y="189"/>
                    </a:moveTo>
                    <a:cubicBezTo>
                      <a:pt x="81" y="189"/>
                      <a:pt x="76" y="184"/>
                      <a:pt x="76" y="179"/>
                    </a:cubicBezTo>
                    <a:cubicBezTo>
                      <a:pt x="76" y="173"/>
                      <a:pt x="80" y="168"/>
                      <a:pt x="86" y="168"/>
                    </a:cubicBezTo>
                    <a:cubicBezTo>
                      <a:pt x="92" y="168"/>
                      <a:pt x="96" y="173"/>
                      <a:pt x="96" y="179"/>
                    </a:cubicBezTo>
                    <a:cubicBezTo>
                      <a:pt x="96" y="184"/>
                      <a:pt x="92" y="189"/>
                      <a:pt x="86" y="189"/>
                    </a:cubicBezTo>
                    <a:close/>
                  </a:path>
                </a:pathLst>
              </a:custGeom>
              <a:grpFill/>
              <a:ln w="9525">
                <a:solidFill>
                  <a:schemeClr val="bg1"/>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138" name="矩形 137"/>
            <p:cNvSpPr/>
            <p:nvPr/>
          </p:nvSpPr>
          <p:spPr>
            <a:xfrm>
              <a:off x="3605886" y="3026557"/>
              <a:ext cx="796574" cy="28161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39" name="矩形 138"/>
            <p:cNvSpPr/>
            <p:nvPr/>
          </p:nvSpPr>
          <p:spPr>
            <a:xfrm>
              <a:off x="5867798" y="3026557"/>
              <a:ext cx="796574" cy="28161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20" name="组合 19"/>
            <p:cNvGrpSpPr/>
            <p:nvPr/>
          </p:nvGrpSpPr>
          <p:grpSpPr>
            <a:xfrm>
              <a:off x="1359294" y="3284437"/>
              <a:ext cx="692426" cy="517822"/>
              <a:chOff x="2466747" y="4022095"/>
              <a:chExt cx="975603" cy="729592"/>
            </a:xfrm>
          </p:grpSpPr>
          <p:sp>
            <p:nvSpPr>
              <p:cNvPr id="113" name="椭圆 112"/>
              <p:cNvSpPr/>
              <p:nvPr/>
            </p:nvSpPr>
            <p:spPr>
              <a:xfrm>
                <a:off x="2466747" y="4289030"/>
                <a:ext cx="975603" cy="462657"/>
              </a:xfrm>
              <a:prstGeom prst="ellipse">
                <a:avLst/>
              </a:prstGeom>
              <a:gradFill flip="none" rotWithShape="1">
                <a:gsLst>
                  <a:gs pos="0">
                    <a:schemeClr val="accent5">
                      <a:lumMod val="0"/>
                      <a:lumOff val="100000"/>
                    </a:schemeClr>
                  </a:gs>
                  <a:gs pos="18000">
                    <a:schemeClr val="accent5">
                      <a:lumMod val="0"/>
                      <a:lumOff val="100000"/>
                    </a:schemeClr>
                  </a:gs>
                  <a:gs pos="100000">
                    <a:schemeClr val="accent1"/>
                  </a:gs>
                </a:gsLst>
                <a:path path="circle">
                  <a:fillToRect l="50000" t="-80000" r="50000" b="180000"/>
                </a:path>
                <a:tileRect/>
              </a:gradFill>
              <a:ln w="19050" cap="rnd"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177" name="组合 176"/>
              <p:cNvGrpSpPr/>
              <p:nvPr/>
            </p:nvGrpSpPr>
            <p:grpSpPr>
              <a:xfrm>
                <a:off x="2767947" y="4022095"/>
                <a:ext cx="414745" cy="556155"/>
                <a:chOff x="10433466" y="1088191"/>
                <a:chExt cx="459835" cy="616619"/>
              </a:xfrm>
              <a:solidFill>
                <a:schemeClr val="tx2">
                  <a:lumMod val="75000"/>
                </a:schemeClr>
              </a:solidFill>
            </p:grpSpPr>
            <p:sp>
              <p:nvSpPr>
                <p:cNvPr id="178" name="Freeform 18"/>
                <p:cNvSpPr>
                  <a:spLocks noEditPoints="1"/>
                </p:cNvSpPr>
                <p:nvPr/>
              </p:nvSpPr>
              <p:spPr bwMode="auto">
                <a:xfrm>
                  <a:off x="10695442" y="1388736"/>
                  <a:ext cx="197859" cy="316074"/>
                </a:xfrm>
                <a:custGeom>
                  <a:avLst/>
                  <a:gdLst>
                    <a:gd name="T0" fmla="*/ 27 w 395"/>
                    <a:gd name="T1" fmla="*/ 2 h 631"/>
                    <a:gd name="T2" fmla="*/ 0 w 395"/>
                    <a:gd name="T3" fmla="*/ 33 h 631"/>
                    <a:gd name="T4" fmla="*/ 2 w 395"/>
                    <a:gd name="T5" fmla="*/ 604 h 631"/>
                    <a:gd name="T6" fmla="*/ 35 w 395"/>
                    <a:gd name="T7" fmla="*/ 631 h 631"/>
                    <a:gd name="T8" fmla="*/ 236 w 395"/>
                    <a:gd name="T9" fmla="*/ 508 h 631"/>
                    <a:gd name="T10" fmla="*/ 311 w 395"/>
                    <a:gd name="T11" fmla="*/ 498 h 631"/>
                    <a:gd name="T12" fmla="*/ 330 w 395"/>
                    <a:gd name="T13" fmla="*/ 631 h 631"/>
                    <a:gd name="T14" fmla="*/ 376 w 395"/>
                    <a:gd name="T15" fmla="*/ 625 h 631"/>
                    <a:gd name="T16" fmla="*/ 395 w 395"/>
                    <a:gd name="T17" fmla="*/ 587 h 631"/>
                    <a:gd name="T18" fmla="*/ 389 w 395"/>
                    <a:gd name="T19" fmla="*/ 19 h 631"/>
                    <a:gd name="T20" fmla="*/ 351 w 395"/>
                    <a:gd name="T21" fmla="*/ 0 h 631"/>
                    <a:gd name="T22" fmla="*/ 161 w 395"/>
                    <a:gd name="T23" fmla="*/ 546 h 631"/>
                    <a:gd name="T24" fmla="*/ 83 w 395"/>
                    <a:gd name="T25" fmla="*/ 550 h 631"/>
                    <a:gd name="T26" fmla="*/ 73 w 395"/>
                    <a:gd name="T27" fmla="*/ 510 h 631"/>
                    <a:gd name="T28" fmla="*/ 148 w 395"/>
                    <a:gd name="T29" fmla="*/ 493 h 631"/>
                    <a:gd name="T30" fmla="*/ 167 w 395"/>
                    <a:gd name="T31" fmla="*/ 510 h 631"/>
                    <a:gd name="T32" fmla="*/ 161 w 395"/>
                    <a:gd name="T33" fmla="*/ 441 h 631"/>
                    <a:gd name="T34" fmla="*/ 83 w 395"/>
                    <a:gd name="T35" fmla="*/ 445 h 631"/>
                    <a:gd name="T36" fmla="*/ 73 w 395"/>
                    <a:gd name="T37" fmla="*/ 406 h 631"/>
                    <a:gd name="T38" fmla="*/ 148 w 395"/>
                    <a:gd name="T39" fmla="*/ 389 h 631"/>
                    <a:gd name="T40" fmla="*/ 167 w 395"/>
                    <a:gd name="T41" fmla="*/ 406 h 631"/>
                    <a:gd name="T42" fmla="*/ 161 w 395"/>
                    <a:gd name="T43" fmla="*/ 337 h 631"/>
                    <a:gd name="T44" fmla="*/ 83 w 395"/>
                    <a:gd name="T45" fmla="*/ 341 h 631"/>
                    <a:gd name="T46" fmla="*/ 73 w 395"/>
                    <a:gd name="T47" fmla="*/ 301 h 631"/>
                    <a:gd name="T48" fmla="*/ 148 w 395"/>
                    <a:gd name="T49" fmla="*/ 282 h 631"/>
                    <a:gd name="T50" fmla="*/ 167 w 395"/>
                    <a:gd name="T51" fmla="*/ 301 h 631"/>
                    <a:gd name="T52" fmla="*/ 161 w 395"/>
                    <a:gd name="T53" fmla="*/ 232 h 631"/>
                    <a:gd name="T54" fmla="*/ 83 w 395"/>
                    <a:gd name="T55" fmla="*/ 236 h 631"/>
                    <a:gd name="T56" fmla="*/ 73 w 395"/>
                    <a:gd name="T57" fmla="*/ 197 h 631"/>
                    <a:gd name="T58" fmla="*/ 148 w 395"/>
                    <a:gd name="T59" fmla="*/ 178 h 631"/>
                    <a:gd name="T60" fmla="*/ 167 w 395"/>
                    <a:gd name="T61" fmla="*/ 197 h 631"/>
                    <a:gd name="T62" fmla="*/ 161 w 395"/>
                    <a:gd name="T63" fmla="*/ 128 h 631"/>
                    <a:gd name="T64" fmla="*/ 83 w 395"/>
                    <a:gd name="T65" fmla="*/ 132 h 631"/>
                    <a:gd name="T66" fmla="*/ 73 w 395"/>
                    <a:gd name="T67" fmla="*/ 92 h 631"/>
                    <a:gd name="T68" fmla="*/ 148 w 395"/>
                    <a:gd name="T69" fmla="*/ 73 h 631"/>
                    <a:gd name="T70" fmla="*/ 167 w 395"/>
                    <a:gd name="T71" fmla="*/ 92 h 631"/>
                    <a:gd name="T72" fmla="*/ 318 w 395"/>
                    <a:gd name="T73" fmla="*/ 441 h 631"/>
                    <a:gd name="T74" fmla="*/ 238 w 395"/>
                    <a:gd name="T75" fmla="*/ 445 h 631"/>
                    <a:gd name="T76" fmla="*/ 228 w 395"/>
                    <a:gd name="T77" fmla="*/ 406 h 631"/>
                    <a:gd name="T78" fmla="*/ 305 w 395"/>
                    <a:gd name="T79" fmla="*/ 389 h 631"/>
                    <a:gd name="T80" fmla="*/ 322 w 395"/>
                    <a:gd name="T81" fmla="*/ 406 h 631"/>
                    <a:gd name="T82" fmla="*/ 318 w 395"/>
                    <a:gd name="T83" fmla="*/ 337 h 631"/>
                    <a:gd name="T84" fmla="*/ 238 w 395"/>
                    <a:gd name="T85" fmla="*/ 341 h 631"/>
                    <a:gd name="T86" fmla="*/ 228 w 395"/>
                    <a:gd name="T87" fmla="*/ 301 h 631"/>
                    <a:gd name="T88" fmla="*/ 305 w 395"/>
                    <a:gd name="T89" fmla="*/ 282 h 631"/>
                    <a:gd name="T90" fmla="*/ 322 w 395"/>
                    <a:gd name="T91" fmla="*/ 301 h 631"/>
                    <a:gd name="T92" fmla="*/ 318 w 395"/>
                    <a:gd name="T93" fmla="*/ 232 h 631"/>
                    <a:gd name="T94" fmla="*/ 238 w 395"/>
                    <a:gd name="T95" fmla="*/ 236 h 631"/>
                    <a:gd name="T96" fmla="*/ 228 w 395"/>
                    <a:gd name="T97" fmla="*/ 197 h 631"/>
                    <a:gd name="T98" fmla="*/ 305 w 395"/>
                    <a:gd name="T99" fmla="*/ 178 h 631"/>
                    <a:gd name="T100" fmla="*/ 322 w 395"/>
                    <a:gd name="T101" fmla="*/ 197 h 631"/>
                    <a:gd name="T102" fmla="*/ 318 w 395"/>
                    <a:gd name="T103" fmla="*/ 128 h 631"/>
                    <a:gd name="T104" fmla="*/ 238 w 395"/>
                    <a:gd name="T105" fmla="*/ 132 h 631"/>
                    <a:gd name="T106" fmla="*/ 228 w 395"/>
                    <a:gd name="T107" fmla="*/ 92 h 631"/>
                    <a:gd name="T108" fmla="*/ 305 w 395"/>
                    <a:gd name="T109" fmla="*/ 73 h 631"/>
                    <a:gd name="T110" fmla="*/ 322 w 395"/>
                    <a:gd name="T111" fmla="*/ 92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5" h="631">
                      <a:moveTo>
                        <a:pt x="351" y="0"/>
                      </a:moveTo>
                      <a:lnTo>
                        <a:pt x="44" y="0"/>
                      </a:lnTo>
                      <a:lnTo>
                        <a:pt x="44" y="0"/>
                      </a:lnTo>
                      <a:lnTo>
                        <a:pt x="35" y="0"/>
                      </a:lnTo>
                      <a:lnTo>
                        <a:pt x="27" y="2"/>
                      </a:lnTo>
                      <a:lnTo>
                        <a:pt x="19" y="6"/>
                      </a:lnTo>
                      <a:lnTo>
                        <a:pt x="12" y="13"/>
                      </a:lnTo>
                      <a:lnTo>
                        <a:pt x="6" y="19"/>
                      </a:lnTo>
                      <a:lnTo>
                        <a:pt x="2" y="25"/>
                      </a:lnTo>
                      <a:lnTo>
                        <a:pt x="0" y="33"/>
                      </a:lnTo>
                      <a:lnTo>
                        <a:pt x="0" y="44"/>
                      </a:lnTo>
                      <a:lnTo>
                        <a:pt x="0" y="587"/>
                      </a:lnTo>
                      <a:lnTo>
                        <a:pt x="0" y="587"/>
                      </a:lnTo>
                      <a:lnTo>
                        <a:pt x="0" y="596"/>
                      </a:lnTo>
                      <a:lnTo>
                        <a:pt x="2" y="604"/>
                      </a:lnTo>
                      <a:lnTo>
                        <a:pt x="6" y="613"/>
                      </a:lnTo>
                      <a:lnTo>
                        <a:pt x="12" y="619"/>
                      </a:lnTo>
                      <a:lnTo>
                        <a:pt x="19" y="625"/>
                      </a:lnTo>
                      <a:lnTo>
                        <a:pt x="27" y="629"/>
                      </a:lnTo>
                      <a:lnTo>
                        <a:pt x="35" y="631"/>
                      </a:lnTo>
                      <a:lnTo>
                        <a:pt x="44" y="631"/>
                      </a:lnTo>
                      <a:lnTo>
                        <a:pt x="236" y="631"/>
                      </a:lnTo>
                      <a:lnTo>
                        <a:pt x="236" y="514"/>
                      </a:lnTo>
                      <a:lnTo>
                        <a:pt x="236" y="514"/>
                      </a:lnTo>
                      <a:lnTo>
                        <a:pt x="236" y="508"/>
                      </a:lnTo>
                      <a:lnTo>
                        <a:pt x="240" y="502"/>
                      </a:lnTo>
                      <a:lnTo>
                        <a:pt x="247" y="498"/>
                      </a:lnTo>
                      <a:lnTo>
                        <a:pt x="255" y="498"/>
                      </a:lnTo>
                      <a:lnTo>
                        <a:pt x="311" y="498"/>
                      </a:lnTo>
                      <a:lnTo>
                        <a:pt x="311" y="498"/>
                      </a:lnTo>
                      <a:lnTo>
                        <a:pt x="318" y="498"/>
                      </a:lnTo>
                      <a:lnTo>
                        <a:pt x="324" y="502"/>
                      </a:lnTo>
                      <a:lnTo>
                        <a:pt x="328" y="508"/>
                      </a:lnTo>
                      <a:lnTo>
                        <a:pt x="330" y="514"/>
                      </a:lnTo>
                      <a:lnTo>
                        <a:pt x="330" y="631"/>
                      </a:lnTo>
                      <a:lnTo>
                        <a:pt x="351" y="631"/>
                      </a:lnTo>
                      <a:lnTo>
                        <a:pt x="351" y="631"/>
                      </a:lnTo>
                      <a:lnTo>
                        <a:pt x="359" y="631"/>
                      </a:lnTo>
                      <a:lnTo>
                        <a:pt x="368" y="629"/>
                      </a:lnTo>
                      <a:lnTo>
                        <a:pt x="376" y="625"/>
                      </a:lnTo>
                      <a:lnTo>
                        <a:pt x="382" y="619"/>
                      </a:lnTo>
                      <a:lnTo>
                        <a:pt x="389" y="613"/>
                      </a:lnTo>
                      <a:lnTo>
                        <a:pt x="393" y="604"/>
                      </a:lnTo>
                      <a:lnTo>
                        <a:pt x="395" y="596"/>
                      </a:lnTo>
                      <a:lnTo>
                        <a:pt x="395" y="587"/>
                      </a:lnTo>
                      <a:lnTo>
                        <a:pt x="395" y="44"/>
                      </a:lnTo>
                      <a:lnTo>
                        <a:pt x="395" y="44"/>
                      </a:lnTo>
                      <a:lnTo>
                        <a:pt x="395" y="33"/>
                      </a:lnTo>
                      <a:lnTo>
                        <a:pt x="393" y="25"/>
                      </a:lnTo>
                      <a:lnTo>
                        <a:pt x="389" y="19"/>
                      </a:lnTo>
                      <a:lnTo>
                        <a:pt x="382" y="13"/>
                      </a:lnTo>
                      <a:lnTo>
                        <a:pt x="376" y="6"/>
                      </a:lnTo>
                      <a:lnTo>
                        <a:pt x="368" y="2"/>
                      </a:lnTo>
                      <a:lnTo>
                        <a:pt x="359" y="0"/>
                      </a:lnTo>
                      <a:lnTo>
                        <a:pt x="351" y="0"/>
                      </a:lnTo>
                      <a:lnTo>
                        <a:pt x="351" y="0"/>
                      </a:lnTo>
                      <a:close/>
                      <a:moveTo>
                        <a:pt x="167" y="533"/>
                      </a:moveTo>
                      <a:lnTo>
                        <a:pt x="167" y="533"/>
                      </a:lnTo>
                      <a:lnTo>
                        <a:pt x="165" y="539"/>
                      </a:lnTo>
                      <a:lnTo>
                        <a:pt x="161" y="546"/>
                      </a:lnTo>
                      <a:lnTo>
                        <a:pt x="157" y="550"/>
                      </a:lnTo>
                      <a:lnTo>
                        <a:pt x="148" y="552"/>
                      </a:lnTo>
                      <a:lnTo>
                        <a:pt x="90" y="552"/>
                      </a:lnTo>
                      <a:lnTo>
                        <a:pt x="90" y="552"/>
                      </a:lnTo>
                      <a:lnTo>
                        <a:pt x="83" y="550"/>
                      </a:lnTo>
                      <a:lnTo>
                        <a:pt x="77" y="546"/>
                      </a:lnTo>
                      <a:lnTo>
                        <a:pt x="73" y="539"/>
                      </a:lnTo>
                      <a:lnTo>
                        <a:pt x="73" y="533"/>
                      </a:lnTo>
                      <a:lnTo>
                        <a:pt x="73" y="510"/>
                      </a:lnTo>
                      <a:lnTo>
                        <a:pt x="73" y="510"/>
                      </a:lnTo>
                      <a:lnTo>
                        <a:pt x="73" y="504"/>
                      </a:lnTo>
                      <a:lnTo>
                        <a:pt x="77" y="498"/>
                      </a:lnTo>
                      <a:lnTo>
                        <a:pt x="83" y="493"/>
                      </a:lnTo>
                      <a:lnTo>
                        <a:pt x="90" y="493"/>
                      </a:lnTo>
                      <a:lnTo>
                        <a:pt x="148" y="493"/>
                      </a:lnTo>
                      <a:lnTo>
                        <a:pt x="148" y="493"/>
                      </a:lnTo>
                      <a:lnTo>
                        <a:pt x="157" y="493"/>
                      </a:lnTo>
                      <a:lnTo>
                        <a:pt x="161" y="498"/>
                      </a:lnTo>
                      <a:lnTo>
                        <a:pt x="165" y="504"/>
                      </a:lnTo>
                      <a:lnTo>
                        <a:pt x="167" y="510"/>
                      </a:lnTo>
                      <a:lnTo>
                        <a:pt x="167" y="533"/>
                      </a:lnTo>
                      <a:close/>
                      <a:moveTo>
                        <a:pt x="167" y="429"/>
                      </a:moveTo>
                      <a:lnTo>
                        <a:pt x="167" y="429"/>
                      </a:lnTo>
                      <a:lnTo>
                        <a:pt x="165" y="435"/>
                      </a:lnTo>
                      <a:lnTo>
                        <a:pt x="161" y="441"/>
                      </a:lnTo>
                      <a:lnTo>
                        <a:pt x="157" y="445"/>
                      </a:lnTo>
                      <a:lnTo>
                        <a:pt x="148" y="447"/>
                      </a:lnTo>
                      <a:lnTo>
                        <a:pt x="90" y="447"/>
                      </a:lnTo>
                      <a:lnTo>
                        <a:pt x="90" y="447"/>
                      </a:lnTo>
                      <a:lnTo>
                        <a:pt x="83" y="445"/>
                      </a:lnTo>
                      <a:lnTo>
                        <a:pt x="77" y="441"/>
                      </a:lnTo>
                      <a:lnTo>
                        <a:pt x="73" y="435"/>
                      </a:lnTo>
                      <a:lnTo>
                        <a:pt x="73" y="429"/>
                      </a:lnTo>
                      <a:lnTo>
                        <a:pt x="73" y="406"/>
                      </a:lnTo>
                      <a:lnTo>
                        <a:pt x="73" y="406"/>
                      </a:lnTo>
                      <a:lnTo>
                        <a:pt x="73" y="399"/>
                      </a:lnTo>
                      <a:lnTo>
                        <a:pt x="77" y="393"/>
                      </a:lnTo>
                      <a:lnTo>
                        <a:pt x="83" y="389"/>
                      </a:lnTo>
                      <a:lnTo>
                        <a:pt x="90" y="389"/>
                      </a:lnTo>
                      <a:lnTo>
                        <a:pt x="148" y="389"/>
                      </a:lnTo>
                      <a:lnTo>
                        <a:pt x="148" y="389"/>
                      </a:lnTo>
                      <a:lnTo>
                        <a:pt x="157" y="389"/>
                      </a:lnTo>
                      <a:lnTo>
                        <a:pt x="161" y="393"/>
                      </a:lnTo>
                      <a:lnTo>
                        <a:pt x="165" y="399"/>
                      </a:lnTo>
                      <a:lnTo>
                        <a:pt x="167" y="406"/>
                      </a:lnTo>
                      <a:lnTo>
                        <a:pt x="167" y="429"/>
                      </a:lnTo>
                      <a:close/>
                      <a:moveTo>
                        <a:pt x="167" y="324"/>
                      </a:moveTo>
                      <a:lnTo>
                        <a:pt x="167" y="324"/>
                      </a:lnTo>
                      <a:lnTo>
                        <a:pt x="165" y="330"/>
                      </a:lnTo>
                      <a:lnTo>
                        <a:pt x="161" y="337"/>
                      </a:lnTo>
                      <a:lnTo>
                        <a:pt x="157" y="341"/>
                      </a:lnTo>
                      <a:lnTo>
                        <a:pt x="148" y="341"/>
                      </a:lnTo>
                      <a:lnTo>
                        <a:pt x="90" y="341"/>
                      </a:lnTo>
                      <a:lnTo>
                        <a:pt x="90" y="341"/>
                      </a:lnTo>
                      <a:lnTo>
                        <a:pt x="83" y="341"/>
                      </a:lnTo>
                      <a:lnTo>
                        <a:pt x="77" y="337"/>
                      </a:lnTo>
                      <a:lnTo>
                        <a:pt x="73" y="330"/>
                      </a:lnTo>
                      <a:lnTo>
                        <a:pt x="73" y="324"/>
                      </a:lnTo>
                      <a:lnTo>
                        <a:pt x="73" y="301"/>
                      </a:lnTo>
                      <a:lnTo>
                        <a:pt x="73" y="301"/>
                      </a:lnTo>
                      <a:lnTo>
                        <a:pt x="73" y="295"/>
                      </a:lnTo>
                      <a:lnTo>
                        <a:pt x="77" y="289"/>
                      </a:lnTo>
                      <a:lnTo>
                        <a:pt x="83" y="284"/>
                      </a:lnTo>
                      <a:lnTo>
                        <a:pt x="90" y="282"/>
                      </a:lnTo>
                      <a:lnTo>
                        <a:pt x="148" y="282"/>
                      </a:lnTo>
                      <a:lnTo>
                        <a:pt x="148" y="282"/>
                      </a:lnTo>
                      <a:lnTo>
                        <a:pt x="157" y="284"/>
                      </a:lnTo>
                      <a:lnTo>
                        <a:pt x="161" y="289"/>
                      </a:lnTo>
                      <a:lnTo>
                        <a:pt x="165" y="295"/>
                      </a:lnTo>
                      <a:lnTo>
                        <a:pt x="167" y="301"/>
                      </a:lnTo>
                      <a:lnTo>
                        <a:pt x="167" y="324"/>
                      </a:lnTo>
                      <a:close/>
                      <a:moveTo>
                        <a:pt x="167" y="220"/>
                      </a:moveTo>
                      <a:lnTo>
                        <a:pt x="167" y="220"/>
                      </a:lnTo>
                      <a:lnTo>
                        <a:pt x="165" y="226"/>
                      </a:lnTo>
                      <a:lnTo>
                        <a:pt x="161" y="232"/>
                      </a:lnTo>
                      <a:lnTo>
                        <a:pt x="157" y="236"/>
                      </a:lnTo>
                      <a:lnTo>
                        <a:pt x="148" y="236"/>
                      </a:lnTo>
                      <a:lnTo>
                        <a:pt x="90" y="236"/>
                      </a:lnTo>
                      <a:lnTo>
                        <a:pt x="90" y="236"/>
                      </a:lnTo>
                      <a:lnTo>
                        <a:pt x="83" y="236"/>
                      </a:lnTo>
                      <a:lnTo>
                        <a:pt x="77" y="232"/>
                      </a:lnTo>
                      <a:lnTo>
                        <a:pt x="73" y="226"/>
                      </a:lnTo>
                      <a:lnTo>
                        <a:pt x="73" y="220"/>
                      </a:lnTo>
                      <a:lnTo>
                        <a:pt x="73" y="197"/>
                      </a:lnTo>
                      <a:lnTo>
                        <a:pt x="73" y="197"/>
                      </a:lnTo>
                      <a:lnTo>
                        <a:pt x="73" y="190"/>
                      </a:lnTo>
                      <a:lnTo>
                        <a:pt x="77" y="184"/>
                      </a:lnTo>
                      <a:lnTo>
                        <a:pt x="83" y="180"/>
                      </a:lnTo>
                      <a:lnTo>
                        <a:pt x="90" y="178"/>
                      </a:lnTo>
                      <a:lnTo>
                        <a:pt x="148" y="178"/>
                      </a:lnTo>
                      <a:lnTo>
                        <a:pt x="148" y="178"/>
                      </a:lnTo>
                      <a:lnTo>
                        <a:pt x="157" y="180"/>
                      </a:lnTo>
                      <a:lnTo>
                        <a:pt x="161" y="184"/>
                      </a:lnTo>
                      <a:lnTo>
                        <a:pt x="165" y="190"/>
                      </a:lnTo>
                      <a:lnTo>
                        <a:pt x="167" y="197"/>
                      </a:lnTo>
                      <a:lnTo>
                        <a:pt x="167" y="220"/>
                      </a:lnTo>
                      <a:close/>
                      <a:moveTo>
                        <a:pt x="167" y="115"/>
                      </a:moveTo>
                      <a:lnTo>
                        <a:pt x="167" y="115"/>
                      </a:lnTo>
                      <a:lnTo>
                        <a:pt x="165" y="121"/>
                      </a:lnTo>
                      <a:lnTo>
                        <a:pt x="161" y="128"/>
                      </a:lnTo>
                      <a:lnTo>
                        <a:pt x="157" y="132"/>
                      </a:lnTo>
                      <a:lnTo>
                        <a:pt x="148" y="132"/>
                      </a:lnTo>
                      <a:lnTo>
                        <a:pt x="90" y="132"/>
                      </a:lnTo>
                      <a:lnTo>
                        <a:pt x="90" y="132"/>
                      </a:lnTo>
                      <a:lnTo>
                        <a:pt x="83" y="132"/>
                      </a:lnTo>
                      <a:lnTo>
                        <a:pt x="77" y="128"/>
                      </a:lnTo>
                      <a:lnTo>
                        <a:pt x="73" y="121"/>
                      </a:lnTo>
                      <a:lnTo>
                        <a:pt x="73" y="115"/>
                      </a:lnTo>
                      <a:lnTo>
                        <a:pt x="73" y="92"/>
                      </a:lnTo>
                      <a:lnTo>
                        <a:pt x="73" y="92"/>
                      </a:lnTo>
                      <a:lnTo>
                        <a:pt x="73" y="86"/>
                      </a:lnTo>
                      <a:lnTo>
                        <a:pt x="77" y="79"/>
                      </a:lnTo>
                      <a:lnTo>
                        <a:pt x="83" y="75"/>
                      </a:lnTo>
                      <a:lnTo>
                        <a:pt x="90" y="73"/>
                      </a:lnTo>
                      <a:lnTo>
                        <a:pt x="148" y="73"/>
                      </a:lnTo>
                      <a:lnTo>
                        <a:pt x="148" y="73"/>
                      </a:lnTo>
                      <a:lnTo>
                        <a:pt x="157" y="75"/>
                      </a:lnTo>
                      <a:lnTo>
                        <a:pt x="161" y="79"/>
                      </a:lnTo>
                      <a:lnTo>
                        <a:pt x="165" y="86"/>
                      </a:lnTo>
                      <a:lnTo>
                        <a:pt x="167" y="92"/>
                      </a:lnTo>
                      <a:lnTo>
                        <a:pt x="167" y="115"/>
                      </a:lnTo>
                      <a:close/>
                      <a:moveTo>
                        <a:pt x="322" y="429"/>
                      </a:moveTo>
                      <a:lnTo>
                        <a:pt x="322" y="429"/>
                      </a:lnTo>
                      <a:lnTo>
                        <a:pt x="322" y="435"/>
                      </a:lnTo>
                      <a:lnTo>
                        <a:pt x="318" y="441"/>
                      </a:lnTo>
                      <a:lnTo>
                        <a:pt x="311" y="445"/>
                      </a:lnTo>
                      <a:lnTo>
                        <a:pt x="305" y="447"/>
                      </a:lnTo>
                      <a:lnTo>
                        <a:pt x="247" y="447"/>
                      </a:lnTo>
                      <a:lnTo>
                        <a:pt x="247" y="447"/>
                      </a:lnTo>
                      <a:lnTo>
                        <a:pt x="238" y="445"/>
                      </a:lnTo>
                      <a:lnTo>
                        <a:pt x="234" y="441"/>
                      </a:lnTo>
                      <a:lnTo>
                        <a:pt x="230" y="435"/>
                      </a:lnTo>
                      <a:lnTo>
                        <a:pt x="228" y="429"/>
                      </a:lnTo>
                      <a:lnTo>
                        <a:pt x="228" y="406"/>
                      </a:lnTo>
                      <a:lnTo>
                        <a:pt x="228" y="406"/>
                      </a:lnTo>
                      <a:lnTo>
                        <a:pt x="230" y="399"/>
                      </a:lnTo>
                      <a:lnTo>
                        <a:pt x="234" y="393"/>
                      </a:lnTo>
                      <a:lnTo>
                        <a:pt x="238" y="389"/>
                      </a:lnTo>
                      <a:lnTo>
                        <a:pt x="247" y="389"/>
                      </a:lnTo>
                      <a:lnTo>
                        <a:pt x="305" y="389"/>
                      </a:lnTo>
                      <a:lnTo>
                        <a:pt x="305" y="389"/>
                      </a:lnTo>
                      <a:lnTo>
                        <a:pt x="311" y="389"/>
                      </a:lnTo>
                      <a:lnTo>
                        <a:pt x="318" y="393"/>
                      </a:lnTo>
                      <a:lnTo>
                        <a:pt x="322" y="399"/>
                      </a:lnTo>
                      <a:lnTo>
                        <a:pt x="322" y="406"/>
                      </a:lnTo>
                      <a:lnTo>
                        <a:pt x="322" y="429"/>
                      </a:lnTo>
                      <a:close/>
                      <a:moveTo>
                        <a:pt x="322" y="324"/>
                      </a:moveTo>
                      <a:lnTo>
                        <a:pt x="322" y="324"/>
                      </a:lnTo>
                      <a:lnTo>
                        <a:pt x="322" y="330"/>
                      </a:lnTo>
                      <a:lnTo>
                        <a:pt x="318" y="337"/>
                      </a:lnTo>
                      <a:lnTo>
                        <a:pt x="311" y="341"/>
                      </a:lnTo>
                      <a:lnTo>
                        <a:pt x="305" y="341"/>
                      </a:lnTo>
                      <a:lnTo>
                        <a:pt x="247" y="341"/>
                      </a:lnTo>
                      <a:lnTo>
                        <a:pt x="247" y="341"/>
                      </a:lnTo>
                      <a:lnTo>
                        <a:pt x="238" y="341"/>
                      </a:lnTo>
                      <a:lnTo>
                        <a:pt x="234" y="337"/>
                      </a:lnTo>
                      <a:lnTo>
                        <a:pt x="230" y="330"/>
                      </a:lnTo>
                      <a:lnTo>
                        <a:pt x="228" y="324"/>
                      </a:lnTo>
                      <a:lnTo>
                        <a:pt x="228" y="301"/>
                      </a:lnTo>
                      <a:lnTo>
                        <a:pt x="228" y="301"/>
                      </a:lnTo>
                      <a:lnTo>
                        <a:pt x="230" y="295"/>
                      </a:lnTo>
                      <a:lnTo>
                        <a:pt x="234" y="289"/>
                      </a:lnTo>
                      <a:lnTo>
                        <a:pt x="238" y="284"/>
                      </a:lnTo>
                      <a:lnTo>
                        <a:pt x="247" y="282"/>
                      </a:lnTo>
                      <a:lnTo>
                        <a:pt x="305" y="282"/>
                      </a:lnTo>
                      <a:lnTo>
                        <a:pt x="305" y="282"/>
                      </a:lnTo>
                      <a:lnTo>
                        <a:pt x="311" y="284"/>
                      </a:lnTo>
                      <a:lnTo>
                        <a:pt x="318" y="289"/>
                      </a:lnTo>
                      <a:lnTo>
                        <a:pt x="322" y="295"/>
                      </a:lnTo>
                      <a:lnTo>
                        <a:pt x="322" y="301"/>
                      </a:lnTo>
                      <a:lnTo>
                        <a:pt x="322" y="324"/>
                      </a:lnTo>
                      <a:close/>
                      <a:moveTo>
                        <a:pt x="322" y="220"/>
                      </a:moveTo>
                      <a:lnTo>
                        <a:pt x="322" y="220"/>
                      </a:lnTo>
                      <a:lnTo>
                        <a:pt x="322" y="226"/>
                      </a:lnTo>
                      <a:lnTo>
                        <a:pt x="318" y="232"/>
                      </a:lnTo>
                      <a:lnTo>
                        <a:pt x="311" y="236"/>
                      </a:lnTo>
                      <a:lnTo>
                        <a:pt x="305" y="236"/>
                      </a:lnTo>
                      <a:lnTo>
                        <a:pt x="247" y="236"/>
                      </a:lnTo>
                      <a:lnTo>
                        <a:pt x="247" y="236"/>
                      </a:lnTo>
                      <a:lnTo>
                        <a:pt x="238" y="236"/>
                      </a:lnTo>
                      <a:lnTo>
                        <a:pt x="234" y="232"/>
                      </a:lnTo>
                      <a:lnTo>
                        <a:pt x="230" y="226"/>
                      </a:lnTo>
                      <a:lnTo>
                        <a:pt x="228" y="220"/>
                      </a:lnTo>
                      <a:lnTo>
                        <a:pt x="228" y="197"/>
                      </a:lnTo>
                      <a:lnTo>
                        <a:pt x="228" y="197"/>
                      </a:lnTo>
                      <a:lnTo>
                        <a:pt x="230" y="190"/>
                      </a:lnTo>
                      <a:lnTo>
                        <a:pt x="234" y="184"/>
                      </a:lnTo>
                      <a:lnTo>
                        <a:pt x="238" y="180"/>
                      </a:lnTo>
                      <a:lnTo>
                        <a:pt x="247" y="178"/>
                      </a:lnTo>
                      <a:lnTo>
                        <a:pt x="305" y="178"/>
                      </a:lnTo>
                      <a:lnTo>
                        <a:pt x="305" y="178"/>
                      </a:lnTo>
                      <a:lnTo>
                        <a:pt x="311" y="180"/>
                      </a:lnTo>
                      <a:lnTo>
                        <a:pt x="318" y="184"/>
                      </a:lnTo>
                      <a:lnTo>
                        <a:pt x="322" y="190"/>
                      </a:lnTo>
                      <a:lnTo>
                        <a:pt x="322" y="197"/>
                      </a:lnTo>
                      <a:lnTo>
                        <a:pt x="322" y="220"/>
                      </a:lnTo>
                      <a:close/>
                      <a:moveTo>
                        <a:pt x="322" y="115"/>
                      </a:moveTo>
                      <a:lnTo>
                        <a:pt x="322" y="115"/>
                      </a:lnTo>
                      <a:lnTo>
                        <a:pt x="322" y="121"/>
                      </a:lnTo>
                      <a:lnTo>
                        <a:pt x="318" y="128"/>
                      </a:lnTo>
                      <a:lnTo>
                        <a:pt x="311" y="132"/>
                      </a:lnTo>
                      <a:lnTo>
                        <a:pt x="305" y="132"/>
                      </a:lnTo>
                      <a:lnTo>
                        <a:pt x="247" y="132"/>
                      </a:lnTo>
                      <a:lnTo>
                        <a:pt x="247" y="132"/>
                      </a:lnTo>
                      <a:lnTo>
                        <a:pt x="238" y="132"/>
                      </a:lnTo>
                      <a:lnTo>
                        <a:pt x="234" y="128"/>
                      </a:lnTo>
                      <a:lnTo>
                        <a:pt x="230" y="121"/>
                      </a:lnTo>
                      <a:lnTo>
                        <a:pt x="228" y="115"/>
                      </a:lnTo>
                      <a:lnTo>
                        <a:pt x="228" y="92"/>
                      </a:lnTo>
                      <a:lnTo>
                        <a:pt x="228" y="92"/>
                      </a:lnTo>
                      <a:lnTo>
                        <a:pt x="230" y="86"/>
                      </a:lnTo>
                      <a:lnTo>
                        <a:pt x="234" y="79"/>
                      </a:lnTo>
                      <a:lnTo>
                        <a:pt x="238" y="75"/>
                      </a:lnTo>
                      <a:lnTo>
                        <a:pt x="247" y="73"/>
                      </a:lnTo>
                      <a:lnTo>
                        <a:pt x="305" y="73"/>
                      </a:lnTo>
                      <a:lnTo>
                        <a:pt x="305" y="73"/>
                      </a:lnTo>
                      <a:lnTo>
                        <a:pt x="311" y="75"/>
                      </a:lnTo>
                      <a:lnTo>
                        <a:pt x="318" y="79"/>
                      </a:lnTo>
                      <a:lnTo>
                        <a:pt x="322" y="86"/>
                      </a:lnTo>
                      <a:lnTo>
                        <a:pt x="322" y="92"/>
                      </a:lnTo>
                      <a:lnTo>
                        <a:pt x="322" y="115"/>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79" name="Freeform 19"/>
                <p:cNvSpPr>
                  <a:spLocks noEditPoints="1"/>
                </p:cNvSpPr>
                <p:nvPr/>
              </p:nvSpPr>
              <p:spPr bwMode="auto">
                <a:xfrm>
                  <a:off x="10433466" y="1088191"/>
                  <a:ext cx="226411" cy="614615"/>
                </a:xfrm>
                <a:custGeom>
                  <a:avLst/>
                  <a:gdLst>
                    <a:gd name="T0" fmla="*/ 385 w 452"/>
                    <a:gd name="T1" fmla="*/ 351 h 1227"/>
                    <a:gd name="T2" fmla="*/ 364 w 452"/>
                    <a:gd name="T3" fmla="*/ 314 h 1227"/>
                    <a:gd name="T4" fmla="*/ 335 w 452"/>
                    <a:gd name="T5" fmla="*/ 291 h 1227"/>
                    <a:gd name="T6" fmla="*/ 322 w 452"/>
                    <a:gd name="T7" fmla="*/ 255 h 1227"/>
                    <a:gd name="T8" fmla="*/ 282 w 452"/>
                    <a:gd name="T9" fmla="*/ 228 h 1227"/>
                    <a:gd name="T10" fmla="*/ 236 w 452"/>
                    <a:gd name="T11" fmla="*/ 27 h 1227"/>
                    <a:gd name="T12" fmla="*/ 226 w 452"/>
                    <a:gd name="T13" fmla="*/ 0 h 1227"/>
                    <a:gd name="T14" fmla="*/ 215 w 452"/>
                    <a:gd name="T15" fmla="*/ 17 h 1227"/>
                    <a:gd name="T16" fmla="*/ 182 w 452"/>
                    <a:gd name="T17" fmla="*/ 226 h 1227"/>
                    <a:gd name="T18" fmla="*/ 136 w 452"/>
                    <a:gd name="T19" fmla="*/ 245 h 1227"/>
                    <a:gd name="T20" fmla="*/ 117 w 452"/>
                    <a:gd name="T21" fmla="*/ 291 h 1227"/>
                    <a:gd name="T22" fmla="*/ 96 w 452"/>
                    <a:gd name="T23" fmla="*/ 309 h 1227"/>
                    <a:gd name="T24" fmla="*/ 69 w 452"/>
                    <a:gd name="T25" fmla="*/ 341 h 1227"/>
                    <a:gd name="T26" fmla="*/ 65 w 452"/>
                    <a:gd name="T27" fmla="*/ 362 h 1227"/>
                    <a:gd name="T28" fmla="*/ 19 w 452"/>
                    <a:gd name="T29" fmla="*/ 380 h 1227"/>
                    <a:gd name="T30" fmla="*/ 0 w 452"/>
                    <a:gd name="T31" fmla="*/ 426 h 1227"/>
                    <a:gd name="T32" fmla="*/ 4 w 452"/>
                    <a:gd name="T33" fmla="*/ 1200 h 1227"/>
                    <a:gd name="T34" fmla="*/ 27 w 452"/>
                    <a:gd name="T35" fmla="*/ 1223 h 1227"/>
                    <a:gd name="T36" fmla="*/ 126 w 452"/>
                    <a:gd name="T37" fmla="*/ 1227 h 1227"/>
                    <a:gd name="T38" fmla="*/ 169 w 452"/>
                    <a:gd name="T39" fmla="*/ 1075 h 1227"/>
                    <a:gd name="T40" fmla="*/ 276 w 452"/>
                    <a:gd name="T41" fmla="*/ 1066 h 1227"/>
                    <a:gd name="T42" fmla="*/ 324 w 452"/>
                    <a:gd name="T43" fmla="*/ 1227 h 1227"/>
                    <a:gd name="T44" fmla="*/ 408 w 452"/>
                    <a:gd name="T45" fmla="*/ 1227 h 1227"/>
                    <a:gd name="T46" fmla="*/ 439 w 452"/>
                    <a:gd name="T47" fmla="*/ 1213 h 1227"/>
                    <a:gd name="T48" fmla="*/ 452 w 452"/>
                    <a:gd name="T49" fmla="*/ 1183 h 1227"/>
                    <a:gd name="T50" fmla="*/ 445 w 452"/>
                    <a:gd name="T51" fmla="*/ 401 h 1227"/>
                    <a:gd name="T52" fmla="*/ 412 w 452"/>
                    <a:gd name="T53" fmla="*/ 368 h 1227"/>
                    <a:gd name="T54" fmla="*/ 324 w 452"/>
                    <a:gd name="T55" fmla="*/ 968 h 1227"/>
                    <a:gd name="T56" fmla="*/ 105 w 452"/>
                    <a:gd name="T57" fmla="*/ 962 h 1227"/>
                    <a:gd name="T58" fmla="*/ 100 w 452"/>
                    <a:gd name="T59" fmla="*/ 935 h 1227"/>
                    <a:gd name="T60" fmla="*/ 324 w 452"/>
                    <a:gd name="T61" fmla="*/ 918 h 1227"/>
                    <a:gd name="T62" fmla="*/ 349 w 452"/>
                    <a:gd name="T63" fmla="*/ 935 h 1227"/>
                    <a:gd name="T64" fmla="*/ 345 w 452"/>
                    <a:gd name="T65" fmla="*/ 962 h 1227"/>
                    <a:gd name="T66" fmla="*/ 324 w 452"/>
                    <a:gd name="T67" fmla="*/ 847 h 1227"/>
                    <a:gd name="T68" fmla="*/ 105 w 452"/>
                    <a:gd name="T69" fmla="*/ 838 h 1227"/>
                    <a:gd name="T70" fmla="*/ 100 w 452"/>
                    <a:gd name="T71" fmla="*/ 811 h 1227"/>
                    <a:gd name="T72" fmla="*/ 324 w 452"/>
                    <a:gd name="T73" fmla="*/ 797 h 1227"/>
                    <a:gd name="T74" fmla="*/ 349 w 452"/>
                    <a:gd name="T75" fmla="*/ 811 h 1227"/>
                    <a:gd name="T76" fmla="*/ 345 w 452"/>
                    <a:gd name="T77" fmla="*/ 838 h 1227"/>
                    <a:gd name="T78" fmla="*/ 324 w 452"/>
                    <a:gd name="T79" fmla="*/ 723 h 1227"/>
                    <a:gd name="T80" fmla="*/ 105 w 452"/>
                    <a:gd name="T81" fmla="*/ 717 h 1227"/>
                    <a:gd name="T82" fmla="*/ 100 w 452"/>
                    <a:gd name="T83" fmla="*/ 690 h 1227"/>
                    <a:gd name="T84" fmla="*/ 324 w 452"/>
                    <a:gd name="T85" fmla="*/ 673 h 1227"/>
                    <a:gd name="T86" fmla="*/ 349 w 452"/>
                    <a:gd name="T87" fmla="*/ 690 h 1227"/>
                    <a:gd name="T88" fmla="*/ 345 w 452"/>
                    <a:gd name="T89" fmla="*/ 717 h 1227"/>
                    <a:gd name="T90" fmla="*/ 324 w 452"/>
                    <a:gd name="T91" fmla="*/ 602 h 1227"/>
                    <a:gd name="T92" fmla="*/ 105 w 452"/>
                    <a:gd name="T93" fmla="*/ 594 h 1227"/>
                    <a:gd name="T94" fmla="*/ 100 w 452"/>
                    <a:gd name="T95" fmla="*/ 567 h 1227"/>
                    <a:gd name="T96" fmla="*/ 324 w 452"/>
                    <a:gd name="T97" fmla="*/ 552 h 1227"/>
                    <a:gd name="T98" fmla="*/ 349 w 452"/>
                    <a:gd name="T99" fmla="*/ 567 h 1227"/>
                    <a:gd name="T100" fmla="*/ 345 w 452"/>
                    <a:gd name="T101" fmla="*/ 594 h 1227"/>
                    <a:gd name="T102" fmla="*/ 324 w 452"/>
                    <a:gd name="T103" fmla="*/ 479 h 1227"/>
                    <a:gd name="T104" fmla="*/ 105 w 452"/>
                    <a:gd name="T105" fmla="*/ 472 h 1227"/>
                    <a:gd name="T106" fmla="*/ 100 w 452"/>
                    <a:gd name="T107" fmla="*/ 445 h 1227"/>
                    <a:gd name="T108" fmla="*/ 324 w 452"/>
                    <a:gd name="T109" fmla="*/ 429 h 1227"/>
                    <a:gd name="T110" fmla="*/ 349 w 452"/>
                    <a:gd name="T111" fmla="*/ 445 h 1227"/>
                    <a:gd name="T112" fmla="*/ 345 w 452"/>
                    <a:gd name="T113" fmla="*/ 472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2" h="1227">
                      <a:moveTo>
                        <a:pt x="387" y="362"/>
                      </a:moveTo>
                      <a:lnTo>
                        <a:pt x="387" y="362"/>
                      </a:lnTo>
                      <a:lnTo>
                        <a:pt x="387" y="362"/>
                      </a:lnTo>
                      <a:lnTo>
                        <a:pt x="385" y="351"/>
                      </a:lnTo>
                      <a:lnTo>
                        <a:pt x="383" y="341"/>
                      </a:lnTo>
                      <a:lnTo>
                        <a:pt x="376" y="330"/>
                      </a:lnTo>
                      <a:lnTo>
                        <a:pt x="370" y="322"/>
                      </a:lnTo>
                      <a:lnTo>
                        <a:pt x="364" y="314"/>
                      </a:lnTo>
                      <a:lnTo>
                        <a:pt x="356" y="309"/>
                      </a:lnTo>
                      <a:lnTo>
                        <a:pt x="345" y="303"/>
                      </a:lnTo>
                      <a:lnTo>
                        <a:pt x="335" y="301"/>
                      </a:lnTo>
                      <a:lnTo>
                        <a:pt x="335" y="291"/>
                      </a:lnTo>
                      <a:lnTo>
                        <a:pt x="335" y="291"/>
                      </a:lnTo>
                      <a:lnTo>
                        <a:pt x="333" y="278"/>
                      </a:lnTo>
                      <a:lnTo>
                        <a:pt x="328" y="266"/>
                      </a:lnTo>
                      <a:lnTo>
                        <a:pt x="322" y="255"/>
                      </a:lnTo>
                      <a:lnTo>
                        <a:pt x="316" y="245"/>
                      </a:lnTo>
                      <a:lnTo>
                        <a:pt x="305" y="236"/>
                      </a:lnTo>
                      <a:lnTo>
                        <a:pt x="295" y="232"/>
                      </a:lnTo>
                      <a:lnTo>
                        <a:pt x="282" y="228"/>
                      </a:lnTo>
                      <a:lnTo>
                        <a:pt x="270" y="226"/>
                      </a:lnTo>
                      <a:lnTo>
                        <a:pt x="251" y="226"/>
                      </a:lnTo>
                      <a:lnTo>
                        <a:pt x="236" y="27"/>
                      </a:lnTo>
                      <a:lnTo>
                        <a:pt x="236" y="27"/>
                      </a:lnTo>
                      <a:lnTo>
                        <a:pt x="236" y="17"/>
                      </a:lnTo>
                      <a:lnTo>
                        <a:pt x="234" y="8"/>
                      </a:lnTo>
                      <a:lnTo>
                        <a:pt x="230" y="2"/>
                      </a:lnTo>
                      <a:lnTo>
                        <a:pt x="226" y="0"/>
                      </a:lnTo>
                      <a:lnTo>
                        <a:pt x="226" y="0"/>
                      </a:lnTo>
                      <a:lnTo>
                        <a:pt x="222" y="2"/>
                      </a:lnTo>
                      <a:lnTo>
                        <a:pt x="218" y="8"/>
                      </a:lnTo>
                      <a:lnTo>
                        <a:pt x="215" y="17"/>
                      </a:lnTo>
                      <a:lnTo>
                        <a:pt x="215" y="27"/>
                      </a:lnTo>
                      <a:lnTo>
                        <a:pt x="201" y="226"/>
                      </a:lnTo>
                      <a:lnTo>
                        <a:pt x="182" y="226"/>
                      </a:lnTo>
                      <a:lnTo>
                        <a:pt x="182" y="226"/>
                      </a:lnTo>
                      <a:lnTo>
                        <a:pt x="169" y="228"/>
                      </a:lnTo>
                      <a:lnTo>
                        <a:pt x="157" y="232"/>
                      </a:lnTo>
                      <a:lnTo>
                        <a:pt x="146" y="236"/>
                      </a:lnTo>
                      <a:lnTo>
                        <a:pt x="136" y="245"/>
                      </a:lnTo>
                      <a:lnTo>
                        <a:pt x="128" y="255"/>
                      </a:lnTo>
                      <a:lnTo>
                        <a:pt x="123" y="266"/>
                      </a:lnTo>
                      <a:lnTo>
                        <a:pt x="119" y="278"/>
                      </a:lnTo>
                      <a:lnTo>
                        <a:pt x="117" y="291"/>
                      </a:lnTo>
                      <a:lnTo>
                        <a:pt x="117" y="301"/>
                      </a:lnTo>
                      <a:lnTo>
                        <a:pt x="117" y="301"/>
                      </a:lnTo>
                      <a:lnTo>
                        <a:pt x="107" y="303"/>
                      </a:lnTo>
                      <a:lnTo>
                        <a:pt x="96" y="309"/>
                      </a:lnTo>
                      <a:lnTo>
                        <a:pt x="88" y="314"/>
                      </a:lnTo>
                      <a:lnTo>
                        <a:pt x="80" y="322"/>
                      </a:lnTo>
                      <a:lnTo>
                        <a:pt x="73" y="330"/>
                      </a:lnTo>
                      <a:lnTo>
                        <a:pt x="69" y="341"/>
                      </a:lnTo>
                      <a:lnTo>
                        <a:pt x="67" y="351"/>
                      </a:lnTo>
                      <a:lnTo>
                        <a:pt x="65" y="362"/>
                      </a:lnTo>
                      <a:lnTo>
                        <a:pt x="65" y="362"/>
                      </a:lnTo>
                      <a:lnTo>
                        <a:pt x="65" y="362"/>
                      </a:lnTo>
                      <a:lnTo>
                        <a:pt x="52" y="364"/>
                      </a:lnTo>
                      <a:lnTo>
                        <a:pt x="40" y="368"/>
                      </a:lnTo>
                      <a:lnTo>
                        <a:pt x="29" y="374"/>
                      </a:lnTo>
                      <a:lnTo>
                        <a:pt x="19" y="380"/>
                      </a:lnTo>
                      <a:lnTo>
                        <a:pt x="11" y="391"/>
                      </a:lnTo>
                      <a:lnTo>
                        <a:pt x="6" y="401"/>
                      </a:lnTo>
                      <a:lnTo>
                        <a:pt x="2" y="414"/>
                      </a:lnTo>
                      <a:lnTo>
                        <a:pt x="0" y="426"/>
                      </a:lnTo>
                      <a:lnTo>
                        <a:pt x="0" y="1183"/>
                      </a:lnTo>
                      <a:lnTo>
                        <a:pt x="0" y="1183"/>
                      </a:lnTo>
                      <a:lnTo>
                        <a:pt x="2" y="1192"/>
                      </a:lnTo>
                      <a:lnTo>
                        <a:pt x="4" y="1200"/>
                      </a:lnTo>
                      <a:lnTo>
                        <a:pt x="8" y="1206"/>
                      </a:lnTo>
                      <a:lnTo>
                        <a:pt x="13" y="1213"/>
                      </a:lnTo>
                      <a:lnTo>
                        <a:pt x="19" y="1219"/>
                      </a:lnTo>
                      <a:lnTo>
                        <a:pt x="27" y="1223"/>
                      </a:lnTo>
                      <a:lnTo>
                        <a:pt x="36" y="1225"/>
                      </a:lnTo>
                      <a:lnTo>
                        <a:pt x="44" y="1227"/>
                      </a:lnTo>
                      <a:lnTo>
                        <a:pt x="126" y="1227"/>
                      </a:lnTo>
                      <a:lnTo>
                        <a:pt x="126" y="1227"/>
                      </a:lnTo>
                      <a:lnTo>
                        <a:pt x="128" y="1227"/>
                      </a:lnTo>
                      <a:lnTo>
                        <a:pt x="169" y="1227"/>
                      </a:lnTo>
                      <a:lnTo>
                        <a:pt x="169" y="1075"/>
                      </a:lnTo>
                      <a:lnTo>
                        <a:pt x="169" y="1075"/>
                      </a:lnTo>
                      <a:lnTo>
                        <a:pt x="172" y="1068"/>
                      </a:lnTo>
                      <a:lnTo>
                        <a:pt x="178" y="1066"/>
                      </a:lnTo>
                      <a:lnTo>
                        <a:pt x="276" y="1066"/>
                      </a:lnTo>
                      <a:lnTo>
                        <a:pt x="276" y="1066"/>
                      </a:lnTo>
                      <a:lnTo>
                        <a:pt x="280" y="1068"/>
                      </a:lnTo>
                      <a:lnTo>
                        <a:pt x="282" y="1075"/>
                      </a:lnTo>
                      <a:lnTo>
                        <a:pt x="282" y="1227"/>
                      </a:lnTo>
                      <a:lnTo>
                        <a:pt x="324" y="1227"/>
                      </a:lnTo>
                      <a:lnTo>
                        <a:pt x="324" y="1227"/>
                      </a:lnTo>
                      <a:lnTo>
                        <a:pt x="326" y="1227"/>
                      </a:lnTo>
                      <a:lnTo>
                        <a:pt x="408" y="1227"/>
                      </a:lnTo>
                      <a:lnTo>
                        <a:pt x="408" y="1227"/>
                      </a:lnTo>
                      <a:lnTo>
                        <a:pt x="416" y="1225"/>
                      </a:lnTo>
                      <a:lnTo>
                        <a:pt x="425" y="1223"/>
                      </a:lnTo>
                      <a:lnTo>
                        <a:pt x="431" y="1219"/>
                      </a:lnTo>
                      <a:lnTo>
                        <a:pt x="439" y="1213"/>
                      </a:lnTo>
                      <a:lnTo>
                        <a:pt x="443" y="1206"/>
                      </a:lnTo>
                      <a:lnTo>
                        <a:pt x="448" y="1200"/>
                      </a:lnTo>
                      <a:lnTo>
                        <a:pt x="450" y="1192"/>
                      </a:lnTo>
                      <a:lnTo>
                        <a:pt x="452" y="1183"/>
                      </a:lnTo>
                      <a:lnTo>
                        <a:pt x="452" y="426"/>
                      </a:lnTo>
                      <a:lnTo>
                        <a:pt x="452" y="426"/>
                      </a:lnTo>
                      <a:lnTo>
                        <a:pt x="450" y="414"/>
                      </a:lnTo>
                      <a:lnTo>
                        <a:pt x="445" y="401"/>
                      </a:lnTo>
                      <a:lnTo>
                        <a:pt x="441" y="391"/>
                      </a:lnTo>
                      <a:lnTo>
                        <a:pt x="433" y="380"/>
                      </a:lnTo>
                      <a:lnTo>
                        <a:pt x="422" y="374"/>
                      </a:lnTo>
                      <a:lnTo>
                        <a:pt x="412" y="368"/>
                      </a:lnTo>
                      <a:lnTo>
                        <a:pt x="399" y="364"/>
                      </a:lnTo>
                      <a:lnTo>
                        <a:pt x="387" y="362"/>
                      </a:lnTo>
                      <a:lnTo>
                        <a:pt x="387" y="362"/>
                      </a:lnTo>
                      <a:close/>
                      <a:moveTo>
                        <a:pt x="324" y="968"/>
                      </a:moveTo>
                      <a:lnTo>
                        <a:pt x="126" y="968"/>
                      </a:lnTo>
                      <a:lnTo>
                        <a:pt x="126" y="968"/>
                      </a:lnTo>
                      <a:lnTo>
                        <a:pt x="115" y="966"/>
                      </a:lnTo>
                      <a:lnTo>
                        <a:pt x="105" y="962"/>
                      </a:lnTo>
                      <a:lnTo>
                        <a:pt x="100" y="953"/>
                      </a:lnTo>
                      <a:lnTo>
                        <a:pt x="98" y="943"/>
                      </a:lnTo>
                      <a:lnTo>
                        <a:pt x="98" y="943"/>
                      </a:lnTo>
                      <a:lnTo>
                        <a:pt x="100" y="935"/>
                      </a:lnTo>
                      <a:lnTo>
                        <a:pt x="105" y="926"/>
                      </a:lnTo>
                      <a:lnTo>
                        <a:pt x="115" y="920"/>
                      </a:lnTo>
                      <a:lnTo>
                        <a:pt x="126" y="918"/>
                      </a:lnTo>
                      <a:lnTo>
                        <a:pt x="324" y="918"/>
                      </a:lnTo>
                      <a:lnTo>
                        <a:pt x="324" y="918"/>
                      </a:lnTo>
                      <a:lnTo>
                        <a:pt x="335" y="920"/>
                      </a:lnTo>
                      <a:lnTo>
                        <a:pt x="345" y="926"/>
                      </a:lnTo>
                      <a:lnTo>
                        <a:pt x="349" y="935"/>
                      </a:lnTo>
                      <a:lnTo>
                        <a:pt x="351" y="943"/>
                      </a:lnTo>
                      <a:lnTo>
                        <a:pt x="351" y="943"/>
                      </a:lnTo>
                      <a:lnTo>
                        <a:pt x="349" y="953"/>
                      </a:lnTo>
                      <a:lnTo>
                        <a:pt x="345" y="962"/>
                      </a:lnTo>
                      <a:lnTo>
                        <a:pt x="335" y="966"/>
                      </a:lnTo>
                      <a:lnTo>
                        <a:pt x="324" y="968"/>
                      </a:lnTo>
                      <a:lnTo>
                        <a:pt x="324" y="968"/>
                      </a:lnTo>
                      <a:close/>
                      <a:moveTo>
                        <a:pt x="324" y="847"/>
                      </a:moveTo>
                      <a:lnTo>
                        <a:pt x="126" y="847"/>
                      </a:lnTo>
                      <a:lnTo>
                        <a:pt x="126" y="847"/>
                      </a:lnTo>
                      <a:lnTo>
                        <a:pt x="115" y="845"/>
                      </a:lnTo>
                      <a:lnTo>
                        <a:pt x="105" y="838"/>
                      </a:lnTo>
                      <a:lnTo>
                        <a:pt x="100" y="830"/>
                      </a:lnTo>
                      <a:lnTo>
                        <a:pt x="98" y="822"/>
                      </a:lnTo>
                      <a:lnTo>
                        <a:pt x="98" y="822"/>
                      </a:lnTo>
                      <a:lnTo>
                        <a:pt x="100" y="811"/>
                      </a:lnTo>
                      <a:lnTo>
                        <a:pt x="105" y="803"/>
                      </a:lnTo>
                      <a:lnTo>
                        <a:pt x="115" y="799"/>
                      </a:lnTo>
                      <a:lnTo>
                        <a:pt x="126" y="797"/>
                      </a:lnTo>
                      <a:lnTo>
                        <a:pt x="324" y="797"/>
                      </a:lnTo>
                      <a:lnTo>
                        <a:pt x="324" y="797"/>
                      </a:lnTo>
                      <a:lnTo>
                        <a:pt x="335" y="799"/>
                      </a:lnTo>
                      <a:lnTo>
                        <a:pt x="345" y="803"/>
                      </a:lnTo>
                      <a:lnTo>
                        <a:pt x="349" y="811"/>
                      </a:lnTo>
                      <a:lnTo>
                        <a:pt x="351" y="822"/>
                      </a:lnTo>
                      <a:lnTo>
                        <a:pt x="351" y="822"/>
                      </a:lnTo>
                      <a:lnTo>
                        <a:pt x="349" y="830"/>
                      </a:lnTo>
                      <a:lnTo>
                        <a:pt x="345" y="838"/>
                      </a:lnTo>
                      <a:lnTo>
                        <a:pt x="335" y="845"/>
                      </a:lnTo>
                      <a:lnTo>
                        <a:pt x="324" y="847"/>
                      </a:lnTo>
                      <a:lnTo>
                        <a:pt x="324" y="847"/>
                      </a:lnTo>
                      <a:close/>
                      <a:moveTo>
                        <a:pt x="324" y="723"/>
                      </a:moveTo>
                      <a:lnTo>
                        <a:pt x="126" y="723"/>
                      </a:lnTo>
                      <a:lnTo>
                        <a:pt x="126" y="723"/>
                      </a:lnTo>
                      <a:lnTo>
                        <a:pt x="115" y="721"/>
                      </a:lnTo>
                      <a:lnTo>
                        <a:pt x="105" y="717"/>
                      </a:lnTo>
                      <a:lnTo>
                        <a:pt x="100" y="709"/>
                      </a:lnTo>
                      <a:lnTo>
                        <a:pt x="98" y="698"/>
                      </a:lnTo>
                      <a:lnTo>
                        <a:pt x="98" y="698"/>
                      </a:lnTo>
                      <a:lnTo>
                        <a:pt x="100" y="690"/>
                      </a:lnTo>
                      <a:lnTo>
                        <a:pt x="105" y="682"/>
                      </a:lnTo>
                      <a:lnTo>
                        <a:pt x="115" y="675"/>
                      </a:lnTo>
                      <a:lnTo>
                        <a:pt x="126" y="673"/>
                      </a:lnTo>
                      <a:lnTo>
                        <a:pt x="324" y="673"/>
                      </a:lnTo>
                      <a:lnTo>
                        <a:pt x="324" y="673"/>
                      </a:lnTo>
                      <a:lnTo>
                        <a:pt x="335" y="675"/>
                      </a:lnTo>
                      <a:lnTo>
                        <a:pt x="345" y="682"/>
                      </a:lnTo>
                      <a:lnTo>
                        <a:pt x="349" y="690"/>
                      </a:lnTo>
                      <a:lnTo>
                        <a:pt x="351" y="698"/>
                      </a:lnTo>
                      <a:lnTo>
                        <a:pt x="351" y="698"/>
                      </a:lnTo>
                      <a:lnTo>
                        <a:pt x="349" y="709"/>
                      </a:lnTo>
                      <a:lnTo>
                        <a:pt x="345" y="717"/>
                      </a:lnTo>
                      <a:lnTo>
                        <a:pt x="335" y="721"/>
                      </a:lnTo>
                      <a:lnTo>
                        <a:pt x="324" y="723"/>
                      </a:lnTo>
                      <a:lnTo>
                        <a:pt x="324" y="723"/>
                      </a:lnTo>
                      <a:close/>
                      <a:moveTo>
                        <a:pt x="324" y="602"/>
                      </a:moveTo>
                      <a:lnTo>
                        <a:pt x="126" y="602"/>
                      </a:lnTo>
                      <a:lnTo>
                        <a:pt x="126" y="602"/>
                      </a:lnTo>
                      <a:lnTo>
                        <a:pt x="115" y="600"/>
                      </a:lnTo>
                      <a:lnTo>
                        <a:pt x="105" y="594"/>
                      </a:lnTo>
                      <a:lnTo>
                        <a:pt x="100" y="585"/>
                      </a:lnTo>
                      <a:lnTo>
                        <a:pt x="98" y="577"/>
                      </a:lnTo>
                      <a:lnTo>
                        <a:pt x="98" y="577"/>
                      </a:lnTo>
                      <a:lnTo>
                        <a:pt x="100" y="567"/>
                      </a:lnTo>
                      <a:lnTo>
                        <a:pt x="105" y="558"/>
                      </a:lnTo>
                      <a:lnTo>
                        <a:pt x="115" y="554"/>
                      </a:lnTo>
                      <a:lnTo>
                        <a:pt x="126" y="552"/>
                      </a:lnTo>
                      <a:lnTo>
                        <a:pt x="324" y="552"/>
                      </a:lnTo>
                      <a:lnTo>
                        <a:pt x="324" y="552"/>
                      </a:lnTo>
                      <a:lnTo>
                        <a:pt x="335" y="554"/>
                      </a:lnTo>
                      <a:lnTo>
                        <a:pt x="345" y="558"/>
                      </a:lnTo>
                      <a:lnTo>
                        <a:pt x="349" y="567"/>
                      </a:lnTo>
                      <a:lnTo>
                        <a:pt x="351" y="577"/>
                      </a:lnTo>
                      <a:lnTo>
                        <a:pt x="351" y="577"/>
                      </a:lnTo>
                      <a:lnTo>
                        <a:pt x="349" y="585"/>
                      </a:lnTo>
                      <a:lnTo>
                        <a:pt x="345" y="594"/>
                      </a:lnTo>
                      <a:lnTo>
                        <a:pt x="335" y="600"/>
                      </a:lnTo>
                      <a:lnTo>
                        <a:pt x="324" y="602"/>
                      </a:lnTo>
                      <a:lnTo>
                        <a:pt x="324" y="602"/>
                      </a:lnTo>
                      <a:close/>
                      <a:moveTo>
                        <a:pt x="324" y="479"/>
                      </a:moveTo>
                      <a:lnTo>
                        <a:pt x="126" y="479"/>
                      </a:lnTo>
                      <a:lnTo>
                        <a:pt x="126" y="479"/>
                      </a:lnTo>
                      <a:lnTo>
                        <a:pt x="115" y="477"/>
                      </a:lnTo>
                      <a:lnTo>
                        <a:pt x="105" y="472"/>
                      </a:lnTo>
                      <a:lnTo>
                        <a:pt x="100" y="464"/>
                      </a:lnTo>
                      <a:lnTo>
                        <a:pt x="98" y="454"/>
                      </a:lnTo>
                      <a:lnTo>
                        <a:pt x="98" y="454"/>
                      </a:lnTo>
                      <a:lnTo>
                        <a:pt x="100" y="445"/>
                      </a:lnTo>
                      <a:lnTo>
                        <a:pt x="105" y="437"/>
                      </a:lnTo>
                      <a:lnTo>
                        <a:pt x="115" y="431"/>
                      </a:lnTo>
                      <a:lnTo>
                        <a:pt x="126" y="429"/>
                      </a:lnTo>
                      <a:lnTo>
                        <a:pt x="324" y="429"/>
                      </a:lnTo>
                      <a:lnTo>
                        <a:pt x="324" y="429"/>
                      </a:lnTo>
                      <a:lnTo>
                        <a:pt x="335" y="431"/>
                      </a:lnTo>
                      <a:lnTo>
                        <a:pt x="345" y="437"/>
                      </a:lnTo>
                      <a:lnTo>
                        <a:pt x="349" y="445"/>
                      </a:lnTo>
                      <a:lnTo>
                        <a:pt x="351" y="454"/>
                      </a:lnTo>
                      <a:lnTo>
                        <a:pt x="351" y="454"/>
                      </a:lnTo>
                      <a:lnTo>
                        <a:pt x="349" y="464"/>
                      </a:lnTo>
                      <a:lnTo>
                        <a:pt x="345" y="472"/>
                      </a:lnTo>
                      <a:lnTo>
                        <a:pt x="335" y="477"/>
                      </a:lnTo>
                      <a:lnTo>
                        <a:pt x="324" y="479"/>
                      </a:lnTo>
                      <a:lnTo>
                        <a:pt x="324" y="479"/>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grpSp>
          <p:nvGrpSpPr>
            <p:cNvPr id="180" name="组合 179"/>
            <p:cNvGrpSpPr/>
            <p:nvPr/>
          </p:nvGrpSpPr>
          <p:grpSpPr>
            <a:xfrm>
              <a:off x="2416839" y="4520677"/>
              <a:ext cx="692426" cy="517822"/>
              <a:chOff x="2466747" y="4022095"/>
              <a:chExt cx="975603" cy="729592"/>
            </a:xfrm>
          </p:grpSpPr>
          <p:sp>
            <p:nvSpPr>
              <p:cNvPr id="181" name="椭圆 180"/>
              <p:cNvSpPr/>
              <p:nvPr/>
            </p:nvSpPr>
            <p:spPr>
              <a:xfrm>
                <a:off x="2466747" y="4289030"/>
                <a:ext cx="975603" cy="462657"/>
              </a:xfrm>
              <a:prstGeom prst="ellipse">
                <a:avLst/>
              </a:prstGeom>
              <a:gradFill flip="none" rotWithShape="1">
                <a:gsLst>
                  <a:gs pos="0">
                    <a:schemeClr val="accent5">
                      <a:lumMod val="0"/>
                      <a:lumOff val="100000"/>
                    </a:schemeClr>
                  </a:gs>
                  <a:gs pos="18000">
                    <a:schemeClr val="accent5">
                      <a:lumMod val="0"/>
                      <a:lumOff val="100000"/>
                    </a:schemeClr>
                  </a:gs>
                  <a:gs pos="100000">
                    <a:schemeClr val="accent1"/>
                  </a:gs>
                </a:gsLst>
                <a:path path="circle">
                  <a:fillToRect l="50000" t="-80000" r="50000" b="180000"/>
                </a:path>
                <a:tileRect/>
              </a:gradFill>
              <a:ln w="19050" cap="rnd"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182" name="组合 181"/>
              <p:cNvGrpSpPr/>
              <p:nvPr/>
            </p:nvGrpSpPr>
            <p:grpSpPr>
              <a:xfrm>
                <a:off x="2767947" y="4022095"/>
                <a:ext cx="414745" cy="556155"/>
                <a:chOff x="10433466" y="1088191"/>
                <a:chExt cx="459835" cy="616619"/>
              </a:xfrm>
              <a:solidFill>
                <a:schemeClr val="tx2">
                  <a:lumMod val="75000"/>
                </a:schemeClr>
              </a:solidFill>
            </p:grpSpPr>
            <p:sp>
              <p:nvSpPr>
                <p:cNvPr id="183" name="Freeform 18"/>
                <p:cNvSpPr>
                  <a:spLocks noEditPoints="1"/>
                </p:cNvSpPr>
                <p:nvPr/>
              </p:nvSpPr>
              <p:spPr bwMode="auto">
                <a:xfrm>
                  <a:off x="10695442" y="1388736"/>
                  <a:ext cx="197859" cy="316074"/>
                </a:xfrm>
                <a:custGeom>
                  <a:avLst/>
                  <a:gdLst>
                    <a:gd name="T0" fmla="*/ 27 w 395"/>
                    <a:gd name="T1" fmla="*/ 2 h 631"/>
                    <a:gd name="T2" fmla="*/ 0 w 395"/>
                    <a:gd name="T3" fmla="*/ 33 h 631"/>
                    <a:gd name="T4" fmla="*/ 2 w 395"/>
                    <a:gd name="T5" fmla="*/ 604 h 631"/>
                    <a:gd name="T6" fmla="*/ 35 w 395"/>
                    <a:gd name="T7" fmla="*/ 631 h 631"/>
                    <a:gd name="T8" fmla="*/ 236 w 395"/>
                    <a:gd name="T9" fmla="*/ 508 h 631"/>
                    <a:gd name="T10" fmla="*/ 311 w 395"/>
                    <a:gd name="T11" fmla="*/ 498 h 631"/>
                    <a:gd name="T12" fmla="*/ 330 w 395"/>
                    <a:gd name="T13" fmla="*/ 631 h 631"/>
                    <a:gd name="T14" fmla="*/ 376 w 395"/>
                    <a:gd name="T15" fmla="*/ 625 h 631"/>
                    <a:gd name="T16" fmla="*/ 395 w 395"/>
                    <a:gd name="T17" fmla="*/ 587 h 631"/>
                    <a:gd name="T18" fmla="*/ 389 w 395"/>
                    <a:gd name="T19" fmla="*/ 19 h 631"/>
                    <a:gd name="T20" fmla="*/ 351 w 395"/>
                    <a:gd name="T21" fmla="*/ 0 h 631"/>
                    <a:gd name="T22" fmla="*/ 161 w 395"/>
                    <a:gd name="T23" fmla="*/ 546 h 631"/>
                    <a:gd name="T24" fmla="*/ 83 w 395"/>
                    <a:gd name="T25" fmla="*/ 550 h 631"/>
                    <a:gd name="T26" fmla="*/ 73 w 395"/>
                    <a:gd name="T27" fmla="*/ 510 h 631"/>
                    <a:gd name="T28" fmla="*/ 148 w 395"/>
                    <a:gd name="T29" fmla="*/ 493 h 631"/>
                    <a:gd name="T30" fmla="*/ 167 w 395"/>
                    <a:gd name="T31" fmla="*/ 510 h 631"/>
                    <a:gd name="T32" fmla="*/ 161 w 395"/>
                    <a:gd name="T33" fmla="*/ 441 h 631"/>
                    <a:gd name="T34" fmla="*/ 83 w 395"/>
                    <a:gd name="T35" fmla="*/ 445 h 631"/>
                    <a:gd name="T36" fmla="*/ 73 w 395"/>
                    <a:gd name="T37" fmla="*/ 406 h 631"/>
                    <a:gd name="T38" fmla="*/ 148 w 395"/>
                    <a:gd name="T39" fmla="*/ 389 h 631"/>
                    <a:gd name="T40" fmla="*/ 167 w 395"/>
                    <a:gd name="T41" fmla="*/ 406 h 631"/>
                    <a:gd name="T42" fmla="*/ 161 w 395"/>
                    <a:gd name="T43" fmla="*/ 337 h 631"/>
                    <a:gd name="T44" fmla="*/ 83 w 395"/>
                    <a:gd name="T45" fmla="*/ 341 h 631"/>
                    <a:gd name="T46" fmla="*/ 73 w 395"/>
                    <a:gd name="T47" fmla="*/ 301 h 631"/>
                    <a:gd name="T48" fmla="*/ 148 w 395"/>
                    <a:gd name="T49" fmla="*/ 282 h 631"/>
                    <a:gd name="T50" fmla="*/ 167 w 395"/>
                    <a:gd name="T51" fmla="*/ 301 h 631"/>
                    <a:gd name="T52" fmla="*/ 161 w 395"/>
                    <a:gd name="T53" fmla="*/ 232 h 631"/>
                    <a:gd name="T54" fmla="*/ 83 w 395"/>
                    <a:gd name="T55" fmla="*/ 236 h 631"/>
                    <a:gd name="T56" fmla="*/ 73 w 395"/>
                    <a:gd name="T57" fmla="*/ 197 h 631"/>
                    <a:gd name="T58" fmla="*/ 148 w 395"/>
                    <a:gd name="T59" fmla="*/ 178 h 631"/>
                    <a:gd name="T60" fmla="*/ 167 w 395"/>
                    <a:gd name="T61" fmla="*/ 197 h 631"/>
                    <a:gd name="T62" fmla="*/ 161 w 395"/>
                    <a:gd name="T63" fmla="*/ 128 h 631"/>
                    <a:gd name="T64" fmla="*/ 83 w 395"/>
                    <a:gd name="T65" fmla="*/ 132 h 631"/>
                    <a:gd name="T66" fmla="*/ 73 w 395"/>
                    <a:gd name="T67" fmla="*/ 92 h 631"/>
                    <a:gd name="T68" fmla="*/ 148 w 395"/>
                    <a:gd name="T69" fmla="*/ 73 h 631"/>
                    <a:gd name="T70" fmla="*/ 167 w 395"/>
                    <a:gd name="T71" fmla="*/ 92 h 631"/>
                    <a:gd name="T72" fmla="*/ 318 w 395"/>
                    <a:gd name="T73" fmla="*/ 441 h 631"/>
                    <a:gd name="T74" fmla="*/ 238 w 395"/>
                    <a:gd name="T75" fmla="*/ 445 h 631"/>
                    <a:gd name="T76" fmla="*/ 228 w 395"/>
                    <a:gd name="T77" fmla="*/ 406 h 631"/>
                    <a:gd name="T78" fmla="*/ 305 w 395"/>
                    <a:gd name="T79" fmla="*/ 389 h 631"/>
                    <a:gd name="T80" fmla="*/ 322 w 395"/>
                    <a:gd name="T81" fmla="*/ 406 h 631"/>
                    <a:gd name="T82" fmla="*/ 318 w 395"/>
                    <a:gd name="T83" fmla="*/ 337 h 631"/>
                    <a:gd name="T84" fmla="*/ 238 w 395"/>
                    <a:gd name="T85" fmla="*/ 341 h 631"/>
                    <a:gd name="T86" fmla="*/ 228 w 395"/>
                    <a:gd name="T87" fmla="*/ 301 h 631"/>
                    <a:gd name="T88" fmla="*/ 305 w 395"/>
                    <a:gd name="T89" fmla="*/ 282 h 631"/>
                    <a:gd name="T90" fmla="*/ 322 w 395"/>
                    <a:gd name="T91" fmla="*/ 301 h 631"/>
                    <a:gd name="T92" fmla="*/ 318 w 395"/>
                    <a:gd name="T93" fmla="*/ 232 h 631"/>
                    <a:gd name="T94" fmla="*/ 238 w 395"/>
                    <a:gd name="T95" fmla="*/ 236 h 631"/>
                    <a:gd name="T96" fmla="*/ 228 w 395"/>
                    <a:gd name="T97" fmla="*/ 197 h 631"/>
                    <a:gd name="T98" fmla="*/ 305 w 395"/>
                    <a:gd name="T99" fmla="*/ 178 h 631"/>
                    <a:gd name="T100" fmla="*/ 322 w 395"/>
                    <a:gd name="T101" fmla="*/ 197 h 631"/>
                    <a:gd name="T102" fmla="*/ 318 w 395"/>
                    <a:gd name="T103" fmla="*/ 128 h 631"/>
                    <a:gd name="T104" fmla="*/ 238 w 395"/>
                    <a:gd name="T105" fmla="*/ 132 h 631"/>
                    <a:gd name="T106" fmla="*/ 228 w 395"/>
                    <a:gd name="T107" fmla="*/ 92 h 631"/>
                    <a:gd name="T108" fmla="*/ 305 w 395"/>
                    <a:gd name="T109" fmla="*/ 73 h 631"/>
                    <a:gd name="T110" fmla="*/ 322 w 395"/>
                    <a:gd name="T111" fmla="*/ 92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5" h="631">
                      <a:moveTo>
                        <a:pt x="351" y="0"/>
                      </a:moveTo>
                      <a:lnTo>
                        <a:pt x="44" y="0"/>
                      </a:lnTo>
                      <a:lnTo>
                        <a:pt x="44" y="0"/>
                      </a:lnTo>
                      <a:lnTo>
                        <a:pt x="35" y="0"/>
                      </a:lnTo>
                      <a:lnTo>
                        <a:pt x="27" y="2"/>
                      </a:lnTo>
                      <a:lnTo>
                        <a:pt x="19" y="6"/>
                      </a:lnTo>
                      <a:lnTo>
                        <a:pt x="12" y="13"/>
                      </a:lnTo>
                      <a:lnTo>
                        <a:pt x="6" y="19"/>
                      </a:lnTo>
                      <a:lnTo>
                        <a:pt x="2" y="25"/>
                      </a:lnTo>
                      <a:lnTo>
                        <a:pt x="0" y="33"/>
                      </a:lnTo>
                      <a:lnTo>
                        <a:pt x="0" y="44"/>
                      </a:lnTo>
                      <a:lnTo>
                        <a:pt x="0" y="587"/>
                      </a:lnTo>
                      <a:lnTo>
                        <a:pt x="0" y="587"/>
                      </a:lnTo>
                      <a:lnTo>
                        <a:pt x="0" y="596"/>
                      </a:lnTo>
                      <a:lnTo>
                        <a:pt x="2" y="604"/>
                      </a:lnTo>
                      <a:lnTo>
                        <a:pt x="6" y="613"/>
                      </a:lnTo>
                      <a:lnTo>
                        <a:pt x="12" y="619"/>
                      </a:lnTo>
                      <a:lnTo>
                        <a:pt x="19" y="625"/>
                      </a:lnTo>
                      <a:lnTo>
                        <a:pt x="27" y="629"/>
                      </a:lnTo>
                      <a:lnTo>
                        <a:pt x="35" y="631"/>
                      </a:lnTo>
                      <a:lnTo>
                        <a:pt x="44" y="631"/>
                      </a:lnTo>
                      <a:lnTo>
                        <a:pt x="236" y="631"/>
                      </a:lnTo>
                      <a:lnTo>
                        <a:pt x="236" y="514"/>
                      </a:lnTo>
                      <a:lnTo>
                        <a:pt x="236" y="514"/>
                      </a:lnTo>
                      <a:lnTo>
                        <a:pt x="236" y="508"/>
                      </a:lnTo>
                      <a:lnTo>
                        <a:pt x="240" y="502"/>
                      </a:lnTo>
                      <a:lnTo>
                        <a:pt x="247" y="498"/>
                      </a:lnTo>
                      <a:lnTo>
                        <a:pt x="255" y="498"/>
                      </a:lnTo>
                      <a:lnTo>
                        <a:pt x="311" y="498"/>
                      </a:lnTo>
                      <a:lnTo>
                        <a:pt x="311" y="498"/>
                      </a:lnTo>
                      <a:lnTo>
                        <a:pt x="318" y="498"/>
                      </a:lnTo>
                      <a:lnTo>
                        <a:pt x="324" y="502"/>
                      </a:lnTo>
                      <a:lnTo>
                        <a:pt x="328" y="508"/>
                      </a:lnTo>
                      <a:lnTo>
                        <a:pt x="330" y="514"/>
                      </a:lnTo>
                      <a:lnTo>
                        <a:pt x="330" y="631"/>
                      </a:lnTo>
                      <a:lnTo>
                        <a:pt x="351" y="631"/>
                      </a:lnTo>
                      <a:lnTo>
                        <a:pt x="351" y="631"/>
                      </a:lnTo>
                      <a:lnTo>
                        <a:pt x="359" y="631"/>
                      </a:lnTo>
                      <a:lnTo>
                        <a:pt x="368" y="629"/>
                      </a:lnTo>
                      <a:lnTo>
                        <a:pt x="376" y="625"/>
                      </a:lnTo>
                      <a:lnTo>
                        <a:pt x="382" y="619"/>
                      </a:lnTo>
                      <a:lnTo>
                        <a:pt x="389" y="613"/>
                      </a:lnTo>
                      <a:lnTo>
                        <a:pt x="393" y="604"/>
                      </a:lnTo>
                      <a:lnTo>
                        <a:pt x="395" y="596"/>
                      </a:lnTo>
                      <a:lnTo>
                        <a:pt x="395" y="587"/>
                      </a:lnTo>
                      <a:lnTo>
                        <a:pt x="395" y="44"/>
                      </a:lnTo>
                      <a:lnTo>
                        <a:pt x="395" y="44"/>
                      </a:lnTo>
                      <a:lnTo>
                        <a:pt x="395" y="33"/>
                      </a:lnTo>
                      <a:lnTo>
                        <a:pt x="393" y="25"/>
                      </a:lnTo>
                      <a:lnTo>
                        <a:pt x="389" y="19"/>
                      </a:lnTo>
                      <a:lnTo>
                        <a:pt x="382" y="13"/>
                      </a:lnTo>
                      <a:lnTo>
                        <a:pt x="376" y="6"/>
                      </a:lnTo>
                      <a:lnTo>
                        <a:pt x="368" y="2"/>
                      </a:lnTo>
                      <a:lnTo>
                        <a:pt x="359" y="0"/>
                      </a:lnTo>
                      <a:lnTo>
                        <a:pt x="351" y="0"/>
                      </a:lnTo>
                      <a:lnTo>
                        <a:pt x="351" y="0"/>
                      </a:lnTo>
                      <a:close/>
                      <a:moveTo>
                        <a:pt x="167" y="533"/>
                      </a:moveTo>
                      <a:lnTo>
                        <a:pt x="167" y="533"/>
                      </a:lnTo>
                      <a:lnTo>
                        <a:pt x="165" y="539"/>
                      </a:lnTo>
                      <a:lnTo>
                        <a:pt x="161" y="546"/>
                      </a:lnTo>
                      <a:lnTo>
                        <a:pt x="157" y="550"/>
                      </a:lnTo>
                      <a:lnTo>
                        <a:pt x="148" y="552"/>
                      </a:lnTo>
                      <a:lnTo>
                        <a:pt x="90" y="552"/>
                      </a:lnTo>
                      <a:lnTo>
                        <a:pt x="90" y="552"/>
                      </a:lnTo>
                      <a:lnTo>
                        <a:pt x="83" y="550"/>
                      </a:lnTo>
                      <a:lnTo>
                        <a:pt x="77" y="546"/>
                      </a:lnTo>
                      <a:lnTo>
                        <a:pt x="73" y="539"/>
                      </a:lnTo>
                      <a:lnTo>
                        <a:pt x="73" y="533"/>
                      </a:lnTo>
                      <a:lnTo>
                        <a:pt x="73" y="510"/>
                      </a:lnTo>
                      <a:lnTo>
                        <a:pt x="73" y="510"/>
                      </a:lnTo>
                      <a:lnTo>
                        <a:pt x="73" y="504"/>
                      </a:lnTo>
                      <a:lnTo>
                        <a:pt x="77" y="498"/>
                      </a:lnTo>
                      <a:lnTo>
                        <a:pt x="83" y="493"/>
                      </a:lnTo>
                      <a:lnTo>
                        <a:pt x="90" y="493"/>
                      </a:lnTo>
                      <a:lnTo>
                        <a:pt x="148" y="493"/>
                      </a:lnTo>
                      <a:lnTo>
                        <a:pt x="148" y="493"/>
                      </a:lnTo>
                      <a:lnTo>
                        <a:pt x="157" y="493"/>
                      </a:lnTo>
                      <a:lnTo>
                        <a:pt x="161" y="498"/>
                      </a:lnTo>
                      <a:lnTo>
                        <a:pt x="165" y="504"/>
                      </a:lnTo>
                      <a:lnTo>
                        <a:pt x="167" y="510"/>
                      </a:lnTo>
                      <a:lnTo>
                        <a:pt x="167" y="533"/>
                      </a:lnTo>
                      <a:close/>
                      <a:moveTo>
                        <a:pt x="167" y="429"/>
                      </a:moveTo>
                      <a:lnTo>
                        <a:pt x="167" y="429"/>
                      </a:lnTo>
                      <a:lnTo>
                        <a:pt x="165" y="435"/>
                      </a:lnTo>
                      <a:lnTo>
                        <a:pt x="161" y="441"/>
                      </a:lnTo>
                      <a:lnTo>
                        <a:pt x="157" y="445"/>
                      </a:lnTo>
                      <a:lnTo>
                        <a:pt x="148" y="447"/>
                      </a:lnTo>
                      <a:lnTo>
                        <a:pt x="90" y="447"/>
                      </a:lnTo>
                      <a:lnTo>
                        <a:pt x="90" y="447"/>
                      </a:lnTo>
                      <a:lnTo>
                        <a:pt x="83" y="445"/>
                      </a:lnTo>
                      <a:lnTo>
                        <a:pt x="77" y="441"/>
                      </a:lnTo>
                      <a:lnTo>
                        <a:pt x="73" y="435"/>
                      </a:lnTo>
                      <a:lnTo>
                        <a:pt x="73" y="429"/>
                      </a:lnTo>
                      <a:lnTo>
                        <a:pt x="73" y="406"/>
                      </a:lnTo>
                      <a:lnTo>
                        <a:pt x="73" y="406"/>
                      </a:lnTo>
                      <a:lnTo>
                        <a:pt x="73" y="399"/>
                      </a:lnTo>
                      <a:lnTo>
                        <a:pt x="77" y="393"/>
                      </a:lnTo>
                      <a:lnTo>
                        <a:pt x="83" y="389"/>
                      </a:lnTo>
                      <a:lnTo>
                        <a:pt x="90" y="389"/>
                      </a:lnTo>
                      <a:lnTo>
                        <a:pt x="148" y="389"/>
                      </a:lnTo>
                      <a:lnTo>
                        <a:pt x="148" y="389"/>
                      </a:lnTo>
                      <a:lnTo>
                        <a:pt x="157" y="389"/>
                      </a:lnTo>
                      <a:lnTo>
                        <a:pt x="161" y="393"/>
                      </a:lnTo>
                      <a:lnTo>
                        <a:pt x="165" y="399"/>
                      </a:lnTo>
                      <a:lnTo>
                        <a:pt x="167" y="406"/>
                      </a:lnTo>
                      <a:lnTo>
                        <a:pt x="167" y="429"/>
                      </a:lnTo>
                      <a:close/>
                      <a:moveTo>
                        <a:pt x="167" y="324"/>
                      </a:moveTo>
                      <a:lnTo>
                        <a:pt x="167" y="324"/>
                      </a:lnTo>
                      <a:lnTo>
                        <a:pt x="165" y="330"/>
                      </a:lnTo>
                      <a:lnTo>
                        <a:pt x="161" y="337"/>
                      </a:lnTo>
                      <a:lnTo>
                        <a:pt x="157" y="341"/>
                      </a:lnTo>
                      <a:lnTo>
                        <a:pt x="148" y="341"/>
                      </a:lnTo>
                      <a:lnTo>
                        <a:pt x="90" y="341"/>
                      </a:lnTo>
                      <a:lnTo>
                        <a:pt x="90" y="341"/>
                      </a:lnTo>
                      <a:lnTo>
                        <a:pt x="83" y="341"/>
                      </a:lnTo>
                      <a:lnTo>
                        <a:pt x="77" y="337"/>
                      </a:lnTo>
                      <a:lnTo>
                        <a:pt x="73" y="330"/>
                      </a:lnTo>
                      <a:lnTo>
                        <a:pt x="73" y="324"/>
                      </a:lnTo>
                      <a:lnTo>
                        <a:pt x="73" y="301"/>
                      </a:lnTo>
                      <a:lnTo>
                        <a:pt x="73" y="301"/>
                      </a:lnTo>
                      <a:lnTo>
                        <a:pt x="73" y="295"/>
                      </a:lnTo>
                      <a:lnTo>
                        <a:pt x="77" y="289"/>
                      </a:lnTo>
                      <a:lnTo>
                        <a:pt x="83" y="284"/>
                      </a:lnTo>
                      <a:lnTo>
                        <a:pt x="90" y="282"/>
                      </a:lnTo>
                      <a:lnTo>
                        <a:pt x="148" y="282"/>
                      </a:lnTo>
                      <a:lnTo>
                        <a:pt x="148" y="282"/>
                      </a:lnTo>
                      <a:lnTo>
                        <a:pt x="157" y="284"/>
                      </a:lnTo>
                      <a:lnTo>
                        <a:pt x="161" y="289"/>
                      </a:lnTo>
                      <a:lnTo>
                        <a:pt x="165" y="295"/>
                      </a:lnTo>
                      <a:lnTo>
                        <a:pt x="167" y="301"/>
                      </a:lnTo>
                      <a:lnTo>
                        <a:pt x="167" y="324"/>
                      </a:lnTo>
                      <a:close/>
                      <a:moveTo>
                        <a:pt x="167" y="220"/>
                      </a:moveTo>
                      <a:lnTo>
                        <a:pt x="167" y="220"/>
                      </a:lnTo>
                      <a:lnTo>
                        <a:pt x="165" y="226"/>
                      </a:lnTo>
                      <a:lnTo>
                        <a:pt x="161" y="232"/>
                      </a:lnTo>
                      <a:lnTo>
                        <a:pt x="157" y="236"/>
                      </a:lnTo>
                      <a:lnTo>
                        <a:pt x="148" y="236"/>
                      </a:lnTo>
                      <a:lnTo>
                        <a:pt x="90" y="236"/>
                      </a:lnTo>
                      <a:lnTo>
                        <a:pt x="90" y="236"/>
                      </a:lnTo>
                      <a:lnTo>
                        <a:pt x="83" y="236"/>
                      </a:lnTo>
                      <a:lnTo>
                        <a:pt x="77" y="232"/>
                      </a:lnTo>
                      <a:lnTo>
                        <a:pt x="73" y="226"/>
                      </a:lnTo>
                      <a:lnTo>
                        <a:pt x="73" y="220"/>
                      </a:lnTo>
                      <a:lnTo>
                        <a:pt x="73" y="197"/>
                      </a:lnTo>
                      <a:lnTo>
                        <a:pt x="73" y="197"/>
                      </a:lnTo>
                      <a:lnTo>
                        <a:pt x="73" y="190"/>
                      </a:lnTo>
                      <a:lnTo>
                        <a:pt x="77" y="184"/>
                      </a:lnTo>
                      <a:lnTo>
                        <a:pt x="83" y="180"/>
                      </a:lnTo>
                      <a:lnTo>
                        <a:pt x="90" y="178"/>
                      </a:lnTo>
                      <a:lnTo>
                        <a:pt x="148" y="178"/>
                      </a:lnTo>
                      <a:lnTo>
                        <a:pt x="148" y="178"/>
                      </a:lnTo>
                      <a:lnTo>
                        <a:pt x="157" y="180"/>
                      </a:lnTo>
                      <a:lnTo>
                        <a:pt x="161" y="184"/>
                      </a:lnTo>
                      <a:lnTo>
                        <a:pt x="165" y="190"/>
                      </a:lnTo>
                      <a:lnTo>
                        <a:pt x="167" y="197"/>
                      </a:lnTo>
                      <a:lnTo>
                        <a:pt x="167" y="220"/>
                      </a:lnTo>
                      <a:close/>
                      <a:moveTo>
                        <a:pt x="167" y="115"/>
                      </a:moveTo>
                      <a:lnTo>
                        <a:pt x="167" y="115"/>
                      </a:lnTo>
                      <a:lnTo>
                        <a:pt x="165" y="121"/>
                      </a:lnTo>
                      <a:lnTo>
                        <a:pt x="161" y="128"/>
                      </a:lnTo>
                      <a:lnTo>
                        <a:pt x="157" y="132"/>
                      </a:lnTo>
                      <a:lnTo>
                        <a:pt x="148" y="132"/>
                      </a:lnTo>
                      <a:lnTo>
                        <a:pt x="90" y="132"/>
                      </a:lnTo>
                      <a:lnTo>
                        <a:pt x="90" y="132"/>
                      </a:lnTo>
                      <a:lnTo>
                        <a:pt x="83" y="132"/>
                      </a:lnTo>
                      <a:lnTo>
                        <a:pt x="77" y="128"/>
                      </a:lnTo>
                      <a:lnTo>
                        <a:pt x="73" y="121"/>
                      </a:lnTo>
                      <a:lnTo>
                        <a:pt x="73" y="115"/>
                      </a:lnTo>
                      <a:lnTo>
                        <a:pt x="73" y="92"/>
                      </a:lnTo>
                      <a:lnTo>
                        <a:pt x="73" y="92"/>
                      </a:lnTo>
                      <a:lnTo>
                        <a:pt x="73" y="86"/>
                      </a:lnTo>
                      <a:lnTo>
                        <a:pt x="77" y="79"/>
                      </a:lnTo>
                      <a:lnTo>
                        <a:pt x="83" y="75"/>
                      </a:lnTo>
                      <a:lnTo>
                        <a:pt x="90" y="73"/>
                      </a:lnTo>
                      <a:lnTo>
                        <a:pt x="148" y="73"/>
                      </a:lnTo>
                      <a:lnTo>
                        <a:pt x="148" y="73"/>
                      </a:lnTo>
                      <a:lnTo>
                        <a:pt x="157" y="75"/>
                      </a:lnTo>
                      <a:lnTo>
                        <a:pt x="161" y="79"/>
                      </a:lnTo>
                      <a:lnTo>
                        <a:pt x="165" y="86"/>
                      </a:lnTo>
                      <a:lnTo>
                        <a:pt x="167" y="92"/>
                      </a:lnTo>
                      <a:lnTo>
                        <a:pt x="167" y="115"/>
                      </a:lnTo>
                      <a:close/>
                      <a:moveTo>
                        <a:pt x="322" y="429"/>
                      </a:moveTo>
                      <a:lnTo>
                        <a:pt x="322" y="429"/>
                      </a:lnTo>
                      <a:lnTo>
                        <a:pt x="322" y="435"/>
                      </a:lnTo>
                      <a:lnTo>
                        <a:pt x="318" y="441"/>
                      </a:lnTo>
                      <a:lnTo>
                        <a:pt x="311" y="445"/>
                      </a:lnTo>
                      <a:lnTo>
                        <a:pt x="305" y="447"/>
                      </a:lnTo>
                      <a:lnTo>
                        <a:pt x="247" y="447"/>
                      </a:lnTo>
                      <a:lnTo>
                        <a:pt x="247" y="447"/>
                      </a:lnTo>
                      <a:lnTo>
                        <a:pt x="238" y="445"/>
                      </a:lnTo>
                      <a:lnTo>
                        <a:pt x="234" y="441"/>
                      </a:lnTo>
                      <a:lnTo>
                        <a:pt x="230" y="435"/>
                      </a:lnTo>
                      <a:lnTo>
                        <a:pt x="228" y="429"/>
                      </a:lnTo>
                      <a:lnTo>
                        <a:pt x="228" y="406"/>
                      </a:lnTo>
                      <a:lnTo>
                        <a:pt x="228" y="406"/>
                      </a:lnTo>
                      <a:lnTo>
                        <a:pt x="230" y="399"/>
                      </a:lnTo>
                      <a:lnTo>
                        <a:pt x="234" y="393"/>
                      </a:lnTo>
                      <a:lnTo>
                        <a:pt x="238" y="389"/>
                      </a:lnTo>
                      <a:lnTo>
                        <a:pt x="247" y="389"/>
                      </a:lnTo>
                      <a:lnTo>
                        <a:pt x="305" y="389"/>
                      </a:lnTo>
                      <a:lnTo>
                        <a:pt x="305" y="389"/>
                      </a:lnTo>
                      <a:lnTo>
                        <a:pt x="311" y="389"/>
                      </a:lnTo>
                      <a:lnTo>
                        <a:pt x="318" y="393"/>
                      </a:lnTo>
                      <a:lnTo>
                        <a:pt x="322" y="399"/>
                      </a:lnTo>
                      <a:lnTo>
                        <a:pt x="322" y="406"/>
                      </a:lnTo>
                      <a:lnTo>
                        <a:pt x="322" y="429"/>
                      </a:lnTo>
                      <a:close/>
                      <a:moveTo>
                        <a:pt x="322" y="324"/>
                      </a:moveTo>
                      <a:lnTo>
                        <a:pt x="322" y="324"/>
                      </a:lnTo>
                      <a:lnTo>
                        <a:pt x="322" y="330"/>
                      </a:lnTo>
                      <a:lnTo>
                        <a:pt x="318" y="337"/>
                      </a:lnTo>
                      <a:lnTo>
                        <a:pt x="311" y="341"/>
                      </a:lnTo>
                      <a:lnTo>
                        <a:pt x="305" y="341"/>
                      </a:lnTo>
                      <a:lnTo>
                        <a:pt x="247" y="341"/>
                      </a:lnTo>
                      <a:lnTo>
                        <a:pt x="247" y="341"/>
                      </a:lnTo>
                      <a:lnTo>
                        <a:pt x="238" y="341"/>
                      </a:lnTo>
                      <a:lnTo>
                        <a:pt x="234" y="337"/>
                      </a:lnTo>
                      <a:lnTo>
                        <a:pt x="230" y="330"/>
                      </a:lnTo>
                      <a:lnTo>
                        <a:pt x="228" y="324"/>
                      </a:lnTo>
                      <a:lnTo>
                        <a:pt x="228" y="301"/>
                      </a:lnTo>
                      <a:lnTo>
                        <a:pt x="228" y="301"/>
                      </a:lnTo>
                      <a:lnTo>
                        <a:pt x="230" y="295"/>
                      </a:lnTo>
                      <a:lnTo>
                        <a:pt x="234" y="289"/>
                      </a:lnTo>
                      <a:lnTo>
                        <a:pt x="238" y="284"/>
                      </a:lnTo>
                      <a:lnTo>
                        <a:pt x="247" y="282"/>
                      </a:lnTo>
                      <a:lnTo>
                        <a:pt x="305" y="282"/>
                      </a:lnTo>
                      <a:lnTo>
                        <a:pt x="305" y="282"/>
                      </a:lnTo>
                      <a:lnTo>
                        <a:pt x="311" y="284"/>
                      </a:lnTo>
                      <a:lnTo>
                        <a:pt x="318" y="289"/>
                      </a:lnTo>
                      <a:lnTo>
                        <a:pt x="322" y="295"/>
                      </a:lnTo>
                      <a:lnTo>
                        <a:pt x="322" y="301"/>
                      </a:lnTo>
                      <a:lnTo>
                        <a:pt x="322" y="324"/>
                      </a:lnTo>
                      <a:close/>
                      <a:moveTo>
                        <a:pt x="322" y="220"/>
                      </a:moveTo>
                      <a:lnTo>
                        <a:pt x="322" y="220"/>
                      </a:lnTo>
                      <a:lnTo>
                        <a:pt x="322" y="226"/>
                      </a:lnTo>
                      <a:lnTo>
                        <a:pt x="318" y="232"/>
                      </a:lnTo>
                      <a:lnTo>
                        <a:pt x="311" y="236"/>
                      </a:lnTo>
                      <a:lnTo>
                        <a:pt x="305" y="236"/>
                      </a:lnTo>
                      <a:lnTo>
                        <a:pt x="247" y="236"/>
                      </a:lnTo>
                      <a:lnTo>
                        <a:pt x="247" y="236"/>
                      </a:lnTo>
                      <a:lnTo>
                        <a:pt x="238" y="236"/>
                      </a:lnTo>
                      <a:lnTo>
                        <a:pt x="234" y="232"/>
                      </a:lnTo>
                      <a:lnTo>
                        <a:pt x="230" y="226"/>
                      </a:lnTo>
                      <a:lnTo>
                        <a:pt x="228" y="220"/>
                      </a:lnTo>
                      <a:lnTo>
                        <a:pt x="228" y="197"/>
                      </a:lnTo>
                      <a:lnTo>
                        <a:pt x="228" y="197"/>
                      </a:lnTo>
                      <a:lnTo>
                        <a:pt x="230" y="190"/>
                      </a:lnTo>
                      <a:lnTo>
                        <a:pt x="234" y="184"/>
                      </a:lnTo>
                      <a:lnTo>
                        <a:pt x="238" y="180"/>
                      </a:lnTo>
                      <a:lnTo>
                        <a:pt x="247" y="178"/>
                      </a:lnTo>
                      <a:lnTo>
                        <a:pt x="305" y="178"/>
                      </a:lnTo>
                      <a:lnTo>
                        <a:pt x="305" y="178"/>
                      </a:lnTo>
                      <a:lnTo>
                        <a:pt x="311" y="180"/>
                      </a:lnTo>
                      <a:lnTo>
                        <a:pt x="318" y="184"/>
                      </a:lnTo>
                      <a:lnTo>
                        <a:pt x="322" y="190"/>
                      </a:lnTo>
                      <a:lnTo>
                        <a:pt x="322" y="197"/>
                      </a:lnTo>
                      <a:lnTo>
                        <a:pt x="322" y="220"/>
                      </a:lnTo>
                      <a:close/>
                      <a:moveTo>
                        <a:pt x="322" y="115"/>
                      </a:moveTo>
                      <a:lnTo>
                        <a:pt x="322" y="115"/>
                      </a:lnTo>
                      <a:lnTo>
                        <a:pt x="322" y="121"/>
                      </a:lnTo>
                      <a:lnTo>
                        <a:pt x="318" y="128"/>
                      </a:lnTo>
                      <a:lnTo>
                        <a:pt x="311" y="132"/>
                      </a:lnTo>
                      <a:lnTo>
                        <a:pt x="305" y="132"/>
                      </a:lnTo>
                      <a:lnTo>
                        <a:pt x="247" y="132"/>
                      </a:lnTo>
                      <a:lnTo>
                        <a:pt x="247" y="132"/>
                      </a:lnTo>
                      <a:lnTo>
                        <a:pt x="238" y="132"/>
                      </a:lnTo>
                      <a:lnTo>
                        <a:pt x="234" y="128"/>
                      </a:lnTo>
                      <a:lnTo>
                        <a:pt x="230" y="121"/>
                      </a:lnTo>
                      <a:lnTo>
                        <a:pt x="228" y="115"/>
                      </a:lnTo>
                      <a:lnTo>
                        <a:pt x="228" y="92"/>
                      </a:lnTo>
                      <a:lnTo>
                        <a:pt x="228" y="92"/>
                      </a:lnTo>
                      <a:lnTo>
                        <a:pt x="230" y="86"/>
                      </a:lnTo>
                      <a:lnTo>
                        <a:pt x="234" y="79"/>
                      </a:lnTo>
                      <a:lnTo>
                        <a:pt x="238" y="75"/>
                      </a:lnTo>
                      <a:lnTo>
                        <a:pt x="247" y="73"/>
                      </a:lnTo>
                      <a:lnTo>
                        <a:pt x="305" y="73"/>
                      </a:lnTo>
                      <a:lnTo>
                        <a:pt x="305" y="73"/>
                      </a:lnTo>
                      <a:lnTo>
                        <a:pt x="311" y="75"/>
                      </a:lnTo>
                      <a:lnTo>
                        <a:pt x="318" y="79"/>
                      </a:lnTo>
                      <a:lnTo>
                        <a:pt x="322" y="86"/>
                      </a:lnTo>
                      <a:lnTo>
                        <a:pt x="322" y="92"/>
                      </a:lnTo>
                      <a:lnTo>
                        <a:pt x="322" y="115"/>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4" name="Freeform 19"/>
                <p:cNvSpPr>
                  <a:spLocks noEditPoints="1"/>
                </p:cNvSpPr>
                <p:nvPr/>
              </p:nvSpPr>
              <p:spPr bwMode="auto">
                <a:xfrm>
                  <a:off x="10433466" y="1088191"/>
                  <a:ext cx="226411" cy="614615"/>
                </a:xfrm>
                <a:custGeom>
                  <a:avLst/>
                  <a:gdLst>
                    <a:gd name="T0" fmla="*/ 385 w 452"/>
                    <a:gd name="T1" fmla="*/ 351 h 1227"/>
                    <a:gd name="T2" fmla="*/ 364 w 452"/>
                    <a:gd name="T3" fmla="*/ 314 h 1227"/>
                    <a:gd name="T4" fmla="*/ 335 w 452"/>
                    <a:gd name="T5" fmla="*/ 291 h 1227"/>
                    <a:gd name="T6" fmla="*/ 322 w 452"/>
                    <a:gd name="T7" fmla="*/ 255 h 1227"/>
                    <a:gd name="T8" fmla="*/ 282 w 452"/>
                    <a:gd name="T9" fmla="*/ 228 h 1227"/>
                    <a:gd name="T10" fmla="*/ 236 w 452"/>
                    <a:gd name="T11" fmla="*/ 27 h 1227"/>
                    <a:gd name="T12" fmla="*/ 226 w 452"/>
                    <a:gd name="T13" fmla="*/ 0 h 1227"/>
                    <a:gd name="T14" fmla="*/ 215 w 452"/>
                    <a:gd name="T15" fmla="*/ 17 h 1227"/>
                    <a:gd name="T16" fmla="*/ 182 w 452"/>
                    <a:gd name="T17" fmla="*/ 226 h 1227"/>
                    <a:gd name="T18" fmla="*/ 136 w 452"/>
                    <a:gd name="T19" fmla="*/ 245 h 1227"/>
                    <a:gd name="T20" fmla="*/ 117 w 452"/>
                    <a:gd name="T21" fmla="*/ 291 h 1227"/>
                    <a:gd name="T22" fmla="*/ 96 w 452"/>
                    <a:gd name="T23" fmla="*/ 309 h 1227"/>
                    <a:gd name="T24" fmla="*/ 69 w 452"/>
                    <a:gd name="T25" fmla="*/ 341 h 1227"/>
                    <a:gd name="T26" fmla="*/ 65 w 452"/>
                    <a:gd name="T27" fmla="*/ 362 h 1227"/>
                    <a:gd name="T28" fmla="*/ 19 w 452"/>
                    <a:gd name="T29" fmla="*/ 380 h 1227"/>
                    <a:gd name="T30" fmla="*/ 0 w 452"/>
                    <a:gd name="T31" fmla="*/ 426 h 1227"/>
                    <a:gd name="T32" fmla="*/ 4 w 452"/>
                    <a:gd name="T33" fmla="*/ 1200 h 1227"/>
                    <a:gd name="T34" fmla="*/ 27 w 452"/>
                    <a:gd name="T35" fmla="*/ 1223 h 1227"/>
                    <a:gd name="T36" fmla="*/ 126 w 452"/>
                    <a:gd name="T37" fmla="*/ 1227 h 1227"/>
                    <a:gd name="T38" fmla="*/ 169 w 452"/>
                    <a:gd name="T39" fmla="*/ 1075 h 1227"/>
                    <a:gd name="T40" fmla="*/ 276 w 452"/>
                    <a:gd name="T41" fmla="*/ 1066 h 1227"/>
                    <a:gd name="T42" fmla="*/ 324 w 452"/>
                    <a:gd name="T43" fmla="*/ 1227 h 1227"/>
                    <a:gd name="T44" fmla="*/ 408 w 452"/>
                    <a:gd name="T45" fmla="*/ 1227 h 1227"/>
                    <a:gd name="T46" fmla="*/ 439 w 452"/>
                    <a:gd name="T47" fmla="*/ 1213 h 1227"/>
                    <a:gd name="T48" fmla="*/ 452 w 452"/>
                    <a:gd name="T49" fmla="*/ 1183 h 1227"/>
                    <a:gd name="T50" fmla="*/ 445 w 452"/>
                    <a:gd name="T51" fmla="*/ 401 h 1227"/>
                    <a:gd name="T52" fmla="*/ 412 w 452"/>
                    <a:gd name="T53" fmla="*/ 368 h 1227"/>
                    <a:gd name="T54" fmla="*/ 324 w 452"/>
                    <a:gd name="T55" fmla="*/ 968 h 1227"/>
                    <a:gd name="T56" fmla="*/ 105 w 452"/>
                    <a:gd name="T57" fmla="*/ 962 h 1227"/>
                    <a:gd name="T58" fmla="*/ 100 w 452"/>
                    <a:gd name="T59" fmla="*/ 935 h 1227"/>
                    <a:gd name="T60" fmla="*/ 324 w 452"/>
                    <a:gd name="T61" fmla="*/ 918 h 1227"/>
                    <a:gd name="T62" fmla="*/ 349 w 452"/>
                    <a:gd name="T63" fmla="*/ 935 h 1227"/>
                    <a:gd name="T64" fmla="*/ 345 w 452"/>
                    <a:gd name="T65" fmla="*/ 962 h 1227"/>
                    <a:gd name="T66" fmla="*/ 324 w 452"/>
                    <a:gd name="T67" fmla="*/ 847 h 1227"/>
                    <a:gd name="T68" fmla="*/ 105 w 452"/>
                    <a:gd name="T69" fmla="*/ 838 h 1227"/>
                    <a:gd name="T70" fmla="*/ 100 w 452"/>
                    <a:gd name="T71" fmla="*/ 811 h 1227"/>
                    <a:gd name="T72" fmla="*/ 324 w 452"/>
                    <a:gd name="T73" fmla="*/ 797 h 1227"/>
                    <a:gd name="T74" fmla="*/ 349 w 452"/>
                    <a:gd name="T75" fmla="*/ 811 h 1227"/>
                    <a:gd name="T76" fmla="*/ 345 w 452"/>
                    <a:gd name="T77" fmla="*/ 838 h 1227"/>
                    <a:gd name="T78" fmla="*/ 324 w 452"/>
                    <a:gd name="T79" fmla="*/ 723 h 1227"/>
                    <a:gd name="T80" fmla="*/ 105 w 452"/>
                    <a:gd name="T81" fmla="*/ 717 h 1227"/>
                    <a:gd name="T82" fmla="*/ 100 w 452"/>
                    <a:gd name="T83" fmla="*/ 690 h 1227"/>
                    <a:gd name="T84" fmla="*/ 324 w 452"/>
                    <a:gd name="T85" fmla="*/ 673 h 1227"/>
                    <a:gd name="T86" fmla="*/ 349 w 452"/>
                    <a:gd name="T87" fmla="*/ 690 h 1227"/>
                    <a:gd name="T88" fmla="*/ 345 w 452"/>
                    <a:gd name="T89" fmla="*/ 717 h 1227"/>
                    <a:gd name="T90" fmla="*/ 324 w 452"/>
                    <a:gd name="T91" fmla="*/ 602 h 1227"/>
                    <a:gd name="T92" fmla="*/ 105 w 452"/>
                    <a:gd name="T93" fmla="*/ 594 h 1227"/>
                    <a:gd name="T94" fmla="*/ 100 w 452"/>
                    <a:gd name="T95" fmla="*/ 567 h 1227"/>
                    <a:gd name="T96" fmla="*/ 324 w 452"/>
                    <a:gd name="T97" fmla="*/ 552 h 1227"/>
                    <a:gd name="T98" fmla="*/ 349 w 452"/>
                    <a:gd name="T99" fmla="*/ 567 h 1227"/>
                    <a:gd name="T100" fmla="*/ 345 w 452"/>
                    <a:gd name="T101" fmla="*/ 594 h 1227"/>
                    <a:gd name="T102" fmla="*/ 324 w 452"/>
                    <a:gd name="T103" fmla="*/ 479 h 1227"/>
                    <a:gd name="T104" fmla="*/ 105 w 452"/>
                    <a:gd name="T105" fmla="*/ 472 h 1227"/>
                    <a:gd name="T106" fmla="*/ 100 w 452"/>
                    <a:gd name="T107" fmla="*/ 445 h 1227"/>
                    <a:gd name="T108" fmla="*/ 324 w 452"/>
                    <a:gd name="T109" fmla="*/ 429 h 1227"/>
                    <a:gd name="T110" fmla="*/ 349 w 452"/>
                    <a:gd name="T111" fmla="*/ 445 h 1227"/>
                    <a:gd name="T112" fmla="*/ 345 w 452"/>
                    <a:gd name="T113" fmla="*/ 472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2" h="1227">
                      <a:moveTo>
                        <a:pt x="387" y="362"/>
                      </a:moveTo>
                      <a:lnTo>
                        <a:pt x="387" y="362"/>
                      </a:lnTo>
                      <a:lnTo>
                        <a:pt x="387" y="362"/>
                      </a:lnTo>
                      <a:lnTo>
                        <a:pt x="385" y="351"/>
                      </a:lnTo>
                      <a:lnTo>
                        <a:pt x="383" y="341"/>
                      </a:lnTo>
                      <a:lnTo>
                        <a:pt x="376" y="330"/>
                      </a:lnTo>
                      <a:lnTo>
                        <a:pt x="370" y="322"/>
                      </a:lnTo>
                      <a:lnTo>
                        <a:pt x="364" y="314"/>
                      </a:lnTo>
                      <a:lnTo>
                        <a:pt x="356" y="309"/>
                      </a:lnTo>
                      <a:lnTo>
                        <a:pt x="345" y="303"/>
                      </a:lnTo>
                      <a:lnTo>
                        <a:pt x="335" y="301"/>
                      </a:lnTo>
                      <a:lnTo>
                        <a:pt x="335" y="291"/>
                      </a:lnTo>
                      <a:lnTo>
                        <a:pt x="335" y="291"/>
                      </a:lnTo>
                      <a:lnTo>
                        <a:pt x="333" y="278"/>
                      </a:lnTo>
                      <a:lnTo>
                        <a:pt x="328" y="266"/>
                      </a:lnTo>
                      <a:lnTo>
                        <a:pt x="322" y="255"/>
                      </a:lnTo>
                      <a:lnTo>
                        <a:pt x="316" y="245"/>
                      </a:lnTo>
                      <a:lnTo>
                        <a:pt x="305" y="236"/>
                      </a:lnTo>
                      <a:lnTo>
                        <a:pt x="295" y="232"/>
                      </a:lnTo>
                      <a:lnTo>
                        <a:pt x="282" y="228"/>
                      </a:lnTo>
                      <a:lnTo>
                        <a:pt x="270" y="226"/>
                      </a:lnTo>
                      <a:lnTo>
                        <a:pt x="251" y="226"/>
                      </a:lnTo>
                      <a:lnTo>
                        <a:pt x="236" y="27"/>
                      </a:lnTo>
                      <a:lnTo>
                        <a:pt x="236" y="27"/>
                      </a:lnTo>
                      <a:lnTo>
                        <a:pt x="236" y="17"/>
                      </a:lnTo>
                      <a:lnTo>
                        <a:pt x="234" y="8"/>
                      </a:lnTo>
                      <a:lnTo>
                        <a:pt x="230" y="2"/>
                      </a:lnTo>
                      <a:lnTo>
                        <a:pt x="226" y="0"/>
                      </a:lnTo>
                      <a:lnTo>
                        <a:pt x="226" y="0"/>
                      </a:lnTo>
                      <a:lnTo>
                        <a:pt x="222" y="2"/>
                      </a:lnTo>
                      <a:lnTo>
                        <a:pt x="218" y="8"/>
                      </a:lnTo>
                      <a:lnTo>
                        <a:pt x="215" y="17"/>
                      </a:lnTo>
                      <a:lnTo>
                        <a:pt x="215" y="27"/>
                      </a:lnTo>
                      <a:lnTo>
                        <a:pt x="201" y="226"/>
                      </a:lnTo>
                      <a:lnTo>
                        <a:pt x="182" y="226"/>
                      </a:lnTo>
                      <a:lnTo>
                        <a:pt x="182" y="226"/>
                      </a:lnTo>
                      <a:lnTo>
                        <a:pt x="169" y="228"/>
                      </a:lnTo>
                      <a:lnTo>
                        <a:pt x="157" y="232"/>
                      </a:lnTo>
                      <a:lnTo>
                        <a:pt x="146" y="236"/>
                      </a:lnTo>
                      <a:lnTo>
                        <a:pt x="136" y="245"/>
                      </a:lnTo>
                      <a:lnTo>
                        <a:pt x="128" y="255"/>
                      </a:lnTo>
                      <a:lnTo>
                        <a:pt x="123" y="266"/>
                      </a:lnTo>
                      <a:lnTo>
                        <a:pt x="119" y="278"/>
                      </a:lnTo>
                      <a:lnTo>
                        <a:pt x="117" y="291"/>
                      </a:lnTo>
                      <a:lnTo>
                        <a:pt x="117" y="301"/>
                      </a:lnTo>
                      <a:lnTo>
                        <a:pt x="117" y="301"/>
                      </a:lnTo>
                      <a:lnTo>
                        <a:pt x="107" y="303"/>
                      </a:lnTo>
                      <a:lnTo>
                        <a:pt x="96" y="309"/>
                      </a:lnTo>
                      <a:lnTo>
                        <a:pt x="88" y="314"/>
                      </a:lnTo>
                      <a:lnTo>
                        <a:pt x="80" y="322"/>
                      </a:lnTo>
                      <a:lnTo>
                        <a:pt x="73" y="330"/>
                      </a:lnTo>
                      <a:lnTo>
                        <a:pt x="69" y="341"/>
                      </a:lnTo>
                      <a:lnTo>
                        <a:pt x="67" y="351"/>
                      </a:lnTo>
                      <a:lnTo>
                        <a:pt x="65" y="362"/>
                      </a:lnTo>
                      <a:lnTo>
                        <a:pt x="65" y="362"/>
                      </a:lnTo>
                      <a:lnTo>
                        <a:pt x="65" y="362"/>
                      </a:lnTo>
                      <a:lnTo>
                        <a:pt x="52" y="364"/>
                      </a:lnTo>
                      <a:lnTo>
                        <a:pt x="40" y="368"/>
                      </a:lnTo>
                      <a:lnTo>
                        <a:pt x="29" y="374"/>
                      </a:lnTo>
                      <a:lnTo>
                        <a:pt x="19" y="380"/>
                      </a:lnTo>
                      <a:lnTo>
                        <a:pt x="11" y="391"/>
                      </a:lnTo>
                      <a:lnTo>
                        <a:pt x="6" y="401"/>
                      </a:lnTo>
                      <a:lnTo>
                        <a:pt x="2" y="414"/>
                      </a:lnTo>
                      <a:lnTo>
                        <a:pt x="0" y="426"/>
                      </a:lnTo>
                      <a:lnTo>
                        <a:pt x="0" y="1183"/>
                      </a:lnTo>
                      <a:lnTo>
                        <a:pt x="0" y="1183"/>
                      </a:lnTo>
                      <a:lnTo>
                        <a:pt x="2" y="1192"/>
                      </a:lnTo>
                      <a:lnTo>
                        <a:pt x="4" y="1200"/>
                      </a:lnTo>
                      <a:lnTo>
                        <a:pt x="8" y="1206"/>
                      </a:lnTo>
                      <a:lnTo>
                        <a:pt x="13" y="1213"/>
                      </a:lnTo>
                      <a:lnTo>
                        <a:pt x="19" y="1219"/>
                      </a:lnTo>
                      <a:lnTo>
                        <a:pt x="27" y="1223"/>
                      </a:lnTo>
                      <a:lnTo>
                        <a:pt x="36" y="1225"/>
                      </a:lnTo>
                      <a:lnTo>
                        <a:pt x="44" y="1227"/>
                      </a:lnTo>
                      <a:lnTo>
                        <a:pt x="126" y="1227"/>
                      </a:lnTo>
                      <a:lnTo>
                        <a:pt x="126" y="1227"/>
                      </a:lnTo>
                      <a:lnTo>
                        <a:pt x="128" y="1227"/>
                      </a:lnTo>
                      <a:lnTo>
                        <a:pt x="169" y="1227"/>
                      </a:lnTo>
                      <a:lnTo>
                        <a:pt x="169" y="1075"/>
                      </a:lnTo>
                      <a:lnTo>
                        <a:pt x="169" y="1075"/>
                      </a:lnTo>
                      <a:lnTo>
                        <a:pt x="172" y="1068"/>
                      </a:lnTo>
                      <a:lnTo>
                        <a:pt x="178" y="1066"/>
                      </a:lnTo>
                      <a:lnTo>
                        <a:pt x="276" y="1066"/>
                      </a:lnTo>
                      <a:lnTo>
                        <a:pt x="276" y="1066"/>
                      </a:lnTo>
                      <a:lnTo>
                        <a:pt x="280" y="1068"/>
                      </a:lnTo>
                      <a:lnTo>
                        <a:pt x="282" y="1075"/>
                      </a:lnTo>
                      <a:lnTo>
                        <a:pt x="282" y="1227"/>
                      </a:lnTo>
                      <a:lnTo>
                        <a:pt x="324" y="1227"/>
                      </a:lnTo>
                      <a:lnTo>
                        <a:pt x="324" y="1227"/>
                      </a:lnTo>
                      <a:lnTo>
                        <a:pt x="326" y="1227"/>
                      </a:lnTo>
                      <a:lnTo>
                        <a:pt x="408" y="1227"/>
                      </a:lnTo>
                      <a:lnTo>
                        <a:pt x="408" y="1227"/>
                      </a:lnTo>
                      <a:lnTo>
                        <a:pt x="416" y="1225"/>
                      </a:lnTo>
                      <a:lnTo>
                        <a:pt x="425" y="1223"/>
                      </a:lnTo>
                      <a:lnTo>
                        <a:pt x="431" y="1219"/>
                      </a:lnTo>
                      <a:lnTo>
                        <a:pt x="439" y="1213"/>
                      </a:lnTo>
                      <a:lnTo>
                        <a:pt x="443" y="1206"/>
                      </a:lnTo>
                      <a:lnTo>
                        <a:pt x="448" y="1200"/>
                      </a:lnTo>
                      <a:lnTo>
                        <a:pt x="450" y="1192"/>
                      </a:lnTo>
                      <a:lnTo>
                        <a:pt x="452" y="1183"/>
                      </a:lnTo>
                      <a:lnTo>
                        <a:pt x="452" y="426"/>
                      </a:lnTo>
                      <a:lnTo>
                        <a:pt x="452" y="426"/>
                      </a:lnTo>
                      <a:lnTo>
                        <a:pt x="450" y="414"/>
                      </a:lnTo>
                      <a:lnTo>
                        <a:pt x="445" y="401"/>
                      </a:lnTo>
                      <a:lnTo>
                        <a:pt x="441" y="391"/>
                      </a:lnTo>
                      <a:lnTo>
                        <a:pt x="433" y="380"/>
                      </a:lnTo>
                      <a:lnTo>
                        <a:pt x="422" y="374"/>
                      </a:lnTo>
                      <a:lnTo>
                        <a:pt x="412" y="368"/>
                      </a:lnTo>
                      <a:lnTo>
                        <a:pt x="399" y="364"/>
                      </a:lnTo>
                      <a:lnTo>
                        <a:pt x="387" y="362"/>
                      </a:lnTo>
                      <a:lnTo>
                        <a:pt x="387" y="362"/>
                      </a:lnTo>
                      <a:close/>
                      <a:moveTo>
                        <a:pt x="324" y="968"/>
                      </a:moveTo>
                      <a:lnTo>
                        <a:pt x="126" y="968"/>
                      </a:lnTo>
                      <a:lnTo>
                        <a:pt x="126" y="968"/>
                      </a:lnTo>
                      <a:lnTo>
                        <a:pt x="115" y="966"/>
                      </a:lnTo>
                      <a:lnTo>
                        <a:pt x="105" y="962"/>
                      </a:lnTo>
                      <a:lnTo>
                        <a:pt x="100" y="953"/>
                      </a:lnTo>
                      <a:lnTo>
                        <a:pt x="98" y="943"/>
                      </a:lnTo>
                      <a:lnTo>
                        <a:pt x="98" y="943"/>
                      </a:lnTo>
                      <a:lnTo>
                        <a:pt x="100" y="935"/>
                      </a:lnTo>
                      <a:lnTo>
                        <a:pt x="105" y="926"/>
                      </a:lnTo>
                      <a:lnTo>
                        <a:pt x="115" y="920"/>
                      </a:lnTo>
                      <a:lnTo>
                        <a:pt x="126" y="918"/>
                      </a:lnTo>
                      <a:lnTo>
                        <a:pt x="324" y="918"/>
                      </a:lnTo>
                      <a:lnTo>
                        <a:pt x="324" y="918"/>
                      </a:lnTo>
                      <a:lnTo>
                        <a:pt x="335" y="920"/>
                      </a:lnTo>
                      <a:lnTo>
                        <a:pt x="345" y="926"/>
                      </a:lnTo>
                      <a:lnTo>
                        <a:pt x="349" y="935"/>
                      </a:lnTo>
                      <a:lnTo>
                        <a:pt x="351" y="943"/>
                      </a:lnTo>
                      <a:lnTo>
                        <a:pt x="351" y="943"/>
                      </a:lnTo>
                      <a:lnTo>
                        <a:pt x="349" y="953"/>
                      </a:lnTo>
                      <a:lnTo>
                        <a:pt x="345" y="962"/>
                      </a:lnTo>
                      <a:lnTo>
                        <a:pt x="335" y="966"/>
                      </a:lnTo>
                      <a:lnTo>
                        <a:pt x="324" y="968"/>
                      </a:lnTo>
                      <a:lnTo>
                        <a:pt x="324" y="968"/>
                      </a:lnTo>
                      <a:close/>
                      <a:moveTo>
                        <a:pt x="324" y="847"/>
                      </a:moveTo>
                      <a:lnTo>
                        <a:pt x="126" y="847"/>
                      </a:lnTo>
                      <a:lnTo>
                        <a:pt x="126" y="847"/>
                      </a:lnTo>
                      <a:lnTo>
                        <a:pt x="115" y="845"/>
                      </a:lnTo>
                      <a:lnTo>
                        <a:pt x="105" y="838"/>
                      </a:lnTo>
                      <a:lnTo>
                        <a:pt x="100" y="830"/>
                      </a:lnTo>
                      <a:lnTo>
                        <a:pt x="98" y="822"/>
                      </a:lnTo>
                      <a:lnTo>
                        <a:pt x="98" y="822"/>
                      </a:lnTo>
                      <a:lnTo>
                        <a:pt x="100" y="811"/>
                      </a:lnTo>
                      <a:lnTo>
                        <a:pt x="105" y="803"/>
                      </a:lnTo>
                      <a:lnTo>
                        <a:pt x="115" y="799"/>
                      </a:lnTo>
                      <a:lnTo>
                        <a:pt x="126" y="797"/>
                      </a:lnTo>
                      <a:lnTo>
                        <a:pt x="324" y="797"/>
                      </a:lnTo>
                      <a:lnTo>
                        <a:pt x="324" y="797"/>
                      </a:lnTo>
                      <a:lnTo>
                        <a:pt x="335" y="799"/>
                      </a:lnTo>
                      <a:lnTo>
                        <a:pt x="345" y="803"/>
                      </a:lnTo>
                      <a:lnTo>
                        <a:pt x="349" y="811"/>
                      </a:lnTo>
                      <a:lnTo>
                        <a:pt x="351" y="822"/>
                      </a:lnTo>
                      <a:lnTo>
                        <a:pt x="351" y="822"/>
                      </a:lnTo>
                      <a:lnTo>
                        <a:pt x="349" y="830"/>
                      </a:lnTo>
                      <a:lnTo>
                        <a:pt x="345" y="838"/>
                      </a:lnTo>
                      <a:lnTo>
                        <a:pt x="335" y="845"/>
                      </a:lnTo>
                      <a:lnTo>
                        <a:pt x="324" y="847"/>
                      </a:lnTo>
                      <a:lnTo>
                        <a:pt x="324" y="847"/>
                      </a:lnTo>
                      <a:close/>
                      <a:moveTo>
                        <a:pt x="324" y="723"/>
                      </a:moveTo>
                      <a:lnTo>
                        <a:pt x="126" y="723"/>
                      </a:lnTo>
                      <a:lnTo>
                        <a:pt x="126" y="723"/>
                      </a:lnTo>
                      <a:lnTo>
                        <a:pt x="115" y="721"/>
                      </a:lnTo>
                      <a:lnTo>
                        <a:pt x="105" y="717"/>
                      </a:lnTo>
                      <a:lnTo>
                        <a:pt x="100" y="709"/>
                      </a:lnTo>
                      <a:lnTo>
                        <a:pt x="98" y="698"/>
                      </a:lnTo>
                      <a:lnTo>
                        <a:pt x="98" y="698"/>
                      </a:lnTo>
                      <a:lnTo>
                        <a:pt x="100" y="690"/>
                      </a:lnTo>
                      <a:lnTo>
                        <a:pt x="105" y="682"/>
                      </a:lnTo>
                      <a:lnTo>
                        <a:pt x="115" y="675"/>
                      </a:lnTo>
                      <a:lnTo>
                        <a:pt x="126" y="673"/>
                      </a:lnTo>
                      <a:lnTo>
                        <a:pt x="324" y="673"/>
                      </a:lnTo>
                      <a:lnTo>
                        <a:pt x="324" y="673"/>
                      </a:lnTo>
                      <a:lnTo>
                        <a:pt x="335" y="675"/>
                      </a:lnTo>
                      <a:lnTo>
                        <a:pt x="345" y="682"/>
                      </a:lnTo>
                      <a:lnTo>
                        <a:pt x="349" y="690"/>
                      </a:lnTo>
                      <a:lnTo>
                        <a:pt x="351" y="698"/>
                      </a:lnTo>
                      <a:lnTo>
                        <a:pt x="351" y="698"/>
                      </a:lnTo>
                      <a:lnTo>
                        <a:pt x="349" y="709"/>
                      </a:lnTo>
                      <a:lnTo>
                        <a:pt x="345" y="717"/>
                      </a:lnTo>
                      <a:lnTo>
                        <a:pt x="335" y="721"/>
                      </a:lnTo>
                      <a:lnTo>
                        <a:pt x="324" y="723"/>
                      </a:lnTo>
                      <a:lnTo>
                        <a:pt x="324" y="723"/>
                      </a:lnTo>
                      <a:close/>
                      <a:moveTo>
                        <a:pt x="324" y="602"/>
                      </a:moveTo>
                      <a:lnTo>
                        <a:pt x="126" y="602"/>
                      </a:lnTo>
                      <a:lnTo>
                        <a:pt x="126" y="602"/>
                      </a:lnTo>
                      <a:lnTo>
                        <a:pt x="115" y="600"/>
                      </a:lnTo>
                      <a:lnTo>
                        <a:pt x="105" y="594"/>
                      </a:lnTo>
                      <a:lnTo>
                        <a:pt x="100" y="585"/>
                      </a:lnTo>
                      <a:lnTo>
                        <a:pt x="98" y="577"/>
                      </a:lnTo>
                      <a:lnTo>
                        <a:pt x="98" y="577"/>
                      </a:lnTo>
                      <a:lnTo>
                        <a:pt x="100" y="567"/>
                      </a:lnTo>
                      <a:lnTo>
                        <a:pt x="105" y="558"/>
                      </a:lnTo>
                      <a:lnTo>
                        <a:pt x="115" y="554"/>
                      </a:lnTo>
                      <a:lnTo>
                        <a:pt x="126" y="552"/>
                      </a:lnTo>
                      <a:lnTo>
                        <a:pt x="324" y="552"/>
                      </a:lnTo>
                      <a:lnTo>
                        <a:pt x="324" y="552"/>
                      </a:lnTo>
                      <a:lnTo>
                        <a:pt x="335" y="554"/>
                      </a:lnTo>
                      <a:lnTo>
                        <a:pt x="345" y="558"/>
                      </a:lnTo>
                      <a:lnTo>
                        <a:pt x="349" y="567"/>
                      </a:lnTo>
                      <a:lnTo>
                        <a:pt x="351" y="577"/>
                      </a:lnTo>
                      <a:lnTo>
                        <a:pt x="351" y="577"/>
                      </a:lnTo>
                      <a:lnTo>
                        <a:pt x="349" y="585"/>
                      </a:lnTo>
                      <a:lnTo>
                        <a:pt x="345" y="594"/>
                      </a:lnTo>
                      <a:lnTo>
                        <a:pt x="335" y="600"/>
                      </a:lnTo>
                      <a:lnTo>
                        <a:pt x="324" y="602"/>
                      </a:lnTo>
                      <a:lnTo>
                        <a:pt x="324" y="602"/>
                      </a:lnTo>
                      <a:close/>
                      <a:moveTo>
                        <a:pt x="324" y="479"/>
                      </a:moveTo>
                      <a:lnTo>
                        <a:pt x="126" y="479"/>
                      </a:lnTo>
                      <a:lnTo>
                        <a:pt x="126" y="479"/>
                      </a:lnTo>
                      <a:lnTo>
                        <a:pt x="115" y="477"/>
                      </a:lnTo>
                      <a:lnTo>
                        <a:pt x="105" y="472"/>
                      </a:lnTo>
                      <a:lnTo>
                        <a:pt x="100" y="464"/>
                      </a:lnTo>
                      <a:lnTo>
                        <a:pt x="98" y="454"/>
                      </a:lnTo>
                      <a:lnTo>
                        <a:pt x="98" y="454"/>
                      </a:lnTo>
                      <a:lnTo>
                        <a:pt x="100" y="445"/>
                      </a:lnTo>
                      <a:lnTo>
                        <a:pt x="105" y="437"/>
                      </a:lnTo>
                      <a:lnTo>
                        <a:pt x="115" y="431"/>
                      </a:lnTo>
                      <a:lnTo>
                        <a:pt x="126" y="429"/>
                      </a:lnTo>
                      <a:lnTo>
                        <a:pt x="324" y="429"/>
                      </a:lnTo>
                      <a:lnTo>
                        <a:pt x="324" y="429"/>
                      </a:lnTo>
                      <a:lnTo>
                        <a:pt x="335" y="431"/>
                      </a:lnTo>
                      <a:lnTo>
                        <a:pt x="345" y="437"/>
                      </a:lnTo>
                      <a:lnTo>
                        <a:pt x="349" y="445"/>
                      </a:lnTo>
                      <a:lnTo>
                        <a:pt x="351" y="454"/>
                      </a:lnTo>
                      <a:lnTo>
                        <a:pt x="351" y="454"/>
                      </a:lnTo>
                      <a:lnTo>
                        <a:pt x="349" y="464"/>
                      </a:lnTo>
                      <a:lnTo>
                        <a:pt x="345" y="472"/>
                      </a:lnTo>
                      <a:lnTo>
                        <a:pt x="335" y="477"/>
                      </a:lnTo>
                      <a:lnTo>
                        <a:pt x="324" y="479"/>
                      </a:lnTo>
                      <a:lnTo>
                        <a:pt x="324" y="479"/>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cxnSp>
          <p:nvCxnSpPr>
            <p:cNvPr id="25" name="直接连接符 24"/>
            <p:cNvCxnSpPr/>
            <p:nvPr/>
          </p:nvCxnSpPr>
          <p:spPr>
            <a:xfrm flipV="1">
              <a:off x="2761615" y="4308261"/>
              <a:ext cx="0" cy="24892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2096649" y="3644265"/>
              <a:ext cx="177286"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grpSp>
          <p:nvGrpSpPr>
            <p:cNvPr id="191" name="组合 190"/>
            <p:cNvGrpSpPr/>
            <p:nvPr/>
          </p:nvGrpSpPr>
          <p:grpSpPr>
            <a:xfrm>
              <a:off x="7097481" y="4520677"/>
              <a:ext cx="692426" cy="517822"/>
              <a:chOff x="2466747" y="4022095"/>
              <a:chExt cx="975603" cy="729592"/>
            </a:xfrm>
          </p:grpSpPr>
          <p:sp>
            <p:nvSpPr>
              <p:cNvPr id="192" name="椭圆 191"/>
              <p:cNvSpPr/>
              <p:nvPr/>
            </p:nvSpPr>
            <p:spPr>
              <a:xfrm>
                <a:off x="2466747" y="4289030"/>
                <a:ext cx="975603" cy="462657"/>
              </a:xfrm>
              <a:prstGeom prst="ellipse">
                <a:avLst/>
              </a:prstGeom>
              <a:gradFill flip="none" rotWithShape="1">
                <a:gsLst>
                  <a:gs pos="0">
                    <a:schemeClr val="accent5">
                      <a:lumMod val="0"/>
                      <a:lumOff val="100000"/>
                    </a:schemeClr>
                  </a:gs>
                  <a:gs pos="18000">
                    <a:schemeClr val="accent5">
                      <a:lumMod val="0"/>
                      <a:lumOff val="100000"/>
                    </a:schemeClr>
                  </a:gs>
                  <a:gs pos="100000">
                    <a:schemeClr val="accent1"/>
                  </a:gs>
                </a:gsLst>
                <a:path path="circle">
                  <a:fillToRect l="50000" t="-80000" r="50000" b="180000"/>
                </a:path>
                <a:tileRect/>
              </a:gradFill>
              <a:ln w="19050" cap="rnd"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193" name="组合 192"/>
              <p:cNvGrpSpPr/>
              <p:nvPr/>
            </p:nvGrpSpPr>
            <p:grpSpPr>
              <a:xfrm>
                <a:off x="2767947" y="4022095"/>
                <a:ext cx="414745" cy="556155"/>
                <a:chOff x="10433466" y="1088191"/>
                <a:chExt cx="459835" cy="616619"/>
              </a:xfrm>
              <a:solidFill>
                <a:schemeClr val="tx2">
                  <a:lumMod val="75000"/>
                </a:schemeClr>
              </a:solidFill>
            </p:grpSpPr>
            <p:sp>
              <p:nvSpPr>
                <p:cNvPr id="194" name="Freeform 18"/>
                <p:cNvSpPr>
                  <a:spLocks noEditPoints="1"/>
                </p:cNvSpPr>
                <p:nvPr/>
              </p:nvSpPr>
              <p:spPr bwMode="auto">
                <a:xfrm>
                  <a:off x="10695442" y="1388736"/>
                  <a:ext cx="197859" cy="316074"/>
                </a:xfrm>
                <a:custGeom>
                  <a:avLst/>
                  <a:gdLst>
                    <a:gd name="T0" fmla="*/ 27 w 395"/>
                    <a:gd name="T1" fmla="*/ 2 h 631"/>
                    <a:gd name="T2" fmla="*/ 0 w 395"/>
                    <a:gd name="T3" fmla="*/ 33 h 631"/>
                    <a:gd name="T4" fmla="*/ 2 w 395"/>
                    <a:gd name="T5" fmla="*/ 604 h 631"/>
                    <a:gd name="T6" fmla="*/ 35 w 395"/>
                    <a:gd name="T7" fmla="*/ 631 h 631"/>
                    <a:gd name="T8" fmla="*/ 236 w 395"/>
                    <a:gd name="T9" fmla="*/ 508 h 631"/>
                    <a:gd name="T10" fmla="*/ 311 w 395"/>
                    <a:gd name="T11" fmla="*/ 498 h 631"/>
                    <a:gd name="T12" fmla="*/ 330 w 395"/>
                    <a:gd name="T13" fmla="*/ 631 h 631"/>
                    <a:gd name="T14" fmla="*/ 376 w 395"/>
                    <a:gd name="T15" fmla="*/ 625 h 631"/>
                    <a:gd name="T16" fmla="*/ 395 w 395"/>
                    <a:gd name="T17" fmla="*/ 587 h 631"/>
                    <a:gd name="T18" fmla="*/ 389 w 395"/>
                    <a:gd name="T19" fmla="*/ 19 h 631"/>
                    <a:gd name="T20" fmla="*/ 351 w 395"/>
                    <a:gd name="T21" fmla="*/ 0 h 631"/>
                    <a:gd name="T22" fmla="*/ 161 w 395"/>
                    <a:gd name="T23" fmla="*/ 546 h 631"/>
                    <a:gd name="T24" fmla="*/ 83 w 395"/>
                    <a:gd name="T25" fmla="*/ 550 h 631"/>
                    <a:gd name="T26" fmla="*/ 73 w 395"/>
                    <a:gd name="T27" fmla="*/ 510 h 631"/>
                    <a:gd name="T28" fmla="*/ 148 w 395"/>
                    <a:gd name="T29" fmla="*/ 493 h 631"/>
                    <a:gd name="T30" fmla="*/ 167 w 395"/>
                    <a:gd name="T31" fmla="*/ 510 h 631"/>
                    <a:gd name="T32" fmla="*/ 161 w 395"/>
                    <a:gd name="T33" fmla="*/ 441 h 631"/>
                    <a:gd name="T34" fmla="*/ 83 w 395"/>
                    <a:gd name="T35" fmla="*/ 445 h 631"/>
                    <a:gd name="T36" fmla="*/ 73 w 395"/>
                    <a:gd name="T37" fmla="*/ 406 h 631"/>
                    <a:gd name="T38" fmla="*/ 148 w 395"/>
                    <a:gd name="T39" fmla="*/ 389 h 631"/>
                    <a:gd name="T40" fmla="*/ 167 w 395"/>
                    <a:gd name="T41" fmla="*/ 406 h 631"/>
                    <a:gd name="T42" fmla="*/ 161 w 395"/>
                    <a:gd name="T43" fmla="*/ 337 h 631"/>
                    <a:gd name="T44" fmla="*/ 83 w 395"/>
                    <a:gd name="T45" fmla="*/ 341 h 631"/>
                    <a:gd name="T46" fmla="*/ 73 w 395"/>
                    <a:gd name="T47" fmla="*/ 301 h 631"/>
                    <a:gd name="T48" fmla="*/ 148 w 395"/>
                    <a:gd name="T49" fmla="*/ 282 h 631"/>
                    <a:gd name="T50" fmla="*/ 167 w 395"/>
                    <a:gd name="T51" fmla="*/ 301 h 631"/>
                    <a:gd name="T52" fmla="*/ 161 w 395"/>
                    <a:gd name="T53" fmla="*/ 232 h 631"/>
                    <a:gd name="T54" fmla="*/ 83 w 395"/>
                    <a:gd name="T55" fmla="*/ 236 h 631"/>
                    <a:gd name="T56" fmla="*/ 73 w 395"/>
                    <a:gd name="T57" fmla="*/ 197 h 631"/>
                    <a:gd name="T58" fmla="*/ 148 w 395"/>
                    <a:gd name="T59" fmla="*/ 178 h 631"/>
                    <a:gd name="T60" fmla="*/ 167 w 395"/>
                    <a:gd name="T61" fmla="*/ 197 h 631"/>
                    <a:gd name="T62" fmla="*/ 161 w 395"/>
                    <a:gd name="T63" fmla="*/ 128 h 631"/>
                    <a:gd name="T64" fmla="*/ 83 w 395"/>
                    <a:gd name="T65" fmla="*/ 132 h 631"/>
                    <a:gd name="T66" fmla="*/ 73 w 395"/>
                    <a:gd name="T67" fmla="*/ 92 h 631"/>
                    <a:gd name="T68" fmla="*/ 148 w 395"/>
                    <a:gd name="T69" fmla="*/ 73 h 631"/>
                    <a:gd name="T70" fmla="*/ 167 w 395"/>
                    <a:gd name="T71" fmla="*/ 92 h 631"/>
                    <a:gd name="T72" fmla="*/ 318 w 395"/>
                    <a:gd name="T73" fmla="*/ 441 h 631"/>
                    <a:gd name="T74" fmla="*/ 238 w 395"/>
                    <a:gd name="T75" fmla="*/ 445 h 631"/>
                    <a:gd name="T76" fmla="*/ 228 w 395"/>
                    <a:gd name="T77" fmla="*/ 406 h 631"/>
                    <a:gd name="T78" fmla="*/ 305 w 395"/>
                    <a:gd name="T79" fmla="*/ 389 h 631"/>
                    <a:gd name="T80" fmla="*/ 322 w 395"/>
                    <a:gd name="T81" fmla="*/ 406 h 631"/>
                    <a:gd name="T82" fmla="*/ 318 w 395"/>
                    <a:gd name="T83" fmla="*/ 337 h 631"/>
                    <a:gd name="T84" fmla="*/ 238 w 395"/>
                    <a:gd name="T85" fmla="*/ 341 h 631"/>
                    <a:gd name="T86" fmla="*/ 228 w 395"/>
                    <a:gd name="T87" fmla="*/ 301 h 631"/>
                    <a:gd name="T88" fmla="*/ 305 w 395"/>
                    <a:gd name="T89" fmla="*/ 282 h 631"/>
                    <a:gd name="T90" fmla="*/ 322 w 395"/>
                    <a:gd name="T91" fmla="*/ 301 h 631"/>
                    <a:gd name="T92" fmla="*/ 318 w 395"/>
                    <a:gd name="T93" fmla="*/ 232 h 631"/>
                    <a:gd name="T94" fmla="*/ 238 w 395"/>
                    <a:gd name="T95" fmla="*/ 236 h 631"/>
                    <a:gd name="T96" fmla="*/ 228 w 395"/>
                    <a:gd name="T97" fmla="*/ 197 h 631"/>
                    <a:gd name="T98" fmla="*/ 305 w 395"/>
                    <a:gd name="T99" fmla="*/ 178 h 631"/>
                    <a:gd name="T100" fmla="*/ 322 w 395"/>
                    <a:gd name="T101" fmla="*/ 197 h 631"/>
                    <a:gd name="T102" fmla="*/ 318 w 395"/>
                    <a:gd name="T103" fmla="*/ 128 h 631"/>
                    <a:gd name="T104" fmla="*/ 238 w 395"/>
                    <a:gd name="T105" fmla="*/ 132 h 631"/>
                    <a:gd name="T106" fmla="*/ 228 w 395"/>
                    <a:gd name="T107" fmla="*/ 92 h 631"/>
                    <a:gd name="T108" fmla="*/ 305 w 395"/>
                    <a:gd name="T109" fmla="*/ 73 h 631"/>
                    <a:gd name="T110" fmla="*/ 322 w 395"/>
                    <a:gd name="T111" fmla="*/ 92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5" h="631">
                      <a:moveTo>
                        <a:pt x="351" y="0"/>
                      </a:moveTo>
                      <a:lnTo>
                        <a:pt x="44" y="0"/>
                      </a:lnTo>
                      <a:lnTo>
                        <a:pt x="44" y="0"/>
                      </a:lnTo>
                      <a:lnTo>
                        <a:pt x="35" y="0"/>
                      </a:lnTo>
                      <a:lnTo>
                        <a:pt x="27" y="2"/>
                      </a:lnTo>
                      <a:lnTo>
                        <a:pt x="19" y="6"/>
                      </a:lnTo>
                      <a:lnTo>
                        <a:pt x="12" y="13"/>
                      </a:lnTo>
                      <a:lnTo>
                        <a:pt x="6" y="19"/>
                      </a:lnTo>
                      <a:lnTo>
                        <a:pt x="2" y="25"/>
                      </a:lnTo>
                      <a:lnTo>
                        <a:pt x="0" y="33"/>
                      </a:lnTo>
                      <a:lnTo>
                        <a:pt x="0" y="44"/>
                      </a:lnTo>
                      <a:lnTo>
                        <a:pt x="0" y="587"/>
                      </a:lnTo>
                      <a:lnTo>
                        <a:pt x="0" y="587"/>
                      </a:lnTo>
                      <a:lnTo>
                        <a:pt x="0" y="596"/>
                      </a:lnTo>
                      <a:lnTo>
                        <a:pt x="2" y="604"/>
                      </a:lnTo>
                      <a:lnTo>
                        <a:pt x="6" y="613"/>
                      </a:lnTo>
                      <a:lnTo>
                        <a:pt x="12" y="619"/>
                      </a:lnTo>
                      <a:lnTo>
                        <a:pt x="19" y="625"/>
                      </a:lnTo>
                      <a:lnTo>
                        <a:pt x="27" y="629"/>
                      </a:lnTo>
                      <a:lnTo>
                        <a:pt x="35" y="631"/>
                      </a:lnTo>
                      <a:lnTo>
                        <a:pt x="44" y="631"/>
                      </a:lnTo>
                      <a:lnTo>
                        <a:pt x="236" y="631"/>
                      </a:lnTo>
                      <a:lnTo>
                        <a:pt x="236" y="514"/>
                      </a:lnTo>
                      <a:lnTo>
                        <a:pt x="236" y="514"/>
                      </a:lnTo>
                      <a:lnTo>
                        <a:pt x="236" y="508"/>
                      </a:lnTo>
                      <a:lnTo>
                        <a:pt x="240" y="502"/>
                      </a:lnTo>
                      <a:lnTo>
                        <a:pt x="247" y="498"/>
                      </a:lnTo>
                      <a:lnTo>
                        <a:pt x="255" y="498"/>
                      </a:lnTo>
                      <a:lnTo>
                        <a:pt x="311" y="498"/>
                      </a:lnTo>
                      <a:lnTo>
                        <a:pt x="311" y="498"/>
                      </a:lnTo>
                      <a:lnTo>
                        <a:pt x="318" y="498"/>
                      </a:lnTo>
                      <a:lnTo>
                        <a:pt x="324" y="502"/>
                      </a:lnTo>
                      <a:lnTo>
                        <a:pt x="328" y="508"/>
                      </a:lnTo>
                      <a:lnTo>
                        <a:pt x="330" y="514"/>
                      </a:lnTo>
                      <a:lnTo>
                        <a:pt x="330" y="631"/>
                      </a:lnTo>
                      <a:lnTo>
                        <a:pt x="351" y="631"/>
                      </a:lnTo>
                      <a:lnTo>
                        <a:pt x="351" y="631"/>
                      </a:lnTo>
                      <a:lnTo>
                        <a:pt x="359" y="631"/>
                      </a:lnTo>
                      <a:lnTo>
                        <a:pt x="368" y="629"/>
                      </a:lnTo>
                      <a:lnTo>
                        <a:pt x="376" y="625"/>
                      </a:lnTo>
                      <a:lnTo>
                        <a:pt x="382" y="619"/>
                      </a:lnTo>
                      <a:lnTo>
                        <a:pt x="389" y="613"/>
                      </a:lnTo>
                      <a:lnTo>
                        <a:pt x="393" y="604"/>
                      </a:lnTo>
                      <a:lnTo>
                        <a:pt x="395" y="596"/>
                      </a:lnTo>
                      <a:lnTo>
                        <a:pt x="395" y="587"/>
                      </a:lnTo>
                      <a:lnTo>
                        <a:pt x="395" y="44"/>
                      </a:lnTo>
                      <a:lnTo>
                        <a:pt x="395" y="44"/>
                      </a:lnTo>
                      <a:lnTo>
                        <a:pt x="395" y="33"/>
                      </a:lnTo>
                      <a:lnTo>
                        <a:pt x="393" y="25"/>
                      </a:lnTo>
                      <a:lnTo>
                        <a:pt x="389" y="19"/>
                      </a:lnTo>
                      <a:lnTo>
                        <a:pt x="382" y="13"/>
                      </a:lnTo>
                      <a:lnTo>
                        <a:pt x="376" y="6"/>
                      </a:lnTo>
                      <a:lnTo>
                        <a:pt x="368" y="2"/>
                      </a:lnTo>
                      <a:lnTo>
                        <a:pt x="359" y="0"/>
                      </a:lnTo>
                      <a:lnTo>
                        <a:pt x="351" y="0"/>
                      </a:lnTo>
                      <a:lnTo>
                        <a:pt x="351" y="0"/>
                      </a:lnTo>
                      <a:close/>
                      <a:moveTo>
                        <a:pt x="167" y="533"/>
                      </a:moveTo>
                      <a:lnTo>
                        <a:pt x="167" y="533"/>
                      </a:lnTo>
                      <a:lnTo>
                        <a:pt x="165" y="539"/>
                      </a:lnTo>
                      <a:lnTo>
                        <a:pt x="161" y="546"/>
                      </a:lnTo>
                      <a:lnTo>
                        <a:pt x="157" y="550"/>
                      </a:lnTo>
                      <a:lnTo>
                        <a:pt x="148" y="552"/>
                      </a:lnTo>
                      <a:lnTo>
                        <a:pt x="90" y="552"/>
                      </a:lnTo>
                      <a:lnTo>
                        <a:pt x="90" y="552"/>
                      </a:lnTo>
                      <a:lnTo>
                        <a:pt x="83" y="550"/>
                      </a:lnTo>
                      <a:lnTo>
                        <a:pt x="77" y="546"/>
                      </a:lnTo>
                      <a:lnTo>
                        <a:pt x="73" y="539"/>
                      </a:lnTo>
                      <a:lnTo>
                        <a:pt x="73" y="533"/>
                      </a:lnTo>
                      <a:lnTo>
                        <a:pt x="73" y="510"/>
                      </a:lnTo>
                      <a:lnTo>
                        <a:pt x="73" y="510"/>
                      </a:lnTo>
                      <a:lnTo>
                        <a:pt x="73" y="504"/>
                      </a:lnTo>
                      <a:lnTo>
                        <a:pt x="77" y="498"/>
                      </a:lnTo>
                      <a:lnTo>
                        <a:pt x="83" y="493"/>
                      </a:lnTo>
                      <a:lnTo>
                        <a:pt x="90" y="493"/>
                      </a:lnTo>
                      <a:lnTo>
                        <a:pt x="148" y="493"/>
                      </a:lnTo>
                      <a:lnTo>
                        <a:pt x="148" y="493"/>
                      </a:lnTo>
                      <a:lnTo>
                        <a:pt x="157" y="493"/>
                      </a:lnTo>
                      <a:lnTo>
                        <a:pt x="161" y="498"/>
                      </a:lnTo>
                      <a:lnTo>
                        <a:pt x="165" y="504"/>
                      </a:lnTo>
                      <a:lnTo>
                        <a:pt x="167" y="510"/>
                      </a:lnTo>
                      <a:lnTo>
                        <a:pt x="167" y="533"/>
                      </a:lnTo>
                      <a:close/>
                      <a:moveTo>
                        <a:pt x="167" y="429"/>
                      </a:moveTo>
                      <a:lnTo>
                        <a:pt x="167" y="429"/>
                      </a:lnTo>
                      <a:lnTo>
                        <a:pt x="165" y="435"/>
                      </a:lnTo>
                      <a:lnTo>
                        <a:pt x="161" y="441"/>
                      </a:lnTo>
                      <a:lnTo>
                        <a:pt x="157" y="445"/>
                      </a:lnTo>
                      <a:lnTo>
                        <a:pt x="148" y="447"/>
                      </a:lnTo>
                      <a:lnTo>
                        <a:pt x="90" y="447"/>
                      </a:lnTo>
                      <a:lnTo>
                        <a:pt x="90" y="447"/>
                      </a:lnTo>
                      <a:lnTo>
                        <a:pt x="83" y="445"/>
                      </a:lnTo>
                      <a:lnTo>
                        <a:pt x="77" y="441"/>
                      </a:lnTo>
                      <a:lnTo>
                        <a:pt x="73" y="435"/>
                      </a:lnTo>
                      <a:lnTo>
                        <a:pt x="73" y="429"/>
                      </a:lnTo>
                      <a:lnTo>
                        <a:pt x="73" y="406"/>
                      </a:lnTo>
                      <a:lnTo>
                        <a:pt x="73" y="406"/>
                      </a:lnTo>
                      <a:lnTo>
                        <a:pt x="73" y="399"/>
                      </a:lnTo>
                      <a:lnTo>
                        <a:pt x="77" y="393"/>
                      </a:lnTo>
                      <a:lnTo>
                        <a:pt x="83" y="389"/>
                      </a:lnTo>
                      <a:lnTo>
                        <a:pt x="90" y="389"/>
                      </a:lnTo>
                      <a:lnTo>
                        <a:pt x="148" y="389"/>
                      </a:lnTo>
                      <a:lnTo>
                        <a:pt x="148" y="389"/>
                      </a:lnTo>
                      <a:lnTo>
                        <a:pt x="157" y="389"/>
                      </a:lnTo>
                      <a:lnTo>
                        <a:pt x="161" y="393"/>
                      </a:lnTo>
                      <a:lnTo>
                        <a:pt x="165" y="399"/>
                      </a:lnTo>
                      <a:lnTo>
                        <a:pt x="167" y="406"/>
                      </a:lnTo>
                      <a:lnTo>
                        <a:pt x="167" y="429"/>
                      </a:lnTo>
                      <a:close/>
                      <a:moveTo>
                        <a:pt x="167" y="324"/>
                      </a:moveTo>
                      <a:lnTo>
                        <a:pt x="167" y="324"/>
                      </a:lnTo>
                      <a:lnTo>
                        <a:pt x="165" y="330"/>
                      </a:lnTo>
                      <a:lnTo>
                        <a:pt x="161" y="337"/>
                      </a:lnTo>
                      <a:lnTo>
                        <a:pt x="157" y="341"/>
                      </a:lnTo>
                      <a:lnTo>
                        <a:pt x="148" y="341"/>
                      </a:lnTo>
                      <a:lnTo>
                        <a:pt x="90" y="341"/>
                      </a:lnTo>
                      <a:lnTo>
                        <a:pt x="90" y="341"/>
                      </a:lnTo>
                      <a:lnTo>
                        <a:pt x="83" y="341"/>
                      </a:lnTo>
                      <a:lnTo>
                        <a:pt x="77" y="337"/>
                      </a:lnTo>
                      <a:lnTo>
                        <a:pt x="73" y="330"/>
                      </a:lnTo>
                      <a:lnTo>
                        <a:pt x="73" y="324"/>
                      </a:lnTo>
                      <a:lnTo>
                        <a:pt x="73" y="301"/>
                      </a:lnTo>
                      <a:lnTo>
                        <a:pt x="73" y="301"/>
                      </a:lnTo>
                      <a:lnTo>
                        <a:pt x="73" y="295"/>
                      </a:lnTo>
                      <a:lnTo>
                        <a:pt x="77" y="289"/>
                      </a:lnTo>
                      <a:lnTo>
                        <a:pt x="83" y="284"/>
                      </a:lnTo>
                      <a:lnTo>
                        <a:pt x="90" y="282"/>
                      </a:lnTo>
                      <a:lnTo>
                        <a:pt x="148" y="282"/>
                      </a:lnTo>
                      <a:lnTo>
                        <a:pt x="148" y="282"/>
                      </a:lnTo>
                      <a:lnTo>
                        <a:pt x="157" y="284"/>
                      </a:lnTo>
                      <a:lnTo>
                        <a:pt x="161" y="289"/>
                      </a:lnTo>
                      <a:lnTo>
                        <a:pt x="165" y="295"/>
                      </a:lnTo>
                      <a:lnTo>
                        <a:pt x="167" y="301"/>
                      </a:lnTo>
                      <a:lnTo>
                        <a:pt x="167" y="324"/>
                      </a:lnTo>
                      <a:close/>
                      <a:moveTo>
                        <a:pt x="167" y="220"/>
                      </a:moveTo>
                      <a:lnTo>
                        <a:pt x="167" y="220"/>
                      </a:lnTo>
                      <a:lnTo>
                        <a:pt x="165" y="226"/>
                      </a:lnTo>
                      <a:lnTo>
                        <a:pt x="161" y="232"/>
                      </a:lnTo>
                      <a:lnTo>
                        <a:pt x="157" y="236"/>
                      </a:lnTo>
                      <a:lnTo>
                        <a:pt x="148" y="236"/>
                      </a:lnTo>
                      <a:lnTo>
                        <a:pt x="90" y="236"/>
                      </a:lnTo>
                      <a:lnTo>
                        <a:pt x="90" y="236"/>
                      </a:lnTo>
                      <a:lnTo>
                        <a:pt x="83" y="236"/>
                      </a:lnTo>
                      <a:lnTo>
                        <a:pt x="77" y="232"/>
                      </a:lnTo>
                      <a:lnTo>
                        <a:pt x="73" y="226"/>
                      </a:lnTo>
                      <a:lnTo>
                        <a:pt x="73" y="220"/>
                      </a:lnTo>
                      <a:lnTo>
                        <a:pt x="73" y="197"/>
                      </a:lnTo>
                      <a:lnTo>
                        <a:pt x="73" y="197"/>
                      </a:lnTo>
                      <a:lnTo>
                        <a:pt x="73" y="190"/>
                      </a:lnTo>
                      <a:lnTo>
                        <a:pt x="77" y="184"/>
                      </a:lnTo>
                      <a:lnTo>
                        <a:pt x="83" y="180"/>
                      </a:lnTo>
                      <a:lnTo>
                        <a:pt x="90" y="178"/>
                      </a:lnTo>
                      <a:lnTo>
                        <a:pt x="148" y="178"/>
                      </a:lnTo>
                      <a:lnTo>
                        <a:pt x="148" y="178"/>
                      </a:lnTo>
                      <a:lnTo>
                        <a:pt x="157" y="180"/>
                      </a:lnTo>
                      <a:lnTo>
                        <a:pt x="161" y="184"/>
                      </a:lnTo>
                      <a:lnTo>
                        <a:pt x="165" y="190"/>
                      </a:lnTo>
                      <a:lnTo>
                        <a:pt x="167" y="197"/>
                      </a:lnTo>
                      <a:lnTo>
                        <a:pt x="167" y="220"/>
                      </a:lnTo>
                      <a:close/>
                      <a:moveTo>
                        <a:pt x="167" y="115"/>
                      </a:moveTo>
                      <a:lnTo>
                        <a:pt x="167" y="115"/>
                      </a:lnTo>
                      <a:lnTo>
                        <a:pt x="165" y="121"/>
                      </a:lnTo>
                      <a:lnTo>
                        <a:pt x="161" y="128"/>
                      </a:lnTo>
                      <a:lnTo>
                        <a:pt x="157" y="132"/>
                      </a:lnTo>
                      <a:lnTo>
                        <a:pt x="148" y="132"/>
                      </a:lnTo>
                      <a:lnTo>
                        <a:pt x="90" y="132"/>
                      </a:lnTo>
                      <a:lnTo>
                        <a:pt x="90" y="132"/>
                      </a:lnTo>
                      <a:lnTo>
                        <a:pt x="83" y="132"/>
                      </a:lnTo>
                      <a:lnTo>
                        <a:pt x="77" y="128"/>
                      </a:lnTo>
                      <a:lnTo>
                        <a:pt x="73" y="121"/>
                      </a:lnTo>
                      <a:lnTo>
                        <a:pt x="73" y="115"/>
                      </a:lnTo>
                      <a:lnTo>
                        <a:pt x="73" y="92"/>
                      </a:lnTo>
                      <a:lnTo>
                        <a:pt x="73" y="92"/>
                      </a:lnTo>
                      <a:lnTo>
                        <a:pt x="73" y="86"/>
                      </a:lnTo>
                      <a:lnTo>
                        <a:pt x="77" y="79"/>
                      </a:lnTo>
                      <a:lnTo>
                        <a:pt x="83" y="75"/>
                      </a:lnTo>
                      <a:lnTo>
                        <a:pt x="90" y="73"/>
                      </a:lnTo>
                      <a:lnTo>
                        <a:pt x="148" y="73"/>
                      </a:lnTo>
                      <a:lnTo>
                        <a:pt x="148" y="73"/>
                      </a:lnTo>
                      <a:lnTo>
                        <a:pt x="157" y="75"/>
                      </a:lnTo>
                      <a:lnTo>
                        <a:pt x="161" y="79"/>
                      </a:lnTo>
                      <a:lnTo>
                        <a:pt x="165" y="86"/>
                      </a:lnTo>
                      <a:lnTo>
                        <a:pt x="167" y="92"/>
                      </a:lnTo>
                      <a:lnTo>
                        <a:pt x="167" y="115"/>
                      </a:lnTo>
                      <a:close/>
                      <a:moveTo>
                        <a:pt x="322" y="429"/>
                      </a:moveTo>
                      <a:lnTo>
                        <a:pt x="322" y="429"/>
                      </a:lnTo>
                      <a:lnTo>
                        <a:pt x="322" y="435"/>
                      </a:lnTo>
                      <a:lnTo>
                        <a:pt x="318" y="441"/>
                      </a:lnTo>
                      <a:lnTo>
                        <a:pt x="311" y="445"/>
                      </a:lnTo>
                      <a:lnTo>
                        <a:pt x="305" y="447"/>
                      </a:lnTo>
                      <a:lnTo>
                        <a:pt x="247" y="447"/>
                      </a:lnTo>
                      <a:lnTo>
                        <a:pt x="247" y="447"/>
                      </a:lnTo>
                      <a:lnTo>
                        <a:pt x="238" y="445"/>
                      </a:lnTo>
                      <a:lnTo>
                        <a:pt x="234" y="441"/>
                      </a:lnTo>
                      <a:lnTo>
                        <a:pt x="230" y="435"/>
                      </a:lnTo>
                      <a:lnTo>
                        <a:pt x="228" y="429"/>
                      </a:lnTo>
                      <a:lnTo>
                        <a:pt x="228" y="406"/>
                      </a:lnTo>
                      <a:lnTo>
                        <a:pt x="228" y="406"/>
                      </a:lnTo>
                      <a:lnTo>
                        <a:pt x="230" y="399"/>
                      </a:lnTo>
                      <a:lnTo>
                        <a:pt x="234" y="393"/>
                      </a:lnTo>
                      <a:lnTo>
                        <a:pt x="238" y="389"/>
                      </a:lnTo>
                      <a:lnTo>
                        <a:pt x="247" y="389"/>
                      </a:lnTo>
                      <a:lnTo>
                        <a:pt x="305" y="389"/>
                      </a:lnTo>
                      <a:lnTo>
                        <a:pt x="305" y="389"/>
                      </a:lnTo>
                      <a:lnTo>
                        <a:pt x="311" y="389"/>
                      </a:lnTo>
                      <a:lnTo>
                        <a:pt x="318" y="393"/>
                      </a:lnTo>
                      <a:lnTo>
                        <a:pt x="322" y="399"/>
                      </a:lnTo>
                      <a:lnTo>
                        <a:pt x="322" y="406"/>
                      </a:lnTo>
                      <a:lnTo>
                        <a:pt x="322" y="429"/>
                      </a:lnTo>
                      <a:close/>
                      <a:moveTo>
                        <a:pt x="322" y="324"/>
                      </a:moveTo>
                      <a:lnTo>
                        <a:pt x="322" y="324"/>
                      </a:lnTo>
                      <a:lnTo>
                        <a:pt x="322" y="330"/>
                      </a:lnTo>
                      <a:lnTo>
                        <a:pt x="318" y="337"/>
                      </a:lnTo>
                      <a:lnTo>
                        <a:pt x="311" y="341"/>
                      </a:lnTo>
                      <a:lnTo>
                        <a:pt x="305" y="341"/>
                      </a:lnTo>
                      <a:lnTo>
                        <a:pt x="247" y="341"/>
                      </a:lnTo>
                      <a:lnTo>
                        <a:pt x="247" y="341"/>
                      </a:lnTo>
                      <a:lnTo>
                        <a:pt x="238" y="341"/>
                      </a:lnTo>
                      <a:lnTo>
                        <a:pt x="234" y="337"/>
                      </a:lnTo>
                      <a:lnTo>
                        <a:pt x="230" y="330"/>
                      </a:lnTo>
                      <a:lnTo>
                        <a:pt x="228" y="324"/>
                      </a:lnTo>
                      <a:lnTo>
                        <a:pt x="228" y="301"/>
                      </a:lnTo>
                      <a:lnTo>
                        <a:pt x="228" y="301"/>
                      </a:lnTo>
                      <a:lnTo>
                        <a:pt x="230" y="295"/>
                      </a:lnTo>
                      <a:lnTo>
                        <a:pt x="234" y="289"/>
                      </a:lnTo>
                      <a:lnTo>
                        <a:pt x="238" y="284"/>
                      </a:lnTo>
                      <a:lnTo>
                        <a:pt x="247" y="282"/>
                      </a:lnTo>
                      <a:lnTo>
                        <a:pt x="305" y="282"/>
                      </a:lnTo>
                      <a:lnTo>
                        <a:pt x="305" y="282"/>
                      </a:lnTo>
                      <a:lnTo>
                        <a:pt x="311" y="284"/>
                      </a:lnTo>
                      <a:lnTo>
                        <a:pt x="318" y="289"/>
                      </a:lnTo>
                      <a:lnTo>
                        <a:pt x="322" y="295"/>
                      </a:lnTo>
                      <a:lnTo>
                        <a:pt x="322" y="301"/>
                      </a:lnTo>
                      <a:lnTo>
                        <a:pt x="322" y="324"/>
                      </a:lnTo>
                      <a:close/>
                      <a:moveTo>
                        <a:pt x="322" y="220"/>
                      </a:moveTo>
                      <a:lnTo>
                        <a:pt x="322" y="220"/>
                      </a:lnTo>
                      <a:lnTo>
                        <a:pt x="322" y="226"/>
                      </a:lnTo>
                      <a:lnTo>
                        <a:pt x="318" y="232"/>
                      </a:lnTo>
                      <a:lnTo>
                        <a:pt x="311" y="236"/>
                      </a:lnTo>
                      <a:lnTo>
                        <a:pt x="305" y="236"/>
                      </a:lnTo>
                      <a:lnTo>
                        <a:pt x="247" y="236"/>
                      </a:lnTo>
                      <a:lnTo>
                        <a:pt x="247" y="236"/>
                      </a:lnTo>
                      <a:lnTo>
                        <a:pt x="238" y="236"/>
                      </a:lnTo>
                      <a:lnTo>
                        <a:pt x="234" y="232"/>
                      </a:lnTo>
                      <a:lnTo>
                        <a:pt x="230" y="226"/>
                      </a:lnTo>
                      <a:lnTo>
                        <a:pt x="228" y="220"/>
                      </a:lnTo>
                      <a:lnTo>
                        <a:pt x="228" y="197"/>
                      </a:lnTo>
                      <a:lnTo>
                        <a:pt x="228" y="197"/>
                      </a:lnTo>
                      <a:lnTo>
                        <a:pt x="230" y="190"/>
                      </a:lnTo>
                      <a:lnTo>
                        <a:pt x="234" y="184"/>
                      </a:lnTo>
                      <a:lnTo>
                        <a:pt x="238" y="180"/>
                      </a:lnTo>
                      <a:lnTo>
                        <a:pt x="247" y="178"/>
                      </a:lnTo>
                      <a:lnTo>
                        <a:pt x="305" y="178"/>
                      </a:lnTo>
                      <a:lnTo>
                        <a:pt x="305" y="178"/>
                      </a:lnTo>
                      <a:lnTo>
                        <a:pt x="311" y="180"/>
                      </a:lnTo>
                      <a:lnTo>
                        <a:pt x="318" y="184"/>
                      </a:lnTo>
                      <a:lnTo>
                        <a:pt x="322" y="190"/>
                      </a:lnTo>
                      <a:lnTo>
                        <a:pt x="322" y="197"/>
                      </a:lnTo>
                      <a:lnTo>
                        <a:pt x="322" y="220"/>
                      </a:lnTo>
                      <a:close/>
                      <a:moveTo>
                        <a:pt x="322" y="115"/>
                      </a:moveTo>
                      <a:lnTo>
                        <a:pt x="322" y="115"/>
                      </a:lnTo>
                      <a:lnTo>
                        <a:pt x="322" y="121"/>
                      </a:lnTo>
                      <a:lnTo>
                        <a:pt x="318" y="128"/>
                      </a:lnTo>
                      <a:lnTo>
                        <a:pt x="311" y="132"/>
                      </a:lnTo>
                      <a:lnTo>
                        <a:pt x="305" y="132"/>
                      </a:lnTo>
                      <a:lnTo>
                        <a:pt x="247" y="132"/>
                      </a:lnTo>
                      <a:lnTo>
                        <a:pt x="247" y="132"/>
                      </a:lnTo>
                      <a:lnTo>
                        <a:pt x="238" y="132"/>
                      </a:lnTo>
                      <a:lnTo>
                        <a:pt x="234" y="128"/>
                      </a:lnTo>
                      <a:lnTo>
                        <a:pt x="230" y="121"/>
                      </a:lnTo>
                      <a:lnTo>
                        <a:pt x="228" y="115"/>
                      </a:lnTo>
                      <a:lnTo>
                        <a:pt x="228" y="92"/>
                      </a:lnTo>
                      <a:lnTo>
                        <a:pt x="228" y="92"/>
                      </a:lnTo>
                      <a:lnTo>
                        <a:pt x="230" y="86"/>
                      </a:lnTo>
                      <a:lnTo>
                        <a:pt x="234" y="79"/>
                      </a:lnTo>
                      <a:lnTo>
                        <a:pt x="238" y="75"/>
                      </a:lnTo>
                      <a:lnTo>
                        <a:pt x="247" y="73"/>
                      </a:lnTo>
                      <a:lnTo>
                        <a:pt x="305" y="73"/>
                      </a:lnTo>
                      <a:lnTo>
                        <a:pt x="305" y="73"/>
                      </a:lnTo>
                      <a:lnTo>
                        <a:pt x="311" y="75"/>
                      </a:lnTo>
                      <a:lnTo>
                        <a:pt x="318" y="79"/>
                      </a:lnTo>
                      <a:lnTo>
                        <a:pt x="322" y="86"/>
                      </a:lnTo>
                      <a:lnTo>
                        <a:pt x="322" y="92"/>
                      </a:lnTo>
                      <a:lnTo>
                        <a:pt x="322" y="115"/>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95" name="Freeform 19"/>
                <p:cNvSpPr>
                  <a:spLocks noEditPoints="1"/>
                </p:cNvSpPr>
                <p:nvPr/>
              </p:nvSpPr>
              <p:spPr bwMode="auto">
                <a:xfrm>
                  <a:off x="10433466" y="1088191"/>
                  <a:ext cx="226411" cy="614615"/>
                </a:xfrm>
                <a:custGeom>
                  <a:avLst/>
                  <a:gdLst>
                    <a:gd name="T0" fmla="*/ 385 w 452"/>
                    <a:gd name="T1" fmla="*/ 351 h 1227"/>
                    <a:gd name="T2" fmla="*/ 364 w 452"/>
                    <a:gd name="T3" fmla="*/ 314 h 1227"/>
                    <a:gd name="T4" fmla="*/ 335 w 452"/>
                    <a:gd name="T5" fmla="*/ 291 h 1227"/>
                    <a:gd name="T6" fmla="*/ 322 w 452"/>
                    <a:gd name="T7" fmla="*/ 255 h 1227"/>
                    <a:gd name="T8" fmla="*/ 282 w 452"/>
                    <a:gd name="T9" fmla="*/ 228 h 1227"/>
                    <a:gd name="T10" fmla="*/ 236 w 452"/>
                    <a:gd name="T11" fmla="*/ 27 h 1227"/>
                    <a:gd name="T12" fmla="*/ 226 w 452"/>
                    <a:gd name="T13" fmla="*/ 0 h 1227"/>
                    <a:gd name="T14" fmla="*/ 215 w 452"/>
                    <a:gd name="T15" fmla="*/ 17 h 1227"/>
                    <a:gd name="T16" fmla="*/ 182 w 452"/>
                    <a:gd name="T17" fmla="*/ 226 h 1227"/>
                    <a:gd name="T18" fmla="*/ 136 w 452"/>
                    <a:gd name="T19" fmla="*/ 245 h 1227"/>
                    <a:gd name="T20" fmla="*/ 117 w 452"/>
                    <a:gd name="T21" fmla="*/ 291 h 1227"/>
                    <a:gd name="T22" fmla="*/ 96 w 452"/>
                    <a:gd name="T23" fmla="*/ 309 h 1227"/>
                    <a:gd name="T24" fmla="*/ 69 w 452"/>
                    <a:gd name="T25" fmla="*/ 341 h 1227"/>
                    <a:gd name="T26" fmla="*/ 65 w 452"/>
                    <a:gd name="T27" fmla="*/ 362 h 1227"/>
                    <a:gd name="T28" fmla="*/ 19 w 452"/>
                    <a:gd name="T29" fmla="*/ 380 h 1227"/>
                    <a:gd name="T30" fmla="*/ 0 w 452"/>
                    <a:gd name="T31" fmla="*/ 426 h 1227"/>
                    <a:gd name="T32" fmla="*/ 4 w 452"/>
                    <a:gd name="T33" fmla="*/ 1200 h 1227"/>
                    <a:gd name="T34" fmla="*/ 27 w 452"/>
                    <a:gd name="T35" fmla="*/ 1223 h 1227"/>
                    <a:gd name="T36" fmla="*/ 126 w 452"/>
                    <a:gd name="T37" fmla="*/ 1227 h 1227"/>
                    <a:gd name="T38" fmla="*/ 169 w 452"/>
                    <a:gd name="T39" fmla="*/ 1075 h 1227"/>
                    <a:gd name="T40" fmla="*/ 276 w 452"/>
                    <a:gd name="T41" fmla="*/ 1066 h 1227"/>
                    <a:gd name="T42" fmla="*/ 324 w 452"/>
                    <a:gd name="T43" fmla="*/ 1227 h 1227"/>
                    <a:gd name="T44" fmla="*/ 408 w 452"/>
                    <a:gd name="T45" fmla="*/ 1227 h 1227"/>
                    <a:gd name="T46" fmla="*/ 439 w 452"/>
                    <a:gd name="T47" fmla="*/ 1213 h 1227"/>
                    <a:gd name="T48" fmla="*/ 452 w 452"/>
                    <a:gd name="T49" fmla="*/ 1183 h 1227"/>
                    <a:gd name="T50" fmla="*/ 445 w 452"/>
                    <a:gd name="T51" fmla="*/ 401 h 1227"/>
                    <a:gd name="T52" fmla="*/ 412 w 452"/>
                    <a:gd name="T53" fmla="*/ 368 h 1227"/>
                    <a:gd name="T54" fmla="*/ 324 w 452"/>
                    <a:gd name="T55" fmla="*/ 968 h 1227"/>
                    <a:gd name="T56" fmla="*/ 105 w 452"/>
                    <a:gd name="T57" fmla="*/ 962 h 1227"/>
                    <a:gd name="T58" fmla="*/ 100 w 452"/>
                    <a:gd name="T59" fmla="*/ 935 h 1227"/>
                    <a:gd name="T60" fmla="*/ 324 w 452"/>
                    <a:gd name="T61" fmla="*/ 918 h 1227"/>
                    <a:gd name="T62" fmla="*/ 349 w 452"/>
                    <a:gd name="T63" fmla="*/ 935 h 1227"/>
                    <a:gd name="T64" fmla="*/ 345 w 452"/>
                    <a:gd name="T65" fmla="*/ 962 h 1227"/>
                    <a:gd name="T66" fmla="*/ 324 w 452"/>
                    <a:gd name="T67" fmla="*/ 847 h 1227"/>
                    <a:gd name="T68" fmla="*/ 105 w 452"/>
                    <a:gd name="T69" fmla="*/ 838 h 1227"/>
                    <a:gd name="T70" fmla="*/ 100 w 452"/>
                    <a:gd name="T71" fmla="*/ 811 h 1227"/>
                    <a:gd name="T72" fmla="*/ 324 w 452"/>
                    <a:gd name="T73" fmla="*/ 797 h 1227"/>
                    <a:gd name="T74" fmla="*/ 349 w 452"/>
                    <a:gd name="T75" fmla="*/ 811 h 1227"/>
                    <a:gd name="T76" fmla="*/ 345 w 452"/>
                    <a:gd name="T77" fmla="*/ 838 h 1227"/>
                    <a:gd name="T78" fmla="*/ 324 w 452"/>
                    <a:gd name="T79" fmla="*/ 723 h 1227"/>
                    <a:gd name="T80" fmla="*/ 105 w 452"/>
                    <a:gd name="T81" fmla="*/ 717 h 1227"/>
                    <a:gd name="T82" fmla="*/ 100 w 452"/>
                    <a:gd name="T83" fmla="*/ 690 h 1227"/>
                    <a:gd name="T84" fmla="*/ 324 w 452"/>
                    <a:gd name="T85" fmla="*/ 673 h 1227"/>
                    <a:gd name="T86" fmla="*/ 349 w 452"/>
                    <a:gd name="T87" fmla="*/ 690 h 1227"/>
                    <a:gd name="T88" fmla="*/ 345 w 452"/>
                    <a:gd name="T89" fmla="*/ 717 h 1227"/>
                    <a:gd name="T90" fmla="*/ 324 w 452"/>
                    <a:gd name="T91" fmla="*/ 602 h 1227"/>
                    <a:gd name="T92" fmla="*/ 105 w 452"/>
                    <a:gd name="T93" fmla="*/ 594 h 1227"/>
                    <a:gd name="T94" fmla="*/ 100 w 452"/>
                    <a:gd name="T95" fmla="*/ 567 h 1227"/>
                    <a:gd name="T96" fmla="*/ 324 w 452"/>
                    <a:gd name="T97" fmla="*/ 552 h 1227"/>
                    <a:gd name="T98" fmla="*/ 349 w 452"/>
                    <a:gd name="T99" fmla="*/ 567 h 1227"/>
                    <a:gd name="T100" fmla="*/ 345 w 452"/>
                    <a:gd name="T101" fmla="*/ 594 h 1227"/>
                    <a:gd name="T102" fmla="*/ 324 w 452"/>
                    <a:gd name="T103" fmla="*/ 479 h 1227"/>
                    <a:gd name="T104" fmla="*/ 105 w 452"/>
                    <a:gd name="T105" fmla="*/ 472 h 1227"/>
                    <a:gd name="T106" fmla="*/ 100 w 452"/>
                    <a:gd name="T107" fmla="*/ 445 h 1227"/>
                    <a:gd name="T108" fmla="*/ 324 w 452"/>
                    <a:gd name="T109" fmla="*/ 429 h 1227"/>
                    <a:gd name="T110" fmla="*/ 349 w 452"/>
                    <a:gd name="T111" fmla="*/ 445 h 1227"/>
                    <a:gd name="T112" fmla="*/ 345 w 452"/>
                    <a:gd name="T113" fmla="*/ 472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2" h="1227">
                      <a:moveTo>
                        <a:pt x="387" y="362"/>
                      </a:moveTo>
                      <a:lnTo>
                        <a:pt x="387" y="362"/>
                      </a:lnTo>
                      <a:lnTo>
                        <a:pt x="387" y="362"/>
                      </a:lnTo>
                      <a:lnTo>
                        <a:pt x="385" y="351"/>
                      </a:lnTo>
                      <a:lnTo>
                        <a:pt x="383" y="341"/>
                      </a:lnTo>
                      <a:lnTo>
                        <a:pt x="376" y="330"/>
                      </a:lnTo>
                      <a:lnTo>
                        <a:pt x="370" y="322"/>
                      </a:lnTo>
                      <a:lnTo>
                        <a:pt x="364" y="314"/>
                      </a:lnTo>
                      <a:lnTo>
                        <a:pt x="356" y="309"/>
                      </a:lnTo>
                      <a:lnTo>
                        <a:pt x="345" y="303"/>
                      </a:lnTo>
                      <a:lnTo>
                        <a:pt x="335" y="301"/>
                      </a:lnTo>
                      <a:lnTo>
                        <a:pt x="335" y="291"/>
                      </a:lnTo>
                      <a:lnTo>
                        <a:pt x="335" y="291"/>
                      </a:lnTo>
                      <a:lnTo>
                        <a:pt x="333" y="278"/>
                      </a:lnTo>
                      <a:lnTo>
                        <a:pt x="328" y="266"/>
                      </a:lnTo>
                      <a:lnTo>
                        <a:pt x="322" y="255"/>
                      </a:lnTo>
                      <a:lnTo>
                        <a:pt x="316" y="245"/>
                      </a:lnTo>
                      <a:lnTo>
                        <a:pt x="305" y="236"/>
                      </a:lnTo>
                      <a:lnTo>
                        <a:pt x="295" y="232"/>
                      </a:lnTo>
                      <a:lnTo>
                        <a:pt x="282" y="228"/>
                      </a:lnTo>
                      <a:lnTo>
                        <a:pt x="270" y="226"/>
                      </a:lnTo>
                      <a:lnTo>
                        <a:pt x="251" y="226"/>
                      </a:lnTo>
                      <a:lnTo>
                        <a:pt x="236" y="27"/>
                      </a:lnTo>
                      <a:lnTo>
                        <a:pt x="236" y="27"/>
                      </a:lnTo>
                      <a:lnTo>
                        <a:pt x="236" y="17"/>
                      </a:lnTo>
                      <a:lnTo>
                        <a:pt x="234" y="8"/>
                      </a:lnTo>
                      <a:lnTo>
                        <a:pt x="230" y="2"/>
                      </a:lnTo>
                      <a:lnTo>
                        <a:pt x="226" y="0"/>
                      </a:lnTo>
                      <a:lnTo>
                        <a:pt x="226" y="0"/>
                      </a:lnTo>
                      <a:lnTo>
                        <a:pt x="222" y="2"/>
                      </a:lnTo>
                      <a:lnTo>
                        <a:pt x="218" y="8"/>
                      </a:lnTo>
                      <a:lnTo>
                        <a:pt x="215" y="17"/>
                      </a:lnTo>
                      <a:lnTo>
                        <a:pt x="215" y="27"/>
                      </a:lnTo>
                      <a:lnTo>
                        <a:pt x="201" y="226"/>
                      </a:lnTo>
                      <a:lnTo>
                        <a:pt x="182" y="226"/>
                      </a:lnTo>
                      <a:lnTo>
                        <a:pt x="182" y="226"/>
                      </a:lnTo>
                      <a:lnTo>
                        <a:pt x="169" y="228"/>
                      </a:lnTo>
                      <a:lnTo>
                        <a:pt x="157" y="232"/>
                      </a:lnTo>
                      <a:lnTo>
                        <a:pt x="146" y="236"/>
                      </a:lnTo>
                      <a:lnTo>
                        <a:pt x="136" y="245"/>
                      </a:lnTo>
                      <a:lnTo>
                        <a:pt x="128" y="255"/>
                      </a:lnTo>
                      <a:lnTo>
                        <a:pt x="123" y="266"/>
                      </a:lnTo>
                      <a:lnTo>
                        <a:pt x="119" y="278"/>
                      </a:lnTo>
                      <a:lnTo>
                        <a:pt x="117" y="291"/>
                      </a:lnTo>
                      <a:lnTo>
                        <a:pt x="117" y="301"/>
                      </a:lnTo>
                      <a:lnTo>
                        <a:pt x="117" y="301"/>
                      </a:lnTo>
                      <a:lnTo>
                        <a:pt x="107" y="303"/>
                      </a:lnTo>
                      <a:lnTo>
                        <a:pt x="96" y="309"/>
                      </a:lnTo>
                      <a:lnTo>
                        <a:pt x="88" y="314"/>
                      </a:lnTo>
                      <a:lnTo>
                        <a:pt x="80" y="322"/>
                      </a:lnTo>
                      <a:lnTo>
                        <a:pt x="73" y="330"/>
                      </a:lnTo>
                      <a:lnTo>
                        <a:pt x="69" y="341"/>
                      </a:lnTo>
                      <a:lnTo>
                        <a:pt x="67" y="351"/>
                      </a:lnTo>
                      <a:lnTo>
                        <a:pt x="65" y="362"/>
                      </a:lnTo>
                      <a:lnTo>
                        <a:pt x="65" y="362"/>
                      </a:lnTo>
                      <a:lnTo>
                        <a:pt x="65" y="362"/>
                      </a:lnTo>
                      <a:lnTo>
                        <a:pt x="52" y="364"/>
                      </a:lnTo>
                      <a:lnTo>
                        <a:pt x="40" y="368"/>
                      </a:lnTo>
                      <a:lnTo>
                        <a:pt x="29" y="374"/>
                      </a:lnTo>
                      <a:lnTo>
                        <a:pt x="19" y="380"/>
                      </a:lnTo>
                      <a:lnTo>
                        <a:pt x="11" y="391"/>
                      </a:lnTo>
                      <a:lnTo>
                        <a:pt x="6" y="401"/>
                      </a:lnTo>
                      <a:lnTo>
                        <a:pt x="2" y="414"/>
                      </a:lnTo>
                      <a:lnTo>
                        <a:pt x="0" y="426"/>
                      </a:lnTo>
                      <a:lnTo>
                        <a:pt x="0" y="1183"/>
                      </a:lnTo>
                      <a:lnTo>
                        <a:pt x="0" y="1183"/>
                      </a:lnTo>
                      <a:lnTo>
                        <a:pt x="2" y="1192"/>
                      </a:lnTo>
                      <a:lnTo>
                        <a:pt x="4" y="1200"/>
                      </a:lnTo>
                      <a:lnTo>
                        <a:pt x="8" y="1206"/>
                      </a:lnTo>
                      <a:lnTo>
                        <a:pt x="13" y="1213"/>
                      </a:lnTo>
                      <a:lnTo>
                        <a:pt x="19" y="1219"/>
                      </a:lnTo>
                      <a:lnTo>
                        <a:pt x="27" y="1223"/>
                      </a:lnTo>
                      <a:lnTo>
                        <a:pt x="36" y="1225"/>
                      </a:lnTo>
                      <a:lnTo>
                        <a:pt x="44" y="1227"/>
                      </a:lnTo>
                      <a:lnTo>
                        <a:pt x="126" y="1227"/>
                      </a:lnTo>
                      <a:lnTo>
                        <a:pt x="126" y="1227"/>
                      </a:lnTo>
                      <a:lnTo>
                        <a:pt x="128" y="1227"/>
                      </a:lnTo>
                      <a:lnTo>
                        <a:pt x="169" y="1227"/>
                      </a:lnTo>
                      <a:lnTo>
                        <a:pt x="169" y="1075"/>
                      </a:lnTo>
                      <a:lnTo>
                        <a:pt x="169" y="1075"/>
                      </a:lnTo>
                      <a:lnTo>
                        <a:pt x="172" y="1068"/>
                      </a:lnTo>
                      <a:lnTo>
                        <a:pt x="178" y="1066"/>
                      </a:lnTo>
                      <a:lnTo>
                        <a:pt x="276" y="1066"/>
                      </a:lnTo>
                      <a:lnTo>
                        <a:pt x="276" y="1066"/>
                      </a:lnTo>
                      <a:lnTo>
                        <a:pt x="280" y="1068"/>
                      </a:lnTo>
                      <a:lnTo>
                        <a:pt x="282" y="1075"/>
                      </a:lnTo>
                      <a:lnTo>
                        <a:pt x="282" y="1227"/>
                      </a:lnTo>
                      <a:lnTo>
                        <a:pt x="324" y="1227"/>
                      </a:lnTo>
                      <a:lnTo>
                        <a:pt x="324" y="1227"/>
                      </a:lnTo>
                      <a:lnTo>
                        <a:pt x="326" y="1227"/>
                      </a:lnTo>
                      <a:lnTo>
                        <a:pt x="408" y="1227"/>
                      </a:lnTo>
                      <a:lnTo>
                        <a:pt x="408" y="1227"/>
                      </a:lnTo>
                      <a:lnTo>
                        <a:pt x="416" y="1225"/>
                      </a:lnTo>
                      <a:lnTo>
                        <a:pt x="425" y="1223"/>
                      </a:lnTo>
                      <a:lnTo>
                        <a:pt x="431" y="1219"/>
                      </a:lnTo>
                      <a:lnTo>
                        <a:pt x="439" y="1213"/>
                      </a:lnTo>
                      <a:lnTo>
                        <a:pt x="443" y="1206"/>
                      </a:lnTo>
                      <a:lnTo>
                        <a:pt x="448" y="1200"/>
                      </a:lnTo>
                      <a:lnTo>
                        <a:pt x="450" y="1192"/>
                      </a:lnTo>
                      <a:lnTo>
                        <a:pt x="452" y="1183"/>
                      </a:lnTo>
                      <a:lnTo>
                        <a:pt x="452" y="426"/>
                      </a:lnTo>
                      <a:lnTo>
                        <a:pt x="452" y="426"/>
                      </a:lnTo>
                      <a:lnTo>
                        <a:pt x="450" y="414"/>
                      </a:lnTo>
                      <a:lnTo>
                        <a:pt x="445" y="401"/>
                      </a:lnTo>
                      <a:lnTo>
                        <a:pt x="441" y="391"/>
                      </a:lnTo>
                      <a:lnTo>
                        <a:pt x="433" y="380"/>
                      </a:lnTo>
                      <a:lnTo>
                        <a:pt x="422" y="374"/>
                      </a:lnTo>
                      <a:lnTo>
                        <a:pt x="412" y="368"/>
                      </a:lnTo>
                      <a:lnTo>
                        <a:pt x="399" y="364"/>
                      </a:lnTo>
                      <a:lnTo>
                        <a:pt x="387" y="362"/>
                      </a:lnTo>
                      <a:lnTo>
                        <a:pt x="387" y="362"/>
                      </a:lnTo>
                      <a:close/>
                      <a:moveTo>
                        <a:pt x="324" y="968"/>
                      </a:moveTo>
                      <a:lnTo>
                        <a:pt x="126" y="968"/>
                      </a:lnTo>
                      <a:lnTo>
                        <a:pt x="126" y="968"/>
                      </a:lnTo>
                      <a:lnTo>
                        <a:pt x="115" y="966"/>
                      </a:lnTo>
                      <a:lnTo>
                        <a:pt x="105" y="962"/>
                      </a:lnTo>
                      <a:lnTo>
                        <a:pt x="100" y="953"/>
                      </a:lnTo>
                      <a:lnTo>
                        <a:pt x="98" y="943"/>
                      </a:lnTo>
                      <a:lnTo>
                        <a:pt x="98" y="943"/>
                      </a:lnTo>
                      <a:lnTo>
                        <a:pt x="100" y="935"/>
                      </a:lnTo>
                      <a:lnTo>
                        <a:pt x="105" y="926"/>
                      </a:lnTo>
                      <a:lnTo>
                        <a:pt x="115" y="920"/>
                      </a:lnTo>
                      <a:lnTo>
                        <a:pt x="126" y="918"/>
                      </a:lnTo>
                      <a:lnTo>
                        <a:pt x="324" y="918"/>
                      </a:lnTo>
                      <a:lnTo>
                        <a:pt x="324" y="918"/>
                      </a:lnTo>
                      <a:lnTo>
                        <a:pt x="335" y="920"/>
                      </a:lnTo>
                      <a:lnTo>
                        <a:pt x="345" y="926"/>
                      </a:lnTo>
                      <a:lnTo>
                        <a:pt x="349" y="935"/>
                      </a:lnTo>
                      <a:lnTo>
                        <a:pt x="351" y="943"/>
                      </a:lnTo>
                      <a:lnTo>
                        <a:pt x="351" y="943"/>
                      </a:lnTo>
                      <a:lnTo>
                        <a:pt x="349" y="953"/>
                      </a:lnTo>
                      <a:lnTo>
                        <a:pt x="345" y="962"/>
                      </a:lnTo>
                      <a:lnTo>
                        <a:pt x="335" y="966"/>
                      </a:lnTo>
                      <a:lnTo>
                        <a:pt x="324" y="968"/>
                      </a:lnTo>
                      <a:lnTo>
                        <a:pt x="324" y="968"/>
                      </a:lnTo>
                      <a:close/>
                      <a:moveTo>
                        <a:pt x="324" y="847"/>
                      </a:moveTo>
                      <a:lnTo>
                        <a:pt x="126" y="847"/>
                      </a:lnTo>
                      <a:lnTo>
                        <a:pt x="126" y="847"/>
                      </a:lnTo>
                      <a:lnTo>
                        <a:pt x="115" y="845"/>
                      </a:lnTo>
                      <a:lnTo>
                        <a:pt x="105" y="838"/>
                      </a:lnTo>
                      <a:lnTo>
                        <a:pt x="100" y="830"/>
                      </a:lnTo>
                      <a:lnTo>
                        <a:pt x="98" y="822"/>
                      </a:lnTo>
                      <a:lnTo>
                        <a:pt x="98" y="822"/>
                      </a:lnTo>
                      <a:lnTo>
                        <a:pt x="100" y="811"/>
                      </a:lnTo>
                      <a:lnTo>
                        <a:pt x="105" y="803"/>
                      </a:lnTo>
                      <a:lnTo>
                        <a:pt x="115" y="799"/>
                      </a:lnTo>
                      <a:lnTo>
                        <a:pt x="126" y="797"/>
                      </a:lnTo>
                      <a:lnTo>
                        <a:pt x="324" y="797"/>
                      </a:lnTo>
                      <a:lnTo>
                        <a:pt x="324" y="797"/>
                      </a:lnTo>
                      <a:lnTo>
                        <a:pt x="335" y="799"/>
                      </a:lnTo>
                      <a:lnTo>
                        <a:pt x="345" y="803"/>
                      </a:lnTo>
                      <a:lnTo>
                        <a:pt x="349" y="811"/>
                      </a:lnTo>
                      <a:lnTo>
                        <a:pt x="351" y="822"/>
                      </a:lnTo>
                      <a:lnTo>
                        <a:pt x="351" y="822"/>
                      </a:lnTo>
                      <a:lnTo>
                        <a:pt x="349" y="830"/>
                      </a:lnTo>
                      <a:lnTo>
                        <a:pt x="345" y="838"/>
                      </a:lnTo>
                      <a:lnTo>
                        <a:pt x="335" y="845"/>
                      </a:lnTo>
                      <a:lnTo>
                        <a:pt x="324" y="847"/>
                      </a:lnTo>
                      <a:lnTo>
                        <a:pt x="324" y="847"/>
                      </a:lnTo>
                      <a:close/>
                      <a:moveTo>
                        <a:pt x="324" y="723"/>
                      </a:moveTo>
                      <a:lnTo>
                        <a:pt x="126" y="723"/>
                      </a:lnTo>
                      <a:lnTo>
                        <a:pt x="126" y="723"/>
                      </a:lnTo>
                      <a:lnTo>
                        <a:pt x="115" y="721"/>
                      </a:lnTo>
                      <a:lnTo>
                        <a:pt x="105" y="717"/>
                      </a:lnTo>
                      <a:lnTo>
                        <a:pt x="100" y="709"/>
                      </a:lnTo>
                      <a:lnTo>
                        <a:pt x="98" y="698"/>
                      </a:lnTo>
                      <a:lnTo>
                        <a:pt x="98" y="698"/>
                      </a:lnTo>
                      <a:lnTo>
                        <a:pt x="100" y="690"/>
                      </a:lnTo>
                      <a:lnTo>
                        <a:pt x="105" y="682"/>
                      </a:lnTo>
                      <a:lnTo>
                        <a:pt x="115" y="675"/>
                      </a:lnTo>
                      <a:lnTo>
                        <a:pt x="126" y="673"/>
                      </a:lnTo>
                      <a:lnTo>
                        <a:pt x="324" y="673"/>
                      </a:lnTo>
                      <a:lnTo>
                        <a:pt x="324" y="673"/>
                      </a:lnTo>
                      <a:lnTo>
                        <a:pt x="335" y="675"/>
                      </a:lnTo>
                      <a:lnTo>
                        <a:pt x="345" y="682"/>
                      </a:lnTo>
                      <a:lnTo>
                        <a:pt x="349" y="690"/>
                      </a:lnTo>
                      <a:lnTo>
                        <a:pt x="351" y="698"/>
                      </a:lnTo>
                      <a:lnTo>
                        <a:pt x="351" y="698"/>
                      </a:lnTo>
                      <a:lnTo>
                        <a:pt x="349" y="709"/>
                      </a:lnTo>
                      <a:lnTo>
                        <a:pt x="345" y="717"/>
                      </a:lnTo>
                      <a:lnTo>
                        <a:pt x="335" y="721"/>
                      </a:lnTo>
                      <a:lnTo>
                        <a:pt x="324" y="723"/>
                      </a:lnTo>
                      <a:lnTo>
                        <a:pt x="324" y="723"/>
                      </a:lnTo>
                      <a:close/>
                      <a:moveTo>
                        <a:pt x="324" y="602"/>
                      </a:moveTo>
                      <a:lnTo>
                        <a:pt x="126" y="602"/>
                      </a:lnTo>
                      <a:lnTo>
                        <a:pt x="126" y="602"/>
                      </a:lnTo>
                      <a:lnTo>
                        <a:pt x="115" y="600"/>
                      </a:lnTo>
                      <a:lnTo>
                        <a:pt x="105" y="594"/>
                      </a:lnTo>
                      <a:lnTo>
                        <a:pt x="100" y="585"/>
                      </a:lnTo>
                      <a:lnTo>
                        <a:pt x="98" y="577"/>
                      </a:lnTo>
                      <a:lnTo>
                        <a:pt x="98" y="577"/>
                      </a:lnTo>
                      <a:lnTo>
                        <a:pt x="100" y="567"/>
                      </a:lnTo>
                      <a:lnTo>
                        <a:pt x="105" y="558"/>
                      </a:lnTo>
                      <a:lnTo>
                        <a:pt x="115" y="554"/>
                      </a:lnTo>
                      <a:lnTo>
                        <a:pt x="126" y="552"/>
                      </a:lnTo>
                      <a:lnTo>
                        <a:pt x="324" y="552"/>
                      </a:lnTo>
                      <a:lnTo>
                        <a:pt x="324" y="552"/>
                      </a:lnTo>
                      <a:lnTo>
                        <a:pt x="335" y="554"/>
                      </a:lnTo>
                      <a:lnTo>
                        <a:pt x="345" y="558"/>
                      </a:lnTo>
                      <a:lnTo>
                        <a:pt x="349" y="567"/>
                      </a:lnTo>
                      <a:lnTo>
                        <a:pt x="351" y="577"/>
                      </a:lnTo>
                      <a:lnTo>
                        <a:pt x="351" y="577"/>
                      </a:lnTo>
                      <a:lnTo>
                        <a:pt x="349" y="585"/>
                      </a:lnTo>
                      <a:lnTo>
                        <a:pt x="345" y="594"/>
                      </a:lnTo>
                      <a:lnTo>
                        <a:pt x="335" y="600"/>
                      </a:lnTo>
                      <a:lnTo>
                        <a:pt x="324" y="602"/>
                      </a:lnTo>
                      <a:lnTo>
                        <a:pt x="324" y="602"/>
                      </a:lnTo>
                      <a:close/>
                      <a:moveTo>
                        <a:pt x="324" y="479"/>
                      </a:moveTo>
                      <a:lnTo>
                        <a:pt x="126" y="479"/>
                      </a:lnTo>
                      <a:lnTo>
                        <a:pt x="126" y="479"/>
                      </a:lnTo>
                      <a:lnTo>
                        <a:pt x="115" y="477"/>
                      </a:lnTo>
                      <a:lnTo>
                        <a:pt x="105" y="472"/>
                      </a:lnTo>
                      <a:lnTo>
                        <a:pt x="100" y="464"/>
                      </a:lnTo>
                      <a:lnTo>
                        <a:pt x="98" y="454"/>
                      </a:lnTo>
                      <a:lnTo>
                        <a:pt x="98" y="454"/>
                      </a:lnTo>
                      <a:lnTo>
                        <a:pt x="100" y="445"/>
                      </a:lnTo>
                      <a:lnTo>
                        <a:pt x="105" y="437"/>
                      </a:lnTo>
                      <a:lnTo>
                        <a:pt x="115" y="431"/>
                      </a:lnTo>
                      <a:lnTo>
                        <a:pt x="126" y="429"/>
                      </a:lnTo>
                      <a:lnTo>
                        <a:pt x="324" y="429"/>
                      </a:lnTo>
                      <a:lnTo>
                        <a:pt x="324" y="429"/>
                      </a:lnTo>
                      <a:lnTo>
                        <a:pt x="335" y="431"/>
                      </a:lnTo>
                      <a:lnTo>
                        <a:pt x="345" y="437"/>
                      </a:lnTo>
                      <a:lnTo>
                        <a:pt x="349" y="445"/>
                      </a:lnTo>
                      <a:lnTo>
                        <a:pt x="351" y="454"/>
                      </a:lnTo>
                      <a:lnTo>
                        <a:pt x="351" y="454"/>
                      </a:lnTo>
                      <a:lnTo>
                        <a:pt x="349" y="464"/>
                      </a:lnTo>
                      <a:lnTo>
                        <a:pt x="345" y="472"/>
                      </a:lnTo>
                      <a:lnTo>
                        <a:pt x="335" y="477"/>
                      </a:lnTo>
                      <a:lnTo>
                        <a:pt x="324" y="479"/>
                      </a:lnTo>
                      <a:lnTo>
                        <a:pt x="324" y="479"/>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cxnSp>
          <p:nvCxnSpPr>
            <p:cNvPr id="196" name="直接连接符 195"/>
            <p:cNvCxnSpPr/>
            <p:nvPr/>
          </p:nvCxnSpPr>
          <p:spPr>
            <a:xfrm flipV="1">
              <a:off x="7442257" y="4308261"/>
              <a:ext cx="0" cy="24892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grpSp>
          <p:nvGrpSpPr>
            <p:cNvPr id="197" name="组合 196"/>
            <p:cNvGrpSpPr/>
            <p:nvPr/>
          </p:nvGrpSpPr>
          <p:grpSpPr>
            <a:xfrm>
              <a:off x="8212768" y="3284437"/>
              <a:ext cx="692426" cy="517822"/>
              <a:chOff x="2466747" y="4022095"/>
              <a:chExt cx="975603" cy="729592"/>
            </a:xfrm>
          </p:grpSpPr>
          <p:sp>
            <p:nvSpPr>
              <p:cNvPr id="198" name="椭圆 197"/>
              <p:cNvSpPr/>
              <p:nvPr/>
            </p:nvSpPr>
            <p:spPr>
              <a:xfrm>
                <a:off x="2466747" y="4289030"/>
                <a:ext cx="975603" cy="462657"/>
              </a:xfrm>
              <a:prstGeom prst="ellipse">
                <a:avLst/>
              </a:prstGeom>
              <a:gradFill flip="none" rotWithShape="1">
                <a:gsLst>
                  <a:gs pos="0">
                    <a:schemeClr val="accent5">
                      <a:lumMod val="0"/>
                      <a:lumOff val="100000"/>
                    </a:schemeClr>
                  </a:gs>
                  <a:gs pos="18000">
                    <a:schemeClr val="accent5">
                      <a:lumMod val="0"/>
                      <a:lumOff val="100000"/>
                    </a:schemeClr>
                  </a:gs>
                  <a:gs pos="100000">
                    <a:schemeClr val="accent1"/>
                  </a:gs>
                </a:gsLst>
                <a:path path="circle">
                  <a:fillToRect l="50000" t="-80000" r="50000" b="180000"/>
                </a:path>
                <a:tileRect/>
              </a:gradFill>
              <a:ln w="19050" cap="rnd"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199" name="组合 198"/>
              <p:cNvGrpSpPr/>
              <p:nvPr/>
            </p:nvGrpSpPr>
            <p:grpSpPr>
              <a:xfrm>
                <a:off x="2767947" y="4022095"/>
                <a:ext cx="414745" cy="556155"/>
                <a:chOff x="10433466" y="1088191"/>
                <a:chExt cx="459835" cy="616619"/>
              </a:xfrm>
              <a:solidFill>
                <a:schemeClr val="tx2">
                  <a:lumMod val="75000"/>
                </a:schemeClr>
              </a:solidFill>
            </p:grpSpPr>
            <p:sp>
              <p:nvSpPr>
                <p:cNvPr id="200" name="Freeform 18"/>
                <p:cNvSpPr>
                  <a:spLocks noEditPoints="1"/>
                </p:cNvSpPr>
                <p:nvPr/>
              </p:nvSpPr>
              <p:spPr bwMode="auto">
                <a:xfrm>
                  <a:off x="10695442" y="1388736"/>
                  <a:ext cx="197859" cy="316074"/>
                </a:xfrm>
                <a:custGeom>
                  <a:avLst/>
                  <a:gdLst>
                    <a:gd name="T0" fmla="*/ 27 w 395"/>
                    <a:gd name="T1" fmla="*/ 2 h 631"/>
                    <a:gd name="T2" fmla="*/ 0 w 395"/>
                    <a:gd name="T3" fmla="*/ 33 h 631"/>
                    <a:gd name="T4" fmla="*/ 2 w 395"/>
                    <a:gd name="T5" fmla="*/ 604 h 631"/>
                    <a:gd name="T6" fmla="*/ 35 w 395"/>
                    <a:gd name="T7" fmla="*/ 631 h 631"/>
                    <a:gd name="T8" fmla="*/ 236 w 395"/>
                    <a:gd name="T9" fmla="*/ 508 h 631"/>
                    <a:gd name="T10" fmla="*/ 311 w 395"/>
                    <a:gd name="T11" fmla="*/ 498 h 631"/>
                    <a:gd name="T12" fmla="*/ 330 w 395"/>
                    <a:gd name="T13" fmla="*/ 631 h 631"/>
                    <a:gd name="T14" fmla="*/ 376 w 395"/>
                    <a:gd name="T15" fmla="*/ 625 h 631"/>
                    <a:gd name="T16" fmla="*/ 395 w 395"/>
                    <a:gd name="T17" fmla="*/ 587 h 631"/>
                    <a:gd name="T18" fmla="*/ 389 w 395"/>
                    <a:gd name="T19" fmla="*/ 19 h 631"/>
                    <a:gd name="T20" fmla="*/ 351 w 395"/>
                    <a:gd name="T21" fmla="*/ 0 h 631"/>
                    <a:gd name="T22" fmla="*/ 161 w 395"/>
                    <a:gd name="T23" fmla="*/ 546 h 631"/>
                    <a:gd name="T24" fmla="*/ 83 w 395"/>
                    <a:gd name="T25" fmla="*/ 550 h 631"/>
                    <a:gd name="T26" fmla="*/ 73 w 395"/>
                    <a:gd name="T27" fmla="*/ 510 h 631"/>
                    <a:gd name="T28" fmla="*/ 148 w 395"/>
                    <a:gd name="T29" fmla="*/ 493 h 631"/>
                    <a:gd name="T30" fmla="*/ 167 w 395"/>
                    <a:gd name="T31" fmla="*/ 510 h 631"/>
                    <a:gd name="T32" fmla="*/ 161 w 395"/>
                    <a:gd name="T33" fmla="*/ 441 h 631"/>
                    <a:gd name="T34" fmla="*/ 83 w 395"/>
                    <a:gd name="T35" fmla="*/ 445 h 631"/>
                    <a:gd name="T36" fmla="*/ 73 w 395"/>
                    <a:gd name="T37" fmla="*/ 406 h 631"/>
                    <a:gd name="T38" fmla="*/ 148 w 395"/>
                    <a:gd name="T39" fmla="*/ 389 h 631"/>
                    <a:gd name="T40" fmla="*/ 167 w 395"/>
                    <a:gd name="T41" fmla="*/ 406 h 631"/>
                    <a:gd name="T42" fmla="*/ 161 w 395"/>
                    <a:gd name="T43" fmla="*/ 337 h 631"/>
                    <a:gd name="T44" fmla="*/ 83 w 395"/>
                    <a:gd name="T45" fmla="*/ 341 h 631"/>
                    <a:gd name="T46" fmla="*/ 73 w 395"/>
                    <a:gd name="T47" fmla="*/ 301 h 631"/>
                    <a:gd name="T48" fmla="*/ 148 w 395"/>
                    <a:gd name="T49" fmla="*/ 282 h 631"/>
                    <a:gd name="T50" fmla="*/ 167 w 395"/>
                    <a:gd name="T51" fmla="*/ 301 h 631"/>
                    <a:gd name="T52" fmla="*/ 161 w 395"/>
                    <a:gd name="T53" fmla="*/ 232 h 631"/>
                    <a:gd name="T54" fmla="*/ 83 w 395"/>
                    <a:gd name="T55" fmla="*/ 236 h 631"/>
                    <a:gd name="T56" fmla="*/ 73 w 395"/>
                    <a:gd name="T57" fmla="*/ 197 h 631"/>
                    <a:gd name="T58" fmla="*/ 148 w 395"/>
                    <a:gd name="T59" fmla="*/ 178 h 631"/>
                    <a:gd name="T60" fmla="*/ 167 w 395"/>
                    <a:gd name="T61" fmla="*/ 197 h 631"/>
                    <a:gd name="T62" fmla="*/ 161 w 395"/>
                    <a:gd name="T63" fmla="*/ 128 h 631"/>
                    <a:gd name="T64" fmla="*/ 83 w 395"/>
                    <a:gd name="T65" fmla="*/ 132 h 631"/>
                    <a:gd name="T66" fmla="*/ 73 w 395"/>
                    <a:gd name="T67" fmla="*/ 92 h 631"/>
                    <a:gd name="T68" fmla="*/ 148 w 395"/>
                    <a:gd name="T69" fmla="*/ 73 h 631"/>
                    <a:gd name="T70" fmla="*/ 167 w 395"/>
                    <a:gd name="T71" fmla="*/ 92 h 631"/>
                    <a:gd name="T72" fmla="*/ 318 w 395"/>
                    <a:gd name="T73" fmla="*/ 441 h 631"/>
                    <a:gd name="T74" fmla="*/ 238 w 395"/>
                    <a:gd name="T75" fmla="*/ 445 h 631"/>
                    <a:gd name="T76" fmla="*/ 228 w 395"/>
                    <a:gd name="T77" fmla="*/ 406 h 631"/>
                    <a:gd name="T78" fmla="*/ 305 w 395"/>
                    <a:gd name="T79" fmla="*/ 389 h 631"/>
                    <a:gd name="T80" fmla="*/ 322 w 395"/>
                    <a:gd name="T81" fmla="*/ 406 h 631"/>
                    <a:gd name="T82" fmla="*/ 318 w 395"/>
                    <a:gd name="T83" fmla="*/ 337 h 631"/>
                    <a:gd name="T84" fmla="*/ 238 w 395"/>
                    <a:gd name="T85" fmla="*/ 341 h 631"/>
                    <a:gd name="T86" fmla="*/ 228 w 395"/>
                    <a:gd name="T87" fmla="*/ 301 h 631"/>
                    <a:gd name="T88" fmla="*/ 305 w 395"/>
                    <a:gd name="T89" fmla="*/ 282 h 631"/>
                    <a:gd name="T90" fmla="*/ 322 w 395"/>
                    <a:gd name="T91" fmla="*/ 301 h 631"/>
                    <a:gd name="T92" fmla="*/ 318 w 395"/>
                    <a:gd name="T93" fmla="*/ 232 h 631"/>
                    <a:gd name="T94" fmla="*/ 238 w 395"/>
                    <a:gd name="T95" fmla="*/ 236 h 631"/>
                    <a:gd name="T96" fmla="*/ 228 w 395"/>
                    <a:gd name="T97" fmla="*/ 197 h 631"/>
                    <a:gd name="T98" fmla="*/ 305 w 395"/>
                    <a:gd name="T99" fmla="*/ 178 h 631"/>
                    <a:gd name="T100" fmla="*/ 322 w 395"/>
                    <a:gd name="T101" fmla="*/ 197 h 631"/>
                    <a:gd name="T102" fmla="*/ 318 w 395"/>
                    <a:gd name="T103" fmla="*/ 128 h 631"/>
                    <a:gd name="T104" fmla="*/ 238 w 395"/>
                    <a:gd name="T105" fmla="*/ 132 h 631"/>
                    <a:gd name="T106" fmla="*/ 228 w 395"/>
                    <a:gd name="T107" fmla="*/ 92 h 631"/>
                    <a:gd name="T108" fmla="*/ 305 w 395"/>
                    <a:gd name="T109" fmla="*/ 73 h 631"/>
                    <a:gd name="T110" fmla="*/ 322 w 395"/>
                    <a:gd name="T111" fmla="*/ 92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5" h="631">
                      <a:moveTo>
                        <a:pt x="351" y="0"/>
                      </a:moveTo>
                      <a:lnTo>
                        <a:pt x="44" y="0"/>
                      </a:lnTo>
                      <a:lnTo>
                        <a:pt x="44" y="0"/>
                      </a:lnTo>
                      <a:lnTo>
                        <a:pt x="35" y="0"/>
                      </a:lnTo>
                      <a:lnTo>
                        <a:pt x="27" y="2"/>
                      </a:lnTo>
                      <a:lnTo>
                        <a:pt x="19" y="6"/>
                      </a:lnTo>
                      <a:lnTo>
                        <a:pt x="12" y="13"/>
                      </a:lnTo>
                      <a:lnTo>
                        <a:pt x="6" y="19"/>
                      </a:lnTo>
                      <a:lnTo>
                        <a:pt x="2" y="25"/>
                      </a:lnTo>
                      <a:lnTo>
                        <a:pt x="0" y="33"/>
                      </a:lnTo>
                      <a:lnTo>
                        <a:pt x="0" y="44"/>
                      </a:lnTo>
                      <a:lnTo>
                        <a:pt x="0" y="587"/>
                      </a:lnTo>
                      <a:lnTo>
                        <a:pt x="0" y="587"/>
                      </a:lnTo>
                      <a:lnTo>
                        <a:pt x="0" y="596"/>
                      </a:lnTo>
                      <a:lnTo>
                        <a:pt x="2" y="604"/>
                      </a:lnTo>
                      <a:lnTo>
                        <a:pt x="6" y="613"/>
                      </a:lnTo>
                      <a:lnTo>
                        <a:pt x="12" y="619"/>
                      </a:lnTo>
                      <a:lnTo>
                        <a:pt x="19" y="625"/>
                      </a:lnTo>
                      <a:lnTo>
                        <a:pt x="27" y="629"/>
                      </a:lnTo>
                      <a:lnTo>
                        <a:pt x="35" y="631"/>
                      </a:lnTo>
                      <a:lnTo>
                        <a:pt x="44" y="631"/>
                      </a:lnTo>
                      <a:lnTo>
                        <a:pt x="236" y="631"/>
                      </a:lnTo>
                      <a:lnTo>
                        <a:pt x="236" y="514"/>
                      </a:lnTo>
                      <a:lnTo>
                        <a:pt x="236" y="514"/>
                      </a:lnTo>
                      <a:lnTo>
                        <a:pt x="236" y="508"/>
                      </a:lnTo>
                      <a:lnTo>
                        <a:pt x="240" y="502"/>
                      </a:lnTo>
                      <a:lnTo>
                        <a:pt x="247" y="498"/>
                      </a:lnTo>
                      <a:lnTo>
                        <a:pt x="255" y="498"/>
                      </a:lnTo>
                      <a:lnTo>
                        <a:pt x="311" y="498"/>
                      </a:lnTo>
                      <a:lnTo>
                        <a:pt x="311" y="498"/>
                      </a:lnTo>
                      <a:lnTo>
                        <a:pt x="318" y="498"/>
                      </a:lnTo>
                      <a:lnTo>
                        <a:pt x="324" y="502"/>
                      </a:lnTo>
                      <a:lnTo>
                        <a:pt x="328" y="508"/>
                      </a:lnTo>
                      <a:lnTo>
                        <a:pt x="330" y="514"/>
                      </a:lnTo>
                      <a:lnTo>
                        <a:pt x="330" y="631"/>
                      </a:lnTo>
                      <a:lnTo>
                        <a:pt x="351" y="631"/>
                      </a:lnTo>
                      <a:lnTo>
                        <a:pt x="351" y="631"/>
                      </a:lnTo>
                      <a:lnTo>
                        <a:pt x="359" y="631"/>
                      </a:lnTo>
                      <a:lnTo>
                        <a:pt x="368" y="629"/>
                      </a:lnTo>
                      <a:lnTo>
                        <a:pt x="376" y="625"/>
                      </a:lnTo>
                      <a:lnTo>
                        <a:pt x="382" y="619"/>
                      </a:lnTo>
                      <a:lnTo>
                        <a:pt x="389" y="613"/>
                      </a:lnTo>
                      <a:lnTo>
                        <a:pt x="393" y="604"/>
                      </a:lnTo>
                      <a:lnTo>
                        <a:pt x="395" y="596"/>
                      </a:lnTo>
                      <a:lnTo>
                        <a:pt x="395" y="587"/>
                      </a:lnTo>
                      <a:lnTo>
                        <a:pt x="395" y="44"/>
                      </a:lnTo>
                      <a:lnTo>
                        <a:pt x="395" y="44"/>
                      </a:lnTo>
                      <a:lnTo>
                        <a:pt x="395" y="33"/>
                      </a:lnTo>
                      <a:lnTo>
                        <a:pt x="393" y="25"/>
                      </a:lnTo>
                      <a:lnTo>
                        <a:pt x="389" y="19"/>
                      </a:lnTo>
                      <a:lnTo>
                        <a:pt x="382" y="13"/>
                      </a:lnTo>
                      <a:lnTo>
                        <a:pt x="376" y="6"/>
                      </a:lnTo>
                      <a:lnTo>
                        <a:pt x="368" y="2"/>
                      </a:lnTo>
                      <a:lnTo>
                        <a:pt x="359" y="0"/>
                      </a:lnTo>
                      <a:lnTo>
                        <a:pt x="351" y="0"/>
                      </a:lnTo>
                      <a:lnTo>
                        <a:pt x="351" y="0"/>
                      </a:lnTo>
                      <a:close/>
                      <a:moveTo>
                        <a:pt x="167" y="533"/>
                      </a:moveTo>
                      <a:lnTo>
                        <a:pt x="167" y="533"/>
                      </a:lnTo>
                      <a:lnTo>
                        <a:pt x="165" y="539"/>
                      </a:lnTo>
                      <a:lnTo>
                        <a:pt x="161" y="546"/>
                      </a:lnTo>
                      <a:lnTo>
                        <a:pt x="157" y="550"/>
                      </a:lnTo>
                      <a:lnTo>
                        <a:pt x="148" y="552"/>
                      </a:lnTo>
                      <a:lnTo>
                        <a:pt x="90" y="552"/>
                      </a:lnTo>
                      <a:lnTo>
                        <a:pt x="90" y="552"/>
                      </a:lnTo>
                      <a:lnTo>
                        <a:pt x="83" y="550"/>
                      </a:lnTo>
                      <a:lnTo>
                        <a:pt x="77" y="546"/>
                      </a:lnTo>
                      <a:lnTo>
                        <a:pt x="73" y="539"/>
                      </a:lnTo>
                      <a:lnTo>
                        <a:pt x="73" y="533"/>
                      </a:lnTo>
                      <a:lnTo>
                        <a:pt x="73" y="510"/>
                      </a:lnTo>
                      <a:lnTo>
                        <a:pt x="73" y="510"/>
                      </a:lnTo>
                      <a:lnTo>
                        <a:pt x="73" y="504"/>
                      </a:lnTo>
                      <a:lnTo>
                        <a:pt x="77" y="498"/>
                      </a:lnTo>
                      <a:lnTo>
                        <a:pt x="83" y="493"/>
                      </a:lnTo>
                      <a:lnTo>
                        <a:pt x="90" y="493"/>
                      </a:lnTo>
                      <a:lnTo>
                        <a:pt x="148" y="493"/>
                      </a:lnTo>
                      <a:lnTo>
                        <a:pt x="148" y="493"/>
                      </a:lnTo>
                      <a:lnTo>
                        <a:pt x="157" y="493"/>
                      </a:lnTo>
                      <a:lnTo>
                        <a:pt x="161" y="498"/>
                      </a:lnTo>
                      <a:lnTo>
                        <a:pt x="165" y="504"/>
                      </a:lnTo>
                      <a:lnTo>
                        <a:pt x="167" y="510"/>
                      </a:lnTo>
                      <a:lnTo>
                        <a:pt x="167" y="533"/>
                      </a:lnTo>
                      <a:close/>
                      <a:moveTo>
                        <a:pt x="167" y="429"/>
                      </a:moveTo>
                      <a:lnTo>
                        <a:pt x="167" y="429"/>
                      </a:lnTo>
                      <a:lnTo>
                        <a:pt x="165" y="435"/>
                      </a:lnTo>
                      <a:lnTo>
                        <a:pt x="161" y="441"/>
                      </a:lnTo>
                      <a:lnTo>
                        <a:pt x="157" y="445"/>
                      </a:lnTo>
                      <a:lnTo>
                        <a:pt x="148" y="447"/>
                      </a:lnTo>
                      <a:lnTo>
                        <a:pt x="90" y="447"/>
                      </a:lnTo>
                      <a:lnTo>
                        <a:pt x="90" y="447"/>
                      </a:lnTo>
                      <a:lnTo>
                        <a:pt x="83" y="445"/>
                      </a:lnTo>
                      <a:lnTo>
                        <a:pt x="77" y="441"/>
                      </a:lnTo>
                      <a:lnTo>
                        <a:pt x="73" y="435"/>
                      </a:lnTo>
                      <a:lnTo>
                        <a:pt x="73" y="429"/>
                      </a:lnTo>
                      <a:lnTo>
                        <a:pt x="73" y="406"/>
                      </a:lnTo>
                      <a:lnTo>
                        <a:pt x="73" y="406"/>
                      </a:lnTo>
                      <a:lnTo>
                        <a:pt x="73" y="399"/>
                      </a:lnTo>
                      <a:lnTo>
                        <a:pt x="77" y="393"/>
                      </a:lnTo>
                      <a:lnTo>
                        <a:pt x="83" y="389"/>
                      </a:lnTo>
                      <a:lnTo>
                        <a:pt x="90" y="389"/>
                      </a:lnTo>
                      <a:lnTo>
                        <a:pt x="148" y="389"/>
                      </a:lnTo>
                      <a:lnTo>
                        <a:pt x="148" y="389"/>
                      </a:lnTo>
                      <a:lnTo>
                        <a:pt x="157" y="389"/>
                      </a:lnTo>
                      <a:lnTo>
                        <a:pt x="161" y="393"/>
                      </a:lnTo>
                      <a:lnTo>
                        <a:pt x="165" y="399"/>
                      </a:lnTo>
                      <a:lnTo>
                        <a:pt x="167" y="406"/>
                      </a:lnTo>
                      <a:lnTo>
                        <a:pt x="167" y="429"/>
                      </a:lnTo>
                      <a:close/>
                      <a:moveTo>
                        <a:pt x="167" y="324"/>
                      </a:moveTo>
                      <a:lnTo>
                        <a:pt x="167" y="324"/>
                      </a:lnTo>
                      <a:lnTo>
                        <a:pt x="165" y="330"/>
                      </a:lnTo>
                      <a:lnTo>
                        <a:pt x="161" y="337"/>
                      </a:lnTo>
                      <a:lnTo>
                        <a:pt x="157" y="341"/>
                      </a:lnTo>
                      <a:lnTo>
                        <a:pt x="148" y="341"/>
                      </a:lnTo>
                      <a:lnTo>
                        <a:pt x="90" y="341"/>
                      </a:lnTo>
                      <a:lnTo>
                        <a:pt x="90" y="341"/>
                      </a:lnTo>
                      <a:lnTo>
                        <a:pt x="83" y="341"/>
                      </a:lnTo>
                      <a:lnTo>
                        <a:pt x="77" y="337"/>
                      </a:lnTo>
                      <a:lnTo>
                        <a:pt x="73" y="330"/>
                      </a:lnTo>
                      <a:lnTo>
                        <a:pt x="73" y="324"/>
                      </a:lnTo>
                      <a:lnTo>
                        <a:pt x="73" y="301"/>
                      </a:lnTo>
                      <a:lnTo>
                        <a:pt x="73" y="301"/>
                      </a:lnTo>
                      <a:lnTo>
                        <a:pt x="73" y="295"/>
                      </a:lnTo>
                      <a:lnTo>
                        <a:pt x="77" y="289"/>
                      </a:lnTo>
                      <a:lnTo>
                        <a:pt x="83" y="284"/>
                      </a:lnTo>
                      <a:lnTo>
                        <a:pt x="90" y="282"/>
                      </a:lnTo>
                      <a:lnTo>
                        <a:pt x="148" y="282"/>
                      </a:lnTo>
                      <a:lnTo>
                        <a:pt x="148" y="282"/>
                      </a:lnTo>
                      <a:lnTo>
                        <a:pt x="157" y="284"/>
                      </a:lnTo>
                      <a:lnTo>
                        <a:pt x="161" y="289"/>
                      </a:lnTo>
                      <a:lnTo>
                        <a:pt x="165" y="295"/>
                      </a:lnTo>
                      <a:lnTo>
                        <a:pt x="167" y="301"/>
                      </a:lnTo>
                      <a:lnTo>
                        <a:pt x="167" y="324"/>
                      </a:lnTo>
                      <a:close/>
                      <a:moveTo>
                        <a:pt x="167" y="220"/>
                      </a:moveTo>
                      <a:lnTo>
                        <a:pt x="167" y="220"/>
                      </a:lnTo>
                      <a:lnTo>
                        <a:pt x="165" y="226"/>
                      </a:lnTo>
                      <a:lnTo>
                        <a:pt x="161" y="232"/>
                      </a:lnTo>
                      <a:lnTo>
                        <a:pt x="157" y="236"/>
                      </a:lnTo>
                      <a:lnTo>
                        <a:pt x="148" y="236"/>
                      </a:lnTo>
                      <a:lnTo>
                        <a:pt x="90" y="236"/>
                      </a:lnTo>
                      <a:lnTo>
                        <a:pt x="90" y="236"/>
                      </a:lnTo>
                      <a:lnTo>
                        <a:pt x="83" y="236"/>
                      </a:lnTo>
                      <a:lnTo>
                        <a:pt x="77" y="232"/>
                      </a:lnTo>
                      <a:lnTo>
                        <a:pt x="73" y="226"/>
                      </a:lnTo>
                      <a:lnTo>
                        <a:pt x="73" y="220"/>
                      </a:lnTo>
                      <a:lnTo>
                        <a:pt x="73" y="197"/>
                      </a:lnTo>
                      <a:lnTo>
                        <a:pt x="73" y="197"/>
                      </a:lnTo>
                      <a:lnTo>
                        <a:pt x="73" y="190"/>
                      </a:lnTo>
                      <a:lnTo>
                        <a:pt x="77" y="184"/>
                      </a:lnTo>
                      <a:lnTo>
                        <a:pt x="83" y="180"/>
                      </a:lnTo>
                      <a:lnTo>
                        <a:pt x="90" y="178"/>
                      </a:lnTo>
                      <a:lnTo>
                        <a:pt x="148" y="178"/>
                      </a:lnTo>
                      <a:lnTo>
                        <a:pt x="148" y="178"/>
                      </a:lnTo>
                      <a:lnTo>
                        <a:pt x="157" y="180"/>
                      </a:lnTo>
                      <a:lnTo>
                        <a:pt x="161" y="184"/>
                      </a:lnTo>
                      <a:lnTo>
                        <a:pt x="165" y="190"/>
                      </a:lnTo>
                      <a:lnTo>
                        <a:pt x="167" y="197"/>
                      </a:lnTo>
                      <a:lnTo>
                        <a:pt x="167" y="220"/>
                      </a:lnTo>
                      <a:close/>
                      <a:moveTo>
                        <a:pt x="167" y="115"/>
                      </a:moveTo>
                      <a:lnTo>
                        <a:pt x="167" y="115"/>
                      </a:lnTo>
                      <a:lnTo>
                        <a:pt x="165" y="121"/>
                      </a:lnTo>
                      <a:lnTo>
                        <a:pt x="161" y="128"/>
                      </a:lnTo>
                      <a:lnTo>
                        <a:pt x="157" y="132"/>
                      </a:lnTo>
                      <a:lnTo>
                        <a:pt x="148" y="132"/>
                      </a:lnTo>
                      <a:lnTo>
                        <a:pt x="90" y="132"/>
                      </a:lnTo>
                      <a:lnTo>
                        <a:pt x="90" y="132"/>
                      </a:lnTo>
                      <a:lnTo>
                        <a:pt x="83" y="132"/>
                      </a:lnTo>
                      <a:lnTo>
                        <a:pt x="77" y="128"/>
                      </a:lnTo>
                      <a:lnTo>
                        <a:pt x="73" y="121"/>
                      </a:lnTo>
                      <a:lnTo>
                        <a:pt x="73" y="115"/>
                      </a:lnTo>
                      <a:lnTo>
                        <a:pt x="73" y="92"/>
                      </a:lnTo>
                      <a:lnTo>
                        <a:pt x="73" y="92"/>
                      </a:lnTo>
                      <a:lnTo>
                        <a:pt x="73" y="86"/>
                      </a:lnTo>
                      <a:lnTo>
                        <a:pt x="77" y="79"/>
                      </a:lnTo>
                      <a:lnTo>
                        <a:pt x="83" y="75"/>
                      </a:lnTo>
                      <a:lnTo>
                        <a:pt x="90" y="73"/>
                      </a:lnTo>
                      <a:lnTo>
                        <a:pt x="148" y="73"/>
                      </a:lnTo>
                      <a:lnTo>
                        <a:pt x="148" y="73"/>
                      </a:lnTo>
                      <a:lnTo>
                        <a:pt x="157" y="75"/>
                      </a:lnTo>
                      <a:lnTo>
                        <a:pt x="161" y="79"/>
                      </a:lnTo>
                      <a:lnTo>
                        <a:pt x="165" y="86"/>
                      </a:lnTo>
                      <a:lnTo>
                        <a:pt x="167" y="92"/>
                      </a:lnTo>
                      <a:lnTo>
                        <a:pt x="167" y="115"/>
                      </a:lnTo>
                      <a:close/>
                      <a:moveTo>
                        <a:pt x="322" y="429"/>
                      </a:moveTo>
                      <a:lnTo>
                        <a:pt x="322" y="429"/>
                      </a:lnTo>
                      <a:lnTo>
                        <a:pt x="322" y="435"/>
                      </a:lnTo>
                      <a:lnTo>
                        <a:pt x="318" y="441"/>
                      </a:lnTo>
                      <a:lnTo>
                        <a:pt x="311" y="445"/>
                      </a:lnTo>
                      <a:lnTo>
                        <a:pt x="305" y="447"/>
                      </a:lnTo>
                      <a:lnTo>
                        <a:pt x="247" y="447"/>
                      </a:lnTo>
                      <a:lnTo>
                        <a:pt x="247" y="447"/>
                      </a:lnTo>
                      <a:lnTo>
                        <a:pt x="238" y="445"/>
                      </a:lnTo>
                      <a:lnTo>
                        <a:pt x="234" y="441"/>
                      </a:lnTo>
                      <a:lnTo>
                        <a:pt x="230" y="435"/>
                      </a:lnTo>
                      <a:lnTo>
                        <a:pt x="228" y="429"/>
                      </a:lnTo>
                      <a:lnTo>
                        <a:pt x="228" y="406"/>
                      </a:lnTo>
                      <a:lnTo>
                        <a:pt x="228" y="406"/>
                      </a:lnTo>
                      <a:lnTo>
                        <a:pt x="230" y="399"/>
                      </a:lnTo>
                      <a:lnTo>
                        <a:pt x="234" y="393"/>
                      </a:lnTo>
                      <a:lnTo>
                        <a:pt x="238" y="389"/>
                      </a:lnTo>
                      <a:lnTo>
                        <a:pt x="247" y="389"/>
                      </a:lnTo>
                      <a:lnTo>
                        <a:pt x="305" y="389"/>
                      </a:lnTo>
                      <a:lnTo>
                        <a:pt x="305" y="389"/>
                      </a:lnTo>
                      <a:lnTo>
                        <a:pt x="311" y="389"/>
                      </a:lnTo>
                      <a:lnTo>
                        <a:pt x="318" y="393"/>
                      </a:lnTo>
                      <a:lnTo>
                        <a:pt x="322" y="399"/>
                      </a:lnTo>
                      <a:lnTo>
                        <a:pt x="322" y="406"/>
                      </a:lnTo>
                      <a:lnTo>
                        <a:pt x="322" y="429"/>
                      </a:lnTo>
                      <a:close/>
                      <a:moveTo>
                        <a:pt x="322" y="324"/>
                      </a:moveTo>
                      <a:lnTo>
                        <a:pt x="322" y="324"/>
                      </a:lnTo>
                      <a:lnTo>
                        <a:pt x="322" y="330"/>
                      </a:lnTo>
                      <a:lnTo>
                        <a:pt x="318" y="337"/>
                      </a:lnTo>
                      <a:lnTo>
                        <a:pt x="311" y="341"/>
                      </a:lnTo>
                      <a:lnTo>
                        <a:pt x="305" y="341"/>
                      </a:lnTo>
                      <a:lnTo>
                        <a:pt x="247" y="341"/>
                      </a:lnTo>
                      <a:lnTo>
                        <a:pt x="247" y="341"/>
                      </a:lnTo>
                      <a:lnTo>
                        <a:pt x="238" y="341"/>
                      </a:lnTo>
                      <a:lnTo>
                        <a:pt x="234" y="337"/>
                      </a:lnTo>
                      <a:lnTo>
                        <a:pt x="230" y="330"/>
                      </a:lnTo>
                      <a:lnTo>
                        <a:pt x="228" y="324"/>
                      </a:lnTo>
                      <a:lnTo>
                        <a:pt x="228" y="301"/>
                      </a:lnTo>
                      <a:lnTo>
                        <a:pt x="228" y="301"/>
                      </a:lnTo>
                      <a:lnTo>
                        <a:pt x="230" y="295"/>
                      </a:lnTo>
                      <a:lnTo>
                        <a:pt x="234" y="289"/>
                      </a:lnTo>
                      <a:lnTo>
                        <a:pt x="238" y="284"/>
                      </a:lnTo>
                      <a:lnTo>
                        <a:pt x="247" y="282"/>
                      </a:lnTo>
                      <a:lnTo>
                        <a:pt x="305" y="282"/>
                      </a:lnTo>
                      <a:lnTo>
                        <a:pt x="305" y="282"/>
                      </a:lnTo>
                      <a:lnTo>
                        <a:pt x="311" y="284"/>
                      </a:lnTo>
                      <a:lnTo>
                        <a:pt x="318" y="289"/>
                      </a:lnTo>
                      <a:lnTo>
                        <a:pt x="322" y="295"/>
                      </a:lnTo>
                      <a:lnTo>
                        <a:pt x="322" y="301"/>
                      </a:lnTo>
                      <a:lnTo>
                        <a:pt x="322" y="324"/>
                      </a:lnTo>
                      <a:close/>
                      <a:moveTo>
                        <a:pt x="322" y="220"/>
                      </a:moveTo>
                      <a:lnTo>
                        <a:pt x="322" y="220"/>
                      </a:lnTo>
                      <a:lnTo>
                        <a:pt x="322" y="226"/>
                      </a:lnTo>
                      <a:lnTo>
                        <a:pt x="318" y="232"/>
                      </a:lnTo>
                      <a:lnTo>
                        <a:pt x="311" y="236"/>
                      </a:lnTo>
                      <a:lnTo>
                        <a:pt x="305" y="236"/>
                      </a:lnTo>
                      <a:lnTo>
                        <a:pt x="247" y="236"/>
                      </a:lnTo>
                      <a:lnTo>
                        <a:pt x="247" y="236"/>
                      </a:lnTo>
                      <a:lnTo>
                        <a:pt x="238" y="236"/>
                      </a:lnTo>
                      <a:lnTo>
                        <a:pt x="234" y="232"/>
                      </a:lnTo>
                      <a:lnTo>
                        <a:pt x="230" y="226"/>
                      </a:lnTo>
                      <a:lnTo>
                        <a:pt x="228" y="220"/>
                      </a:lnTo>
                      <a:lnTo>
                        <a:pt x="228" y="197"/>
                      </a:lnTo>
                      <a:lnTo>
                        <a:pt x="228" y="197"/>
                      </a:lnTo>
                      <a:lnTo>
                        <a:pt x="230" y="190"/>
                      </a:lnTo>
                      <a:lnTo>
                        <a:pt x="234" y="184"/>
                      </a:lnTo>
                      <a:lnTo>
                        <a:pt x="238" y="180"/>
                      </a:lnTo>
                      <a:lnTo>
                        <a:pt x="247" y="178"/>
                      </a:lnTo>
                      <a:lnTo>
                        <a:pt x="305" y="178"/>
                      </a:lnTo>
                      <a:lnTo>
                        <a:pt x="305" y="178"/>
                      </a:lnTo>
                      <a:lnTo>
                        <a:pt x="311" y="180"/>
                      </a:lnTo>
                      <a:lnTo>
                        <a:pt x="318" y="184"/>
                      </a:lnTo>
                      <a:lnTo>
                        <a:pt x="322" y="190"/>
                      </a:lnTo>
                      <a:lnTo>
                        <a:pt x="322" y="197"/>
                      </a:lnTo>
                      <a:lnTo>
                        <a:pt x="322" y="220"/>
                      </a:lnTo>
                      <a:close/>
                      <a:moveTo>
                        <a:pt x="322" y="115"/>
                      </a:moveTo>
                      <a:lnTo>
                        <a:pt x="322" y="115"/>
                      </a:lnTo>
                      <a:lnTo>
                        <a:pt x="322" y="121"/>
                      </a:lnTo>
                      <a:lnTo>
                        <a:pt x="318" y="128"/>
                      </a:lnTo>
                      <a:lnTo>
                        <a:pt x="311" y="132"/>
                      </a:lnTo>
                      <a:lnTo>
                        <a:pt x="305" y="132"/>
                      </a:lnTo>
                      <a:lnTo>
                        <a:pt x="247" y="132"/>
                      </a:lnTo>
                      <a:lnTo>
                        <a:pt x="247" y="132"/>
                      </a:lnTo>
                      <a:lnTo>
                        <a:pt x="238" y="132"/>
                      </a:lnTo>
                      <a:lnTo>
                        <a:pt x="234" y="128"/>
                      </a:lnTo>
                      <a:lnTo>
                        <a:pt x="230" y="121"/>
                      </a:lnTo>
                      <a:lnTo>
                        <a:pt x="228" y="115"/>
                      </a:lnTo>
                      <a:lnTo>
                        <a:pt x="228" y="92"/>
                      </a:lnTo>
                      <a:lnTo>
                        <a:pt x="228" y="92"/>
                      </a:lnTo>
                      <a:lnTo>
                        <a:pt x="230" y="86"/>
                      </a:lnTo>
                      <a:lnTo>
                        <a:pt x="234" y="79"/>
                      </a:lnTo>
                      <a:lnTo>
                        <a:pt x="238" y="75"/>
                      </a:lnTo>
                      <a:lnTo>
                        <a:pt x="247" y="73"/>
                      </a:lnTo>
                      <a:lnTo>
                        <a:pt x="305" y="73"/>
                      </a:lnTo>
                      <a:lnTo>
                        <a:pt x="305" y="73"/>
                      </a:lnTo>
                      <a:lnTo>
                        <a:pt x="311" y="75"/>
                      </a:lnTo>
                      <a:lnTo>
                        <a:pt x="318" y="79"/>
                      </a:lnTo>
                      <a:lnTo>
                        <a:pt x="322" y="86"/>
                      </a:lnTo>
                      <a:lnTo>
                        <a:pt x="322" y="92"/>
                      </a:lnTo>
                      <a:lnTo>
                        <a:pt x="322" y="115"/>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01" name="Freeform 19"/>
                <p:cNvSpPr>
                  <a:spLocks noEditPoints="1"/>
                </p:cNvSpPr>
                <p:nvPr/>
              </p:nvSpPr>
              <p:spPr bwMode="auto">
                <a:xfrm>
                  <a:off x="10433466" y="1088191"/>
                  <a:ext cx="226411" cy="614615"/>
                </a:xfrm>
                <a:custGeom>
                  <a:avLst/>
                  <a:gdLst>
                    <a:gd name="T0" fmla="*/ 385 w 452"/>
                    <a:gd name="T1" fmla="*/ 351 h 1227"/>
                    <a:gd name="T2" fmla="*/ 364 w 452"/>
                    <a:gd name="T3" fmla="*/ 314 h 1227"/>
                    <a:gd name="T4" fmla="*/ 335 w 452"/>
                    <a:gd name="T5" fmla="*/ 291 h 1227"/>
                    <a:gd name="T6" fmla="*/ 322 w 452"/>
                    <a:gd name="T7" fmla="*/ 255 h 1227"/>
                    <a:gd name="T8" fmla="*/ 282 w 452"/>
                    <a:gd name="T9" fmla="*/ 228 h 1227"/>
                    <a:gd name="T10" fmla="*/ 236 w 452"/>
                    <a:gd name="T11" fmla="*/ 27 h 1227"/>
                    <a:gd name="T12" fmla="*/ 226 w 452"/>
                    <a:gd name="T13" fmla="*/ 0 h 1227"/>
                    <a:gd name="T14" fmla="*/ 215 w 452"/>
                    <a:gd name="T15" fmla="*/ 17 h 1227"/>
                    <a:gd name="T16" fmla="*/ 182 w 452"/>
                    <a:gd name="T17" fmla="*/ 226 h 1227"/>
                    <a:gd name="T18" fmla="*/ 136 w 452"/>
                    <a:gd name="T19" fmla="*/ 245 h 1227"/>
                    <a:gd name="T20" fmla="*/ 117 w 452"/>
                    <a:gd name="T21" fmla="*/ 291 h 1227"/>
                    <a:gd name="T22" fmla="*/ 96 w 452"/>
                    <a:gd name="T23" fmla="*/ 309 h 1227"/>
                    <a:gd name="T24" fmla="*/ 69 w 452"/>
                    <a:gd name="T25" fmla="*/ 341 h 1227"/>
                    <a:gd name="T26" fmla="*/ 65 w 452"/>
                    <a:gd name="T27" fmla="*/ 362 h 1227"/>
                    <a:gd name="T28" fmla="*/ 19 w 452"/>
                    <a:gd name="T29" fmla="*/ 380 h 1227"/>
                    <a:gd name="T30" fmla="*/ 0 w 452"/>
                    <a:gd name="T31" fmla="*/ 426 h 1227"/>
                    <a:gd name="T32" fmla="*/ 4 w 452"/>
                    <a:gd name="T33" fmla="*/ 1200 h 1227"/>
                    <a:gd name="T34" fmla="*/ 27 w 452"/>
                    <a:gd name="T35" fmla="*/ 1223 h 1227"/>
                    <a:gd name="T36" fmla="*/ 126 w 452"/>
                    <a:gd name="T37" fmla="*/ 1227 h 1227"/>
                    <a:gd name="T38" fmla="*/ 169 w 452"/>
                    <a:gd name="T39" fmla="*/ 1075 h 1227"/>
                    <a:gd name="T40" fmla="*/ 276 w 452"/>
                    <a:gd name="T41" fmla="*/ 1066 h 1227"/>
                    <a:gd name="T42" fmla="*/ 324 w 452"/>
                    <a:gd name="T43" fmla="*/ 1227 h 1227"/>
                    <a:gd name="T44" fmla="*/ 408 w 452"/>
                    <a:gd name="T45" fmla="*/ 1227 h 1227"/>
                    <a:gd name="T46" fmla="*/ 439 w 452"/>
                    <a:gd name="T47" fmla="*/ 1213 h 1227"/>
                    <a:gd name="T48" fmla="*/ 452 w 452"/>
                    <a:gd name="T49" fmla="*/ 1183 h 1227"/>
                    <a:gd name="T50" fmla="*/ 445 w 452"/>
                    <a:gd name="T51" fmla="*/ 401 h 1227"/>
                    <a:gd name="T52" fmla="*/ 412 w 452"/>
                    <a:gd name="T53" fmla="*/ 368 h 1227"/>
                    <a:gd name="T54" fmla="*/ 324 w 452"/>
                    <a:gd name="T55" fmla="*/ 968 h 1227"/>
                    <a:gd name="T56" fmla="*/ 105 w 452"/>
                    <a:gd name="T57" fmla="*/ 962 h 1227"/>
                    <a:gd name="T58" fmla="*/ 100 w 452"/>
                    <a:gd name="T59" fmla="*/ 935 h 1227"/>
                    <a:gd name="T60" fmla="*/ 324 w 452"/>
                    <a:gd name="T61" fmla="*/ 918 h 1227"/>
                    <a:gd name="T62" fmla="*/ 349 w 452"/>
                    <a:gd name="T63" fmla="*/ 935 h 1227"/>
                    <a:gd name="T64" fmla="*/ 345 w 452"/>
                    <a:gd name="T65" fmla="*/ 962 h 1227"/>
                    <a:gd name="T66" fmla="*/ 324 w 452"/>
                    <a:gd name="T67" fmla="*/ 847 h 1227"/>
                    <a:gd name="T68" fmla="*/ 105 w 452"/>
                    <a:gd name="T69" fmla="*/ 838 h 1227"/>
                    <a:gd name="T70" fmla="*/ 100 w 452"/>
                    <a:gd name="T71" fmla="*/ 811 h 1227"/>
                    <a:gd name="T72" fmla="*/ 324 w 452"/>
                    <a:gd name="T73" fmla="*/ 797 h 1227"/>
                    <a:gd name="T74" fmla="*/ 349 w 452"/>
                    <a:gd name="T75" fmla="*/ 811 h 1227"/>
                    <a:gd name="T76" fmla="*/ 345 w 452"/>
                    <a:gd name="T77" fmla="*/ 838 h 1227"/>
                    <a:gd name="T78" fmla="*/ 324 w 452"/>
                    <a:gd name="T79" fmla="*/ 723 h 1227"/>
                    <a:gd name="T80" fmla="*/ 105 w 452"/>
                    <a:gd name="T81" fmla="*/ 717 h 1227"/>
                    <a:gd name="T82" fmla="*/ 100 w 452"/>
                    <a:gd name="T83" fmla="*/ 690 h 1227"/>
                    <a:gd name="T84" fmla="*/ 324 w 452"/>
                    <a:gd name="T85" fmla="*/ 673 h 1227"/>
                    <a:gd name="T86" fmla="*/ 349 w 452"/>
                    <a:gd name="T87" fmla="*/ 690 h 1227"/>
                    <a:gd name="T88" fmla="*/ 345 w 452"/>
                    <a:gd name="T89" fmla="*/ 717 h 1227"/>
                    <a:gd name="T90" fmla="*/ 324 w 452"/>
                    <a:gd name="T91" fmla="*/ 602 h 1227"/>
                    <a:gd name="T92" fmla="*/ 105 w 452"/>
                    <a:gd name="T93" fmla="*/ 594 h 1227"/>
                    <a:gd name="T94" fmla="*/ 100 w 452"/>
                    <a:gd name="T95" fmla="*/ 567 h 1227"/>
                    <a:gd name="T96" fmla="*/ 324 w 452"/>
                    <a:gd name="T97" fmla="*/ 552 h 1227"/>
                    <a:gd name="T98" fmla="*/ 349 w 452"/>
                    <a:gd name="T99" fmla="*/ 567 h 1227"/>
                    <a:gd name="T100" fmla="*/ 345 w 452"/>
                    <a:gd name="T101" fmla="*/ 594 h 1227"/>
                    <a:gd name="T102" fmla="*/ 324 w 452"/>
                    <a:gd name="T103" fmla="*/ 479 h 1227"/>
                    <a:gd name="T104" fmla="*/ 105 w 452"/>
                    <a:gd name="T105" fmla="*/ 472 h 1227"/>
                    <a:gd name="T106" fmla="*/ 100 w 452"/>
                    <a:gd name="T107" fmla="*/ 445 h 1227"/>
                    <a:gd name="T108" fmla="*/ 324 w 452"/>
                    <a:gd name="T109" fmla="*/ 429 h 1227"/>
                    <a:gd name="T110" fmla="*/ 349 w 452"/>
                    <a:gd name="T111" fmla="*/ 445 h 1227"/>
                    <a:gd name="T112" fmla="*/ 345 w 452"/>
                    <a:gd name="T113" fmla="*/ 472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2" h="1227">
                      <a:moveTo>
                        <a:pt x="387" y="362"/>
                      </a:moveTo>
                      <a:lnTo>
                        <a:pt x="387" y="362"/>
                      </a:lnTo>
                      <a:lnTo>
                        <a:pt x="387" y="362"/>
                      </a:lnTo>
                      <a:lnTo>
                        <a:pt x="385" y="351"/>
                      </a:lnTo>
                      <a:lnTo>
                        <a:pt x="383" y="341"/>
                      </a:lnTo>
                      <a:lnTo>
                        <a:pt x="376" y="330"/>
                      </a:lnTo>
                      <a:lnTo>
                        <a:pt x="370" y="322"/>
                      </a:lnTo>
                      <a:lnTo>
                        <a:pt x="364" y="314"/>
                      </a:lnTo>
                      <a:lnTo>
                        <a:pt x="356" y="309"/>
                      </a:lnTo>
                      <a:lnTo>
                        <a:pt x="345" y="303"/>
                      </a:lnTo>
                      <a:lnTo>
                        <a:pt x="335" y="301"/>
                      </a:lnTo>
                      <a:lnTo>
                        <a:pt x="335" y="291"/>
                      </a:lnTo>
                      <a:lnTo>
                        <a:pt x="335" y="291"/>
                      </a:lnTo>
                      <a:lnTo>
                        <a:pt x="333" y="278"/>
                      </a:lnTo>
                      <a:lnTo>
                        <a:pt x="328" y="266"/>
                      </a:lnTo>
                      <a:lnTo>
                        <a:pt x="322" y="255"/>
                      </a:lnTo>
                      <a:lnTo>
                        <a:pt x="316" y="245"/>
                      </a:lnTo>
                      <a:lnTo>
                        <a:pt x="305" y="236"/>
                      </a:lnTo>
                      <a:lnTo>
                        <a:pt x="295" y="232"/>
                      </a:lnTo>
                      <a:lnTo>
                        <a:pt x="282" y="228"/>
                      </a:lnTo>
                      <a:lnTo>
                        <a:pt x="270" y="226"/>
                      </a:lnTo>
                      <a:lnTo>
                        <a:pt x="251" y="226"/>
                      </a:lnTo>
                      <a:lnTo>
                        <a:pt x="236" y="27"/>
                      </a:lnTo>
                      <a:lnTo>
                        <a:pt x="236" y="27"/>
                      </a:lnTo>
                      <a:lnTo>
                        <a:pt x="236" y="17"/>
                      </a:lnTo>
                      <a:lnTo>
                        <a:pt x="234" y="8"/>
                      </a:lnTo>
                      <a:lnTo>
                        <a:pt x="230" y="2"/>
                      </a:lnTo>
                      <a:lnTo>
                        <a:pt x="226" y="0"/>
                      </a:lnTo>
                      <a:lnTo>
                        <a:pt x="226" y="0"/>
                      </a:lnTo>
                      <a:lnTo>
                        <a:pt x="222" y="2"/>
                      </a:lnTo>
                      <a:lnTo>
                        <a:pt x="218" y="8"/>
                      </a:lnTo>
                      <a:lnTo>
                        <a:pt x="215" y="17"/>
                      </a:lnTo>
                      <a:lnTo>
                        <a:pt x="215" y="27"/>
                      </a:lnTo>
                      <a:lnTo>
                        <a:pt x="201" y="226"/>
                      </a:lnTo>
                      <a:lnTo>
                        <a:pt x="182" y="226"/>
                      </a:lnTo>
                      <a:lnTo>
                        <a:pt x="182" y="226"/>
                      </a:lnTo>
                      <a:lnTo>
                        <a:pt x="169" y="228"/>
                      </a:lnTo>
                      <a:lnTo>
                        <a:pt x="157" y="232"/>
                      </a:lnTo>
                      <a:lnTo>
                        <a:pt x="146" y="236"/>
                      </a:lnTo>
                      <a:lnTo>
                        <a:pt x="136" y="245"/>
                      </a:lnTo>
                      <a:lnTo>
                        <a:pt x="128" y="255"/>
                      </a:lnTo>
                      <a:lnTo>
                        <a:pt x="123" y="266"/>
                      </a:lnTo>
                      <a:lnTo>
                        <a:pt x="119" y="278"/>
                      </a:lnTo>
                      <a:lnTo>
                        <a:pt x="117" y="291"/>
                      </a:lnTo>
                      <a:lnTo>
                        <a:pt x="117" y="301"/>
                      </a:lnTo>
                      <a:lnTo>
                        <a:pt x="117" y="301"/>
                      </a:lnTo>
                      <a:lnTo>
                        <a:pt x="107" y="303"/>
                      </a:lnTo>
                      <a:lnTo>
                        <a:pt x="96" y="309"/>
                      </a:lnTo>
                      <a:lnTo>
                        <a:pt x="88" y="314"/>
                      </a:lnTo>
                      <a:lnTo>
                        <a:pt x="80" y="322"/>
                      </a:lnTo>
                      <a:lnTo>
                        <a:pt x="73" y="330"/>
                      </a:lnTo>
                      <a:lnTo>
                        <a:pt x="69" y="341"/>
                      </a:lnTo>
                      <a:lnTo>
                        <a:pt x="67" y="351"/>
                      </a:lnTo>
                      <a:lnTo>
                        <a:pt x="65" y="362"/>
                      </a:lnTo>
                      <a:lnTo>
                        <a:pt x="65" y="362"/>
                      </a:lnTo>
                      <a:lnTo>
                        <a:pt x="65" y="362"/>
                      </a:lnTo>
                      <a:lnTo>
                        <a:pt x="52" y="364"/>
                      </a:lnTo>
                      <a:lnTo>
                        <a:pt x="40" y="368"/>
                      </a:lnTo>
                      <a:lnTo>
                        <a:pt x="29" y="374"/>
                      </a:lnTo>
                      <a:lnTo>
                        <a:pt x="19" y="380"/>
                      </a:lnTo>
                      <a:lnTo>
                        <a:pt x="11" y="391"/>
                      </a:lnTo>
                      <a:lnTo>
                        <a:pt x="6" y="401"/>
                      </a:lnTo>
                      <a:lnTo>
                        <a:pt x="2" y="414"/>
                      </a:lnTo>
                      <a:lnTo>
                        <a:pt x="0" y="426"/>
                      </a:lnTo>
                      <a:lnTo>
                        <a:pt x="0" y="1183"/>
                      </a:lnTo>
                      <a:lnTo>
                        <a:pt x="0" y="1183"/>
                      </a:lnTo>
                      <a:lnTo>
                        <a:pt x="2" y="1192"/>
                      </a:lnTo>
                      <a:lnTo>
                        <a:pt x="4" y="1200"/>
                      </a:lnTo>
                      <a:lnTo>
                        <a:pt x="8" y="1206"/>
                      </a:lnTo>
                      <a:lnTo>
                        <a:pt x="13" y="1213"/>
                      </a:lnTo>
                      <a:lnTo>
                        <a:pt x="19" y="1219"/>
                      </a:lnTo>
                      <a:lnTo>
                        <a:pt x="27" y="1223"/>
                      </a:lnTo>
                      <a:lnTo>
                        <a:pt x="36" y="1225"/>
                      </a:lnTo>
                      <a:lnTo>
                        <a:pt x="44" y="1227"/>
                      </a:lnTo>
                      <a:lnTo>
                        <a:pt x="126" y="1227"/>
                      </a:lnTo>
                      <a:lnTo>
                        <a:pt x="126" y="1227"/>
                      </a:lnTo>
                      <a:lnTo>
                        <a:pt x="128" y="1227"/>
                      </a:lnTo>
                      <a:lnTo>
                        <a:pt x="169" y="1227"/>
                      </a:lnTo>
                      <a:lnTo>
                        <a:pt x="169" y="1075"/>
                      </a:lnTo>
                      <a:lnTo>
                        <a:pt x="169" y="1075"/>
                      </a:lnTo>
                      <a:lnTo>
                        <a:pt x="172" y="1068"/>
                      </a:lnTo>
                      <a:lnTo>
                        <a:pt x="178" y="1066"/>
                      </a:lnTo>
                      <a:lnTo>
                        <a:pt x="276" y="1066"/>
                      </a:lnTo>
                      <a:lnTo>
                        <a:pt x="276" y="1066"/>
                      </a:lnTo>
                      <a:lnTo>
                        <a:pt x="280" y="1068"/>
                      </a:lnTo>
                      <a:lnTo>
                        <a:pt x="282" y="1075"/>
                      </a:lnTo>
                      <a:lnTo>
                        <a:pt x="282" y="1227"/>
                      </a:lnTo>
                      <a:lnTo>
                        <a:pt x="324" y="1227"/>
                      </a:lnTo>
                      <a:lnTo>
                        <a:pt x="324" y="1227"/>
                      </a:lnTo>
                      <a:lnTo>
                        <a:pt x="326" y="1227"/>
                      </a:lnTo>
                      <a:lnTo>
                        <a:pt x="408" y="1227"/>
                      </a:lnTo>
                      <a:lnTo>
                        <a:pt x="408" y="1227"/>
                      </a:lnTo>
                      <a:lnTo>
                        <a:pt x="416" y="1225"/>
                      </a:lnTo>
                      <a:lnTo>
                        <a:pt x="425" y="1223"/>
                      </a:lnTo>
                      <a:lnTo>
                        <a:pt x="431" y="1219"/>
                      </a:lnTo>
                      <a:lnTo>
                        <a:pt x="439" y="1213"/>
                      </a:lnTo>
                      <a:lnTo>
                        <a:pt x="443" y="1206"/>
                      </a:lnTo>
                      <a:lnTo>
                        <a:pt x="448" y="1200"/>
                      </a:lnTo>
                      <a:lnTo>
                        <a:pt x="450" y="1192"/>
                      </a:lnTo>
                      <a:lnTo>
                        <a:pt x="452" y="1183"/>
                      </a:lnTo>
                      <a:lnTo>
                        <a:pt x="452" y="426"/>
                      </a:lnTo>
                      <a:lnTo>
                        <a:pt x="452" y="426"/>
                      </a:lnTo>
                      <a:lnTo>
                        <a:pt x="450" y="414"/>
                      </a:lnTo>
                      <a:lnTo>
                        <a:pt x="445" y="401"/>
                      </a:lnTo>
                      <a:lnTo>
                        <a:pt x="441" y="391"/>
                      </a:lnTo>
                      <a:lnTo>
                        <a:pt x="433" y="380"/>
                      </a:lnTo>
                      <a:lnTo>
                        <a:pt x="422" y="374"/>
                      </a:lnTo>
                      <a:lnTo>
                        <a:pt x="412" y="368"/>
                      </a:lnTo>
                      <a:lnTo>
                        <a:pt x="399" y="364"/>
                      </a:lnTo>
                      <a:lnTo>
                        <a:pt x="387" y="362"/>
                      </a:lnTo>
                      <a:lnTo>
                        <a:pt x="387" y="362"/>
                      </a:lnTo>
                      <a:close/>
                      <a:moveTo>
                        <a:pt x="324" y="968"/>
                      </a:moveTo>
                      <a:lnTo>
                        <a:pt x="126" y="968"/>
                      </a:lnTo>
                      <a:lnTo>
                        <a:pt x="126" y="968"/>
                      </a:lnTo>
                      <a:lnTo>
                        <a:pt x="115" y="966"/>
                      </a:lnTo>
                      <a:lnTo>
                        <a:pt x="105" y="962"/>
                      </a:lnTo>
                      <a:lnTo>
                        <a:pt x="100" y="953"/>
                      </a:lnTo>
                      <a:lnTo>
                        <a:pt x="98" y="943"/>
                      </a:lnTo>
                      <a:lnTo>
                        <a:pt x="98" y="943"/>
                      </a:lnTo>
                      <a:lnTo>
                        <a:pt x="100" y="935"/>
                      </a:lnTo>
                      <a:lnTo>
                        <a:pt x="105" y="926"/>
                      </a:lnTo>
                      <a:lnTo>
                        <a:pt x="115" y="920"/>
                      </a:lnTo>
                      <a:lnTo>
                        <a:pt x="126" y="918"/>
                      </a:lnTo>
                      <a:lnTo>
                        <a:pt x="324" y="918"/>
                      </a:lnTo>
                      <a:lnTo>
                        <a:pt x="324" y="918"/>
                      </a:lnTo>
                      <a:lnTo>
                        <a:pt x="335" y="920"/>
                      </a:lnTo>
                      <a:lnTo>
                        <a:pt x="345" y="926"/>
                      </a:lnTo>
                      <a:lnTo>
                        <a:pt x="349" y="935"/>
                      </a:lnTo>
                      <a:lnTo>
                        <a:pt x="351" y="943"/>
                      </a:lnTo>
                      <a:lnTo>
                        <a:pt x="351" y="943"/>
                      </a:lnTo>
                      <a:lnTo>
                        <a:pt x="349" y="953"/>
                      </a:lnTo>
                      <a:lnTo>
                        <a:pt x="345" y="962"/>
                      </a:lnTo>
                      <a:lnTo>
                        <a:pt x="335" y="966"/>
                      </a:lnTo>
                      <a:lnTo>
                        <a:pt x="324" y="968"/>
                      </a:lnTo>
                      <a:lnTo>
                        <a:pt x="324" y="968"/>
                      </a:lnTo>
                      <a:close/>
                      <a:moveTo>
                        <a:pt x="324" y="847"/>
                      </a:moveTo>
                      <a:lnTo>
                        <a:pt x="126" y="847"/>
                      </a:lnTo>
                      <a:lnTo>
                        <a:pt x="126" y="847"/>
                      </a:lnTo>
                      <a:lnTo>
                        <a:pt x="115" y="845"/>
                      </a:lnTo>
                      <a:lnTo>
                        <a:pt x="105" y="838"/>
                      </a:lnTo>
                      <a:lnTo>
                        <a:pt x="100" y="830"/>
                      </a:lnTo>
                      <a:lnTo>
                        <a:pt x="98" y="822"/>
                      </a:lnTo>
                      <a:lnTo>
                        <a:pt x="98" y="822"/>
                      </a:lnTo>
                      <a:lnTo>
                        <a:pt x="100" y="811"/>
                      </a:lnTo>
                      <a:lnTo>
                        <a:pt x="105" y="803"/>
                      </a:lnTo>
                      <a:lnTo>
                        <a:pt x="115" y="799"/>
                      </a:lnTo>
                      <a:lnTo>
                        <a:pt x="126" y="797"/>
                      </a:lnTo>
                      <a:lnTo>
                        <a:pt x="324" y="797"/>
                      </a:lnTo>
                      <a:lnTo>
                        <a:pt x="324" y="797"/>
                      </a:lnTo>
                      <a:lnTo>
                        <a:pt x="335" y="799"/>
                      </a:lnTo>
                      <a:lnTo>
                        <a:pt x="345" y="803"/>
                      </a:lnTo>
                      <a:lnTo>
                        <a:pt x="349" y="811"/>
                      </a:lnTo>
                      <a:lnTo>
                        <a:pt x="351" y="822"/>
                      </a:lnTo>
                      <a:lnTo>
                        <a:pt x="351" y="822"/>
                      </a:lnTo>
                      <a:lnTo>
                        <a:pt x="349" y="830"/>
                      </a:lnTo>
                      <a:lnTo>
                        <a:pt x="345" y="838"/>
                      </a:lnTo>
                      <a:lnTo>
                        <a:pt x="335" y="845"/>
                      </a:lnTo>
                      <a:lnTo>
                        <a:pt x="324" y="847"/>
                      </a:lnTo>
                      <a:lnTo>
                        <a:pt x="324" y="847"/>
                      </a:lnTo>
                      <a:close/>
                      <a:moveTo>
                        <a:pt x="324" y="723"/>
                      </a:moveTo>
                      <a:lnTo>
                        <a:pt x="126" y="723"/>
                      </a:lnTo>
                      <a:lnTo>
                        <a:pt x="126" y="723"/>
                      </a:lnTo>
                      <a:lnTo>
                        <a:pt x="115" y="721"/>
                      </a:lnTo>
                      <a:lnTo>
                        <a:pt x="105" y="717"/>
                      </a:lnTo>
                      <a:lnTo>
                        <a:pt x="100" y="709"/>
                      </a:lnTo>
                      <a:lnTo>
                        <a:pt x="98" y="698"/>
                      </a:lnTo>
                      <a:lnTo>
                        <a:pt x="98" y="698"/>
                      </a:lnTo>
                      <a:lnTo>
                        <a:pt x="100" y="690"/>
                      </a:lnTo>
                      <a:lnTo>
                        <a:pt x="105" y="682"/>
                      </a:lnTo>
                      <a:lnTo>
                        <a:pt x="115" y="675"/>
                      </a:lnTo>
                      <a:lnTo>
                        <a:pt x="126" y="673"/>
                      </a:lnTo>
                      <a:lnTo>
                        <a:pt x="324" y="673"/>
                      </a:lnTo>
                      <a:lnTo>
                        <a:pt x="324" y="673"/>
                      </a:lnTo>
                      <a:lnTo>
                        <a:pt x="335" y="675"/>
                      </a:lnTo>
                      <a:lnTo>
                        <a:pt x="345" y="682"/>
                      </a:lnTo>
                      <a:lnTo>
                        <a:pt x="349" y="690"/>
                      </a:lnTo>
                      <a:lnTo>
                        <a:pt x="351" y="698"/>
                      </a:lnTo>
                      <a:lnTo>
                        <a:pt x="351" y="698"/>
                      </a:lnTo>
                      <a:lnTo>
                        <a:pt x="349" y="709"/>
                      </a:lnTo>
                      <a:lnTo>
                        <a:pt x="345" y="717"/>
                      </a:lnTo>
                      <a:lnTo>
                        <a:pt x="335" y="721"/>
                      </a:lnTo>
                      <a:lnTo>
                        <a:pt x="324" y="723"/>
                      </a:lnTo>
                      <a:lnTo>
                        <a:pt x="324" y="723"/>
                      </a:lnTo>
                      <a:close/>
                      <a:moveTo>
                        <a:pt x="324" y="602"/>
                      </a:moveTo>
                      <a:lnTo>
                        <a:pt x="126" y="602"/>
                      </a:lnTo>
                      <a:lnTo>
                        <a:pt x="126" y="602"/>
                      </a:lnTo>
                      <a:lnTo>
                        <a:pt x="115" y="600"/>
                      </a:lnTo>
                      <a:lnTo>
                        <a:pt x="105" y="594"/>
                      </a:lnTo>
                      <a:lnTo>
                        <a:pt x="100" y="585"/>
                      </a:lnTo>
                      <a:lnTo>
                        <a:pt x="98" y="577"/>
                      </a:lnTo>
                      <a:lnTo>
                        <a:pt x="98" y="577"/>
                      </a:lnTo>
                      <a:lnTo>
                        <a:pt x="100" y="567"/>
                      </a:lnTo>
                      <a:lnTo>
                        <a:pt x="105" y="558"/>
                      </a:lnTo>
                      <a:lnTo>
                        <a:pt x="115" y="554"/>
                      </a:lnTo>
                      <a:lnTo>
                        <a:pt x="126" y="552"/>
                      </a:lnTo>
                      <a:lnTo>
                        <a:pt x="324" y="552"/>
                      </a:lnTo>
                      <a:lnTo>
                        <a:pt x="324" y="552"/>
                      </a:lnTo>
                      <a:lnTo>
                        <a:pt x="335" y="554"/>
                      </a:lnTo>
                      <a:lnTo>
                        <a:pt x="345" y="558"/>
                      </a:lnTo>
                      <a:lnTo>
                        <a:pt x="349" y="567"/>
                      </a:lnTo>
                      <a:lnTo>
                        <a:pt x="351" y="577"/>
                      </a:lnTo>
                      <a:lnTo>
                        <a:pt x="351" y="577"/>
                      </a:lnTo>
                      <a:lnTo>
                        <a:pt x="349" y="585"/>
                      </a:lnTo>
                      <a:lnTo>
                        <a:pt x="345" y="594"/>
                      </a:lnTo>
                      <a:lnTo>
                        <a:pt x="335" y="600"/>
                      </a:lnTo>
                      <a:lnTo>
                        <a:pt x="324" y="602"/>
                      </a:lnTo>
                      <a:lnTo>
                        <a:pt x="324" y="602"/>
                      </a:lnTo>
                      <a:close/>
                      <a:moveTo>
                        <a:pt x="324" y="479"/>
                      </a:moveTo>
                      <a:lnTo>
                        <a:pt x="126" y="479"/>
                      </a:lnTo>
                      <a:lnTo>
                        <a:pt x="126" y="479"/>
                      </a:lnTo>
                      <a:lnTo>
                        <a:pt x="115" y="477"/>
                      </a:lnTo>
                      <a:lnTo>
                        <a:pt x="105" y="472"/>
                      </a:lnTo>
                      <a:lnTo>
                        <a:pt x="100" y="464"/>
                      </a:lnTo>
                      <a:lnTo>
                        <a:pt x="98" y="454"/>
                      </a:lnTo>
                      <a:lnTo>
                        <a:pt x="98" y="454"/>
                      </a:lnTo>
                      <a:lnTo>
                        <a:pt x="100" y="445"/>
                      </a:lnTo>
                      <a:lnTo>
                        <a:pt x="105" y="437"/>
                      </a:lnTo>
                      <a:lnTo>
                        <a:pt x="115" y="431"/>
                      </a:lnTo>
                      <a:lnTo>
                        <a:pt x="126" y="429"/>
                      </a:lnTo>
                      <a:lnTo>
                        <a:pt x="324" y="429"/>
                      </a:lnTo>
                      <a:lnTo>
                        <a:pt x="324" y="429"/>
                      </a:lnTo>
                      <a:lnTo>
                        <a:pt x="335" y="431"/>
                      </a:lnTo>
                      <a:lnTo>
                        <a:pt x="345" y="437"/>
                      </a:lnTo>
                      <a:lnTo>
                        <a:pt x="349" y="445"/>
                      </a:lnTo>
                      <a:lnTo>
                        <a:pt x="351" y="454"/>
                      </a:lnTo>
                      <a:lnTo>
                        <a:pt x="351" y="454"/>
                      </a:lnTo>
                      <a:lnTo>
                        <a:pt x="349" y="464"/>
                      </a:lnTo>
                      <a:lnTo>
                        <a:pt x="345" y="472"/>
                      </a:lnTo>
                      <a:lnTo>
                        <a:pt x="335" y="477"/>
                      </a:lnTo>
                      <a:lnTo>
                        <a:pt x="324" y="479"/>
                      </a:lnTo>
                      <a:lnTo>
                        <a:pt x="324" y="479"/>
                      </a:lnTo>
                      <a:close/>
                    </a:path>
                  </a:pathLst>
                </a:custGeom>
                <a:grpFill/>
                <a:ln>
                  <a:solidFill>
                    <a:schemeClr val="bg1"/>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cxnSp>
          <p:nvCxnSpPr>
            <p:cNvPr id="202" name="直接连接符 201"/>
            <p:cNvCxnSpPr/>
            <p:nvPr/>
          </p:nvCxnSpPr>
          <p:spPr>
            <a:xfrm>
              <a:off x="7983099" y="3644265"/>
              <a:ext cx="177286"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grpSp>
      <p:grpSp>
        <p:nvGrpSpPr>
          <p:cNvPr id="65" name="组合 64"/>
          <p:cNvGrpSpPr/>
          <p:nvPr/>
        </p:nvGrpSpPr>
        <p:grpSpPr>
          <a:xfrm>
            <a:off x="314324" y="952499"/>
            <a:ext cx="3187645" cy="1946817"/>
            <a:chOff x="390525" y="933450"/>
            <a:chExt cx="2838450" cy="1733550"/>
          </a:xfrm>
        </p:grpSpPr>
        <p:sp>
          <p:nvSpPr>
            <p:cNvPr id="64" name="矩形 63"/>
            <p:cNvSpPr/>
            <p:nvPr/>
          </p:nvSpPr>
          <p:spPr>
            <a:xfrm>
              <a:off x="390525" y="933450"/>
              <a:ext cx="2838450" cy="1733550"/>
            </a:xfrm>
            <a:prstGeom prst="rect">
              <a:avLst/>
            </a:prstGeom>
            <a:solidFill>
              <a:srgbClr val="FFFFFF"/>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19" name="组合 18"/>
            <p:cNvGrpSpPr/>
            <p:nvPr/>
          </p:nvGrpSpPr>
          <p:grpSpPr>
            <a:xfrm>
              <a:off x="482352" y="1156599"/>
              <a:ext cx="2654797" cy="1361021"/>
              <a:chOff x="1105872" y="-1462103"/>
              <a:chExt cx="3053533" cy="1565439"/>
            </a:xfrm>
          </p:grpSpPr>
          <p:sp>
            <p:nvSpPr>
              <p:cNvPr id="355" name="任意多边形 354"/>
              <p:cNvSpPr/>
              <p:nvPr/>
            </p:nvSpPr>
            <p:spPr>
              <a:xfrm>
                <a:off x="1105872" y="-1462103"/>
                <a:ext cx="3053533" cy="1565439"/>
              </a:xfrm>
              <a:custGeom>
                <a:avLst/>
                <a:gdLst>
                  <a:gd name="connsiteX0" fmla="*/ 2118828 w 7724301"/>
                  <a:gd name="connsiteY0" fmla="*/ 3836921 h 3959978"/>
                  <a:gd name="connsiteX1" fmla="*/ 2118828 w 7724301"/>
                  <a:gd name="connsiteY1" fmla="*/ 3850373 h 3959978"/>
                  <a:gd name="connsiteX2" fmla="*/ 2092009 w 7724301"/>
                  <a:gd name="connsiteY2" fmla="*/ 3862196 h 3959978"/>
                  <a:gd name="connsiteX3" fmla="*/ 2092009 w 7724301"/>
                  <a:gd name="connsiteY3" fmla="*/ 3870050 h 3959978"/>
                  <a:gd name="connsiteX4" fmla="*/ 2092009 w 7724301"/>
                  <a:gd name="connsiteY4" fmla="*/ 3888206 h 3959978"/>
                  <a:gd name="connsiteX5" fmla="*/ 2083075 w 7724301"/>
                  <a:gd name="connsiteY5" fmla="*/ 3896082 h 3959978"/>
                  <a:gd name="connsiteX6" fmla="*/ 2092009 w 7724301"/>
                  <a:gd name="connsiteY6" fmla="*/ 3896082 h 3959978"/>
                  <a:gd name="connsiteX7" fmla="*/ 2105418 w 7724301"/>
                  <a:gd name="connsiteY7" fmla="*/ 3896082 h 3959978"/>
                  <a:gd name="connsiteX8" fmla="*/ 2105418 w 7724301"/>
                  <a:gd name="connsiteY8" fmla="*/ 3884249 h 3959978"/>
                  <a:gd name="connsiteX9" fmla="*/ 2120405 w 7724301"/>
                  <a:gd name="connsiteY9" fmla="*/ 3884249 h 3959978"/>
                  <a:gd name="connsiteX10" fmla="*/ 2120405 w 7724301"/>
                  <a:gd name="connsiteY10" fmla="*/ 3870050 h 3959978"/>
                  <a:gd name="connsiteX11" fmla="*/ 2105418 w 7724301"/>
                  <a:gd name="connsiteY11" fmla="*/ 3884249 h 3959978"/>
                  <a:gd name="connsiteX12" fmla="*/ 2092009 w 7724301"/>
                  <a:gd name="connsiteY12" fmla="*/ 3870050 h 3959978"/>
                  <a:gd name="connsiteX13" fmla="*/ 2105418 w 7724301"/>
                  <a:gd name="connsiteY13" fmla="*/ 3858218 h 3959978"/>
                  <a:gd name="connsiteX14" fmla="*/ 2130644 w 7724301"/>
                  <a:gd name="connsiteY14" fmla="*/ 3847990 h 3959978"/>
                  <a:gd name="connsiteX15" fmla="*/ 2119564 w 7724301"/>
                  <a:gd name="connsiteY15" fmla="*/ 3836921 h 3959978"/>
                  <a:gd name="connsiteX16" fmla="*/ 2310516 w 7724301"/>
                  <a:gd name="connsiteY16" fmla="*/ 3808521 h 3959978"/>
                  <a:gd name="connsiteX17" fmla="*/ 2324715 w 7724301"/>
                  <a:gd name="connsiteY17" fmla="*/ 3808521 h 3959978"/>
                  <a:gd name="connsiteX18" fmla="*/ 2366524 w 7724301"/>
                  <a:gd name="connsiteY18" fmla="*/ 3808521 h 3959978"/>
                  <a:gd name="connsiteX19" fmla="*/ 2366524 w 7724301"/>
                  <a:gd name="connsiteY19" fmla="*/ 3820354 h 3959978"/>
                  <a:gd name="connsiteX20" fmla="*/ 2338125 w 7724301"/>
                  <a:gd name="connsiteY20" fmla="*/ 3846385 h 3959978"/>
                  <a:gd name="connsiteX21" fmla="*/ 2324715 w 7724301"/>
                  <a:gd name="connsiteY21" fmla="*/ 3832187 h 3959978"/>
                  <a:gd name="connsiteX22" fmla="*/ 2310516 w 7724301"/>
                  <a:gd name="connsiteY22" fmla="*/ 3832187 h 3959978"/>
                  <a:gd name="connsiteX23" fmla="*/ 2324715 w 7724301"/>
                  <a:gd name="connsiteY23" fmla="*/ 3820354 h 3959978"/>
                  <a:gd name="connsiteX24" fmla="*/ 7244686 w 7724301"/>
                  <a:gd name="connsiteY24" fmla="*/ 3669684 h 3959978"/>
                  <a:gd name="connsiteX25" fmla="*/ 7244686 w 7724301"/>
                  <a:gd name="connsiteY25" fmla="*/ 3680728 h 3959978"/>
                  <a:gd name="connsiteX26" fmla="*/ 7230487 w 7724301"/>
                  <a:gd name="connsiteY26" fmla="*/ 3680728 h 3959978"/>
                  <a:gd name="connsiteX27" fmla="*/ 2023759 w 7724301"/>
                  <a:gd name="connsiteY27" fmla="*/ 3529271 h 3959978"/>
                  <a:gd name="connsiteX28" fmla="*/ 2036786 w 7724301"/>
                  <a:gd name="connsiteY28" fmla="*/ 3542888 h 3959978"/>
                  <a:gd name="connsiteX29" fmla="*/ 2023759 w 7724301"/>
                  <a:gd name="connsiteY29" fmla="*/ 3581335 h 3959978"/>
                  <a:gd name="connsiteX30" fmla="*/ 2009964 w 7724301"/>
                  <a:gd name="connsiteY30" fmla="*/ 3567719 h 3959978"/>
                  <a:gd name="connsiteX31" fmla="*/ 7324900 w 7724301"/>
                  <a:gd name="connsiteY31" fmla="*/ 3505606 h 3959978"/>
                  <a:gd name="connsiteX32" fmla="*/ 7339163 w 7724301"/>
                  <a:gd name="connsiteY32" fmla="*/ 3505606 h 3959978"/>
                  <a:gd name="connsiteX33" fmla="*/ 7352634 w 7724301"/>
                  <a:gd name="connsiteY33" fmla="*/ 3505606 h 3959978"/>
                  <a:gd name="connsiteX34" fmla="*/ 7352634 w 7724301"/>
                  <a:gd name="connsiteY34" fmla="*/ 3517496 h 3959978"/>
                  <a:gd name="connsiteX35" fmla="*/ 7366104 w 7724301"/>
                  <a:gd name="connsiteY35" fmla="*/ 3505606 h 3959978"/>
                  <a:gd name="connsiteX36" fmla="*/ 7366104 w 7724301"/>
                  <a:gd name="connsiteY36" fmla="*/ 3517496 h 3959978"/>
                  <a:gd name="connsiteX37" fmla="*/ 7380366 w 7724301"/>
                  <a:gd name="connsiteY37" fmla="*/ 3517496 h 3959978"/>
                  <a:gd name="connsiteX38" fmla="*/ 7380366 w 7724301"/>
                  <a:gd name="connsiteY38" fmla="*/ 3530179 h 3959978"/>
                  <a:gd name="connsiteX39" fmla="*/ 7339163 w 7724301"/>
                  <a:gd name="connsiteY39" fmla="*/ 3568226 h 3959978"/>
                  <a:gd name="connsiteX40" fmla="*/ 7352634 w 7724301"/>
                  <a:gd name="connsiteY40" fmla="*/ 3581700 h 3959978"/>
                  <a:gd name="connsiteX41" fmla="*/ 7339163 w 7724301"/>
                  <a:gd name="connsiteY41" fmla="*/ 3581700 h 3959978"/>
                  <a:gd name="connsiteX42" fmla="*/ 7313015 w 7724301"/>
                  <a:gd name="connsiteY42" fmla="*/ 3606273 h 3959978"/>
                  <a:gd name="connsiteX43" fmla="*/ 7299544 w 7724301"/>
                  <a:gd name="connsiteY43" fmla="*/ 3631637 h 3959978"/>
                  <a:gd name="connsiteX44" fmla="*/ 7286074 w 7724301"/>
                  <a:gd name="connsiteY44" fmla="*/ 3657795 h 3959978"/>
                  <a:gd name="connsiteX45" fmla="*/ 7258340 w 7724301"/>
                  <a:gd name="connsiteY45" fmla="*/ 3669684 h 3959978"/>
                  <a:gd name="connsiteX46" fmla="*/ 7230607 w 7724301"/>
                  <a:gd name="connsiteY46" fmla="*/ 3657795 h 3959978"/>
                  <a:gd name="connsiteX47" fmla="*/ 7217137 w 7724301"/>
                  <a:gd name="connsiteY47" fmla="*/ 3657795 h 3959978"/>
                  <a:gd name="connsiteX48" fmla="*/ 7203666 w 7724301"/>
                  <a:gd name="connsiteY48" fmla="*/ 3643527 h 3959978"/>
                  <a:gd name="connsiteX49" fmla="*/ 7244870 w 7724301"/>
                  <a:gd name="connsiteY49" fmla="*/ 3593590 h 3959978"/>
                  <a:gd name="connsiteX50" fmla="*/ 7299544 w 7724301"/>
                  <a:gd name="connsiteY50" fmla="*/ 3555543 h 3959978"/>
                  <a:gd name="connsiteX51" fmla="*/ 7313015 w 7724301"/>
                  <a:gd name="connsiteY51" fmla="*/ 3530179 h 3959978"/>
                  <a:gd name="connsiteX52" fmla="*/ 7324900 w 7724301"/>
                  <a:gd name="connsiteY52" fmla="*/ 3530179 h 3959978"/>
                  <a:gd name="connsiteX53" fmla="*/ 6738251 w 7724301"/>
                  <a:gd name="connsiteY53" fmla="*/ 3505606 h 3959978"/>
                  <a:gd name="connsiteX54" fmla="*/ 6766920 w 7724301"/>
                  <a:gd name="connsiteY54" fmla="*/ 3517440 h 3959978"/>
                  <a:gd name="connsiteX55" fmla="*/ 6808331 w 7724301"/>
                  <a:gd name="connsiteY55" fmla="*/ 3505606 h 3959978"/>
                  <a:gd name="connsiteX56" fmla="*/ 6821868 w 7724301"/>
                  <a:gd name="connsiteY56" fmla="*/ 3505606 h 3959978"/>
                  <a:gd name="connsiteX57" fmla="*/ 6808331 w 7724301"/>
                  <a:gd name="connsiteY57" fmla="*/ 3567926 h 3959978"/>
                  <a:gd name="connsiteX58" fmla="*/ 6794792 w 7724301"/>
                  <a:gd name="connsiteY58" fmla="*/ 3555304 h 3959978"/>
                  <a:gd name="connsiteX59" fmla="*/ 6780458 w 7724301"/>
                  <a:gd name="connsiteY59" fmla="*/ 3581336 h 3959978"/>
                  <a:gd name="connsiteX60" fmla="*/ 6753381 w 7724301"/>
                  <a:gd name="connsiteY60" fmla="*/ 3567926 h 3959978"/>
                  <a:gd name="connsiteX61" fmla="*/ 7380628 w 7724301"/>
                  <a:gd name="connsiteY61" fmla="*/ 3403623 h 3959978"/>
                  <a:gd name="connsiteX62" fmla="*/ 7394124 w 7724301"/>
                  <a:gd name="connsiteY62" fmla="*/ 3416187 h 3959978"/>
                  <a:gd name="connsiteX63" fmla="*/ 7394124 w 7724301"/>
                  <a:gd name="connsiteY63" fmla="*/ 3403623 h 3959978"/>
                  <a:gd name="connsiteX64" fmla="*/ 7407619 w 7724301"/>
                  <a:gd name="connsiteY64" fmla="*/ 3403623 h 3959978"/>
                  <a:gd name="connsiteX65" fmla="*/ 7407619 w 7724301"/>
                  <a:gd name="connsiteY65" fmla="*/ 3429538 h 3959978"/>
                  <a:gd name="connsiteX66" fmla="*/ 7435405 w 7724301"/>
                  <a:gd name="connsiteY66" fmla="*/ 3429538 h 3959978"/>
                  <a:gd name="connsiteX67" fmla="*/ 7450488 w 7724301"/>
                  <a:gd name="connsiteY67" fmla="*/ 3416187 h 3959978"/>
                  <a:gd name="connsiteX68" fmla="*/ 7463984 w 7724301"/>
                  <a:gd name="connsiteY68" fmla="*/ 3429538 h 3959978"/>
                  <a:gd name="connsiteX69" fmla="*/ 7463984 w 7724301"/>
                  <a:gd name="connsiteY69" fmla="*/ 3453883 h 3959978"/>
                  <a:gd name="connsiteX70" fmla="*/ 7450488 w 7724301"/>
                  <a:gd name="connsiteY70" fmla="*/ 3467233 h 3959978"/>
                  <a:gd name="connsiteX71" fmla="*/ 7435405 w 7724301"/>
                  <a:gd name="connsiteY71" fmla="*/ 3467233 h 3959978"/>
                  <a:gd name="connsiteX72" fmla="*/ 7407619 w 7724301"/>
                  <a:gd name="connsiteY72" fmla="*/ 3516707 h 3959978"/>
                  <a:gd name="connsiteX73" fmla="*/ 7394124 w 7724301"/>
                  <a:gd name="connsiteY73" fmla="*/ 3529272 h 3959978"/>
                  <a:gd name="connsiteX74" fmla="*/ 7380628 w 7724301"/>
                  <a:gd name="connsiteY74" fmla="*/ 3516707 h 3959978"/>
                  <a:gd name="connsiteX75" fmla="*/ 7394124 w 7724301"/>
                  <a:gd name="connsiteY75" fmla="*/ 3479012 h 3959978"/>
                  <a:gd name="connsiteX76" fmla="*/ 7366338 w 7724301"/>
                  <a:gd name="connsiteY76" fmla="*/ 3467233 h 3959978"/>
                  <a:gd name="connsiteX77" fmla="*/ 7380628 w 7724301"/>
                  <a:gd name="connsiteY77" fmla="*/ 3453883 h 3959978"/>
                  <a:gd name="connsiteX78" fmla="*/ 6563128 w 7724301"/>
                  <a:gd name="connsiteY78" fmla="*/ 3377815 h 3959978"/>
                  <a:gd name="connsiteX79" fmla="*/ 6576945 w 7724301"/>
                  <a:gd name="connsiteY79" fmla="*/ 3377815 h 3959978"/>
                  <a:gd name="connsiteX80" fmla="*/ 6589948 w 7724301"/>
                  <a:gd name="connsiteY80" fmla="*/ 3377815 h 3959978"/>
                  <a:gd name="connsiteX81" fmla="*/ 6589948 w 7724301"/>
                  <a:gd name="connsiteY81" fmla="*/ 3392015 h 3959978"/>
                  <a:gd name="connsiteX82" fmla="*/ 7339346 w 7724301"/>
                  <a:gd name="connsiteY82" fmla="*/ 3354148 h 3959978"/>
                  <a:gd name="connsiteX83" fmla="*/ 7380628 w 7724301"/>
                  <a:gd name="connsiteY83" fmla="*/ 3365929 h 3959978"/>
                  <a:gd name="connsiteX84" fmla="*/ 7380628 w 7724301"/>
                  <a:gd name="connsiteY84" fmla="*/ 3403623 h 3959978"/>
                  <a:gd name="connsiteX85" fmla="*/ 2406730 w 7724301"/>
                  <a:gd name="connsiteY85" fmla="*/ 3270410 h 3959978"/>
                  <a:gd name="connsiteX86" fmla="*/ 2406757 w 7724301"/>
                  <a:gd name="connsiteY86" fmla="*/ 3270435 h 3959978"/>
                  <a:gd name="connsiteX87" fmla="*/ 2419051 w 7724301"/>
                  <a:gd name="connsiteY87" fmla="*/ 3270435 h 3959978"/>
                  <a:gd name="connsiteX88" fmla="*/ 2419011 w 7724301"/>
                  <a:gd name="connsiteY88" fmla="*/ 3270410 h 3959978"/>
                  <a:gd name="connsiteX89" fmla="*/ 2379584 w 7724301"/>
                  <a:gd name="connsiteY89" fmla="*/ 3257764 h 3959978"/>
                  <a:gd name="connsiteX90" fmla="*/ 2379538 w 7724301"/>
                  <a:gd name="connsiteY90" fmla="*/ 3257911 h 3959978"/>
                  <a:gd name="connsiteX91" fmla="*/ 2391581 w 7724301"/>
                  <a:gd name="connsiteY91" fmla="*/ 3257911 h 3959978"/>
                  <a:gd name="connsiteX92" fmla="*/ 2391426 w 7724301"/>
                  <a:gd name="connsiteY92" fmla="*/ 3257764 h 3959978"/>
                  <a:gd name="connsiteX93" fmla="*/ 3980465 w 7724301"/>
                  <a:gd name="connsiteY93" fmla="*/ 3203480 h 3959978"/>
                  <a:gd name="connsiteX94" fmla="*/ 3979745 w 7724301"/>
                  <a:gd name="connsiteY94" fmla="*/ 3204116 h 3959978"/>
                  <a:gd name="connsiteX95" fmla="*/ 3991568 w 7724301"/>
                  <a:gd name="connsiteY95" fmla="*/ 3214525 h 3959978"/>
                  <a:gd name="connsiteX96" fmla="*/ 3992982 w 7724301"/>
                  <a:gd name="connsiteY96" fmla="*/ 3214525 h 3959978"/>
                  <a:gd name="connsiteX97" fmla="*/ 2434317 w 7724301"/>
                  <a:gd name="connsiteY97" fmla="*/ 3169187 h 3959978"/>
                  <a:gd name="connsiteX98" fmla="*/ 2407181 w 7724301"/>
                  <a:gd name="connsiteY98" fmla="*/ 3180662 h 3959978"/>
                  <a:gd name="connsiteX99" fmla="*/ 2393652 w 7724301"/>
                  <a:gd name="connsiteY99" fmla="*/ 3193227 h 3959978"/>
                  <a:gd name="connsiteX100" fmla="*/ 2352479 w 7724301"/>
                  <a:gd name="connsiteY100" fmla="*/ 3180726 h 3959978"/>
                  <a:gd name="connsiteX101" fmla="*/ 2352123 w 7724301"/>
                  <a:gd name="connsiteY101" fmla="*/ 3181394 h 3959978"/>
                  <a:gd name="connsiteX102" fmla="*/ 2393221 w 7724301"/>
                  <a:gd name="connsiteY102" fmla="*/ 3194016 h 3959978"/>
                  <a:gd name="connsiteX103" fmla="*/ 2406657 w 7724301"/>
                  <a:gd name="connsiteY103" fmla="*/ 3181394 h 3959978"/>
                  <a:gd name="connsiteX104" fmla="*/ 2434317 w 7724301"/>
                  <a:gd name="connsiteY104" fmla="*/ 3169561 h 3959978"/>
                  <a:gd name="connsiteX105" fmla="*/ 2297264 w 7724301"/>
                  <a:gd name="connsiteY105" fmla="*/ 3117838 h 3959978"/>
                  <a:gd name="connsiteX106" fmla="*/ 2297591 w 7724301"/>
                  <a:gd name="connsiteY106" fmla="*/ 3118287 h 3959978"/>
                  <a:gd name="connsiteX107" fmla="*/ 2338688 w 7724301"/>
                  <a:gd name="connsiteY107" fmla="*/ 3118287 h 3959978"/>
                  <a:gd name="connsiteX108" fmla="*/ 2365560 w 7724301"/>
                  <a:gd name="connsiteY108" fmla="*/ 3144318 h 3959978"/>
                  <a:gd name="connsiteX109" fmla="*/ 2365560 w 7724301"/>
                  <a:gd name="connsiteY109" fmla="*/ 3155976 h 3959978"/>
                  <a:gd name="connsiteX110" fmla="*/ 2365798 w 7724301"/>
                  <a:gd name="connsiteY110" fmla="*/ 3155533 h 3959978"/>
                  <a:gd name="connsiteX111" fmla="*/ 2365798 w 7724301"/>
                  <a:gd name="connsiteY111" fmla="*/ 3143753 h 3959978"/>
                  <a:gd name="connsiteX112" fmla="*/ 2338739 w 7724301"/>
                  <a:gd name="connsiteY112" fmla="*/ 3117838 h 3959978"/>
                  <a:gd name="connsiteX113" fmla="*/ 2214510 w 7724301"/>
                  <a:gd name="connsiteY113" fmla="*/ 3076071 h 3959978"/>
                  <a:gd name="connsiteX114" fmla="*/ 2229624 w 7724301"/>
                  <a:gd name="connsiteY114" fmla="*/ 3080422 h 3959978"/>
                  <a:gd name="connsiteX115" fmla="*/ 2229778 w 7724301"/>
                  <a:gd name="connsiteY115" fmla="*/ 3080286 h 3959978"/>
                  <a:gd name="connsiteX116" fmla="*/ 2243862 w 7724301"/>
                  <a:gd name="connsiteY116" fmla="*/ 3068662 h 3959978"/>
                  <a:gd name="connsiteX117" fmla="*/ 2243649 w 7724301"/>
                  <a:gd name="connsiteY117" fmla="*/ 3068849 h 3959978"/>
                  <a:gd name="connsiteX118" fmla="*/ 2268758 w 7724301"/>
                  <a:gd name="connsiteY118" fmla="*/ 3079907 h 3959978"/>
                  <a:gd name="connsiteX119" fmla="*/ 2268823 w 7724301"/>
                  <a:gd name="connsiteY119" fmla="*/ 3079607 h 3959978"/>
                  <a:gd name="connsiteX120" fmla="*/ 2187678 w 7724301"/>
                  <a:gd name="connsiteY120" fmla="*/ 3068662 h 3959978"/>
                  <a:gd name="connsiteX121" fmla="*/ 2173101 w 7724301"/>
                  <a:gd name="connsiteY121" fmla="*/ 3081908 h 3959978"/>
                  <a:gd name="connsiteX122" fmla="*/ 2188259 w 7724301"/>
                  <a:gd name="connsiteY122" fmla="*/ 3068823 h 3959978"/>
                  <a:gd name="connsiteX123" fmla="*/ 2133550 w 7724301"/>
                  <a:gd name="connsiteY123" fmla="*/ 3033139 h 3959978"/>
                  <a:gd name="connsiteX124" fmla="*/ 2146438 w 7724301"/>
                  <a:gd name="connsiteY124" fmla="*/ 3093735 h 3959978"/>
                  <a:gd name="connsiteX125" fmla="*/ 2146503 w 7724301"/>
                  <a:gd name="connsiteY125" fmla="*/ 3093735 h 3959978"/>
                  <a:gd name="connsiteX126" fmla="*/ 7165802 w 7724301"/>
                  <a:gd name="connsiteY126" fmla="*/ 3025991 h 3959978"/>
                  <a:gd name="connsiteX127" fmla="*/ 7179013 w 7724301"/>
                  <a:gd name="connsiteY127" fmla="*/ 3037637 h 3959978"/>
                  <a:gd name="connsiteX128" fmla="*/ 7217866 w 7724301"/>
                  <a:gd name="connsiteY128" fmla="*/ 3074899 h 3959978"/>
                  <a:gd name="connsiteX129" fmla="*/ 7204656 w 7724301"/>
                  <a:gd name="connsiteY129" fmla="*/ 3074899 h 3959978"/>
                  <a:gd name="connsiteX130" fmla="*/ 7179013 w 7724301"/>
                  <a:gd name="connsiteY130" fmla="*/ 3050834 h 3959978"/>
                  <a:gd name="connsiteX131" fmla="*/ 4856076 w 7724301"/>
                  <a:gd name="connsiteY131" fmla="*/ 3025991 h 3959978"/>
                  <a:gd name="connsiteX132" fmla="*/ 4867120 w 7724301"/>
                  <a:gd name="connsiteY132" fmla="*/ 3037035 h 3959978"/>
                  <a:gd name="connsiteX133" fmla="*/ 4856076 w 7724301"/>
                  <a:gd name="connsiteY133" fmla="*/ 3037035 h 3959978"/>
                  <a:gd name="connsiteX134" fmla="*/ 2339203 w 7724301"/>
                  <a:gd name="connsiteY134" fmla="*/ 3018319 h 3959978"/>
                  <a:gd name="connsiteX135" fmla="*/ 2363841 w 7724301"/>
                  <a:gd name="connsiteY135" fmla="*/ 3029759 h 3959978"/>
                  <a:gd name="connsiteX136" fmla="*/ 2363841 w 7724301"/>
                  <a:gd name="connsiteY136" fmla="*/ 3029650 h 3959978"/>
                  <a:gd name="connsiteX137" fmla="*/ 2339619 w 7724301"/>
                  <a:gd name="connsiteY137" fmla="*/ 3018319 h 3959978"/>
                  <a:gd name="connsiteX138" fmla="*/ 2133028 w 7724301"/>
                  <a:gd name="connsiteY138" fmla="*/ 3018200 h 3959978"/>
                  <a:gd name="connsiteX139" fmla="*/ 2133028 w 7724301"/>
                  <a:gd name="connsiteY139" fmla="*/ 3030682 h 3959978"/>
                  <a:gd name="connsiteX140" fmla="*/ 2133072 w 7724301"/>
                  <a:gd name="connsiteY140" fmla="*/ 3030893 h 3959978"/>
                  <a:gd name="connsiteX141" fmla="*/ 2133072 w 7724301"/>
                  <a:gd name="connsiteY141" fmla="*/ 3018319 h 3959978"/>
                  <a:gd name="connsiteX142" fmla="*/ 7451362 w 7724301"/>
                  <a:gd name="connsiteY142" fmla="*/ 2962884 h 3959978"/>
                  <a:gd name="connsiteX143" fmla="*/ 7465561 w 7724301"/>
                  <a:gd name="connsiteY143" fmla="*/ 2975889 h 3959978"/>
                  <a:gd name="connsiteX144" fmla="*/ 7465561 w 7724301"/>
                  <a:gd name="connsiteY144" fmla="*/ 2988127 h 3959978"/>
                  <a:gd name="connsiteX145" fmla="*/ 7437162 w 7724301"/>
                  <a:gd name="connsiteY145" fmla="*/ 2988127 h 3959978"/>
                  <a:gd name="connsiteX146" fmla="*/ 2325977 w 7724301"/>
                  <a:gd name="connsiteY146" fmla="*/ 2955046 h 3959978"/>
                  <a:gd name="connsiteX147" fmla="*/ 2326165 w 7724301"/>
                  <a:gd name="connsiteY147" fmla="*/ 2955390 h 3959978"/>
                  <a:gd name="connsiteX148" fmla="*/ 2350443 w 7724301"/>
                  <a:gd name="connsiteY148" fmla="*/ 2955390 h 3959978"/>
                  <a:gd name="connsiteX149" fmla="*/ 2350443 w 7724301"/>
                  <a:gd name="connsiteY149" fmla="*/ 2955046 h 3959978"/>
                  <a:gd name="connsiteX150" fmla="*/ 7465561 w 7724301"/>
                  <a:gd name="connsiteY150" fmla="*/ 2950263 h 3959978"/>
                  <a:gd name="connsiteX151" fmla="*/ 7492382 w 7724301"/>
                  <a:gd name="connsiteY151" fmla="*/ 2950263 h 3959978"/>
                  <a:gd name="connsiteX152" fmla="*/ 7478588 w 7724301"/>
                  <a:gd name="connsiteY152" fmla="*/ 2962884 h 3959978"/>
                  <a:gd name="connsiteX153" fmla="*/ 7217866 w 7724301"/>
                  <a:gd name="connsiteY153" fmla="*/ 2912398 h 3959978"/>
                  <a:gd name="connsiteX154" fmla="*/ 7232065 w 7724301"/>
                  <a:gd name="connsiteY154" fmla="*/ 2924231 h 3959978"/>
                  <a:gd name="connsiteX155" fmla="*/ 7217866 w 7724301"/>
                  <a:gd name="connsiteY155" fmla="*/ 2937641 h 3959978"/>
                  <a:gd name="connsiteX156" fmla="*/ 4677150 w 7724301"/>
                  <a:gd name="connsiteY156" fmla="*/ 2861913 h 3959978"/>
                  <a:gd name="connsiteX157" fmla="*/ 4690489 w 7724301"/>
                  <a:gd name="connsiteY157" fmla="*/ 2874535 h 3959978"/>
                  <a:gd name="connsiteX158" fmla="*/ 4703043 w 7724301"/>
                  <a:gd name="connsiteY158" fmla="*/ 2924232 h 3959978"/>
                  <a:gd name="connsiteX159" fmla="*/ 4703043 w 7724301"/>
                  <a:gd name="connsiteY159" fmla="*/ 2937642 h 3959978"/>
                  <a:gd name="connsiteX160" fmla="*/ 4690489 w 7724301"/>
                  <a:gd name="connsiteY160" fmla="*/ 2924232 h 3959978"/>
                  <a:gd name="connsiteX161" fmla="*/ 4677150 w 7724301"/>
                  <a:gd name="connsiteY161" fmla="*/ 2988128 h 3959978"/>
                  <a:gd name="connsiteX162" fmla="*/ 4636346 w 7724301"/>
                  <a:gd name="connsiteY162" fmla="*/ 3126964 h 3959978"/>
                  <a:gd name="connsiteX163" fmla="*/ 4623008 w 7724301"/>
                  <a:gd name="connsiteY163" fmla="*/ 3139585 h 3959978"/>
                  <a:gd name="connsiteX164" fmla="*/ 4582205 w 7724301"/>
                  <a:gd name="connsiteY164" fmla="*/ 3139585 h 3959978"/>
                  <a:gd name="connsiteX165" fmla="*/ 4568865 w 7724301"/>
                  <a:gd name="connsiteY165" fmla="*/ 3113553 h 3959978"/>
                  <a:gd name="connsiteX166" fmla="*/ 4554741 w 7724301"/>
                  <a:gd name="connsiteY166" fmla="*/ 3063857 h 3959978"/>
                  <a:gd name="connsiteX167" fmla="*/ 4582205 w 7724301"/>
                  <a:gd name="connsiteY167" fmla="*/ 3025992 h 3959978"/>
                  <a:gd name="connsiteX168" fmla="*/ 4568865 w 7724301"/>
                  <a:gd name="connsiteY168" fmla="*/ 2975507 h 3959978"/>
                  <a:gd name="connsiteX169" fmla="*/ 4582205 w 7724301"/>
                  <a:gd name="connsiteY169" fmla="*/ 2950264 h 3959978"/>
                  <a:gd name="connsiteX170" fmla="*/ 4649686 w 7724301"/>
                  <a:gd name="connsiteY170" fmla="*/ 2912400 h 3959978"/>
                  <a:gd name="connsiteX171" fmla="*/ 4649686 w 7724301"/>
                  <a:gd name="connsiteY171" fmla="*/ 2886368 h 3959978"/>
                  <a:gd name="connsiteX172" fmla="*/ 4663810 w 7724301"/>
                  <a:gd name="connsiteY172" fmla="*/ 2886368 h 3959978"/>
                  <a:gd name="connsiteX173" fmla="*/ 2201131 w 7724301"/>
                  <a:gd name="connsiteY173" fmla="*/ 2853515 h 3959978"/>
                  <a:gd name="connsiteX174" fmla="*/ 2201131 w 7724301"/>
                  <a:gd name="connsiteY174" fmla="*/ 2853918 h 3959978"/>
                  <a:gd name="connsiteX175" fmla="*/ 2214584 w 7724301"/>
                  <a:gd name="connsiteY175" fmla="*/ 2867291 h 3959978"/>
                  <a:gd name="connsiteX176" fmla="*/ 2290199 w 7724301"/>
                  <a:gd name="connsiteY176" fmla="*/ 2889272 h 3959978"/>
                  <a:gd name="connsiteX177" fmla="*/ 2214102 w 7724301"/>
                  <a:gd name="connsiteY177" fmla="*/ 2866523 h 3959978"/>
                  <a:gd name="connsiteX178" fmla="*/ 6425869 w 7724301"/>
                  <a:gd name="connsiteY178" fmla="*/ 2849291 h 3959978"/>
                  <a:gd name="connsiteX179" fmla="*/ 6452690 w 7724301"/>
                  <a:gd name="connsiteY179" fmla="*/ 2849291 h 3959978"/>
                  <a:gd name="connsiteX180" fmla="*/ 6438897 w 7724301"/>
                  <a:gd name="connsiteY180" fmla="*/ 2861912 h 3959978"/>
                  <a:gd name="connsiteX181" fmla="*/ 6425869 w 7724301"/>
                  <a:gd name="connsiteY181" fmla="*/ 2861912 h 3959978"/>
                  <a:gd name="connsiteX182" fmla="*/ 6686756 w 7724301"/>
                  <a:gd name="connsiteY182" fmla="*/ 2836670 h 3959978"/>
                  <a:gd name="connsiteX183" fmla="*/ 6700968 w 7724301"/>
                  <a:gd name="connsiteY183" fmla="*/ 2836670 h 3959978"/>
                  <a:gd name="connsiteX184" fmla="*/ 6714390 w 7724301"/>
                  <a:gd name="connsiteY184" fmla="*/ 2912399 h 3959978"/>
                  <a:gd name="connsiteX185" fmla="*/ 6742024 w 7724301"/>
                  <a:gd name="connsiteY185" fmla="*/ 2912399 h 3959978"/>
                  <a:gd name="connsiteX186" fmla="*/ 6755447 w 7724301"/>
                  <a:gd name="connsiteY186" fmla="*/ 2924232 h 3959978"/>
                  <a:gd name="connsiteX187" fmla="*/ 6755447 w 7724301"/>
                  <a:gd name="connsiteY187" fmla="*/ 2950263 h 3959978"/>
                  <a:gd name="connsiteX188" fmla="*/ 6768869 w 7724301"/>
                  <a:gd name="connsiteY188" fmla="*/ 2962096 h 3959978"/>
                  <a:gd name="connsiteX189" fmla="*/ 6782292 w 7724301"/>
                  <a:gd name="connsiteY189" fmla="*/ 2999960 h 3959978"/>
                  <a:gd name="connsiteX190" fmla="*/ 6823348 w 7724301"/>
                  <a:gd name="connsiteY190" fmla="*/ 3037825 h 3959978"/>
                  <a:gd name="connsiteX191" fmla="*/ 6850982 w 7724301"/>
                  <a:gd name="connsiteY191" fmla="*/ 3075689 h 3959978"/>
                  <a:gd name="connsiteX192" fmla="*/ 6850982 w 7724301"/>
                  <a:gd name="connsiteY192" fmla="*/ 3063857 h 3959978"/>
                  <a:gd name="connsiteX193" fmla="*/ 6864405 w 7724301"/>
                  <a:gd name="connsiteY193" fmla="*/ 3075689 h 3959978"/>
                  <a:gd name="connsiteX194" fmla="*/ 6877827 w 7724301"/>
                  <a:gd name="connsiteY194" fmla="*/ 3101721 h 3959978"/>
                  <a:gd name="connsiteX195" fmla="*/ 6892040 w 7724301"/>
                  <a:gd name="connsiteY195" fmla="*/ 3113553 h 3959978"/>
                  <a:gd name="connsiteX196" fmla="*/ 6918884 w 7724301"/>
                  <a:gd name="connsiteY196" fmla="*/ 3151417 h 3959978"/>
                  <a:gd name="connsiteX197" fmla="*/ 6932306 w 7724301"/>
                  <a:gd name="connsiteY197" fmla="*/ 3214525 h 3959978"/>
                  <a:gd name="connsiteX198" fmla="*/ 6918884 w 7724301"/>
                  <a:gd name="connsiteY198" fmla="*/ 3265010 h 3959978"/>
                  <a:gd name="connsiteX199" fmla="*/ 6864405 w 7724301"/>
                  <a:gd name="connsiteY199" fmla="*/ 3378604 h 3959978"/>
                  <a:gd name="connsiteX200" fmla="*/ 6850982 w 7724301"/>
                  <a:gd name="connsiteY200" fmla="*/ 3429878 h 3959978"/>
                  <a:gd name="connsiteX201" fmla="*/ 6809926 w 7724301"/>
                  <a:gd name="connsiteY201" fmla="*/ 3429878 h 3959978"/>
                  <a:gd name="connsiteX202" fmla="*/ 6782292 w 7724301"/>
                  <a:gd name="connsiteY202" fmla="*/ 3467742 h 3959978"/>
                  <a:gd name="connsiteX203" fmla="*/ 6755447 w 7724301"/>
                  <a:gd name="connsiteY203" fmla="*/ 3454332 h 3959978"/>
                  <a:gd name="connsiteX204" fmla="*/ 6755447 w 7724301"/>
                  <a:gd name="connsiteY204" fmla="*/ 3441710 h 3959978"/>
                  <a:gd name="connsiteX205" fmla="*/ 6742024 w 7724301"/>
                  <a:gd name="connsiteY205" fmla="*/ 3441710 h 3959978"/>
                  <a:gd name="connsiteX206" fmla="*/ 6742024 w 7724301"/>
                  <a:gd name="connsiteY206" fmla="*/ 3429878 h 3959978"/>
                  <a:gd name="connsiteX207" fmla="*/ 6714390 w 7724301"/>
                  <a:gd name="connsiteY207" fmla="*/ 3454332 h 3959978"/>
                  <a:gd name="connsiteX208" fmla="*/ 6700968 w 7724301"/>
                  <a:gd name="connsiteY208" fmla="*/ 3441710 h 3959978"/>
                  <a:gd name="connsiteX209" fmla="*/ 6673333 w 7724301"/>
                  <a:gd name="connsiteY209" fmla="*/ 3441710 h 3959978"/>
                  <a:gd name="connsiteX210" fmla="*/ 6646488 w 7724301"/>
                  <a:gd name="connsiteY210" fmla="*/ 3429878 h 3959978"/>
                  <a:gd name="connsiteX211" fmla="*/ 6632277 w 7724301"/>
                  <a:gd name="connsiteY211" fmla="*/ 3416468 h 3959978"/>
                  <a:gd name="connsiteX212" fmla="*/ 6632277 w 7724301"/>
                  <a:gd name="connsiteY212" fmla="*/ 3403846 h 3959978"/>
                  <a:gd name="connsiteX213" fmla="*/ 6618854 w 7724301"/>
                  <a:gd name="connsiteY213" fmla="*/ 3378604 h 3959978"/>
                  <a:gd name="connsiteX214" fmla="*/ 6591220 w 7724301"/>
                  <a:gd name="connsiteY214" fmla="*/ 3378604 h 3959978"/>
                  <a:gd name="connsiteX215" fmla="*/ 6605432 w 7724301"/>
                  <a:gd name="connsiteY215" fmla="*/ 3365982 h 3959978"/>
                  <a:gd name="connsiteX216" fmla="*/ 6591220 w 7724301"/>
                  <a:gd name="connsiteY216" fmla="*/ 3340739 h 3959978"/>
                  <a:gd name="connsiteX217" fmla="*/ 6591220 w 7724301"/>
                  <a:gd name="connsiteY217" fmla="*/ 3365982 h 3959978"/>
                  <a:gd name="connsiteX218" fmla="*/ 6577797 w 7724301"/>
                  <a:gd name="connsiteY218" fmla="*/ 3365982 h 3959978"/>
                  <a:gd name="connsiteX219" fmla="*/ 6591220 w 7724301"/>
                  <a:gd name="connsiteY219" fmla="*/ 3328118 h 3959978"/>
                  <a:gd name="connsiteX220" fmla="*/ 6591220 w 7724301"/>
                  <a:gd name="connsiteY220" fmla="*/ 3302874 h 3959978"/>
                  <a:gd name="connsiteX221" fmla="*/ 6550953 w 7724301"/>
                  <a:gd name="connsiteY221" fmla="*/ 3365982 h 3959978"/>
                  <a:gd name="connsiteX222" fmla="*/ 6523319 w 7724301"/>
                  <a:gd name="connsiteY222" fmla="*/ 3316285 h 3959978"/>
                  <a:gd name="connsiteX223" fmla="*/ 6509896 w 7724301"/>
                  <a:gd name="connsiteY223" fmla="*/ 3316285 h 3959978"/>
                  <a:gd name="connsiteX224" fmla="*/ 6509896 w 7724301"/>
                  <a:gd name="connsiteY224" fmla="*/ 3302874 h 3959978"/>
                  <a:gd name="connsiteX225" fmla="*/ 6453838 w 7724301"/>
                  <a:gd name="connsiteY225" fmla="*/ 3278421 h 3959978"/>
                  <a:gd name="connsiteX226" fmla="*/ 6344880 w 7724301"/>
                  <a:gd name="connsiteY226" fmla="*/ 3290253 h 3959978"/>
                  <a:gd name="connsiteX227" fmla="*/ 6289611 w 7724301"/>
                  <a:gd name="connsiteY227" fmla="*/ 3316285 h 3959978"/>
                  <a:gd name="connsiteX228" fmla="*/ 6276189 w 7724301"/>
                  <a:gd name="connsiteY228" fmla="*/ 3328118 h 3959978"/>
                  <a:gd name="connsiteX229" fmla="*/ 6208288 w 7724301"/>
                  <a:gd name="connsiteY229" fmla="*/ 3328118 h 3959978"/>
                  <a:gd name="connsiteX230" fmla="*/ 6167231 w 7724301"/>
                  <a:gd name="connsiteY230" fmla="*/ 3365982 h 3959978"/>
                  <a:gd name="connsiteX231" fmla="*/ 6139597 w 7724301"/>
                  <a:gd name="connsiteY231" fmla="*/ 3365982 h 3959978"/>
                  <a:gd name="connsiteX232" fmla="*/ 6099329 w 7724301"/>
                  <a:gd name="connsiteY232" fmla="*/ 3340739 h 3959978"/>
                  <a:gd name="connsiteX233" fmla="*/ 6099329 w 7724301"/>
                  <a:gd name="connsiteY233" fmla="*/ 3328118 h 3959978"/>
                  <a:gd name="connsiteX234" fmla="*/ 6112752 w 7724301"/>
                  <a:gd name="connsiteY234" fmla="*/ 3316285 h 3959978"/>
                  <a:gd name="connsiteX235" fmla="*/ 6112752 w 7724301"/>
                  <a:gd name="connsiteY235" fmla="*/ 3278421 h 3959978"/>
                  <a:gd name="connsiteX236" fmla="*/ 6099329 w 7724301"/>
                  <a:gd name="connsiteY236" fmla="*/ 3227146 h 3959978"/>
                  <a:gd name="connsiteX237" fmla="*/ 6056693 w 7724301"/>
                  <a:gd name="connsiteY237" fmla="*/ 3151417 h 3959978"/>
                  <a:gd name="connsiteX238" fmla="*/ 6070116 w 7724301"/>
                  <a:gd name="connsiteY238" fmla="*/ 3164828 h 3959978"/>
                  <a:gd name="connsiteX239" fmla="*/ 6070116 w 7724301"/>
                  <a:gd name="connsiteY239" fmla="*/ 3139585 h 3959978"/>
                  <a:gd name="connsiteX240" fmla="*/ 6085118 w 7724301"/>
                  <a:gd name="connsiteY240" fmla="*/ 3164828 h 3959978"/>
                  <a:gd name="connsiteX241" fmla="*/ 6056693 w 7724301"/>
                  <a:gd name="connsiteY241" fmla="*/ 3101721 h 3959978"/>
                  <a:gd name="connsiteX242" fmla="*/ 6070116 w 7724301"/>
                  <a:gd name="connsiteY242" fmla="*/ 3101721 h 3959978"/>
                  <a:gd name="connsiteX243" fmla="*/ 6070116 w 7724301"/>
                  <a:gd name="connsiteY243" fmla="*/ 3075689 h 3959978"/>
                  <a:gd name="connsiteX244" fmla="*/ 6070116 w 7724301"/>
                  <a:gd name="connsiteY244" fmla="*/ 3063857 h 3959978"/>
                  <a:gd name="connsiteX245" fmla="*/ 6085118 w 7724301"/>
                  <a:gd name="connsiteY245" fmla="*/ 3075689 h 3959978"/>
                  <a:gd name="connsiteX246" fmla="*/ 6126174 w 7724301"/>
                  <a:gd name="connsiteY246" fmla="*/ 3037825 h 3959978"/>
                  <a:gd name="connsiteX247" fmla="*/ 6221710 w 7724301"/>
                  <a:gd name="connsiteY247" fmla="*/ 3013370 h 3959978"/>
                  <a:gd name="connsiteX248" fmla="*/ 6262766 w 7724301"/>
                  <a:gd name="connsiteY248" fmla="*/ 2988128 h 3959978"/>
                  <a:gd name="connsiteX249" fmla="*/ 6249345 w 7724301"/>
                  <a:gd name="connsiteY249" fmla="*/ 2975506 h 3959978"/>
                  <a:gd name="connsiteX250" fmla="*/ 6276189 w 7724301"/>
                  <a:gd name="connsiteY250" fmla="*/ 2950263 h 3959978"/>
                  <a:gd name="connsiteX251" fmla="*/ 6276189 w 7724301"/>
                  <a:gd name="connsiteY251" fmla="*/ 2975506 h 3959978"/>
                  <a:gd name="connsiteX252" fmla="*/ 6289611 w 7724301"/>
                  <a:gd name="connsiteY252" fmla="*/ 2962096 h 3959978"/>
                  <a:gd name="connsiteX253" fmla="*/ 6276189 w 7724301"/>
                  <a:gd name="connsiteY253" fmla="*/ 2950263 h 3959978"/>
                  <a:gd name="connsiteX254" fmla="*/ 6289611 w 7724301"/>
                  <a:gd name="connsiteY254" fmla="*/ 2950263 h 3959978"/>
                  <a:gd name="connsiteX255" fmla="*/ 6303823 w 7724301"/>
                  <a:gd name="connsiteY255" fmla="*/ 2950263 h 3959978"/>
                  <a:gd name="connsiteX256" fmla="*/ 6317246 w 7724301"/>
                  <a:gd name="connsiteY256" fmla="*/ 2912399 h 3959978"/>
                  <a:gd name="connsiteX257" fmla="*/ 6330668 w 7724301"/>
                  <a:gd name="connsiteY257" fmla="*/ 2912399 h 3959978"/>
                  <a:gd name="connsiteX258" fmla="*/ 6358302 w 7724301"/>
                  <a:gd name="connsiteY258" fmla="*/ 2899778 h 3959978"/>
                  <a:gd name="connsiteX259" fmla="*/ 6371725 w 7724301"/>
                  <a:gd name="connsiteY259" fmla="*/ 2899778 h 3959978"/>
                  <a:gd name="connsiteX260" fmla="*/ 6385147 w 7724301"/>
                  <a:gd name="connsiteY260" fmla="*/ 2912399 h 3959978"/>
                  <a:gd name="connsiteX261" fmla="*/ 6412782 w 7724301"/>
                  <a:gd name="connsiteY261" fmla="*/ 2924232 h 3959978"/>
                  <a:gd name="connsiteX262" fmla="*/ 6412782 w 7724301"/>
                  <a:gd name="connsiteY262" fmla="*/ 2912399 h 3959978"/>
                  <a:gd name="connsiteX263" fmla="*/ 6412782 w 7724301"/>
                  <a:gd name="connsiteY263" fmla="*/ 2886368 h 3959978"/>
                  <a:gd name="connsiteX264" fmla="*/ 6426204 w 7724301"/>
                  <a:gd name="connsiteY264" fmla="*/ 2886368 h 3959978"/>
                  <a:gd name="connsiteX265" fmla="*/ 6426204 w 7724301"/>
                  <a:gd name="connsiteY265" fmla="*/ 2874534 h 3959978"/>
                  <a:gd name="connsiteX266" fmla="*/ 6439626 w 7724301"/>
                  <a:gd name="connsiteY266" fmla="*/ 2861913 h 3959978"/>
                  <a:gd name="connsiteX267" fmla="*/ 6467260 w 7724301"/>
                  <a:gd name="connsiteY267" fmla="*/ 2861913 h 3959978"/>
                  <a:gd name="connsiteX268" fmla="*/ 6480683 w 7724301"/>
                  <a:gd name="connsiteY268" fmla="*/ 2861913 h 3959978"/>
                  <a:gd name="connsiteX269" fmla="*/ 6467260 w 7724301"/>
                  <a:gd name="connsiteY269" fmla="*/ 2848503 h 3959978"/>
                  <a:gd name="connsiteX270" fmla="*/ 6536741 w 7724301"/>
                  <a:gd name="connsiteY270" fmla="*/ 2861913 h 3959978"/>
                  <a:gd name="connsiteX271" fmla="*/ 6550953 w 7724301"/>
                  <a:gd name="connsiteY271" fmla="*/ 2861913 h 3959978"/>
                  <a:gd name="connsiteX272" fmla="*/ 6550953 w 7724301"/>
                  <a:gd name="connsiteY272" fmla="*/ 2874534 h 3959978"/>
                  <a:gd name="connsiteX273" fmla="*/ 6564376 w 7724301"/>
                  <a:gd name="connsiteY273" fmla="*/ 2861913 h 3959978"/>
                  <a:gd name="connsiteX274" fmla="*/ 6577797 w 7724301"/>
                  <a:gd name="connsiteY274" fmla="*/ 2861913 h 3959978"/>
                  <a:gd name="connsiteX275" fmla="*/ 6564376 w 7724301"/>
                  <a:gd name="connsiteY275" fmla="*/ 2886368 h 3959978"/>
                  <a:gd name="connsiteX276" fmla="*/ 6550953 w 7724301"/>
                  <a:gd name="connsiteY276" fmla="*/ 2886368 h 3959978"/>
                  <a:gd name="connsiteX277" fmla="*/ 6536741 w 7724301"/>
                  <a:gd name="connsiteY277" fmla="*/ 2924232 h 3959978"/>
                  <a:gd name="connsiteX278" fmla="*/ 6564376 w 7724301"/>
                  <a:gd name="connsiteY278" fmla="*/ 2924232 h 3959978"/>
                  <a:gd name="connsiteX279" fmla="*/ 6564376 w 7724301"/>
                  <a:gd name="connsiteY279" fmla="*/ 2937642 h 3959978"/>
                  <a:gd name="connsiteX280" fmla="*/ 6577797 w 7724301"/>
                  <a:gd name="connsiteY280" fmla="*/ 2937642 h 3959978"/>
                  <a:gd name="connsiteX281" fmla="*/ 6632277 w 7724301"/>
                  <a:gd name="connsiteY281" fmla="*/ 2975506 h 3959978"/>
                  <a:gd name="connsiteX282" fmla="*/ 6659911 w 7724301"/>
                  <a:gd name="connsiteY282" fmla="*/ 2975506 h 3959978"/>
                  <a:gd name="connsiteX283" fmla="*/ 6673333 w 7724301"/>
                  <a:gd name="connsiteY283" fmla="*/ 2924232 h 3959978"/>
                  <a:gd name="connsiteX284" fmla="*/ 6673333 w 7724301"/>
                  <a:gd name="connsiteY284" fmla="*/ 2861913 h 3959978"/>
                  <a:gd name="connsiteX285" fmla="*/ 2173908 w 7724301"/>
                  <a:gd name="connsiteY285" fmla="*/ 2815148 h 3959978"/>
                  <a:gd name="connsiteX286" fmla="*/ 2146323 w 7724301"/>
                  <a:gd name="connsiteY286" fmla="*/ 2841231 h 3959978"/>
                  <a:gd name="connsiteX287" fmla="*/ 2118739 w 7724301"/>
                  <a:gd name="connsiteY287" fmla="*/ 2841231 h 3959978"/>
                  <a:gd name="connsiteX288" fmla="*/ 2092009 w 7724301"/>
                  <a:gd name="connsiteY288" fmla="*/ 2841231 h 3959978"/>
                  <a:gd name="connsiteX289" fmla="*/ 2092009 w 7724301"/>
                  <a:gd name="connsiteY289" fmla="*/ 2841729 h 3959978"/>
                  <a:gd name="connsiteX290" fmla="*/ 2120405 w 7724301"/>
                  <a:gd name="connsiteY290" fmla="*/ 2841729 h 3959978"/>
                  <a:gd name="connsiteX291" fmla="*/ 2120625 w 7724301"/>
                  <a:gd name="connsiteY291" fmla="*/ 2842120 h 3959978"/>
                  <a:gd name="connsiteX292" fmla="*/ 2146526 w 7724301"/>
                  <a:gd name="connsiteY292" fmla="*/ 2842120 h 3959978"/>
                  <a:gd name="connsiteX293" fmla="*/ 2174224 w 7724301"/>
                  <a:gd name="connsiteY293" fmla="*/ 2816161 h 3959978"/>
                  <a:gd name="connsiteX294" fmla="*/ 2200704 w 7724301"/>
                  <a:gd name="connsiteY294" fmla="*/ 2816161 h 3959978"/>
                  <a:gd name="connsiteX295" fmla="*/ 2200704 w 7724301"/>
                  <a:gd name="connsiteY295" fmla="*/ 2815148 h 3959978"/>
                  <a:gd name="connsiteX296" fmla="*/ 6181329 w 7724301"/>
                  <a:gd name="connsiteY296" fmla="*/ 2811427 h 3959978"/>
                  <a:gd name="connsiteX297" fmla="*/ 6208939 w 7724301"/>
                  <a:gd name="connsiteY297" fmla="*/ 2811427 h 3959978"/>
                  <a:gd name="connsiteX298" fmla="*/ 6222349 w 7724301"/>
                  <a:gd name="connsiteY298" fmla="*/ 2824048 h 3959978"/>
                  <a:gd name="connsiteX299" fmla="*/ 6208939 w 7724301"/>
                  <a:gd name="connsiteY299" fmla="*/ 2824048 h 3959978"/>
                  <a:gd name="connsiteX300" fmla="*/ 7053786 w 7724301"/>
                  <a:gd name="connsiteY300" fmla="*/ 2798806 h 3959978"/>
                  <a:gd name="connsiteX301" fmla="*/ 7082185 w 7724301"/>
                  <a:gd name="connsiteY301" fmla="*/ 2811427 h 3959978"/>
                  <a:gd name="connsiteX302" fmla="*/ 7053786 w 7724301"/>
                  <a:gd name="connsiteY302" fmla="*/ 2811427 h 3959978"/>
                  <a:gd name="connsiteX303" fmla="*/ 6317010 w 7724301"/>
                  <a:gd name="connsiteY303" fmla="*/ 2786184 h 3959978"/>
                  <a:gd name="connsiteX304" fmla="*/ 6358029 w 7724301"/>
                  <a:gd name="connsiteY304" fmla="*/ 2786184 h 3959978"/>
                  <a:gd name="connsiteX305" fmla="*/ 6303599 w 7724301"/>
                  <a:gd name="connsiteY305" fmla="*/ 2824048 h 3959978"/>
                  <a:gd name="connsiteX306" fmla="*/ 6275990 w 7724301"/>
                  <a:gd name="connsiteY306" fmla="*/ 2824048 h 3959978"/>
                  <a:gd name="connsiteX307" fmla="*/ 6289401 w 7724301"/>
                  <a:gd name="connsiteY307" fmla="*/ 2810638 h 3959978"/>
                  <a:gd name="connsiteX308" fmla="*/ 6193161 w 7724301"/>
                  <a:gd name="connsiteY308" fmla="*/ 2786184 h 3959978"/>
                  <a:gd name="connsiteX309" fmla="*/ 6219982 w 7724301"/>
                  <a:gd name="connsiteY309" fmla="*/ 2786184 h 3959978"/>
                  <a:gd name="connsiteX310" fmla="*/ 6261001 w 7724301"/>
                  <a:gd name="connsiteY310" fmla="*/ 2786184 h 3959978"/>
                  <a:gd name="connsiteX311" fmla="*/ 6288610 w 7724301"/>
                  <a:gd name="connsiteY311" fmla="*/ 2786184 h 3959978"/>
                  <a:gd name="connsiteX312" fmla="*/ 6247591 w 7724301"/>
                  <a:gd name="connsiteY312" fmla="*/ 2798805 h 3959978"/>
                  <a:gd name="connsiteX313" fmla="*/ 6124532 w 7724301"/>
                  <a:gd name="connsiteY313" fmla="*/ 2786184 h 3959978"/>
                  <a:gd name="connsiteX314" fmla="*/ 6152141 w 7724301"/>
                  <a:gd name="connsiteY314" fmla="*/ 2786184 h 3959978"/>
                  <a:gd name="connsiteX315" fmla="*/ 6165552 w 7724301"/>
                  <a:gd name="connsiteY315" fmla="*/ 2786184 h 3959978"/>
                  <a:gd name="connsiteX316" fmla="*/ 6193161 w 7724301"/>
                  <a:gd name="connsiteY316" fmla="*/ 2786184 h 3959978"/>
                  <a:gd name="connsiteX317" fmla="*/ 6137943 w 7724301"/>
                  <a:gd name="connsiteY317" fmla="*/ 2798805 h 3959978"/>
                  <a:gd name="connsiteX318" fmla="*/ 6124532 w 7724301"/>
                  <a:gd name="connsiteY318" fmla="*/ 2798805 h 3959978"/>
                  <a:gd name="connsiteX319" fmla="*/ 2024327 w 7724301"/>
                  <a:gd name="connsiteY319" fmla="*/ 2777670 h 3959978"/>
                  <a:gd name="connsiteX320" fmla="*/ 2024165 w 7724301"/>
                  <a:gd name="connsiteY320" fmla="*/ 2777970 h 3959978"/>
                  <a:gd name="connsiteX321" fmla="*/ 2037575 w 7724301"/>
                  <a:gd name="connsiteY321" fmla="*/ 2815752 h 3959978"/>
                  <a:gd name="connsiteX322" fmla="*/ 2064395 w 7724301"/>
                  <a:gd name="connsiteY322" fmla="*/ 2829134 h 3959978"/>
                  <a:gd name="connsiteX323" fmla="*/ 2091944 w 7724301"/>
                  <a:gd name="connsiteY323" fmla="*/ 2815783 h 3959978"/>
                  <a:gd name="connsiteX324" fmla="*/ 2091944 w 7724301"/>
                  <a:gd name="connsiteY324" fmla="*/ 2815148 h 3959978"/>
                  <a:gd name="connsiteX325" fmla="*/ 2064356 w 7724301"/>
                  <a:gd name="connsiteY325" fmla="*/ 2828585 h 3959978"/>
                  <a:gd name="connsiteX326" fmla="*/ 2037562 w 7724301"/>
                  <a:gd name="connsiteY326" fmla="*/ 2815148 h 3959978"/>
                  <a:gd name="connsiteX327" fmla="*/ 5906813 w 7724301"/>
                  <a:gd name="connsiteY327" fmla="*/ 2735698 h 3959978"/>
                  <a:gd name="connsiteX328" fmla="*/ 5933633 w 7724301"/>
                  <a:gd name="connsiteY328" fmla="*/ 2735698 h 3959978"/>
                  <a:gd name="connsiteX329" fmla="*/ 5974653 w 7724301"/>
                  <a:gd name="connsiteY329" fmla="*/ 2748903 h 3959978"/>
                  <a:gd name="connsiteX330" fmla="*/ 6002263 w 7724301"/>
                  <a:gd name="connsiteY330" fmla="*/ 2761331 h 3959978"/>
                  <a:gd name="connsiteX331" fmla="*/ 6002263 w 7724301"/>
                  <a:gd name="connsiteY331" fmla="*/ 2748903 h 3959978"/>
                  <a:gd name="connsiteX332" fmla="*/ 6043283 w 7724301"/>
                  <a:gd name="connsiteY332" fmla="*/ 2761331 h 3959978"/>
                  <a:gd name="connsiteX333" fmla="*/ 6056692 w 7724301"/>
                  <a:gd name="connsiteY333" fmla="*/ 2772981 h 3959978"/>
                  <a:gd name="connsiteX334" fmla="*/ 6083513 w 7724301"/>
                  <a:gd name="connsiteY334" fmla="*/ 2772981 h 3959978"/>
                  <a:gd name="connsiteX335" fmla="*/ 6083513 w 7724301"/>
                  <a:gd name="connsiteY335" fmla="*/ 2786184 h 3959978"/>
                  <a:gd name="connsiteX336" fmla="*/ 6083513 w 7724301"/>
                  <a:gd name="connsiteY336" fmla="*/ 2786185 h 3959978"/>
                  <a:gd name="connsiteX337" fmla="*/ 5947833 w 7724301"/>
                  <a:gd name="connsiteY337" fmla="*/ 2772981 h 3959978"/>
                  <a:gd name="connsiteX338" fmla="*/ 5892613 w 7724301"/>
                  <a:gd name="connsiteY338" fmla="*/ 2748903 h 3959978"/>
                  <a:gd name="connsiteX339" fmla="*/ 6959126 w 7724301"/>
                  <a:gd name="connsiteY339" fmla="*/ 2723076 h 3959978"/>
                  <a:gd name="connsiteX340" fmla="*/ 6985946 w 7724301"/>
                  <a:gd name="connsiteY340" fmla="*/ 2748320 h 3959978"/>
                  <a:gd name="connsiteX341" fmla="*/ 6972153 w 7724301"/>
                  <a:gd name="connsiteY341" fmla="*/ 2760941 h 3959978"/>
                  <a:gd name="connsiteX342" fmla="*/ 6523686 w 7724301"/>
                  <a:gd name="connsiteY342" fmla="*/ 2723076 h 3959978"/>
                  <a:gd name="connsiteX343" fmla="*/ 6523686 w 7724301"/>
                  <a:gd name="connsiteY343" fmla="*/ 2734909 h 3959978"/>
                  <a:gd name="connsiteX344" fmla="*/ 6507910 w 7724301"/>
                  <a:gd name="connsiteY344" fmla="*/ 2760941 h 3959978"/>
                  <a:gd name="connsiteX345" fmla="*/ 6890606 w 7724301"/>
                  <a:gd name="connsiteY345" fmla="*/ 2697833 h 3959978"/>
                  <a:gd name="connsiteX346" fmla="*/ 6903907 w 7724301"/>
                  <a:gd name="connsiteY346" fmla="*/ 2697833 h 3959978"/>
                  <a:gd name="connsiteX347" fmla="*/ 6903907 w 7724301"/>
                  <a:gd name="connsiteY347" fmla="*/ 2711038 h 3959978"/>
                  <a:gd name="connsiteX348" fmla="*/ 6890606 w 7724301"/>
                  <a:gd name="connsiteY348" fmla="*/ 2735116 h 3959978"/>
                  <a:gd name="connsiteX349" fmla="*/ 6863221 w 7724301"/>
                  <a:gd name="connsiteY349" fmla="*/ 2748320 h 3959978"/>
                  <a:gd name="connsiteX350" fmla="*/ 6835054 w 7724301"/>
                  <a:gd name="connsiteY350" fmla="*/ 2748320 h 3959978"/>
                  <a:gd name="connsiteX351" fmla="*/ 6807669 w 7724301"/>
                  <a:gd name="connsiteY351" fmla="*/ 2723465 h 3959978"/>
                  <a:gd name="connsiteX352" fmla="*/ 6863221 w 7724301"/>
                  <a:gd name="connsiteY352" fmla="*/ 2723465 h 3959978"/>
                  <a:gd name="connsiteX353" fmla="*/ 6876522 w 7724301"/>
                  <a:gd name="connsiteY353" fmla="*/ 2723465 h 3959978"/>
                  <a:gd name="connsiteX354" fmla="*/ 6890606 w 7724301"/>
                  <a:gd name="connsiteY354" fmla="*/ 2723465 h 3959978"/>
                  <a:gd name="connsiteX355" fmla="*/ 6877087 w 7724301"/>
                  <a:gd name="connsiteY355" fmla="*/ 2685212 h 3959978"/>
                  <a:gd name="connsiteX356" fmla="*/ 6918107 w 7724301"/>
                  <a:gd name="connsiteY356" fmla="*/ 2697046 h 3959978"/>
                  <a:gd name="connsiteX357" fmla="*/ 6918107 w 7724301"/>
                  <a:gd name="connsiteY357" fmla="*/ 2710455 h 3959978"/>
                  <a:gd name="connsiteX358" fmla="*/ 6904697 w 7724301"/>
                  <a:gd name="connsiteY358" fmla="*/ 2697046 h 3959978"/>
                  <a:gd name="connsiteX359" fmla="*/ 6331209 w 7724301"/>
                  <a:gd name="connsiteY359" fmla="*/ 2685212 h 3959978"/>
                  <a:gd name="connsiteX360" fmla="*/ 6358030 w 7724301"/>
                  <a:gd name="connsiteY360" fmla="*/ 2685212 h 3959978"/>
                  <a:gd name="connsiteX361" fmla="*/ 6358030 w 7724301"/>
                  <a:gd name="connsiteY361" fmla="*/ 2697833 h 3959978"/>
                  <a:gd name="connsiteX362" fmla="*/ 3870027 w 7724301"/>
                  <a:gd name="connsiteY362" fmla="*/ 2673137 h 3959978"/>
                  <a:gd name="connsiteX363" fmla="*/ 3869940 w 7724301"/>
                  <a:gd name="connsiteY363" fmla="*/ 2673226 h 3959978"/>
                  <a:gd name="connsiteX364" fmla="*/ 3869940 w 7724301"/>
                  <a:gd name="connsiteY364" fmla="*/ 2685380 h 3959978"/>
                  <a:gd name="connsiteX365" fmla="*/ 3870027 w 7724301"/>
                  <a:gd name="connsiteY365" fmla="*/ 2685380 h 3959978"/>
                  <a:gd name="connsiteX366" fmla="*/ 6385639 w 7724301"/>
                  <a:gd name="connsiteY366" fmla="*/ 2672590 h 3959978"/>
                  <a:gd name="connsiteX367" fmla="*/ 6413249 w 7724301"/>
                  <a:gd name="connsiteY367" fmla="*/ 2672590 h 3959978"/>
                  <a:gd name="connsiteX368" fmla="*/ 6426659 w 7724301"/>
                  <a:gd name="connsiteY368" fmla="*/ 2685619 h 3959978"/>
                  <a:gd name="connsiteX369" fmla="*/ 6440070 w 7724301"/>
                  <a:gd name="connsiteY369" fmla="*/ 2697833 h 3959978"/>
                  <a:gd name="connsiteX370" fmla="*/ 6372228 w 7724301"/>
                  <a:gd name="connsiteY370" fmla="*/ 2685619 h 3959978"/>
                  <a:gd name="connsiteX371" fmla="*/ 5933633 w 7724301"/>
                  <a:gd name="connsiteY371" fmla="*/ 2672590 h 3959978"/>
                  <a:gd name="connsiteX372" fmla="*/ 5947833 w 7724301"/>
                  <a:gd name="connsiteY372" fmla="*/ 2672590 h 3959978"/>
                  <a:gd name="connsiteX373" fmla="*/ 5947833 w 7724301"/>
                  <a:gd name="connsiteY373" fmla="*/ 2685211 h 3959978"/>
                  <a:gd name="connsiteX374" fmla="*/ 5933633 w 7724301"/>
                  <a:gd name="connsiteY374" fmla="*/ 2685211 h 3959978"/>
                  <a:gd name="connsiteX375" fmla="*/ 2092227 w 7724301"/>
                  <a:gd name="connsiteY375" fmla="*/ 2664521 h 3959978"/>
                  <a:gd name="connsiteX376" fmla="*/ 2074012 w 7724301"/>
                  <a:gd name="connsiteY376" fmla="*/ 2669045 h 3959978"/>
                  <a:gd name="connsiteX377" fmla="*/ 2092009 w 7724301"/>
                  <a:gd name="connsiteY377" fmla="*/ 2664621 h 3959978"/>
                  <a:gd name="connsiteX378" fmla="*/ 2105418 w 7724301"/>
                  <a:gd name="connsiteY378" fmla="*/ 2678002 h 3959978"/>
                  <a:gd name="connsiteX379" fmla="*/ 2105418 w 7724301"/>
                  <a:gd name="connsiteY379" fmla="*/ 2690597 h 3959978"/>
                  <a:gd name="connsiteX380" fmla="*/ 2092009 w 7724301"/>
                  <a:gd name="connsiteY380" fmla="*/ 2690597 h 3959978"/>
                  <a:gd name="connsiteX381" fmla="*/ 2104444 w 7724301"/>
                  <a:gd name="connsiteY381" fmla="*/ 2701546 h 3959978"/>
                  <a:gd name="connsiteX382" fmla="*/ 2092227 w 7724301"/>
                  <a:gd name="connsiteY382" fmla="*/ 2690679 h 3959978"/>
                  <a:gd name="connsiteX383" fmla="*/ 2105594 w 7724301"/>
                  <a:gd name="connsiteY383" fmla="*/ 2690679 h 3959978"/>
                  <a:gd name="connsiteX384" fmla="*/ 2105594 w 7724301"/>
                  <a:gd name="connsiteY384" fmla="*/ 2677996 h 3959978"/>
                  <a:gd name="connsiteX385" fmla="*/ 6590195 w 7724301"/>
                  <a:gd name="connsiteY385" fmla="*/ 2648021 h 3959978"/>
                  <a:gd name="connsiteX386" fmla="*/ 6657788 w 7724301"/>
                  <a:gd name="connsiteY386" fmla="*/ 2673151 h 3959978"/>
                  <a:gd name="connsiteX387" fmla="*/ 6657788 w 7724301"/>
                  <a:gd name="connsiteY387" fmla="*/ 2672590 h 3959978"/>
                  <a:gd name="connsiteX388" fmla="*/ 6712427 w 7724301"/>
                  <a:gd name="connsiteY388" fmla="*/ 2685212 h 3959978"/>
                  <a:gd name="connsiteX389" fmla="*/ 6753603 w 7724301"/>
                  <a:gd name="connsiteY389" fmla="*/ 2710454 h 3959978"/>
                  <a:gd name="connsiteX390" fmla="*/ 6753603 w 7724301"/>
                  <a:gd name="connsiteY390" fmla="*/ 2723075 h 3959978"/>
                  <a:gd name="connsiteX391" fmla="*/ 6809826 w 7724301"/>
                  <a:gd name="connsiteY391" fmla="*/ 2748318 h 3959978"/>
                  <a:gd name="connsiteX392" fmla="*/ 6782111 w 7724301"/>
                  <a:gd name="connsiteY392" fmla="*/ 2760940 h 3959978"/>
                  <a:gd name="connsiteX393" fmla="*/ 6796365 w 7724301"/>
                  <a:gd name="connsiteY393" fmla="*/ 2760940 h 3959978"/>
                  <a:gd name="connsiteX394" fmla="*/ 6809826 w 7724301"/>
                  <a:gd name="connsiteY394" fmla="*/ 2772773 h 3959978"/>
                  <a:gd name="connsiteX395" fmla="*/ 6823288 w 7724301"/>
                  <a:gd name="connsiteY395" fmla="*/ 2798804 h 3959978"/>
                  <a:gd name="connsiteX396" fmla="*/ 6836750 w 7724301"/>
                  <a:gd name="connsiteY396" fmla="*/ 2798804 h 3959978"/>
                  <a:gd name="connsiteX397" fmla="*/ 6836750 w 7724301"/>
                  <a:gd name="connsiteY397" fmla="*/ 2810636 h 3959978"/>
                  <a:gd name="connsiteX398" fmla="*/ 6864464 w 7724301"/>
                  <a:gd name="connsiteY398" fmla="*/ 2824047 h 3959978"/>
                  <a:gd name="connsiteX399" fmla="*/ 6864464 w 7724301"/>
                  <a:gd name="connsiteY399" fmla="*/ 2836668 h 3959978"/>
                  <a:gd name="connsiteX400" fmla="*/ 6796365 w 7724301"/>
                  <a:gd name="connsiteY400" fmla="*/ 2824047 h 3959978"/>
                  <a:gd name="connsiteX401" fmla="*/ 6768649 w 7724301"/>
                  <a:gd name="connsiteY401" fmla="*/ 2772773 h 3959978"/>
                  <a:gd name="connsiteX402" fmla="*/ 6740142 w 7724301"/>
                  <a:gd name="connsiteY402" fmla="*/ 2772773 h 3959978"/>
                  <a:gd name="connsiteX403" fmla="*/ 6725889 w 7724301"/>
                  <a:gd name="connsiteY403" fmla="*/ 2772773 h 3959978"/>
                  <a:gd name="connsiteX404" fmla="*/ 6698965 w 7724301"/>
                  <a:gd name="connsiteY404" fmla="*/ 2786183 h 3959978"/>
                  <a:gd name="connsiteX405" fmla="*/ 6712427 w 7724301"/>
                  <a:gd name="connsiteY405" fmla="*/ 2798804 h 3959978"/>
                  <a:gd name="connsiteX406" fmla="*/ 6684712 w 7724301"/>
                  <a:gd name="connsiteY406" fmla="*/ 2798804 h 3959978"/>
                  <a:gd name="connsiteX407" fmla="*/ 6657789 w 7724301"/>
                  <a:gd name="connsiteY407" fmla="*/ 2798804 h 3959978"/>
                  <a:gd name="connsiteX408" fmla="*/ 6657789 w 7724301"/>
                  <a:gd name="connsiteY408" fmla="*/ 2798805 h 3959978"/>
                  <a:gd name="connsiteX409" fmla="*/ 6630280 w 7724301"/>
                  <a:gd name="connsiteY409" fmla="*/ 2772889 h 3959978"/>
                  <a:gd name="connsiteX410" fmla="*/ 6590195 w 7724301"/>
                  <a:gd name="connsiteY410" fmla="*/ 2786240 h 3959978"/>
                  <a:gd name="connsiteX411" fmla="*/ 6603557 w 7724301"/>
                  <a:gd name="connsiteY411" fmla="*/ 2761109 h 3959978"/>
                  <a:gd name="connsiteX412" fmla="*/ 6590195 w 7724301"/>
                  <a:gd name="connsiteY412" fmla="*/ 2735193 h 3959978"/>
                  <a:gd name="connsiteX413" fmla="*/ 6495093 w 7724301"/>
                  <a:gd name="connsiteY413" fmla="*/ 2685717 h 3959978"/>
                  <a:gd name="connsiteX414" fmla="*/ 6482518 w 7724301"/>
                  <a:gd name="connsiteY414" fmla="*/ 2697497 h 3959978"/>
                  <a:gd name="connsiteX415" fmla="*/ 6482518 w 7724301"/>
                  <a:gd name="connsiteY415" fmla="*/ 2685717 h 3959978"/>
                  <a:gd name="connsiteX416" fmla="*/ 6469156 w 7724301"/>
                  <a:gd name="connsiteY416" fmla="*/ 2673151 h 3959978"/>
                  <a:gd name="connsiteX417" fmla="*/ 6495093 w 7724301"/>
                  <a:gd name="connsiteY417" fmla="*/ 2673151 h 3959978"/>
                  <a:gd name="connsiteX418" fmla="*/ 6508455 w 7724301"/>
                  <a:gd name="connsiteY418" fmla="*/ 2659801 h 3959978"/>
                  <a:gd name="connsiteX419" fmla="*/ 6535178 w 7724301"/>
                  <a:gd name="connsiteY419" fmla="*/ 2685717 h 3959978"/>
                  <a:gd name="connsiteX420" fmla="*/ 6562687 w 7724301"/>
                  <a:gd name="connsiteY420" fmla="*/ 2659801 h 3959978"/>
                  <a:gd name="connsiteX421" fmla="*/ 5907219 w 7724301"/>
                  <a:gd name="connsiteY421" fmla="*/ 2647348 h 3959978"/>
                  <a:gd name="connsiteX422" fmla="*/ 5921012 w 7724301"/>
                  <a:gd name="connsiteY422" fmla="*/ 2672591 h 3959978"/>
                  <a:gd name="connsiteX423" fmla="*/ 5921012 w 7724301"/>
                  <a:gd name="connsiteY423" fmla="*/ 2685212 h 3959978"/>
                  <a:gd name="connsiteX424" fmla="*/ 5907219 w 7724301"/>
                  <a:gd name="connsiteY424" fmla="*/ 2672591 h 3959978"/>
                  <a:gd name="connsiteX425" fmla="*/ 5892613 w 7724301"/>
                  <a:gd name="connsiteY425" fmla="*/ 2659180 h 3959978"/>
                  <a:gd name="connsiteX426" fmla="*/ 6262895 w 7724301"/>
                  <a:gd name="connsiteY426" fmla="*/ 2636305 h 3959978"/>
                  <a:gd name="connsiteX427" fmla="*/ 6276227 w 7724301"/>
                  <a:gd name="connsiteY427" fmla="*/ 2636305 h 3959978"/>
                  <a:gd name="connsiteX428" fmla="*/ 6258364 w 7724301"/>
                  <a:gd name="connsiteY428" fmla="*/ 2640212 h 3959978"/>
                  <a:gd name="connsiteX429" fmla="*/ 6208779 w 7724301"/>
                  <a:gd name="connsiteY429" fmla="*/ 2636305 h 3959978"/>
                  <a:gd name="connsiteX430" fmla="*/ 6222112 w 7724301"/>
                  <a:gd name="connsiteY430" fmla="*/ 2648138 h 3959978"/>
                  <a:gd name="connsiteX431" fmla="*/ 6258364 w 7724301"/>
                  <a:gd name="connsiteY431" fmla="*/ 2640212 h 3959978"/>
                  <a:gd name="connsiteX432" fmla="*/ 6235445 w 7724301"/>
                  <a:gd name="connsiteY432" fmla="*/ 2659970 h 3959978"/>
                  <a:gd name="connsiteX433" fmla="*/ 6262895 w 7724301"/>
                  <a:gd name="connsiteY433" fmla="*/ 2686002 h 3959978"/>
                  <a:gd name="connsiteX434" fmla="*/ 6249562 w 7724301"/>
                  <a:gd name="connsiteY434" fmla="*/ 2686002 h 3959978"/>
                  <a:gd name="connsiteX435" fmla="*/ 6276227 w 7724301"/>
                  <a:gd name="connsiteY435" fmla="*/ 2711245 h 3959978"/>
                  <a:gd name="connsiteX436" fmla="*/ 6276227 w 7724301"/>
                  <a:gd name="connsiteY436" fmla="*/ 2723866 h 3959978"/>
                  <a:gd name="connsiteX437" fmla="*/ 6262895 w 7724301"/>
                  <a:gd name="connsiteY437" fmla="*/ 2735698 h 3959978"/>
                  <a:gd name="connsiteX438" fmla="*/ 6262895 w 7724301"/>
                  <a:gd name="connsiteY438" fmla="*/ 2711245 h 3959978"/>
                  <a:gd name="connsiteX439" fmla="*/ 6235445 w 7724301"/>
                  <a:gd name="connsiteY439" fmla="*/ 2711245 h 3959978"/>
                  <a:gd name="connsiteX440" fmla="*/ 6235445 w 7724301"/>
                  <a:gd name="connsiteY440" fmla="*/ 2697834 h 3959978"/>
                  <a:gd name="connsiteX441" fmla="*/ 6222112 w 7724301"/>
                  <a:gd name="connsiteY441" fmla="*/ 2686002 h 3959978"/>
                  <a:gd name="connsiteX442" fmla="*/ 6235445 w 7724301"/>
                  <a:gd name="connsiteY442" fmla="*/ 2673381 h 3959978"/>
                  <a:gd name="connsiteX443" fmla="*/ 6222112 w 7724301"/>
                  <a:gd name="connsiteY443" fmla="*/ 2673381 h 3959978"/>
                  <a:gd name="connsiteX444" fmla="*/ 6208779 w 7724301"/>
                  <a:gd name="connsiteY444" fmla="*/ 2686002 h 3959978"/>
                  <a:gd name="connsiteX445" fmla="*/ 6208779 w 7724301"/>
                  <a:gd name="connsiteY445" fmla="*/ 2723866 h 3959978"/>
                  <a:gd name="connsiteX446" fmla="*/ 6194662 w 7724301"/>
                  <a:gd name="connsiteY446" fmla="*/ 2735698 h 3959978"/>
                  <a:gd name="connsiteX447" fmla="*/ 6194662 w 7724301"/>
                  <a:gd name="connsiteY447" fmla="*/ 2697834 h 3959978"/>
                  <a:gd name="connsiteX448" fmla="*/ 6194662 w 7724301"/>
                  <a:gd name="connsiteY448" fmla="*/ 2686002 h 3959978"/>
                  <a:gd name="connsiteX449" fmla="*/ 6181329 w 7724301"/>
                  <a:gd name="connsiteY449" fmla="*/ 2686002 h 3959978"/>
                  <a:gd name="connsiteX450" fmla="*/ 6181329 w 7724301"/>
                  <a:gd name="connsiteY450" fmla="*/ 2673381 h 3959978"/>
                  <a:gd name="connsiteX451" fmla="*/ 1642369 w 7724301"/>
                  <a:gd name="connsiteY451" fmla="*/ 2635874 h 3959978"/>
                  <a:gd name="connsiteX452" fmla="*/ 1654990 w 7724301"/>
                  <a:gd name="connsiteY452" fmla="*/ 2635874 h 3959978"/>
                  <a:gd name="connsiteX453" fmla="*/ 1654990 w 7724301"/>
                  <a:gd name="connsiteY453" fmla="*/ 2647348 h 3959978"/>
                  <a:gd name="connsiteX454" fmla="*/ 6534729 w 7724301"/>
                  <a:gd name="connsiteY454" fmla="*/ 2634726 h 3959978"/>
                  <a:gd name="connsiteX455" fmla="*/ 6548928 w 7724301"/>
                  <a:gd name="connsiteY455" fmla="*/ 2634726 h 3959978"/>
                  <a:gd name="connsiteX456" fmla="*/ 6548928 w 7724301"/>
                  <a:gd name="connsiteY456" fmla="*/ 2647347 h 3959978"/>
                  <a:gd name="connsiteX457" fmla="*/ 5742733 w 7724301"/>
                  <a:gd name="connsiteY457" fmla="*/ 2634726 h 3959978"/>
                  <a:gd name="connsiteX458" fmla="*/ 5755354 w 7724301"/>
                  <a:gd name="connsiteY458" fmla="*/ 2634726 h 3959978"/>
                  <a:gd name="connsiteX459" fmla="*/ 5755354 w 7724301"/>
                  <a:gd name="connsiteY459" fmla="*/ 2647348 h 3959978"/>
                  <a:gd name="connsiteX460" fmla="*/ 5755354 w 7724301"/>
                  <a:gd name="connsiteY460" fmla="*/ 2659969 h 3959978"/>
                  <a:gd name="connsiteX461" fmla="*/ 6469156 w 7724301"/>
                  <a:gd name="connsiteY461" fmla="*/ 2622105 h 3959978"/>
                  <a:gd name="connsiteX462" fmla="*/ 6482518 w 7724301"/>
                  <a:gd name="connsiteY462" fmla="*/ 2622105 h 3959978"/>
                  <a:gd name="connsiteX463" fmla="*/ 6508455 w 7724301"/>
                  <a:gd name="connsiteY463" fmla="*/ 2636242 h 3959978"/>
                  <a:gd name="connsiteX464" fmla="*/ 6508455 w 7724301"/>
                  <a:gd name="connsiteY464" fmla="*/ 2659801 h 3959978"/>
                  <a:gd name="connsiteX465" fmla="*/ 6469156 w 7724301"/>
                  <a:gd name="connsiteY465" fmla="*/ 2659801 h 3959978"/>
                  <a:gd name="connsiteX466" fmla="*/ 6455794 w 7724301"/>
                  <a:gd name="connsiteY466" fmla="*/ 2648021 h 3959978"/>
                  <a:gd name="connsiteX467" fmla="*/ 6441646 w 7724301"/>
                  <a:gd name="connsiteY467" fmla="*/ 2648021 h 3959978"/>
                  <a:gd name="connsiteX468" fmla="*/ 1985160 w 7724301"/>
                  <a:gd name="connsiteY468" fmla="*/ 2615870 h 3959978"/>
                  <a:gd name="connsiteX469" fmla="*/ 1995765 w 7724301"/>
                  <a:gd name="connsiteY469" fmla="*/ 2625409 h 3959978"/>
                  <a:gd name="connsiteX470" fmla="*/ 1982528 w 7724301"/>
                  <a:gd name="connsiteY470" fmla="*/ 2625409 h 3959978"/>
                  <a:gd name="connsiteX471" fmla="*/ 1983850 w 7724301"/>
                  <a:gd name="connsiteY471" fmla="*/ 2626838 h 3959978"/>
                  <a:gd name="connsiteX472" fmla="*/ 1996555 w 7724301"/>
                  <a:gd name="connsiteY472" fmla="*/ 2626838 h 3959978"/>
                  <a:gd name="connsiteX473" fmla="*/ 2024165 w 7724301"/>
                  <a:gd name="connsiteY473" fmla="*/ 2652813 h 3959978"/>
                  <a:gd name="connsiteX474" fmla="*/ 2037575 w 7724301"/>
                  <a:gd name="connsiteY474" fmla="*/ 2678002 h 3959978"/>
                  <a:gd name="connsiteX475" fmla="*/ 2037924 w 7724301"/>
                  <a:gd name="connsiteY475" fmla="*/ 2677916 h 3959978"/>
                  <a:gd name="connsiteX476" fmla="*/ 2024602 w 7724301"/>
                  <a:gd name="connsiteY476" fmla="*/ 2652632 h 3959978"/>
                  <a:gd name="connsiteX477" fmla="*/ 1997079 w 7724301"/>
                  <a:gd name="connsiteY477" fmla="*/ 2626474 h 3959978"/>
                  <a:gd name="connsiteX478" fmla="*/ 2105594 w 7724301"/>
                  <a:gd name="connsiteY478" fmla="*/ 2614585 h 3959978"/>
                  <a:gd name="connsiteX479" fmla="*/ 2118670 w 7724301"/>
                  <a:gd name="connsiteY479" fmla="*/ 2651802 h 3959978"/>
                  <a:gd name="connsiteX480" fmla="*/ 2118739 w 7724301"/>
                  <a:gd name="connsiteY480" fmla="*/ 2651539 h 3959978"/>
                  <a:gd name="connsiteX481" fmla="*/ 2105689 w 7724301"/>
                  <a:gd name="connsiteY481" fmla="*/ 2614585 h 3959978"/>
                  <a:gd name="connsiteX482" fmla="*/ 6208779 w 7724301"/>
                  <a:gd name="connsiteY482" fmla="*/ 2610273 h 3959978"/>
                  <a:gd name="connsiteX483" fmla="*/ 6222112 w 7724301"/>
                  <a:gd name="connsiteY483" fmla="*/ 2610273 h 3959978"/>
                  <a:gd name="connsiteX484" fmla="*/ 6208779 w 7724301"/>
                  <a:gd name="connsiteY484" fmla="*/ 2622106 h 3959978"/>
                  <a:gd name="connsiteX485" fmla="*/ 2105594 w 7724301"/>
                  <a:gd name="connsiteY485" fmla="*/ 2601967 h 3959978"/>
                  <a:gd name="connsiteX486" fmla="*/ 2105594 w 7724301"/>
                  <a:gd name="connsiteY486" fmla="*/ 2602695 h 3959978"/>
                  <a:gd name="connsiteX487" fmla="*/ 2117855 w 7724301"/>
                  <a:gd name="connsiteY487" fmla="*/ 2613600 h 3959978"/>
                  <a:gd name="connsiteX488" fmla="*/ 2118739 w 7724301"/>
                  <a:gd name="connsiteY488" fmla="*/ 2613600 h 3959978"/>
                  <a:gd name="connsiteX489" fmla="*/ 6222112 w 7724301"/>
                  <a:gd name="connsiteY489" fmla="*/ 2598441 h 3959978"/>
                  <a:gd name="connsiteX490" fmla="*/ 6262895 w 7724301"/>
                  <a:gd name="connsiteY490" fmla="*/ 2610273 h 3959978"/>
                  <a:gd name="connsiteX491" fmla="*/ 6222112 w 7724301"/>
                  <a:gd name="connsiteY491" fmla="*/ 2610273 h 3959978"/>
                  <a:gd name="connsiteX492" fmla="*/ 6317010 w 7724301"/>
                  <a:gd name="connsiteY492" fmla="*/ 2584242 h 3959978"/>
                  <a:gd name="connsiteX493" fmla="*/ 6303678 w 7724301"/>
                  <a:gd name="connsiteY493" fmla="*/ 2610273 h 3959978"/>
                  <a:gd name="connsiteX494" fmla="*/ 6262895 w 7724301"/>
                  <a:gd name="connsiteY494" fmla="*/ 2610273 h 3959978"/>
                  <a:gd name="connsiteX495" fmla="*/ 6289560 w 7724301"/>
                  <a:gd name="connsiteY495" fmla="*/ 2598441 h 3959978"/>
                  <a:gd name="connsiteX496" fmla="*/ 5714336 w 7724301"/>
                  <a:gd name="connsiteY496" fmla="*/ 2584242 h 3959978"/>
                  <a:gd name="connsiteX497" fmla="*/ 5730113 w 7724301"/>
                  <a:gd name="connsiteY497" fmla="*/ 2609485 h 3959978"/>
                  <a:gd name="connsiteX498" fmla="*/ 5714336 w 7724301"/>
                  <a:gd name="connsiteY498" fmla="*/ 2598011 h 3959978"/>
                  <a:gd name="connsiteX499" fmla="*/ 6371440 w 7724301"/>
                  <a:gd name="connsiteY499" fmla="*/ 2571619 h 3959978"/>
                  <a:gd name="connsiteX500" fmla="*/ 6384849 w 7724301"/>
                  <a:gd name="connsiteY500" fmla="*/ 2597330 h 3959978"/>
                  <a:gd name="connsiteX501" fmla="*/ 6384849 w 7724301"/>
                  <a:gd name="connsiteY501" fmla="*/ 2609017 h 3959978"/>
                  <a:gd name="connsiteX502" fmla="*/ 6371440 w 7724301"/>
                  <a:gd name="connsiteY502" fmla="*/ 2609017 h 3959978"/>
                  <a:gd name="connsiteX503" fmla="*/ 6371440 w 7724301"/>
                  <a:gd name="connsiteY503" fmla="*/ 2620703 h 3959978"/>
                  <a:gd name="connsiteX504" fmla="*/ 6358029 w 7724301"/>
                  <a:gd name="connsiteY504" fmla="*/ 2597330 h 3959978"/>
                  <a:gd name="connsiteX505" fmla="*/ 3800610 w 7724301"/>
                  <a:gd name="connsiteY505" fmla="*/ 2546376 h 3959978"/>
                  <a:gd name="connsiteX506" fmla="*/ 3813231 w 7724301"/>
                  <a:gd name="connsiteY506" fmla="*/ 2546376 h 3959978"/>
                  <a:gd name="connsiteX507" fmla="*/ 3800610 w 7724301"/>
                  <a:gd name="connsiteY507" fmla="*/ 2558997 h 3959978"/>
                  <a:gd name="connsiteX508" fmla="*/ 2213975 w 7724301"/>
                  <a:gd name="connsiteY508" fmla="*/ 2538487 h 3959978"/>
                  <a:gd name="connsiteX509" fmla="*/ 2228212 w 7724301"/>
                  <a:gd name="connsiteY509" fmla="*/ 2550320 h 3959978"/>
                  <a:gd name="connsiteX510" fmla="*/ 2228212 w 7724301"/>
                  <a:gd name="connsiteY510" fmla="*/ 2576352 h 3959978"/>
                  <a:gd name="connsiteX511" fmla="*/ 2235961 w 7724301"/>
                  <a:gd name="connsiteY511" fmla="*/ 2582455 h 3959978"/>
                  <a:gd name="connsiteX512" fmla="*/ 2228286 w 7724301"/>
                  <a:gd name="connsiteY512" fmla="*/ 2575662 h 3959978"/>
                  <a:gd name="connsiteX513" fmla="*/ 2228286 w 7724301"/>
                  <a:gd name="connsiteY513" fmla="*/ 2549579 h 3959978"/>
                  <a:gd name="connsiteX514" fmla="*/ 2215532 w 7724301"/>
                  <a:gd name="connsiteY514" fmla="*/ 2538919 h 3959978"/>
                  <a:gd name="connsiteX515" fmla="*/ 2323648 w 7724301"/>
                  <a:gd name="connsiteY515" fmla="*/ 2526295 h 3959978"/>
                  <a:gd name="connsiteX516" fmla="*/ 2323648 w 7724301"/>
                  <a:gd name="connsiteY516" fmla="*/ 2537723 h 3959978"/>
                  <a:gd name="connsiteX517" fmla="*/ 2323648 w 7724301"/>
                  <a:gd name="connsiteY517" fmla="*/ 2575662 h 3959978"/>
                  <a:gd name="connsiteX518" fmla="*/ 2337046 w 7724301"/>
                  <a:gd name="connsiteY518" fmla="*/ 2601745 h 3959978"/>
                  <a:gd name="connsiteX519" fmla="*/ 2350443 w 7724301"/>
                  <a:gd name="connsiteY519" fmla="*/ 2601745 h 3959978"/>
                  <a:gd name="connsiteX520" fmla="*/ 2350874 w 7724301"/>
                  <a:gd name="connsiteY520" fmla="*/ 2601595 h 3959978"/>
                  <a:gd name="connsiteX521" fmla="*/ 2337786 w 7724301"/>
                  <a:gd name="connsiteY521" fmla="*/ 2601595 h 3959978"/>
                  <a:gd name="connsiteX522" fmla="*/ 2324487 w 7724301"/>
                  <a:gd name="connsiteY522" fmla="*/ 2575711 h 3959978"/>
                  <a:gd name="connsiteX523" fmla="*/ 2324487 w 7724301"/>
                  <a:gd name="connsiteY523" fmla="*/ 2538060 h 3959978"/>
                  <a:gd name="connsiteX524" fmla="*/ 2324487 w 7724301"/>
                  <a:gd name="connsiteY524" fmla="*/ 2526295 h 3959978"/>
                  <a:gd name="connsiteX525" fmla="*/ 5673316 w 7724301"/>
                  <a:gd name="connsiteY525" fmla="*/ 2508512 h 3959978"/>
                  <a:gd name="connsiteX526" fmla="*/ 5715913 w 7724301"/>
                  <a:gd name="connsiteY526" fmla="*/ 2522712 h 3959978"/>
                  <a:gd name="connsiteX527" fmla="*/ 5783754 w 7724301"/>
                  <a:gd name="connsiteY527" fmla="*/ 2572408 h 3959978"/>
                  <a:gd name="connsiteX528" fmla="*/ 5797953 w 7724301"/>
                  <a:gd name="connsiteY528" fmla="*/ 2572408 h 3959978"/>
                  <a:gd name="connsiteX529" fmla="*/ 5838184 w 7724301"/>
                  <a:gd name="connsiteY529" fmla="*/ 2598440 h 3959978"/>
                  <a:gd name="connsiteX530" fmla="*/ 5838184 w 7724301"/>
                  <a:gd name="connsiteY530" fmla="*/ 2610272 h 3959978"/>
                  <a:gd name="connsiteX531" fmla="*/ 5852383 w 7724301"/>
                  <a:gd name="connsiteY531" fmla="*/ 2622105 h 3959978"/>
                  <a:gd name="connsiteX532" fmla="*/ 5852383 w 7724301"/>
                  <a:gd name="connsiteY532" fmla="*/ 2636304 h 3959978"/>
                  <a:gd name="connsiteX533" fmla="*/ 5865794 w 7724301"/>
                  <a:gd name="connsiteY533" fmla="*/ 2636304 h 3959978"/>
                  <a:gd name="connsiteX534" fmla="*/ 5879204 w 7724301"/>
                  <a:gd name="connsiteY534" fmla="*/ 2659969 h 3959978"/>
                  <a:gd name="connsiteX535" fmla="*/ 5892614 w 7724301"/>
                  <a:gd name="connsiteY535" fmla="*/ 2659969 h 3959978"/>
                  <a:gd name="connsiteX536" fmla="*/ 5906813 w 7724301"/>
                  <a:gd name="connsiteY536" fmla="*/ 2686001 h 3959978"/>
                  <a:gd name="connsiteX537" fmla="*/ 5892614 w 7724301"/>
                  <a:gd name="connsiteY537" fmla="*/ 2735697 h 3959978"/>
                  <a:gd name="connsiteX538" fmla="*/ 5865794 w 7724301"/>
                  <a:gd name="connsiteY538" fmla="*/ 2735697 h 3959978"/>
                  <a:gd name="connsiteX539" fmla="*/ 5811363 w 7724301"/>
                  <a:gd name="connsiteY539" fmla="*/ 2686001 h 3959978"/>
                  <a:gd name="connsiteX540" fmla="*/ 5783754 w 7724301"/>
                  <a:gd name="connsiteY540" fmla="*/ 2636304 h 3959978"/>
                  <a:gd name="connsiteX541" fmla="*/ 5756933 w 7724301"/>
                  <a:gd name="connsiteY541" fmla="*/ 2610272 h 3959978"/>
                  <a:gd name="connsiteX542" fmla="*/ 5742734 w 7724301"/>
                  <a:gd name="connsiteY542" fmla="*/ 2584241 h 3959978"/>
                  <a:gd name="connsiteX543" fmla="*/ 5729324 w 7724301"/>
                  <a:gd name="connsiteY543" fmla="*/ 2572408 h 3959978"/>
                  <a:gd name="connsiteX544" fmla="*/ 5700925 w 7724301"/>
                  <a:gd name="connsiteY544" fmla="*/ 2546376 h 3959978"/>
                  <a:gd name="connsiteX545" fmla="*/ 5673316 w 7724301"/>
                  <a:gd name="connsiteY545" fmla="*/ 2522712 h 3959978"/>
                  <a:gd name="connsiteX546" fmla="*/ 3828524 w 7724301"/>
                  <a:gd name="connsiteY546" fmla="*/ 2484059 h 3959978"/>
                  <a:gd name="connsiteX547" fmla="*/ 3801002 w 7724301"/>
                  <a:gd name="connsiteY547" fmla="*/ 2521923 h 3959978"/>
                  <a:gd name="connsiteX548" fmla="*/ 3801002 w 7724301"/>
                  <a:gd name="connsiteY548" fmla="*/ 2522168 h 3959978"/>
                  <a:gd name="connsiteX549" fmla="*/ 3827960 w 7724301"/>
                  <a:gd name="connsiteY549" fmla="*/ 2484847 h 3959978"/>
                  <a:gd name="connsiteX550" fmla="*/ 3841243 w 7724301"/>
                  <a:gd name="connsiteY550" fmla="*/ 2484847 h 3959978"/>
                  <a:gd name="connsiteX551" fmla="*/ 3846600 w 7724301"/>
                  <a:gd name="connsiteY551" fmla="*/ 2489619 h 3959978"/>
                  <a:gd name="connsiteX552" fmla="*/ 3846867 w 7724301"/>
                  <a:gd name="connsiteY552" fmla="*/ 2488462 h 3959978"/>
                  <a:gd name="connsiteX553" fmla="*/ 3841893 w 7724301"/>
                  <a:gd name="connsiteY553" fmla="*/ 2484059 h 3959978"/>
                  <a:gd name="connsiteX554" fmla="*/ 6139520 w 7724301"/>
                  <a:gd name="connsiteY554" fmla="*/ 2483269 h 3959978"/>
                  <a:gd name="connsiteX555" fmla="*/ 6153720 w 7724301"/>
                  <a:gd name="connsiteY555" fmla="*/ 2495101 h 3959978"/>
                  <a:gd name="connsiteX556" fmla="*/ 6153720 w 7724301"/>
                  <a:gd name="connsiteY556" fmla="*/ 2506935 h 3959978"/>
                  <a:gd name="connsiteX557" fmla="*/ 6193950 w 7724301"/>
                  <a:gd name="connsiteY557" fmla="*/ 2521133 h 3959978"/>
                  <a:gd name="connsiteX558" fmla="*/ 6167129 w 7724301"/>
                  <a:gd name="connsiteY558" fmla="*/ 2521133 h 3959978"/>
                  <a:gd name="connsiteX559" fmla="*/ 6180540 w 7724301"/>
                  <a:gd name="connsiteY559" fmla="*/ 2532967 h 3959978"/>
                  <a:gd name="connsiteX560" fmla="*/ 6167129 w 7724301"/>
                  <a:gd name="connsiteY560" fmla="*/ 2532967 h 3959978"/>
                  <a:gd name="connsiteX561" fmla="*/ 6126110 w 7724301"/>
                  <a:gd name="connsiteY561" fmla="*/ 2532967 h 3959978"/>
                  <a:gd name="connsiteX562" fmla="*/ 6125459 w 7724301"/>
                  <a:gd name="connsiteY562" fmla="*/ 2533755 h 3959978"/>
                  <a:gd name="connsiteX563" fmla="*/ 6167822 w 7724301"/>
                  <a:gd name="connsiteY563" fmla="*/ 2533755 h 3959978"/>
                  <a:gd name="connsiteX564" fmla="*/ 6154316 w 7724301"/>
                  <a:gd name="connsiteY564" fmla="*/ 2559913 h 3959978"/>
                  <a:gd name="connsiteX565" fmla="*/ 6167822 w 7724301"/>
                  <a:gd name="connsiteY565" fmla="*/ 2571802 h 3959978"/>
                  <a:gd name="connsiteX566" fmla="*/ 6154316 w 7724301"/>
                  <a:gd name="connsiteY566" fmla="*/ 2583692 h 3959978"/>
                  <a:gd name="connsiteX567" fmla="*/ 6181329 w 7724301"/>
                  <a:gd name="connsiteY567" fmla="*/ 2597960 h 3959978"/>
                  <a:gd name="connsiteX568" fmla="*/ 6167822 w 7724301"/>
                  <a:gd name="connsiteY568" fmla="*/ 2609849 h 3959978"/>
                  <a:gd name="connsiteX569" fmla="*/ 6138425 w 7724301"/>
                  <a:gd name="connsiteY569" fmla="*/ 2636007 h 3959978"/>
                  <a:gd name="connsiteX570" fmla="*/ 6124919 w 7724301"/>
                  <a:gd name="connsiteY570" fmla="*/ 2659786 h 3959978"/>
                  <a:gd name="connsiteX571" fmla="*/ 6138425 w 7724301"/>
                  <a:gd name="connsiteY571" fmla="*/ 2659786 h 3959978"/>
                  <a:gd name="connsiteX572" fmla="*/ 6124919 w 7724301"/>
                  <a:gd name="connsiteY572" fmla="*/ 2685943 h 3959978"/>
                  <a:gd name="connsiteX573" fmla="*/ 6097905 w 7724301"/>
                  <a:gd name="connsiteY573" fmla="*/ 2697833 h 3959978"/>
                  <a:gd name="connsiteX574" fmla="*/ 6083603 w 7724301"/>
                  <a:gd name="connsiteY574" fmla="*/ 2685943 h 3959978"/>
                  <a:gd name="connsiteX575" fmla="*/ 6056589 w 7724301"/>
                  <a:gd name="connsiteY575" fmla="*/ 2685943 h 3959978"/>
                  <a:gd name="connsiteX576" fmla="*/ 6028781 w 7724301"/>
                  <a:gd name="connsiteY576" fmla="*/ 2685943 h 3959978"/>
                  <a:gd name="connsiteX577" fmla="*/ 6028781 w 7724301"/>
                  <a:gd name="connsiteY577" fmla="*/ 2673262 h 3959978"/>
                  <a:gd name="connsiteX578" fmla="*/ 6001768 w 7724301"/>
                  <a:gd name="connsiteY578" fmla="*/ 2673262 h 3959978"/>
                  <a:gd name="connsiteX579" fmla="*/ 5987467 w 7724301"/>
                  <a:gd name="connsiteY579" fmla="*/ 2647896 h 3959978"/>
                  <a:gd name="connsiteX580" fmla="*/ 5973960 w 7724301"/>
                  <a:gd name="connsiteY580" fmla="*/ 2621739 h 3959978"/>
                  <a:gd name="connsiteX581" fmla="*/ 5960453 w 7724301"/>
                  <a:gd name="connsiteY581" fmla="*/ 2597960 h 3959978"/>
                  <a:gd name="connsiteX582" fmla="*/ 5973960 w 7724301"/>
                  <a:gd name="connsiteY582" fmla="*/ 2583692 h 3959978"/>
                  <a:gd name="connsiteX583" fmla="*/ 6001768 w 7724301"/>
                  <a:gd name="connsiteY583" fmla="*/ 2597960 h 3959978"/>
                  <a:gd name="connsiteX584" fmla="*/ 6028781 w 7724301"/>
                  <a:gd name="connsiteY584" fmla="*/ 2597960 h 3959978"/>
                  <a:gd name="connsiteX585" fmla="*/ 6043083 w 7724301"/>
                  <a:gd name="connsiteY585" fmla="*/ 2583692 h 3959978"/>
                  <a:gd name="connsiteX586" fmla="*/ 6070097 w 7724301"/>
                  <a:gd name="connsiteY586" fmla="*/ 2597960 h 3959978"/>
                  <a:gd name="connsiteX587" fmla="*/ 6071314 w 7724301"/>
                  <a:gd name="connsiteY587" fmla="*/ 2596674 h 3959978"/>
                  <a:gd name="connsiteX588" fmla="*/ 6044070 w 7724301"/>
                  <a:gd name="connsiteY588" fmla="*/ 2582663 h 3959978"/>
                  <a:gd name="connsiteX589" fmla="*/ 6029082 w 7724301"/>
                  <a:gd name="connsiteY589" fmla="*/ 2596863 h 3959978"/>
                  <a:gd name="connsiteX590" fmla="*/ 6002262 w 7724301"/>
                  <a:gd name="connsiteY590" fmla="*/ 2596863 h 3959978"/>
                  <a:gd name="connsiteX591" fmla="*/ 5974652 w 7724301"/>
                  <a:gd name="connsiteY591" fmla="*/ 2582663 h 3959978"/>
                  <a:gd name="connsiteX592" fmla="*/ 6015672 w 7724301"/>
                  <a:gd name="connsiteY592" fmla="*/ 2582663 h 3959978"/>
                  <a:gd name="connsiteX593" fmla="*/ 6015672 w 7724301"/>
                  <a:gd name="connsiteY593" fmla="*/ 2558998 h 3959978"/>
                  <a:gd name="connsiteX594" fmla="*/ 6044070 w 7724301"/>
                  <a:gd name="connsiteY594" fmla="*/ 2558998 h 3959978"/>
                  <a:gd name="connsiteX595" fmla="*/ 6071680 w 7724301"/>
                  <a:gd name="connsiteY595" fmla="*/ 2532967 h 3959978"/>
                  <a:gd name="connsiteX596" fmla="*/ 6072618 w 7724301"/>
                  <a:gd name="connsiteY596" fmla="*/ 2532967 h 3959978"/>
                  <a:gd name="connsiteX597" fmla="*/ 6098501 w 7724301"/>
                  <a:gd name="connsiteY597" fmla="*/ 2521134 h 3959978"/>
                  <a:gd name="connsiteX598" fmla="*/ 6111911 w 7724301"/>
                  <a:gd name="connsiteY598" fmla="*/ 2521134 h 3959978"/>
                  <a:gd name="connsiteX599" fmla="*/ 6100089 w 7724301"/>
                  <a:gd name="connsiteY599" fmla="*/ 2532261 h 3959978"/>
                  <a:gd name="connsiteX600" fmla="*/ 6112700 w 7724301"/>
                  <a:gd name="connsiteY600" fmla="*/ 2521133 h 3959978"/>
                  <a:gd name="connsiteX601" fmla="*/ 6099290 w 7724301"/>
                  <a:gd name="connsiteY601" fmla="*/ 2521133 h 3959978"/>
                  <a:gd name="connsiteX602" fmla="*/ 6112700 w 7724301"/>
                  <a:gd name="connsiteY602" fmla="*/ 2506935 h 3959978"/>
                  <a:gd name="connsiteX603" fmla="*/ 1956194 w 7724301"/>
                  <a:gd name="connsiteY603" fmla="*/ 2456314 h 3959978"/>
                  <a:gd name="connsiteX604" fmla="*/ 1952683 w 7724301"/>
                  <a:gd name="connsiteY604" fmla="*/ 2459274 h 3959978"/>
                  <a:gd name="connsiteX605" fmla="*/ 1956194 w 7724301"/>
                  <a:gd name="connsiteY605" fmla="*/ 2462395 h 3959978"/>
                  <a:gd name="connsiteX606" fmla="*/ 1951737 w 7724301"/>
                  <a:gd name="connsiteY606" fmla="*/ 2466358 h 3959978"/>
                  <a:gd name="connsiteX607" fmla="*/ 1949339 w 7724301"/>
                  <a:gd name="connsiteY607" fmla="*/ 2462093 h 3959978"/>
                  <a:gd name="connsiteX608" fmla="*/ 1944297 w 7724301"/>
                  <a:gd name="connsiteY608" fmla="*/ 2466346 h 3959978"/>
                  <a:gd name="connsiteX609" fmla="*/ 1944297 w 7724301"/>
                  <a:gd name="connsiteY609" fmla="*/ 2472976 h 3959978"/>
                  <a:gd name="connsiteX610" fmla="*/ 1951737 w 7724301"/>
                  <a:gd name="connsiteY610" fmla="*/ 2466358 h 3959978"/>
                  <a:gd name="connsiteX611" fmla="*/ 1956194 w 7724301"/>
                  <a:gd name="connsiteY611" fmla="*/ 2474285 h 3959978"/>
                  <a:gd name="connsiteX612" fmla="*/ 1956194 w 7724301"/>
                  <a:gd name="connsiteY612" fmla="*/ 2462395 h 3959978"/>
                  <a:gd name="connsiteX613" fmla="*/ 4567784 w 7724301"/>
                  <a:gd name="connsiteY613" fmla="*/ 2446443 h 3959978"/>
                  <a:gd name="connsiteX614" fmla="*/ 4568356 w 7724301"/>
                  <a:gd name="connsiteY614" fmla="*/ 2446983 h 3959978"/>
                  <a:gd name="connsiteX615" fmla="*/ 4636025 w 7724301"/>
                  <a:gd name="connsiteY615" fmla="*/ 2458815 h 3959978"/>
                  <a:gd name="connsiteX616" fmla="*/ 4648168 w 7724301"/>
                  <a:gd name="connsiteY616" fmla="*/ 2458815 h 3959978"/>
                  <a:gd name="connsiteX617" fmla="*/ 4648858 w 7724301"/>
                  <a:gd name="connsiteY617" fmla="*/ 2458026 h 3959978"/>
                  <a:gd name="connsiteX618" fmla="*/ 4635496 w 7724301"/>
                  <a:gd name="connsiteY618" fmla="*/ 2458026 h 3959978"/>
                  <a:gd name="connsiteX619" fmla="*/ 5346135 w 7724301"/>
                  <a:gd name="connsiteY619" fmla="*/ 2420161 h 3959978"/>
                  <a:gd name="connsiteX620" fmla="*/ 5362134 w 7724301"/>
                  <a:gd name="connsiteY620" fmla="*/ 2431994 h 3959978"/>
                  <a:gd name="connsiteX621" fmla="*/ 5389331 w 7724301"/>
                  <a:gd name="connsiteY621" fmla="*/ 2469859 h 3959978"/>
                  <a:gd name="connsiteX622" fmla="*/ 5375733 w 7724301"/>
                  <a:gd name="connsiteY622" fmla="*/ 2495891 h 3959978"/>
                  <a:gd name="connsiteX623" fmla="*/ 5346135 w 7724301"/>
                  <a:gd name="connsiteY623" fmla="*/ 2495891 h 3959978"/>
                  <a:gd name="connsiteX624" fmla="*/ 5332536 w 7724301"/>
                  <a:gd name="connsiteY624" fmla="*/ 2458027 h 3959978"/>
                  <a:gd name="connsiteX625" fmla="*/ 4527439 w 7724301"/>
                  <a:gd name="connsiteY625" fmla="*/ 2407541 h 3959978"/>
                  <a:gd name="connsiteX626" fmla="*/ 4527439 w 7724301"/>
                  <a:gd name="connsiteY626" fmla="*/ 2409119 h 3959978"/>
                  <a:gd name="connsiteX627" fmla="*/ 4538816 w 7724301"/>
                  <a:gd name="connsiteY627" fmla="*/ 2409119 h 3959978"/>
                  <a:gd name="connsiteX628" fmla="*/ 4538816 w 7724301"/>
                  <a:gd name="connsiteY628" fmla="*/ 2408329 h 3959978"/>
                  <a:gd name="connsiteX629" fmla="*/ 4539557 w 7724301"/>
                  <a:gd name="connsiteY629" fmla="*/ 2407541 h 3959978"/>
                  <a:gd name="connsiteX630" fmla="*/ 2284482 w 7724301"/>
                  <a:gd name="connsiteY630" fmla="*/ 2407540 h 3959978"/>
                  <a:gd name="connsiteX631" fmla="*/ 2297105 w 7724301"/>
                  <a:gd name="connsiteY631" fmla="*/ 2407540 h 3959978"/>
                  <a:gd name="connsiteX632" fmla="*/ 2297105 w 7724301"/>
                  <a:gd name="connsiteY632" fmla="*/ 2420161 h 3959978"/>
                  <a:gd name="connsiteX633" fmla="*/ 2284482 w 7724301"/>
                  <a:gd name="connsiteY633" fmla="*/ 2420161 h 3959978"/>
                  <a:gd name="connsiteX634" fmla="*/ 6193951 w 7724301"/>
                  <a:gd name="connsiteY634" fmla="*/ 2394918 h 3959978"/>
                  <a:gd name="connsiteX635" fmla="*/ 6193951 w 7724301"/>
                  <a:gd name="connsiteY635" fmla="*/ 2408942 h 3959978"/>
                  <a:gd name="connsiteX636" fmla="*/ 6140309 w 7724301"/>
                  <a:gd name="connsiteY636" fmla="*/ 2458026 h 3959978"/>
                  <a:gd name="connsiteX637" fmla="*/ 5770934 w 7724301"/>
                  <a:gd name="connsiteY637" fmla="*/ 2382759 h 3959978"/>
                  <a:gd name="connsiteX638" fmla="*/ 5757588 w 7724301"/>
                  <a:gd name="connsiteY638" fmla="*/ 2420723 h 3959978"/>
                  <a:gd name="connsiteX639" fmla="*/ 5757588 w 7724301"/>
                  <a:gd name="connsiteY639" fmla="*/ 2432586 h 3959978"/>
                  <a:gd name="connsiteX640" fmla="*/ 5770934 w 7724301"/>
                  <a:gd name="connsiteY640" fmla="*/ 2432586 h 3959978"/>
                  <a:gd name="connsiteX641" fmla="*/ 5783929 w 7724301"/>
                  <a:gd name="connsiteY641" fmla="*/ 2483414 h 3959978"/>
                  <a:gd name="connsiteX642" fmla="*/ 5785574 w 7724301"/>
                  <a:gd name="connsiteY642" fmla="*/ 2484786 h 3959978"/>
                  <a:gd name="connsiteX643" fmla="*/ 5811755 w 7724301"/>
                  <a:gd name="connsiteY643" fmla="*/ 2484786 h 3959978"/>
                  <a:gd name="connsiteX644" fmla="*/ 5824065 w 7724301"/>
                  <a:gd name="connsiteY644" fmla="*/ 2495727 h 3959978"/>
                  <a:gd name="connsiteX645" fmla="*/ 5824774 w 7724301"/>
                  <a:gd name="connsiteY645" fmla="*/ 2495101 h 3959978"/>
                  <a:gd name="connsiteX646" fmla="*/ 5852383 w 7724301"/>
                  <a:gd name="connsiteY646" fmla="*/ 2521133 h 3959978"/>
                  <a:gd name="connsiteX647" fmla="*/ 5852383 w 7724301"/>
                  <a:gd name="connsiteY647" fmla="*/ 2558998 h 3959978"/>
                  <a:gd name="connsiteX648" fmla="*/ 5865793 w 7724301"/>
                  <a:gd name="connsiteY648" fmla="*/ 2596863 h 3959978"/>
                  <a:gd name="connsiteX649" fmla="*/ 5852383 w 7724301"/>
                  <a:gd name="connsiteY649" fmla="*/ 2596863 h 3959978"/>
                  <a:gd name="connsiteX650" fmla="*/ 5811363 w 7724301"/>
                  <a:gd name="connsiteY650" fmla="*/ 2558998 h 3959978"/>
                  <a:gd name="connsiteX651" fmla="*/ 5783754 w 7724301"/>
                  <a:gd name="connsiteY651" fmla="*/ 2532967 h 3959978"/>
                  <a:gd name="connsiteX652" fmla="*/ 5783754 w 7724301"/>
                  <a:gd name="connsiteY652" fmla="*/ 2496160 h 3959978"/>
                  <a:gd name="connsiteX653" fmla="*/ 5743458 w 7724301"/>
                  <a:gd name="connsiteY653" fmla="*/ 2458686 h 3959978"/>
                  <a:gd name="connsiteX654" fmla="*/ 5743458 w 7724301"/>
                  <a:gd name="connsiteY654" fmla="*/ 2446822 h 3959978"/>
                  <a:gd name="connsiteX655" fmla="*/ 5743458 w 7724301"/>
                  <a:gd name="connsiteY655" fmla="*/ 2432586 h 3959978"/>
                  <a:gd name="connsiteX656" fmla="*/ 6317010 w 7724301"/>
                  <a:gd name="connsiteY656" fmla="*/ 2381698 h 3959978"/>
                  <a:gd name="connsiteX657" fmla="*/ 6331209 w 7724301"/>
                  <a:gd name="connsiteY657" fmla="*/ 2393718 h 3959978"/>
                  <a:gd name="connsiteX658" fmla="*/ 6317010 w 7724301"/>
                  <a:gd name="connsiteY658" fmla="*/ 2393718 h 3959978"/>
                  <a:gd name="connsiteX659" fmla="*/ 6317010 w 7724301"/>
                  <a:gd name="connsiteY659" fmla="*/ 2420164 h 3959978"/>
                  <a:gd name="connsiteX660" fmla="*/ 6316447 w 7724301"/>
                  <a:gd name="connsiteY660" fmla="*/ 2420164 h 3959978"/>
                  <a:gd name="connsiteX661" fmla="*/ 6343829 w 7724301"/>
                  <a:gd name="connsiteY661" fmla="*/ 2446428 h 3959978"/>
                  <a:gd name="connsiteX662" fmla="*/ 6343829 w 7724301"/>
                  <a:gd name="connsiteY662" fmla="*/ 2470307 h 3959978"/>
                  <a:gd name="connsiteX663" fmla="*/ 6343829 w 7724301"/>
                  <a:gd name="connsiteY663" fmla="*/ 2496573 h 3959978"/>
                  <a:gd name="connsiteX664" fmla="*/ 6329746 w 7724301"/>
                  <a:gd name="connsiteY664" fmla="*/ 2470307 h 3959978"/>
                  <a:gd name="connsiteX665" fmla="*/ 6316444 w 7724301"/>
                  <a:gd name="connsiteY665" fmla="*/ 2484634 h 3959978"/>
                  <a:gd name="connsiteX666" fmla="*/ 6329746 w 7724301"/>
                  <a:gd name="connsiteY666" fmla="*/ 2496573 h 3959978"/>
                  <a:gd name="connsiteX667" fmla="*/ 6316444 w 7724301"/>
                  <a:gd name="connsiteY667" fmla="*/ 2508512 h 3959978"/>
                  <a:gd name="connsiteX668" fmla="*/ 6289060 w 7724301"/>
                  <a:gd name="connsiteY668" fmla="*/ 2496573 h 3959978"/>
                  <a:gd name="connsiteX669" fmla="*/ 6303143 w 7724301"/>
                  <a:gd name="connsiteY669" fmla="*/ 2470307 h 3959978"/>
                  <a:gd name="connsiteX670" fmla="*/ 6289060 w 7724301"/>
                  <a:gd name="connsiteY670" fmla="*/ 2470307 h 3959978"/>
                  <a:gd name="connsiteX671" fmla="*/ 6275758 w 7724301"/>
                  <a:gd name="connsiteY671" fmla="*/ 2470307 h 3959978"/>
                  <a:gd name="connsiteX672" fmla="*/ 6262457 w 7724301"/>
                  <a:gd name="connsiteY672" fmla="*/ 2470307 h 3959978"/>
                  <a:gd name="connsiteX673" fmla="*/ 6247591 w 7724301"/>
                  <a:gd name="connsiteY673" fmla="*/ 2484634 h 3959978"/>
                  <a:gd name="connsiteX674" fmla="*/ 6247591 w 7724301"/>
                  <a:gd name="connsiteY674" fmla="*/ 2470307 h 3959978"/>
                  <a:gd name="connsiteX675" fmla="*/ 6275758 w 7724301"/>
                  <a:gd name="connsiteY675" fmla="*/ 2446428 h 3959978"/>
                  <a:gd name="connsiteX676" fmla="*/ 6289060 w 7724301"/>
                  <a:gd name="connsiteY676" fmla="*/ 2458367 h 3959978"/>
                  <a:gd name="connsiteX677" fmla="*/ 6303143 w 7724301"/>
                  <a:gd name="connsiteY677" fmla="*/ 2446428 h 3959978"/>
                  <a:gd name="connsiteX678" fmla="*/ 6316444 w 7724301"/>
                  <a:gd name="connsiteY678" fmla="*/ 2446428 h 3959978"/>
                  <a:gd name="connsiteX679" fmla="*/ 6316444 w 7724301"/>
                  <a:gd name="connsiteY679" fmla="*/ 2420164 h 3959978"/>
                  <a:gd name="connsiteX680" fmla="*/ 6302810 w 7724301"/>
                  <a:gd name="connsiteY680" fmla="*/ 2420164 h 3959978"/>
                  <a:gd name="connsiteX681" fmla="*/ 6302810 w 7724301"/>
                  <a:gd name="connsiteY681" fmla="*/ 2431381 h 3959978"/>
                  <a:gd name="connsiteX682" fmla="*/ 6275590 w 7724301"/>
                  <a:gd name="connsiteY682" fmla="*/ 2419695 h 3959978"/>
                  <a:gd name="connsiteX683" fmla="*/ 6275590 w 7724301"/>
                  <a:gd name="connsiteY683" fmla="*/ 2431381 h 3959978"/>
                  <a:gd name="connsiteX684" fmla="*/ 6275590 w 7724301"/>
                  <a:gd name="connsiteY684" fmla="*/ 2445405 h 3959978"/>
                  <a:gd name="connsiteX685" fmla="*/ 6262369 w 7724301"/>
                  <a:gd name="connsiteY685" fmla="*/ 2419695 h 3959978"/>
                  <a:gd name="connsiteX686" fmla="*/ 6262369 w 7724301"/>
                  <a:gd name="connsiteY686" fmla="*/ 2408008 h 3959978"/>
                  <a:gd name="connsiteX687" fmla="*/ 6247591 w 7724301"/>
                  <a:gd name="connsiteY687" fmla="*/ 2408008 h 3959978"/>
                  <a:gd name="connsiteX688" fmla="*/ 6247591 w 7724301"/>
                  <a:gd name="connsiteY688" fmla="*/ 2382297 h 3959978"/>
                  <a:gd name="connsiteX689" fmla="*/ 6262369 w 7724301"/>
                  <a:gd name="connsiteY689" fmla="*/ 2382297 h 3959978"/>
                  <a:gd name="connsiteX690" fmla="*/ 6275590 w 7724301"/>
                  <a:gd name="connsiteY690" fmla="*/ 2393984 h 3959978"/>
                  <a:gd name="connsiteX691" fmla="*/ 6275590 w 7724301"/>
                  <a:gd name="connsiteY691" fmla="*/ 2408008 h 3959978"/>
                  <a:gd name="connsiteX692" fmla="*/ 6288812 w 7724301"/>
                  <a:gd name="connsiteY692" fmla="*/ 2393984 h 3959978"/>
                  <a:gd name="connsiteX693" fmla="*/ 6288812 w 7724301"/>
                  <a:gd name="connsiteY693" fmla="*/ 2419695 h 3959978"/>
                  <a:gd name="connsiteX694" fmla="*/ 6302810 w 7724301"/>
                  <a:gd name="connsiteY694" fmla="*/ 2419695 h 3959978"/>
                  <a:gd name="connsiteX695" fmla="*/ 6302810 w 7724301"/>
                  <a:gd name="connsiteY695" fmla="*/ 2408143 h 3959978"/>
                  <a:gd name="connsiteX696" fmla="*/ 6302810 w 7724301"/>
                  <a:gd name="connsiteY696" fmla="*/ 2393718 h 3959978"/>
                  <a:gd name="connsiteX697" fmla="*/ 2064704 w 7724301"/>
                  <a:gd name="connsiteY697" fmla="*/ 2374410 h 3959978"/>
                  <a:gd name="connsiteX698" fmla="*/ 2078857 w 7724301"/>
                  <a:gd name="connsiteY698" fmla="*/ 2386300 h 3959978"/>
                  <a:gd name="connsiteX699" fmla="*/ 2064704 w 7724301"/>
                  <a:gd name="connsiteY699" fmla="*/ 2398190 h 3959978"/>
                  <a:gd name="connsiteX700" fmla="*/ 2063882 w 7724301"/>
                  <a:gd name="connsiteY700" fmla="*/ 2399065 h 3959978"/>
                  <a:gd name="connsiteX701" fmla="*/ 2077920 w 7724301"/>
                  <a:gd name="connsiteY701" fmla="*/ 2413062 h 3959978"/>
                  <a:gd name="connsiteX702" fmla="*/ 2063681 w 7724301"/>
                  <a:gd name="connsiteY702" fmla="*/ 2424895 h 3959978"/>
                  <a:gd name="connsiteX703" fmla="*/ 2063681 w 7724301"/>
                  <a:gd name="connsiteY703" fmla="*/ 2450926 h 3959978"/>
                  <a:gd name="connsiteX704" fmla="*/ 2077920 w 7724301"/>
                  <a:gd name="connsiteY704" fmla="*/ 2436727 h 3959978"/>
                  <a:gd name="connsiteX705" fmla="*/ 2077920 w 7724301"/>
                  <a:gd name="connsiteY705" fmla="*/ 2413062 h 3959978"/>
                  <a:gd name="connsiteX706" fmla="*/ 2104815 w 7724301"/>
                  <a:gd name="connsiteY706" fmla="*/ 2398863 h 3959978"/>
                  <a:gd name="connsiteX707" fmla="*/ 2145948 w 7724301"/>
                  <a:gd name="connsiteY707" fmla="*/ 2398863 h 3959978"/>
                  <a:gd name="connsiteX708" fmla="*/ 2145948 w 7724301"/>
                  <a:gd name="connsiteY708" fmla="*/ 2413062 h 3959978"/>
                  <a:gd name="connsiteX709" fmla="*/ 2187080 w 7724301"/>
                  <a:gd name="connsiteY709" fmla="*/ 2413062 h 3959978"/>
                  <a:gd name="connsiteX710" fmla="*/ 2213975 w 7724301"/>
                  <a:gd name="connsiteY710" fmla="*/ 2424895 h 3959978"/>
                  <a:gd name="connsiteX711" fmla="*/ 2243239 w 7724301"/>
                  <a:gd name="connsiteY711" fmla="*/ 2413062 h 3959978"/>
                  <a:gd name="connsiteX712" fmla="*/ 2256687 w 7724301"/>
                  <a:gd name="connsiteY712" fmla="*/ 2413062 h 3959978"/>
                  <a:gd name="connsiteX713" fmla="*/ 2270133 w 7724301"/>
                  <a:gd name="connsiteY713" fmla="*/ 2424895 h 3959978"/>
                  <a:gd name="connsiteX714" fmla="*/ 2297820 w 7724301"/>
                  <a:gd name="connsiteY714" fmla="*/ 2436727 h 3959978"/>
                  <a:gd name="connsiteX715" fmla="*/ 2297820 w 7724301"/>
                  <a:gd name="connsiteY715" fmla="*/ 2462759 h 3959978"/>
                  <a:gd name="connsiteX716" fmla="*/ 2311267 w 7724301"/>
                  <a:gd name="connsiteY716" fmla="*/ 2450926 h 3959978"/>
                  <a:gd name="connsiteX717" fmla="*/ 2325506 w 7724301"/>
                  <a:gd name="connsiteY717" fmla="*/ 2462759 h 3959978"/>
                  <a:gd name="connsiteX718" fmla="*/ 2325150 w 7724301"/>
                  <a:gd name="connsiteY718" fmla="*/ 2463053 h 3959978"/>
                  <a:gd name="connsiteX719" fmla="*/ 2351087 w 7724301"/>
                  <a:gd name="connsiteY719" fmla="*/ 2474525 h 3959978"/>
                  <a:gd name="connsiteX720" fmla="*/ 2351087 w 7724301"/>
                  <a:gd name="connsiteY720" fmla="*/ 2488644 h 3959978"/>
                  <a:gd name="connsiteX721" fmla="*/ 2364387 w 7724301"/>
                  <a:gd name="connsiteY721" fmla="*/ 2488644 h 3959978"/>
                  <a:gd name="connsiteX722" fmla="*/ 2390974 w 7724301"/>
                  <a:gd name="connsiteY722" fmla="*/ 2511492 h 3959978"/>
                  <a:gd name="connsiteX723" fmla="*/ 2394133 w 7724301"/>
                  <a:gd name="connsiteY723" fmla="*/ 2508512 h 3959978"/>
                  <a:gd name="connsiteX724" fmla="*/ 2448563 w 7724301"/>
                  <a:gd name="connsiteY724" fmla="*/ 2508512 h 3959978"/>
                  <a:gd name="connsiteX725" fmla="*/ 2502204 w 7724301"/>
                  <a:gd name="connsiteY725" fmla="*/ 2546377 h 3959978"/>
                  <a:gd name="connsiteX726" fmla="*/ 2475773 w 7724301"/>
                  <a:gd name="connsiteY726" fmla="*/ 2572409 h 3959978"/>
                  <a:gd name="connsiteX727" fmla="*/ 2461780 w 7724301"/>
                  <a:gd name="connsiteY727" fmla="*/ 2584242 h 3959978"/>
                  <a:gd name="connsiteX728" fmla="*/ 2448563 w 7724301"/>
                  <a:gd name="connsiteY728" fmla="*/ 2572409 h 3959978"/>
                  <a:gd name="connsiteX729" fmla="*/ 2420955 w 7724301"/>
                  <a:gd name="connsiteY729" fmla="*/ 2572409 h 3959978"/>
                  <a:gd name="connsiteX730" fmla="*/ 2407544 w 7724301"/>
                  <a:gd name="connsiteY730" fmla="*/ 2584242 h 3959978"/>
                  <a:gd name="connsiteX731" fmla="*/ 2394133 w 7724301"/>
                  <a:gd name="connsiteY731" fmla="*/ 2584242 h 3959978"/>
                  <a:gd name="connsiteX732" fmla="*/ 2367069 w 7724301"/>
                  <a:gd name="connsiteY732" fmla="*/ 2535524 h 3959978"/>
                  <a:gd name="connsiteX733" fmla="*/ 2364387 w 7724301"/>
                  <a:gd name="connsiteY733" fmla="*/ 2538060 h 3959978"/>
                  <a:gd name="connsiteX734" fmla="*/ 2391768 w 7724301"/>
                  <a:gd name="connsiteY734" fmla="*/ 2587476 h 3959978"/>
                  <a:gd name="connsiteX735" fmla="*/ 2391649 w 7724301"/>
                  <a:gd name="connsiteY735" fmla="*/ 2587517 h 3959978"/>
                  <a:gd name="connsiteX736" fmla="*/ 2404823 w 7724301"/>
                  <a:gd name="connsiteY736" fmla="*/ 2587517 h 3959978"/>
                  <a:gd name="connsiteX737" fmla="*/ 2419011 w 7724301"/>
                  <a:gd name="connsiteY737" fmla="*/ 2575662 h 3959978"/>
                  <a:gd name="connsiteX738" fmla="*/ 2445805 w 7724301"/>
                  <a:gd name="connsiteY738" fmla="*/ 2575662 h 3959978"/>
                  <a:gd name="connsiteX739" fmla="*/ 2459203 w 7724301"/>
                  <a:gd name="connsiteY739" fmla="*/ 2587517 h 3959978"/>
                  <a:gd name="connsiteX740" fmla="*/ 2473388 w 7724301"/>
                  <a:gd name="connsiteY740" fmla="*/ 2575662 h 3959978"/>
                  <a:gd name="connsiteX741" fmla="*/ 2501760 w 7724301"/>
                  <a:gd name="connsiteY741" fmla="*/ 2549579 h 3959978"/>
                  <a:gd name="connsiteX742" fmla="*/ 2515158 w 7724301"/>
                  <a:gd name="connsiteY742" fmla="*/ 2549579 h 3959978"/>
                  <a:gd name="connsiteX743" fmla="*/ 2529342 w 7724301"/>
                  <a:gd name="connsiteY743" fmla="*/ 2587517 h 3959978"/>
                  <a:gd name="connsiteX744" fmla="*/ 2542740 w 7724301"/>
                  <a:gd name="connsiteY744" fmla="*/ 2587517 h 3959978"/>
                  <a:gd name="connsiteX745" fmla="*/ 2542740 w 7724301"/>
                  <a:gd name="connsiteY745" fmla="*/ 2601745 h 3959978"/>
                  <a:gd name="connsiteX746" fmla="*/ 2515158 w 7724301"/>
                  <a:gd name="connsiteY746" fmla="*/ 2625456 h 3959978"/>
                  <a:gd name="connsiteX747" fmla="*/ 2501760 w 7724301"/>
                  <a:gd name="connsiteY747" fmla="*/ 2651539 h 3959978"/>
                  <a:gd name="connsiteX748" fmla="*/ 2515158 w 7724301"/>
                  <a:gd name="connsiteY748" fmla="*/ 2639683 h 3959978"/>
                  <a:gd name="connsiteX749" fmla="*/ 2529342 w 7724301"/>
                  <a:gd name="connsiteY749" fmla="*/ 2651539 h 3959978"/>
                  <a:gd name="connsiteX750" fmla="*/ 2529342 w 7724301"/>
                  <a:gd name="connsiteY750" fmla="*/ 2625456 h 3959978"/>
                  <a:gd name="connsiteX751" fmla="*/ 2556137 w 7724301"/>
                  <a:gd name="connsiteY751" fmla="*/ 2625456 h 3959978"/>
                  <a:gd name="connsiteX752" fmla="*/ 2570324 w 7724301"/>
                  <a:gd name="connsiteY752" fmla="*/ 2625456 h 3959978"/>
                  <a:gd name="connsiteX753" fmla="*/ 2570324 w 7724301"/>
                  <a:gd name="connsiteY753" fmla="*/ 2651539 h 3959978"/>
                  <a:gd name="connsiteX754" fmla="*/ 2583721 w 7724301"/>
                  <a:gd name="connsiteY754" fmla="*/ 2639683 h 3959978"/>
                  <a:gd name="connsiteX755" fmla="*/ 2638100 w 7724301"/>
                  <a:gd name="connsiteY755" fmla="*/ 2651539 h 3959978"/>
                  <a:gd name="connsiteX756" fmla="*/ 2651496 w 7724301"/>
                  <a:gd name="connsiteY756" fmla="*/ 2651539 h 3959978"/>
                  <a:gd name="connsiteX757" fmla="*/ 2651496 w 7724301"/>
                  <a:gd name="connsiteY757" fmla="*/ 2663395 h 3959978"/>
                  <a:gd name="connsiteX758" fmla="*/ 2651496 w 7724301"/>
                  <a:gd name="connsiteY758" fmla="*/ 2676831 h 3959978"/>
                  <a:gd name="connsiteX759" fmla="*/ 2679080 w 7724301"/>
                  <a:gd name="connsiteY759" fmla="*/ 2676831 h 3959978"/>
                  <a:gd name="connsiteX760" fmla="*/ 2720061 w 7724301"/>
                  <a:gd name="connsiteY760" fmla="*/ 2689478 h 3959978"/>
                  <a:gd name="connsiteX761" fmla="*/ 2746856 w 7724301"/>
                  <a:gd name="connsiteY761" fmla="*/ 2676831 h 3959978"/>
                  <a:gd name="connsiteX762" fmla="*/ 2815420 w 7724301"/>
                  <a:gd name="connsiteY762" fmla="*/ 2727415 h 3959978"/>
                  <a:gd name="connsiteX763" fmla="*/ 2855613 w 7724301"/>
                  <a:gd name="connsiteY763" fmla="*/ 2727415 h 3959978"/>
                  <a:gd name="connsiteX764" fmla="*/ 2869798 w 7724301"/>
                  <a:gd name="connsiteY764" fmla="*/ 2777210 h 3959978"/>
                  <a:gd name="connsiteX765" fmla="*/ 2842215 w 7724301"/>
                  <a:gd name="connsiteY765" fmla="*/ 2815148 h 3959978"/>
                  <a:gd name="connsiteX766" fmla="*/ 2774440 w 7724301"/>
                  <a:gd name="connsiteY766" fmla="*/ 2891025 h 3959978"/>
                  <a:gd name="connsiteX767" fmla="*/ 2774440 w 7724301"/>
                  <a:gd name="connsiteY767" fmla="*/ 2980339 h 3959978"/>
                  <a:gd name="connsiteX768" fmla="*/ 2760253 w 7724301"/>
                  <a:gd name="connsiteY768" fmla="*/ 2992985 h 3959978"/>
                  <a:gd name="connsiteX769" fmla="*/ 2760253 w 7724301"/>
                  <a:gd name="connsiteY769" fmla="*/ 3018278 h 3959978"/>
                  <a:gd name="connsiteX770" fmla="*/ 2733458 w 7724301"/>
                  <a:gd name="connsiteY770" fmla="*/ 3056215 h 3959978"/>
                  <a:gd name="connsiteX771" fmla="*/ 2733458 w 7724301"/>
                  <a:gd name="connsiteY771" fmla="*/ 3068862 h 3959978"/>
                  <a:gd name="connsiteX772" fmla="*/ 2705875 w 7724301"/>
                  <a:gd name="connsiteY772" fmla="*/ 3080718 h 3959978"/>
                  <a:gd name="connsiteX773" fmla="*/ 2705875 w 7724301"/>
                  <a:gd name="connsiteY773" fmla="*/ 3094154 h 3959978"/>
                  <a:gd name="connsiteX774" fmla="*/ 2651496 w 7724301"/>
                  <a:gd name="connsiteY774" fmla="*/ 3094154 h 3959978"/>
                  <a:gd name="connsiteX775" fmla="*/ 2610516 w 7724301"/>
                  <a:gd name="connsiteY775" fmla="*/ 3118656 h 3959978"/>
                  <a:gd name="connsiteX776" fmla="*/ 2583721 w 7724301"/>
                  <a:gd name="connsiteY776" fmla="*/ 3132093 h 3959978"/>
                  <a:gd name="connsiteX777" fmla="*/ 2570324 w 7724301"/>
                  <a:gd name="connsiteY777" fmla="*/ 3156595 h 3959978"/>
                  <a:gd name="connsiteX778" fmla="*/ 2570324 w 7724301"/>
                  <a:gd name="connsiteY778" fmla="*/ 3207970 h 3959978"/>
                  <a:gd name="connsiteX779" fmla="*/ 2542740 w 7724301"/>
                  <a:gd name="connsiteY779" fmla="*/ 3232471 h 3959978"/>
                  <a:gd name="connsiteX780" fmla="*/ 2515158 w 7724301"/>
                  <a:gd name="connsiteY780" fmla="*/ 3283846 h 3959978"/>
                  <a:gd name="connsiteX781" fmla="*/ 2486786 w 7724301"/>
                  <a:gd name="connsiteY781" fmla="*/ 3308348 h 3959978"/>
                  <a:gd name="connsiteX782" fmla="*/ 2462643 w 7724301"/>
                  <a:gd name="connsiteY782" fmla="*/ 3330487 h 3959978"/>
                  <a:gd name="connsiteX783" fmla="*/ 2461188 w 7724301"/>
                  <a:gd name="connsiteY783" fmla="*/ 3333053 h 3959978"/>
                  <a:gd name="connsiteX784" fmla="*/ 2447776 w 7724301"/>
                  <a:gd name="connsiteY784" fmla="*/ 3358883 h 3959978"/>
                  <a:gd name="connsiteX785" fmla="*/ 2406757 w 7724301"/>
                  <a:gd name="connsiteY785" fmla="*/ 3358883 h 3959978"/>
                  <a:gd name="connsiteX786" fmla="*/ 2364159 w 7724301"/>
                  <a:gd name="connsiteY786" fmla="*/ 3345577 h 3959978"/>
                  <a:gd name="connsiteX787" fmla="*/ 2352123 w 7724301"/>
                  <a:gd name="connsiteY787" fmla="*/ 3345577 h 3959978"/>
                  <a:gd name="connsiteX788" fmla="*/ 2352123 w 7724301"/>
                  <a:gd name="connsiteY788" fmla="*/ 3358884 h 3959978"/>
                  <a:gd name="connsiteX789" fmla="*/ 2379786 w 7724301"/>
                  <a:gd name="connsiteY789" fmla="*/ 3370716 h 3959978"/>
                  <a:gd name="connsiteX790" fmla="*/ 2379786 w 7724301"/>
                  <a:gd name="connsiteY790" fmla="*/ 3383337 h 3959978"/>
                  <a:gd name="connsiteX791" fmla="*/ 2393221 w 7724301"/>
                  <a:gd name="connsiteY791" fmla="*/ 3396748 h 3959978"/>
                  <a:gd name="connsiteX792" fmla="*/ 2393221 w 7724301"/>
                  <a:gd name="connsiteY792" fmla="*/ 3408580 h 3959978"/>
                  <a:gd name="connsiteX793" fmla="*/ 2379786 w 7724301"/>
                  <a:gd name="connsiteY793" fmla="*/ 3446444 h 3959978"/>
                  <a:gd name="connsiteX794" fmla="*/ 2311028 w 7724301"/>
                  <a:gd name="connsiteY794" fmla="*/ 3459067 h 3959978"/>
                  <a:gd name="connsiteX795" fmla="*/ 2284156 w 7724301"/>
                  <a:gd name="connsiteY795" fmla="*/ 3459067 h 3959978"/>
                  <a:gd name="connsiteX796" fmla="*/ 2269930 w 7724301"/>
                  <a:gd name="connsiteY796" fmla="*/ 3459067 h 3959978"/>
                  <a:gd name="connsiteX797" fmla="*/ 2284156 w 7724301"/>
                  <a:gd name="connsiteY797" fmla="*/ 3472476 h 3959978"/>
                  <a:gd name="connsiteX798" fmla="*/ 2269930 w 7724301"/>
                  <a:gd name="connsiteY798" fmla="*/ 3510341 h 3959978"/>
                  <a:gd name="connsiteX799" fmla="*/ 2243060 w 7724301"/>
                  <a:gd name="connsiteY799" fmla="*/ 3522173 h 3959978"/>
                  <a:gd name="connsiteX800" fmla="*/ 2215400 w 7724301"/>
                  <a:gd name="connsiteY800" fmla="*/ 3510341 h 3959978"/>
                  <a:gd name="connsiteX801" fmla="*/ 2215400 w 7724301"/>
                  <a:gd name="connsiteY801" fmla="*/ 3548205 h 3959978"/>
                  <a:gd name="connsiteX802" fmla="*/ 2229624 w 7724301"/>
                  <a:gd name="connsiteY802" fmla="*/ 3548205 h 3959978"/>
                  <a:gd name="connsiteX803" fmla="*/ 2243060 w 7724301"/>
                  <a:gd name="connsiteY803" fmla="*/ 3548205 h 3959978"/>
                  <a:gd name="connsiteX804" fmla="*/ 2243060 w 7724301"/>
                  <a:gd name="connsiteY804" fmla="*/ 3560038 h 3959978"/>
                  <a:gd name="connsiteX805" fmla="*/ 2229624 w 7724301"/>
                  <a:gd name="connsiteY805" fmla="*/ 3560038 h 3959978"/>
                  <a:gd name="connsiteX806" fmla="*/ 2215400 w 7724301"/>
                  <a:gd name="connsiteY806" fmla="*/ 3560038 h 3959978"/>
                  <a:gd name="connsiteX807" fmla="*/ 2229624 w 7724301"/>
                  <a:gd name="connsiteY807" fmla="*/ 3572659 h 3959978"/>
                  <a:gd name="connsiteX808" fmla="*/ 2215400 w 7724301"/>
                  <a:gd name="connsiteY808" fmla="*/ 3586069 h 3959978"/>
                  <a:gd name="connsiteX809" fmla="*/ 2215400 w 7724301"/>
                  <a:gd name="connsiteY809" fmla="*/ 3610523 h 3959978"/>
                  <a:gd name="connsiteX810" fmla="*/ 2201966 w 7724301"/>
                  <a:gd name="connsiteY810" fmla="*/ 3610523 h 3959978"/>
                  <a:gd name="connsiteX811" fmla="*/ 2201966 w 7724301"/>
                  <a:gd name="connsiteY811" fmla="*/ 3623934 h 3959978"/>
                  <a:gd name="connsiteX812" fmla="*/ 2174303 w 7724301"/>
                  <a:gd name="connsiteY812" fmla="*/ 3635767 h 3959978"/>
                  <a:gd name="connsiteX813" fmla="*/ 2159287 w 7724301"/>
                  <a:gd name="connsiteY813" fmla="*/ 3647599 h 3959978"/>
                  <a:gd name="connsiteX814" fmla="*/ 2159287 w 7724301"/>
                  <a:gd name="connsiteY814" fmla="*/ 3661799 h 3959978"/>
                  <a:gd name="connsiteX815" fmla="*/ 2188530 w 7724301"/>
                  <a:gd name="connsiteY815" fmla="*/ 3685463 h 3959978"/>
                  <a:gd name="connsiteX816" fmla="*/ 2201966 w 7724301"/>
                  <a:gd name="connsiteY816" fmla="*/ 3685463 h 3959978"/>
                  <a:gd name="connsiteX817" fmla="*/ 2201966 w 7724301"/>
                  <a:gd name="connsiteY817" fmla="*/ 3711495 h 3959978"/>
                  <a:gd name="connsiteX818" fmla="*/ 2159287 w 7724301"/>
                  <a:gd name="connsiteY818" fmla="*/ 3737527 h 3959978"/>
                  <a:gd name="connsiteX819" fmla="*/ 2145853 w 7724301"/>
                  <a:gd name="connsiteY819" fmla="*/ 3775391 h 3959978"/>
                  <a:gd name="connsiteX820" fmla="*/ 2132417 w 7724301"/>
                  <a:gd name="connsiteY820" fmla="*/ 3787224 h 3959978"/>
                  <a:gd name="connsiteX821" fmla="*/ 2118192 w 7724301"/>
                  <a:gd name="connsiteY821" fmla="*/ 3799056 h 3959978"/>
                  <a:gd name="connsiteX822" fmla="*/ 2128336 w 7724301"/>
                  <a:gd name="connsiteY822" fmla="*/ 3836187 h 3959978"/>
                  <a:gd name="connsiteX823" fmla="*/ 2133028 w 7724301"/>
                  <a:gd name="connsiteY823" fmla="*/ 3836187 h 3959978"/>
                  <a:gd name="connsiteX824" fmla="*/ 2133028 w 7724301"/>
                  <a:gd name="connsiteY824" fmla="*/ 3847024 h 3959978"/>
                  <a:gd name="connsiteX825" fmla="*/ 2134604 w 7724301"/>
                  <a:gd name="connsiteY825" fmla="*/ 3846384 h 3959978"/>
                  <a:gd name="connsiteX826" fmla="*/ 2148144 w 7724301"/>
                  <a:gd name="connsiteY826" fmla="*/ 3884250 h 3959978"/>
                  <a:gd name="connsiteX827" fmla="*/ 2189564 w 7724301"/>
                  <a:gd name="connsiteY827" fmla="*/ 3907914 h 3959978"/>
                  <a:gd name="connsiteX828" fmla="*/ 2216644 w 7724301"/>
                  <a:gd name="connsiteY828" fmla="*/ 3922114 h 3959978"/>
                  <a:gd name="connsiteX829" fmla="*/ 2203106 w 7724301"/>
                  <a:gd name="connsiteY829" fmla="*/ 3933946 h 3959978"/>
                  <a:gd name="connsiteX830" fmla="*/ 2161686 w 7724301"/>
                  <a:gd name="connsiteY830" fmla="*/ 3945779 h 3959978"/>
                  <a:gd name="connsiteX831" fmla="*/ 2148144 w 7724301"/>
                  <a:gd name="connsiteY831" fmla="*/ 3959978 h 3959978"/>
                  <a:gd name="connsiteX832" fmla="*/ 2134604 w 7724301"/>
                  <a:gd name="connsiteY832" fmla="*/ 3922114 h 3959978"/>
                  <a:gd name="connsiteX833" fmla="*/ 2120405 w 7724301"/>
                  <a:gd name="connsiteY833" fmla="*/ 3945779 h 3959978"/>
                  <a:gd name="connsiteX834" fmla="*/ 2105418 w 7724301"/>
                  <a:gd name="connsiteY834" fmla="*/ 3933946 h 3959978"/>
                  <a:gd name="connsiteX835" fmla="*/ 2092009 w 7724301"/>
                  <a:gd name="connsiteY835" fmla="*/ 3933946 h 3959978"/>
                  <a:gd name="connsiteX836" fmla="*/ 2064395 w 7724301"/>
                  <a:gd name="connsiteY836" fmla="*/ 3922114 h 3959978"/>
                  <a:gd name="connsiteX837" fmla="*/ 2064395 w 7724301"/>
                  <a:gd name="connsiteY837" fmla="*/ 3907914 h 3959978"/>
                  <a:gd name="connsiteX838" fmla="*/ 2050985 w 7724301"/>
                  <a:gd name="connsiteY838" fmla="*/ 3907914 h 3959978"/>
                  <a:gd name="connsiteX839" fmla="*/ 2050985 w 7724301"/>
                  <a:gd name="connsiteY839" fmla="*/ 3896082 h 3959978"/>
                  <a:gd name="connsiteX840" fmla="*/ 2037575 w 7724301"/>
                  <a:gd name="connsiteY840" fmla="*/ 3896082 h 3959978"/>
                  <a:gd name="connsiteX841" fmla="*/ 2024165 w 7724301"/>
                  <a:gd name="connsiteY841" fmla="*/ 3884249 h 3959978"/>
                  <a:gd name="connsiteX842" fmla="*/ 2037575 w 7724301"/>
                  <a:gd name="connsiteY842" fmla="*/ 3870050 h 3959978"/>
                  <a:gd name="connsiteX843" fmla="*/ 2075300 w 7724301"/>
                  <a:gd name="connsiteY843" fmla="*/ 3893990 h 3959978"/>
                  <a:gd name="connsiteX844" fmla="*/ 2064395 w 7724301"/>
                  <a:gd name="connsiteY844" fmla="*/ 3874018 h 3959978"/>
                  <a:gd name="connsiteX845" fmla="*/ 2078599 w 7724301"/>
                  <a:gd name="connsiteY845" fmla="*/ 3874018 h 3959978"/>
                  <a:gd name="connsiteX846" fmla="*/ 2078599 w 7724301"/>
                  <a:gd name="connsiteY846" fmla="*/ 3862196 h 3959978"/>
                  <a:gd name="connsiteX847" fmla="*/ 2050985 w 7724301"/>
                  <a:gd name="connsiteY847" fmla="*/ 3874018 h 3959978"/>
                  <a:gd name="connsiteX848" fmla="*/ 2037575 w 7724301"/>
                  <a:gd name="connsiteY848" fmla="*/ 3862196 h 3959978"/>
                  <a:gd name="connsiteX849" fmla="*/ 2037575 w 7724301"/>
                  <a:gd name="connsiteY849" fmla="*/ 3850373 h 3959978"/>
                  <a:gd name="connsiteX850" fmla="*/ 2024166 w 7724301"/>
                  <a:gd name="connsiteY850" fmla="*/ 3850373 h 3959978"/>
                  <a:gd name="connsiteX851" fmla="*/ 2009966 w 7724301"/>
                  <a:gd name="connsiteY851" fmla="*/ 3836187 h 3959978"/>
                  <a:gd name="connsiteX852" fmla="*/ 2009966 w 7724301"/>
                  <a:gd name="connsiteY852" fmla="*/ 3850373 h 3959978"/>
                  <a:gd name="connsiteX853" fmla="*/ 1996555 w 7724301"/>
                  <a:gd name="connsiteY853" fmla="*/ 3836187 h 3959978"/>
                  <a:gd name="connsiteX854" fmla="*/ 1996555 w 7724301"/>
                  <a:gd name="connsiteY854" fmla="*/ 3824364 h 3959978"/>
                  <a:gd name="connsiteX855" fmla="*/ 2009966 w 7724301"/>
                  <a:gd name="connsiteY855" fmla="*/ 3824364 h 3959978"/>
                  <a:gd name="connsiteX856" fmla="*/ 2009966 w 7724301"/>
                  <a:gd name="connsiteY856" fmla="*/ 3812541 h 3959978"/>
                  <a:gd name="connsiteX857" fmla="*/ 1996555 w 7724301"/>
                  <a:gd name="connsiteY857" fmla="*/ 3824364 h 3959978"/>
                  <a:gd name="connsiteX858" fmla="*/ 1996555 w 7724301"/>
                  <a:gd name="connsiteY858" fmla="*/ 3798354 h 3959978"/>
                  <a:gd name="connsiteX859" fmla="*/ 2001024 w 7724301"/>
                  <a:gd name="connsiteY859" fmla="*/ 3790473 h 3959978"/>
                  <a:gd name="connsiteX860" fmla="*/ 2009966 w 7724301"/>
                  <a:gd name="connsiteY860" fmla="*/ 3798354 h 3959978"/>
                  <a:gd name="connsiteX861" fmla="*/ 2009966 w 7724301"/>
                  <a:gd name="connsiteY861" fmla="*/ 3774710 h 3959978"/>
                  <a:gd name="connsiteX862" fmla="*/ 2001024 w 7724301"/>
                  <a:gd name="connsiteY862" fmla="*/ 3790473 h 3959978"/>
                  <a:gd name="connsiteX863" fmla="*/ 1996555 w 7724301"/>
                  <a:gd name="connsiteY863" fmla="*/ 3786532 h 3959978"/>
                  <a:gd name="connsiteX864" fmla="*/ 1996555 w 7724301"/>
                  <a:gd name="connsiteY864" fmla="*/ 3774710 h 3959978"/>
                  <a:gd name="connsiteX865" fmla="*/ 1983145 w 7724301"/>
                  <a:gd name="connsiteY865" fmla="*/ 3760523 h 3959978"/>
                  <a:gd name="connsiteX866" fmla="*/ 1983145 w 7724301"/>
                  <a:gd name="connsiteY866" fmla="*/ 3748700 h 3959978"/>
                  <a:gd name="connsiteX867" fmla="*/ 1996555 w 7724301"/>
                  <a:gd name="connsiteY867" fmla="*/ 3710868 h 3959978"/>
                  <a:gd name="connsiteX868" fmla="*/ 1996555 w 7724301"/>
                  <a:gd name="connsiteY868" fmla="*/ 3699046 h 3959978"/>
                  <a:gd name="connsiteX869" fmla="*/ 2009966 w 7724301"/>
                  <a:gd name="connsiteY869" fmla="*/ 3722691 h 3959978"/>
                  <a:gd name="connsiteX870" fmla="*/ 2024166 w 7724301"/>
                  <a:gd name="connsiteY870" fmla="*/ 3673037 h 3959978"/>
                  <a:gd name="connsiteX871" fmla="*/ 1996555 w 7724301"/>
                  <a:gd name="connsiteY871" fmla="*/ 3673037 h 3959978"/>
                  <a:gd name="connsiteX872" fmla="*/ 1983145 w 7724301"/>
                  <a:gd name="connsiteY872" fmla="*/ 3673037 h 3959978"/>
                  <a:gd name="connsiteX873" fmla="*/ 2009966 w 7724301"/>
                  <a:gd name="connsiteY873" fmla="*/ 3661214 h 3959978"/>
                  <a:gd name="connsiteX874" fmla="*/ 1996555 w 7724301"/>
                  <a:gd name="connsiteY874" fmla="*/ 3647027 h 3959978"/>
                  <a:gd name="connsiteX875" fmla="*/ 2009966 w 7724301"/>
                  <a:gd name="connsiteY875" fmla="*/ 3647027 h 3959978"/>
                  <a:gd name="connsiteX876" fmla="*/ 2009966 w 7724301"/>
                  <a:gd name="connsiteY876" fmla="*/ 3609984 h 3959978"/>
                  <a:gd name="connsiteX877" fmla="*/ 2024166 w 7724301"/>
                  <a:gd name="connsiteY877" fmla="*/ 3597372 h 3959978"/>
                  <a:gd name="connsiteX878" fmla="*/ 2035762 w 7724301"/>
                  <a:gd name="connsiteY878" fmla="*/ 3597372 h 3959978"/>
                  <a:gd name="connsiteX879" fmla="*/ 2033107 w 7724301"/>
                  <a:gd name="connsiteY879" fmla="*/ 3606042 h 3959978"/>
                  <a:gd name="connsiteX880" fmla="*/ 2024166 w 7724301"/>
                  <a:gd name="connsiteY880" fmla="*/ 3623382 h 3959978"/>
                  <a:gd name="connsiteX881" fmla="*/ 2024166 w 7724301"/>
                  <a:gd name="connsiteY881" fmla="*/ 3635204 h 3959978"/>
                  <a:gd name="connsiteX882" fmla="*/ 2033107 w 7724301"/>
                  <a:gd name="connsiteY882" fmla="*/ 3606042 h 3959978"/>
                  <a:gd name="connsiteX883" fmla="*/ 2037575 w 7724301"/>
                  <a:gd name="connsiteY883" fmla="*/ 3597372 h 3959978"/>
                  <a:gd name="connsiteX884" fmla="*/ 2035762 w 7724301"/>
                  <a:gd name="connsiteY884" fmla="*/ 3597372 h 3959978"/>
                  <a:gd name="connsiteX885" fmla="*/ 2050985 w 7724301"/>
                  <a:gd name="connsiteY885" fmla="*/ 3547718 h 3959978"/>
                  <a:gd name="connsiteX886" fmla="*/ 2050985 w 7724301"/>
                  <a:gd name="connsiteY886" fmla="*/ 3534319 h 3959978"/>
                  <a:gd name="connsiteX887" fmla="*/ 2037575 w 7724301"/>
                  <a:gd name="connsiteY887" fmla="*/ 3534319 h 3959978"/>
                  <a:gd name="connsiteX888" fmla="*/ 2024166 w 7724301"/>
                  <a:gd name="connsiteY888" fmla="*/ 3521708 h 3959978"/>
                  <a:gd name="connsiteX889" fmla="*/ 2024166 w 7724301"/>
                  <a:gd name="connsiteY889" fmla="*/ 3483877 h 3959978"/>
                  <a:gd name="connsiteX890" fmla="*/ 2037575 w 7724301"/>
                  <a:gd name="connsiteY890" fmla="*/ 3472054 h 3959978"/>
                  <a:gd name="connsiteX891" fmla="*/ 2024166 w 7724301"/>
                  <a:gd name="connsiteY891" fmla="*/ 3434222 h 3959978"/>
                  <a:gd name="connsiteX892" fmla="*/ 2037575 w 7724301"/>
                  <a:gd name="connsiteY892" fmla="*/ 3420824 h 3959978"/>
                  <a:gd name="connsiteX893" fmla="*/ 2078599 w 7724301"/>
                  <a:gd name="connsiteY893" fmla="*/ 3307328 h 3959978"/>
                  <a:gd name="connsiteX894" fmla="*/ 2064395 w 7724301"/>
                  <a:gd name="connsiteY894" fmla="*/ 3269496 h 3959978"/>
                  <a:gd name="connsiteX895" fmla="*/ 2078599 w 7724301"/>
                  <a:gd name="connsiteY895" fmla="*/ 3245062 h 3959978"/>
                  <a:gd name="connsiteX896" fmla="*/ 2078599 w 7724301"/>
                  <a:gd name="connsiteY896" fmla="*/ 3219054 h 3959978"/>
                  <a:gd name="connsiteX897" fmla="*/ 2092009 w 7724301"/>
                  <a:gd name="connsiteY897" fmla="*/ 3169399 h 3959978"/>
                  <a:gd name="connsiteX898" fmla="*/ 2092009 w 7724301"/>
                  <a:gd name="connsiteY898" fmla="*/ 3093735 h 3959978"/>
                  <a:gd name="connsiteX899" fmla="*/ 2105418 w 7724301"/>
                  <a:gd name="connsiteY899" fmla="*/ 3055903 h 3959978"/>
                  <a:gd name="connsiteX900" fmla="*/ 2092011 w 7724301"/>
                  <a:gd name="connsiteY900" fmla="*/ 2992858 h 3959978"/>
                  <a:gd name="connsiteX901" fmla="*/ 2092009 w 7724301"/>
                  <a:gd name="connsiteY901" fmla="*/ 2992859 h 3959978"/>
                  <a:gd name="connsiteX902" fmla="*/ 1983144 w 7724301"/>
                  <a:gd name="connsiteY902" fmla="*/ 2917293 h 3959978"/>
                  <a:gd name="connsiteX903" fmla="*/ 1914516 w 7724301"/>
                  <a:gd name="connsiteY903" fmla="*/ 2791351 h 3959978"/>
                  <a:gd name="connsiteX904" fmla="*/ 1887696 w 7724301"/>
                  <a:gd name="connsiteY904" fmla="*/ 2766163 h 3959978"/>
                  <a:gd name="connsiteX905" fmla="*/ 1858510 w 7724301"/>
                  <a:gd name="connsiteY905" fmla="*/ 2740187 h 3959978"/>
                  <a:gd name="connsiteX906" fmla="*/ 1873498 w 7724301"/>
                  <a:gd name="connsiteY906" fmla="*/ 2740187 h 3959978"/>
                  <a:gd name="connsiteX907" fmla="*/ 1858510 w 7724301"/>
                  <a:gd name="connsiteY907" fmla="*/ 2715785 h 3959978"/>
                  <a:gd name="connsiteX908" fmla="*/ 1887696 w 7724301"/>
                  <a:gd name="connsiteY908" fmla="*/ 2690597 h 3959978"/>
                  <a:gd name="connsiteX909" fmla="*/ 1873498 w 7724301"/>
                  <a:gd name="connsiteY909" fmla="*/ 2715785 h 3959978"/>
                  <a:gd name="connsiteX910" fmla="*/ 1901107 w 7724301"/>
                  <a:gd name="connsiteY910" fmla="*/ 2728379 h 3959978"/>
                  <a:gd name="connsiteX911" fmla="*/ 1942125 w 7724301"/>
                  <a:gd name="connsiteY911" fmla="*/ 2690597 h 3959978"/>
                  <a:gd name="connsiteX912" fmla="*/ 1968946 w 7724301"/>
                  <a:gd name="connsiteY912" fmla="*/ 2678002 h 3959978"/>
                  <a:gd name="connsiteX913" fmla="*/ 1983144 w 7724301"/>
                  <a:gd name="connsiteY913" fmla="*/ 2664621 h 3959978"/>
                  <a:gd name="connsiteX914" fmla="*/ 1996555 w 7724301"/>
                  <a:gd name="connsiteY914" fmla="*/ 2641007 h 3959978"/>
                  <a:gd name="connsiteX915" fmla="*/ 1995600 w 7724301"/>
                  <a:gd name="connsiteY915" fmla="*/ 2639997 h 3959978"/>
                  <a:gd name="connsiteX916" fmla="*/ 1982528 w 7724301"/>
                  <a:gd name="connsiteY916" fmla="*/ 2663513 h 3959978"/>
                  <a:gd name="connsiteX917" fmla="*/ 1968509 w 7724301"/>
                  <a:gd name="connsiteY917" fmla="*/ 2677006 h 3959978"/>
                  <a:gd name="connsiteX918" fmla="*/ 1942034 w 7724301"/>
                  <a:gd name="connsiteY918" fmla="*/ 2689707 h 3959978"/>
                  <a:gd name="connsiteX919" fmla="*/ 1901541 w 7724301"/>
                  <a:gd name="connsiteY919" fmla="*/ 2727810 h 3959978"/>
                  <a:gd name="connsiteX920" fmla="*/ 1874285 w 7724301"/>
                  <a:gd name="connsiteY920" fmla="*/ 2715109 h 3959978"/>
                  <a:gd name="connsiteX921" fmla="*/ 1888302 w 7724301"/>
                  <a:gd name="connsiteY921" fmla="*/ 2689707 h 3959978"/>
                  <a:gd name="connsiteX922" fmla="*/ 1901541 w 7724301"/>
                  <a:gd name="connsiteY922" fmla="*/ 2677006 h 3959978"/>
                  <a:gd name="connsiteX923" fmla="*/ 1888302 w 7724301"/>
                  <a:gd name="connsiteY923" fmla="*/ 2677006 h 3959978"/>
                  <a:gd name="connsiteX924" fmla="*/ 1888302 w 7724301"/>
                  <a:gd name="connsiteY924" fmla="*/ 2689707 h 3959978"/>
                  <a:gd name="connsiteX925" fmla="*/ 1874285 w 7724301"/>
                  <a:gd name="connsiteY925" fmla="*/ 2663513 h 3959978"/>
                  <a:gd name="connsiteX926" fmla="*/ 1874285 w 7724301"/>
                  <a:gd name="connsiteY926" fmla="*/ 2639698 h 3959978"/>
                  <a:gd name="connsiteX927" fmla="*/ 1888302 w 7724301"/>
                  <a:gd name="connsiteY927" fmla="*/ 2625409 h 3959978"/>
                  <a:gd name="connsiteX928" fmla="*/ 1888302 w 7724301"/>
                  <a:gd name="connsiteY928" fmla="*/ 2613503 h 3959978"/>
                  <a:gd name="connsiteX929" fmla="*/ 1914778 w 7724301"/>
                  <a:gd name="connsiteY929" fmla="*/ 2601596 h 3959978"/>
                  <a:gd name="connsiteX930" fmla="*/ 1915305 w 7724301"/>
                  <a:gd name="connsiteY930" fmla="*/ 2601906 h 3959978"/>
                  <a:gd name="connsiteX931" fmla="*/ 1915305 w 7724301"/>
                  <a:gd name="connsiteY931" fmla="*/ 2588426 h 3959978"/>
                  <a:gd name="connsiteX932" fmla="*/ 1929459 w 7724301"/>
                  <a:gd name="connsiteY932" fmla="*/ 2588426 h 3959978"/>
                  <a:gd name="connsiteX933" fmla="*/ 1929459 w 7724301"/>
                  <a:gd name="connsiteY933" fmla="*/ 2576537 h 3959978"/>
                  <a:gd name="connsiteX934" fmla="*/ 1942825 w 7724301"/>
                  <a:gd name="connsiteY934" fmla="*/ 2576537 h 3959978"/>
                  <a:gd name="connsiteX935" fmla="*/ 1956194 w 7724301"/>
                  <a:gd name="connsiteY935" fmla="*/ 2550379 h 3959978"/>
                  <a:gd name="connsiteX936" fmla="*/ 1942825 w 7724301"/>
                  <a:gd name="connsiteY936" fmla="*/ 2550379 h 3959978"/>
                  <a:gd name="connsiteX937" fmla="*/ 1942825 w 7724301"/>
                  <a:gd name="connsiteY937" fmla="*/ 2500442 h 3959978"/>
                  <a:gd name="connsiteX938" fmla="*/ 1942825 w 7724301"/>
                  <a:gd name="connsiteY938" fmla="*/ 2488553 h 3959978"/>
                  <a:gd name="connsiteX939" fmla="*/ 1942825 w 7724301"/>
                  <a:gd name="connsiteY939" fmla="*/ 2477385 h 3959978"/>
                  <a:gd name="connsiteX940" fmla="*/ 1930692 w 7724301"/>
                  <a:gd name="connsiteY940" fmla="*/ 2454872 h 3959978"/>
                  <a:gd name="connsiteX941" fmla="*/ 1902684 w 7724301"/>
                  <a:gd name="connsiteY941" fmla="*/ 2443398 h 3959978"/>
                  <a:gd name="connsiteX942" fmla="*/ 1902684 w 7724301"/>
                  <a:gd name="connsiteY942" fmla="*/ 2442250 h 3959978"/>
                  <a:gd name="connsiteX943" fmla="*/ 1891828 w 7724301"/>
                  <a:gd name="connsiteY943" fmla="*/ 2432601 h 3959978"/>
                  <a:gd name="connsiteX944" fmla="*/ 1901107 w 7724301"/>
                  <a:gd name="connsiteY944" fmla="*/ 2443398 h 3959978"/>
                  <a:gd name="connsiteX945" fmla="*/ 1875074 w 7724301"/>
                  <a:gd name="connsiteY945" fmla="*/ 2454872 h 3959978"/>
                  <a:gd name="connsiteX946" fmla="*/ 1889275 w 7724301"/>
                  <a:gd name="connsiteY946" fmla="*/ 2466346 h 3959978"/>
                  <a:gd name="connsiteX947" fmla="*/ 1875074 w 7724301"/>
                  <a:gd name="connsiteY947" fmla="*/ 2480115 h 3959978"/>
                  <a:gd name="connsiteX948" fmla="*/ 1875074 w 7724301"/>
                  <a:gd name="connsiteY948" fmla="*/ 2466346 h 3959978"/>
                  <a:gd name="connsiteX949" fmla="*/ 1834846 w 7724301"/>
                  <a:gd name="connsiteY949" fmla="*/ 2454872 h 3959978"/>
                  <a:gd name="connsiteX950" fmla="*/ 1807554 w 7724301"/>
                  <a:gd name="connsiteY950" fmla="*/ 2443185 h 3959978"/>
                  <a:gd name="connsiteX951" fmla="*/ 1794296 w 7724301"/>
                  <a:gd name="connsiteY951" fmla="*/ 2417475 h 3959978"/>
                  <a:gd name="connsiteX952" fmla="*/ 1781040 w 7724301"/>
                  <a:gd name="connsiteY952" fmla="*/ 2429162 h 3959978"/>
                  <a:gd name="connsiteX953" fmla="*/ 1767006 w 7724301"/>
                  <a:gd name="connsiteY953" fmla="*/ 2417475 h 3959978"/>
                  <a:gd name="connsiteX954" fmla="*/ 1767006 w 7724301"/>
                  <a:gd name="connsiteY954" fmla="*/ 2391765 h 3959978"/>
                  <a:gd name="connsiteX955" fmla="*/ 1807554 w 7724301"/>
                  <a:gd name="connsiteY955" fmla="*/ 2405789 h 3959978"/>
                  <a:gd name="connsiteX956" fmla="*/ 1820809 w 7724301"/>
                  <a:gd name="connsiteY956" fmla="*/ 2405789 h 3959978"/>
                  <a:gd name="connsiteX957" fmla="*/ 1820809 w 7724301"/>
                  <a:gd name="connsiteY957" fmla="*/ 2417475 h 3959978"/>
                  <a:gd name="connsiteX958" fmla="*/ 1834846 w 7724301"/>
                  <a:gd name="connsiteY958" fmla="*/ 2429162 h 3959978"/>
                  <a:gd name="connsiteX959" fmla="*/ 1834846 w 7724301"/>
                  <a:gd name="connsiteY959" fmla="*/ 2429629 h 3959978"/>
                  <a:gd name="connsiteX960" fmla="*/ 1848257 w 7724301"/>
                  <a:gd name="connsiteY960" fmla="*/ 2443398 h 3959978"/>
                  <a:gd name="connsiteX961" fmla="*/ 1861666 w 7724301"/>
                  <a:gd name="connsiteY961" fmla="*/ 2443398 h 3959978"/>
                  <a:gd name="connsiteX962" fmla="*/ 1888770 w 7724301"/>
                  <a:gd name="connsiteY962" fmla="*/ 2429881 h 3959978"/>
                  <a:gd name="connsiteX963" fmla="*/ 1888484 w 7724301"/>
                  <a:gd name="connsiteY963" fmla="*/ 2429629 h 3959978"/>
                  <a:gd name="connsiteX964" fmla="*/ 1889275 w 7724301"/>
                  <a:gd name="connsiteY964" fmla="*/ 2429629 h 3959978"/>
                  <a:gd name="connsiteX965" fmla="*/ 1902684 w 7724301"/>
                  <a:gd name="connsiteY965" fmla="*/ 2429629 h 3959978"/>
                  <a:gd name="connsiteX966" fmla="*/ 1916287 w 7724301"/>
                  <a:gd name="connsiteY966" fmla="*/ 2429629 h 3959978"/>
                  <a:gd name="connsiteX967" fmla="*/ 1930692 w 7724301"/>
                  <a:gd name="connsiteY967" fmla="*/ 2429629 h 3959978"/>
                  <a:gd name="connsiteX968" fmla="*/ 1944297 w 7724301"/>
                  <a:gd name="connsiteY968" fmla="*/ 2443398 h 3959978"/>
                  <a:gd name="connsiteX969" fmla="*/ 1956194 w 7724301"/>
                  <a:gd name="connsiteY969" fmla="*/ 2453431 h 3959978"/>
                  <a:gd name="connsiteX970" fmla="*/ 1956194 w 7724301"/>
                  <a:gd name="connsiteY970" fmla="*/ 2450506 h 3959978"/>
                  <a:gd name="connsiteX971" fmla="*/ 1983714 w 7724301"/>
                  <a:gd name="connsiteY971" fmla="*/ 2436237 h 3959978"/>
                  <a:gd name="connsiteX972" fmla="*/ 1997079 w 7724301"/>
                  <a:gd name="connsiteY972" fmla="*/ 2412457 h 3959978"/>
                  <a:gd name="connsiteX973" fmla="*/ 2037968 w 7724301"/>
                  <a:gd name="connsiteY973" fmla="*/ 2398190 h 3959978"/>
                  <a:gd name="connsiteX974" fmla="*/ 6302810 w 7724301"/>
                  <a:gd name="connsiteY974" fmla="*/ 2369677 h 3959978"/>
                  <a:gd name="connsiteX975" fmla="*/ 6317010 w 7724301"/>
                  <a:gd name="connsiteY975" fmla="*/ 2369677 h 3959978"/>
                  <a:gd name="connsiteX976" fmla="*/ 6317010 w 7724301"/>
                  <a:gd name="connsiteY976" fmla="*/ 2381698 h 3959978"/>
                  <a:gd name="connsiteX977" fmla="*/ 4525669 w 7724301"/>
                  <a:gd name="connsiteY977" fmla="*/ 2369677 h 3959978"/>
                  <a:gd name="connsiteX978" fmla="*/ 4526342 w 7724301"/>
                  <a:gd name="connsiteY978" fmla="*/ 2370277 h 3959978"/>
                  <a:gd name="connsiteX979" fmla="*/ 4526342 w 7724301"/>
                  <a:gd name="connsiteY979" fmla="*/ 2369677 h 3959978"/>
                  <a:gd name="connsiteX980" fmla="*/ 6206572 w 7724301"/>
                  <a:gd name="connsiteY980" fmla="*/ 2357055 h 3959978"/>
                  <a:gd name="connsiteX981" fmla="*/ 6234971 w 7724301"/>
                  <a:gd name="connsiteY981" fmla="*/ 2357055 h 3959978"/>
                  <a:gd name="connsiteX982" fmla="*/ 6234971 w 7724301"/>
                  <a:gd name="connsiteY982" fmla="*/ 2370824 h 3959978"/>
                  <a:gd name="connsiteX983" fmla="*/ 6234971 w 7724301"/>
                  <a:gd name="connsiteY983" fmla="*/ 2382298 h 3959978"/>
                  <a:gd name="connsiteX984" fmla="*/ 3287181 w 7724301"/>
                  <a:gd name="connsiteY984" fmla="*/ 2346789 h 3959978"/>
                  <a:gd name="connsiteX985" fmla="*/ 3276928 w 7724301"/>
                  <a:gd name="connsiteY985" fmla="*/ 2351669 h 3959978"/>
                  <a:gd name="connsiteX986" fmla="*/ 3287241 w 7724301"/>
                  <a:gd name="connsiteY986" fmla="*/ 2347134 h 3959978"/>
                  <a:gd name="connsiteX987" fmla="*/ 5899217 w 7724301"/>
                  <a:gd name="connsiteY987" fmla="*/ 2338102 h 3959978"/>
                  <a:gd name="connsiteX988" fmla="*/ 5905919 w 7724301"/>
                  <a:gd name="connsiteY988" fmla="*/ 2344947 h 3959978"/>
                  <a:gd name="connsiteX989" fmla="*/ 5905919 w 7724301"/>
                  <a:gd name="connsiteY989" fmla="*/ 2343687 h 3959978"/>
                  <a:gd name="connsiteX990" fmla="*/ 6261002 w 7724301"/>
                  <a:gd name="connsiteY990" fmla="*/ 2333225 h 3959978"/>
                  <a:gd name="connsiteX991" fmla="*/ 6288611 w 7724301"/>
                  <a:gd name="connsiteY991" fmla="*/ 2345140 h 3959978"/>
                  <a:gd name="connsiteX992" fmla="*/ 6274413 w 7724301"/>
                  <a:gd name="connsiteY992" fmla="*/ 2345140 h 3959978"/>
                  <a:gd name="connsiteX993" fmla="*/ 6288611 w 7724301"/>
                  <a:gd name="connsiteY993" fmla="*/ 2357055 h 3959978"/>
                  <a:gd name="connsiteX994" fmla="*/ 6274413 w 7724301"/>
                  <a:gd name="connsiteY994" fmla="*/ 2357055 h 3959978"/>
                  <a:gd name="connsiteX995" fmla="*/ 6261002 w 7724301"/>
                  <a:gd name="connsiteY995" fmla="*/ 2345140 h 3959978"/>
                  <a:gd name="connsiteX996" fmla="*/ 6261002 w 7724301"/>
                  <a:gd name="connsiteY996" fmla="*/ 2357055 h 3959978"/>
                  <a:gd name="connsiteX997" fmla="*/ 6247592 w 7724301"/>
                  <a:gd name="connsiteY997" fmla="*/ 2345140 h 3959978"/>
                  <a:gd name="connsiteX998" fmla="*/ 5932054 w 7724301"/>
                  <a:gd name="connsiteY998" fmla="*/ 2332601 h 3959978"/>
                  <a:gd name="connsiteX999" fmla="*/ 5932054 w 7724301"/>
                  <a:gd name="connsiteY999" fmla="*/ 2369523 h 3959978"/>
                  <a:gd name="connsiteX1000" fmla="*/ 5905919 w 7724301"/>
                  <a:gd name="connsiteY1000" fmla="*/ 2381387 h 3959978"/>
                  <a:gd name="connsiteX1001" fmla="*/ 5897579 w 7724301"/>
                  <a:gd name="connsiteY1001" fmla="*/ 2389355 h 3959978"/>
                  <a:gd name="connsiteX1002" fmla="*/ 5906813 w 7724301"/>
                  <a:gd name="connsiteY1002" fmla="*/ 2381682 h 3959978"/>
                  <a:gd name="connsiteX1003" fmla="*/ 5933633 w 7724301"/>
                  <a:gd name="connsiteY1003" fmla="*/ 2369881 h 3959978"/>
                  <a:gd name="connsiteX1004" fmla="*/ 5933633 w 7724301"/>
                  <a:gd name="connsiteY1004" fmla="*/ 2332601 h 3959978"/>
                  <a:gd name="connsiteX1005" fmla="*/ 1792106 w 7724301"/>
                  <a:gd name="connsiteY1005" fmla="*/ 2329923 h 3959978"/>
                  <a:gd name="connsiteX1006" fmla="*/ 1791760 w 7724301"/>
                  <a:gd name="connsiteY1006" fmla="*/ 2330082 h 3959978"/>
                  <a:gd name="connsiteX1007" fmla="*/ 1791986 w 7724301"/>
                  <a:gd name="connsiteY1007" fmla="*/ 2329985 h 3959978"/>
                  <a:gd name="connsiteX1008" fmla="*/ 4440667 w 7724301"/>
                  <a:gd name="connsiteY1008" fmla="*/ 2326516 h 3959978"/>
                  <a:gd name="connsiteX1009" fmla="*/ 4444104 w 7724301"/>
                  <a:gd name="connsiteY1009" fmla="*/ 2333390 h 3959978"/>
                  <a:gd name="connsiteX1010" fmla="*/ 4484948 w 7724301"/>
                  <a:gd name="connsiteY1010" fmla="*/ 2333390 h 3959978"/>
                  <a:gd name="connsiteX1011" fmla="*/ 4524738 w 7724301"/>
                  <a:gd name="connsiteY1011" fmla="*/ 2368848 h 3959978"/>
                  <a:gd name="connsiteX1012" fmla="*/ 4484852 w 7724301"/>
                  <a:gd name="connsiteY1012" fmla="*/ 2331813 h 3959978"/>
                  <a:gd name="connsiteX1013" fmla="*/ 4445640 w 7724301"/>
                  <a:gd name="connsiteY1013" fmla="*/ 2331813 h 3959978"/>
                  <a:gd name="connsiteX1014" fmla="*/ 1711785 w 7724301"/>
                  <a:gd name="connsiteY1014" fmla="*/ 2303414 h 3959978"/>
                  <a:gd name="connsiteX1015" fmla="*/ 1778837 w 7724301"/>
                  <a:gd name="connsiteY1015" fmla="*/ 2303414 h 3959978"/>
                  <a:gd name="connsiteX1016" fmla="*/ 1819067 w 7724301"/>
                  <a:gd name="connsiteY1016" fmla="*/ 2315435 h 3959978"/>
                  <a:gd name="connsiteX1017" fmla="*/ 1792620 w 7724301"/>
                  <a:gd name="connsiteY1017" fmla="*/ 2329658 h 3959978"/>
                  <a:gd name="connsiteX1018" fmla="*/ 1819067 w 7724301"/>
                  <a:gd name="connsiteY1018" fmla="*/ 2316035 h 3959978"/>
                  <a:gd name="connsiteX1019" fmla="*/ 1819067 w 7724301"/>
                  <a:gd name="connsiteY1019" fmla="*/ 2329985 h 3959978"/>
                  <a:gd name="connsiteX1020" fmla="*/ 1805527 w 7724301"/>
                  <a:gd name="connsiteY1020" fmla="*/ 2390436 h 3959978"/>
                  <a:gd name="connsiteX1021" fmla="*/ 1819067 w 7724301"/>
                  <a:gd name="connsiteY1021" fmla="*/ 2404386 h 3959978"/>
                  <a:gd name="connsiteX1022" fmla="*/ 1805527 w 7724301"/>
                  <a:gd name="connsiteY1022" fmla="*/ 2404386 h 3959978"/>
                  <a:gd name="connsiteX1023" fmla="*/ 1764111 w 7724301"/>
                  <a:gd name="connsiteY1023" fmla="*/ 2390436 h 3959978"/>
                  <a:gd name="connsiteX1024" fmla="*/ 1737028 w 7724301"/>
                  <a:gd name="connsiteY1024" fmla="*/ 2367186 h 3959978"/>
                  <a:gd name="connsiteX1025" fmla="*/ 1737028 w 7724301"/>
                  <a:gd name="connsiteY1025" fmla="*/ 2353900 h 3959978"/>
                  <a:gd name="connsiteX1026" fmla="*/ 1725194 w 7724301"/>
                  <a:gd name="connsiteY1026" fmla="*/ 2353900 h 3959978"/>
                  <a:gd name="connsiteX1027" fmla="*/ 1725194 w 7724301"/>
                  <a:gd name="connsiteY1027" fmla="*/ 2353899 h 3959978"/>
                  <a:gd name="connsiteX1028" fmla="*/ 1685185 w 7724301"/>
                  <a:gd name="connsiteY1028" fmla="*/ 2353899 h 3959978"/>
                  <a:gd name="connsiteX1029" fmla="*/ 1669187 w 7724301"/>
                  <a:gd name="connsiteY1029" fmla="*/ 2341278 h 3959978"/>
                  <a:gd name="connsiteX1030" fmla="*/ 1685185 w 7724301"/>
                  <a:gd name="connsiteY1030" fmla="*/ 2328656 h 3959978"/>
                  <a:gd name="connsiteX1031" fmla="*/ 1685945 w 7724301"/>
                  <a:gd name="connsiteY1031" fmla="*/ 2328891 h 3959978"/>
                  <a:gd name="connsiteX1032" fmla="*/ 2284482 w 7724301"/>
                  <a:gd name="connsiteY1032" fmla="*/ 2293948 h 3959978"/>
                  <a:gd name="connsiteX1033" fmla="*/ 2297105 w 7724301"/>
                  <a:gd name="connsiteY1033" fmla="*/ 2293948 h 3959978"/>
                  <a:gd name="connsiteX1034" fmla="*/ 2284482 w 7724301"/>
                  <a:gd name="connsiteY1034" fmla="*/ 2306569 h 3959978"/>
                  <a:gd name="connsiteX1035" fmla="*/ 4553951 w 7724301"/>
                  <a:gd name="connsiteY1035" fmla="*/ 2281325 h 3959978"/>
                  <a:gd name="connsiteX1036" fmla="*/ 4553233 w 7724301"/>
                  <a:gd name="connsiteY1036" fmla="*/ 2282043 h 3959978"/>
                  <a:gd name="connsiteX1037" fmla="*/ 4593199 w 7724301"/>
                  <a:gd name="connsiteY1037" fmla="*/ 2318016 h 3959978"/>
                  <a:gd name="connsiteX1038" fmla="*/ 4607348 w 7724301"/>
                  <a:gd name="connsiteY1038" fmla="*/ 2343846 h 3959978"/>
                  <a:gd name="connsiteX1039" fmla="*/ 4608455 w 7724301"/>
                  <a:gd name="connsiteY1039" fmla="*/ 2343122 h 3959978"/>
                  <a:gd name="connsiteX1040" fmla="*/ 4594970 w 7724301"/>
                  <a:gd name="connsiteY1040" fmla="*/ 2318400 h 3959978"/>
                  <a:gd name="connsiteX1041" fmla="*/ 5906814 w 7724301"/>
                  <a:gd name="connsiteY1041" fmla="*/ 2280984 h 3959978"/>
                  <a:gd name="connsiteX1042" fmla="*/ 5906814 w 7724301"/>
                  <a:gd name="connsiteY1042" fmla="*/ 2281326 h 3959978"/>
                  <a:gd name="connsiteX1043" fmla="*/ 5933633 w 7724301"/>
                  <a:gd name="connsiteY1043" fmla="*/ 2306568 h 3959978"/>
                  <a:gd name="connsiteX1044" fmla="*/ 5933633 w 7724301"/>
                  <a:gd name="connsiteY1044" fmla="*/ 2306158 h 3959978"/>
                  <a:gd name="connsiteX1045" fmla="*/ 5871757 w 7724301"/>
                  <a:gd name="connsiteY1045" fmla="*/ 2280279 h 3959978"/>
                  <a:gd name="connsiteX1046" fmla="*/ 5879268 w 7724301"/>
                  <a:gd name="connsiteY1046" fmla="*/ 2294969 h 3959978"/>
                  <a:gd name="connsiteX1047" fmla="*/ 5892613 w 7724301"/>
                  <a:gd name="connsiteY1047" fmla="*/ 2306832 h 3959978"/>
                  <a:gd name="connsiteX1048" fmla="*/ 5892613 w 7724301"/>
                  <a:gd name="connsiteY1048" fmla="*/ 2331812 h 3959978"/>
                  <a:gd name="connsiteX1049" fmla="*/ 5892614 w 7724301"/>
                  <a:gd name="connsiteY1049" fmla="*/ 2331812 h 3959978"/>
                  <a:gd name="connsiteX1050" fmla="*/ 5892614 w 7724301"/>
                  <a:gd name="connsiteY1050" fmla="*/ 2306569 h 3959978"/>
                  <a:gd name="connsiteX1051" fmla="*/ 5879205 w 7724301"/>
                  <a:gd name="connsiteY1051" fmla="*/ 2294736 h 3959978"/>
                  <a:gd name="connsiteX1052" fmla="*/ 6219983 w 7724301"/>
                  <a:gd name="connsiteY1052" fmla="*/ 2243461 h 3959978"/>
                  <a:gd name="connsiteX1053" fmla="*/ 6247592 w 7724301"/>
                  <a:gd name="connsiteY1053" fmla="*/ 2256966 h 3959978"/>
                  <a:gd name="connsiteX1054" fmla="*/ 6261002 w 7724301"/>
                  <a:gd name="connsiteY1054" fmla="*/ 2243461 h 3959978"/>
                  <a:gd name="connsiteX1055" fmla="*/ 6247592 w 7724301"/>
                  <a:gd name="connsiteY1055" fmla="*/ 2268881 h 3959978"/>
                  <a:gd name="connsiteX1056" fmla="*/ 6261002 w 7724301"/>
                  <a:gd name="connsiteY1056" fmla="*/ 2281591 h 3959978"/>
                  <a:gd name="connsiteX1057" fmla="*/ 6233393 w 7724301"/>
                  <a:gd name="connsiteY1057" fmla="*/ 2318926 h 3959978"/>
                  <a:gd name="connsiteX1058" fmla="*/ 6247592 w 7724301"/>
                  <a:gd name="connsiteY1058" fmla="*/ 2345140 h 3959978"/>
                  <a:gd name="connsiteX1059" fmla="*/ 6233393 w 7724301"/>
                  <a:gd name="connsiteY1059" fmla="*/ 2345140 h 3959978"/>
                  <a:gd name="connsiteX1060" fmla="*/ 6219983 w 7724301"/>
                  <a:gd name="connsiteY1060" fmla="*/ 2345140 h 3959978"/>
                  <a:gd name="connsiteX1061" fmla="*/ 6219983 w 7724301"/>
                  <a:gd name="connsiteY1061" fmla="*/ 2333225 h 3959978"/>
                  <a:gd name="connsiteX1062" fmla="*/ 6206572 w 7724301"/>
                  <a:gd name="connsiteY1062" fmla="*/ 2318926 h 3959978"/>
                  <a:gd name="connsiteX1063" fmla="*/ 6206572 w 7724301"/>
                  <a:gd name="connsiteY1063" fmla="*/ 2295095 h 3959978"/>
                  <a:gd name="connsiteX1064" fmla="*/ 2175625 w 7724301"/>
                  <a:gd name="connsiteY1064" fmla="*/ 2243461 h 3959978"/>
                  <a:gd name="connsiteX1065" fmla="*/ 2200871 w 7724301"/>
                  <a:gd name="connsiteY1065" fmla="*/ 2256082 h 3959978"/>
                  <a:gd name="connsiteX1066" fmla="*/ 2175625 w 7724301"/>
                  <a:gd name="connsiteY1066" fmla="*/ 2256082 h 3959978"/>
                  <a:gd name="connsiteX1067" fmla="*/ 1941599 w 7724301"/>
                  <a:gd name="connsiteY1067" fmla="*/ 2243461 h 3959978"/>
                  <a:gd name="connsiteX1068" fmla="*/ 1968946 w 7724301"/>
                  <a:gd name="connsiteY1068" fmla="*/ 2256872 h 3959978"/>
                  <a:gd name="connsiteX1069" fmla="*/ 1955273 w 7724301"/>
                  <a:gd name="connsiteY1069" fmla="*/ 2268705 h 3959978"/>
                  <a:gd name="connsiteX1070" fmla="*/ 1927928 w 7724301"/>
                  <a:gd name="connsiteY1070" fmla="*/ 2256872 h 3959978"/>
                  <a:gd name="connsiteX1071" fmla="*/ 5869338 w 7724301"/>
                  <a:gd name="connsiteY1071" fmla="*/ 2242397 h 3959978"/>
                  <a:gd name="connsiteX1072" fmla="*/ 5869345 w 7724301"/>
                  <a:gd name="connsiteY1072" fmla="*/ 2242639 h 3959978"/>
                  <a:gd name="connsiteX1073" fmla="*/ 5906813 w 7724301"/>
                  <a:gd name="connsiteY1073" fmla="*/ 2268703 h 3959978"/>
                  <a:gd name="connsiteX1074" fmla="*/ 5906813 w 7724301"/>
                  <a:gd name="connsiteY1074" fmla="*/ 2268396 h 3959978"/>
                  <a:gd name="connsiteX1075" fmla="*/ 5974058 w 7724301"/>
                  <a:gd name="connsiteY1075" fmla="*/ 2218218 h 3959978"/>
                  <a:gd name="connsiteX1076" fmla="*/ 6015672 w 7724301"/>
                  <a:gd name="connsiteY1076" fmla="*/ 2218218 h 3959978"/>
                  <a:gd name="connsiteX1077" fmla="*/ 6002068 w 7724301"/>
                  <a:gd name="connsiteY1077" fmla="*/ 2242673 h 3959978"/>
                  <a:gd name="connsiteX1078" fmla="*/ 5987662 w 7724301"/>
                  <a:gd name="connsiteY1078" fmla="*/ 2256082 h 3959978"/>
                  <a:gd name="connsiteX1079" fmla="*/ 5960453 w 7724301"/>
                  <a:gd name="connsiteY1079" fmla="*/ 2242673 h 3959978"/>
                  <a:gd name="connsiteX1080" fmla="*/ 5960453 w 7724301"/>
                  <a:gd name="connsiteY1080" fmla="*/ 2230051 h 3959978"/>
                  <a:gd name="connsiteX1081" fmla="*/ 2037974 w 7724301"/>
                  <a:gd name="connsiteY1081" fmla="*/ 2218218 h 3959978"/>
                  <a:gd name="connsiteX1082" fmla="*/ 2065185 w 7724301"/>
                  <a:gd name="connsiteY1082" fmla="*/ 2218218 h 3959978"/>
                  <a:gd name="connsiteX1083" fmla="*/ 2106207 w 7724301"/>
                  <a:gd name="connsiteY1083" fmla="*/ 2218218 h 3959978"/>
                  <a:gd name="connsiteX1084" fmla="*/ 2106207 w 7724301"/>
                  <a:gd name="connsiteY1084" fmla="*/ 2230239 h 3959978"/>
                  <a:gd name="connsiteX1085" fmla="*/ 2119617 w 7724301"/>
                  <a:gd name="connsiteY1085" fmla="*/ 2230239 h 3959978"/>
                  <a:gd name="connsiteX1086" fmla="*/ 2147225 w 7724301"/>
                  <a:gd name="connsiteY1086" fmla="*/ 2243061 h 3959978"/>
                  <a:gd name="connsiteX1087" fmla="*/ 2133816 w 7724301"/>
                  <a:gd name="connsiteY1087" fmla="*/ 2256684 h 3959978"/>
                  <a:gd name="connsiteX1088" fmla="*/ 2133816 w 7724301"/>
                  <a:gd name="connsiteY1088" fmla="*/ 2243061 h 3959978"/>
                  <a:gd name="connsiteX1089" fmla="*/ 2092799 w 7724301"/>
                  <a:gd name="connsiteY1089" fmla="*/ 2256684 h 3959978"/>
                  <a:gd name="connsiteX1090" fmla="*/ 2092799 w 7724301"/>
                  <a:gd name="connsiteY1090" fmla="*/ 2243061 h 3959978"/>
                  <a:gd name="connsiteX1091" fmla="*/ 2079385 w 7724301"/>
                  <a:gd name="connsiteY1091" fmla="*/ 2256684 h 3959978"/>
                  <a:gd name="connsiteX1092" fmla="*/ 2079385 w 7724301"/>
                  <a:gd name="connsiteY1092" fmla="*/ 2268705 h 3959978"/>
                  <a:gd name="connsiteX1093" fmla="*/ 2065185 w 7724301"/>
                  <a:gd name="connsiteY1093" fmla="*/ 2256684 h 3959978"/>
                  <a:gd name="connsiteX1094" fmla="*/ 2065185 w 7724301"/>
                  <a:gd name="connsiteY1094" fmla="*/ 2256082 h 3959978"/>
                  <a:gd name="connsiteX1095" fmla="*/ 2024368 w 7724301"/>
                  <a:gd name="connsiteY1095" fmla="*/ 2256082 h 3959978"/>
                  <a:gd name="connsiteX1096" fmla="*/ 2009964 w 7724301"/>
                  <a:gd name="connsiteY1096" fmla="*/ 2256082 h 3959978"/>
                  <a:gd name="connsiteX1097" fmla="*/ 2051578 w 7724301"/>
                  <a:gd name="connsiteY1097" fmla="*/ 2242673 h 3959978"/>
                  <a:gd name="connsiteX1098" fmla="*/ 5868260 w 7724301"/>
                  <a:gd name="connsiteY1098" fmla="*/ 2207920 h 3959978"/>
                  <a:gd name="connsiteX1099" fmla="*/ 5868265 w 7724301"/>
                  <a:gd name="connsiteY1099" fmla="*/ 2208068 h 3959978"/>
                  <a:gd name="connsiteX1100" fmla="*/ 5879084 w 7724301"/>
                  <a:gd name="connsiteY1100" fmla="*/ 2218887 h 3959978"/>
                  <a:gd name="connsiteX1101" fmla="*/ 5879204 w 7724301"/>
                  <a:gd name="connsiteY1101" fmla="*/ 2218834 h 3959978"/>
                  <a:gd name="connsiteX1102" fmla="*/ 4826890 w 7724301"/>
                  <a:gd name="connsiteY1102" fmla="*/ 2205596 h 3959978"/>
                  <a:gd name="connsiteX1103" fmla="*/ 4826889 w 7724301"/>
                  <a:gd name="connsiteY1103" fmla="*/ 2205597 h 3959978"/>
                  <a:gd name="connsiteX1104" fmla="*/ 4839512 w 7724301"/>
                  <a:gd name="connsiteY1104" fmla="*/ 2205597 h 3959978"/>
                  <a:gd name="connsiteX1105" fmla="*/ 4839512 w 7724301"/>
                  <a:gd name="connsiteY1105" fmla="*/ 2205596 h 3959978"/>
                  <a:gd name="connsiteX1106" fmla="*/ 2009964 w 7724301"/>
                  <a:gd name="connsiteY1106" fmla="*/ 2155111 h 3959978"/>
                  <a:gd name="connsiteX1107" fmla="*/ 2024165 w 7724301"/>
                  <a:gd name="connsiteY1107" fmla="*/ 2167732 h 3959978"/>
                  <a:gd name="connsiteX1108" fmla="*/ 2009964 w 7724301"/>
                  <a:gd name="connsiteY1108" fmla="*/ 2167732 h 3959978"/>
                  <a:gd name="connsiteX1109" fmla="*/ 5892604 w 7724301"/>
                  <a:gd name="connsiteY1109" fmla="*/ 2155029 h 3959978"/>
                  <a:gd name="connsiteX1110" fmla="*/ 5866796 w 7724301"/>
                  <a:gd name="connsiteY1110" fmla="*/ 2161046 h 3959978"/>
                  <a:gd name="connsiteX1111" fmla="*/ 5866797 w 7724301"/>
                  <a:gd name="connsiteY1111" fmla="*/ 2161081 h 3959978"/>
                  <a:gd name="connsiteX1112" fmla="*/ 5892613 w 7724301"/>
                  <a:gd name="connsiteY1112" fmla="*/ 2155111 h 3959978"/>
                  <a:gd name="connsiteX1113" fmla="*/ 5920224 w 7724301"/>
                  <a:gd name="connsiteY1113" fmla="*/ 2155111 h 3959978"/>
                  <a:gd name="connsiteX1114" fmla="*/ 5920224 w 7724301"/>
                  <a:gd name="connsiteY1114" fmla="*/ 2181072 h 3959978"/>
                  <a:gd name="connsiteX1115" fmla="*/ 5920333 w 7724301"/>
                  <a:gd name="connsiteY1115" fmla="*/ 2181072 h 3959978"/>
                  <a:gd name="connsiteX1116" fmla="*/ 5920333 w 7724301"/>
                  <a:gd name="connsiteY1116" fmla="*/ 2155029 h 3959978"/>
                  <a:gd name="connsiteX1117" fmla="*/ 1860087 w 7724301"/>
                  <a:gd name="connsiteY1117" fmla="*/ 2142490 h 3959978"/>
                  <a:gd name="connsiteX1118" fmla="*/ 1928714 w 7724301"/>
                  <a:gd name="connsiteY1118" fmla="*/ 2166944 h 3959978"/>
                  <a:gd name="connsiteX1119" fmla="*/ 1983144 w 7724301"/>
                  <a:gd name="connsiteY1119" fmla="*/ 2192187 h 3959978"/>
                  <a:gd name="connsiteX1120" fmla="*/ 1983144 w 7724301"/>
                  <a:gd name="connsiteY1120" fmla="*/ 2204808 h 3959978"/>
                  <a:gd name="connsiteX1121" fmla="*/ 1996555 w 7724301"/>
                  <a:gd name="connsiteY1121" fmla="*/ 2204808 h 3959978"/>
                  <a:gd name="connsiteX1122" fmla="*/ 2009964 w 7724301"/>
                  <a:gd name="connsiteY1122" fmla="*/ 2218219 h 3959978"/>
                  <a:gd name="connsiteX1123" fmla="*/ 1942124 w 7724301"/>
                  <a:gd name="connsiteY1123" fmla="*/ 2218219 h 3959978"/>
                  <a:gd name="connsiteX1124" fmla="*/ 1955535 w 7724301"/>
                  <a:gd name="connsiteY1124" fmla="*/ 2204808 h 3959978"/>
                  <a:gd name="connsiteX1125" fmla="*/ 1928714 w 7724301"/>
                  <a:gd name="connsiteY1125" fmla="*/ 2204808 h 3959978"/>
                  <a:gd name="connsiteX1126" fmla="*/ 1914516 w 7724301"/>
                  <a:gd name="connsiteY1126" fmla="*/ 2180355 h 3959978"/>
                  <a:gd name="connsiteX1127" fmla="*/ 1860087 w 7724301"/>
                  <a:gd name="connsiteY1127" fmla="*/ 2166944 h 3959978"/>
                  <a:gd name="connsiteX1128" fmla="*/ 1833265 w 7724301"/>
                  <a:gd name="connsiteY1128" fmla="*/ 2154322 h 3959978"/>
                  <a:gd name="connsiteX1129" fmla="*/ 1805657 w 7724301"/>
                  <a:gd name="connsiteY1129" fmla="*/ 2180355 h 3959978"/>
                  <a:gd name="connsiteX1130" fmla="*/ 1792246 w 7724301"/>
                  <a:gd name="connsiteY1130" fmla="*/ 2180355 h 3959978"/>
                  <a:gd name="connsiteX1131" fmla="*/ 1819067 w 7724301"/>
                  <a:gd name="connsiteY1131" fmla="*/ 2154322 h 3959978"/>
                  <a:gd name="connsiteX1132" fmla="*/ 5593206 w 7724301"/>
                  <a:gd name="connsiteY1132" fmla="*/ 2142204 h 3959978"/>
                  <a:gd name="connsiteX1133" fmla="*/ 5593118 w 7724301"/>
                  <a:gd name="connsiteY1133" fmla="*/ 2142225 h 3959978"/>
                  <a:gd name="connsiteX1134" fmla="*/ 5592063 w 7724301"/>
                  <a:gd name="connsiteY1134" fmla="*/ 2143281 h 3959978"/>
                  <a:gd name="connsiteX1135" fmla="*/ 5592066 w 7724301"/>
                  <a:gd name="connsiteY1135" fmla="*/ 2143281 h 3959978"/>
                  <a:gd name="connsiteX1136" fmla="*/ 6233393 w 7724301"/>
                  <a:gd name="connsiteY1136" fmla="*/ 2104627 h 3959978"/>
                  <a:gd name="connsiteX1137" fmla="*/ 6247592 w 7724301"/>
                  <a:gd name="connsiteY1137" fmla="*/ 2104627 h 3959978"/>
                  <a:gd name="connsiteX1138" fmla="*/ 6219983 w 7724301"/>
                  <a:gd name="connsiteY1138" fmla="*/ 2167734 h 3959978"/>
                  <a:gd name="connsiteX1139" fmla="*/ 6206572 w 7724301"/>
                  <a:gd name="connsiteY1139" fmla="*/ 2154952 h 3959978"/>
                  <a:gd name="connsiteX1140" fmla="*/ 6206572 w 7724301"/>
                  <a:gd name="connsiteY1140" fmla="*/ 2142970 h 3959978"/>
                  <a:gd name="connsiteX1141" fmla="*/ 1927928 w 7724301"/>
                  <a:gd name="connsiteY1141" fmla="*/ 2104627 h 3959978"/>
                  <a:gd name="connsiteX1142" fmla="*/ 1942125 w 7724301"/>
                  <a:gd name="connsiteY1142" fmla="*/ 2116459 h 3959978"/>
                  <a:gd name="connsiteX1143" fmla="*/ 1942125 w 7724301"/>
                  <a:gd name="connsiteY1143" fmla="*/ 2142491 h 3959978"/>
                  <a:gd name="connsiteX1144" fmla="*/ 1927928 w 7724301"/>
                  <a:gd name="connsiteY1144" fmla="*/ 2116459 h 3959978"/>
                  <a:gd name="connsiteX1145" fmla="*/ 1956326 w 7724301"/>
                  <a:gd name="connsiteY1145" fmla="*/ 2092006 h 3959978"/>
                  <a:gd name="connsiteX1146" fmla="*/ 1968944 w 7724301"/>
                  <a:gd name="connsiteY1146" fmla="*/ 2105415 h 3959978"/>
                  <a:gd name="connsiteX1147" fmla="*/ 1968944 w 7724301"/>
                  <a:gd name="connsiteY1147" fmla="*/ 2117248 h 3959978"/>
                  <a:gd name="connsiteX1148" fmla="*/ 4718413 w 7724301"/>
                  <a:gd name="connsiteY1148" fmla="*/ 2092005 h 3959978"/>
                  <a:gd name="connsiteX1149" fmla="*/ 4731440 w 7724301"/>
                  <a:gd name="connsiteY1149" fmla="*/ 2092005 h 3959978"/>
                  <a:gd name="connsiteX1150" fmla="*/ 4718413 w 7724301"/>
                  <a:gd name="connsiteY1150" fmla="*/ 2129869 h 3959978"/>
                  <a:gd name="connsiteX1151" fmla="*/ 4704620 w 7724301"/>
                  <a:gd name="connsiteY1151" fmla="*/ 2105415 h 3959978"/>
                  <a:gd name="connsiteX1152" fmla="*/ 5129021 w 7724301"/>
                  <a:gd name="connsiteY1152" fmla="*/ 2080589 h 3959978"/>
                  <a:gd name="connsiteX1153" fmla="*/ 5128589 w 7724301"/>
                  <a:gd name="connsiteY1153" fmla="*/ 2080602 h 3959978"/>
                  <a:gd name="connsiteX1154" fmla="*/ 5128589 w 7724301"/>
                  <a:gd name="connsiteY1154" fmla="*/ 2091342 h 3959978"/>
                  <a:gd name="connsiteX1155" fmla="*/ 5129021 w 7724301"/>
                  <a:gd name="connsiteY1155" fmla="*/ 2091342 h 3959978"/>
                  <a:gd name="connsiteX1156" fmla="*/ 1942125 w 7724301"/>
                  <a:gd name="connsiteY1156" fmla="*/ 2066762 h 3959978"/>
                  <a:gd name="connsiteX1157" fmla="*/ 1956325 w 7724301"/>
                  <a:gd name="connsiteY1157" fmla="*/ 2078977 h 3959978"/>
                  <a:gd name="connsiteX1158" fmla="*/ 1956325 w 7724301"/>
                  <a:gd name="connsiteY1158" fmla="*/ 2092005 h 3959978"/>
                  <a:gd name="connsiteX1159" fmla="*/ 3320999 w 7724301"/>
                  <a:gd name="connsiteY1159" fmla="*/ 2028897 h 3959978"/>
                  <a:gd name="connsiteX1160" fmla="*/ 3320999 w 7724301"/>
                  <a:gd name="connsiteY1160" fmla="*/ 2041518 h 3959978"/>
                  <a:gd name="connsiteX1161" fmla="*/ 3309956 w 7724301"/>
                  <a:gd name="connsiteY1161" fmla="*/ 2041518 h 3959978"/>
                  <a:gd name="connsiteX1162" fmla="*/ 3253160 w 7724301"/>
                  <a:gd name="connsiteY1162" fmla="*/ 2028897 h 3959978"/>
                  <a:gd name="connsiteX1163" fmla="*/ 3268935 w 7724301"/>
                  <a:gd name="connsiteY1163" fmla="*/ 2028897 h 3959978"/>
                  <a:gd name="connsiteX1164" fmla="*/ 3253160 w 7724301"/>
                  <a:gd name="connsiteY1164" fmla="*/ 2041518 h 3959978"/>
                  <a:gd name="connsiteX1165" fmla="*/ 4621191 w 7724301"/>
                  <a:gd name="connsiteY1165" fmla="*/ 2015953 h 3959978"/>
                  <a:gd name="connsiteX1166" fmla="*/ 4620846 w 7724301"/>
                  <a:gd name="connsiteY1166" fmla="*/ 2016276 h 3959978"/>
                  <a:gd name="connsiteX1167" fmla="*/ 4620513 w 7724301"/>
                  <a:gd name="connsiteY1167" fmla="*/ 2016125 h 3959978"/>
                  <a:gd name="connsiteX1168" fmla="*/ 4593930 w 7724301"/>
                  <a:gd name="connsiteY1168" fmla="*/ 2028645 h 3959978"/>
                  <a:gd name="connsiteX1169" fmla="*/ 4594970 w 7724301"/>
                  <a:gd name="connsiteY1169" fmla="*/ 2029686 h 3959978"/>
                  <a:gd name="connsiteX1170" fmla="*/ 4622433 w 7724301"/>
                  <a:gd name="connsiteY1170" fmla="*/ 2016346 h 3959978"/>
                  <a:gd name="connsiteX1171" fmla="*/ 4402169 w 7724301"/>
                  <a:gd name="connsiteY1171" fmla="*/ 2003755 h 3959978"/>
                  <a:gd name="connsiteX1172" fmla="*/ 4388874 w 7724301"/>
                  <a:gd name="connsiteY1172" fmla="*/ 2016275 h 3959978"/>
                  <a:gd name="connsiteX1173" fmla="*/ 4390661 w 7724301"/>
                  <a:gd name="connsiteY1173" fmla="*/ 2016275 h 3959978"/>
                  <a:gd name="connsiteX1174" fmla="*/ 4403964 w 7724301"/>
                  <a:gd name="connsiteY1174" fmla="*/ 2003755 h 3959978"/>
                  <a:gd name="connsiteX1175" fmla="*/ 4634309 w 7724301"/>
                  <a:gd name="connsiteY1175" fmla="*/ 2003655 h 3959978"/>
                  <a:gd name="connsiteX1176" fmla="*/ 4630471 w 7724301"/>
                  <a:gd name="connsiteY1176" fmla="*/ 2007253 h 3959978"/>
                  <a:gd name="connsiteX1177" fmla="*/ 4634413 w 7724301"/>
                  <a:gd name="connsiteY1177" fmla="*/ 2003655 h 3959978"/>
                  <a:gd name="connsiteX1178" fmla="*/ 4593130 w 7724301"/>
                  <a:gd name="connsiteY1178" fmla="*/ 2003655 h 3959978"/>
                  <a:gd name="connsiteX1179" fmla="*/ 4583458 w 7724301"/>
                  <a:gd name="connsiteY1179" fmla="*/ 2012724 h 3959978"/>
                  <a:gd name="connsiteX1180" fmla="*/ 4593307 w 7724301"/>
                  <a:gd name="connsiteY1180" fmla="*/ 2003735 h 3959978"/>
                  <a:gd name="connsiteX1181" fmla="*/ 4321463 w 7724301"/>
                  <a:gd name="connsiteY1181" fmla="*/ 1992348 h 3959978"/>
                  <a:gd name="connsiteX1182" fmla="*/ 4321463 w 7724301"/>
                  <a:gd name="connsiteY1182" fmla="*/ 2004098 h 3959978"/>
                  <a:gd name="connsiteX1183" fmla="*/ 4321463 w 7724301"/>
                  <a:gd name="connsiteY1183" fmla="*/ 2016360 h 3959978"/>
                  <a:gd name="connsiteX1184" fmla="*/ 4331534 w 7724301"/>
                  <a:gd name="connsiteY1184" fmla="*/ 2020676 h 3959978"/>
                  <a:gd name="connsiteX1185" fmla="*/ 4443053 w 7724301"/>
                  <a:gd name="connsiteY1185" fmla="*/ 1916094 h 3959978"/>
                  <a:gd name="connsiteX1186" fmla="*/ 4401835 w 7724301"/>
                  <a:gd name="connsiteY1186" fmla="*/ 1940549 h 3959978"/>
                  <a:gd name="connsiteX1187" fmla="*/ 4375674 w 7724301"/>
                  <a:gd name="connsiteY1187" fmla="*/ 1940549 h 3959978"/>
                  <a:gd name="connsiteX1188" fmla="*/ 4375674 w 7724301"/>
                  <a:gd name="connsiteY1188" fmla="*/ 1941145 h 3959978"/>
                  <a:gd name="connsiteX1189" fmla="*/ 4402169 w 7724301"/>
                  <a:gd name="connsiteY1189" fmla="*/ 1941145 h 3959978"/>
                  <a:gd name="connsiteX1190" fmla="*/ 4442845 w 7724301"/>
                  <a:gd name="connsiteY1190" fmla="*/ 1916883 h 3959978"/>
                  <a:gd name="connsiteX1191" fmla="*/ 4456924 w 7724301"/>
                  <a:gd name="connsiteY1191" fmla="*/ 1916883 h 3959978"/>
                  <a:gd name="connsiteX1192" fmla="*/ 4456924 w 7724301"/>
                  <a:gd name="connsiteY1192" fmla="*/ 1941145 h 3959978"/>
                  <a:gd name="connsiteX1193" fmla="*/ 4416250 w 7724301"/>
                  <a:gd name="connsiteY1193" fmla="*/ 1966188 h 3959978"/>
                  <a:gd name="connsiteX1194" fmla="*/ 4429547 w 7724301"/>
                  <a:gd name="connsiteY1194" fmla="*/ 1978711 h 3959978"/>
                  <a:gd name="connsiteX1195" fmla="*/ 4416303 w 7724301"/>
                  <a:gd name="connsiteY1195" fmla="*/ 2003654 h 3959978"/>
                  <a:gd name="connsiteX1196" fmla="*/ 4418270 w 7724301"/>
                  <a:gd name="connsiteY1196" fmla="*/ 2003654 h 3959978"/>
                  <a:gd name="connsiteX1197" fmla="*/ 4431681 w 7724301"/>
                  <a:gd name="connsiteY1197" fmla="*/ 1978411 h 3959978"/>
                  <a:gd name="connsiteX1198" fmla="*/ 4418270 w 7724301"/>
                  <a:gd name="connsiteY1198" fmla="*/ 1965790 h 3959978"/>
                  <a:gd name="connsiteX1199" fmla="*/ 4457955 w 7724301"/>
                  <a:gd name="connsiteY1199" fmla="*/ 1940890 h 3959978"/>
                  <a:gd name="connsiteX1200" fmla="*/ 4456925 w 7724301"/>
                  <a:gd name="connsiteY1200" fmla="*/ 1940548 h 3959978"/>
                  <a:gd name="connsiteX1201" fmla="*/ 4456925 w 7724301"/>
                  <a:gd name="connsiteY1201" fmla="*/ 1916094 h 3959978"/>
                  <a:gd name="connsiteX1202" fmla="*/ 6425276 w 7724301"/>
                  <a:gd name="connsiteY1202" fmla="*/ 1902682 h 3959978"/>
                  <a:gd name="connsiteX1203" fmla="*/ 6453286 w 7724301"/>
                  <a:gd name="connsiteY1203" fmla="*/ 1916093 h 3959978"/>
                  <a:gd name="connsiteX1204" fmla="*/ 6466888 w 7724301"/>
                  <a:gd name="connsiteY1204" fmla="*/ 1927923 h 3959978"/>
                  <a:gd name="connsiteX1205" fmla="*/ 6466888 w 7724301"/>
                  <a:gd name="connsiteY1205" fmla="*/ 1916093 h 3959978"/>
                  <a:gd name="connsiteX1206" fmla="*/ 6494887 w 7724301"/>
                  <a:gd name="connsiteY1206" fmla="*/ 1902682 h 3959978"/>
                  <a:gd name="connsiteX1207" fmla="*/ 6523684 w 7724301"/>
                  <a:gd name="connsiteY1207" fmla="*/ 1902682 h 3959978"/>
                  <a:gd name="connsiteX1208" fmla="*/ 6510085 w 7724301"/>
                  <a:gd name="connsiteY1208" fmla="*/ 1916093 h 3959978"/>
                  <a:gd name="connsiteX1209" fmla="*/ 6494887 w 7724301"/>
                  <a:gd name="connsiteY1209" fmla="*/ 1916093 h 3959978"/>
                  <a:gd name="connsiteX1210" fmla="*/ 6480487 w 7724301"/>
                  <a:gd name="connsiteY1210" fmla="*/ 1927925 h 3959978"/>
                  <a:gd name="connsiteX1211" fmla="*/ 6466891 w 7724301"/>
                  <a:gd name="connsiteY1211" fmla="*/ 1927925 h 3959978"/>
                  <a:gd name="connsiteX1212" fmla="*/ 6453286 w 7724301"/>
                  <a:gd name="connsiteY1212" fmla="*/ 1965791 h 3959978"/>
                  <a:gd name="connsiteX1213" fmla="*/ 6438881 w 7724301"/>
                  <a:gd name="connsiteY1213" fmla="*/ 1978412 h 3959978"/>
                  <a:gd name="connsiteX1214" fmla="*/ 6425276 w 7724301"/>
                  <a:gd name="connsiteY1214" fmla="*/ 1965791 h 3959978"/>
                  <a:gd name="connsiteX1215" fmla="*/ 6425276 w 7724301"/>
                  <a:gd name="connsiteY1215" fmla="*/ 1927925 h 3959978"/>
                  <a:gd name="connsiteX1216" fmla="*/ 6411671 w 7724301"/>
                  <a:gd name="connsiteY1216" fmla="*/ 1927925 h 3959978"/>
                  <a:gd name="connsiteX1217" fmla="*/ 6411671 w 7724301"/>
                  <a:gd name="connsiteY1217" fmla="*/ 1916093 h 3959978"/>
                  <a:gd name="connsiteX1218" fmla="*/ 3582103 w 7724301"/>
                  <a:gd name="connsiteY1218" fmla="*/ 1879807 h 3959978"/>
                  <a:gd name="connsiteX1219" fmla="*/ 3590046 w 7724301"/>
                  <a:gd name="connsiteY1219" fmla="*/ 1916716 h 3959978"/>
                  <a:gd name="connsiteX1220" fmla="*/ 3590995 w 7724301"/>
                  <a:gd name="connsiteY1220" fmla="*/ 1916136 h 3959978"/>
                  <a:gd name="connsiteX1221" fmla="*/ 3583163 w 7724301"/>
                  <a:gd name="connsiteY1221" fmla="*/ 1879807 h 3959978"/>
                  <a:gd name="connsiteX1222" fmla="*/ 4362264 w 7724301"/>
                  <a:gd name="connsiteY1222" fmla="*/ 1864819 h 3959978"/>
                  <a:gd name="connsiteX1223" fmla="*/ 4348065 w 7724301"/>
                  <a:gd name="connsiteY1223" fmla="*/ 1878230 h 3959978"/>
                  <a:gd name="connsiteX1224" fmla="*/ 4334655 w 7724301"/>
                  <a:gd name="connsiteY1224" fmla="*/ 1890062 h 3959978"/>
                  <a:gd name="connsiteX1225" fmla="*/ 4321244 w 7724301"/>
                  <a:gd name="connsiteY1225" fmla="*/ 1890062 h 3959978"/>
                  <a:gd name="connsiteX1226" fmla="*/ 4307045 w 7724301"/>
                  <a:gd name="connsiteY1226" fmla="*/ 1878230 h 3959978"/>
                  <a:gd name="connsiteX1227" fmla="*/ 4128767 w 7724301"/>
                  <a:gd name="connsiteY1227" fmla="*/ 1864819 h 3959978"/>
                  <a:gd name="connsiteX1228" fmla="*/ 4170765 w 7724301"/>
                  <a:gd name="connsiteY1228" fmla="*/ 1879019 h 3959978"/>
                  <a:gd name="connsiteX1229" fmla="*/ 4156766 w 7724301"/>
                  <a:gd name="connsiteY1229" fmla="*/ 1879019 h 3959978"/>
                  <a:gd name="connsiteX1230" fmla="*/ 4128767 w 7724301"/>
                  <a:gd name="connsiteY1230" fmla="*/ 1879019 h 3959978"/>
                  <a:gd name="connsiteX1231" fmla="*/ 3705653 w 7724301"/>
                  <a:gd name="connsiteY1231" fmla="*/ 1828532 h 3959978"/>
                  <a:gd name="connsiteX1232" fmla="*/ 3733313 w 7724301"/>
                  <a:gd name="connsiteY1232" fmla="*/ 1841943 h 3959978"/>
                  <a:gd name="connsiteX1233" fmla="*/ 3746748 w 7724301"/>
                  <a:gd name="connsiteY1233" fmla="*/ 1828532 h 3959978"/>
                  <a:gd name="connsiteX1234" fmla="*/ 3786315 w 7724301"/>
                  <a:gd name="connsiteY1234" fmla="*/ 1841445 h 3959978"/>
                  <a:gd name="connsiteX1235" fmla="*/ 3799289 w 7724301"/>
                  <a:gd name="connsiteY1235" fmla="*/ 1828532 h 3959978"/>
                  <a:gd name="connsiteX1236" fmla="*/ 3828754 w 7724301"/>
                  <a:gd name="connsiteY1236" fmla="*/ 1828532 h 3959978"/>
                  <a:gd name="connsiteX1237" fmla="*/ 3842292 w 7724301"/>
                  <a:gd name="connsiteY1237" fmla="*/ 1842007 h 3959978"/>
                  <a:gd name="connsiteX1238" fmla="*/ 3855829 w 7724301"/>
                  <a:gd name="connsiteY1238" fmla="*/ 1828532 h 3959978"/>
                  <a:gd name="connsiteX1239" fmla="*/ 3842292 w 7724301"/>
                  <a:gd name="connsiteY1239" fmla="*/ 1853897 h 3959978"/>
                  <a:gd name="connsiteX1240" fmla="*/ 3855829 w 7724301"/>
                  <a:gd name="connsiteY1240" fmla="*/ 1880053 h 3959978"/>
                  <a:gd name="connsiteX1241" fmla="*/ 3828754 w 7724301"/>
                  <a:gd name="connsiteY1241" fmla="*/ 1904624 h 3959978"/>
                  <a:gd name="connsiteX1242" fmla="*/ 3828754 w 7724301"/>
                  <a:gd name="connsiteY1242" fmla="*/ 1918099 h 3959978"/>
                  <a:gd name="connsiteX1243" fmla="*/ 3855829 w 7724301"/>
                  <a:gd name="connsiteY1243" fmla="*/ 1918099 h 3959978"/>
                  <a:gd name="connsiteX1244" fmla="*/ 3855829 w 7724301"/>
                  <a:gd name="connsiteY1244" fmla="*/ 1927925 h 3959978"/>
                  <a:gd name="connsiteX1245" fmla="*/ 3881228 w 7724301"/>
                  <a:gd name="connsiteY1245" fmla="*/ 1927925 h 3959978"/>
                  <a:gd name="connsiteX1246" fmla="*/ 3923923 w 7724301"/>
                  <a:gd name="connsiteY1246" fmla="*/ 1940548 h 3959978"/>
                  <a:gd name="connsiteX1247" fmla="*/ 3950805 w 7724301"/>
                  <a:gd name="connsiteY1247" fmla="*/ 1940548 h 3959978"/>
                  <a:gd name="connsiteX1248" fmla="*/ 3950805 w 7724301"/>
                  <a:gd name="connsiteY1248" fmla="*/ 1965790 h 3959978"/>
                  <a:gd name="connsiteX1249" fmla="*/ 4033032 w 7724301"/>
                  <a:gd name="connsiteY1249" fmla="*/ 1991822 h 3959978"/>
                  <a:gd name="connsiteX1250" fmla="*/ 4046474 w 7724301"/>
                  <a:gd name="connsiteY1250" fmla="*/ 1978412 h 3959978"/>
                  <a:gd name="connsiteX1251" fmla="*/ 4046474 w 7724301"/>
                  <a:gd name="connsiteY1251" fmla="*/ 1953957 h 3959978"/>
                  <a:gd name="connsiteX1252" fmla="*/ 4089169 w 7724301"/>
                  <a:gd name="connsiteY1252" fmla="*/ 1927925 h 3959978"/>
                  <a:gd name="connsiteX1253" fmla="*/ 4116842 w 7724301"/>
                  <a:gd name="connsiteY1253" fmla="*/ 1940548 h 3959978"/>
                  <a:gd name="connsiteX1254" fmla="*/ 4116842 w 7724301"/>
                  <a:gd name="connsiteY1254" fmla="*/ 1953957 h 3959978"/>
                  <a:gd name="connsiteX1255" fmla="*/ 4157165 w 7724301"/>
                  <a:gd name="connsiteY1255" fmla="*/ 1953957 h 3959978"/>
                  <a:gd name="connsiteX1256" fmla="*/ 4148626 w 7724301"/>
                  <a:gd name="connsiteY1256" fmla="*/ 1985531 h 3959978"/>
                  <a:gd name="connsiteX1257" fmla="*/ 4149590 w 7724301"/>
                  <a:gd name="connsiteY1257" fmla="*/ 1985471 h 3959978"/>
                  <a:gd name="connsiteX1258" fmla="*/ 4157911 w 7724301"/>
                  <a:gd name="connsiteY1258" fmla="*/ 1954746 h 3959978"/>
                  <a:gd name="connsiteX1259" fmla="*/ 4157911 w 7724301"/>
                  <a:gd name="connsiteY1259" fmla="*/ 1966497 h 3959978"/>
                  <a:gd name="connsiteX1260" fmla="*/ 4198799 w 7724301"/>
                  <a:gd name="connsiteY1260" fmla="*/ 1966497 h 3959978"/>
                  <a:gd name="connsiteX1261" fmla="*/ 4239687 w 7724301"/>
                  <a:gd name="connsiteY1261" fmla="*/ 1979030 h 3959978"/>
                  <a:gd name="connsiteX1262" fmla="*/ 4293942 w 7724301"/>
                  <a:gd name="connsiteY1262" fmla="*/ 1966497 h 3959978"/>
                  <a:gd name="connsiteX1263" fmla="*/ 4307309 w 7724301"/>
                  <a:gd name="connsiteY1263" fmla="*/ 1966497 h 3959978"/>
                  <a:gd name="connsiteX1264" fmla="*/ 4307309 w 7724301"/>
                  <a:gd name="connsiteY1264" fmla="*/ 1979030 h 3959978"/>
                  <a:gd name="connsiteX1265" fmla="*/ 4321463 w 7724301"/>
                  <a:gd name="connsiteY1265" fmla="*/ 1966497 h 3959978"/>
                  <a:gd name="connsiteX1266" fmla="*/ 4321463 w 7724301"/>
                  <a:gd name="connsiteY1266" fmla="*/ 1979030 h 3959978"/>
                  <a:gd name="connsiteX1267" fmla="*/ 4348197 w 7724301"/>
                  <a:gd name="connsiteY1267" fmla="*/ 1966497 h 3959978"/>
                  <a:gd name="connsiteX1268" fmla="*/ 4362350 w 7724301"/>
                  <a:gd name="connsiteY1268" fmla="*/ 2016632 h 3959978"/>
                  <a:gd name="connsiteX1269" fmla="*/ 4348990 w 7724301"/>
                  <a:gd name="connsiteY1269" fmla="*/ 2052128 h 3959978"/>
                  <a:gd name="connsiteX1270" fmla="*/ 4354950 w 7724301"/>
                  <a:gd name="connsiteY1270" fmla="*/ 2084907 h 3959978"/>
                  <a:gd name="connsiteX1271" fmla="*/ 4389085 w 7724301"/>
                  <a:gd name="connsiteY1271" fmla="*/ 2154504 h 3959978"/>
                  <a:gd name="connsiteX1272" fmla="*/ 4369818 w 7724301"/>
                  <a:gd name="connsiteY1272" fmla="*/ 2166685 h 3959978"/>
                  <a:gd name="connsiteX1273" fmla="*/ 4370124 w 7724301"/>
                  <a:gd name="connsiteY1273" fmla="*/ 2168369 h 3959978"/>
                  <a:gd name="connsiteX1274" fmla="*/ 4391862 w 7724301"/>
                  <a:gd name="connsiteY1274" fmla="*/ 2155111 h 3959978"/>
                  <a:gd name="connsiteX1275" fmla="*/ 4419873 w 7724301"/>
                  <a:gd name="connsiteY1275" fmla="*/ 2169894 h 3959978"/>
                  <a:gd name="connsiteX1276" fmla="*/ 4434878 w 7724301"/>
                  <a:gd name="connsiteY1276" fmla="*/ 2243811 h 3959978"/>
                  <a:gd name="connsiteX1277" fmla="*/ 4445640 w 7724301"/>
                  <a:gd name="connsiteY1277" fmla="*/ 2257305 h 3959978"/>
                  <a:gd name="connsiteX1278" fmla="*/ 4445640 w 7724301"/>
                  <a:gd name="connsiteY1278" fmla="*/ 2256083 h 3959978"/>
                  <a:gd name="connsiteX1279" fmla="*/ 4471520 w 7724301"/>
                  <a:gd name="connsiteY1279" fmla="*/ 2305781 h 3959978"/>
                  <a:gd name="connsiteX1280" fmla="*/ 4498183 w 7724301"/>
                  <a:gd name="connsiteY1280" fmla="*/ 2331813 h 3959978"/>
                  <a:gd name="connsiteX1281" fmla="*/ 4538963 w 7724301"/>
                  <a:gd name="connsiteY1281" fmla="*/ 2369677 h 3959978"/>
                  <a:gd name="connsiteX1282" fmla="*/ 4540542 w 7724301"/>
                  <a:gd name="connsiteY1282" fmla="*/ 2369677 h 3959978"/>
                  <a:gd name="connsiteX1283" fmla="*/ 4554741 w 7724301"/>
                  <a:gd name="connsiteY1283" fmla="*/ 2369677 h 3959978"/>
                  <a:gd name="connsiteX1284" fmla="*/ 4554741 w 7724301"/>
                  <a:gd name="connsiteY1284" fmla="*/ 2381510 h 3959978"/>
                  <a:gd name="connsiteX1285" fmla="*/ 4540542 w 7724301"/>
                  <a:gd name="connsiteY1285" fmla="*/ 2381510 h 3959978"/>
                  <a:gd name="connsiteX1286" fmla="*/ 4554741 w 7724301"/>
                  <a:gd name="connsiteY1286" fmla="*/ 2393343 h 3959978"/>
                  <a:gd name="connsiteX1287" fmla="*/ 4553065 w 7724301"/>
                  <a:gd name="connsiteY1287" fmla="*/ 2395019 h 3959978"/>
                  <a:gd name="connsiteX1288" fmla="*/ 4566327 w 7724301"/>
                  <a:gd name="connsiteY1288" fmla="*/ 2408329 h 3959978"/>
                  <a:gd name="connsiteX1289" fmla="*/ 4579689 w 7724301"/>
                  <a:gd name="connsiteY1289" fmla="*/ 2420161 h 3959978"/>
                  <a:gd name="connsiteX1290" fmla="*/ 4676368 w 7724301"/>
                  <a:gd name="connsiteY1290" fmla="*/ 2394130 h 3959978"/>
                  <a:gd name="connsiteX1291" fmla="*/ 4703092 w 7724301"/>
                  <a:gd name="connsiteY1291" fmla="*/ 2382297 h 3959978"/>
                  <a:gd name="connsiteX1292" fmla="*/ 4717241 w 7724301"/>
                  <a:gd name="connsiteY1292" fmla="*/ 2382297 h 3959978"/>
                  <a:gd name="connsiteX1293" fmla="*/ 4717241 w 7724301"/>
                  <a:gd name="connsiteY1293" fmla="*/ 2408329 h 3959978"/>
                  <a:gd name="connsiteX1294" fmla="*/ 4676368 w 7724301"/>
                  <a:gd name="connsiteY1294" fmla="*/ 2507723 h 3959978"/>
                  <a:gd name="connsiteX1295" fmla="*/ 4648858 w 7724301"/>
                  <a:gd name="connsiteY1295" fmla="*/ 2533755 h 3959978"/>
                  <a:gd name="connsiteX1296" fmla="*/ 4608771 w 7724301"/>
                  <a:gd name="connsiteY1296" fmla="*/ 2571619 h 3959978"/>
                  <a:gd name="connsiteX1297" fmla="*/ 4552178 w 7724301"/>
                  <a:gd name="connsiteY1297" fmla="*/ 2609484 h 3959978"/>
                  <a:gd name="connsiteX1298" fmla="*/ 4512515 w 7724301"/>
                  <a:gd name="connsiteY1298" fmla="*/ 2646949 h 3959978"/>
                  <a:gd name="connsiteX1299" fmla="*/ 4512991 w 7724301"/>
                  <a:gd name="connsiteY1299" fmla="*/ 2647348 h 3959978"/>
                  <a:gd name="connsiteX1300" fmla="*/ 4498854 w 7724301"/>
                  <a:gd name="connsiteY1300" fmla="*/ 2672591 h 3959978"/>
                  <a:gd name="connsiteX1301" fmla="*/ 4493276 w 7724301"/>
                  <a:gd name="connsiteY1301" fmla="*/ 2672591 h 3959978"/>
                  <a:gd name="connsiteX1302" fmla="*/ 4473490 w 7724301"/>
                  <a:gd name="connsiteY1302" fmla="*/ 2807139 h 3959978"/>
                  <a:gd name="connsiteX1303" fmla="*/ 4473490 w 7724301"/>
                  <a:gd name="connsiteY1303" fmla="*/ 2811145 h 3959978"/>
                  <a:gd name="connsiteX1304" fmla="*/ 4486899 w 7724301"/>
                  <a:gd name="connsiteY1304" fmla="*/ 2824655 h 3959978"/>
                  <a:gd name="connsiteX1305" fmla="*/ 4484819 w 7724301"/>
                  <a:gd name="connsiteY1305" fmla="*/ 2826512 h 3959978"/>
                  <a:gd name="connsiteX1306" fmla="*/ 4497944 w 7724301"/>
                  <a:gd name="connsiteY1306" fmla="*/ 2924232 h 3959978"/>
                  <a:gd name="connsiteX1307" fmla="*/ 4457576 w 7724301"/>
                  <a:gd name="connsiteY1307" fmla="*/ 2962096 h 3959978"/>
                  <a:gd name="connsiteX1308" fmla="*/ 4416416 w 7724301"/>
                  <a:gd name="connsiteY1308" fmla="*/ 2975507 h 3959978"/>
                  <a:gd name="connsiteX1309" fmla="*/ 4361801 w 7724301"/>
                  <a:gd name="connsiteY1309" fmla="*/ 3025992 h 3959978"/>
                  <a:gd name="connsiteX1310" fmla="*/ 4388713 w 7724301"/>
                  <a:gd name="connsiteY1310" fmla="*/ 3075690 h 3959978"/>
                  <a:gd name="connsiteX1311" fmla="*/ 4388713 w 7724301"/>
                  <a:gd name="connsiteY1311" fmla="*/ 3113554 h 3959978"/>
                  <a:gd name="connsiteX1312" fmla="*/ 4375256 w 7724301"/>
                  <a:gd name="connsiteY1312" fmla="*/ 3126964 h 3959978"/>
                  <a:gd name="connsiteX1313" fmla="*/ 4320640 w 7724301"/>
                  <a:gd name="connsiteY1313" fmla="*/ 3139585 h 3959978"/>
                  <a:gd name="connsiteX1314" fmla="*/ 4320640 w 7724301"/>
                  <a:gd name="connsiteY1314" fmla="*/ 3151418 h 3959978"/>
                  <a:gd name="connsiteX1315" fmla="*/ 4320640 w 7724301"/>
                  <a:gd name="connsiteY1315" fmla="*/ 3164827 h 3959978"/>
                  <a:gd name="connsiteX1316" fmla="*/ 4321243 w 7724301"/>
                  <a:gd name="connsiteY1316" fmla="*/ 3164827 h 3959978"/>
                  <a:gd name="connsiteX1317" fmla="*/ 4321243 w 7724301"/>
                  <a:gd name="connsiteY1317" fmla="*/ 3176661 h 3959978"/>
                  <a:gd name="connsiteX1318" fmla="*/ 4321243 w 7724301"/>
                  <a:gd name="connsiteY1318" fmla="*/ 3214525 h 3959978"/>
                  <a:gd name="connsiteX1319" fmla="*/ 4293573 w 7724301"/>
                  <a:gd name="connsiteY1319" fmla="*/ 3227146 h 3959978"/>
                  <a:gd name="connsiteX1320" fmla="*/ 4266693 w 7724301"/>
                  <a:gd name="connsiteY1320" fmla="*/ 3265010 h 3959978"/>
                  <a:gd name="connsiteX1321" fmla="*/ 4225582 w 7724301"/>
                  <a:gd name="connsiteY1321" fmla="*/ 3302875 h 3959978"/>
                  <a:gd name="connsiteX1322" fmla="*/ 4197912 w 7724301"/>
                  <a:gd name="connsiteY1322" fmla="*/ 3328118 h 3959978"/>
                  <a:gd name="connsiteX1323" fmla="*/ 4156801 w 7724301"/>
                  <a:gd name="connsiteY1323" fmla="*/ 3340740 h 3959978"/>
                  <a:gd name="connsiteX1324" fmla="*/ 4129921 w 7724301"/>
                  <a:gd name="connsiteY1324" fmla="*/ 3340740 h 3959978"/>
                  <a:gd name="connsiteX1325" fmla="*/ 4088811 w 7724301"/>
                  <a:gd name="connsiteY1325" fmla="*/ 3340740 h 3959978"/>
                  <a:gd name="connsiteX1326" fmla="*/ 4046119 w 7724301"/>
                  <a:gd name="connsiteY1326" fmla="*/ 3354149 h 3959978"/>
                  <a:gd name="connsiteX1327" fmla="*/ 4032678 w 7724301"/>
                  <a:gd name="connsiteY1327" fmla="*/ 3354149 h 3959978"/>
                  <a:gd name="connsiteX1328" fmla="*/ 4019239 w 7724301"/>
                  <a:gd name="connsiteY1328" fmla="*/ 3340740 h 3959978"/>
                  <a:gd name="connsiteX1329" fmla="*/ 4005009 w 7724301"/>
                  <a:gd name="connsiteY1329" fmla="*/ 3302875 h 3959978"/>
                  <a:gd name="connsiteX1330" fmla="*/ 4005009 w 7724301"/>
                  <a:gd name="connsiteY1330" fmla="*/ 3290253 h 3959978"/>
                  <a:gd name="connsiteX1331" fmla="*/ 3978128 w 7724301"/>
                  <a:gd name="connsiteY1331" fmla="*/ 3214525 h 3959978"/>
                  <a:gd name="connsiteX1332" fmla="*/ 3967948 w 7724301"/>
                  <a:gd name="connsiteY1332" fmla="*/ 3214525 h 3959978"/>
                  <a:gd name="connsiteX1333" fmla="*/ 3967054 w 7724301"/>
                  <a:gd name="connsiteY1333" fmla="*/ 3215312 h 3959978"/>
                  <a:gd name="connsiteX1334" fmla="*/ 3966611 w 7724301"/>
                  <a:gd name="connsiteY1334" fmla="*/ 3214525 h 3959978"/>
                  <a:gd name="connsiteX1335" fmla="*/ 3964688 w 7724301"/>
                  <a:gd name="connsiteY1335" fmla="*/ 3214525 h 3959978"/>
                  <a:gd name="connsiteX1336" fmla="*/ 3965974 w 7724301"/>
                  <a:gd name="connsiteY1336" fmla="*/ 3213393 h 3959978"/>
                  <a:gd name="connsiteX1337" fmla="*/ 3952856 w 7724301"/>
                  <a:gd name="connsiteY1337" fmla="*/ 3190070 h 3959978"/>
                  <a:gd name="connsiteX1338" fmla="*/ 3926035 w 7724301"/>
                  <a:gd name="connsiteY1338" fmla="*/ 3114341 h 3959978"/>
                  <a:gd name="connsiteX1339" fmla="*/ 3926035 w 7724301"/>
                  <a:gd name="connsiteY1339" fmla="*/ 3076477 h 3959978"/>
                  <a:gd name="connsiteX1340" fmla="*/ 3871604 w 7724301"/>
                  <a:gd name="connsiteY1340" fmla="*/ 2976295 h 3959978"/>
                  <a:gd name="connsiteX1341" fmla="*/ 3871604 w 7724301"/>
                  <a:gd name="connsiteY1341" fmla="*/ 2962884 h 3959978"/>
                  <a:gd name="connsiteX1342" fmla="*/ 3896906 w 7724301"/>
                  <a:gd name="connsiteY1342" fmla="*/ 2962884 h 3959978"/>
                  <a:gd name="connsiteX1343" fmla="*/ 3896617 w 7724301"/>
                  <a:gd name="connsiteY1343" fmla="*/ 2962177 h 3959978"/>
                  <a:gd name="connsiteX1344" fmla="*/ 3871604 w 7724301"/>
                  <a:gd name="connsiteY1344" fmla="*/ 2962177 h 3959978"/>
                  <a:gd name="connsiteX1345" fmla="*/ 3871604 w 7724301"/>
                  <a:gd name="connsiteY1345" fmla="*/ 2937799 h 3959978"/>
                  <a:gd name="connsiteX1346" fmla="*/ 3885053 w 7724301"/>
                  <a:gd name="connsiteY1346" fmla="*/ 2886685 h 3959978"/>
                  <a:gd name="connsiteX1347" fmla="*/ 3902430 w 7724301"/>
                  <a:gd name="connsiteY1347" fmla="*/ 2879064 h 3959978"/>
                  <a:gd name="connsiteX1348" fmla="*/ 3909163 w 7724301"/>
                  <a:gd name="connsiteY1348" fmla="*/ 2838665 h 3959978"/>
                  <a:gd name="connsiteX1349" fmla="*/ 3898502 w 7724301"/>
                  <a:gd name="connsiteY1349" fmla="*/ 2799396 h 3959978"/>
                  <a:gd name="connsiteX1350" fmla="*/ 3898502 w 7724301"/>
                  <a:gd name="connsiteY1350" fmla="*/ 2786814 h 3959978"/>
                  <a:gd name="connsiteX1351" fmla="*/ 3885053 w 7724301"/>
                  <a:gd name="connsiteY1351" fmla="*/ 2749067 h 3959978"/>
                  <a:gd name="connsiteX1352" fmla="*/ 3911952 w 7724301"/>
                  <a:gd name="connsiteY1352" fmla="*/ 2735698 h 3959978"/>
                  <a:gd name="connsiteX1353" fmla="*/ 3926325 w 7724301"/>
                  <a:gd name="connsiteY1353" fmla="*/ 2735698 h 3959978"/>
                  <a:gd name="connsiteX1354" fmla="*/ 3926434 w 7724301"/>
                  <a:gd name="connsiteY1354" fmla="*/ 2735043 h 3959978"/>
                  <a:gd name="connsiteX1355" fmla="*/ 3910364 w 7724301"/>
                  <a:gd name="connsiteY1355" fmla="*/ 2735043 h 3959978"/>
                  <a:gd name="connsiteX1356" fmla="*/ 3882649 w 7724301"/>
                  <a:gd name="connsiteY1356" fmla="*/ 2748511 h 3959978"/>
                  <a:gd name="connsiteX1357" fmla="*/ 3882649 w 7724301"/>
                  <a:gd name="connsiteY1357" fmla="*/ 2735043 h 3959978"/>
                  <a:gd name="connsiteX1358" fmla="*/ 3896096 w 7724301"/>
                  <a:gd name="connsiteY1358" fmla="*/ 2710512 h 3959978"/>
                  <a:gd name="connsiteX1359" fmla="*/ 3883437 w 7724301"/>
                  <a:gd name="connsiteY1359" fmla="*/ 2710512 h 3959978"/>
                  <a:gd name="connsiteX1360" fmla="*/ 3883437 w 7724301"/>
                  <a:gd name="connsiteY1360" fmla="*/ 2723076 h 3959978"/>
                  <a:gd name="connsiteX1361" fmla="*/ 3855918 w 7724301"/>
                  <a:gd name="connsiteY1361" fmla="*/ 2697245 h 3959978"/>
                  <a:gd name="connsiteX1362" fmla="*/ 3855918 w 7724301"/>
                  <a:gd name="connsiteY1362" fmla="*/ 2697833 h 3959978"/>
                  <a:gd name="connsiteX1363" fmla="*/ 3827875 w 7724301"/>
                  <a:gd name="connsiteY1363" fmla="*/ 2673226 h 3959978"/>
                  <a:gd name="connsiteX1364" fmla="*/ 3800610 w 7724301"/>
                  <a:gd name="connsiteY1364" fmla="*/ 2635917 h 3959978"/>
                  <a:gd name="connsiteX1365" fmla="*/ 3814632 w 7724301"/>
                  <a:gd name="connsiteY1365" fmla="*/ 2621629 h 3959978"/>
                  <a:gd name="connsiteX1366" fmla="*/ 3814632 w 7724301"/>
                  <a:gd name="connsiteY1366" fmla="*/ 2609722 h 3959978"/>
                  <a:gd name="connsiteX1367" fmla="*/ 3827875 w 7724301"/>
                  <a:gd name="connsiteY1367" fmla="*/ 2597815 h 3959978"/>
                  <a:gd name="connsiteX1368" fmla="*/ 3851403 w 7724301"/>
                  <a:gd name="connsiteY1368" fmla="*/ 2597815 h 3959978"/>
                  <a:gd name="connsiteX1369" fmla="*/ 3850784 w 7724301"/>
                  <a:gd name="connsiteY1369" fmla="*/ 2596863 h 3959978"/>
                  <a:gd name="connsiteX1370" fmla="*/ 3826895 w 7724301"/>
                  <a:gd name="connsiteY1370" fmla="*/ 2596863 h 3959978"/>
                  <a:gd name="connsiteX1371" fmla="*/ 3813231 w 7724301"/>
                  <a:gd name="connsiteY1371" fmla="*/ 2596863 h 3959978"/>
                  <a:gd name="connsiteX1372" fmla="*/ 3826895 w 7724301"/>
                  <a:gd name="connsiteY1372" fmla="*/ 2571619 h 3959978"/>
                  <a:gd name="connsiteX1373" fmla="*/ 3827960 w 7724301"/>
                  <a:gd name="connsiteY1373" fmla="*/ 2571619 h 3959978"/>
                  <a:gd name="connsiteX1374" fmla="*/ 3827960 w 7724301"/>
                  <a:gd name="connsiteY1374" fmla="*/ 2560576 h 3959978"/>
                  <a:gd name="connsiteX1375" fmla="*/ 3814676 w 7724301"/>
                  <a:gd name="connsiteY1375" fmla="*/ 2546376 h 3959978"/>
                  <a:gd name="connsiteX1376" fmla="*/ 3800610 w 7724301"/>
                  <a:gd name="connsiteY1376" fmla="*/ 2534544 h 3959978"/>
                  <a:gd name="connsiteX1377" fmla="*/ 3800610 w 7724301"/>
                  <a:gd name="connsiteY1377" fmla="*/ 2533755 h 3959978"/>
                  <a:gd name="connsiteX1378" fmla="*/ 3745171 w 7724301"/>
                  <a:gd name="connsiteY1378" fmla="*/ 2533755 h 3959978"/>
                  <a:gd name="connsiteX1379" fmla="*/ 3731803 w 7724301"/>
                  <a:gd name="connsiteY1379" fmla="*/ 2533755 h 3959978"/>
                  <a:gd name="connsiteX1380" fmla="*/ 3718436 w 7724301"/>
                  <a:gd name="connsiteY1380" fmla="*/ 2507723 h 3959978"/>
                  <a:gd name="connsiteX1381" fmla="*/ 3718436 w 7724301"/>
                  <a:gd name="connsiteY1381" fmla="*/ 2495891 h 3959978"/>
                  <a:gd name="connsiteX1382" fmla="*/ 3678147 w 7724301"/>
                  <a:gd name="connsiteY1382" fmla="*/ 2495891 h 3959978"/>
                  <a:gd name="connsiteX1383" fmla="*/ 3675973 w 7724301"/>
                  <a:gd name="connsiteY1383" fmla="*/ 2495891 h 3959978"/>
                  <a:gd name="connsiteX1384" fmla="*/ 3650137 w 7724301"/>
                  <a:gd name="connsiteY1384" fmla="*/ 2495891 h 3959978"/>
                  <a:gd name="connsiteX1385" fmla="*/ 3650137 w 7724301"/>
                  <a:gd name="connsiteY1385" fmla="*/ 2487247 h 3959978"/>
                  <a:gd name="connsiteX1386" fmla="*/ 3649153 w 7724301"/>
                  <a:gd name="connsiteY1386" fmla="*/ 2487359 h 3959978"/>
                  <a:gd name="connsiteX1387" fmla="*/ 3649153 w 7724301"/>
                  <a:gd name="connsiteY1387" fmla="*/ 2495890 h 3959978"/>
                  <a:gd name="connsiteX1388" fmla="*/ 3635743 w 7724301"/>
                  <a:gd name="connsiteY1388" fmla="*/ 2495890 h 3959978"/>
                  <a:gd name="connsiteX1389" fmla="*/ 3635743 w 7724301"/>
                  <a:gd name="connsiteY1389" fmla="*/ 2495721 h 3959978"/>
                  <a:gd name="connsiteX1390" fmla="*/ 3568691 w 7724301"/>
                  <a:gd name="connsiteY1390" fmla="*/ 2521132 h 3959978"/>
                  <a:gd name="connsiteX1391" fmla="*/ 3554492 w 7724301"/>
                  <a:gd name="connsiteY1391" fmla="*/ 2521132 h 3959978"/>
                  <a:gd name="connsiteX1392" fmla="*/ 3554492 w 7724301"/>
                  <a:gd name="connsiteY1392" fmla="*/ 2499444 h 3959978"/>
                  <a:gd name="connsiteX1393" fmla="*/ 3552833 w 7724301"/>
                  <a:gd name="connsiteY1393" fmla="*/ 2499706 h 3959978"/>
                  <a:gd name="connsiteX1394" fmla="*/ 3552833 w 7724301"/>
                  <a:gd name="connsiteY1394" fmla="*/ 2521847 h 3959978"/>
                  <a:gd name="connsiteX1395" fmla="*/ 3525858 w 7724301"/>
                  <a:gd name="connsiteY1395" fmla="*/ 2521847 h 3959978"/>
                  <a:gd name="connsiteX1396" fmla="*/ 3484601 w 7724301"/>
                  <a:gd name="connsiteY1396" fmla="*/ 2521847 h 3959978"/>
                  <a:gd name="connsiteX1397" fmla="*/ 3458255 w 7724301"/>
                  <a:gd name="connsiteY1397" fmla="*/ 2533144 h 3959978"/>
                  <a:gd name="connsiteX1398" fmla="*/ 3458255 w 7724301"/>
                  <a:gd name="connsiteY1398" fmla="*/ 2533755 h 3959978"/>
                  <a:gd name="connsiteX1399" fmla="*/ 3429392 w 7724301"/>
                  <a:gd name="connsiteY1399" fmla="*/ 2533755 h 3959978"/>
                  <a:gd name="connsiteX1400" fmla="*/ 3360439 w 7724301"/>
                  <a:gd name="connsiteY1400" fmla="*/ 2483610 h 3959978"/>
                  <a:gd name="connsiteX1401" fmla="*/ 3361633 w 7724301"/>
                  <a:gd name="connsiteY1401" fmla="*/ 2482461 h 3959978"/>
                  <a:gd name="connsiteX1402" fmla="*/ 3348817 w 7724301"/>
                  <a:gd name="connsiteY1402" fmla="*/ 2469245 h 3959978"/>
                  <a:gd name="connsiteX1403" fmla="*/ 3333618 w 7724301"/>
                  <a:gd name="connsiteY1403" fmla="*/ 2469245 h 3959978"/>
                  <a:gd name="connsiteX1404" fmla="*/ 3333618 w 7724301"/>
                  <a:gd name="connsiteY1404" fmla="*/ 2431848 h 3959978"/>
                  <a:gd name="connsiteX1405" fmla="*/ 3334052 w 7724301"/>
                  <a:gd name="connsiteY1405" fmla="*/ 2431514 h 3959978"/>
                  <a:gd name="connsiteX1406" fmla="*/ 3294174 w 7724301"/>
                  <a:gd name="connsiteY1406" fmla="*/ 2408143 h 3959978"/>
                  <a:gd name="connsiteX1407" fmla="*/ 3311340 w 7724301"/>
                  <a:gd name="connsiteY1407" fmla="*/ 2391702 h 3959978"/>
                  <a:gd name="connsiteX1408" fmla="*/ 3310067 w 7724301"/>
                  <a:gd name="connsiteY1408" fmla="*/ 2390430 h 3959978"/>
                  <a:gd name="connsiteX1409" fmla="*/ 3292127 w 7724301"/>
                  <a:gd name="connsiteY1409" fmla="*/ 2407541 h 3959978"/>
                  <a:gd name="connsiteX1410" fmla="*/ 3278871 w 7724301"/>
                  <a:gd name="connsiteY1410" fmla="*/ 2393343 h 3959978"/>
                  <a:gd name="connsiteX1411" fmla="*/ 3278871 w 7724301"/>
                  <a:gd name="connsiteY1411" fmla="*/ 2381510 h 3959978"/>
                  <a:gd name="connsiteX1412" fmla="*/ 3251578 w 7724301"/>
                  <a:gd name="connsiteY1412" fmla="*/ 2369677 h 3959978"/>
                  <a:gd name="connsiteX1413" fmla="*/ 3253865 w 7724301"/>
                  <a:gd name="connsiteY1413" fmla="*/ 2369677 h 3959978"/>
                  <a:gd name="connsiteX1414" fmla="*/ 3253865 w 7724301"/>
                  <a:gd name="connsiteY1414" fmla="*/ 2357055 h 3959978"/>
                  <a:gd name="connsiteX1415" fmla="*/ 3251578 w 7724301"/>
                  <a:gd name="connsiteY1415" fmla="*/ 2357055 h 3959978"/>
                  <a:gd name="connsiteX1416" fmla="*/ 3251578 w 7724301"/>
                  <a:gd name="connsiteY1416" fmla="*/ 2344434 h 3959978"/>
                  <a:gd name="connsiteX1417" fmla="*/ 3286771 w 7724301"/>
                  <a:gd name="connsiteY1417" fmla="*/ 2344434 h 3959978"/>
                  <a:gd name="connsiteX1418" fmla="*/ 3286674 w 7724301"/>
                  <a:gd name="connsiteY1418" fmla="*/ 2343876 h 3959978"/>
                  <a:gd name="connsiteX1419" fmla="*/ 3253865 w 7724301"/>
                  <a:gd name="connsiteY1419" fmla="*/ 2343876 h 3959978"/>
                  <a:gd name="connsiteX1420" fmla="*/ 3240533 w 7724301"/>
                  <a:gd name="connsiteY1420" fmla="*/ 2318075 h 3959978"/>
                  <a:gd name="connsiteX1421" fmla="*/ 3253777 w 7724301"/>
                  <a:gd name="connsiteY1421" fmla="*/ 2294775 h 3959978"/>
                  <a:gd name="connsiteX1422" fmla="*/ 3267311 w 7724301"/>
                  <a:gd name="connsiteY1422" fmla="*/ 2245606 h 3959978"/>
                  <a:gd name="connsiteX1423" fmla="*/ 3253155 w 7724301"/>
                  <a:gd name="connsiteY1423" fmla="*/ 2232947 h 3959978"/>
                  <a:gd name="connsiteX1424" fmla="*/ 3264007 w 7724301"/>
                  <a:gd name="connsiteY1424" fmla="*/ 2213539 h 3959978"/>
                  <a:gd name="connsiteX1425" fmla="*/ 3262181 w 7724301"/>
                  <a:gd name="connsiteY1425" fmla="*/ 2203041 h 3959978"/>
                  <a:gd name="connsiteX1426" fmla="*/ 3253155 w 7724301"/>
                  <a:gd name="connsiteY1426" fmla="*/ 2194969 h 3959978"/>
                  <a:gd name="connsiteX1427" fmla="*/ 3266523 w 7724301"/>
                  <a:gd name="connsiteY1427" fmla="*/ 2183763 h 3959978"/>
                  <a:gd name="connsiteX1428" fmla="*/ 3266866 w 7724301"/>
                  <a:gd name="connsiteY1428" fmla="*/ 2183077 h 3959978"/>
                  <a:gd name="connsiteX1429" fmla="*/ 3253155 w 7724301"/>
                  <a:gd name="connsiteY1429" fmla="*/ 2194553 h 3959978"/>
                  <a:gd name="connsiteX1430" fmla="*/ 3253155 w 7724301"/>
                  <a:gd name="connsiteY1430" fmla="*/ 2169310 h 3959978"/>
                  <a:gd name="connsiteX1431" fmla="*/ 3293995 w 7724301"/>
                  <a:gd name="connsiteY1431" fmla="*/ 2118825 h 3959978"/>
                  <a:gd name="connsiteX1432" fmla="*/ 3307346 w 7724301"/>
                  <a:gd name="connsiteY1432" fmla="*/ 2080961 h 3959978"/>
                  <a:gd name="connsiteX1433" fmla="*/ 3323054 w 7724301"/>
                  <a:gd name="connsiteY1433" fmla="*/ 2069128 h 3959978"/>
                  <a:gd name="connsiteX1434" fmla="*/ 3336330 w 7724301"/>
                  <a:gd name="connsiteY1434" fmla="*/ 2043244 h 3959978"/>
                  <a:gd name="connsiteX1435" fmla="*/ 3335195 w 7724301"/>
                  <a:gd name="connsiteY1435" fmla="*/ 2043097 h 3959978"/>
                  <a:gd name="connsiteX1436" fmla="*/ 3363594 w 7724301"/>
                  <a:gd name="connsiteY1436" fmla="*/ 2043097 h 3959978"/>
                  <a:gd name="connsiteX1437" fmla="*/ 3391204 w 7724301"/>
                  <a:gd name="connsiteY1437" fmla="*/ 2017853 h 3959978"/>
                  <a:gd name="connsiteX1438" fmla="*/ 3404613 w 7724301"/>
                  <a:gd name="connsiteY1438" fmla="*/ 1993400 h 3959978"/>
                  <a:gd name="connsiteX1439" fmla="*/ 3404613 w 7724301"/>
                  <a:gd name="connsiteY1439" fmla="*/ 1967368 h 3959978"/>
                  <a:gd name="connsiteX1440" fmla="*/ 3418813 w 7724301"/>
                  <a:gd name="connsiteY1440" fmla="*/ 1942125 h 3959978"/>
                  <a:gd name="connsiteX1441" fmla="*/ 3432224 w 7724301"/>
                  <a:gd name="connsiteY1441" fmla="*/ 1917672 h 3959978"/>
                  <a:gd name="connsiteX1442" fmla="*/ 3473244 w 7724301"/>
                  <a:gd name="connsiteY1442" fmla="*/ 1904261 h 3959978"/>
                  <a:gd name="connsiteX1443" fmla="*/ 3486653 w 7724301"/>
                  <a:gd name="connsiteY1443" fmla="*/ 1866396 h 3959978"/>
                  <a:gd name="connsiteX1444" fmla="*/ 3500064 w 7724301"/>
                  <a:gd name="connsiteY1444" fmla="*/ 1866396 h 3959978"/>
                  <a:gd name="connsiteX1445" fmla="*/ 3514263 w 7724301"/>
                  <a:gd name="connsiteY1445" fmla="*/ 1879807 h 3959978"/>
                  <a:gd name="connsiteX1446" fmla="*/ 3554494 w 7724301"/>
                  <a:gd name="connsiteY1446" fmla="*/ 1879807 h 3959978"/>
                  <a:gd name="connsiteX1447" fmla="*/ 3568149 w 7724301"/>
                  <a:gd name="connsiteY1447" fmla="*/ 1879807 h 3959978"/>
                  <a:gd name="connsiteX1448" fmla="*/ 3637692 w 7724301"/>
                  <a:gd name="connsiteY1448" fmla="*/ 1841943 h 3959978"/>
                  <a:gd name="connsiteX1449" fmla="*/ 3678785 w 7724301"/>
                  <a:gd name="connsiteY1449" fmla="*/ 1841943 h 3959978"/>
                  <a:gd name="connsiteX1450" fmla="*/ 4497945 w 7724301"/>
                  <a:gd name="connsiteY1450" fmla="*/ 1826821 h 3959978"/>
                  <a:gd name="connsiteX1451" fmla="*/ 4477672 w 7724301"/>
                  <a:gd name="connsiteY1451" fmla="*/ 1833614 h 3959978"/>
                  <a:gd name="connsiteX1452" fmla="*/ 4497745 w 7724301"/>
                  <a:gd name="connsiteY1452" fmla="*/ 1826955 h 3959978"/>
                  <a:gd name="connsiteX1453" fmla="*/ 4538489 w 7724301"/>
                  <a:gd name="connsiteY1453" fmla="*/ 1826955 h 3959978"/>
                  <a:gd name="connsiteX1454" fmla="*/ 4538490 w 7724301"/>
                  <a:gd name="connsiteY1454" fmla="*/ 1826955 h 3959978"/>
                  <a:gd name="connsiteX1455" fmla="*/ 4538490 w 7724301"/>
                  <a:gd name="connsiteY1455" fmla="*/ 1826821 h 3959978"/>
                  <a:gd name="connsiteX1456" fmla="*/ 4443515 w 7724301"/>
                  <a:gd name="connsiteY1456" fmla="*/ 1826821 h 3959978"/>
                  <a:gd name="connsiteX1457" fmla="*/ 4443067 w 7724301"/>
                  <a:gd name="connsiteY1457" fmla="*/ 1826969 h 3959978"/>
                  <a:gd name="connsiteX1458" fmla="*/ 4457321 w 7724301"/>
                  <a:gd name="connsiteY1458" fmla="*/ 1840366 h 3959978"/>
                  <a:gd name="connsiteX1459" fmla="*/ 4457662 w 7724301"/>
                  <a:gd name="connsiteY1459" fmla="*/ 1840252 h 3959978"/>
                  <a:gd name="connsiteX1460" fmla="*/ 4088537 w 7724301"/>
                  <a:gd name="connsiteY1460" fmla="*/ 1803289 h 3959978"/>
                  <a:gd name="connsiteX1461" fmla="*/ 4116146 w 7724301"/>
                  <a:gd name="connsiteY1461" fmla="*/ 1815121 h 3959978"/>
                  <a:gd name="connsiteX1462" fmla="*/ 4116146 w 7724301"/>
                  <a:gd name="connsiteY1462" fmla="*/ 1827744 h 3959978"/>
                  <a:gd name="connsiteX1463" fmla="*/ 4101946 w 7724301"/>
                  <a:gd name="connsiteY1463" fmla="*/ 1815121 h 3959978"/>
                  <a:gd name="connsiteX1464" fmla="*/ 4116146 w 7724301"/>
                  <a:gd name="connsiteY1464" fmla="*/ 1841153 h 3959978"/>
                  <a:gd name="connsiteX1465" fmla="*/ 4101946 w 7724301"/>
                  <a:gd name="connsiteY1465" fmla="*/ 1841153 h 3959978"/>
                  <a:gd name="connsiteX1466" fmla="*/ 4088537 w 7724301"/>
                  <a:gd name="connsiteY1466" fmla="*/ 1841153 h 3959978"/>
                  <a:gd name="connsiteX1467" fmla="*/ 4088537 w 7724301"/>
                  <a:gd name="connsiteY1467" fmla="*/ 1815121 h 3959978"/>
                  <a:gd name="connsiteX1468" fmla="*/ 4075126 w 7724301"/>
                  <a:gd name="connsiteY1468" fmla="*/ 1815121 h 3959978"/>
                  <a:gd name="connsiteX1469" fmla="*/ 1983934 w 7724301"/>
                  <a:gd name="connsiteY1469" fmla="*/ 1764280 h 3959978"/>
                  <a:gd name="connsiteX1470" fmla="*/ 1997344 w 7724301"/>
                  <a:gd name="connsiteY1470" fmla="*/ 1788703 h 3959978"/>
                  <a:gd name="connsiteX1471" fmla="*/ 1983934 w 7724301"/>
                  <a:gd name="connsiteY1471" fmla="*/ 1826519 h 3959978"/>
                  <a:gd name="connsiteX1472" fmla="*/ 1983934 w 7724301"/>
                  <a:gd name="connsiteY1472" fmla="*/ 1802096 h 3959978"/>
                  <a:gd name="connsiteX1473" fmla="*/ 1969734 w 7724301"/>
                  <a:gd name="connsiteY1473" fmla="*/ 1788703 h 3959978"/>
                  <a:gd name="connsiteX1474" fmla="*/ 4581561 w 7724301"/>
                  <a:gd name="connsiteY1474" fmla="*/ 1751225 h 3959978"/>
                  <a:gd name="connsiteX1475" fmla="*/ 4608381 w 7724301"/>
                  <a:gd name="connsiteY1475" fmla="*/ 1764229 h 3959978"/>
                  <a:gd name="connsiteX1476" fmla="*/ 4608381 w 7724301"/>
                  <a:gd name="connsiteY1476" fmla="*/ 1776469 h 3959978"/>
                  <a:gd name="connsiteX1477" fmla="*/ 4594588 w 7724301"/>
                  <a:gd name="connsiteY1477" fmla="*/ 1776469 h 3959978"/>
                  <a:gd name="connsiteX1478" fmla="*/ 3677551 w 7724301"/>
                  <a:gd name="connsiteY1478" fmla="*/ 1751225 h 3959978"/>
                  <a:gd name="connsiteX1479" fmla="*/ 3691750 w 7724301"/>
                  <a:gd name="connsiteY1479" fmla="*/ 1764229 h 3959978"/>
                  <a:gd name="connsiteX1480" fmla="*/ 3677551 w 7724301"/>
                  <a:gd name="connsiteY1480" fmla="*/ 1776469 h 3959978"/>
                  <a:gd name="connsiteX1481" fmla="*/ 3663351 w 7724301"/>
                  <a:gd name="connsiteY1481" fmla="*/ 1764229 h 3959978"/>
                  <a:gd name="connsiteX1482" fmla="*/ 3786410 w 7724301"/>
                  <a:gd name="connsiteY1482" fmla="*/ 1727561 h 3959978"/>
                  <a:gd name="connsiteX1483" fmla="*/ 3814021 w 7724301"/>
                  <a:gd name="connsiteY1483" fmla="*/ 1727561 h 3959978"/>
                  <a:gd name="connsiteX1484" fmla="*/ 3827430 w 7724301"/>
                  <a:gd name="connsiteY1484" fmla="*/ 1740022 h 3959978"/>
                  <a:gd name="connsiteX1485" fmla="*/ 3814021 w 7724301"/>
                  <a:gd name="connsiteY1485" fmla="*/ 1777408 h 3959978"/>
                  <a:gd name="connsiteX1486" fmla="*/ 3799821 w 7724301"/>
                  <a:gd name="connsiteY1486" fmla="*/ 1789091 h 3959978"/>
                  <a:gd name="connsiteX1487" fmla="*/ 3799821 w 7724301"/>
                  <a:gd name="connsiteY1487" fmla="*/ 1777408 h 3959978"/>
                  <a:gd name="connsiteX1488" fmla="*/ 4182427 w 7724301"/>
                  <a:gd name="connsiteY1488" fmla="*/ 1716734 h 3959978"/>
                  <a:gd name="connsiteX1489" fmla="*/ 4182075 w 7724301"/>
                  <a:gd name="connsiteY1489" fmla="*/ 1717090 h 3959978"/>
                  <a:gd name="connsiteX1490" fmla="*/ 4180831 w 7724301"/>
                  <a:gd name="connsiteY1490" fmla="*/ 1719521 h 3959978"/>
                  <a:gd name="connsiteX1491" fmla="*/ 6660156 w 7724301"/>
                  <a:gd name="connsiteY1491" fmla="*/ 1713361 h 3959978"/>
                  <a:gd name="connsiteX1492" fmla="*/ 6673566 w 7724301"/>
                  <a:gd name="connsiteY1492" fmla="*/ 1726824 h 3959978"/>
                  <a:gd name="connsiteX1493" fmla="*/ 6673566 w 7724301"/>
                  <a:gd name="connsiteY1493" fmla="*/ 1777506 h 3959978"/>
                  <a:gd name="connsiteX1494" fmla="*/ 6673566 w 7724301"/>
                  <a:gd name="connsiteY1494" fmla="*/ 1802847 h 3959978"/>
                  <a:gd name="connsiteX1495" fmla="*/ 6660156 w 7724301"/>
                  <a:gd name="connsiteY1495" fmla="*/ 1802847 h 3959978"/>
                  <a:gd name="connsiteX1496" fmla="*/ 6660156 w 7724301"/>
                  <a:gd name="connsiteY1496" fmla="*/ 1865408 h 3959978"/>
                  <a:gd name="connsiteX1497" fmla="*/ 6646745 w 7724301"/>
                  <a:gd name="connsiteY1497" fmla="*/ 1878870 h 3959978"/>
                  <a:gd name="connsiteX1498" fmla="*/ 6632546 w 7724301"/>
                  <a:gd name="connsiteY1498" fmla="*/ 1878870 h 3959978"/>
                  <a:gd name="connsiteX1499" fmla="*/ 6632546 w 7724301"/>
                  <a:gd name="connsiteY1499" fmla="*/ 1865408 h 3959978"/>
                  <a:gd name="connsiteX1500" fmla="*/ 6619136 w 7724301"/>
                  <a:gd name="connsiteY1500" fmla="*/ 1878870 h 3959978"/>
                  <a:gd name="connsiteX1501" fmla="*/ 6619136 w 7724301"/>
                  <a:gd name="connsiteY1501" fmla="*/ 1890749 h 3959978"/>
                  <a:gd name="connsiteX1502" fmla="*/ 6605725 w 7724301"/>
                  <a:gd name="connsiteY1502" fmla="*/ 1878870 h 3959978"/>
                  <a:gd name="connsiteX1503" fmla="*/ 6591527 w 7724301"/>
                  <a:gd name="connsiteY1503" fmla="*/ 1890749 h 3959978"/>
                  <a:gd name="connsiteX1504" fmla="*/ 6578116 w 7724301"/>
                  <a:gd name="connsiteY1504" fmla="*/ 1890749 h 3959978"/>
                  <a:gd name="connsiteX1505" fmla="*/ 6564706 w 7724301"/>
                  <a:gd name="connsiteY1505" fmla="*/ 1878870 h 3959978"/>
                  <a:gd name="connsiteX1506" fmla="*/ 6564706 w 7724301"/>
                  <a:gd name="connsiteY1506" fmla="*/ 1890749 h 3959978"/>
                  <a:gd name="connsiteX1507" fmla="*/ 6551296 w 7724301"/>
                  <a:gd name="connsiteY1507" fmla="*/ 1916882 h 3959978"/>
                  <a:gd name="connsiteX1508" fmla="*/ 6537096 w 7724301"/>
                  <a:gd name="connsiteY1508" fmla="*/ 1903420 h 3959978"/>
                  <a:gd name="connsiteX1509" fmla="*/ 6537096 w 7724301"/>
                  <a:gd name="connsiteY1509" fmla="*/ 1890749 h 3959978"/>
                  <a:gd name="connsiteX1510" fmla="*/ 6523686 w 7724301"/>
                  <a:gd name="connsiteY1510" fmla="*/ 1878870 h 3959978"/>
                  <a:gd name="connsiteX1511" fmla="*/ 6469256 w 7724301"/>
                  <a:gd name="connsiteY1511" fmla="*/ 1903420 h 3959978"/>
                  <a:gd name="connsiteX1512" fmla="*/ 6441646 w 7724301"/>
                  <a:gd name="connsiteY1512" fmla="*/ 1903420 h 3959978"/>
                  <a:gd name="connsiteX1513" fmla="*/ 6441646 w 7724301"/>
                  <a:gd name="connsiteY1513" fmla="*/ 1890749 h 3959978"/>
                  <a:gd name="connsiteX1514" fmla="*/ 6482666 w 7724301"/>
                  <a:gd name="connsiteY1514" fmla="*/ 1865408 h 3959978"/>
                  <a:gd name="connsiteX1515" fmla="*/ 6537096 w 7724301"/>
                  <a:gd name="connsiteY1515" fmla="*/ 1865408 h 3959978"/>
                  <a:gd name="connsiteX1516" fmla="*/ 6551296 w 7724301"/>
                  <a:gd name="connsiteY1516" fmla="*/ 1865408 h 3959978"/>
                  <a:gd name="connsiteX1517" fmla="*/ 6564706 w 7724301"/>
                  <a:gd name="connsiteY1517" fmla="*/ 1827396 h 3959978"/>
                  <a:gd name="connsiteX1518" fmla="*/ 6578116 w 7724301"/>
                  <a:gd name="connsiteY1518" fmla="*/ 1814726 h 3959978"/>
                  <a:gd name="connsiteX1519" fmla="*/ 6578116 w 7724301"/>
                  <a:gd name="connsiteY1519" fmla="*/ 1840859 h 3959978"/>
                  <a:gd name="connsiteX1520" fmla="*/ 6605725 w 7724301"/>
                  <a:gd name="connsiteY1520" fmla="*/ 1814726 h 3959978"/>
                  <a:gd name="connsiteX1521" fmla="*/ 6632546 w 7724301"/>
                  <a:gd name="connsiteY1521" fmla="*/ 1777506 h 3959978"/>
                  <a:gd name="connsiteX1522" fmla="*/ 6646745 w 7724301"/>
                  <a:gd name="connsiteY1522" fmla="*/ 1726824 h 3959978"/>
                  <a:gd name="connsiteX1523" fmla="*/ 6660156 w 7724301"/>
                  <a:gd name="connsiteY1523" fmla="*/ 1726824 h 3959978"/>
                  <a:gd name="connsiteX1524" fmla="*/ 4582034 w 7724301"/>
                  <a:gd name="connsiteY1524" fmla="*/ 1713361 h 3959978"/>
                  <a:gd name="connsiteX1525" fmla="*/ 4609327 w 7724301"/>
                  <a:gd name="connsiteY1525" fmla="*/ 1739072 h 3959978"/>
                  <a:gd name="connsiteX1526" fmla="*/ 4609327 w 7724301"/>
                  <a:gd name="connsiteY1526" fmla="*/ 1750759 h 3959978"/>
                  <a:gd name="connsiteX1527" fmla="*/ 4609346 w 7724301"/>
                  <a:gd name="connsiteY1527" fmla="*/ 1750778 h 3959978"/>
                  <a:gd name="connsiteX1528" fmla="*/ 4609346 w 7724301"/>
                  <a:gd name="connsiteY1528" fmla="*/ 1738944 h 3959978"/>
                  <a:gd name="connsiteX1529" fmla="*/ 4582283 w 7724301"/>
                  <a:gd name="connsiteY1529" fmla="*/ 1713361 h 3959978"/>
                  <a:gd name="connsiteX1530" fmla="*/ 4552647 w 7724301"/>
                  <a:gd name="connsiteY1530" fmla="*/ 1713361 h 3959978"/>
                  <a:gd name="connsiteX1531" fmla="*/ 4566574 w 7724301"/>
                  <a:gd name="connsiteY1531" fmla="*/ 1750696 h 3959978"/>
                  <a:gd name="connsiteX1532" fmla="*/ 4568755 w 7724301"/>
                  <a:gd name="connsiteY1532" fmla="*/ 1750696 h 3959978"/>
                  <a:gd name="connsiteX1533" fmla="*/ 4554741 w 7724301"/>
                  <a:gd name="connsiteY1533" fmla="*/ 1713361 h 3959978"/>
                  <a:gd name="connsiteX1534" fmla="*/ 4553951 w 7724301"/>
                  <a:gd name="connsiteY1534" fmla="*/ 1713361 h 3959978"/>
                  <a:gd name="connsiteX1535" fmla="*/ 4609170 w 7724301"/>
                  <a:gd name="connsiteY1535" fmla="*/ 1701341 h 3959978"/>
                  <a:gd name="connsiteX1536" fmla="*/ 4621818 w 7724301"/>
                  <a:gd name="connsiteY1536" fmla="*/ 1712679 h 3959978"/>
                  <a:gd name="connsiteX1537" fmla="*/ 4622842 w 7724301"/>
                  <a:gd name="connsiteY1537" fmla="*/ 1712679 h 3959978"/>
                  <a:gd name="connsiteX1538" fmla="*/ 4610026 w 7724301"/>
                  <a:gd name="connsiteY1538" fmla="*/ 1701341 h 3959978"/>
                  <a:gd name="connsiteX1539" fmla="*/ 4019050 w 7724301"/>
                  <a:gd name="connsiteY1539" fmla="*/ 1675498 h 3959978"/>
                  <a:gd name="connsiteX1540" fmla="*/ 4019063 w 7724301"/>
                  <a:gd name="connsiteY1540" fmla="*/ 1675504 h 3959978"/>
                  <a:gd name="connsiteX1541" fmla="*/ 4019070 w 7724301"/>
                  <a:gd name="connsiteY1541" fmla="*/ 1675498 h 3959978"/>
                  <a:gd name="connsiteX1542" fmla="*/ 3813231 w 7724301"/>
                  <a:gd name="connsiteY1542" fmla="*/ 1675496 h 3959978"/>
                  <a:gd name="connsiteX1543" fmla="*/ 3813231 w 7724301"/>
                  <a:gd name="connsiteY1543" fmla="*/ 1727560 h 3959978"/>
                  <a:gd name="connsiteX1544" fmla="*/ 3800610 w 7724301"/>
                  <a:gd name="connsiteY1544" fmla="*/ 1713943 h 3959978"/>
                  <a:gd name="connsiteX1545" fmla="*/ 3800610 w 7724301"/>
                  <a:gd name="connsiteY1545" fmla="*/ 1689113 h 3959978"/>
                  <a:gd name="connsiteX1546" fmla="*/ 4019144 w 7724301"/>
                  <a:gd name="connsiteY1546" fmla="*/ 1674707 h 3959978"/>
                  <a:gd name="connsiteX1547" fmla="*/ 4019665 w 7724301"/>
                  <a:gd name="connsiteY1547" fmla="*/ 1674936 h 3959978"/>
                  <a:gd name="connsiteX1548" fmla="*/ 4019906 w 7724301"/>
                  <a:gd name="connsiteY1548" fmla="*/ 1674707 h 3959978"/>
                  <a:gd name="connsiteX1549" fmla="*/ 1996555 w 7724301"/>
                  <a:gd name="connsiteY1549" fmla="*/ 1625801 h 3959978"/>
                  <a:gd name="connsiteX1550" fmla="*/ 1968946 w 7724301"/>
                  <a:gd name="connsiteY1550" fmla="*/ 1637634 h 3959978"/>
                  <a:gd name="connsiteX1551" fmla="*/ 1955538 w 7724301"/>
                  <a:gd name="connsiteY1551" fmla="*/ 1651043 h 3959978"/>
                  <a:gd name="connsiteX1552" fmla="*/ 1902684 w 7724301"/>
                  <a:gd name="connsiteY1552" fmla="*/ 1663666 h 3959978"/>
                  <a:gd name="connsiteX1553" fmla="*/ 1914518 w 7724301"/>
                  <a:gd name="connsiteY1553" fmla="*/ 1663666 h 3959978"/>
                  <a:gd name="connsiteX1554" fmla="*/ 1914518 w 7724301"/>
                  <a:gd name="connsiteY1554" fmla="*/ 1675498 h 3959978"/>
                  <a:gd name="connsiteX1555" fmla="*/ 1860088 w 7724301"/>
                  <a:gd name="connsiteY1555" fmla="*/ 1688909 h 3959978"/>
                  <a:gd name="connsiteX1556" fmla="*/ 1846679 w 7724301"/>
                  <a:gd name="connsiteY1556" fmla="*/ 1701530 h 3959978"/>
                  <a:gd name="connsiteX1557" fmla="*/ 1819906 w 7724301"/>
                  <a:gd name="connsiteY1557" fmla="*/ 1713003 h 3959978"/>
                  <a:gd name="connsiteX1558" fmla="*/ 1819856 w 7724301"/>
                  <a:gd name="connsiteY1558" fmla="*/ 1713071 h 3959978"/>
                  <a:gd name="connsiteX1559" fmla="*/ 1834056 w 7724301"/>
                  <a:gd name="connsiteY1559" fmla="*/ 1713071 h 3959978"/>
                  <a:gd name="connsiteX1560" fmla="*/ 1860877 w 7724301"/>
                  <a:gd name="connsiteY1560" fmla="*/ 1713071 h 3959978"/>
                  <a:gd name="connsiteX1561" fmla="*/ 1915305 w 7724301"/>
                  <a:gd name="connsiteY1561" fmla="*/ 1675255 h 3959978"/>
                  <a:gd name="connsiteX1562" fmla="*/ 1915305 w 7724301"/>
                  <a:gd name="connsiteY1562" fmla="*/ 1663437 h 3959978"/>
                  <a:gd name="connsiteX1563" fmla="*/ 1969734 w 7724301"/>
                  <a:gd name="connsiteY1563" fmla="*/ 1663437 h 3959978"/>
                  <a:gd name="connsiteX1564" fmla="*/ 1969734 w 7724301"/>
                  <a:gd name="connsiteY1564" fmla="*/ 1637439 h 3959978"/>
                  <a:gd name="connsiteX1565" fmla="*/ 1996925 w 7724301"/>
                  <a:gd name="connsiteY1565" fmla="*/ 1625801 h 3959978"/>
                  <a:gd name="connsiteX1566" fmla="*/ 6460786 w 7724301"/>
                  <a:gd name="connsiteY1566" fmla="*/ 1616248 h 3959978"/>
                  <a:gd name="connsiteX1567" fmla="*/ 6439971 w 7724301"/>
                  <a:gd name="connsiteY1567" fmla="*/ 1625238 h 3959978"/>
                  <a:gd name="connsiteX1568" fmla="*/ 6440153 w 7724301"/>
                  <a:gd name="connsiteY1568" fmla="*/ 1625674 h 3959978"/>
                  <a:gd name="connsiteX1569" fmla="*/ 3953797 w 7724301"/>
                  <a:gd name="connsiteY1569" fmla="*/ 1613318 h 3959978"/>
                  <a:gd name="connsiteX1570" fmla="*/ 3953118 w 7724301"/>
                  <a:gd name="connsiteY1570" fmla="*/ 1613968 h 3959978"/>
                  <a:gd name="connsiteX1571" fmla="*/ 3967136 w 7724301"/>
                  <a:gd name="connsiteY1571" fmla="*/ 1626590 h 3959978"/>
                  <a:gd name="connsiteX1572" fmla="*/ 3993612 w 7724301"/>
                  <a:gd name="connsiteY1572" fmla="*/ 1664454 h 3959978"/>
                  <a:gd name="connsiteX1573" fmla="*/ 4009654 w 7724301"/>
                  <a:gd name="connsiteY1573" fmla="*/ 1671419 h 3959978"/>
                  <a:gd name="connsiteX1574" fmla="*/ 4010330 w 7724301"/>
                  <a:gd name="connsiteY1574" fmla="*/ 1670856 h 3959978"/>
                  <a:gd name="connsiteX1575" fmla="*/ 3993875 w 7724301"/>
                  <a:gd name="connsiteY1575" fmla="*/ 1663666 h 3959978"/>
                  <a:gd name="connsiteX1576" fmla="*/ 3967569 w 7724301"/>
                  <a:gd name="connsiteY1576" fmla="*/ 1625800 h 3959978"/>
                  <a:gd name="connsiteX1577" fmla="*/ 6469147 w 7724301"/>
                  <a:gd name="connsiteY1577" fmla="*/ 1612637 h 3959978"/>
                  <a:gd name="connsiteX1578" fmla="*/ 6467518 w 7724301"/>
                  <a:gd name="connsiteY1578" fmla="*/ 1613342 h 3959978"/>
                  <a:gd name="connsiteX1579" fmla="*/ 6480810 w 7724301"/>
                  <a:gd name="connsiteY1579" fmla="*/ 1625844 h 3959978"/>
                  <a:gd name="connsiteX1580" fmla="*/ 6481658 w 7724301"/>
                  <a:gd name="connsiteY1580" fmla="*/ 1624282 h 3959978"/>
                  <a:gd name="connsiteX1581" fmla="*/ 6823445 w 7724301"/>
                  <a:gd name="connsiteY1581" fmla="*/ 1599768 h 3959978"/>
                  <a:gd name="connsiteX1582" fmla="*/ 6810036 w 7724301"/>
                  <a:gd name="connsiteY1582" fmla="*/ 1613179 h 3959978"/>
                  <a:gd name="connsiteX1583" fmla="*/ 6782425 w 7724301"/>
                  <a:gd name="connsiteY1583" fmla="*/ 1637633 h 3959978"/>
                  <a:gd name="connsiteX1584" fmla="*/ 6673328 w 7724301"/>
                  <a:gd name="connsiteY1584" fmla="*/ 1599768 h 3959978"/>
                  <a:gd name="connsiteX1585" fmla="*/ 6714111 w 7724301"/>
                  <a:gd name="connsiteY1585" fmla="*/ 1637633 h 3959978"/>
                  <a:gd name="connsiteX1586" fmla="*/ 6741561 w 7724301"/>
                  <a:gd name="connsiteY1586" fmla="*/ 1651043 h 3959978"/>
                  <a:gd name="connsiteX1587" fmla="*/ 6754894 w 7724301"/>
                  <a:gd name="connsiteY1587" fmla="*/ 1663666 h 3959978"/>
                  <a:gd name="connsiteX1588" fmla="*/ 6767734 w 7724301"/>
                  <a:gd name="connsiteY1588" fmla="*/ 1663666 h 3959978"/>
                  <a:gd name="connsiteX1589" fmla="*/ 6768226 w 7724301"/>
                  <a:gd name="connsiteY1589" fmla="*/ 1663666 h 3959978"/>
                  <a:gd name="connsiteX1590" fmla="*/ 6767635 w 7724301"/>
                  <a:gd name="connsiteY1590" fmla="*/ 1663927 h 3959978"/>
                  <a:gd name="connsiteX1591" fmla="*/ 6741561 w 7724301"/>
                  <a:gd name="connsiteY1591" fmla="*/ 1675498 h 3959978"/>
                  <a:gd name="connsiteX1592" fmla="*/ 6727443 w 7724301"/>
                  <a:gd name="connsiteY1592" fmla="*/ 1675498 h 3959978"/>
                  <a:gd name="connsiteX1593" fmla="*/ 6714111 w 7724301"/>
                  <a:gd name="connsiteY1593" fmla="*/ 1701530 h 3959978"/>
                  <a:gd name="connsiteX1594" fmla="*/ 6673328 w 7724301"/>
                  <a:gd name="connsiteY1594" fmla="*/ 1688908 h 3959978"/>
                  <a:gd name="connsiteX1595" fmla="*/ 6659995 w 7724301"/>
                  <a:gd name="connsiteY1595" fmla="*/ 1688908 h 3959978"/>
                  <a:gd name="connsiteX1596" fmla="*/ 6646662 w 7724301"/>
                  <a:gd name="connsiteY1596" fmla="*/ 1688908 h 3959978"/>
                  <a:gd name="connsiteX1597" fmla="*/ 6646662 w 7724301"/>
                  <a:gd name="connsiteY1597" fmla="*/ 1701530 h 3959978"/>
                  <a:gd name="connsiteX1598" fmla="*/ 6659995 w 7724301"/>
                  <a:gd name="connsiteY1598" fmla="*/ 1701530 h 3959978"/>
                  <a:gd name="connsiteX1599" fmla="*/ 6632545 w 7724301"/>
                  <a:gd name="connsiteY1599" fmla="*/ 1713362 h 3959978"/>
                  <a:gd name="connsiteX1600" fmla="*/ 6632545 w 7724301"/>
                  <a:gd name="connsiteY1600" fmla="*/ 1688908 h 3959978"/>
                  <a:gd name="connsiteX1601" fmla="*/ 6646662 w 7724301"/>
                  <a:gd name="connsiteY1601" fmla="*/ 1675498 h 3959978"/>
                  <a:gd name="connsiteX1602" fmla="*/ 6646662 w 7724301"/>
                  <a:gd name="connsiteY1602" fmla="*/ 1663666 h 3959978"/>
                  <a:gd name="connsiteX1603" fmla="*/ 6659995 w 7724301"/>
                  <a:gd name="connsiteY1603" fmla="*/ 1675498 h 3959978"/>
                  <a:gd name="connsiteX1604" fmla="*/ 6673328 w 7724301"/>
                  <a:gd name="connsiteY1604" fmla="*/ 1625800 h 3959978"/>
                  <a:gd name="connsiteX1605" fmla="*/ 6673328 w 7724301"/>
                  <a:gd name="connsiteY1605" fmla="*/ 1613179 h 3959978"/>
                  <a:gd name="connsiteX1606" fmla="*/ 1806446 w 7724301"/>
                  <a:gd name="connsiteY1606" fmla="*/ 1588074 h 3959978"/>
                  <a:gd name="connsiteX1607" fmla="*/ 1806446 w 7724301"/>
                  <a:gd name="connsiteY1607" fmla="*/ 1599623 h 3959978"/>
                  <a:gd name="connsiteX1608" fmla="*/ 1779626 w 7724301"/>
                  <a:gd name="connsiteY1608" fmla="*/ 1599623 h 3959978"/>
                  <a:gd name="connsiteX1609" fmla="*/ 1738607 w 7724301"/>
                  <a:gd name="connsiteY1609" fmla="*/ 1599623 h 3959978"/>
                  <a:gd name="connsiteX1610" fmla="*/ 1724408 w 7724301"/>
                  <a:gd name="connsiteY1610" fmla="*/ 1637439 h 3959978"/>
                  <a:gd name="connsiteX1611" fmla="*/ 1738607 w 7724301"/>
                  <a:gd name="connsiteY1611" fmla="*/ 1625622 h 3959978"/>
                  <a:gd name="connsiteX1612" fmla="*/ 1724408 w 7724301"/>
                  <a:gd name="connsiteY1612" fmla="*/ 1675255 h 3959978"/>
                  <a:gd name="connsiteX1613" fmla="*/ 1724408 w 7724301"/>
                  <a:gd name="connsiteY1613" fmla="*/ 1701253 h 3959978"/>
                  <a:gd name="connsiteX1614" fmla="*/ 1724408 w 7724301"/>
                  <a:gd name="connsiteY1614" fmla="*/ 1713071 h 3959978"/>
                  <a:gd name="connsiteX1615" fmla="*/ 1738607 w 7724301"/>
                  <a:gd name="connsiteY1615" fmla="*/ 1713071 h 3959978"/>
                  <a:gd name="connsiteX1616" fmla="*/ 1752016 w 7724301"/>
                  <a:gd name="connsiteY1616" fmla="*/ 1701253 h 3959978"/>
                  <a:gd name="connsiteX1617" fmla="*/ 1752016 w 7724301"/>
                  <a:gd name="connsiteY1617" fmla="*/ 1650832 h 3959978"/>
                  <a:gd name="connsiteX1618" fmla="*/ 1765429 w 7724301"/>
                  <a:gd name="connsiteY1618" fmla="*/ 1625622 h 3959978"/>
                  <a:gd name="connsiteX1619" fmla="*/ 1779626 w 7724301"/>
                  <a:gd name="connsiteY1619" fmla="*/ 1613017 h 3959978"/>
                  <a:gd name="connsiteX1620" fmla="*/ 1779626 w 7724301"/>
                  <a:gd name="connsiteY1620" fmla="*/ 1599623 h 3959978"/>
                  <a:gd name="connsiteX1621" fmla="*/ 1819856 w 7724301"/>
                  <a:gd name="connsiteY1621" fmla="*/ 1613017 h 3959978"/>
                  <a:gd name="connsiteX1622" fmla="*/ 1819856 w 7724301"/>
                  <a:gd name="connsiteY1622" fmla="*/ 1637439 h 3959978"/>
                  <a:gd name="connsiteX1623" fmla="*/ 1806446 w 7724301"/>
                  <a:gd name="connsiteY1623" fmla="*/ 1663437 h 3959978"/>
                  <a:gd name="connsiteX1624" fmla="*/ 1834056 w 7724301"/>
                  <a:gd name="connsiteY1624" fmla="*/ 1650832 h 3959978"/>
                  <a:gd name="connsiteX1625" fmla="*/ 1834056 w 7724301"/>
                  <a:gd name="connsiteY1625" fmla="*/ 1675150 h 3959978"/>
                  <a:gd name="connsiteX1626" fmla="*/ 1860088 w 7724301"/>
                  <a:gd name="connsiteY1626" fmla="*/ 1663666 h 3959978"/>
                  <a:gd name="connsiteX1627" fmla="*/ 1860088 w 7724301"/>
                  <a:gd name="connsiteY1627" fmla="*/ 1613179 h 3959978"/>
                  <a:gd name="connsiteX1628" fmla="*/ 1887697 w 7724301"/>
                  <a:gd name="connsiteY1628" fmla="*/ 1637634 h 3959978"/>
                  <a:gd name="connsiteX1629" fmla="*/ 1902684 w 7724301"/>
                  <a:gd name="connsiteY1629" fmla="*/ 1625801 h 3959978"/>
                  <a:gd name="connsiteX1630" fmla="*/ 1873498 w 7724301"/>
                  <a:gd name="connsiteY1630" fmla="*/ 1599770 h 3959978"/>
                  <a:gd name="connsiteX1631" fmla="*/ 3801855 w 7724301"/>
                  <a:gd name="connsiteY1631" fmla="*/ 1587748 h 3959978"/>
                  <a:gd name="connsiteX1632" fmla="*/ 3801203 w 7724301"/>
                  <a:gd name="connsiteY1632" fmla="*/ 1588021 h 3959978"/>
                  <a:gd name="connsiteX1633" fmla="*/ 3814022 w 7724301"/>
                  <a:gd name="connsiteY1633" fmla="*/ 1588021 h 3959978"/>
                  <a:gd name="connsiteX1634" fmla="*/ 3814022 w 7724301"/>
                  <a:gd name="connsiteY1634" fmla="*/ 1587748 h 3959978"/>
                  <a:gd name="connsiteX1635" fmla="*/ 3816169 w 7724301"/>
                  <a:gd name="connsiteY1635" fmla="*/ 1574926 h 3959978"/>
                  <a:gd name="connsiteX1636" fmla="*/ 3816169 w 7724301"/>
                  <a:gd name="connsiteY1636" fmla="*/ 1577386 h 3959978"/>
                  <a:gd name="connsiteX1637" fmla="*/ 3827432 w 7724301"/>
                  <a:gd name="connsiteY1637" fmla="*/ 1588021 h 3959978"/>
                  <a:gd name="connsiteX1638" fmla="*/ 3828265 w 7724301"/>
                  <a:gd name="connsiteY1638" fmla="*/ 1586398 h 3959978"/>
                  <a:gd name="connsiteX1639" fmla="*/ 4676934 w 7724301"/>
                  <a:gd name="connsiteY1639" fmla="*/ 1562161 h 3959978"/>
                  <a:gd name="connsiteX1640" fmla="*/ 4663705 w 7724301"/>
                  <a:gd name="connsiteY1640" fmla="*/ 1575382 h 3959978"/>
                  <a:gd name="connsiteX1641" fmla="*/ 4664080 w 7724301"/>
                  <a:gd name="connsiteY1641" fmla="*/ 1575382 h 3959978"/>
                  <a:gd name="connsiteX1642" fmla="*/ 4677060 w 7724301"/>
                  <a:gd name="connsiteY1642" fmla="*/ 1562391 h 3959978"/>
                  <a:gd name="connsiteX1643" fmla="*/ 2241286 w 7724301"/>
                  <a:gd name="connsiteY1643" fmla="*/ 1561904 h 3959978"/>
                  <a:gd name="connsiteX1644" fmla="*/ 2241286 w 7724301"/>
                  <a:gd name="connsiteY1644" fmla="*/ 1575315 h 3959978"/>
                  <a:gd name="connsiteX1645" fmla="*/ 2254885 w 7724301"/>
                  <a:gd name="connsiteY1645" fmla="*/ 1575315 h 3959978"/>
                  <a:gd name="connsiteX1646" fmla="*/ 2284482 w 7724301"/>
                  <a:gd name="connsiteY1646" fmla="*/ 1575315 h 3959978"/>
                  <a:gd name="connsiteX1647" fmla="*/ 2269284 w 7724301"/>
                  <a:gd name="connsiteY1647" fmla="*/ 1587936 h 3959978"/>
                  <a:gd name="connsiteX1648" fmla="*/ 2269284 w 7724301"/>
                  <a:gd name="connsiteY1648" fmla="*/ 1599768 h 3959978"/>
                  <a:gd name="connsiteX1649" fmla="*/ 2227688 w 7724301"/>
                  <a:gd name="connsiteY1649" fmla="*/ 1575315 h 3959978"/>
                  <a:gd name="connsiteX1650" fmla="*/ 4718116 w 7724301"/>
                  <a:gd name="connsiteY1650" fmla="*/ 1550536 h 3959978"/>
                  <a:gd name="connsiteX1651" fmla="*/ 4677118 w 7724301"/>
                  <a:gd name="connsiteY1651" fmla="*/ 1575790 h 3959978"/>
                  <a:gd name="connsiteX1652" fmla="*/ 4677118 w 7724301"/>
                  <a:gd name="connsiteY1652" fmla="*/ 1587998 h 3959978"/>
                  <a:gd name="connsiteX1653" fmla="*/ 4663705 w 7724301"/>
                  <a:gd name="connsiteY1653" fmla="*/ 1599825 h 3959978"/>
                  <a:gd name="connsiteX1654" fmla="*/ 4649502 w 7724301"/>
                  <a:gd name="connsiteY1654" fmla="*/ 1587998 h 3959978"/>
                  <a:gd name="connsiteX1655" fmla="*/ 4622675 w 7724301"/>
                  <a:gd name="connsiteY1655" fmla="*/ 1625844 h 3959978"/>
                  <a:gd name="connsiteX1656" fmla="*/ 4636089 w 7724301"/>
                  <a:gd name="connsiteY1656" fmla="*/ 1651074 h 3959978"/>
                  <a:gd name="connsiteX1657" fmla="*/ 4636089 w 7724301"/>
                  <a:gd name="connsiteY1657" fmla="*/ 1675516 h 3959978"/>
                  <a:gd name="connsiteX1658" fmla="*/ 4663454 w 7724301"/>
                  <a:gd name="connsiteY1658" fmla="*/ 1701299 h 3959978"/>
                  <a:gd name="connsiteX1659" fmla="*/ 4664124 w 7724301"/>
                  <a:gd name="connsiteY1659" fmla="*/ 1700739 h 3959978"/>
                  <a:gd name="connsiteX1660" fmla="*/ 4677619 w 7724301"/>
                  <a:gd name="connsiteY1660" fmla="*/ 1726210 h 3959978"/>
                  <a:gd name="connsiteX1661" fmla="*/ 4706198 w 7724301"/>
                  <a:gd name="connsiteY1661" fmla="*/ 1738944 h 3959978"/>
                  <a:gd name="connsiteX1662" fmla="*/ 4677619 w 7724301"/>
                  <a:gd name="connsiteY1662" fmla="*/ 1750884 h 3959978"/>
                  <a:gd name="connsiteX1663" fmla="*/ 4677619 w 7724301"/>
                  <a:gd name="connsiteY1663" fmla="*/ 1777151 h 3959978"/>
                  <a:gd name="connsiteX1664" fmla="*/ 4664124 w 7724301"/>
                  <a:gd name="connsiteY1664" fmla="*/ 1777151 h 3959978"/>
                  <a:gd name="connsiteX1665" fmla="*/ 4677619 w 7724301"/>
                  <a:gd name="connsiteY1665" fmla="*/ 1789090 h 3959978"/>
                  <a:gd name="connsiteX1666" fmla="*/ 4649834 w 7724301"/>
                  <a:gd name="connsiteY1666" fmla="*/ 1777151 h 3959978"/>
                  <a:gd name="connsiteX1667" fmla="*/ 4664124 w 7724301"/>
                  <a:gd name="connsiteY1667" fmla="*/ 1764415 h 3959978"/>
                  <a:gd name="connsiteX1668" fmla="*/ 4649834 w 7724301"/>
                  <a:gd name="connsiteY1668" fmla="*/ 1764415 h 3959978"/>
                  <a:gd name="connsiteX1669" fmla="*/ 4649429 w 7724301"/>
                  <a:gd name="connsiteY1669" fmla="*/ 1764606 h 3959978"/>
                  <a:gd name="connsiteX1670" fmla="*/ 4662812 w 7724301"/>
                  <a:gd name="connsiteY1670" fmla="*/ 1764606 h 3959978"/>
                  <a:gd name="connsiteX1671" fmla="*/ 4648612 w 7724301"/>
                  <a:gd name="connsiteY1671" fmla="*/ 1777200 h 3959978"/>
                  <a:gd name="connsiteX1672" fmla="*/ 4676223 w 7724301"/>
                  <a:gd name="connsiteY1672" fmla="*/ 1789006 h 3959978"/>
                  <a:gd name="connsiteX1673" fmla="*/ 4676223 w 7724301"/>
                  <a:gd name="connsiteY1673" fmla="*/ 1814192 h 3959978"/>
                  <a:gd name="connsiteX1674" fmla="*/ 4730652 w 7724301"/>
                  <a:gd name="connsiteY1674" fmla="*/ 1840166 h 3959978"/>
                  <a:gd name="connsiteX1675" fmla="*/ 4785082 w 7724301"/>
                  <a:gd name="connsiteY1675" fmla="*/ 1840166 h 3959978"/>
                  <a:gd name="connsiteX1676" fmla="*/ 4785082 w 7724301"/>
                  <a:gd name="connsiteY1676" fmla="*/ 1814192 h 3959978"/>
                  <a:gd name="connsiteX1677" fmla="*/ 4786453 w 7724301"/>
                  <a:gd name="connsiteY1677" fmla="*/ 1813606 h 3959978"/>
                  <a:gd name="connsiteX1678" fmla="*/ 4786453 w 7724301"/>
                  <a:gd name="connsiteY1678" fmla="*/ 1777256 h 3959978"/>
                  <a:gd name="connsiteX1679" fmla="*/ 4773111 w 7724301"/>
                  <a:gd name="connsiteY1679" fmla="*/ 1777256 h 3959978"/>
                  <a:gd name="connsiteX1680" fmla="*/ 4773111 w 7724301"/>
                  <a:gd name="connsiteY1680" fmla="*/ 1751224 h 3959978"/>
                  <a:gd name="connsiteX1681" fmla="*/ 4759767 w 7724301"/>
                  <a:gd name="connsiteY1681" fmla="*/ 1751224 h 3959978"/>
                  <a:gd name="connsiteX1682" fmla="*/ 4759767 w 7724301"/>
                  <a:gd name="connsiteY1682" fmla="*/ 1739392 h 3959978"/>
                  <a:gd name="connsiteX1683" fmla="*/ 4781443 w 7724301"/>
                  <a:gd name="connsiteY1683" fmla="*/ 1739392 h 3959978"/>
                  <a:gd name="connsiteX1684" fmla="*/ 4768821 w 7724301"/>
                  <a:gd name="connsiteY1684" fmla="*/ 1701528 h 3959978"/>
                  <a:gd name="connsiteX1685" fmla="*/ 4759767 w 7724301"/>
                  <a:gd name="connsiteY1685" fmla="*/ 1701528 h 3959978"/>
                  <a:gd name="connsiteX1686" fmla="*/ 4759767 w 7724301"/>
                  <a:gd name="connsiteY1686" fmla="*/ 1726771 h 3959978"/>
                  <a:gd name="connsiteX1687" fmla="*/ 4745895 w 7724301"/>
                  <a:gd name="connsiteY1687" fmla="*/ 1701985 h 3959978"/>
                  <a:gd name="connsiteX1688" fmla="*/ 4744961 w 7724301"/>
                  <a:gd name="connsiteY1688" fmla="*/ 1702272 h 3959978"/>
                  <a:gd name="connsiteX1689" fmla="*/ 4744961 w 7724301"/>
                  <a:gd name="connsiteY1689" fmla="*/ 1676192 h 3959978"/>
                  <a:gd name="connsiteX1690" fmla="*/ 4731539 w 7724301"/>
                  <a:gd name="connsiteY1690" fmla="*/ 1676192 h 3959978"/>
                  <a:gd name="connsiteX1691" fmla="*/ 4718116 w 7724301"/>
                  <a:gd name="connsiteY1691" fmla="*/ 1638259 h 3959978"/>
                  <a:gd name="connsiteX1692" fmla="*/ 4731539 w 7724301"/>
                  <a:gd name="connsiteY1692" fmla="*/ 1638259 h 3959978"/>
                  <a:gd name="connsiteX1693" fmla="*/ 4718116 w 7724301"/>
                  <a:gd name="connsiteY1693" fmla="*/ 1626404 h 3959978"/>
                  <a:gd name="connsiteX1694" fmla="*/ 4731539 w 7724301"/>
                  <a:gd name="connsiteY1694" fmla="*/ 1613760 h 3959978"/>
                  <a:gd name="connsiteX1695" fmla="*/ 4786018 w 7724301"/>
                  <a:gd name="connsiteY1695" fmla="*/ 1613760 h 3959978"/>
                  <a:gd name="connsiteX1696" fmla="*/ 4772595 w 7724301"/>
                  <a:gd name="connsiteY1696" fmla="*/ 1575825 h 3959978"/>
                  <a:gd name="connsiteX1697" fmla="*/ 4744961 w 7724301"/>
                  <a:gd name="connsiteY1697" fmla="*/ 1562391 h 3959978"/>
                  <a:gd name="connsiteX1698" fmla="*/ 2148016 w 7724301"/>
                  <a:gd name="connsiteY1698" fmla="*/ 1550072 h 3959978"/>
                  <a:gd name="connsiteX1699" fmla="*/ 2135045 w 7724301"/>
                  <a:gd name="connsiteY1699" fmla="*/ 1561516 h 3959978"/>
                  <a:gd name="connsiteX1700" fmla="*/ 2135393 w 7724301"/>
                  <a:gd name="connsiteY1700" fmla="*/ 1561806 h 3959978"/>
                  <a:gd name="connsiteX1701" fmla="*/ 2148016 w 7724301"/>
                  <a:gd name="connsiteY1701" fmla="*/ 1550684 h 3959978"/>
                  <a:gd name="connsiteX1702" fmla="*/ 2118829 w 7724301"/>
                  <a:gd name="connsiteY1702" fmla="*/ 1550072 h 3959978"/>
                  <a:gd name="connsiteX1703" fmla="*/ 2093588 w 7724301"/>
                  <a:gd name="connsiteY1703" fmla="*/ 1613179 h 3959978"/>
                  <a:gd name="connsiteX1704" fmla="*/ 2086574 w 7724301"/>
                  <a:gd name="connsiteY1704" fmla="*/ 1616386 h 3959978"/>
                  <a:gd name="connsiteX1705" fmla="*/ 2094377 w 7724301"/>
                  <a:gd name="connsiteY1705" fmla="*/ 1613017 h 3959978"/>
                  <a:gd name="connsiteX1706" fmla="*/ 2120595 w 7724301"/>
                  <a:gd name="connsiteY1706" fmla="*/ 1551397 h 3959978"/>
                  <a:gd name="connsiteX1707" fmla="*/ 6686781 w 7724301"/>
                  <a:gd name="connsiteY1707" fmla="*/ 1537450 h 3959978"/>
                  <a:gd name="connsiteX1708" fmla="*/ 6713991 w 7724301"/>
                  <a:gd name="connsiteY1708" fmla="*/ 1575315 h 3959978"/>
                  <a:gd name="connsiteX1709" fmla="*/ 6713991 w 7724301"/>
                  <a:gd name="connsiteY1709" fmla="*/ 1587936 h 3959978"/>
                  <a:gd name="connsiteX1710" fmla="*/ 6686781 w 7724301"/>
                  <a:gd name="connsiteY1710" fmla="*/ 1575315 h 3959978"/>
                  <a:gd name="connsiteX1711" fmla="*/ 6686781 w 7724301"/>
                  <a:gd name="connsiteY1711" fmla="*/ 1599768 h 3959978"/>
                  <a:gd name="connsiteX1712" fmla="*/ 6673565 w 7724301"/>
                  <a:gd name="connsiteY1712" fmla="*/ 1575315 h 3959978"/>
                  <a:gd name="connsiteX1713" fmla="*/ 4157830 w 7724301"/>
                  <a:gd name="connsiteY1713" fmla="*/ 1536863 h 3959978"/>
                  <a:gd name="connsiteX1714" fmla="*/ 4157300 w 7724301"/>
                  <a:gd name="connsiteY1714" fmla="*/ 1537120 h 3959978"/>
                  <a:gd name="connsiteX1715" fmla="*/ 4143863 w 7724301"/>
                  <a:gd name="connsiteY1715" fmla="*/ 1537120 h 3959978"/>
                  <a:gd name="connsiteX1716" fmla="*/ 4102762 w 7724301"/>
                  <a:gd name="connsiteY1716" fmla="*/ 1537120 h 3959978"/>
                  <a:gd name="connsiteX1717" fmla="*/ 4102530 w 7724301"/>
                  <a:gd name="connsiteY1717" fmla="*/ 1536889 h 3959978"/>
                  <a:gd name="connsiteX1718" fmla="*/ 4089959 w 7724301"/>
                  <a:gd name="connsiteY1718" fmla="*/ 1536889 h 3959978"/>
                  <a:gd name="connsiteX1719" fmla="*/ 4089829 w 7724301"/>
                  <a:gd name="connsiteY1719" fmla="*/ 1537374 h 3959978"/>
                  <a:gd name="connsiteX1720" fmla="*/ 4101366 w 7724301"/>
                  <a:gd name="connsiteY1720" fmla="*/ 1537374 h 3959978"/>
                  <a:gd name="connsiteX1721" fmla="*/ 4142542 w 7724301"/>
                  <a:gd name="connsiteY1721" fmla="*/ 1537374 h 3959978"/>
                  <a:gd name="connsiteX1722" fmla="*/ 4156796 w 7724301"/>
                  <a:gd name="connsiteY1722" fmla="*/ 1537374 h 3959978"/>
                  <a:gd name="connsiteX1723" fmla="*/ 3896456 w 7724301"/>
                  <a:gd name="connsiteY1723" fmla="*/ 1536795 h 3959978"/>
                  <a:gd name="connsiteX1724" fmla="*/ 3842418 w 7724301"/>
                  <a:gd name="connsiteY1724" fmla="*/ 1549284 h 3959978"/>
                  <a:gd name="connsiteX1725" fmla="*/ 3816171 w 7724301"/>
                  <a:gd name="connsiteY1725" fmla="*/ 1549284 h 3959978"/>
                  <a:gd name="connsiteX1726" fmla="*/ 3817944 w 7724301"/>
                  <a:gd name="connsiteY1726" fmla="*/ 1550861 h 3959978"/>
                  <a:gd name="connsiteX1727" fmla="*/ 3840180 w 7724301"/>
                  <a:gd name="connsiteY1727" fmla="*/ 1550861 h 3959978"/>
                  <a:gd name="connsiteX1728" fmla="*/ 3896456 w 7724301"/>
                  <a:gd name="connsiteY1728" fmla="*/ 1538239 h 3959978"/>
                  <a:gd name="connsiteX1729" fmla="*/ 4459236 w 7724301"/>
                  <a:gd name="connsiteY1729" fmla="*/ 1523666 h 3959978"/>
                  <a:gd name="connsiteX1730" fmla="*/ 4458668 w 7724301"/>
                  <a:gd name="connsiteY1730" fmla="*/ 1524235 h 3959978"/>
                  <a:gd name="connsiteX1731" fmla="*/ 4472763 w 7724301"/>
                  <a:gd name="connsiteY1731" fmla="*/ 1537536 h 3959978"/>
                  <a:gd name="connsiteX1732" fmla="*/ 4472989 w 7724301"/>
                  <a:gd name="connsiteY1732" fmla="*/ 1536672 h 3959978"/>
                  <a:gd name="connsiteX1733" fmla="*/ 4185684 w 7724301"/>
                  <a:gd name="connsiteY1733" fmla="*/ 1523358 h 3959978"/>
                  <a:gd name="connsiteX1734" fmla="*/ 4184964 w 7724301"/>
                  <a:gd name="connsiteY1734" fmla="*/ 1523666 h 3959978"/>
                  <a:gd name="connsiteX1735" fmla="*/ 4184195 w 7724301"/>
                  <a:gd name="connsiteY1735" fmla="*/ 1524040 h 3959978"/>
                  <a:gd name="connsiteX1736" fmla="*/ 4197182 w 7724301"/>
                  <a:gd name="connsiteY1736" fmla="*/ 1524040 h 3959978"/>
                  <a:gd name="connsiteX1737" fmla="*/ 4207087 w 7724301"/>
                  <a:gd name="connsiteY1737" fmla="*/ 1536769 h 3959978"/>
                  <a:gd name="connsiteX1738" fmla="*/ 4197395 w 7724301"/>
                  <a:gd name="connsiteY1738" fmla="*/ 1523358 h 3959978"/>
                  <a:gd name="connsiteX1739" fmla="*/ 4217798 w 7724301"/>
                  <a:gd name="connsiteY1739" fmla="*/ 1513259 h 3959978"/>
                  <a:gd name="connsiteX1740" fmla="*/ 4251825 w 7724301"/>
                  <a:gd name="connsiteY1740" fmla="*/ 1523358 h 3959978"/>
                  <a:gd name="connsiteX1741" fmla="*/ 4251825 w 7724301"/>
                  <a:gd name="connsiteY1741" fmla="*/ 1536889 h 3959978"/>
                  <a:gd name="connsiteX1742" fmla="*/ 4266023 w 7724301"/>
                  <a:gd name="connsiteY1742" fmla="*/ 1561563 h 3959978"/>
                  <a:gd name="connsiteX1743" fmla="*/ 4266023 w 7724301"/>
                  <a:gd name="connsiteY1743" fmla="*/ 1575094 h 3959978"/>
                  <a:gd name="connsiteX1744" fmla="*/ 4238414 w 7724301"/>
                  <a:gd name="connsiteY1744" fmla="*/ 1575094 h 3959978"/>
                  <a:gd name="connsiteX1745" fmla="*/ 4226481 w 7724301"/>
                  <a:gd name="connsiteY1745" fmla="*/ 1597052 h 3959978"/>
                  <a:gd name="connsiteX1746" fmla="*/ 4226481 w 7724301"/>
                  <a:gd name="connsiteY1746" fmla="*/ 1598966 h 3959978"/>
                  <a:gd name="connsiteX1747" fmla="*/ 4241083 w 7724301"/>
                  <a:gd name="connsiteY1747" fmla="*/ 1575110 h 3959978"/>
                  <a:gd name="connsiteX1748" fmla="*/ 4268748 w 7724301"/>
                  <a:gd name="connsiteY1748" fmla="*/ 1575110 h 3959978"/>
                  <a:gd name="connsiteX1749" fmla="*/ 4268748 w 7724301"/>
                  <a:gd name="connsiteY1749" fmla="*/ 1561655 h 3959978"/>
                  <a:gd name="connsiteX1750" fmla="*/ 4254521 w 7724301"/>
                  <a:gd name="connsiteY1750" fmla="*/ 1537120 h 3959978"/>
                  <a:gd name="connsiteX1751" fmla="*/ 4254521 w 7724301"/>
                  <a:gd name="connsiteY1751" fmla="*/ 1523666 h 3959978"/>
                  <a:gd name="connsiteX1752" fmla="*/ 1614008 w 7724301"/>
                  <a:gd name="connsiteY1752" fmla="*/ 1512208 h 3959978"/>
                  <a:gd name="connsiteX1753" fmla="*/ 1627564 w 7724301"/>
                  <a:gd name="connsiteY1753" fmla="*/ 1523916 h 3959978"/>
                  <a:gd name="connsiteX1754" fmla="*/ 1614758 w 7724301"/>
                  <a:gd name="connsiteY1754" fmla="*/ 1512208 h 3959978"/>
                  <a:gd name="connsiteX1755" fmla="*/ 1723619 w 7724301"/>
                  <a:gd name="connsiteY1755" fmla="*/ 1499587 h 3959978"/>
                  <a:gd name="connsiteX1756" fmla="*/ 1683459 w 7724301"/>
                  <a:gd name="connsiteY1756" fmla="*/ 1537384 h 3959978"/>
                  <a:gd name="connsiteX1757" fmla="*/ 1684176 w 7724301"/>
                  <a:gd name="connsiteY1757" fmla="*/ 1537384 h 3959978"/>
                  <a:gd name="connsiteX1758" fmla="*/ 1628169 w 7724301"/>
                  <a:gd name="connsiteY1758" fmla="*/ 1575200 h 3959978"/>
                  <a:gd name="connsiteX1759" fmla="*/ 1656568 w 7724301"/>
                  <a:gd name="connsiteY1759" fmla="*/ 1561806 h 3959978"/>
                  <a:gd name="connsiteX1760" fmla="*/ 1669977 w 7724301"/>
                  <a:gd name="connsiteY1760" fmla="*/ 1575200 h 3959978"/>
                  <a:gd name="connsiteX1761" fmla="*/ 1710996 w 7724301"/>
                  <a:gd name="connsiteY1761" fmla="*/ 1561806 h 3959978"/>
                  <a:gd name="connsiteX1762" fmla="*/ 1710996 w 7724301"/>
                  <a:gd name="connsiteY1762" fmla="*/ 1575200 h 3959978"/>
                  <a:gd name="connsiteX1763" fmla="*/ 1724408 w 7724301"/>
                  <a:gd name="connsiteY1763" fmla="*/ 1561806 h 3959978"/>
                  <a:gd name="connsiteX1764" fmla="*/ 1738607 w 7724301"/>
                  <a:gd name="connsiteY1764" fmla="*/ 1575200 h 3959978"/>
                  <a:gd name="connsiteX1765" fmla="*/ 1779626 w 7724301"/>
                  <a:gd name="connsiteY1765" fmla="*/ 1575200 h 3959978"/>
                  <a:gd name="connsiteX1766" fmla="*/ 1792207 w 7724301"/>
                  <a:gd name="connsiteY1766" fmla="*/ 1575200 h 3959978"/>
                  <a:gd name="connsiteX1767" fmla="*/ 1778839 w 7724301"/>
                  <a:gd name="connsiteY1767" fmla="*/ 1537451 h 3959978"/>
                  <a:gd name="connsiteX1768" fmla="*/ 1764641 w 7724301"/>
                  <a:gd name="connsiteY1768" fmla="*/ 1537451 h 3959978"/>
                  <a:gd name="connsiteX1769" fmla="*/ 1751231 w 7724301"/>
                  <a:gd name="connsiteY1769" fmla="*/ 1512208 h 3959978"/>
                  <a:gd name="connsiteX1770" fmla="*/ 4074127 w 7724301"/>
                  <a:gd name="connsiteY1770" fmla="*/ 1486908 h 3959978"/>
                  <a:gd name="connsiteX1771" fmla="*/ 4048378 w 7724301"/>
                  <a:gd name="connsiteY1771" fmla="*/ 1499419 h 3959978"/>
                  <a:gd name="connsiteX1772" fmla="*/ 4048748 w 7724301"/>
                  <a:gd name="connsiteY1772" fmla="*/ 1499792 h 3959978"/>
                  <a:gd name="connsiteX1773" fmla="*/ 4074577 w 7724301"/>
                  <a:gd name="connsiteY1773" fmla="*/ 1487133 h 3959978"/>
                  <a:gd name="connsiteX1774" fmla="*/ 4018662 w 7724301"/>
                  <a:gd name="connsiteY1774" fmla="*/ 1486177 h 3959978"/>
                  <a:gd name="connsiteX1775" fmla="*/ 3978887 w 7724301"/>
                  <a:gd name="connsiteY1775" fmla="*/ 1511419 h 3959978"/>
                  <a:gd name="connsiteX1776" fmla="*/ 3939445 w 7724301"/>
                  <a:gd name="connsiteY1776" fmla="*/ 1498798 h 3959978"/>
                  <a:gd name="connsiteX1777" fmla="*/ 3939445 w 7724301"/>
                  <a:gd name="connsiteY1777" fmla="*/ 1500917 h 3959978"/>
                  <a:gd name="connsiteX1778" fmla="*/ 3978886 w 7724301"/>
                  <a:gd name="connsiteY1778" fmla="*/ 1512995 h 3959978"/>
                  <a:gd name="connsiteX1779" fmla="*/ 3978886 w 7724301"/>
                  <a:gd name="connsiteY1779" fmla="*/ 1512607 h 3959978"/>
                  <a:gd name="connsiteX1780" fmla="*/ 4020566 w 7724301"/>
                  <a:gd name="connsiteY1780" fmla="*/ 1486908 h 3959978"/>
                  <a:gd name="connsiteX1781" fmla="*/ 4019487 w 7724301"/>
                  <a:gd name="connsiteY1781" fmla="*/ 1486908 h 3959978"/>
                  <a:gd name="connsiteX1782" fmla="*/ 1573738 w 7724301"/>
                  <a:gd name="connsiteY1782" fmla="*/ 1486176 h 3959978"/>
                  <a:gd name="connsiteX1783" fmla="*/ 1573227 w 7724301"/>
                  <a:gd name="connsiteY1783" fmla="*/ 1486686 h 3959978"/>
                  <a:gd name="connsiteX1784" fmla="*/ 1579972 w 7724301"/>
                  <a:gd name="connsiteY1784" fmla="*/ 1499037 h 3959978"/>
                  <a:gd name="connsiteX1785" fmla="*/ 3745392 w 7724301"/>
                  <a:gd name="connsiteY1785" fmla="*/ 1485600 h 3959978"/>
                  <a:gd name="connsiteX1786" fmla="*/ 3745392 w 7724301"/>
                  <a:gd name="connsiteY1786" fmla="*/ 1485773 h 3959978"/>
                  <a:gd name="connsiteX1787" fmla="*/ 3786412 w 7724301"/>
                  <a:gd name="connsiteY1787" fmla="*/ 1511892 h 3959978"/>
                  <a:gd name="connsiteX1788" fmla="*/ 3774914 w 7724301"/>
                  <a:gd name="connsiteY1788" fmla="*/ 1544464 h 3959978"/>
                  <a:gd name="connsiteX1789" fmla="*/ 3787988 w 7724301"/>
                  <a:gd name="connsiteY1789" fmla="*/ 1511544 h 3959978"/>
                  <a:gd name="connsiteX1790" fmla="*/ 3718374 w 7724301"/>
                  <a:gd name="connsiteY1790" fmla="*/ 1474155 h 3959978"/>
                  <a:gd name="connsiteX1791" fmla="*/ 3718374 w 7724301"/>
                  <a:gd name="connsiteY1791" fmla="*/ 1485697 h 3959978"/>
                  <a:gd name="connsiteX1792" fmla="*/ 3718570 w 7724301"/>
                  <a:gd name="connsiteY1792" fmla="*/ 1485697 h 3959978"/>
                  <a:gd name="connsiteX1793" fmla="*/ 3718570 w 7724301"/>
                  <a:gd name="connsiteY1793" fmla="*/ 1474155 h 3959978"/>
                  <a:gd name="connsiteX1794" fmla="*/ 2227688 w 7724301"/>
                  <a:gd name="connsiteY1794" fmla="*/ 1473554 h 3959978"/>
                  <a:gd name="connsiteX1795" fmla="*/ 2254885 w 7724301"/>
                  <a:gd name="connsiteY1795" fmla="*/ 1486126 h 3959978"/>
                  <a:gd name="connsiteX1796" fmla="*/ 2284482 w 7724301"/>
                  <a:gd name="connsiteY1796" fmla="*/ 1500374 h 3959978"/>
                  <a:gd name="connsiteX1797" fmla="*/ 2254885 w 7724301"/>
                  <a:gd name="connsiteY1797" fmla="*/ 1500374 h 3959978"/>
                  <a:gd name="connsiteX1798" fmla="*/ 903229 w 7724301"/>
                  <a:gd name="connsiteY1798" fmla="*/ 1461723 h 3959978"/>
                  <a:gd name="connsiteX1799" fmla="*/ 959232 w 7724301"/>
                  <a:gd name="connsiteY1799" fmla="*/ 1524040 h 3959978"/>
                  <a:gd name="connsiteX1800" fmla="*/ 958493 w 7724301"/>
                  <a:gd name="connsiteY1800" fmla="*/ 1524040 h 3959978"/>
                  <a:gd name="connsiteX1801" fmla="*/ 971854 w 7724301"/>
                  <a:gd name="connsiteY1801" fmla="*/ 1537384 h 3959978"/>
                  <a:gd name="connsiteX1802" fmla="*/ 958443 w 7724301"/>
                  <a:gd name="connsiteY1802" fmla="*/ 1549989 h 3959978"/>
                  <a:gd name="connsiteX1803" fmla="*/ 971854 w 7724301"/>
                  <a:gd name="connsiteY1803" fmla="*/ 1549989 h 3959978"/>
                  <a:gd name="connsiteX1804" fmla="*/ 971854 w 7724301"/>
                  <a:gd name="connsiteY1804" fmla="*/ 1537384 h 3959978"/>
                  <a:gd name="connsiteX1805" fmla="*/ 971854 w 7724301"/>
                  <a:gd name="connsiteY1805" fmla="*/ 1512174 h 3959978"/>
                  <a:gd name="connsiteX1806" fmla="*/ 971854 w 7724301"/>
                  <a:gd name="connsiteY1806" fmla="*/ 1499587 h 3959978"/>
                  <a:gd name="connsiteX1807" fmla="*/ 971066 w 7724301"/>
                  <a:gd name="connsiteY1807" fmla="*/ 1499587 h 3959978"/>
                  <a:gd name="connsiteX1808" fmla="*/ 959232 w 7724301"/>
                  <a:gd name="connsiteY1808" fmla="*/ 1499587 h 3959978"/>
                  <a:gd name="connsiteX1809" fmla="*/ 959232 w 7724301"/>
                  <a:gd name="connsiteY1809" fmla="*/ 1486176 h 3959978"/>
                  <a:gd name="connsiteX1810" fmla="*/ 944247 w 7724301"/>
                  <a:gd name="connsiteY1810" fmla="*/ 1486176 h 3959978"/>
                  <a:gd name="connsiteX1811" fmla="*/ 3704134 w 7724301"/>
                  <a:gd name="connsiteY1811" fmla="*/ 1461220 h 3959978"/>
                  <a:gd name="connsiteX1812" fmla="*/ 3704134 w 7724301"/>
                  <a:gd name="connsiteY1812" fmla="*/ 1473791 h 3959978"/>
                  <a:gd name="connsiteX1813" fmla="*/ 3704371 w 7724301"/>
                  <a:gd name="connsiteY1813" fmla="*/ 1473791 h 3959978"/>
                  <a:gd name="connsiteX1814" fmla="*/ 3704371 w 7724301"/>
                  <a:gd name="connsiteY1814" fmla="*/ 1461333 h 3959978"/>
                  <a:gd name="connsiteX1815" fmla="*/ 6985946 w 7724301"/>
                  <a:gd name="connsiteY1815" fmla="*/ 1448310 h 3959978"/>
                  <a:gd name="connsiteX1816" fmla="*/ 6972153 w 7724301"/>
                  <a:gd name="connsiteY1816" fmla="*/ 1461314 h 3959978"/>
                  <a:gd name="connsiteX1817" fmla="*/ 6959126 w 7724301"/>
                  <a:gd name="connsiteY1817" fmla="*/ 1473554 h 3959978"/>
                  <a:gd name="connsiteX1818" fmla="*/ 6959126 w 7724301"/>
                  <a:gd name="connsiteY1818" fmla="*/ 1461314 h 3959978"/>
                  <a:gd name="connsiteX1819" fmla="*/ 3937131 w 7724301"/>
                  <a:gd name="connsiteY1819" fmla="*/ 1437003 h 3959978"/>
                  <a:gd name="connsiteX1820" fmla="*/ 3937131 w 7724301"/>
                  <a:gd name="connsiteY1820" fmla="*/ 1442371 h 3959978"/>
                  <a:gd name="connsiteX1821" fmla="*/ 3937604 w 7724301"/>
                  <a:gd name="connsiteY1821" fmla="*/ 1445898 h 3959978"/>
                  <a:gd name="connsiteX1822" fmla="*/ 3939445 w 7724301"/>
                  <a:gd name="connsiteY1822" fmla="*/ 1447522 h 3959978"/>
                  <a:gd name="connsiteX1823" fmla="*/ 3939445 w 7724301"/>
                  <a:gd name="connsiteY1823" fmla="*/ 1439046 h 3959978"/>
                  <a:gd name="connsiteX1824" fmla="*/ 3924458 w 7724301"/>
                  <a:gd name="connsiteY1824" fmla="*/ 1436066 h 3959978"/>
                  <a:gd name="connsiteX1825" fmla="*/ 3896848 w 7724301"/>
                  <a:gd name="connsiteY1825" fmla="*/ 1447859 h 3959978"/>
                  <a:gd name="connsiteX1826" fmla="*/ 3870028 w 7724301"/>
                  <a:gd name="connsiteY1826" fmla="*/ 1461225 h 3959978"/>
                  <a:gd name="connsiteX1827" fmla="*/ 3883438 w 7724301"/>
                  <a:gd name="connsiteY1827" fmla="*/ 1485599 h 3959978"/>
                  <a:gd name="connsiteX1828" fmla="*/ 3911047 w 7724301"/>
                  <a:gd name="connsiteY1828" fmla="*/ 1511544 h 3959978"/>
                  <a:gd name="connsiteX1829" fmla="*/ 3896848 w 7724301"/>
                  <a:gd name="connsiteY1829" fmla="*/ 1523338 h 3959978"/>
                  <a:gd name="connsiteX1830" fmla="*/ 3896848 w 7724301"/>
                  <a:gd name="connsiteY1830" fmla="*/ 1524503 h 3959978"/>
                  <a:gd name="connsiteX1831" fmla="*/ 3910724 w 7724301"/>
                  <a:gd name="connsiteY1831" fmla="*/ 1512996 h 3959978"/>
                  <a:gd name="connsiteX1832" fmla="*/ 3937673 w 7724301"/>
                  <a:gd name="connsiteY1832" fmla="*/ 1512996 h 3959978"/>
                  <a:gd name="connsiteX1833" fmla="*/ 3937673 w 7724301"/>
                  <a:gd name="connsiteY1833" fmla="*/ 1511419 h 3959978"/>
                  <a:gd name="connsiteX1834" fmla="*/ 3911836 w 7724301"/>
                  <a:gd name="connsiteY1834" fmla="*/ 1511419 h 3959978"/>
                  <a:gd name="connsiteX1835" fmla="*/ 3885015 w 7724301"/>
                  <a:gd name="connsiteY1835" fmla="*/ 1485387 h 3959978"/>
                  <a:gd name="connsiteX1836" fmla="*/ 3871604 w 7724301"/>
                  <a:gd name="connsiteY1836" fmla="*/ 1460933 h 3959978"/>
                  <a:gd name="connsiteX1837" fmla="*/ 3898425 w 7724301"/>
                  <a:gd name="connsiteY1837" fmla="*/ 1447522 h 3959978"/>
                  <a:gd name="connsiteX1838" fmla="*/ 3924687 w 7724301"/>
                  <a:gd name="connsiteY1838" fmla="*/ 1436268 h 3959978"/>
                  <a:gd name="connsiteX1839" fmla="*/ 2419058 w 7724301"/>
                  <a:gd name="connsiteY1839" fmla="*/ 1424647 h 3959978"/>
                  <a:gd name="connsiteX1840" fmla="*/ 2391291 w 7724301"/>
                  <a:gd name="connsiteY1840" fmla="*/ 1486966 h 3959978"/>
                  <a:gd name="connsiteX1841" fmla="*/ 2404776 w 7724301"/>
                  <a:gd name="connsiteY1841" fmla="*/ 1475132 h 3959978"/>
                  <a:gd name="connsiteX1842" fmla="*/ 2419058 w 7724301"/>
                  <a:gd name="connsiteY1842" fmla="*/ 1475132 h 3959978"/>
                  <a:gd name="connsiteX1843" fmla="*/ 2404776 w 7724301"/>
                  <a:gd name="connsiteY1843" fmla="*/ 1486966 h 3959978"/>
                  <a:gd name="connsiteX1844" fmla="*/ 2419058 w 7724301"/>
                  <a:gd name="connsiteY1844" fmla="*/ 1500375 h 3959978"/>
                  <a:gd name="connsiteX1845" fmla="*/ 2461104 w 7724301"/>
                  <a:gd name="connsiteY1845" fmla="*/ 1500375 h 3959978"/>
                  <a:gd name="connsiteX1846" fmla="*/ 2447618 w 7724301"/>
                  <a:gd name="connsiteY1846" fmla="*/ 1512996 h 3959978"/>
                  <a:gd name="connsiteX1847" fmla="*/ 2461104 w 7724301"/>
                  <a:gd name="connsiteY1847" fmla="*/ 1524830 h 3959978"/>
                  <a:gd name="connsiteX1848" fmla="*/ 2475382 w 7724301"/>
                  <a:gd name="connsiteY1848" fmla="*/ 1512996 h 3959978"/>
                  <a:gd name="connsiteX1849" fmla="*/ 2447618 w 7724301"/>
                  <a:gd name="connsiteY1849" fmla="*/ 1538239 h 3959978"/>
                  <a:gd name="connsiteX1850" fmla="*/ 2461104 w 7724301"/>
                  <a:gd name="connsiteY1850" fmla="*/ 1550861 h 3959978"/>
                  <a:gd name="connsiteX1851" fmla="*/ 2475382 w 7724301"/>
                  <a:gd name="connsiteY1851" fmla="*/ 1550861 h 3959978"/>
                  <a:gd name="connsiteX1852" fmla="*/ 2475382 w 7724301"/>
                  <a:gd name="connsiteY1852" fmla="*/ 1576104 h 3959978"/>
                  <a:gd name="connsiteX1853" fmla="*/ 2461104 w 7724301"/>
                  <a:gd name="connsiteY1853" fmla="*/ 1576104 h 3959978"/>
                  <a:gd name="connsiteX1854" fmla="*/ 2461104 w 7724301"/>
                  <a:gd name="connsiteY1854" fmla="*/ 1562694 h 3959978"/>
                  <a:gd name="connsiteX1855" fmla="*/ 2447618 w 7724301"/>
                  <a:gd name="connsiteY1855" fmla="*/ 1562694 h 3959978"/>
                  <a:gd name="connsiteX1856" fmla="*/ 2447618 w 7724301"/>
                  <a:gd name="connsiteY1856" fmla="*/ 1550861 h 3959978"/>
                  <a:gd name="connsiteX1857" fmla="*/ 2432545 w 7724301"/>
                  <a:gd name="connsiteY1857" fmla="*/ 1550861 h 3959978"/>
                  <a:gd name="connsiteX1858" fmla="*/ 2419058 w 7724301"/>
                  <a:gd name="connsiteY1858" fmla="*/ 1562694 h 3959978"/>
                  <a:gd name="connsiteX1859" fmla="*/ 2419058 w 7724301"/>
                  <a:gd name="connsiteY1859" fmla="*/ 1550861 h 3959978"/>
                  <a:gd name="connsiteX1860" fmla="*/ 2350037 w 7724301"/>
                  <a:gd name="connsiteY1860" fmla="*/ 1550861 h 3959978"/>
                  <a:gd name="connsiteX1861" fmla="*/ 2336549 w 7724301"/>
                  <a:gd name="connsiteY1861" fmla="*/ 1550861 h 3959978"/>
                  <a:gd name="connsiteX1862" fmla="*/ 2336549 w 7724301"/>
                  <a:gd name="connsiteY1862" fmla="*/ 1538239 h 3959978"/>
                  <a:gd name="connsiteX1863" fmla="*/ 2350037 w 7724301"/>
                  <a:gd name="connsiteY1863" fmla="*/ 1524830 h 3959978"/>
                  <a:gd name="connsiteX1864" fmla="*/ 2350037 w 7724301"/>
                  <a:gd name="connsiteY1864" fmla="*/ 1512996 h 3959978"/>
                  <a:gd name="connsiteX1865" fmla="*/ 2391291 w 7724301"/>
                  <a:gd name="connsiteY1865" fmla="*/ 1437268 h 3959978"/>
                  <a:gd name="connsiteX1866" fmla="*/ 4350160 w 7724301"/>
                  <a:gd name="connsiteY1866" fmla="*/ 1409698 h 3959978"/>
                  <a:gd name="connsiteX1867" fmla="*/ 4351108 w 7724301"/>
                  <a:gd name="connsiteY1867" fmla="*/ 1410595 h 3959978"/>
                  <a:gd name="connsiteX1868" fmla="*/ 4363878 w 7724301"/>
                  <a:gd name="connsiteY1868" fmla="*/ 1410595 h 3959978"/>
                  <a:gd name="connsiteX1869" fmla="*/ 4362801 w 7724301"/>
                  <a:gd name="connsiteY1869" fmla="*/ 1409698 h 3959978"/>
                  <a:gd name="connsiteX1870" fmla="*/ 4296684 w 7724301"/>
                  <a:gd name="connsiteY1870" fmla="*/ 1361238 h 3959978"/>
                  <a:gd name="connsiteX1871" fmla="*/ 4296684 w 7724301"/>
                  <a:gd name="connsiteY1871" fmla="*/ 1362201 h 3959978"/>
                  <a:gd name="connsiteX1872" fmla="*/ 4308646 w 7724301"/>
                  <a:gd name="connsiteY1872" fmla="*/ 1372749 h 3959978"/>
                  <a:gd name="connsiteX1873" fmla="*/ 4309010 w 7724301"/>
                  <a:gd name="connsiteY1873" fmla="*/ 1372123 h 3959978"/>
                  <a:gd name="connsiteX1874" fmla="*/ 14200 w 7724301"/>
                  <a:gd name="connsiteY1874" fmla="*/ 1348917 h 3959978"/>
                  <a:gd name="connsiteX1875" fmla="*/ 28399 w 7724301"/>
                  <a:gd name="connsiteY1875" fmla="*/ 1348917 h 3959978"/>
                  <a:gd name="connsiteX1876" fmla="*/ 28399 w 7724301"/>
                  <a:gd name="connsiteY1876" fmla="*/ 1359961 h 3959978"/>
                  <a:gd name="connsiteX1877" fmla="*/ 14200 w 7724301"/>
                  <a:gd name="connsiteY1877" fmla="*/ 1359961 h 3959978"/>
                  <a:gd name="connsiteX1878" fmla="*/ 4309965 w 7724301"/>
                  <a:gd name="connsiteY1878" fmla="*/ 1348306 h 3959978"/>
                  <a:gd name="connsiteX1879" fmla="*/ 4310146 w 7724301"/>
                  <a:gd name="connsiteY1879" fmla="*/ 1348556 h 3959978"/>
                  <a:gd name="connsiteX1880" fmla="*/ 4322705 w 7724301"/>
                  <a:gd name="connsiteY1880" fmla="*/ 1348556 h 3959978"/>
                  <a:gd name="connsiteX1881" fmla="*/ 4322849 w 7724301"/>
                  <a:gd name="connsiteY1881" fmla="*/ 1348306 h 3959978"/>
                  <a:gd name="connsiteX1882" fmla="*/ 6686781 w 7724301"/>
                  <a:gd name="connsiteY1882" fmla="*/ 1334718 h 3959978"/>
                  <a:gd name="connsiteX1883" fmla="*/ 6700774 w 7724301"/>
                  <a:gd name="connsiteY1883" fmla="*/ 1334718 h 3959978"/>
                  <a:gd name="connsiteX1884" fmla="*/ 6700774 w 7724301"/>
                  <a:gd name="connsiteY1884" fmla="*/ 1348129 h 3959978"/>
                  <a:gd name="connsiteX1885" fmla="*/ 6700774 w 7724301"/>
                  <a:gd name="connsiteY1885" fmla="*/ 1410446 h 3959978"/>
                  <a:gd name="connsiteX1886" fmla="*/ 6727207 w 7724301"/>
                  <a:gd name="connsiteY1886" fmla="*/ 1499585 h 3959978"/>
                  <a:gd name="connsiteX1887" fmla="*/ 6713991 w 7724301"/>
                  <a:gd name="connsiteY1887" fmla="*/ 1499585 h 3959978"/>
                  <a:gd name="connsiteX1888" fmla="*/ 6700774 w 7724301"/>
                  <a:gd name="connsiteY1888" fmla="*/ 1499585 h 3959978"/>
                  <a:gd name="connsiteX1889" fmla="*/ 6686781 w 7724301"/>
                  <a:gd name="connsiteY1889" fmla="*/ 1537450 h 3959978"/>
                  <a:gd name="connsiteX1890" fmla="*/ 6673565 w 7724301"/>
                  <a:gd name="connsiteY1890" fmla="*/ 1512208 h 3959978"/>
                  <a:gd name="connsiteX1891" fmla="*/ 6686781 w 7724301"/>
                  <a:gd name="connsiteY1891" fmla="*/ 1436478 h 3959978"/>
                  <a:gd name="connsiteX1892" fmla="*/ 6673565 w 7724301"/>
                  <a:gd name="connsiteY1892" fmla="*/ 1423857 h 3959978"/>
                  <a:gd name="connsiteX1893" fmla="*/ 6673565 w 7724301"/>
                  <a:gd name="connsiteY1893" fmla="*/ 1360750 h 3959978"/>
                  <a:gd name="connsiteX1894" fmla="*/ 6686781 w 7724301"/>
                  <a:gd name="connsiteY1894" fmla="*/ 1348129 h 3959978"/>
                  <a:gd name="connsiteX1895" fmla="*/ 750981 w 7724301"/>
                  <a:gd name="connsiteY1895" fmla="*/ 1334718 h 3959978"/>
                  <a:gd name="connsiteX1896" fmla="*/ 779379 w 7724301"/>
                  <a:gd name="connsiteY1896" fmla="*/ 1334718 h 3959978"/>
                  <a:gd name="connsiteX1897" fmla="*/ 765969 w 7724301"/>
                  <a:gd name="connsiteY1897" fmla="*/ 1360750 h 3959978"/>
                  <a:gd name="connsiteX1898" fmla="*/ 779379 w 7724301"/>
                  <a:gd name="connsiteY1898" fmla="*/ 1372583 h 3959978"/>
                  <a:gd name="connsiteX1899" fmla="*/ 765969 w 7724301"/>
                  <a:gd name="connsiteY1899" fmla="*/ 1385993 h 3959978"/>
                  <a:gd name="connsiteX1900" fmla="*/ 793578 w 7724301"/>
                  <a:gd name="connsiteY1900" fmla="*/ 1410447 h 3959978"/>
                  <a:gd name="connsiteX1901" fmla="*/ 765969 w 7724301"/>
                  <a:gd name="connsiteY1901" fmla="*/ 1398615 h 3959978"/>
                  <a:gd name="connsiteX1902" fmla="*/ 750981 w 7724301"/>
                  <a:gd name="connsiteY1902" fmla="*/ 1360750 h 3959978"/>
                  <a:gd name="connsiteX1903" fmla="*/ 6575749 w 7724301"/>
                  <a:gd name="connsiteY1903" fmla="*/ 1311053 h 3959978"/>
                  <a:gd name="connsiteX1904" fmla="*/ 6589948 w 7724301"/>
                  <a:gd name="connsiteY1904" fmla="*/ 1311053 h 3959978"/>
                  <a:gd name="connsiteX1905" fmla="*/ 6589948 w 7724301"/>
                  <a:gd name="connsiteY1905" fmla="*/ 1322097 h 3959978"/>
                  <a:gd name="connsiteX1906" fmla="*/ 3855827 w 7724301"/>
                  <a:gd name="connsiteY1906" fmla="*/ 1311053 h 3959978"/>
                  <a:gd name="connsiteX1907" fmla="*/ 3884226 w 7724301"/>
                  <a:gd name="connsiteY1907" fmla="*/ 1311053 h 3959978"/>
                  <a:gd name="connsiteX1908" fmla="*/ 3855827 w 7724301"/>
                  <a:gd name="connsiteY1908" fmla="*/ 1322097 h 3959978"/>
                  <a:gd name="connsiteX1909" fmla="*/ 3458456 w 7724301"/>
                  <a:gd name="connsiteY1909" fmla="*/ 1296854 h 3959978"/>
                  <a:gd name="connsiteX1910" fmla="*/ 3458875 w 7724301"/>
                  <a:gd name="connsiteY1910" fmla="*/ 1297063 h 3959978"/>
                  <a:gd name="connsiteX1911" fmla="*/ 3459265 w 7724301"/>
                  <a:gd name="connsiteY1911" fmla="*/ 1296854 h 3959978"/>
                  <a:gd name="connsiteX1912" fmla="*/ 3459101 w 7724301"/>
                  <a:gd name="connsiteY1912" fmla="*/ 1297177 h 3959978"/>
                  <a:gd name="connsiteX1913" fmla="*/ 3487254 w 7724301"/>
                  <a:gd name="connsiteY1913" fmla="*/ 1311271 h 3959978"/>
                  <a:gd name="connsiteX1914" fmla="*/ 3500853 w 7724301"/>
                  <a:gd name="connsiteY1914" fmla="*/ 1335300 h 3959978"/>
                  <a:gd name="connsiteX1915" fmla="*/ 3487254 w 7724301"/>
                  <a:gd name="connsiteY1915" fmla="*/ 1348917 h 3959978"/>
                  <a:gd name="connsiteX1916" fmla="*/ 3487254 w 7724301"/>
                  <a:gd name="connsiteY1916" fmla="*/ 1335300 h 3959978"/>
                  <a:gd name="connsiteX1917" fmla="*/ 3485078 w 7724301"/>
                  <a:gd name="connsiteY1917" fmla="*/ 1335300 h 3959978"/>
                  <a:gd name="connsiteX1918" fmla="*/ 3485078 w 7724301"/>
                  <a:gd name="connsiteY1918" fmla="*/ 1348447 h 3959978"/>
                  <a:gd name="connsiteX1919" fmla="*/ 3485078 w 7724301"/>
                  <a:gd name="connsiteY1919" fmla="*/ 1373053 h 3959978"/>
                  <a:gd name="connsiteX1920" fmla="*/ 3471780 w 7724301"/>
                  <a:gd name="connsiteY1920" fmla="*/ 1411153 h 3959978"/>
                  <a:gd name="connsiteX1921" fmla="*/ 3405292 w 7724301"/>
                  <a:gd name="connsiteY1921" fmla="*/ 1424647 h 3959978"/>
                  <a:gd name="connsiteX1922" fmla="*/ 3391994 w 7724301"/>
                  <a:gd name="connsiteY1922" fmla="*/ 1411153 h 3959978"/>
                  <a:gd name="connsiteX1923" fmla="*/ 3405292 w 7724301"/>
                  <a:gd name="connsiteY1923" fmla="*/ 1411153 h 3959978"/>
                  <a:gd name="connsiteX1924" fmla="*/ 3419372 w 7724301"/>
                  <a:gd name="connsiteY1924" fmla="*/ 1373053 h 3959978"/>
                  <a:gd name="connsiteX1925" fmla="*/ 3405292 w 7724301"/>
                  <a:gd name="connsiteY1925" fmla="*/ 1361147 h 3959978"/>
                  <a:gd name="connsiteX1926" fmla="*/ 3419372 w 7724301"/>
                  <a:gd name="connsiteY1926" fmla="*/ 1348447 h 3959978"/>
                  <a:gd name="connsiteX1927" fmla="*/ 3405292 w 7724301"/>
                  <a:gd name="connsiteY1927" fmla="*/ 1348447 h 3959978"/>
                  <a:gd name="connsiteX1928" fmla="*/ 3405292 w 7724301"/>
                  <a:gd name="connsiteY1928" fmla="*/ 1334954 h 3959978"/>
                  <a:gd name="connsiteX1929" fmla="*/ 3432669 w 7724301"/>
                  <a:gd name="connsiteY1929" fmla="*/ 1334954 h 3959978"/>
                  <a:gd name="connsiteX1930" fmla="*/ 3444909 w 7724301"/>
                  <a:gd name="connsiteY1930" fmla="*/ 1323995 h 3959978"/>
                  <a:gd name="connsiteX1931" fmla="*/ 3444057 w 7724301"/>
                  <a:gd name="connsiteY1931" fmla="*/ 1323286 h 3959978"/>
                  <a:gd name="connsiteX1932" fmla="*/ 3444188 w 7724301"/>
                  <a:gd name="connsiteY1932" fmla="*/ 1323047 h 3959978"/>
                  <a:gd name="connsiteX1933" fmla="*/ 3432669 w 7724301"/>
                  <a:gd name="connsiteY1933" fmla="*/ 1323047 h 3959978"/>
                  <a:gd name="connsiteX1934" fmla="*/ 3432669 w 7724301"/>
                  <a:gd name="connsiteY1934" fmla="*/ 1311141 h 3959978"/>
                  <a:gd name="connsiteX1935" fmla="*/ 3458123 w 7724301"/>
                  <a:gd name="connsiteY1935" fmla="*/ 1297467 h 3959978"/>
                  <a:gd name="connsiteX1936" fmla="*/ 1915305 w 7724301"/>
                  <a:gd name="connsiteY1936" fmla="*/ 1258989 h 3959978"/>
                  <a:gd name="connsiteX1937" fmla="*/ 1915305 w 7724301"/>
                  <a:gd name="connsiteY1937" fmla="*/ 1284232 h 3959978"/>
                  <a:gd name="connsiteX1938" fmla="*/ 1886908 w 7724301"/>
                  <a:gd name="connsiteY1938" fmla="*/ 1272758 h 3959978"/>
                  <a:gd name="connsiteX1939" fmla="*/ 4093269 w 7724301"/>
                  <a:gd name="connsiteY1939" fmla="*/ 1258437 h 3959978"/>
                  <a:gd name="connsiteX1940" fmla="*/ 4092742 w 7724301"/>
                  <a:gd name="connsiteY1940" fmla="*/ 1258989 h 3959978"/>
                  <a:gd name="connsiteX1941" fmla="*/ 4146559 w 7724301"/>
                  <a:gd name="connsiteY1941" fmla="*/ 1258989 h 3959978"/>
                  <a:gd name="connsiteX1942" fmla="*/ 4160056 w 7724301"/>
                  <a:gd name="connsiteY1942" fmla="*/ 1258989 h 3959978"/>
                  <a:gd name="connsiteX1943" fmla="*/ 4200989 w 7724301"/>
                  <a:gd name="connsiteY1943" fmla="*/ 1285029 h 3959978"/>
                  <a:gd name="connsiteX1944" fmla="*/ 4201951 w 7724301"/>
                  <a:gd name="connsiteY1944" fmla="*/ 1284122 h 3959978"/>
                  <a:gd name="connsiteX1945" fmla="*/ 4161109 w 7724301"/>
                  <a:gd name="connsiteY1945" fmla="*/ 1258437 h 3959978"/>
                  <a:gd name="connsiteX1946" fmla="*/ 4147699 w 7724301"/>
                  <a:gd name="connsiteY1946" fmla="*/ 1258437 h 3959978"/>
                  <a:gd name="connsiteX1947" fmla="*/ 4019523 w 7724301"/>
                  <a:gd name="connsiteY1947" fmla="*/ 1214764 h 3959978"/>
                  <a:gd name="connsiteX1948" fmla="*/ 4019523 w 7724301"/>
                  <a:gd name="connsiteY1948" fmla="*/ 1235324 h 3959978"/>
                  <a:gd name="connsiteX1949" fmla="*/ 4005707 w 7724301"/>
                  <a:gd name="connsiteY1949" fmla="*/ 1235324 h 3959978"/>
                  <a:gd name="connsiteX1950" fmla="*/ 4005707 w 7724301"/>
                  <a:gd name="connsiteY1950" fmla="*/ 1220695 h 3959978"/>
                  <a:gd name="connsiteX1951" fmla="*/ 4019523 w 7724301"/>
                  <a:gd name="connsiteY1951" fmla="*/ 1208503 h 3959978"/>
                  <a:gd name="connsiteX1952" fmla="*/ 4034106 w 7724301"/>
                  <a:gd name="connsiteY1952" fmla="*/ 1208503 h 3959978"/>
                  <a:gd name="connsiteX1953" fmla="*/ 4019523 w 7724301"/>
                  <a:gd name="connsiteY1953" fmla="*/ 1214764 h 3959978"/>
                  <a:gd name="connsiteX1954" fmla="*/ 4087748 w 7724301"/>
                  <a:gd name="connsiteY1954" fmla="*/ 1183260 h 3959978"/>
                  <a:gd name="connsiteX1955" fmla="*/ 4102331 w 7724301"/>
                  <a:gd name="connsiteY1955" fmla="*/ 1183260 h 3959978"/>
                  <a:gd name="connsiteX1956" fmla="*/ 4116147 w 7724301"/>
                  <a:gd name="connsiteY1956" fmla="*/ 1183260 h 3959978"/>
                  <a:gd name="connsiteX1957" fmla="*/ 4087748 w 7724301"/>
                  <a:gd name="connsiteY1957" fmla="*/ 1197459 h 3959978"/>
                  <a:gd name="connsiteX1958" fmla="*/ 3513842 w 7724301"/>
                  <a:gd name="connsiteY1958" fmla="*/ 1183260 h 3959978"/>
                  <a:gd name="connsiteX1959" fmla="*/ 3540903 w 7724301"/>
                  <a:gd name="connsiteY1959" fmla="*/ 1183260 h 3959978"/>
                  <a:gd name="connsiteX1960" fmla="*/ 3553704 w 7724301"/>
                  <a:gd name="connsiteY1960" fmla="*/ 1183260 h 3959978"/>
                  <a:gd name="connsiteX1961" fmla="*/ 3554431 w 7724301"/>
                  <a:gd name="connsiteY1961" fmla="*/ 1183260 h 3959978"/>
                  <a:gd name="connsiteX1962" fmla="*/ 3553974 w 7724301"/>
                  <a:gd name="connsiteY1962" fmla="*/ 1183500 h 3959978"/>
                  <a:gd name="connsiteX1963" fmla="*/ 3527373 w 7724301"/>
                  <a:gd name="connsiteY1963" fmla="*/ 1197421 h 3959978"/>
                  <a:gd name="connsiteX1964" fmla="*/ 3527373 w 7724301"/>
                  <a:gd name="connsiteY1964" fmla="*/ 1221022 h 3959978"/>
                  <a:gd name="connsiteX1965" fmla="*/ 3568757 w 7724301"/>
                  <a:gd name="connsiteY1965" fmla="*/ 1209221 h 3959978"/>
                  <a:gd name="connsiteX1966" fmla="*/ 3582285 w 7724301"/>
                  <a:gd name="connsiteY1966" fmla="*/ 1221022 h 3959978"/>
                  <a:gd name="connsiteX1967" fmla="*/ 3540903 w 7724301"/>
                  <a:gd name="connsiteY1967" fmla="*/ 1272944 h 3959978"/>
                  <a:gd name="connsiteX1968" fmla="*/ 3568757 w 7724301"/>
                  <a:gd name="connsiteY1968" fmla="*/ 1284745 h 3959978"/>
                  <a:gd name="connsiteX1969" fmla="*/ 3595816 w 7724301"/>
                  <a:gd name="connsiteY1969" fmla="*/ 1322507 h 3959978"/>
                  <a:gd name="connsiteX1970" fmla="*/ 3609346 w 7724301"/>
                  <a:gd name="connsiteY1970" fmla="*/ 1334307 h 3959978"/>
                  <a:gd name="connsiteX1971" fmla="*/ 3623672 w 7724301"/>
                  <a:gd name="connsiteY1971" fmla="*/ 1360268 h 3959978"/>
                  <a:gd name="connsiteX1972" fmla="*/ 3623672 w 7724301"/>
                  <a:gd name="connsiteY1972" fmla="*/ 1372069 h 3959978"/>
                  <a:gd name="connsiteX1973" fmla="*/ 3609346 w 7724301"/>
                  <a:gd name="connsiteY1973" fmla="*/ 1385443 h 3959978"/>
                  <a:gd name="connsiteX1974" fmla="*/ 3623672 w 7724301"/>
                  <a:gd name="connsiteY1974" fmla="*/ 1385443 h 3959978"/>
                  <a:gd name="connsiteX1975" fmla="*/ 3637202 w 7724301"/>
                  <a:gd name="connsiteY1975" fmla="*/ 1385443 h 3959978"/>
                  <a:gd name="connsiteX1976" fmla="*/ 3650731 w 7724301"/>
                  <a:gd name="connsiteY1976" fmla="*/ 1398030 h 3959978"/>
                  <a:gd name="connsiteX1977" fmla="*/ 3623672 w 7724301"/>
                  <a:gd name="connsiteY1977" fmla="*/ 1435791 h 3959978"/>
                  <a:gd name="connsiteX1978" fmla="*/ 3650731 w 7724301"/>
                  <a:gd name="connsiteY1978" fmla="*/ 1435791 h 3959978"/>
                  <a:gd name="connsiteX1979" fmla="*/ 3637202 w 7724301"/>
                  <a:gd name="connsiteY1979" fmla="*/ 1447593 h 3959978"/>
                  <a:gd name="connsiteX1980" fmla="*/ 3582285 w 7724301"/>
                  <a:gd name="connsiteY1980" fmla="*/ 1447593 h 3959978"/>
                  <a:gd name="connsiteX1981" fmla="*/ 3568757 w 7724301"/>
                  <a:gd name="connsiteY1981" fmla="*/ 1460967 h 3959978"/>
                  <a:gd name="connsiteX1982" fmla="*/ 3554431 w 7724301"/>
                  <a:gd name="connsiteY1982" fmla="*/ 1447593 h 3959978"/>
                  <a:gd name="connsiteX1983" fmla="*/ 3540903 w 7724301"/>
                  <a:gd name="connsiteY1983" fmla="*/ 1460967 h 3959978"/>
                  <a:gd name="connsiteX1984" fmla="*/ 3540903 w 7724301"/>
                  <a:gd name="connsiteY1984" fmla="*/ 1473554 h 3959978"/>
                  <a:gd name="connsiteX1985" fmla="*/ 3513842 w 7724301"/>
                  <a:gd name="connsiteY1985" fmla="*/ 1460967 h 3959978"/>
                  <a:gd name="connsiteX1986" fmla="*/ 3499516 w 7724301"/>
                  <a:gd name="connsiteY1986" fmla="*/ 1473554 h 3959978"/>
                  <a:gd name="connsiteX1987" fmla="*/ 3527373 w 7724301"/>
                  <a:gd name="connsiteY1987" fmla="*/ 1435791 h 3959978"/>
                  <a:gd name="connsiteX1988" fmla="*/ 3540903 w 7724301"/>
                  <a:gd name="connsiteY1988" fmla="*/ 1435791 h 3959978"/>
                  <a:gd name="connsiteX1989" fmla="*/ 3554431 w 7724301"/>
                  <a:gd name="connsiteY1989" fmla="*/ 1435791 h 3959978"/>
                  <a:gd name="connsiteX1990" fmla="*/ 3554431 w 7724301"/>
                  <a:gd name="connsiteY1990" fmla="*/ 1423204 h 3959978"/>
                  <a:gd name="connsiteX1991" fmla="*/ 3540903 w 7724301"/>
                  <a:gd name="connsiteY1991" fmla="*/ 1435791 h 3959978"/>
                  <a:gd name="connsiteX1992" fmla="*/ 3527373 w 7724301"/>
                  <a:gd name="connsiteY1992" fmla="*/ 1423204 h 3959978"/>
                  <a:gd name="connsiteX1993" fmla="*/ 3513842 w 7724301"/>
                  <a:gd name="connsiteY1993" fmla="*/ 1423204 h 3959978"/>
                  <a:gd name="connsiteX1994" fmla="*/ 3499516 w 7724301"/>
                  <a:gd name="connsiteY1994" fmla="*/ 1409831 h 3959978"/>
                  <a:gd name="connsiteX1995" fmla="*/ 3527373 w 7724301"/>
                  <a:gd name="connsiteY1995" fmla="*/ 1398030 h 3959978"/>
                  <a:gd name="connsiteX1996" fmla="*/ 3527373 w 7724301"/>
                  <a:gd name="connsiteY1996" fmla="*/ 1385443 h 3959978"/>
                  <a:gd name="connsiteX1997" fmla="*/ 3513842 w 7724301"/>
                  <a:gd name="connsiteY1997" fmla="*/ 1385443 h 3959978"/>
                  <a:gd name="connsiteX1998" fmla="*/ 3527373 w 7724301"/>
                  <a:gd name="connsiteY1998" fmla="*/ 1372069 h 3959978"/>
                  <a:gd name="connsiteX1999" fmla="*/ 3513842 w 7724301"/>
                  <a:gd name="connsiteY1999" fmla="*/ 1360268 h 3959978"/>
                  <a:gd name="connsiteX2000" fmla="*/ 3554431 w 7724301"/>
                  <a:gd name="connsiteY2000" fmla="*/ 1360268 h 3959978"/>
                  <a:gd name="connsiteX2001" fmla="*/ 3554431 w 7724301"/>
                  <a:gd name="connsiteY2001" fmla="*/ 1334307 h 3959978"/>
                  <a:gd name="connsiteX2002" fmla="*/ 3540903 w 7724301"/>
                  <a:gd name="connsiteY2002" fmla="*/ 1334307 h 3959978"/>
                  <a:gd name="connsiteX2003" fmla="*/ 3540903 w 7724301"/>
                  <a:gd name="connsiteY2003" fmla="*/ 1322507 h 3959978"/>
                  <a:gd name="connsiteX2004" fmla="*/ 3540903 w 7724301"/>
                  <a:gd name="connsiteY2004" fmla="*/ 1310707 h 3959978"/>
                  <a:gd name="connsiteX2005" fmla="*/ 3513842 w 7724301"/>
                  <a:gd name="connsiteY2005" fmla="*/ 1322507 h 3959978"/>
                  <a:gd name="connsiteX2006" fmla="*/ 3499516 w 7724301"/>
                  <a:gd name="connsiteY2006" fmla="*/ 1310707 h 3959978"/>
                  <a:gd name="connsiteX2007" fmla="*/ 3513842 w 7724301"/>
                  <a:gd name="connsiteY2007" fmla="*/ 1296545 h 3959978"/>
                  <a:gd name="connsiteX2008" fmla="*/ 3499516 w 7724301"/>
                  <a:gd name="connsiteY2008" fmla="*/ 1284745 h 3959978"/>
                  <a:gd name="connsiteX2009" fmla="*/ 3485986 w 7724301"/>
                  <a:gd name="connsiteY2009" fmla="*/ 1284745 h 3959978"/>
                  <a:gd name="connsiteX2010" fmla="*/ 3499516 w 7724301"/>
                  <a:gd name="connsiteY2010" fmla="*/ 1272944 h 3959978"/>
                  <a:gd name="connsiteX2011" fmla="*/ 3499516 w 7724301"/>
                  <a:gd name="connsiteY2011" fmla="*/ 1258783 h 3959978"/>
                  <a:gd name="connsiteX2012" fmla="*/ 3485986 w 7724301"/>
                  <a:gd name="connsiteY2012" fmla="*/ 1258783 h 3959978"/>
                  <a:gd name="connsiteX2013" fmla="*/ 3499516 w 7724301"/>
                  <a:gd name="connsiteY2013" fmla="*/ 1235182 h 3959978"/>
                  <a:gd name="connsiteX2014" fmla="*/ 3485986 w 7724301"/>
                  <a:gd name="connsiteY2014" fmla="*/ 1235182 h 3959978"/>
                  <a:gd name="connsiteX2015" fmla="*/ 3472457 w 7724301"/>
                  <a:gd name="connsiteY2015" fmla="*/ 1221022 h 3959978"/>
                  <a:gd name="connsiteX2016" fmla="*/ 3485986 w 7724301"/>
                  <a:gd name="connsiteY2016" fmla="*/ 1221022 h 3959978"/>
                  <a:gd name="connsiteX2017" fmla="*/ 3485078 w 7724301"/>
                  <a:gd name="connsiteY2017" fmla="*/ 1183260 h 3959978"/>
                  <a:gd name="connsiteX2018" fmla="*/ 3473604 w 7724301"/>
                  <a:gd name="connsiteY2018" fmla="*/ 1197459 h 3959978"/>
                  <a:gd name="connsiteX2019" fmla="*/ 3459835 w 7724301"/>
                  <a:gd name="connsiteY2019" fmla="*/ 1221124 h 3959978"/>
                  <a:gd name="connsiteX2020" fmla="*/ 3459835 w 7724301"/>
                  <a:gd name="connsiteY2020" fmla="*/ 1197459 h 3959978"/>
                  <a:gd name="connsiteX2021" fmla="*/ 328327 w 7724301"/>
                  <a:gd name="connsiteY2021" fmla="*/ 1183260 h 3959978"/>
                  <a:gd name="connsiteX2022" fmla="*/ 342364 w 7724301"/>
                  <a:gd name="connsiteY2022" fmla="*/ 1197284 h 3959978"/>
                  <a:gd name="connsiteX2023" fmla="*/ 315072 w 7724301"/>
                  <a:gd name="connsiteY2023" fmla="*/ 1208971 h 3959978"/>
                  <a:gd name="connsiteX2024" fmla="*/ 328327 w 7724301"/>
                  <a:gd name="connsiteY2024" fmla="*/ 1208971 h 3959978"/>
                  <a:gd name="connsiteX2025" fmla="*/ 328327 w 7724301"/>
                  <a:gd name="connsiteY2025" fmla="*/ 1220657 h 3959978"/>
                  <a:gd name="connsiteX2026" fmla="*/ 315072 w 7724301"/>
                  <a:gd name="connsiteY2026" fmla="*/ 1220657 h 3959978"/>
                  <a:gd name="connsiteX2027" fmla="*/ 287779 w 7724301"/>
                  <a:gd name="connsiteY2027" fmla="*/ 1246367 h 3959978"/>
                  <a:gd name="connsiteX2028" fmla="*/ 274522 w 7724301"/>
                  <a:gd name="connsiteY2028" fmla="*/ 1234680 h 3959978"/>
                  <a:gd name="connsiteX2029" fmla="*/ 4103524 w 7724301"/>
                  <a:gd name="connsiteY2029" fmla="*/ 1159596 h 3959978"/>
                  <a:gd name="connsiteX2030" fmla="*/ 4116145 w 7724301"/>
                  <a:gd name="connsiteY2030" fmla="*/ 1170640 h 3959978"/>
                  <a:gd name="connsiteX2031" fmla="*/ 4103524 w 7724301"/>
                  <a:gd name="connsiteY2031" fmla="*/ 1170640 h 3959978"/>
                  <a:gd name="connsiteX2032" fmla="*/ 4202358 w 7724301"/>
                  <a:gd name="connsiteY2032" fmla="*/ 1159421 h 3959978"/>
                  <a:gd name="connsiteX2033" fmla="*/ 4202525 w 7724301"/>
                  <a:gd name="connsiteY2033" fmla="*/ 1159865 h 3959978"/>
                  <a:gd name="connsiteX2034" fmla="*/ 4212387 w 7724301"/>
                  <a:gd name="connsiteY2034" fmla="*/ 1159865 h 3959978"/>
                  <a:gd name="connsiteX2035" fmla="*/ 4212807 w 7724301"/>
                  <a:gd name="connsiteY2035" fmla="*/ 1159421 h 3959978"/>
                  <a:gd name="connsiteX2036" fmla="*/ 698919 w 7724301"/>
                  <a:gd name="connsiteY2036" fmla="*/ 1133564 h 3959978"/>
                  <a:gd name="connsiteX2037" fmla="*/ 697392 w 7724301"/>
                  <a:gd name="connsiteY2037" fmla="*/ 1134219 h 3959978"/>
                  <a:gd name="connsiteX2038" fmla="*/ 710656 w 7724301"/>
                  <a:gd name="connsiteY2038" fmla="*/ 1171595 h 3959978"/>
                  <a:gd name="connsiteX2039" fmla="*/ 724079 w 7724301"/>
                  <a:gd name="connsiteY2039" fmla="*/ 1171595 h 3959978"/>
                  <a:gd name="connsiteX2040" fmla="*/ 766718 w 7724301"/>
                  <a:gd name="connsiteY2040" fmla="*/ 1247246 h 3959978"/>
                  <a:gd name="connsiteX2041" fmla="*/ 807776 w 7724301"/>
                  <a:gd name="connsiteY2041" fmla="*/ 1273252 h 3959978"/>
                  <a:gd name="connsiteX2042" fmla="*/ 807776 w 7724301"/>
                  <a:gd name="connsiteY2042" fmla="*/ 1273189 h 3959978"/>
                  <a:gd name="connsiteX2043" fmla="*/ 766757 w 7724301"/>
                  <a:gd name="connsiteY2043" fmla="*/ 1247158 h 3959978"/>
                  <a:gd name="connsiteX2044" fmla="*/ 724161 w 7724301"/>
                  <a:gd name="connsiteY2044" fmla="*/ 1171428 h 3959978"/>
                  <a:gd name="connsiteX2045" fmla="*/ 712329 w 7724301"/>
                  <a:gd name="connsiteY2045" fmla="*/ 1171428 h 3959978"/>
                  <a:gd name="connsiteX2046" fmla="*/ 3595512 w 7724301"/>
                  <a:gd name="connsiteY2046" fmla="*/ 1107532 h 3959978"/>
                  <a:gd name="connsiteX2047" fmla="*/ 3595512 w 7724301"/>
                  <a:gd name="connsiteY2047" fmla="*/ 1121732 h 3959978"/>
                  <a:gd name="connsiteX2048" fmla="*/ 3581312 w 7724301"/>
                  <a:gd name="connsiteY2048" fmla="*/ 1121732 h 3959978"/>
                  <a:gd name="connsiteX2049" fmla="*/ 616879 w 7724301"/>
                  <a:gd name="connsiteY2049" fmla="*/ 1107532 h 3959978"/>
                  <a:gd name="connsiteX2050" fmla="*/ 615113 w 7724301"/>
                  <a:gd name="connsiteY2050" fmla="*/ 1108145 h 3959978"/>
                  <a:gd name="connsiteX2051" fmla="*/ 615113 w 7724301"/>
                  <a:gd name="connsiteY2051" fmla="*/ 1121950 h 3959978"/>
                  <a:gd name="connsiteX2052" fmla="*/ 656174 w 7724301"/>
                  <a:gd name="connsiteY2052" fmla="*/ 1159775 h 3959978"/>
                  <a:gd name="connsiteX2053" fmla="*/ 657069 w 7724301"/>
                  <a:gd name="connsiteY2053" fmla="*/ 1158829 h 3959978"/>
                  <a:gd name="connsiteX2054" fmla="*/ 616879 w 7724301"/>
                  <a:gd name="connsiteY2054" fmla="*/ 1121732 h 3959978"/>
                  <a:gd name="connsiteX2055" fmla="*/ 26821 w 7724301"/>
                  <a:gd name="connsiteY2055" fmla="*/ 1107532 h 3959978"/>
                  <a:gd name="connsiteX2056" fmla="*/ 41020 w 7724301"/>
                  <a:gd name="connsiteY2056" fmla="*/ 1121301 h 3959978"/>
                  <a:gd name="connsiteX2057" fmla="*/ 26821 w 7724301"/>
                  <a:gd name="connsiteY2057" fmla="*/ 1132776 h 3959978"/>
                  <a:gd name="connsiteX2058" fmla="*/ 0 w 7724301"/>
                  <a:gd name="connsiteY2058" fmla="*/ 1121301 h 3959978"/>
                  <a:gd name="connsiteX2059" fmla="*/ 4283332 w 7724301"/>
                  <a:gd name="connsiteY2059" fmla="*/ 984378 h 3959978"/>
                  <a:gd name="connsiteX2060" fmla="*/ 4294425 w 7724301"/>
                  <a:gd name="connsiteY2060" fmla="*/ 994150 h 3959978"/>
                  <a:gd name="connsiteX2061" fmla="*/ 4294425 w 7724301"/>
                  <a:gd name="connsiteY2061" fmla="*/ 1008325 h 3959978"/>
                  <a:gd name="connsiteX2062" fmla="*/ 4269987 w 7724301"/>
                  <a:gd name="connsiteY2062" fmla="*/ 1044921 h 3959978"/>
                  <a:gd name="connsiteX2063" fmla="*/ 4295233 w 7724301"/>
                  <a:gd name="connsiteY2063" fmla="*/ 1008481 h 3959978"/>
                  <a:gd name="connsiteX2064" fmla="*/ 4295233 w 7724301"/>
                  <a:gd name="connsiteY2064" fmla="*/ 994288 h 3959978"/>
                  <a:gd name="connsiteX2065" fmla="*/ 4267788 w 7724301"/>
                  <a:gd name="connsiteY2065" fmla="*/ 926424 h 3959978"/>
                  <a:gd name="connsiteX2066" fmla="*/ 4281015 w 7724301"/>
                  <a:gd name="connsiteY2066" fmla="*/ 944534 h 3959978"/>
                  <a:gd name="connsiteX2067" fmla="*/ 4273703 w 7724301"/>
                  <a:gd name="connsiteY2067" fmla="*/ 958703 h 3959978"/>
                  <a:gd name="connsiteX2068" fmla="*/ 4281821 w 7724301"/>
                  <a:gd name="connsiteY2068" fmla="*/ 944616 h 3959978"/>
                  <a:gd name="connsiteX2069" fmla="*/ 3095402 w 7724301"/>
                  <a:gd name="connsiteY2069" fmla="*/ 749399 h 3959978"/>
                  <a:gd name="connsiteX2070" fmla="*/ 3108862 w 7724301"/>
                  <a:gd name="connsiteY2070" fmla="*/ 749399 h 3959978"/>
                  <a:gd name="connsiteX2071" fmla="*/ 3122324 w 7724301"/>
                  <a:gd name="connsiteY2071" fmla="*/ 749399 h 3959978"/>
                  <a:gd name="connsiteX2072" fmla="*/ 3137369 w 7724301"/>
                  <a:gd name="connsiteY2072" fmla="*/ 761346 h 3959978"/>
                  <a:gd name="connsiteX2073" fmla="*/ 3151621 w 7724301"/>
                  <a:gd name="connsiteY2073" fmla="*/ 761346 h 3959978"/>
                  <a:gd name="connsiteX2074" fmla="*/ 3165081 w 7724301"/>
                  <a:gd name="connsiteY2074" fmla="*/ 761346 h 3959978"/>
                  <a:gd name="connsiteX2075" fmla="*/ 3178543 w 7724301"/>
                  <a:gd name="connsiteY2075" fmla="*/ 761346 h 3959978"/>
                  <a:gd name="connsiteX2076" fmla="*/ 3178543 w 7724301"/>
                  <a:gd name="connsiteY2076" fmla="*/ 749399 h 3959978"/>
                  <a:gd name="connsiteX2077" fmla="*/ 3192795 w 7724301"/>
                  <a:gd name="connsiteY2077" fmla="*/ 749399 h 3959978"/>
                  <a:gd name="connsiteX2078" fmla="*/ 3206255 w 7724301"/>
                  <a:gd name="connsiteY2078" fmla="*/ 749399 h 3959978"/>
                  <a:gd name="connsiteX2079" fmla="*/ 3221300 w 7724301"/>
                  <a:gd name="connsiteY2079" fmla="*/ 761346 h 3959978"/>
                  <a:gd name="connsiteX2080" fmla="*/ 3221300 w 7724301"/>
                  <a:gd name="connsiteY2080" fmla="*/ 749399 h 3959978"/>
                  <a:gd name="connsiteX2081" fmla="*/ 3234763 w 7724301"/>
                  <a:gd name="connsiteY2081" fmla="*/ 749399 h 3959978"/>
                  <a:gd name="connsiteX2082" fmla="*/ 3249014 w 7724301"/>
                  <a:gd name="connsiteY2082" fmla="*/ 749399 h 3959978"/>
                  <a:gd name="connsiteX2083" fmla="*/ 3262472 w 7724301"/>
                  <a:gd name="connsiteY2083" fmla="*/ 749399 h 3959978"/>
                  <a:gd name="connsiteX2084" fmla="*/ 3275933 w 7724301"/>
                  <a:gd name="connsiteY2084" fmla="*/ 749399 h 3959978"/>
                  <a:gd name="connsiteX2085" fmla="*/ 3275933 w 7724301"/>
                  <a:gd name="connsiteY2085" fmla="*/ 774887 h 3959978"/>
                  <a:gd name="connsiteX2086" fmla="*/ 3305229 w 7724301"/>
                  <a:gd name="connsiteY2086" fmla="*/ 788427 h 3959978"/>
                  <a:gd name="connsiteX2087" fmla="*/ 3289394 w 7724301"/>
                  <a:gd name="connsiteY2087" fmla="*/ 788427 h 3959978"/>
                  <a:gd name="connsiteX2088" fmla="*/ 3275933 w 7724301"/>
                  <a:gd name="connsiteY2088" fmla="*/ 804357 h 3959978"/>
                  <a:gd name="connsiteX2089" fmla="*/ 3275933 w 7724301"/>
                  <a:gd name="connsiteY2089" fmla="*/ 817898 h 3959978"/>
                  <a:gd name="connsiteX2090" fmla="*/ 3249014 w 7724301"/>
                  <a:gd name="connsiteY2090" fmla="*/ 817898 h 3959978"/>
                  <a:gd name="connsiteX2091" fmla="*/ 3234763 w 7724301"/>
                  <a:gd name="connsiteY2091" fmla="*/ 831438 h 3959978"/>
                  <a:gd name="connsiteX2092" fmla="*/ 3206255 w 7724301"/>
                  <a:gd name="connsiteY2092" fmla="*/ 831438 h 3959978"/>
                  <a:gd name="connsiteX2093" fmla="*/ 3178543 w 7724301"/>
                  <a:gd name="connsiteY2093" fmla="*/ 831438 h 3959978"/>
                  <a:gd name="connsiteX2094" fmla="*/ 3165081 w 7724301"/>
                  <a:gd name="connsiteY2094" fmla="*/ 831438 h 3959978"/>
                  <a:gd name="connsiteX2095" fmla="*/ 3137369 w 7724301"/>
                  <a:gd name="connsiteY2095" fmla="*/ 817898 h 3959978"/>
                  <a:gd name="connsiteX2096" fmla="*/ 3122324 w 7724301"/>
                  <a:gd name="connsiteY2096" fmla="*/ 804357 h 3959978"/>
                  <a:gd name="connsiteX2097" fmla="*/ 3122324 w 7724301"/>
                  <a:gd name="connsiteY2097" fmla="*/ 788427 h 3959978"/>
                  <a:gd name="connsiteX2098" fmla="*/ 3137369 w 7724301"/>
                  <a:gd name="connsiteY2098" fmla="*/ 774887 h 3959978"/>
                  <a:gd name="connsiteX2099" fmla="*/ 3122324 w 7724301"/>
                  <a:gd name="connsiteY2099" fmla="*/ 774887 h 3959978"/>
                  <a:gd name="connsiteX2100" fmla="*/ 3108862 w 7724301"/>
                  <a:gd name="connsiteY2100" fmla="*/ 774887 h 3959978"/>
                  <a:gd name="connsiteX2101" fmla="*/ 3095402 w 7724301"/>
                  <a:gd name="connsiteY2101" fmla="*/ 761346 h 3959978"/>
                  <a:gd name="connsiteX2102" fmla="*/ 4006103 w 7724301"/>
                  <a:gd name="connsiteY2102" fmla="*/ 729081 h 3959978"/>
                  <a:gd name="connsiteX2103" fmla="*/ 4006103 w 7724301"/>
                  <a:gd name="connsiteY2103" fmla="*/ 729679 h 3959978"/>
                  <a:gd name="connsiteX2104" fmla="*/ 4019907 w 7724301"/>
                  <a:gd name="connsiteY2104" fmla="*/ 729679 h 3959978"/>
                  <a:gd name="connsiteX2105" fmla="*/ 4046728 w 7724301"/>
                  <a:gd name="connsiteY2105" fmla="*/ 729679 h 3959978"/>
                  <a:gd name="connsiteX2106" fmla="*/ 4046728 w 7724301"/>
                  <a:gd name="connsiteY2106" fmla="*/ 729081 h 3959978"/>
                  <a:gd name="connsiteX2107" fmla="*/ 4020322 w 7724301"/>
                  <a:gd name="connsiteY2107" fmla="*/ 729081 h 3959978"/>
                  <a:gd name="connsiteX2108" fmla="*/ 1998920 w 7724301"/>
                  <a:gd name="connsiteY2108" fmla="*/ 694179 h 3959978"/>
                  <a:gd name="connsiteX2109" fmla="*/ 2013077 w 7724301"/>
                  <a:gd name="connsiteY2109" fmla="*/ 694179 h 3959978"/>
                  <a:gd name="connsiteX2110" fmla="*/ 2028899 w 7724301"/>
                  <a:gd name="connsiteY2110" fmla="*/ 708379 h 3959978"/>
                  <a:gd name="connsiteX2111" fmla="*/ 2013077 w 7724301"/>
                  <a:gd name="connsiteY2111" fmla="*/ 708379 h 3959978"/>
                  <a:gd name="connsiteX2112" fmla="*/ 1998920 w 7724301"/>
                  <a:gd name="connsiteY2112" fmla="*/ 708379 h 3959978"/>
                  <a:gd name="connsiteX2113" fmla="*/ 1957902 w 7724301"/>
                  <a:gd name="connsiteY2113" fmla="*/ 694179 h 3959978"/>
                  <a:gd name="connsiteX2114" fmla="*/ 1985512 w 7724301"/>
                  <a:gd name="connsiteY2114" fmla="*/ 694179 h 3959978"/>
                  <a:gd name="connsiteX2115" fmla="*/ 1998921 w 7724301"/>
                  <a:gd name="connsiteY2115" fmla="*/ 709168 h 3959978"/>
                  <a:gd name="connsiteX2116" fmla="*/ 1971313 w 7724301"/>
                  <a:gd name="connsiteY2116" fmla="*/ 722578 h 3959978"/>
                  <a:gd name="connsiteX2117" fmla="*/ 1957902 w 7724301"/>
                  <a:gd name="connsiteY2117" fmla="*/ 722578 h 3959978"/>
                  <a:gd name="connsiteX2118" fmla="*/ 1957902 w 7724301"/>
                  <a:gd name="connsiteY2118" fmla="*/ 709168 h 3959978"/>
                  <a:gd name="connsiteX2119" fmla="*/ 4675434 w 7724301"/>
                  <a:gd name="connsiteY2119" fmla="*/ 667360 h 3959978"/>
                  <a:gd name="connsiteX2120" fmla="*/ 4703043 w 7724301"/>
                  <a:gd name="connsiteY2120" fmla="*/ 692202 h 3959978"/>
                  <a:gd name="connsiteX2121" fmla="*/ 4688844 w 7724301"/>
                  <a:gd name="connsiteY2121" fmla="*/ 705826 h 3959978"/>
                  <a:gd name="connsiteX2122" fmla="*/ 4662023 w 7724301"/>
                  <a:gd name="connsiteY2122" fmla="*/ 717846 h 3959978"/>
                  <a:gd name="connsiteX2123" fmla="*/ 4662023 w 7724301"/>
                  <a:gd name="connsiteY2123" fmla="*/ 692202 h 3959978"/>
                  <a:gd name="connsiteX2124" fmla="*/ 4211483 w 7724301"/>
                  <a:gd name="connsiteY2124" fmla="*/ 640619 h 3959978"/>
                  <a:gd name="connsiteX2125" fmla="*/ 4183836 w 7724301"/>
                  <a:gd name="connsiteY2125" fmla="*/ 653256 h 3959978"/>
                  <a:gd name="connsiteX2126" fmla="*/ 4170407 w 7724301"/>
                  <a:gd name="connsiteY2126" fmla="*/ 704596 h 3959978"/>
                  <a:gd name="connsiteX2127" fmla="*/ 4156978 w 7724301"/>
                  <a:gd name="connsiteY2127" fmla="*/ 716444 h 3959978"/>
                  <a:gd name="connsiteX2128" fmla="*/ 4129331 w 7724301"/>
                  <a:gd name="connsiteY2128" fmla="*/ 716444 h 3959978"/>
                  <a:gd name="connsiteX2129" fmla="*/ 4115903 w 7724301"/>
                  <a:gd name="connsiteY2129" fmla="*/ 716444 h 3959978"/>
                  <a:gd name="connsiteX2130" fmla="*/ 4102165 w 7724301"/>
                  <a:gd name="connsiteY2130" fmla="*/ 716444 h 3959978"/>
                  <a:gd name="connsiteX2131" fmla="*/ 4103525 w 7724301"/>
                  <a:gd name="connsiteY2131" fmla="*/ 717721 h 3959978"/>
                  <a:gd name="connsiteX2132" fmla="*/ 4117724 w 7724301"/>
                  <a:gd name="connsiteY2132" fmla="*/ 717721 h 3959978"/>
                  <a:gd name="connsiteX2133" fmla="*/ 4131134 w 7724301"/>
                  <a:gd name="connsiteY2133" fmla="*/ 717721 h 3959978"/>
                  <a:gd name="connsiteX2134" fmla="*/ 4157955 w 7724301"/>
                  <a:gd name="connsiteY2134" fmla="*/ 717721 h 3959978"/>
                  <a:gd name="connsiteX2135" fmla="*/ 4172154 w 7724301"/>
                  <a:gd name="connsiteY2135" fmla="*/ 705908 h 3959978"/>
                  <a:gd name="connsiteX2136" fmla="*/ 4185565 w 7724301"/>
                  <a:gd name="connsiteY2136" fmla="*/ 654718 h 3959978"/>
                  <a:gd name="connsiteX2137" fmla="*/ 4213174 w 7724301"/>
                  <a:gd name="connsiteY2137" fmla="*/ 642117 h 3959978"/>
                  <a:gd name="connsiteX2138" fmla="*/ 4252912 w 7724301"/>
                  <a:gd name="connsiteY2138" fmla="*/ 667787 h 3959978"/>
                  <a:gd name="connsiteX2139" fmla="*/ 4253349 w 7724301"/>
                  <a:gd name="connsiteY2139" fmla="*/ 666684 h 3959978"/>
                  <a:gd name="connsiteX2140" fmla="*/ 1587937 w 7724301"/>
                  <a:gd name="connsiteY2140" fmla="*/ 547456 h 3959978"/>
                  <a:gd name="connsiteX2141" fmla="*/ 1642369 w 7724301"/>
                  <a:gd name="connsiteY2141" fmla="*/ 641328 h 3959978"/>
                  <a:gd name="connsiteX2142" fmla="*/ 1627380 w 7724301"/>
                  <a:gd name="connsiteY2142" fmla="*/ 667360 h 3959978"/>
                  <a:gd name="connsiteX2143" fmla="*/ 1642369 w 7724301"/>
                  <a:gd name="connsiteY2143" fmla="*/ 679192 h 3959978"/>
                  <a:gd name="connsiteX2144" fmla="*/ 1683387 w 7724301"/>
                  <a:gd name="connsiteY2144" fmla="*/ 729678 h 3959978"/>
                  <a:gd name="connsiteX2145" fmla="*/ 1696798 w 7724301"/>
                  <a:gd name="connsiteY2145" fmla="*/ 691813 h 3959978"/>
                  <a:gd name="connsiteX2146" fmla="*/ 1723619 w 7724301"/>
                  <a:gd name="connsiteY2146" fmla="*/ 717057 h 3959978"/>
                  <a:gd name="connsiteX2147" fmla="*/ 1708631 w 7724301"/>
                  <a:gd name="connsiteY2147" fmla="*/ 767542 h 3959978"/>
                  <a:gd name="connsiteX2148" fmla="*/ 1737817 w 7724301"/>
                  <a:gd name="connsiteY2148" fmla="*/ 792785 h 3959978"/>
                  <a:gd name="connsiteX2149" fmla="*/ 1751231 w 7724301"/>
                  <a:gd name="connsiteY2149" fmla="*/ 792785 h 3959978"/>
                  <a:gd name="connsiteX2150" fmla="*/ 1751231 w 7724301"/>
                  <a:gd name="connsiteY2150" fmla="*/ 767542 h 3959978"/>
                  <a:gd name="connsiteX2151" fmla="*/ 1778839 w 7724301"/>
                  <a:gd name="connsiteY2151" fmla="*/ 754921 h 3959978"/>
                  <a:gd name="connsiteX2152" fmla="*/ 1778839 w 7724301"/>
                  <a:gd name="connsiteY2152" fmla="*/ 653949 h 3959978"/>
                  <a:gd name="connsiteX2153" fmla="*/ 1805657 w 7724301"/>
                  <a:gd name="connsiteY2153" fmla="*/ 653949 h 3959978"/>
                  <a:gd name="connsiteX2154" fmla="*/ 1833269 w 7724301"/>
                  <a:gd name="connsiteY2154" fmla="*/ 667360 h 3959978"/>
                  <a:gd name="connsiteX2155" fmla="*/ 1833269 w 7724301"/>
                  <a:gd name="connsiteY2155" fmla="*/ 691813 h 3959978"/>
                  <a:gd name="connsiteX2156" fmla="*/ 1860088 w 7724301"/>
                  <a:gd name="connsiteY2156" fmla="*/ 691813 h 3959978"/>
                  <a:gd name="connsiteX2157" fmla="*/ 1860088 w 7724301"/>
                  <a:gd name="connsiteY2157" fmla="*/ 729678 h 3959978"/>
                  <a:gd name="connsiteX2158" fmla="*/ 1833269 w 7724301"/>
                  <a:gd name="connsiteY2158" fmla="*/ 743088 h 3959978"/>
                  <a:gd name="connsiteX2159" fmla="*/ 1833269 w 7724301"/>
                  <a:gd name="connsiteY2159" fmla="*/ 767542 h 3959978"/>
                  <a:gd name="connsiteX2160" fmla="*/ 1860088 w 7724301"/>
                  <a:gd name="connsiteY2160" fmla="*/ 780953 h 3959978"/>
                  <a:gd name="connsiteX2161" fmla="*/ 1860088 w 7724301"/>
                  <a:gd name="connsiteY2161" fmla="*/ 805407 h 3959978"/>
                  <a:gd name="connsiteX2162" fmla="*/ 1805657 w 7724301"/>
                  <a:gd name="connsiteY2162" fmla="*/ 856681 h 3959978"/>
                  <a:gd name="connsiteX2163" fmla="*/ 1778839 w 7724301"/>
                  <a:gd name="connsiteY2163" fmla="*/ 843271 h 3959978"/>
                  <a:gd name="connsiteX2164" fmla="*/ 1778839 w 7724301"/>
                  <a:gd name="connsiteY2164" fmla="*/ 830649 h 3959978"/>
                  <a:gd name="connsiteX2165" fmla="*/ 1751231 w 7724301"/>
                  <a:gd name="connsiteY2165" fmla="*/ 830649 h 3959978"/>
                  <a:gd name="connsiteX2166" fmla="*/ 1764641 w 7724301"/>
                  <a:gd name="connsiteY2166" fmla="*/ 856681 h 3959978"/>
                  <a:gd name="connsiteX2167" fmla="*/ 1737817 w 7724301"/>
                  <a:gd name="connsiteY2167" fmla="*/ 881136 h 3959978"/>
                  <a:gd name="connsiteX2168" fmla="*/ 1737817 w 7724301"/>
                  <a:gd name="connsiteY2168" fmla="*/ 906379 h 3959978"/>
                  <a:gd name="connsiteX2169" fmla="*/ 1708631 w 7724301"/>
                  <a:gd name="connsiteY2169" fmla="*/ 956075 h 3959978"/>
                  <a:gd name="connsiteX2170" fmla="*/ 1683387 w 7724301"/>
                  <a:gd name="connsiteY2170" fmla="*/ 956075 h 3959978"/>
                  <a:gd name="connsiteX2171" fmla="*/ 1655779 w 7724301"/>
                  <a:gd name="connsiteY2171" fmla="*/ 982107 h 3959978"/>
                  <a:gd name="connsiteX2172" fmla="*/ 1667611 w 7724301"/>
                  <a:gd name="connsiteY2172" fmla="*/ 1008139 h 3959978"/>
                  <a:gd name="connsiteX2173" fmla="*/ 1627380 w 7724301"/>
                  <a:gd name="connsiteY2173" fmla="*/ 1019972 h 3959978"/>
                  <a:gd name="connsiteX2174" fmla="*/ 1627380 w 7724301"/>
                  <a:gd name="connsiteY2174" fmla="*/ 1046003 h 3959978"/>
                  <a:gd name="connsiteX2175" fmla="*/ 1614758 w 7724301"/>
                  <a:gd name="connsiteY2175" fmla="*/ 1046003 h 3959978"/>
                  <a:gd name="connsiteX2176" fmla="*/ 1601348 w 7724301"/>
                  <a:gd name="connsiteY2176" fmla="*/ 1057836 h 3959978"/>
                  <a:gd name="connsiteX2177" fmla="*/ 1573738 w 7724301"/>
                  <a:gd name="connsiteY2177" fmla="*/ 1121732 h 3959978"/>
                  <a:gd name="connsiteX2178" fmla="*/ 1573738 w 7724301"/>
                  <a:gd name="connsiteY2178" fmla="*/ 1159596 h 3959978"/>
                  <a:gd name="connsiteX2179" fmla="*/ 1586359 w 7724301"/>
                  <a:gd name="connsiteY2179" fmla="*/ 1171428 h 3959978"/>
                  <a:gd name="connsiteX2180" fmla="*/ 1614758 w 7724301"/>
                  <a:gd name="connsiteY2180" fmla="*/ 1171428 h 3959978"/>
                  <a:gd name="connsiteX2181" fmla="*/ 1627380 w 7724301"/>
                  <a:gd name="connsiteY2181" fmla="*/ 1247158 h 3959978"/>
                  <a:gd name="connsiteX2182" fmla="*/ 1655779 w 7724301"/>
                  <a:gd name="connsiteY2182" fmla="*/ 1235325 h 3959978"/>
                  <a:gd name="connsiteX2183" fmla="*/ 1696798 w 7724301"/>
                  <a:gd name="connsiteY2183" fmla="*/ 1247158 h 3959978"/>
                  <a:gd name="connsiteX2184" fmla="*/ 1723619 w 7724301"/>
                  <a:gd name="connsiteY2184" fmla="*/ 1273189 h 3959978"/>
                  <a:gd name="connsiteX2185" fmla="*/ 1778839 w 7724301"/>
                  <a:gd name="connsiteY2185" fmla="*/ 1296855 h 3959978"/>
                  <a:gd name="connsiteX2186" fmla="*/ 1833269 w 7724301"/>
                  <a:gd name="connsiteY2186" fmla="*/ 1296855 h 3959978"/>
                  <a:gd name="connsiteX2187" fmla="*/ 1846679 w 7724301"/>
                  <a:gd name="connsiteY2187" fmla="*/ 1311054 h 3959978"/>
                  <a:gd name="connsiteX2188" fmla="*/ 1846679 w 7724301"/>
                  <a:gd name="connsiteY2188" fmla="*/ 1372583 h 3959978"/>
                  <a:gd name="connsiteX2189" fmla="*/ 1874287 w 7724301"/>
                  <a:gd name="connsiteY2189" fmla="*/ 1372583 h 3959978"/>
                  <a:gd name="connsiteX2190" fmla="*/ 1874287 w 7724301"/>
                  <a:gd name="connsiteY2190" fmla="*/ 1386783 h 3959978"/>
                  <a:gd name="connsiteX2191" fmla="*/ 1846679 w 7724301"/>
                  <a:gd name="connsiteY2191" fmla="*/ 1372977 h 3959978"/>
                  <a:gd name="connsiteX2192" fmla="*/ 1846679 w 7724301"/>
                  <a:gd name="connsiteY2192" fmla="*/ 1385994 h 3959978"/>
                  <a:gd name="connsiteX2193" fmla="*/ 1902684 w 7724301"/>
                  <a:gd name="connsiteY2193" fmla="*/ 1436479 h 3959978"/>
                  <a:gd name="connsiteX2194" fmla="*/ 1928716 w 7724301"/>
                  <a:gd name="connsiteY2194" fmla="*/ 1410447 h 3959978"/>
                  <a:gd name="connsiteX2195" fmla="*/ 1902684 w 7724301"/>
                  <a:gd name="connsiteY2195" fmla="*/ 1322886 h 3959978"/>
                  <a:gd name="connsiteX2196" fmla="*/ 1928716 w 7724301"/>
                  <a:gd name="connsiteY2196" fmla="*/ 1311054 h 3959978"/>
                  <a:gd name="connsiteX2197" fmla="*/ 1955538 w 7724301"/>
                  <a:gd name="connsiteY2197" fmla="*/ 1273189 h 3959978"/>
                  <a:gd name="connsiteX2198" fmla="*/ 1943703 w 7724301"/>
                  <a:gd name="connsiteY2198" fmla="*/ 1197460 h 3959978"/>
                  <a:gd name="connsiteX2199" fmla="*/ 1914518 w 7724301"/>
                  <a:gd name="connsiteY2199" fmla="*/ 1171428 h 3959978"/>
                  <a:gd name="connsiteX2200" fmla="*/ 1928716 w 7724301"/>
                  <a:gd name="connsiteY2200" fmla="*/ 1159596 h 3959978"/>
                  <a:gd name="connsiteX2201" fmla="*/ 1943703 w 7724301"/>
                  <a:gd name="connsiteY2201" fmla="*/ 1159596 h 3959978"/>
                  <a:gd name="connsiteX2202" fmla="*/ 1943703 w 7724301"/>
                  <a:gd name="connsiteY2202" fmla="*/ 1145397 h 3959978"/>
                  <a:gd name="connsiteX2203" fmla="*/ 1943703 w 7724301"/>
                  <a:gd name="connsiteY2203" fmla="*/ 1107532 h 3959978"/>
                  <a:gd name="connsiteX2204" fmla="*/ 1928716 w 7724301"/>
                  <a:gd name="connsiteY2204" fmla="*/ 1095700 h 3959978"/>
                  <a:gd name="connsiteX2205" fmla="*/ 1943703 w 7724301"/>
                  <a:gd name="connsiteY2205" fmla="*/ 1057836 h 3959978"/>
                  <a:gd name="connsiteX2206" fmla="*/ 1928716 w 7724301"/>
                  <a:gd name="connsiteY2206" fmla="*/ 1046003 h 3959978"/>
                  <a:gd name="connsiteX2207" fmla="*/ 1928716 w 7724301"/>
                  <a:gd name="connsiteY2207" fmla="*/ 1031804 h 3959978"/>
                  <a:gd name="connsiteX2208" fmla="*/ 1943703 w 7724301"/>
                  <a:gd name="connsiteY2208" fmla="*/ 1019972 h 3959978"/>
                  <a:gd name="connsiteX2209" fmla="*/ 1984722 w 7724301"/>
                  <a:gd name="connsiteY2209" fmla="*/ 1031804 h 3959978"/>
                  <a:gd name="connsiteX2210" fmla="*/ 2024954 w 7724301"/>
                  <a:gd name="connsiteY2210" fmla="*/ 1019972 h 3959978"/>
                  <a:gd name="connsiteX2211" fmla="*/ 2078599 w 7724301"/>
                  <a:gd name="connsiteY2211" fmla="*/ 1057836 h 3959978"/>
                  <a:gd name="connsiteX2212" fmla="*/ 2065975 w 7724301"/>
                  <a:gd name="connsiteY2212" fmla="*/ 1069668 h 3959978"/>
                  <a:gd name="connsiteX2213" fmla="*/ 2078599 w 7724301"/>
                  <a:gd name="connsiteY2213" fmla="*/ 1083868 h 3959978"/>
                  <a:gd name="connsiteX2214" fmla="*/ 2118829 w 7724301"/>
                  <a:gd name="connsiteY2214" fmla="*/ 1083868 h 3959978"/>
                  <a:gd name="connsiteX2215" fmla="*/ 2118829 w 7724301"/>
                  <a:gd name="connsiteY2215" fmla="*/ 1159596 h 3959978"/>
                  <a:gd name="connsiteX2216" fmla="*/ 2159848 w 7724301"/>
                  <a:gd name="connsiteY2216" fmla="*/ 1197460 h 3959978"/>
                  <a:gd name="connsiteX2217" fmla="*/ 2174837 w 7724301"/>
                  <a:gd name="connsiteY2217" fmla="*/ 1183262 h 3959978"/>
                  <a:gd name="connsiteX2218" fmla="*/ 2200871 w 7724301"/>
                  <a:gd name="connsiteY2218" fmla="*/ 1159596 h 3959978"/>
                  <a:gd name="connsiteX2219" fmla="*/ 2215857 w 7724301"/>
                  <a:gd name="connsiteY2219" fmla="*/ 1145397 h 3959978"/>
                  <a:gd name="connsiteX2220" fmla="*/ 2200871 w 7724301"/>
                  <a:gd name="connsiteY2220" fmla="*/ 1133564 h 3959978"/>
                  <a:gd name="connsiteX2221" fmla="*/ 2215857 w 7724301"/>
                  <a:gd name="connsiteY2221" fmla="*/ 1107532 h 3959978"/>
                  <a:gd name="connsiteX2222" fmla="*/ 2297896 w 7724301"/>
                  <a:gd name="connsiteY2222" fmla="*/ 1235325 h 3959978"/>
                  <a:gd name="connsiteX2223" fmla="*/ 2284485 w 7724301"/>
                  <a:gd name="connsiteY2223" fmla="*/ 1247158 h 3959978"/>
                  <a:gd name="connsiteX2224" fmla="*/ 2284485 w 7724301"/>
                  <a:gd name="connsiteY2224" fmla="*/ 1273189 h 3959978"/>
                  <a:gd name="connsiteX2225" fmla="*/ 2311305 w 7724301"/>
                  <a:gd name="connsiteY2225" fmla="*/ 1285022 h 3959978"/>
                  <a:gd name="connsiteX2226" fmla="*/ 2311305 w 7724301"/>
                  <a:gd name="connsiteY2226" fmla="*/ 1296855 h 3959978"/>
                  <a:gd name="connsiteX2227" fmla="*/ 2338917 w 7724301"/>
                  <a:gd name="connsiteY2227" fmla="*/ 1311054 h 3959978"/>
                  <a:gd name="connsiteX2228" fmla="*/ 2352325 w 7724301"/>
                  <a:gd name="connsiteY2228" fmla="*/ 1311054 h 3959978"/>
                  <a:gd name="connsiteX2229" fmla="*/ 2379938 w 7724301"/>
                  <a:gd name="connsiteY2229" fmla="*/ 1322886 h 3959978"/>
                  <a:gd name="connsiteX2230" fmla="*/ 2352325 w 7724301"/>
                  <a:gd name="connsiteY2230" fmla="*/ 1334719 h 3959978"/>
                  <a:gd name="connsiteX2231" fmla="*/ 2379938 w 7724301"/>
                  <a:gd name="connsiteY2231" fmla="*/ 1334719 h 3959978"/>
                  <a:gd name="connsiteX2232" fmla="*/ 2379938 w 7724301"/>
                  <a:gd name="connsiteY2232" fmla="*/ 1360751 h 3959978"/>
                  <a:gd name="connsiteX2233" fmla="*/ 2394924 w 7724301"/>
                  <a:gd name="connsiteY2233" fmla="*/ 1360751 h 3959978"/>
                  <a:gd name="connsiteX2234" fmla="*/ 2406757 w 7724301"/>
                  <a:gd name="connsiteY2234" fmla="*/ 1372583 h 3959978"/>
                  <a:gd name="connsiteX2235" fmla="*/ 2406757 w 7724301"/>
                  <a:gd name="connsiteY2235" fmla="*/ 1385994 h 3959978"/>
                  <a:gd name="connsiteX2236" fmla="*/ 2420167 w 7724301"/>
                  <a:gd name="connsiteY2236" fmla="*/ 1410447 h 3959978"/>
                  <a:gd name="connsiteX2237" fmla="*/ 2394924 w 7724301"/>
                  <a:gd name="connsiteY2237" fmla="*/ 1423858 h 3959978"/>
                  <a:gd name="connsiteX2238" fmla="*/ 2352325 w 7724301"/>
                  <a:gd name="connsiteY2238" fmla="*/ 1436479 h 3959978"/>
                  <a:gd name="connsiteX2239" fmla="*/ 2325506 w 7724301"/>
                  <a:gd name="connsiteY2239" fmla="*/ 1474343 h 3959978"/>
                  <a:gd name="connsiteX2240" fmla="*/ 2284485 w 7724301"/>
                  <a:gd name="connsiteY2240" fmla="*/ 1474343 h 3959978"/>
                  <a:gd name="connsiteX2241" fmla="*/ 2243465 w 7724301"/>
                  <a:gd name="connsiteY2241" fmla="*/ 1461722 h 3959978"/>
                  <a:gd name="connsiteX2242" fmla="*/ 2174837 w 7724301"/>
                  <a:gd name="connsiteY2242" fmla="*/ 1474343 h 3959978"/>
                  <a:gd name="connsiteX2243" fmla="*/ 2159848 w 7724301"/>
                  <a:gd name="connsiteY2243" fmla="*/ 1499587 h 3959978"/>
                  <a:gd name="connsiteX2244" fmla="*/ 2148016 w 7724301"/>
                  <a:gd name="connsiteY2244" fmla="*/ 1499587 h 3959978"/>
                  <a:gd name="connsiteX2245" fmla="*/ 2118829 w 7724301"/>
                  <a:gd name="connsiteY2245" fmla="*/ 1512208 h 3959978"/>
                  <a:gd name="connsiteX2246" fmla="*/ 2078599 w 7724301"/>
                  <a:gd name="connsiteY2246" fmla="*/ 1561905 h 3959978"/>
                  <a:gd name="connsiteX2247" fmla="*/ 2093588 w 7724301"/>
                  <a:gd name="connsiteY2247" fmla="*/ 1561905 h 3959978"/>
                  <a:gd name="connsiteX2248" fmla="*/ 2134606 w 7724301"/>
                  <a:gd name="connsiteY2248" fmla="*/ 1524041 h 3959978"/>
                  <a:gd name="connsiteX2249" fmla="*/ 2174837 w 7724301"/>
                  <a:gd name="connsiteY2249" fmla="*/ 1499587 h 3959978"/>
                  <a:gd name="connsiteX2250" fmla="*/ 2215857 w 7724301"/>
                  <a:gd name="connsiteY2250" fmla="*/ 1499587 h 3959978"/>
                  <a:gd name="connsiteX2251" fmla="*/ 2230055 w 7724301"/>
                  <a:gd name="connsiteY2251" fmla="*/ 1499587 h 3959978"/>
                  <a:gd name="connsiteX2252" fmla="*/ 2230055 w 7724301"/>
                  <a:gd name="connsiteY2252" fmla="*/ 1524041 h 3959978"/>
                  <a:gd name="connsiteX2253" fmla="*/ 2200871 w 7724301"/>
                  <a:gd name="connsiteY2253" fmla="*/ 1537451 h 3959978"/>
                  <a:gd name="connsiteX2254" fmla="*/ 2189036 w 7724301"/>
                  <a:gd name="connsiteY2254" fmla="*/ 1537451 h 3959978"/>
                  <a:gd name="connsiteX2255" fmla="*/ 2200871 w 7724301"/>
                  <a:gd name="connsiteY2255" fmla="*/ 1550072 h 3959978"/>
                  <a:gd name="connsiteX2256" fmla="*/ 2215857 w 7724301"/>
                  <a:gd name="connsiteY2256" fmla="*/ 1537451 h 3959978"/>
                  <a:gd name="connsiteX2257" fmla="*/ 2215857 w 7724301"/>
                  <a:gd name="connsiteY2257" fmla="*/ 1575315 h 3959978"/>
                  <a:gd name="connsiteX2258" fmla="*/ 2230055 w 7724301"/>
                  <a:gd name="connsiteY2258" fmla="*/ 1587937 h 3959978"/>
                  <a:gd name="connsiteX2259" fmla="*/ 2256875 w 7724301"/>
                  <a:gd name="connsiteY2259" fmla="*/ 1599770 h 3959978"/>
                  <a:gd name="connsiteX2260" fmla="*/ 2284485 w 7724301"/>
                  <a:gd name="connsiteY2260" fmla="*/ 1599770 h 3959978"/>
                  <a:gd name="connsiteX2261" fmla="*/ 2284485 w 7724301"/>
                  <a:gd name="connsiteY2261" fmla="*/ 1587937 h 3959978"/>
                  <a:gd name="connsiteX2262" fmla="*/ 2311305 w 7724301"/>
                  <a:gd name="connsiteY2262" fmla="*/ 1561905 h 3959978"/>
                  <a:gd name="connsiteX2263" fmla="*/ 2311305 w 7724301"/>
                  <a:gd name="connsiteY2263" fmla="*/ 1587937 h 3959978"/>
                  <a:gd name="connsiteX2264" fmla="*/ 2325506 w 7724301"/>
                  <a:gd name="connsiteY2264" fmla="*/ 1587937 h 3959978"/>
                  <a:gd name="connsiteX2265" fmla="*/ 2297896 w 7724301"/>
                  <a:gd name="connsiteY2265" fmla="*/ 1599770 h 3959978"/>
                  <a:gd name="connsiteX2266" fmla="*/ 2297896 w 7724301"/>
                  <a:gd name="connsiteY2266" fmla="*/ 1613179 h 3959978"/>
                  <a:gd name="connsiteX2267" fmla="*/ 2230055 w 7724301"/>
                  <a:gd name="connsiteY2267" fmla="*/ 1637634 h 3959978"/>
                  <a:gd name="connsiteX2268" fmla="*/ 2200871 w 7724301"/>
                  <a:gd name="connsiteY2268" fmla="*/ 1663666 h 3959978"/>
                  <a:gd name="connsiteX2269" fmla="*/ 2189036 w 7724301"/>
                  <a:gd name="connsiteY2269" fmla="*/ 1637634 h 3959978"/>
                  <a:gd name="connsiteX2270" fmla="*/ 2230055 w 7724301"/>
                  <a:gd name="connsiteY2270" fmla="*/ 1613179 h 3959978"/>
                  <a:gd name="connsiteX2271" fmla="*/ 2215857 w 7724301"/>
                  <a:gd name="connsiteY2271" fmla="*/ 1613179 h 3959978"/>
                  <a:gd name="connsiteX2272" fmla="*/ 2215857 w 7724301"/>
                  <a:gd name="connsiteY2272" fmla="*/ 1599770 h 3959978"/>
                  <a:gd name="connsiteX2273" fmla="*/ 2189036 w 7724301"/>
                  <a:gd name="connsiteY2273" fmla="*/ 1613179 h 3959978"/>
                  <a:gd name="connsiteX2274" fmla="*/ 2175625 w 7724301"/>
                  <a:gd name="connsiteY2274" fmla="*/ 1613179 h 3959978"/>
                  <a:gd name="connsiteX2275" fmla="*/ 2175625 w 7724301"/>
                  <a:gd name="connsiteY2275" fmla="*/ 1625622 h 3959978"/>
                  <a:gd name="connsiteX2276" fmla="*/ 2162215 w 7724301"/>
                  <a:gd name="connsiteY2276" fmla="*/ 1637439 h 3959978"/>
                  <a:gd name="connsiteX2277" fmla="*/ 2135393 w 7724301"/>
                  <a:gd name="connsiteY2277" fmla="*/ 1637439 h 3959978"/>
                  <a:gd name="connsiteX2278" fmla="*/ 2121196 w 7724301"/>
                  <a:gd name="connsiteY2278" fmla="*/ 1650832 h 3959978"/>
                  <a:gd name="connsiteX2279" fmla="*/ 2107786 w 7724301"/>
                  <a:gd name="connsiteY2279" fmla="*/ 1663437 h 3959978"/>
                  <a:gd name="connsiteX2280" fmla="*/ 2079385 w 7724301"/>
                  <a:gd name="connsiteY2280" fmla="*/ 1688648 h 3959978"/>
                  <a:gd name="connsiteX2281" fmla="*/ 2094377 w 7724301"/>
                  <a:gd name="connsiteY2281" fmla="*/ 1713071 h 3959978"/>
                  <a:gd name="connsiteX2282" fmla="*/ 2079385 w 7724301"/>
                  <a:gd name="connsiteY2282" fmla="*/ 1713071 h 3959978"/>
                  <a:gd name="connsiteX2283" fmla="*/ 2038365 w 7724301"/>
                  <a:gd name="connsiteY2283" fmla="*/ 1726465 h 3959978"/>
                  <a:gd name="connsiteX2284" fmla="*/ 2026416 w 7724301"/>
                  <a:gd name="connsiteY2284" fmla="*/ 1737696 h 3959978"/>
                  <a:gd name="connsiteX2285" fmla="*/ 2051510 w 7724301"/>
                  <a:gd name="connsiteY2285" fmla="*/ 1727561 h 3959978"/>
                  <a:gd name="connsiteX2286" fmla="*/ 2065185 w 7724301"/>
                  <a:gd name="connsiteY2286" fmla="*/ 1727561 h 3959978"/>
                  <a:gd name="connsiteX2287" fmla="*/ 2025964 w 7724301"/>
                  <a:gd name="connsiteY2287" fmla="*/ 1738120 h 3959978"/>
                  <a:gd name="connsiteX2288" fmla="*/ 2024954 w 7724301"/>
                  <a:gd name="connsiteY2288" fmla="*/ 1739070 h 3959978"/>
                  <a:gd name="connsiteX2289" fmla="*/ 2010755 w 7724301"/>
                  <a:gd name="connsiteY2289" fmla="*/ 1776885 h 3959978"/>
                  <a:gd name="connsiteX2290" fmla="*/ 1997344 w 7724301"/>
                  <a:gd name="connsiteY2290" fmla="*/ 1776885 h 3959978"/>
                  <a:gd name="connsiteX2291" fmla="*/ 1983934 w 7724301"/>
                  <a:gd name="connsiteY2291" fmla="*/ 1764280 h 3959978"/>
                  <a:gd name="connsiteX2292" fmla="*/ 1969734 w 7724301"/>
                  <a:gd name="connsiteY2292" fmla="*/ 1776885 h 3959978"/>
                  <a:gd name="connsiteX2293" fmla="*/ 1969734 w 7724301"/>
                  <a:gd name="connsiteY2293" fmla="*/ 1788703 h 3959978"/>
                  <a:gd name="connsiteX2294" fmla="*/ 1969734 w 7724301"/>
                  <a:gd name="connsiteY2294" fmla="*/ 1802096 h 3959978"/>
                  <a:gd name="connsiteX2295" fmla="*/ 1969734 w 7724301"/>
                  <a:gd name="connsiteY2295" fmla="*/ 1826519 h 3959978"/>
                  <a:gd name="connsiteX2296" fmla="*/ 1983934 w 7724301"/>
                  <a:gd name="connsiteY2296" fmla="*/ 1864336 h 3959978"/>
                  <a:gd name="connsiteX2297" fmla="*/ 1969734 w 7724301"/>
                  <a:gd name="connsiteY2297" fmla="*/ 1889546 h 3959978"/>
                  <a:gd name="connsiteX2298" fmla="*/ 1915305 w 7724301"/>
                  <a:gd name="connsiteY2298" fmla="*/ 1915545 h 3959978"/>
                  <a:gd name="connsiteX2299" fmla="*/ 1874287 w 7724301"/>
                  <a:gd name="connsiteY2299" fmla="*/ 1953360 h 3959978"/>
                  <a:gd name="connsiteX2300" fmla="*/ 1860877 w 7724301"/>
                  <a:gd name="connsiteY2300" fmla="*/ 1977784 h 3959978"/>
                  <a:gd name="connsiteX2301" fmla="*/ 1888486 w 7724301"/>
                  <a:gd name="connsiteY2301" fmla="*/ 2066808 h 3959978"/>
                  <a:gd name="connsiteX2302" fmla="*/ 1888486 w 7724301"/>
                  <a:gd name="connsiteY2302" fmla="*/ 2104624 h 3959978"/>
                  <a:gd name="connsiteX2303" fmla="*/ 1874287 w 7724301"/>
                  <a:gd name="connsiteY2303" fmla="*/ 2104624 h 3959978"/>
                  <a:gd name="connsiteX2304" fmla="*/ 1860877 w 7724301"/>
                  <a:gd name="connsiteY2304" fmla="*/ 2091232 h 3959978"/>
                  <a:gd name="connsiteX2305" fmla="*/ 1834056 w 7724301"/>
                  <a:gd name="connsiteY2305" fmla="*/ 2066808 h 3959978"/>
                  <a:gd name="connsiteX2306" fmla="*/ 1834056 w 7724301"/>
                  <a:gd name="connsiteY2306" fmla="*/ 2015599 h 3959978"/>
                  <a:gd name="connsiteX2307" fmla="*/ 1806446 w 7724301"/>
                  <a:gd name="connsiteY2307" fmla="*/ 1991176 h 3959978"/>
                  <a:gd name="connsiteX2308" fmla="*/ 1779626 w 7724301"/>
                  <a:gd name="connsiteY2308" fmla="*/ 2002994 h 3959978"/>
                  <a:gd name="connsiteX2309" fmla="*/ 1779626 w 7724301"/>
                  <a:gd name="connsiteY2309" fmla="*/ 1991176 h 3959978"/>
                  <a:gd name="connsiteX2310" fmla="*/ 1752016 w 7724301"/>
                  <a:gd name="connsiteY2310" fmla="*/ 1991176 h 3959978"/>
                  <a:gd name="connsiteX2311" fmla="*/ 1724408 w 7724301"/>
                  <a:gd name="connsiteY2311" fmla="*/ 1991176 h 3959978"/>
                  <a:gd name="connsiteX2312" fmla="*/ 1724408 w 7724301"/>
                  <a:gd name="connsiteY2312" fmla="*/ 1977784 h 3959978"/>
                  <a:gd name="connsiteX2313" fmla="*/ 1684176 w 7724301"/>
                  <a:gd name="connsiteY2313" fmla="*/ 1991176 h 3959978"/>
                  <a:gd name="connsiteX2314" fmla="*/ 1697586 w 7724301"/>
                  <a:gd name="connsiteY2314" fmla="*/ 1991176 h 3959978"/>
                  <a:gd name="connsiteX2315" fmla="*/ 1684176 w 7724301"/>
                  <a:gd name="connsiteY2315" fmla="*/ 2002994 h 3959978"/>
                  <a:gd name="connsiteX2316" fmla="*/ 1697586 w 7724301"/>
                  <a:gd name="connsiteY2316" fmla="*/ 2015599 h 3959978"/>
                  <a:gd name="connsiteX2317" fmla="*/ 1684176 w 7724301"/>
                  <a:gd name="connsiteY2317" fmla="*/ 2015599 h 3959978"/>
                  <a:gd name="connsiteX2318" fmla="*/ 1656568 w 7724301"/>
                  <a:gd name="connsiteY2318" fmla="*/ 2015599 h 3959978"/>
                  <a:gd name="connsiteX2319" fmla="*/ 1643156 w 7724301"/>
                  <a:gd name="connsiteY2319" fmla="*/ 2002994 h 3959978"/>
                  <a:gd name="connsiteX2320" fmla="*/ 1628169 w 7724301"/>
                  <a:gd name="connsiteY2320" fmla="*/ 2002994 h 3959978"/>
                  <a:gd name="connsiteX2321" fmla="*/ 1600558 w 7724301"/>
                  <a:gd name="connsiteY2321" fmla="*/ 2002994 h 3959978"/>
                  <a:gd name="connsiteX2322" fmla="*/ 1572949 w 7724301"/>
                  <a:gd name="connsiteY2322" fmla="*/ 2015599 h 3959978"/>
                  <a:gd name="connsiteX2323" fmla="*/ 1572949 w 7724301"/>
                  <a:gd name="connsiteY2323" fmla="*/ 2002994 h 3959978"/>
                  <a:gd name="connsiteX2324" fmla="*/ 1559538 w 7724301"/>
                  <a:gd name="connsiteY2324" fmla="*/ 2002994 h 3959978"/>
                  <a:gd name="connsiteX2325" fmla="*/ 1572949 w 7724301"/>
                  <a:gd name="connsiteY2325" fmla="*/ 2015599 h 3959978"/>
                  <a:gd name="connsiteX2326" fmla="*/ 1518518 w 7724301"/>
                  <a:gd name="connsiteY2326" fmla="*/ 2053415 h 3959978"/>
                  <a:gd name="connsiteX2327" fmla="*/ 1518518 w 7724301"/>
                  <a:gd name="connsiteY2327" fmla="*/ 2091232 h 3959978"/>
                  <a:gd name="connsiteX2328" fmla="*/ 1517287 w 7724301"/>
                  <a:gd name="connsiteY2328" fmla="*/ 2090853 h 3959978"/>
                  <a:gd name="connsiteX2329" fmla="*/ 1505105 w 7724301"/>
                  <a:gd name="connsiteY2329" fmla="*/ 2113738 h 3959978"/>
                  <a:gd name="connsiteX2330" fmla="*/ 1505105 w 7724301"/>
                  <a:gd name="connsiteY2330" fmla="*/ 2164121 h 3959978"/>
                  <a:gd name="connsiteX2331" fmla="*/ 1518517 w 7724301"/>
                  <a:gd name="connsiteY2331" fmla="*/ 2177505 h 3959978"/>
                  <a:gd name="connsiteX2332" fmla="*/ 1518517 w 7724301"/>
                  <a:gd name="connsiteY2332" fmla="*/ 2189313 h 3959978"/>
                  <a:gd name="connsiteX2333" fmla="*/ 1546124 w 7724301"/>
                  <a:gd name="connsiteY2333" fmla="*/ 2239698 h 3959978"/>
                  <a:gd name="connsiteX2334" fmla="*/ 1587146 w 7724301"/>
                  <a:gd name="connsiteY2334" fmla="*/ 2253081 h 3959978"/>
                  <a:gd name="connsiteX2335" fmla="*/ 1628168 w 7724301"/>
                  <a:gd name="connsiteY2335" fmla="*/ 2239698 h 3959978"/>
                  <a:gd name="connsiteX2336" fmla="*/ 1641576 w 7724301"/>
                  <a:gd name="connsiteY2336" fmla="*/ 2239698 h 3959978"/>
                  <a:gd name="connsiteX2337" fmla="*/ 1654989 w 7724301"/>
                  <a:gd name="connsiteY2337" fmla="*/ 2227102 h 3959978"/>
                  <a:gd name="connsiteX2338" fmla="*/ 1668399 w 7724301"/>
                  <a:gd name="connsiteY2338" fmla="*/ 2189313 h 3959978"/>
                  <a:gd name="connsiteX2339" fmla="*/ 1682597 w 7724301"/>
                  <a:gd name="connsiteY2339" fmla="*/ 2189313 h 3959978"/>
                  <a:gd name="connsiteX2340" fmla="*/ 1722829 w 7724301"/>
                  <a:gd name="connsiteY2340" fmla="*/ 2177505 h 3959978"/>
                  <a:gd name="connsiteX2341" fmla="*/ 1737028 w 7724301"/>
                  <a:gd name="connsiteY2341" fmla="*/ 2189313 h 3959978"/>
                  <a:gd name="connsiteX2342" fmla="*/ 1722829 w 7724301"/>
                  <a:gd name="connsiteY2342" fmla="*/ 2239698 h 3959978"/>
                  <a:gd name="connsiteX2343" fmla="*/ 1722829 w 7724301"/>
                  <a:gd name="connsiteY2343" fmla="*/ 2253081 h 3959978"/>
                  <a:gd name="connsiteX2344" fmla="*/ 1709418 w 7724301"/>
                  <a:gd name="connsiteY2344" fmla="*/ 2239698 h 3959978"/>
                  <a:gd name="connsiteX2345" fmla="*/ 1696162 w 7724301"/>
                  <a:gd name="connsiteY2345" fmla="*/ 2252928 h 3959978"/>
                  <a:gd name="connsiteX2346" fmla="*/ 1696668 w 7724301"/>
                  <a:gd name="connsiteY2346" fmla="*/ 2252928 h 3959978"/>
                  <a:gd name="connsiteX2347" fmla="*/ 1696668 w 7724301"/>
                  <a:gd name="connsiteY2347" fmla="*/ 2291133 h 3959978"/>
                  <a:gd name="connsiteX2348" fmla="*/ 1710209 w 7724301"/>
                  <a:gd name="connsiteY2348" fmla="*/ 2303073 h 3959978"/>
                  <a:gd name="connsiteX2349" fmla="*/ 1683125 w 7724301"/>
                  <a:gd name="connsiteY2349" fmla="*/ 2329340 h 3959978"/>
                  <a:gd name="connsiteX2350" fmla="*/ 1668789 w 7724301"/>
                  <a:gd name="connsiteY2350" fmla="*/ 2341278 h 3959978"/>
                  <a:gd name="connsiteX2351" fmla="*/ 1628169 w 7724301"/>
                  <a:gd name="connsiteY2351" fmla="*/ 2329340 h 3959978"/>
                  <a:gd name="connsiteX2352" fmla="*/ 1641709 w 7724301"/>
                  <a:gd name="connsiteY2352" fmla="*/ 2291133 h 3959978"/>
                  <a:gd name="connsiteX2353" fmla="*/ 1668789 w 7724301"/>
                  <a:gd name="connsiteY2353" fmla="*/ 2291133 h 3959978"/>
                  <a:gd name="connsiteX2354" fmla="*/ 1641709 w 7724301"/>
                  <a:gd name="connsiteY2354" fmla="*/ 2264867 h 3959978"/>
                  <a:gd name="connsiteX2355" fmla="*/ 1655077 w 7724301"/>
                  <a:gd name="connsiteY2355" fmla="*/ 2253081 h 3959978"/>
                  <a:gd name="connsiteX2356" fmla="*/ 1654989 w 7724301"/>
                  <a:gd name="connsiteY2356" fmla="*/ 2253081 h 3959978"/>
                  <a:gd name="connsiteX2357" fmla="*/ 1641576 w 7724301"/>
                  <a:gd name="connsiteY2357" fmla="*/ 2264890 h 3959978"/>
                  <a:gd name="connsiteX2358" fmla="*/ 1668399 w 7724301"/>
                  <a:gd name="connsiteY2358" fmla="*/ 2290870 h 3959978"/>
                  <a:gd name="connsiteX2359" fmla="*/ 1641576 w 7724301"/>
                  <a:gd name="connsiteY2359" fmla="*/ 2290870 h 3959978"/>
                  <a:gd name="connsiteX2360" fmla="*/ 1628168 w 7724301"/>
                  <a:gd name="connsiteY2360" fmla="*/ 2328657 h 3959978"/>
                  <a:gd name="connsiteX2361" fmla="*/ 1587146 w 7724301"/>
                  <a:gd name="connsiteY2361" fmla="*/ 2290870 h 3959978"/>
                  <a:gd name="connsiteX2362" fmla="*/ 1559538 w 7724301"/>
                  <a:gd name="connsiteY2362" fmla="*/ 2290870 h 3959978"/>
                  <a:gd name="connsiteX2363" fmla="*/ 1546124 w 7724301"/>
                  <a:gd name="connsiteY2363" fmla="*/ 2302679 h 3959978"/>
                  <a:gd name="connsiteX2364" fmla="*/ 1505105 w 7724301"/>
                  <a:gd name="connsiteY2364" fmla="*/ 2290870 h 3959978"/>
                  <a:gd name="connsiteX2365" fmla="*/ 1437264 w 7724301"/>
                  <a:gd name="connsiteY2365" fmla="*/ 2264890 h 3959978"/>
                  <a:gd name="connsiteX2366" fmla="*/ 1423066 w 7724301"/>
                  <a:gd name="connsiteY2366" fmla="*/ 2253081 h 3959978"/>
                  <a:gd name="connsiteX2367" fmla="*/ 1382834 w 7724301"/>
                  <a:gd name="connsiteY2367" fmla="*/ 2253081 h 3959978"/>
                  <a:gd name="connsiteX2368" fmla="*/ 1355226 w 7724301"/>
                  <a:gd name="connsiteY2368" fmla="*/ 2227102 h 3959978"/>
                  <a:gd name="connsiteX2369" fmla="*/ 1341821 w 7724301"/>
                  <a:gd name="connsiteY2369" fmla="*/ 2201910 h 3959978"/>
                  <a:gd name="connsiteX2370" fmla="*/ 1355226 w 7724301"/>
                  <a:gd name="connsiteY2370" fmla="*/ 2189313 h 3959978"/>
                  <a:gd name="connsiteX2371" fmla="*/ 1341821 w 7724301"/>
                  <a:gd name="connsiteY2371" fmla="*/ 2164121 h 3959978"/>
                  <a:gd name="connsiteX2372" fmla="*/ 1287390 w 7724301"/>
                  <a:gd name="connsiteY2372" fmla="*/ 2101929 h 3959978"/>
                  <a:gd name="connsiteX2373" fmla="*/ 1258204 w 7724301"/>
                  <a:gd name="connsiteY2373" fmla="*/ 2088546 h 3959978"/>
                  <a:gd name="connsiteX2374" fmla="*/ 1258204 w 7724301"/>
                  <a:gd name="connsiteY2374" fmla="*/ 2075949 h 3959978"/>
                  <a:gd name="connsiteX2375" fmla="*/ 1231383 w 7724301"/>
                  <a:gd name="connsiteY2375" fmla="*/ 2050757 h 3959978"/>
                  <a:gd name="connsiteX2376" fmla="*/ 1231383 w 7724301"/>
                  <a:gd name="connsiteY2376" fmla="*/ 2038161 h 3959978"/>
                  <a:gd name="connsiteX2377" fmla="*/ 1217185 w 7724301"/>
                  <a:gd name="connsiteY2377" fmla="*/ 2038161 h 3959978"/>
                  <a:gd name="connsiteX2378" fmla="*/ 1203774 w 7724301"/>
                  <a:gd name="connsiteY2378" fmla="*/ 2012969 h 3959978"/>
                  <a:gd name="connsiteX2379" fmla="*/ 1176166 w 7724301"/>
                  <a:gd name="connsiteY2379" fmla="*/ 1962585 h 3959978"/>
                  <a:gd name="connsiteX2380" fmla="*/ 1162756 w 7724301"/>
                  <a:gd name="connsiteY2380" fmla="*/ 1962585 h 3959978"/>
                  <a:gd name="connsiteX2381" fmla="*/ 1135935 w 7724301"/>
                  <a:gd name="connsiteY2381" fmla="*/ 1950776 h 3959978"/>
                  <a:gd name="connsiteX2382" fmla="*/ 1149344 w 7724301"/>
                  <a:gd name="connsiteY2382" fmla="*/ 1988565 h 3959978"/>
                  <a:gd name="connsiteX2383" fmla="*/ 1217185 w 7724301"/>
                  <a:gd name="connsiteY2383" fmla="*/ 2075949 h 3959978"/>
                  <a:gd name="connsiteX2384" fmla="*/ 1231383 w 7724301"/>
                  <a:gd name="connsiteY2384" fmla="*/ 2126333 h 3959978"/>
                  <a:gd name="connsiteX2385" fmla="*/ 1244793 w 7724301"/>
                  <a:gd name="connsiteY2385" fmla="*/ 2126333 h 3959978"/>
                  <a:gd name="connsiteX2386" fmla="*/ 1258204 w 7724301"/>
                  <a:gd name="connsiteY2386" fmla="*/ 2139717 h 3959978"/>
                  <a:gd name="connsiteX2387" fmla="*/ 1244793 w 7724301"/>
                  <a:gd name="connsiteY2387" fmla="*/ 2151526 h 3959978"/>
                  <a:gd name="connsiteX2388" fmla="*/ 1231383 w 7724301"/>
                  <a:gd name="connsiteY2388" fmla="*/ 2139717 h 3959978"/>
                  <a:gd name="connsiteX2389" fmla="*/ 1190363 w 7724301"/>
                  <a:gd name="connsiteY2389" fmla="*/ 2113738 h 3959978"/>
                  <a:gd name="connsiteX2390" fmla="*/ 1203774 w 7724301"/>
                  <a:gd name="connsiteY2390" fmla="*/ 2101929 h 3959978"/>
                  <a:gd name="connsiteX2391" fmla="*/ 1190363 w 7724301"/>
                  <a:gd name="connsiteY2391" fmla="*/ 2075949 h 3959978"/>
                  <a:gd name="connsiteX2392" fmla="*/ 1149344 w 7724301"/>
                  <a:gd name="connsiteY2392" fmla="*/ 2064140 h 3959978"/>
                  <a:gd name="connsiteX2393" fmla="*/ 1135935 w 7724301"/>
                  <a:gd name="connsiteY2393" fmla="*/ 2038161 h 3959978"/>
                  <a:gd name="connsiteX2394" fmla="*/ 1149344 w 7724301"/>
                  <a:gd name="connsiteY2394" fmla="*/ 2050757 h 3959978"/>
                  <a:gd name="connsiteX2395" fmla="*/ 1162756 w 7724301"/>
                  <a:gd name="connsiteY2395" fmla="*/ 2026352 h 3959978"/>
                  <a:gd name="connsiteX2396" fmla="*/ 1121736 w 7724301"/>
                  <a:gd name="connsiteY2396" fmla="*/ 2000373 h 3959978"/>
                  <a:gd name="connsiteX2397" fmla="*/ 1096010 w 7724301"/>
                  <a:gd name="connsiteY2397" fmla="*/ 1939967 h 3959978"/>
                  <a:gd name="connsiteX2398" fmla="*/ 1094916 w 7724301"/>
                  <a:gd name="connsiteY2398" fmla="*/ 1939967 h 3959978"/>
                  <a:gd name="connsiteX2399" fmla="*/ 1080715 w 7724301"/>
                  <a:gd name="connsiteY2399" fmla="*/ 1915545 h 3959978"/>
                  <a:gd name="connsiteX2400" fmla="*/ 1067304 w 7724301"/>
                  <a:gd name="connsiteY2400" fmla="*/ 1915545 h 3959978"/>
                  <a:gd name="connsiteX2401" fmla="*/ 1067304 w 7724301"/>
                  <a:gd name="connsiteY2401" fmla="*/ 1902151 h 3959978"/>
                  <a:gd name="connsiteX2402" fmla="*/ 1012874 w 7724301"/>
                  <a:gd name="connsiteY2402" fmla="*/ 1889546 h 3959978"/>
                  <a:gd name="connsiteX2403" fmla="*/ 1012874 w 7724301"/>
                  <a:gd name="connsiteY2403" fmla="*/ 1877728 h 3959978"/>
                  <a:gd name="connsiteX2404" fmla="*/ 986053 w 7724301"/>
                  <a:gd name="connsiteY2404" fmla="*/ 1851730 h 3959978"/>
                  <a:gd name="connsiteX2405" fmla="*/ 986053 w 7724301"/>
                  <a:gd name="connsiteY2405" fmla="*/ 1826519 h 3959978"/>
                  <a:gd name="connsiteX2406" fmla="*/ 971854 w 7724301"/>
                  <a:gd name="connsiteY2406" fmla="*/ 1826519 h 3959978"/>
                  <a:gd name="connsiteX2407" fmla="*/ 971854 w 7724301"/>
                  <a:gd name="connsiteY2407" fmla="*/ 1813914 h 3959978"/>
                  <a:gd name="connsiteX2408" fmla="*/ 986053 w 7724301"/>
                  <a:gd name="connsiteY2408" fmla="*/ 1813914 h 3959978"/>
                  <a:gd name="connsiteX2409" fmla="*/ 986053 w 7724301"/>
                  <a:gd name="connsiteY2409" fmla="*/ 1802096 h 3959978"/>
                  <a:gd name="connsiteX2410" fmla="*/ 971854 w 7724301"/>
                  <a:gd name="connsiteY2410" fmla="*/ 1802096 h 3959978"/>
                  <a:gd name="connsiteX2411" fmla="*/ 945035 w 7724301"/>
                  <a:gd name="connsiteY2411" fmla="*/ 1776885 h 3959978"/>
                  <a:gd name="connsiteX2412" fmla="*/ 945035 w 7724301"/>
                  <a:gd name="connsiteY2412" fmla="*/ 1764280 h 3959978"/>
                  <a:gd name="connsiteX2413" fmla="*/ 930838 w 7724301"/>
                  <a:gd name="connsiteY2413" fmla="*/ 1750887 h 3959978"/>
                  <a:gd name="connsiteX2414" fmla="*/ 945035 w 7724301"/>
                  <a:gd name="connsiteY2414" fmla="*/ 1713071 h 3959978"/>
                  <a:gd name="connsiteX2415" fmla="*/ 930838 w 7724301"/>
                  <a:gd name="connsiteY2415" fmla="*/ 1675255 h 3959978"/>
                  <a:gd name="connsiteX2416" fmla="*/ 945035 w 7724301"/>
                  <a:gd name="connsiteY2416" fmla="*/ 1587805 h 3959978"/>
                  <a:gd name="connsiteX2417" fmla="*/ 930838 w 7724301"/>
                  <a:gd name="connsiteY2417" fmla="*/ 1523991 h 3959978"/>
                  <a:gd name="connsiteX2418" fmla="*/ 944133 w 7724301"/>
                  <a:gd name="connsiteY2418" fmla="*/ 1523991 h 3959978"/>
                  <a:gd name="connsiteX2419" fmla="*/ 916638 w 7724301"/>
                  <a:gd name="connsiteY2419" fmla="*/ 1512208 h 3959978"/>
                  <a:gd name="connsiteX2420" fmla="*/ 916638 w 7724301"/>
                  <a:gd name="connsiteY2420" fmla="*/ 1499585 h 3959978"/>
                  <a:gd name="connsiteX2421" fmla="*/ 889816 w 7724301"/>
                  <a:gd name="connsiteY2421" fmla="*/ 1486176 h 3959978"/>
                  <a:gd name="connsiteX2422" fmla="*/ 862207 w 7724301"/>
                  <a:gd name="connsiteY2422" fmla="*/ 1474342 h 3959978"/>
                  <a:gd name="connsiteX2423" fmla="*/ 848796 w 7724301"/>
                  <a:gd name="connsiteY2423" fmla="*/ 1448310 h 3959978"/>
                  <a:gd name="connsiteX2424" fmla="*/ 862207 w 7724301"/>
                  <a:gd name="connsiteY2424" fmla="*/ 1448310 h 3959978"/>
                  <a:gd name="connsiteX2425" fmla="*/ 903223 w 7724301"/>
                  <a:gd name="connsiteY2425" fmla="*/ 1461720 h 3959978"/>
                  <a:gd name="connsiteX2426" fmla="*/ 862207 w 7724301"/>
                  <a:gd name="connsiteY2426" fmla="*/ 1436479 h 3959978"/>
                  <a:gd name="connsiteX2427" fmla="*/ 848796 w 7724301"/>
                  <a:gd name="connsiteY2427" fmla="*/ 1398615 h 3959978"/>
                  <a:gd name="connsiteX2428" fmla="*/ 834597 w 7724301"/>
                  <a:gd name="connsiteY2428" fmla="*/ 1385994 h 3959978"/>
                  <a:gd name="connsiteX2429" fmla="*/ 794367 w 7724301"/>
                  <a:gd name="connsiteY2429" fmla="*/ 1348130 h 3959978"/>
                  <a:gd name="connsiteX2430" fmla="*/ 807776 w 7724301"/>
                  <a:gd name="connsiteY2430" fmla="*/ 1334719 h 3959978"/>
                  <a:gd name="connsiteX2431" fmla="*/ 807776 w 7724301"/>
                  <a:gd name="connsiteY2431" fmla="*/ 1311077 h 3959978"/>
                  <a:gd name="connsiteX2432" fmla="*/ 794354 w 7724301"/>
                  <a:gd name="connsiteY2432" fmla="*/ 1322897 h 3959978"/>
                  <a:gd name="connsiteX2433" fmla="*/ 780141 w 7724301"/>
                  <a:gd name="connsiteY2433" fmla="*/ 1311077 h 3959978"/>
                  <a:gd name="connsiteX2434" fmla="*/ 766718 w 7724301"/>
                  <a:gd name="connsiteY2434" fmla="*/ 1285072 h 3959978"/>
                  <a:gd name="connsiteX2435" fmla="*/ 766718 w 7724301"/>
                  <a:gd name="connsiteY2435" fmla="*/ 1273252 h 3959978"/>
                  <a:gd name="connsiteX2436" fmla="*/ 751715 w 7724301"/>
                  <a:gd name="connsiteY2436" fmla="*/ 1273252 h 3959978"/>
                  <a:gd name="connsiteX2437" fmla="*/ 766718 w 7724301"/>
                  <a:gd name="connsiteY2437" fmla="*/ 1296893 h 3959978"/>
                  <a:gd name="connsiteX2438" fmla="*/ 766718 w 7724301"/>
                  <a:gd name="connsiteY2438" fmla="*/ 1322897 h 3959978"/>
                  <a:gd name="connsiteX2439" fmla="*/ 738292 w 7724301"/>
                  <a:gd name="connsiteY2439" fmla="*/ 1285072 h 3959978"/>
                  <a:gd name="connsiteX2440" fmla="*/ 738292 w 7724301"/>
                  <a:gd name="connsiteY2440" fmla="*/ 1259067 h 3959978"/>
                  <a:gd name="connsiteX2441" fmla="*/ 724079 w 7724301"/>
                  <a:gd name="connsiteY2441" fmla="*/ 1273252 h 3959978"/>
                  <a:gd name="connsiteX2442" fmla="*/ 724079 w 7724301"/>
                  <a:gd name="connsiteY2442" fmla="*/ 1247246 h 3959978"/>
                  <a:gd name="connsiteX2443" fmla="*/ 724079 w 7724301"/>
                  <a:gd name="connsiteY2443" fmla="*/ 1235426 h 3959978"/>
                  <a:gd name="connsiteX2444" fmla="*/ 751715 w 7724301"/>
                  <a:gd name="connsiteY2444" fmla="*/ 1247246 h 3959978"/>
                  <a:gd name="connsiteX2445" fmla="*/ 724079 w 7724301"/>
                  <a:gd name="connsiteY2445" fmla="*/ 1221241 h 3959978"/>
                  <a:gd name="connsiteX2446" fmla="*/ 710656 w 7724301"/>
                  <a:gd name="connsiteY2446" fmla="*/ 1235426 h 3959978"/>
                  <a:gd name="connsiteX2447" fmla="*/ 697232 w 7724301"/>
                  <a:gd name="connsiteY2447" fmla="*/ 1171595 h 3959978"/>
                  <a:gd name="connsiteX2448" fmla="*/ 697232 w 7724301"/>
                  <a:gd name="connsiteY2448" fmla="*/ 1197601 h 3959978"/>
                  <a:gd name="connsiteX2449" fmla="*/ 683809 w 7724301"/>
                  <a:gd name="connsiteY2449" fmla="*/ 1197601 h 3959978"/>
                  <a:gd name="connsiteX2450" fmla="*/ 697232 w 7724301"/>
                  <a:gd name="connsiteY2450" fmla="*/ 1209421 h 3959978"/>
                  <a:gd name="connsiteX2451" fmla="*/ 710656 w 7724301"/>
                  <a:gd name="connsiteY2451" fmla="*/ 1273252 h 3959978"/>
                  <a:gd name="connsiteX2452" fmla="*/ 669597 w 7724301"/>
                  <a:gd name="connsiteY2452" fmla="*/ 1197601 h 3959978"/>
                  <a:gd name="connsiteX2453" fmla="*/ 601689 w 7724301"/>
                  <a:gd name="connsiteY2453" fmla="*/ 1145590 h 3959978"/>
                  <a:gd name="connsiteX2454" fmla="*/ 601689 w 7724301"/>
                  <a:gd name="connsiteY2454" fmla="*/ 1133770 h 3959978"/>
                  <a:gd name="connsiteX2455" fmla="*/ 588265 w 7724301"/>
                  <a:gd name="connsiteY2455" fmla="*/ 1133770 h 3959978"/>
                  <a:gd name="connsiteX2456" fmla="*/ 547206 w 7724301"/>
                  <a:gd name="connsiteY2456" fmla="*/ 1121950 h 3959978"/>
                  <a:gd name="connsiteX2457" fmla="*/ 506146 w 7724301"/>
                  <a:gd name="connsiteY2457" fmla="*/ 1121950 h 3959978"/>
                  <a:gd name="connsiteX2458" fmla="*/ 451663 w 7724301"/>
                  <a:gd name="connsiteY2458" fmla="*/ 1095944 h 3959978"/>
                  <a:gd name="connsiteX2459" fmla="*/ 410601 w 7724301"/>
                  <a:gd name="connsiteY2459" fmla="*/ 1084124 h 3959978"/>
                  <a:gd name="connsiteX2460" fmla="*/ 424025 w 7724301"/>
                  <a:gd name="connsiteY2460" fmla="*/ 1107765 h 3959978"/>
                  <a:gd name="connsiteX2461" fmla="*/ 410601 w 7724301"/>
                  <a:gd name="connsiteY2461" fmla="*/ 1133770 h 3959978"/>
                  <a:gd name="connsiteX2462" fmla="*/ 397179 w 7724301"/>
                  <a:gd name="connsiteY2462" fmla="*/ 1133770 h 3959978"/>
                  <a:gd name="connsiteX2463" fmla="*/ 356118 w 7724301"/>
                  <a:gd name="connsiteY2463" fmla="*/ 1159775 h 3959978"/>
                  <a:gd name="connsiteX2464" fmla="*/ 342695 w 7724301"/>
                  <a:gd name="connsiteY2464" fmla="*/ 1159775 h 3959978"/>
                  <a:gd name="connsiteX2465" fmla="*/ 356118 w 7724301"/>
                  <a:gd name="connsiteY2465" fmla="*/ 1145590 h 3959978"/>
                  <a:gd name="connsiteX2466" fmla="*/ 342695 w 7724301"/>
                  <a:gd name="connsiteY2466" fmla="*/ 1133770 h 3959978"/>
                  <a:gd name="connsiteX2467" fmla="*/ 356118 w 7724301"/>
                  <a:gd name="connsiteY2467" fmla="*/ 1095944 h 3959978"/>
                  <a:gd name="connsiteX2468" fmla="*/ 369542 w 7724301"/>
                  <a:gd name="connsiteY2468" fmla="*/ 1084124 h 3959978"/>
                  <a:gd name="connsiteX2469" fmla="*/ 382964 w 7724301"/>
                  <a:gd name="connsiteY2469" fmla="*/ 1069939 h 3959978"/>
                  <a:gd name="connsiteX2470" fmla="*/ 369542 w 7724301"/>
                  <a:gd name="connsiteY2470" fmla="*/ 1069939 h 3959978"/>
                  <a:gd name="connsiteX2471" fmla="*/ 328482 w 7724301"/>
                  <a:gd name="connsiteY2471" fmla="*/ 1095944 h 3959978"/>
                  <a:gd name="connsiteX2472" fmla="*/ 328482 w 7724301"/>
                  <a:gd name="connsiteY2472" fmla="*/ 1121950 h 3959978"/>
                  <a:gd name="connsiteX2473" fmla="*/ 301636 w 7724301"/>
                  <a:gd name="connsiteY2473" fmla="*/ 1145590 h 3959978"/>
                  <a:gd name="connsiteX2474" fmla="*/ 287423 w 7724301"/>
                  <a:gd name="connsiteY2474" fmla="*/ 1159775 h 3959978"/>
                  <a:gd name="connsiteX2475" fmla="*/ 315060 w 7724301"/>
                  <a:gd name="connsiteY2475" fmla="*/ 1171595 h 3959978"/>
                  <a:gd name="connsiteX2476" fmla="*/ 301636 w 7724301"/>
                  <a:gd name="connsiteY2476" fmla="*/ 1183416 h 3959978"/>
                  <a:gd name="connsiteX2477" fmla="*/ 232935 w 7724301"/>
                  <a:gd name="connsiteY2477" fmla="*/ 1235426 h 3959978"/>
                  <a:gd name="connsiteX2478" fmla="*/ 206089 w 7724301"/>
                  <a:gd name="connsiteY2478" fmla="*/ 1259067 h 3959978"/>
                  <a:gd name="connsiteX2479" fmla="*/ 192665 w 7724301"/>
                  <a:gd name="connsiteY2479" fmla="*/ 1273252 h 3959978"/>
                  <a:gd name="connsiteX2480" fmla="*/ 137394 w 7724301"/>
                  <a:gd name="connsiteY2480" fmla="*/ 1296893 h 3959978"/>
                  <a:gd name="connsiteX2481" fmla="*/ 67907 w 7724301"/>
                  <a:gd name="connsiteY2481" fmla="*/ 1334718 h 3959978"/>
                  <a:gd name="connsiteX2482" fmla="*/ 54484 w 7724301"/>
                  <a:gd name="connsiteY2482" fmla="*/ 1322897 h 3959978"/>
                  <a:gd name="connsiteX2483" fmla="*/ 97123 w 7724301"/>
                  <a:gd name="connsiteY2483" fmla="*/ 1296893 h 3959978"/>
                  <a:gd name="connsiteX2484" fmla="*/ 110547 w 7724301"/>
                  <a:gd name="connsiteY2484" fmla="*/ 1285072 h 3959978"/>
                  <a:gd name="connsiteX2485" fmla="*/ 151605 w 7724301"/>
                  <a:gd name="connsiteY2485" fmla="*/ 1273252 h 3959978"/>
                  <a:gd name="connsiteX2486" fmla="*/ 219512 w 7724301"/>
                  <a:gd name="connsiteY2486" fmla="*/ 1221241 h 3959978"/>
                  <a:gd name="connsiteX2487" fmla="*/ 219512 w 7724301"/>
                  <a:gd name="connsiteY2487" fmla="*/ 1197601 h 3959978"/>
                  <a:gd name="connsiteX2488" fmla="*/ 219512 w 7724301"/>
                  <a:gd name="connsiteY2488" fmla="*/ 1171595 h 3959978"/>
                  <a:gd name="connsiteX2489" fmla="*/ 192665 w 7724301"/>
                  <a:gd name="connsiteY2489" fmla="*/ 1171595 h 3959978"/>
                  <a:gd name="connsiteX2490" fmla="*/ 192665 w 7724301"/>
                  <a:gd name="connsiteY2490" fmla="*/ 1183416 h 3959978"/>
                  <a:gd name="connsiteX2491" fmla="*/ 178452 w 7724301"/>
                  <a:gd name="connsiteY2491" fmla="*/ 1171595 h 3959978"/>
                  <a:gd name="connsiteX2492" fmla="*/ 137394 w 7724301"/>
                  <a:gd name="connsiteY2492" fmla="*/ 1171595 h 3959978"/>
                  <a:gd name="connsiteX2493" fmla="*/ 123970 w 7724301"/>
                  <a:gd name="connsiteY2493" fmla="*/ 1159775 h 3959978"/>
                  <a:gd name="connsiteX2494" fmla="*/ 123970 w 7724301"/>
                  <a:gd name="connsiteY2494" fmla="*/ 1145590 h 3959978"/>
                  <a:gd name="connsiteX2495" fmla="*/ 123970 w 7724301"/>
                  <a:gd name="connsiteY2495" fmla="*/ 1121950 h 3959978"/>
                  <a:gd name="connsiteX2496" fmla="*/ 97123 w 7724301"/>
                  <a:gd name="connsiteY2496" fmla="*/ 1133770 h 3959978"/>
                  <a:gd name="connsiteX2497" fmla="*/ 81331 w 7724301"/>
                  <a:gd name="connsiteY2497" fmla="*/ 1133770 h 3959978"/>
                  <a:gd name="connsiteX2498" fmla="*/ 41061 w 7724301"/>
                  <a:gd name="connsiteY2498" fmla="*/ 1058119 h 3959978"/>
                  <a:gd name="connsiteX2499" fmla="*/ 67907 w 7724301"/>
                  <a:gd name="connsiteY2499" fmla="*/ 994288 h 3959978"/>
                  <a:gd name="connsiteX2500" fmla="*/ 81331 w 7724301"/>
                  <a:gd name="connsiteY2500" fmla="*/ 994288 h 3959978"/>
                  <a:gd name="connsiteX2501" fmla="*/ 97123 w 7724301"/>
                  <a:gd name="connsiteY2501" fmla="*/ 994288 h 3959978"/>
                  <a:gd name="connsiteX2502" fmla="*/ 110547 w 7724301"/>
                  <a:gd name="connsiteY2502" fmla="*/ 982468 h 3959978"/>
                  <a:gd name="connsiteX2503" fmla="*/ 137394 w 7724301"/>
                  <a:gd name="connsiteY2503" fmla="*/ 982468 h 3959978"/>
                  <a:gd name="connsiteX2504" fmla="*/ 151605 w 7724301"/>
                  <a:gd name="connsiteY2504" fmla="*/ 956463 h 3959978"/>
                  <a:gd name="connsiteX2505" fmla="*/ 137394 w 7724301"/>
                  <a:gd name="connsiteY2505" fmla="*/ 932822 h 3959978"/>
                  <a:gd name="connsiteX2506" fmla="*/ 137394 w 7724301"/>
                  <a:gd name="connsiteY2506" fmla="*/ 919425 h 3959978"/>
                  <a:gd name="connsiteX2507" fmla="*/ 110547 w 7724301"/>
                  <a:gd name="connsiteY2507" fmla="*/ 932822 h 3959978"/>
                  <a:gd name="connsiteX2508" fmla="*/ 81331 w 7724301"/>
                  <a:gd name="connsiteY2508" fmla="*/ 932822 h 3959978"/>
                  <a:gd name="connsiteX2509" fmla="*/ 54484 w 7724301"/>
                  <a:gd name="connsiteY2509" fmla="*/ 932822 h 3959978"/>
                  <a:gd name="connsiteX2510" fmla="*/ 26847 w 7724301"/>
                  <a:gd name="connsiteY2510" fmla="*/ 919425 h 3959978"/>
                  <a:gd name="connsiteX2511" fmla="*/ 26847 w 7724301"/>
                  <a:gd name="connsiteY2511" fmla="*/ 906817 h 3959978"/>
                  <a:gd name="connsiteX2512" fmla="*/ 26847 w 7724301"/>
                  <a:gd name="connsiteY2512" fmla="*/ 894996 h 3959978"/>
                  <a:gd name="connsiteX2513" fmla="*/ 0 w 7724301"/>
                  <a:gd name="connsiteY2513" fmla="*/ 881600 h 3959978"/>
                  <a:gd name="connsiteX2514" fmla="*/ 13424 w 7724301"/>
                  <a:gd name="connsiteY2514" fmla="*/ 857171 h 3959978"/>
                  <a:gd name="connsiteX2515" fmla="*/ 67907 w 7724301"/>
                  <a:gd name="connsiteY2515" fmla="*/ 831166 h 3959978"/>
                  <a:gd name="connsiteX2516" fmla="*/ 81331 w 7724301"/>
                  <a:gd name="connsiteY2516" fmla="*/ 831166 h 3959978"/>
                  <a:gd name="connsiteX2517" fmla="*/ 81331 w 7724301"/>
                  <a:gd name="connsiteY2517" fmla="*/ 857171 h 3959978"/>
                  <a:gd name="connsiteX2518" fmla="*/ 123970 w 7724301"/>
                  <a:gd name="connsiteY2518" fmla="*/ 857171 h 3959978"/>
                  <a:gd name="connsiteX2519" fmla="*/ 123970 w 7724301"/>
                  <a:gd name="connsiteY2519" fmla="*/ 843774 h 3959978"/>
                  <a:gd name="connsiteX2520" fmla="*/ 97123 w 7724301"/>
                  <a:gd name="connsiteY2520" fmla="*/ 805949 h 3959978"/>
                  <a:gd name="connsiteX2521" fmla="*/ 81331 w 7724301"/>
                  <a:gd name="connsiteY2521" fmla="*/ 781520 h 3959978"/>
                  <a:gd name="connsiteX2522" fmla="*/ 26847 w 7724301"/>
                  <a:gd name="connsiteY2522" fmla="*/ 743694 h 3959978"/>
                  <a:gd name="connsiteX2523" fmla="*/ 41061 w 7724301"/>
                  <a:gd name="connsiteY2523" fmla="*/ 717689 h 3959978"/>
                  <a:gd name="connsiteX2524" fmla="*/ 97123 w 7724301"/>
                  <a:gd name="connsiteY2524" fmla="*/ 705869 h 3959978"/>
                  <a:gd name="connsiteX2525" fmla="*/ 110547 w 7724301"/>
                  <a:gd name="connsiteY2525" fmla="*/ 654646 h 3959978"/>
                  <a:gd name="connsiteX2526" fmla="*/ 137394 w 7724301"/>
                  <a:gd name="connsiteY2526" fmla="*/ 630218 h 3959978"/>
                  <a:gd name="connsiteX2527" fmla="*/ 151605 w 7724301"/>
                  <a:gd name="connsiteY2527" fmla="*/ 630218 h 3959978"/>
                  <a:gd name="connsiteX2528" fmla="*/ 192665 w 7724301"/>
                  <a:gd name="connsiteY2528" fmla="*/ 604213 h 3959978"/>
                  <a:gd name="connsiteX2529" fmla="*/ 219512 w 7724301"/>
                  <a:gd name="connsiteY2529" fmla="*/ 592393 h 3959978"/>
                  <a:gd name="connsiteX2530" fmla="*/ 247153 w 7724301"/>
                  <a:gd name="connsiteY2530" fmla="*/ 566387 h 3959978"/>
                  <a:gd name="connsiteX2531" fmla="*/ 274001 w 7724301"/>
                  <a:gd name="connsiteY2531" fmla="*/ 578996 h 3959978"/>
                  <a:gd name="connsiteX2532" fmla="*/ 287423 w 7724301"/>
                  <a:gd name="connsiteY2532" fmla="*/ 592393 h 3959978"/>
                  <a:gd name="connsiteX2533" fmla="*/ 328482 w 7724301"/>
                  <a:gd name="connsiteY2533" fmla="*/ 592393 h 3959978"/>
                  <a:gd name="connsiteX2534" fmla="*/ 342695 w 7724301"/>
                  <a:gd name="connsiteY2534" fmla="*/ 616822 h 3959978"/>
                  <a:gd name="connsiteX2535" fmla="*/ 397179 w 7724301"/>
                  <a:gd name="connsiteY2535" fmla="*/ 616822 h 3959978"/>
                  <a:gd name="connsiteX2536" fmla="*/ 438239 w 7724301"/>
                  <a:gd name="connsiteY2536" fmla="*/ 642038 h 3959978"/>
                  <a:gd name="connsiteX2537" fmla="*/ 465087 w 7724301"/>
                  <a:gd name="connsiteY2537" fmla="*/ 642038 h 3959978"/>
                  <a:gd name="connsiteX2538" fmla="*/ 492722 w 7724301"/>
                  <a:gd name="connsiteY2538" fmla="*/ 654646 h 3959978"/>
                  <a:gd name="connsiteX2539" fmla="*/ 532994 w 7724301"/>
                  <a:gd name="connsiteY2539" fmla="*/ 642038 h 3959978"/>
                  <a:gd name="connsiteX2540" fmla="*/ 574052 w 7724301"/>
                  <a:gd name="connsiteY2540" fmla="*/ 668043 h 3959978"/>
                  <a:gd name="connsiteX2541" fmla="*/ 574052 w 7724301"/>
                  <a:gd name="connsiteY2541" fmla="*/ 1107765 h 3959978"/>
                  <a:gd name="connsiteX2542" fmla="*/ 574052 w 7724301"/>
                  <a:gd name="connsiteY2542" fmla="*/ 1121950 h 3959978"/>
                  <a:gd name="connsiteX2543" fmla="*/ 575859 w 7724301"/>
                  <a:gd name="connsiteY2543" fmla="*/ 1121325 h 3959978"/>
                  <a:gd name="connsiteX2544" fmla="*/ 575859 w 7724301"/>
                  <a:gd name="connsiteY2544" fmla="*/ 1107532 h 3959978"/>
                  <a:gd name="connsiteX2545" fmla="*/ 575859 w 7724301"/>
                  <a:gd name="connsiteY2545" fmla="*/ 667360 h 3959978"/>
                  <a:gd name="connsiteX2546" fmla="*/ 601891 w 7724301"/>
                  <a:gd name="connsiteY2546" fmla="*/ 667360 h 3959978"/>
                  <a:gd name="connsiteX2547" fmla="*/ 683931 w 7724301"/>
                  <a:gd name="connsiteY2547" fmla="*/ 717057 h 3959978"/>
                  <a:gd name="connsiteX2548" fmla="*/ 683931 w 7724301"/>
                  <a:gd name="connsiteY2548" fmla="*/ 691813 h 3959978"/>
                  <a:gd name="connsiteX2549" fmla="*/ 698919 w 7724301"/>
                  <a:gd name="connsiteY2549" fmla="*/ 679192 h 3959978"/>
                  <a:gd name="connsiteX2550" fmla="*/ 724161 w 7724301"/>
                  <a:gd name="connsiteY2550" fmla="*/ 667360 h 3959978"/>
                  <a:gd name="connsiteX2551" fmla="*/ 739937 w 7724301"/>
                  <a:gd name="connsiteY2551" fmla="*/ 679192 h 3959978"/>
                  <a:gd name="connsiteX2552" fmla="*/ 821187 w 7724301"/>
                  <a:gd name="connsiteY2552" fmla="*/ 629496 h 3959978"/>
                  <a:gd name="connsiteX2553" fmla="*/ 821187 w 7724301"/>
                  <a:gd name="connsiteY2553" fmla="*/ 653949 h 3959978"/>
                  <a:gd name="connsiteX2554" fmla="*/ 848796 w 7724301"/>
                  <a:gd name="connsiteY2554" fmla="*/ 653949 h 3959978"/>
                  <a:gd name="connsiteX2555" fmla="*/ 862207 w 7724301"/>
                  <a:gd name="connsiteY2555" fmla="*/ 616085 h 3959978"/>
                  <a:gd name="connsiteX2556" fmla="*/ 889816 w 7724301"/>
                  <a:gd name="connsiteY2556" fmla="*/ 641328 h 3959978"/>
                  <a:gd name="connsiteX2557" fmla="*/ 889816 w 7724301"/>
                  <a:gd name="connsiteY2557" fmla="*/ 667360 h 3959978"/>
                  <a:gd name="connsiteX2558" fmla="*/ 918215 w 7724301"/>
                  <a:gd name="connsiteY2558" fmla="*/ 679192 h 3959978"/>
                  <a:gd name="connsiteX2559" fmla="*/ 930049 w 7724301"/>
                  <a:gd name="connsiteY2559" fmla="*/ 653949 h 3959978"/>
                  <a:gd name="connsiteX2560" fmla="*/ 930049 w 7724301"/>
                  <a:gd name="connsiteY2560" fmla="*/ 679192 h 3959978"/>
                  <a:gd name="connsiteX2561" fmla="*/ 959232 w 7724301"/>
                  <a:gd name="connsiteY2561" fmla="*/ 679192 h 3959978"/>
                  <a:gd name="connsiteX2562" fmla="*/ 959232 w 7724301"/>
                  <a:gd name="connsiteY2562" fmla="*/ 653949 h 3959978"/>
                  <a:gd name="connsiteX2563" fmla="*/ 1000253 w 7724301"/>
                  <a:gd name="connsiteY2563" fmla="*/ 653949 h 3959978"/>
                  <a:gd name="connsiteX2564" fmla="*/ 1025497 w 7724301"/>
                  <a:gd name="connsiteY2564" fmla="*/ 679192 h 3959978"/>
                  <a:gd name="connsiteX2565" fmla="*/ 1053107 w 7724301"/>
                  <a:gd name="connsiteY2565" fmla="*/ 691813 h 3959978"/>
                  <a:gd name="connsiteX2566" fmla="*/ 1081505 w 7724301"/>
                  <a:gd name="connsiteY2566" fmla="*/ 705224 h 3959978"/>
                  <a:gd name="connsiteX2567" fmla="*/ 1109115 w 7724301"/>
                  <a:gd name="connsiteY2567" fmla="*/ 705224 h 3959978"/>
                  <a:gd name="connsiteX2568" fmla="*/ 1150135 w 7724301"/>
                  <a:gd name="connsiteY2568" fmla="*/ 717057 h 3959978"/>
                  <a:gd name="connsiteX2569" fmla="*/ 1150135 w 7724301"/>
                  <a:gd name="connsiteY2569" fmla="*/ 743088 h 3959978"/>
                  <a:gd name="connsiteX2570" fmla="*/ 1135148 w 7724301"/>
                  <a:gd name="connsiteY2570" fmla="*/ 754921 h 3959978"/>
                  <a:gd name="connsiteX2571" fmla="*/ 1135148 w 7724301"/>
                  <a:gd name="connsiteY2571" fmla="*/ 767542 h 3959978"/>
                  <a:gd name="connsiteX2572" fmla="*/ 1175378 w 7724301"/>
                  <a:gd name="connsiteY2572" fmla="*/ 780953 h 3959978"/>
                  <a:gd name="connsiteX2573" fmla="*/ 1245584 w 7724301"/>
                  <a:gd name="connsiteY2573" fmla="*/ 754921 h 3959978"/>
                  <a:gd name="connsiteX2574" fmla="*/ 1286603 w 7724301"/>
                  <a:gd name="connsiteY2574" fmla="*/ 780953 h 3959978"/>
                  <a:gd name="connsiteX2575" fmla="*/ 1286603 w 7724301"/>
                  <a:gd name="connsiteY2575" fmla="*/ 754921 h 3959978"/>
                  <a:gd name="connsiteX2576" fmla="*/ 1272405 w 7724301"/>
                  <a:gd name="connsiteY2576" fmla="*/ 743088 h 3959978"/>
                  <a:gd name="connsiteX2577" fmla="*/ 1286603 w 7724301"/>
                  <a:gd name="connsiteY2577" fmla="*/ 729678 h 3959978"/>
                  <a:gd name="connsiteX2578" fmla="*/ 1341034 w 7724301"/>
                  <a:gd name="connsiteY2578" fmla="*/ 705224 h 3959978"/>
                  <a:gd name="connsiteX2579" fmla="*/ 1354439 w 7724301"/>
                  <a:gd name="connsiteY2579" fmla="*/ 743088 h 3959978"/>
                  <a:gd name="connsiteX2580" fmla="*/ 1422278 w 7724301"/>
                  <a:gd name="connsiteY2580" fmla="*/ 767542 h 3959978"/>
                  <a:gd name="connsiteX2581" fmla="*/ 1463298 w 7724301"/>
                  <a:gd name="connsiteY2581" fmla="*/ 780953 h 3959978"/>
                  <a:gd name="connsiteX2582" fmla="*/ 1492486 w 7724301"/>
                  <a:gd name="connsiteY2582" fmla="*/ 780953 h 3959978"/>
                  <a:gd name="connsiteX2583" fmla="*/ 1492486 w 7724301"/>
                  <a:gd name="connsiteY2583" fmla="*/ 743088 h 3959978"/>
                  <a:gd name="connsiteX2584" fmla="*/ 1504317 w 7724301"/>
                  <a:gd name="connsiteY2584" fmla="*/ 729678 h 3959978"/>
                  <a:gd name="connsiteX2585" fmla="*/ 1463298 w 7724301"/>
                  <a:gd name="connsiteY2585" fmla="*/ 705224 h 3959978"/>
                  <a:gd name="connsiteX2586" fmla="*/ 1492486 w 7724301"/>
                  <a:gd name="connsiteY2586" fmla="*/ 691813 h 3959978"/>
                  <a:gd name="connsiteX2587" fmla="*/ 1501475 w 7724301"/>
                  <a:gd name="connsiteY2587" fmla="*/ 663047 h 3959978"/>
                  <a:gd name="connsiteX2588" fmla="*/ 1485516 w 7724301"/>
                  <a:gd name="connsiteY2588" fmla="*/ 654349 h 3959978"/>
                  <a:gd name="connsiteX2589" fmla="*/ 1485516 w 7724301"/>
                  <a:gd name="connsiteY2589" fmla="*/ 639955 h 3959978"/>
                  <a:gd name="connsiteX2590" fmla="*/ 1499057 w 7724301"/>
                  <a:gd name="connsiteY2590" fmla="*/ 624762 h 3959978"/>
                  <a:gd name="connsiteX2591" fmla="*/ 1526935 w 7724301"/>
                  <a:gd name="connsiteY2591" fmla="*/ 639955 h 3959978"/>
                  <a:gd name="connsiteX2592" fmla="*/ 1540473 w 7724301"/>
                  <a:gd name="connsiteY2592" fmla="*/ 654349 h 3959978"/>
                  <a:gd name="connsiteX2593" fmla="*/ 1554016 w 7724301"/>
                  <a:gd name="connsiteY2593" fmla="*/ 669543 h 3959978"/>
                  <a:gd name="connsiteX2594" fmla="*/ 1540473 w 7724301"/>
                  <a:gd name="connsiteY2594" fmla="*/ 669543 h 3959978"/>
                  <a:gd name="connsiteX2595" fmla="*/ 1540473 w 7724301"/>
                  <a:gd name="connsiteY2595" fmla="*/ 683137 h 3959978"/>
                  <a:gd name="connsiteX2596" fmla="*/ 1518197 w 7724301"/>
                  <a:gd name="connsiteY2596" fmla="*/ 671954 h 3959978"/>
                  <a:gd name="connsiteX2597" fmla="*/ 1533506 w 7724301"/>
                  <a:gd name="connsiteY2597" fmla="*/ 691813 h 3959978"/>
                  <a:gd name="connsiteX2598" fmla="*/ 1560327 w 7724301"/>
                  <a:gd name="connsiteY2598" fmla="*/ 717057 h 3959978"/>
                  <a:gd name="connsiteX2599" fmla="*/ 1533506 w 7724301"/>
                  <a:gd name="connsiteY2599" fmla="*/ 743088 h 3959978"/>
                  <a:gd name="connsiteX2600" fmla="*/ 1533506 w 7724301"/>
                  <a:gd name="connsiteY2600" fmla="*/ 767542 h 3959978"/>
                  <a:gd name="connsiteX2601" fmla="*/ 1545337 w 7724301"/>
                  <a:gd name="connsiteY2601" fmla="*/ 780953 h 3959978"/>
                  <a:gd name="connsiteX2602" fmla="*/ 1560327 w 7724301"/>
                  <a:gd name="connsiteY2602" fmla="*/ 754921 h 3959978"/>
                  <a:gd name="connsiteX2603" fmla="*/ 1586359 w 7724301"/>
                  <a:gd name="connsiteY2603" fmla="*/ 729678 h 3959978"/>
                  <a:gd name="connsiteX2604" fmla="*/ 1573738 w 7724301"/>
                  <a:gd name="connsiteY2604" fmla="*/ 705224 h 3959978"/>
                  <a:gd name="connsiteX2605" fmla="*/ 1586359 w 7724301"/>
                  <a:gd name="connsiteY2605" fmla="*/ 679192 h 3959978"/>
                  <a:gd name="connsiteX2606" fmla="*/ 1560327 w 7724301"/>
                  <a:gd name="connsiteY2606" fmla="*/ 653949 h 3959978"/>
                  <a:gd name="connsiteX2607" fmla="*/ 1533506 w 7724301"/>
                  <a:gd name="connsiteY2607" fmla="*/ 629496 h 3959978"/>
                  <a:gd name="connsiteX2608" fmla="*/ 1545337 w 7724301"/>
                  <a:gd name="connsiteY2608" fmla="*/ 553766 h 3959978"/>
                  <a:gd name="connsiteX2609" fmla="*/ 1710264 w 7724301"/>
                  <a:gd name="connsiteY2609" fmla="*/ 478039 h 3959978"/>
                  <a:gd name="connsiteX2610" fmla="*/ 1723690 w 7724301"/>
                  <a:gd name="connsiteY2610" fmla="*/ 478039 h 3959978"/>
                  <a:gd name="connsiteX2611" fmla="*/ 1751335 w 7724301"/>
                  <a:gd name="connsiteY2611" fmla="*/ 478039 h 3959978"/>
                  <a:gd name="connsiteX2612" fmla="*/ 1764763 w 7724301"/>
                  <a:gd name="connsiteY2612" fmla="*/ 478039 h 3959978"/>
                  <a:gd name="connsiteX2613" fmla="*/ 1764763 w 7724301"/>
                  <a:gd name="connsiteY2613" fmla="*/ 489894 h 3959978"/>
                  <a:gd name="connsiteX2614" fmla="*/ 1751335 w 7724301"/>
                  <a:gd name="connsiteY2614" fmla="*/ 504120 h 3959978"/>
                  <a:gd name="connsiteX2615" fmla="*/ 1737906 w 7724301"/>
                  <a:gd name="connsiteY2615" fmla="*/ 517555 h 3959978"/>
                  <a:gd name="connsiteX2616" fmla="*/ 1737906 w 7724301"/>
                  <a:gd name="connsiteY2616" fmla="*/ 530990 h 3959978"/>
                  <a:gd name="connsiteX2617" fmla="*/ 1751335 w 7724301"/>
                  <a:gd name="connsiteY2617" fmla="*/ 530990 h 3959978"/>
                  <a:gd name="connsiteX2618" fmla="*/ 1751335 w 7724301"/>
                  <a:gd name="connsiteY2618" fmla="*/ 545216 h 3959978"/>
                  <a:gd name="connsiteX2619" fmla="*/ 1764763 w 7724301"/>
                  <a:gd name="connsiteY2619" fmla="*/ 545216 h 3959978"/>
                  <a:gd name="connsiteX2620" fmla="*/ 1764763 w 7724301"/>
                  <a:gd name="connsiteY2620" fmla="*/ 530990 h 3959978"/>
                  <a:gd name="connsiteX2621" fmla="*/ 1764763 w 7724301"/>
                  <a:gd name="connsiteY2621" fmla="*/ 517555 h 3959978"/>
                  <a:gd name="connsiteX2622" fmla="*/ 1778979 w 7724301"/>
                  <a:gd name="connsiteY2622" fmla="*/ 489894 h 3959978"/>
                  <a:gd name="connsiteX2623" fmla="*/ 1820839 w 7724301"/>
                  <a:gd name="connsiteY2623" fmla="*/ 478039 h 3959978"/>
                  <a:gd name="connsiteX2624" fmla="*/ 1848484 w 7724301"/>
                  <a:gd name="connsiteY2624" fmla="*/ 478039 h 3959978"/>
                  <a:gd name="connsiteX2625" fmla="*/ 1860088 w 7724301"/>
                  <a:gd name="connsiteY2625" fmla="*/ 478039 h 3959978"/>
                  <a:gd name="connsiteX2626" fmla="*/ 1861912 w 7724301"/>
                  <a:gd name="connsiteY2626" fmla="*/ 478039 h 3959978"/>
                  <a:gd name="connsiteX2627" fmla="*/ 1875076 w 7724301"/>
                  <a:gd name="connsiteY2627" fmla="*/ 478039 h 3959978"/>
                  <a:gd name="connsiteX2628" fmla="*/ 1902684 w 7724301"/>
                  <a:gd name="connsiteY2628" fmla="*/ 478039 h 3959978"/>
                  <a:gd name="connsiteX2629" fmla="*/ 1916095 w 7724301"/>
                  <a:gd name="connsiteY2629" fmla="*/ 478039 h 3959978"/>
                  <a:gd name="connsiteX2630" fmla="*/ 1945282 w 7724301"/>
                  <a:gd name="connsiteY2630" fmla="*/ 478039 h 3959978"/>
                  <a:gd name="connsiteX2631" fmla="*/ 1958693 w 7724301"/>
                  <a:gd name="connsiteY2631" fmla="*/ 489872 h 3959978"/>
                  <a:gd name="connsiteX2632" fmla="*/ 1972101 w 7724301"/>
                  <a:gd name="connsiteY2632" fmla="*/ 504071 h 3959978"/>
                  <a:gd name="connsiteX2633" fmla="*/ 1958693 w 7724301"/>
                  <a:gd name="connsiteY2633" fmla="*/ 504071 h 3959978"/>
                  <a:gd name="connsiteX2634" fmla="*/ 1958693 w 7724301"/>
                  <a:gd name="connsiteY2634" fmla="*/ 517482 h 3959978"/>
                  <a:gd name="connsiteX2635" fmla="*/ 1945282 w 7724301"/>
                  <a:gd name="connsiteY2635" fmla="*/ 517482 h 3959978"/>
                  <a:gd name="connsiteX2636" fmla="*/ 1931082 w 7724301"/>
                  <a:gd name="connsiteY2636" fmla="*/ 504071 h 3959978"/>
                  <a:gd name="connsiteX2637" fmla="*/ 1931082 w 7724301"/>
                  <a:gd name="connsiteY2637" fmla="*/ 517482 h 3959978"/>
                  <a:gd name="connsiteX2638" fmla="*/ 1916095 w 7724301"/>
                  <a:gd name="connsiteY2638" fmla="*/ 517482 h 3959978"/>
                  <a:gd name="connsiteX2639" fmla="*/ 1902684 w 7724301"/>
                  <a:gd name="connsiteY2639" fmla="*/ 517482 h 3959978"/>
                  <a:gd name="connsiteX2640" fmla="*/ 1889276 w 7724301"/>
                  <a:gd name="connsiteY2640" fmla="*/ 517482 h 3959978"/>
                  <a:gd name="connsiteX2641" fmla="*/ 1889276 w 7724301"/>
                  <a:gd name="connsiteY2641" fmla="*/ 504071 h 3959978"/>
                  <a:gd name="connsiteX2642" fmla="*/ 1875076 w 7724301"/>
                  <a:gd name="connsiteY2642" fmla="*/ 489872 h 3959978"/>
                  <a:gd name="connsiteX2643" fmla="*/ 1861912 w 7724301"/>
                  <a:gd name="connsiteY2643" fmla="*/ 489872 h 3959978"/>
                  <a:gd name="connsiteX2644" fmla="*/ 1861912 w 7724301"/>
                  <a:gd name="connsiteY2644" fmla="*/ 504120 h 3959978"/>
                  <a:gd name="connsiteX2645" fmla="*/ 1876918 w 7724301"/>
                  <a:gd name="connsiteY2645" fmla="*/ 530990 h 3959978"/>
                  <a:gd name="connsiteX2646" fmla="*/ 1891135 w 7724301"/>
                  <a:gd name="connsiteY2646" fmla="*/ 530990 h 3959978"/>
                  <a:gd name="connsiteX2647" fmla="*/ 1904562 w 7724301"/>
                  <a:gd name="connsiteY2647" fmla="*/ 530990 h 3959978"/>
                  <a:gd name="connsiteX2648" fmla="*/ 1917989 w 7724301"/>
                  <a:gd name="connsiteY2648" fmla="*/ 530990 h 3959978"/>
                  <a:gd name="connsiteX2649" fmla="*/ 1931415 w 7724301"/>
                  <a:gd name="connsiteY2649" fmla="*/ 530990 h 3959978"/>
                  <a:gd name="connsiteX2650" fmla="*/ 1945634 w 7724301"/>
                  <a:gd name="connsiteY2650" fmla="*/ 517555 h 3959978"/>
                  <a:gd name="connsiteX2651" fmla="*/ 1959058 w 7724301"/>
                  <a:gd name="connsiteY2651" fmla="*/ 517555 h 3959978"/>
                  <a:gd name="connsiteX2652" fmla="*/ 1974067 w 7724301"/>
                  <a:gd name="connsiteY2652" fmla="*/ 530990 h 3959978"/>
                  <a:gd name="connsiteX2653" fmla="*/ 2001709 w 7724301"/>
                  <a:gd name="connsiteY2653" fmla="*/ 530990 h 3959978"/>
                  <a:gd name="connsiteX2654" fmla="*/ 2001709 w 7724301"/>
                  <a:gd name="connsiteY2654" fmla="*/ 545216 h 3959978"/>
                  <a:gd name="connsiteX2655" fmla="*/ 2015138 w 7724301"/>
                  <a:gd name="connsiteY2655" fmla="*/ 558651 h 3959978"/>
                  <a:gd name="connsiteX2656" fmla="*/ 2043570 w 7724301"/>
                  <a:gd name="connsiteY2656" fmla="*/ 572087 h 3959978"/>
                  <a:gd name="connsiteX2657" fmla="*/ 2057787 w 7724301"/>
                  <a:gd name="connsiteY2657" fmla="*/ 572087 h 3959978"/>
                  <a:gd name="connsiteX2658" fmla="*/ 2072794 w 7724301"/>
                  <a:gd name="connsiteY2658" fmla="*/ 572087 h 3959978"/>
                  <a:gd name="connsiteX2659" fmla="*/ 2086226 w 7724301"/>
                  <a:gd name="connsiteY2659" fmla="*/ 572087 h 3959978"/>
                  <a:gd name="connsiteX2660" fmla="*/ 2099653 w 7724301"/>
                  <a:gd name="connsiteY2660" fmla="*/ 585522 h 3959978"/>
                  <a:gd name="connsiteX2661" fmla="*/ 2127296 w 7724301"/>
                  <a:gd name="connsiteY2661" fmla="*/ 599748 h 3959978"/>
                  <a:gd name="connsiteX2662" fmla="*/ 2140723 w 7724301"/>
                  <a:gd name="connsiteY2662" fmla="*/ 599748 h 3959978"/>
                  <a:gd name="connsiteX2663" fmla="*/ 2140723 w 7724301"/>
                  <a:gd name="connsiteY2663" fmla="*/ 613183 h 3959978"/>
                  <a:gd name="connsiteX2664" fmla="*/ 2154940 w 7724301"/>
                  <a:gd name="connsiteY2664" fmla="*/ 613183 h 3959978"/>
                  <a:gd name="connsiteX2665" fmla="*/ 2169947 w 7724301"/>
                  <a:gd name="connsiteY2665" fmla="*/ 613183 h 3959978"/>
                  <a:gd name="connsiteX2666" fmla="*/ 2183375 w 7724301"/>
                  <a:gd name="connsiteY2666" fmla="*/ 626618 h 3959978"/>
                  <a:gd name="connsiteX2667" fmla="*/ 2169947 w 7724301"/>
                  <a:gd name="connsiteY2667" fmla="*/ 626618 h 3959978"/>
                  <a:gd name="connsiteX2668" fmla="*/ 2154940 w 7724301"/>
                  <a:gd name="connsiteY2668" fmla="*/ 640054 h 3959978"/>
                  <a:gd name="connsiteX2669" fmla="*/ 2169947 w 7724301"/>
                  <a:gd name="connsiteY2669" fmla="*/ 640054 h 3959978"/>
                  <a:gd name="connsiteX2670" fmla="*/ 2183375 w 7724301"/>
                  <a:gd name="connsiteY2670" fmla="*/ 640054 h 3959978"/>
                  <a:gd name="connsiteX2671" fmla="*/ 2183375 w 7724301"/>
                  <a:gd name="connsiteY2671" fmla="*/ 655860 h 3959978"/>
                  <a:gd name="connsiteX2672" fmla="*/ 2169947 w 7724301"/>
                  <a:gd name="connsiteY2672" fmla="*/ 655860 h 3959978"/>
                  <a:gd name="connsiteX2673" fmla="*/ 2154940 w 7724301"/>
                  <a:gd name="connsiteY2673" fmla="*/ 669296 h 3959978"/>
                  <a:gd name="connsiteX2674" fmla="*/ 2169947 w 7724301"/>
                  <a:gd name="connsiteY2674" fmla="*/ 669296 h 3959978"/>
                  <a:gd name="connsiteX2675" fmla="*/ 2183375 w 7724301"/>
                  <a:gd name="connsiteY2675" fmla="*/ 669296 h 3959978"/>
                  <a:gd name="connsiteX2676" fmla="*/ 2183375 w 7724301"/>
                  <a:gd name="connsiteY2676" fmla="*/ 682731 h 3959978"/>
                  <a:gd name="connsiteX2677" fmla="*/ 2196804 w 7724301"/>
                  <a:gd name="connsiteY2677" fmla="*/ 696166 h 3959978"/>
                  <a:gd name="connsiteX2678" fmla="*/ 2211019 w 7724301"/>
                  <a:gd name="connsiteY2678" fmla="*/ 710392 h 3959978"/>
                  <a:gd name="connsiteX2679" fmla="*/ 2224446 w 7724301"/>
                  <a:gd name="connsiteY2679" fmla="*/ 710392 h 3959978"/>
                  <a:gd name="connsiteX2680" fmla="*/ 2224446 w 7724301"/>
                  <a:gd name="connsiteY2680" fmla="*/ 723827 h 3959978"/>
                  <a:gd name="connsiteX2681" fmla="*/ 2237872 w 7724301"/>
                  <a:gd name="connsiteY2681" fmla="*/ 723827 h 3959978"/>
                  <a:gd name="connsiteX2682" fmla="*/ 2251300 w 7724301"/>
                  <a:gd name="connsiteY2682" fmla="*/ 723827 h 3959978"/>
                  <a:gd name="connsiteX2683" fmla="*/ 2267096 w 7724301"/>
                  <a:gd name="connsiteY2683" fmla="*/ 737263 h 3959978"/>
                  <a:gd name="connsiteX2684" fmla="*/ 2280523 w 7724301"/>
                  <a:gd name="connsiteY2684" fmla="*/ 737263 h 3959978"/>
                  <a:gd name="connsiteX2685" fmla="*/ 2280523 w 7724301"/>
                  <a:gd name="connsiteY2685" fmla="*/ 751489 h 3959978"/>
                  <a:gd name="connsiteX2686" fmla="*/ 2280523 w 7724301"/>
                  <a:gd name="connsiteY2686" fmla="*/ 763343 h 3959978"/>
                  <a:gd name="connsiteX2687" fmla="*/ 2280523 w 7724301"/>
                  <a:gd name="connsiteY2687" fmla="*/ 776779 h 3959978"/>
                  <a:gd name="connsiteX2688" fmla="*/ 2267096 w 7724301"/>
                  <a:gd name="connsiteY2688" fmla="*/ 776779 h 3959978"/>
                  <a:gd name="connsiteX2689" fmla="*/ 2251300 w 7724301"/>
                  <a:gd name="connsiteY2689" fmla="*/ 776779 h 3959978"/>
                  <a:gd name="connsiteX2690" fmla="*/ 2251300 w 7724301"/>
                  <a:gd name="connsiteY2690" fmla="*/ 790214 h 3959978"/>
                  <a:gd name="connsiteX2691" fmla="*/ 2237872 w 7724301"/>
                  <a:gd name="connsiteY2691" fmla="*/ 790214 h 3959978"/>
                  <a:gd name="connsiteX2692" fmla="*/ 2211019 w 7724301"/>
                  <a:gd name="connsiteY2692" fmla="*/ 790214 h 3959978"/>
                  <a:gd name="connsiteX2693" fmla="*/ 2196804 w 7724301"/>
                  <a:gd name="connsiteY2693" fmla="*/ 763343 h 3959978"/>
                  <a:gd name="connsiteX2694" fmla="*/ 2169947 w 7724301"/>
                  <a:gd name="connsiteY2694" fmla="*/ 751489 h 3959978"/>
                  <a:gd name="connsiteX2695" fmla="*/ 2154940 w 7724301"/>
                  <a:gd name="connsiteY2695" fmla="*/ 751489 h 3959978"/>
                  <a:gd name="connsiteX2696" fmla="*/ 2154940 w 7724301"/>
                  <a:gd name="connsiteY2696" fmla="*/ 763343 h 3959978"/>
                  <a:gd name="connsiteX2697" fmla="*/ 2154940 w 7724301"/>
                  <a:gd name="connsiteY2697" fmla="*/ 776779 h 3959978"/>
                  <a:gd name="connsiteX2698" fmla="*/ 2169947 w 7724301"/>
                  <a:gd name="connsiteY2698" fmla="*/ 776779 h 3959978"/>
                  <a:gd name="connsiteX2699" fmla="*/ 2169947 w 7724301"/>
                  <a:gd name="connsiteY2699" fmla="*/ 790214 h 3959978"/>
                  <a:gd name="connsiteX2700" fmla="*/ 2183375 w 7724301"/>
                  <a:gd name="connsiteY2700" fmla="*/ 790214 h 3959978"/>
                  <a:gd name="connsiteX2701" fmla="*/ 2196804 w 7724301"/>
                  <a:gd name="connsiteY2701" fmla="*/ 790214 h 3959978"/>
                  <a:gd name="connsiteX2702" fmla="*/ 2196804 w 7724301"/>
                  <a:gd name="connsiteY2702" fmla="*/ 804440 h 3959978"/>
                  <a:gd name="connsiteX2703" fmla="*/ 2211019 w 7724301"/>
                  <a:gd name="connsiteY2703" fmla="*/ 804440 h 3959978"/>
                  <a:gd name="connsiteX2704" fmla="*/ 2224446 w 7724301"/>
                  <a:gd name="connsiteY2704" fmla="*/ 804440 h 3959978"/>
                  <a:gd name="connsiteX2705" fmla="*/ 2224446 w 7724301"/>
                  <a:gd name="connsiteY2705" fmla="*/ 817875 h 3959978"/>
                  <a:gd name="connsiteX2706" fmla="*/ 2224446 w 7724301"/>
                  <a:gd name="connsiteY2706" fmla="*/ 831310 h 3959978"/>
                  <a:gd name="connsiteX2707" fmla="*/ 2224446 w 7724301"/>
                  <a:gd name="connsiteY2707" fmla="*/ 846326 h 3959978"/>
                  <a:gd name="connsiteX2708" fmla="*/ 2224446 w 7724301"/>
                  <a:gd name="connsiteY2708" fmla="*/ 860552 h 3959978"/>
                  <a:gd name="connsiteX2709" fmla="*/ 2224446 w 7724301"/>
                  <a:gd name="connsiteY2709" fmla="*/ 873988 h 3959978"/>
                  <a:gd name="connsiteX2710" fmla="*/ 2196804 w 7724301"/>
                  <a:gd name="connsiteY2710" fmla="*/ 860552 h 3959978"/>
                  <a:gd name="connsiteX2711" fmla="*/ 2169947 w 7724301"/>
                  <a:gd name="connsiteY2711" fmla="*/ 846326 h 3959978"/>
                  <a:gd name="connsiteX2712" fmla="*/ 2140723 w 7724301"/>
                  <a:gd name="connsiteY2712" fmla="*/ 831310 h 3959978"/>
                  <a:gd name="connsiteX2713" fmla="*/ 2154940 w 7724301"/>
                  <a:gd name="connsiteY2713" fmla="*/ 860552 h 3959978"/>
                  <a:gd name="connsiteX2714" fmla="*/ 2183375 w 7724301"/>
                  <a:gd name="connsiteY2714" fmla="*/ 873988 h 3959978"/>
                  <a:gd name="connsiteX2715" fmla="*/ 2183375 w 7724301"/>
                  <a:gd name="connsiteY2715" fmla="*/ 887423 h 3959978"/>
                  <a:gd name="connsiteX2716" fmla="*/ 2154940 w 7724301"/>
                  <a:gd name="connsiteY2716" fmla="*/ 873988 h 3959978"/>
                  <a:gd name="connsiteX2717" fmla="*/ 2140723 w 7724301"/>
                  <a:gd name="connsiteY2717" fmla="*/ 873988 h 3959978"/>
                  <a:gd name="connsiteX2718" fmla="*/ 2127296 w 7724301"/>
                  <a:gd name="connsiteY2718" fmla="*/ 873988 h 3959978"/>
                  <a:gd name="connsiteX2719" fmla="*/ 2086226 w 7724301"/>
                  <a:gd name="connsiteY2719" fmla="*/ 873988 h 3959978"/>
                  <a:gd name="connsiteX2720" fmla="*/ 2072794 w 7724301"/>
                  <a:gd name="connsiteY2720" fmla="*/ 860552 h 3959978"/>
                  <a:gd name="connsiteX2721" fmla="*/ 2072794 w 7724301"/>
                  <a:gd name="connsiteY2721" fmla="*/ 831310 h 3959978"/>
                  <a:gd name="connsiteX2722" fmla="*/ 2043570 w 7724301"/>
                  <a:gd name="connsiteY2722" fmla="*/ 831310 h 3959978"/>
                  <a:gd name="connsiteX2723" fmla="*/ 2030145 w 7724301"/>
                  <a:gd name="connsiteY2723" fmla="*/ 817875 h 3959978"/>
                  <a:gd name="connsiteX2724" fmla="*/ 2001709 w 7724301"/>
                  <a:gd name="connsiteY2724" fmla="*/ 804440 h 3959978"/>
                  <a:gd name="connsiteX2725" fmla="*/ 2001709 w 7724301"/>
                  <a:gd name="connsiteY2725" fmla="*/ 817875 h 3959978"/>
                  <a:gd name="connsiteX2726" fmla="*/ 1987492 w 7724301"/>
                  <a:gd name="connsiteY2726" fmla="*/ 804440 h 3959978"/>
                  <a:gd name="connsiteX2727" fmla="*/ 1974067 w 7724301"/>
                  <a:gd name="connsiteY2727" fmla="*/ 804440 h 3959978"/>
                  <a:gd name="connsiteX2728" fmla="*/ 1959058 w 7724301"/>
                  <a:gd name="connsiteY2728" fmla="*/ 817875 h 3959978"/>
                  <a:gd name="connsiteX2729" fmla="*/ 1931415 w 7724301"/>
                  <a:gd name="connsiteY2729" fmla="*/ 804440 h 3959978"/>
                  <a:gd name="connsiteX2730" fmla="*/ 1931415 w 7724301"/>
                  <a:gd name="connsiteY2730" fmla="*/ 790214 h 3959978"/>
                  <a:gd name="connsiteX2731" fmla="*/ 1945634 w 7724301"/>
                  <a:gd name="connsiteY2731" fmla="*/ 790214 h 3959978"/>
                  <a:gd name="connsiteX2732" fmla="*/ 1959058 w 7724301"/>
                  <a:gd name="connsiteY2732" fmla="*/ 790214 h 3959978"/>
                  <a:gd name="connsiteX2733" fmla="*/ 1974067 w 7724301"/>
                  <a:gd name="connsiteY2733" fmla="*/ 790214 h 3959978"/>
                  <a:gd name="connsiteX2734" fmla="*/ 1987492 w 7724301"/>
                  <a:gd name="connsiteY2734" fmla="*/ 790214 h 3959978"/>
                  <a:gd name="connsiteX2735" fmla="*/ 2001709 w 7724301"/>
                  <a:gd name="connsiteY2735" fmla="*/ 790214 h 3959978"/>
                  <a:gd name="connsiteX2736" fmla="*/ 2015138 w 7724301"/>
                  <a:gd name="connsiteY2736" fmla="*/ 790214 h 3959978"/>
                  <a:gd name="connsiteX2737" fmla="*/ 2030145 w 7724301"/>
                  <a:gd name="connsiteY2737" fmla="*/ 776779 h 3959978"/>
                  <a:gd name="connsiteX2738" fmla="*/ 2015138 w 7724301"/>
                  <a:gd name="connsiteY2738" fmla="*/ 776779 h 3959978"/>
                  <a:gd name="connsiteX2739" fmla="*/ 2015138 w 7724301"/>
                  <a:gd name="connsiteY2739" fmla="*/ 763343 h 3959978"/>
                  <a:gd name="connsiteX2740" fmla="*/ 2001709 w 7724301"/>
                  <a:gd name="connsiteY2740" fmla="*/ 763343 h 3959978"/>
                  <a:gd name="connsiteX2741" fmla="*/ 2015138 w 7724301"/>
                  <a:gd name="connsiteY2741" fmla="*/ 751489 h 3959978"/>
                  <a:gd name="connsiteX2742" fmla="*/ 2030145 w 7724301"/>
                  <a:gd name="connsiteY2742" fmla="*/ 751489 h 3959978"/>
                  <a:gd name="connsiteX2743" fmla="*/ 2043570 w 7724301"/>
                  <a:gd name="connsiteY2743" fmla="*/ 751489 h 3959978"/>
                  <a:gd name="connsiteX2744" fmla="*/ 2043570 w 7724301"/>
                  <a:gd name="connsiteY2744" fmla="*/ 737263 h 3959978"/>
                  <a:gd name="connsiteX2745" fmla="*/ 2043570 w 7724301"/>
                  <a:gd name="connsiteY2745" fmla="*/ 723827 h 3959978"/>
                  <a:gd name="connsiteX2746" fmla="*/ 2043570 w 7724301"/>
                  <a:gd name="connsiteY2746" fmla="*/ 696166 h 3959978"/>
                  <a:gd name="connsiteX2747" fmla="*/ 2015138 w 7724301"/>
                  <a:gd name="connsiteY2747" fmla="*/ 669296 h 3959978"/>
                  <a:gd name="connsiteX2748" fmla="*/ 1987492 w 7724301"/>
                  <a:gd name="connsiteY2748" fmla="*/ 655860 h 3959978"/>
                  <a:gd name="connsiteX2749" fmla="*/ 1987492 w 7724301"/>
                  <a:gd name="connsiteY2749" fmla="*/ 669296 h 3959978"/>
                  <a:gd name="connsiteX2750" fmla="*/ 1974067 w 7724301"/>
                  <a:gd name="connsiteY2750" fmla="*/ 669296 h 3959978"/>
                  <a:gd name="connsiteX2751" fmla="*/ 1959058 w 7724301"/>
                  <a:gd name="connsiteY2751" fmla="*/ 669296 h 3959978"/>
                  <a:gd name="connsiteX2752" fmla="*/ 1959058 w 7724301"/>
                  <a:gd name="connsiteY2752" fmla="*/ 655860 h 3959978"/>
                  <a:gd name="connsiteX2753" fmla="*/ 1974067 w 7724301"/>
                  <a:gd name="connsiteY2753" fmla="*/ 655860 h 3959978"/>
                  <a:gd name="connsiteX2754" fmla="*/ 1959058 w 7724301"/>
                  <a:gd name="connsiteY2754" fmla="*/ 640054 h 3959978"/>
                  <a:gd name="connsiteX2755" fmla="*/ 1945634 w 7724301"/>
                  <a:gd name="connsiteY2755" fmla="*/ 613183 h 3959978"/>
                  <a:gd name="connsiteX2756" fmla="*/ 1917989 w 7724301"/>
                  <a:gd name="connsiteY2756" fmla="*/ 613183 h 3959978"/>
                  <a:gd name="connsiteX2757" fmla="*/ 1904562 w 7724301"/>
                  <a:gd name="connsiteY2757" fmla="*/ 613183 h 3959978"/>
                  <a:gd name="connsiteX2758" fmla="*/ 1904562 w 7724301"/>
                  <a:gd name="connsiteY2758" fmla="*/ 626618 h 3959978"/>
                  <a:gd name="connsiteX2759" fmla="*/ 1891135 w 7724301"/>
                  <a:gd name="connsiteY2759" fmla="*/ 640054 h 3959978"/>
                  <a:gd name="connsiteX2760" fmla="*/ 1876918 w 7724301"/>
                  <a:gd name="connsiteY2760" fmla="*/ 640054 h 3959978"/>
                  <a:gd name="connsiteX2761" fmla="*/ 1876918 w 7724301"/>
                  <a:gd name="connsiteY2761" fmla="*/ 626618 h 3959978"/>
                  <a:gd name="connsiteX2762" fmla="*/ 1848484 w 7724301"/>
                  <a:gd name="connsiteY2762" fmla="*/ 613183 h 3959978"/>
                  <a:gd name="connsiteX2763" fmla="*/ 1807414 w 7724301"/>
                  <a:gd name="connsiteY2763" fmla="*/ 626618 h 3959978"/>
                  <a:gd name="connsiteX2764" fmla="*/ 1764763 w 7724301"/>
                  <a:gd name="connsiteY2764" fmla="*/ 626618 h 3959978"/>
                  <a:gd name="connsiteX2765" fmla="*/ 1764763 w 7724301"/>
                  <a:gd name="connsiteY2765" fmla="*/ 613183 h 3959978"/>
                  <a:gd name="connsiteX2766" fmla="*/ 1751335 w 7724301"/>
                  <a:gd name="connsiteY2766" fmla="*/ 613183 h 3959978"/>
                  <a:gd name="connsiteX2767" fmla="*/ 1737906 w 7724301"/>
                  <a:gd name="connsiteY2767" fmla="*/ 613183 h 3959978"/>
                  <a:gd name="connsiteX2768" fmla="*/ 1723690 w 7724301"/>
                  <a:gd name="connsiteY2768" fmla="*/ 613183 h 3959978"/>
                  <a:gd name="connsiteX2769" fmla="*/ 1710264 w 7724301"/>
                  <a:gd name="connsiteY2769" fmla="*/ 613183 h 3959978"/>
                  <a:gd name="connsiteX2770" fmla="*/ 1696836 w 7724301"/>
                  <a:gd name="connsiteY2770" fmla="*/ 599748 h 3959978"/>
                  <a:gd name="connsiteX2771" fmla="*/ 1681830 w 7724301"/>
                  <a:gd name="connsiteY2771" fmla="*/ 585522 h 3959978"/>
                  <a:gd name="connsiteX2772" fmla="*/ 1696836 w 7724301"/>
                  <a:gd name="connsiteY2772" fmla="*/ 585522 h 3959978"/>
                  <a:gd name="connsiteX2773" fmla="*/ 1710264 w 7724301"/>
                  <a:gd name="connsiteY2773" fmla="*/ 585522 h 3959978"/>
                  <a:gd name="connsiteX2774" fmla="*/ 1723690 w 7724301"/>
                  <a:gd name="connsiteY2774" fmla="*/ 585522 h 3959978"/>
                  <a:gd name="connsiteX2775" fmla="*/ 1723690 w 7724301"/>
                  <a:gd name="connsiteY2775" fmla="*/ 572087 h 3959978"/>
                  <a:gd name="connsiteX2776" fmla="*/ 1710264 w 7724301"/>
                  <a:gd name="connsiteY2776" fmla="*/ 572087 h 3959978"/>
                  <a:gd name="connsiteX2777" fmla="*/ 1681830 w 7724301"/>
                  <a:gd name="connsiteY2777" fmla="*/ 572087 h 3959978"/>
                  <a:gd name="connsiteX2778" fmla="*/ 1681830 w 7724301"/>
                  <a:gd name="connsiteY2778" fmla="*/ 558651 h 3959978"/>
                  <a:gd name="connsiteX2779" fmla="*/ 1666032 w 7724301"/>
                  <a:gd name="connsiteY2779" fmla="*/ 558651 h 3959978"/>
                  <a:gd name="connsiteX2780" fmla="*/ 1681830 w 7724301"/>
                  <a:gd name="connsiteY2780" fmla="*/ 530990 h 3959978"/>
                  <a:gd name="connsiteX2781" fmla="*/ 1681830 w 7724301"/>
                  <a:gd name="connsiteY2781" fmla="*/ 517555 h 3959978"/>
                  <a:gd name="connsiteX2782" fmla="*/ 1681830 w 7724301"/>
                  <a:gd name="connsiteY2782" fmla="*/ 504120 h 3959978"/>
                  <a:gd name="connsiteX2783" fmla="*/ 1430326 w 7724301"/>
                  <a:gd name="connsiteY2783" fmla="*/ 478039 h 3959978"/>
                  <a:gd name="connsiteX2784" fmla="*/ 1445398 w 7724301"/>
                  <a:gd name="connsiteY2784" fmla="*/ 478039 h 3959978"/>
                  <a:gd name="connsiteX2785" fmla="*/ 1458886 w 7724301"/>
                  <a:gd name="connsiteY2785" fmla="*/ 478039 h 3959978"/>
                  <a:gd name="connsiteX2786" fmla="*/ 1486652 w 7724301"/>
                  <a:gd name="connsiteY2786" fmla="*/ 478039 h 3959978"/>
                  <a:gd name="connsiteX2787" fmla="*/ 1500137 w 7724301"/>
                  <a:gd name="connsiteY2787" fmla="*/ 478039 h 3959978"/>
                  <a:gd name="connsiteX2788" fmla="*/ 1514418 w 7724301"/>
                  <a:gd name="connsiteY2788" fmla="*/ 478039 h 3959978"/>
                  <a:gd name="connsiteX2789" fmla="*/ 1514418 w 7724301"/>
                  <a:gd name="connsiteY2789" fmla="*/ 489971 h 3959978"/>
                  <a:gd name="connsiteX2790" fmla="*/ 1500137 w 7724301"/>
                  <a:gd name="connsiteY2790" fmla="*/ 504290 h 3959978"/>
                  <a:gd name="connsiteX2791" fmla="*/ 1514418 w 7724301"/>
                  <a:gd name="connsiteY2791" fmla="*/ 504290 h 3959978"/>
                  <a:gd name="connsiteX2792" fmla="*/ 1514418 w 7724301"/>
                  <a:gd name="connsiteY2792" fmla="*/ 517812 h 3959978"/>
                  <a:gd name="connsiteX2793" fmla="*/ 1514418 w 7724301"/>
                  <a:gd name="connsiteY2793" fmla="*/ 531336 h 3959978"/>
                  <a:gd name="connsiteX2794" fmla="*/ 1527907 w 7724301"/>
                  <a:gd name="connsiteY2794" fmla="*/ 531336 h 3959978"/>
                  <a:gd name="connsiteX2795" fmla="*/ 1541391 w 7724301"/>
                  <a:gd name="connsiteY2795" fmla="*/ 531336 h 3959978"/>
                  <a:gd name="connsiteX2796" fmla="*/ 1527907 w 7724301"/>
                  <a:gd name="connsiteY2796" fmla="*/ 545654 h 3959978"/>
                  <a:gd name="connsiteX2797" fmla="*/ 1527907 w 7724301"/>
                  <a:gd name="connsiteY2797" fmla="*/ 559178 h 3959978"/>
                  <a:gd name="connsiteX2798" fmla="*/ 1500137 w 7724301"/>
                  <a:gd name="connsiteY2798" fmla="*/ 572700 h 3959978"/>
                  <a:gd name="connsiteX2799" fmla="*/ 1486652 w 7724301"/>
                  <a:gd name="connsiteY2799" fmla="*/ 572700 h 3959978"/>
                  <a:gd name="connsiteX2800" fmla="*/ 1473165 w 7724301"/>
                  <a:gd name="connsiteY2800" fmla="*/ 572700 h 3959978"/>
                  <a:gd name="connsiteX2801" fmla="*/ 1473165 w 7724301"/>
                  <a:gd name="connsiteY2801" fmla="*/ 559178 h 3959978"/>
                  <a:gd name="connsiteX2802" fmla="*/ 1445398 w 7724301"/>
                  <a:gd name="connsiteY2802" fmla="*/ 545654 h 3959978"/>
                  <a:gd name="connsiteX2803" fmla="*/ 1430326 w 7724301"/>
                  <a:gd name="connsiteY2803" fmla="*/ 531336 h 3959978"/>
                  <a:gd name="connsiteX2804" fmla="*/ 1402557 w 7724301"/>
                  <a:gd name="connsiteY2804" fmla="*/ 531336 h 3959978"/>
                  <a:gd name="connsiteX2805" fmla="*/ 1402557 w 7724301"/>
                  <a:gd name="connsiteY2805" fmla="*/ 517812 h 3959978"/>
                  <a:gd name="connsiteX2806" fmla="*/ 1402557 w 7724301"/>
                  <a:gd name="connsiteY2806" fmla="*/ 504290 h 3959978"/>
                  <a:gd name="connsiteX2807" fmla="*/ 1416840 w 7724301"/>
                  <a:gd name="connsiteY2807" fmla="*/ 517812 h 3959978"/>
                  <a:gd name="connsiteX2808" fmla="*/ 1430326 w 7724301"/>
                  <a:gd name="connsiteY2808" fmla="*/ 517812 h 3959978"/>
                  <a:gd name="connsiteX2809" fmla="*/ 1445398 w 7724301"/>
                  <a:gd name="connsiteY2809" fmla="*/ 517812 h 3959978"/>
                  <a:gd name="connsiteX2810" fmla="*/ 1445398 w 7724301"/>
                  <a:gd name="connsiteY2810" fmla="*/ 504290 h 3959978"/>
                  <a:gd name="connsiteX2811" fmla="*/ 1445398 w 7724301"/>
                  <a:gd name="connsiteY2811" fmla="*/ 489971 h 3959978"/>
                  <a:gd name="connsiteX2812" fmla="*/ 1430326 w 7724301"/>
                  <a:gd name="connsiteY2812" fmla="*/ 489971 h 3959978"/>
                  <a:gd name="connsiteX2813" fmla="*/ 1306596 w 7724301"/>
                  <a:gd name="connsiteY2813" fmla="*/ 478039 h 3959978"/>
                  <a:gd name="connsiteX2814" fmla="*/ 1319981 w 7724301"/>
                  <a:gd name="connsiteY2814" fmla="*/ 478039 h 3959978"/>
                  <a:gd name="connsiteX2815" fmla="*/ 1334939 w 7724301"/>
                  <a:gd name="connsiteY2815" fmla="*/ 478039 h 3959978"/>
                  <a:gd name="connsiteX2816" fmla="*/ 1348324 w 7724301"/>
                  <a:gd name="connsiteY2816" fmla="*/ 478039 h 3959978"/>
                  <a:gd name="connsiteX2817" fmla="*/ 1348324 w 7724301"/>
                  <a:gd name="connsiteY2817" fmla="*/ 489871 h 3959978"/>
                  <a:gd name="connsiteX2818" fmla="*/ 1348324 w 7724301"/>
                  <a:gd name="connsiteY2818" fmla="*/ 504071 h 3959978"/>
                  <a:gd name="connsiteX2819" fmla="*/ 1348324 w 7724301"/>
                  <a:gd name="connsiteY2819" fmla="*/ 517480 h 3959978"/>
                  <a:gd name="connsiteX2820" fmla="*/ 1348324 w 7724301"/>
                  <a:gd name="connsiteY2820" fmla="*/ 530891 h 3959978"/>
                  <a:gd name="connsiteX2821" fmla="*/ 1348324 w 7724301"/>
                  <a:gd name="connsiteY2821" fmla="*/ 558500 h 3959978"/>
                  <a:gd name="connsiteX2822" fmla="*/ 1363275 w 7724301"/>
                  <a:gd name="connsiteY2822" fmla="*/ 571910 h 3959978"/>
                  <a:gd name="connsiteX2823" fmla="*/ 1377448 w 7724301"/>
                  <a:gd name="connsiteY2823" fmla="*/ 599521 h 3959978"/>
                  <a:gd name="connsiteX2824" fmla="*/ 1404215 w 7724301"/>
                  <a:gd name="connsiteY2824" fmla="*/ 612930 h 3959978"/>
                  <a:gd name="connsiteX2825" fmla="*/ 1445155 w 7724301"/>
                  <a:gd name="connsiteY2825" fmla="*/ 626341 h 3959978"/>
                  <a:gd name="connsiteX2826" fmla="*/ 1431773 w 7724301"/>
                  <a:gd name="connsiteY2826" fmla="*/ 626341 h 3959978"/>
                  <a:gd name="connsiteX2827" fmla="*/ 1418387 w 7724301"/>
                  <a:gd name="connsiteY2827" fmla="*/ 626341 h 3959978"/>
                  <a:gd name="connsiteX2828" fmla="*/ 1404215 w 7724301"/>
                  <a:gd name="connsiteY2828" fmla="*/ 626341 h 3959978"/>
                  <a:gd name="connsiteX2829" fmla="*/ 1404215 w 7724301"/>
                  <a:gd name="connsiteY2829" fmla="*/ 639751 h 3959978"/>
                  <a:gd name="connsiteX2830" fmla="*/ 1404215 w 7724301"/>
                  <a:gd name="connsiteY2830" fmla="*/ 653950 h 3959978"/>
                  <a:gd name="connsiteX2831" fmla="*/ 1404215 w 7724301"/>
                  <a:gd name="connsiteY2831" fmla="*/ 667360 h 3959978"/>
                  <a:gd name="connsiteX2832" fmla="*/ 1377448 w 7724301"/>
                  <a:gd name="connsiteY2832" fmla="*/ 667360 h 3959978"/>
                  <a:gd name="connsiteX2833" fmla="*/ 1348324 w 7724301"/>
                  <a:gd name="connsiteY2833" fmla="*/ 653950 h 3959978"/>
                  <a:gd name="connsiteX2834" fmla="*/ 1334939 w 7724301"/>
                  <a:gd name="connsiteY2834" fmla="*/ 653950 h 3959978"/>
                  <a:gd name="connsiteX2835" fmla="*/ 1306596 w 7724301"/>
                  <a:gd name="connsiteY2835" fmla="*/ 653950 h 3959978"/>
                  <a:gd name="connsiteX2836" fmla="*/ 1292425 w 7724301"/>
                  <a:gd name="connsiteY2836" fmla="*/ 653950 h 3959978"/>
                  <a:gd name="connsiteX2837" fmla="*/ 1265657 w 7724301"/>
                  <a:gd name="connsiteY2837" fmla="*/ 653950 h 3959978"/>
                  <a:gd name="connsiteX2838" fmla="*/ 1265657 w 7724301"/>
                  <a:gd name="connsiteY2838" fmla="*/ 667360 h 3959978"/>
                  <a:gd name="connsiteX2839" fmla="*/ 1238103 w 7724301"/>
                  <a:gd name="connsiteY2839" fmla="*/ 667360 h 3959978"/>
                  <a:gd name="connsiteX2840" fmla="*/ 1209760 w 7724301"/>
                  <a:gd name="connsiteY2840" fmla="*/ 667360 h 3959978"/>
                  <a:gd name="connsiteX2841" fmla="*/ 1182205 w 7724301"/>
                  <a:gd name="connsiteY2841" fmla="*/ 667360 h 3959978"/>
                  <a:gd name="connsiteX2842" fmla="*/ 1168822 w 7724301"/>
                  <a:gd name="connsiteY2842" fmla="*/ 667360 h 3959978"/>
                  <a:gd name="connsiteX2843" fmla="*/ 1168822 w 7724301"/>
                  <a:gd name="connsiteY2843" fmla="*/ 653950 h 3959978"/>
                  <a:gd name="connsiteX2844" fmla="*/ 1155438 w 7724301"/>
                  <a:gd name="connsiteY2844" fmla="*/ 653950 h 3959978"/>
                  <a:gd name="connsiteX2845" fmla="*/ 1141267 w 7724301"/>
                  <a:gd name="connsiteY2845" fmla="*/ 653950 h 3959978"/>
                  <a:gd name="connsiteX2846" fmla="*/ 1127883 w 7724301"/>
                  <a:gd name="connsiteY2846" fmla="*/ 653950 h 3959978"/>
                  <a:gd name="connsiteX2847" fmla="*/ 1099539 w 7724301"/>
                  <a:gd name="connsiteY2847" fmla="*/ 653950 h 3959978"/>
                  <a:gd name="connsiteX2848" fmla="*/ 1085367 w 7724301"/>
                  <a:gd name="connsiteY2848" fmla="*/ 639751 h 3959978"/>
                  <a:gd name="connsiteX2849" fmla="*/ 1071983 w 7724301"/>
                  <a:gd name="connsiteY2849" fmla="*/ 626341 h 3959978"/>
                  <a:gd name="connsiteX2850" fmla="*/ 1099539 w 7724301"/>
                  <a:gd name="connsiteY2850" fmla="*/ 612930 h 3959978"/>
                  <a:gd name="connsiteX2851" fmla="*/ 1127883 w 7724301"/>
                  <a:gd name="connsiteY2851" fmla="*/ 612930 h 3959978"/>
                  <a:gd name="connsiteX2852" fmla="*/ 1155438 w 7724301"/>
                  <a:gd name="connsiteY2852" fmla="*/ 612930 h 3959978"/>
                  <a:gd name="connsiteX2853" fmla="*/ 1168822 w 7724301"/>
                  <a:gd name="connsiteY2853" fmla="*/ 612930 h 3959978"/>
                  <a:gd name="connsiteX2854" fmla="*/ 1168822 w 7724301"/>
                  <a:gd name="connsiteY2854" fmla="*/ 599521 h 3959978"/>
                  <a:gd name="connsiteX2855" fmla="*/ 1141267 w 7724301"/>
                  <a:gd name="connsiteY2855" fmla="*/ 599521 h 3959978"/>
                  <a:gd name="connsiteX2856" fmla="*/ 1127883 w 7724301"/>
                  <a:gd name="connsiteY2856" fmla="*/ 599521 h 3959978"/>
                  <a:gd name="connsiteX2857" fmla="*/ 1099539 w 7724301"/>
                  <a:gd name="connsiteY2857" fmla="*/ 599521 h 3959978"/>
                  <a:gd name="connsiteX2858" fmla="*/ 1071983 w 7724301"/>
                  <a:gd name="connsiteY2858" fmla="*/ 599521 h 3959978"/>
                  <a:gd name="connsiteX2859" fmla="*/ 1058600 w 7724301"/>
                  <a:gd name="connsiteY2859" fmla="*/ 585321 h 3959978"/>
                  <a:gd name="connsiteX2860" fmla="*/ 1071983 w 7724301"/>
                  <a:gd name="connsiteY2860" fmla="*/ 571910 h 3959978"/>
                  <a:gd name="connsiteX2861" fmla="*/ 1058600 w 7724301"/>
                  <a:gd name="connsiteY2861" fmla="*/ 571910 h 3959978"/>
                  <a:gd name="connsiteX2862" fmla="*/ 1044428 w 7724301"/>
                  <a:gd name="connsiteY2862" fmla="*/ 571910 h 3959978"/>
                  <a:gd name="connsiteX2863" fmla="*/ 1044428 w 7724301"/>
                  <a:gd name="connsiteY2863" fmla="*/ 558500 h 3959978"/>
                  <a:gd name="connsiteX2864" fmla="*/ 1058600 w 7724301"/>
                  <a:gd name="connsiteY2864" fmla="*/ 530891 h 3959978"/>
                  <a:gd name="connsiteX2865" fmla="*/ 1099539 w 7724301"/>
                  <a:gd name="connsiteY2865" fmla="*/ 504071 h 3959978"/>
                  <a:gd name="connsiteX2866" fmla="*/ 1141267 w 7724301"/>
                  <a:gd name="connsiteY2866" fmla="*/ 489871 h 3959978"/>
                  <a:gd name="connsiteX2867" fmla="*/ 1141267 w 7724301"/>
                  <a:gd name="connsiteY2867" fmla="*/ 504071 h 3959978"/>
                  <a:gd name="connsiteX2868" fmla="*/ 1155438 w 7724301"/>
                  <a:gd name="connsiteY2868" fmla="*/ 517480 h 3959978"/>
                  <a:gd name="connsiteX2869" fmla="*/ 1168822 w 7724301"/>
                  <a:gd name="connsiteY2869" fmla="*/ 504071 h 3959978"/>
                  <a:gd name="connsiteX2870" fmla="*/ 1195590 w 7724301"/>
                  <a:gd name="connsiteY2870" fmla="*/ 517480 h 3959978"/>
                  <a:gd name="connsiteX2871" fmla="*/ 1209760 w 7724301"/>
                  <a:gd name="connsiteY2871" fmla="*/ 517480 h 3959978"/>
                  <a:gd name="connsiteX2872" fmla="*/ 1209760 w 7724301"/>
                  <a:gd name="connsiteY2872" fmla="*/ 530891 h 3959978"/>
                  <a:gd name="connsiteX2873" fmla="*/ 1224719 w 7724301"/>
                  <a:gd name="connsiteY2873" fmla="*/ 530891 h 3959978"/>
                  <a:gd name="connsiteX2874" fmla="*/ 1224719 w 7724301"/>
                  <a:gd name="connsiteY2874" fmla="*/ 517480 h 3959978"/>
                  <a:gd name="connsiteX2875" fmla="*/ 1238103 w 7724301"/>
                  <a:gd name="connsiteY2875" fmla="*/ 517480 h 3959978"/>
                  <a:gd name="connsiteX2876" fmla="*/ 1251486 w 7724301"/>
                  <a:gd name="connsiteY2876" fmla="*/ 517480 h 3959978"/>
                  <a:gd name="connsiteX2877" fmla="*/ 1265657 w 7724301"/>
                  <a:gd name="connsiteY2877" fmla="*/ 517480 h 3959978"/>
                  <a:gd name="connsiteX2878" fmla="*/ 1265657 w 7724301"/>
                  <a:gd name="connsiteY2878" fmla="*/ 530891 h 3959978"/>
                  <a:gd name="connsiteX2879" fmla="*/ 1265657 w 7724301"/>
                  <a:gd name="connsiteY2879" fmla="*/ 545091 h 3959978"/>
                  <a:gd name="connsiteX2880" fmla="*/ 1265657 w 7724301"/>
                  <a:gd name="connsiteY2880" fmla="*/ 558500 h 3959978"/>
                  <a:gd name="connsiteX2881" fmla="*/ 1279041 w 7724301"/>
                  <a:gd name="connsiteY2881" fmla="*/ 558500 h 3959978"/>
                  <a:gd name="connsiteX2882" fmla="*/ 1292425 w 7724301"/>
                  <a:gd name="connsiteY2882" fmla="*/ 558500 h 3959978"/>
                  <a:gd name="connsiteX2883" fmla="*/ 1279041 w 7724301"/>
                  <a:gd name="connsiteY2883" fmla="*/ 530891 h 3959978"/>
                  <a:gd name="connsiteX2884" fmla="*/ 1279041 w 7724301"/>
                  <a:gd name="connsiteY2884" fmla="*/ 517480 h 3959978"/>
                  <a:gd name="connsiteX2885" fmla="*/ 1265657 w 7724301"/>
                  <a:gd name="connsiteY2885" fmla="*/ 504071 h 3959978"/>
                  <a:gd name="connsiteX2886" fmla="*/ 1279041 w 7724301"/>
                  <a:gd name="connsiteY2886" fmla="*/ 489871 h 3959978"/>
                  <a:gd name="connsiteX2887" fmla="*/ 1292425 w 7724301"/>
                  <a:gd name="connsiteY2887" fmla="*/ 489871 h 3959978"/>
                  <a:gd name="connsiteX2888" fmla="*/ 1306596 w 7724301"/>
                  <a:gd name="connsiteY2888" fmla="*/ 489871 h 3959978"/>
                  <a:gd name="connsiteX2889" fmla="*/ 1583723 w 7724301"/>
                  <a:gd name="connsiteY2889" fmla="*/ 449640 h 3959978"/>
                  <a:gd name="connsiteX2890" fmla="*/ 1610376 w 7724301"/>
                  <a:gd name="connsiteY2890" fmla="*/ 462939 h 3959978"/>
                  <a:gd name="connsiteX2891" fmla="*/ 1626054 w 7724301"/>
                  <a:gd name="connsiteY2891" fmla="*/ 462939 h 3959978"/>
                  <a:gd name="connsiteX2892" fmla="*/ 1666032 w 7724301"/>
                  <a:gd name="connsiteY2892" fmla="*/ 462939 h 3959978"/>
                  <a:gd name="connsiteX2893" fmla="*/ 1666032 w 7724301"/>
                  <a:gd name="connsiteY2893" fmla="*/ 476238 h 3959978"/>
                  <a:gd name="connsiteX2894" fmla="*/ 1652708 w 7724301"/>
                  <a:gd name="connsiteY2894" fmla="*/ 476238 h 3959978"/>
                  <a:gd name="connsiteX2895" fmla="*/ 1639380 w 7724301"/>
                  <a:gd name="connsiteY2895" fmla="*/ 476238 h 3959978"/>
                  <a:gd name="connsiteX2896" fmla="*/ 1626054 w 7724301"/>
                  <a:gd name="connsiteY2896" fmla="*/ 503620 h 3959978"/>
                  <a:gd name="connsiteX2897" fmla="*/ 1626054 w 7724301"/>
                  <a:gd name="connsiteY2897" fmla="*/ 516920 h 3959978"/>
                  <a:gd name="connsiteX2898" fmla="*/ 1597051 w 7724301"/>
                  <a:gd name="connsiteY2898" fmla="*/ 516920 h 3959978"/>
                  <a:gd name="connsiteX2899" fmla="*/ 1583723 w 7724301"/>
                  <a:gd name="connsiteY2899" fmla="*/ 516920 h 3959978"/>
                  <a:gd name="connsiteX2900" fmla="*/ 1583723 w 7724301"/>
                  <a:gd name="connsiteY2900" fmla="*/ 530219 h 3959978"/>
                  <a:gd name="connsiteX2901" fmla="*/ 1583723 w 7724301"/>
                  <a:gd name="connsiteY2901" fmla="*/ 544301 h 3959978"/>
                  <a:gd name="connsiteX2902" fmla="*/ 1568829 w 7724301"/>
                  <a:gd name="connsiteY2902" fmla="*/ 544301 h 3959978"/>
                  <a:gd name="connsiteX2903" fmla="*/ 1554720 w 7724301"/>
                  <a:gd name="connsiteY2903" fmla="*/ 544301 h 3959978"/>
                  <a:gd name="connsiteX2904" fmla="*/ 1554720 w 7724301"/>
                  <a:gd name="connsiteY2904" fmla="*/ 530219 h 3959978"/>
                  <a:gd name="connsiteX2905" fmla="*/ 1554720 w 7724301"/>
                  <a:gd name="connsiteY2905" fmla="*/ 516920 h 3959978"/>
                  <a:gd name="connsiteX2906" fmla="*/ 1554720 w 7724301"/>
                  <a:gd name="connsiteY2906" fmla="*/ 503620 h 3959978"/>
                  <a:gd name="connsiteX2907" fmla="*/ 1541391 w 7724301"/>
                  <a:gd name="connsiteY2907" fmla="*/ 476238 h 3959978"/>
                  <a:gd name="connsiteX2908" fmla="*/ 1554720 w 7724301"/>
                  <a:gd name="connsiteY2908" fmla="*/ 476238 h 3959978"/>
                  <a:gd name="connsiteX2909" fmla="*/ 1568829 w 7724301"/>
                  <a:gd name="connsiteY2909" fmla="*/ 476238 h 3959978"/>
                  <a:gd name="connsiteX2910" fmla="*/ 1568829 w 7724301"/>
                  <a:gd name="connsiteY2910" fmla="*/ 462939 h 3959978"/>
                  <a:gd name="connsiteX2911" fmla="*/ 1583723 w 7724301"/>
                  <a:gd name="connsiteY2911" fmla="*/ 462939 h 3959978"/>
                  <a:gd name="connsiteX2912" fmla="*/ 930182 w 7724301"/>
                  <a:gd name="connsiteY2912" fmla="*/ 435440 h 3959978"/>
                  <a:gd name="connsiteX2913" fmla="*/ 946010 w 7724301"/>
                  <a:gd name="connsiteY2913" fmla="*/ 435440 h 3959978"/>
                  <a:gd name="connsiteX2914" fmla="*/ 972918 w 7724301"/>
                  <a:gd name="connsiteY2914" fmla="*/ 451217 h 3959978"/>
                  <a:gd name="connsiteX2915" fmla="*/ 986375 w 7724301"/>
                  <a:gd name="connsiteY2915" fmla="*/ 435440 h 3959978"/>
                  <a:gd name="connsiteX2916" fmla="*/ 1000619 w 7724301"/>
                  <a:gd name="connsiteY2916" fmla="*/ 435440 h 3959978"/>
                  <a:gd name="connsiteX2917" fmla="*/ 1015658 w 7724301"/>
                  <a:gd name="connsiteY2917" fmla="*/ 451217 h 3959978"/>
                  <a:gd name="connsiteX2918" fmla="*/ 1030696 w 7724301"/>
                  <a:gd name="connsiteY2918" fmla="*/ 451217 h 3959978"/>
                  <a:gd name="connsiteX2919" fmla="*/ 1044151 w 7724301"/>
                  <a:gd name="connsiteY2919" fmla="*/ 464628 h 3959978"/>
                  <a:gd name="connsiteX2920" fmla="*/ 1058398 w 7724301"/>
                  <a:gd name="connsiteY2920" fmla="*/ 451217 h 3959978"/>
                  <a:gd name="connsiteX2921" fmla="*/ 1071852 w 7724301"/>
                  <a:gd name="connsiteY2921" fmla="*/ 451217 h 3959978"/>
                  <a:gd name="connsiteX2922" fmla="*/ 1085308 w 7724301"/>
                  <a:gd name="connsiteY2922" fmla="*/ 464628 h 3959978"/>
                  <a:gd name="connsiteX2923" fmla="*/ 1114593 w 7724301"/>
                  <a:gd name="connsiteY2923" fmla="*/ 478038 h 3959978"/>
                  <a:gd name="connsiteX2924" fmla="*/ 1128049 w 7724301"/>
                  <a:gd name="connsiteY2924" fmla="*/ 478038 h 3959978"/>
                  <a:gd name="connsiteX2925" fmla="*/ 1114593 w 7724301"/>
                  <a:gd name="connsiteY2925" fmla="*/ 489871 h 3959978"/>
                  <a:gd name="connsiteX2926" fmla="*/ 1085308 w 7724301"/>
                  <a:gd name="connsiteY2926" fmla="*/ 504070 h 3959978"/>
                  <a:gd name="connsiteX2927" fmla="*/ 1071852 w 7724301"/>
                  <a:gd name="connsiteY2927" fmla="*/ 504070 h 3959978"/>
                  <a:gd name="connsiteX2928" fmla="*/ 1044151 w 7724301"/>
                  <a:gd name="connsiteY2928" fmla="*/ 517480 h 3959978"/>
                  <a:gd name="connsiteX2929" fmla="*/ 1030696 w 7724301"/>
                  <a:gd name="connsiteY2929" fmla="*/ 530891 h 3959978"/>
                  <a:gd name="connsiteX2930" fmla="*/ 1015658 w 7724301"/>
                  <a:gd name="connsiteY2930" fmla="*/ 558500 h 3959978"/>
                  <a:gd name="connsiteX2931" fmla="*/ 1000619 w 7724301"/>
                  <a:gd name="connsiteY2931" fmla="*/ 571911 h 3959978"/>
                  <a:gd name="connsiteX2932" fmla="*/ 972918 w 7724301"/>
                  <a:gd name="connsiteY2932" fmla="*/ 571911 h 3959978"/>
                  <a:gd name="connsiteX2933" fmla="*/ 946010 w 7724301"/>
                  <a:gd name="connsiteY2933" fmla="*/ 585321 h 3959978"/>
                  <a:gd name="connsiteX2934" fmla="*/ 946010 w 7724301"/>
                  <a:gd name="connsiteY2934" fmla="*/ 571911 h 3959978"/>
                  <a:gd name="connsiteX2935" fmla="*/ 930182 w 7724301"/>
                  <a:gd name="connsiteY2935" fmla="*/ 571911 h 3959978"/>
                  <a:gd name="connsiteX2936" fmla="*/ 930182 w 7724301"/>
                  <a:gd name="connsiteY2936" fmla="*/ 558500 h 3959978"/>
                  <a:gd name="connsiteX2937" fmla="*/ 916726 w 7724301"/>
                  <a:gd name="connsiteY2937" fmla="*/ 558500 h 3959978"/>
                  <a:gd name="connsiteX2938" fmla="*/ 903272 w 7724301"/>
                  <a:gd name="connsiteY2938" fmla="*/ 558500 h 3959978"/>
                  <a:gd name="connsiteX2939" fmla="*/ 889816 w 7724301"/>
                  <a:gd name="connsiteY2939" fmla="*/ 545090 h 3959978"/>
                  <a:gd name="connsiteX2940" fmla="*/ 903272 w 7724301"/>
                  <a:gd name="connsiteY2940" fmla="*/ 530891 h 3959978"/>
                  <a:gd name="connsiteX2941" fmla="*/ 930182 w 7724301"/>
                  <a:gd name="connsiteY2941" fmla="*/ 489871 h 3959978"/>
                  <a:gd name="connsiteX2942" fmla="*/ 930182 w 7724301"/>
                  <a:gd name="connsiteY2942" fmla="*/ 478038 h 3959978"/>
                  <a:gd name="connsiteX2943" fmla="*/ 930182 w 7724301"/>
                  <a:gd name="connsiteY2943" fmla="*/ 464628 h 3959978"/>
                  <a:gd name="connsiteX2944" fmla="*/ 930182 w 7724301"/>
                  <a:gd name="connsiteY2944" fmla="*/ 451217 h 3959978"/>
                  <a:gd name="connsiteX2945" fmla="*/ 916726 w 7724301"/>
                  <a:gd name="connsiteY2945" fmla="*/ 451217 h 3959978"/>
                  <a:gd name="connsiteX2946" fmla="*/ 3194201 w 7724301"/>
                  <a:gd name="connsiteY2946" fmla="*/ 394420 h 3959978"/>
                  <a:gd name="connsiteX2947" fmla="*/ 3208602 w 7724301"/>
                  <a:gd name="connsiteY2947" fmla="*/ 394420 h 3959978"/>
                  <a:gd name="connsiteX2948" fmla="*/ 3208602 w 7724301"/>
                  <a:gd name="connsiteY2948" fmla="*/ 410241 h 3959978"/>
                  <a:gd name="connsiteX2949" fmla="*/ 3222209 w 7724301"/>
                  <a:gd name="connsiteY2949" fmla="*/ 410241 h 3959978"/>
                  <a:gd name="connsiteX2950" fmla="*/ 3208602 w 7724301"/>
                  <a:gd name="connsiteY2950" fmla="*/ 424397 h 3959978"/>
                  <a:gd name="connsiteX2951" fmla="*/ 3194201 w 7724301"/>
                  <a:gd name="connsiteY2951" fmla="*/ 424397 h 3959978"/>
                  <a:gd name="connsiteX2952" fmla="*/ 3194201 w 7724301"/>
                  <a:gd name="connsiteY2952" fmla="*/ 410241 h 3959978"/>
                  <a:gd name="connsiteX2953" fmla="*/ 1542183 w 7724301"/>
                  <a:gd name="connsiteY2953" fmla="*/ 394420 h 3959978"/>
                  <a:gd name="connsiteX2954" fmla="*/ 1569792 w 7724301"/>
                  <a:gd name="connsiteY2954" fmla="*/ 394420 h 3959978"/>
                  <a:gd name="connsiteX2955" fmla="*/ 1583203 w 7724301"/>
                  <a:gd name="connsiteY2955" fmla="*/ 394420 h 3959978"/>
                  <a:gd name="connsiteX2956" fmla="*/ 1583203 w 7724301"/>
                  <a:gd name="connsiteY2956" fmla="*/ 408094 h 3959978"/>
                  <a:gd name="connsiteX2957" fmla="*/ 1596616 w 7724301"/>
                  <a:gd name="connsiteY2957" fmla="*/ 421767 h 3959978"/>
                  <a:gd name="connsiteX2958" fmla="*/ 1583203 w 7724301"/>
                  <a:gd name="connsiteY2958" fmla="*/ 435440 h 3959978"/>
                  <a:gd name="connsiteX2959" fmla="*/ 1569792 w 7724301"/>
                  <a:gd name="connsiteY2959" fmla="*/ 435440 h 3959978"/>
                  <a:gd name="connsiteX2960" fmla="*/ 1542183 w 7724301"/>
                  <a:gd name="connsiteY2960" fmla="*/ 421767 h 3959978"/>
                  <a:gd name="connsiteX2961" fmla="*/ 1528771 w 7724301"/>
                  <a:gd name="connsiteY2961" fmla="*/ 421767 h 3959978"/>
                  <a:gd name="connsiteX2962" fmla="*/ 1542183 w 7724301"/>
                  <a:gd name="connsiteY2962" fmla="*/ 408094 h 3959978"/>
                  <a:gd name="connsiteX2963" fmla="*/ 1348922 w 7724301"/>
                  <a:gd name="connsiteY2963" fmla="*/ 394420 h 3959978"/>
                  <a:gd name="connsiteX2964" fmla="*/ 1363519 w 7724301"/>
                  <a:gd name="connsiteY2964" fmla="*/ 394420 h 3959978"/>
                  <a:gd name="connsiteX2965" fmla="*/ 1378891 w 7724301"/>
                  <a:gd name="connsiteY2965" fmla="*/ 410241 h 3959978"/>
                  <a:gd name="connsiteX2966" fmla="*/ 1363519 w 7724301"/>
                  <a:gd name="connsiteY2966" fmla="*/ 424397 h 3959978"/>
                  <a:gd name="connsiteX2967" fmla="*/ 1348922 w 7724301"/>
                  <a:gd name="connsiteY2967" fmla="*/ 424397 h 3959978"/>
                  <a:gd name="connsiteX2968" fmla="*/ 1348922 w 7724301"/>
                  <a:gd name="connsiteY2968" fmla="*/ 410241 h 3959978"/>
                  <a:gd name="connsiteX2969" fmla="*/ 6031450 w 7724301"/>
                  <a:gd name="connsiteY2969" fmla="*/ 350246 h 3959978"/>
                  <a:gd name="connsiteX2970" fmla="*/ 6056693 w 7724301"/>
                  <a:gd name="connsiteY2970" fmla="*/ 363655 h 3959978"/>
                  <a:gd name="connsiteX2971" fmla="*/ 6056693 w 7724301"/>
                  <a:gd name="connsiteY2971" fmla="*/ 388110 h 3959978"/>
                  <a:gd name="connsiteX2972" fmla="*/ 6031450 w 7724301"/>
                  <a:gd name="connsiteY2972" fmla="*/ 363655 h 3959978"/>
                  <a:gd name="connsiteX2973" fmla="*/ 1348922 w 7724301"/>
                  <a:gd name="connsiteY2973" fmla="*/ 340779 h 3959978"/>
                  <a:gd name="connsiteX2974" fmla="*/ 1363904 w 7724301"/>
                  <a:gd name="connsiteY2974" fmla="*/ 340779 h 3959978"/>
                  <a:gd name="connsiteX2975" fmla="*/ 1391511 w 7724301"/>
                  <a:gd name="connsiteY2975" fmla="*/ 354318 h 3959978"/>
                  <a:gd name="connsiteX2976" fmla="*/ 1404923 w 7724301"/>
                  <a:gd name="connsiteY2976" fmla="*/ 382987 h 3959978"/>
                  <a:gd name="connsiteX2977" fmla="*/ 1419124 w 7724301"/>
                  <a:gd name="connsiteY2977" fmla="*/ 382987 h 3959978"/>
                  <a:gd name="connsiteX2978" fmla="*/ 1404923 w 7724301"/>
                  <a:gd name="connsiteY2978" fmla="*/ 367855 h 3959978"/>
                  <a:gd name="connsiteX2979" fmla="*/ 1404923 w 7724301"/>
                  <a:gd name="connsiteY2979" fmla="*/ 354318 h 3959978"/>
                  <a:gd name="connsiteX2980" fmla="*/ 1419124 w 7724301"/>
                  <a:gd name="connsiteY2980" fmla="*/ 367855 h 3959978"/>
                  <a:gd name="connsiteX2981" fmla="*/ 1447520 w 7724301"/>
                  <a:gd name="connsiteY2981" fmla="*/ 367855 h 3959978"/>
                  <a:gd name="connsiteX2982" fmla="*/ 1447520 w 7724301"/>
                  <a:gd name="connsiteY2982" fmla="*/ 354318 h 3959978"/>
                  <a:gd name="connsiteX2983" fmla="*/ 1432535 w 7724301"/>
                  <a:gd name="connsiteY2983" fmla="*/ 354318 h 3959978"/>
                  <a:gd name="connsiteX2984" fmla="*/ 1432535 w 7724301"/>
                  <a:gd name="connsiteY2984" fmla="*/ 340779 h 3959978"/>
                  <a:gd name="connsiteX2985" fmla="*/ 1447520 w 7724301"/>
                  <a:gd name="connsiteY2985" fmla="*/ 340779 h 3959978"/>
                  <a:gd name="connsiteX2986" fmla="*/ 1460933 w 7724301"/>
                  <a:gd name="connsiteY2986" fmla="*/ 354318 h 3959978"/>
                  <a:gd name="connsiteX2987" fmla="*/ 1475131 w 7724301"/>
                  <a:gd name="connsiteY2987" fmla="*/ 354318 h 3959978"/>
                  <a:gd name="connsiteX2988" fmla="*/ 1488542 w 7724301"/>
                  <a:gd name="connsiteY2988" fmla="*/ 354318 h 3959978"/>
                  <a:gd name="connsiteX2989" fmla="*/ 1501952 w 7724301"/>
                  <a:gd name="connsiteY2989" fmla="*/ 354318 h 3959978"/>
                  <a:gd name="connsiteX2990" fmla="*/ 1501952 w 7724301"/>
                  <a:gd name="connsiteY2990" fmla="*/ 367855 h 3959978"/>
                  <a:gd name="connsiteX2991" fmla="*/ 1501952 w 7724301"/>
                  <a:gd name="connsiteY2991" fmla="*/ 397320 h 3959978"/>
                  <a:gd name="connsiteX2992" fmla="*/ 1488542 w 7724301"/>
                  <a:gd name="connsiteY2992" fmla="*/ 397320 h 3959978"/>
                  <a:gd name="connsiteX2993" fmla="*/ 1488542 w 7724301"/>
                  <a:gd name="connsiteY2993" fmla="*/ 424397 h 3959978"/>
                  <a:gd name="connsiteX2994" fmla="*/ 1475131 w 7724301"/>
                  <a:gd name="connsiteY2994" fmla="*/ 424397 h 3959978"/>
                  <a:gd name="connsiteX2995" fmla="*/ 1460933 w 7724301"/>
                  <a:gd name="connsiteY2995" fmla="*/ 424397 h 3959978"/>
                  <a:gd name="connsiteX2996" fmla="*/ 1447520 w 7724301"/>
                  <a:gd name="connsiteY2996" fmla="*/ 424397 h 3959978"/>
                  <a:gd name="connsiteX2997" fmla="*/ 1447520 w 7724301"/>
                  <a:gd name="connsiteY2997" fmla="*/ 410858 h 3959978"/>
                  <a:gd name="connsiteX2998" fmla="*/ 1447520 w 7724301"/>
                  <a:gd name="connsiteY2998" fmla="*/ 397320 h 3959978"/>
                  <a:gd name="connsiteX2999" fmla="*/ 1419124 w 7724301"/>
                  <a:gd name="connsiteY2999" fmla="*/ 397320 h 3959978"/>
                  <a:gd name="connsiteX3000" fmla="*/ 1404923 w 7724301"/>
                  <a:gd name="connsiteY3000" fmla="*/ 397320 h 3959978"/>
                  <a:gd name="connsiteX3001" fmla="*/ 1391511 w 7724301"/>
                  <a:gd name="connsiteY3001" fmla="*/ 397320 h 3959978"/>
                  <a:gd name="connsiteX3002" fmla="*/ 1378102 w 7724301"/>
                  <a:gd name="connsiteY3002" fmla="*/ 397320 h 3959978"/>
                  <a:gd name="connsiteX3003" fmla="*/ 1378102 w 7724301"/>
                  <a:gd name="connsiteY3003" fmla="*/ 382987 h 3959978"/>
                  <a:gd name="connsiteX3004" fmla="*/ 1363904 w 7724301"/>
                  <a:gd name="connsiteY3004" fmla="*/ 382987 h 3959978"/>
                  <a:gd name="connsiteX3005" fmla="*/ 1363904 w 7724301"/>
                  <a:gd name="connsiteY3005" fmla="*/ 367855 h 3959978"/>
                  <a:gd name="connsiteX3006" fmla="*/ 1363904 w 7724301"/>
                  <a:gd name="connsiteY3006" fmla="*/ 354318 h 3959978"/>
                  <a:gd name="connsiteX3007" fmla="*/ 1236119 w 7724301"/>
                  <a:gd name="connsiteY3007" fmla="*/ 340779 h 3959978"/>
                  <a:gd name="connsiteX3008" fmla="*/ 1250316 w 7724301"/>
                  <a:gd name="connsiteY3008" fmla="*/ 340779 h 3959978"/>
                  <a:gd name="connsiteX3009" fmla="*/ 1263726 w 7724301"/>
                  <a:gd name="connsiteY3009" fmla="*/ 340779 h 3959978"/>
                  <a:gd name="connsiteX3010" fmla="*/ 1263726 w 7724301"/>
                  <a:gd name="connsiteY3010" fmla="*/ 354190 h 3959978"/>
                  <a:gd name="connsiteX3011" fmla="*/ 1263726 w 7724301"/>
                  <a:gd name="connsiteY3011" fmla="*/ 367600 h 3959978"/>
                  <a:gd name="connsiteX3012" fmla="*/ 1277136 w 7724301"/>
                  <a:gd name="connsiteY3012" fmla="*/ 381010 h 3959978"/>
                  <a:gd name="connsiteX3013" fmla="*/ 1304746 w 7724301"/>
                  <a:gd name="connsiteY3013" fmla="*/ 381010 h 3959978"/>
                  <a:gd name="connsiteX3014" fmla="*/ 1318155 w 7724301"/>
                  <a:gd name="connsiteY3014" fmla="*/ 367600 h 3959978"/>
                  <a:gd name="connsiteX3015" fmla="*/ 1318155 w 7724301"/>
                  <a:gd name="connsiteY3015" fmla="*/ 381010 h 3959978"/>
                  <a:gd name="connsiteX3016" fmla="*/ 1331566 w 7724301"/>
                  <a:gd name="connsiteY3016" fmla="*/ 381010 h 3959978"/>
                  <a:gd name="connsiteX3017" fmla="*/ 1331566 w 7724301"/>
                  <a:gd name="connsiteY3017" fmla="*/ 395209 h 3959978"/>
                  <a:gd name="connsiteX3018" fmla="*/ 1318155 w 7724301"/>
                  <a:gd name="connsiteY3018" fmla="*/ 422030 h 3959978"/>
                  <a:gd name="connsiteX3019" fmla="*/ 1304746 w 7724301"/>
                  <a:gd name="connsiteY3019" fmla="*/ 422030 h 3959978"/>
                  <a:gd name="connsiteX3020" fmla="*/ 1263726 w 7724301"/>
                  <a:gd name="connsiteY3020" fmla="*/ 422030 h 3959978"/>
                  <a:gd name="connsiteX3021" fmla="*/ 1250316 w 7724301"/>
                  <a:gd name="connsiteY3021" fmla="*/ 435439 h 3959978"/>
                  <a:gd name="connsiteX3022" fmla="*/ 1222708 w 7724301"/>
                  <a:gd name="connsiteY3022" fmla="*/ 435439 h 3959978"/>
                  <a:gd name="connsiteX3023" fmla="*/ 1209297 w 7724301"/>
                  <a:gd name="connsiteY3023" fmla="*/ 435439 h 3959978"/>
                  <a:gd name="connsiteX3024" fmla="*/ 1195099 w 7724301"/>
                  <a:gd name="connsiteY3024" fmla="*/ 435439 h 3959978"/>
                  <a:gd name="connsiteX3025" fmla="*/ 1181688 w 7724301"/>
                  <a:gd name="connsiteY3025" fmla="*/ 435439 h 3959978"/>
                  <a:gd name="connsiteX3026" fmla="*/ 1168278 w 7724301"/>
                  <a:gd name="connsiteY3026" fmla="*/ 449639 h 3959978"/>
                  <a:gd name="connsiteX3027" fmla="*/ 1154868 w 7724301"/>
                  <a:gd name="connsiteY3027" fmla="*/ 435439 h 3959978"/>
                  <a:gd name="connsiteX3028" fmla="*/ 1168278 w 7724301"/>
                  <a:gd name="connsiteY3028" fmla="*/ 435439 h 3959978"/>
                  <a:gd name="connsiteX3029" fmla="*/ 1168278 w 7724301"/>
                  <a:gd name="connsiteY3029" fmla="*/ 422030 h 3959978"/>
                  <a:gd name="connsiteX3030" fmla="*/ 1154868 w 7724301"/>
                  <a:gd name="connsiteY3030" fmla="*/ 422030 h 3959978"/>
                  <a:gd name="connsiteX3031" fmla="*/ 1154868 w 7724301"/>
                  <a:gd name="connsiteY3031" fmla="*/ 408619 h 3959978"/>
                  <a:gd name="connsiteX3032" fmla="*/ 1140669 w 7724301"/>
                  <a:gd name="connsiteY3032" fmla="*/ 408619 h 3959978"/>
                  <a:gd name="connsiteX3033" fmla="*/ 1140669 w 7724301"/>
                  <a:gd name="connsiteY3033" fmla="*/ 422030 h 3959978"/>
                  <a:gd name="connsiteX3034" fmla="*/ 1127259 w 7724301"/>
                  <a:gd name="connsiteY3034" fmla="*/ 422030 h 3959978"/>
                  <a:gd name="connsiteX3035" fmla="*/ 1113848 w 7724301"/>
                  <a:gd name="connsiteY3035" fmla="*/ 422030 h 3959978"/>
                  <a:gd name="connsiteX3036" fmla="*/ 1099649 w 7724301"/>
                  <a:gd name="connsiteY3036" fmla="*/ 422030 h 3959978"/>
                  <a:gd name="connsiteX3037" fmla="*/ 1086238 w 7724301"/>
                  <a:gd name="connsiteY3037" fmla="*/ 422030 h 3959978"/>
                  <a:gd name="connsiteX3038" fmla="*/ 1072827 w 7724301"/>
                  <a:gd name="connsiteY3038" fmla="*/ 422030 h 3959978"/>
                  <a:gd name="connsiteX3039" fmla="*/ 1072827 w 7724301"/>
                  <a:gd name="connsiteY3039" fmla="*/ 408619 h 3959978"/>
                  <a:gd name="connsiteX3040" fmla="*/ 1072827 w 7724301"/>
                  <a:gd name="connsiteY3040" fmla="*/ 395209 h 3959978"/>
                  <a:gd name="connsiteX3041" fmla="*/ 1086238 w 7724301"/>
                  <a:gd name="connsiteY3041" fmla="*/ 395209 h 3959978"/>
                  <a:gd name="connsiteX3042" fmla="*/ 1086238 w 7724301"/>
                  <a:gd name="connsiteY3042" fmla="*/ 381010 h 3959978"/>
                  <a:gd name="connsiteX3043" fmla="*/ 1099649 w 7724301"/>
                  <a:gd name="connsiteY3043" fmla="*/ 381010 h 3959978"/>
                  <a:gd name="connsiteX3044" fmla="*/ 1099649 w 7724301"/>
                  <a:gd name="connsiteY3044" fmla="*/ 367600 h 3959978"/>
                  <a:gd name="connsiteX3045" fmla="*/ 1113848 w 7724301"/>
                  <a:gd name="connsiteY3045" fmla="*/ 367600 h 3959978"/>
                  <a:gd name="connsiteX3046" fmla="*/ 1127259 w 7724301"/>
                  <a:gd name="connsiteY3046" fmla="*/ 367600 h 3959978"/>
                  <a:gd name="connsiteX3047" fmla="*/ 1113848 w 7724301"/>
                  <a:gd name="connsiteY3047" fmla="*/ 354190 h 3959978"/>
                  <a:gd name="connsiteX3048" fmla="*/ 1127259 w 7724301"/>
                  <a:gd name="connsiteY3048" fmla="*/ 354190 h 3959978"/>
                  <a:gd name="connsiteX3049" fmla="*/ 1140669 w 7724301"/>
                  <a:gd name="connsiteY3049" fmla="*/ 354190 h 3959978"/>
                  <a:gd name="connsiteX3050" fmla="*/ 1154868 w 7724301"/>
                  <a:gd name="connsiteY3050" fmla="*/ 367600 h 3959978"/>
                  <a:gd name="connsiteX3051" fmla="*/ 1168278 w 7724301"/>
                  <a:gd name="connsiteY3051" fmla="*/ 367600 h 3959978"/>
                  <a:gd name="connsiteX3052" fmla="*/ 1181688 w 7724301"/>
                  <a:gd name="connsiteY3052" fmla="*/ 381010 h 3959978"/>
                  <a:gd name="connsiteX3053" fmla="*/ 1209297 w 7724301"/>
                  <a:gd name="connsiteY3053" fmla="*/ 395209 h 3959978"/>
                  <a:gd name="connsiteX3054" fmla="*/ 1236119 w 7724301"/>
                  <a:gd name="connsiteY3054" fmla="*/ 395209 h 3959978"/>
                  <a:gd name="connsiteX3055" fmla="*/ 1250316 w 7724301"/>
                  <a:gd name="connsiteY3055" fmla="*/ 381010 h 3959978"/>
                  <a:gd name="connsiteX3056" fmla="*/ 1250316 w 7724301"/>
                  <a:gd name="connsiteY3056" fmla="*/ 367600 h 3959978"/>
                  <a:gd name="connsiteX3057" fmla="*/ 1236119 w 7724301"/>
                  <a:gd name="connsiteY3057" fmla="*/ 367600 h 3959978"/>
                  <a:gd name="connsiteX3058" fmla="*/ 1222708 w 7724301"/>
                  <a:gd name="connsiteY3058" fmla="*/ 367600 h 3959978"/>
                  <a:gd name="connsiteX3059" fmla="*/ 1222708 w 7724301"/>
                  <a:gd name="connsiteY3059" fmla="*/ 354190 h 3959978"/>
                  <a:gd name="connsiteX3060" fmla="*/ 1542183 w 7724301"/>
                  <a:gd name="connsiteY3060" fmla="*/ 328158 h 3959978"/>
                  <a:gd name="connsiteX3061" fmla="*/ 1583201 w 7724301"/>
                  <a:gd name="connsiteY3061" fmla="*/ 341569 h 3959978"/>
                  <a:gd name="connsiteX3062" fmla="*/ 1611601 w 7724301"/>
                  <a:gd name="connsiteY3062" fmla="*/ 355767 h 3959978"/>
                  <a:gd name="connsiteX3063" fmla="*/ 1625801 w 7724301"/>
                  <a:gd name="connsiteY3063" fmla="*/ 355767 h 3959978"/>
                  <a:gd name="connsiteX3064" fmla="*/ 1625801 w 7724301"/>
                  <a:gd name="connsiteY3064" fmla="*/ 341569 h 3959978"/>
                  <a:gd name="connsiteX3065" fmla="*/ 1639211 w 7724301"/>
                  <a:gd name="connsiteY3065" fmla="*/ 341569 h 3959978"/>
                  <a:gd name="connsiteX3066" fmla="*/ 1639211 w 7724301"/>
                  <a:gd name="connsiteY3066" fmla="*/ 355767 h 3959978"/>
                  <a:gd name="connsiteX3067" fmla="*/ 1666032 w 7724301"/>
                  <a:gd name="connsiteY3067" fmla="*/ 369178 h 3959978"/>
                  <a:gd name="connsiteX3068" fmla="*/ 1652622 w 7724301"/>
                  <a:gd name="connsiteY3068" fmla="*/ 369178 h 3959978"/>
                  <a:gd name="connsiteX3069" fmla="*/ 1639211 w 7724301"/>
                  <a:gd name="connsiteY3069" fmla="*/ 369178 h 3959978"/>
                  <a:gd name="connsiteX3070" fmla="*/ 1652622 w 7724301"/>
                  <a:gd name="connsiteY3070" fmla="*/ 396787 h 3959978"/>
                  <a:gd name="connsiteX3071" fmla="*/ 1666032 w 7724301"/>
                  <a:gd name="connsiteY3071" fmla="*/ 396787 h 3959978"/>
                  <a:gd name="connsiteX3072" fmla="*/ 1680231 w 7724301"/>
                  <a:gd name="connsiteY3072" fmla="*/ 396787 h 3959978"/>
                  <a:gd name="connsiteX3073" fmla="*/ 1708631 w 7724301"/>
                  <a:gd name="connsiteY3073" fmla="*/ 396787 h 3959978"/>
                  <a:gd name="connsiteX3074" fmla="*/ 1723619 w 7724301"/>
                  <a:gd name="connsiteY3074" fmla="*/ 410197 h 3959978"/>
                  <a:gd name="connsiteX3075" fmla="*/ 1737817 w 7724301"/>
                  <a:gd name="connsiteY3075" fmla="*/ 410197 h 3959978"/>
                  <a:gd name="connsiteX3076" fmla="*/ 1764641 w 7724301"/>
                  <a:gd name="connsiteY3076" fmla="*/ 396787 h 3959978"/>
                  <a:gd name="connsiteX3077" fmla="*/ 1807237 w 7724301"/>
                  <a:gd name="connsiteY3077" fmla="*/ 396787 h 3959978"/>
                  <a:gd name="connsiteX3078" fmla="*/ 1834846 w 7724301"/>
                  <a:gd name="connsiteY3078" fmla="*/ 396787 h 3959978"/>
                  <a:gd name="connsiteX3079" fmla="*/ 1861666 w 7724301"/>
                  <a:gd name="connsiteY3079" fmla="*/ 396787 h 3959978"/>
                  <a:gd name="connsiteX3080" fmla="*/ 1875074 w 7724301"/>
                  <a:gd name="connsiteY3080" fmla="*/ 396787 h 3959978"/>
                  <a:gd name="connsiteX3081" fmla="*/ 1904262 w 7724301"/>
                  <a:gd name="connsiteY3081" fmla="*/ 410197 h 3959978"/>
                  <a:gd name="connsiteX3082" fmla="*/ 1889275 w 7724301"/>
                  <a:gd name="connsiteY3082" fmla="*/ 410197 h 3959978"/>
                  <a:gd name="connsiteX3083" fmla="*/ 1889275 w 7724301"/>
                  <a:gd name="connsiteY3083" fmla="*/ 422030 h 3959978"/>
                  <a:gd name="connsiteX3084" fmla="*/ 1904262 w 7724301"/>
                  <a:gd name="connsiteY3084" fmla="*/ 422030 h 3959978"/>
                  <a:gd name="connsiteX3085" fmla="*/ 1889275 w 7724301"/>
                  <a:gd name="connsiteY3085" fmla="*/ 435440 h 3959978"/>
                  <a:gd name="connsiteX3086" fmla="*/ 1861666 w 7724301"/>
                  <a:gd name="connsiteY3086" fmla="*/ 435440 h 3959978"/>
                  <a:gd name="connsiteX3087" fmla="*/ 1834846 w 7724301"/>
                  <a:gd name="connsiteY3087" fmla="*/ 435440 h 3959978"/>
                  <a:gd name="connsiteX3088" fmla="*/ 1820645 w 7724301"/>
                  <a:gd name="connsiteY3088" fmla="*/ 435440 h 3959978"/>
                  <a:gd name="connsiteX3089" fmla="*/ 1807237 w 7724301"/>
                  <a:gd name="connsiteY3089" fmla="*/ 435440 h 3959978"/>
                  <a:gd name="connsiteX3090" fmla="*/ 1778839 w 7724301"/>
                  <a:gd name="connsiteY3090" fmla="*/ 435440 h 3959978"/>
                  <a:gd name="connsiteX3091" fmla="*/ 1751231 w 7724301"/>
                  <a:gd name="connsiteY3091" fmla="*/ 435440 h 3959978"/>
                  <a:gd name="connsiteX3092" fmla="*/ 1737817 w 7724301"/>
                  <a:gd name="connsiteY3092" fmla="*/ 435440 h 3959978"/>
                  <a:gd name="connsiteX3093" fmla="*/ 1723619 w 7724301"/>
                  <a:gd name="connsiteY3093" fmla="*/ 435440 h 3959978"/>
                  <a:gd name="connsiteX3094" fmla="*/ 1708631 w 7724301"/>
                  <a:gd name="connsiteY3094" fmla="*/ 435440 h 3959978"/>
                  <a:gd name="connsiteX3095" fmla="*/ 1695221 w 7724301"/>
                  <a:gd name="connsiteY3095" fmla="*/ 435440 h 3959978"/>
                  <a:gd name="connsiteX3096" fmla="*/ 1680231 w 7724301"/>
                  <a:gd name="connsiteY3096" fmla="*/ 435440 h 3959978"/>
                  <a:gd name="connsiteX3097" fmla="*/ 1652622 w 7724301"/>
                  <a:gd name="connsiteY3097" fmla="*/ 435440 h 3959978"/>
                  <a:gd name="connsiteX3098" fmla="*/ 1625801 w 7724301"/>
                  <a:gd name="connsiteY3098" fmla="*/ 422030 h 3959978"/>
                  <a:gd name="connsiteX3099" fmla="*/ 1611601 w 7724301"/>
                  <a:gd name="connsiteY3099" fmla="*/ 410197 h 3959978"/>
                  <a:gd name="connsiteX3100" fmla="*/ 1625801 w 7724301"/>
                  <a:gd name="connsiteY3100" fmla="*/ 410197 h 3959978"/>
                  <a:gd name="connsiteX3101" fmla="*/ 1625801 w 7724301"/>
                  <a:gd name="connsiteY3101" fmla="*/ 396787 h 3959978"/>
                  <a:gd name="connsiteX3102" fmla="*/ 1611601 w 7724301"/>
                  <a:gd name="connsiteY3102" fmla="*/ 396787 h 3959978"/>
                  <a:gd name="connsiteX3103" fmla="*/ 1596612 w 7724301"/>
                  <a:gd name="connsiteY3103" fmla="*/ 369178 h 3959978"/>
                  <a:gd name="connsiteX3104" fmla="*/ 1596612 w 7724301"/>
                  <a:gd name="connsiteY3104" fmla="*/ 355767 h 3959978"/>
                  <a:gd name="connsiteX3105" fmla="*/ 1583201 w 7724301"/>
                  <a:gd name="connsiteY3105" fmla="*/ 369178 h 3959978"/>
                  <a:gd name="connsiteX3106" fmla="*/ 1555594 w 7724301"/>
                  <a:gd name="connsiteY3106" fmla="*/ 355767 h 3959978"/>
                  <a:gd name="connsiteX3107" fmla="*/ 1542183 w 7724301"/>
                  <a:gd name="connsiteY3107" fmla="*/ 341569 h 3959978"/>
                  <a:gd name="connsiteX3108" fmla="*/ 1043641 w 7724301"/>
                  <a:gd name="connsiteY3108" fmla="*/ 312381 h 3959978"/>
                  <a:gd name="connsiteX3109" fmla="*/ 1057840 w 7724301"/>
                  <a:gd name="connsiteY3109" fmla="*/ 312381 h 3959978"/>
                  <a:gd name="connsiteX3110" fmla="*/ 1071250 w 7724301"/>
                  <a:gd name="connsiteY3110" fmla="*/ 312381 h 3959978"/>
                  <a:gd name="connsiteX3111" fmla="*/ 1098860 w 7724301"/>
                  <a:gd name="connsiteY3111" fmla="*/ 312381 h 3959978"/>
                  <a:gd name="connsiteX3112" fmla="*/ 1113848 w 7724301"/>
                  <a:gd name="connsiteY3112" fmla="*/ 312381 h 3959978"/>
                  <a:gd name="connsiteX3113" fmla="*/ 1113848 w 7724301"/>
                  <a:gd name="connsiteY3113" fmla="*/ 325791 h 3959978"/>
                  <a:gd name="connsiteX3114" fmla="*/ 1098860 w 7724301"/>
                  <a:gd name="connsiteY3114" fmla="*/ 325791 h 3959978"/>
                  <a:gd name="connsiteX3115" fmla="*/ 1098860 w 7724301"/>
                  <a:gd name="connsiteY3115" fmla="*/ 339991 h 3959978"/>
                  <a:gd name="connsiteX3116" fmla="*/ 1071250 w 7724301"/>
                  <a:gd name="connsiteY3116" fmla="*/ 366811 h 3959978"/>
                  <a:gd name="connsiteX3117" fmla="*/ 1057840 w 7724301"/>
                  <a:gd name="connsiteY3117" fmla="*/ 353401 h 3959978"/>
                  <a:gd name="connsiteX3118" fmla="*/ 1057840 w 7724301"/>
                  <a:gd name="connsiteY3118" fmla="*/ 339991 h 3959978"/>
                  <a:gd name="connsiteX3119" fmla="*/ 1043641 w 7724301"/>
                  <a:gd name="connsiteY3119" fmla="*/ 353401 h 3959978"/>
                  <a:gd name="connsiteX3120" fmla="*/ 1043641 w 7724301"/>
                  <a:gd name="connsiteY3120" fmla="*/ 366811 h 3959978"/>
                  <a:gd name="connsiteX3121" fmla="*/ 1030231 w 7724301"/>
                  <a:gd name="connsiteY3121" fmla="*/ 366811 h 3959978"/>
                  <a:gd name="connsiteX3122" fmla="*/ 1030231 w 7724301"/>
                  <a:gd name="connsiteY3122" fmla="*/ 380221 h 3959978"/>
                  <a:gd name="connsiteX3123" fmla="*/ 1030231 w 7724301"/>
                  <a:gd name="connsiteY3123" fmla="*/ 394420 h 3959978"/>
                  <a:gd name="connsiteX3124" fmla="*/ 1013664 w 7724301"/>
                  <a:gd name="connsiteY3124" fmla="*/ 394420 h 3959978"/>
                  <a:gd name="connsiteX3125" fmla="*/ 1000256 w 7724301"/>
                  <a:gd name="connsiteY3125" fmla="*/ 394420 h 3959978"/>
                  <a:gd name="connsiteX3126" fmla="*/ 1000256 w 7724301"/>
                  <a:gd name="connsiteY3126" fmla="*/ 380221 h 3959978"/>
                  <a:gd name="connsiteX3127" fmla="*/ 986054 w 7724301"/>
                  <a:gd name="connsiteY3127" fmla="*/ 380221 h 3959978"/>
                  <a:gd name="connsiteX3128" fmla="*/ 972644 w 7724301"/>
                  <a:gd name="connsiteY3128" fmla="*/ 380221 h 3959978"/>
                  <a:gd name="connsiteX3129" fmla="*/ 959232 w 7724301"/>
                  <a:gd name="connsiteY3129" fmla="*/ 380221 h 3959978"/>
                  <a:gd name="connsiteX3130" fmla="*/ 959232 w 7724301"/>
                  <a:gd name="connsiteY3130" fmla="*/ 366811 h 3959978"/>
                  <a:gd name="connsiteX3131" fmla="*/ 972644 w 7724301"/>
                  <a:gd name="connsiteY3131" fmla="*/ 353401 h 3959978"/>
                  <a:gd name="connsiteX3132" fmla="*/ 986054 w 7724301"/>
                  <a:gd name="connsiteY3132" fmla="*/ 353401 h 3959978"/>
                  <a:gd name="connsiteX3133" fmla="*/ 1000256 w 7724301"/>
                  <a:gd name="connsiteY3133" fmla="*/ 339991 h 3959978"/>
                  <a:gd name="connsiteX3134" fmla="*/ 1013664 w 7724301"/>
                  <a:gd name="connsiteY3134" fmla="*/ 339991 h 3959978"/>
                  <a:gd name="connsiteX3135" fmla="*/ 1030231 w 7724301"/>
                  <a:gd name="connsiteY3135" fmla="*/ 339991 h 3959978"/>
                  <a:gd name="connsiteX3136" fmla="*/ 1030231 w 7724301"/>
                  <a:gd name="connsiteY3136" fmla="*/ 325791 h 3959978"/>
                  <a:gd name="connsiteX3137" fmla="*/ 1317368 w 7724301"/>
                  <a:gd name="connsiteY3137" fmla="*/ 299759 h 3959978"/>
                  <a:gd name="connsiteX3138" fmla="*/ 1333145 w 7724301"/>
                  <a:gd name="connsiteY3138" fmla="*/ 299759 h 3959978"/>
                  <a:gd name="connsiteX3139" fmla="*/ 1348922 w 7724301"/>
                  <a:gd name="connsiteY3139" fmla="*/ 313170 h 3959978"/>
                  <a:gd name="connsiteX3140" fmla="*/ 1348922 w 7724301"/>
                  <a:gd name="connsiteY3140" fmla="*/ 328158 h 3959978"/>
                  <a:gd name="connsiteX3141" fmla="*/ 1333145 w 7724301"/>
                  <a:gd name="connsiteY3141" fmla="*/ 328158 h 3959978"/>
                  <a:gd name="connsiteX3142" fmla="*/ 1317368 w 7724301"/>
                  <a:gd name="connsiteY3142" fmla="*/ 313170 h 3959978"/>
                  <a:gd name="connsiteX3143" fmla="*/ 1402557 w 7724301"/>
                  <a:gd name="connsiteY3143" fmla="*/ 287138 h 3959978"/>
                  <a:gd name="connsiteX3144" fmla="*/ 1417909 w 7724301"/>
                  <a:gd name="connsiteY3144" fmla="*/ 287138 h 3959978"/>
                  <a:gd name="connsiteX3145" fmla="*/ 1417909 w 7724301"/>
                  <a:gd name="connsiteY3145" fmla="*/ 299759 h 3959978"/>
                  <a:gd name="connsiteX3146" fmla="*/ 1402557 w 7724301"/>
                  <a:gd name="connsiteY3146" fmla="*/ 299759 h 3959978"/>
                  <a:gd name="connsiteX3147" fmla="*/ 1165913 w 7724301"/>
                  <a:gd name="connsiteY3147" fmla="*/ 258739 h 3959978"/>
                  <a:gd name="connsiteX3148" fmla="*/ 1194311 w 7724301"/>
                  <a:gd name="connsiteY3148" fmla="*/ 258739 h 3959978"/>
                  <a:gd name="connsiteX3149" fmla="*/ 1208509 w 7724301"/>
                  <a:gd name="connsiteY3149" fmla="*/ 258739 h 3959978"/>
                  <a:gd name="connsiteX3150" fmla="*/ 1221919 w 7724301"/>
                  <a:gd name="connsiteY3150" fmla="*/ 258739 h 3959978"/>
                  <a:gd name="connsiteX3151" fmla="*/ 1235330 w 7724301"/>
                  <a:gd name="connsiteY3151" fmla="*/ 258739 h 3959978"/>
                  <a:gd name="connsiteX3152" fmla="*/ 1249528 w 7724301"/>
                  <a:gd name="connsiteY3152" fmla="*/ 272150 h 3959978"/>
                  <a:gd name="connsiteX3153" fmla="*/ 1235330 w 7724301"/>
                  <a:gd name="connsiteY3153" fmla="*/ 272150 h 3959978"/>
                  <a:gd name="connsiteX3154" fmla="*/ 1221919 w 7724301"/>
                  <a:gd name="connsiteY3154" fmla="*/ 287138 h 3959978"/>
                  <a:gd name="connsiteX3155" fmla="*/ 1223192 w 7724301"/>
                  <a:gd name="connsiteY3155" fmla="*/ 287138 h 3959978"/>
                  <a:gd name="connsiteX3156" fmla="*/ 1236907 w 7724301"/>
                  <a:gd name="connsiteY3156" fmla="*/ 287138 h 3959978"/>
                  <a:gd name="connsiteX3157" fmla="*/ 1236907 w 7724301"/>
                  <a:gd name="connsiteY3157" fmla="*/ 301338 h 3959978"/>
                  <a:gd name="connsiteX3158" fmla="*/ 1223192 w 7724301"/>
                  <a:gd name="connsiteY3158" fmla="*/ 301338 h 3959978"/>
                  <a:gd name="connsiteX3159" fmla="*/ 1209477 w 7724301"/>
                  <a:gd name="connsiteY3159" fmla="*/ 314747 h 3959978"/>
                  <a:gd name="connsiteX3160" fmla="*/ 1179628 w 7724301"/>
                  <a:gd name="connsiteY3160" fmla="*/ 328158 h 3959978"/>
                  <a:gd name="connsiteX3161" fmla="*/ 1165913 w 7724301"/>
                  <a:gd name="connsiteY3161" fmla="*/ 314747 h 3959978"/>
                  <a:gd name="connsiteX3162" fmla="*/ 1165913 w 7724301"/>
                  <a:gd name="connsiteY3162" fmla="*/ 301338 h 3959978"/>
                  <a:gd name="connsiteX3163" fmla="*/ 1165913 w 7724301"/>
                  <a:gd name="connsiteY3163" fmla="*/ 287138 h 3959978"/>
                  <a:gd name="connsiteX3164" fmla="*/ 1194311 w 7724301"/>
                  <a:gd name="connsiteY3164" fmla="*/ 287138 h 3959978"/>
                  <a:gd name="connsiteX3165" fmla="*/ 1179323 w 7724301"/>
                  <a:gd name="connsiteY3165" fmla="*/ 272150 h 3959978"/>
                  <a:gd name="connsiteX3166" fmla="*/ 1165913 w 7724301"/>
                  <a:gd name="connsiteY3166" fmla="*/ 272150 h 3959978"/>
                  <a:gd name="connsiteX3167" fmla="*/ 1505894 w 7724301"/>
                  <a:gd name="connsiteY3167" fmla="*/ 244541 h 3959978"/>
                  <a:gd name="connsiteX3168" fmla="*/ 1519305 w 7724301"/>
                  <a:gd name="connsiteY3168" fmla="*/ 244541 h 3959978"/>
                  <a:gd name="connsiteX3169" fmla="*/ 1519305 w 7724301"/>
                  <a:gd name="connsiteY3169" fmla="*/ 258146 h 3959978"/>
                  <a:gd name="connsiteX3170" fmla="*/ 1533505 w 7724301"/>
                  <a:gd name="connsiteY3170" fmla="*/ 258146 h 3959978"/>
                  <a:gd name="connsiteX3171" fmla="*/ 1546914 w 7724301"/>
                  <a:gd name="connsiteY3171" fmla="*/ 258146 h 3959978"/>
                  <a:gd name="connsiteX3172" fmla="*/ 1560326 w 7724301"/>
                  <a:gd name="connsiteY3172" fmla="*/ 258146 h 3959978"/>
                  <a:gd name="connsiteX3173" fmla="*/ 1574524 w 7724301"/>
                  <a:gd name="connsiteY3173" fmla="*/ 271750 h 3959978"/>
                  <a:gd name="connsiteX3174" fmla="*/ 1560326 w 7724301"/>
                  <a:gd name="connsiteY3174" fmla="*/ 271750 h 3959978"/>
                  <a:gd name="connsiteX3175" fmla="*/ 1560326 w 7724301"/>
                  <a:gd name="connsiteY3175" fmla="*/ 285356 h 3959978"/>
                  <a:gd name="connsiteX3176" fmla="*/ 1574523 w 7724301"/>
                  <a:gd name="connsiteY3176" fmla="*/ 299759 h 3959978"/>
                  <a:gd name="connsiteX3177" fmla="*/ 1583390 w 7724301"/>
                  <a:gd name="connsiteY3177" fmla="*/ 299759 h 3959978"/>
                  <a:gd name="connsiteX3178" fmla="*/ 1596614 w 7724301"/>
                  <a:gd name="connsiteY3178" fmla="*/ 299759 h 3959978"/>
                  <a:gd name="connsiteX3179" fmla="*/ 1596614 w 7724301"/>
                  <a:gd name="connsiteY3179" fmla="*/ 312380 h 3959978"/>
                  <a:gd name="connsiteX3180" fmla="*/ 1583390 w 7724301"/>
                  <a:gd name="connsiteY3180" fmla="*/ 312380 h 3959978"/>
                  <a:gd name="connsiteX3181" fmla="*/ 1570171 w 7724301"/>
                  <a:gd name="connsiteY3181" fmla="*/ 312380 h 3959978"/>
                  <a:gd name="connsiteX3182" fmla="*/ 1541394 w 7724301"/>
                  <a:gd name="connsiteY3182" fmla="*/ 299760 h 3959978"/>
                  <a:gd name="connsiteX3183" fmla="*/ 1519305 w 7724301"/>
                  <a:gd name="connsiteY3183" fmla="*/ 299760 h 3959978"/>
                  <a:gd name="connsiteX3184" fmla="*/ 1519305 w 7724301"/>
                  <a:gd name="connsiteY3184" fmla="*/ 285356 h 3959978"/>
                  <a:gd name="connsiteX3185" fmla="*/ 1505894 w 7724301"/>
                  <a:gd name="connsiteY3185" fmla="*/ 271750 h 3959978"/>
                  <a:gd name="connsiteX3186" fmla="*/ 1492485 w 7724301"/>
                  <a:gd name="connsiteY3186" fmla="*/ 258146 h 3959978"/>
                  <a:gd name="connsiteX3187" fmla="*/ 3840841 w 7724301"/>
                  <a:gd name="connsiteY3187" fmla="*/ 241385 h 3959978"/>
                  <a:gd name="connsiteX3188" fmla="*/ 3840841 w 7724301"/>
                  <a:gd name="connsiteY3188" fmla="*/ 257205 h 3959978"/>
                  <a:gd name="connsiteX3189" fmla="*/ 3825853 w 7724301"/>
                  <a:gd name="connsiteY3189" fmla="*/ 257205 h 3959978"/>
                  <a:gd name="connsiteX3190" fmla="*/ 1569003 w 7724301"/>
                  <a:gd name="connsiteY3190" fmla="*/ 219622 h 3959978"/>
                  <a:gd name="connsiteX3191" fmla="*/ 1583992 w 7724301"/>
                  <a:gd name="connsiteY3191" fmla="*/ 219622 h 3959978"/>
                  <a:gd name="connsiteX3192" fmla="*/ 1583992 w 7724301"/>
                  <a:gd name="connsiteY3192" fmla="*/ 231398 h 3959978"/>
                  <a:gd name="connsiteX3193" fmla="*/ 1351198 w 7724301"/>
                  <a:gd name="connsiteY3193" fmla="*/ 219298 h 3959978"/>
                  <a:gd name="connsiteX3194" fmla="*/ 1366887 w 7724301"/>
                  <a:gd name="connsiteY3194" fmla="*/ 231130 h 3959978"/>
                  <a:gd name="connsiteX3195" fmla="*/ 1380222 w 7724301"/>
                  <a:gd name="connsiteY3195" fmla="*/ 231130 h 3959978"/>
                  <a:gd name="connsiteX3196" fmla="*/ 1393559 w 7724301"/>
                  <a:gd name="connsiteY3196" fmla="*/ 245330 h 3959978"/>
                  <a:gd name="connsiteX3197" fmla="*/ 1393559 w 7724301"/>
                  <a:gd name="connsiteY3197" fmla="*/ 231130 h 3959978"/>
                  <a:gd name="connsiteX3198" fmla="*/ 1406894 w 7724301"/>
                  <a:gd name="connsiteY3198" fmla="*/ 231130 h 3959978"/>
                  <a:gd name="connsiteX3199" fmla="*/ 1421015 w 7724301"/>
                  <a:gd name="connsiteY3199" fmla="*/ 245330 h 3959978"/>
                  <a:gd name="connsiteX3200" fmla="*/ 1421015 w 7724301"/>
                  <a:gd name="connsiteY3200" fmla="*/ 258740 h 3959978"/>
                  <a:gd name="connsiteX3201" fmla="*/ 1435918 w 7724301"/>
                  <a:gd name="connsiteY3201" fmla="*/ 258740 h 3959978"/>
                  <a:gd name="connsiteX3202" fmla="*/ 1435918 w 7724301"/>
                  <a:gd name="connsiteY3202" fmla="*/ 245330 h 3959978"/>
                  <a:gd name="connsiteX3203" fmla="*/ 1449253 w 7724301"/>
                  <a:gd name="connsiteY3203" fmla="*/ 245330 h 3959978"/>
                  <a:gd name="connsiteX3204" fmla="*/ 1449253 w 7724301"/>
                  <a:gd name="connsiteY3204" fmla="*/ 258740 h 3959978"/>
                  <a:gd name="connsiteX3205" fmla="*/ 1462588 w 7724301"/>
                  <a:gd name="connsiteY3205" fmla="*/ 272151 h 3959978"/>
                  <a:gd name="connsiteX3206" fmla="*/ 1476709 w 7724301"/>
                  <a:gd name="connsiteY3206" fmla="*/ 285561 h 3959978"/>
                  <a:gd name="connsiteX3207" fmla="*/ 1476709 w 7724301"/>
                  <a:gd name="connsiteY3207" fmla="*/ 299760 h 3959978"/>
                  <a:gd name="connsiteX3208" fmla="*/ 1462588 w 7724301"/>
                  <a:gd name="connsiteY3208" fmla="*/ 299760 h 3959978"/>
                  <a:gd name="connsiteX3209" fmla="*/ 1449253 w 7724301"/>
                  <a:gd name="connsiteY3209" fmla="*/ 299760 h 3959978"/>
                  <a:gd name="connsiteX3210" fmla="*/ 1449253 w 7724301"/>
                  <a:gd name="connsiteY3210" fmla="*/ 285561 h 3959978"/>
                  <a:gd name="connsiteX3211" fmla="*/ 1435918 w 7724301"/>
                  <a:gd name="connsiteY3211" fmla="*/ 285561 h 3959978"/>
                  <a:gd name="connsiteX3212" fmla="*/ 1406894 w 7724301"/>
                  <a:gd name="connsiteY3212" fmla="*/ 272151 h 3959978"/>
                  <a:gd name="connsiteX3213" fmla="*/ 1393559 w 7724301"/>
                  <a:gd name="connsiteY3213" fmla="*/ 272151 h 3959978"/>
                  <a:gd name="connsiteX3214" fmla="*/ 1380222 w 7724301"/>
                  <a:gd name="connsiteY3214" fmla="*/ 272151 h 3959978"/>
                  <a:gd name="connsiteX3215" fmla="*/ 1366887 w 7724301"/>
                  <a:gd name="connsiteY3215" fmla="*/ 272151 h 3959978"/>
                  <a:gd name="connsiteX3216" fmla="*/ 1351198 w 7724301"/>
                  <a:gd name="connsiteY3216" fmla="*/ 272151 h 3959978"/>
                  <a:gd name="connsiteX3217" fmla="*/ 1351198 w 7724301"/>
                  <a:gd name="connsiteY3217" fmla="*/ 258740 h 3959978"/>
                  <a:gd name="connsiteX3218" fmla="*/ 1351198 w 7724301"/>
                  <a:gd name="connsiteY3218" fmla="*/ 245330 h 3959978"/>
                  <a:gd name="connsiteX3219" fmla="*/ 1336300 w 7724301"/>
                  <a:gd name="connsiteY3219" fmla="*/ 245330 h 3959978"/>
                  <a:gd name="connsiteX3220" fmla="*/ 1336300 w 7724301"/>
                  <a:gd name="connsiteY3220" fmla="*/ 231130 h 3959978"/>
                  <a:gd name="connsiteX3221" fmla="*/ 1351198 w 7724301"/>
                  <a:gd name="connsiteY3221" fmla="*/ 231130 h 3959978"/>
                  <a:gd name="connsiteX3222" fmla="*/ 1459354 w 7724301"/>
                  <a:gd name="connsiteY3222" fmla="*/ 190900 h 3959978"/>
                  <a:gd name="connsiteX3223" fmla="*/ 1473169 w 7724301"/>
                  <a:gd name="connsiteY3223" fmla="*/ 190900 h 3959978"/>
                  <a:gd name="connsiteX3224" fmla="*/ 1487753 w 7724301"/>
                  <a:gd name="connsiteY3224" fmla="*/ 190900 h 3959978"/>
                  <a:gd name="connsiteX3225" fmla="*/ 1487753 w 7724301"/>
                  <a:gd name="connsiteY3225" fmla="*/ 205099 h 3959978"/>
                  <a:gd name="connsiteX3226" fmla="*/ 1473169 w 7724301"/>
                  <a:gd name="connsiteY3226" fmla="*/ 205099 h 3959978"/>
                  <a:gd name="connsiteX3227" fmla="*/ 3939959 w 7724301"/>
                  <a:gd name="connsiteY3227" fmla="*/ 184589 h 3959978"/>
                  <a:gd name="connsiteX3228" fmla="*/ 3953332 w 7724301"/>
                  <a:gd name="connsiteY3228" fmla="*/ 184589 h 3959978"/>
                  <a:gd name="connsiteX3229" fmla="*/ 3967491 w 7724301"/>
                  <a:gd name="connsiteY3229" fmla="*/ 184589 h 3959978"/>
                  <a:gd name="connsiteX3230" fmla="*/ 3982438 w 7724301"/>
                  <a:gd name="connsiteY3230" fmla="*/ 184589 h 3959978"/>
                  <a:gd name="connsiteX3231" fmla="*/ 3982438 w 7724301"/>
                  <a:gd name="connsiteY3231" fmla="*/ 199651 h 3959978"/>
                  <a:gd name="connsiteX3232" fmla="*/ 3995810 w 7724301"/>
                  <a:gd name="connsiteY3232" fmla="*/ 199651 h 3959978"/>
                  <a:gd name="connsiteX3233" fmla="*/ 4009183 w 7724301"/>
                  <a:gd name="connsiteY3233" fmla="*/ 199651 h 3959978"/>
                  <a:gd name="connsiteX3234" fmla="*/ 4009183 w 7724301"/>
                  <a:gd name="connsiteY3234" fmla="*/ 213127 h 3959978"/>
                  <a:gd name="connsiteX3235" fmla="*/ 4009183 w 7724301"/>
                  <a:gd name="connsiteY3235" fmla="*/ 227397 h 3959978"/>
                  <a:gd name="connsiteX3236" fmla="*/ 4053234 w 7724301"/>
                  <a:gd name="connsiteY3236" fmla="*/ 242459 h 3959978"/>
                  <a:gd name="connsiteX3237" fmla="*/ 4066607 w 7724301"/>
                  <a:gd name="connsiteY3237" fmla="*/ 257520 h 3959978"/>
                  <a:gd name="connsiteX3238" fmla="*/ 4080767 w 7724301"/>
                  <a:gd name="connsiteY3238" fmla="*/ 257520 h 3959978"/>
                  <a:gd name="connsiteX3239" fmla="*/ 4095712 w 7724301"/>
                  <a:gd name="connsiteY3239" fmla="*/ 257520 h 3959978"/>
                  <a:gd name="connsiteX3240" fmla="*/ 4109085 w 7724301"/>
                  <a:gd name="connsiteY3240" fmla="*/ 286059 h 3959978"/>
                  <a:gd name="connsiteX3241" fmla="*/ 4122458 w 7724301"/>
                  <a:gd name="connsiteY3241" fmla="*/ 301914 h 3959978"/>
                  <a:gd name="connsiteX3242" fmla="*/ 4109085 w 7724301"/>
                  <a:gd name="connsiteY3242" fmla="*/ 301914 h 3959978"/>
                  <a:gd name="connsiteX3243" fmla="*/ 4095712 w 7724301"/>
                  <a:gd name="connsiteY3243" fmla="*/ 316975 h 3959978"/>
                  <a:gd name="connsiteX3244" fmla="*/ 4066607 w 7724301"/>
                  <a:gd name="connsiteY3244" fmla="*/ 316975 h 3959978"/>
                  <a:gd name="connsiteX3245" fmla="*/ 4066607 w 7724301"/>
                  <a:gd name="connsiteY3245" fmla="*/ 301914 h 3959978"/>
                  <a:gd name="connsiteX3246" fmla="*/ 4053234 w 7724301"/>
                  <a:gd name="connsiteY3246" fmla="*/ 301914 h 3959978"/>
                  <a:gd name="connsiteX3247" fmla="*/ 4053234 w 7724301"/>
                  <a:gd name="connsiteY3247" fmla="*/ 286059 h 3959978"/>
                  <a:gd name="connsiteX3248" fmla="*/ 4039862 w 7724301"/>
                  <a:gd name="connsiteY3248" fmla="*/ 270997 h 3959978"/>
                  <a:gd name="connsiteX3249" fmla="*/ 4039862 w 7724301"/>
                  <a:gd name="connsiteY3249" fmla="*/ 257520 h 3959978"/>
                  <a:gd name="connsiteX3250" fmla="*/ 4023342 w 7724301"/>
                  <a:gd name="connsiteY3250" fmla="*/ 257520 h 3959978"/>
                  <a:gd name="connsiteX3251" fmla="*/ 4009183 w 7724301"/>
                  <a:gd name="connsiteY3251" fmla="*/ 257520 h 3959978"/>
                  <a:gd name="connsiteX3252" fmla="*/ 4009183 w 7724301"/>
                  <a:gd name="connsiteY3252" fmla="*/ 286059 h 3959978"/>
                  <a:gd name="connsiteX3253" fmla="*/ 3995810 w 7724301"/>
                  <a:gd name="connsiteY3253" fmla="*/ 301914 h 3959978"/>
                  <a:gd name="connsiteX3254" fmla="*/ 3982438 w 7724301"/>
                  <a:gd name="connsiteY3254" fmla="*/ 301914 h 3959978"/>
                  <a:gd name="connsiteX3255" fmla="*/ 3982438 w 7724301"/>
                  <a:gd name="connsiteY3255" fmla="*/ 330452 h 3959978"/>
                  <a:gd name="connsiteX3256" fmla="*/ 3982438 w 7724301"/>
                  <a:gd name="connsiteY3256" fmla="*/ 345514 h 3959978"/>
                  <a:gd name="connsiteX3257" fmla="*/ 3967491 w 7724301"/>
                  <a:gd name="connsiteY3257" fmla="*/ 345514 h 3959978"/>
                  <a:gd name="connsiteX3258" fmla="*/ 3939959 w 7724301"/>
                  <a:gd name="connsiteY3258" fmla="*/ 345514 h 3959978"/>
                  <a:gd name="connsiteX3259" fmla="*/ 3925014 w 7724301"/>
                  <a:gd name="connsiteY3259" fmla="*/ 330452 h 3959978"/>
                  <a:gd name="connsiteX3260" fmla="*/ 3897481 w 7724301"/>
                  <a:gd name="connsiteY3260" fmla="*/ 301914 h 3959978"/>
                  <a:gd name="connsiteX3261" fmla="*/ 3897481 w 7724301"/>
                  <a:gd name="connsiteY3261" fmla="*/ 286059 h 3959978"/>
                  <a:gd name="connsiteX3262" fmla="*/ 3911640 w 7724301"/>
                  <a:gd name="connsiteY3262" fmla="*/ 270997 h 3959978"/>
                  <a:gd name="connsiteX3263" fmla="*/ 3925014 w 7724301"/>
                  <a:gd name="connsiteY3263" fmla="*/ 270997 h 3959978"/>
                  <a:gd name="connsiteX3264" fmla="*/ 3939959 w 7724301"/>
                  <a:gd name="connsiteY3264" fmla="*/ 270997 h 3959978"/>
                  <a:gd name="connsiteX3265" fmla="*/ 3939959 w 7724301"/>
                  <a:gd name="connsiteY3265" fmla="*/ 257520 h 3959978"/>
                  <a:gd name="connsiteX3266" fmla="*/ 3925014 w 7724301"/>
                  <a:gd name="connsiteY3266" fmla="*/ 257520 h 3959978"/>
                  <a:gd name="connsiteX3267" fmla="*/ 3911640 w 7724301"/>
                  <a:gd name="connsiteY3267" fmla="*/ 257520 h 3959978"/>
                  <a:gd name="connsiteX3268" fmla="*/ 3897481 w 7724301"/>
                  <a:gd name="connsiteY3268" fmla="*/ 270997 h 3959978"/>
                  <a:gd name="connsiteX3269" fmla="*/ 3884108 w 7724301"/>
                  <a:gd name="connsiteY3269" fmla="*/ 270997 h 3959978"/>
                  <a:gd name="connsiteX3270" fmla="*/ 3884108 w 7724301"/>
                  <a:gd name="connsiteY3270" fmla="*/ 257520 h 3959978"/>
                  <a:gd name="connsiteX3271" fmla="*/ 3869163 w 7724301"/>
                  <a:gd name="connsiteY3271" fmla="*/ 257520 h 3959978"/>
                  <a:gd name="connsiteX3272" fmla="*/ 3855003 w 7724301"/>
                  <a:gd name="connsiteY3272" fmla="*/ 242459 h 3959978"/>
                  <a:gd name="connsiteX3273" fmla="*/ 3855003 w 7724301"/>
                  <a:gd name="connsiteY3273" fmla="*/ 227397 h 3959978"/>
                  <a:gd name="connsiteX3274" fmla="*/ 3841630 w 7724301"/>
                  <a:gd name="connsiteY3274" fmla="*/ 227397 h 3959978"/>
                  <a:gd name="connsiteX3275" fmla="*/ 3841630 w 7724301"/>
                  <a:gd name="connsiteY3275" fmla="*/ 213127 h 3959978"/>
                  <a:gd name="connsiteX3276" fmla="*/ 3841630 w 7724301"/>
                  <a:gd name="connsiteY3276" fmla="*/ 199651 h 3959978"/>
                  <a:gd name="connsiteX3277" fmla="*/ 3855003 w 7724301"/>
                  <a:gd name="connsiteY3277" fmla="*/ 199651 h 3959978"/>
                  <a:gd name="connsiteX3278" fmla="*/ 3869163 w 7724301"/>
                  <a:gd name="connsiteY3278" fmla="*/ 199651 h 3959978"/>
                  <a:gd name="connsiteX3279" fmla="*/ 3884108 w 7724301"/>
                  <a:gd name="connsiteY3279" fmla="*/ 199651 h 3959978"/>
                  <a:gd name="connsiteX3280" fmla="*/ 3897481 w 7724301"/>
                  <a:gd name="connsiteY3280" fmla="*/ 199651 h 3959978"/>
                  <a:gd name="connsiteX3281" fmla="*/ 3897481 w 7724301"/>
                  <a:gd name="connsiteY3281" fmla="*/ 213127 h 3959978"/>
                  <a:gd name="connsiteX3282" fmla="*/ 3911640 w 7724301"/>
                  <a:gd name="connsiteY3282" fmla="*/ 213127 h 3959978"/>
                  <a:gd name="connsiteX3283" fmla="*/ 3897481 w 7724301"/>
                  <a:gd name="connsiteY3283" fmla="*/ 199651 h 3959978"/>
                  <a:gd name="connsiteX3284" fmla="*/ 3911640 w 7724301"/>
                  <a:gd name="connsiteY3284" fmla="*/ 199651 h 3959978"/>
                  <a:gd name="connsiteX3285" fmla="*/ 3939959 w 7724301"/>
                  <a:gd name="connsiteY3285" fmla="*/ 199651 h 3959978"/>
                  <a:gd name="connsiteX3286" fmla="*/ 3983620 w 7724301"/>
                  <a:gd name="connsiteY3286" fmla="*/ 154613 h 3959978"/>
                  <a:gd name="connsiteX3287" fmla="*/ 3997083 w 7724301"/>
                  <a:gd name="connsiteY3287" fmla="*/ 154613 h 3959978"/>
                  <a:gd name="connsiteX3288" fmla="*/ 4010548 w 7724301"/>
                  <a:gd name="connsiteY3288" fmla="*/ 170220 h 3959978"/>
                  <a:gd name="connsiteX3289" fmla="*/ 4010548 w 7724301"/>
                  <a:gd name="connsiteY3289" fmla="*/ 154613 h 3959978"/>
                  <a:gd name="connsiteX3290" fmla="*/ 4024012 w 7724301"/>
                  <a:gd name="connsiteY3290" fmla="*/ 154613 h 3959978"/>
                  <a:gd name="connsiteX3291" fmla="*/ 4039852 w 7724301"/>
                  <a:gd name="connsiteY3291" fmla="*/ 154613 h 3959978"/>
                  <a:gd name="connsiteX3292" fmla="*/ 4068365 w 7724301"/>
                  <a:gd name="connsiteY3292" fmla="*/ 170220 h 3959978"/>
                  <a:gd name="connsiteX3293" fmla="*/ 4081829 w 7724301"/>
                  <a:gd name="connsiteY3293" fmla="*/ 154613 h 3959978"/>
                  <a:gd name="connsiteX3294" fmla="*/ 4096084 w 7724301"/>
                  <a:gd name="connsiteY3294" fmla="*/ 154613 h 3959978"/>
                  <a:gd name="connsiteX3295" fmla="*/ 4096084 w 7724301"/>
                  <a:gd name="connsiteY3295" fmla="*/ 170220 h 3959978"/>
                  <a:gd name="connsiteX3296" fmla="*/ 4111133 w 7724301"/>
                  <a:gd name="connsiteY3296" fmla="*/ 170220 h 3959978"/>
                  <a:gd name="connsiteX3297" fmla="*/ 4111133 w 7724301"/>
                  <a:gd name="connsiteY3297" fmla="*/ 154613 h 3959978"/>
                  <a:gd name="connsiteX3298" fmla="*/ 4124597 w 7724301"/>
                  <a:gd name="connsiteY3298" fmla="*/ 154613 h 3959978"/>
                  <a:gd name="connsiteX3299" fmla="*/ 4138061 w 7724301"/>
                  <a:gd name="connsiteY3299" fmla="*/ 154613 h 3959978"/>
                  <a:gd name="connsiteX3300" fmla="*/ 4152318 w 7724301"/>
                  <a:gd name="connsiteY3300" fmla="*/ 154613 h 3959978"/>
                  <a:gd name="connsiteX3301" fmla="*/ 4152318 w 7724301"/>
                  <a:gd name="connsiteY3301" fmla="*/ 170220 h 3959978"/>
                  <a:gd name="connsiteX3302" fmla="*/ 4167366 w 7724301"/>
                  <a:gd name="connsiteY3302" fmla="*/ 170220 h 3959978"/>
                  <a:gd name="connsiteX3303" fmla="*/ 4180830 w 7724301"/>
                  <a:gd name="connsiteY3303" fmla="*/ 185047 h 3959978"/>
                  <a:gd name="connsiteX3304" fmla="*/ 4152318 w 7724301"/>
                  <a:gd name="connsiteY3304" fmla="*/ 198313 h 3959978"/>
                  <a:gd name="connsiteX3305" fmla="*/ 4124597 w 7724301"/>
                  <a:gd name="connsiteY3305" fmla="*/ 213140 h 3959978"/>
                  <a:gd name="connsiteX3306" fmla="*/ 4096084 w 7724301"/>
                  <a:gd name="connsiteY3306" fmla="*/ 227187 h 3959978"/>
                  <a:gd name="connsiteX3307" fmla="*/ 4081829 w 7724301"/>
                  <a:gd name="connsiteY3307" fmla="*/ 227187 h 3959978"/>
                  <a:gd name="connsiteX3308" fmla="*/ 4081829 w 7724301"/>
                  <a:gd name="connsiteY3308" fmla="*/ 213140 h 3959978"/>
                  <a:gd name="connsiteX3309" fmla="*/ 4068365 w 7724301"/>
                  <a:gd name="connsiteY3309" fmla="*/ 213140 h 3959978"/>
                  <a:gd name="connsiteX3310" fmla="*/ 4039852 w 7724301"/>
                  <a:gd name="connsiteY3310" fmla="*/ 213140 h 3959978"/>
                  <a:gd name="connsiteX3311" fmla="*/ 4024012 w 7724301"/>
                  <a:gd name="connsiteY3311" fmla="*/ 213140 h 3959978"/>
                  <a:gd name="connsiteX3312" fmla="*/ 4010548 w 7724301"/>
                  <a:gd name="connsiteY3312" fmla="*/ 198313 h 3959978"/>
                  <a:gd name="connsiteX3313" fmla="*/ 3997083 w 7724301"/>
                  <a:gd name="connsiteY3313" fmla="*/ 185047 h 3959978"/>
                  <a:gd name="connsiteX3314" fmla="*/ 3983620 w 7724301"/>
                  <a:gd name="connsiteY3314" fmla="*/ 170220 h 3959978"/>
                  <a:gd name="connsiteX3315" fmla="*/ 5073798 w 7724301"/>
                  <a:gd name="connsiteY3315" fmla="*/ 149881 h 3959978"/>
                  <a:gd name="connsiteX3316" fmla="*/ 5100618 w 7724301"/>
                  <a:gd name="connsiteY3316" fmla="*/ 161693 h 3959978"/>
                  <a:gd name="connsiteX3317" fmla="*/ 5100618 w 7724301"/>
                  <a:gd name="connsiteY3317" fmla="*/ 212882 h 3959978"/>
                  <a:gd name="connsiteX3318" fmla="*/ 4991759 w 7724301"/>
                  <a:gd name="connsiteY3318" fmla="*/ 263282 h 3959978"/>
                  <a:gd name="connsiteX3319" fmla="*/ 4923918 w 7724301"/>
                  <a:gd name="connsiteY3319" fmla="*/ 312895 h 3959978"/>
                  <a:gd name="connsiteX3320" fmla="*/ 4828468 w 7724301"/>
                  <a:gd name="connsiteY3320" fmla="*/ 464096 h 3959978"/>
                  <a:gd name="connsiteX3321" fmla="*/ 4813481 w 7724301"/>
                  <a:gd name="connsiteY3321" fmla="*/ 489296 h 3959978"/>
                  <a:gd name="connsiteX3322" fmla="*/ 4813481 w 7724301"/>
                  <a:gd name="connsiteY3322" fmla="*/ 553085 h 3959978"/>
                  <a:gd name="connsiteX3323" fmla="*/ 4828468 w 7724301"/>
                  <a:gd name="connsiteY3323" fmla="*/ 577497 h 3959978"/>
                  <a:gd name="connsiteX3324" fmla="*/ 4855289 w 7724301"/>
                  <a:gd name="connsiteY3324" fmla="*/ 602698 h 3959978"/>
                  <a:gd name="connsiteX3325" fmla="*/ 4841879 w 7724301"/>
                  <a:gd name="connsiteY3325" fmla="*/ 615297 h 3959978"/>
                  <a:gd name="connsiteX3326" fmla="*/ 4772461 w 7724301"/>
                  <a:gd name="connsiteY3326" fmla="*/ 602698 h 3959978"/>
                  <a:gd name="connsiteX3327" fmla="*/ 4731441 w 7724301"/>
                  <a:gd name="connsiteY3327" fmla="*/ 553085 h 3959978"/>
                  <a:gd name="connsiteX3328" fmla="*/ 4731441 w 7724301"/>
                  <a:gd name="connsiteY3328" fmla="*/ 515284 h 3959978"/>
                  <a:gd name="connsiteX3329" fmla="*/ 4759050 w 7724301"/>
                  <a:gd name="connsiteY3329" fmla="*/ 501896 h 3959978"/>
                  <a:gd name="connsiteX3330" fmla="*/ 4744852 w 7724301"/>
                  <a:gd name="connsiteY3330" fmla="*/ 477484 h 3959978"/>
                  <a:gd name="connsiteX3331" fmla="*/ 4772461 w 7724301"/>
                  <a:gd name="connsiteY3331" fmla="*/ 452283 h 3959978"/>
                  <a:gd name="connsiteX3332" fmla="*/ 4785871 w 7724301"/>
                  <a:gd name="connsiteY3332" fmla="*/ 426295 h 3959978"/>
                  <a:gd name="connsiteX3333" fmla="*/ 4772461 w 7724301"/>
                  <a:gd name="connsiteY3333" fmla="*/ 401883 h 3959978"/>
                  <a:gd name="connsiteX3334" fmla="*/ 4799282 w 7724301"/>
                  <a:gd name="connsiteY3334" fmla="*/ 376682 h 3959978"/>
                  <a:gd name="connsiteX3335" fmla="*/ 4813481 w 7724301"/>
                  <a:gd name="connsiteY3335" fmla="*/ 338882 h 3959978"/>
                  <a:gd name="connsiteX3336" fmla="*/ 4813481 w 7724301"/>
                  <a:gd name="connsiteY3336" fmla="*/ 312895 h 3959978"/>
                  <a:gd name="connsiteX3337" fmla="*/ 4855289 w 7724301"/>
                  <a:gd name="connsiteY3337" fmla="*/ 288482 h 3959978"/>
                  <a:gd name="connsiteX3338" fmla="*/ 4896309 w 7724301"/>
                  <a:gd name="connsiteY3338" fmla="*/ 237294 h 3959978"/>
                  <a:gd name="connsiteX3339" fmla="*/ 4937329 w 7724301"/>
                  <a:gd name="connsiteY3339" fmla="*/ 212882 h 3959978"/>
                  <a:gd name="connsiteX3340" fmla="*/ 4978348 w 7724301"/>
                  <a:gd name="connsiteY3340" fmla="*/ 212882 h 3959978"/>
                  <a:gd name="connsiteX3341" fmla="*/ 5019368 w 7724301"/>
                  <a:gd name="connsiteY3341" fmla="*/ 199493 h 3959978"/>
                  <a:gd name="connsiteX3342" fmla="*/ 5046188 w 7724301"/>
                  <a:gd name="connsiteY3342" fmla="*/ 175081 h 3959978"/>
                  <a:gd name="connsiteX3343" fmla="*/ 4602859 w 7724301"/>
                  <a:gd name="connsiteY3343" fmla="*/ 140414 h 3959978"/>
                  <a:gd name="connsiteX3344" fmla="*/ 4616270 w 7724301"/>
                  <a:gd name="connsiteY3344" fmla="*/ 140414 h 3959978"/>
                  <a:gd name="connsiteX3345" fmla="*/ 4629680 w 7724301"/>
                  <a:gd name="connsiteY3345" fmla="*/ 140414 h 3959978"/>
                  <a:gd name="connsiteX3346" fmla="*/ 4658867 w 7724301"/>
                  <a:gd name="connsiteY3346" fmla="*/ 140414 h 3959978"/>
                  <a:gd name="connsiteX3347" fmla="*/ 4672277 w 7724301"/>
                  <a:gd name="connsiteY3347" fmla="*/ 140414 h 3959978"/>
                  <a:gd name="connsiteX3348" fmla="*/ 4685688 w 7724301"/>
                  <a:gd name="connsiteY3348" fmla="*/ 140414 h 3959978"/>
                  <a:gd name="connsiteX3349" fmla="*/ 4699886 w 7724301"/>
                  <a:gd name="connsiteY3349" fmla="*/ 140414 h 3959978"/>
                  <a:gd name="connsiteX3350" fmla="*/ 4699886 w 7724301"/>
                  <a:gd name="connsiteY3350" fmla="*/ 153824 h 3959978"/>
                  <a:gd name="connsiteX3351" fmla="*/ 4685688 w 7724301"/>
                  <a:gd name="connsiteY3351" fmla="*/ 153824 h 3959978"/>
                  <a:gd name="connsiteX3352" fmla="*/ 4672277 w 7724301"/>
                  <a:gd name="connsiteY3352" fmla="*/ 153824 h 3959978"/>
                  <a:gd name="connsiteX3353" fmla="*/ 4658867 w 7724301"/>
                  <a:gd name="connsiteY3353" fmla="*/ 153824 h 3959978"/>
                  <a:gd name="connsiteX3354" fmla="*/ 4643879 w 7724301"/>
                  <a:gd name="connsiteY3354" fmla="*/ 153824 h 3959978"/>
                  <a:gd name="connsiteX3355" fmla="*/ 4643879 w 7724301"/>
                  <a:gd name="connsiteY3355" fmla="*/ 169601 h 3959978"/>
                  <a:gd name="connsiteX3356" fmla="*/ 4629680 w 7724301"/>
                  <a:gd name="connsiteY3356" fmla="*/ 184589 h 3959978"/>
                  <a:gd name="connsiteX3357" fmla="*/ 4629680 w 7724301"/>
                  <a:gd name="connsiteY3357" fmla="*/ 169601 h 3959978"/>
                  <a:gd name="connsiteX3358" fmla="*/ 4616270 w 7724301"/>
                  <a:gd name="connsiteY3358" fmla="*/ 169601 h 3959978"/>
                  <a:gd name="connsiteX3359" fmla="*/ 4602859 w 7724301"/>
                  <a:gd name="connsiteY3359" fmla="*/ 153824 h 3959978"/>
                  <a:gd name="connsiteX3360" fmla="*/ 4616270 w 7724301"/>
                  <a:gd name="connsiteY3360" fmla="*/ 153824 h 3959978"/>
                  <a:gd name="connsiteX3361" fmla="*/ 4560262 w 7724301"/>
                  <a:gd name="connsiteY3361" fmla="*/ 140414 h 3959978"/>
                  <a:gd name="connsiteX3362" fmla="*/ 4587871 w 7724301"/>
                  <a:gd name="connsiteY3362" fmla="*/ 140414 h 3959978"/>
                  <a:gd name="connsiteX3363" fmla="*/ 4602859 w 7724301"/>
                  <a:gd name="connsiteY3363" fmla="*/ 140414 h 3959978"/>
                  <a:gd name="connsiteX3364" fmla="*/ 4587871 w 7724301"/>
                  <a:gd name="connsiteY3364" fmla="*/ 153824 h 3959978"/>
                  <a:gd name="connsiteX3365" fmla="*/ 4573673 w 7724301"/>
                  <a:gd name="connsiteY3365" fmla="*/ 153824 h 3959978"/>
                  <a:gd name="connsiteX3366" fmla="*/ 4560262 w 7724301"/>
                  <a:gd name="connsiteY3366" fmla="*/ 153824 h 3959978"/>
                  <a:gd name="connsiteX3367" fmla="*/ 4545274 w 7724301"/>
                  <a:gd name="connsiteY3367" fmla="*/ 153824 h 3959978"/>
                  <a:gd name="connsiteX3368" fmla="*/ 4770882 w 7724301"/>
                  <a:gd name="connsiteY3368" fmla="*/ 126215 h 3959978"/>
                  <a:gd name="connsiteX3369" fmla="*/ 4786008 w 7724301"/>
                  <a:gd name="connsiteY3369" fmla="*/ 126215 h 3959978"/>
                  <a:gd name="connsiteX3370" fmla="*/ 4799541 w 7724301"/>
                  <a:gd name="connsiteY3370" fmla="*/ 126215 h 3959978"/>
                  <a:gd name="connsiteX3371" fmla="*/ 4813870 w 7724301"/>
                  <a:gd name="connsiteY3371" fmla="*/ 126215 h 3959978"/>
                  <a:gd name="connsiteX3372" fmla="*/ 4828997 w 7724301"/>
                  <a:gd name="connsiteY3372" fmla="*/ 126215 h 3959978"/>
                  <a:gd name="connsiteX3373" fmla="*/ 4857655 w 7724301"/>
                  <a:gd name="connsiteY3373" fmla="*/ 126215 h 3959978"/>
                  <a:gd name="connsiteX3374" fmla="*/ 4857655 w 7724301"/>
                  <a:gd name="connsiteY3374" fmla="*/ 139625 h 3959978"/>
                  <a:gd name="connsiteX3375" fmla="*/ 4842530 w 7724301"/>
                  <a:gd name="connsiteY3375" fmla="*/ 139625 h 3959978"/>
                  <a:gd name="connsiteX3376" fmla="*/ 4828997 w 7724301"/>
                  <a:gd name="connsiteY3376" fmla="*/ 139625 h 3959978"/>
                  <a:gd name="connsiteX3377" fmla="*/ 4813870 w 7724301"/>
                  <a:gd name="connsiteY3377" fmla="*/ 154613 h 3959978"/>
                  <a:gd name="connsiteX3378" fmla="*/ 4799541 w 7724301"/>
                  <a:gd name="connsiteY3378" fmla="*/ 154613 h 3959978"/>
                  <a:gd name="connsiteX3379" fmla="*/ 4770882 w 7724301"/>
                  <a:gd name="connsiteY3379" fmla="*/ 139625 h 3959978"/>
                  <a:gd name="connsiteX3380" fmla="*/ 1625011 w 7724301"/>
                  <a:gd name="connsiteY3380" fmla="*/ 123849 h 3959978"/>
                  <a:gd name="connsiteX3381" fmla="*/ 1625011 w 7724301"/>
                  <a:gd name="connsiteY3381" fmla="*/ 136405 h 3959978"/>
                  <a:gd name="connsiteX3382" fmla="*/ 1638424 w 7724301"/>
                  <a:gd name="connsiteY3382" fmla="*/ 150537 h 3959978"/>
                  <a:gd name="connsiteX3383" fmla="*/ 1638424 w 7724301"/>
                  <a:gd name="connsiteY3383" fmla="*/ 165452 h 3959978"/>
                  <a:gd name="connsiteX3384" fmla="*/ 1651834 w 7724301"/>
                  <a:gd name="connsiteY3384" fmla="*/ 165452 h 3959978"/>
                  <a:gd name="connsiteX3385" fmla="*/ 1666819 w 7724301"/>
                  <a:gd name="connsiteY3385" fmla="*/ 165452 h 3959978"/>
                  <a:gd name="connsiteX3386" fmla="*/ 1681021 w 7724301"/>
                  <a:gd name="connsiteY3386" fmla="*/ 165452 h 3959978"/>
                  <a:gd name="connsiteX3387" fmla="*/ 1696008 w 7724301"/>
                  <a:gd name="connsiteY3387" fmla="*/ 178798 h 3959978"/>
                  <a:gd name="connsiteX3388" fmla="*/ 1696008 w 7724301"/>
                  <a:gd name="connsiteY3388" fmla="*/ 192144 h 3959978"/>
                  <a:gd name="connsiteX3389" fmla="*/ 1709418 w 7724301"/>
                  <a:gd name="connsiteY3389" fmla="*/ 192144 h 3959978"/>
                  <a:gd name="connsiteX3390" fmla="*/ 1709418 w 7724301"/>
                  <a:gd name="connsiteY3390" fmla="*/ 178798 h 3959978"/>
                  <a:gd name="connsiteX3391" fmla="*/ 1722829 w 7724301"/>
                  <a:gd name="connsiteY3391" fmla="*/ 178798 h 3959978"/>
                  <a:gd name="connsiteX3392" fmla="*/ 1722829 w 7724301"/>
                  <a:gd name="connsiteY3392" fmla="*/ 192144 h 3959978"/>
                  <a:gd name="connsiteX3393" fmla="*/ 1722829 w 7724301"/>
                  <a:gd name="connsiteY3393" fmla="*/ 206276 h 3959978"/>
                  <a:gd name="connsiteX3394" fmla="*/ 1738603 w 7724301"/>
                  <a:gd name="connsiteY3394" fmla="*/ 206276 h 3959978"/>
                  <a:gd name="connsiteX3395" fmla="*/ 1752016 w 7724301"/>
                  <a:gd name="connsiteY3395" fmla="*/ 206276 h 3959978"/>
                  <a:gd name="connsiteX3396" fmla="*/ 1765428 w 7724301"/>
                  <a:gd name="connsiteY3396" fmla="*/ 219622 h 3959978"/>
                  <a:gd name="connsiteX3397" fmla="*/ 1765428 w 7724301"/>
                  <a:gd name="connsiteY3397" fmla="*/ 231398 h 3959978"/>
                  <a:gd name="connsiteX3398" fmla="*/ 1738603 w 7724301"/>
                  <a:gd name="connsiteY3398" fmla="*/ 245529 h 3959978"/>
                  <a:gd name="connsiteX3399" fmla="*/ 1722986 w 7724301"/>
                  <a:gd name="connsiteY3399" fmla="*/ 258740 h 3959978"/>
                  <a:gd name="connsiteX3400" fmla="*/ 1735714 w 7724301"/>
                  <a:gd name="connsiteY3400" fmla="*/ 258740 h 3959978"/>
                  <a:gd name="connsiteX3401" fmla="*/ 1750739 w 7724301"/>
                  <a:gd name="connsiteY3401" fmla="*/ 258740 h 3959978"/>
                  <a:gd name="connsiteX3402" fmla="*/ 1764183 w 7724301"/>
                  <a:gd name="connsiteY3402" fmla="*/ 258740 h 3959978"/>
                  <a:gd name="connsiteX3403" fmla="*/ 1778415 w 7724301"/>
                  <a:gd name="connsiteY3403" fmla="*/ 245331 h 3959978"/>
                  <a:gd name="connsiteX3404" fmla="*/ 1791858 w 7724301"/>
                  <a:gd name="connsiteY3404" fmla="*/ 231131 h 3959978"/>
                  <a:gd name="connsiteX3405" fmla="*/ 1778415 w 7724301"/>
                  <a:gd name="connsiteY3405" fmla="*/ 205888 h 3959978"/>
                  <a:gd name="connsiteX3406" fmla="*/ 1750739 w 7724301"/>
                  <a:gd name="connsiteY3406" fmla="*/ 205888 h 3959978"/>
                  <a:gd name="connsiteX3407" fmla="*/ 1735714 w 7724301"/>
                  <a:gd name="connsiteY3407" fmla="*/ 191690 h 3959978"/>
                  <a:gd name="connsiteX3408" fmla="*/ 1750739 w 7724301"/>
                  <a:gd name="connsiteY3408" fmla="*/ 191690 h 3959978"/>
                  <a:gd name="connsiteX3409" fmla="*/ 1750739 w 7724301"/>
                  <a:gd name="connsiteY3409" fmla="*/ 178280 h 3959978"/>
                  <a:gd name="connsiteX3410" fmla="*/ 1764183 w 7724301"/>
                  <a:gd name="connsiteY3410" fmla="*/ 178280 h 3959978"/>
                  <a:gd name="connsiteX3411" fmla="*/ 1778415 w 7724301"/>
                  <a:gd name="connsiteY3411" fmla="*/ 178280 h 3959978"/>
                  <a:gd name="connsiteX3412" fmla="*/ 1791858 w 7724301"/>
                  <a:gd name="connsiteY3412" fmla="*/ 178280 h 3959978"/>
                  <a:gd name="connsiteX3413" fmla="*/ 1818741 w 7724301"/>
                  <a:gd name="connsiteY3413" fmla="*/ 191690 h 3959978"/>
                  <a:gd name="connsiteX3414" fmla="*/ 1818741 w 7724301"/>
                  <a:gd name="connsiteY3414" fmla="*/ 205888 h 3959978"/>
                  <a:gd name="connsiteX3415" fmla="*/ 1834554 w 7724301"/>
                  <a:gd name="connsiteY3415" fmla="*/ 205888 h 3959978"/>
                  <a:gd name="connsiteX3416" fmla="*/ 1818741 w 7724301"/>
                  <a:gd name="connsiteY3416" fmla="*/ 191690 h 3959978"/>
                  <a:gd name="connsiteX3417" fmla="*/ 1818741 w 7724301"/>
                  <a:gd name="connsiteY3417" fmla="*/ 178280 h 3959978"/>
                  <a:gd name="connsiteX3418" fmla="*/ 1834554 w 7724301"/>
                  <a:gd name="connsiteY3418" fmla="*/ 178280 h 3959978"/>
                  <a:gd name="connsiteX3419" fmla="*/ 1847995 w 7724301"/>
                  <a:gd name="connsiteY3419" fmla="*/ 178280 h 3959978"/>
                  <a:gd name="connsiteX3420" fmla="*/ 1861439 w 7724301"/>
                  <a:gd name="connsiteY3420" fmla="*/ 178280 h 3959978"/>
                  <a:gd name="connsiteX3421" fmla="*/ 1874881 w 7724301"/>
                  <a:gd name="connsiteY3421" fmla="*/ 164869 h 3959978"/>
                  <a:gd name="connsiteX3422" fmla="*/ 1861439 w 7724301"/>
                  <a:gd name="connsiteY3422" fmla="*/ 164869 h 3959978"/>
                  <a:gd name="connsiteX3423" fmla="*/ 1847995 w 7724301"/>
                  <a:gd name="connsiteY3423" fmla="*/ 164869 h 3959978"/>
                  <a:gd name="connsiteX3424" fmla="*/ 1818741 w 7724301"/>
                  <a:gd name="connsiteY3424" fmla="*/ 164869 h 3959978"/>
                  <a:gd name="connsiteX3425" fmla="*/ 1805296 w 7724301"/>
                  <a:gd name="connsiteY3425" fmla="*/ 164869 h 3959978"/>
                  <a:gd name="connsiteX3426" fmla="*/ 1791858 w 7724301"/>
                  <a:gd name="connsiteY3426" fmla="*/ 164869 h 3959978"/>
                  <a:gd name="connsiteX3427" fmla="*/ 1778415 w 7724301"/>
                  <a:gd name="connsiteY3427" fmla="*/ 164869 h 3959978"/>
                  <a:gd name="connsiteX3428" fmla="*/ 1764183 w 7724301"/>
                  <a:gd name="connsiteY3428" fmla="*/ 164869 h 3959978"/>
                  <a:gd name="connsiteX3429" fmla="*/ 1750739 w 7724301"/>
                  <a:gd name="connsiteY3429" fmla="*/ 164869 h 3959978"/>
                  <a:gd name="connsiteX3430" fmla="*/ 1735714 w 7724301"/>
                  <a:gd name="connsiteY3430" fmla="*/ 164869 h 3959978"/>
                  <a:gd name="connsiteX3431" fmla="*/ 1721482 w 7724301"/>
                  <a:gd name="connsiteY3431" fmla="*/ 164869 h 3959978"/>
                  <a:gd name="connsiteX3432" fmla="*/ 1694599 w 7724301"/>
                  <a:gd name="connsiteY3432" fmla="*/ 164869 h 3959978"/>
                  <a:gd name="connsiteX3433" fmla="*/ 1679576 w 7724301"/>
                  <a:gd name="connsiteY3433" fmla="*/ 151458 h 3959978"/>
                  <a:gd name="connsiteX3434" fmla="*/ 1694599 w 7724301"/>
                  <a:gd name="connsiteY3434" fmla="*/ 151458 h 3959978"/>
                  <a:gd name="connsiteX3435" fmla="*/ 1708041 w 7724301"/>
                  <a:gd name="connsiteY3435" fmla="*/ 137260 h 3959978"/>
                  <a:gd name="connsiteX3436" fmla="*/ 1694599 w 7724301"/>
                  <a:gd name="connsiteY3436" fmla="*/ 137260 h 3959978"/>
                  <a:gd name="connsiteX3437" fmla="*/ 1679576 w 7724301"/>
                  <a:gd name="connsiteY3437" fmla="*/ 137260 h 3959978"/>
                  <a:gd name="connsiteX3438" fmla="*/ 1679576 w 7724301"/>
                  <a:gd name="connsiteY3438" fmla="*/ 123849 h 3959978"/>
                  <a:gd name="connsiteX3439" fmla="*/ 1665343 w 7724301"/>
                  <a:gd name="connsiteY3439" fmla="*/ 123849 h 3959978"/>
                  <a:gd name="connsiteX3440" fmla="*/ 1651901 w 7724301"/>
                  <a:gd name="connsiteY3440" fmla="*/ 123849 h 3959978"/>
                  <a:gd name="connsiteX3441" fmla="*/ 1636878 w 7724301"/>
                  <a:gd name="connsiteY3441" fmla="*/ 123849 h 3959978"/>
                  <a:gd name="connsiteX3442" fmla="*/ 4813870 w 7724301"/>
                  <a:gd name="connsiteY3442" fmla="*/ 111227 h 3959978"/>
                  <a:gd name="connsiteX3443" fmla="*/ 4828997 w 7724301"/>
                  <a:gd name="connsiteY3443" fmla="*/ 111227 h 3959978"/>
                  <a:gd name="connsiteX3444" fmla="*/ 4813870 w 7724301"/>
                  <a:gd name="connsiteY3444" fmla="*/ 126215 h 3959978"/>
                  <a:gd name="connsiteX3445" fmla="*/ 4799541 w 7724301"/>
                  <a:gd name="connsiteY3445" fmla="*/ 111227 h 3959978"/>
                  <a:gd name="connsiteX3446" fmla="*/ 4813870 w 7724301"/>
                  <a:gd name="connsiteY3446" fmla="*/ 111227 h 3959978"/>
                  <a:gd name="connsiteX3447" fmla="*/ 4799541 w 7724301"/>
                  <a:gd name="connsiteY3447" fmla="*/ 126215 h 3959978"/>
                  <a:gd name="connsiteX3448" fmla="*/ 4842530 w 7724301"/>
                  <a:gd name="connsiteY3448" fmla="*/ 97816 h 3959978"/>
                  <a:gd name="connsiteX3449" fmla="*/ 4857655 w 7724301"/>
                  <a:gd name="connsiteY3449" fmla="*/ 97816 h 3959978"/>
                  <a:gd name="connsiteX3450" fmla="*/ 4857655 w 7724301"/>
                  <a:gd name="connsiteY3450" fmla="*/ 111227 h 3959978"/>
                  <a:gd name="connsiteX3451" fmla="*/ 4842530 w 7724301"/>
                  <a:gd name="connsiteY3451" fmla="*/ 111227 h 3959978"/>
                  <a:gd name="connsiteX3452" fmla="*/ 4828997 w 7724301"/>
                  <a:gd name="connsiteY3452" fmla="*/ 111227 h 3959978"/>
                  <a:gd name="connsiteX3453" fmla="*/ 5866166 w 7724301"/>
                  <a:gd name="connsiteY3453" fmla="*/ 86773 h 3959978"/>
                  <a:gd name="connsiteX3454" fmla="*/ 5907195 w 7724301"/>
                  <a:gd name="connsiteY3454" fmla="*/ 112793 h 3959978"/>
                  <a:gd name="connsiteX3455" fmla="*/ 5866166 w 7724301"/>
                  <a:gd name="connsiteY3455" fmla="*/ 138023 h 3959978"/>
                  <a:gd name="connsiteX3456" fmla="*/ 5934021 w 7724301"/>
                  <a:gd name="connsiteY3456" fmla="*/ 150639 h 3959978"/>
                  <a:gd name="connsiteX3457" fmla="*/ 5907195 w 7724301"/>
                  <a:gd name="connsiteY3457" fmla="*/ 200311 h 3959978"/>
                  <a:gd name="connsiteX3458" fmla="*/ 5948224 w 7724301"/>
                  <a:gd name="connsiteY3458" fmla="*/ 200311 h 3959978"/>
                  <a:gd name="connsiteX3459" fmla="*/ 5948224 w 7724301"/>
                  <a:gd name="connsiteY3459" fmla="*/ 175869 h 3959978"/>
                  <a:gd name="connsiteX3460" fmla="*/ 6016079 w 7724301"/>
                  <a:gd name="connsiteY3460" fmla="*/ 175869 h 3959978"/>
                  <a:gd name="connsiteX3461" fmla="*/ 6072099 w 7724301"/>
                  <a:gd name="connsiteY3461" fmla="*/ 226330 h 3959978"/>
                  <a:gd name="connsiteX3462" fmla="*/ 6072099 w 7724301"/>
                  <a:gd name="connsiteY3462" fmla="*/ 302022 h 3959978"/>
                  <a:gd name="connsiteX3463" fmla="*/ 5934021 w 7724301"/>
                  <a:gd name="connsiteY3463" fmla="*/ 415561 h 3959978"/>
                  <a:gd name="connsiteX3464" fmla="*/ 5920608 w 7724301"/>
                  <a:gd name="connsiteY3464" fmla="*/ 453406 h 3959978"/>
                  <a:gd name="connsiteX3465" fmla="*/ 5934021 w 7724301"/>
                  <a:gd name="connsiteY3465" fmla="*/ 453406 h 3959978"/>
                  <a:gd name="connsiteX3466" fmla="*/ 5988464 w 7724301"/>
                  <a:gd name="connsiteY3466" fmla="*/ 427387 h 3959978"/>
                  <a:gd name="connsiteX3467" fmla="*/ 5975051 w 7724301"/>
                  <a:gd name="connsiteY3467" fmla="*/ 402945 h 3959978"/>
                  <a:gd name="connsiteX3468" fmla="*/ 5988464 w 7724301"/>
                  <a:gd name="connsiteY3468" fmla="*/ 389542 h 3959978"/>
                  <a:gd name="connsiteX3469" fmla="*/ 6072099 w 7724301"/>
                  <a:gd name="connsiteY3469" fmla="*/ 427387 h 3959978"/>
                  <a:gd name="connsiteX3470" fmla="*/ 6113129 w 7724301"/>
                  <a:gd name="connsiteY3470" fmla="*/ 402945 h 3959978"/>
                  <a:gd name="connsiteX3471" fmla="*/ 6180984 w 7724301"/>
                  <a:gd name="connsiteY3471" fmla="*/ 415561 h 3959978"/>
                  <a:gd name="connsiteX3472" fmla="*/ 6167570 w 7724301"/>
                  <a:gd name="connsiteY3472" fmla="*/ 453406 h 3959978"/>
                  <a:gd name="connsiteX3473" fmla="*/ 6276455 w 7724301"/>
                  <a:gd name="connsiteY3473" fmla="*/ 465233 h 3959978"/>
                  <a:gd name="connsiteX3474" fmla="*/ 6263041 w 7724301"/>
                  <a:gd name="connsiteY3474" fmla="*/ 440791 h 3959978"/>
                  <a:gd name="connsiteX3475" fmla="*/ 6276455 w 7724301"/>
                  <a:gd name="connsiteY3475" fmla="*/ 415561 h 3959978"/>
                  <a:gd name="connsiteX3476" fmla="*/ 6304071 w 7724301"/>
                  <a:gd name="connsiteY3476" fmla="*/ 415561 h 3959978"/>
                  <a:gd name="connsiteX3477" fmla="*/ 6385339 w 7724301"/>
                  <a:gd name="connsiteY3477" fmla="*/ 440791 h 3959978"/>
                  <a:gd name="connsiteX3478" fmla="*/ 6412955 w 7724301"/>
                  <a:gd name="connsiteY3478" fmla="*/ 478637 h 3959978"/>
                  <a:gd name="connsiteX3479" fmla="*/ 6399542 w 7724301"/>
                  <a:gd name="connsiteY3479" fmla="*/ 540925 h 3959978"/>
                  <a:gd name="connsiteX3480" fmla="*/ 6426368 w 7724301"/>
                  <a:gd name="connsiteY3480" fmla="*/ 592175 h 3959978"/>
                  <a:gd name="connsiteX3481" fmla="*/ 6453984 w 7724301"/>
                  <a:gd name="connsiteY3481" fmla="*/ 604002 h 3959978"/>
                  <a:gd name="connsiteX3482" fmla="*/ 6480810 w 7724301"/>
                  <a:gd name="connsiteY3482" fmla="*/ 528310 h 3959978"/>
                  <a:gd name="connsiteX3483" fmla="*/ 6521839 w 7724301"/>
                  <a:gd name="connsiteY3483" fmla="*/ 566156 h 3959978"/>
                  <a:gd name="connsiteX3484" fmla="*/ 6549455 w 7724301"/>
                  <a:gd name="connsiteY3484" fmla="*/ 554330 h 3959978"/>
                  <a:gd name="connsiteX3485" fmla="*/ 6562869 w 7724301"/>
                  <a:gd name="connsiteY3485" fmla="*/ 554330 h 3959978"/>
                  <a:gd name="connsiteX3486" fmla="*/ 6646504 w 7724301"/>
                  <a:gd name="connsiteY3486" fmla="*/ 554330 h 3959978"/>
                  <a:gd name="connsiteX3487" fmla="*/ 6618888 w 7724301"/>
                  <a:gd name="connsiteY3487" fmla="*/ 516483 h 3959978"/>
                  <a:gd name="connsiteX3488" fmla="*/ 6646504 w 7724301"/>
                  <a:gd name="connsiteY3488" fmla="*/ 465233 h 3959978"/>
                  <a:gd name="connsiteX3489" fmla="*/ 6755388 w 7724301"/>
                  <a:gd name="connsiteY3489" fmla="*/ 490464 h 3959978"/>
                  <a:gd name="connsiteX3490" fmla="*/ 6850859 w 7724301"/>
                  <a:gd name="connsiteY3490" fmla="*/ 516483 h 3959978"/>
                  <a:gd name="connsiteX3491" fmla="*/ 6850859 w 7724301"/>
                  <a:gd name="connsiteY3491" fmla="*/ 554330 h 3959978"/>
                  <a:gd name="connsiteX3492" fmla="*/ 6864273 w 7724301"/>
                  <a:gd name="connsiteY3492" fmla="*/ 566156 h 3959978"/>
                  <a:gd name="connsiteX3493" fmla="*/ 6891889 w 7724301"/>
                  <a:gd name="connsiteY3493" fmla="*/ 566156 h 3959978"/>
                  <a:gd name="connsiteX3494" fmla="*/ 6905302 w 7724301"/>
                  <a:gd name="connsiteY3494" fmla="*/ 604002 h 3959978"/>
                  <a:gd name="connsiteX3495" fmla="*/ 6987360 w 7724301"/>
                  <a:gd name="connsiteY3495" fmla="*/ 578771 h 3959978"/>
                  <a:gd name="connsiteX3496" fmla="*/ 7041801 w 7724301"/>
                  <a:gd name="connsiteY3496" fmla="*/ 592175 h 3959978"/>
                  <a:gd name="connsiteX3497" fmla="*/ 7068628 w 7724301"/>
                  <a:gd name="connsiteY3497" fmla="*/ 630021 h 3959978"/>
                  <a:gd name="connsiteX3498" fmla="*/ 7055215 w 7724301"/>
                  <a:gd name="connsiteY3498" fmla="*/ 654464 h 3959978"/>
                  <a:gd name="connsiteX3499" fmla="*/ 7082041 w 7724301"/>
                  <a:gd name="connsiteY3499" fmla="*/ 667867 h 3959978"/>
                  <a:gd name="connsiteX3500" fmla="*/ 7150686 w 7724301"/>
                  <a:gd name="connsiteY3500" fmla="*/ 667867 h 3959978"/>
                  <a:gd name="connsiteX3501" fmla="*/ 7220119 w 7724301"/>
                  <a:gd name="connsiteY3501" fmla="*/ 679694 h 3959978"/>
                  <a:gd name="connsiteX3502" fmla="*/ 7247735 w 7724301"/>
                  <a:gd name="connsiteY3502" fmla="*/ 654464 h 3959978"/>
                  <a:gd name="connsiteX3503" fmla="*/ 7274562 w 7724301"/>
                  <a:gd name="connsiteY3503" fmla="*/ 654464 h 3959978"/>
                  <a:gd name="connsiteX3504" fmla="*/ 7261149 w 7724301"/>
                  <a:gd name="connsiteY3504" fmla="*/ 667867 h 3959978"/>
                  <a:gd name="connsiteX3505" fmla="*/ 7247735 w 7724301"/>
                  <a:gd name="connsiteY3505" fmla="*/ 667867 h 3959978"/>
                  <a:gd name="connsiteX3506" fmla="*/ 7247735 w 7724301"/>
                  <a:gd name="connsiteY3506" fmla="*/ 692309 h 3959978"/>
                  <a:gd name="connsiteX3507" fmla="*/ 7274562 w 7724301"/>
                  <a:gd name="connsiteY3507" fmla="*/ 717540 h 3959978"/>
                  <a:gd name="connsiteX3508" fmla="*/ 7302177 w 7724301"/>
                  <a:gd name="connsiteY3508" fmla="*/ 705713 h 3959978"/>
                  <a:gd name="connsiteX3509" fmla="*/ 7302177 w 7724301"/>
                  <a:gd name="connsiteY3509" fmla="*/ 641848 h 3959978"/>
                  <a:gd name="connsiteX3510" fmla="*/ 7411061 w 7724301"/>
                  <a:gd name="connsiteY3510" fmla="*/ 654464 h 3959978"/>
                  <a:gd name="connsiteX3511" fmla="*/ 7493119 w 7724301"/>
                  <a:gd name="connsiteY3511" fmla="*/ 705713 h 3959978"/>
                  <a:gd name="connsiteX3512" fmla="*/ 7615417 w 7724301"/>
                  <a:gd name="connsiteY3512" fmla="*/ 805847 h 3959978"/>
                  <a:gd name="connsiteX3513" fmla="*/ 7684061 w 7724301"/>
                  <a:gd name="connsiteY3513" fmla="*/ 819251 h 3959978"/>
                  <a:gd name="connsiteX3514" fmla="*/ 7724301 w 7724301"/>
                  <a:gd name="connsiteY3514" fmla="*/ 857097 h 3959978"/>
                  <a:gd name="connsiteX3515" fmla="*/ 7697474 w 7724301"/>
                  <a:gd name="connsiteY3515" fmla="*/ 881540 h 3959978"/>
                  <a:gd name="connsiteX3516" fmla="*/ 7669858 w 7724301"/>
                  <a:gd name="connsiteY3516" fmla="*/ 881540 h 3959978"/>
                  <a:gd name="connsiteX3517" fmla="*/ 7669858 w 7724301"/>
                  <a:gd name="connsiteY3517" fmla="*/ 906770 h 3959978"/>
                  <a:gd name="connsiteX3518" fmla="*/ 7656446 w 7724301"/>
                  <a:gd name="connsiteY3518" fmla="*/ 944616 h 3959978"/>
                  <a:gd name="connsiteX3519" fmla="*/ 7588590 w 7724301"/>
                  <a:gd name="connsiteY3519" fmla="*/ 906770 h 3959978"/>
                  <a:gd name="connsiteX3520" fmla="*/ 7560975 w 7724301"/>
                  <a:gd name="connsiteY3520" fmla="*/ 881540 h 3959978"/>
                  <a:gd name="connsiteX3521" fmla="*/ 7534148 w 7724301"/>
                  <a:gd name="connsiteY3521" fmla="*/ 881540 h 3959978"/>
                  <a:gd name="connsiteX3522" fmla="*/ 7519946 w 7724301"/>
                  <a:gd name="connsiteY3522" fmla="*/ 843693 h 3959978"/>
                  <a:gd name="connsiteX3523" fmla="*/ 7506532 w 7724301"/>
                  <a:gd name="connsiteY3523" fmla="*/ 857097 h 3959978"/>
                  <a:gd name="connsiteX3524" fmla="*/ 7519946 w 7724301"/>
                  <a:gd name="connsiteY3524" fmla="*/ 881540 h 3959978"/>
                  <a:gd name="connsiteX3525" fmla="*/ 7493119 w 7724301"/>
                  <a:gd name="connsiteY3525" fmla="*/ 906770 h 3959978"/>
                  <a:gd name="connsiteX3526" fmla="*/ 7465504 w 7724301"/>
                  <a:gd name="connsiteY3526" fmla="*/ 919385 h 3959978"/>
                  <a:gd name="connsiteX3527" fmla="*/ 7452091 w 7724301"/>
                  <a:gd name="connsiteY3527" fmla="*/ 919385 h 3959978"/>
                  <a:gd name="connsiteX3528" fmla="*/ 7452091 w 7724301"/>
                  <a:gd name="connsiteY3528" fmla="*/ 944616 h 3959978"/>
                  <a:gd name="connsiteX3529" fmla="*/ 7465504 w 7724301"/>
                  <a:gd name="connsiteY3529" fmla="*/ 944616 h 3959978"/>
                  <a:gd name="connsiteX3530" fmla="*/ 7493119 w 7724301"/>
                  <a:gd name="connsiteY3530" fmla="*/ 1020307 h 3959978"/>
                  <a:gd name="connsiteX3531" fmla="*/ 7478917 w 7724301"/>
                  <a:gd name="connsiteY3531" fmla="*/ 1032134 h 3959978"/>
                  <a:gd name="connsiteX3532" fmla="*/ 7438677 w 7724301"/>
                  <a:gd name="connsiteY3532" fmla="*/ 1020307 h 3959978"/>
                  <a:gd name="connsiteX3533" fmla="*/ 7302177 w 7724301"/>
                  <a:gd name="connsiteY3533" fmla="*/ 1107827 h 3959978"/>
                  <a:gd name="connsiteX3534" fmla="*/ 7288764 w 7724301"/>
                  <a:gd name="connsiteY3534" fmla="*/ 1133846 h 3959978"/>
                  <a:gd name="connsiteX3535" fmla="*/ 7261149 w 7724301"/>
                  <a:gd name="connsiteY3535" fmla="*/ 1107827 h 3959978"/>
                  <a:gd name="connsiteX3536" fmla="*/ 7220119 w 7724301"/>
                  <a:gd name="connsiteY3536" fmla="*/ 1122019 h 3959978"/>
                  <a:gd name="connsiteX3537" fmla="*/ 7206706 w 7724301"/>
                  <a:gd name="connsiteY3537" fmla="*/ 1133846 h 3959978"/>
                  <a:gd name="connsiteX3538" fmla="*/ 7206706 w 7724301"/>
                  <a:gd name="connsiteY3538" fmla="*/ 1107827 h 3959978"/>
                  <a:gd name="connsiteX3539" fmla="*/ 7164099 w 7724301"/>
                  <a:gd name="connsiteY3539" fmla="*/ 1133846 h 3959978"/>
                  <a:gd name="connsiteX3540" fmla="*/ 7137272 w 7724301"/>
                  <a:gd name="connsiteY3540" fmla="*/ 1133846 h 3959978"/>
                  <a:gd name="connsiteX3541" fmla="*/ 7137272 w 7724301"/>
                  <a:gd name="connsiteY3541" fmla="*/ 1159865 h 3959978"/>
                  <a:gd name="connsiteX3542" fmla="*/ 7109657 w 7724301"/>
                  <a:gd name="connsiteY3542" fmla="*/ 1197711 h 3959978"/>
                  <a:gd name="connsiteX3543" fmla="*/ 7109657 w 7724301"/>
                  <a:gd name="connsiteY3543" fmla="*/ 1209538 h 3959978"/>
                  <a:gd name="connsiteX3544" fmla="*/ 7123071 w 7724301"/>
                  <a:gd name="connsiteY3544" fmla="*/ 1209538 h 3959978"/>
                  <a:gd name="connsiteX3545" fmla="*/ 7137272 w 7724301"/>
                  <a:gd name="connsiteY3545" fmla="*/ 1209538 h 3959978"/>
                  <a:gd name="connsiteX3546" fmla="*/ 7123071 w 7724301"/>
                  <a:gd name="connsiteY3546" fmla="*/ 1247383 h 3959978"/>
                  <a:gd name="connsiteX3547" fmla="*/ 7137272 w 7724301"/>
                  <a:gd name="connsiteY3547" fmla="*/ 1247383 h 3959978"/>
                  <a:gd name="connsiteX3548" fmla="*/ 7137272 w 7724301"/>
                  <a:gd name="connsiteY3548" fmla="*/ 1273402 h 3959978"/>
                  <a:gd name="connsiteX3549" fmla="*/ 7123071 w 7724301"/>
                  <a:gd name="connsiteY3549" fmla="*/ 1273402 h 3959978"/>
                  <a:gd name="connsiteX3550" fmla="*/ 7096244 w 7724301"/>
                  <a:gd name="connsiteY3550" fmla="*/ 1285230 h 3959978"/>
                  <a:gd name="connsiteX3551" fmla="*/ 7109657 w 7724301"/>
                  <a:gd name="connsiteY3551" fmla="*/ 1323076 h 3959978"/>
                  <a:gd name="connsiteX3552" fmla="*/ 7082041 w 7724301"/>
                  <a:gd name="connsiteY3552" fmla="*/ 1334903 h 3959978"/>
                  <a:gd name="connsiteX3553" fmla="*/ 7068628 w 7724301"/>
                  <a:gd name="connsiteY3553" fmla="*/ 1334903 h 3959978"/>
                  <a:gd name="connsiteX3554" fmla="*/ 7068628 w 7724301"/>
                  <a:gd name="connsiteY3554" fmla="*/ 1372749 h 3959978"/>
                  <a:gd name="connsiteX3555" fmla="*/ 7055215 w 7724301"/>
                  <a:gd name="connsiteY3555" fmla="*/ 1372749 h 3959978"/>
                  <a:gd name="connsiteX3556" fmla="*/ 7027600 w 7724301"/>
                  <a:gd name="connsiteY3556" fmla="*/ 1423998 h 3959978"/>
                  <a:gd name="connsiteX3557" fmla="*/ 7000773 w 7724301"/>
                  <a:gd name="connsiteY3557" fmla="*/ 1448440 h 3959978"/>
                  <a:gd name="connsiteX3558" fmla="*/ 6973157 w 7724301"/>
                  <a:gd name="connsiteY3558" fmla="*/ 1297057 h 3959978"/>
                  <a:gd name="connsiteX3559" fmla="*/ 7000773 w 7724301"/>
                  <a:gd name="connsiteY3559" fmla="*/ 1209538 h 3959978"/>
                  <a:gd name="connsiteX3560" fmla="*/ 7027600 w 7724301"/>
                  <a:gd name="connsiteY3560" fmla="*/ 1197711 h 3959978"/>
                  <a:gd name="connsiteX3561" fmla="*/ 7109657 w 7724301"/>
                  <a:gd name="connsiteY3561" fmla="*/ 1107827 h 3959978"/>
                  <a:gd name="connsiteX3562" fmla="*/ 7137272 w 7724301"/>
                  <a:gd name="connsiteY3562" fmla="*/ 1096000 h 3959978"/>
                  <a:gd name="connsiteX3563" fmla="*/ 7150686 w 7724301"/>
                  <a:gd name="connsiteY3563" fmla="*/ 1032134 h 3959978"/>
                  <a:gd name="connsiteX3564" fmla="*/ 7164099 w 7724301"/>
                  <a:gd name="connsiteY3564" fmla="*/ 1020307 h 3959978"/>
                  <a:gd name="connsiteX3565" fmla="*/ 7137272 w 7724301"/>
                  <a:gd name="connsiteY3565" fmla="*/ 1020307 h 3959978"/>
                  <a:gd name="connsiteX3566" fmla="*/ 7137272 w 7724301"/>
                  <a:gd name="connsiteY3566" fmla="*/ 1058154 h 3959978"/>
                  <a:gd name="connsiteX3567" fmla="*/ 7068628 w 7724301"/>
                  <a:gd name="connsiteY3567" fmla="*/ 1096000 h 3959978"/>
                  <a:gd name="connsiteX3568" fmla="*/ 7068628 w 7724301"/>
                  <a:gd name="connsiteY3568" fmla="*/ 1069981 h 3959978"/>
                  <a:gd name="connsiteX3569" fmla="*/ 7068628 w 7724301"/>
                  <a:gd name="connsiteY3569" fmla="*/ 1046327 h 3959978"/>
                  <a:gd name="connsiteX3570" fmla="*/ 7000773 w 7724301"/>
                  <a:gd name="connsiteY3570" fmla="*/ 1058154 h 3959978"/>
                  <a:gd name="connsiteX3571" fmla="*/ 6946330 w 7724301"/>
                  <a:gd name="connsiteY3571" fmla="*/ 1145673 h 3959978"/>
                  <a:gd name="connsiteX3572" fmla="*/ 6959744 w 7724301"/>
                  <a:gd name="connsiteY3572" fmla="*/ 1159865 h 3959978"/>
                  <a:gd name="connsiteX3573" fmla="*/ 6877686 w 7724301"/>
                  <a:gd name="connsiteY3573" fmla="*/ 1171692 h 3959978"/>
                  <a:gd name="connsiteX3574" fmla="*/ 6877686 w 7724301"/>
                  <a:gd name="connsiteY3574" fmla="*/ 1159865 h 3959978"/>
                  <a:gd name="connsiteX3575" fmla="*/ 6891889 w 7724301"/>
                  <a:gd name="connsiteY3575" fmla="*/ 1145673 h 3959978"/>
                  <a:gd name="connsiteX3576" fmla="*/ 6877686 w 7724301"/>
                  <a:gd name="connsiteY3576" fmla="*/ 1145673 h 3959978"/>
                  <a:gd name="connsiteX3577" fmla="*/ 6836658 w 7724301"/>
                  <a:gd name="connsiteY3577" fmla="*/ 1133846 h 3959978"/>
                  <a:gd name="connsiteX3578" fmla="*/ 6823244 w 7724301"/>
                  <a:gd name="connsiteY3578" fmla="*/ 1159865 h 3959978"/>
                  <a:gd name="connsiteX3579" fmla="*/ 6782215 w 7724301"/>
                  <a:gd name="connsiteY3579" fmla="*/ 1145673 h 3959978"/>
                  <a:gd name="connsiteX3580" fmla="*/ 6768802 w 7724301"/>
                  <a:gd name="connsiteY3580" fmla="*/ 1159865 h 3959978"/>
                  <a:gd name="connsiteX3581" fmla="*/ 6755388 w 7724301"/>
                  <a:gd name="connsiteY3581" fmla="*/ 1145673 h 3959978"/>
                  <a:gd name="connsiteX3582" fmla="*/ 6700947 w 7724301"/>
                  <a:gd name="connsiteY3582" fmla="*/ 1159865 h 3959978"/>
                  <a:gd name="connsiteX3583" fmla="*/ 6576282 w 7724301"/>
                  <a:gd name="connsiteY3583" fmla="*/ 1273402 h 3959978"/>
                  <a:gd name="connsiteX3584" fmla="*/ 6535253 w 7724301"/>
                  <a:gd name="connsiteY3584" fmla="*/ 1311249 h 3959978"/>
                  <a:gd name="connsiteX3585" fmla="*/ 6535253 w 7724301"/>
                  <a:gd name="connsiteY3585" fmla="*/ 1323076 h 3959978"/>
                  <a:gd name="connsiteX3586" fmla="*/ 6562869 w 7724301"/>
                  <a:gd name="connsiteY3586" fmla="*/ 1323076 h 3959978"/>
                  <a:gd name="connsiteX3587" fmla="*/ 6576282 w 7724301"/>
                  <a:gd name="connsiteY3587" fmla="*/ 1334903 h 3959978"/>
                  <a:gd name="connsiteX3588" fmla="*/ 6590484 w 7724301"/>
                  <a:gd name="connsiteY3588" fmla="*/ 1334903 h 3959978"/>
                  <a:gd name="connsiteX3589" fmla="*/ 6576282 w 7724301"/>
                  <a:gd name="connsiteY3589" fmla="*/ 1360922 h 3959978"/>
                  <a:gd name="connsiteX3590" fmla="*/ 6603897 w 7724301"/>
                  <a:gd name="connsiteY3590" fmla="*/ 1360922 h 3959978"/>
                  <a:gd name="connsiteX3591" fmla="*/ 6618888 w 7724301"/>
                  <a:gd name="connsiteY3591" fmla="*/ 1334903 h 3959978"/>
                  <a:gd name="connsiteX3592" fmla="*/ 6632301 w 7724301"/>
                  <a:gd name="connsiteY3592" fmla="*/ 1334903 h 3959978"/>
                  <a:gd name="connsiteX3593" fmla="*/ 6659917 w 7724301"/>
                  <a:gd name="connsiteY3593" fmla="*/ 1372749 h 3959978"/>
                  <a:gd name="connsiteX3594" fmla="*/ 6659917 w 7724301"/>
                  <a:gd name="connsiteY3594" fmla="*/ 1410595 h 3959978"/>
                  <a:gd name="connsiteX3595" fmla="*/ 6646504 w 7724301"/>
                  <a:gd name="connsiteY3595" fmla="*/ 1436614 h 3959978"/>
                  <a:gd name="connsiteX3596" fmla="*/ 6646504 w 7724301"/>
                  <a:gd name="connsiteY3596" fmla="*/ 1524132 h 3959978"/>
                  <a:gd name="connsiteX3597" fmla="*/ 6521839 w 7724301"/>
                  <a:gd name="connsiteY3597" fmla="*/ 1663690 h 3959978"/>
                  <a:gd name="connsiteX3598" fmla="*/ 6480810 w 7724301"/>
                  <a:gd name="connsiteY3598" fmla="*/ 1688920 h 3959978"/>
                  <a:gd name="connsiteX3599" fmla="*/ 6467398 w 7724301"/>
                  <a:gd name="connsiteY3599" fmla="*/ 1675516 h 3959978"/>
                  <a:gd name="connsiteX3600" fmla="*/ 6467398 w 7724301"/>
                  <a:gd name="connsiteY3600" fmla="*/ 1663690 h 3959978"/>
                  <a:gd name="connsiteX3601" fmla="*/ 6455388 w 7724301"/>
                  <a:gd name="connsiteY3601" fmla="*/ 1663690 h 3959978"/>
                  <a:gd name="connsiteX3602" fmla="*/ 6440989 w 7724301"/>
                  <a:gd name="connsiteY3602" fmla="*/ 1686773 h 3959978"/>
                  <a:gd name="connsiteX3603" fmla="*/ 6439971 w 7724301"/>
                  <a:gd name="connsiteY3603" fmla="*/ 1688407 h 3959978"/>
                  <a:gd name="connsiteX3604" fmla="*/ 6426567 w 7724301"/>
                  <a:gd name="connsiteY3604" fmla="*/ 1688407 h 3959978"/>
                  <a:gd name="connsiteX3605" fmla="*/ 6399625 w 7724301"/>
                  <a:gd name="connsiteY3605" fmla="*/ 1701091 h 3959978"/>
                  <a:gd name="connsiteX3606" fmla="*/ 6385432 w 7724301"/>
                  <a:gd name="connsiteY3606" fmla="*/ 1701091 h 3959978"/>
                  <a:gd name="connsiteX3607" fmla="*/ 6372026 w 7724301"/>
                  <a:gd name="connsiteY3607" fmla="*/ 1712930 h 3959978"/>
                  <a:gd name="connsiteX3608" fmla="*/ 6358622 w 7724301"/>
                  <a:gd name="connsiteY3608" fmla="*/ 1712930 h 3959978"/>
                  <a:gd name="connsiteX3609" fmla="*/ 6309339 w 7724301"/>
                  <a:gd name="connsiteY3609" fmla="*/ 1747163 h 3959978"/>
                  <a:gd name="connsiteX3610" fmla="*/ 6357874 w 7724301"/>
                  <a:gd name="connsiteY3610" fmla="*/ 1713998 h 3959978"/>
                  <a:gd name="connsiteX3611" fmla="*/ 6371440 w 7724301"/>
                  <a:gd name="connsiteY3611" fmla="*/ 1713998 h 3959978"/>
                  <a:gd name="connsiteX3612" fmla="*/ 6385006 w 7724301"/>
                  <a:gd name="connsiteY3612" fmla="*/ 1702240 h 3959978"/>
                  <a:gd name="connsiteX3613" fmla="*/ 6399371 w 7724301"/>
                  <a:gd name="connsiteY3613" fmla="*/ 1702240 h 3959978"/>
                  <a:gd name="connsiteX3614" fmla="*/ 6426503 w 7724301"/>
                  <a:gd name="connsiteY3614" fmla="*/ 1689697 h 3959978"/>
                  <a:gd name="connsiteX3615" fmla="*/ 6440069 w 7724301"/>
                  <a:gd name="connsiteY3615" fmla="*/ 1689697 h 3959978"/>
                  <a:gd name="connsiteX3616" fmla="*/ 6412937 w 7724301"/>
                  <a:gd name="connsiteY3616" fmla="*/ 1713998 h 3959978"/>
                  <a:gd name="connsiteX3617" fmla="*/ 6412937 w 7724301"/>
                  <a:gd name="connsiteY3617" fmla="*/ 1739866 h 3959978"/>
                  <a:gd name="connsiteX3618" fmla="*/ 6357874 w 7724301"/>
                  <a:gd name="connsiteY3618" fmla="*/ 1764951 h 3959978"/>
                  <a:gd name="connsiteX3619" fmla="*/ 6357874 w 7724301"/>
                  <a:gd name="connsiteY3619" fmla="*/ 1777492 h 3959978"/>
                  <a:gd name="connsiteX3620" fmla="*/ 6385006 w 7724301"/>
                  <a:gd name="connsiteY3620" fmla="*/ 1789251 h 3959978"/>
                  <a:gd name="connsiteX3621" fmla="*/ 6384373 w 7724301"/>
                  <a:gd name="connsiteY3621" fmla="*/ 1789641 h 3959978"/>
                  <a:gd name="connsiteX3622" fmla="*/ 6398261 w 7724301"/>
                  <a:gd name="connsiteY3622" fmla="*/ 1814333 h 3959978"/>
                  <a:gd name="connsiteX3623" fmla="*/ 6411672 w 7724301"/>
                  <a:gd name="connsiteY3623" fmla="*/ 1852197 h 3959978"/>
                  <a:gd name="connsiteX3624" fmla="*/ 6398261 w 7724301"/>
                  <a:gd name="connsiteY3624" fmla="*/ 1878229 h 3959978"/>
                  <a:gd name="connsiteX3625" fmla="*/ 6343830 w 7724301"/>
                  <a:gd name="connsiteY3625" fmla="*/ 1890061 h 3959978"/>
                  <a:gd name="connsiteX3626" fmla="*/ 6343830 w 7724301"/>
                  <a:gd name="connsiteY3626" fmla="*/ 1878229 h 3959978"/>
                  <a:gd name="connsiteX3627" fmla="*/ 6343830 w 7724301"/>
                  <a:gd name="connsiteY3627" fmla="*/ 1864818 h 3959978"/>
                  <a:gd name="connsiteX3628" fmla="*/ 6343830 w 7724301"/>
                  <a:gd name="connsiteY3628" fmla="*/ 1826954 h 3959978"/>
                  <a:gd name="connsiteX3629" fmla="*/ 6343830 w 7724301"/>
                  <a:gd name="connsiteY3629" fmla="*/ 1814335 h 3959978"/>
                  <a:gd name="connsiteX3630" fmla="*/ 6329943 w 7724301"/>
                  <a:gd name="connsiteY3630" fmla="*/ 1814335 h 3959978"/>
                  <a:gd name="connsiteX3631" fmla="*/ 6316376 w 7724301"/>
                  <a:gd name="connsiteY3631" fmla="*/ 1814335 h 3959978"/>
                  <a:gd name="connsiteX3632" fmla="*/ 6302810 w 7724301"/>
                  <a:gd name="connsiteY3632" fmla="*/ 1802577 h 3959978"/>
                  <a:gd name="connsiteX3633" fmla="*/ 6316376 w 7724301"/>
                  <a:gd name="connsiteY3633" fmla="*/ 1764951 h 3959978"/>
                  <a:gd name="connsiteX3634" fmla="*/ 6302810 w 7724301"/>
                  <a:gd name="connsiteY3634" fmla="*/ 1764951 h 3959978"/>
                  <a:gd name="connsiteX3635" fmla="*/ 6302810 w 7724301"/>
                  <a:gd name="connsiteY3635" fmla="*/ 1764260 h 3959978"/>
                  <a:gd name="connsiteX3636" fmla="*/ 6276484 w 7724301"/>
                  <a:gd name="connsiteY3636" fmla="*/ 1764260 h 3959978"/>
                  <a:gd name="connsiteX3637" fmla="*/ 6235349 w 7724301"/>
                  <a:gd name="connsiteY3637" fmla="*/ 1788700 h 3959978"/>
                  <a:gd name="connsiteX3638" fmla="*/ 6235349 w 7724301"/>
                  <a:gd name="connsiteY3638" fmla="*/ 1776861 h 3959978"/>
                  <a:gd name="connsiteX3639" fmla="*/ 6235349 w 7724301"/>
                  <a:gd name="connsiteY3639" fmla="*/ 1764260 h 3959978"/>
                  <a:gd name="connsiteX3640" fmla="*/ 6249674 w 7724301"/>
                  <a:gd name="connsiteY3640" fmla="*/ 1738975 h 3959978"/>
                  <a:gd name="connsiteX3641" fmla="*/ 6235349 w 7724301"/>
                  <a:gd name="connsiteY3641" fmla="*/ 1726292 h 3959978"/>
                  <a:gd name="connsiteX3642" fmla="*/ 6194346 w 7724301"/>
                  <a:gd name="connsiteY3642" fmla="*/ 1764260 h 3959978"/>
                  <a:gd name="connsiteX3643" fmla="*/ 6180941 w 7724301"/>
                  <a:gd name="connsiteY3643" fmla="*/ 1776861 h 3959978"/>
                  <a:gd name="connsiteX3644" fmla="*/ 6167536 w 7724301"/>
                  <a:gd name="connsiteY3644" fmla="*/ 1776861 h 3959978"/>
                  <a:gd name="connsiteX3645" fmla="*/ 6154131 w 7724301"/>
                  <a:gd name="connsiteY3645" fmla="*/ 1788700 h 3959978"/>
                  <a:gd name="connsiteX3646" fmla="*/ 6194346 w 7724301"/>
                  <a:gd name="connsiteY3646" fmla="*/ 1826584 h 3959978"/>
                  <a:gd name="connsiteX3647" fmla="*/ 6221944 w 7724301"/>
                  <a:gd name="connsiteY3647" fmla="*/ 1813984 h 3959978"/>
                  <a:gd name="connsiteX3648" fmla="*/ 6263079 w 7724301"/>
                  <a:gd name="connsiteY3648" fmla="*/ 1826584 h 3959978"/>
                  <a:gd name="connsiteX3649" fmla="*/ 6263079 w 7724301"/>
                  <a:gd name="connsiteY3649" fmla="*/ 1840030 h 3959978"/>
                  <a:gd name="connsiteX3650" fmla="*/ 6249674 w 7724301"/>
                  <a:gd name="connsiteY3650" fmla="*/ 1826584 h 3959978"/>
                  <a:gd name="connsiteX3651" fmla="*/ 6221944 w 7724301"/>
                  <a:gd name="connsiteY3651" fmla="*/ 1840030 h 3959978"/>
                  <a:gd name="connsiteX3652" fmla="*/ 6194346 w 7724301"/>
                  <a:gd name="connsiteY3652" fmla="*/ 1877914 h 3959978"/>
                  <a:gd name="connsiteX3653" fmla="*/ 6208539 w 7724301"/>
                  <a:gd name="connsiteY3653" fmla="*/ 1889753 h 3959978"/>
                  <a:gd name="connsiteX3654" fmla="*/ 6221944 w 7724301"/>
                  <a:gd name="connsiteY3654" fmla="*/ 1940322 h 3959978"/>
                  <a:gd name="connsiteX3655" fmla="*/ 6249674 w 7724301"/>
                  <a:gd name="connsiteY3655" fmla="*/ 1953683 h 3959978"/>
                  <a:gd name="connsiteX3656" fmla="*/ 6235349 w 7724301"/>
                  <a:gd name="connsiteY3656" fmla="*/ 1953683 h 3959978"/>
                  <a:gd name="connsiteX3657" fmla="*/ 6249674 w 7724301"/>
                  <a:gd name="connsiteY3657" fmla="*/ 1978207 h 3959978"/>
                  <a:gd name="connsiteX3658" fmla="*/ 6208539 w 7724301"/>
                  <a:gd name="connsiteY3658" fmla="*/ 1991653 h 3959978"/>
                  <a:gd name="connsiteX3659" fmla="*/ 6249674 w 7724301"/>
                  <a:gd name="connsiteY3659" fmla="*/ 1991653 h 3959978"/>
                  <a:gd name="connsiteX3660" fmla="*/ 6235349 w 7724301"/>
                  <a:gd name="connsiteY3660" fmla="*/ 2041376 h 3959978"/>
                  <a:gd name="connsiteX3661" fmla="*/ 6208539 w 7724301"/>
                  <a:gd name="connsiteY3661" fmla="*/ 2067421 h 3959978"/>
                  <a:gd name="connsiteX3662" fmla="*/ 6194346 w 7724301"/>
                  <a:gd name="connsiteY3662" fmla="*/ 2067421 h 3959978"/>
                  <a:gd name="connsiteX3663" fmla="*/ 6194346 w 7724301"/>
                  <a:gd name="connsiteY3663" fmla="*/ 2091860 h 3959978"/>
                  <a:gd name="connsiteX3664" fmla="*/ 6180941 w 7724301"/>
                  <a:gd name="connsiteY3664" fmla="*/ 2117145 h 3959978"/>
                  <a:gd name="connsiteX3665" fmla="*/ 6167536 w 7724301"/>
                  <a:gd name="connsiteY3665" fmla="*/ 2117145 h 3959978"/>
                  <a:gd name="connsiteX3666" fmla="*/ 6167536 w 7724301"/>
                  <a:gd name="connsiteY3666" fmla="*/ 2129829 h 3959978"/>
                  <a:gd name="connsiteX3667" fmla="*/ 6126402 w 7724301"/>
                  <a:gd name="connsiteY3667" fmla="*/ 2155029 h 3959978"/>
                  <a:gd name="connsiteX3668" fmla="*/ 6085397 w 7724301"/>
                  <a:gd name="connsiteY3668" fmla="*/ 2155029 h 3959978"/>
                  <a:gd name="connsiteX3669" fmla="*/ 6085397 w 7724301"/>
                  <a:gd name="connsiteY3669" fmla="*/ 2167714 h 3959978"/>
                  <a:gd name="connsiteX3670" fmla="*/ 6071993 w 7724301"/>
                  <a:gd name="connsiteY3670" fmla="*/ 2155029 h 3959978"/>
                  <a:gd name="connsiteX3671" fmla="*/ 6071993 w 7724301"/>
                  <a:gd name="connsiteY3671" fmla="*/ 2167714 h 3959978"/>
                  <a:gd name="connsiteX3672" fmla="*/ 6058457 w 7724301"/>
                  <a:gd name="connsiteY3672" fmla="*/ 2167714 h 3959978"/>
                  <a:gd name="connsiteX3673" fmla="*/ 6004048 w 7724301"/>
                  <a:gd name="connsiteY3673" fmla="*/ 2192998 h 3959978"/>
                  <a:gd name="connsiteX3674" fmla="*/ 5989855 w 7724301"/>
                  <a:gd name="connsiteY3674" fmla="*/ 2205598 h 3959978"/>
                  <a:gd name="connsiteX3675" fmla="*/ 5989855 w 7724301"/>
                  <a:gd name="connsiteY3675" fmla="*/ 2181160 h 3959978"/>
                  <a:gd name="connsiteX3676" fmla="*/ 5962914 w 7724301"/>
                  <a:gd name="connsiteY3676" fmla="*/ 2181160 h 3959978"/>
                  <a:gd name="connsiteX3677" fmla="*/ 5948720 w 7724301"/>
                  <a:gd name="connsiteY3677" fmla="*/ 2181160 h 3959978"/>
                  <a:gd name="connsiteX3678" fmla="*/ 5947629 w 7724301"/>
                  <a:gd name="connsiteY3678" fmla="*/ 2181160 h 3959978"/>
                  <a:gd name="connsiteX3679" fmla="*/ 5920224 w 7724301"/>
                  <a:gd name="connsiteY3679" fmla="*/ 2192873 h 3959978"/>
                  <a:gd name="connsiteX3680" fmla="*/ 5906813 w 7724301"/>
                  <a:gd name="connsiteY3680" fmla="*/ 2218834 h 3959978"/>
                  <a:gd name="connsiteX3681" fmla="*/ 5892613 w 7724301"/>
                  <a:gd name="connsiteY3681" fmla="*/ 2230634 h 3959978"/>
                  <a:gd name="connsiteX3682" fmla="*/ 5961244 w 7724301"/>
                  <a:gd name="connsiteY3682" fmla="*/ 2317959 h 3959978"/>
                  <a:gd name="connsiteX3683" fmla="*/ 5974653 w 7724301"/>
                  <a:gd name="connsiteY3683" fmla="*/ 2343920 h 3959978"/>
                  <a:gd name="connsiteX3684" fmla="*/ 5961244 w 7724301"/>
                  <a:gd name="connsiteY3684" fmla="*/ 2393482 h 3959978"/>
                  <a:gd name="connsiteX3685" fmla="*/ 5933633 w 7724301"/>
                  <a:gd name="connsiteY3685" fmla="*/ 2407642 h 3959978"/>
                  <a:gd name="connsiteX3686" fmla="*/ 5920224 w 7724301"/>
                  <a:gd name="connsiteY3686" fmla="*/ 2407642 h 3959978"/>
                  <a:gd name="connsiteX3687" fmla="*/ 5906813 w 7724301"/>
                  <a:gd name="connsiteY3687" fmla="*/ 2431244 h 3959978"/>
                  <a:gd name="connsiteX3688" fmla="*/ 5879204 w 7724301"/>
                  <a:gd name="connsiteY3688" fmla="*/ 2445405 h 3959978"/>
                  <a:gd name="connsiteX3689" fmla="*/ 5879204 w 7724301"/>
                  <a:gd name="connsiteY3689" fmla="*/ 2419444 h 3959978"/>
                  <a:gd name="connsiteX3690" fmla="*/ 5865793 w 7724301"/>
                  <a:gd name="connsiteY3690" fmla="*/ 2407642 h 3959978"/>
                  <a:gd name="connsiteX3691" fmla="*/ 5885659 w 7724301"/>
                  <a:gd name="connsiteY3691" fmla="*/ 2397155 h 3959978"/>
                  <a:gd name="connsiteX3692" fmla="*/ 5866924 w 7724301"/>
                  <a:gd name="connsiteY3692" fmla="*/ 2405963 h 3959978"/>
                  <a:gd name="connsiteX3693" fmla="*/ 5840373 w 7724301"/>
                  <a:gd name="connsiteY3693" fmla="*/ 2405963 h 3959978"/>
                  <a:gd name="connsiteX3694" fmla="*/ 5840373 w 7724301"/>
                  <a:gd name="connsiteY3694" fmla="*/ 2393676 h 3959978"/>
                  <a:gd name="connsiteX3695" fmla="*/ 5840373 w 7724301"/>
                  <a:gd name="connsiteY3695" fmla="*/ 2381387 h 3959978"/>
                  <a:gd name="connsiteX3696" fmla="*/ 5827928 w 7724301"/>
                  <a:gd name="connsiteY3696" fmla="*/ 2357236 h 3959978"/>
                  <a:gd name="connsiteX3697" fmla="*/ 5830445 w 7724301"/>
                  <a:gd name="connsiteY3697" fmla="*/ 2352095 h 3959978"/>
                  <a:gd name="connsiteX3698" fmla="*/ 5828241 w 7724301"/>
                  <a:gd name="connsiteY3698" fmla="*/ 2351077 h 3959978"/>
                  <a:gd name="connsiteX3699" fmla="*/ 5825101 w 7724301"/>
                  <a:gd name="connsiteY3699" fmla="*/ 2356660 h 3959978"/>
                  <a:gd name="connsiteX3700" fmla="*/ 5838446 w 7724301"/>
                  <a:gd name="connsiteY3700" fmla="*/ 2382759 h 3959978"/>
                  <a:gd name="connsiteX3701" fmla="*/ 5838446 w 7724301"/>
                  <a:gd name="connsiteY3701" fmla="*/ 2394623 h 3959978"/>
                  <a:gd name="connsiteX3702" fmla="*/ 5811755 w 7724301"/>
                  <a:gd name="connsiteY3702" fmla="*/ 2370895 h 3959978"/>
                  <a:gd name="connsiteX3703" fmla="*/ 5798409 w 7724301"/>
                  <a:gd name="connsiteY3703" fmla="*/ 2370895 h 3959978"/>
                  <a:gd name="connsiteX3704" fmla="*/ 5798409 w 7724301"/>
                  <a:gd name="connsiteY3704" fmla="*/ 2356660 h 3959978"/>
                  <a:gd name="connsiteX3705" fmla="*/ 5770934 w 7724301"/>
                  <a:gd name="connsiteY3705" fmla="*/ 2356660 h 3959978"/>
                  <a:gd name="connsiteX3706" fmla="*/ 5770934 w 7724301"/>
                  <a:gd name="connsiteY3706" fmla="*/ 2382759 h 3959978"/>
                  <a:gd name="connsiteX3707" fmla="*/ 5757588 w 7724301"/>
                  <a:gd name="connsiteY3707" fmla="*/ 2344795 h 3959978"/>
                  <a:gd name="connsiteX3708" fmla="*/ 5743458 w 7724301"/>
                  <a:gd name="connsiteY3708" fmla="*/ 2318696 h 3959978"/>
                  <a:gd name="connsiteX3709" fmla="*/ 5743458 w 7724301"/>
                  <a:gd name="connsiteY3709" fmla="*/ 2295774 h 3959978"/>
                  <a:gd name="connsiteX3710" fmla="*/ 5742626 w 7724301"/>
                  <a:gd name="connsiteY3710" fmla="*/ 2294941 h 3959978"/>
                  <a:gd name="connsiteX3711" fmla="*/ 5742734 w 7724301"/>
                  <a:gd name="connsiteY3711" fmla="*/ 2295249 h 3959978"/>
                  <a:gd name="connsiteX3712" fmla="*/ 5742734 w 7724301"/>
                  <a:gd name="connsiteY3712" fmla="*/ 2318961 h 3959978"/>
                  <a:gd name="connsiteX3713" fmla="*/ 5756933 w 7724301"/>
                  <a:gd name="connsiteY3713" fmla="*/ 2345045 h 3959978"/>
                  <a:gd name="connsiteX3714" fmla="*/ 5768766 w 7724301"/>
                  <a:gd name="connsiteY3714" fmla="*/ 2382986 h 3959978"/>
                  <a:gd name="connsiteX3715" fmla="*/ 5742734 w 7724301"/>
                  <a:gd name="connsiteY3715" fmla="*/ 2432784 h 3959978"/>
                  <a:gd name="connsiteX3716" fmla="*/ 5742734 w 7724301"/>
                  <a:gd name="connsiteY3716" fmla="*/ 2371130 h 3959978"/>
                  <a:gd name="connsiteX3717" fmla="*/ 5715913 w 7724301"/>
                  <a:gd name="connsiteY3717" fmla="*/ 2295249 h 3959978"/>
                  <a:gd name="connsiteX3718" fmla="*/ 5702504 w 7724301"/>
                  <a:gd name="connsiteY3718" fmla="*/ 2281811 h 3959978"/>
                  <a:gd name="connsiteX3719" fmla="*/ 5674894 w 7724301"/>
                  <a:gd name="connsiteY3719" fmla="*/ 2307104 h 3959978"/>
                  <a:gd name="connsiteX3720" fmla="*/ 5647285 w 7724301"/>
                  <a:gd name="connsiteY3720" fmla="*/ 2295249 h 3959978"/>
                  <a:gd name="connsiteX3721" fmla="*/ 5661483 w 7724301"/>
                  <a:gd name="connsiteY3721" fmla="*/ 2281811 h 3959978"/>
                  <a:gd name="connsiteX3722" fmla="*/ 5647285 w 7724301"/>
                  <a:gd name="connsiteY3722" fmla="*/ 2243871 h 3959978"/>
                  <a:gd name="connsiteX3723" fmla="*/ 5633874 w 7724301"/>
                  <a:gd name="connsiteY3723" fmla="*/ 2219367 h 3959978"/>
                  <a:gd name="connsiteX3724" fmla="*/ 5607054 w 7724301"/>
                  <a:gd name="connsiteY3724" fmla="*/ 2193282 h 3959978"/>
                  <a:gd name="connsiteX3725" fmla="*/ 5620465 w 7724301"/>
                  <a:gd name="connsiteY3725" fmla="*/ 2181426 h 3959978"/>
                  <a:gd name="connsiteX3726" fmla="*/ 5620465 w 7724301"/>
                  <a:gd name="connsiteY3726" fmla="*/ 2167989 h 3959978"/>
                  <a:gd name="connsiteX3727" fmla="*/ 5620643 w 7724301"/>
                  <a:gd name="connsiteY3727" fmla="*/ 2167664 h 3959978"/>
                  <a:gd name="connsiteX3728" fmla="*/ 5620062 w 7724301"/>
                  <a:gd name="connsiteY3728" fmla="*/ 2167025 h 3959978"/>
                  <a:gd name="connsiteX3729" fmla="*/ 5619696 w 7724301"/>
                  <a:gd name="connsiteY3729" fmla="*/ 2167712 h 3959978"/>
                  <a:gd name="connsiteX3730" fmla="*/ 5619696 w 7724301"/>
                  <a:gd name="connsiteY3730" fmla="*/ 2181948 h 3959978"/>
                  <a:gd name="connsiteX3731" fmla="*/ 5619464 w 7724301"/>
                  <a:gd name="connsiteY3731" fmla="*/ 2181331 h 3959978"/>
                  <a:gd name="connsiteX3732" fmla="*/ 5606265 w 7724301"/>
                  <a:gd name="connsiteY3732" fmla="*/ 2192977 h 3959978"/>
                  <a:gd name="connsiteX3733" fmla="*/ 5592066 w 7724301"/>
                  <a:gd name="connsiteY3733" fmla="*/ 2155113 h 3959978"/>
                  <a:gd name="connsiteX3734" fmla="*/ 5563668 w 7724301"/>
                  <a:gd name="connsiteY3734" fmla="*/ 2181145 h 3959978"/>
                  <a:gd name="connsiteX3735" fmla="*/ 5537469 w 7724301"/>
                  <a:gd name="connsiteY3735" fmla="*/ 2181145 h 3959978"/>
                  <a:gd name="connsiteX3736" fmla="*/ 5537645 w 7724301"/>
                  <a:gd name="connsiteY3736" fmla="*/ 2181948 h 3959978"/>
                  <a:gd name="connsiteX3737" fmla="*/ 5523428 w 7724301"/>
                  <a:gd name="connsiteY3737" fmla="*/ 2181948 h 3959978"/>
                  <a:gd name="connsiteX3738" fmla="*/ 5523428 w 7724301"/>
                  <a:gd name="connsiteY3738" fmla="*/ 2167712 h 3959978"/>
                  <a:gd name="connsiteX3739" fmla="*/ 5496620 w 7724301"/>
                  <a:gd name="connsiteY3739" fmla="*/ 2181948 h 3959978"/>
                  <a:gd name="connsiteX3740" fmla="*/ 5482402 w 7724301"/>
                  <a:gd name="connsiteY3740" fmla="*/ 2219813 h 3959978"/>
                  <a:gd name="connsiteX3741" fmla="*/ 5455595 w 7724301"/>
                  <a:gd name="connsiteY3741" fmla="*/ 2230839 h 3959978"/>
                  <a:gd name="connsiteX3742" fmla="*/ 5387763 w 7724301"/>
                  <a:gd name="connsiteY3742" fmla="*/ 2281304 h 3959978"/>
                  <a:gd name="connsiteX3743" fmla="*/ 5387763 w 7724301"/>
                  <a:gd name="connsiteY3743" fmla="*/ 2295541 h 3959978"/>
                  <a:gd name="connsiteX3744" fmla="*/ 5373545 w 7724301"/>
                  <a:gd name="connsiteY3744" fmla="*/ 2295541 h 3959978"/>
                  <a:gd name="connsiteX3745" fmla="*/ 5360955 w 7724301"/>
                  <a:gd name="connsiteY3745" fmla="*/ 2306568 h 3959978"/>
                  <a:gd name="connsiteX3746" fmla="*/ 5346737 w 7724301"/>
                  <a:gd name="connsiteY3746" fmla="*/ 2306568 h 3959978"/>
                  <a:gd name="connsiteX3747" fmla="*/ 5346737 w 7724301"/>
                  <a:gd name="connsiteY3747" fmla="*/ 2319169 h 3959978"/>
                  <a:gd name="connsiteX3748" fmla="*/ 5346737 w 7724301"/>
                  <a:gd name="connsiteY3748" fmla="*/ 2357033 h 3959978"/>
                  <a:gd name="connsiteX3749" fmla="*/ 5332520 w 7724301"/>
                  <a:gd name="connsiteY3749" fmla="*/ 2382296 h 3959978"/>
                  <a:gd name="connsiteX3750" fmla="*/ 5332520 w 7724301"/>
                  <a:gd name="connsiteY3750" fmla="*/ 2420160 h 3959978"/>
                  <a:gd name="connsiteX3751" fmla="*/ 5319929 w 7724301"/>
                  <a:gd name="connsiteY3751" fmla="*/ 2432761 h 3959978"/>
                  <a:gd name="connsiteX3752" fmla="*/ 5305712 w 7724301"/>
                  <a:gd name="connsiteY3752" fmla="*/ 2446999 h 3959978"/>
                  <a:gd name="connsiteX3753" fmla="*/ 5291494 w 7724301"/>
                  <a:gd name="connsiteY3753" fmla="*/ 2458025 h 3959978"/>
                  <a:gd name="connsiteX3754" fmla="*/ 5264687 w 7724301"/>
                  <a:gd name="connsiteY3754" fmla="*/ 2446999 h 3959978"/>
                  <a:gd name="connsiteX3755" fmla="*/ 5223661 w 7724301"/>
                  <a:gd name="connsiteY3755" fmla="*/ 2333406 h 3959978"/>
                  <a:gd name="connsiteX3756" fmla="*/ 5196855 w 7724301"/>
                  <a:gd name="connsiteY3756" fmla="*/ 2295541 h 3959978"/>
                  <a:gd name="connsiteX3757" fmla="*/ 5182636 w 7724301"/>
                  <a:gd name="connsiteY3757" fmla="*/ 2219813 h 3959978"/>
                  <a:gd name="connsiteX3758" fmla="*/ 5182636 w 7724301"/>
                  <a:gd name="connsiteY3758" fmla="*/ 2167712 h 3959978"/>
                  <a:gd name="connsiteX3759" fmla="*/ 5170047 w 7724301"/>
                  <a:gd name="connsiteY3759" fmla="*/ 2192975 h 3959978"/>
                  <a:gd name="connsiteX3760" fmla="*/ 5141611 w 7724301"/>
                  <a:gd name="connsiteY3760" fmla="*/ 2205576 h 3959978"/>
                  <a:gd name="connsiteX3761" fmla="*/ 5100648 w 7724301"/>
                  <a:gd name="connsiteY3761" fmla="*/ 2167712 h 3959978"/>
                  <a:gd name="connsiteX3762" fmla="*/ 5129021 w 7724301"/>
                  <a:gd name="connsiteY3762" fmla="*/ 2167712 h 3959978"/>
                  <a:gd name="connsiteX3763" fmla="*/ 5129021 w 7724301"/>
                  <a:gd name="connsiteY3763" fmla="*/ 2155111 h 3959978"/>
                  <a:gd name="connsiteX3764" fmla="*/ 5114804 w 7724301"/>
                  <a:gd name="connsiteY3764" fmla="*/ 2155111 h 3959978"/>
                  <a:gd name="connsiteX3765" fmla="*/ 5087996 w 7724301"/>
                  <a:gd name="connsiteY3765" fmla="*/ 2144084 h 3959978"/>
                  <a:gd name="connsiteX3766" fmla="*/ 5100648 w 7724301"/>
                  <a:gd name="connsiteY3766" fmla="*/ 2129847 h 3959978"/>
                  <a:gd name="connsiteX3767" fmla="*/ 5141611 w 7724301"/>
                  <a:gd name="connsiteY3767" fmla="*/ 2129847 h 3959978"/>
                  <a:gd name="connsiteX3768" fmla="*/ 5141611 w 7724301"/>
                  <a:gd name="connsiteY3768" fmla="*/ 2129112 h 3959978"/>
                  <a:gd name="connsiteX3769" fmla="*/ 5101045 w 7724301"/>
                  <a:gd name="connsiteY3769" fmla="*/ 2129112 h 3959978"/>
                  <a:gd name="connsiteX3770" fmla="*/ 5087707 w 7724301"/>
                  <a:gd name="connsiteY3770" fmla="*/ 2142491 h 3959978"/>
                  <a:gd name="connsiteX3771" fmla="*/ 5074279 w 7724301"/>
                  <a:gd name="connsiteY3771" fmla="*/ 2129112 h 3959978"/>
                  <a:gd name="connsiteX3772" fmla="*/ 5060881 w 7724301"/>
                  <a:gd name="connsiteY3772" fmla="*/ 2104721 h 3959978"/>
                  <a:gd name="connsiteX3773" fmla="*/ 5019940 w 7724301"/>
                  <a:gd name="connsiteY3773" fmla="*/ 2104721 h 3959978"/>
                  <a:gd name="connsiteX3774" fmla="*/ 4992456 w 7724301"/>
                  <a:gd name="connsiteY3774" fmla="*/ 2104721 h 3959978"/>
                  <a:gd name="connsiteX3775" fmla="*/ 4951515 w 7724301"/>
                  <a:gd name="connsiteY3775" fmla="*/ 2104721 h 3959978"/>
                  <a:gd name="connsiteX3776" fmla="*/ 4951515 w 7724301"/>
                  <a:gd name="connsiteY3776" fmla="*/ 2085968 h 3959978"/>
                  <a:gd name="connsiteX3777" fmla="*/ 4949950 w 7724301"/>
                  <a:gd name="connsiteY3777" fmla="*/ 2086015 h 3959978"/>
                  <a:gd name="connsiteX3778" fmla="*/ 4949950 w 7724301"/>
                  <a:gd name="connsiteY3778" fmla="*/ 2104627 h 3959978"/>
                  <a:gd name="connsiteX3779" fmla="*/ 4854500 w 7724301"/>
                  <a:gd name="connsiteY3779" fmla="*/ 2091247 h 3959978"/>
                  <a:gd name="connsiteX3780" fmla="*/ 4839512 w 7724301"/>
                  <a:gd name="connsiteY3780" fmla="*/ 2066846 h 3959978"/>
                  <a:gd name="connsiteX3781" fmla="*/ 4798493 w 7724301"/>
                  <a:gd name="connsiteY3781" fmla="*/ 2078653 h 3959978"/>
                  <a:gd name="connsiteX3782" fmla="*/ 4771672 w 7724301"/>
                  <a:gd name="connsiteY3782" fmla="*/ 2078653 h 3959978"/>
                  <a:gd name="connsiteX3783" fmla="*/ 4730652 w 7724301"/>
                  <a:gd name="connsiteY3783" fmla="*/ 2040873 h 3959978"/>
                  <a:gd name="connsiteX3784" fmla="*/ 4703043 w 7724301"/>
                  <a:gd name="connsiteY3784" fmla="*/ 2003093 h 3959978"/>
                  <a:gd name="connsiteX3785" fmla="*/ 4676223 w 7724301"/>
                  <a:gd name="connsiteY3785" fmla="*/ 1991287 h 3959978"/>
                  <a:gd name="connsiteX3786" fmla="*/ 4662812 w 7724301"/>
                  <a:gd name="connsiteY3786" fmla="*/ 1991287 h 3959978"/>
                  <a:gd name="connsiteX3787" fmla="*/ 4648612 w 7724301"/>
                  <a:gd name="connsiteY3787" fmla="*/ 1977906 h 3959978"/>
                  <a:gd name="connsiteX3788" fmla="*/ 4635203 w 7724301"/>
                  <a:gd name="connsiteY3788" fmla="*/ 1940126 h 3959978"/>
                  <a:gd name="connsiteX3789" fmla="*/ 4608382 w 7724301"/>
                  <a:gd name="connsiteY3789" fmla="*/ 1927532 h 3959978"/>
                  <a:gd name="connsiteX3790" fmla="*/ 4594183 w 7724301"/>
                  <a:gd name="connsiteY3790" fmla="*/ 1902345 h 3959978"/>
                  <a:gd name="connsiteX3791" fmla="*/ 4608382 w 7724301"/>
                  <a:gd name="connsiteY3791" fmla="*/ 1877946 h 3959978"/>
                  <a:gd name="connsiteX3792" fmla="*/ 4608382 w 7724301"/>
                  <a:gd name="connsiteY3792" fmla="*/ 1851973 h 3959978"/>
                  <a:gd name="connsiteX3793" fmla="*/ 4594183 w 7724301"/>
                  <a:gd name="connsiteY3793" fmla="*/ 1851973 h 3959978"/>
                  <a:gd name="connsiteX3794" fmla="*/ 4580773 w 7724301"/>
                  <a:gd name="connsiteY3794" fmla="*/ 1826786 h 3959978"/>
                  <a:gd name="connsiteX3795" fmla="*/ 4567362 w 7724301"/>
                  <a:gd name="connsiteY3795" fmla="*/ 1764606 h 3959978"/>
                  <a:gd name="connsiteX3796" fmla="*/ 4580773 w 7724301"/>
                  <a:gd name="connsiteY3796" fmla="*/ 1751225 h 3959978"/>
                  <a:gd name="connsiteX3797" fmla="*/ 4594183 w 7724301"/>
                  <a:gd name="connsiteY3797" fmla="*/ 1777200 h 3959978"/>
                  <a:gd name="connsiteX3798" fmla="*/ 4608382 w 7724301"/>
                  <a:gd name="connsiteY3798" fmla="*/ 1777200 h 3959978"/>
                  <a:gd name="connsiteX3799" fmla="*/ 4621792 w 7724301"/>
                  <a:gd name="connsiteY3799" fmla="*/ 1777200 h 3959978"/>
                  <a:gd name="connsiteX3800" fmla="*/ 4622842 w 7724301"/>
                  <a:gd name="connsiteY3800" fmla="*/ 1776707 h 3959978"/>
                  <a:gd name="connsiteX3801" fmla="*/ 4622842 w 7724301"/>
                  <a:gd name="connsiteY3801" fmla="*/ 1764415 h 3959978"/>
                  <a:gd name="connsiteX3802" fmla="*/ 4622583 w 7724301"/>
                  <a:gd name="connsiteY3802" fmla="*/ 1764156 h 3959978"/>
                  <a:gd name="connsiteX3803" fmla="*/ 4622583 w 7724301"/>
                  <a:gd name="connsiteY3803" fmla="*/ 1776469 h 3959978"/>
                  <a:gd name="connsiteX3804" fmla="*/ 4609327 w 7724301"/>
                  <a:gd name="connsiteY3804" fmla="*/ 1776469 h 3959978"/>
                  <a:gd name="connsiteX3805" fmla="*/ 4609327 w 7724301"/>
                  <a:gd name="connsiteY3805" fmla="*/ 1764003 h 3959978"/>
                  <a:gd name="connsiteX3806" fmla="*/ 4582034 w 7724301"/>
                  <a:gd name="connsiteY3806" fmla="*/ 1750759 h 3959978"/>
                  <a:gd name="connsiteX3807" fmla="*/ 4579923 w 7724301"/>
                  <a:gd name="connsiteY3807" fmla="*/ 1750759 h 3959978"/>
                  <a:gd name="connsiteX3808" fmla="*/ 4566574 w 7724301"/>
                  <a:gd name="connsiteY3808" fmla="*/ 1764177 h 3959978"/>
                  <a:gd name="connsiteX3809" fmla="*/ 4579984 w 7724301"/>
                  <a:gd name="connsiteY3809" fmla="*/ 1826821 h 3959978"/>
                  <a:gd name="connsiteX3810" fmla="*/ 4538965 w 7724301"/>
                  <a:gd name="connsiteY3810" fmla="*/ 1814134 h 3959978"/>
                  <a:gd name="connsiteX3811" fmla="*/ 4538965 w 7724301"/>
                  <a:gd name="connsiteY3811" fmla="*/ 1814478 h 3959978"/>
                  <a:gd name="connsiteX3812" fmla="*/ 4579669 w 7724301"/>
                  <a:gd name="connsiteY3812" fmla="*/ 1826955 h 3959978"/>
                  <a:gd name="connsiteX3813" fmla="*/ 4593130 w 7724301"/>
                  <a:gd name="connsiteY3813" fmla="*/ 1852197 h 3959978"/>
                  <a:gd name="connsiteX3814" fmla="*/ 4607384 w 7724301"/>
                  <a:gd name="connsiteY3814" fmla="*/ 1852197 h 3959978"/>
                  <a:gd name="connsiteX3815" fmla="*/ 4607384 w 7724301"/>
                  <a:gd name="connsiteY3815" fmla="*/ 1878229 h 3959978"/>
                  <a:gd name="connsiteX3816" fmla="*/ 4593130 w 7724301"/>
                  <a:gd name="connsiteY3816" fmla="*/ 1902683 h 3959978"/>
                  <a:gd name="connsiteX3817" fmla="*/ 4607384 w 7724301"/>
                  <a:gd name="connsiteY3817" fmla="*/ 1927927 h 3959978"/>
                  <a:gd name="connsiteX3818" fmla="*/ 4634309 w 7724301"/>
                  <a:gd name="connsiteY3818" fmla="*/ 1940548 h 3959978"/>
                  <a:gd name="connsiteX3819" fmla="*/ 4647771 w 7724301"/>
                  <a:gd name="connsiteY3819" fmla="*/ 1978412 h 3959978"/>
                  <a:gd name="connsiteX3820" fmla="*/ 4662024 w 7724301"/>
                  <a:gd name="connsiteY3820" fmla="*/ 1991823 h 3959978"/>
                  <a:gd name="connsiteX3821" fmla="*/ 4662024 w 7724301"/>
                  <a:gd name="connsiteY3821" fmla="*/ 2003655 h 3959978"/>
                  <a:gd name="connsiteX3822" fmla="*/ 4662023 w 7724301"/>
                  <a:gd name="connsiteY3822" fmla="*/ 2003655 h 3959978"/>
                  <a:gd name="connsiteX3823" fmla="*/ 4647824 w 7724301"/>
                  <a:gd name="connsiteY3823" fmla="*/ 2015893 h 3959978"/>
                  <a:gd name="connsiteX3824" fmla="*/ 4662023 w 7724301"/>
                  <a:gd name="connsiteY3824" fmla="*/ 2028897 h 3959978"/>
                  <a:gd name="connsiteX3825" fmla="*/ 4634493 w 7724301"/>
                  <a:gd name="connsiteY3825" fmla="*/ 2020170 h 3959978"/>
                  <a:gd name="connsiteX3826" fmla="*/ 4663600 w 7724301"/>
                  <a:gd name="connsiteY3826" fmla="*/ 2029686 h 3959978"/>
                  <a:gd name="connsiteX3827" fmla="*/ 4703831 w 7724301"/>
                  <a:gd name="connsiteY3827" fmla="*/ 2067550 h 3959978"/>
                  <a:gd name="connsiteX3828" fmla="*/ 4703831 w 7724301"/>
                  <a:gd name="connsiteY3828" fmla="*/ 2105414 h 3959978"/>
                  <a:gd name="connsiteX3829" fmla="*/ 4718029 w 7724301"/>
                  <a:gd name="connsiteY3829" fmla="*/ 2129868 h 3959978"/>
                  <a:gd name="connsiteX3830" fmla="*/ 4703831 w 7724301"/>
                  <a:gd name="connsiteY3830" fmla="*/ 2143278 h 3959978"/>
                  <a:gd name="connsiteX3831" fmla="*/ 4718029 w 7724301"/>
                  <a:gd name="connsiteY3831" fmla="*/ 2155111 h 3959978"/>
                  <a:gd name="connsiteX3832" fmla="*/ 4718735 w 7724301"/>
                  <a:gd name="connsiteY3832" fmla="*/ 2155111 h 3959978"/>
                  <a:gd name="connsiteX3833" fmla="*/ 4704620 w 7724301"/>
                  <a:gd name="connsiteY3833" fmla="*/ 2143279 h 3959978"/>
                  <a:gd name="connsiteX3834" fmla="*/ 4718737 w 7724301"/>
                  <a:gd name="connsiteY3834" fmla="*/ 2129869 h 3959978"/>
                  <a:gd name="connsiteX3835" fmla="*/ 4745403 w 7724301"/>
                  <a:gd name="connsiteY3835" fmla="*/ 2129869 h 3959978"/>
                  <a:gd name="connsiteX3836" fmla="*/ 4786186 w 7724301"/>
                  <a:gd name="connsiteY3836" fmla="*/ 2129869 h 3959978"/>
                  <a:gd name="connsiteX3837" fmla="*/ 4826745 w 7724301"/>
                  <a:gd name="connsiteY3837" fmla="*/ 2092212 h 3959978"/>
                  <a:gd name="connsiteX3838" fmla="*/ 4826101 w 7724301"/>
                  <a:gd name="connsiteY3838" fmla="*/ 2091623 h 3959978"/>
                  <a:gd name="connsiteX3839" fmla="*/ 4826101 w 7724301"/>
                  <a:gd name="connsiteY3839" fmla="*/ 2079383 h 3959978"/>
                  <a:gd name="connsiteX3840" fmla="*/ 4840301 w 7724301"/>
                  <a:gd name="connsiteY3840" fmla="*/ 2079383 h 3959978"/>
                  <a:gd name="connsiteX3841" fmla="*/ 4840301 w 7724301"/>
                  <a:gd name="connsiteY3841" fmla="*/ 2104627 h 3959978"/>
                  <a:gd name="connsiteX3842" fmla="*/ 4831545 w 7724301"/>
                  <a:gd name="connsiteY3842" fmla="*/ 2096608 h 3959978"/>
                  <a:gd name="connsiteX3843" fmla="*/ 4840301 w 7724301"/>
                  <a:gd name="connsiteY3843" fmla="*/ 2105415 h 3959978"/>
                  <a:gd name="connsiteX3844" fmla="*/ 4840301 w 7724301"/>
                  <a:gd name="connsiteY3844" fmla="*/ 2117248 h 3959978"/>
                  <a:gd name="connsiteX3845" fmla="*/ 4839924 w 7724301"/>
                  <a:gd name="connsiteY3845" fmla="*/ 2117614 h 3959978"/>
                  <a:gd name="connsiteX3846" fmla="*/ 4853711 w 7724301"/>
                  <a:gd name="connsiteY3846" fmla="*/ 2129869 h 3959978"/>
                  <a:gd name="connsiteX3847" fmla="*/ 4880532 w 7724301"/>
                  <a:gd name="connsiteY3847" fmla="*/ 2143279 h 3959978"/>
                  <a:gd name="connsiteX3848" fmla="*/ 4908141 w 7724301"/>
                  <a:gd name="connsiteY3848" fmla="*/ 2167733 h 3959978"/>
                  <a:gd name="connsiteX3849" fmla="*/ 4893942 w 7724301"/>
                  <a:gd name="connsiteY3849" fmla="*/ 2181144 h 3959978"/>
                  <a:gd name="connsiteX3850" fmla="*/ 4867121 w 7724301"/>
                  <a:gd name="connsiteY3850" fmla="*/ 2219008 h 3959978"/>
                  <a:gd name="connsiteX3851" fmla="*/ 4867121 w 7724301"/>
                  <a:gd name="connsiteY3851" fmla="*/ 2230840 h 3959978"/>
                  <a:gd name="connsiteX3852" fmla="*/ 4853711 w 7724301"/>
                  <a:gd name="connsiteY3852" fmla="*/ 2243461 h 3959978"/>
                  <a:gd name="connsiteX3853" fmla="*/ 4826101 w 7724301"/>
                  <a:gd name="connsiteY3853" fmla="*/ 2256872 h 3959978"/>
                  <a:gd name="connsiteX3854" fmla="*/ 4812691 w 7724301"/>
                  <a:gd name="connsiteY3854" fmla="*/ 2268705 h 3959978"/>
                  <a:gd name="connsiteX3855" fmla="*/ 4798492 w 7724301"/>
                  <a:gd name="connsiteY3855" fmla="*/ 2281326 h 3959978"/>
                  <a:gd name="connsiteX3856" fmla="*/ 4758261 w 7724301"/>
                  <a:gd name="connsiteY3856" fmla="*/ 2281326 h 3959978"/>
                  <a:gd name="connsiteX3857" fmla="*/ 4758261 w 7724301"/>
                  <a:gd name="connsiteY3857" fmla="*/ 2281229 h 3959978"/>
                  <a:gd name="connsiteX3858" fmla="*/ 4744113 w 7724301"/>
                  <a:gd name="connsiteY3858" fmla="*/ 2294534 h 3959978"/>
                  <a:gd name="connsiteX3859" fmla="*/ 4744113 w 7724301"/>
                  <a:gd name="connsiteY3859" fmla="*/ 2306275 h 3959978"/>
                  <a:gd name="connsiteX3860" fmla="*/ 4689879 w 7724301"/>
                  <a:gd name="connsiteY3860" fmla="*/ 2318016 h 3959978"/>
                  <a:gd name="connsiteX3861" fmla="*/ 4635644 w 7724301"/>
                  <a:gd name="connsiteY3861" fmla="*/ 2355587 h 3959978"/>
                  <a:gd name="connsiteX3862" fmla="*/ 4607348 w 7724301"/>
                  <a:gd name="connsiteY3862" fmla="*/ 2355587 h 3959978"/>
                  <a:gd name="connsiteX3863" fmla="*/ 4579838 w 7724301"/>
                  <a:gd name="connsiteY3863" fmla="*/ 2369676 h 3959978"/>
                  <a:gd name="connsiteX3864" fmla="*/ 4552327 w 7724301"/>
                  <a:gd name="connsiteY3864" fmla="*/ 2369676 h 3959978"/>
                  <a:gd name="connsiteX3865" fmla="*/ 4538964 w 7724301"/>
                  <a:gd name="connsiteY3865" fmla="*/ 2294534 h 3959978"/>
                  <a:gd name="connsiteX3866" fmla="*/ 4539654 w 7724301"/>
                  <a:gd name="connsiteY3866" fmla="*/ 2293848 h 3959978"/>
                  <a:gd name="connsiteX3867" fmla="*/ 4527131 w 7724301"/>
                  <a:gd name="connsiteY3867" fmla="*/ 2281325 h 3959978"/>
                  <a:gd name="connsiteX3868" fmla="*/ 4499522 w 7724301"/>
                  <a:gd name="connsiteY3868" fmla="*/ 2219007 h 3959978"/>
                  <a:gd name="connsiteX3869" fmla="*/ 4458501 w 7724301"/>
                  <a:gd name="connsiteY3869" fmla="*/ 2192975 h 3959978"/>
                  <a:gd name="connsiteX3870" fmla="*/ 4458501 w 7724301"/>
                  <a:gd name="connsiteY3870" fmla="*/ 2155111 h 3959978"/>
                  <a:gd name="connsiteX3871" fmla="*/ 4445091 w 7724301"/>
                  <a:gd name="connsiteY3871" fmla="*/ 2129868 h 3959978"/>
                  <a:gd name="connsiteX3872" fmla="*/ 4431681 w 7724301"/>
                  <a:gd name="connsiteY3872" fmla="*/ 2117247 h 3959978"/>
                  <a:gd name="connsiteX3873" fmla="*/ 4377251 w 7724301"/>
                  <a:gd name="connsiteY3873" fmla="*/ 2041518 h 3959978"/>
                  <a:gd name="connsiteX3874" fmla="*/ 4363840 w 7724301"/>
                  <a:gd name="connsiteY3874" fmla="*/ 2041518 h 3959978"/>
                  <a:gd name="connsiteX3875" fmla="*/ 4363840 w 7724301"/>
                  <a:gd name="connsiteY3875" fmla="*/ 2016277 h 3959978"/>
                  <a:gd name="connsiteX3876" fmla="*/ 4363840 w 7724301"/>
                  <a:gd name="connsiteY3876" fmla="*/ 2016275 h 3959978"/>
                  <a:gd name="connsiteX3877" fmla="*/ 4363841 w 7724301"/>
                  <a:gd name="connsiteY3877" fmla="*/ 2016275 h 3959978"/>
                  <a:gd name="connsiteX3878" fmla="*/ 4375574 w 7724301"/>
                  <a:gd name="connsiteY3878" fmla="*/ 1978711 h 3959978"/>
                  <a:gd name="connsiteX3879" fmla="*/ 4375574 w 7724301"/>
                  <a:gd name="connsiteY3879" fmla="*/ 1978693 h 3959978"/>
                  <a:gd name="connsiteX3880" fmla="*/ 4362263 w 7724301"/>
                  <a:gd name="connsiteY3880" fmla="*/ 2016276 h 3959978"/>
                  <a:gd name="connsiteX3881" fmla="*/ 4348064 w 7724301"/>
                  <a:gd name="connsiteY3881" fmla="*/ 1965790 h 3959978"/>
                  <a:gd name="connsiteX3882" fmla="*/ 4362263 w 7724301"/>
                  <a:gd name="connsiteY3882" fmla="*/ 1953957 h 3959978"/>
                  <a:gd name="connsiteX3883" fmla="*/ 4375674 w 7724301"/>
                  <a:gd name="connsiteY3883" fmla="*/ 1927925 h 3959978"/>
                  <a:gd name="connsiteX3884" fmla="*/ 4374885 w 7724301"/>
                  <a:gd name="connsiteY3884" fmla="*/ 1927925 h 3959978"/>
                  <a:gd name="connsiteX3885" fmla="*/ 4388864 w 7724301"/>
                  <a:gd name="connsiteY3885" fmla="*/ 1890534 h 3959978"/>
                  <a:gd name="connsiteX3886" fmla="*/ 4388361 w 7724301"/>
                  <a:gd name="connsiteY3886" fmla="*/ 1890062 h 3959978"/>
                  <a:gd name="connsiteX3887" fmla="*/ 4388361 w 7724301"/>
                  <a:gd name="connsiteY3887" fmla="*/ 1852198 h 3959978"/>
                  <a:gd name="connsiteX3888" fmla="*/ 4401835 w 7724301"/>
                  <a:gd name="connsiteY3888" fmla="*/ 1852198 h 3959978"/>
                  <a:gd name="connsiteX3889" fmla="*/ 4401835 w 7724301"/>
                  <a:gd name="connsiteY3889" fmla="*/ 1852196 h 3959978"/>
                  <a:gd name="connsiteX3890" fmla="*/ 4389085 w 7724301"/>
                  <a:gd name="connsiteY3890" fmla="*/ 1852196 h 3959978"/>
                  <a:gd name="connsiteX3891" fmla="*/ 4389085 w 7724301"/>
                  <a:gd name="connsiteY3891" fmla="*/ 1840302 h 3959978"/>
                  <a:gd name="connsiteX3892" fmla="*/ 4362264 w 7724301"/>
                  <a:gd name="connsiteY3892" fmla="*/ 1840302 h 3959978"/>
                  <a:gd name="connsiteX3893" fmla="*/ 4334655 w 7724301"/>
                  <a:gd name="connsiteY3893" fmla="*/ 1852196 h 3959978"/>
                  <a:gd name="connsiteX3894" fmla="*/ 4321245 w 7724301"/>
                  <a:gd name="connsiteY3894" fmla="*/ 1852196 h 3959978"/>
                  <a:gd name="connsiteX3895" fmla="*/ 4293635 w 7724301"/>
                  <a:gd name="connsiteY3895" fmla="*/ 1840302 h 3959978"/>
                  <a:gd name="connsiteX3896" fmla="*/ 4280225 w 7724301"/>
                  <a:gd name="connsiteY3896" fmla="*/ 1840302 h 3959978"/>
                  <a:gd name="connsiteX3897" fmla="*/ 4252616 w 7724301"/>
                  <a:gd name="connsiteY3897" fmla="*/ 1852196 h 3959978"/>
                  <a:gd name="connsiteX3898" fmla="*/ 4225795 w 7724301"/>
                  <a:gd name="connsiteY3898" fmla="*/ 1840302 h 3959978"/>
                  <a:gd name="connsiteX3899" fmla="*/ 4225795 w 7724301"/>
                  <a:gd name="connsiteY3899" fmla="*/ 1826821 h 3959978"/>
                  <a:gd name="connsiteX3900" fmla="*/ 4212385 w 7724301"/>
                  <a:gd name="connsiteY3900" fmla="*/ 1826821 h 3959978"/>
                  <a:gd name="connsiteX3901" fmla="*/ 4198186 w 7724301"/>
                  <a:gd name="connsiteY3901" fmla="*/ 1814134 h 3959978"/>
                  <a:gd name="connsiteX3902" fmla="*/ 4198186 w 7724301"/>
                  <a:gd name="connsiteY3902" fmla="*/ 1802239 h 3959978"/>
                  <a:gd name="connsiteX3903" fmla="*/ 4184775 w 7724301"/>
                  <a:gd name="connsiteY3903" fmla="*/ 1802239 h 3959978"/>
                  <a:gd name="connsiteX3904" fmla="*/ 4184775 w 7724301"/>
                  <a:gd name="connsiteY3904" fmla="*/ 1788759 h 3959978"/>
                  <a:gd name="connsiteX3905" fmla="*/ 4198186 w 7724301"/>
                  <a:gd name="connsiteY3905" fmla="*/ 1788759 h 3959978"/>
                  <a:gd name="connsiteX3906" fmla="*/ 4198186 w 7724301"/>
                  <a:gd name="connsiteY3906" fmla="*/ 1764177 h 3959978"/>
                  <a:gd name="connsiteX3907" fmla="*/ 4184775 w 7724301"/>
                  <a:gd name="connsiteY3907" fmla="*/ 1776864 h 3959978"/>
                  <a:gd name="connsiteX3908" fmla="*/ 4184775 w 7724301"/>
                  <a:gd name="connsiteY3908" fmla="*/ 1750696 h 3959978"/>
                  <a:gd name="connsiteX3909" fmla="*/ 4198186 w 7724301"/>
                  <a:gd name="connsiteY3909" fmla="*/ 1750696 h 3959978"/>
                  <a:gd name="connsiteX3910" fmla="*/ 4239205 w 7724301"/>
                  <a:gd name="connsiteY3910" fmla="*/ 1750696 h 3959978"/>
                  <a:gd name="connsiteX3911" fmla="*/ 4239205 w 7724301"/>
                  <a:gd name="connsiteY3911" fmla="*/ 1738802 h 3959978"/>
                  <a:gd name="connsiteX3912" fmla="*/ 4252616 w 7724301"/>
                  <a:gd name="connsiteY3912" fmla="*/ 1738802 h 3959978"/>
                  <a:gd name="connsiteX3913" fmla="*/ 4239205 w 7724301"/>
                  <a:gd name="connsiteY3913" fmla="*/ 1726114 h 3959978"/>
                  <a:gd name="connsiteX3914" fmla="*/ 4266814 w 7724301"/>
                  <a:gd name="connsiteY3914" fmla="*/ 1726114 h 3959978"/>
                  <a:gd name="connsiteX3915" fmla="*/ 4293635 w 7724301"/>
                  <a:gd name="connsiteY3915" fmla="*/ 1726114 h 3959978"/>
                  <a:gd name="connsiteX3916" fmla="*/ 4334655 w 7724301"/>
                  <a:gd name="connsiteY3916" fmla="*/ 1700739 h 3959978"/>
                  <a:gd name="connsiteX3917" fmla="*/ 4375675 w 7724301"/>
                  <a:gd name="connsiteY3917" fmla="*/ 1700739 h 3959978"/>
                  <a:gd name="connsiteX3918" fmla="*/ 4416695 w 7724301"/>
                  <a:gd name="connsiteY3918" fmla="*/ 1726114 h 3959978"/>
                  <a:gd name="connsiteX3919" fmla="*/ 4471125 w 7724301"/>
                  <a:gd name="connsiteY3919" fmla="*/ 1726114 h 3959978"/>
                  <a:gd name="connsiteX3920" fmla="*/ 4512144 w 7724301"/>
                  <a:gd name="connsiteY3920" fmla="*/ 1712634 h 3959978"/>
                  <a:gd name="connsiteX3921" fmla="*/ 4513720 w 7724301"/>
                  <a:gd name="connsiteY3921" fmla="*/ 1712634 h 3959978"/>
                  <a:gd name="connsiteX3922" fmla="*/ 4513720 w 7724301"/>
                  <a:gd name="connsiteY3922" fmla="*/ 1701341 h 3959978"/>
                  <a:gd name="connsiteX3923" fmla="*/ 4513720 w 7724301"/>
                  <a:gd name="connsiteY3923" fmla="*/ 1688519 h 3959978"/>
                  <a:gd name="connsiteX3924" fmla="*/ 4471123 w 7724301"/>
                  <a:gd name="connsiteY3924" fmla="*/ 1662875 h 3959978"/>
                  <a:gd name="connsiteX3925" fmla="*/ 4471884 w 7724301"/>
                  <a:gd name="connsiteY3925" fmla="*/ 1662875 h 3959978"/>
                  <a:gd name="connsiteX3926" fmla="*/ 4418320 w 7724301"/>
                  <a:gd name="connsiteY3926" fmla="*/ 1613228 h 3959978"/>
                  <a:gd name="connsiteX3927" fmla="*/ 4445147 w 7724301"/>
                  <a:gd name="connsiteY3927" fmla="*/ 1587998 h 3959978"/>
                  <a:gd name="connsiteX3928" fmla="*/ 4431733 w 7724301"/>
                  <a:gd name="connsiteY3928" fmla="*/ 1575382 h 3959978"/>
                  <a:gd name="connsiteX3929" fmla="*/ 4472763 w 7724301"/>
                  <a:gd name="connsiteY3929" fmla="*/ 1561979 h 3959978"/>
                  <a:gd name="connsiteX3930" fmla="*/ 4458560 w 7724301"/>
                  <a:gd name="connsiteY3930" fmla="*/ 1550152 h 3959978"/>
                  <a:gd name="connsiteX3931" fmla="*/ 4445800 w 7724301"/>
                  <a:gd name="connsiteY3931" fmla="*/ 1561403 h 3959978"/>
                  <a:gd name="connsiteX3932" fmla="*/ 4445800 w 7724301"/>
                  <a:gd name="connsiteY3932" fmla="*/ 1561655 h 3959978"/>
                  <a:gd name="connsiteX3933" fmla="*/ 4445513 w 7724301"/>
                  <a:gd name="connsiteY3933" fmla="*/ 1561655 h 3959978"/>
                  <a:gd name="connsiteX3934" fmla="*/ 4445147 w 7724301"/>
                  <a:gd name="connsiteY3934" fmla="*/ 1561979 h 3959978"/>
                  <a:gd name="connsiteX3935" fmla="*/ 4445147 w 7724301"/>
                  <a:gd name="connsiteY3935" fmla="*/ 1561655 h 3959978"/>
                  <a:gd name="connsiteX3936" fmla="*/ 4432362 w 7724301"/>
                  <a:gd name="connsiteY3936" fmla="*/ 1561655 h 3959978"/>
                  <a:gd name="connsiteX3937" fmla="*/ 4364387 w 7724301"/>
                  <a:gd name="connsiteY3937" fmla="*/ 1599644 h 3959978"/>
                  <a:gd name="connsiteX3938" fmla="*/ 4391261 w 7724301"/>
                  <a:gd name="connsiteY3938" fmla="*/ 1613100 h 3959978"/>
                  <a:gd name="connsiteX3939" fmla="*/ 4350160 w 7724301"/>
                  <a:gd name="connsiteY3939" fmla="*/ 1637634 h 3959978"/>
                  <a:gd name="connsiteX3940" fmla="*/ 4336723 w 7724301"/>
                  <a:gd name="connsiteY3940" fmla="*/ 1637634 h 3959978"/>
                  <a:gd name="connsiteX3941" fmla="*/ 4336723 w 7724301"/>
                  <a:gd name="connsiteY3941" fmla="*/ 1625762 h 3959978"/>
                  <a:gd name="connsiteX3942" fmla="*/ 4323286 w 7724301"/>
                  <a:gd name="connsiteY3942" fmla="*/ 1613100 h 3959978"/>
                  <a:gd name="connsiteX3943" fmla="*/ 4350160 w 7724301"/>
                  <a:gd name="connsiteY3943" fmla="*/ 1599644 h 3959978"/>
                  <a:gd name="connsiteX3944" fmla="*/ 4309059 w 7724301"/>
                  <a:gd name="connsiteY3944" fmla="*/ 1587772 h 3959978"/>
                  <a:gd name="connsiteX3945" fmla="*/ 4309059 w 7724301"/>
                  <a:gd name="connsiteY3945" fmla="*/ 1575110 h 3959978"/>
                  <a:gd name="connsiteX3946" fmla="*/ 4282185 w 7724301"/>
                  <a:gd name="connsiteY3946" fmla="*/ 1575110 h 3959978"/>
                  <a:gd name="connsiteX3947" fmla="*/ 4268748 w 7724301"/>
                  <a:gd name="connsiteY3947" fmla="*/ 1599644 h 3959978"/>
                  <a:gd name="connsiteX3948" fmla="*/ 4254521 w 7724301"/>
                  <a:gd name="connsiteY3948" fmla="*/ 1599644 h 3959978"/>
                  <a:gd name="connsiteX3949" fmla="*/ 4254521 w 7724301"/>
                  <a:gd name="connsiteY3949" fmla="*/ 1613100 h 3959978"/>
                  <a:gd name="connsiteX3950" fmla="*/ 4253403 w 7724301"/>
                  <a:gd name="connsiteY3950" fmla="*/ 1613100 h 3959978"/>
                  <a:gd name="connsiteX3951" fmla="*/ 4253403 w 7724301"/>
                  <a:gd name="connsiteY3951" fmla="*/ 1625225 h 3959978"/>
                  <a:gd name="connsiteX3952" fmla="*/ 4239942 w 7724301"/>
                  <a:gd name="connsiteY3952" fmla="*/ 1636991 h 3959978"/>
                  <a:gd name="connsiteX3953" fmla="*/ 4239942 w 7724301"/>
                  <a:gd name="connsiteY3953" fmla="*/ 1650325 h 3959978"/>
                  <a:gd name="connsiteX3954" fmla="*/ 4197182 w 7724301"/>
                  <a:gd name="connsiteY3954" fmla="*/ 1636991 h 3959978"/>
                  <a:gd name="connsiteX3955" fmla="*/ 4170258 w 7724301"/>
                  <a:gd name="connsiteY3955" fmla="*/ 1662875 h 3959978"/>
                  <a:gd name="connsiteX3956" fmla="*/ 4129081 w 7724301"/>
                  <a:gd name="connsiteY3956" fmla="*/ 1650325 h 3959978"/>
                  <a:gd name="connsiteX3957" fmla="*/ 4116768 w 7724301"/>
                  <a:gd name="connsiteY3957" fmla="*/ 1650325 h 3959978"/>
                  <a:gd name="connsiteX3958" fmla="*/ 4117641 w 7724301"/>
                  <a:gd name="connsiteY3958" fmla="*/ 1651161 h 3959978"/>
                  <a:gd name="connsiteX3959" fmla="*/ 4130974 w 7724301"/>
                  <a:gd name="connsiteY3959" fmla="*/ 1651161 h 3959978"/>
                  <a:gd name="connsiteX3960" fmla="*/ 4171757 w 7724301"/>
                  <a:gd name="connsiteY3960" fmla="*/ 1663895 h 3959978"/>
                  <a:gd name="connsiteX3961" fmla="*/ 4198422 w 7724301"/>
                  <a:gd name="connsiteY3961" fmla="*/ 1637633 h 3959978"/>
                  <a:gd name="connsiteX3962" fmla="*/ 4239205 w 7724301"/>
                  <a:gd name="connsiteY3962" fmla="*/ 1651161 h 3959978"/>
                  <a:gd name="connsiteX3963" fmla="*/ 4239205 w 7724301"/>
                  <a:gd name="connsiteY3963" fmla="*/ 1663895 h 3959978"/>
                  <a:gd name="connsiteX3964" fmla="*/ 4225873 w 7724301"/>
                  <a:gd name="connsiteY3964" fmla="*/ 1663895 h 3959978"/>
                  <a:gd name="connsiteX3965" fmla="*/ 4212540 w 7724301"/>
                  <a:gd name="connsiteY3965" fmla="*/ 1689362 h 3959978"/>
                  <a:gd name="connsiteX3966" fmla="*/ 4224454 w 7724301"/>
                  <a:gd name="connsiteY3966" fmla="*/ 1700739 h 3959978"/>
                  <a:gd name="connsiteX3967" fmla="*/ 4225795 w 7724301"/>
                  <a:gd name="connsiteY3967" fmla="*/ 1700739 h 3959978"/>
                  <a:gd name="connsiteX3968" fmla="*/ 4239205 w 7724301"/>
                  <a:gd name="connsiteY3968" fmla="*/ 1726114 h 3959978"/>
                  <a:gd name="connsiteX3969" fmla="*/ 4212385 w 7724301"/>
                  <a:gd name="connsiteY3969" fmla="*/ 1726114 h 3959978"/>
                  <a:gd name="connsiteX3970" fmla="*/ 4184775 w 7724301"/>
                  <a:gd name="connsiteY3970" fmla="*/ 1750696 h 3959978"/>
                  <a:gd name="connsiteX3971" fmla="*/ 4184775 w 7724301"/>
                  <a:gd name="connsiteY3971" fmla="*/ 1738802 h 3959978"/>
                  <a:gd name="connsiteX3972" fmla="*/ 4170955 w 7724301"/>
                  <a:gd name="connsiteY3972" fmla="*/ 1738802 h 3959978"/>
                  <a:gd name="connsiteX3973" fmla="*/ 4170652 w 7724301"/>
                  <a:gd name="connsiteY3973" fmla="*/ 1739393 h 3959978"/>
                  <a:gd name="connsiteX3974" fmla="*/ 4143200 w 7724301"/>
                  <a:gd name="connsiteY3974" fmla="*/ 1726772 h 3959978"/>
                  <a:gd name="connsiteX3975" fmla="*/ 4129867 w 7724301"/>
                  <a:gd name="connsiteY3975" fmla="*/ 1739393 h 3959978"/>
                  <a:gd name="connsiteX3976" fmla="*/ 4129867 w 7724301"/>
                  <a:gd name="connsiteY3976" fmla="*/ 1751225 h 3959978"/>
                  <a:gd name="connsiteX3977" fmla="*/ 4116533 w 7724301"/>
                  <a:gd name="connsiteY3977" fmla="*/ 1751225 h 3959978"/>
                  <a:gd name="connsiteX3978" fmla="*/ 4100846 w 7724301"/>
                  <a:gd name="connsiteY3978" fmla="*/ 1739393 h 3959978"/>
                  <a:gd name="connsiteX3979" fmla="*/ 4100846 w 7724301"/>
                  <a:gd name="connsiteY3979" fmla="*/ 1751225 h 3959978"/>
                  <a:gd name="connsiteX3980" fmla="*/ 4116533 w 7724301"/>
                  <a:gd name="connsiteY3980" fmla="*/ 1777257 h 3959978"/>
                  <a:gd name="connsiteX3981" fmla="*/ 4143200 w 7724301"/>
                  <a:gd name="connsiteY3981" fmla="*/ 1802500 h 3959978"/>
                  <a:gd name="connsiteX3982" fmla="*/ 4129867 w 7724301"/>
                  <a:gd name="connsiteY3982" fmla="*/ 1802500 h 3959978"/>
                  <a:gd name="connsiteX3983" fmla="*/ 4129867 w 7724301"/>
                  <a:gd name="connsiteY3983" fmla="*/ 1814333 h 3959978"/>
                  <a:gd name="connsiteX3984" fmla="*/ 4100846 w 7724301"/>
                  <a:gd name="connsiteY3984" fmla="*/ 1802500 h 3959978"/>
                  <a:gd name="connsiteX3985" fmla="*/ 4074179 w 7724301"/>
                  <a:gd name="connsiteY3985" fmla="*/ 1802500 h 3959978"/>
                  <a:gd name="connsiteX3986" fmla="*/ 4046732 w 7724301"/>
                  <a:gd name="connsiteY3986" fmla="*/ 1764643 h 3959978"/>
                  <a:gd name="connsiteX3987" fmla="*/ 4034106 w 7724301"/>
                  <a:gd name="connsiteY3987" fmla="*/ 1752016 h 3959978"/>
                  <a:gd name="connsiteX3988" fmla="*/ 4034106 w 7724301"/>
                  <a:gd name="connsiteY3988" fmla="*/ 1714152 h 3959978"/>
                  <a:gd name="connsiteX3989" fmla="*/ 4034106 w 7724301"/>
                  <a:gd name="connsiteY3989" fmla="*/ 1702320 h 3959978"/>
                  <a:gd name="connsiteX3990" fmla="*/ 4034106 w 7724301"/>
                  <a:gd name="connsiteY3990" fmla="*/ 1689697 h 3959978"/>
                  <a:gd name="connsiteX3991" fmla="*/ 4047517 w 7724301"/>
                  <a:gd name="connsiteY3991" fmla="*/ 1689697 h 3959978"/>
                  <a:gd name="connsiteX3992" fmla="*/ 4060926 w 7724301"/>
                  <a:gd name="connsiteY3992" fmla="*/ 1702320 h 3959978"/>
                  <a:gd name="connsiteX3993" fmla="*/ 4060926 w 7724301"/>
                  <a:gd name="connsiteY3993" fmla="*/ 1714152 h 3959978"/>
                  <a:gd name="connsiteX3994" fmla="*/ 4074262 w 7724301"/>
                  <a:gd name="connsiteY3994" fmla="*/ 1726745 h 3959978"/>
                  <a:gd name="connsiteX3995" fmla="*/ 4075165 w 7724301"/>
                  <a:gd name="connsiteY3995" fmla="*/ 1726459 h 3959978"/>
                  <a:gd name="connsiteX3996" fmla="*/ 4062505 w 7724301"/>
                  <a:gd name="connsiteY3996" fmla="*/ 1714152 h 3959978"/>
                  <a:gd name="connsiteX3997" fmla="*/ 4062505 w 7724301"/>
                  <a:gd name="connsiteY3997" fmla="*/ 1702319 h 3959978"/>
                  <a:gd name="connsiteX3998" fmla="*/ 4076298 w 7724301"/>
                  <a:gd name="connsiteY3998" fmla="*/ 1689697 h 3959978"/>
                  <a:gd name="connsiteX3999" fmla="*/ 4102354 w 7724301"/>
                  <a:gd name="connsiteY3999" fmla="*/ 1689697 h 3959978"/>
                  <a:gd name="connsiteX4000" fmla="*/ 4116147 w 7724301"/>
                  <a:gd name="connsiteY4000" fmla="*/ 1702319 h 3959978"/>
                  <a:gd name="connsiteX4001" fmla="*/ 4116147 w 7724301"/>
                  <a:gd name="connsiteY4001" fmla="*/ 1713483 h 3959978"/>
                  <a:gd name="connsiteX4002" fmla="*/ 4116533 w 7724301"/>
                  <a:gd name="connsiteY4002" fmla="*/ 1713361 h 3959978"/>
                  <a:gd name="connsiteX4003" fmla="*/ 4117641 w 7724301"/>
                  <a:gd name="connsiteY4003" fmla="*/ 1713361 h 3959978"/>
                  <a:gd name="connsiteX4004" fmla="*/ 4117641 w 7724301"/>
                  <a:gd name="connsiteY4004" fmla="*/ 1702094 h 3959978"/>
                  <a:gd name="connsiteX4005" fmla="*/ 4103524 w 7724301"/>
                  <a:gd name="connsiteY4005" fmla="*/ 1689362 h 3959978"/>
                  <a:gd name="connsiteX4006" fmla="*/ 4117641 w 7724301"/>
                  <a:gd name="connsiteY4006" fmla="*/ 1675833 h 3959978"/>
                  <a:gd name="connsiteX4007" fmla="*/ 4103524 w 7724301"/>
                  <a:gd name="connsiteY4007" fmla="*/ 1651161 h 3959978"/>
                  <a:gd name="connsiteX4008" fmla="*/ 4103524 w 7724301"/>
                  <a:gd name="connsiteY4008" fmla="*/ 1639009 h 3959978"/>
                  <a:gd name="connsiteX4009" fmla="*/ 4102064 w 7724301"/>
                  <a:gd name="connsiteY4009" fmla="*/ 1637644 h 3959978"/>
                  <a:gd name="connsiteX4010" fmla="*/ 4102064 w 7724301"/>
                  <a:gd name="connsiteY4010" fmla="*/ 1650255 h 3959978"/>
                  <a:gd name="connsiteX4011" fmla="*/ 4116146 w 7724301"/>
                  <a:gd name="connsiteY4011" fmla="*/ 1674709 h 3959978"/>
                  <a:gd name="connsiteX4012" fmla="*/ 4102064 w 7724301"/>
                  <a:gd name="connsiteY4012" fmla="*/ 1688120 h 3959978"/>
                  <a:gd name="connsiteX4013" fmla="*/ 4075465 w 7724301"/>
                  <a:gd name="connsiteY4013" fmla="*/ 1688120 h 3959978"/>
                  <a:gd name="connsiteX4014" fmla="*/ 4061383 w 7724301"/>
                  <a:gd name="connsiteY4014" fmla="*/ 1700741 h 3959978"/>
                  <a:gd name="connsiteX4015" fmla="*/ 4048084 w 7724301"/>
                  <a:gd name="connsiteY4015" fmla="*/ 1688120 h 3959978"/>
                  <a:gd name="connsiteX4016" fmla="*/ 4048084 w 7724301"/>
                  <a:gd name="connsiteY4016" fmla="*/ 1674709 h 3959978"/>
                  <a:gd name="connsiteX4017" fmla="*/ 4034785 w 7724301"/>
                  <a:gd name="connsiteY4017" fmla="*/ 1662877 h 3959978"/>
                  <a:gd name="connsiteX4018" fmla="*/ 4034785 w 7724301"/>
                  <a:gd name="connsiteY4018" fmla="*/ 1650255 h 3959978"/>
                  <a:gd name="connsiteX4019" fmla="*/ 4034785 w 7724301"/>
                  <a:gd name="connsiteY4019" fmla="*/ 1636845 h 3959978"/>
                  <a:gd name="connsiteX4020" fmla="*/ 4034785 w 7724301"/>
                  <a:gd name="connsiteY4020" fmla="*/ 1625012 h 3959978"/>
                  <a:gd name="connsiteX4021" fmla="*/ 4034785 w 7724301"/>
                  <a:gd name="connsiteY4021" fmla="*/ 1612391 h 3959978"/>
                  <a:gd name="connsiteX4022" fmla="*/ 4021500 w 7724301"/>
                  <a:gd name="connsiteY4022" fmla="*/ 1598996 h 3959978"/>
                  <a:gd name="connsiteX4023" fmla="*/ 4019744 w 7724301"/>
                  <a:gd name="connsiteY4023" fmla="*/ 1599768 h 3959978"/>
                  <a:gd name="connsiteX4024" fmla="*/ 4005569 w 7724301"/>
                  <a:gd name="connsiteY4024" fmla="*/ 1599768 h 3959978"/>
                  <a:gd name="connsiteX4025" fmla="*/ 4006851 w 7724301"/>
                  <a:gd name="connsiteY4025" fmla="*/ 1600558 h 3959978"/>
                  <a:gd name="connsiteX4026" fmla="*/ 4020867 w 7724301"/>
                  <a:gd name="connsiteY4026" fmla="*/ 1600558 h 3959978"/>
                  <a:gd name="connsiteX4027" fmla="*/ 4034106 w 7724301"/>
                  <a:gd name="connsiteY4027" fmla="*/ 1613968 h 3959978"/>
                  <a:gd name="connsiteX4028" fmla="*/ 4034106 w 7724301"/>
                  <a:gd name="connsiteY4028" fmla="*/ 1625800 h 3959978"/>
                  <a:gd name="connsiteX4029" fmla="*/ 4034106 w 7724301"/>
                  <a:gd name="connsiteY4029" fmla="*/ 1626590 h 3959978"/>
                  <a:gd name="connsiteX4030" fmla="*/ 4034106 w 7724301"/>
                  <a:gd name="connsiteY4030" fmla="*/ 1637634 h 3959978"/>
                  <a:gd name="connsiteX4031" fmla="*/ 4034106 w 7724301"/>
                  <a:gd name="connsiteY4031" fmla="*/ 1651043 h 3959978"/>
                  <a:gd name="connsiteX4032" fmla="*/ 4034106 w 7724301"/>
                  <a:gd name="connsiteY4032" fmla="*/ 1663571 h 3959978"/>
                  <a:gd name="connsiteX4033" fmla="*/ 4046727 w 7724301"/>
                  <a:gd name="connsiteY4033" fmla="*/ 1674707 h 3959978"/>
                  <a:gd name="connsiteX4034" fmla="*/ 4046727 w 7724301"/>
                  <a:gd name="connsiteY4034" fmla="*/ 1688118 h 3959978"/>
                  <a:gd name="connsiteX4035" fmla="*/ 4033317 w 7724301"/>
                  <a:gd name="connsiteY4035" fmla="*/ 1688118 h 3959978"/>
                  <a:gd name="connsiteX4036" fmla="*/ 4033317 w 7724301"/>
                  <a:gd name="connsiteY4036" fmla="*/ 1700739 h 3959978"/>
                  <a:gd name="connsiteX4037" fmla="*/ 4007599 w 7724301"/>
                  <a:gd name="connsiteY4037" fmla="*/ 1688982 h 3959978"/>
                  <a:gd name="connsiteX4038" fmla="*/ 4006851 w 7724301"/>
                  <a:gd name="connsiteY4038" fmla="*/ 1689697 h 3959978"/>
                  <a:gd name="connsiteX4039" fmla="*/ 3980373 w 7724301"/>
                  <a:gd name="connsiteY4039" fmla="*/ 1664454 h 3959978"/>
                  <a:gd name="connsiteX4040" fmla="*/ 3967136 w 7724301"/>
                  <a:gd name="connsiteY4040" fmla="*/ 1664454 h 3959978"/>
                  <a:gd name="connsiteX4041" fmla="*/ 3939879 w 7724301"/>
                  <a:gd name="connsiteY4041" fmla="*/ 1638422 h 3959978"/>
                  <a:gd name="connsiteX4042" fmla="*/ 3939879 w 7724301"/>
                  <a:gd name="connsiteY4042" fmla="*/ 1613968 h 3959978"/>
                  <a:gd name="connsiteX4043" fmla="*/ 3926642 w 7724301"/>
                  <a:gd name="connsiteY4043" fmla="*/ 1613968 h 3959978"/>
                  <a:gd name="connsiteX4044" fmla="*/ 3912624 w 7724301"/>
                  <a:gd name="connsiteY4044" fmla="*/ 1626590 h 3959978"/>
                  <a:gd name="connsiteX4045" fmla="*/ 3912624 w 7724301"/>
                  <a:gd name="connsiteY4045" fmla="*/ 1613968 h 3959978"/>
                  <a:gd name="connsiteX4046" fmla="*/ 3912624 w 7724301"/>
                  <a:gd name="connsiteY4046" fmla="*/ 1600558 h 3959978"/>
                  <a:gd name="connsiteX4047" fmla="*/ 3926642 w 7724301"/>
                  <a:gd name="connsiteY4047" fmla="*/ 1600558 h 3959978"/>
                  <a:gd name="connsiteX4048" fmla="*/ 3939879 w 7724301"/>
                  <a:gd name="connsiteY4048" fmla="*/ 1600558 h 3959978"/>
                  <a:gd name="connsiteX4049" fmla="*/ 3953118 w 7724301"/>
                  <a:gd name="connsiteY4049" fmla="*/ 1576104 h 3959978"/>
                  <a:gd name="connsiteX4050" fmla="*/ 3966354 w 7724301"/>
                  <a:gd name="connsiteY4050" fmla="*/ 1576104 h 3959978"/>
                  <a:gd name="connsiteX4051" fmla="*/ 3965051 w 7724301"/>
                  <a:gd name="connsiteY4051" fmla="*/ 1575315 h 3959978"/>
                  <a:gd name="connsiteX4052" fmla="*/ 3952473 w 7724301"/>
                  <a:gd name="connsiteY4052" fmla="*/ 1575315 h 3959978"/>
                  <a:gd name="connsiteX4053" fmla="*/ 3939446 w 7724301"/>
                  <a:gd name="connsiteY4053" fmla="*/ 1599768 h 3959978"/>
                  <a:gd name="connsiteX4054" fmla="*/ 3926418 w 7724301"/>
                  <a:gd name="connsiteY4054" fmla="*/ 1599768 h 3959978"/>
                  <a:gd name="connsiteX4055" fmla="*/ 3912624 w 7724301"/>
                  <a:gd name="connsiteY4055" fmla="*/ 1599768 h 3959978"/>
                  <a:gd name="connsiteX4056" fmla="*/ 3912624 w 7724301"/>
                  <a:gd name="connsiteY4056" fmla="*/ 1587936 h 3959978"/>
                  <a:gd name="connsiteX4057" fmla="*/ 3912624 w 7724301"/>
                  <a:gd name="connsiteY4057" fmla="*/ 1575638 h 3959978"/>
                  <a:gd name="connsiteX4058" fmla="*/ 3911049 w 7724301"/>
                  <a:gd name="connsiteY4058" fmla="*/ 1576024 h 3959978"/>
                  <a:gd name="connsiteX4059" fmla="*/ 3911049 w 7724301"/>
                  <a:gd name="connsiteY4059" fmla="*/ 1588021 h 3959978"/>
                  <a:gd name="connsiteX4060" fmla="*/ 3911049 w 7724301"/>
                  <a:gd name="connsiteY4060" fmla="*/ 1599893 h 3959978"/>
                  <a:gd name="connsiteX4061" fmla="*/ 3896851 w 7724301"/>
                  <a:gd name="connsiteY4061" fmla="*/ 1599893 h 3959978"/>
                  <a:gd name="connsiteX4062" fmla="*/ 3881862 w 7724301"/>
                  <a:gd name="connsiteY4062" fmla="*/ 1599893 h 3959978"/>
                  <a:gd name="connsiteX4063" fmla="*/ 3881862 w 7724301"/>
                  <a:gd name="connsiteY4063" fmla="*/ 1637881 h 3959978"/>
                  <a:gd name="connsiteX4064" fmla="*/ 3911049 w 7724301"/>
                  <a:gd name="connsiteY4064" fmla="*/ 1663998 h 3959978"/>
                  <a:gd name="connsiteX4065" fmla="*/ 3924460 w 7724301"/>
                  <a:gd name="connsiteY4065" fmla="*/ 1689324 h 3959978"/>
                  <a:gd name="connsiteX4066" fmla="*/ 3951280 w 7724301"/>
                  <a:gd name="connsiteY4066" fmla="*/ 1701987 h 3959978"/>
                  <a:gd name="connsiteX4067" fmla="*/ 3965480 w 7724301"/>
                  <a:gd name="connsiteY4067" fmla="*/ 1701987 h 3959978"/>
                  <a:gd name="connsiteX4068" fmla="*/ 3951280 w 7724301"/>
                  <a:gd name="connsiteY4068" fmla="*/ 1713859 h 3959978"/>
                  <a:gd name="connsiteX4069" fmla="*/ 4019910 w 7724301"/>
                  <a:gd name="connsiteY4069" fmla="*/ 1751846 h 3959978"/>
                  <a:gd name="connsiteX4070" fmla="*/ 4005711 w 7724301"/>
                  <a:gd name="connsiteY4070" fmla="*/ 1765300 h 3959978"/>
                  <a:gd name="connsiteX4071" fmla="*/ 3978890 w 7724301"/>
                  <a:gd name="connsiteY4071" fmla="*/ 1739975 h 3959978"/>
                  <a:gd name="connsiteX4072" fmla="*/ 3978890 w 7724301"/>
                  <a:gd name="connsiteY4072" fmla="*/ 1765300 h 3959978"/>
                  <a:gd name="connsiteX4073" fmla="*/ 3978890 w 7724301"/>
                  <a:gd name="connsiteY4073" fmla="*/ 1777964 h 3959978"/>
                  <a:gd name="connsiteX4074" fmla="*/ 3978890 w 7724301"/>
                  <a:gd name="connsiteY4074" fmla="*/ 1789835 h 3959978"/>
                  <a:gd name="connsiteX4075" fmla="*/ 3965480 w 7724301"/>
                  <a:gd name="connsiteY4075" fmla="*/ 1803289 h 3959978"/>
                  <a:gd name="connsiteX4076" fmla="*/ 3953644 w 7724301"/>
                  <a:gd name="connsiteY4076" fmla="*/ 1803289 h 3959978"/>
                  <a:gd name="connsiteX4077" fmla="*/ 3938316 w 7724301"/>
                  <a:gd name="connsiteY4077" fmla="*/ 1841153 h 3959978"/>
                  <a:gd name="connsiteX4078" fmla="*/ 3882649 w 7724301"/>
                  <a:gd name="connsiteY4078" fmla="*/ 1815121 h 3959978"/>
                  <a:gd name="connsiteX4079" fmla="*/ 3882649 w 7724301"/>
                  <a:gd name="connsiteY4079" fmla="*/ 1803289 h 3959978"/>
                  <a:gd name="connsiteX4080" fmla="*/ 3896364 w 7724301"/>
                  <a:gd name="connsiteY4080" fmla="*/ 1803289 h 3959978"/>
                  <a:gd name="connsiteX4081" fmla="*/ 3924601 w 7724301"/>
                  <a:gd name="connsiteY4081" fmla="*/ 1803289 h 3959978"/>
                  <a:gd name="connsiteX4082" fmla="*/ 3951280 w 7724301"/>
                  <a:gd name="connsiteY4082" fmla="*/ 1803289 h 3959978"/>
                  <a:gd name="connsiteX4083" fmla="*/ 3965480 w 7724301"/>
                  <a:gd name="connsiteY4083" fmla="*/ 1789835 h 3959978"/>
                  <a:gd name="connsiteX4084" fmla="*/ 3951280 w 7724301"/>
                  <a:gd name="connsiteY4084" fmla="*/ 1751846 h 3959978"/>
                  <a:gd name="connsiteX4085" fmla="*/ 3937870 w 7724301"/>
                  <a:gd name="connsiteY4085" fmla="*/ 1751846 h 3959978"/>
                  <a:gd name="connsiteX4086" fmla="*/ 3911049 w 7724301"/>
                  <a:gd name="connsiteY4086" fmla="*/ 1727312 h 3959978"/>
                  <a:gd name="connsiteX4087" fmla="*/ 3881862 w 7724301"/>
                  <a:gd name="connsiteY4087" fmla="*/ 1713859 h 3959978"/>
                  <a:gd name="connsiteX4088" fmla="*/ 3868452 w 7724301"/>
                  <a:gd name="connsiteY4088" fmla="*/ 1689324 h 3959978"/>
                  <a:gd name="connsiteX4089" fmla="*/ 3854252 w 7724301"/>
                  <a:gd name="connsiteY4089" fmla="*/ 1689324 h 3959978"/>
                  <a:gd name="connsiteX4090" fmla="*/ 3827432 w 7724301"/>
                  <a:gd name="connsiteY4090" fmla="*/ 1651336 h 3959978"/>
                  <a:gd name="connsiteX4091" fmla="*/ 3799822 w 7724301"/>
                  <a:gd name="connsiteY4091" fmla="*/ 1637881 h 3959978"/>
                  <a:gd name="connsiteX4092" fmla="*/ 3773002 w 7724301"/>
                  <a:gd name="connsiteY4092" fmla="*/ 1651336 h 3959978"/>
                  <a:gd name="connsiteX4093" fmla="*/ 3759591 w 7724301"/>
                  <a:gd name="connsiteY4093" fmla="*/ 1626010 h 3959978"/>
                  <a:gd name="connsiteX4094" fmla="*/ 3759591 w 7724301"/>
                  <a:gd name="connsiteY4094" fmla="*/ 1599893 h 3959978"/>
                  <a:gd name="connsiteX4095" fmla="*/ 3773002 w 7724301"/>
                  <a:gd name="connsiteY4095" fmla="*/ 1599893 h 3959978"/>
                  <a:gd name="connsiteX4096" fmla="*/ 3774337 w 7724301"/>
                  <a:gd name="connsiteY4096" fmla="*/ 1599302 h 3959978"/>
                  <a:gd name="connsiteX4097" fmla="*/ 3773225 w 7724301"/>
                  <a:gd name="connsiteY4097" fmla="*/ 1599768 h 3959978"/>
                  <a:gd name="connsiteX4098" fmla="*/ 3759706 w 7724301"/>
                  <a:gd name="connsiteY4098" fmla="*/ 1599768 h 3959978"/>
                  <a:gd name="connsiteX4099" fmla="*/ 3759706 w 7724301"/>
                  <a:gd name="connsiteY4099" fmla="*/ 1574926 h 3959978"/>
                  <a:gd name="connsiteX4100" fmla="*/ 3745390 w 7724301"/>
                  <a:gd name="connsiteY4100" fmla="*/ 1587748 h 3959978"/>
                  <a:gd name="connsiteX4101" fmla="*/ 3745390 w 7724301"/>
                  <a:gd name="connsiteY4101" fmla="*/ 1575184 h 3959978"/>
                  <a:gd name="connsiteX4102" fmla="*/ 3745274 w 7724301"/>
                  <a:gd name="connsiteY4102" fmla="*/ 1575394 h 3959978"/>
                  <a:gd name="connsiteX4103" fmla="*/ 3745274 w 7724301"/>
                  <a:gd name="connsiteY4103" fmla="*/ 1588093 h 3959978"/>
                  <a:gd name="connsiteX4104" fmla="*/ 3759513 w 7724301"/>
                  <a:gd name="connsiteY4104" fmla="*/ 1575394 h 3959978"/>
                  <a:gd name="connsiteX4105" fmla="*/ 3759513 w 7724301"/>
                  <a:gd name="connsiteY4105" fmla="*/ 1600000 h 3959978"/>
                  <a:gd name="connsiteX4106" fmla="*/ 3759513 w 7724301"/>
                  <a:gd name="connsiteY4106" fmla="*/ 1626195 h 3959978"/>
                  <a:gd name="connsiteX4107" fmla="*/ 3772962 w 7724301"/>
                  <a:gd name="connsiteY4107" fmla="*/ 1651595 h 3959978"/>
                  <a:gd name="connsiteX4108" fmla="*/ 3759513 w 7724301"/>
                  <a:gd name="connsiteY4108" fmla="*/ 1676203 h 3959978"/>
                  <a:gd name="connsiteX4109" fmla="*/ 3745274 w 7724301"/>
                  <a:gd name="connsiteY4109" fmla="*/ 1676203 h 3959978"/>
                  <a:gd name="connsiteX4110" fmla="*/ 3704134 w 7724301"/>
                  <a:gd name="connsiteY4110" fmla="*/ 1664296 h 3959978"/>
                  <a:gd name="connsiteX4111" fmla="*/ 3677236 w 7724301"/>
                  <a:gd name="connsiteY4111" fmla="*/ 1676203 h 3959978"/>
                  <a:gd name="connsiteX4112" fmla="*/ 3677236 w 7724301"/>
                  <a:gd name="connsiteY4112" fmla="*/ 1689487 h 3959978"/>
                  <a:gd name="connsiteX4113" fmla="*/ 3677551 w 7724301"/>
                  <a:gd name="connsiteY4113" fmla="*/ 1689549 h 3959978"/>
                  <a:gd name="connsiteX4114" fmla="*/ 3677551 w 7724301"/>
                  <a:gd name="connsiteY4114" fmla="*/ 1702120 h 3959978"/>
                  <a:gd name="connsiteX4115" fmla="*/ 3636532 w 7724301"/>
                  <a:gd name="connsiteY4115" fmla="*/ 1727264 h 3959978"/>
                  <a:gd name="connsiteX4116" fmla="*/ 3608923 w 7724301"/>
                  <a:gd name="connsiteY4116" fmla="*/ 1764981 h 3959978"/>
                  <a:gd name="connsiteX4117" fmla="*/ 3623121 w 7724301"/>
                  <a:gd name="connsiteY4117" fmla="*/ 1789338 h 3959978"/>
                  <a:gd name="connsiteX4118" fmla="*/ 3568694 w 7724301"/>
                  <a:gd name="connsiteY4118" fmla="*/ 1840412 h 3959978"/>
                  <a:gd name="connsiteX4119" fmla="*/ 3514265 w 7724301"/>
                  <a:gd name="connsiteY4119" fmla="*/ 1840412 h 3959978"/>
                  <a:gd name="connsiteX4120" fmla="*/ 3500065 w 7724301"/>
                  <a:gd name="connsiteY4120" fmla="*/ 1852198 h 3959978"/>
                  <a:gd name="connsiteX4121" fmla="*/ 3459046 w 7724301"/>
                  <a:gd name="connsiteY4121" fmla="*/ 1827054 h 3959978"/>
                  <a:gd name="connsiteX4122" fmla="*/ 3473245 w 7724301"/>
                  <a:gd name="connsiteY4122" fmla="*/ 1802696 h 3959978"/>
                  <a:gd name="connsiteX4123" fmla="*/ 3459046 w 7724301"/>
                  <a:gd name="connsiteY4123" fmla="*/ 1764981 h 3959978"/>
                  <a:gd name="connsiteX4124" fmla="*/ 3473245 w 7724301"/>
                  <a:gd name="connsiteY4124" fmla="*/ 1751623 h 3959978"/>
                  <a:gd name="connsiteX4125" fmla="*/ 3473245 w 7724301"/>
                  <a:gd name="connsiteY4125" fmla="*/ 1727264 h 3959978"/>
                  <a:gd name="connsiteX4126" fmla="*/ 3486655 w 7724301"/>
                  <a:gd name="connsiteY4126" fmla="*/ 1713906 h 3959978"/>
                  <a:gd name="connsiteX4127" fmla="*/ 3486655 w 7724301"/>
                  <a:gd name="connsiteY4127" fmla="*/ 1702120 h 3959978"/>
                  <a:gd name="connsiteX4128" fmla="*/ 3485078 w 7724301"/>
                  <a:gd name="connsiteY4128" fmla="*/ 1702120 h 3959978"/>
                  <a:gd name="connsiteX4129" fmla="*/ 3485078 w 7724301"/>
                  <a:gd name="connsiteY4129" fmla="*/ 1712646 h 3959978"/>
                  <a:gd name="connsiteX4130" fmla="*/ 3471667 w 7724301"/>
                  <a:gd name="connsiteY4130" fmla="*/ 1726141 h 3959978"/>
                  <a:gd name="connsiteX4131" fmla="*/ 3471667 w 7724301"/>
                  <a:gd name="connsiteY4131" fmla="*/ 1750748 h 3959978"/>
                  <a:gd name="connsiteX4132" fmla="*/ 3458258 w 7724301"/>
                  <a:gd name="connsiteY4132" fmla="*/ 1764243 h 3959978"/>
                  <a:gd name="connsiteX4133" fmla="*/ 3471667 w 7724301"/>
                  <a:gd name="connsiteY4133" fmla="*/ 1802345 h 3959978"/>
                  <a:gd name="connsiteX4134" fmla="*/ 3458258 w 7724301"/>
                  <a:gd name="connsiteY4134" fmla="*/ 1826953 h 3959978"/>
                  <a:gd name="connsiteX4135" fmla="*/ 3418815 w 7724301"/>
                  <a:gd name="connsiteY4135" fmla="*/ 1826953 h 3959978"/>
                  <a:gd name="connsiteX4136" fmla="*/ 3432226 w 7724301"/>
                  <a:gd name="connsiteY4136" fmla="*/ 1788850 h 3959978"/>
                  <a:gd name="connsiteX4137" fmla="*/ 3418815 w 7724301"/>
                  <a:gd name="connsiteY4137" fmla="*/ 1788850 h 3959978"/>
                  <a:gd name="connsiteX4138" fmla="*/ 3432226 w 7724301"/>
                  <a:gd name="connsiteY4138" fmla="*/ 1726141 h 3959978"/>
                  <a:gd name="connsiteX4139" fmla="*/ 3432226 w 7724301"/>
                  <a:gd name="connsiteY4139" fmla="*/ 1702120 h 3959978"/>
                  <a:gd name="connsiteX4140" fmla="*/ 3418815 w 7724301"/>
                  <a:gd name="connsiteY4140" fmla="*/ 1676191 h 3959978"/>
                  <a:gd name="connsiteX4141" fmla="*/ 3418815 w 7724301"/>
                  <a:gd name="connsiteY4141" fmla="*/ 1664404 h 3959978"/>
                  <a:gd name="connsiteX4142" fmla="*/ 3432226 w 7724301"/>
                  <a:gd name="connsiteY4142" fmla="*/ 1664404 h 3959978"/>
                  <a:gd name="connsiteX4143" fmla="*/ 3445637 w 7724301"/>
                  <a:gd name="connsiteY4143" fmla="*/ 1651832 h 3959978"/>
                  <a:gd name="connsiteX4144" fmla="*/ 3527675 w 7724301"/>
                  <a:gd name="connsiteY4144" fmla="*/ 1664404 h 3959978"/>
                  <a:gd name="connsiteX4145" fmla="*/ 3541085 w 7724301"/>
                  <a:gd name="connsiteY4145" fmla="*/ 1664404 h 3959978"/>
                  <a:gd name="connsiteX4146" fmla="*/ 3568694 w 7724301"/>
                  <a:gd name="connsiteY4146" fmla="*/ 1664404 h 3959978"/>
                  <a:gd name="connsiteX4147" fmla="*/ 3581755 w 7724301"/>
                  <a:gd name="connsiteY4147" fmla="*/ 1664404 h 3959978"/>
                  <a:gd name="connsiteX4148" fmla="*/ 3581509 w 7724301"/>
                  <a:gd name="connsiteY4148" fmla="*/ 1664296 h 3959978"/>
                  <a:gd name="connsiteX4149" fmla="*/ 3594958 w 7724301"/>
                  <a:gd name="connsiteY4149" fmla="*/ 1600000 h 3959978"/>
                  <a:gd name="connsiteX4150" fmla="*/ 3594958 w 7724301"/>
                  <a:gd name="connsiteY4150" fmla="*/ 1588093 h 3959978"/>
                  <a:gd name="connsiteX4151" fmla="*/ 3568062 w 7724301"/>
                  <a:gd name="connsiteY4151" fmla="*/ 1549993 h 3959978"/>
                  <a:gd name="connsiteX4152" fmla="*/ 3513474 w 7724301"/>
                  <a:gd name="connsiteY4152" fmla="*/ 1537292 h 3959978"/>
                  <a:gd name="connsiteX4153" fmla="*/ 3513474 w 7724301"/>
                  <a:gd name="connsiteY4153" fmla="*/ 1523799 h 3959978"/>
                  <a:gd name="connsiteX4154" fmla="*/ 3553822 w 7724301"/>
                  <a:gd name="connsiteY4154" fmla="*/ 1511892 h 3959978"/>
                  <a:gd name="connsiteX4155" fmla="*/ 3553822 w 7724301"/>
                  <a:gd name="connsiteY4155" fmla="*/ 1523799 h 3959978"/>
                  <a:gd name="connsiteX4156" fmla="*/ 3581509 w 7724301"/>
                  <a:gd name="connsiteY4156" fmla="*/ 1511892 h 3959978"/>
                  <a:gd name="connsiteX4157" fmla="*/ 3568062 w 7724301"/>
                  <a:gd name="connsiteY4157" fmla="*/ 1485697 h 3959978"/>
                  <a:gd name="connsiteX4158" fmla="*/ 3581509 w 7724301"/>
                  <a:gd name="connsiteY4158" fmla="*/ 1485697 h 3959978"/>
                  <a:gd name="connsiteX4159" fmla="*/ 3594958 w 7724301"/>
                  <a:gd name="connsiteY4159" fmla="*/ 1499191 h 3959978"/>
                  <a:gd name="connsiteX4160" fmla="*/ 3608407 w 7724301"/>
                  <a:gd name="connsiteY4160" fmla="*/ 1499191 h 3959978"/>
                  <a:gd name="connsiteX4161" fmla="*/ 3622648 w 7724301"/>
                  <a:gd name="connsiteY4161" fmla="*/ 1485697 h 3959978"/>
                  <a:gd name="connsiteX4162" fmla="*/ 3649546 w 7724301"/>
                  <a:gd name="connsiteY4162" fmla="*/ 1473791 h 3959978"/>
                  <a:gd name="connsiteX4163" fmla="*/ 3649546 w 7724301"/>
                  <a:gd name="connsiteY4163" fmla="*/ 1447596 h 3959978"/>
                  <a:gd name="connsiteX4164" fmla="*/ 3675973 w 7724301"/>
                  <a:gd name="connsiteY4164" fmla="*/ 1436233 h 3959978"/>
                  <a:gd name="connsiteX4165" fmla="*/ 3675973 w 7724301"/>
                  <a:gd name="connsiteY4165" fmla="*/ 1435689 h 3959978"/>
                  <a:gd name="connsiteX4166" fmla="*/ 3677236 w 7724301"/>
                  <a:gd name="connsiteY4166" fmla="*/ 1435689 h 3959978"/>
                  <a:gd name="connsiteX4167" fmla="*/ 3690961 w 7724301"/>
                  <a:gd name="connsiteY4167" fmla="*/ 1435689 h 3959978"/>
                  <a:gd name="connsiteX4168" fmla="*/ 3692113 w 7724301"/>
                  <a:gd name="connsiteY4168" fmla="*/ 1435689 h 3959978"/>
                  <a:gd name="connsiteX4169" fmla="*/ 3718828 w 7724301"/>
                  <a:gd name="connsiteY4169" fmla="*/ 1385432 h 3959978"/>
                  <a:gd name="connsiteX4170" fmla="*/ 3731981 w 7724301"/>
                  <a:gd name="connsiteY4170" fmla="*/ 1385432 h 3959978"/>
                  <a:gd name="connsiteX4171" fmla="*/ 3731981 w 7724301"/>
                  <a:gd name="connsiteY4171" fmla="*/ 1398166 h 3959978"/>
                  <a:gd name="connsiteX4172" fmla="*/ 3745133 w 7724301"/>
                  <a:gd name="connsiteY4172" fmla="*/ 1398166 h 3959978"/>
                  <a:gd name="connsiteX4173" fmla="*/ 3731981 w 7724301"/>
                  <a:gd name="connsiteY4173" fmla="*/ 1371901 h 3959978"/>
                  <a:gd name="connsiteX4174" fmla="*/ 3772212 w 7724301"/>
                  <a:gd name="connsiteY4174" fmla="*/ 1359961 h 3959978"/>
                  <a:gd name="connsiteX4175" fmla="*/ 3759060 w 7724301"/>
                  <a:gd name="connsiteY4175" fmla="*/ 1398166 h 3959978"/>
                  <a:gd name="connsiteX4176" fmla="*/ 3745133 w 7724301"/>
                  <a:gd name="connsiteY4176" fmla="*/ 1410106 h 3959978"/>
                  <a:gd name="connsiteX4177" fmla="*/ 3745133 w 7724301"/>
                  <a:gd name="connsiteY4177" fmla="*/ 1447479 h 3959978"/>
                  <a:gd name="connsiteX4178" fmla="*/ 3745390 w 7724301"/>
                  <a:gd name="connsiteY4178" fmla="*/ 1447710 h 3959978"/>
                  <a:gd name="connsiteX4179" fmla="*/ 3745390 w 7724301"/>
                  <a:gd name="connsiteY4179" fmla="*/ 1410120 h 3959978"/>
                  <a:gd name="connsiteX4180" fmla="*/ 3759590 w 7724301"/>
                  <a:gd name="connsiteY4180" fmla="*/ 1398326 h 3959978"/>
                  <a:gd name="connsiteX4181" fmla="*/ 3773000 w 7724301"/>
                  <a:gd name="connsiteY4181" fmla="*/ 1360586 h 3959978"/>
                  <a:gd name="connsiteX4182" fmla="*/ 3801399 w 7724301"/>
                  <a:gd name="connsiteY4182" fmla="*/ 1360586 h 3959978"/>
                  <a:gd name="connsiteX4183" fmla="*/ 3815597 w 7724301"/>
                  <a:gd name="connsiteY4183" fmla="*/ 1334640 h 3959978"/>
                  <a:gd name="connsiteX4184" fmla="*/ 3801399 w 7724301"/>
                  <a:gd name="connsiteY4184" fmla="*/ 1334640 h 3959978"/>
                  <a:gd name="connsiteX4185" fmla="*/ 3815597 w 7724301"/>
                  <a:gd name="connsiteY4185" fmla="*/ 1322847 h 3959978"/>
                  <a:gd name="connsiteX4186" fmla="*/ 3801399 w 7724301"/>
                  <a:gd name="connsiteY4186" fmla="*/ 1311053 h 3959978"/>
                  <a:gd name="connsiteX4187" fmla="*/ 3801399 w 7724301"/>
                  <a:gd name="connsiteY4187" fmla="*/ 1296854 h 3959978"/>
                  <a:gd name="connsiteX4188" fmla="*/ 3786410 w 7724301"/>
                  <a:gd name="connsiteY4188" fmla="*/ 1285021 h 3959978"/>
                  <a:gd name="connsiteX4189" fmla="*/ 3786410 w 7724301"/>
                  <a:gd name="connsiteY4189" fmla="*/ 1258989 h 3959978"/>
                  <a:gd name="connsiteX4190" fmla="*/ 3801399 w 7724301"/>
                  <a:gd name="connsiteY4190" fmla="*/ 1235325 h 3959978"/>
                  <a:gd name="connsiteX4191" fmla="*/ 3842419 w 7724301"/>
                  <a:gd name="connsiteY4191" fmla="*/ 1221125 h 3959978"/>
                  <a:gd name="connsiteX4192" fmla="*/ 3842419 w 7724301"/>
                  <a:gd name="connsiteY4192" fmla="*/ 1258989 h 3959978"/>
                  <a:gd name="connsiteX4193" fmla="*/ 3855828 w 7724301"/>
                  <a:gd name="connsiteY4193" fmla="*/ 1258989 h 3959978"/>
                  <a:gd name="connsiteX4194" fmla="*/ 3855828 w 7724301"/>
                  <a:gd name="connsiteY4194" fmla="*/ 1273189 h 3959978"/>
                  <a:gd name="connsiteX4195" fmla="*/ 3842419 w 7724301"/>
                  <a:gd name="connsiteY4195" fmla="*/ 1273189 h 3959978"/>
                  <a:gd name="connsiteX4196" fmla="*/ 3836736 w 7724301"/>
                  <a:gd name="connsiteY4196" fmla="*/ 1289234 h 3959978"/>
                  <a:gd name="connsiteX4197" fmla="*/ 3843207 w 7724301"/>
                  <a:gd name="connsiteY4197" fmla="*/ 1284232 h 3959978"/>
                  <a:gd name="connsiteX4198" fmla="*/ 3843207 w 7724301"/>
                  <a:gd name="connsiteY4198" fmla="*/ 1296424 h 3959978"/>
                  <a:gd name="connsiteX4199" fmla="*/ 3843207 w 7724301"/>
                  <a:gd name="connsiteY4199" fmla="*/ 1311053 h 3959978"/>
                  <a:gd name="connsiteX4200" fmla="*/ 3829008 w 7724301"/>
                  <a:gd name="connsiteY4200" fmla="*/ 1311053 h 3959978"/>
                  <a:gd name="connsiteX4201" fmla="*/ 3829008 w 7724301"/>
                  <a:gd name="connsiteY4201" fmla="*/ 1322847 h 3959978"/>
                  <a:gd name="connsiteX4202" fmla="*/ 3855828 w 7724301"/>
                  <a:gd name="connsiteY4202" fmla="*/ 1334640 h 3959978"/>
                  <a:gd name="connsiteX4203" fmla="*/ 3842418 w 7724301"/>
                  <a:gd name="connsiteY4203" fmla="*/ 1348006 h 3959978"/>
                  <a:gd name="connsiteX4204" fmla="*/ 3855828 w 7724301"/>
                  <a:gd name="connsiteY4204" fmla="*/ 1348006 h 3959978"/>
                  <a:gd name="connsiteX4205" fmla="*/ 3911047 w 7724301"/>
                  <a:gd name="connsiteY4205" fmla="*/ 1322847 h 3959978"/>
                  <a:gd name="connsiteX4206" fmla="*/ 3911047 w 7724301"/>
                  <a:gd name="connsiteY4206" fmla="*/ 1334640 h 3959978"/>
                  <a:gd name="connsiteX4207" fmla="*/ 3896848 w 7724301"/>
                  <a:gd name="connsiteY4207" fmla="*/ 1334640 h 3959978"/>
                  <a:gd name="connsiteX4208" fmla="*/ 3924369 w 7724301"/>
                  <a:gd name="connsiteY4208" fmla="*/ 1347964 h 3959978"/>
                  <a:gd name="connsiteX4209" fmla="*/ 4005233 w 7724301"/>
                  <a:gd name="connsiteY4209" fmla="*/ 1311053 h 3959978"/>
                  <a:gd name="connsiteX4210" fmla="*/ 4019487 w 7724301"/>
                  <a:gd name="connsiteY4210" fmla="*/ 1334818 h 3959978"/>
                  <a:gd name="connsiteX4211" fmla="*/ 4032948 w 7724301"/>
                  <a:gd name="connsiteY4211" fmla="*/ 1334818 h 3959978"/>
                  <a:gd name="connsiteX4212" fmla="*/ 4032948 w 7724301"/>
                  <a:gd name="connsiteY4212" fmla="*/ 1322935 h 3959978"/>
                  <a:gd name="connsiteX4213" fmla="*/ 4074127 w 7724301"/>
                  <a:gd name="connsiteY4213" fmla="*/ 1334818 h 3959978"/>
                  <a:gd name="connsiteX4214" fmla="*/ 4101051 w 7724301"/>
                  <a:gd name="connsiteY4214" fmla="*/ 1334818 h 3959978"/>
                  <a:gd name="connsiteX4215" fmla="*/ 4115305 w 7724301"/>
                  <a:gd name="connsiteY4215" fmla="*/ 1348284 h 3959978"/>
                  <a:gd name="connsiteX4216" fmla="*/ 4128767 w 7724301"/>
                  <a:gd name="connsiteY4216" fmla="*/ 1372840 h 3959978"/>
                  <a:gd name="connsiteX4217" fmla="*/ 4115305 w 7724301"/>
                  <a:gd name="connsiteY4217" fmla="*/ 1398981 h 3959978"/>
                  <a:gd name="connsiteX4218" fmla="*/ 4115305 w 7724301"/>
                  <a:gd name="connsiteY4218" fmla="*/ 1424329 h 3959978"/>
                  <a:gd name="connsiteX4219" fmla="*/ 4128767 w 7724301"/>
                  <a:gd name="connsiteY4219" fmla="*/ 1462352 h 3959978"/>
                  <a:gd name="connsiteX4220" fmla="*/ 4115305 w 7724301"/>
                  <a:gd name="connsiteY4220" fmla="*/ 1475026 h 3959978"/>
                  <a:gd name="connsiteX4221" fmla="*/ 4101853 w 7724301"/>
                  <a:gd name="connsiteY4221" fmla="*/ 1498949 h 3959978"/>
                  <a:gd name="connsiteX4222" fmla="*/ 4102643 w 7724301"/>
                  <a:gd name="connsiteY4222" fmla="*/ 1499347 h 3959978"/>
                  <a:gd name="connsiteX4223" fmla="*/ 4102762 w 7724301"/>
                  <a:gd name="connsiteY4223" fmla="*/ 1499132 h 3959978"/>
                  <a:gd name="connsiteX4224" fmla="*/ 4116989 w 7724301"/>
                  <a:gd name="connsiteY4224" fmla="*/ 1473804 h 3959978"/>
                  <a:gd name="connsiteX4225" fmla="*/ 4130426 w 7724301"/>
                  <a:gd name="connsiteY4225" fmla="*/ 1461142 h 3959978"/>
                  <a:gd name="connsiteX4226" fmla="*/ 4116989 w 7724301"/>
                  <a:gd name="connsiteY4226" fmla="*/ 1423152 h 3959978"/>
                  <a:gd name="connsiteX4227" fmla="*/ 4119301 w 7724301"/>
                  <a:gd name="connsiteY4227" fmla="*/ 1421995 h 3959978"/>
                  <a:gd name="connsiteX4228" fmla="*/ 4119301 w 7724301"/>
                  <a:gd name="connsiteY4228" fmla="*/ 1399283 h 3959978"/>
                  <a:gd name="connsiteX4229" fmla="*/ 4132764 w 7724301"/>
                  <a:gd name="connsiteY4229" fmla="*/ 1373126 h 3959978"/>
                  <a:gd name="connsiteX4230" fmla="*/ 4119428 w 7724301"/>
                  <a:gd name="connsiteY4230" fmla="*/ 1348788 h 3959978"/>
                  <a:gd name="connsiteX4231" fmla="*/ 4105274 w 7724301"/>
                  <a:gd name="connsiteY4231" fmla="*/ 1335388 h 3959978"/>
                  <a:gd name="connsiteX4232" fmla="*/ 4105274 w 7724301"/>
                  <a:gd name="connsiteY4232" fmla="*/ 1297189 h 3959978"/>
                  <a:gd name="connsiteX4233" fmla="*/ 4103524 w 7724301"/>
                  <a:gd name="connsiteY4233" fmla="*/ 1297189 h 3959978"/>
                  <a:gd name="connsiteX4234" fmla="*/ 4103524 w 7724301"/>
                  <a:gd name="connsiteY4234" fmla="*/ 1334718 h 3959978"/>
                  <a:gd name="connsiteX4235" fmla="*/ 4076079 w 7724301"/>
                  <a:gd name="connsiteY4235" fmla="*/ 1334718 h 3959978"/>
                  <a:gd name="connsiteX4236" fmla="*/ 4034106 w 7724301"/>
                  <a:gd name="connsiteY4236" fmla="*/ 1322885 h 3959978"/>
                  <a:gd name="connsiteX4237" fmla="*/ 4061550 w 7724301"/>
                  <a:gd name="connsiteY4237" fmla="*/ 1311053 h 3959978"/>
                  <a:gd name="connsiteX4238" fmla="*/ 4076079 w 7724301"/>
                  <a:gd name="connsiteY4238" fmla="*/ 1296854 h 3959978"/>
                  <a:gd name="connsiteX4239" fmla="*/ 4078281 w 7724301"/>
                  <a:gd name="connsiteY4239" fmla="*/ 1296854 h 3959978"/>
                  <a:gd name="connsiteX4240" fmla="*/ 4078281 w 7724301"/>
                  <a:gd name="connsiteY4240" fmla="*/ 1285252 h 3959978"/>
                  <a:gd name="connsiteX4241" fmla="*/ 4078281 w 7724301"/>
                  <a:gd name="connsiteY4241" fmla="*/ 1273314 h 3959978"/>
                  <a:gd name="connsiteX4242" fmla="*/ 4079858 w 7724301"/>
                  <a:gd name="connsiteY4242" fmla="*/ 1271640 h 3959978"/>
                  <a:gd name="connsiteX4243" fmla="*/ 4079858 w 7724301"/>
                  <a:gd name="connsiteY4243" fmla="*/ 1246711 h 3959978"/>
                  <a:gd name="connsiteX4244" fmla="*/ 4093269 w 7724301"/>
                  <a:gd name="connsiteY4244" fmla="*/ 1220912 h 3959978"/>
                  <a:gd name="connsiteX4245" fmla="*/ 4106679 w 7724301"/>
                  <a:gd name="connsiteY4245" fmla="*/ 1209186 h 3959978"/>
                  <a:gd name="connsiteX4246" fmla="*/ 4120878 w 7724301"/>
                  <a:gd name="connsiteY4246" fmla="*/ 1234984 h 3959978"/>
                  <a:gd name="connsiteX4247" fmla="*/ 4134289 w 7724301"/>
                  <a:gd name="connsiteY4247" fmla="*/ 1234984 h 3959978"/>
                  <a:gd name="connsiteX4248" fmla="*/ 4147699 w 7724301"/>
                  <a:gd name="connsiteY4248" fmla="*/ 1234984 h 3959978"/>
                  <a:gd name="connsiteX4249" fmla="*/ 4147699 w 7724301"/>
                  <a:gd name="connsiteY4249" fmla="*/ 1197460 h 3959978"/>
                  <a:gd name="connsiteX4250" fmla="*/ 4161109 w 7724301"/>
                  <a:gd name="connsiteY4250" fmla="*/ 1197460 h 3959978"/>
                  <a:gd name="connsiteX4251" fmla="*/ 4188719 w 7724301"/>
                  <a:gd name="connsiteY4251" fmla="*/ 1209186 h 3959978"/>
                  <a:gd name="connsiteX4252" fmla="*/ 4212387 w 7724301"/>
                  <a:gd name="connsiteY4252" fmla="*/ 1209186 h 3959978"/>
                  <a:gd name="connsiteX4253" fmla="*/ 4212387 w 7724301"/>
                  <a:gd name="connsiteY4253" fmla="*/ 1208504 h 3959978"/>
                  <a:gd name="connsiteX4254" fmla="*/ 4189058 w 7724301"/>
                  <a:gd name="connsiteY4254" fmla="*/ 1208504 h 3959978"/>
                  <a:gd name="connsiteX4255" fmla="*/ 4161677 w 7724301"/>
                  <a:gd name="connsiteY4255" fmla="*/ 1196817 h 3959978"/>
                  <a:gd name="connsiteX4256" fmla="*/ 4148378 w 7724301"/>
                  <a:gd name="connsiteY4256" fmla="*/ 1196817 h 3959978"/>
                  <a:gd name="connsiteX4257" fmla="*/ 4135078 w 7724301"/>
                  <a:gd name="connsiteY4257" fmla="*/ 1182794 h 3959978"/>
                  <a:gd name="connsiteX4258" fmla="*/ 4135078 w 7724301"/>
                  <a:gd name="connsiteY4258" fmla="*/ 1159421 h 3959978"/>
                  <a:gd name="connsiteX4259" fmla="*/ 4148378 w 7724301"/>
                  <a:gd name="connsiteY4259" fmla="*/ 1145397 h 3959978"/>
                  <a:gd name="connsiteX4260" fmla="*/ 4175758 w 7724301"/>
                  <a:gd name="connsiteY4260" fmla="*/ 1145397 h 3959978"/>
                  <a:gd name="connsiteX4261" fmla="*/ 4226113 w 7724301"/>
                  <a:gd name="connsiteY4261" fmla="*/ 1145397 h 3959978"/>
                  <a:gd name="connsiteX4262" fmla="*/ 4252626 w 7724301"/>
                  <a:gd name="connsiteY4262" fmla="*/ 1122019 h 3959978"/>
                  <a:gd name="connsiteX4263" fmla="*/ 4225800 w 7724301"/>
                  <a:gd name="connsiteY4263" fmla="*/ 1096000 h 3959978"/>
                  <a:gd name="connsiteX4264" fmla="*/ 4212387 w 7724301"/>
                  <a:gd name="connsiteY4264" fmla="*/ 1096000 h 3959978"/>
                  <a:gd name="connsiteX4265" fmla="*/ 4212784 w 7724301"/>
                  <a:gd name="connsiteY4265" fmla="*/ 1095743 h 3959978"/>
                  <a:gd name="connsiteX4266" fmla="*/ 4198975 w 7724301"/>
                  <a:gd name="connsiteY4266" fmla="*/ 1095743 h 3959978"/>
                  <a:gd name="connsiteX4267" fmla="*/ 4131134 w 7724301"/>
                  <a:gd name="connsiteY4267" fmla="*/ 1121732 h 3959978"/>
                  <a:gd name="connsiteX4268" fmla="*/ 4076704 w 7724301"/>
                  <a:gd name="connsiteY4268" fmla="*/ 1095743 h 3959978"/>
                  <a:gd name="connsiteX4269" fmla="*/ 4090114 w 7724301"/>
                  <a:gd name="connsiteY4269" fmla="*/ 1057941 h 3959978"/>
                  <a:gd name="connsiteX4270" fmla="*/ 4076704 w 7724301"/>
                  <a:gd name="connsiteY4270" fmla="*/ 1020138 h 3959978"/>
                  <a:gd name="connsiteX4271" fmla="*/ 4090114 w 7724301"/>
                  <a:gd name="connsiteY4271" fmla="*/ 994150 h 3959978"/>
                  <a:gd name="connsiteX4272" fmla="*/ 4144545 w 7724301"/>
                  <a:gd name="connsiteY4272" fmla="*/ 919333 h 3959978"/>
                  <a:gd name="connsiteX4273" fmla="*/ 4157955 w 7724301"/>
                  <a:gd name="connsiteY4273" fmla="*/ 906732 h 3959978"/>
                  <a:gd name="connsiteX4274" fmla="*/ 4157955 w 7724301"/>
                  <a:gd name="connsiteY4274" fmla="*/ 881531 h 3959978"/>
                  <a:gd name="connsiteX4275" fmla="*/ 4144545 w 7724301"/>
                  <a:gd name="connsiteY4275" fmla="*/ 868930 h 3959978"/>
                  <a:gd name="connsiteX4276" fmla="*/ 4131134 w 7724301"/>
                  <a:gd name="connsiteY4276" fmla="*/ 868930 h 3959978"/>
                  <a:gd name="connsiteX4277" fmla="*/ 4117724 w 7724301"/>
                  <a:gd name="connsiteY4277" fmla="*/ 755524 h 3959978"/>
                  <a:gd name="connsiteX4278" fmla="*/ 4062505 w 7724301"/>
                  <a:gd name="connsiteY4278" fmla="*/ 705908 h 3959978"/>
                  <a:gd name="connsiteX4279" fmla="*/ 4076483 w 7724301"/>
                  <a:gd name="connsiteY4279" fmla="*/ 692729 h 3959978"/>
                  <a:gd name="connsiteX4280" fmla="*/ 4074826 w 7724301"/>
                  <a:gd name="connsiteY4280" fmla="*/ 691169 h 3959978"/>
                  <a:gd name="connsiteX4281" fmla="*/ 4061397 w 7724301"/>
                  <a:gd name="connsiteY4281" fmla="*/ 704596 h 3959978"/>
                  <a:gd name="connsiteX4282" fmla="*/ 4047179 w 7724301"/>
                  <a:gd name="connsiteY4282" fmla="*/ 704596 h 3959978"/>
                  <a:gd name="connsiteX4283" fmla="*/ 4047179 w 7724301"/>
                  <a:gd name="connsiteY4283" fmla="*/ 705224 h 3959978"/>
                  <a:gd name="connsiteX4284" fmla="*/ 4060926 w 7724301"/>
                  <a:gd name="connsiteY4284" fmla="*/ 705224 h 3959978"/>
                  <a:gd name="connsiteX4285" fmla="*/ 4115357 w 7724301"/>
                  <a:gd name="connsiteY4285" fmla="*/ 754921 h 3959978"/>
                  <a:gd name="connsiteX4286" fmla="*/ 4128767 w 7724301"/>
                  <a:gd name="connsiteY4286" fmla="*/ 868515 h 3959978"/>
                  <a:gd name="connsiteX4287" fmla="*/ 4101158 w 7724301"/>
                  <a:gd name="connsiteY4287" fmla="*/ 868515 h 3959978"/>
                  <a:gd name="connsiteX4288" fmla="*/ 4074337 w 7724301"/>
                  <a:gd name="connsiteY4288" fmla="*/ 894546 h 3959978"/>
                  <a:gd name="connsiteX4289" fmla="*/ 4074337 w 7724301"/>
                  <a:gd name="connsiteY4289" fmla="*/ 906379 h 3959978"/>
                  <a:gd name="connsiteX4290" fmla="*/ 4074337 w 7724301"/>
                  <a:gd name="connsiteY4290" fmla="*/ 919000 h 3959978"/>
                  <a:gd name="connsiteX4291" fmla="*/ 4087747 w 7724301"/>
                  <a:gd name="connsiteY4291" fmla="*/ 932411 h 3959978"/>
                  <a:gd name="connsiteX4292" fmla="*/ 4060926 w 7724301"/>
                  <a:gd name="connsiteY4292" fmla="*/ 956075 h 3959978"/>
                  <a:gd name="connsiteX4293" fmla="*/ 4019907 w 7724301"/>
                  <a:gd name="connsiteY4293" fmla="*/ 993940 h 3959978"/>
                  <a:gd name="connsiteX4294" fmla="*/ 3992297 w 7724301"/>
                  <a:gd name="connsiteY4294" fmla="*/ 1031804 h 3959978"/>
                  <a:gd name="connsiteX4295" fmla="*/ 3992297 w 7724301"/>
                  <a:gd name="connsiteY4295" fmla="*/ 1095700 h 3959978"/>
                  <a:gd name="connsiteX4296" fmla="*/ 4019907 w 7724301"/>
                  <a:gd name="connsiteY4296" fmla="*/ 1133565 h 3959978"/>
                  <a:gd name="connsiteX4297" fmla="*/ 4005708 w 7724301"/>
                  <a:gd name="connsiteY4297" fmla="*/ 1145398 h 3959978"/>
                  <a:gd name="connsiteX4298" fmla="*/ 4005708 w 7724301"/>
                  <a:gd name="connsiteY4298" fmla="*/ 1159596 h 3959978"/>
                  <a:gd name="connsiteX4299" fmla="*/ 3978887 w 7724301"/>
                  <a:gd name="connsiteY4299" fmla="*/ 1183262 h 3959978"/>
                  <a:gd name="connsiteX4300" fmla="*/ 3965477 w 7724301"/>
                  <a:gd name="connsiteY4300" fmla="*/ 1273190 h 3959978"/>
                  <a:gd name="connsiteX4301" fmla="*/ 3937867 w 7724301"/>
                  <a:gd name="connsiteY4301" fmla="*/ 1273190 h 3959978"/>
                  <a:gd name="connsiteX4302" fmla="*/ 3924457 w 7724301"/>
                  <a:gd name="connsiteY4302" fmla="*/ 1285022 h 3959978"/>
                  <a:gd name="connsiteX4303" fmla="*/ 3924457 w 7724301"/>
                  <a:gd name="connsiteY4303" fmla="*/ 1296855 h 3959978"/>
                  <a:gd name="connsiteX4304" fmla="*/ 3896847 w 7724301"/>
                  <a:gd name="connsiteY4304" fmla="*/ 1296855 h 3959978"/>
                  <a:gd name="connsiteX4305" fmla="*/ 3884226 w 7724301"/>
                  <a:gd name="connsiteY4305" fmla="*/ 1274582 h 3959978"/>
                  <a:gd name="connsiteX4306" fmla="*/ 3884226 w 7724301"/>
                  <a:gd name="connsiteY4306" fmla="*/ 1285021 h 3959978"/>
                  <a:gd name="connsiteX4307" fmla="*/ 3884226 w 7724301"/>
                  <a:gd name="connsiteY4307" fmla="*/ 1296854 h 3959978"/>
                  <a:gd name="connsiteX4308" fmla="*/ 3855827 w 7724301"/>
                  <a:gd name="connsiteY4308" fmla="*/ 1296854 h 3959978"/>
                  <a:gd name="connsiteX4309" fmla="*/ 3855827 w 7724301"/>
                  <a:gd name="connsiteY4309" fmla="*/ 1285021 h 3959978"/>
                  <a:gd name="connsiteX4310" fmla="*/ 3883588 w 7724301"/>
                  <a:gd name="connsiteY4310" fmla="*/ 1273456 h 3959978"/>
                  <a:gd name="connsiteX4311" fmla="*/ 3883438 w 7724301"/>
                  <a:gd name="connsiteY4311" fmla="*/ 1273190 h 3959978"/>
                  <a:gd name="connsiteX4312" fmla="*/ 3896847 w 7724301"/>
                  <a:gd name="connsiteY4312" fmla="*/ 1258990 h 3959978"/>
                  <a:gd name="connsiteX4313" fmla="*/ 3883438 w 7724301"/>
                  <a:gd name="connsiteY4313" fmla="*/ 1247158 h 3959978"/>
                  <a:gd name="connsiteX4314" fmla="*/ 3855827 w 7724301"/>
                  <a:gd name="connsiteY4314" fmla="*/ 1171430 h 3959978"/>
                  <a:gd name="connsiteX4315" fmla="*/ 3870027 w 7724301"/>
                  <a:gd name="connsiteY4315" fmla="*/ 1171430 h 3959978"/>
                  <a:gd name="connsiteX4316" fmla="*/ 3870027 w 7724301"/>
                  <a:gd name="connsiteY4316" fmla="*/ 1133565 h 3959978"/>
                  <a:gd name="connsiteX4317" fmla="*/ 3883438 w 7724301"/>
                  <a:gd name="connsiteY4317" fmla="*/ 1121732 h 3959978"/>
                  <a:gd name="connsiteX4318" fmla="*/ 3883438 w 7724301"/>
                  <a:gd name="connsiteY4318" fmla="*/ 1083868 h 3959978"/>
                  <a:gd name="connsiteX4319" fmla="*/ 3883438 w 7724301"/>
                  <a:gd name="connsiteY4319" fmla="*/ 1069669 h 3959978"/>
                  <a:gd name="connsiteX4320" fmla="*/ 3870027 w 7724301"/>
                  <a:gd name="connsiteY4320" fmla="*/ 1019972 h 3959978"/>
                  <a:gd name="connsiteX4321" fmla="*/ 3883438 w 7724301"/>
                  <a:gd name="connsiteY4321" fmla="*/ 970275 h 3959978"/>
                  <a:gd name="connsiteX4322" fmla="*/ 3896847 w 7724301"/>
                  <a:gd name="connsiteY4322" fmla="*/ 956075 h 3959978"/>
                  <a:gd name="connsiteX4323" fmla="*/ 3924457 w 7724301"/>
                  <a:gd name="connsiteY4323" fmla="*/ 944243 h 3959978"/>
                  <a:gd name="connsiteX4324" fmla="*/ 3911047 w 7724301"/>
                  <a:gd name="connsiteY4324" fmla="*/ 919000 h 3959978"/>
                  <a:gd name="connsiteX4325" fmla="*/ 3924457 w 7724301"/>
                  <a:gd name="connsiteY4325" fmla="*/ 894546 h 3959978"/>
                  <a:gd name="connsiteX4326" fmla="*/ 3937867 w 7724301"/>
                  <a:gd name="connsiteY4326" fmla="*/ 856682 h 3959978"/>
                  <a:gd name="connsiteX4327" fmla="*/ 3965477 w 7724301"/>
                  <a:gd name="connsiteY4327" fmla="*/ 818817 h 3959978"/>
                  <a:gd name="connsiteX4328" fmla="*/ 3965477 w 7724301"/>
                  <a:gd name="connsiteY4328" fmla="*/ 805407 h 3959978"/>
                  <a:gd name="connsiteX4329" fmla="*/ 3965477 w 7724301"/>
                  <a:gd name="connsiteY4329" fmla="*/ 792786 h 3959978"/>
                  <a:gd name="connsiteX4330" fmla="*/ 3978887 w 7724301"/>
                  <a:gd name="connsiteY4330" fmla="*/ 767543 h 3959978"/>
                  <a:gd name="connsiteX4331" fmla="*/ 3992297 w 7724301"/>
                  <a:gd name="connsiteY4331" fmla="*/ 754921 h 3959978"/>
                  <a:gd name="connsiteX4332" fmla="*/ 4005708 w 7724301"/>
                  <a:gd name="connsiteY4332" fmla="*/ 754921 h 3959978"/>
                  <a:gd name="connsiteX4333" fmla="*/ 4005708 w 7724301"/>
                  <a:gd name="connsiteY4333" fmla="*/ 754356 h 3959978"/>
                  <a:gd name="connsiteX4334" fmla="*/ 3992674 w 7724301"/>
                  <a:gd name="connsiteY4334" fmla="*/ 754356 h 3959978"/>
                  <a:gd name="connsiteX4335" fmla="*/ 3977666 w 7724301"/>
                  <a:gd name="connsiteY4335" fmla="*/ 766995 h 3959978"/>
                  <a:gd name="connsiteX4336" fmla="*/ 3964237 w 7724301"/>
                  <a:gd name="connsiteY4336" fmla="*/ 792270 h 3959978"/>
                  <a:gd name="connsiteX4337" fmla="*/ 3964237 w 7724301"/>
                  <a:gd name="connsiteY4337" fmla="*/ 804907 h 3959978"/>
                  <a:gd name="connsiteX4338" fmla="*/ 3964237 w 7724301"/>
                  <a:gd name="connsiteY4338" fmla="*/ 818334 h 3959978"/>
                  <a:gd name="connsiteX4339" fmla="*/ 3936590 w 7724301"/>
                  <a:gd name="connsiteY4339" fmla="*/ 856246 h 3959978"/>
                  <a:gd name="connsiteX4340" fmla="*/ 3923161 w 7724301"/>
                  <a:gd name="connsiteY4340" fmla="*/ 894160 h 3959978"/>
                  <a:gd name="connsiteX4341" fmla="*/ 3909732 w 7724301"/>
                  <a:gd name="connsiteY4341" fmla="*/ 918645 h 3959978"/>
                  <a:gd name="connsiteX4342" fmla="*/ 3923161 w 7724301"/>
                  <a:gd name="connsiteY4342" fmla="*/ 943920 h 3959978"/>
                  <a:gd name="connsiteX4343" fmla="*/ 3895513 w 7724301"/>
                  <a:gd name="connsiteY4343" fmla="*/ 955767 h 3959978"/>
                  <a:gd name="connsiteX4344" fmla="*/ 3882086 w 7724301"/>
                  <a:gd name="connsiteY4344" fmla="*/ 969985 h 3959978"/>
                  <a:gd name="connsiteX4345" fmla="*/ 3868657 w 7724301"/>
                  <a:gd name="connsiteY4345" fmla="*/ 1019745 h 3959978"/>
                  <a:gd name="connsiteX4346" fmla="*/ 3882086 w 7724301"/>
                  <a:gd name="connsiteY4346" fmla="*/ 1069506 h 3959978"/>
                  <a:gd name="connsiteX4347" fmla="*/ 3882086 w 7724301"/>
                  <a:gd name="connsiteY4347" fmla="*/ 1083723 h 3959978"/>
                  <a:gd name="connsiteX4348" fmla="*/ 3882086 w 7724301"/>
                  <a:gd name="connsiteY4348" fmla="*/ 1121635 h 3959978"/>
                  <a:gd name="connsiteX4349" fmla="*/ 3868657 w 7724301"/>
                  <a:gd name="connsiteY4349" fmla="*/ 1133483 h 3959978"/>
                  <a:gd name="connsiteX4350" fmla="*/ 3868657 w 7724301"/>
                  <a:gd name="connsiteY4350" fmla="*/ 1171396 h 3959978"/>
                  <a:gd name="connsiteX4351" fmla="*/ 3854438 w 7724301"/>
                  <a:gd name="connsiteY4351" fmla="*/ 1171396 h 3959978"/>
                  <a:gd name="connsiteX4352" fmla="*/ 3854438 w 7724301"/>
                  <a:gd name="connsiteY4352" fmla="*/ 1159548 h 3959978"/>
                  <a:gd name="connsiteX4353" fmla="*/ 3841009 w 7724301"/>
                  <a:gd name="connsiteY4353" fmla="*/ 1145331 h 3959978"/>
                  <a:gd name="connsiteX4354" fmla="*/ 3841009 w 7724301"/>
                  <a:gd name="connsiteY4354" fmla="*/ 1159548 h 3959978"/>
                  <a:gd name="connsiteX4355" fmla="*/ 3827580 w 7724301"/>
                  <a:gd name="connsiteY4355" fmla="*/ 1159548 h 3959978"/>
                  <a:gd name="connsiteX4356" fmla="*/ 3786505 w 7724301"/>
                  <a:gd name="connsiteY4356" fmla="*/ 1197460 h 3959978"/>
                  <a:gd name="connsiteX4357" fmla="*/ 3759647 w 7724301"/>
                  <a:gd name="connsiteY4357" fmla="*/ 1197460 h 3959978"/>
                  <a:gd name="connsiteX4358" fmla="*/ 3732000 w 7724301"/>
                  <a:gd name="connsiteY4358" fmla="*/ 1183243 h 3959978"/>
                  <a:gd name="connsiteX4359" fmla="*/ 3745429 w 7724301"/>
                  <a:gd name="connsiteY4359" fmla="*/ 1145331 h 3959978"/>
                  <a:gd name="connsiteX4360" fmla="*/ 3732000 w 7724301"/>
                  <a:gd name="connsiteY4360" fmla="*/ 1159548 h 3959978"/>
                  <a:gd name="connsiteX4361" fmla="*/ 3732000 w 7724301"/>
                  <a:gd name="connsiteY4361" fmla="*/ 1145331 h 3959978"/>
                  <a:gd name="connsiteX4362" fmla="*/ 3732000 w 7724301"/>
                  <a:gd name="connsiteY4362" fmla="*/ 1133483 h 3959978"/>
                  <a:gd name="connsiteX4363" fmla="*/ 3732000 w 7724301"/>
                  <a:gd name="connsiteY4363" fmla="*/ 1107418 h 3959978"/>
                  <a:gd name="connsiteX4364" fmla="*/ 3718571 w 7724301"/>
                  <a:gd name="connsiteY4364" fmla="*/ 1083723 h 3959978"/>
                  <a:gd name="connsiteX4365" fmla="*/ 3732000 w 7724301"/>
                  <a:gd name="connsiteY4365" fmla="*/ 1057657 h 3959978"/>
                  <a:gd name="connsiteX4366" fmla="*/ 3718571 w 7724301"/>
                  <a:gd name="connsiteY4366" fmla="*/ 1045810 h 3959978"/>
                  <a:gd name="connsiteX4367" fmla="*/ 3773076 w 7724301"/>
                  <a:gd name="connsiteY4367" fmla="*/ 1007898 h 3959978"/>
                  <a:gd name="connsiteX4368" fmla="*/ 3786505 w 7724301"/>
                  <a:gd name="connsiteY4368" fmla="*/ 993680 h 3959978"/>
                  <a:gd name="connsiteX4369" fmla="*/ 3814151 w 7724301"/>
                  <a:gd name="connsiteY4369" fmla="*/ 969985 h 3959978"/>
                  <a:gd name="connsiteX4370" fmla="*/ 3814151 w 7724301"/>
                  <a:gd name="connsiteY4370" fmla="*/ 981832 h 3959978"/>
                  <a:gd name="connsiteX4371" fmla="*/ 3854438 w 7724301"/>
                  <a:gd name="connsiteY4371" fmla="*/ 918645 h 3959978"/>
                  <a:gd name="connsiteX4372" fmla="*/ 3882086 w 7724301"/>
                  <a:gd name="connsiteY4372" fmla="*/ 894160 h 3959978"/>
                  <a:gd name="connsiteX4373" fmla="*/ 3909732 w 7724301"/>
                  <a:gd name="connsiteY4373" fmla="*/ 830182 h 3959978"/>
                  <a:gd name="connsiteX4374" fmla="*/ 3936590 w 7724301"/>
                  <a:gd name="connsiteY4374" fmla="*/ 766995 h 3959978"/>
                  <a:gd name="connsiteX4375" fmla="*/ 3964237 w 7724301"/>
                  <a:gd name="connsiteY4375" fmla="*/ 742509 h 3959978"/>
                  <a:gd name="connsiteX4376" fmla="*/ 3923161 w 7724301"/>
                  <a:gd name="connsiteY4376" fmla="*/ 754356 h 3959978"/>
                  <a:gd name="connsiteX4377" fmla="*/ 3895513 w 7724301"/>
                  <a:gd name="connsiteY4377" fmla="*/ 766995 h 3959978"/>
                  <a:gd name="connsiteX4378" fmla="*/ 3909732 w 7724301"/>
                  <a:gd name="connsiteY4378" fmla="*/ 742509 h 3959978"/>
                  <a:gd name="connsiteX4379" fmla="*/ 3936590 w 7724301"/>
                  <a:gd name="connsiteY4379" fmla="*/ 742509 h 3959978"/>
                  <a:gd name="connsiteX4380" fmla="*/ 3923161 w 7724301"/>
                  <a:gd name="connsiteY4380" fmla="*/ 716444 h 3959978"/>
                  <a:gd name="connsiteX4381" fmla="*/ 3964237 w 7724301"/>
                  <a:gd name="connsiteY4381" fmla="*/ 691169 h 3959978"/>
                  <a:gd name="connsiteX4382" fmla="*/ 3964237 w 7724301"/>
                  <a:gd name="connsiteY4382" fmla="*/ 716444 h 3959978"/>
                  <a:gd name="connsiteX4383" fmla="*/ 3977666 w 7724301"/>
                  <a:gd name="connsiteY4383" fmla="*/ 704596 h 3959978"/>
                  <a:gd name="connsiteX4384" fmla="*/ 3977666 w 7724301"/>
                  <a:gd name="connsiteY4384" fmla="*/ 716444 h 3959978"/>
                  <a:gd name="connsiteX4385" fmla="*/ 3992674 w 7724301"/>
                  <a:gd name="connsiteY4385" fmla="*/ 704596 h 3959978"/>
                  <a:gd name="connsiteX4386" fmla="*/ 3977666 w 7724301"/>
                  <a:gd name="connsiteY4386" fmla="*/ 704596 h 3959978"/>
                  <a:gd name="connsiteX4387" fmla="*/ 3977666 w 7724301"/>
                  <a:gd name="connsiteY4387" fmla="*/ 678531 h 3959978"/>
                  <a:gd name="connsiteX4388" fmla="*/ 4006103 w 7724301"/>
                  <a:gd name="connsiteY4388" fmla="*/ 666684 h 3959978"/>
                  <a:gd name="connsiteX4389" fmla="*/ 4020322 w 7724301"/>
                  <a:gd name="connsiteY4389" fmla="*/ 640619 h 3959978"/>
                  <a:gd name="connsiteX4390" fmla="*/ 4047179 w 7724301"/>
                  <a:gd name="connsiteY4390" fmla="*/ 640619 h 3959978"/>
                  <a:gd name="connsiteX4391" fmla="*/ 4074826 w 7724301"/>
                  <a:gd name="connsiteY4391" fmla="*/ 628771 h 3959978"/>
                  <a:gd name="connsiteX4392" fmla="*/ 4115903 w 7724301"/>
                  <a:gd name="connsiteY4392" fmla="*/ 590859 h 3959978"/>
                  <a:gd name="connsiteX4393" fmla="*/ 4142759 w 7724301"/>
                  <a:gd name="connsiteY4393" fmla="*/ 602706 h 3959978"/>
                  <a:gd name="connsiteX4394" fmla="*/ 4156978 w 7724301"/>
                  <a:gd name="connsiteY4394" fmla="*/ 590859 h 3959978"/>
                  <a:gd name="connsiteX4395" fmla="*/ 4170407 w 7724301"/>
                  <a:gd name="connsiteY4395" fmla="*/ 577431 h 3959978"/>
                  <a:gd name="connsiteX4396" fmla="*/ 4170407 w 7724301"/>
                  <a:gd name="connsiteY4396" fmla="*/ 615344 h 3959978"/>
                  <a:gd name="connsiteX4397" fmla="*/ 4183836 w 7724301"/>
                  <a:gd name="connsiteY4397" fmla="*/ 590859 h 3959978"/>
                  <a:gd name="connsiteX4398" fmla="*/ 4197265 w 7724301"/>
                  <a:gd name="connsiteY4398" fmla="*/ 615344 h 3959978"/>
                  <a:gd name="connsiteX4399" fmla="*/ 4211483 w 7724301"/>
                  <a:gd name="connsiteY4399" fmla="*/ 577431 h 3959978"/>
                  <a:gd name="connsiteX4400" fmla="*/ 4238340 w 7724301"/>
                  <a:gd name="connsiteY4400" fmla="*/ 590859 h 3959978"/>
                  <a:gd name="connsiteX4401" fmla="*/ 4294425 w 7724301"/>
                  <a:gd name="connsiteY4401" fmla="*/ 628771 h 3959978"/>
                  <a:gd name="connsiteX4402" fmla="*/ 4267568 w 7724301"/>
                  <a:gd name="connsiteY4402" fmla="*/ 640619 h 3959978"/>
                  <a:gd name="connsiteX4403" fmla="*/ 4238340 w 7724301"/>
                  <a:gd name="connsiteY4403" fmla="*/ 640619 h 3959978"/>
                  <a:gd name="connsiteX4404" fmla="*/ 4267568 w 7724301"/>
                  <a:gd name="connsiteY4404" fmla="*/ 653256 h 3959978"/>
                  <a:gd name="connsiteX4405" fmla="*/ 4280996 w 7724301"/>
                  <a:gd name="connsiteY4405" fmla="*/ 666684 h 3959978"/>
                  <a:gd name="connsiteX4406" fmla="*/ 4280996 w 7724301"/>
                  <a:gd name="connsiteY4406" fmla="*/ 678531 h 3959978"/>
                  <a:gd name="connsiteX4407" fmla="*/ 4267568 w 7724301"/>
                  <a:gd name="connsiteY4407" fmla="*/ 678531 h 3959978"/>
                  <a:gd name="connsiteX4408" fmla="*/ 4241441 w 7724301"/>
                  <a:gd name="connsiteY4408" fmla="*/ 701831 h 3959978"/>
                  <a:gd name="connsiteX4409" fmla="*/ 4240491 w 7724301"/>
                  <a:gd name="connsiteY4409" fmla="*/ 704510 h 3959978"/>
                  <a:gd name="connsiteX4410" fmla="*/ 4266829 w 7724301"/>
                  <a:gd name="connsiteY4410" fmla="*/ 679694 h 3959978"/>
                  <a:gd name="connsiteX4411" fmla="*/ 4281821 w 7724301"/>
                  <a:gd name="connsiteY4411" fmla="*/ 679694 h 3959978"/>
                  <a:gd name="connsiteX4412" fmla="*/ 4281821 w 7724301"/>
                  <a:gd name="connsiteY4412" fmla="*/ 667867 h 3959978"/>
                  <a:gd name="connsiteX4413" fmla="*/ 4308646 w 7724301"/>
                  <a:gd name="connsiteY4413" fmla="*/ 654464 h 3959978"/>
                  <a:gd name="connsiteX4414" fmla="*/ 4336262 w 7724301"/>
                  <a:gd name="connsiteY4414" fmla="*/ 667867 h 3959978"/>
                  <a:gd name="connsiteX4415" fmla="*/ 4336262 w 7724301"/>
                  <a:gd name="connsiteY4415" fmla="*/ 679694 h 3959978"/>
                  <a:gd name="connsiteX4416" fmla="*/ 4418320 w 7724301"/>
                  <a:gd name="connsiteY4416" fmla="*/ 705713 h 3959978"/>
                  <a:gd name="connsiteX4417" fmla="*/ 4499588 w 7724301"/>
                  <a:gd name="connsiteY4417" fmla="*/ 781406 h 3959978"/>
                  <a:gd name="connsiteX4418" fmla="*/ 4513791 w 7724301"/>
                  <a:gd name="connsiteY4418" fmla="*/ 819251 h 3959978"/>
                  <a:gd name="connsiteX4419" fmla="*/ 4445147 w 7724301"/>
                  <a:gd name="connsiteY4419" fmla="*/ 857097 h 3959978"/>
                  <a:gd name="connsiteX4420" fmla="*/ 4336262 w 7724301"/>
                  <a:gd name="connsiteY4420" fmla="*/ 819251 h 3959978"/>
                  <a:gd name="connsiteX4421" fmla="*/ 4308646 w 7724301"/>
                  <a:gd name="connsiteY4421" fmla="*/ 805847 h 3959978"/>
                  <a:gd name="connsiteX4422" fmla="*/ 4322849 w 7724301"/>
                  <a:gd name="connsiteY4422" fmla="*/ 831078 h 3959978"/>
                  <a:gd name="connsiteX4423" fmla="*/ 4363878 w 7724301"/>
                  <a:gd name="connsiteY4423" fmla="*/ 857097 h 3959978"/>
                  <a:gd name="connsiteX4424" fmla="*/ 4363878 w 7724301"/>
                  <a:gd name="connsiteY4424" fmla="*/ 932789 h 3959978"/>
                  <a:gd name="connsiteX4425" fmla="*/ 4404117 w 7724301"/>
                  <a:gd name="connsiteY4425" fmla="*/ 956443 h 3959978"/>
                  <a:gd name="connsiteX4426" fmla="*/ 4431733 w 7724301"/>
                  <a:gd name="connsiteY4426" fmla="*/ 956443 h 3959978"/>
                  <a:gd name="connsiteX4427" fmla="*/ 4404117 w 7724301"/>
                  <a:gd name="connsiteY4427" fmla="*/ 919385 h 3959978"/>
                  <a:gd name="connsiteX4428" fmla="*/ 4418320 w 7724301"/>
                  <a:gd name="connsiteY4428" fmla="*/ 906770 h 3959978"/>
                  <a:gd name="connsiteX4429" fmla="*/ 4499588 w 7724301"/>
                  <a:gd name="connsiteY4429" fmla="*/ 932789 h 3959978"/>
                  <a:gd name="connsiteX4430" fmla="*/ 4472763 w 7724301"/>
                  <a:gd name="connsiteY4430" fmla="*/ 881540 h 3959978"/>
                  <a:gd name="connsiteX4431" fmla="*/ 4527204 w 7724301"/>
                  <a:gd name="connsiteY4431" fmla="*/ 843693 h 3959978"/>
                  <a:gd name="connsiteX4432" fmla="*/ 4568234 w 7724301"/>
                  <a:gd name="connsiteY4432" fmla="*/ 857097 h 3959978"/>
                  <a:gd name="connsiteX4433" fmla="*/ 4581647 w 7724301"/>
                  <a:gd name="connsiteY4433" fmla="*/ 831078 h 3959978"/>
                  <a:gd name="connsiteX4434" fmla="*/ 4568234 w 7724301"/>
                  <a:gd name="connsiteY4434" fmla="*/ 805847 h 3959978"/>
                  <a:gd name="connsiteX4435" fmla="*/ 4568234 w 7724301"/>
                  <a:gd name="connsiteY4435" fmla="*/ 743559 h 3959978"/>
                  <a:gd name="connsiteX4436" fmla="*/ 4554031 w 7724301"/>
                  <a:gd name="connsiteY4436" fmla="*/ 717540 h 3959978"/>
                  <a:gd name="connsiteX4437" fmla="*/ 4609262 w 7724301"/>
                  <a:gd name="connsiteY4437" fmla="*/ 730155 h 3959978"/>
                  <a:gd name="connsiteX4438" fmla="*/ 4622675 w 7724301"/>
                  <a:gd name="connsiteY4438" fmla="*/ 768001 h 3959978"/>
                  <a:gd name="connsiteX4439" fmla="*/ 4581647 w 7724301"/>
                  <a:gd name="connsiteY4439" fmla="*/ 793232 h 3959978"/>
                  <a:gd name="connsiteX4440" fmla="*/ 4622675 w 7724301"/>
                  <a:gd name="connsiteY4440" fmla="*/ 819251 h 3959978"/>
                  <a:gd name="connsiteX4441" fmla="*/ 4649502 w 7724301"/>
                  <a:gd name="connsiteY4441" fmla="*/ 805847 h 3959978"/>
                  <a:gd name="connsiteX4442" fmla="*/ 4649502 w 7724301"/>
                  <a:gd name="connsiteY4442" fmla="*/ 781406 h 3959978"/>
                  <a:gd name="connsiteX4443" fmla="*/ 4786002 w 7724301"/>
                  <a:gd name="connsiteY4443" fmla="*/ 705713 h 3959978"/>
                  <a:gd name="connsiteX4444" fmla="*/ 4786002 w 7724301"/>
                  <a:gd name="connsiteY4444" fmla="*/ 730155 h 3959978"/>
                  <a:gd name="connsiteX4445" fmla="*/ 4799416 w 7724301"/>
                  <a:gd name="connsiteY4445" fmla="*/ 755386 h 3959978"/>
                  <a:gd name="connsiteX4446" fmla="*/ 4813617 w 7724301"/>
                  <a:gd name="connsiteY4446" fmla="*/ 730155 h 3959978"/>
                  <a:gd name="connsiteX4447" fmla="*/ 4896464 w 7724301"/>
                  <a:gd name="connsiteY4447" fmla="*/ 705713 h 3959978"/>
                  <a:gd name="connsiteX4448" fmla="*/ 4910667 w 7724301"/>
                  <a:gd name="connsiteY4448" fmla="*/ 717540 h 3959978"/>
                  <a:gd name="connsiteX4449" fmla="*/ 4937494 w 7724301"/>
                  <a:gd name="connsiteY4449" fmla="*/ 705713 h 3959978"/>
                  <a:gd name="connsiteX4450" fmla="*/ 4883051 w 7724301"/>
                  <a:gd name="connsiteY4450" fmla="*/ 641848 h 3959978"/>
                  <a:gd name="connsiteX4451" fmla="*/ 4896464 w 7724301"/>
                  <a:gd name="connsiteY4451" fmla="*/ 616618 h 3959978"/>
                  <a:gd name="connsiteX4452" fmla="*/ 5060580 w 7724301"/>
                  <a:gd name="connsiteY4452" fmla="*/ 717540 h 3959978"/>
                  <a:gd name="connsiteX4453" fmla="*/ 5100820 w 7724301"/>
                  <a:gd name="connsiteY4453" fmla="*/ 743559 h 3959978"/>
                  <a:gd name="connsiteX4454" fmla="*/ 5100820 w 7724301"/>
                  <a:gd name="connsiteY4454" fmla="*/ 717540 h 3959978"/>
                  <a:gd name="connsiteX4455" fmla="*/ 5060580 w 7724301"/>
                  <a:gd name="connsiteY4455" fmla="*/ 667867 h 3959978"/>
                  <a:gd name="connsiteX4456" fmla="*/ 5060580 w 7724301"/>
                  <a:gd name="connsiteY4456" fmla="*/ 604002 h 3959978"/>
                  <a:gd name="connsiteX4457" fmla="*/ 5128436 w 7724301"/>
                  <a:gd name="connsiteY4457" fmla="*/ 440791 h 3959978"/>
                  <a:gd name="connsiteX4458" fmla="*/ 5156051 w 7724301"/>
                  <a:gd name="connsiteY4458" fmla="*/ 427387 h 3959978"/>
                  <a:gd name="connsiteX4459" fmla="*/ 5169464 w 7724301"/>
                  <a:gd name="connsiteY4459" fmla="*/ 453406 h 3959978"/>
                  <a:gd name="connsiteX4460" fmla="*/ 5156051 w 7724301"/>
                  <a:gd name="connsiteY4460" fmla="*/ 465233 h 3959978"/>
                  <a:gd name="connsiteX4461" fmla="*/ 5182877 w 7724301"/>
                  <a:gd name="connsiteY4461" fmla="*/ 478637 h 3959978"/>
                  <a:gd name="connsiteX4462" fmla="*/ 5169464 w 7724301"/>
                  <a:gd name="connsiteY4462" fmla="*/ 554330 h 3959978"/>
                  <a:gd name="connsiteX4463" fmla="*/ 5182877 w 7724301"/>
                  <a:gd name="connsiteY4463" fmla="*/ 578771 h 3959978"/>
                  <a:gd name="connsiteX4464" fmla="*/ 5182877 w 7724301"/>
                  <a:gd name="connsiteY4464" fmla="*/ 705713 h 3959978"/>
                  <a:gd name="connsiteX4465" fmla="*/ 5210493 w 7724301"/>
                  <a:gd name="connsiteY4465" fmla="*/ 730155 h 3959978"/>
                  <a:gd name="connsiteX4466" fmla="*/ 5196291 w 7724301"/>
                  <a:gd name="connsiteY4466" fmla="*/ 768001 h 3959978"/>
                  <a:gd name="connsiteX4467" fmla="*/ 5141849 w 7724301"/>
                  <a:gd name="connsiteY4467" fmla="*/ 831078 h 3959978"/>
                  <a:gd name="connsiteX4468" fmla="*/ 5156051 w 7724301"/>
                  <a:gd name="connsiteY4468" fmla="*/ 843693 h 3959978"/>
                  <a:gd name="connsiteX4469" fmla="*/ 5237320 w 7724301"/>
                  <a:gd name="connsiteY4469" fmla="*/ 781406 h 3959978"/>
                  <a:gd name="connsiteX4470" fmla="*/ 5223907 w 7724301"/>
                  <a:gd name="connsiteY4470" fmla="*/ 717540 h 3959978"/>
                  <a:gd name="connsiteX4471" fmla="*/ 5250733 w 7724301"/>
                  <a:gd name="connsiteY4471" fmla="*/ 705713 h 3959978"/>
                  <a:gd name="connsiteX4472" fmla="*/ 5210493 w 7724301"/>
                  <a:gd name="connsiteY4472" fmla="*/ 705713 h 3959978"/>
                  <a:gd name="connsiteX4473" fmla="*/ 5210493 w 7724301"/>
                  <a:gd name="connsiteY4473" fmla="*/ 667867 h 3959978"/>
                  <a:gd name="connsiteX4474" fmla="*/ 5223907 w 7724301"/>
                  <a:gd name="connsiteY4474" fmla="*/ 616618 h 3959978"/>
                  <a:gd name="connsiteX4475" fmla="*/ 5196291 w 7724301"/>
                  <a:gd name="connsiteY4475" fmla="*/ 566156 h 3959978"/>
                  <a:gd name="connsiteX4476" fmla="*/ 5237320 w 7724301"/>
                  <a:gd name="connsiteY4476" fmla="*/ 503079 h 3959978"/>
                  <a:gd name="connsiteX4477" fmla="*/ 5223907 w 7724301"/>
                  <a:gd name="connsiteY4477" fmla="*/ 465233 h 3959978"/>
                  <a:gd name="connsiteX4478" fmla="*/ 5223907 w 7724301"/>
                  <a:gd name="connsiteY4478" fmla="*/ 453406 h 3959978"/>
                  <a:gd name="connsiteX4479" fmla="*/ 5250733 w 7724301"/>
                  <a:gd name="connsiteY4479" fmla="*/ 478637 h 3959978"/>
                  <a:gd name="connsiteX4480" fmla="*/ 5278348 w 7724301"/>
                  <a:gd name="connsiteY4480" fmla="*/ 503079 h 3959978"/>
                  <a:gd name="connsiteX4481" fmla="*/ 5291762 w 7724301"/>
                  <a:gd name="connsiteY4481" fmla="*/ 490464 h 3959978"/>
                  <a:gd name="connsiteX4482" fmla="*/ 5332791 w 7724301"/>
                  <a:gd name="connsiteY4482" fmla="*/ 503079 h 3959978"/>
                  <a:gd name="connsiteX4483" fmla="*/ 5373819 w 7724301"/>
                  <a:gd name="connsiteY4483" fmla="*/ 554330 h 3959978"/>
                  <a:gd name="connsiteX4484" fmla="*/ 5401435 w 7724301"/>
                  <a:gd name="connsiteY4484" fmla="*/ 540925 h 3959978"/>
                  <a:gd name="connsiteX4485" fmla="*/ 5360406 w 7724301"/>
                  <a:gd name="connsiteY4485" fmla="*/ 503079 h 3959978"/>
                  <a:gd name="connsiteX4486" fmla="*/ 5346204 w 7724301"/>
                  <a:gd name="connsiteY4486" fmla="*/ 427387 h 3959978"/>
                  <a:gd name="connsiteX4487" fmla="*/ 5497696 w 7724301"/>
                  <a:gd name="connsiteY4487" fmla="*/ 402945 h 3959978"/>
                  <a:gd name="connsiteX4488" fmla="*/ 5484282 w 7724301"/>
                  <a:gd name="connsiteY4488" fmla="*/ 339868 h 3959978"/>
                  <a:gd name="connsiteX4489" fmla="*/ 5525311 w 7724301"/>
                  <a:gd name="connsiteY4489" fmla="*/ 289408 h 3959978"/>
                  <a:gd name="connsiteX4490" fmla="*/ 5634195 w 7724301"/>
                  <a:gd name="connsiteY4490" fmla="*/ 226330 h 3959978"/>
                  <a:gd name="connsiteX4491" fmla="*/ 5757282 w 7724301"/>
                  <a:gd name="connsiteY4491" fmla="*/ 200311 h 3959978"/>
                  <a:gd name="connsiteX4492" fmla="*/ 5798310 w 7724301"/>
                  <a:gd name="connsiteY4492" fmla="*/ 200311 h 3959978"/>
                  <a:gd name="connsiteX4493" fmla="*/ 5798310 w 7724301"/>
                  <a:gd name="connsiteY4493" fmla="*/ 150639 h 3959978"/>
                  <a:gd name="connsiteX4494" fmla="*/ 2887941 w 7724301"/>
                  <a:gd name="connsiteY4494" fmla="*/ 81183 h 3959978"/>
                  <a:gd name="connsiteX4495" fmla="*/ 2901352 w 7724301"/>
                  <a:gd name="connsiteY4495" fmla="*/ 95371 h 3959978"/>
                  <a:gd name="connsiteX4496" fmla="*/ 2957358 w 7724301"/>
                  <a:gd name="connsiteY4496" fmla="*/ 81183 h 3959978"/>
                  <a:gd name="connsiteX4497" fmla="*/ 2901352 w 7724301"/>
                  <a:gd name="connsiteY4497" fmla="*/ 81183 h 3959978"/>
                  <a:gd name="connsiteX4498" fmla="*/ 1972133 w 7724301"/>
                  <a:gd name="connsiteY4498" fmla="*/ 28399 h 3959978"/>
                  <a:gd name="connsiteX4499" fmla="*/ 1986367 w 7724301"/>
                  <a:gd name="connsiteY4499" fmla="*/ 28399 h 3959978"/>
                  <a:gd name="connsiteX4500" fmla="*/ 2001390 w 7724301"/>
                  <a:gd name="connsiteY4500" fmla="*/ 41809 h 3959978"/>
                  <a:gd name="connsiteX4501" fmla="*/ 2014833 w 7724301"/>
                  <a:gd name="connsiteY4501" fmla="*/ 41809 h 3959978"/>
                  <a:gd name="connsiteX4502" fmla="*/ 2014833 w 7724301"/>
                  <a:gd name="connsiteY4502" fmla="*/ 28399 h 3959978"/>
                  <a:gd name="connsiteX4503" fmla="*/ 2029857 w 7724301"/>
                  <a:gd name="connsiteY4503" fmla="*/ 28399 h 3959978"/>
                  <a:gd name="connsiteX4504" fmla="*/ 2043296 w 7724301"/>
                  <a:gd name="connsiteY4504" fmla="*/ 28399 h 3959978"/>
                  <a:gd name="connsiteX4505" fmla="*/ 2057529 w 7724301"/>
                  <a:gd name="connsiteY4505" fmla="*/ 28399 h 3959978"/>
                  <a:gd name="connsiteX4506" fmla="*/ 2070975 w 7724301"/>
                  <a:gd name="connsiteY4506" fmla="*/ 28399 h 3959978"/>
                  <a:gd name="connsiteX4507" fmla="*/ 2099442 w 7724301"/>
                  <a:gd name="connsiteY4507" fmla="*/ 28399 h 3959978"/>
                  <a:gd name="connsiteX4508" fmla="*/ 2140557 w 7724301"/>
                  <a:gd name="connsiteY4508" fmla="*/ 41809 h 3959978"/>
                  <a:gd name="connsiteX4509" fmla="*/ 2183256 w 7724301"/>
                  <a:gd name="connsiteY4509" fmla="*/ 41809 h 3959978"/>
                  <a:gd name="connsiteX4510" fmla="*/ 2168231 w 7724301"/>
                  <a:gd name="connsiteY4510" fmla="*/ 56008 h 3959978"/>
                  <a:gd name="connsiteX4511" fmla="*/ 2183256 w 7724301"/>
                  <a:gd name="connsiteY4511" fmla="*/ 56008 h 3959978"/>
                  <a:gd name="connsiteX4512" fmla="*/ 2196698 w 7724301"/>
                  <a:gd name="connsiteY4512" fmla="*/ 41809 h 3959978"/>
                  <a:gd name="connsiteX4513" fmla="*/ 2224370 w 7724301"/>
                  <a:gd name="connsiteY4513" fmla="*/ 41809 h 3959978"/>
                  <a:gd name="connsiteX4514" fmla="*/ 2237812 w 7724301"/>
                  <a:gd name="connsiteY4514" fmla="*/ 56008 h 3959978"/>
                  <a:gd name="connsiteX4515" fmla="*/ 2267068 w 7724301"/>
                  <a:gd name="connsiteY4515" fmla="*/ 69419 h 3959978"/>
                  <a:gd name="connsiteX4516" fmla="*/ 2280510 w 7724301"/>
                  <a:gd name="connsiteY4516" fmla="*/ 69419 h 3959978"/>
                  <a:gd name="connsiteX4517" fmla="*/ 2293954 w 7724301"/>
                  <a:gd name="connsiteY4517" fmla="*/ 69419 h 3959978"/>
                  <a:gd name="connsiteX4518" fmla="*/ 2293954 w 7724301"/>
                  <a:gd name="connsiteY4518" fmla="*/ 82829 h 3959978"/>
                  <a:gd name="connsiteX4519" fmla="*/ 2280510 w 7724301"/>
                  <a:gd name="connsiteY4519" fmla="*/ 82829 h 3959978"/>
                  <a:gd name="connsiteX4520" fmla="*/ 2237812 w 7724301"/>
                  <a:gd name="connsiteY4520" fmla="*/ 97028 h 3959978"/>
                  <a:gd name="connsiteX4521" fmla="*/ 2210931 w 7724301"/>
                  <a:gd name="connsiteY4521" fmla="*/ 110439 h 3959978"/>
                  <a:gd name="connsiteX4522" fmla="*/ 2168231 w 7724301"/>
                  <a:gd name="connsiteY4522" fmla="*/ 123849 h 3959978"/>
                  <a:gd name="connsiteX4523" fmla="*/ 2183256 w 7724301"/>
                  <a:gd name="connsiteY4523" fmla="*/ 123849 h 3959978"/>
                  <a:gd name="connsiteX4524" fmla="*/ 2210931 w 7724301"/>
                  <a:gd name="connsiteY4524" fmla="*/ 123849 h 3959978"/>
                  <a:gd name="connsiteX4525" fmla="*/ 2224370 w 7724301"/>
                  <a:gd name="connsiteY4525" fmla="*/ 123849 h 3959978"/>
                  <a:gd name="connsiteX4526" fmla="*/ 2196698 w 7724301"/>
                  <a:gd name="connsiteY4526" fmla="*/ 137260 h 3959978"/>
                  <a:gd name="connsiteX4527" fmla="*/ 2168231 w 7724301"/>
                  <a:gd name="connsiteY4527" fmla="*/ 151458 h 3959978"/>
                  <a:gd name="connsiteX4528" fmla="*/ 2140557 w 7724301"/>
                  <a:gd name="connsiteY4528" fmla="*/ 164869 h 3959978"/>
                  <a:gd name="connsiteX4529" fmla="*/ 2113672 w 7724301"/>
                  <a:gd name="connsiteY4529" fmla="*/ 164869 h 3959978"/>
                  <a:gd name="connsiteX4530" fmla="*/ 2084416 w 7724301"/>
                  <a:gd name="connsiteY4530" fmla="*/ 191690 h 3959978"/>
                  <a:gd name="connsiteX4531" fmla="*/ 2070975 w 7724301"/>
                  <a:gd name="connsiteY4531" fmla="*/ 205888 h 3959978"/>
                  <a:gd name="connsiteX4532" fmla="*/ 2057529 w 7724301"/>
                  <a:gd name="connsiteY4532" fmla="*/ 205888 h 3959978"/>
                  <a:gd name="connsiteX4533" fmla="*/ 2043296 w 7724301"/>
                  <a:gd name="connsiteY4533" fmla="*/ 205888 h 3959978"/>
                  <a:gd name="connsiteX4534" fmla="*/ 2029857 w 7724301"/>
                  <a:gd name="connsiteY4534" fmla="*/ 205888 h 3959978"/>
                  <a:gd name="connsiteX4535" fmla="*/ 2001390 w 7724301"/>
                  <a:gd name="connsiteY4535" fmla="*/ 219299 h 3959978"/>
                  <a:gd name="connsiteX4536" fmla="*/ 1986367 w 7724301"/>
                  <a:gd name="connsiteY4536" fmla="*/ 231131 h 3959978"/>
                  <a:gd name="connsiteX4537" fmla="*/ 2001390 w 7724301"/>
                  <a:gd name="connsiteY4537" fmla="*/ 231131 h 3959978"/>
                  <a:gd name="connsiteX4538" fmla="*/ 2001390 w 7724301"/>
                  <a:gd name="connsiteY4538" fmla="*/ 245331 h 3959978"/>
                  <a:gd name="connsiteX4539" fmla="*/ 1986367 w 7724301"/>
                  <a:gd name="connsiteY4539" fmla="*/ 245331 h 3959978"/>
                  <a:gd name="connsiteX4540" fmla="*/ 2001390 w 7724301"/>
                  <a:gd name="connsiteY4540" fmla="*/ 258740 h 3959978"/>
                  <a:gd name="connsiteX4541" fmla="*/ 1986367 w 7724301"/>
                  <a:gd name="connsiteY4541" fmla="*/ 272151 h 3959978"/>
                  <a:gd name="connsiteX4542" fmla="*/ 1972133 w 7724301"/>
                  <a:gd name="connsiteY4542" fmla="*/ 285562 h 3959978"/>
                  <a:gd name="connsiteX4543" fmla="*/ 1958693 w 7724301"/>
                  <a:gd name="connsiteY4543" fmla="*/ 299760 h 3959978"/>
                  <a:gd name="connsiteX4544" fmla="*/ 1945251 w 7724301"/>
                  <a:gd name="connsiteY4544" fmla="*/ 299760 h 3959978"/>
                  <a:gd name="connsiteX4545" fmla="*/ 1931019 w 7724301"/>
                  <a:gd name="connsiteY4545" fmla="*/ 299760 h 3959978"/>
                  <a:gd name="connsiteX4546" fmla="*/ 1931019 w 7724301"/>
                  <a:gd name="connsiteY4546" fmla="*/ 313171 h 3959978"/>
                  <a:gd name="connsiteX4547" fmla="*/ 1902554 w 7724301"/>
                  <a:gd name="connsiteY4547" fmla="*/ 326581 h 3959978"/>
                  <a:gd name="connsiteX4548" fmla="*/ 1902554 w 7724301"/>
                  <a:gd name="connsiteY4548" fmla="*/ 340780 h 3959978"/>
                  <a:gd name="connsiteX4549" fmla="*/ 1917577 w 7724301"/>
                  <a:gd name="connsiteY4549" fmla="*/ 340780 h 3959978"/>
                  <a:gd name="connsiteX4550" fmla="*/ 1931019 w 7724301"/>
                  <a:gd name="connsiteY4550" fmla="*/ 340780 h 3959978"/>
                  <a:gd name="connsiteX4551" fmla="*/ 1917577 w 7724301"/>
                  <a:gd name="connsiteY4551" fmla="*/ 354191 h 3959978"/>
                  <a:gd name="connsiteX4552" fmla="*/ 1902554 w 7724301"/>
                  <a:gd name="connsiteY4552" fmla="*/ 367601 h 3959978"/>
                  <a:gd name="connsiteX4553" fmla="*/ 1874881 w 7724301"/>
                  <a:gd name="connsiteY4553" fmla="*/ 367601 h 3959978"/>
                  <a:gd name="connsiteX4554" fmla="*/ 1861439 w 7724301"/>
                  <a:gd name="connsiteY4554" fmla="*/ 367601 h 3959978"/>
                  <a:gd name="connsiteX4555" fmla="*/ 1847995 w 7724301"/>
                  <a:gd name="connsiteY4555" fmla="*/ 354191 h 3959978"/>
                  <a:gd name="connsiteX4556" fmla="*/ 1818741 w 7724301"/>
                  <a:gd name="connsiteY4556" fmla="*/ 354191 h 3959978"/>
                  <a:gd name="connsiteX4557" fmla="*/ 1791858 w 7724301"/>
                  <a:gd name="connsiteY4557" fmla="*/ 354191 h 3959978"/>
                  <a:gd name="connsiteX4558" fmla="*/ 1778415 w 7724301"/>
                  <a:gd name="connsiteY4558" fmla="*/ 354191 h 3959978"/>
                  <a:gd name="connsiteX4559" fmla="*/ 1778415 w 7724301"/>
                  <a:gd name="connsiteY4559" fmla="*/ 367601 h 3959978"/>
                  <a:gd name="connsiteX4560" fmla="*/ 1764183 w 7724301"/>
                  <a:gd name="connsiteY4560" fmla="*/ 367601 h 3959978"/>
                  <a:gd name="connsiteX4561" fmla="*/ 1750739 w 7724301"/>
                  <a:gd name="connsiteY4561" fmla="*/ 367601 h 3959978"/>
                  <a:gd name="connsiteX4562" fmla="*/ 1721482 w 7724301"/>
                  <a:gd name="connsiteY4562" fmla="*/ 354191 h 3959978"/>
                  <a:gd name="connsiteX4563" fmla="*/ 1694599 w 7724301"/>
                  <a:gd name="connsiteY4563" fmla="*/ 354191 h 3959978"/>
                  <a:gd name="connsiteX4564" fmla="*/ 1679576 w 7724301"/>
                  <a:gd name="connsiteY4564" fmla="*/ 354191 h 3959978"/>
                  <a:gd name="connsiteX4565" fmla="*/ 1694599 w 7724301"/>
                  <a:gd name="connsiteY4565" fmla="*/ 340780 h 3959978"/>
                  <a:gd name="connsiteX4566" fmla="*/ 1721482 w 7724301"/>
                  <a:gd name="connsiteY4566" fmla="*/ 326581 h 3959978"/>
                  <a:gd name="connsiteX4567" fmla="*/ 1735714 w 7724301"/>
                  <a:gd name="connsiteY4567" fmla="*/ 326581 h 3959978"/>
                  <a:gd name="connsiteX4568" fmla="*/ 1721482 w 7724301"/>
                  <a:gd name="connsiteY4568" fmla="*/ 313171 h 3959978"/>
                  <a:gd name="connsiteX4569" fmla="*/ 1708041 w 7724301"/>
                  <a:gd name="connsiteY4569" fmla="*/ 299760 h 3959978"/>
                  <a:gd name="connsiteX4570" fmla="*/ 1721482 w 7724301"/>
                  <a:gd name="connsiteY4570" fmla="*/ 299760 h 3959978"/>
                  <a:gd name="connsiteX4571" fmla="*/ 1750739 w 7724301"/>
                  <a:gd name="connsiteY4571" fmla="*/ 299760 h 3959978"/>
                  <a:gd name="connsiteX4572" fmla="*/ 1764183 w 7724301"/>
                  <a:gd name="connsiteY4572" fmla="*/ 299760 h 3959978"/>
                  <a:gd name="connsiteX4573" fmla="*/ 1778415 w 7724301"/>
                  <a:gd name="connsiteY4573" fmla="*/ 313171 h 3959978"/>
                  <a:gd name="connsiteX4574" fmla="*/ 1791858 w 7724301"/>
                  <a:gd name="connsiteY4574" fmla="*/ 313171 h 3959978"/>
                  <a:gd name="connsiteX4575" fmla="*/ 1778415 w 7724301"/>
                  <a:gd name="connsiteY4575" fmla="*/ 299760 h 3959978"/>
                  <a:gd name="connsiteX4576" fmla="*/ 1764183 w 7724301"/>
                  <a:gd name="connsiteY4576" fmla="*/ 299760 h 3959978"/>
                  <a:gd name="connsiteX4577" fmla="*/ 1764183 w 7724301"/>
                  <a:gd name="connsiteY4577" fmla="*/ 285562 h 3959978"/>
                  <a:gd name="connsiteX4578" fmla="*/ 1750739 w 7724301"/>
                  <a:gd name="connsiteY4578" fmla="*/ 285562 h 3959978"/>
                  <a:gd name="connsiteX4579" fmla="*/ 1735714 w 7724301"/>
                  <a:gd name="connsiteY4579" fmla="*/ 285562 h 3959978"/>
                  <a:gd name="connsiteX4580" fmla="*/ 1721482 w 7724301"/>
                  <a:gd name="connsiteY4580" fmla="*/ 285562 h 3959978"/>
                  <a:gd name="connsiteX4581" fmla="*/ 1721482 w 7724301"/>
                  <a:gd name="connsiteY4581" fmla="*/ 272151 h 3959978"/>
                  <a:gd name="connsiteX4582" fmla="*/ 1721482 w 7724301"/>
                  <a:gd name="connsiteY4582" fmla="*/ 258875 h 3959978"/>
                  <a:gd name="connsiteX4583" fmla="*/ 1709418 w 7724301"/>
                  <a:gd name="connsiteY4583" fmla="*/ 258875 h 3959978"/>
                  <a:gd name="connsiteX4584" fmla="*/ 1709418 w 7724301"/>
                  <a:gd name="connsiteY4584" fmla="*/ 272221 h 3959978"/>
                  <a:gd name="connsiteX4585" fmla="*/ 1696008 w 7724301"/>
                  <a:gd name="connsiteY4585" fmla="*/ 272221 h 3959978"/>
                  <a:gd name="connsiteX4586" fmla="*/ 1696008 w 7724301"/>
                  <a:gd name="connsiteY4586" fmla="*/ 287137 h 3959978"/>
                  <a:gd name="connsiteX4587" fmla="*/ 1681021 w 7724301"/>
                  <a:gd name="connsiteY4587" fmla="*/ 272221 h 3959978"/>
                  <a:gd name="connsiteX4588" fmla="*/ 1681021 w 7724301"/>
                  <a:gd name="connsiteY4588" fmla="*/ 258875 h 3959978"/>
                  <a:gd name="connsiteX4589" fmla="*/ 1666819 w 7724301"/>
                  <a:gd name="connsiteY4589" fmla="*/ 272221 h 3959978"/>
                  <a:gd name="connsiteX4590" fmla="*/ 1666819 w 7724301"/>
                  <a:gd name="connsiteY4590" fmla="*/ 287137 h 3959978"/>
                  <a:gd name="connsiteX4591" fmla="*/ 1651834 w 7724301"/>
                  <a:gd name="connsiteY4591" fmla="*/ 287137 h 3959978"/>
                  <a:gd name="connsiteX4592" fmla="*/ 1638424 w 7724301"/>
                  <a:gd name="connsiteY4592" fmla="*/ 287137 h 3959978"/>
                  <a:gd name="connsiteX4593" fmla="*/ 1625011 w 7724301"/>
                  <a:gd name="connsiteY4593" fmla="*/ 272221 h 3959978"/>
                  <a:gd name="connsiteX4594" fmla="*/ 1625011 w 7724301"/>
                  <a:gd name="connsiteY4594" fmla="*/ 258875 h 3959978"/>
                  <a:gd name="connsiteX4595" fmla="*/ 1597402 w 7724301"/>
                  <a:gd name="connsiteY4595" fmla="*/ 258875 h 3959978"/>
                  <a:gd name="connsiteX4596" fmla="*/ 1597402 w 7724301"/>
                  <a:gd name="connsiteY4596" fmla="*/ 245529 h 3959978"/>
                  <a:gd name="connsiteX4597" fmla="*/ 1610813 w 7724301"/>
                  <a:gd name="connsiteY4597" fmla="*/ 231398 h 3959978"/>
                  <a:gd name="connsiteX4598" fmla="*/ 1625011 w 7724301"/>
                  <a:gd name="connsiteY4598" fmla="*/ 231398 h 3959978"/>
                  <a:gd name="connsiteX4599" fmla="*/ 1638424 w 7724301"/>
                  <a:gd name="connsiteY4599" fmla="*/ 231398 h 3959978"/>
                  <a:gd name="connsiteX4600" fmla="*/ 1625011 w 7724301"/>
                  <a:gd name="connsiteY4600" fmla="*/ 219622 h 3959978"/>
                  <a:gd name="connsiteX4601" fmla="*/ 1610813 w 7724301"/>
                  <a:gd name="connsiteY4601" fmla="*/ 219622 h 3959978"/>
                  <a:gd name="connsiteX4602" fmla="*/ 1610813 w 7724301"/>
                  <a:gd name="connsiteY4602" fmla="*/ 231398 h 3959978"/>
                  <a:gd name="connsiteX4603" fmla="*/ 1597402 w 7724301"/>
                  <a:gd name="connsiteY4603" fmla="*/ 231398 h 3959978"/>
                  <a:gd name="connsiteX4604" fmla="*/ 1583992 w 7724301"/>
                  <a:gd name="connsiteY4604" fmla="*/ 219622 h 3959978"/>
                  <a:gd name="connsiteX4605" fmla="*/ 1583992 w 7724301"/>
                  <a:gd name="connsiteY4605" fmla="*/ 206276 h 3959978"/>
                  <a:gd name="connsiteX4606" fmla="*/ 1569003 w 7724301"/>
                  <a:gd name="connsiteY4606" fmla="*/ 206276 h 3959978"/>
                  <a:gd name="connsiteX4607" fmla="*/ 1541391 w 7724301"/>
                  <a:gd name="connsiteY4607" fmla="*/ 206276 h 3959978"/>
                  <a:gd name="connsiteX4608" fmla="*/ 1541391 w 7724301"/>
                  <a:gd name="connsiteY4608" fmla="*/ 192144 h 3959978"/>
                  <a:gd name="connsiteX4609" fmla="*/ 1554804 w 7724301"/>
                  <a:gd name="connsiteY4609" fmla="*/ 192144 h 3959978"/>
                  <a:gd name="connsiteX4610" fmla="*/ 1569003 w 7724301"/>
                  <a:gd name="connsiteY4610" fmla="*/ 192144 h 3959978"/>
                  <a:gd name="connsiteX4611" fmla="*/ 1583992 w 7724301"/>
                  <a:gd name="connsiteY4611" fmla="*/ 192144 h 3959978"/>
                  <a:gd name="connsiteX4612" fmla="*/ 1569003 w 7724301"/>
                  <a:gd name="connsiteY4612" fmla="*/ 178798 h 3959978"/>
                  <a:gd name="connsiteX4613" fmla="*/ 1554804 w 7724301"/>
                  <a:gd name="connsiteY4613" fmla="*/ 178798 h 3959978"/>
                  <a:gd name="connsiteX4614" fmla="*/ 1541391 w 7724301"/>
                  <a:gd name="connsiteY4614" fmla="*/ 165452 h 3959978"/>
                  <a:gd name="connsiteX4615" fmla="*/ 1554804 w 7724301"/>
                  <a:gd name="connsiteY4615" fmla="*/ 165452 h 3959978"/>
                  <a:gd name="connsiteX4616" fmla="*/ 1569003 w 7724301"/>
                  <a:gd name="connsiteY4616" fmla="*/ 165452 h 3959978"/>
                  <a:gd name="connsiteX4617" fmla="*/ 1569003 w 7724301"/>
                  <a:gd name="connsiteY4617" fmla="*/ 150537 h 3959978"/>
                  <a:gd name="connsiteX4618" fmla="*/ 1583992 w 7724301"/>
                  <a:gd name="connsiteY4618" fmla="*/ 136405 h 3959978"/>
                  <a:gd name="connsiteX4619" fmla="*/ 1583992 w 7724301"/>
                  <a:gd name="connsiteY4619" fmla="*/ 150537 h 3959978"/>
                  <a:gd name="connsiteX4620" fmla="*/ 1597402 w 7724301"/>
                  <a:gd name="connsiteY4620" fmla="*/ 150537 h 3959978"/>
                  <a:gd name="connsiteX4621" fmla="*/ 1610813 w 7724301"/>
                  <a:gd name="connsiteY4621" fmla="*/ 150537 h 3959978"/>
                  <a:gd name="connsiteX4622" fmla="*/ 1597402 w 7724301"/>
                  <a:gd name="connsiteY4622" fmla="*/ 136405 h 3959978"/>
                  <a:gd name="connsiteX4623" fmla="*/ 1583992 w 7724301"/>
                  <a:gd name="connsiteY4623" fmla="*/ 136405 h 3959978"/>
                  <a:gd name="connsiteX4624" fmla="*/ 1583992 w 7724301"/>
                  <a:gd name="connsiteY4624" fmla="*/ 123059 h 3959978"/>
                  <a:gd name="connsiteX4625" fmla="*/ 1597402 w 7724301"/>
                  <a:gd name="connsiteY4625" fmla="*/ 123059 h 3959978"/>
                  <a:gd name="connsiteX4626" fmla="*/ 1624226 w 7724301"/>
                  <a:gd name="connsiteY4626" fmla="*/ 123059 h 3959978"/>
                  <a:gd name="connsiteX4627" fmla="*/ 1636878 w 7724301"/>
                  <a:gd name="connsiteY4627" fmla="*/ 110439 h 3959978"/>
                  <a:gd name="connsiteX4628" fmla="*/ 1679576 w 7724301"/>
                  <a:gd name="connsiteY4628" fmla="*/ 97028 h 3959978"/>
                  <a:gd name="connsiteX4629" fmla="*/ 1708041 w 7724301"/>
                  <a:gd name="connsiteY4629" fmla="*/ 82829 h 3959978"/>
                  <a:gd name="connsiteX4630" fmla="*/ 1721482 w 7724301"/>
                  <a:gd name="connsiteY4630" fmla="*/ 82829 h 3959978"/>
                  <a:gd name="connsiteX4631" fmla="*/ 1750739 w 7724301"/>
                  <a:gd name="connsiteY4631" fmla="*/ 69419 h 3959978"/>
                  <a:gd name="connsiteX4632" fmla="*/ 1764183 w 7724301"/>
                  <a:gd name="connsiteY4632" fmla="*/ 69419 h 3959978"/>
                  <a:gd name="connsiteX4633" fmla="*/ 1778415 w 7724301"/>
                  <a:gd name="connsiteY4633" fmla="*/ 69419 h 3959978"/>
                  <a:gd name="connsiteX4634" fmla="*/ 1791858 w 7724301"/>
                  <a:gd name="connsiteY4634" fmla="*/ 69419 h 3959978"/>
                  <a:gd name="connsiteX4635" fmla="*/ 1818741 w 7724301"/>
                  <a:gd name="connsiteY4635" fmla="*/ 82829 h 3959978"/>
                  <a:gd name="connsiteX4636" fmla="*/ 1818741 w 7724301"/>
                  <a:gd name="connsiteY4636" fmla="*/ 69419 h 3959978"/>
                  <a:gd name="connsiteX4637" fmla="*/ 1834554 w 7724301"/>
                  <a:gd name="connsiteY4637" fmla="*/ 56008 h 3959978"/>
                  <a:gd name="connsiteX4638" fmla="*/ 1847995 w 7724301"/>
                  <a:gd name="connsiteY4638" fmla="*/ 56008 h 3959978"/>
                  <a:gd name="connsiteX4639" fmla="*/ 1861439 w 7724301"/>
                  <a:gd name="connsiteY4639" fmla="*/ 56008 h 3959978"/>
                  <a:gd name="connsiteX4640" fmla="*/ 1861439 w 7724301"/>
                  <a:gd name="connsiteY4640" fmla="*/ 41809 h 3959978"/>
                  <a:gd name="connsiteX4641" fmla="*/ 1874881 w 7724301"/>
                  <a:gd name="connsiteY4641" fmla="*/ 41809 h 3959978"/>
                  <a:gd name="connsiteX4642" fmla="*/ 1902554 w 7724301"/>
                  <a:gd name="connsiteY4642" fmla="*/ 41809 h 3959978"/>
                  <a:gd name="connsiteX4643" fmla="*/ 1931019 w 7724301"/>
                  <a:gd name="connsiteY4643" fmla="*/ 41809 h 3959978"/>
                  <a:gd name="connsiteX4644" fmla="*/ 1958693 w 7724301"/>
                  <a:gd name="connsiteY4644" fmla="*/ 41809 h 3959978"/>
                  <a:gd name="connsiteX4645" fmla="*/ 2804326 w 7724301"/>
                  <a:gd name="connsiteY4645" fmla="*/ 0 h 3959978"/>
                  <a:gd name="connsiteX4646" fmla="*/ 2833511 w 7724301"/>
                  <a:gd name="connsiteY4646" fmla="*/ 0 h 3959978"/>
                  <a:gd name="connsiteX4647" fmla="*/ 2873743 w 7724301"/>
                  <a:gd name="connsiteY4647" fmla="*/ 0 h 3959978"/>
                  <a:gd name="connsiteX4648" fmla="*/ 2901352 w 7724301"/>
                  <a:gd name="connsiteY4648" fmla="*/ 0 h 3959978"/>
                  <a:gd name="connsiteX4649" fmla="*/ 2957358 w 7724301"/>
                  <a:gd name="connsiteY4649" fmla="*/ 0 h 3959978"/>
                  <a:gd name="connsiteX4650" fmla="*/ 2984966 w 7724301"/>
                  <a:gd name="connsiteY4650" fmla="*/ 13399 h 3959978"/>
                  <a:gd name="connsiteX4651" fmla="*/ 3026775 w 7724301"/>
                  <a:gd name="connsiteY4651" fmla="*/ 26798 h 3959978"/>
                  <a:gd name="connsiteX4652" fmla="*/ 3055960 w 7724301"/>
                  <a:gd name="connsiteY4652" fmla="*/ 40986 h 3959978"/>
                  <a:gd name="connsiteX4653" fmla="*/ 3082781 w 7724301"/>
                  <a:gd name="connsiteY4653" fmla="*/ 40986 h 3959978"/>
                  <a:gd name="connsiteX4654" fmla="*/ 3096981 w 7724301"/>
                  <a:gd name="connsiteY4654" fmla="*/ 40986 h 3959978"/>
                  <a:gd name="connsiteX4655" fmla="*/ 3123803 w 7724301"/>
                  <a:gd name="connsiteY4655" fmla="*/ 54385 h 3959978"/>
                  <a:gd name="connsiteX4656" fmla="*/ 3110390 w 7724301"/>
                  <a:gd name="connsiteY4656" fmla="*/ 67784 h 3959978"/>
                  <a:gd name="connsiteX4657" fmla="*/ 3082781 w 7724301"/>
                  <a:gd name="connsiteY4657" fmla="*/ 67784 h 3959978"/>
                  <a:gd name="connsiteX4658" fmla="*/ 3040973 w 7724301"/>
                  <a:gd name="connsiteY4658" fmla="*/ 67784 h 3959978"/>
                  <a:gd name="connsiteX4659" fmla="*/ 3026775 w 7724301"/>
                  <a:gd name="connsiteY4659" fmla="*/ 81183 h 3959978"/>
                  <a:gd name="connsiteX4660" fmla="*/ 3040973 w 7724301"/>
                  <a:gd name="connsiteY4660" fmla="*/ 81183 h 3959978"/>
                  <a:gd name="connsiteX4661" fmla="*/ 3026775 w 7724301"/>
                  <a:gd name="connsiteY4661" fmla="*/ 95371 h 3959978"/>
                  <a:gd name="connsiteX4662" fmla="*/ 3011786 w 7724301"/>
                  <a:gd name="connsiteY4662" fmla="*/ 122170 h 3959978"/>
                  <a:gd name="connsiteX4663" fmla="*/ 3040973 w 7724301"/>
                  <a:gd name="connsiteY4663" fmla="*/ 122170 h 3959978"/>
                  <a:gd name="connsiteX4664" fmla="*/ 3069370 w 7724301"/>
                  <a:gd name="connsiteY4664" fmla="*/ 95371 h 3959978"/>
                  <a:gd name="connsiteX4665" fmla="*/ 3096981 w 7724301"/>
                  <a:gd name="connsiteY4665" fmla="*/ 81183 h 3959978"/>
                  <a:gd name="connsiteX4666" fmla="*/ 3110390 w 7724301"/>
                  <a:gd name="connsiteY4666" fmla="*/ 81183 h 3959978"/>
                  <a:gd name="connsiteX4667" fmla="*/ 3110390 w 7724301"/>
                  <a:gd name="connsiteY4667" fmla="*/ 95371 h 3959978"/>
                  <a:gd name="connsiteX4668" fmla="*/ 3123803 w 7724301"/>
                  <a:gd name="connsiteY4668" fmla="*/ 108770 h 3959978"/>
                  <a:gd name="connsiteX4669" fmla="*/ 3096981 w 7724301"/>
                  <a:gd name="connsiteY4669" fmla="*/ 122170 h 3959978"/>
                  <a:gd name="connsiteX4670" fmla="*/ 3082781 w 7724301"/>
                  <a:gd name="connsiteY4670" fmla="*/ 151333 h 3959978"/>
                  <a:gd name="connsiteX4671" fmla="*/ 3069370 w 7724301"/>
                  <a:gd name="connsiteY4671" fmla="*/ 164732 h 3959978"/>
                  <a:gd name="connsiteX4672" fmla="*/ 3096981 w 7724301"/>
                  <a:gd name="connsiteY4672" fmla="*/ 151333 h 3959978"/>
                  <a:gd name="connsiteX4673" fmla="*/ 3123803 w 7724301"/>
                  <a:gd name="connsiteY4673" fmla="*/ 122170 h 3959978"/>
                  <a:gd name="connsiteX4674" fmla="*/ 3137211 w 7724301"/>
                  <a:gd name="connsiteY4674" fmla="*/ 108770 h 3959978"/>
                  <a:gd name="connsiteX4675" fmla="*/ 3151409 w 7724301"/>
                  <a:gd name="connsiteY4675" fmla="*/ 108770 h 3959978"/>
                  <a:gd name="connsiteX4676" fmla="*/ 3179807 w 7724301"/>
                  <a:gd name="connsiteY4676" fmla="*/ 108770 h 3959978"/>
                  <a:gd name="connsiteX4677" fmla="*/ 3193218 w 7724301"/>
                  <a:gd name="connsiteY4677" fmla="*/ 108770 h 3959978"/>
                  <a:gd name="connsiteX4678" fmla="*/ 3207415 w 7724301"/>
                  <a:gd name="connsiteY4678" fmla="*/ 108770 h 3959978"/>
                  <a:gd name="connsiteX4679" fmla="*/ 3220825 w 7724301"/>
                  <a:gd name="connsiteY4679" fmla="*/ 108770 h 3959978"/>
                  <a:gd name="connsiteX4680" fmla="*/ 3220825 w 7724301"/>
                  <a:gd name="connsiteY4680" fmla="*/ 95371 h 3959978"/>
                  <a:gd name="connsiteX4681" fmla="*/ 3234238 w 7724301"/>
                  <a:gd name="connsiteY4681" fmla="*/ 95371 h 3959978"/>
                  <a:gd name="connsiteX4682" fmla="*/ 3261846 w 7724301"/>
                  <a:gd name="connsiteY4682" fmla="*/ 95371 h 3959978"/>
                  <a:gd name="connsiteX4683" fmla="*/ 3276832 w 7724301"/>
                  <a:gd name="connsiteY4683" fmla="*/ 95371 h 3959978"/>
                  <a:gd name="connsiteX4684" fmla="*/ 3276832 w 7724301"/>
                  <a:gd name="connsiteY4684" fmla="*/ 81183 h 3959978"/>
                  <a:gd name="connsiteX4685" fmla="*/ 3304440 w 7724301"/>
                  <a:gd name="connsiteY4685" fmla="*/ 81183 h 3959978"/>
                  <a:gd name="connsiteX4686" fmla="*/ 3317851 w 7724301"/>
                  <a:gd name="connsiteY4686" fmla="*/ 95371 h 3959978"/>
                  <a:gd name="connsiteX4687" fmla="*/ 3317851 w 7724301"/>
                  <a:gd name="connsiteY4687" fmla="*/ 108770 h 3959978"/>
                  <a:gd name="connsiteX4688" fmla="*/ 3317851 w 7724301"/>
                  <a:gd name="connsiteY4688" fmla="*/ 122170 h 3959978"/>
                  <a:gd name="connsiteX4689" fmla="*/ 3276832 w 7724301"/>
                  <a:gd name="connsiteY4689" fmla="*/ 135569 h 3959978"/>
                  <a:gd name="connsiteX4690" fmla="*/ 3261846 w 7724301"/>
                  <a:gd name="connsiteY4690" fmla="*/ 151333 h 3959978"/>
                  <a:gd name="connsiteX4691" fmla="*/ 3234238 w 7724301"/>
                  <a:gd name="connsiteY4691" fmla="*/ 164732 h 3959978"/>
                  <a:gd name="connsiteX4692" fmla="*/ 3248436 w 7724301"/>
                  <a:gd name="connsiteY4692" fmla="*/ 164732 h 3959978"/>
                  <a:gd name="connsiteX4693" fmla="*/ 3234238 w 7724301"/>
                  <a:gd name="connsiteY4693" fmla="*/ 178131 h 3959978"/>
                  <a:gd name="connsiteX4694" fmla="*/ 3220825 w 7724301"/>
                  <a:gd name="connsiteY4694" fmla="*/ 178131 h 3959978"/>
                  <a:gd name="connsiteX4695" fmla="*/ 3220825 w 7724301"/>
                  <a:gd name="connsiteY4695" fmla="*/ 191530 h 3959978"/>
                  <a:gd name="connsiteX4696" fmla="*/ 3207415 w 7724301"/>
                  <a:gd name="connsiteY4696" fmla="*/ 205717 h 3959978"/>
                  <a:gd name="connsiteX4697" fmla="*/ 3193218 w 7724301"/>
                  <a:gd name="connsiteY4697" fmla="*/ 205717 h 3959978"/>
                  <a:gd name="connsiteX4698" fmla="*/ 3179807 w 7724301"/>
                  <a:gd name="connsiteY4698" fmla="*/ 205717 h 3959978"/>
                  <a:gd name="connsiteX4699" fmla="*/ 3179807 w 7724301"/>
                  <a:gd name="connsiteY4699" fmla="*/ 219117 h 3959978"/>
                  <a:gd name="connsiteX4700" fmla="*/ 3179807 w 7724301"/>
                  <a:gd name="connsiteY4700" fmla="*/ 230939 h 3959978"/>
                  <a:gd name="connsiteX4701" fmla="*/ 3166397 w 7724301"/>
                  <a:gd name="connsiteY4701" fmla="*/ 245127 h 3959978"/>
                  <a:gd name="connsiteX4702" fmla="*/ 3151409 w 7724301"/>
                  <a:gd name="connsiteY4702" fmla="*/ 258526 h 3959978"/>
                  <a:gd name="connsiteX4703" fmla="*/ 3137211 w 7724301"/>
                  <a:gd name="connsiteY4703" fmla="*/ 258526 h 3959978"/>
                  <a:gd name="connsiteX4704" fmla="*/ 3137211 w 7724301"/>
                  <a:gd name="connsiteY4704" fmla="*/ 271925 h 3959978"/>
                  <a:gd name="connsiteX4705" fmla="*/ 3137211 w 7724301"/>
                  <a:gd name="connsiteY4705" fmla="*/ 285325 h 3959978"/>
                  <a:gd name="connsiteX4706" fmla="*/ 3151409 w 7724301"/>
                  <a:gd name="connsiteY4706" fmla="*/ 285325 h 3959978"/>
                  <a:gd name="connsiteX4707" fmla="*/ 3166397 w 7724301"/>
                  <a:gd name="connsiteY4707" fmla="*/ 285325 h 3959978"/>
                  <a:gd name="connsiteX4708" fmla="*/ 3179807 w 7724301"/>
                  <a:gd name="connsiteY4708" fmla="*/ 285325 h 3959978"/>
                  <a:gd name="connsiteX4709" fmla="*/ 3179807 w 7724301"/>
                  <a:gd name="connsiteY4709" fmla="*/ 299512 h 3959978"/>
                  <a:gd name="connsiteX4710" fmla="*/ 3207415 w 7724301"/>
                  <a:gd name="connsiteY4710" fmla="*/ 312911 h 3959978"/>
                  <a:gd name="connsiteX4711" fmla="*/ 3207415 w 7724301"/>
                  <a:gd name="connsiteY4711" fmla="*/ 326310 h 3959978"/>
                  <a:gd name="connsiteX4712" fmla="*/ 3193218 w 7724301"/>
                  <a:gd name="connsiteY4712" fmla="*/ 340498 h 3959978"/>
                  <a:gd name="connsiteX4713" fmla="*/ 3179807 w 7724301"/>
                  <a:gd name="connsiteY4713" fmla="*/ 340498 h 3959978"/>
                  <a:gd name="connsiteX4714" fmla="*/ 3151409 w 7724301"/>
                  <a:gd name="connsiteY4714" fmla="*/ 340498 h 3959978"/>
                  <a:gd name="connsiteX4715" fmla="*/ 3137211 w 7724301"/>
                  <a:gd name="connsiteY4715" fmla="*/ 340498 h 3959978"/>
                  <a:gd name="connsiteX4716" fmla="*/ 3137211 w 7724301"/>
                  <a:gd name="connsiteY4716" fmla="*/ 353897 h 3959978"/>
                  <a:gd name="connsiteX4717" fmla="*/ 3151409 w 7724301"/>
                  <a:gd name="connsiteY4717" fmla="*/ 353897 h 3959978"/>
                  <a:gd name="connsiteX4718" fmla="*/ 3166397 w 7724301"/>
                  <a:gd name="connsiteY4718" fmla="*/ 353897 h 3959978"/>
                  <a:gd name="connsiteX4719" fmla="*/ 3179807 w 7724301"/>
                  <a:gd name="connsiteY4719" fmla="*/ 380695 h 3959978"/>
                  <a:gd name="connsiteX4720" fmla="*/ 3179807 w 7724301"/>
                  <a:gd name="connsiteY4720" fmla="*/ 394883 h 3959978"/>
                  <a:gd name="connsiteX4721" fmla="*/ 3179807 w 7724301"/>
                  <a:gd name="connsiteY4721" fmla="*/ 408282 h 3959978"/>
                  <a:gd name="connsiteX4722" fmla="*/ 3166397 w 7724301"/>
                  <a:gd name="connsiteY4722" fmla="*/ 408282 h 3959978"/>
                  <a:gd name="connsiteX4723" fmla="*/ 3151409 w 7724301"/>
                  <a:gd name="connsiteY4723" fmla="*/ 408282 h 3959978"/>
                  <a:gd name="connsiteX4724" fmla="*/ 3151409 w 7724301"/>
                  <a:gd name="connsiteY4724" fmla="*/ 421681 h 3959978"/>
                  <a:gd name="connsiteX4725" fmla="*/ 3166397 w 7724301"/>
                  <a:gd name="connsiteY4725" fmla="*/ 435080 h 3959978"/>
                  <a:gd name="connsiteX4726" fmla="*/ 3179807 w 7724301"/>
                  <a:gd name="connsiteY4726" fmla="*/ 435080 h 3959978"/>
                  <a:gd name="connsiteX4727" fmla="*/ 3166397 w 7724301"/>
                  <a:gd name="connsiteY4727" fmla="*/ 450843 h 3959978"/>
                  <a:gd name="connsiteX4728" fmla="*/ 3151409 w 7724301"/>
                  <a:gd name="connsiteY4728" fmla="*/ 450843 h 3959978"/>
                  <a:gd name="connsiteX4729" fmla="*/ 3151409 w 7724301"/>
                  <a:gd name="connsiteY4729" fmla="*/ 464243 h 3959978"/>
                  <a:gd name="connsiteX4730" fmla="*/ 3137211 w 7724301"/>
                  <a:gd name="connsiteY4730" fmla="*/ 477642 h 3959978"/>
                  <a:gd name="connsiteX4731" fmla="*/ 3123803 w 7724301"/>
                  <a:gd name="connsiteY4731" fmla="*/ 489465 h 3959978"/>
                  <a:gd name="connsiteX4732" fmla="*/ 3110390 w 7724301"/>
                  <a:gd name="connsiteY4732" fmla="*/ 489465 h 3959978"/>
                  <a:gd name="connsiteX4733" fmla="*/ 3096981 w 7724301"/>
                  <a:gd name="connsiteY4733" fmla="*/ 477642 h 3959978"/>
                  <a:gd name="connsiteX4734" fmla="*/ 3082781 w 7724301"/>
                  <a:gd name="connsiteY4734" fmla="*/ 477642 h 3959978"/>
                  <a:gd name="connsiteX4735" fmla="*/ 3096981 w 7724301"/>
                  <a:gd name="connsiteY4735" fmla="*/ 489465 h 3959978"/>
                  <a:gd name="connsiteX4736" fmla="*/ 3110390 w 7724301"/>
                  <a:gd name="connsiteY4736" fmla="*/ 489465 h 3959978"/>
                  <a:gd name="connsiteX4737" fmla="*/ 3123803 w 7724301"/>
                  <a:gd name="connsiteY4737" fmla="*/ 517052 h 3959978"/>
                  <a:gd name="connsiteX4738" fmla="*/ 3123803 w 7724301"/>
                  <a:gd name="connsiteY4738" fmla="*/ 530451 h 3959978"/>
                  <a:gd name="connsiteX4739" fmla="*/ 3110390 w 7724301"/>
                  <a:gd name="connsiteY4739" fmla="*/ 530451 h 3959978"/>
                  <a:gd name="connsiteX4740" fmla="*/ 3096981 w 7724301"/>
                  <a:gd name="connsiteY4740" fmla="*/ 530451 h 3959978"/>
                  <a:gd name="connsiteX4741" fmla="*/ 3082781 w 7724301"/>
                  <a:gd name="connsiteY4741" fmla="*/ 517052 h 3959978"/>
                  <a:gd name="connsiteX4742" fmla="*/ 3069370 w 7724301"/>
                  <a:gd name="connsiteY4742" fmla="*/ 489465 h 3959978"/>
                  <a:gd name="connsiteX4743" fmla="*/ 3055960 w 7724301"/>
                  <a:gd name="connsiteY4743" fmla="*/ 489465 h 3959978"/>
                  <a:gd name="connsiteX4744" fmla="*/ 3055960 w 7724301"/>
                  <a:gd name="connsiteY4744" fmla="*/ 503653 h 3959978"/>
                  <a:gd name="connsiteX4745" fmla="*/ 3096981 w 7724301"/>
                  <a:gd name="connsiteY4745" fmla="*/ 530451 h 3959978"/>
                  <a:gd name="connsiteX4746" fmla="*/ 3123803 w 7724301"/>
                  <a:gd name="connsiteY4746" fmla="*/ 558037 h 3959978"/>
                  <a:gd name="connsiteX4747" fmla="*/ 3137211 w 7724301"/>
                  <a:gd name="connsiteY4747" fmla="*/ 584836 h 3959978"/>
                  <a:gd name="connsiteX4748" fmla="*/ 3137211 w 7724301"/>
                  <a:gd name="connsiteY4748" fmla="*/ 599023 h 3959978"/>
                  <a:gd name="connsiteX4749" fmla="*/ 3123803 w 7724301"/>
                  <a:gd name="connsiteY4749" fmla="*/ 599023 h 3959978"/>
                  <a:gd name="connsiteX4750" fmla="*/ 3096981 w 7724301"/>
                  <a:gd name="connsiteY4750" fmla="*/ 584836 h 3959978"/>
                  <a:gd name="connsiteX4751" fmla="*/ 3082781 w 7724301"/>
                  <a:gd name="connsiteY4751" fmla="*/ 571437 h 3959978"/>
                  <a:gd name="connsiteX4752" fmla="*/ 3055960 w 7724301"/>
                  <a:gd name="connsiteY4752" fmla="*/ 571437 h 3959978"/>
                  <a:gd name="connsiteX4753" fmla="*/ 3040973 w 7724301"/>
                  <a:gd name="connsiteY4753" fmla="*/ 584836 h 3959978"/>
                  <a:gd name="connsiteX4754" fmla="*/ 3055960 w 7724301"/>
                  <a:gd name="connsiteY4754" fmla="*/ 612422 h 3959978"/>
                  <a:gd name="connsiteX4755" fmla="*/ 3096981 w 7724301"/>
                  <a:gd name="connsiteY4755" fmla="*/ 612422 h 3959978"/>
                  <a:gd name="connsiteX4756" fmla="*/ 3110390 w 7724301"/>
                  <a:gd name="connsiteY4756" fmla="*/ 612422 h 3959978"/>
                  <a:gd name="connsiteX4757" fmla="*/ 3096981 w 7724301"/>
                  <a:gd name="connsiteY4757" fmla="*/ 625821 h 3959978"/>
                  <a:gd name="connsiteX4758" fmla="*/ 3069370 w 7724301"/>
                  <a:gd name="connsiteY4758" fmla="*/ 639220 h 3959978"/>
                  <a:gd name="connsiteX4759" fmla="*/ 3040973 w 7724301"/>
                  <a:gd name="connsiteY4759" fmla="*/ 653408 h 3959978"/>
                  <a:gd name="connsiteX4760" fmla="*/ 2998376 w 7724301"/>
                  <a:gd name="connsiteY4760" fmla="*/ 666807 h 3959978"/>
                  <a:gd name="connsiteX4761" fmla="*/ 2984966 w 7724301"/>
                  <a:gd name="connsiteY4761" fmla="*/ 666807 h 3959978"/>
                  <a:gd name="connsiteX4762" fmla="*/ 2957358 w 7724301"/>
                  <a:gd name="connsiteY4762" fmla="*/ 680206 h 3959978"/>
                  <a:gd name="connsiteX4763" fmla="*/ 2928959 w 7724301"/>
                  <a:gd name="connsiteY4763" fmla="*/ 680206 h 3959978"/>
                  <a:gd name="connsiteX4764" fmla="*/ 2914761 w 7724301"/>
                  <a:gd name="connsiteY4764" fmla="*/ 680206 h 3959978"/>
                  <a:gd name="connsiteX4765" fmla="*/ 2901352 w 7724301"/>
                  <a:gd name="connsiteY4765" fmla="*/ 680206 h 3959978"/>
                  <a:gd name="connsiteX4766" fmla="*/ 2901352 w 7724301"/>
                  <a:gd name="connsiteY4766" fmla="*/ 694394 h 3959978"/>
                  <a:gd name="connsiteX4767" fmla="*/ 2901352 w 7724301"/>
                  <a:gd name="connsiteY4767" fmla="*/ 707793 h 3959978"/>
                  <a:gd name="connsiteX4768" fmla="*/ 2887941 w 7724301"/>
                  <a:gd name="connsiteY4768" fmla="*/ 707793 h 3959978"/>
                  <a:gd name="connsiteX4769" fmla="*/ 2873743 w 7724301"/>
                  <a:gd name="connsiteY4769" fmla="*/ 721192 h 3959978"/>
                  <a:gd name="connsiteX4770" fmla="*/ 2860331 w 7724301"/>
                  <a:gd name="connsiteY4770" fmla="*/ 734592 h 3959978"/>
                  <a:gd name="connsiteX4771" fmla="*/ 2860331 w 7724301"/>
                  <a:gd name="connsiteY4771" fmla="*/ 750356 h 3959978"/>
                  <a:gd name="connsiteX4772" fmla="*/ 2846922 w 7724301"/>
                  <a:gd name="connsiteY4772" fmla="*/ 750356 h 3959978"/>
                  <a:gd name="connsiteX4773" fmla="*/ 2817736 w 7724301"/>
                  <a:gd name="connsiteY4773" fmla="*/ 762178 h 3959978"/>
                  <a:gd name="connsiteX4774" fmla="*/ 2804326 w 7724301"/>
                  <a:gd name="connsiteY4774" fmla="*/ 762178 h 3959978"/>
                  <a:gd name="connsiteX4775" fmla="*/ 2790916 w 7724301"/>
                  <a:gd name="connsiteY4775" fmla="*/ 762178 h 3959978"/>
                  <a:gd name="connsiteX4776" fmla="*/ 2790916 w 7724301"/>
                  <a:gd name="connsiteY4776" fmla="*/ 750356 h 3959978"/>
                  <a:gd name="connsiteX4777" fmla="*/ 2777505 w 7724301"/>
                  <a:gd name="connsiteY4777" fmla="*/ 750356 h 3959978"/>
                  <a:gd name="connsiteX4778" fmla="*/ 2777505 w 7724301"/>
                  <a:gd name="connsiteY4778" fmla="*/ 762178 h 3959978"/>
                  <a:gd name="connsiteX4779" fmla="*/ 2777505 w 7724301"/>
                  <a:gd name="connsiteY4779" fmla="*/ 775578 h 3959978"/>
                  <a:gd name="connsiteX4780" fmla="*/ 2763307 w 7724301"/>
                  <a:gd name="connsiteY4780" fmla="*/ 788977 h 3959978"/>
                  <a:gd name="connsiteX4781" fmla="*/ 2721499 w 7724301"/>
                  <a:gd name="connsiteY4781" fmla="*/ 788977 h 3959978"/>
                  <a:gd name="connsiteX4782" fmla="*/ 2721499 w 7724301"/>
                  <a:gd name="connsiteY4782" fmla="*/ 803164 h 3959978"/>
                  <a:gd name="connsiteX4783" fmla="*/ 2721499 w 7724301"/>
                  <a:gd name="connsiteY4783" fmla="*/ 816564 h 3959978"/>
                  <a:gd name="connsiteX4784" fmla="*/ 2721499 w 7724301"/>
                  <a:gd name="connsiteY4784" fmla="*/ 829963 h 3959978"/>
                  <a:gd name="connsiteX4785" fmla="*/ 2721499 w 7724301"/>
                  <a:gd name="connsiteY4785" fmla="*/ 843362 h 3959978"/>
                  <a:gd name="connsiteX4786" fmla="*/ 2693890 w 7724301"/>
                  <a:gd name="connsiteY4786" fmla="*/ 843362 h 3959978"/>
                  <a:gd name="connsiteX4787" fmla="*/ 2693890 w 7724301"/>
                  <a:gd name="connsiteY4787" fmla="*/ 870949 h 3959978"/>
                  <a:gd name="connsiteX4788" fmla="*/ 2678902 w 7724301"/>
                  <a:gd name="connsiteY4788" fmla="*/ 870949 h 3959978"/>
                  <a:gd name="connsiteX4789" fmla="*/ 2678902 w 7724301"/>
                  <a:gd name="connsiteY4789" fmla="*/ 884348 h 3959978"/>
                  <a:gd name="connsiteX4790" fmla="*/ 2693890 w 7724301"/>
                  <a:gd name="connsiteY4790" fmla="*/ 911934 h 3959978"/>
                  <a:gd name="connsiteX4791" fmla="*/ 2678902 w 7724301"/>
                  <a:gd name="connsiteY4791" fmla="*/ 911934 h 3959978"/>
                  <a:gd name="connsiteX4792" fmla="*/ 2678902 w 7724301"/>
                  <a:gd name="connsiteY4792" fmla="*/ 938733 h 3959978"/>
                  <a:gd name="connsiteX4793" fmla="*/ 2664702 w 7724301"/>
                  <a:gd name="connsiteY4793" fmla="*/ 952920 h 3959978"/>
                  <a:gd name="connsiteX4794" fmla="*/ 2651292 w 7724301"/>
                  <a:gd name="connsiteY4794" fmla="*/ 952920 h 3959978"/>
                  <a:gd name="connsiteX4795" fmla="*/ 2651292 w 7724301"/>
                  <a:gd name="connsiteY4795" fmla="*/ 938733 h 3959978"/>
                  <a:gd name="connsiteX4796" fmla="*/ 2637883 w 7724301"/>
                  <a:gd name="connsiteY4796" fmla="*/ 938733 h 3959978"/>
                  <a:gd name="connsiteX4797" fmla="*/ 2637883 w 7724301"/>
                  <a:gd name="connsiteY4797" fmla="*/ 952920 h 3959978"/>
                  <a:gd name="connsiteX4798" fmla="*/ 2624472 w 7724301"/>
                  <a:gd name="connsiteY4798" fmla="*/ 938733 h 3959978"/>
                  <a:gd name="connsiteX4799" fmla="*/ 2610275 w 7724301"/>
                  <a:gd name="connsiteY4799" fmla="*/ 911934 h 3959978"/>
                  <a:gd name="connsiteX4800" fmla="*/ 2595287 w 7724301"/>
                  <a:gd name="connsiteY4800" fmla="*/ 911934 h 3959978"/>
                  <a:gd name="connsiteX4801" fmla="*/ 2581874 w 7724301"/>
                  <a:gd name="connsiteY4801" fmla="*/ 911934 h 3959978"/>
                  <a:gd name="connsiteX4802" fmla="*/ 2568467 w 7724301"/>
                  <a:gd name="connsiteY4802" fmla="*/ 911934 h 3959978"/>
                  <a:gd name="connsiteX4803" fmla="*/ 2554267 w 7724301"/>
                  <a:gd name="connsiteY4803" fmla="*/ 911934 h 3959978"/>
                  <a:gd name="connsiteX4804" fmla="*/ 2540858 w 7724301"/>
                  <a:gd name="connsiteY4804" fmla="*/ 911934 h 3959978"/>
                  <a:gd name="connsiteX4805" fmla="*/ 2540858 w 7724301"/>
                  <a:gd name="connsiteY4805" fmla="*/ 898535 h 3959978"/>
                  <a:gd name="connsiteX4806" fmla="*/ 2540858 w 7724301"/>
                  <a:gd name="connsiteY4806" fmla="*/ 884348 h 3959978"/>
                  <a:gd name="connsiteX4807" fmla="*/ 2527447 w 7724301"/>
                  <a:gd name="connsiteY4807" fmla="*/ 870949 h 3959978"/>
                  <a:gd name="connsiteX4808" fmla="*/ 2498260 w 7724301"/>
                  <a:gd name="connsiteY4808" fmla="*/ 843362 h 3959978"/>
                  <a:gd name="connsiteX4809" fmla="*/ 2484851 w 7724301"/>
                  <a:gd name="connsiteY4809" fmla="*/ 829963 h 3959978"/>
                  <a:gd name="connsiteX4810" fmla="*/ 2484851 w 7724301"/>
                  <a:gd name="connsiteY4810" fmla="*/ 816564 h 3959978"/>
                  <a:gd name="connsiteX4811" fmla="*/ 2498260 w 7724301"/>
                  <a:gd name="connsiteY4811" fmla="*/ 816564 h 3959978"/>
                  <a:gd name="connsiteX4812" fmla="*/ 2498260 w 7724301"/>
                  <a:gd name="connsiteY4812" fmla="*/ 803164 h 3959978"/>
                  <a:gd name="connsiteX4813" fmla="*/ 2484851 w 7724301"/>
                  <a:gd name="connsiteY4813" fmla="*/ 803164 h 3959978"/>
                  <a:gd name="connsiteX4814" fmla="*/ 2471441 w 7724301"/>
                  <a:gd name="connsiteY4814" fmla="*/ 803164 h 3959978"/>
                  <a:gd name="connsiteX4815" fmla="*/ 2471441 w 7724301"/>
                  <a:gd name="connsiteY4815" fmla="*/ 788977 h 3959978"/>
                  <a:gd name="connsiteX4816" fmla="*/ 2457241 w 7724301"/>
                  <a:gd name="connsiteY4816" fmla="*/ 788977 h 3959978"/>
                  <a:gd name="connsiteX4817" fmla="*/ 2443830 w 7724301"/>
                  <a:gd name="connsiteY4817" fmla="*/ 762178 h 3959978"/>
                  <a:gd name="connsiteX4818" fmla="*/ 2443830 w 7724301"/>
                  <a:gd name="connsiteY4818" fmla="*/ 750356 h 3959978"/>
                  <a:gd name="connsiteX4819" fmla="*/ 2443830 w 7724301"/>
                  <a:gd name="connsiteY4819" fmla="*/ 734592 h 3959978"/>
                  <a:gd name="connsiteX4820" fmla="*/ 2443830 w 7724301"/>
                  <a:gd name="connsiteY4820" fmla="*/ 721192 h 3959978"/>
                  <a:gd name="connsiteX4821" fmla="*/ 2443830 w 7724301"/>
                  <a:gd name="connsiteY4821" fmla="*/ 707793 h 3959978"/>
                  <a:gd name="connsiteX4822" fmla="*/ 2457241 w 7724301"/>
                  <a:gd name="connsiteY4822" fmla="*/ 694394 h 3959978"/>
                  <a:gd name="connsiteX4823" fmla="*/ 2471441 w 7724301"/>
                  <a:gd name="connsiteY4823" fmla="*/ 680206 h 3959978"/>
                  <a:gd name="connsiteX4824" fmla="*/ 2471441 w 7724301"/>
                  <a:gd name="connsiteY4824" fmla="*/ 666807 h 3959978"/>
                  <a:gd name="connsiteX4825" fmla="*/ 2484851 w 7724301"/>
                  <a:gd name="connsiteY4825" fmla="*/ 666807 h 3959978"/>
                  <a:gd name="connsiteX4826" fmla="*/ 2484851 w 7724301"/>
                  <a:gd name="connsiteY4826" fmla="*/ 653408 h 3959978"/>
                  <a:gd name="connsiteX4827" fmla="*/ 2498260 w 7724301"/>
                  <a:gd name="connsiteY4827" fmla="*/ 639220 h 3959978"/>
                  <a:gd name="connsiteX4828" fmla="*/ 2514037 w 7724301"/>
                  <a:gd name="connsiteY4828" fmla="*/ 612422 h 3959978"/>
                  <a:gd name="connsiteX4829" fmla="*/ 2484851 w 7724301"/>
                  <a:gd name="connsiteY4829" fmla="*/ 612422 h 3959978"/>
                  <a:gd name="connsiteX4830" fmla="*/ 2458770 w 7724301"/>
                  <a:gd name="connsiteY4830" fmla="*/ 612422 h 3959978"/>
                  <a:gd name="connsiteX4831" fmla="*/ 2486427 w 7724301"/>
                  <a:gd name="connsiteY4831" fmla="*/ 625551 h 3959978"/>
                  <a:gd name="connsiteX4832" fmla="*/ 2472705 w 7724301"/>
                  <a:gd name="connsiteY4832" fmla="*/ 638961 h 3959978"/>
                  <a:gd name="connsiteX4833" fmla="*/ 2458176 w 7724301"/>
                  <a:gd name="connsiteY4833" fmla="*/ 653161 h 3959978"/>
                  <a:gd name="connsiteX4834" fmla="*/ 2444455 w 7724301"/>
                  <a:gd name="connsiteY4834" fmla="*/ 653161 h 3959978"/>
                  <a:gd name="connsiteX4835" fmla="*/ 2430733 w 7724301"/>
                  <a:gd name="connsiteY4835" fmla="*/ 653161 h 3959978"/>
                  <a:gd name="connsiteX4836" fmla="*/ 2430733 w 7724301"/>
                  <a:gd name="connsiteY4836" fmla="*/ 638961 h 3959978"/>
                  <a:gd name="connsiteX4837" fmla="*/ 2417011 w 7724301"/>
                  <a:gd name="connsiteY4837" fmla="*/ 625551 h 3959978"/>
                  <a:gd name="connsiteX4838" fmla="*/ 2417011 w 7724301"/>
                  <a:gd name="connsiteY4838" fmla="*/ 612141 h 3959978"/>
                  <a:gd name="connsiteX4839" fmla="*/ 2430733 w 7724301"/>
                  <a:gd name="connsiteY4839" fmla="*/ 612141 h 3959978"/>
                  <a:gd name="connsiteX4840" fmla="*/ 2443694 w 7724301"/>
                  <a:gd name="connsiteY4840" fmla="*/ 612141 h 3959978"/>
                  <a:gd name="connsiteX4841" fmla="*/ 2430422 w 7724301"/>
                  <a:gd name="connsiteY4841" fmla="*/ 584836 h 3959978"/>
                  <a:gd name="connsiteX4842" fmla="*/ 2443830 w 7724301"/>
                  <a:gd name="connsiteY4842" fmla="*/ 584836 h 3959978"/>
                  <a:gd name="connsiteX4843" fmla="*/ 2457241 w 7724301"/>
                  <a:gd name="connsiteY4843" fmla="*/ 599023 h 3959978"/>
                  <a:gd name="connsiteX4844" fmla="*/ 2471441 w 7724301"/>
                  <a:gd name="connsiteY4844" fmla="*/ 599023 h 3959978"/>
                  <a:gd name="connsiteX4845" fmla="*/ 2484851 w 7724301"/>
                  <a:gd name="connsiteY4845" fmla="*/ 599023 h 3959978"/>
                  <a:gd name="connsiteX4846" fmla="*/ 2484851 w 7724301"/>
                  <a:gd name="connsiteY4846" fmla="*/ 584836 h 3959978"/>
                  <a:gd name="connsiteX4847" fmla="*/ 2484851 w 7724301"/>
                  <a:gd name="connsiteY4847" fmla="*/ 571437 h 3959978"/>
                  <a:gd name="connsiteX4848" fmla="*/ 2457241 w 7724301"/>
                  <a:gd name="connsiteY4848" fmla="*/ 558037 h 3959978"/>
                  <a:gd name="connsiteX4849" fmla="*/ 2443830 w 7724301"/>
                  <a:gd name="connsiteY4849" fmla="*/ 544638 h 3959978"/>
                  <a:gd name="connsiteX4850" fmla="*/ 2443830 w 7724301"/>
                  <a:gd name="connsiteY4850" fmla="*/ 558037 h 3959978"/>
                  <a:gd name="connsiteX4851" fmla="*/ 2430422 w 7724301"/>
                  <a:gd name="connsiteY4851" fmla="*/ 558037 h 3959978"/>
                  <a:gd name="connsiteX4852" fmla="*/ 2417011 w 7724301"/>
                  <a:gd name="connsiteY4852" fmla="*/ 571437 h 3959978"/>
                  <a:gd name="connsiteX4853" fmla="*/ 2402809 w 7724301"/>
                  <a:gd name="connsiteY4853" fmla="*/ 558037 h 3959978"/>
                  <a:gd name="connsiteX4854" fmla="*/ 2402809 w 7724301"/>
                  <a:gd name="connsiteY4854" fmla="*/ 544638 h 3959978"/>
                  <a:gd name="connsiteX4855" fmla="*/ 2402809 w 7724301"/>
                  <a:gd name="connsiteY4855" fmla="*/ 530451 h 3959978"/>
                  <a:gd name="connsiteX4856" fmla="*/ 2417011 w 7724301"/>
                  <a:gd name="connsiteY4856" fmla="*/ 530451 h 3959978"/>
                  <a:gd name="connsiteX4857" fmla="*/ 2417011 w 7724301"/>
                  <a:gd name="connsiteY4857" fmla="*/ 517052 h 3959978"/>
                  <a:gd name="connsiteX4858" fmla="*/ 2402809 w 7724301"/>
                  <a:gd name="connsiteY4858" fmla="*/ 503653 h 3959978"/>
                  <a:gd name="connsiteX4859" fmla="*/ 2402809 w 7724301"/>
                  <a:gd name="connsiteY4859" fmla="*/ 489465 h 3959978"/>
                  <a:gd name="connsiteX4860" fmla="*/ 2402809 w 7724301"/>
                  <a:gd name="connsiteY4860" fmla="*/ 464243 h 3959978"/>
                  <a:gd name="connsiteX4861" fmla="*/ 2374414 w 7724301"/>
                  <a:gd name="connsiteY4861" fmla="*/ 435080 h 3959978"/>
                  <a:gd name="connsiteX4862" fmla="*/ 2361003 w 7724301"/>
                  <a:gd name="connsiteY4862" fmla="*/ 408282 h 3959978"/>
                  <a:gd name="connsiteX4863" fmla="*/ 2318404 w 7724301"/>
                  <a:gd name="connsiteY4863" fmla="*/ 394883 h 3959978"/>
                  <a:gd name="connsiteX4864" fmla="*/ 2290794 w 7724301"/>
                  <a:gd name="connsiteY4864" fmla="*/ 367296 h 3959978"/>
                  <a:gd name="connsiteX4865" fmla="*/ 2248986 w 7724301"/>
                  <a:gd name="connsiteY4865" fmla="*/ 367296 h 3959978"/>
                  <a:gd name="connsiteX4866" fmla="*/ 2234787 w 7724301"/>
                  <a:gd name="connsiteY4866" fmla="*/ 367296 h 3959978"/>
                  <a:gd name="connsiteX4867" fmla="*/ 2221377 w 7724301"/>
                  <a:gd name="connsiteY4867" fmla="*/ 367296 h 3959978"/>
                  <a:gd name="connsiteX4868" fmla="*/ 2207968 w 7724301"/>
                  <a:gd name="connsiteY4868" fmla="*/ 380695 h 3959978"/>
                  <a:gd name="connsiteX4869" fmla="*/ 2193767 w 7724301"/>
                  <a:gd name="connsiteY4869" fmla="*/ 380695 h 3959978"/>
                  <a:gd name="connsiteX4870" fmla="*/ 2193767 w 7724301"/>
                  <a:gd name="connsiteY4870" fmla="*/ 367296 h 3959978"/>
                  <a:gd name="connsiteX4871" fmla="*/ 2180358 w 7724301"/>
                  <a:gd name="connsiteY4871" fmla="*/ 367296 h 3959978"/>
                  <a:gd name="connsiteX4872" fmla="*/ 2180358 w 7724301"/>
                  <a:gd name="connsiteY4872" fmla="*/ 380695 h 3959978"/>
                  <a:gd name="connsiteX4873" fmla="*/ 2165369 w 7724301"/>
                  <a:gd name="connsiteY4873" fmla="*/ 380695 h 3959978"/>
                  <a:gd name="connsiteX4874" fmla="*/ 2151958 w 7724301"/>
                  <a:gd name="connsiteY4874" fmla="*/ 380695 h 3959978"/>
                  <a:gd name="connsiteX4875" fmla="*/ 2137760 w 7724301"/>
                  <a:gd name="connsiteY4875" fmla="*/ 367296 h 3959978"/>
                  <a:gd name="connsiteX4876" fmla="*/ 2124350 w 7724301"/>
                  <a:gd name="connsiteY4876" fmla="*/ 367296 h 3959978"/>
                  <a:gd name="connsiteX4877" fmla="*/ 2124350 w 7724301"/>
                  <a:gd name="connsiteY4877" fmla="*/ 353897 h 3959978"/>
                  <a:gd name="connsiteX4878" fmla="*/ 2137760 w 7724301"/>
                  <a:gd name="connsiteY4878" fmla="*/ 353897 h 3959978"/>
                  <a:gd name="connsiteX4879" fmla="*/ 2137760 w 7724301"/>
                  <a:gd name="connsiteY4879" fmla="*/ 340498 h 3959978"/>
                  <a:gd name="connsiteX4880" fmla="*/ 2124350 w 7724301"/>
                  <a:gd name="connsiteY4880" fmla="*/ 340498 h 3959978"/>
                  <a:gd name="connsiteX4881" fmla="*/ 2110940 w 7724301"/>
                  <a:gd name="connsiteY4881" fmla="*/ 340498 h 3959978"/>
                  <a:gd name="connsiteX4882" fmla="*/ 2097529 w 7724301"/>
                  <a:gd name="connsiteY4882" fmla="*/ 340498 h 3959978"/>
                  <a:gd name="connsiteX4883" fmla="*/ 2083329 w 7724301"/>
                  <a:gd name="connsiteY4883" fmla="*/ 340498 h 3959978"/>
                  <a:gd name="connsiteX4884" fmla="*/ 2083329 w 7724301"/>
                  <a:gd name="connsiteY4884" fmla="*/ 326310 h 3959978"/>
                  <a:gd name="connsiteX4885" fmla="*/ 2097529 w 7724301"/>
                  <a:gd name="connsiteY4885" fmla="*/ 326310 h 3959978"/>
                  <a:gd name="connsiteX4886" fmla="*/ 2110940 w 7724301"/>
                  <a:gd name="connsiteY4886" fmla="*/ 326310 h 3959978"/>
                  <a:gd name="connsiteX4887" fmla="*/ 2124350 w 7724301"/>
                  <a:gd name="connsiteY4887" fmla="*/ 326310 h 3959978"/>
                  <a:gd name="connsiteX4888" fmla="*/ 2137760 w 7724301"/>
                  <a:gd name="connsiteY4888" fmla="*/ 326310 h 3959978"/>
                  <a:gd name="connsiteX4889" fmla="*/ 2137760 w 7724301"/>
                  <a:gd name="connsiteY4889" fmla="*/ 312911 h 3959978"/>
                  <a:gd name="connsiteX4890" fmla="*/ 2165369 w 7724301"/>
                  <a:gd name="connsiteY4890" fmla="*/ 312911 h 3959978"/>
                  <a:gd name="connsiteX4891" fmla="*/ 2180358 w 7724301"/>
                  <a:gd name="connsiteY4891" fmla="*/ 312911 h 3959978"/>
                  <a:gd name="connsiteX4892" fmla="*/ 2180358 w 7724301"/>
                  <a:gd name="connsiteY4892" fmla="*/ 299512 h 3959978"/>
                  <a:gd name="connsiteX4893" fmla="*/ 2165369 w 7724301"/>
                  <a:gd name="connsiteY4893" fmla="*/ 299512 h 3959978"/>
                  <a:gd name="connsiteX4894" fmla="*/ 2151958 w 7724301"/>
                  <a:gd name="connsiteY4894" fmla="*/ 299512 h 3959978"/>
                  <a:gd name="connsiteX4895" fmla="*/ 2137760 w 7724301"/>
                  <a:gd name="connsiteY4895" fmla="*/ 299512 h 3959978"/>
                  <a:gd name="connsiteX4896" fmla="*/ 2124350 w 7724301"/>
                  <a:gd name="connsiteY4896" fmla="*/ 299512 h 3959978"/>
                  <a:gd name="connsiteX4897" fmla="*/ 2097529 w 7724301"/>
                  <a:gd name="connsiteY4897" fmla="*/ 299512 h 3959978"/>
                  <a:gd name="connsiteX4898" fmla="*/ 2069919 w 7724301"/>
                  <a:gd name="connsiteY4898" fmla="*/ 299512 h 3959978"/>
                  <a:gd name="connsiteX4899" fmla="*/ 2041517 w 7724301"/>
                  <a:gd name="connsiteY4899" fmla="*/ 271925 h 3959978"/>
                  <a:gd name="connsiteX4900" fmla="*/ 2054927 w 7724301"/>
                  <a:gd name="connsiteY4900" fmla="*/ 258526 h 3959978"/>
                  <a:gd name="connsiteX4901" fmla="*/ 2069919 w 7724301"/>
                  <a:gd name="connsiteY4901" fmla="*/ 258526 h 3959978"/>
                  <a:gd name="connsiteX4902" fmla="*/ 2083329 w 7724301"/>
                  <a:gd name="connsiteY4902" fmla="*/ 258526 h 3959978"/>
                  <a:gd name="connsiteX4903" fmla="*/ 2097529 w 7724301"/>
                  <a:gd name="connsiteY4903" fmla="*/ 258526 h 3959978"/>
                  <a:gd name="connsiteX4904" fmla="*/ 2110940 w 7724301"/>
                  <a:gd name="connsiteY4904" fmla="*/ 245127 h 3959978"/>
                  <a:gd name="connsiteX4905" fmla="*/ 2124350 w 7724301"/>
                  <a:gd name="connsiteY4905" fmla="*/ 245127 h 3959978"/>
                  <a:gd name="connsiteX4906" fmla="*/ 2137760 w 7724301"/>
                  <a:gd name="connsiteY4906" fmla="*/ 245127 h 3959978"/>
                  <a:gd name="connsiteX4907" fmla="*/ 2165369 w 7724301"/>
                  <a:gd name="connsiteY4907" fmla="*/ 245127 h 3959978"/>
                  <a:gd name="connsiteX4908" fmla="*/ 2180358 w 7724301"/>
                  <a:gd name="connsiteY4908" fmla="*/ 230939 h 3959978"/>
                  <a:gd name="connsiteX4909" fmla="*/ 2193767 w 7724301"/>
                  <a:gd name="connsiteY4909" fmla="*/ 219117 h 3959978"/>
                  <a:gd name="connsiteX4910" fmla="*/ 2207968 w 7724301"/>
                  <a:gd name="connsiteY4910" fmla="*/ 205717 h 3959978"/>
                  <a:gd name="connsiteX4911" fmla="*/ 2180358 w 7724301"/>
                  <a:gd name="connsiteY4911" fmla="*/ 191530 h 3959978"/>
                  <a:gd name="connsiteX4912" fmla="*/ 2165369 w 7724301"/>
                  <a:gd name="connsiteY4912" fmla="*/ 191530 h 3959978"/>
                  <a:gd name="connsiteX4913" fmla="*/ 2151958 w 7724301"/>
                  <a:gd name="connsiteY4913" fmla="*/ 178131 h 3959978"/>
                  <a:gd name="connsiteX4914" fmla="*/ 2165369 w 7724301"/>
                  <a:gd name="connsiteY4914" fmla="*/ 164732 h 3959978"/>
                  <a:gd name="connsiteX4915" fmla="*/ 2193767 w 7724301"/>
                  <a:gd name="connsiteY4915" fmla="*/ 164732 h 3959978"/>
                  <a:gd name="connsiteX4916" fmla="*/ 2221377 w 7724301"/>
                  <a:gd name="connsiteY4916" fmla="*/ 151333 h 3959978"/>
                  <a:gd name="connsiteX4917" fmla="*/ 2234787 w 7724301"/>
                  <a:gd name="connsiteY4917" fmla="*/ 122170 h 3959978"/>
                  <a:gd name="connsiteX4918" fmla="*/ 2248986 w 7724301"/>
                  <a:gd name="connsiteY4918" fmla="*/ 122170 h 3959978"/>
                  <a:gd name="connsiteX4919" fmla="*/ 2262396 w 7724301"/>
                  <a:gd name="connsiteY4919" fmla="*/ 135569 h 3959978"/>
                  <a:gd name="connsiteX4920" fmla="*/ 2275807 w 7724301"/>
                  <a:gd name="connsiteY4920" fmla="*/ 122170 h 3959978"/>
                  <a:gd name="connsiteX4921" fmla="*/ 2275807 w 7724301"/>
                  <a:gd name="connsiteY4921" fmla="*/ 108770 h 3959978"/>
                  <a:gd name="connsiteX4922" fmla="*/ 2290794 w 7724301"/>
                  <a:gd name="connsiteY4922" fmla="*/ 95371 h 3959978"/>
                  <a:gd name="connsiteX4923" fmla="*/ 2318404 w 7724301"/>
                  <a:gd name="connsiteY4923" fmla="*/ 95371 h 3959978"/>
                  <a:gd name="connsiteX4924" fmla="*/ 2331814 w 7724301"/>
                  <a:gd name="connsiteY4924" fmla="*/ 81183 h 3959978"/>
                  <a:gd name="connsiteX4925" fmla="*/ 2361003 w 7724301"/>
                  <a:gd name="connsiteY4925" fmla="*/ 81183 h 3959978"/>
                  <a:gd name="connsiteX4926" fmla="*/ 2374414 w 7724301"/>
                  <a:gd name="connsiteY4926" fmla="*/ 67784 h 3959978"/>
                  <a:gd name="connsiteX4927" fmla="*/ 2402809 w 7724301"/>
                  <a:gd name="connsiteY4927" fmla="*/ 67784 h 3959978"/>
                  <a:gd name="connsiteX4928" fmla="*/ 2417011 w 7724301"/>
                  <a:gd name="connsiteY4928" fmla="*/ 67784 h 3959978"/>
                  <a:gd name="connsiteX4929" fmla="*/ 2430422 w 7724301"/>
                  <a:gd name="connsiteY4929" fmla="*/ 81183 h 3959978"/>
                  <a:gd name="connsiteX4930" fmla="*/ 2443830 w 7724301"/>
                  <a:gd name="connsiteY4930" fmla="*/ 95371 h 3959978"/>
                  <a:gd name="connsiteX4931" fmla="*/ 2443830 w 7724301"/>
                  <a:gd name="connsiteY4931" fmla="*/ 81183 h 3959978"/>
                  <a:gd name="connsiteX4932" fmla="*/ 2443830 w 7724301"/>
                  <a:gd name="connsiteY4932" fmla="*/ 67784 h 3959978"/>
                  <a:gd name="connsiteX4933" fmla="*/ 2457241 w 7724301"/>
                  <a:gd name="connsiteY4933" fmla="*/ 81183 h 3959978"/>
                  <a:gd name="connsiteX4934" fmla="*/ 2484851 w 7724301"/>
                  <a:gd name="connsiteY4934" fmla="*/ 81183 h 3959978"/>
                  <a:gd name="connsiteX4935" fmla="*/ 2484851 w 7724301"/>
                  <a:gd name="connsiteY4935" fmla="*/ 67784 h 3959978"/>
                  <a:gd name="connsiteX4936" fmla="*/ 2498260 w 7724301"/>
                  <a:gd name="connsiteY4936" fmla="*/ 67784 h 3959978"/>
                  <a:gd name="connsiteX4937" fmla="*/ 2527447 w 7724301"/>
                  <a:gd name="connsiteY4937" fmla="*/ 67784 h 3959978"/>
                  <a:gd name="connsiteX4938" fmla="*/ 2554267 w 7724301"/>
                  <a:gd name="connsiteY4938" fmla="*/ 67784 h 3959978"/>
                  <a:gd name="connsiteX4939" fmla="*/ 2568467 w 7724301"/>
                  <a:gd name="connsiteY4939" fmla="*/ 81183 h 3959978"/>
                  <a:gd name="connsiteX4940" fmla="*/ 2581874 w 7724301"/>
                  <a:gd name="connsiteY4940" fmla="*/ 81183 h 3959978"/>
                  <a:gd name="connsiteX4941" fmla="*/ 2568467 w 7724301"/>
                  <a:gd name="connsiteY4941" fmla="*/ 67784 h 3959978"/>
                  <a:gd name="connsiteX4942" fmla="*/ 2554267 w 7724301"/>
                  <a:gd name="connsiteY4942" fmla="*/ 54385 h 3959978"/>
                  <a:gd name="connsiteX4943" fmla="*/ 2568467 w 7724301"/>
                  <a:gd name="connsiteY4943" fmla="*/ 54385 h 3959978"/>
                  <a:gd name="connsiteX4944" fmla="*/ 2581874 w 7724301"/>
                  <a:gd name="connsiteY4944" fmla="*/ 54385 h 3959978"/>
                  <a:gd name="connsiteX4945" fmla="*/ 2581874 w 7724301"/>
                  <a:gd name="connsiteY4945" fmla="*/ 40986 h 3959978"/>
                  <a:gd name="connsiteX4946" fmla="*/ 2595287 w 7724301"/>
                  <a:gd name="connsiteY4946" fmla="*/ 26798 h 3959978"/>
                  <a:gd name="connsiteX4947" fmla="*/ 2624472 w 7724301"/>
                  <a:gd name="connsiteY4947" fmla="*/ 26798 h 3959978"/>
                  <a:gd name="connsiteX4948" fmla="*/ 2637883 w 7724301"/>
                  <a:gd name="connsiteY4948" fmla="*/ 26798 h 3959978"/>
                  <a:gd name="connsiteX4949" fmla="*/ 2651292 w 7724301"/>
                  <a:gd name="connsiteY4949" fmla="*/ 26798 h 3959978"/>
                  <a:gd name="connsiteX4950" fmla="*/ 2678902 w 7724301"/>
                  <a:gd name="connsiteY4950" fmla="*/ 26798 h 3959978"/>
                  <a:gd name="connsiteX4951" fmla="*/ 2693890 w 7724301"/>
                  <a:gd name="connsiteY4951" fmla="*/ 26798 h 3959978"/>
                  <a:gd name="connsiteX4952" fmla="*/ 2707298 w 7724301"/>
                  <a:gd name="connsiteY4952" fmla="*/ 26798 h 3959978"/>
                  <a:gd name="connsiteX4953" fmla="*/ 2721499 w 7724301"/>
                  <a:gd name="connsiteY4953" fmla="*/ 26798 h 3959978"/>
                  <a:gd name="connsiteX4954" fmla="*/ 2736487 w 7724301"/>
                  <a:gd name="connsiteY4954" fmla="*/ 26798 h 3959978"/>
                  <a:gd name="connsiteX4955" fmla="*/ 2763307 w 7724301"/>
                  <a:gd name="connsiteY4955" fmla="*/ 13399 h 3959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Lst>
                <a:rect l="l" t="t" r="r" b="b"/>
                <a:pathLst>
                  <a:path w="7724301" h="3959978">
                    <a:moveTo>
                      <a:pt x="2118828" y="3836921"/>
                    </a:moveTo>
                    <a:lnTo>
                      <a:pt x="2118828" y="3850373"/>
                    </a:lnTo>
                    <a:lnTo>
                      <a:pt x="2092009" y="3862196"/>
                    </a:lnTo>
                    <a:lnTo>
                      <a:pt x="2092009" y="3870050"/>
                    </a:lnTo>
                    <a:lnTo>
                      <a:pt x="2092009" y="3888206"/>
                    </a:lnTo>
                    <a:lnTo>
                      <a:pt x="2083075" y="3896082"/>
                    </a:lnTo>
                    <a:lnTo>
                      <a:pt x="2092009" y="3896082"/>
                    </a:lnTo>
                    <a:lnTo>
                      <a:pt x="2105418" y="3896082"/>
                    </a:lnTo>
                    <a:lnTo>
                      <a:pt x="2105418" y="3884249"/>
                    </a:lnTo>
                    <a:lnTo>
                      <a:pt x="2120405" y="3884249"/>
                    </a:lnTo>
                    <a:lnTo>
                      <a:pt x="2120405" y="3870050"/>
                    </a:lnTo>
                    <a:lnTo>
                      <a:pt x="2105418" y="3884249"/>
                    </a:lnTo>
                    <a:lnTo>
                      <a:pt x="2092009" y="3870050"/>
                    </a:lnTo>
                    <a:lnTo>
                      <a:pt x="2105418" y="3858218"/>
                    </a:lnTo>
                    <a:lnTo>
                      <a:pt x="2130644" y="3847990"/>
                    </a:lnTo>
                    <a:lnTo>
                      <a:pt x="2119564" y="3836921"/>
                    </a:lnTo>
                    <a:close/>
                    <a:moveTo>
                      <a:pt x="2310516" y="3808521"/>
                    </a:moveTo>
                    <a:lnTo>
                      <a:pt x="2324715" y="3808521"/>
                    </a:lnTo>
                    <a:lnTo>
                      <a:pt x="2366524" y="3808521"/>
                    </a:lnTo>
                    <a:lnTo>
                      <a:pt x="2366524" y="3820354"/>
                    </a:lnTo>
                    <a:lnTo>
                      <a:pt x="2338125" y="3846385"/>
                    </a:lnTo>
                    <a:lnTo>
                      <a:pt x="2324715" y="3832187"/>
                    </a:lnTo>
                    <a:lnTo>
                      <a:pt x="2310516" y="3832187"/>
                    </a:lnTo>
                    <a:lnTo>
                      <a:pt x="2324715" y="3820354"/>
                    </a:lnTo>
                    <a:close/>
                    <a:moveTo>
                      <a:pt x="7244686" y="3669684"/>
                    </a:moveTo>
                    <a:lnTo>
                      <a:pt x="7244686" y="3680728"/>
                    </a:lnTo>
                    <a:lnTo>
                      <a:pt x="7230487" y="3680728"/>
                    </a:lnTo>
                    <a:close/>
                    <a:moveTo>
                      <a:pt x="2023759" y="3529271"/>
                    </a:moveTo>
                    <a:lnTo>
                      <a:pt x="2036786" y="3542888"/>
                    </a:lnTo>
                    <a:lnTo>
                      <a:pt x="2023759" y="3581335"/>
                    </a:lnTo>
                    <a:lnTo>
                      <a:pt x="2009964" y="3567719"/>
                    </a:lnTo>
                    <a:close/>
                    <a:moveTo>
                      <a:pt x="7324900" y="3505606"/>
                    </a:moveTo>
                    <a:lnTo>
                      <a:pt x="7339163" y="3505606"/>
                    </a:lnTo>
                    <a:lnTo>
                      <a:pt x="7352634" y="3505606"/>
                    </a:lnTo>
                    <a:lnTo>
                      <a:pt x="7352634" y="3517496"/>
                    </a:lnTo>
                    <a:lnTo>
                      <a:pt x="7366104" y="3505606"/>
                    </a:lnTo>
                    <a:lnTo>
                      <a:pt x="7366104" y="3517496"/>
                    </a:lnTo>
                    <a:lnTo>
                      <a:pt x="7380366" y="3517496"/>
                    </a:lnTo>
                    <a:lnTo>
                      <a:pt x="7380366" y="3530179"/>
                    </a:lnTo>
                    <a:lnTo>
                      <a:pt x="7339163" y="3568226"/>
                    </a:lnTo>
                    <a:lnTo>
                      <a:pt x="7352634" y="3581700"/>
                    </a:lnTo>
                    <a:lnTo>
                      <a:pt x="7339163" y="3581700"/>
                    </a:lnTo>
                    <a:lnTo>
                      <a:pt x="7313015" y="3606273"/>
                    </a:lnTo>
                    <a:lnTo>
                      <a:pt x="7299544" y="3631637"/>
                    </a:lnTo>
                    <a:lnTo>
                      <a:pt x="7286074" y="3657795"/>
                    </a:lnTo>
                    <a:lnTo>
                      <a:pt x="7258340" y="3669684"/>
                    </a:lnTo>
                    <a:lnTo>
                      <a:pt x="7230607" y="3657795"/>
                    </a:lnTo>
                    <a:lnTo>
                      <a:pt x="7217137" y="3657795"/>
                    </a:lnTo>
                    <a:lnTo>
                      <a:pt x="7203666" y="3643527"/>
                    </a:lnTo>
                    <a:lnTo>
                      <a:pt x="7244870" y="3593590"/>
                    </a:lnTo>
                    <a:lnTo>
                      <a:pt x="7299544" y="3555543"/>
                    </a:lnTo>
                    <a:lnTo>
                      <a:pt x="7313015" y="3530179"/>
                    </a:lnTo>
                    <a:lnTo>
                      <a:pt x="7324900" y="3530179"/>
                    </a:lnTo>
                    <a:close/>
                    <a:moveTo>
                      <a:pt x="6738251" y="3505606"/>
                    </a:moveTo>
                    <a:lnTo>
                      <a:pt x="6766920" y="3517440"/>
                    </a:lnTo>
                    <a:lnTo>
                      <a:pt x="6808331" y="3505606"/>
                    </a:lnTo>
                    <a:lnTo>
                      <a:pt x="6821868" y="3505606"/>
                    </a:lnTo>
                    <a:lnTo>
                      <a:pt x="6808331" y="3567926"/>
                    </a:lnTo>
                    <a:lnTo>
                      <a:pt x="6794792" y="3555304"/>
                    </a:lnTo>
                    <a:lnTo>
                      <a:pt x="6780458" y="3581336"/>
                    </a:lnTo>
                    <a:lnTo>
                      <a:pt x="6753381" y="3567926"/>
                    </a:lnTo>
                    <a:close/>
                    <a:moveTo>
                      <a:pt x="7380628" y="3403623"/>
                    </a:moveTo>
                    <a:lnTo>
                      <a:pt x="7394124" y="3416187"/>
                    </a:lnTo>
                    <a:lnTo>
                      <a:pt x="7394124" y="3403623"/>
                    </a:lnTo>
                    <a:lnTo>
                      <a:pt x="7407619" y="3403623"/>
                    </a:lnTo>
                    <a:lnTo>
                      <a:pt x="7407619" y="3429538"/>
                    </a:lnTo>
                    <a:lnTo>
                      <a:pt x="7435405" y="3429538"/>
                    </a:lnTo>
                    <a:lnTo>
                      <a:pt x="7450488" y="3416187"/>
                    </a:lnTo>
                    <a:lnTo>
                      <a:pt x="7463984" y="3429538"/>
                    </a:lnTo>
                    <a:lnTo>
                      <a:pt x="7463984" y="3453883"/>
                    </a:lnTo>
                    <a:lnTo>
                      <a:pt x="7450488" y="3467233"/>
                    </a:lnTo>
                    <a:lnTo>
                      <a:pt x="7435405" y="3467233"/>
                    </a:lnTo>
                    <a:lnTo>
                      <a:pt x="7407619" y="3516707"/>
                    </a:lnTo>
                    <a:lnTo>
                      <a:pt x="7394124" y="3529272"/>
                    </a:lnTo>
                    <a:lnTo>
                      <a:pt x="7380628" y="3516707"/>
                    </a:lnTo>
                    <a:lnTo>
                      <a:pt x="7394124" y="3479012"/>
                    </a:lnTo>
                    <a:lnTo>
                      <a:pt x="7366338" y="3467233"/>
                    </a:lnTo>
                    <a:lnTo>
                      <a:pt x="7380628" y="3453883"/>
                    </a:lnTo>
                    <a:close/>
                    <a:moveTo>
                      <a:pt x="6563128" y="3377815"/>
                    </a:moveTo>
                    <a:lnTo>
                      <a:pt x="6576945" y="3377815"/>
                    </a:lnTo>
                    <a:lnTo>
                      <a:pt x="6589948" y="3377815"/>
                    </a:lnTo>
                    <a:lnTo>
                      <a:pt x="6589948" y="3392015"/>
                    </a:lnTo>
                    <a:close/>
                    <a:moveTo>
                      <a:pt x="7339346" y="3354148"/>
                    </a:moveTo>
                    <a:lnTo>
                      <a:pt x="7380628" y="3365929"/>
                    </a:lnTo>
                    <a:lnTo>
                      <a:pt x="7380628" y="3403623"/>
                    </a:lnTo>
                    <a:close/>
                    <a:moveTo>
                      <a:pt x="2406730" y="3270410"/>
                    </a:moveTo>
                    <a:lnTo>
                      <a:pt x="2406757" y="3270435"/>
                    </a:lnTo>
                    <a:lnTo>
                      <a:pt x="2419051" y="3270435"/>
                    </a:lnTo>
                    <a:lnTo>
                      <a:pt x="2419011" y="3270410"/>
                    </a:lnTo>
                    <a:close/>
                    <a:moveTo>
                      <a:pt x="2379584" y="3257764"/>
                    </a:moveTo>
                    <a:lnTo>
                      <a:pt x="2379538" y="3257911"/>
                    </a:lnTo>
                    <a:lnTo>
                      <a:pt x="2391581" y="3257911"/>
                    </a:lnTo>
                    <a:lnTo>
                      <a:pt x="2391426" y="3257764"/>
                    </a:lnTo>
                    <a:close/>
                    <a:moveTo>
                      <a:pt x="3980465" y="3203480"/>
                    </a:moveTo>
                    <a:lnTo>
                      <a:pt x="3979745" y="3204116"/>
                    </a:lnTo>
                    <a:lnTo>
                      <a:pt x="3991568" y="3214525"/>
                    </a:lnTo>
                    <a:lnTo>
                      <a:pt x="3992982" y="3214525"/>
                    </a:lnTo>
                    <a:close/>
                    <a:moveTo>
                      <a:pt x="2434317" y="3169187"/>
                    </a:moveTo>
                    <a:lnTo>
                      <a:pt x="2407181" y="3180662"/>
                    </a:lnTo>
                    <a:lnTo>
                      <a:pt x="2393652" y="3193227"/>
                    </a:lnTo>
                    <a:lnTo>
                      <a:pt x="2352479" y="3180726"/>
                    </a:lnTo>
                    <a:lnTo>
                      <a:pt x="2352123" y="3181394"/>
                    </a:lnTo>
                    <a:lnTo>
                      <a:pt x="2393221" y="3194016"/>
                    </a:lnTo>
                    <a:lnTo>
                      <a:pt x="2406657" y="3181394"/>
                    </a:lnTo>
                    <a:lnTo>
                      <a:pt x="2434317" y="3169561"/>
                    </a:lnTo>
                    <a:close/>
                    <a:moveTo>
                      <a:pt x="2297264" y="3117838"/>
                    </a:moveTo>
                    <a:lnTo>
                      <a:pt x="2297591" y="3118287"/>
                    </a:lnTo>
                    <a:lnTo>
                      <a:pt x="2338688" y="3118287"/>
                    </a:lnTo>
                    <a:lnTo>
                      <a:pt x="2365560" y="3144318"/>
                    </a:lnTo>
                    <a:lnTo>
                      <a:pt x="2365560" y="3155976"/>
                    </a:lnTo>
                    <a:lnTo>
                      <a:pt x="2365798" y="3155533"/>
                    </a:lnTo>
                    <a:lnTo>
                      <a:pt x="2365798" y="3143753"/>
                    </a:lnTo>
                    <a:lnTo>
                      <a:pt x="2338739" y="3117838"/>
                    </a:lnTo>
                    <a:close/>
                    <a:moveTo>
                      <a:pt x="2214510" y="3076071"/>
                    </a:moveTo>
                    <a:lnTo>
                      <a:pt x="2229624" y="3080422"/>
                    </a:lnTo>
                    <a:lnTo>
                      <a:pt x="2229778" y="3080286"/>
                    </a:lnTo>
                    <a:close/>
                    <a:moveTo>
                      <a:pt x="2243862" y="3068662"/>
                    </a:moveTo>
                    <a:lnTo>
                      <a:pt x="2243649" y="3068849"/>
                    </a:lnTo>
                    <a:lnTo>
                      <a:pt x="2268758" y="3079907"/>
                    </a:lnTo>
                    <a:lnTo>
                      <a:pt x="2268823" y="3079607"/>
                    </a:lnTo>
                    <a:close/>
                    <a:moveTo>
                      <a:pt x="2187678" y="3068662"/>
                    </a:moveTo>
                    <a:lnTo>
                      <a:pt x="2173101" y="3081908"/>
                    </a:lnTo>
                    <a:lnTo>
                      <a:pt x="2188259" y="3068823"/>
                    </a:lnTo>
                    <a:close/>
                    <a:moveTo>
                      <a:pt x="2133550" y="3033139"/>
                    </a:moveTo>
                    <a:lnTo>
                      <a:pt x="2146438" y="3093735"/>
                    </a:lnTo>
                    <a:lnTo>
                      <a:pt x="2146503" y="3093735"/>
                    </a:lnTo>
                    <a:close/>
                    <a:moveTo>
                      <a:pt x="7165802" y="3025991"/>
                    </a:moveTo>
                    <a:lnTo>
                      <a:pt x="7179013" y="3037637"/>
                    </a:lnTo>
                    <a:lnTo>
                      <a:pt x="7217866" y="3074899"/>
                    </a:lnTo>
                    <a:lnTo>
                      <a:pt x="7204656" y="3074899"/>
                    </a:lnTo>
                    <a:lnTo>
                      <a:pt x="7179013" y="3050834"/>
                    </a:lnTo>
                    <a:close/>
                    <a:moveTo>
                      <a:pt x="4856076" y="3025991"/>
                    </a:moveTo>
                    <a:lnTo>
                      <a:pt x="4867120" y="3037035"/>
                    </a:lnTo>
                    <a:lnTo>
                      <a:pt x="4856076" y="3037035"/>
                    </a:lnTo>
                    <a:close/>
                    <a:moveTo>
                      <a:pt x="2339203" y="3018319"/>
                    </a:moveTo>
                    <a:lnTo>
                      <a:pt x="2363841" y="3029759"/>
                    </a:lnTo>
                    <a:lnTo>
                      <a:pt x="2363841" y="3029650"/>
                    </a:lnTo>
                    <a:lnTo>
                      <a:pt x="2339619" y="3018319"/>
                    </a:lnTo>
                    <a:close/>
                    <a:moveTo>
                      <a:pt x="2133028" y="3018200"/>
                    </a:moveTo>
                    <a:lnTo>
                      <a:pt x="2133028" y="3030682"/>
                    </a:lnTo>
                    <a:lnTo>
                      <a:pt x="2133072" y="3030893"/>
                    </a:lnTo>
                    <a:lnTo>
                      <a:pt x="2133072" y="3018319"/>
                    </a:lnTo>
                    <a:close/>
                    <a:moveTo>
                      <a:pt x="7451362" y="2962884"/>
                    </a:moveTo>
                    <a:lnTo>
                      <a:pt x="7465561" y="2975889"/>
                    </a:lnTo>
                    <a:lnTo>
                      <a:pt x="7465561" y="2988127"/>
                    </a:lnTo>
                    <a:lnTo>
                      <a:pt x="7437162" y="2988127"/>
                    </a:lnTo>
                    <a:close/>
                    <a:moveTo>
                      <a:pt x="2325977" y="2955046"/>
                    </a:moveTo>
                    <a:lnTo>
                      <a:pt x="2326165" y="2955390"/>
                    </a:lnTo>
                    <a:lnTo>
                      <a:pt x="2350443" y="2955390"/>
                    </a:lnTo>
                    <a:lnTo>
                      <a:pt x="2350443" y="2955046"/>
                    </a:lnTo>
                    <a:close/>
                    <a:moveTo>
                      <a:pt x="7465561" y="2950263"/>
                    </a:moveTo>
                    <a:lnTo>
                      <a:pt x="7492382" y="2950263"/>
                    </a:lnTo>
                    <a:lnTo>
                      <a:pt x="7478588" y="2962884"/>
                    </a:lnTo>
                    <a:close/>
                    <a:moveTo>
                      <a:pt x="7217866" y="2912398"/>
                    </a:moveTo>
                    <a:lnTo>
                      <a:pt x="7232065" y="2924231"/>
                    </a:lnTo>
                    <a:lnTo>
                      <a:pt x="7217866" y="2937641"/>
                    </a:lnTo>
                    <a:close/>
                    <a:moveTo>
                      <a:pt x="4677150" y="2861913"/>
                    </a:moveTo>
                    <a:lnTo>
                      <a:pt x="4690489" y="2874535"/>
                    </a:lnTo>
                    <a:lnTo>
                      <a:pt x="4703043" y="2924232"/>
                    </a:lnTo>
                    <a:lnTo>
                      <a:pt x="4703043" y="2937642"/>
                    </a:lnTo>
                    <a:lnTo>
                      <a:pt x="4690489" y="2924232"/>
                    </a:lnTo>
                    <a:lnTo>
                      <a:pt x="4677150" y="2988128"/>
                    </a:lnTo>
                    <a:lnTo>
                      <a:pt x="4636346" y="3126964"/>
                    </a:lnTo>
                    <a:lnTo>
                      <a:pt x="4623008" y="3139585"/>
                    </a:lnTo>
                    <a:lnTo>
                      <a:pt x="4582205" y="3139585"/>
                    </a:lnTo>
                    <a:lnTo>
                      <a:pt x="4568865" y="3113553"/>
                    </a:lnTo>
                    <a:lnTo>
                      <a:pt x="4554741" y="3063857"/>
                    </a:lnTo>
                    <a:lnTo>
                      <a:pt x="4582205" y="3025992"/>
                    </a:lnTo>
                    <a:lnTo>
                      <a:pt x="4568865" y="2975507"/>
                    </a:lnTo>
                    <a:lnTo>
                      <a:pt x="4582205" y="2950264"/>
                    </a:lnTo>
                    <a:lnTo>
                      <a:pt x="4649686" y="2912400"/>
                    </a:lnTo>
                    <a:lnTo>
                      <a:pt x="4649686" y="2886368"/>
                    </a:lnTo>
                    <a:lnTo>
                      <a:pt x="4663810" y="2886368"/>
                    </a:lnTo>
                    <a:close/>
                    <a:moveTo>
                      <a:pt x="2201131" y="2853515"/>
                    </a:moveTo>
                    <a:lnTo>
                      <a:pt x="2201131" y="2853918"/>
                    </a:lnTo>
                    <a:lnTo>
                      <a:pt x="2214584" y="2867291"/>
                    </a:lnTo>
                    <a:lnTo>
                      <a:pt x="2290199" y="2889272"/>
                    </a:lnTo>
                    <a:lnTo>
                      <a:pt x="2214102" y="2866523"/>
                    </a:lnTo>
                    <a:close/>
                    <a:moveTo>
                      <a:pt x="6425869" y="2849291"/>
                    </a:moveTo>
                    <a:lnTo>
                      <a:pt x="6452690" y="2849291"/>
                    </a:lnTo>
                    <a:lnTo>
                      <a:pt x="6438897" y="2861912"/>
                    </a:lnTo>
                    <a:lnTo>
                      <a:pt x="6425869" y="2861912"/>
                    </a:lnTo>
                    <a:close/>
                    <a:moveTo>
                      <a:pt x="6686756" y="2836670"/>
                    </a:moveTo>
                    <a:lnTo>
                      <a:pt x="6700968" y="2836670"/>
                    </a:lnTo>
                    <a:lnTo>
                      <a:pt x="6714390" y="2912399"/>
                    </a:lnTo>
                    <a:lnTo>
                      <a:pt x="6742024" y="2912399"/>
                    </a:lnTo>
                    <a:lnTo>
                      <a:pt x="6755447" y="2924232"/>
                    </a:lnTo>
                    <a:lnTo>
                      <a:pt x="6755447" y="2950263"/>
                    </a:lnTo>
                    <a:lnTo>
                      <a:pt x="6768869" y="2962096"/>
                    </a:lnTo>
                    <a:lnTo>
                      <a:pt x="6782292" y="2999960"/>
                    </a:lnTo>
                    <a:lnTo>
                      <a:pt x="6823348" y="3037825"/>
                    </a:lnTo>
                    <a:lnTo>
                      <a:pt x="6850982" y="3075689"/>
                    </a:lnTo>
                    <a:lnTo>
                      <a:pt x="6850982" y="3063857"/>
                    </a:lnTo>
                    <a:lnTo>
                      <a:pt x="6864405" y="3075689"/>
                    </a:lnTo>
                    <a:lnTo>
                      <a:pt x="6877827" y="3101721"/>
                    </a:lnTo>
                    <a:lnTo>
                      <a:pt x="6892040" y="3113553"/>
                    </a:lnTo>
                    <a:lnTo>
                      <a:pt x="6918884" y="3151417"/>
                    </a:lnTo>
                    <a:lnTo>
                      <a:pt x="6932306" y="3214525"/>
                    </a:lnTo>
                    <a:lnTo>
                      <a:pt x="6918884" y="3265010"/>
                    </a:lnTo>
                    <a:lnTo>
                      <a:pt x="6864405" y="3378604"/>
                    </a:lnTo>
                    <a:lnTo>
                      <a:pt x="6850982" y="3429878"/>
                    </a:lnTo>
                    <a:lnTo>
                      <a:pt x="6809926" y="3429878"/>
                    </a:lnTo>
                    <a:lnTo>
                      <a:pt x="6782292" y="3467742"/>
                    </a:lnTo>
                    <a:lnTo>
                      <a:pt x="6755447" y="3454332"/>
                    </a:lnTo>
                    <a:lnTo>
                      <a:pt x="6755447" y="3441710"/>
                    </a:lnTo>
                    <a:lnTo>
                      <a:pt x="6742024" y="3441710"/>
                    </a:lnTo>
                    <a:lnTo>
                      <a:pt x="6742024" y="3429878"/>
                    </a:lnTo>
                    <a:lnTo>
                      <a:pt x="6714390" y="3454332"/>
                    </a:lnTo>
                    <a:lnTo>
                      <a:pt x="6700968" y="3441710"/>
                    </a:lnTo>
                    <a:lnTo>
                      <a:pt x="6673333" y="3441710"/>
                    </a:lnTo>
                    <a:lnTo>
                      <a:pt x="6646488" y="3429878"/>
                    </a:lnTo>
                    <a:lnTo>
                      <a:pt x="6632277" y="3416468"/>
                    </a:lnTo>
                    <a:lnTo>
                      <a:pt x="6632277" y="3403846"/>
                    </a:lnTo>
                    <a:lnTo>
                      <a:pt x="6618854" y="3378604"/>
                    </a:lnTo>
                    <a:lnTo>
                      <a:pt x="6591220" y="3378604"/>
                    </a:lnTo>
                    <a:lnTo>
                      <a:pt x="6605432" y="3365982"/>
                    </a:lnTo>
                    <a:lnTo>
                      <a:pt x="6591220" y="3340739"/>
                    </a:lnTo>
                    <a:lnTo>
                      <a:pt x="6591220" y="3365982"/>
                    </a:lnTo>
                    <a:lnTo>
                      <a:pt x="6577797" y="3365982"/>
                    </a:lnTo>
                    <a:lnTo>
                      <a:pt x="6591220" y="3328118"/>
                    </a:lnTo>
                    <a:lnTo>
                      <a:pt x="6591220" y="3302874"/>
                    </a:lnTo>
                    <a:lnTo>
                      <a:pt x="6550953" y="3365982"/>
                    </a:lnTo>
                    <a:lnTo>
                      <a:pt x="6523319" y="3316285"/>
                    </a:lnTo>
                    <a:lnTo>
                      <a:pt x="6509896" y="3316285"/>
                    </a:lnTo>
                    <a:lnTo>
                      <a:pt x="6509896" y="3302874"/>
                    </a:lnTo>
                    <a:lnTo>
                      <a:pt x="6453838" y="3278421"/>
                    </a:lnTo>
                    <a:lnTo>
                      <a:pt x="6344880" y="3290253"/>
                    </a:lnTo>
                    <a:lnTo>
                      <a:pt x="6289611" y="3316285"/>
                    </a:lnTo>
                    <a:lnTo>
                      <a:pt x="6276189" y="3328118"/>
                    </a:lnTo>
                    <a:lnTo>
                      <a:pt x="6208288" y="3328118"/>
                    </a:lnTo>
                    <a:lnTo>
                      <a:pt x="6167231" y="3365982"/>
                    </a:lnTo>
                    <a:lnTo>
                      <a:pt x="6139597" y="3365982"/>
                    </a:lnTo>
                    <a:lnTo>
                      <a:pt x="6099329" y="3340739"/>
                    </a:lnTo>
                    <a:lnTo>
                      <a:pt x="6099329" y="3328118"/>
                    </a:lnTo>
                    <a:lnTo>
                      <a:pt x="6112752" y="3316285"/>
                    </a:lnTo>
                    <a:lnTo>
                      <a:pt x="6112752" y="3278421"/>
                    </a:lnTo>
                    <a:lnTo>
                      <a:pt x="6099329" y="3227146"/>
                    </a:lnTo>
                    <a:lnTo>
                      <a:pt x="6056693" y="3151417"/>
                    </a:lnTo>
                    <a:lnTo>
                      <a:pt x="6070116" y="3164828"/>
                    </a:lnTo>
                    <a:lnTo>
                      <a:pt x="6070116" y="3139585"/>
                    </a:lnTo>
                    <a:lnTo>
                      <a:pt x="6085118" y="3164828"/>
                    </a:lnTo>
                    <a:lnTo>
                      <a:pt x="6056693" y="3101721"/>
                    </a:lnTo>
                    <a:lnTo>
                      <a:pt x="6070116" y="3101721"/>
                    </a:lnTo>
                    <a:lnTo>
                      <a:pt x="6070116" y="3075689"/>
                    </a:lnTo>
                    <a:lnTo>
                      <a:pt x="6070116" y="3063857"/>
                    </a:lnTo>
                    <a:lnTo>
                      <a:pt x="6085118" y="3075689"/>
                    </a:lnTo>
                    <a:lnTo>
                      <a:pt x="6126174" y="3037825"/>
                    </a:lnTo>
                    <a:lnTo>
                      <a:pt x="6221710" y="3013370"/>
                    </a:lnTo>
                    <a:lnTo>
                      <a:pt x="6262766" y="2988128"/>
                    </a:lnTo>
                    <a:lnTo>
                      <a:pt x="6249345" y="2975506"/>
                    </a:lnTo>
                    <a:lnTo>
                      <a:pt x="6276189" y="2950263"/>
                    </a:lnTo>
                    <a:lnTo>
                      <a:pt x="6276189" y="2975506"/>
                    </a:lnTo>
                    <a:lnTo>
                      <a:pt x="6289611" y="2962096"/>
                    </a:lnTo>
                    <a:lnTo>
                      <a:pt x="6276189" y="2950263"/>
                    </a:lnTo>
                    <a:lnTo>
                      <a:pt x="6289611" y="2950263"/>
                    </a:lnTo>
                    <a:lnTo>
                      <a:pt x="6303823" y="2950263"/>
                    </a:lnTo>
                    <a:lnTo>
                      <a:pt x="6317246" y="2912399"/>
                    </a:lnTo>
                    <a:lnTo>
                      <a:pt x="6330668" y="2912399"/>
                    </a:lnTo>
                    <a:lnTo>
                      <a:pt x="6358302" y="2899778"/>
                    </a:lnTo>
                    <a:lnTo>
                      <a:pt x="6371725" y="2899778"/>
                    </a:lnTo>
                    <a:lnTo>
                      <a:pt x="6385147" y="2912399"/>
                    </a:lnTo>
                    <a:lnTo>
                      <a:pt x="6412782" y="2924232"/>
                    </a:lnTo>
                    <a:lnTo>
                      <a:pt x="6412782" y="2912399"/>
                    </a:lnTo>
                    <a:lnTo>
                      <a:pt x="6412782" y="2886368"/>
                    </a:lnTo>
                    <a:lnTo>
                      <a:pt x="6426204" y="2886368"/>
                    </a:lnTo>
                    <a:lnTo>
                      <a:pt x="6426204" y="2874534"/>
                    </a:lnTo>
                    <a:lnTo>
                      <a:pt x="6439626" y="2861913"/>
                    </a:lnTo>
                    <a:lnTo>
                      <a:pt x="6467260" y="2861913"/>
                    </a:lnTo>
                    <a:lnTo>
                      <a:pt x="6480683" y="2861913"/>
                    </a:lnTo>
                    <a:lnTo>
                      <a:pt x="6467260" y="2848503"/>
                    </a:lnTo>
                    <a:lnTo>
                      <a:pt x="6536741" y="2861913"/>
                    </a:lnTo>
                    <a:lnTo>
                      <a:pt x="6550953" y="2861913"/>
                    </a:lnTo>
                    <a:lnTo>
                      <a:pt x="6550953" y="2874534"/>
                    </a:lnTo>
                    <a:lnTo>
                      <a:pt x="6564376" y="2861913"/>
                    </a:lnTo>
                    <a:lnTo>
                      <a:pt x="6577797" y="2861913"/>
                    </a:lnTo>
                    <a:lnTo>
                      <a:pt x="6564376" y="2886368"/>
                    </a:lnTo>
                    <a:lnTo>
                      <a:pt x="6550953" y="2886368"/>
                    </a:lnTo>
                    <a:lnTo>
                      <a:pt x="6536741" y="2924232"/>
                    </a:lnTo>
                    <a:lnTo>
                      <a:pt x="6564376" y="2924232"/>
                    </a:lnTo>
                    <a:lnTo>
                      <a:pt x="6564376" y="2937642"/>
                    </a:lnTo>
                    <a:lnTo>
                      <a:pt x="6577797" y="2937642"/>
                    </a:lnTo>
                    <a:lnTo>
                      <a:pt x="6632277" y="2975506"/>
                    </a:lnTo>
                    <a:lnTo>
                      <a:pt x="6659911" y="2975506"/>
                    </a:lnTo>
                    <a:lnTo>
                      <a:pt x="6673333" y="2924232"/>
                    </a:lnTo>
                    <a:lnTo>
                      <a:pt x="6673333" y="2861913"/>
                    </a:lnTo>
                    <a:close/>
                    <a:moveTo>
                      <a:pt x="2173908" y="2815148"/>
                    </a:moveTo>
                    <a:lnTo>
                      <a:pt x="2146323" y="2841231"/>
                    </a:lnTo>
                    <a:lnTo>
                      <a:pt x="2118739" y="2841231"/>
                    </a:lnTo>
                    <a:lnTo>
                      <a:pt x="2092009" y="2841231"/>
                    </a:lnTo>
                    <a:lnTo>
                      <a:pt x="2092009" y="2841729"/>
                    </a:lnTo>
                    <a:lnTo>
                      <a:pt x="2120405" y="2841729"/>
                    </a:lnTo>
                    <a:lnTo>
                      <a:pt x="2120625" y="2842120"/>
                    </a:lnTo>
                    <a:lnTo>
                      <a:pt x="2146526" y="2842120"/>
                    </a:lnTo>
                    <a:lnTo>
                      <a:pt x="2174224" y="2816161"/>
                    </a:lnTo>
                    <a:lnTo>
                      <a:pt x="2200704" y="2816161"/>
                    </a:lnTo>
                    <a:lnTo>
                      <a:pt x="2200704" y="2815148"/>
                    </a:lnTo>
                    <a:close/>
                    <a:moveTo>
                      <a:pt x="6181329" y="2811427"/>
                    </a:moveTo>
                    <a:lnTo>
                      <a:pt x="6208939" y="2811427"/>
                    </a:lnTo>
                    <a:lnTo>
                      <a:pt x="6222349" y="2824048"/>
                    </a:lnTo>
                    <a:lnTo>
                      <a:pt x="6208939" y="2824048"/>
                    </a:lnTo>
                    <a:close/>
                    <a:moveTo>
                      <a:pt x="7053786" y="2798806"/>
                    </a:moveTo>
                    <a:lnTo>
                      <a:pt x="7082185" y="2811427"/>
                    </a:lnTo>
                    <a:lnTo>
                      <a:pt x="7053786" y="2811427"/>
                    </a:lnTo>
                    <a:close/>
                    <a:moveTo>
                      <a:pt x="6317010" y="2786184"/>
                    </a:moveTo>
                    <a:lnTo>
                      <a:pt x="6358029" y="2786184"/>
                    </a:lnTo>
                    <a:lnTo>
                      <a:pt x="6303599" y="2824048"/>
                    </a:lnTo>
                    <a:lnTo>
                      <a:pt x="6275990" y="2824048"/>
                    </a:lnTo>
                    <a:lnTo>
                      <a:pt x="6289401" y="2810638"/>
                    </a:lnTo>
                    <a:close/>
                    <a:moveTo>
                      <a:pt x="6193161" y="2786184"/>
                    </a:moveTo>
                    <a:lnTo>
                      <a:pt x="6219982" y="2786184"/>
                    </a:lnTo>
                    <a:lnTo>
                      <a:pt x="6261001" y="2786184"/>
                    </a:lnTo>
                    <a:lnTo>
                      <a:pt x="6288610" y="2786184"/>
                    </a:lnTo>
                    <a:lnTo>
                      <a:pt x="6247591" y="2798805"/>
                    </a:lnTo>
                    <a:close/>
                    <a:moveTo>
                      <a:pt x="6124532" y="2786184"/>
                    </a:moveTo>
                    <a:lnTo>
                      <a:pt x="6152141" y="2786184"/>
                    </a:lnTo>
                    <a:lnTo>
                      <a:pt x="6165552" y="2786184"/>
                    </a:lnTo>
                    <a:lnTo>
                      <a:pt x="6193161" y="2786184"/>
                    </a:lnTo>
                    <a:lnTo>
                      <a:pt x="6137943" y="2798805"/>
                    </a:lnTo>
                    <a:lnTo>
                      <a:pt x="6124532" y="2798805"/>
                    </a:lnTo>
                    <a:close/>
                    <a:moveTo>
                      <a:pt x="2024327" y="2777670"/>
                    </a:moveTo>
                    <a:lnTo>
                      <a:pt x="2024165" y="2777970"/>
                    </a:lnTo>
                    <a:lnTo>
                      <a:pt x="2037575" y="2815752"/>
                    </a:lnTo>
                    <a:lnTo>
                      <a:pt x="2064395" y="2829134"/>
                    </a:lnTo>
                    <a:lnTo>
                      <a:pt x="2091944" y="2815783"/>
                    </a:lnTo>
                    <a:lnTo>
                      <a:pt x="2091944" y="2815148"/>
                    </a:lnTo>
                    <a:lnTo>
                      <a:pt x="2064356" y="2828585"/>
                    </a:lnTo>
                    <a:lnTo>
                      <a:pt x="2037562" y="2815148"/>
                    </a:lnTo>
                    <a:close/>
                    <a:moveTo>
                      <a:pt x="5906813" y="2735698"/>
                    </a:moveTo>
                    <a:lnTo>
                      <a:pt x="5933633" y="2735698"/>
                    </a:lnTo>
                    <a:lnTo>
                      <a:pt x="5974653" y="2748903"/>
                    </a:lnTo>
                    <a:lnTo>
                      <a:pt x="6002263" y="2761331"/>
                    </a:lnTo>
                    <a:lnTo>
                      <a:pt x="6002263" y="2748903"/>
                    </a:lnTo>
                    <a:lnTo>
                      <a:pt x="6043283" y="2761331"/>
                    </a:lnTo>
                    <a:lnTo>
                      <a:pt x="6056692" y="2772981"/>
                    </a:lnTo>
                    <a:lnTo>
                      <a:pt x="6083513" y="2772981"/>
                    </a:lnTo>
                    <a:lnTo>
                      <a:pt x="6083513" y="2786184"/>
                    </a:lnTo>
                    <a:lnTo>
                      <a:pt x="6083513" y="2786185"/>
                    </a:lnTo>
                    <a:lnTo>
                      <a:pt x="5947833" y="2772981"/>
                    </a:lnTo>
                    <a:lnTo>
                      <a:pt x="5892613" y="2748903"/>
                    </a:lnTo>
                    <a:close/>
                    <a:moveTo>
                      <a:pt x="6959126" y="2723076"/>
                    </a:moveTo>
                    <a:lnTo>
                      <a:pt x="6985946" y="2748320"/>
                    </a:lnTo>
                    <a:lnTo>
                      <a:pt x="6972153" y="2760941"/>
                    </a:lnTo>
                    <a:close/>
                    <a:moveTo>
                      <a:pt x="6523686" y="2723076"/>
                    </a:moveTo>
                    <a:lnTo>
                      <a:pt x="6523686" y="2734909"/>
                    </a:lnTo>
                    <a:lnTo>
                      <a:pt x="6507910" y="2760941"/>
                    </a:lnTo>
                    <a:close/>
                    <a:moveTo>
                      <a:pt x="6890606" y="2697833"/>
                    </a:moveTo>
                    <a:lnTo>
                      <a:pt x="6903907" y="2697833"/>
                    </a:lnTo>
                    <a:lnTo>
                      <a:pt x="6903907" y="2711038"/>
                    </a:lnTo>
                    <a:lnTo>
                      <a:pt x="6890606" y="2735116"/>
                    </a:lnTo>
                    <a:lnTo>
                      <a:pt x="6863221" y="2748320"/>
                    </a:lnTo>
                    <a:lnTo>
                      <a:pt x="6835054" y="2748320"/>
                    </a:lnTo>
                    <a:lnTo>
                      <a:pt x="6807669" y="2723465"/>
                    </a:lnTo>
                    <a:lnTo>
                      <a:pt x="6863221" y="2723465"/>
                    </a:lnTo>
                    <a:lnTo>
                      <a:pt x="6876522" y="2723465"/>
                    </a:lnTo>
                    <a:lnTo>
                      <a:pt x="6890606" y="2723465"/>
                    </a:lnTo>
                    <a:close/>
                    <a:moveTo>
                      <a:pt x="6877087" y="2685212"/>
                    </a:moveTo>
                    <a:lnTo>
                      <a:pt x="6918107" y="2697046"/>
                    </a:lnTo>
                    <a:lnTo>
                      <a:pt x="6918107" y="2710455"/>
                    </a:lnTo>
                    <a:lnTo>
                      <a:pt x="6904697" y="2697046"/>
                    </a:lnTo>
                    <a:close/>
                    <a:moveTo>
                      <a:pt x="6331209" y="2685212"/>
                    </a:moveTo>
                    <a:lnTo>
                      <a:pt x="6358030" y="2685212"/>
                    </a:lnTo>
                    <a:lnTo>
                      <a:pt x="6358030" y="2697833"/>
                    </a:lnTo>
                    <a:close/>
                    <a:moveTo>
                      <a:pt x="3870027" y="2673137"/>
                    </a:moveTo>
                    <a:lnTo>
                      <a:pt x="3869940" y="2673226"/>
                    </a:lnTo>
                    <a:lnTo>
                      <a:pt x="3869940" y="2685380"/>
                    </a:lnTo>
                    <a:lnTo>
                      <a:pt x="3870027" y="2685380"/>
                    </a:lnTo>
                    <a:close/>
                    <a:moveTo>
                      <a:pt x="6385639" y="2672590"/>
                    </a:moveTo>
                    <a:lnTo>
                      <a:pt x="6413249" y="2672590"/>
                    </a:lnTo>
                    <a:lnTo>
                      <a:pt x="6426659" y="2685619"/>
                    </a:lnTo>
                    <a:lnTo>
                      <a:pt x="6440070" y="2697833"/>
                    </a:lnTo>
                    <a:lnTo>
                      <a:pt x="6372228" y="2685619"/>
                    </a:lnTo>
                    <a:close/>
                    <a:moveTo>
                      <a:pt x="5933633" y="2672590"/>
                    </a:moveTo>
                    <a:lnTo>
                      <a:pt x="5947833" y="2672590"/>
                    </a:lnTo>
                    <a:lnTo>
                      <a:pt x="5947833" y="2685211"/>
                    </a:lnTo>
                    <a:lnTo>
                      <a:pt x="5933633" y="2685211"/>
                    </a:lnTo>
                    <a:close/>
                    <a:moveTo>
                      <a:pt x="2092227" y="2664521"/>
                    </a:moveTo>
                    <a:lnTo>
                      <a:pt x="2074012" y="2669045"/>
                    </a:lnTo>
                    <a:lnTo>
                      <a:pt x="2092009" y="2664621"/>
                    </a:lnTo>
                    <a:lnTo>
                      <a:pt x="2105418" y="2678002"/>
                    </a:lnTo>
                    <a:lnTo>
                      <a:pt x="2105418" y="2690597"/>
                    </a:lnTo>
                    <a:lnTo>
                      <a:pt x="2092009" y="2690597"/>
                    </a:lnTo>
                    <a:lnTo>
                      <a:pt x="2104444" y="2701546"/>
                    </a:lnTo>
                    <a:lnTo>
                      <a:pt x="2092227" y="2690679"/>
                    </a:lnTo>
                    <a:lnTo>
                      <a:pt x="2105594" y="2690679"/>
                    </a:lnTo>
                    <a:lnTo>
                      <a:pt x="2105594" y="2677996"/>
                    </a:lnTo>
                    <a:close/>
                    <a:moveTo>
                      <a:pt x="6590195" y="2648021"/>
                    </a:moveTo>
                    <a:lnTo>
                      <a:pt x="6657788" y="2673151"/>
                    </a:lnTo>
                    <a:lnTo>
                      <a:pt x="6657788" y="2672590"/>
                    </a:lnTo>
                    <a:lnTo>
                      <a:pt x="6712427" y="2685212"/>
                    </a:lnTo>
                    <a:lnTo>
                      <a:pt x="6753603" y="2710454"/>
                    </a:lnTo>
                    <a:lnTo>
                      <a:pt x="6753603" y="2723075"/>
                    </a:lnTo>
                    <a:lnTo>
                      <a:pt x="6809826" y="2748318"/>
                    </a:lnTo>
                    <a:lnTo>
                      <a:pt x="6782111" y="2760940"/>
                    </a:lnTo>
                    <a:lnTo>
                      <a:pt x="6796365" y="2760940"/>
                    </a:lnTo>
                    <a:lnTo>
                      <a:pt x="6809826" y="2772773"/>
                    </a:lnTo>
                    <a:lnTo>
                      <a:pt x="6823288" y="2798804"/>
                    </a:lnTo>
                    <a:lnTo>
                      <a:pt x="6836750" y="2798804"/>
                    </a:lnTo>
                    <a:lnTo>
                      <a:pt x="6836750" y="2810636"/>
                    </a:lnTo>
                    <a:lnTo>
                      <a:pt x="6864464" y="2824047"/>
                    </a:lnTo>
                    <a:lnTo>
                      <a:pt x="6864464" y="2836668"/>
                    </a:lnTo>
                    <a:lnTo>
                      <a:pt x="6796365" y="2824047"/>
                    </a:lnTo>
                    <a:lnTo>
                      <a:pt x="6768649" y="2772773"/>
                    </a:lnTo>
                    <a:lnTo>
                      <a:pt x="6740142" y="2772773"/>
                    </a:lnTo>
                    <a:lnTo>
                      <a:pt x="6725889" y="2772773"/>
                    </a:lnTo>
                    <a:lnTo>
                      <a:pt x="6698965" y="2786183"/>
                    </a:lnTo>
                    <a:lnTo>
                      <a:pt x="6712427" y="2798804"/>
                    </a:lnTo>
                    <a:lnTo>
                      <a:pt x="6684712" y="2798804"/>
                    </a:lnTo>
                    <a:lnTo>
                      <a:pt x="6657789" y="2798804"/>
                    </a:lnTo>
                    <a:lnTo>
                      <a:pt x="6657789" y="2798805"/>
                    </a:lnTo>
                    <a:lnTo>
                      <a:pt x="6630280" y="2772889"/>
                    </a:lnTo>
                    <a:lnTo>
                      <a:pt x="6590195" y="2786240"/>
                    </a:lnTo>
                    <a:lnTo>
                      <a:pt x="6603557" y="2761109"/>
                    </a:lnTo>
                    <a:lnTo>
                      <a:pt x="6590195" y="2735193"/>
                    </a:lnTo>
                    <a:lnTo>
                      <a:pt x="6495093" y="2685717"/>
                    </a:lnTo>
                    <a:lnTo>
                      <a:pt x="6482518" y="2697497"/>
                    </a:lnTo>
                    <a:lnTo>
                      <a:pt x="6482518" y="2685717"/>
                    </a:lnTo>
                    <a:lnTo>
                      <a:pt x="6469156" y="2673151"/>
                    </a:lnTo>
                    <a:lnTo>
                      <a:pt x="6495093" y="2673151"/>
                    </a:lnTo>
                    <a:lnTo>
                      <a:pt x="6508455" y="2659801"/>
                    </a:lnTo>
                    <a:lnTo>
                      <a:pt x="6535178" y="2685717"/>
                    </a:lnTo>
                    <a:lnTo>
                      <a:pt x="6562687" y="2659801"/>
                    </a:lnTo>
                    <a:close/>
                    <a:moveTo>
                      <a:pt x="5907219" y="2647348"/>
                    </a:moveTo>
                    <a:lnTo>
                      <a:pt x="5921012" y="2672591"/>
                    </a:lnTo>
                    <a:lnTo>
                      <a:pt x="5921012" y="2685212"/>
                    </a:lnTo>
                    <a:lnTo>
                      <a:pt x="5907219" y="2672591"/>
                    </a:lnTo>
                    <a:lnTo>
                      <a:pt x="5892613" y="2659180"/>
                    </a:lnTo>
                    <a:close/>
                    <a:moveTo>
                      <a:pt x="6262895" y="2636305"/>
                    </a:moveTo>
                    <a:lnTo>
                      <a:pt x="6276227" y="2636305"/>
                    </a:lnTo>
                    <a:lnTo>
                      <a:pt x="6258364" y="2640212"/>
                    </a:lnTo>
                    <a:close/>
                    <a:moveTo>
                      <a:pt x="6208779" y="2636305"/>
                    </a:moveTo>
                    <a:lnTo>
                      <a:pt x="6222112" y="2648138"/>
                    </a:lnTo>
                    <a:lnTo>
                      <a:pt x="6258364" y="2640212"/>
                    </a:lnTo>
                    <a:lnTo>
                      <a:pt x="6235445" y="2659970"/>
                    </a:lnTo>
                    <a:lnTo>
                      <a:pt x="6262895" y="2686002"/>
                    </a:lnTo>
                    <a:lnTo>
                      <a:pt x="6249562" y="2686002"/>
                    </a:lnTo>
                    <a:lnTo>
                      <a:pt x="6276227" y="2711245"/>
                    </a:lnTo>
                    <a:lnTo>
                      <a:pt x="6276227" y="2723866"/>
                    </a:lnTo>
                    <a:lnTo>
                      <a:pt x="6262895" y="2735698"/>
                    </a:lnTo>
                    <a:lnTo>
                      <a:pt x="6262895" y="2711245"/>
                    </a:lnTo>
                    <a:lnTo>
                      <a:pt x="6235445" y="2711245"/>
                    </a:lnTo>
                    <a:lnTo>
                      <a:pt x="6235445" y="2697834"/>
                    </a:lnTo>
                    <a:lnTo>
                      <a:pt x="6222112" y="2686002"/>
                    </a:lnTo>
                    <a:lnTo>
                      <a:pt x="6235445" y="2673381"/>
                    </a:lnTo>
                    <a:lnTo>
                      <a:pt x="6222112" y="2673381"/>
                    </a:lnTo>
                    <a:lnTo>
                      <a:pt x="6208779" y="2686002"/>
                    </a:lnTo>
                    <a:lnTo>
                      <a:pt x="6208779" y="2723866"/>
                    </a:lnTo>
                    <a:lnTo>
                      <a:pt x="6194662" y="2735698"/>
                    </a:lnTo>
                    <a:lnTo>
                      <a:pt x="6194662" y="2697834"/>
                    </a:lnTo>
                    <a:lnTo>
                      <a:pt x="6194662" y="2686002"/>
                    </a:lnTo>
                    <a:lnTo>
                      <a:pt x="6181329" y="2686002"/>
                    </a:lnTo>
                    <a:lnTo>
                      <a:pt x="6181329" y="2673381"/>
                    </a:lnTo>
                    <a:close/>
                    <a:moveTo>
                      <a:pt x="1642369" y="2635874"/>
                    </a:moveTo>
                    <a:lnTo>
                      <a:pt x="1654990" y="2635874"/>
                    </a:lnTo>
                    <a:lnTo>
                      <a:pt x="1654990" y="2647348"/>
                    </a:lnTo>
                    <a:close/>
                    <a:moveTo>
                      <a:pt x="6534729" y="2634726"/>
                    </a:moveTo>
                    <a:lnTo>
                      <a:pt x="6548928" y="2634726"/>
                    </a:lnTo>
                    <a:lnTo>
                      <a:pt x="6548928" y="2647347"/>
                    </a:lnTo>
                    <a:close/>
                    <a:moveTo>
                      <a:pt x="5742733" y="2634726"/>
                    </a:moveTo>
                    <a:lnTo>
                      <a:pt x="5755354" y="2634726"/>
                    </a:lnTo>
                    <a:lnTo>
                      <a:pt x="5755354" y="2647348"/>
                    </a:lnTo>
                    <a:lnTo>
                      <a:pt x="5755354" y="2659969"/>
                    </a:lnTo>
                    <a:close/>
                    <a:moveTo>
                      <a:pt x="6469156" y="2622105"/>
                    </a:moveTo>
                    <a:lnTo>
                      <a:pt x="6482518" y="2622105"/>
                    </a:lnTo>
                    <a:lnTo>
                      <a:pt x="6508455" y="2636242"/>
                    </a:lnTo>
                    <a:lnTo>
                      <a:pt x="6508455" y="2659801"/>
                    </a:lnTo>
                    <a:lnTo>
                      <a:pt x="6469156" y="2659801"/>
                    </a:lnTo>
                    <a:lnTo>
                      <a:pt x="6455794" y="2648021"/>
                    </a:lnTo>
                    <a:lnTo>
                      <a:pt x="6441646" y="2648021"/>
                    </a:lnTo>
                    <a:close/>
                    <a:moveTo>
                      <a:pt x="1985160" y="2615870"/>
                    </a:moveTo>
                    <a:lnTo>
                      <a:pt x="1995765" y="2625409"/>
                    </a:lnTo>
                    <a:lnTo>
                      <a:pt x="1982528" y="2625409"/>
                    </a:lnTo>
                    <a:lnTo>
                      <a:pt x="1983850" y="2626838"/>
                    </a:lnTo>
                    <a:lnTo>
                      <a:pt x="1996555" y="2626838"/>
                    </a:lnTo>
                    <a:lnTo>
                      <a:pt x="2024165" y="2652813"/>
                    </a:lnTo>
                    <a:lnTo>
                      <a:pt x="2037575" y="2678002"/>
                    </a:lnTo>
                    <a:lnTo>
                      <a:pt x="2037924" y="2677916"/>
                    </a:lnTo>
                    <a:lnTo>
                      <a:pt x="2024602" y="2652632"/>
                    </a:lnTo>
                    <a:lnTo>
                      <a:pt x="1997079" y="2626474"/>
                    </a:lnTo>
                    <a:close/>
                    <a:moveTo>
                      <a:pt x="2105594" y="2614585"/>
                    </a:moveTo>
                    <a:lnTo>
                      <a:pt x="2118670" y="2651802"/>
                    </a:lnTo>
                    <a:lnTo>
                      <a:pt x="2118739" y="2651539"/>
                    </a:lnTo>
                    <a:lnTo>
                      <a:pt x="2105689" y="2614585"/>
                    </a:lnTo>
                    <a:close/>
                    <a:moveTo>
                      <a:pt x="6208779" y="2610273"/>
                    </a:moveTo>
                    <a:lnTo>
                      <a:pt x="6222112" y="2610273"/>
                    </a:lnTo>
                    <a:lnTo>
                      <a:pt x="6208779" y="2622106"/>
                    </a:lnTo>
                    <a:close/>
                    <a:moveTo>
                      <a:pt x="2105594" y="2601967"/>
                    </a:moveTo>
                    <a:lnTo>
                      <a:pt x="2105594" y="2602695"/>
                    </a:lnTo>
                    <a:lnTo>
                      <a:pt x="2117855" y="2613600"/>
                    </a:lnTo>
                    <a:lnTo>
                      <a:pt x="2118739" y="2613600"/>
                    </a:lnTo>
                    <a:close/>
                    <a:moveTo>
                      <a:pt x="6222112" y="2598441"/>
                    </a:moveTo>
                    <a:lnTo>
                      <a:pt x="6262895" y="2610273"/>
                    </a:lnTo>
                    <a:lnTo>
                      <a:pt x="6222112" y="2610273"/>
                    </a:lnTo>
                    <a:close/>
                    <a:moveTo>
                      <a:pt x="6317010" y="2584242"/>
                    </a:moveTo>
                    <a:lnTo>
                      <a:pt x="6303678" y="2610273"/>
                    </a:lnTo>
                    <a:lnTo>
                      <a:pt x="6262895" y="2610273"/>
                    </a:lnTo>
                    <a:lnTo>
                      <a:pt x="6289560" y="2598441"/>
                    </a:lnTo>
                    <a:close/>
                    <a:moveTo>
                      <a:pt x="5714336" y="2584242"/>
                    </a:moveTo>
                    <a:lnTo>
                      <a:pt x="5730113" y="2609485"/>
                    </a:lnTo>
                    <a:lnTo>
                      <a:pt x="5714336" y="2598011"/>
                    </a:lnTo>
                    <a:close/>
                    <a:moveTo>
                      <a:pt x="6371440" y="2571619"/>
                    </a:moveTo>
                    <a:lnTo>
                      <a:pt x="6384849" y="2597330"/>
                    </a:lnTo>
                    <a:lnTo>
                      <a:pt x="6384849" y="2609017"/>
                    </a:lnTo>
                    <a:lnTo>
                      <a:pt x="6371440" y="2609017"/>
                    </a:lnTo>
                    <a:lnTo>
                      <a:pt x="6371440" y="2620703"/>
                    </a:lnTo>
                    <a:lnTo>
                      <a:pt x="6358029" y="2597330"/>
                    </a:lnTo>
                    <a:close/>
                    <a:moveTo>
                      <a:pt x="3800610" y="2546376"/>
                    </a:moveTo>
                    <a:lnTo>
                      <a:pt x="3813231" y="2546376"/>
                    </a:lnTo>
                    <a:lnTo>
                      <a:pt x="3800610" y="2558997"/>
                    </a:lnTo>
                    <a:close/>
                    <a:moveTo>
                      <a:pt x="2213975" y="2538487"/>
                    </a:moveTo>
                    <a:lnTo>
                      <a:pt x="2228212" y="2550320"/>
                    </a:lnTo>
                    <a:lnTo>
                      <a:pt x="2228212" y="2576352"/>
                    </a:lnTo>
                    <a:lnTo>
                      <a:pt x="2235961" y="2582455"/>
                    </a:lnTo>
                    <a:lnTo>
                      <a:pt x="2228286" y="2575662"/>
                    </a:lnTo>
                    <a:lnTo>
                      <a:pt x="2228286" y="2549579"/>
                    </a:lnTo>
                    <a:lnTo>
                      <a:pt x="2215532" y="2538919"/>
                    </a:lnTo>
                    <a:close/>
                    <a:moveTo>
                      <a:pt x="2323648" y="2526295"/>
                    </a:moveTo>
                    <a:lnTo>
                      <a:pt x="2323648" y="2537723"/>
                    </a:lnTo>
                    <a:lnTo>
                      <a:pt x="2323648" y="2575662"/>
                    </a:lnTo>
                    <a:lnTo>
                      <a:pt x="2337046" y="2601745"/>
                    </a:lnTo>
                    <a:lnTo>
                      <a:pt x="2350443" y="2601745"/>
                    </a:lnTo>
                    <a:lnTo>
                      <a:pt x="2350874" y="2601595"/>
                    </a:lnTo>
                    <a:lnTo>
                      <a:pt x="2337786" y="2601595"/>
                    </a:lnTo>
                    <a:lnTo>
                      <a:pt x="2324487" y="2575711"/>
                    </a:lnTo>
                    <a:lnTo>
                      <a:pt x="2324487" y="2538060"/>
                    </a:lnTo>
                    <a:lnTo>
                      <a:pt x="2324487" y="2526295"/>
                    </a:lnTo>
                    <a:close/>
                    <a:moveTo>
                      <a:pt x="5673316" y="2508512"/>
                    </a:moveTo>
                    <a:lnTo>
                      <a:pt x="5715913" y="2522712"/>
                    </a:lnTo>
                    <a:lnTo>
                      <a:pt x="5783754" y="2572408"/>
                    </a:lnTo>
                    <a:lnTo>
                      <a:pt x="5797953" y="2572408"/>
                    </a:lnTo>
                    <a:lnTo>
                      <a:pt x="5838184" y="2598440"/>
                    </a:lnTo>
                    <a:lnTo>
                      <a:pt x="5838184" y="2610272"/>
                    </a:lnTo>
                    <a:lnTo>
                      <a:pt x="5852383" y="2622105"/>
                    </a:lnTo>
                    <a:lnTo>
                      <a:pt x="5852383" y="2636304"/>
                    </a:lnTo>
                    <a:lnTo>
                      <a:pt x="5865794" y="2636304"/>
                    </a:lnTo>
                    <a:lnTo>
                      <a:pt x="5879204" y="2659969"/>
                    </a:lnTo>
                    <a:lnTo>
                      <a:pt x="5892614" y="2659969"/>
                    </a:lnTo>
                    <a:lnTo>
                      <a:pt x="5906813" y="2686001"/>
                    </a:lnTo>
                    <a:lnTo>
                      <a:pt x="5892614" y="2735697"/>
                    </a:lnTo>
                    <a:lnTo>
                      <a:pt x="5865794" y="2735697"/>
                    </a:lnTo>
                    <a:lnTo>
                      <a:pt x="5811363" y="2686001"/>
                    </a:lnTo>
                    <a:lnTo>
                      <a:pt x="5783754" y="2636304"/>
                    </a:lnTo>
                    <a:lnTo>
                      <a:pt x="5756933" y="2610272"/>
                    </a:lnTo>
                    <a:lnTo>
                      <a:pt x="5742734" y="2584241"/>
                    </a:lnTo>
                    <a:lnTo>
                      <a:pt x="5729324" y="2572408"/>
                    </a:lnTo>
                    <a:lnTo>
                      <a:pt x="5700925" y="2546376"/>
                    </a:lnTo>
                    <a:lnTo>
                      <a:pt x="5673316" y="2522712"/>
                    </a:lnTo>
                    <a:close/>
                    <a:moveTo>
                      <a:pt x="3828524" y="2484059"/>
                    </a:moveTo>
                    <a:lnTo>
                      <a:pt x="3801002" y="2521923"/>
                    </a:lnTo>
                    <a:lnTo>
                      <a:pt x="3801002" y="2522168"/>
                    </a:lnTo>
                    <a:lnTo>
                      <a:pt x="3827960" y="2484847"/>
                    </a:lnTo>
                    <a:lnTo>
                      <a:pt x="3841243" y="2484847"/>
                    </a:lnTo>
                    <a:lnTo>
                      <a:pt x="3846600" y="2489619"/>
                    </a:lnTo>
                    <a:lnTo>
                      <a:pt x="3846867" y="2488462"/>
                    </a:lnTo>
                    <a:lnTo>
                      <a:pt x="3841893" y="2484059"/>
                    </a:lnTo>
                    <a:close/>
                    <a:moveTo>
                      <a:pt x="6139520" y="2483269"/>
                    </a:moveTo>
                    <a:lnTo>
                      <a:pt x="6153720" y="2495101"/>
                    </a:lnTo>
                    <a:lnTo>
                      <a:pt x="6153720" y="2506935"/>
                    </a:lnTo>
                    <a:lnTo>
                      <a:pt x="6193950" y="2521133"/>
                    </a:lnTo>
                    <a:lnTo>
                      <a:pt x="6167129" y="2521133"/>
                    </a:lnTo>
                    <a:lnTo>
                      <a:pt x="6180540" y="2532967"/>
                    </a:lnTo>
                    <a:lnTo>
                      <a:pt x="6167129" y="2532967"/>
                    </a:lnTo>
                    <a:lnTo>
                      <a:pt x="6126110" y="2532967"/>
                    </a:lnTo>
                    <a:lnTo>
                      <a:pt x="6125459" y="2533755"/>
                    </a:lnTo>
                    <a:lnTo>
                      <a:pt x="6167822" y="2533755"/>
                    </a:lnTo>
                    <a:lnTo>
                      <a:pt x="6154316" y="2559913"/>
                    </a:lnTo>
                    <a:lnTo>
                      <a:pt x="6167822" y="2571802"/>
                    </a:lnTo>
                    <a:lnTo>
                      <a:pt x="6154316" y="2583692"/>
                    </a:lnTo>
                    <a:lnTo>
                      <a:pt x="6181329" y="2597960"/>
                    </a:lnTo>
                    <a:lnTo>
                      <a:pt x="6167822" y="2609849"/>
                    </a:lnTo>
                    <a:lnTo>
                      <a:pt x="6138425" y="2636007"/>
                    </a:lnTo>
                    <a:lnTo>
                      <a:pt x="6124919" y="2659786"/>
                    </a:lnTo>
                    <a:lnTo>
                      <a:pt x="6138425" y="2659786"/>
                    </a:lnTo>
                    <a:lnTo>
                      <a:pt x="6124919" y="2685943"/>
                    </a:lnTo>
                    <a:lnTo>
                      <a:pt x="6097905" y="2697833"/>
                    </a:lnTo>
                    <a:lnTo>
                      <a:pt x="6083603" y="2685943"/>
                    </a:lnTo>
                    <a:lnTo>
                      <a:pt x="6056589" y="2685943"/>
                    </a:lnTo>
                    <a:lnTo>
                      <a:pt x="6028781" y="2685943"/>
                    </a:lnTo>
                    <a:lnTo>
                      <a:pt x="6028781" y="2673262"/>
                    </a:lnTo>
                    <a:lnTo>
                      <a:pt x="6001768" y="2673262"/>
                    </a:lnTo>
                    <a:lnTo>
                      <a:pt x="5987467" y="2647896"/>
                    </a:lnTo>
                    <a:lnTo>
                      <a:pt x="5973960" y="2621739"/>
                    </a:lnTo>
                    <a:lnTo>
                      <a:pt x="5960453" y="2597960"/>
                    </a:lnTo>
                    <a:lnTo>
                      <a:pt x="5973960" y="2583692"/>
                    </a:lnTo>
                    <a:lnTo>
                      <a:pt x="6001768" y="2597960"/>
                    </a:lnTo>
                    <a:lnTo>
                      <a:pt x="6028781" y="2597960"/>
                    </a:lnTo>
                    <a:lnTo>
                      <a:pt x="6043083" y="2583692"/>
                    </a:lnTo>
                    <a:lnTo>
                      <a:pt x="6070097" y="2597960"/>
                    </a:lnTo>
                    <a:lnTo>
                      <a:pt x="6071314" y="2596674"/>
                    </a:lnTo>
                    <a:lnTo>
                      <a:pt x="6044070" y="2582663"/>
                    </a:lnTo>
                    <a:lnTo>
                      <a:pt x="6029082" y="2596863"/>
                    </a:lnTo>
                    <a:lnTo>
                      <a:pt x="6002262" y="2596863"/>
                    </a:lnTo>
                    <a:lnTo>
                      <a:pt x="5974652" y="2582663"/>
                    </a:lnTo>
                    <a:lnTo>
                      <a:pt x="6015672" y="2582663"/>
                    </a:lnTo>
                    <a:lnTo>
                      <a:pt x="6015672" y="2558998"/>
                    </a:lnTo>
                    <a:lnTo>
                      <a:pt x="6044070" y="2558998"/>
                    </a:lnTo>
                    <a:lnTo>
                      <a:pt x="6071680" y="2532967"/>
                    </a:lnTo>
                    <a:lnTo>
                      <a:pt x="6072618" y="2532967"/>
                    </a:lnTo>
                    <a:lnTo>
                      <a:pt x="6098501" y="2521134"/>
                    </a:lnTo>
                    <a:lnTo>
                      <a:pt x="6111911" y="2521134"/>
                    </a:lnTo>
                    <a:lnTo>
                      <a:pt x="6100089" y="2532261"/>
                    </a:lnTo>
                    <a:lnTo>
                      <a:pt x="6112700" y="2521133"/>
                    </a:lnTo>
                    <a:lnTo>
                      <a:pt x="6099290" y="2521133"/>
                    </a:lnTo>
                    <a:lnTo>
                      <a:pt x="6112700" y="2506935"/>
                    </a:lnTo>
                    <a:close/>
                    <a:moveTo>
                      <a:pt x="1956194" y="2456314"/>
                    </a:moveTo>
                    <a:lnTo>
                      <a:pt x="1952683" y="2459274"/>
                    </a:lnTo>
                    <a:lnTo>
                      <a:pt x="1956194" y="2462395"/>
                    </a:lnTo>
                    <a:lnTo>
                      <a:pt x="1951737" y="2466358"/>
                    </a:lnTo>
                    <a:lnTo>
                      <a:pt x="1949339" y="2462093"/>
                    </a:lnTo>
                    <a:lnTo>
                      <a:pt x="1944297" y="2466346"/>
                    </a:lnTo>
                    <a:lnTo>
                      <a:pt x="1944297" y="2472976"/>
                    </a:lnTo>
                    <a:lnTo>
                      <a:pt x="1951737" y="2466358"/>
                    </a:lnTo>
                    <a:lnTo>
                      <a:pt x="1956194" y="2474285"/>
                    </a:lnTo>
                    <a:lnTo>
                      <a:pt x="1956194" y="2462395"/>
                    </a:lnTo>
                    <a:close/>
                    <a:moveTo>
                      <a:pt x="4567784" y="2446443"/>
                    </a:moveTo>
                    <a:lnTo>
                      <a:pt x="4568356" y="2446983"/>
                    </a:lnTo>
                    <a:lnTo>
                      <a:pt x="4636025" y="2458815"/>
                    </a:lnTo>
                    <a:lnTo>
                      <a:pt x="4648168" y="2458815"/>
                    </a:lnTo>
                    <a:lnTo>
                      <a:pt x="4648858" y="2458026"/>
                    </a:lnTo>
                    <a:lnTo>
                      <a:pt x="4635496" y="2458026"/>
                    </a:lnTo>
                    <a:close/>
                    <a:moveTo>
                      <a:pt x="5346135" y="2420161"/>
                    </a:moveTo>
                    <a:lnTo>
                      <a:pt x="5362134" y="2431994"/>
                    </a:lnTo>
                    <a:lnTo>
                      <a:pt x="5389331" y="2469859"/>
                    </a:lnTo>
                    <a:lnTo>
                      <a:pt x="5375733" y="2495891"/>
                    </a:lnTo>
                    <a:lnTo>
                      <a:pt x="5346135" y="2495891"/>
                    </a:lnTo>
                    <a:lnTo>
                      <a:pt x="5332536" y="2458027"/>
                    </a:lnTo>
                    <a:close/>
                    <a:moveTo>
                      <a:pt x="4527439" y="2407541"/>
                    </a:moveTo>
                    <a:lnTo>
                      <a:pt x="4527439" y="2409119"/>
                    </a:lnTo>
                    <a:lnTo>
                      <a:pt x="4538816" y="2409119"/>
                    </a:lnTo>
                    <a:lnTo>
                      <a:pt x="4538816" y="2408329"/>
                    </a:lnTo>
                    <a:lnTo>
                      <a:pt x="4539557" y="2407541"/>
                    </a:lnTo>
                    <a:close/>
                    <a:moveTo>
                      <a:pt x="2284482" y="2407540"/>
                    </a:moveTo>
                    <a:lnTo>
                      <a:pt x="2297105" y="2407540"/>
                    </a:lnTo>
                    <a:lnTo>
                      <a:pt x="2297105" y="2420161"/>
                    </a:lnTo>
                    <a:lnTo>
                      <a:pt x="2284482" y="2420161"/>
                    </a:lnTo>
                    <a:close/>
                    <a:moveTo>
                      <a:pt x="6193951" y="2394918"/>
                    </a:moveTo>
                    <a:lnTo>
                      <a:pt x="6193951" y="2408942"/>
                    </a:lnTo>
                    <a:lnTo>
                      <a:pt x="6140309" y="2458026"/>
                    </a:lnTo>
                    <a:close/>
                    <a:moveTo>
                      <a:pt x="5770934" y="2382759"/>
                    </a:moveTo>
                    <a:lnTo>
                      <a:pt x="5757588" y="2420723"/>
                    </a:lnTo>
                    <a:lnTo>
                      <a:pt x="5757588" y="2432586"/>
                    </a:lnTo>
                    <a:lnTo>
                      <a:pt x="5770934" y="2432586"/>
                    </a:lnTo>
                    <a:lnTo>
                      <a:pt x="5783929" y="2483414"/>
                    </a:lnTo>
                    <a:lnTo>
                      <a:pt x="5785574" y="2484786"/>
                    </a:lnTo>
                    <a:lnTo>
                      <a:pt x="5811755" y="2484786"/>
                    </a:lnTo>
                    <a:lnTo>
                      <a:pt x="5824065" y="2495727"/>
                    </a:lnTo>
                    <a:lnTo>
                      <a:pt x="5824774" y="2495101"/>
                    </a:lnTo>
                    <a:lnTo>
                      <a:pt x="5852383" y="2521133"/>
                    </a:lnTo>
                    <a:lnTo>
                      <a:pt x="5852383" y="2558998"/>
                    </a:lnTo>
                    <a:lnTo>
                      <a:pt x="5865793" y="2596863"/>
                    </a:lnTo>
                    <a:lnTo>
                      <a:pt x="5852383" y="2596863"/>
                    </a:lnTo>
                    <a:lnTo>
                      <a:pt x="5811363" y="2558998"/>
                    </a:lnTo>
                    <a:lnTo>
                      <a:pt x="5783754" y="2532967"/>
                    </a:lnTo>
                    <a:lnTo>
                      <a:pt x="5783754" y="2496160"/>
                    </a:lnTo>
                    <a:lnTo>
                      <a:pt x="5743458" y="2458686"/>
                    </a:lnTo>
                    <a:lnTo>
                      <a:pt x="5743458" y="2446822"/>
                    </a:lnTo>
                    <a:lnTo>
                      <a:pt x="5743458" y="2432586"/>
                    </a:lnTo>
                    <a:close/>
                    <a:moveTo>
                      <a:pt x="6317010" y="2381698"/>
                    </a:moveTo>
                    <a:lnTo>
                      <a:pt x="6331209" y="2393718"/>
                    </a:lnTo>
                    <a:lnTo>
                      <a:pt x="6317010" y="2393718"/>
                    </a:lnTo>
                    <a:lnTo>
                      <a:pt x="6317010" y="2420164"/>
                    </a:lnTo>
                    <a:lnTo>
                      <a:pt x="6316447" y="2420164"/>
                    </a:lnTo>
                    <a:lnTo>
                      <a:pt x="6343829" y="2446428"/>
                    </a:lnTo>
                    <a:lnTo>
                      <a:pt x="6343829" y="2470307"/>
                    </a:lnTo>
                    <a:lnTo>
                      <a:pt x="6343829" y="2496573"/>
                    </a:lnTo>
                    <a:lnTo>
                      <a:pt x="6329746" y="2470307"/>
                    </a:lnTo>
                    <a:lnTo>
                      <a:pt x="6316444" y="2484634"/>
                    </a:lnTo>
                    <a:lnTo>
                      <a:pt x="6329746" y="2496573"/>
                    </a:lnTo>
                    <a:lnTo>
                      <a:pt x="6316444" y="2508512"/>
                    </a:lnTo>
                    <a:lnTo>
                      <a:pt x="6289060" y="2496573"/>
                    </a:lnTo>
                    <a:lnTo>
                      <a:pt x="6303143" y="2470307"/>
                    </a:lnTo>
                    <a:lnTo>
                      <a:pt x="6289060" y="2470307"/>
                    </a:lnTo>
                    <a:lnTo>
                      <a:pt x="6275758" y="2470307"/>
                    </a:lnTo>
                    <a:lnTo>
                      <a:pt x="6262457" y="2470307"/>
                    </a:lnTo>
                    <a:lnTo>
                      <a:pt x="6247591" y="2484634"/>
                    </a:lnTo>
                    <a:lnTo>
                      <a:pt x="6247591" y="2470307"/>
                    </a:lnTo>
                    <a:lnTo>
                      <a:pt x="6275758" y="2446428"/>
                    </a:lnTo>
                    <a:lnTo>
                      <a:pt x="6289060" y="2458367"/>
                    </a:lnTo>
                    <a:lnTo>
                      <a:pt x="6303143" y="2446428"/>
                    </a:lnTo>
                    <a:lnTo>
                      <a:pt x="6316444" y="2446428"/>
                    </a:lnTo>
                    <a:lnTo>
                      <a:pt x="6316444" y="2420164"/>
                    </a:lnTo>
                    <a:lnTo>
                      <a:pt x="6302810" y="2420164"/>
                    </a:lnTo>
                    <a:lnTo>
                      <a:pt x="6302810" y="2431381"/>
                    </a:lnTo>
                    <a:lnTo>
                      <a:pt x="6275590" y="2419695"/>
                    </a:lnTo>
                    <a:lnTo>
                      <a:pt x="6275590" y="2431381"/>
                    </a:lnTo>
                    <a:lnTo>
                      <a:pt x="6275590" y="2445405"/>
                    </a:lnTo>
                    <a:lnTo>
                      <a:pt x="6262369" y="2419695"/>
                    </a:lnTo>
                    <a:lnTo>
                      <a:pt x="6262369" y="2408008"/>
                    </a:lnTo>
                    <a:lnTo>
                      <a:pt x="6247591" y="2408008"/>
                    </a:lnTo>
                    <a:lnTo>
                      <a:pt x="6247591" y="2382297"/>
                    </a:lnTo>
                    <a:lnTo>
                      <a:pt x="6262369" y="2382297"/>
                    </a:lnTo>
                    <a:lnTo>
                      <a:pt x="6275590" y="2393984"/>
                    </a:lnTo>
                    <a:lnTo>
                      <a:pt x="6275590" y="2408008"/>
                    </a:lnTo>
                    <a:lnTo>
                      <a:pt x="6288812" y="2393984"/>
                    </a:lnTo>
                    <a:lnTo>
                      <a:pt x="6288812" y="2419695"/>
                    </a:lnTo>
                    <a:lnTo>
                      <a:pt x="6302810" y="2419695"/>
                    </a:lnTo>
                    <a:lnTo>
                      <a:pt x="6302810" y="2408143"/>
                    </a:lnTo>
                    <a:lnTo>
                      <a:pt x="6302810" y="2393718"/>
                    </a:lnTo>
                    <a:close/>
                    <a:moveTo>
                      <a:pt x="2064704" y="2374410"/>
                    </a:moveTo>
                    <a:lnTo>
                      <a:pt x="2078857" y="2386300"/>
                    </a:lnTo>
                    <a:lnTo>
                      <a:pt x="2064704" y="2398190"/>
                    </a:lnTo>
                    <a:lnTo>
                      <a:pt x="2063882" y="2399065"/>
                    </a:lnTo>
                    <a:lnTo>
                      <a:pt x="2077920" y="2413062"/>
                    </a:lnTo>
                    <a:lnTo>
                      <a:pt x="2063681" y="2424895"/>
                    </a:lnTo>
                    <a:lnTo>
                      <a:pt x="2063681" y="2450926"/>
                    </a:lnTo>
                    <a:lnTo>
                      <a:pt x="2077920" y="2436727"/>
                    </a:lnTo>
                    <a:lnTo>
                      <a:pt x="2077920" y="2413062"/>
                    </a:lnTo>
                    <a:lnTo>
                      <a:pt x="2104815" y="2398863"/>
                    </a:lnTo>
                    <a:lnTo>
                      <a:pt x="2145948" y="2398863"/>
                    </a:lnTo>
                    <a:lnTo>
                      <a:pt x="2145948" y="2413062"/>
                    </a:lnTo>
                    <a:lnTo>
                      <a:pt x="2187080" y="2413062"/>
                    </a:lnTo>
                    <a:lnTo>
                      <a:pt x="2213975" y="2424895"/>
                    </a:lnTo>
                    <a:lnTo>
                      <a:pt x="2243239" y="2413062"/>
                    </a:lnTo>
                    <a:lnTo>
                      <a:pt x="2256687" y="2413062"/>
                    </a:lnTo>
                    <a:lnTo>
                      <a:pt x="2270133" y="2424895"/>
                    </a:lnTo>
                    <a:lnTo>
                      <a:pt x="2297820" y="2436727"/>
                    </a:lnTo>
                    <a:lnTo>
                      <a:pt x="2297820" y="2462759"/>
                    </a:lnTo>
                    <a:lnTo>
                      <a:pt x="2311267" y="2450926"/>
                    </a:lnTo>
                    <a:lnTo>
                      <a:pt x="2325506" y="2462759"/>
                    </a:lnTo>
                    <a:lnTo>
                      <a:pt x="2325150" y="2463053"/>
                    </a:lnTo>
                    <a:lnTo>
                      <a:pt x="2351087" y="2474525"/>
                    </a:lnTo>
                    <a:lnTo>
                      <a:pt x="2351087" y="2488644"/>
                    </a:lnTo>
                    <a:lnTo>
                      <a:pt x="2364387" y="2488644"/>
                    </a:lnTo>
                    <a:lnTo>
                      <a:pt x="2390974" y="2511492"/>
                    </a:lnTo>
                    <a:lnTo>
                      <a:pt x="2394133" y="2508512"/>
                    </a:lnTo>
                    <a:lnTo>
                      <a:pt x="2448563" y="2508512"/>
                    </a:lnTo>
                    <a:lnTo>
                      <a:pt x="2502204" y="2546377"/>
                    </a:lnTo>
                    <a:lnTo>
                      <a:pt x="2475773" y="2572409"/>
                    </a:lnTo>
                    <a:lnTo>
                      <a:pt x="2461780" y="2584242"/>
                    </a:lnTo>
                    <a:lnTo>
                      <a:pt x="2448563" y="2572409"/>
                    </a:lnTo>
                    <a:lnTo>
                      <a:pt x="2420955" y="2572409"/>
                    </a:lnTo>
                    <a:lnTo>
                      <a:pt x="2407544" y="2584242"/>
                    </a:lnTo>
                    <a:lnTo>
                      <a:pt x="2394133" y="2584242"/>
                    </a:lnTo>
                    <a:lnTo>
                      <a:pt x="2367069" y="2535524"/>
                    </a:lnTo>
                    <a:lnTo>
                      <a:pt x="2364387" y="2538060"/>
                    </a:lnTo>
                    <a:lnTo>
                      <a:pt x="2391768" y="2587476"/>
                    </a:lnTo>
                    <a:lnTo>
                      <a:pt x="2391649" y="2587517"/>
                    </a:lnTo>
                    <a:lnTo>
                      <a:pt x="2404823" y="2587517"/>
                    </a:lnTo>
                    <a:lnTo>
                      <a:pt x="2419011" y="2575662"/>
                    </a:lnTo>
                    <a:lnTo>
                      <a:pt x="2445805" y="2575662"/>
                    </a:lnTo>
                    <a:lnTo>
                      <a:pt x="2459203" y="2587517"/>
                    </a:lnTo>
                    <a:lnTo>
                      <a:pt x="2473388" y="2575662"/>
                    </a:lnTo>
                    <a:lnTo>
                      <a:pt x="2501760" y="2549579"/>
                    </a:lnTo>
                    <a:lnTo>
                      <a:pt x="2515158" y="2549579"/>
                    </a:lnTo>
                    <a:lnTo>
                      <a:pt x="2529342" y="2587517"/>
                    </a:lnTo>
                    <a:lnTo>
                      <a:pt x="2542740" y="2587517"/>
                    </a:lnTo>
                    <a:lnTo>
                      <a:pt x="2542740" y="2601745"/>
                    </a:lnTo>
                    <a:lnTo>
                      <a:pt x="2515158" y="2625456"/>
                    </a:lnTo>
                    <a:lnTo>
                      <a:pt x="2501760" y="2651539"/>
                    </a:lnTo>
                    <a:lnTo>
                      <a:pt x="2515158" y="2639683"/>
                    </a:lnTo>
                    <a:lnTo>
                      <a:pt x="2529342" y="2651539"/>
                    </a:lnTo>
                    <a:lnTo>
                      <a:pt x="2529342" y="2625456"/>
                    </a:lnTo>
                    <a:lnTo>
                      <a:pt x="2556137" y="2625456"/>
                    </a:lnTo>
                    <a:lnTo>
                      <a:pt x="2570324" y="2625456"/>
                    </a:lnTo>
                    <a:lnTo>
                      <a:pt x="2570324" y="2651539"/>
                    </a:lnTo>
                    <a:lnTo>
                      <a:pt x="2583721" y="2639683"/>
                    </a:lnTo>
                    <a:lnTo>
                      <a:pt x="2638100" y="2651539"/>
                    </a:lnTo>
                    <a:lnTo>
                      <a:pt x="2651496" y="2651539"/>
                    </a:lnTo>
                    <a:lnTo>
                      <a:pt x="2651496" y="2663395"/>
                    </a:lnTo>
                    <a:lnTo>
                      <a:pt x="2651496" y="2676831"/>
                    </a:lnTo>
                    <a:lnTo>
                      <a:pt x="2679080" y="2676831"/>
                    </a:lnTo>
                    <a:lnTo>
                      <a:pt x="2720061" y="2689478"/>
                    </a:lnTo>
                    <a:lnTo>
                      <a:pt x="2746856" y="2676831"/>
                    </a:lnTo>
                    <a:lnTo>
                      <a:pt x="2815420" y="2727415"/>
                    </a:lnTo>
                    <a:lnTo>
                      <a:pt x="2855613" y="2727415"/>
                    </a:lnTo>
                    <a:lnTo>
                      <a:pt x="2869798" y="2777210"/>
                    </a:lnTo>
                    <a:lnTo>
                      <a:pt x="2842215" y="2815148"/>
                    </a:lnTo>
                    <a:lnTo>
                      <a:pt x="2774440" y="2891025"/>
                    </a:lnTo>
                    <a:lnTo>
                      <a:pt x="2774440" y="2980339"/>
                    </a:lnTo>
                    <a:lnTo>
                      <a:pt x="2760253" y="2992985"/>
                    </a:lnTo>
                    <a:lnTo>
                      <a:pt x="2760253" y="3018278"/>
                    </a:lnTo>
                    <a:lnTo>
                      <a:pt x="2733458" y="3056215"/>
                    </a:lnTo>
                    <a:lnTo>
                      <a:pt x="2733458" y="3068862"/>
                    </a:lnTo>
                    <a:lnTo>
                      <a:pt x="2705875" y="3080718"/>
                    </a:lnTo>
                    <a:lnTo>
                      <a:pt x="2705875" y="3094154"/>
                    </a:lnTo>
                    <a:lnTo>
                      <a:pt x="2651496" y="3094154"/>
                    </a:lnTo>
                    <a:lnTo>
                      <a:pt x="2610516" y="3118656"/>
                    </a:lnTo>
                    <a:lnTo>
                      <a:pt x="2583721" y="3132093"/>
                    </a:lnTo>
                    <a:lnTo>
                      <a:pt x="2570324" y="3156595"/>
                    </a:lnTo>
                    <a:lnTo>
                      <a:pt x="2570324" y="3207970"/>
                    </a:lnTo>
                    <a:lnTo>
                      <a:pt x="2542740" y="3232471"/>
                    </a:lnTo>
                    <a:lnTo>
                      <a:pt x="2515158" y="3283846"/>
                    </a:lnTo>
                    <a:lnTo>
                      <a:pt x="2486786" y="3308348"/>
                    </a:lnTo>
                    <a:lnTo>
                      <a:pt x="2462643" y="3330487"/>
                    </a:lnTo>
                    <a:lnTo>
                      <a:pt x="2461188" y="3333053"/>
                    </a:lnTo>
                    <a:lnTo>
                      <a:pt x="2447776" y="3358883"/>
                    </a:lnTo>
                    <a:lnTo>
                      <a:pt x="2406757" y="3358883"/>
                    </a:lnTo>
                    <a:lnTo>
                      <a:pt x="2364159" y="3345577"/>
                    </a:lnTo>
                    <a:lnTo>
                      <a:pt x="2352123" y="3345577"/>
                    </a:lnTo>
                    <a:lnTo>
                      <a:pt x="2352123" y="3358884"/>
                    </a:lnTo>
                    <a:lnTo>
                      <a:pt x="2379786" y="3370716"/>
                    </a:lnTo>
                    <a:lnTo>
                      <a:pt x="2379786" y="3383337"/>
                    </a:lnTo>
                    <a:lnTo>
                      <a:pt x="2393221" y="3396748"/>
                    </a:lnTo>
                    <a:lnTo>
                      <a:pt x="2393221" y="3408580"/>
                    </a:lnTo>
                    <a:lnTo>
                      <a:pt x="2379786" y="3446444"/>
                    </a:lnTo>
                    <a:lnTo>
                      <a:pt x="2311028" y="3459067"/>
                    </a:lnTo>
                    <a:lnTo>
                      <a:pt x="2284156" y="3459067"/>
                    </a:lnTo>
                    <a:lnTo>
                      <a:pt x="2269930" y="3459067"/>
                    </a:lnTo>
                    <a:lnTo>
                      <a:pt x="2284156" y="3472476"/>
                    </a:lnTo>
                    <a:lnTo>
                      <a:pt x="2269930" y="3510341"/>
                    </a:lnTo>
                    <a:lnTo>
                      <a:pt x="2243060" y="3522173"/>
                    </a:lnTo>
                    <a:lnTo>
                      <a:pt x="2215400" y="3510341"/>
                    </a:lnTo>
                    <a:lnTo>
                      <a:pt x="2215400" y="3548205"/>
                    </a:lnTo>
                    <a:lnTo>
                      <a:pt x="2229624" y="3548205"/>
                    </a:lnTo>
                    <a:lnTo>
                      <a:pt x="2243060" y="3548205"/>
                    </a:lnTo>
                    <a:lnTo>
                      <a:pt x="2243060" y="3560038"/>
                    </a:lnTo>
                    <a:lnTo>
                      <a:pt x="2229624" y="3560038"/>
                    </a:lnTo>
                    <a:lnTo>
                      <a:pt x="2215400" y="3560038"/>
                    </a:lnTo>
                    <a:lnTo>
                      <a:pt x="2229624" y="3572659"/>
                    </a:lnTo>
                    <a:lnTo>
                      <a:pt x="2215400" y="3586069"/>
                    </a:lnTo>
                    <a:lnTo>
                      <a:pt x="2215400" y="3610523"/>
                    </a:lnTo>
                    <a:lnTo>
                      <a:pt x="2201966" y="3610523"/>
                    </a:lnTo>
                    <a:lnTo>
                      <a:pt x="2201966" y="3623934"/>
                    </a:lnTo>
                    <a:lnTo>
                      <a:pt x="2174303" y="3635767"/>
                    </a:lnTo>
                    <a:lnTo>
                      <a:pt x="2159287" y="3647599"/>
                    </a:lnTo>
                    <a:lnTo>
                      <a:pt x="2159287" y="3661799"/>
                    </a:lnTo>
                    <a:lnTo>
                      <a:pt x="2188530" y="3685463"/>
                    </a:lnTo>
                    <a:lnTo>
                      <a:pt x="2201966" y="3685463"/>
                    </a:lnTo>
                    <a:lnTo>
                      <a:pt x="2201966" y="3711495"/>
                    </a:lnTo>
                    <a:lnTo>
                      <a:pt x="2159287" y="3737527"/>
                    </a:lnTo>
                    <a:lnTo>
                      <a:pt x="2145853" y="3775391"/>
                    </a:lnTo>
                    <a:lnTo>
                      <a:pt x="2132417" y="3787224"/>
                    </a:lnTo>
                    <a:lnTo>
                      <a:pt x="2118192" y="3799056"/>
                    </a:lnTo>
                    <a:lnTo>
                      <a:pt x="2128336" y="3836187"/>
                    </a:lnTo>
                    <a:lnTo>
                      <a:pt x="2133028" y="3836187"/>
                    </a:lnTo>
                    <a:lnTo>
                      <a:pt x="2133028" y="3847024"/>
                    </a:lnTo>
                    <a:lnTo>
                      <a:pt x="2134604" y="3846384"/>
                    </a:lnTo>
                    <a:lnTo>
                      <a:pt x="2148144" y="3884250"/>
                    </a:lnTo>
                    <a:lnTo>
                      <a:pt x="2189564" y="3907914"/>
                    </a:lnTo>
                    <a:lnTo>
                      <a:pt x="2216644" y="3922114"/>
                    </a:lnTo>
                    <a:lnTo>
                      <a:pt x="2203106" y="3933946"/>
                    </a:lnTo>
                    <a:lnTo>
                      <a:pt x="2161686" y="3945779"/>
                    </a:lnTo>
                    <a:lnTo>
                      <a:pt x="2148144" y="3959978"/>
                    </a:lnTo>
                    <a:lnTo>
                      <a:pt x="2134604" y="3922114"/>
                    </a:lnTo>
                    <a:lnTo>
                      <a:pt x="2120405" y="3945779"/>
                    </a:lnTo>
                    <a:lnTo>
                      <a:pt x="2105418" y="3933946"/>
                    </a:lnTo>
                    <a:lnTo>
                      <a:pt x="2092009" y="3933946"/>
                    </a:lnTo>
                    <a:lnTo>
                      <a:pt x="2064395" y="3922114"/>
                    </a:lnTo>
                    <a:lnTo>
                      <a:pt x="2064395" y="3907914"/>
                    </a:lnTo>
                    <a:lnTo>
                      <a:pt x="2050985" y="3907914"/>
                    </a:lnTo>
                    <a:lnTo>
                      <a:pt x="2050985" y="3896082"/>
                    </a:lnTo>
                    <a:lnTo>
                      <a:pt x="2037575" y="3896082"/>
                    </a:lnTo>
                    <a:lnTo>
                      <a:pt x="2024165" y="3884249"/>
                    </a:lnTo>
                    <a:lnTo>
                      <a:pt x="2037575" y="3870050"/>
                    </a:lnTo>
                    <a:lnTo>
                      <a:pt x="2075300" y="3893990"/>
                    </a:lnTo>
                    <a:lnTo>
                      <a:pt x="2064395" y="3874018"/>
                    </a:lnTo>
                    <a:lnTo>
                      <a:pt x="2078599" y="3874018"/>
                    </a:lnTo>
                    <a:lnTo>
                      <a:pt x="2078599" y="3862196"/>
                    </a:lnTo>
                    <a:lnTo>
                      <a:pt x="2050985" y="3874018"/>
                    </a:lnTo>
                    <a:lnTo>
                      <a:pt x="2037575" y="3862196"/>
                    </a:lnTo>
                    <a:lnTo>
                      <a:pt x="2037575" y="3850373"/>
                    </a:lnTo>
                    <a:lnTo>
                      <a:pt x="2024166" y="3850373"/>
                    </a:lnTo>
                    <a:lnTo>
                      <a:pt x="2009966" y="3836187"/>
                    </a:lnTo>
                    <a:lnTo>
                      <a:pt x="2009966" y="3850373"/>
                    </a:lnTo>
                    <a:lnTo>
                      <a:pt x="1996555" y="3836187"/>
                    </a:lnTo>
                    <a:lnTo>
                      <a:pt x="1996555" y="3824364"/>
                    </a:lnTo>
                    <a:lnTo>
                      <a:pt x="2009966" y="3824364"/>
                    </a:lnTo>
                    <a:lnTo>
                      <a:pt x="2009966" y="3812541"/>
                    </a:lnTo>
                    <a:lnTo>
                      <a:pt x="1996555" y="3824364"/>
                    </a:lnTo>
                    <a:lnTo>
                      <a:pt x="1996555" y="3798354"/>
                    </a:lnTo>
                    <a:lnTo>
                      <a:pt x="2001024" y="3790473"/>
                    </a:lnTo>
                    <a:lnTo>
                      <a:pt x="2009966" y="3798354"/>
                    </a:lnTo>
                    <a:lnTo>
                      <a:pt x="2009966" y="3774710"/>
                    </a:lnTo>
                    <a:lnTo>
                      <a:pt x="2001024" y="3790473"/>
                    </a:lnTo>
                    <a:lnTo>
                      <a:pt x="1996555" y="3786532"/>
                    </a:lnTo>
                    <a:lnTo>
                      <a:pt x="1996555" y="3774710"/>
                    </a:lnTo>
                    <a:lnTo>
                      <a:pt x="1983145" y="3760523"/>
                    </a:lnTo>
                    <a:lnTo>
                      <a:pt x="1983145" y="3748700"/>
                    </a:lnTo>
                    <a:lnTo>
                      <a:pt x="1996555" y="3710868"/>
                    </a:lnTo>
                    <a:lnTo>
                      <a:pt x="1996555" y="3699046"/>
                    </a:lnTo>
                    <a:lnTo>
                      <a:pt x="2009966" y="3722691"/>
                    </a:lnTo>
                    <a:lnTo>
                      <a:pt x="2024166" y="3673037"/>
                    </a:lnTo>
                    <a:lnTo>
                      <a:pt x="1996555" y="3673037"/>
                    </a:lnTo>
                    <a:lnTo>
                      <a:pt x="1983145" y="3673037"/>
                    </a:lnTo>
                    <a:lnTo>
                      <a:pt x="2009966" y="3661214"/>
                    </a:lnTo>
                    <a:lnTo>
                      <a:pt x="1996555" y="3647027"/>
                    </a:lnTo>
                    <a:lnTo>
                      <a:pt x="2009966" y="3647027"/>
                    </a:lnTo>
                    <a:lnTo>
                      <a:pt x="2009966" y="3609984"/>
                    </a:lnTo>
                    <a:lnTo>
                      <a:pt x="2024166" y="3597372"/>
                    </a:lnTo>
                    <a:lnTo>
                      <a:pt x="2035762" y="3597372"/>
                    </a:lnTo>
                    <a:lnTo>
                      <a:pt x="2033107" y="3606042"/>
                    </a:lnTo>
                    <a:lnTo>
                      <a:pt x="2024166" y="3623382"/>
                    </a:lnTo>
                    <a:lnTo>
                      <a:pt x="2024166" y="3635204"/>
                    </a:lnTo>
                    <a:lnTo>
                      <a:pt x="2033107" y="3606042"/>
                    </a:lnTo>
                    <a:lnTo>
                      <a:pt x="2037575" y="3597372"/>
                    </a:lnTo>
                    <a:lnTo>
                      <a:pt x="2035762" y="3597372"/>
                    </a:lnTo>
                    <a:lnTo>
                      <a:pt x="2050985" y="3547718"/>
                    </a:lnTo>
                    <a:lnTo>
                      <a:pt x="2050985" y="3534319"/>
                    </a:lnTo>
                    <a:lnTo>
                      <a:pt x="2037575" y="3534319"/>
                    </a:lnTo>
                    <a:lnTo>
                      <a:pt x="2024166" y="3521708"/>
                    </a:lnTo>
                    <a:lnTo>
                      <a:pt x="2024166" y="3483877"/>
                    </a:lnTo>
                    <a:lnTo>
                      <a:pt x="2037575" y="3472054"/>
                    </a:lnTo>
                    <a:lnTo>
                      <a:pt x="2024166" y="3434222"/>
                    </a:lnTo>
                    <a:lnTo>
                      <a:pt x="2037575" y="3420824"/>
                    </a:lnTo>
                    <a:lnTo>
                      <a:pt x="2078599" y="3307328"/>
                    </a:lnTo>
                    <a:lnTo>
                      <a:pt x="2064395" y="3269496"/>
                    </a:lnTo>
                    <a:lnTo>
                      <a:pt x="2078599" y="3245062"/>
                    </a:lnTo>
                    <a:lnTo>
                      <a:pt x="2078599" y="3219054"/>
                    </a:lnTo>
                    <a:lnTo>
                      <a:pt x="2092009" y="3169399"/>
                    </a:lnTo>
                    <a:lnTo>
                      <a:pt x="2092009" y="3093735"/>
                    </a:lnTo>
                    <a:lnTo>
                      <a:pt x="2105418" y="3055903"/>
                    </a:lnTo>
                    <a:lnTo>
                      <a:pt x="2092011" y="2992858"/>
                    </a:lnTo>
                    <a:lnTo>
                      <a:pt x="2092009" y="2992859"/>
                    </a:lnTo>
                    <a:lnTo>
                      <a:pt x="1983144" y="2917293"/>
                    </a:lnTo>
                    <a:lnTo>
                      <a:pt x="1914516" y="2791351"/>
                    </a:lnTo>
                    <a:lnTo>
                      <a:pt x="1887696" y="2766163"/>
                    </a:lnTo>
                    <a:lnTo>
                      <a:pt x="1858510" y="2740187"/>
                    </a:lnTo>
                    <a:lnTo>
                      <a:pt x="1873498" y="2740187"/>
                    </a:lnTo>
                    <a:lnTo>
                      <a:pt x="1858510" y="2715785"/>
                    </a:lnTo>
                    <a:lnTo>
                      <a:pt x="1887696" y="2690597"/>
                    </a:lnTo>
                    <a:lnTo>
                      <a:pt x="1873498" y="2715785"/>
                    </a:lnTo>
                    <a:lnTo>
                      <a:pt x="1901107" y="2728379"/>
                    </a:lnTo>
                    <a:lnTo>
                      <a:pt x="1942125" y="2690597"/>
                    </a:lnTo>
                    <a:lnTo>
                      <a:pt x="1968946" y="2678002"/>
                    </a:lnTo>
                    <a:lnTo>
                      <a:pt x="1983144" y="2664621"/>
                    </a:lnTo>
                    <a:lnTo>
                      <a:pt x="1996555" y="2641007"/>
                    </a:lnTo>
                    <a:lnTo>
                      <a:pt x="1995600" y="2639997"/>
                    </a:lnTo>
                    <a:lnTo>
                      <a:pt x="1982528" y="2663513"/>
                    </a:lnTo>
                    <a:lnTo>
                      <a:pt x="1968509" y="2677006"/>
                    </a:lnTo>
                    <a:lnTo>
                      <a:pt x="1942034" y="2689707"/>
                    </a:lnTo>
                    <a:lnTo>
                      <a:pt x="1901541" y="2727810"/>
                    </a:lnTo>
                    <a:lnTo>
                      <a:pt x="1874285" y="2715109"/>
                    </a:lnTo>
                    <a:lnTo>
                      <a:pt x="1888302" y="2689707"/>
                    </a:lnTo>
                    <a:lnTo>
                      <a:pt x="1901541" y="2677006"/>
                    </a:lnTo>
                    <a:lnTo>
                      <a:pt x="1888302" y="2677006"/>
                    </a:lnTo>
                    <a:lnTo>
                      <a:pt x="1888302" y="2689707"/>
                    </a:lnTo>
                    <a:lnTo>
                      <a:pt x="1874285" y="2663513"/>
                    </a:lnTo>
                    <a:lnTo>
                      <a:pt x="1874285" y="2639698"/>
                    </a:lnTo>
                    <a:lnTo>
                      <a:pt x="1888302" y="2625409"/>
                    </a:lnTo>
                    <a:lnTo>
                      <a:pt x="1888302" y="2613503"/>
                    </a:lnTo>
                    <a:lnTo>
                      <a:pt x="1914778" y="2601596"/>
                    </a:lnTo>
                    <a:lnTo>
                      <a:pt x="1915305" y="2601906"/>
                    </a:lnTo>
                    <a:lnTo>
                      <a:pt x="1915305" y="2588426"/>
                    </a:lnTo>
                    <a:lnTo>
                      <a:pt x="1929459" y="2588426"/>
                    </a:lnTo>
                    <a:lnTo>
                      <a:pt x="1929459" y="2576537"/>
                    </a:lnTo>
                    <a:lnTo>
                      <a:pt x="1942825" y="2576537"/>
                    </a:lnTo>
                    <a:lnTo>
                      <a:pt x="1956194" y="2550379"/>
                    </a:lnTo>
                    <a:lnTo>
                      <a:pt x="1942825" y="2550379"/>
                    </a:lnTo>
                    <a:lnTo>
                      <a:pt x="1942825" y="2500442"/>
                    </a:lnTo>
                    <a:lnTo>
                      <a:pt x="1942825" y="2488553"/>
                    </a:lnTo>
                    <a:lnTo>
                      <a:pt x="1942825" y="2477385"/>
                    </a:lnTo>
                    <a:lnTo>
                      <a:pt x="1930692" y="2454872"/>
                    </a:lnTo>
                    <a:lnTo>
                      <a:pt x="1902684" y="2443398"/>
                    </a:lnTo>
                    <a:lnTo>
                      <a:pt x="1902684" y="2442250"/>
                    </a:lnTo>
                    <a:lnTo>
                      <a:pt x="1891828" y="2432601"/>
                    </a:lnTo>
                    <a:lnTo>
                      <a:pt x="1901107" y="2443398"/>
                    </a:lnTo>
                    <a:lnTo>
                      <a:pt x="1875074" y="2454872"/>
                    </a:lnTo>
                    <a:lnTo>
                      <a:pt x="1889275" y="2466346"/>
                    </a:lnTo>
                    <a:lnTo>
                      <a:pt x="1875074" y="2480115"/>
                    </a:lnTo>
                    <a:lnTo>
                      <a:pt x="1875074" y="2466346"/>
                    </a:lnTo>
                    <a:lnTo>
                      <a:pt x="1834846" y="2454872"/>
                    </a:lnTo>
                    <a:lnTo>
                      <a:pt x="1807554" y="2443185"/>
                    </a:lnTo>
                    <a:lnTo>
                      <a:pt x="1794296" y="2417475"/>
                    </a:lnTo>
                    <a:lnTo>
                      <a:pt x="1781040" y="2429162"/>
                    </a:lnTo>
                    <a:lnTo>
                      <a:pt x="1767006" y="2417475"/>
                    </a:lnTo>
                    <a:lnTo>
                      <a:pt x="1767006" y="2391765"/>
                    </a:lnTo>
                    <a:lnTo>
                      <a:pt x="1807554" y="2405789"/>
                    </a:lnTo>
                    <a:lnTo>
                      <a:pt x="1820809" y="2405789"/>
                    </a:lnTo>
                    <a:lnTo>
                      <a:pt x="1820809" y="2417475"/>
                    </a:lnTo>
                    <a:lnTo>
                      <a:pt x="1834846" y="2429162"/>
                    </a:lnTo>
                    <a:lnTo>
                      <a:pt x="1834846" y="2429629"/>
                    </a:lnTo>
                    <a:lnTo>
                      <a:pt x="1848257" y="2443398"/>
                    </a:lnTo>
                    <a:lnTo>
                      <a:pt x="1861666" y="2443398"/>
                    </a:lnTo>
                    <a:lnTo>
                      <a:pt x="1888770" y="2429881"/>
                    </a:lnTo>
                    <a:lnTo>
                      <a:pt x="1888484" y="2429629"/>
                    </a:lnTo>
                    <a:lnTo>
                      <a:pt x="1889275" y="2429629"/>
                    </a:lnTo>
                    <a:lnTo>
                      <a:pt x="1902684" y="2429629"/>
                    </a:lnTo>
                    <a:lnTo>
                      <a:pt x="1916287" y="2429629"/>
                    </a:lnTo>
                    <a:lnTo>
                      <a:pt x="1930692" y="2429629"/>
                    </a:lnTo>
                    <a:lnTo>
                      <a:pt x="1944297" y="2443398"/>
                    </a:lnTo>
                    <a:lnTo>
                      <a:pt x="1956194" y="2453431"/>
                    </a:lnTo>
                    <a:lnTo>
                      <a:pt x="1956194" y="2450506"/>
                    </a:lnTo>
                    <a:lnTo>
                      <a:pt x="1983714" y="2436237"/>
                    </a:lnTo>
                    <a:lnTo>
                      <a:pt x="1997079" y="2412457"/>
                    </a:lnTo>
                    <a:lnTo>
                      <a:pt x="2037968" y="2398190"/>
                    </a:lnTo>
                    <a:close/>
                    <a:moveTo>
                      <a:pt x="6302810" y="2369677"/>
                    </a:moveTo>
                    <a:lnTo>
                      <a:pt x="6317010" y="2369677"/>
                    </a:lnTo>
                    <a:lnTo>
                      <a:pt x="6317010" y="2381698"/>
                    </a:lnTo>
                    <a:close/>
                    <a:moveTo>
                      <a:pt x="4525669" y="2369677"/>
                    </a:moveTo>
                    <a:lnTo>
                      <a:pt x="4526342" y="2370277"/>
                    </a:lnTo>
                    <a:lnTo>
                      <a:pt x="4526342" y="2369677"/>
                    </a:lnTo>
                    <a:close/>
                    <a:moveTo>
                      <a:pt x="6206572" y="2357055"/>
                    </a:moveTo>
                    <a:lnTo>
                      <a:pt x="6234971" y="2357055"/>
                    </a:lnTo>
                    <a:lnTo>
                      <a:pt x="6234971" y="2370824"/>
                    </a:lnTo>
                    <a:lnTo>
                      <a:pt x="6234971" y="2382298"/>
                    </a:lnTo>
                    <a:close/>
                    <a:moveTo>
                      <a:pt x="3287181" y="2346789"/>
                    </a:moveTo>
                    <a:lnTo>
                      <a:pt x="3276928" y="2351669"/>
                    </a:lnTo>
                    <a:lnTo>
                      <a:pt x="3287241" y="2347134"/>
                    </a:lnTo>
                    <a:close/>
                    <a:moveTo>
                      <a:pt x="5899217" y="2338102"/>
                    </a:moveTo>
                    <a:lnTo>
                      <a:pt x="5905919" y="2344947"/>
                    </a:lnTo>
                    <a:lnTo>
                      <a:pt x="5905919" y="2343687"/>
                    </a:lnTo>
                    <a:close/>
                    <a:moveTo>
                      <a:pt x="6261002" y="2333225"/>
                    </a:moveTo>
                    <a:lnTo>
                      <a:pt x="6288611" y="2345140"/>
                    </a:lnTo>
                    <a:lnTo>
                      <a:pt x="6274413" y="2345140"/>
                    </a:lnTo>
                    <a:lnTo>
                      <a:pt x="6288611" y="2357055"/>
                    </a:lnTo>
                    <a:lnTo>
                      <a:pt x="6274413" y="2357055"/>
                    </a:lnTo>
                    <a:lnTo>
                      <a:pt x="6261002" y="2345140"/>
                    </a:lnTo>
                    <a:lnTo>
                      <a:pt x="6261002" y="2357055"/>
                    </a:lnTo>
                    <a:lnTo>
                      <a:pt x="6247592" y="2345140"/>
                    </a:lnTo>
                    <a:close/>
                    <a:moveTo>
                      <a:pt x="5932054" y="2332601"/>
                    </a:moveTo>
                    <a:lnTo>
                      <a:pt x="5932054" y="2369523"/>
                    </a:lnTo>
                    <a:lnTo>
                      <a:pt x="5905919" y="2381387"/>
                    </a:lnTo>
                    <a:lnTo>
                      <a:pt x="5897579" y="2389355"/>
                    </a:lnTo>
                    <a:lnTo>
                      <a:pt x="5906813" y="2381682"/>
                    </a:lnTo>
                    <a:lnTo>
                      <a:pt x="5933633" y="2369881"/>
                    </a:lnTo>
                    <a:lnTo>
                      <a:pt x="5933633" y="2332601"/>
                    </a:lnTo>
                    <a:close/>
                    <a:moveTo>
                      <a:pt x="1792106" y="2329923"/>
                    </a:moveTo>
                    <a:lnTo>
                      <a:pt x="1791760" y="2330082"/>
                    </a:lnTo>
                    <a:lnTo>
                      <a:pt x="1791986" y="2329985"/>
                    </a:lnTo>
                    <a:close/>
                    <a:moveTo>
                      <a:pt x="4440667" y="2326516"/>
                    </a:moveTo>
                    <a:lnTo>
                      <a:pt x="4444104" y="2333390"/>
                    </a:lnTo>
                    <a:lnTo>
                      <a:pt x="4484948" y="2333390"/>
                    </a:lnTo>
                    <a:lnTo>
                      <a:pt x="4524738" y="2368848"/>
                    </a:lnTo>
                    <a:lnTo>
                      <a:pt x="4484852" y="2331813"/>
                    </a:lnTo>
                    <a:lnTo>
                      <a:pt x="4445640" y="2331813"/>
                    </a:lnTo>
                    <a:close/>
                    <a:moveTo>
                      <a:pt x="1711785" y="2303414"/>
                    </a:moveTo>
                    <a:lnTo>
                      <a:pt x="1778837" y="2303414"/>
                    </a:lnTo>
                    <a:lnTo>
                      <a:pt x="1819067" y="2315435"/>
                    </a:lnTo>
                    <a:lnTo>
                      <a:pt x="1792620" y="2329658"/>
                    </a:lnTo>
                    <a:lnTo>
                      <a:pt x="1819067" y="2316035"/>
                    </a:lnTo>
                    <a:lnTo>
                      <a:pt x="1819067" y="2329985"/>
                    </a:lnTo>
                    <a:lnTo>
                      <a:pt x="1805527" y="2390436"/>
                    </a:lnTo>
                    <a:lnTo>
                      <a:pt x="1819067" y="2404386"/>
                    </a:lnTo>
                    <a:lnTo>
                      <a:pt x="1805527" y="2404386"/>
                    </a:lnTo>
                    <a:lnTo>
                      <a:pt x="1764111" y="2390436"/>
                    </a:lnTo>
                    <a:lnTo>
                      <a:pt x="1737028" y="2367186"/>
                    </a:lnTo>
                    <a:lnTo>
                      <a:pt x="1737028" y="2353900"/>
                    </a:lnTo>
                    <a:lnTo>
                      <a:pt x="1725194" y="2353900"/>
                    </a:lnTo>
                    <a:lnTo>
                      <a:pt x="1725194" y="2353899"/>
                    </a:lnTo>
                    <a:lnTo>
                      <a:pt x="1685185" y="2353899"/>
                    </a:lnTo>
                    <a:lnTo>
                      <a:pt x="1669187" y="2341278"/>
                    </a:lnTo>
                    <a:lnTo>
                      <a:pt x="1685185" y="2328656"/>
                    </a:lnTo>
                    <a:lnTo>
                      <a:pt x="1685945" y="2328891"/>
                    </a:lnTo>
                    <a:close/>
                    <a:moveTo>
                      <a:pt x="2284482" y="2293948"/>
                    </a:moveTo>
                    <a:lnTo>
                      <a:pt x="2297105" y="2293948"/>
                    </a:lnTo>
                    <a:lnTo>
                      <a:pt x="2284482" y="2306569"/>
                    </a:lnTo>
                    <a:close/>
                    <a:moveTo>
                      <a:pt x="4553951" y="2281325"/>
                    </a:moveTo>
                    <a:lnTo>
                      <a:pt x="4553233" y="2282043"/>
                    </a:lnTo>
                    <a:lnTo>
                      <a:pt x="4593199" y="2318016"/>
                    </a:lnTo>
                    <a:lnTo>
                      <a:pt x="4607348" y="2343846"/>
                    </a:lnTo>
                    <a:lnTo>
                      <a:pt x="4608455" y="2343122"/>
                    </a:lnTo>
                    <a:lnTo>
                      <a:pt x="4594970" y="2318400"/>
                    </a:lnTo>
                    <a:close/>
                    <a:moveTo>
                      <a:pt x="5906814" y="2280984"/>
                    </a:moveTo>
                    <a:lnTo>
                      <a:pt x="5906814" y="2281326"/>
                    </a:lnTo>
                    <a:lnTo>
                      <a:pt x="5933633" y="2306568"/>
                    </a:lnTo>
                    <a:lnTo>
                      <a:pt x="5933633" y="2306158"/>
                    </a:lnTo>
                    <a:close/>
                    <a:moveTo>
                      <a:pt x="5871757" y="2280279"/>
                    </a:moveTo>
                    <a:lnTo>
                      <a:pt x="5879268" y="2294969"/>
                    </a:lnTo>
                    <a:lnTo>
                      <a:pt x="5892613" y="2306832"/>
                    </a:lnTo>
                    <a:lnTo>
                      <a:pt x="5892613" y="2331812"/>
                    </a:lnTo>
                    <a:lnTo>
                      <a:pt x="5892614" y="2331812"/>
                    </a:lnTo>
                    <a:lnTo>
                      <a:pt x="5892614" y="2306569"/>
                    </a:lnTo>
                    <a:lnTo>
                      <a:pt x="5879205" y="2294736"/>
                    </a:lnTo>
                    <a:close/>
                    <a:moveTo>
                      <a:pt x="6219983" y="2243461"/>
                    </a:moveTo>
                    <a:lnTo>
                      <a:pt x="6247592" y="2256966"/>
                    </a:lnTo>
                    <a:lnTo>
                      <a:pt x="6261002" y="2243461"/>
                    </a:lnTo>
                    <a:lnTo>
                      <a:pt x="6247592" y="2268881"/>
                    </a:lnTo>
                    <a:lnTo>
                      <a:pt x="6261002" y="2281591"/>
                    </a:lnTo>
                    <a:lnTo>
                      <a:pt x="6233393" y="2318926"/>
                    </a:lnTo>
                    <a:lnTo>
                      <a:pt x="6247592" y="2345140"/>
                    </a:lnTo>
                    <a:lnTo>
                      <a:pt x="6233393" y="2345140"/>
                    </a:lnTo>
                    <a:lnTo>
                      <a:pt x="6219983" y="2345140"/>
                    </a:lnTo>
                    <a:lnTo>
                      <a:pt x="6219983" y="2333225"/>
                    </a:lnTo>
                    <a:lnTo>
                      <a:pt x="6206572" y="2318926"/>
                    </a:lnTo>
                    <a:lnTo>
                      <a:pt x="6206572" y="2295095"/>
                    </a:lnTo>
                    <a:close/>
                    <a:moveTo>
                      <a:pt x="2175625" y="2243461"/>
                    </a:moveTo>
                    <a:lnTo>
                      <a:pt x="2200871" y="2256082"/>
                    </a:lnTo>
                    <a:lnTo>
                      <a:pt x="2175625" y="2256082"/>
                    </a:lnTo>
                    <a:close/>
                    <a:moveTo>
                      <a:pt x="1941599" y="2243461"/>
                    </a:moveTo>
                    <a:lnTo>
                      <a:pt x="1968946" y="2256872"/>
                    </a:lnTo>
                    <a:lnTo>
                      <a:pt x="1955273" y="2268705"/>
                    </a:lnTo>
                    <a:lnTo>
                      <a:pt x="1927928" y="2256872"/>
                    </a:lnTo>
                    <a:close/>
                    <a:moveTo>
                      <a:pt x="5869338" y="2242397"/>
                    </a:moveTo>
                    <a:lnTo>
                      <a:pt x="5869345" y="2242639"/>
                    </a:lnTo>
                    <a:lnTo>
                      <a:pt x="5906813" y="2268703"/>
                    </a:lnTo>
                    <a:lnTo>
                      <a:pt x="5906813" y="2268396"/>
                    </a:lnTo>
                    <a:close/>
                    <a:moveTo>
                      <a:pt x="5974058" y="2218218"/>
                    </a:moveTo>
                    <a:lnTo>
                      <a:pt x="6015672" y="2218218"/>
                    </a:lnTo>
                    <a:lnTo>
                      <a:pt x="6002068" y="2242673"/>
                    </a:lnTo>
                    <a:lnTo>
                      <a:pt x="5987662" y="2256082"/>
                    </a:lnTo>
                    <a:lnTo>
                      <a:pt x="5960453" y="2242673"/>
                    </a:lnTo>
                    <a:lnTo>
                      <a:pt x="5960453" y="2230051"/>
                    </a:lnTo>
                    <a:close/>
                    <a:moveTo>
                      <a:pt x="2037974" y="2218218"/>
                    </a:moveTo>
                    <a:lnTo>
                      <a:pt x="2065185" y="2218218"/>
                    </a:lnTo>
                    <a:lnTo>
                      <a:pt x="2106207" y="2218218"/>
                    </a:lnTo>
                    <a:lnTo>
                      <a:pt x="2106207" y="2230239"/>
                    </a:lnTo>
                    <a:lnTo>
                      <a:pt x="2119617" y="2230239"/>
                    </a:lnTo>
                    <a:lnTo>
                      <a:pt x="2147225" y="2243061"/>
                    </a:lnTo>
                    <a:lnTo>
                      <a:pt x="2133816" y="2256684"/>
                    </a:lnTo>
                    <a:lnTo>
                      <a:pt x="2133816" y="2243061"/>
                    </a:lnTo>
                    <a:lnTo>
                      <a:pt x="2092799" y="2256684"/>
                    </a:lnTo>
                    <a:lnTo>
                      <a:pt x="2092799" y="2243061"/>
                    </a:lnTo>
                    <a:lnTo>
                      <a:pt x="2079385" y="2256684"/>
                    </a:lnTo>
                    <a:lnTo>
                      <a:pt x="2079385" y="2268705"/>
                    </a:lnTo>
                    <a:lnTo>
                      <a:pt x="2065185" y="2256684"/>
                    </a:lnTo>
                    <a:lnTo>
                      <a:pt x="2065185" y="2256082"/>
                    </a:lnTo>
                    <a:lnTo>
                      <a:pt x="2024368" y="2256082"/>
                    </a:lnTo>
                    <a:lnTo>
                      <a:pt x="2009964" y="2256082"/>
                    </a:lnTo>
                    <a:lnTo>
                      <a:pt x="2051578" y="2242673"/>
                    </a:lnTo>
                    <a:close/>
                    <a:moveTo>
                      <a:pt x="5868260" y="2207920"/>
                    </a:moveTo>
                    <a:lnTo>
                      <a:pt x="5868265" y="2208068"/>
                    </a:lnTo>
                    <a:lnTo>
                      <a:pt x="5879084" y="2218887"/>
                    </a:lnTo>
                    <a:lnTo>
                      <a:pt x="5879204" y="2218834"/>
                    </a:lnTo>
                    <a:close/>
                    <a:moveTo>
                      <a:pt x="4826890" y="2205596"/>
                    </a:moveTo>
                    <a:lnTo>
                      <a:pt x="4826889" y="2205597"/>
                    </a:lnTo>
                    <a:lnTo>
                      <a:pt x="4839512" y="2205597"/>
                    </a:lnTo>
                    <a:lnTo>
                      <a:pt x="4839512" y="2205596"/>
                    </a:lnTo>
                    <a:close/>
                    <a:moveTo>
                      <a:pt x="2009964" y="2155111"/>
                    </a:moveTo>
                    <a:lnTo>
                      <a:pt x="2024165" y="2167732"/>
                    </a:lnTo>
                    <a:lnTo>
                      <a:pt x="2009964" y="2167732"/>
                    </a:lnTo>
                    <a:close/>
                    <a:moveTo>
                      <a:pt x="5892604" y="2155029"/>
                    </a:moveTo>
                    <a:lnTo>
                      <a:pt x="5866796" y="2161046"/>
                    </a:lnTo>
                    <a:lnTo>
                      <a:pt x="5866797" y="2161081"/>
                    </a:lnTo>
                    <a:lnTo>
                      <a:pt x="5892613" y="2155111"/>
                    </a:lnTo>
                    <a:lnTo>
                      <a:pt x="5920224" y="2155111"/>
                    </a:lnTo>
                    <a:lnTo>
                      <a:pt x="5920224" y="2181072"/>
                    </a:lnTo>
                    <a:lnTo>
                      <a:pt x="5920333" y="2181072"/>
                    </a:lnTo>
                    <a:lnTo>
                      <a:pt x="5920333" y="2155029"/>
                    </a:lnTo>
                    <a:close/>
                    <a:moveTo>
                      <a:pt x="1860087" y="2142490"/>
                    </a:moveTo>
                    <a:lnTo>
                      <a:pt x="1928714" y="2166944"/>
                    </a:lnTo>
                    <a:lnTo>
                      <a:pt x="1983144" y="2192187"/>
                    </a:lnTo>
                    <a:lnTo>
                      <a:pt x="1983144" y="2204808"/>
                    </a:lnTo>
                    <a:lnTo>
                      <a:pt x="1996555" y="2204808"/>
                    </a:lnTo>
                    <a:lnTo>
                      <a:pt x="2009964" y="2218219"/>
                    </a:lnTo>
                    <a:lnTo>
                      <a:pt x="1942124" y="2218219"/>
                    </a:lnTo>
                    <a:lnTo>
                      <a:pt x="1955535" y="2204808"/>
                    </a:lnTo>
                    <a:lnTo>
                      <a:pt x="1928714" y="2204808"/>
                    </a:lnTo>
                    <a:lnTo>
                      <a:pt x="1914516" y="2180355"/>
                    </a:lnTo>
                    <a:lnTo>
                      <a:pt x="1860087" y="2166944"/>
                    </a:lnTo>
                    <a:lnTo>
                      <a:pt x="1833265" y="2154322"/>
                    </a:lnTo>
                    <a:lnTo>
                      <a:pt x="1805657" y="2180355"/>
                    </a:lnTo>
                    <a:lnTo>
                      <a:pt x="1792246" y="2180355"/>
                    </a:lnTo>
                    <a:lnTo>
                      <a:pt x="1819067" y="2154322"/>
                    </a:lnTo>
                    <a:close/>
                    <a:moveTo>
                      <a:pt x="5593206" y="2142204"/>
                    </a:moveTo>
                    <a:lnTo>
                      <a:pt x="5593118" y="2142225"/>
                    </a:lnTo>
                    <a:lnTo>
                      <a:pt x="5592063" y="2143281"/>
                    </a:lnTo>
                    <a:lnTo>
                      <a:pt x="5592066" y="2143281"/>
                    </a:lnTo>
                    <a:close/>
                    <a:moveTo>
                      <a:pt x="6233393" y="2104627"/>
                    </a:moveTo>
                    <a:lnTo>
                      <a:pt x="6247592" y="2104627"/>
                    </a:lnTo>
                    <a:lnTo>
                      <a:pt x="6219983" y="2167734"/>
                    </a:lnTo>
                    <a:lnTo>
                      <a:pt x="6206572" y="2154952"/>
                    </a:lnTo>
                    <a:lnTo>
                      <a:pt x="6206572" y="2142970"/>
                    </a:lnTo>
                    <a:close/>
                    <a:moveTo>
                      <a:pt x="1927928" y="2104627"/>
                    </a:moveTo>
                    <a:lnTo>
                      <a:pt x="1942125" y="2116459"/>
                    </a:lnTo>
                    <a:lnTo>
                      <a:pt x="1942125" y="2142491"/>
                    </a:lnTo>
                    <a:lnTo>
                      <a:pt x="1927928" y="2116459"/>
                    </a:lnTo>
                    <a:close/>
                    <a:moveTo>
                      <a:pt x="1956326" y="2092006"/>
                    </a:moveTo>
                    <a:lnTo>
                      <a:pt x="1968944" y="2105415"/>
                    </a:lnTo>
                    <a:lnTo>
                      <a:pt x="1968944" y="2117248"/>
                    </a:lnTo>
                    <a:close/>
                    <a:moveTo>
                      <a:pt x="4718413" y="2092005"/>
                    </a:moveTo>
                    <a:lnTo>
                      <a:pt x="4731440" y="2092005"/>
                    </a:lnTo>
                    <a:lnTo>
                      <a:pt x="4718413" y="2129869"/>
                    </a:lnTo>
                    <a:lnTo>
                      <a:pt x="4704620" y="2105415"/>
                    </a:lnTo>
                    <a:close/>
                    <a:moveTo>
                      <a:pt x="5129021" y="2080589"/>
                    </a:moveTo>
                    <a:lnTo>
                      <a:pt x="5128589" y="2080602"/>
                    </a:lnTo>
                    <a:lnTo>
                      <a:pt x="5128589" y="2091342"/>
                    </a:lnTo>
                    <a:lnTo>
                      <a:pt x="5129021" y="2091342"/>
                    </a:lnTo>
                    <a:close/>
                    <a:moveTo>
                      <a:pt x="1942125" y="2066762"/>
                    </a:moveTo>
                    <a:lnTo>
                      <a:pt x="1956325" y="2078977"/>
                    </a:lnTo>
                    <a:lnTo>
                      <a:pt x="1956325" y="2092005"/>
                    </a:lnTo>
                    <a:close/>
                    <a:moveTo>
                      <a:pt x="3320999" y="2028897"/>
                    </a:moveTo>
                    <a:lnTo>
                      <a:pt x="3320999" y="2041518"/>
                    </a:lnTo>
                    <a:lnTo>
                      <a:pt x="3309956" y="2041518"/>
                    </a:lnTo>
                    <a:close/>
                    <a:moveTo>
                      <a:pt x="3253160" y="2028897"/>
                    </a:moveTo>
                    <a:lnTo>
                      <a:pt x="3268935" y="2028897"/>
                    </a:lnTo>
                    <a:lnTo>
                      <a:pt x="3253160" y="2041518"/>
                    </a:lnTo>
                    <a:close/>
                    <a:moveTo>
                      <a:pt x="4621191" y="2015953"/>
                    </a:moveTo>
                    <a:lnTo>
                      <a:pt x="4620846" y="2016276"/>
                    </a:lnTo>
                    <a:lnTo>
                      <a:pt x="4620513" y="2016125"/>
                    </a:lnTo>
                    <a:lnTo>
                      <a:pt x="4593930" y="2028645"/>
                    </a:lnTo>
                    <a:lnTo>
                      <a:pt x="4594970" y="2029686"/>
                    </a:lnTo>
                    <a:lnTo>
                      <a:pt x="4622433" y="2016346"/>
                    </a:lnTo>
                    <a:close/>
                    <a:moveTo>
                      <a:pt x="4402169" y="2003755"/>
                    </a:moveTo>
                    <a:lnTo>
                      <a:pt x="4388874" y="2016275"/>
                    </a:lnTo>
                    <a:lnTo>
                      <a:pt x="4390661" y="2016275"/>
                    </a:lnTo>
                    <a:lnTo>
                      <a:pt x="4403964" y="2003755"/>
                    </a:lnTo>
                    <a:close/>
                    <a:moveTo>
                      <a:pt x="4634309" y="2003655"/>
                    </a:moveTo>
                    <a:lnTo>
                      <a:pt x="4630471" y="2007253"/>
                    </a:lnTo>
                    <a:lnTo>
                      <a:pt x="4634413" y="2003655"/>
                    </a:lnTo>
                    <a:close/>
                    <a:moveTo>
                      <a:pt x="4593130" y="2003655"/>
                    </a:moveTo>
                    <a:lnTo>
                      <a:pt x="4583458" y="2012724"/>
                    </a:lnTo>
                    <a:lnTo>
                      <a:pt x="4593307" y="2003735"/>
                    </a:lnTo>
                    <a:close/>
                    <a:moveTo>
                      <a:pt x="4321463" y="1992348"/>
                    </a:moveTo>
                    <a:lnTo>
                      <a:pt x="4321463" y="2004098"/>
                    </a:lnTo>
                    <a:lnTo>
                      <a:pt x="4321463" y="2016360"/>
                    </a:lnTo>
                    <a:lnTo>
                      <a:pt x="4331534" y="2020676"/>
                    </a:lnTo>
                    <a:close/>
                    <a:moveTo>
                      <a:pt x="4443053" y="1916094"/>
                    </a:moveTo>
                    <a:lnTo>
                      <a:pt x="4401835" y="1940549"/>
                    </a:lnTo>
                    <a:lnTo>
                      <a:pt x="4375674" y="1940549"/>
                    </a:lnTo>
                    <a:lnTo>
                      <a:pt x="4375674" y="1941145"/>
                    </a:lnTo>
                    <a:lnTo>
                      <a:pt x="4402169" y="1941145"/>
                    </a:lnTo>
                    <a:lnTo>
                      <a:pt x="4442845" y="1916883"/>
                    </a:lnTo>
                    <a:lnTo>
                      <a:pt x="4456924" y="1916883"/>
                    </a:lnTo>
                    <a:lnTo>
                      <a:pt x="4456924" y="1941145"/>
                    </a:lnTo>
                    <a:lnTo>
                      <a:pt x="4416250" y="1966188"/>
                    </a:lnTo>
                    <a:lnTo>
                      <a:pt x="4429547" y="1978711"/>
                    </a:lnTo>
                    <a:lnTo>
                      <a:pt x="4416303" y="2003654"/>
                    </a:lnTo>
                    <a:lnTo>
                      <a:pt x="4418270" y="2003654"/>
                    </a:lnTo>
                    <a:lnTo>
                      <a:pt x="4431681" y="1978411"/>
                    </a:lnTo>
                    <a:lnTo>
                      <a:pt x="4418270" y="1965790"/>
                    </a:lnTo>
                    <a:lnTo>
                      <a:pt x="4457955" y="1940890"/>
                    </a:lnTo>
                    <a:lnTo>
                      <a:pt x="4456925" y="1940548"/>
                    </a:lnTo>
                    <a:lnTo>
                      <a:pt x="4456925" y="1916094"/>
                    </a:lnTo>
                    <a:close/>
                    <a:moveTo>
                      <a:pt x="6425276" y="1902682"/>
                    </a:moveTo>
                    <a:lnTo>
                      <a:pt x="6453286" y="1916093"/>
                    </a:lnTo>
                    <a:lnTo>
                      <a:pt x="6466888" y="1927923"/>
                    </a:lnTo>
                    <a:lnTo>
                      <a:pt x="6466888" y="1916093"/>
                    </a:lnTo>
                    <a:lnTo>
                      <a:pt x="6494887" y="1902682"/>
                    </a:lnTo>
                    <a:lnTo>
                      <a:pt x="6523684" y="1902682"/>
                    </a:lnTo>
                    <a:lnTo>
                      <a:pt x="6510085" y="1916093"/>
                    </a:lnTo>
                    <a:lnTo>
                      <a:pt x="6494887" y="1916093"/>
                    </a:lnTo>
                    <a:lnTo>
                      <a:pt x="6480487" y="1927925"/>
                    </a:lnTo>
                    <a:lnTo>
                      <a:pt x="6466891" y="1927925"/>
                    </a:lnTo>
                    <a:lnTo>
                      <a:pt x="6453286" y="1965791"/>
                    </a:lnTo>
                    <a:lnTo>
                      <a:pt x="6438881" y="1978412"/>
                    </a:lnTo>
                    <a:lnTo>
                      <a:pt x="6425276" y="1965791"/>
                    </a:lnTo>
                    <a:lnTo>
                      <a:pt x="6425276" y="1927925"/>
                    </a:lnTo>
                    <a:lnTo>
                      <a:pt x="6411671" y="1927925"/>
                    </a:lnTo>
                    <a:lnTo>
                      <a:pt x="6411671" y="1916093"/>
                    </a:lnTo>
                    <a:close/>
                    <a:moveTo>
                      <a:pt x="3582103" y="1879807"/>
                    </a:moveTo>
                    <a:lnTo>
                      <a:pt x="3590046" y="1916716"/>
                    </a:lnTo>
                    <a:lnTo>
                      <a:pt x="3590995" y="1916136"/>
                    </a:lnTo>
                    <a:lnTo>
                      <a:pt x="3583163" y="1879807"/>
                    </a:lnTo>
                    <a:close/>
                    <a:moveTo>
                      <a:pt x="4362264" y="1864819"/>
                    </a:moveTo>
                    <a:lnTo>
                      <a:pt x="4348065" y="1878230"/>
                    </a:lnTo>
                    <a:lnTo>
                      <a:pt x="4334655" y="1890062"/>
                    </a:lnTo>
                    <a:lnTo>
                      <a:pt x="4321244" y="1890062"/>
                    </a:lnTo>
                    <a:lnTo>
                      <a:pt x="4307045" y="1878230"/>
                    </a:lnTo>
                    <a:close/>
                    <a:moveTo>
                      <a:pt x="4128767" y="1864819"/>
                    </a:moveTo>
                    <a:lnTo>
                      <a:pt x="4170765" y="1879019"/>
                    </a:lnTo>
                    <a:lnTo>
                      <a:pt x="4156766" y="1879019"/>
                    </a:lnTo>
                    <a:lnTo>
                      <a:pt x="4128767" y="1879019"/>
                    </a:lnTo>
                    <a:close/>
                    <a:moveTo>
                      <a:pt x="3705653" y="1828532"/>
                    </a:moveTo>
                    <a:lnTo>
                      <a:pt x="3733313" y="1841943"/>
                    </a:lnTo>
                    <a:lnTo>
                      <a:pt x="3746748" y="1828532"/>
                    </a:lnTo>
                    <a:lnTo>
                      <a:pt x="3786315" y="1841445"/>
                    </a:lnTo>
                    <a:lnTo>
                      <a:pt x="3799289" y="1828532"/>
                    </a:lnTo>
                    <a:lnTo>
                      <a:pt x="3828754" y="1828532"/>
                    </a:lnTo>
                    <a:lnTo>
                      <a:pt x="3842292" y="1842007"/>
                    </a:lnTo>
                    <a:lnTo>
                      <a:pt x="3855829" y="1828532"/>
                    </a:lnTo>
                    <a:lnTo>
                      <a:pt x="3842292" y="1853897"/>
                    </a:lnTo>
                    <a:lnTo>
                      <a:pt x="3855829" y="1880053"/>
                    </a:lnTo>
                    <a:lnTo>
                      <a:pt x="3828754" y="1904624"/>
                    </a:lnTo>
                    <a:lnTo>
                      <a:pt x="3828754" y="1918099"/>
                    </a:lnTo>
                    <a:lnTo>
                      <a:pt x="3855829" y="1918099"/>
                    </a:lnTo>
                    <a:lnTo>
                      <a:pt x="3855829" y="1927925"/>
                    </a:lnTo>
                    <a:lnTo>
                      <a:pt x="3881228" y="1927925"/>
                    </a:lnTo>
                    <a:lnTo>
                      <a:pt x="3923923" y="1940548"/>
                    </a:lnTo>
                    <a:lnTo>
                      <a:pt x="3950805" y="1940548"/>
                    </a:lnTo>
                    <a:lnTo>
                      <a:pt x="3950805" y="1965790"/>
                    </a:lnTo>
                    <a:lnTo>
                      <a:pt x="4033032" y="1991822"/>
                    </a:lnTo>
                    <a:lnTo>
                      <a:pt x="4046474" y="1978412"/>
                    </a:lnTo>
                    <a:lnTo>
                      <a:pt x="4046474" y="1953957"/>
                    </a:lnTo>
                    <a:lnTo>
                      <a:pt x="4089169" y="1927925"/>
                    </a:lnTo>
                    <a:lnTo>
                      <a:pt x="4116842" y="1940548"/>
                    </a:lnTo>
                    <a:lnTo>
                      <a:pt x="4116842" y="1953957"/>
                    </a:lnTo>
                    <a:lnTo>
                      <a:pt x="4157165" y="1953957"/>
                    </a:lnTo>
                    <a:lnTo>
                      <a:pt x="4148626" y="1985531"/>
                    </a:lnTo>
                    <a:lnTo>
                      <a:pt x="4149590" y="1985471"/>
                    </a:lnTo>
                    <a:lnTo>
                      <a:pt x="4157911" y="1954746"/>
                    </a:lnTo>
                    <a:lnTo>
                      <a:pt x="4157911" y="1966497"/>
                    </a:lnTo>
                    <a:lnTo>
                      <a:pt x="4198799" y="1966497"/>
                    </a:lnTo>
                    <a:lnTo>
                      <a:pt x="4239687" y="1979030"/>
                    </a:lnTo>
                    <a:lnTo>
                      <a:pt x="4293942" y="1966497"/>
                    </a:lnTo>
                    <a:lnTo>
                      <a:pt x="4307309" y="1966497"/>
                    </a:lnTo>
                    <a:lnTo>
                      <a:pt x="4307309" y="1979030"/>
                    </a:lnTo>
                    <a:lnTo>
                      <a:pt x="4321463" y="1966497"/>
                    </a:lnTo>
                    <a:lnTo>
                      <a:pt x="4321463" y="1979030"/>
                    </a:lnTo>
                    <a:lnTo>
                      <a:pt x="4348197" y="1966497"/>
                    </a:lnTo>
                    <a:lnTo>
                      <a:pt x="4362350" y="2016632"/>
                    </a:lnTo>
                    <a:lnTo>
                      <a:pt x="4348990" y="2052128"/>
                    </a:lnTo>
                    <a:lnTo>
                      <a:pt x="4354950" y="2084907"/>
                    </a:lnTo>
                    <a:lnTo>
                      <a:pt x="4389085" y="2154504"/>
                    </a:lnTo>
                    <a:lnTo>
                      <a:pt x="4369818" y="2166685"/>
                    </a:lnTo>
                    <a:lnTo>
                      <a:pt x="4370124" y="2168369"/>
                    </a:lnTo>
                    <a:lnTo>
                      <a:pt x="4391862" y="2155111"/>
                    </a:lnTo>
                    <a:lnTo>
                      <a:pt x="4419873" y="2169894"/>
                    </a:lnTo>
                    <a:lnTo>
                      <a:pt x="4434878" y="2243811"/>
                    </a:lnTo>
                    <a:lnTo>
                      <a:pt x="4445640" y="2257305"/>
                    </a:lnTo>
                    <a:lnTo>
                      <a:pt x="4445640" y="2256083"/>
                    </a:lnTo>
                    <a:lnTo>
                      <a:pt x="4471520" y="2305781"/>
                    </a:lnTo>
                    <a:lnTo>
                      <a:pt x="4498183" y="2331813"/>
                    </a:lnTo>
                    <a:lnTo>
                      <a:pt x="4538963" y="2369677"/>
                    </a:lnTo>
                    <a:lnTo>
                      <a:pt x="4540542" y="2369677"/>
                    </a:lnTo>
                    <a:lnTo>
                      <a:pt x="4554741" y="2369677"/>
                    </a:lnTo>
                    <a:lnTo>
                      <a:pt x="4554741" y="2381510"/>
                    </a:lnTo>
                    <a:lnTo>
                      <a:pt x="4540542" y="2381510"/>
                    </a:lnTo>
                    <a:lnTo>
                      <a:pt x="4554741" y="2393343"/>
                    </a:lnTo>
                    <a:lnTo>
                      <a:pt x="4553065" y="2395019"/>
                    </a:lnTo>
                    <a:lnTo>
                      <a:pt x="4566327" y="2408329"/>
                    </a:lnTo>
                    <a:lnTo>
                      <a:pt x="4579689" y="2420161"/>
                    </a:lnTo>
                    <a:lnTo>
                      <a:pt x="4676368" y="2394130"/>
                    </a:lnTo>
                    <a:lnTo>
                      <a:pt x="4703092" y="2382297"/>
                    </a:lnTo>
                    <a:lnTo>
                      <a:pt x="4717241" y="2382297"/>
                    </a:lnTo>
                    <a:lnTo>
                      <a:pt x="4717241" y="2408329"/>
                    </a:lnTo>
                    <a:lnTo>
                      <a:pt x="4676368" y="2507723"/>
                    </a:lnTo>
                    <a:lnTo>
                      <a:pt x="4648858" y="2533755"/>
                    </a:lnTo>
                    <a:lnTo>
                      <a:pt x="4608771" y="2571619"/>
                    </a:lnTo>
                    <a:lnTo>
                      <a:pt x="4552178" y="2609484"/>
                    </a:lnTo>
                    <a:lnTo>
                      <a:pt x="4512515" y="2646949"/>
                    </a:lnTo>
                    <a:lnTo>
                      <a:pt x="4512991" y="2647348"/>
                    </a:lnTo>
                    <a:lnTo>
                      <a:pt x="4498854" y="2672591"/>
                    </a:lnTo>
                    <a:lnTo>
                      <a:pt x="4493276" y="2672591"/>
                    </a:lnTo>
                    <a:lnTo>
                      <a:pt x="4473490" y="2807139"/>
                    </a:lnTo>
                    <a:lnTo>
                      <a:pt x="4473490" y="2811145"/>
                    </a:lnTo>
                    <a:lnTo>
                      <a:pt x="4486899" y="2824655"/>
                    </a:lnTo>
                    <a:lnTo>
                      <a:pt x="4484819" y="2826512"/>
                    </a:lnTo>
                    <a:lnTo>
                      <a:pt x="4497944" y="2924232"/>
                    </a:lnTo>
                    <a:lnTo>
                      <a:pt x="4457576" y="2962096"/>
                    </a:lnTo>
                    <a:lnTo>
                      <a:pt x="4416416" y="2975507"/>
                    </a:lnTo>
                    <a:lnTo>
                      <a:pt x="4361801" y="3025992"/>
                    </a:lnTo>
                    <a:lnTo>
                      <a:pt x="4388713" y="3075690"/>
                    </a:lnTo>
                    <a:lnTo>
                      <a:pt x="4388713" y="3113554"/>
                    </a:lnTo>
                    <a:lnTo>
                      <a:pt x="4375256" y="3126964"/>
                    </a:lnTo>
                    <a:lnTo>
                      <a:pt x="4320640" y="3139585"/>
                    </a:lnTo>
                    <a:lnTo>
                      <a:pt x="4320640" y="3151418"/>
                    </a:lnTo>
                    <a:lnTo>
                      <a:pt x="4320640" y="3164827"/>
                    </a:lnTo>
                    <a:lnTo>
                      <a:pt x="4321243" y="3164827"/>
                    </a:lnTo>
                    <a:lnTo>
                      <a:pt x="4321243" y="3176661"/>
                    </a:lnTo>
                    <a:lnTo>
                      <a:pt x="4321243" y="3214525"/>
                    </a:lnTo>
                    <a:lnTo>
                      <a:pt x="4293573" y="3227146"/>
                    </a:lnTo>
                    <a:lnTo>
                      <a:pt x="4266693" y="3265010"/>
                    </a:lnTo>
                    <a:lnTo>
                      <a:pt x="4225582" y="3302875"/>
                    </a:lnTo>
                    <a:lnTo>
                      <a:pt x="4197912" y="3328118"/>
                    </a:lnTo>
                    <a:lnTo>
                      <a:pt x="4156801" y="3340740"/>
                    </a:lnTo>
                    <a:lnTo>
                      <a:pt x="4129921" y="3340740"/>
                    </a:lnTo>
                    <a:lnTo>
                      <a:pt x="4088811" y="3340740"/>
                    </a:lnTo>
                    <a:lnTo>
                      <a:pt x="4046119" y="3354149"/>
                    </a:lnTo>
                    <a:lnTo>
                      <a:pt x="4032678" y="3354149"/>
                    </a:lnTo>
                    <a:lnTo>
                      <a:pt x="4019239" y="3340740"/>
                    </a:lnTo>
                    <a:lnTo>
                      <a:pt x="4005009" y="3302875"/>
                    </a:lnTo>
                    <a:lnTo>
                      <a:pt x="4005009" y="3290253"/>
                    </a:lnTo>
                    <a:lnTo>
                      <a:pt x="3978128" y="3214525"/>
                    </a:lnTo>
                    <a:lnTo>
                      <a:pt x="3967948" y="3214525"/>
                    </a:lnTo>
                    <a:lnTo>
                      <a:pt x="3967054" y="3215312"/>
                    </a:lnTo>
                    <a:lnTo>
                      <a:pt x="3966611" y="3214525"/>
                    </a:lnTo>
                    <a:lnTo>
                      <a:pt x="3964688" y="3214525"/>
                    </a:lnTo>
                    <a:lnTo>
                      <a:pt x="3965974" y="3213393"/>
                    </a:lnTo>
                    <a:lnTo>
                      <a:pt x="3952856" y="3190070"/>
                    </a:lnTo>
                    <a:lnTo>
                      <a:pt x="3926035" y="3114341"/>
                    </a:lnTo>
                    <a:lnTo>
                      <a:pt x="3926035" y="3076477"/>
                    </a:lnTo>
                    <a:lnTo>
                      <a:pt x="3871604" y="2976295"/>
                    </a:lnTo>
                    <a:lnTo>
                      <a:pt x="3871604" y="2962884"/>
                    </a:lnTo>
                    <a:lnTo>
                      <a:pt x="3896906" y="2962884"/>
                    </a:lnTo>
                    <a:lnTo>
                      <a:pt x="3896617" y="2962177"/>
                    </a:lnTo>
                    <a:lnTo>
                      <a:pt x="3871604" y="2962177"/>
                    </a:lnTo>
                    <a:lnTo>
                      <a:pt x="3871604" y="2937799"/>
                    </a:lnTo>
                    <a:lnTo>
                      <a:pt x="3885053" y="2886685"/>
                    </a:lnTo>
                    <a:lnTo>
                      <a:pt x="3902430" y="2879064"/>
                    </a:lnTo>
                    <a:lnTo>
                      <a:pt x="3909163" y="2838665"/>
                    </a:lnTo>
                    <a:lnTo>
                      <a:pt x="3898502" y="2799396"/>
                    </a:lnTo>
                    <a:lnTo>
                      <a:pt x="3898502" y="2786814"/>
                    </a:lnTo>
                    <a:lnTo>
                      <a:pt x="3885053" y="2749067"/>
                    </a:lnTo>
                    <a:lnTo>
                      <a:pt x="3911952" y="2735698"/>
                    </a:lnTo>
                    <a:lnTo>
                      <a:pt x="3926325" y="2735698"/>
                    </a:lnTo>
                    <a:lnTo>
                      <a:pt x="3926434" y="2735043"/>
                    </a:lnTo>
                    <a:lnTo>
                      <a:pt x="3910364" y="2735043"/>
                    </a:lnTo>
                    <a:lnTo>
                      <a:pt x="3882649" y="2748511"/>
                    </a:lnTo>
                    <a:lnTo>
                      <a:pt x="3882649" y="2735043"/>
                    </a:lnTo>
                    <a:lnTo>
                      <a:pt x="3896096" y="2710512"/>
                    </a:lnTo>
                    <a:lnTo>
                      <a:pt x="3883437" y="2710512"/>
                    </a:lnTo>
                    <a:lnTo>
                      <a:pt x="3883437" y="2723076"/>
                    </a:lnTo>
                    <a:lnTo>
                      <a:pt x="3855918" y="2697245"/>
                    </a:lnTo>
                    <a:lnTo>
                      <a:pt x="3855918" y="2697833"/>
                    </a:lnTo>
                    <a:lnTo>
                      <a:pt x="3827875" y="2673226"/>
                    </a:lnTo>
                    <a:lnTo>
                      <a:pt x="3800610" y="2635917"/>
                    </a:lnTo>
                    <a:lnTo>
                      <a:pt x="3814632" y="2621629"/>
                    </a:lnTo>
                    <a:lnTo>
                      <a:pt x="3814632" y="2609722"/>
                    </a:lnTo>
                    <a:lnTo>
                      <a:pt x="3827875" y="2597815"/>
                    </a:lnTo>
                    <a:lnTo>
                      <a:pt x="3851403" y="2597815"/>
                    </a:lnTo>
                    <a:lnTo>
                      <a:pt x="3850784" y="2596863"/>
                    </a:lnTo>
                    <a:lnTo>
                      <a:pt x="3826895" y="2596863"/>
                    </a:lnTo>
                    <a:lnTo>
                      <a:pt x="3813231" y="2596863"/>
                    </a:lnTo>
                    <a:lnTo>
                      <a:pt x="3826895" y="2571619"/>
                    </a:lnTo>
                    <a:lnTo>
                      <a:pt x="3827960" y="2571619"/>
                    </a:lnTo>
                    <a:lnTo>
                      <a:pt x="3827960" y="2560576"/>
                    </a:lnTo>
                    <a:lnTo>
                      <a:pt x="3814676" y="2546376"/>
                    </a:lnTo>
                    <a:lnTo>
                      <a:pt x="3800610" y="2534544"/>
                    </a:lnTo>
                    <a:lnTo>
                      <a:pt x="3800610" y="2533755"/>
                    </a:lnTo>
                    <a:lnTo>
                      <a:pt x="3745171" y="2533755"/>
                    </a:lnTo>
                    <a:lnTo>
                      <a:pt x="3731803" y="2533755"/>
                    </a:lnTo>
                    <a:lnTo>
                      <a:pt x="3718436" y="2507723"/>
                    </a:lnTo>
                    <a:lnTo>
                      <a:pt x="3718436" y="2495891"/>
                    </a:lnTo>
                    <a:lnTo>
                      <a:pt x="3678147" y="2495891"/>
                    </a:lnTo>
                    <a:lnTo>
                      <a:pt x="3675973" y="2495891"/>
                    </a:lnTo>
                    <a:lnTo>
                      <a:pt x="3650137" y="2495891"/>
                    </a:lnTo>
                    <a:lnTo>
                      <a:pt x="3650137" y="2487247"/>
                    </a:lnTo>
                    <a:lnTo>
                      <a:pt x="3649153" y="2487359"/>
                    </a:lnTo>
                    <a:lnTo>
                      <a:pt x="3649153" y="2495890"/>
                    </a:lnTo>
                    <a:lnTo>
                      <a:pt x="3635743" y="2495890"/>
                    </a:lnTo>
                    <a:lnTo>
                      <a:pt x="3635743" y="2495721"/>
                    </a:lnTo>
                    <a:lnTo>
                      <a:pt x="3568691" y="2521132"/>
                    </a:lnTo>
                    <a:lnTo>
                      <a:pt x="3554492" y="2521132"/>
                    </a:lnTo>
                    <a:lnTo>
                      <a:pt x="3554492" y="2499444"/>
                    </a:lnTo>
                    <a:lnTo>
                      <a:pt x="3552833" y="2499706"/>
                    </a:lnTo>
                    <a:lnTo>
                      <a:pt x="3552833" y="2521847"/>
                    </a:lnTo>
                    <a:lnTo>
                      <a:pt x="3525858" y="2521847"/>
                    </a:lnTo>
                    <a:lnTo>
                      <a:pt x="3484601" y="2521847"/>
                    </a:lnTo>
                    <a:lnTo>
                      <a:pt x="3458255" y="2533144"/>
                    </a:lnTo>
                    <a:lnTo>
                      <a:pt x="3458255" y="2533755"/>
                    </a:lnTo>
                    <a:lnTo>
                      <a:pt x="3429392" y="2533755"/>
                    </a:lnTo>
                    <a:lnTo>
                      <a:pt x="3360439" y="2483610"/>
                    </a:lnTo>
                    <a:lnTo>
                      <a:pt x="3361633" y="2482461"/>
                    </a:lnTo>
                    <a:lnTo>
                      <a:pt x="3348817" y="2469245"/>
                    </a:lnTo>
                    <a:lnTo>
                      <a:pt x="3333618" y="2469245"/>
                    </a:lnTo>
                    <a:lnTo>
                      <a:pt x="3333618" y="2431848"/>
                    </a:lnTo>
                    <a:lnTo>
                      <a:pt x="3334052" y="2431514"/>
                    </a:lnTo>
                    <a:lnTo>
                      <a:pt x="3294174" y="2408143"/>
                    </a:lnTo>
                    <a:lnTo>
                      <a:pt x="3311340" y="2391702"/>
                    </a:lnTo>
                    <a:lnTo>
                      <a:pt x="3310067" y="2390430"/>
                    </a:lnTo>
                    <a:lnTo>
                      <a:pt x="3292127" y="2407541"/>
                    </a:lnTo>
                    <a:lnTo>
                      <a:pt x="3278871" y="2393343"/>
                    </a:lnTo>
                    <a:lnTo>
                      <a:pt x="3278871" y="2381510"/>
                    </a:lnTo>
                    <a:lnTo>
                      <a:pt x="3251578" y="2369677"/>
                    </a:lnTo>
                    <a:lnTo>
                      <a:pt x="3253865" y="2369677"/>
                    </a:lnTo>
                    <a:lnTo>
                      <a:pt x="3253865" y="2357055"/>
                    </a:lnTo>
                    <a:lnTo>
                      <a:pt x="3251578" y="2357055"/>
                    </a:lnTo>
                    <a:lnTo>
                      <a:pt x="3251578" y="2344434"/>
                    </a:lnTo>
                    <a:lnTo>
                      <a:pt x="3286771" y="2344434"/>
                    </a:lnTo>
                    <a:lnTo>
                      <a:pt x="3286674" y="2343876"/>
                    </a:lnTo>
                    <a:lnTo>
                      <a:pt x="3253865" y="2343876"/>
                    </a:lnTo>
                    <a:lnTo>
                      <a:pt x="3240533" y="2318075"/>
                    </a:lnTo>
                    <a:lnTo>
                      <a:pt x="3253777" y="2294775"/>
                    </a:lnTo>
                    <a:lnTo>
                      <a:pt x="3267311" y="2245606"/>
                    </a:lnTo>
                    <a:lnTo>
                      <a:pt x="3253155" y="2232947"/>
                    </a:lnTo>
                    <a:lnTo>
                      <a:pt x="3264007" y="2213539"/>
                    </a:lnTo>
                    <a:lnTo>
                      <a:pt x="3262181" y="2203041"/>
                    </a:lnTo>
                    <a:lnTo>
                      <a:pt x="3253155" y="2194969"/>
                    </a:lnTo>
                    <a:lnTo>
                      <a:pt x="3266523" y="2183763"/>
                    </a:lnTo>
                    <a:lnTo>
                      <a:pt x="3266866" y="2183077"/>
                    </a:lnTo>
                    <a:lnTo>
                      <a:pt x="3253155" y="2194553"/>
                    </a:lnTo>
                    <a:lnTo>
                      <a:pt x="3253155" y="2169310"/>
                    </a:lnTo>
                    <a:lnTo>
                      <a:pt x="3293995" y="2118825"/>
                    </a:lnTo>
                    <a:lnTo>
                      <a:pt x="3307346" y="2080961"/>
                    </a:lnTo>
                    <a:lnTo>
                      <a:pt x="3323054" y="2069128"/>
                    </a:lnTo>
                    <a:lnTo>
                      <a:pt x="3336330" y="2043244"/>
                    </a:lnTo>
                    <a:lnTo>
                      <a:pt x="3335195" y="2043097"/>
                    </a:lnTo>
                    <a:lnTo>
                      <a:pt x="3363594" y="2043097"/>
                    </a:lnTo>
                    <a:lnTo>
                      <a:pt x="3391204" y="2017853"/>
                    </a:lnTo>
                    <a:lnTo>
                      <a:pt x="3404613" y="1993400"/>
                    </a:lnTo>
                    <a:lnTo>
                      <a:pt x="3404613" y="1967368"/>
                    </a:lnTo>
                    <a:lnTo>
                      <a:pt x="3418813" y="1942125"/>
                    </a:lnTo>
                    <a:lnTo>
                      <a:pt x="3432224" y="1917672"/>
                    </a:lnTo>
                    <a:lnTo>
                      <a:pt x="3473244" y="1904261"/>
                    </a:lnTo>
                    <a:lnTo>
                      <a:pt x="3486653" y="1866396"/>
                    </a:lnTo>
                    <a:lnTo>
                      <a:pt x="3500064" y="1866396"/>
                    </a:lnTo>
                    <a:lnTo>
                      <a:pt x="3514263" y="1879807"/>
                    </a:lnTo>
                    <a:lnTo>
                      <a:pt x="3554494" y="1879807"/>
                    </a:lnTo>
                    <a:lnTo>
                      <a:pt x="3568149" y="1879807"/>
                    </a:lnTo>
                    <a:lnTo>
                      <a:pt x="3637692" y="1841943"/>
                    </a:lnTo>
                    <a:lnTo>
                      <a:pt x="3678785" y="1841943"/>
                    </a:lnTo>
                    <a:close/>
                    <a:moveTo>
                      <a:pt x="4497945" y="1826821"/>
                    </a:moveTo>
                    <a:lnTo>
                      <a:pt x="4477672" y="1833614"/>
                    </a:lnTo>
                    <a:lnTo>
                      <a:pt x="4497745" y="1826955"/>
                    </a:lnTo>
                    <a:lnTo>
                      <a:pt x="4538489" y="1826955"/>
                    </a:lnTo>
                    <a:lnTo>
                      <a:pt x="4538490" y="1826955"/>
                    </a:lnTo>
                    <a:lnTo>
                      <a:pt x="4538490" y="1826821"/>
                    </a:lnTo>
                    <a:close/>
                    <a:moveTo>
                      <a:pt x="4443515" y="1826821"/>
                    </a:moveTo>
                    <a:lnTo>
                      <a:pt x="4443067" y="1826969"/>
                    </a:lnTo>
                    <a:lnTo>
                      <a:pt x="4457321" y="1840366"/>
                    </a:lnTo>
                    <a:lnTo>
                      <a:pt x="4457662" y="1840252"/>
                    </a:lnTo>
                    <a:close/>
                    <a:moveTo>
                      <a:pt x="4088537" y="1803289"/>
                    </a:moveTo>
                    <a:lnTo>
                      <a:pt x="4116146" y="1815121"/>
                    </a:lnTo>
                    <a:lnTo>
                      <a:pt x="4116146" y="1827744"/>
                    </a:lnTo>
                    <a:lnTo>
                      <a:pt x="4101946" y="1815121"/>
                    </a:lnTo>
                    <a:lnTo>
                      <a:pt x="4116146" y="1841153"/>
                    </a:lnTo>
                    <a:lnTo>
                      <a:pt x="4101946" y="1841153"/>
                    </a:lnTo>
                    <a:lnTo>
                      <a:pt x="4088537" y="1841153"/>
                    </a:lnTo>
                    <a:lnTo>
                      <a:pt x="4088537" y="1815121"/>
                    </a:lnTo>
                    <a:lnTo>
                      <a:pt x="4075126" y="1815121"/>
                    </a:lnTo>
                    <a:close/>
                    <a:moveTo>
                      <a:pt x="1983934" y="1764280"/>
                    </a:moveTo>
                    <a:lnTo>
                      <a:pt x="1997344" y="1788703"/>
                    </a:lnTo>
                    <a:lnTo>
                      <a:pt x="1983934" y="1826519"/>
                    </a:lnTo>
                    <a:lnTo>
                      <a:pt x="1983934" y="1802096"/>
                    </a:lnTo>
                    <a:lnTo>
                      <a:pt x="1969734" y="1788703"/>
                    </a:lnTo>
                    <a:close/>
                    <a:moveTo>
                      <a:pt x="4581561" y="1751225"/>
                    </a:moveTo>
                    <a:lnTo>
                      <a:pt x="4608381" y="1764229"/>
                    </a:lnTo>
                    <a:lnTo>
                      <a:pt x="4608381" y="1776469"/>
                    </a:lnTo>
                    <a:lnTo>
                      <a:pt x="4594588" y="1776469"/>
                    </a:lnTo>
                    <a:close/>
                    <a:moveTo>
                      <a:pt x="3677551" y="1751225"/>
                    </a:moveTo>
                    <a:lnTo>
                      <a:pt x="3691750" y="1764229"/>
                    </a:lnTo>
                    <a:lnTo>
                      <a:pt x="3677551" y="1776469"/>
                    </a:lnTo>
                    <a:lnTo>
                      <a:pt x="3663351" y="1764229"/>
                    </a:lnTo>
                    <a:close/>
                    <a:moveTo>
                      <a:pt x="3786410" y="1727561"/>
                    </a:moveTo>
                    <a:lnTo>
                      <a:pt x="3814021" y="1727561"/>
                    </a:lnTo>
                    <a:lnTo>
                      <a:pt x="3827430" y="1740022"/>
                    </a:lnTo>
                    <a:lnTo>
                      <a:pt x="3814021" y="1777408"/>
                    </a:lnTo>
                    <a:lnTo>
                      <a:pt x="3799821" y="1789091"/>
                    </a:lnTo>
                    <a:lnTo>
                      <a:pt x="3799821" y="1777408"/>
                    </a:lnTo>
                    <a:close/>
                    <a:moveTo>
                      <a:pt x="4182427" y="1716734"/>
                    </a:moveTo>
                    <a:lnTo>
                      <a:pt x="4182075" y="1717090"/>
                    </a:lnTo>
                    <a:lnTo>
                      <a:pt x="4180831" y="1719521"/>
                    </a:lnTo>
                    <a:close/>
                    <a:moveTo>
                      <a:pt x="6660156" y="1713361"/>
                    </a:moveTo>
                    <a:lnTo>
                      <a:pt x="6673566" y="1726824"/>
                    </a:lnTo>
                    <a:lnTo>
                      <a:pt x="6673566" y="1777506"/>
                    </a:lnTo>
                    <a:lnTo>
                      <a:pt x="6673566" y="1802847"/>
                    </a:lnTo>
                    <a:lnTo>
                      <a:pt x="6660156" y="1802847"/>
                    </a:lnTo>
                    <a:lnTo>
                      <a:pt x="6660156" y="1865408"/>
                    </a:lnTo>
                    <a:lnTo>
                      <a:pt x="6646745" y="1878870"/>
                    </a:lnTo>
                    <a:lnTo>
                      <a:pt x="6632546" y="1878870"/>
                    </a:lnTo>
                    <a:lnTo>
                      <a:pt x="6632546" y="1865408"/>
                    </a:lnTo>
                    <a:lnTo>
                      <a:pt x="6619136" y="1878870"/>
                    </a:lnTo>
                    <a:lnTo>
                      <a:pt x="6619136" y="1890749"/>
                    </a:lnTo>
                    <a:lnTo>
                      <a:pt x="6605725" y="1878870"/>
                    </a:lnTo>
                    <a:lnTo>
                      <a:pt x="6591527" y="1890749"/>
                    </a:lnTo>
                    <a:lnTo>
                      <a:pt x="6578116" y="1890749"/>
                    </a:lnTo>
                    <a:lnTo>
                      <a:pt x="6564706" y="1878870"/>
                    </a:lnTo>
                    <a:lnTo>
                      <a:pt x="6564706" y="1890749"/>
                    </a:lnTo>
                    <a:lnTo>
                      <a:pt x="6551296" y="1916882"/>
                    </a:lnTo>
                    <a:lnTo>
                      <a:pt x="6537096" y="1903420"/>
                    </a:lnTo>
                    <a:lnTo>
                      <a:pt x="6537096" y="1890749"/>
                    </a:lnTo>
                    <a:lnTo>
                      <a:pt x="6523686" y="1878870"/>
                    </a:lnTo>
                    <a:lnTo>
                      <a:pt x="6469256" y="1903420"/>
                    </a:lnTo>
                    <a:lnTo>
                      <a:pt x="6441646" y="1903420"/>
                    </a:lnTo>
                    <a:lnTo>
                      <a:pt x="6441646" y="1890749"/>
                    </a:lnTo>
                    <a:lnTo>
                      <a:pt x="6482666" y="1865408"/>
                    </a:lnTo>
                    <a:lnTo>
                      <a:pt x="6537096" y="1865408"/>
                    </a:lnTo>
                    <a:lnTo>
                      <a:pt x="6551296" y="1865408"/>
                    </a:lnTo>
                    <a:lnTo>
                      <a:pt x="6564706" y="1827396"/>
                    </a:lnTo>
                    <a:lnTo>
                      <a:pt x="6578116" y="1814726"/>
                    </a:lnTo>
                    <a:lnTo>
                      <a:pt x="6578116" y="1840859"/>
                    </a:lnTo>
                    <a:lnTo>
                      <a:pt x="6605725" y="1814726"/>
                    </a:lnTo>
                    <a:lnTo>
                      <a:pt x="6632546" y="1777506"/>
                    </a:lnTo>
                    <a:lnTo>
                      <a:pt x="6646745" y="1726824"/>
                    </a:lnTo>
                    <a:lnTo>
                      <a:pt x="6660156" y="1726824"/>
                    </a:lnTo>
                    <a:close/>
                    <a:moveTo>
                      <a:pt x="4582034" y="1713361"/>
                    </a:moveTo>
                    <a:lnTo>
                      <a:pt x="4609327" y="1739072"/>
                    </a:lnTo>
                    <a:lnTo>
                      <a:pt x="4609327" y="1750759"/>
                    </a:lnTo>
                    <a:lnTo>
                      <a:pt x="4609346" y="1750778"/>
                    </a:lnTo>
                    <a:lnTo>
                      <a:pt x="4609346" y="1738944"/>
                    </a:lnTo>
                    <a:lnTo>
                      <a:pt x="4582283" y="1713361"/>
                    </a:lnTo>
                    <a:close/>
                    <a:moveTo>
                      <a:pt x="4552647" y="1713361"/>
                    </a:moveTo>
                    <a:lnTo>
                      <a:pt x="4566574" y="1750696"/>
                    </a:lnTo>
                    <a:lnTo>
                      <a:pt x="4568755" y="1750696"/>
                    </a:lnTo>
                    <a:lnTo>
                      <a:pt x="4554741" y="1713361"/>
                    </a:lnTo>
                    <a:lnTo>
                      <a:pt x="4553951" y="1713361"/>
                    </a:lnTo>
                    <a:close/>
                    <a:moveTo>
                      <a:pt x="4609170" y="1701341"/>
                    </a:moveTo>
                    <a:lnTo>
                      <a:pt x="4621818" y="1712679"/>
                    </a:lnTo>
                    <a:lnTo>
                      <a:pt x="4622842" y="1712679"/>
                    </a:lnTo>
                    <a:lnTo>
                      <a:pt x="4610026" y="1701341"/>
                    </a:lnTo>
                    <a:close/>
                    <a:moveTo>
                      <a:pt x="4019050" y="1675498"/>
                    </a:moveTo>
                    <a:lnTo>
                      <a:pt x="4019063" y="1675504"/>
                    </a:lnTo>
                    <a:lnTo>
                      <a:pt x="4019070" y="1675498"/>
                    </a:lnTo>
                    <a:close/>
                    <a:moveTo>
                      <a:pt x="3813231" y="1675496"/>
                    </a:moveTo>
                    <a:lnTo>
                      <a:pt x="3813231" y="1727560"/>
                    </a:lnTo>
                    <a:lnTo>
                      <a:pt x="3800610" y="1713943"/>
                    </a:lnTo>
                    <a:lnTo>
                      <a:pt x="3800610" y="1689113"/>
                    </a:lnTo>
                    <a:close/>
                    <a:moveTo>
                      <a:pt x="4019144" y="1674707"/>
                    </a:moveTo>
                    <a:lnTo>
                      <a:pt x="4019665" y="1674936"/>
                    </a:lnTo>
                    <a:lnTo>
                      <a:pt x="4019906" y="1674707"/>
                    </a:lnTo>
                    <a:close/>
                    <a:moveTo>
                      <a:pt x="1996555" y="1625801"/>
                    </a:moveTo>
                    <a:lnTo>
                      <a:pt x="1968946" y="1637634"/>
                    </a:lnTo>
                    <a:lnTo>
                      <a:pt x="1955538" y="1651043"/>
                    </a:lnTo>
                    <a:lnTo>
                      <a:pt x="1902684" y="1663666"/>
                    </a:lnTo>
                    <a:lnTo>
                      <a:pt x="1914518" y="1663666"/>
                    </a:lnTo>
                    <a:lnTo>
                      <a:pt x="1914518" y="1675498"/>
                    </a:lnTo>
                    <a:lnTo>
                      <a:pt x="1860088" y="1688909"/>
                    </a:lnTo>
                    <a:lnTo>
                      <a:pt x="1846679" y="1701530"/>
                    </a:lnTo>
                    <a:lnTo>
                      <a:pt x="1819906" y="1713003"/>
                    </a:lnTo>
                    <a:lnTo>
                      <a:pt x="1819856" y="1713071"/>
                    </a:lnTo>
                    <a:lnTo>
                      <a:pt x="1834056" y="1713071"/>
                    </a:lnTo>
                    <a:lnTo>
                      <a:pt x="1860877" y="1713071"/>
                    </a:lnTo>
                    <a:lnTo>
                      <a:pt x="1915305" y="1675255"/>
                    </a:lnTo>
                    <a:lnTo>
                      <a:pt x="1915305" y="1663437"/>
                    </a:lnTo>
                    <a:lnTo>
                      <a:pt x="1969734" y="1663437"/>
                    </a:lnTo>
                    <a:lnTo>
                      <a:pt x="1969734" y="1637439"/>
                    </a:lnTo>
                    <a:lnTo>
                      <a:pt x="1996925" y="1625801"/>
                    </a:lnTo>
                    <a:close/>
                    <a:moveTo>
                      <a:pt x="6460786" y="1616248"/>
                    </a:moveTo>
                    <a:lnTo>
                      <a:pt x="6439971" y="1625238"/>
                    </a:lnTo>
                    <a:lnTo>
                      <a:pt x="6440153" y="1625674"/>
                    </a:lnTo>
                    <a:close/>
                    <a:moveTo>
                      <a:pt x="3953797" y="1613318"/>
                    </a:moveTo>
                    <a:lnTo>
                      <a:pt x="3953118" y="1613968"/>
                    </a:lnTo>
                    <a:lnTo>
                      <a:pt x="3967136" y="1626590"/>
                    </a:lnTo>
                    <a:lnTo>
                      <a:pt x="3993612" y="1664454"/>
                    </a:lnTo>
                    <a:lnTo>
                      <a:pt x="4009654" y="1671419"/>
                    </a:lnTo>
                    <a:lnTo>
                      <a:pt x="4010330" y="1670856"/>
                    </a:lnTo>
                    <a:lnTo>
                      <a:pt x="3993875" y="1663666"/>
                    </a:lnTo>
                    <a:lnTo>
                      <a:pt x="3967569" y="1625800"/>
                    </a:lnTo>
                    <a:close/>
                    <a:moveTo>
                      <a:pt x="6469147" y="1612637"/>
                    </a:moveTo>
                    <a:lnTo>
                      <a:pt x="6467518" y="1613342"/>
                    </a:lnTo>
                    <a:lnTo>
                      <a:pt x="6480810" y="1625844"/>
                    </a:lnTo>
                    <a:lnTo>
                      <a:pt x="6481658" y="1624282"/>
                    </a:lnTo>
                    <a:close/>
                    <a:moveTo>
                      <a:pt x="6823445" y="1599768"/>
                    </a:moveTo>
                    <a:lnTo>
                      <a:pt x="6810036" y="1613179"/>
                    </a:lnTo>
                    <a:lnTo>
                      <a:pt x="6782425" y="1637633"/>
                    </a:lnTo>
                    <a:close/>
                    <a:moveTo>
                      <a:pt x="6673328" y="1599768"/>
                    </a:moveTo>
                    <a:lnTo>
                      <a:pt x="6714111" y="1637633"/>
                    </a:lnTo>
                    <a:lnTo>
                      <a:pt x="6741561" y="1651043"/>
                    </a:lnTo>
                    <a:lnTo>
                      <a:pt x="6754894" y="1663666"/>
                    </a:lnTo>
                    <a:lnTo>
                      <a:pt x="6767734" y="1663666"/>
                    </a:lnTo>
                    <a:lnTo>
                      <a:pt x="6768226" y="1663666"/>
                    </a:lnTo>
                    <a:lnTo>
                      <a:pt x="6767635" y="1663927"/>
                    </a:lnTo>
                    <a:lnTo>
                      <a:pt x="6741561" y="1675498"/>
                    </a:lnTo>
                    <a:lnTo>
                      <a:pt x="6727443" y="1675498"/>
                    </a:lnTo>
                    <a:lnTo>
                      <a:pt x="6714111" y="1701530"/>
                    </a:lnTo>
                    <a:lnTo>
                      <a:pt x="6673328" y="1688908"/>
                    </a:lnTo>
                    <a:lnTo>
                      <a:pt x="6659995" y="1688908"/>
                    </a:lnTo>
                    <a:lnTo>
                      <a:pt x="6646662" y="1688908"/>
                    </a:lnTo>
                    <a:lnTo>
                      <a:pt x="6646662" y="1701530"/>
                    </a:lnTo>
                    <a:lnTo>
                      <a:pt x="6659995" y="1701530"/>
                    </a:lnTo>
                    <a:lnTo>
                      <a:pt x="6632545" y="1713362"/>
                    </a:lnTo>
                    <a:lnTo>
                      <a:pt x="6632545" y="1688908"/>
                    </a:lnTo>
                    <a:lnTo>
                      <a:pt x="6646662" y="1675498"/>
                    </a:lnTo>
                    <a:lnTo>
                      <a:pt x="6646662" y="1663666"/>
                    </a:lnTo>
                    <a:lnTo>
                      <a:pt x="6659995" y="1675498"/>
                    </a:lnTo>
                    <a:lnTo>
                      <a:pt x="6673328" y="1625800"/>
                    </a:lnTo>
                    <a:lnTo>
                      <a:pt x="6673328" y="1613179"/>
                    </a:lnTo>
                    <a:close/>
                    <a:moveTo>
                      <a:pt x="1806446" y="1588074"/>
                    </a:moveTo>
                    <a:lnTo>
                      <a:pt x="1806446" y="1599623"/>
                    </a:lnTo>
                    <a:lnTo>
                      <a:pt x="1779626" y="1599623"/>
                    </a:lnTo>
                    <a:lnTo>
                      <a:pt x="1738607" y="1599623"/>
                    </a:lnTo>
                    <a:lnTo>
                      <a:pt x="1724408" y="1637439"/>
                    </a:lnTo>
                    <a:lnTo>
                      <a:pt x="1738607" y="1625622"/>
                    </a:lnTo>
                    <a:lnTo>
                      <a:pt x="1724408" y="1675255"/>
                    </a:lnTo>
                    <a:lnTo>
                      <a:pt x="1724408" y="1701253"/>
                    </a:lnTo>
                    <a:lnTo>
                      <a:pt x="1724408" y="1713071"/>
                    </a:lnTo>
                    <a:lnTo>
                      <a:pt x="1738607" y="1713071"/>
                    </a:lnTo>
                    <a:lnTo>
                      <a:pt x="1752016" y="1701253"/>
                    </a:lnTo>
                    <a:lnTo>
                      <a:pt x="1752016" y="1650832"/>
                    </a:lnTo>
                    <a:lnTo>
                      <a:pt x="1765429" y="1625622"/>
                    </a:lnTo>
                    <a:lnTo>
                      <a:pt x="1779626" y="1613017"/>
                    </a:lnTo>
                    <a:lnTo>
                      <a:pt x="1779626" y="1599623"/>
                    </a:lnTo>
                    <a:lnTo>
                      <a:pt x="1819856" y="1613017"/>
                    </a:lnTo>
                    <a:lnTo>
                      <a:pt x="1819856" y="1637439"/>
                    </a:lnTo>
                    <a:lnTo>
                      <a:pt x="1806446" y="1663437"/>
                    </a:lnTo>
                    <a:lnTo>
                      <a:pt x="1834056" y="1650832"/>
                    </a:lnTo>
                    <a:lnTo>
                      <a:pt x="1834056" y="1675150"/>
                    </a:lnTo>
                    <a:lnTo>
                      <a:pt x="1860088" y="1663666"/>
                    </a:lnTo>
                    <a:lnTo>
                      <a:pt x="1860088" y="1613179"/>
                    </a:lnTo>
                    <a:lnTo>
                      <a:pt x="1887697" y="1637634"/>
                    </a:lnTo>
                    <a:lnTo>
                      <a:pt x="1902684" y="1625801"/>
                    </a:lnTo>
                    <a:lnTo>
                      <a:pt x="1873498" y="1599770"/>
                    </a:lnTo>
                    <a:close/>
                    <a:moveTo>
                      <a:pt x="3801855" y="1587748"/>
                    </a:moveTo>
                    <a:lnTo>
                      <a:pt x="3801203" y="1588021"/>
                    </a:lnTo>
                    <a:lnTo>
                      <a:pt x="3814022" y="1588021"/>
                    </a:lnTo>
                    <a:lnTo>
                      <a:pt x="3814022" y="1587748"/>
                    </a:lnTo>
                    <a:close/>
                    <a:moveTo>
                      <a:pt x="3816169" y="1574926"/>
                    </a:moveTo>
                    <a:lnTo>
                      <a:pt x="3816169" y="1577386"/>
                    </a:lnTo>
                    <a:lnTo>
                      <a:pt x="3827432" y="1588021"/>
                    </a:lnTo>
                    <a:lnTo>
                      <a:pt x="3828265" y="1586398"/>
                    </a:lnTo>
                    <a:close/>
                    <a:moveTo>
                      <a:pt x="4676934" y="1562161"/>
                    </a:moveTo>
                    <a:lnTo>
                      <a:pt x="4663705" y="1575382"/>
                    </a:lnTo>
                    <a:lnTo>
                      <a:pt x="4664080" y="1575382"/>
                    </a:lnTo>
                    <a:lnTo>
                      <a:pt x="4677060" y="1562391"/>
                    </a:lnTo>
                    <a:close/>
                    <a:moveTo>
                      <a:pt x="2241286" y="1561904"/>
                    </a:moveTo>
                    <a:lnTo>
                      <a:pt x="2241286" y="1575315"/>
                    </a:lnTo>
                    <a:lnTo>
                      <a:pt x="2254885" y="1575315"/>
                    </a:lnTo>
                    <a:lnTo>
                      <a:pt x="2284482" y="1575315"/>
                    </a:lnTo>
                    <a:lnTo>
                      <a:pt x="2269284" y="1587936"/>
                    </a:lnTo>
                    <a:lnTo>
                      <a:pt x="2269284" y="1599768"/>
                    </a:lnTo>
                    <a:lnTo>
                      <a:pt x="2227688" y="1575315"/>
                    </a:lnTo>
                    <a:close/>
                    <a:moveTo>
                      <a:pt x="4718116" y="1550536"/>
                    </a:moveTo>
                    <a:lnTo>
                      <a:pt x="4677118" y="1575790"/>
                    </a:lnTo>
                    <a:lnTo>
                      <a:pt x="4677118" y="1587998"/>
                    </a:lnTo>
                    <a:lnTo>
                      <a:pt x="4663705" y="1599825"/>
                    </a:lnTo>
                    <a:lnTo>
                      <a:pt x="4649502" y="1587998"/>
                    </a:lnTo>
                    <a:lnTo>
                      <a:pt x="4622675" y="1625844"/>
                    </a:lnTo>
                    <a:lnTo>
                      <a:pt x="4636089" y="1651074"/>
                    </a:lnTo>
                    <a:lnTo>
                      <a:pt x="4636089" y="1675516"/>
                    </a:lnTo>
                    <a:lnTo>
                      <a:pt x="4663454" y="1701299"/>
                    </a:lnTo>
                    <a:lnTo>
                      <a:pt x="4664124" y="1700739"/>
                    </a:lnTo>
                    <a:lnTo>
                      <a:pt x="4677619" y="1726210"/>
                    </a:lnTo>
                    <a:lnTo>
                      <a:pt x="4706198" y="1738944"/>
                    </a:lnTo>
                    <a:lnTo>
                      <a:pt x="4677619" y="1750884"/>
                    </a:lnTo>
                    <a:lnTo>
                      <a:pt x="4677619" y="1777151"/>
                    </a:lnTo>
                    <a:lnTo>
                      <a:pt x="4664124" y="1777151"/>
                    </a:lnTo>
                    <a:lnTo>
                      <a:pt x="4677619" y="1789090"/>
                    </a:lnTo>
                    <a:lnTo>
                      <a:pt x="4649834" y="1777151"/>
                    </a:lnTo>
                    <a:lnTo>
                      <a:pt x="4664124" y="1764415"/>
                    </a:lnTo>
                    <a:lnTo>
                      <a:pt x="4649834" y="1764415"/>
                    </a:lnTo>
                    <a:lnTo>
                      <a:pt x="4649429" y="1764606"/>
                    </a:lnTo>
                    <a:lnTo>
                      <a:pt x="4662812" y="1764606"/>
                    </a:lnTo>
                    <a:lnTo>
                      <a:pt x="4648612" y="1777200"/>
                    </a:lnTo>
                    <a:lnTo>
                      <a:pt x="4676223" y="1789006"/>
                    </a:lnTo>
                    <a:lnTo>
                      <a:pt x="4676223" y="1814192"/>
                    </a:lnTo>
                    <a:lnTo>
                      <a:pt x="4730652" y="1840166"/>
                    </a:lnTo>
                    <a:lnTo>
                      <a:pt x="4785082" y="1840166"/>
                    </a:lnTo>
                    <a:lnTo>
                      <a:pt x="4785082" y="1814192"/>
                    </a:lnTo>
                    <a:lnTo>
                      <a:pt x="4786453" y="1813606"/>
                    </a:lnTo>
                    <a:lnTo>
                      <a:pt x="4786453" y="1777256"/>
                    </a:lnTo>
                    <a:lnTo>
                      <a:pt x="4773111" y="1777256"/>
                    </a:lnTo>
                    <a:lnTo>
                      <a:pt x="4773111" y="1751224"/>
                    </a:lnTo>
                    <a:lnTo>
                      <a:pt x="4759767" y="1751224"/>
                    </a:lnTo>
                    <a:lnTo>
                      <a:pt x="4759767" y="1739392"/>
                    </a:lnTo>
                    <a:lnTo>
                      <a:pt x="4781443" y="1739392"/>
                    </a:lnTo>
                    <a:lnTo>
                      <a:pt x="4768821" y="1701528"/>
                    </a:lnTo>
                    <a:lnTo>
                      <a:pt x="4759767" y="1701528"/>
                    </a:lnTo>
                    <a:lnTo>
                      <a:pt x="4759767" y="1726771"/>
                    </a:lnTo>
                    <a:lnTo>
                      <a:pt x="4745895" y="1701985"/>
                    </a:lnTo>
                    <a:lnTo>
                      <a:pt x="4744961" y="1702272"/>
                    </a:lnTo>
                    <a:lnTo>
                      <a:pt x="4744961" y="1676192"/>
                    </a:lnTo>
                    <a:lnTo>
                      <a:pt x="4731539" y="1676192"/>
                    </a:lnTo>
                    <a:lnTo>
                      <a:pt x="4718116" y="1638259"/>
                    </a:lnTo>
                    <a:lnTo>
                      <a:pt x="4731539" y="1638259"/>
                    </a:lnTo>
                    <a:lnTo>
                      <a:pt x="4718116" y="1626404"/>
                    </a:lnTo>
                    <a:lnTo>
                      <a:pt x="4731539" y="1613760"/>
                    </a:lnTo>
                    <a:lnTo>
                      <a:pt x="4786018" y="1613760"/>
                    </a:lnTo>
                    <a:lnTo>
                      <a:pt x="4772595" y="1575825"/>
                    </a:lnTo>
                    <a:lnTo>
                      <a:pt x="4744961" y="1562391"/>
                    </a:lnTo>
                    <a:close/>
                    <a:moveTo>
                      <a:pt x="2148016" y="1550072"/>
                    </a:moveTo>
                    <a:lnTo>
                      <a:pt x="2135045" y="1561516"/>
                    </a:lnTo>
                    <a:lnTo>
                      <a:pt x="2135393" y="1561806"/>
                    </a:lnTo>
                    <a:lnTo>
                      <a:pt x="2148016" y="1550684"/>
                    </a:lnTo>
                    <a:close/>
                    <a:moveTo>
                      <a:pt x="2118829" y="1550072"/>
                    </a:moveTo>
                    <a:lnTo>
                      <a:pt x="2093588" y="1613179"/>
                    </a:lnTo>
                    <a:lnTo>
                      <a:pt x="2086574" y="1616386"/>
                    </a:lnTo>
                    <a:lnTo>
                      <a:pt x="2094377" y="1613017"/>
                    </a:lnTo>
                    <a:lnTo>
                      <a:pt x="2120595" y="1551397"/>
                    </a:lnTo>
                    <a:close/>
                    <a:moveTo>
                      <a:pt x="6686781" y="1537450"/>
                    </a:moveTo>
                    <a:lnTo>
                      <a:pt x="6713991" y="1575315"/>
                    </a:lnTo>
                    <a:lnTo>
                      <a:pt x="6713991" y="1587936"/>
                    </a:lnTo>
                    <a:lnTo>
                      <a:pt x="6686781" y="1575315"/>
                    </a:lnTo>
                    <a:lnTo>
                      <a:pt x="6686781" y="1599768"/>
                    </a:lnTo>
                    <a:lnTo>
                      <a:pt x="6673565" y="1575315"/>
                    </a:lnTo>
                    <a:close/>
                    <a:moveTo>
                      <a:pt x="4157830" y="1536863"/>
                    </a:moveTo>
                    <a:lnTo>
                      <a:pt x="4157300" y="1537120"/>
                    </a:lnTo>
                    <a:lnTo>
                      <a:pt x="4143863" y="1537120"/>
                    </a:lnTo>
                    <a:lnTo>
                      <a:pt x="4102762" y="1537120"/>
                    </a:lnTo>
                    <a:lnTo>
                      <a:pt x="4102530" y="1536889"/>
                    </a:lnTo>
                    <a:lnTo>
                      <a:pt x="4089959" y="1536889"/>
                    </a:lnTo>
                    <a:lnTo>
                      <a:pt x="4089829" y="1537374"/>
                    </a:lnTo>
                    <a:lnTo>
                      <a:pt x="4101366" y="1537374"/>
                    </a:lnTo>
                    <a:lnTo>
                      <a:pt x="4142542" y="1537374"/>
                    </a:lnTo>
                    <a:lnTo>
                      <a:pt x="4156796" y="1537374"/>
                    </a:lnTo>
                    <a:close/>
                    <a:moveTo>
                      <a:pt x="3896456" y="1536795"/>
                    </a:moveTo>
                    <a:lnTo>
                      <a:pt x="3842418" y="1549284"/>
                    </a:lnTo>
                    <a:lnTo>
                      <a:pt x="3816171" y="1549284"/>
                    </a:lnTo>
                    <a:lnTo>
                      <a:pt x="3817944" y="1550861"/>
                    </a:lnTo>
                    <a:lnTo>
                      <a:pt x="3840180" y="1550861"/>
                    </a:lnTo>
                    <a:lnTo>
                      <a:pt x="3896456" y="1538239"/>
                    </a:lnTo>
                    <a:close/>
                    <a:moveTo>
                      <a:pt x="4459236" y="1523666"/>
                    </a:moveTo>
                    <a:lnTo>
                      <a:pt x="4458668" y="1524235"/>
                    </a:lnTo>
                    <a:lnTo>
                      <a:pt x="4472763" y="1537536"/>
                    </a:lnTo>
                    <a:lnTo>
                      <a:pt x="4472989" y="1536672"/>
                    </a:lnTo>
                    <a:close/>
                    <a:moveTo>
                      <a:pt x="4185684" y="1523358"/>
                    </a:moveTo>
                    <a:lnTo>
                      <a:pt x="4184964" y="1523666"/>
                    </a:lnTo>
                    <a:lnTo>
                      <a:pt x="4184195" y="1524040"/>
                    </a:lnTo>
                    <a:lnTo>
                      <a:pt x="4197182" y="1524040"/>
                    </a:lnTo>
                    <a:lnTo>
                      <a:pt x="4207087" y="1536769"/>
                    </a:lnTo>
                    <a:lnTo>
                      <a:pt x="4197395" y="1523358"/>
                    </a:lnTo>
                    <a:close/>
                    <a:moveTo>
                      <a:pt x="4217798" y="1513259"/>
                    </a:moveTo>
                    <a:lnTo>
                      <a:pt x="4251825" y="1523358"/>
                    </a:lnTo>
                    <a:lnTo>
                      <a:pt x="4251825" y="1536889"/>
                    </a:lnTo>
                    <a:lnTo>
                      <a:pt x="4266023" y="1561563"/>
                    </a:lnTo>
                    <a:lnTo>
                      <a:pt x="4266023" y="1575094"/>
                    </a:lnTo>
                    <a:lnTo>
                      <a:pt x="4238414" y="1575094"/>
                    </a:lnTo>
                    <a:lnTo>
                      <a:pt x="4226481" y="1597052"/>
                    </a:lnTo>
                    <a:lnTo>
                      <a:pt x="4226481" y="1598966"/>
                    </a:lnTo>
                    <a:lnTo>
                      <a:pt x="4241083" y="1575110"/>
                    </a:lnTo>
                    <a:lnTo>
                      <a:pt x="4268748" y="1575110"/>
                    </a:lnTo>
                    <a:lnTo>
                      <a:pt x="4268748" y="1561655"/>
                    </a:lnTo>
                    <a:lnTo>
                      <a:pt x="4254521" y="1537120"/>
                    </a:lnTo>
                    <a:lnTo>
                      <a:pt x="4254521" y="1523666"/>
                    </a:lnTo>
                    <a:close/>
                    <a:moveTo>
                      <a:pt x="1614008" y="1512208"/>
                    </a:moveTo>
                    <a:lnTo>
                      <a:pt x="1627564" y="1523916"/>
                    </a:lnTo>
                    <a:lnTo>
                      <a:pt x="1614758" y="1512208"/>
                    </a:lnTo>
                    <a:close/>
                    <a:moveTo>
                      <a:pt x="1723619" y="1499587"/>
                    </a:moveTo>
                    <a:lnTo>
                      <a:pt x="1683459" y="1537384"/>
                    </a:lnTo>
                    <a:lnTo>
                      <a:pt x="1684176" y="1537384"/>
                    </a:lnTo>
                    <a:lnTo>
                      <a:pt x="1628169" y="1575200"/>
                    </a:lnTo>
                    <a:lnTo>
                      <a:pt x="1656568" y="1561806"/>
                    </a:lnTo>
                    <a:lnTo>
                      <a:pt x="1669977" y="1575200"/>
                    </a:lnTo>
                    <a:lnTo>
                      <a:pt x="1710996" y="1561806"/>
                    </a:lnTo>
                    <a:lnTo>
                      <a:pt x="1710996" y="1575200"/>
                    </a:lnTo>
                    <a:lnTo>
                      <a:pt x="1724408" y="1561806"/>
                    </a:lnTo>
                    <a:lnTo>
                      <a:pt x="1738607" y="1575200"/>
                    </a:lnTo>
                    <a:lnTo>
                      <a:pt x="1779626" y="1575200"/>
                    </a:lnTo>
                    <a:lnTo>
                      <a:pt x="1792207" y="1575200"/>
                    </a:lnTo>
                    <a:lnTo>
                      <a:pt x="1778839" y="1537451"/>
                    </a:lnTo>
                    <a:lnTo>
                      <a:pt x="1764641" y="1537451"/>
                    </a:lnTo>
                    <a:lnTo>
                      <a:pt x="1751231" y="1512208"/>
                    </a:lnTo>
                    <a:close/>
                    <a:moveTo>
                      <a:pt x="4074127" y="1486908"/>
                    </a:moveTo>
                    <a:lnTo>
                      <a:pt x="4048378" y="1499419"/>
                    </a:lnTo>
                    <a:lnTo>
                      <a:pt x="4048748" y="1499792"/>
                    </a:lnTo>
                    <a:lnTo>
                      <a:pt x="4074577" y="1487133"/>
                    </a:lnTo>
                    <a:close/>
                    <a:moveTo>
                      <a:pt x="4018662" y="1486177"/>
                    </a:moveTo>
                    <a:lnTo>
                      <a:pt x="3978887" y="1511419"/>
                    </a:lnTo>
                    <a:lnTo>
                      <a:pt x="3939445" y="1498798"/>
                    </a:lnTo>
                    <a:lnTo>
                      <a:pt x="3939445" y="1500917"/>
                    </a:lnTo>
                    <a:lnTo>
                      <a:pt x="3978886" y="1512995"/>
                    </a:lnTo>
                    <a:lnTo>
                      <a:pt x="3978886" y="1512607"/>
                    </a:lnTo>
                    <a:lnTo>
                      <a:pt x="4020566" y="1486908"/>
                    </a:lnTo>
                    <a:lnTo>
                      <a:pt x="4019487" y="1486908"/>
                    </a:lnTo>
                    <a:close/>
                    <a:moveTo>
                      <a:pt x="1573738" y="1486176"/>
                    </a:moveTo>
                    <a:lnTo>
                      <a:pt x="1573227" y="1486686"/>
                    </a:lnTo>
                    <a:lnTo>
                      <a:pt x="1579972" y="1499037"/>
                    </a:lnTo>
                    <a:close/>
                    <a:moveTo>
                      <a:pt x="3745392" y="1485600"/>
                    </a:moveTo>
                    <a:lnTo>
                      <a:pt x="3745392" y="1485773"/>
                    </a:lnTo>
                    <a:lnTo>
                      <a:pt x="3786412" y="1511892"/>
                    </a:lnTo>
                    <a:lnTo>
                      <a:pt x="3774914" y="1544464"/>
                    </a:lnTo>
                    <a:lnTo>
                      <a:pt x="3787988" y="1511544"/>
                    </a:lnTo>
                    <a:close/>
                    <a:moveTo>
                      <a:pt x="3718374" y="1474155"/>
                    </a:moveTo>
                    <a:lnTo>
                      <a:pt x="3718374" y="1485697"/>
                    </a:lnTo>
                    <a:lnTo>
                      <a:pt x="3718570" y="1485697"/>
                    </a:lnTo>
                    <a:lnTo>
                      <a:pt x="3718570" y="1474155"/>
                    </a:lnTo>
                    <a:close/>
                    <a:moveTo>
                      <a:pt x="2227688" y="1473554"/>
                    </a:moveTo>
                    <a:lnTo>
                      <a:pt x="2254885" y="1486126"/>
                    </a:lnTo>
                    <a:lnTo>
                      <a:pt x="2284482" y="1500374"/>
                    </a:lnTo>
                    <a:lnTo>
                      <a:pt x="2254885" y="1500374"/>
                    </a:lnTo>
                    <a:close/>
                    <a:moveTo>
                      <a:pt x="903229" y="1461723"/>
                    </a:moveTo>
                    <a:lnTo>
                      <a:pt x="959232" y="1524040"/>
                    </a:lnTo>
                    <a:lnTo>
                      <a:pt x="958493" y="1524040"/>
                    </a:lnTo>
                    <a:lnTo>
                      <a:pt x="971854" y="1537384"/>
                    </a:lnTo>
                    <a:lnTo>
                      <a:pt x="958443" y="1549989"/>
                    </a:lnTo>
                    <a:lnTo>
                      <a:pt x="971854" y="1549989"/>
                    </a:lnTo>
                    <a:lnTo>
                      <a:pt x="971854" y="1537384"/>
                    </a:lnTo>
                    <a:lnTo>
                      <a:pt x="971854" y="1512174"/>
                    </a:lnTo>
                    <a:lnTo>
                      <a:pt x="971854" y="1499587"/>
                    </a:lnTo>
                    <a:lnTo>
                      <a:pt x="971066" y="1499587"/>
                    </a:lnTo>
                    <a:lnTo>
                      <a:pt x="959232" y="1499587"/>
                    </a:lnTo>
                    <a:lnTo>
                      <a:pt x="959232" y="1486176"/>
                    </a:lnTo>
                    <a:lnTo>
                      <a:pt x="944247" y="1486176"/>
                    </a:lnTo>
                    <a:close/>
                    <a:moveTo>
                      <a:pt x="3704134" y="1461220"/>
                    </a:moveTo>
                    <a:lnTo>
                      <a:pt x="3704134" y="1473791"/>
                    </a:lnTo>
                    <a:lnTo>
                      <a:pt x="3704371" y="1473791"/>
                    </a:lnTo>
                    <a:lnTo>
                      <a:pt x="3704371" y="1461333"/>
                    </a:lnTo>
                    <a:close/>
                    <a:moveTo>
                      <a:pt x="6985946" y="1448310"/>
                    </a:moveTo>
                    <a:lnTo>
                      <a:pt x="6972153" y="1461314"/>
                    </a:lnTo>
                    <a:lnTo>
                      <a:pt x="6959126" y="1473554"/>
                    </a:lnTo>
                    <a:lnTo>
                      <a:pt x="6959126" y="1461314"/>
                    </a:lnTo>
                    <a:close/>
                    <a:moveTo>
                      <a:pt x="3937131" y="1437003"/>
                    </a:moveTo>
                    <a:lnTo>
                      <a:pt x="3937131" y="1442371"/>
                    </a:lnTo>
                    <a:lnTo>
                      <a:pt x="3937604" y="1445898"/>
                    </a:lnTo>
                    <a:lnTo>
                      <a:pt x="3939445" y="1447522"/>
                    </a:lnTo>
                    <a:lnTo>
                      <a:pt x="3939445" y="1439046"/>
                    </a:lnTo>
                    <a:close/>
                    <a:moveTo>
                      <a:pt x="3924458" y="1436066"/>
                    </a:moveTo>
                    <a:lnTo>
                      <a:pt x="3896848" y="1447859"/>
                    </a:lnTo>
                    <a:lnTo>
                      <a:pt x="3870028" y="1461225"/>
                    </a:lnTo>
                    <a:lnTo>
                      <a:pt x="3883438" y="1485599"/>
                    </a:lnTo>
                    <a:lnTo>
                      <a:pt x="3911047" y="1511544"/>
                    </a:lnTo>
                    <a:lnTo>
                      <a:pt x="3896848" y="1523338"/>
                    </a:lnTo>
                    <a:lnTo>
                      <a:pt x="3896848" y="1524503"/>
                    </a:lnTo>
                    <a:lnTo>
                      <a:pt x="3910724" y="1512996"/>
                    </a:lnTo>
                    <a:lnTo>
                      <a:pt x="3937673" y="1512996"/>
                    </a:lnTo>
                    <a:lnTo>
                      <a:pt x="3937673" y="1511419"/>
                    </a:lnTo>
                    <a:lnTo>
                      <a:pt x="3911836" y="1511419"/>
                    </a:lnTo>
                    <a:lnTo>
                      <a:pt x="3885015" y="1485387"/>
                    </a:lnTo>
                    <a:lnTo>
                      <a:pt x="3871604" y="1460933"/>
                    </a:lnTo>
                    <a:lnTo>
                      <a:pt x="3898425" y="1447522"/>
                    </a:lnTo>
                    <a:lnTo>
                      <a:pt x="3924687" y="1436268"/>
                    </a:lnTo>
                    <a:close/>
                    <a:moveTo>
                      <a:pt x="2419058" y="1424647"/>
                    </a:moveTo>
                    <a:lnTo>
                      <a:pt x="2391291" y="1486966"/>
                    </a:lnTo>
                    <a:lnTo>
                      <a:pt x="2404776" y="1475132"/>
                    </a:lnTo>
                    <a:lnTo>
                      <a:pt x="2419058" y="1475132"/>
                    </a:lnTo>
                    <a:lnTo>
                      <a:pt x="2404776" y="1486966"/>
                    </a:lnTo>
                    <a:lnTo>
                      <a:pt x="2419058" y="1500375"/>
                    </a:lnTo>
                    <a:lnTo>
                      <a:pt x="2461104" y="1500375"/>
                    </a:lnTo>
                    <a:lnTo>
                      <a:pt x="2447618" y="1512996"/>
                    </a:lnTo>
                    <a:lnTo>
                      <a:pt x="2461104" y="1524830"/>
                    </a:lnTo>
                    <a:lnTo>
                      <a:pt x="2475382" y="1512996"/>
                    </a:lnTo>
                    <a:lnTo>
                      <a:pt x="2447618" y="1538239"/>
                    </a:lnTo>
                    <a:lnTo>
                      <a:pt x="2461104" y="1550861"/>
                    </a:lnTo>
                    <a:lnTo>
                      <a:pt x="2475382" y="1550861"/>
                    </a:lnTo>
                    <a:lnTo>
                      <a:pt x="2475382" y="1576104"/>
                    </a:lnTo>
                    <a:lnTo>
                      <a:pt x="2461104" y="1576104"/>
                    </a:lnTo>
                    <a:lnTo>
                      <a:pt x="2461104" y="1562694"/>
                    </a:lnTo>
                    <a:lnTo>
                      <a:pt x="2447618" y="1562694"/>
                    </a:lnTo>
                    <a:lnTo>
                      <a:pt x="2447618" y="1550861"/>
                    </a:lnTo>
                    <a:lnTo>
                      <a:pt x="2432545" y="1550861"/>
                    </a:lnTo>
                    <a:lnTo>
                      <a:pt x="2419058" y="1562694"/>
                    </a:lnTo>
                    <a:lnTo>
                      <a:pt x="2419058" y="1550861"/>
                    </a:lnTo>
                    <a:lnTo>
                      <a:pt x="2350037" y="1550861"/>
                    </a:lnTo>
                    <a:lnTo>
                      <a:pt x="2336549" y="1550861"/>
                    </a:lnTo>
                    <a:lnTo>
                      <a:pt x="2336549" y="1538239"/>
                    </a:lnTo>
                    <a:lnTo>
                      <a:pt x="2350037" y="1524830"/>
                    </a:lnTo>
                    <a:lnTo>
                      <a:pt x="2350037" y="1512996"/>
                    </a:lnTo>
                    <a:lnTo>
                      <a:pt x="2391291" y="1437268"/>
                    </a:lnTo>
                    <a:close/>
                    <a:moveTo>
                      <a:pt x="4350160" y="1409698"/>
                    </a:moveTo>
                    <a:lnTo>
                      <a:pt x="4351108" y="1410595"/>
                    </a:lnTo>
                    <a:lnTo>
                      <a:pt x="4363878" y="1410595"/>
                    </a:lnTo>
                    <a:lnTo>
                      <a:pt x="4362801" y="1409698"/>
                    </a:lnTo>
                    <a:close/>
                    <a:moveTo>
                      <a:pt x="4296684" y="1361238"/>
                    </a:moveTo>
                    <a:lnTo>
                      <a:pt x="4296684" y="1362201"/>
                    </a:lnTo>
                    <a:lnTo>
                      <a:pt x="4308646" y="1372749"/>
                    </a:lnTo>
                    <a:lnTo>
                      <a:pt x="4309010" y="1372123"/>
                    </a:lnTo>
                    <a:close/>
                    <a:moveTo>
                      <a:pt x="14200" y="1348917"/>
                    </a:moveTo>
                    <a:lnTo>
                      <a:pt x="28399" y="1348917"/>
                    </a:lnTo>
                    <a:lnTo>
                      <a:pt x="28399" y="1359961"/>
                    </a:lnTo>
                    <a:lnTo>
                      <a:pt x="14200" y="1359961"/>
                    </a:lnTo>
                    <a:close/>
                    <a:moveTo>
                      <a:pt x="4309965" y="1348306"/>
                    </a:moveTo>
                    <a:lnTo>
                      <a:pt x="4310146" y="1348556"/>
                    </a:lnTo>
                    <a:lnTo>
                      <a:pt x="4322705" y="1348556"/>
                    </a:lnTo>
                    <a:lnTo>
                      <a:pt x="4322849" y="1348306"/>
                    </a:lnTo>
                    <a:close/>
                    <a:moveTo>
                      <a:pt x="6686781" y="1334718"/>
                    </a:moveTo>
                    <a:lnTo>
                      <a:pt x="6700774" y="1334718"/>
                    </a:lnTo>
                    <a:lnTo>
                      <a:pt x="6700774" y="1348129"/>
                    </a:lnTo>
                    <a:lnTo>
                      <a:pt x="6700774" y="1410446"/>
                    </a:lnTo>
                    <a:lnTo>
                      <a:pt x="6727207" y="1499585"/>
                    </a:lnTo>
                    <a:lnTo>
                      <a:pt x="6713991" y="1499585"/>
                    </a:lnTo>
                    <a:lnTo>
                      <a:pt x="6700774" y="1499585"/>
                    </a:lnTo>
                    <a:lnTo>
                      <a:pt x="6686781" y="1537450"/>
                    </a:lnTo>
                    <a:lnTo>
                      <a:pt x="6673565" y="1512208"/>
                    </a:lnTo>
                    <a:lnTo>
                      <a:pt x="6686781" y="1436478"/>
                    </a:lnTo>
                    <a:lnTo>
                      <a:pt x="6673565" y="1423857"/>
                    </a:lnTo>
                    <a:lnTo>
                      <a:pt x="6673565" y="1360750"/>
                    </a:lnTo>
                    <a:lnTo>
                      <a:pt x="6686781" y="1348129"/>
                    </a:lnTo>
                    <a:close/>
                    <a:moveTo>
                      <a:pt x="750981" y="1334718"/>
                    </a:moveTo>
                    <a:lnTo>
                      <a:pt x="779379" y="1334718"/>
                    </a:lnTo>
                    <a:lnTo>
                      <a:pt x="765969" y="1360750"/>
                    </a:lnTo>
                    <a:lnTo>
                      <a:pt x="779379" y="1372583"/>
                    </a:lnTo>
                    <a:lnTo>
                      <a:pt x="765969" y="1385993"/>
                    </a:lnTo>
                    <a:lnTo>
                      <a:pt x="793578" y="1410447"/>
                    </a:lnTo>
                    <a:lnTo>
                      <a:pt x="765969" y="1398615"/>
                    </a:lnTo>
                    <a:lnTo>
                      <a:pt x="750981" y="1360750"/>
                    </a:lnTo>
                    <a:close/>
                    <a:moveTo>
                      <a:pt x="6575749" y="1311053"/>
                    </a:moveTo>
                    <a:lnTo>
                      <a:pt x="6589948" y="1311053"/>
                    </a:lnTo>
                    <a:lnTo>
                      <a:pt x="6589948" y="1322097"/>
                    </a:lnTo>
                    <a:close/>
                    <a:moveTo>
                      <a:pt x="3855827" y="1311053"/>
                    </a:moveTo>
                    <a:lnTo>
                      <a:pt x="3884226" y="1311053"/>
                    </a:lnTo>
                    <a:lnTo>
                      <a:pt x="3855827" y="1322097"/>
                    </a:lnTo>
                    <a:close/>
                    <a:moveTo>
                      <a:pt x="3458456" y="1296854"/>
                    </a:moveTo>
                    <a:lnTo>
                      <a:pt x="3458875" y="1297063"/>
                    </a:lnTo>
                    <a:lnTo>
                      <a:pt x="3459265" y="1296854"/>
                    </a:lnTo>
                    <a:lnTo>
                      <a:pt x="3459101" y="1297177"/>
                    </a:lnTo>
                    <a:lnTo>
                      <a:pt x="3487254" y="1311271"/>
                    </a:lnTo>
                    <a:lnTo>
                      <a:pt x="3500853" y="1335300"/>
                    </a:lnTo>
                    <a:lnTo>
                      <a:pt x="3487254" y="1348917"/>
                    </a:lnTo>
                    <a:lnTo>
                      <a:pt x="3487254" y="1335300"/>
                    </a:lnTo>
                    <a:lnTo>
                      <a:pt x="3485078" y="1335300"/>
                    </a:lnTo>
                    <a:lnTo>
                      <a:pt x="3485078" y="1348447"/>
                    </a:lnTo>
                    <a:lnTo>
                      <a:pt x="3485078" y="1373053"/>
                    </a:lnTo>
                    <a:lnTo>
                      <a:pt x="3471780" y="1411153"/>
                    </a:lnTo>
                    <a:lnTo>
                      <a:pt x="3405292" y="1424647"/>
                    </a:lnTo>
                    <a:lnTo>
                      <a:pt x="3391994" y="1411153"/>
                    </a:lnTo>
                    <a:lnTo>
                      <a:pt x="3405292" y="1411153"/>
                    </a:lnTo>
                    <a:lnTo>
                      <a:pt x="3419372" y="1373053"/>
                    </a:lnTo>
                    <a:lnTo>
                      <a:pt x="3405292" y="1361147"/>
                    </a:lnTo>
                    <a:lnTo>
                      <a:pt x="3419372" y="1348447"/>
                    </a:lnTo>
                    <a:lnTo>
                      <a:pt x="3405292" y="1348447"/>
                    </a:lnTo>
                    <a:lnTo>
                      <a:pt x="3405292" y="1334954"/>
                    </a:lnTo>
                    <a:lnTo>
                      <a:pt x="3432669" y="1334954"/>
                    </a:lnTo>
                    <a:lnTo>
                      <a:pt x="3444909" y="1323995"/>
                    </a:lnTo>
                    <a:lnTo>
                      <a:pt x="3444057" y="1323286"/>
                    </a:lnTo>
                    <a:lnTo>
                      <a:pt x="3444188" y="1323047"/>
                    </a:lnTo>
                    <a:lnTo>
                      <a:pt x="3432669" y="1323047"/>
                    </a:lnTo>
                    <a:lnTo>
                      <a:pt x="3432669" y="1311141"/>
                    </a:lnTo>
                    <a:lnTo>
                      <a:pt x="3458123" y="1297467"/>
                    </a:lnTo>
                    <a:close/>
                    <a:moveTo>
                      <a:pt x="1915305" y="1258989"/>
                    </a:moveTo>
                    <a:lnTo>
                      <a:pt x="1915305" y="1284232"/>
                    </a:lnTo>
                    <a:lnTo>
                      <a:pt x="1886908" y="1272758"/>
                    </a:lnTo>
                    <a:close/>
                    <a:moveTo>
                      <a:pt x="4093269" y="1258437"/>
                    </a:moveTo>
                    <a:lnTo>
                      <a:pt x="4092742" y="1258989"/>
                    </a:lnTo>
                    <a:lnTo>
                      <a:pt x="4146559" y="1258989"/>
                    </a:lnTo>
                    <a:lnTo>
                      <a:pt x="4160056" y="1258989"/>
                    </a:lnTo>
                    <a:lnTo>
                      <a:pt x="4200989" y="1285029"/>
                    </a:lnTo>
                    <a:lnTo>
                      <a:pt x="4201951" y="1284122"/>
                    </a:lnTo>
                    <a:lnTo>
                      <a:pt x="4161109" y="1258437"/>
                    </a:lnTo>
                    <a:lnTo>
                      <a:pt x="4147699" y="1258437"/>
                    </a:lnTo>
                    <a:close/>
                    <a:moveTo>
                      <a:pt x="4019523" y="1214764"/>
                    </a:moveTo>
                    <a:lnTo>
                      <a:pt x="4019523" y="1235324"/>
                    </a:lnTo>
                    <a:lnTo>
                      <a:pt x="4005707" y="1235324"/>
                    </a:lnTo>
                    <a:lnTo>
                      <a:pt x="4005707" y="1220695"/>
                    </a:lnTo>
                    <a:close/>
                    <a:moveTo>
                      <a:pt x="4019523" y="1208503"/>
                    </a:moveTo>
                    <a:lnTo>
                      <a:pt x="4034106" y="1208503"/>
                    </a:lnTo>
                    <a:lnTo>
                      <a:pt x="4019523" y="1214764"/>
                    </a:lnTo>
                    <a:close/>
                    <a:moveTo>
                      <a:pt x="4087748" y="1183260"/>
                    </a:moveTo>
                    <a:lnTo>
                      <a:pt x="4102331" y="1183260"/>
                    </a:lnTo>
                    <a:lnTo>
                      <a:pt x="4116147" y="1183260"/>
                    </a:lnTo>
                    <a:lnTo>
                      <a:pt x="4087748" y="1197459"/>
                    </a:lnTo>
                    <a:close/>
                    <a:moveTo>
                      <a:pt x="3513842" y="1183260"/>
                    </a:moveTo>
                    <a:lnTo>
                      <a:pt x="3540903" y="1183260"/>
                    </a:lnTo>
                    <a:lnTo>
                      <a:pt x="3553704" y="1183260"/>
                    </a:lnTo>
                    <a:lnTo>
                      <a:pt x="3554431" y="1183260"/>
                    </a:lnTo>
                    <a:lnTo>
                      <a:pt x="3553974" y="1183500"/>
                    </a:lnTo>
                    <a:lnTo>
                      <a:pt x="3527373" y="1197421"/>
                    </a:lnTo>
                    <a:lnTo>
                      <a:pt x="3527373" y="1221022"/>
                    </a:lnTo>
                    <a:lnTo>
                      <a:pt x="3568757" y="1209221"/>
                    </a:lnTo>
                    <a:lnTo>
                      <a:pt x="3582285" y="1221022"/>
                    </a:lnTo>
                    <a:lnTo>
                      <a:pt x="3540903" y="1272944"/>
                    </a:lnTo>
                    <a:lnTo>
                      <a:pt x="3568757" y="1284745"/>
                    </a:lnTo>
                    <a:lnTo>
                      <a:pt x="3595816" y="1322507"/>
                    </a:lnTo>
                    <a:lnTo>
                      <a:pt x="3609346" y="1334307"/>
                    </a:lnTo>
                    <a:lnTo>
                      <a:pt x="3623672" y="1360268"/>
                    </a:lnTo>
                    <a:lnTo>
                      <a:pt x="3623672" y="1372069"/>
                    </a:lnTo>
                    <a:lnTo>
                      <a:pt x="3609346" y="1385443"/>
                    </a:lnTo>
                    <a:lnTo>
                      <a:pt x="3623672" y="1385443"/>
                    </a:lnTo>
                    <a:lnTo>
                      <a:pt x="3637202" y="1385443"/>
                    </a:lnTo>
                    <a:lnTo>
                      <a:pt x="3650731" y="1398030"/>
                    </a:lnTo>
                    <a:lnTo>
                      <a:pt x="3623672" y="1435791"/>
                    </a:lnTo>
                    <a:lnTo>
                      <a:pt x="3650731" y="1435791"/>
                    </a:lnTo>
                    <a:lnTo>
                      <a:pt x="3637202" y="1447593"/>
                    </a:lnTo>
                    <a:lnTo>
                      <a:pt x="3582285" y="1447593"/>
                    </a:lnTo>
                    <a:lnTo>
                      <a:pt x="3568757" y="1460967"/>
                    </a:lnTo>
                    <a:lnTo>
                      <a:pt x="3554431" y="1447593"/>
                    </a:lnTo>
                    <a:lnTo>
                      <a:pt x="3540903" y="1460967"/>
                    </a:lnTo>
                    <a:lnTo>
                      <a:pt x="3540903" y="1473554"/>
                    </a:lnTo>
                    <a:lnTo>
                      <a:pt x="3513842" y="1460967"/>
                    </a:lnTo>
                    <a:lnTo>
                      <a:pt x="3499516" y="1473554"/>
                    </a:lnTo>
                    <a:lnTo>
                      <a:pt x="3527373" y="1435791"/>
                    </a:lnTo>
                    <a:lnTo>
                      <a:pt x="3540903" y="1435791"/>
                    </a:lnTo>
                    <a:lnTo>
                      <a:pt x="3554431" y="1435791"/>
                    </a:lnTo>
                    <a:lnTo>
                      <a:pt x="3554431" y="1423204"/>
                    </a:lnTo>
                    <a:lnTo>
                      <a:pt x="3540903" y="1435791"/>
                    </a:lnTo>
                    <a:lnTo>
                      <a:pt x="3527373" y="1423204"/>
                    </a:lnTo>
                    <a:lnTo>
                      <a:pt x="3513842" y="1423204"/>
                    </a:lnTo>
                    <a:lnTo>
                      <a:pt x="3499516" y="1409831"/>
                    </a:lnTo>
                    <a:lnTo>
                      <a:pt x="3527373" y="1398030"/>
                    </a:lnTo>
                    <a:lnTo>
                      <a:pt x="3527373" y="1385443"/>
                    </a:lnTo>
                    <a:lnTo>
                      <a:pt x="3513842" y="1385443"/>
                    </a:lnTo>
                    <a:lnTo>
                      <a:pt x="3527373" y="1372069"/>
                    </a:lnTo>
                    <a:lnTo>
                      <a:pt x="3513842" y="1360268"/>
                    </a:lnTo>
                    <a:lnTo>
                      <a:pt x="3554431" y="1360268"/>
                    </a:lnTo>
                    <a:lnTo>
                      <a:pt x="3554431" y="1334307"/>
                    </a:lnTo>
                    <a:lnTo>
                      <a:pt x="3540903" y="1334307"/>
                    </a:lnTo>
                    <a:lnTo>
                      <a:pt x="3540903" y="1322507"/>
                    </a:lnTo>
                    <a:lnTo>
                      <a:pt x="3540903" y="1310707"/>
                    </a:lnTo>
                    <a:lnTo>
                      <a:pt x="3513842" y="1322507"/>
                    </a:lnTo>
                    <a:lnTo>
                      <a:pt x="3499516" y="1310707"/>
                    </a:lnTo>
                    <a:lnTo>
                      <a:pt x="3513842" y="1296545"/>
                    </a:lnTo>
                    <a:lnTo>
                      <a:pt x="3499516" y="1284745"/>
                    </a:lnTo>
                    <a:lnTo>
                      <a:pt x="3485986" y="1284745"/>
                    </a:lnTo>
                    <a:lnTo>
                      <a:pt x="3499516" y="1272944"/>
                    </a:lnTo>
                    <a:lnTo>
                      <a:pt x="3499516" y="1258783"/>
                    </a:lnTo>
                    <a:lnTo>
                      <a:pt x="3485986" y="1258783"/>
                    </a:lnTo>
                    <a:lnTo>
                      <a:pt x="3499516" y="1235182"/>
                    </a:lnTo>
                    <a:lnTo>
                      <a:pt x="3485986" y="1235182"/>
                    </a:lnTo>
                    <a:lnTo>
                      <a:pt x="3472457" y="1221022"/>
                    </a:lnTo>
                    <a:lnTo>
                      <a:pt x="3485986" y="1221022"/>
                    </a:lnTo>
                    <a:close/>
                    <a:moveTo>
                      <a:pt x="3485078" y="1183260"/>
                    </a:moveTo>
                    <a:lnTo>
                      <a:pt x="3473604" y="1197459"/>
                    </a:lnTo>
                    <a:lnTo>
                      <a:pt x="3459835" y="1221124"/>
                    </a:lnTo>
                    <a:lnTo>
                      <a:pt x="3459835" y="1197459"/>
                    </a:lnTo>
                    <a:close/>
                    <a:moveTo>
                      <a:pt x="328327" y="1183260"/>
                    </a:moveTo>
                    <a:lnTo>
                      <a:pt x="342364" y="1197284"/>
                    </a:lnTo>
                    <a:lnTo>
                      <a:pt x="315072" y="1208971"/>
                    </a:lnTo>
                    <a:lnTo>
                      <a:pt x="328327" y="1208971"/>
                    </a:lnTo>
                    <a:lnTo>
                      <a:pt x="328327" y="1220657"/>
                    </a:lnTo>
                    <a:lnTo>
                      <a:pt x="315072" y="1220657"/>
                    </a:lnTo>
                    <a:lnTo>
                      <a:pt x="287779" y="1246367"/>
                    </a:lnTo>
                    <a:lnTo>
                      <a:pt x="274522" y="1234680"/>
                    </a:lnTo>
                    <a:close/>
                    <a:moveTo>
                      <a:pt x="4103524" y="1159596"/>
                    </a:moveTo>
                    <a:lnTo>
                      <a:pt x="4116145" y="1170640"/>
                    </a:lnTo>
                    <a:lnTo>
                      <a:pt x="4103524" y="1170640"/>
                    </a:lnTo>
                    <a:close/>
                    <a:moveTo>
                      <a:pt x="4202358" y="1159421"/>
                    </a:moveTo>
                    <a:lnTo>
                      <a:pt x="4202525" y="1159865"/>
                    </a:lnTo>
                    <a:lnTo>
                      <a:pt x="4212387" y="1159865"/>
                    </a:lnTo>
                    <a:lnTo>
                      <a:pt x="4212807" y="1159421"/>
                    </a:lnTo>
                    <a:close/>
                    <a:moveTo>
                      <a:pt x="698919" y="1133564"/>
                    </a:moveTo>
                    <a:lnTo>
                      <a:pt x="697392" y="1134219"/>
                    </a:lnTo>
                    <a:lnTo>
                      <a:pt x="710656" y="1171595"/>
                    </a:lnTo>
                    <a:lnTo>
                      <a:pt x="724079" y="1171595"/>
                    </a:lnTo>
                    <a:lnTo>
                      <a:pt x="766718" y="1247246"/>
                    </a:lnTo>
                    <a:lnTo>
                      <a:pt x="807776" y="1273252"/>
                    </a:lnTo>
                    <a:lnTo>
                      <a:pt x="807776" y="1273189"/>
                    </a:lnTo>
                    <a:lnTo>
                      <a:pt x="766757" y="1247158"/>
                    </a:lnTo>
                    <a:lnTo>
                      <a:pt x="724161" y="1171428"/>
                    </a:lnTo>
                    <a:lnTo>
                      <a:pt x="712329" y="1171428"/>
                    </a:lnTo>
                    <a:close/>
                    <a:moveTo>
                      <a:pt x="3595512" y="1107532"/>
                    </a:moveTo>
                    <a:lnTo>
                      <a:pt x="3595512" y="1121732"/>
                    </a:lnTo>
                    <a:lnTo>
                      <a:pt x="3581312" y="1121732"/>
                    </a:lnTo>
                    <a:close/>
                    <a:moveTo>
                      <a:pt x="616879" y="1107532"/>
                    </a:moveTo>
                    <a:lnTo>
                      <a:pt x="615113" y="1108145"/>
                    </a:lnTo>
                    <a:lnTo>
                      <a:pt x="615113" y="1121950"/>
                    </a:lnTo>
                    <a:lnTo>
                      <a:pt x="656174" y="1159775"/>
                    </a:lnTo>
                    <a:lnTo>
                      <a:pt x="657069" y="1158829"/>
                    </a:lnTo>
                    <a:lnTo>
                      <a:pt x="616879" y="1121732"/>
                    </a:lnTo>
                    <a:close/>
                    <a:moveTo>
                      <a:pt x="26821" y="1107532"/>
                    </a:moveTo>
                    <a:lnTo>
                      <a:pt x="41020" y="1121301"/>
                    </a:lnTo>
                    <a:lnTo>
                      <a:pt x="26821" y="1132776"/>
                    </a:lnTo>
                    <a:lnTo>
                      <a:pt x="0" y="1121301"/>
                    </a:lnTo>
                    <a:close/>
                    <a:moveTo>
                      <a:pt x="4283332" y="984378"/>
                    </a:moveTo>
                    <a:lnTo>
                      <a:pt x="4294425" y="994150"/>
                    </a:lnTo>
                    <a:lnTo>
                      <a:pt x="4294425" y="1008325"/>
                    </a:lnTo>
                    <a:lnTo>
                      <a:pt x="4269987" y="1044921"/>
                    </a:lnTo>
                    <a:lnTo>
                      <a:pt x="4295233" y="1008481"/>
                    </a:lnTo>
                    <a:lnTo>
                      <a:pt x="4295233" y="994288"/>
                    </a:lnTo>
                    <a:close/>
                    <a:moveTo>
                      <a:pt x="4267788" y="926424"/>
                    </a:moveTo>
                    <a:lnTo>
                      <a:pt x="4281015" y="944534"/>
                    </a:lnTo>
                    <a:lnTo>
                      <a:pt x="4273703" y="958703"/>
                    </a:lnTo>
                    <a:lnTo>
                      <a:pt x="4281821" y="944616"/>
                    </a:lnTo>
                    <a:close/>
                    <a:moveTo>
                      <a:pt x="3095402" y="749399"/>
                    </a:moveTo>
                    <a:lnTo>
                      <a:pt x="3108862" y="749399"/>
                    </a:lnTo>
                    <a:lnTo>
                      <a:pt x="3122324" y="749399"/>
                    </a:lnTo>
                    <a:lnTo>
                      <a:pt x="3137369" y="761346"/>
                    </a:lnTo>
                    <a:lnTo>
                      <a:pt x="3151621" y="761346"/>
                    </a:lnTo>
                    <a:lnTo>
                      <a:pt x="3165081" y="761346"/>
                    </a:lnTo>
                    <a:lnTo>
                      <a:pt x="3178543" y="761346"/>
                    </a:lnTo>
                    <a:lnTo>
                      <a:pt x="3178543" y="749399"/>
                    </a:lnTo>
                    <a:lnTo>
                      <a:pt x="3192795" y="749399"/>
                    </a:lnTo>
                    <a:lnTo>
                      <a:pt x="3206255" y="749399"/>
                    </a:lnTo>
                    <a:lnTo>
                      <a:pt x="3221300" y="761346"/>
                    </a:lnTo>
                    <a:lnTo>
                      <a:pt x="3221300" y="749399"/>
                    </a:lnTo>
                    <a:lnTo>
                      <a:pt x="3234763" y="749399"/>
                    </a:lnTo>
                    <a:lnTo>
                      <a:pt x="3249014" y="749399"/>
                    </a:lnTo>
                    <a:lnTo>
                      <a:pt x="3262472" y="749399"/>
                    </a:lnTo>
                    <a:lnTo>
                      <a:pt x="3275933" y="749399"/>
                    </a:lnTo>
                    <a:lnTo>
                      <a:pt x="3275933" y="774887"/>
                    </a:lnTo>
                    <a:lnTo>
                      <a:pt x="3305229" y="788427"/>
                    </a:lnTo>
                    <a:lnTo>
                      <a:pt x="3289394" y="788427"/>
                    </a:lnTo>
                    <a:lnTo>
                      <a:pt x="3275933" y="804357"/>
                    </a:lnTo>
                    <a:lnTo>
                      <a:pt x="3275933" y="817898"/>
                    </a:lnTo>
                    <a:lnTo>
                      <a:pt x="3249014" y="817898"/>
                    </a:lnTo>
                    <a:lnTo>
                      <a:pt x="3234763" y="831438"/>
                    </a:lnTo>
                    <a:lnTo>
                      <a:pt x="3206255" y="831438"/>
                    </a:lnTo>
                    <a:lnTo>
                      <a:pt x="3178543" y="831438"/>
                    </a:lnTo>
                    <a:lnTo>
                      <a:pt x="3165081" y="831438"/>
                    </a:lnTo>
                    <a:lnTo>
                      <a:pt x="3137369" y="817898"/>
                    </a:lnTo>
                    <a:lnTo>
                      <a:pt x="3122324" y="804357"/>
                    </a:lnTo>
                    <a:lnTo>
                      <a:pt x="3122324" y="788427"/>
                    </a:lnTo>
                    <a:lnTo>
                      <a:pt x="3137369" y="774887"/>
                    </a:lnTo>
                    <a:lnTo>
                      <a:pt x="3122324" y="774887"/>
                    </a:lnTo>
                    <a:lnTo>
                      <a:pt x="3108862" y="774887"/>
                    </a:lnTo>
                    <a:lnTo>
                      <a:pt x="3095402" y="761346"/>
                    </a:lnTo>
                    <a:close/>
                    <a:moveTo>
                      <a:pt x="4006103" y="729081"/>
                    </a:moveTo>
                    <a:lnTo>
                      <a:pt x="4006103" y="729679"/>
                    </a:lnTo>
                    <a:lnTo>
                      <a:pt x="4019907" y="729679"/>
                    </a:lnTo>
                    <a:lnTo>
                      <a:pt x="4046728" y="729679"/>
                    </a:lnTo>
                    <a:lnTo>
                      <a:pt x="4046728" y="729081"/>
                    </a:lnTo>
                    <a:lnTo>
                      <a:pt x="4020322" y="729081"/>
                    </a:lnTo>
                    <a:close/>
                    <a:moveTo>
                      <a:pt x="1998920" y="694179"/>
                    </a:moveTo>
                    <a:lnTo>
                      <a:pt x="2013077" y="694179"/>
                    </a:lnTo>
                    <a:lnTo>
                      <a:pt x="2028899" y="708379"/>
                    </a:lnTo>
                    <a:lnTo>
                      <a:pt x="2013077" y="708379"/>
                    </a:lnTo>
                    <a:lnTo>
                      <a:pt x="1998920" y="708379"/>
                    </a:lnTo>
                    <a:close/>
                    <a:moveTo>
                      <a:pt x="1957902" y="694179"/>
                    </a:moveTo>
                    <a:lnTo>
                      <a:pt x="1985512" y="694179"/>
                    </a:lnTo>
                    <a:lnTo>
                      <a:pt x="1998921" y="709168"/>
                    </a:lnTo>
                    <a:lnTo>
                      <a:pt x="1971313" y="722578"/>
                    </a:lnTo>
                    <a:lnTo>
                      <a:pt x="1957902" y="722578"/>
                    </a:lnTo>
                    <a:lnTo>
                      <a:pt x="1957902" y="709168"/>
                    </a:lnTo>
                    <a:close/>
                    <a:moveTo>
                      <a:pt x="4675434" y="667360"/>
                    </a:moveTo>
                    <a:lnTo>
                      <a:pt x="4703043" y="692202"/>
                    </a:lnTo>
                    <a:lnTo>
                      <a:pt x="4688844" y="705826"/>
                    </a:lnTo>
                    <a:lnTo>
                      <a:pt x="4662023" y="717846"/>
                    </a:lnTo>
                    <a:lnTo>
                      <a:pt x="4662023" y="692202"/>
                    </a:lnTo>
                    <a:close/>
                    <a:moveTo>
                      <a:pt x="4211483" y="640619"/>
                    </a:moveTo>
                    <a:lnTo>
                      <a:pt x="4183836" y="653256"/>
                    </a:lnTo>
                    <a:lnTo>
                      <a:pt x="4170407" y="704596"/>
                    </a:lnTo>
                    <a:lnTo>
                      <a:pt x="4156978" y="716444"/>
                    </a:lnTo>
                    <a:lnTo>
                      <a:pt x="4129331" y="716444"/>
                    </a:lnTo>
                    <a:lnTo>
                      <a:pt x="4115903" y="716444"/>
                    </a:lnTo>
                    <a:lnTo>
                      <a:pt x="4102165" y="716444"/>
                    </a:lnTo>
                    <a:lnTo>
                      <a:pt x="4103525" y="717721"/>
                    </a:lnTo>
                    <a:lnTo>
                      <a:pt x="4117724" y="717721"/>
                    </a:lnTo>
                    <a:lnTo>
                      <a:pt x="4131134" y="717721"/>
                    </a:lnTo>
                    <a:lnTo>
                      <a:pt x="4157955" y="717721"/>
                    </a:lnTo>
                    <a:lnTo>
                      <a:pt x="4172154" y="705908"/>
                    </a:lnTo>
                    <a:lnTo>
                      <a:pt x="4185565" y="654718"/>
                    </a:lnTo>
                    <a:lnTo>
                      <a:pt x="4213174" y="642117"/>
                    </a:lnTo>
                    <a:lnTo>
                      <a:pt x="4252912" y="667787"/>
                    </a:lnTo>
                    <a:lnTo>
                      <a:pt x="4253349" y="666684"/>
                    </a:lnTo>
                    <a:close/>
                    <a:moveTo>
                      <a:pt x="1587937" y="547456"/>
                    </a:moveTo>
                    <a:lnTo>
                      <a:pt x="1642369" y="641328"/>
                    </a:lnTo>
                    <a:lnTo>
                      <a:pt x="1627380" y="667360"/>
                    </a:lnTo>
                    <a:lnTo>
                      <a:pt x="1642369" y="679192"/>
                    </a:lnTo>
                    <a:lnTo>
                      <a:pt x="1683387" y="729678"/>
                    </a:lnTo>
                    <a:lnTo>
                      <a:pt x="1696798" y="691813"/>
                    </a:lnTo>
                    <a:lnTo>
                      <a:pt x="1723619" y="717057"/>
                    </a:lnTo>
                    <a:lnTo>
                      <a:pt x="1708631" y="767542"/>
                    </a:lnTo>
                    <a:lnTo>
                      <a:pt x="1737817" y="792785"/>
                    </a:lnTo>
                    <a:lnTo>
                      <a:pt x="1751231" y="792785"/>
                    </a:lnTo>
                    <a:lnTo>
                      <a:pt x="1751231" y="767542"/>
                    </a:lnTo>
                    <a:lnTo>
                      <a:pt x="1778839" y="754921"/>
                    </a:lnTo>
                    <a:lnTo>
                      <a:pt x="1778839" y="653949"/>
                    </a:lnTo>
                    <a:lnTo>
                      <a:pt x="1805657" y="653949"/>
                    </a:lnTo>
                    <a:lnTo>
                      <a:pt x="1833269" y="667360"/>
                    </a:lnTo>
                    <a:lnTo>
                      <a:pt x="1833269" y="691813"/>
                    </a:lnTo>
                    <a:lnTo>
                      <a:pt x="1860088" y="691813"/>
                    </a:lnTo>
                    <a:lnTo>
                      <a:pt x="1860088" y="729678"/>
                    </a:lnTo>
                    <a:lnTo>
                      <a:pt x="1833269" y="743088"/>
                    </a:lnTo>
                    <a:lnTo>
                      <a:pt x="1833269" y="767542"/>
                    </a:lnTo>
                    <a:lnTo>
                      <a:pt x="1860088" y="780953"/>
                    </a:lnTo>
                    <a:lnTo>
                      <a:pt x="1860088" y="805407"/>
                    </a:lnTo>
                    <a:lnTo>
                      <a:pt x="1805657" y="856681"/>
                    </a:lnTo>
                    <a:lnTo>
                      <a:pt x="1778839" y="843271"/>
                    </a:lnTo>
                    <a:lnTo>
                      <a:pt x="1778839" y="830649"/>
                    </a:lnTo>
                    <a:lnTo>
                      <a:pt x="1751231" y="830649"/>
                    </a:lnTo>
                    <a:lnTo>
                      <a:pt x="1764641" y="856681"/>
                    </a:lnTo>
                    <a:lnTo>
                      <a:pt x="1737817" y="881136"/>
                    </a:lnTo>
                    <a:lnTo>
                      <a:pt x="1737817" y="906379"/>
                    </a:lnTo>
                    <a:lnTo>
                      <a:pt x="1708631" y="956075"/>
                    </a:lnTo>
                    <a:lnTo>
                      <a:pt x="1683387" y="956075"/>
                    </a:lnTo>
                    <a:lnTo>
                      <a:pt x="1655779" y="982107"/>
                    </a:lnTo>
                    <a:lnTo>
                      <a:pt x="1667611" y="1008139"/>
                    </a:lnTo>
                    <a:lnTo>
                      <a:pt x="1627380" y="1019972"/>
                    </a:lnTo>
                    <a:lnTo>
                      <a:pt x="1627380" y="1046003"/>
                    </a:lnTo>
                    <a:lnTo>
                      <a:pt x="1614758" y="1046003"/>
                    </a:lnTo>
                    <a:lnTo>
                      <a:pt x="1601348" y="1057836"/>
                    </a:lnTo>
                    <a:lnTo>
                      <a:pt x="1573738" y="1121732"/>
                    </a:lnTo>
                    <a:lnTo>
                      <a:pt x="1573738" y="1159596"/>
                    </a:lnTo>
                    <a:lnTo>
                      <a:pt x="1586359" y="1171428"/>
                    </a:lnTo>
                    <a:lnTo>
                      <a:pt x="1614758" y="1171428"/>
                    </a:lnTo>
                    <a:lnTo>
                      <a:pt x="1627380" y="1247158"/>
                    </a:lnTo>
                    <a:lnTo>
                      <a:pt x="1655779" y="1235325"/>
                    </a:lnTo>
                    <a:lnTo>
                      <a:pt x="1696798" y="1247158"/>
                    </a:lnTo>
                    <a:lnTo>
                      <a:pt x="1723619" y="1273189"/>
                    </a:lnTo>
                    <a:lnTo>
                      <a:pt x="1778839" y="1296855"/>
                    </a:lnTo>
                    <a:lnTo>
                      <a:pt x="1833269" y="1296855"/>
                    </a:lnTo>
                    <a:lnTo>
                      <a:pt x="1846679" y="1311054"/>
                    </a:lnTo>
                    <a:lnTo>
                      <a:pt x="1846679" y="1372583"/>
                    </a:lnTo>
                    <a:lnTo>
                      <a:pt x="1874287" y="1372583"/>
                    </a:lnTo>
                    <a:lnTo>
                      <a:pt x="1874287" y="1386783"/>
                    </a:lnTo>
                    <a:lnTo>
                      <a:pt x="1846679" y="1372977"/>
                    </a:lnTo>
                    <a:lnTo>
                      <a:pt x="1846679" y="1385994"/>
                    </a:lnTo>
                    <a:lnTo>
                      <a:pt x="1902684" y="1436479"/>
                    </a:lnTo>
                    <a:lnTo>
                      <a:pt x="1928716" y="1410447"/>
                    </a:lnTo>
                    <a:lnTo>
                      <a:pt x="1902684" y="1322886"/>
                    </a:lnTo>
                    <a:lnTo>
                      <a:pt x="1928716" y="1311054"/>
                    </a:lnTo>
                    <a:lnTo>
                      <a:pt x="1955538" y="1273189"/>
                    </a:lnTo>
                    <a:lnTo>
                      <a:pt x="1943703" y="1197460"/>
                    </a:lnTo>
                    <a:lnTo>
                      <a:pt x="1914518" y="1171428"/>
                    </a:lnTo>
                    <a:lnTo>
                      <a:pt x="1928716" y="1159596"/>
                    </a:lnTo>
                    <a:lnTo>
                      <a:pt x="1943703" y="1159596"/>
                    </a:lnTo>
                    <a:lnTo>
                      <a:pt x="1943703" y="1145397"/>
                    </a:lnTo>
                    <a:lnTo>
                      <a:pt x="1943703" y="1107532"/>
                    </a:lnTo>
                    <a:lnTo>
                      <a:pt x="1928716" y="1095700"/>
                    </a:lnTo>
                    <a:lnTo>
                      <a:pt x="1943703" y="1057836"/>
                    </a:lnTo>
                    <a:lnTo>
                      <a:pt x="1928716" y="1046003"/>
                    </a:lnTo>
                    <a:lnTo>
                      <a:pt x="1928716" y="1031804"/>
                    </a:lnTo>
                    <a:lnTo>
                      <a:pt x="1943703" y="1019972"/>
                    </a:lnTo>
                    <a:lnTo>
                      <a:pt x="1984722" y="1031804"/>
                    </a:lnTo>
                    <a:lnTo>
                      <a:pt x="2024954" y="1019972"/>
                    </a:lnTo>
                    <a:lnTo>
                      <a:pt x="2078599" y="1057836"/>
                    </a:lnTo>
                    <a:lnTo>
                      <a:pt x="2065975" y="1069668"/>
                    </a:lnTo>
                    <a:lnTo>
                      <a:pt x="2078599" y="1083868"/>
                    </a:lnTo>
                    <a:lnTo>
                      <a:pt x="2118829" y="1083868"/>
                    </a:lnTo>
                    <a:lnTo>
                      <a:pt x="2118829" y="1159596"/>
                    </a:lnTo>
                    <a:lnTo>
                      <a:pt x="2159848" y="1197460"/>
                    </a:lnTo>
                    <a:lnTo>
                      <a:pt x="2174837" y="1183262"/>
                    </a:lnTo>
                    <a:lnTo>
                      <a:pt x="2200871" y="1159596"/>
                    </a:lnTo>
                    <a:lnTo>
                      <a:pt x="2215857" y="1145397"/>
                    </a:lnTo>
                    <a:lnTo>
                      <a:pt x="2200871" y="1133564"/>
                    </a:lnTo>
                    <a:lnTo>
                      <a:pt x="2215857" y="1107532"/>
                    </a:lnTo>
                    <a:lnTo>
                      <a:pt x="2297896" y="1235325"/>
                    </a:lnTo>
                    <a:lnTo>
                      <a:pt x="2284485" y="1247158"/>
                    </a:lnTo>
                    <a:lnTo>
                      <a:pt x="2284485" y="1273189"/>
                    </a:lnTo>
                    <a:lnTo>
                      <a:pt x="2311305" y="1285022"/>
                    </a:lnTo>
                    <a:lnTo>
                      <a:pt x="2311305" y="1296855"/>
                    </a:lnTo>
                    <a:lnTo>
                      <a:pt x="2338917" y="1311054"/>
                    </a:lnTo>
                    <a:lnTo>
                      <a:pt x="2352325" y="1311054"/>
                    </a:lnTo>
                    <a:lnTo>
                      <a:pt x="2379938" y="1322886"/>
                    </a:lnTo>
                    <a:lnTo>
                      <a:pt x="2352325" y="1334719"/>
                    </a:lnTo>
                    <a:lnTo>
                      <a:pt x="2379938" y="1334719"/>
                    </a:lnTo>
                    <a:lnTo>
                      <a:pt x="2379938" y="1360751"/>
                    </a:lnTo>
                    <a:lnTo>
                      <a:pt x="2394924" y="1360751"/>
                    </a:lnTo>
                    <a:lnTo>
                      <a:pt x="2406757" y="1372583"/>
                    </a:lnTo>
                    <a:lnTo>
                      <a:pt x="2406757" y="1385994"/>
                    </a:lnTo>
                    <a:lnTo>
                      <a:pt x="2420167" y="1410447"/>
                    </a:lnTo>
                    <a:lnTo>
                      <a:pt x="2394924" y="1423858"/>
                    </a:lnTo>
                    <a:lnTo>
                      <a:pt x="2352325" y="1436479"/>
                    </a:lnTo>
                    <a:lnTo>
                      <a:pt x="2325506" y="1474343"/>
                    </a:lnTo>
                    <a:lnTo>
                      <a:pt x="2284485" y="1474343"/>
                    </a:lnTo>
                    <a:lnTo>
                      <a:pt x="2243465" y="1461722"/>
                    </a:lnTo>
                    <a:lnTo>
                      <a:pt x="2174837" y="1474343"/>
                    </a:lnTo>
                    <a:lnTo>
                      <a:pt x="2159848" y="1499587"/>
                    </a:lnTo>
                    <a:lnTo>
                      <a:pt x="2148016" y="1499587"/>
                    </a:lnTo>
                    <a:lnTo>
                      <a:pt x="2118829" y="1512208"/>
                    </a:lnTo>
                    <a:lnTo>
                      <a:pt x="2078599" y="1561905"/>
                    </a:lnTo>
                    <a:lnTo>
                      <a:pt x="2093588" y="1561905"/>
                    </a:lnTo>
                    <a:lnTo>
                      <a:pt x="2134606" y="1524041"/>
                    </a:lnTo>
                    <a:lnTo>
                      <a:pt x="2174837" y="1499587"/>
                    </a:lnTo>
                    <a:lnTo>
                      <a:pt x="2215857" y="1499587"/>
                    </a:lnTo>
                    <a:lnTo>
                      <a:pt x="2230055" y="1499587"/>
                    </a:lnTo>
                    <a:lnTo>
                      <a:pt x="2230055" y="1524041"/>
                    </a:lnTo>
                    <a:lnTo>
                      <a:pt x="2200871" y="1537451"/>
                    </a:lnTo>
                    <a:lnTo>
                      <a:pt x="2189036" y="1537451"/>
                    </a:lnTo>
                    <a:lnTo>
                      <a:pt x="2200871" y="1550072"/>
                    </a:lnTo>
                    <a:lnTo>
                      <a:pt x="2215857" y="1537451"/>
                    </a:lnTo>
                    <a:lnTo>
                      <a:pt x="2215857" y="1575315"/>
                    </a:lnTo>
                    <a:lnTo>
                      <a:pt x="2230055" y="1587937"/>
                    </a:lnTo>
                    <a:lnTo>
                      <a:pt x="2256875" y="1599770"/>
                    </a:lnTo>
                    <a:lnTo>
                      <a:pt x="2284485" y="1599770"/>
                    </a:lnTo>
                    <a:lnTo>
                      <a:pt x="2284485" y="1587937"/>
                    </a:lnTo>
                    <a:lnTo>
                      <a:pt x="2311305" y="1561905"/>
                    </a:lnTo>
                    <a:lnTo>
                      <a:pt x="2311305" y="1587937"/>
                    </a:lnTo>
                    <a:lnTo>
                      <a:pt x="2325506" y="1587937"/>
                    </a:lnTo>
                    <a:lnTo>
                      <a:pt x="2297896" y="1599770"/>
                    </a:lnTo>
                    <a:lnTo>
                      <a:pt x="2297896" y="1613179"/>
                    </a:lnTo>
                    <a:lnTo>
                      <a:pt x="2230055" y="1637634"/>
                    </a:lnTo>
                    <a:lnTo>
                      <a:pt x="2200871" y="1663666"/>
                    </a:lnTo>
                    <a:lnTo>
                      <a:pt x="2189036" y="1637634"/>
                    </a:lnTo>
                    <a:lnTo>
                      <a:pt x="2230055" y="1613179"/>
                    </a:lnTo>
                    <a:lnTo>
                      <a:pt x="2215857" y="1613179"/>
                    </a:lnTo>
                    <a:lnTo>
                      <a:pt x="2215857" y="1599770"/>
                    </a:lnTo>
                    <a:lnTo>
                      <a:pt x="2189036" y="1613179"/>
                    </a:lnTo>
                    <a:lnTo>
                      <a:pt x="2175625" y="1613179"/>
                    </a:lnTo>
                    <a:lnTo>
                      <a:pt x="2175625" y="1625622"/>
                    </a:lnTo>
                    <a:lnTo>
                      <a:pt x="2162215" y="1637439"/>
                    </a:lnTo>
                    <a:lnTo>
                      <a:pt x="2135393" y="1637439"/>
                    </a:lnTo>
                    <a:lnTo>
                      <a:pt x="2121196" y="1650832"/>
                    </a:lnTo>
                    <a:lnTo>
                      <a:pt x="2107786" y="1663437"/>
                    </a:lnTo>
                    <a:lnTo>
                      <a:pt x="2079385" y="1688648"/>
                    </a:lnTo>
                    <a:lnTo>
                      <a:pt x="2094377" y="1713071"/>
                    </a:lnTo>
                    <a:lnTo>
                      <a:pt x="2079385" y="1713071"/>
                    </a:lnTo>
                    <a:lnTo>
                      <a:pt x="2038365" y="1726465"/>
                    </a:lnTo>
                    <a:lnTo>
                      <a:pt x="2026416" y="1737696"/>
                    </a:lnTo>
                    <a:lnTo>
                      <a:pt x="2051510" y="1727561"/>
                    </a:lnTo>
                    <a:lnTo>
                      <a:pt x="2065185" y="1727561"/>
                    </a:lnTo>
                    <a:lnTo>
                      <a:pt x="2025964" y="1738120"/>
                    </a:lnTo>
                    <a:lnTo>
                      <a:pt x="2024954" y="1739070"/>
                    </a:lnTo>
                    <a:lnTo>
                      <a:pt x="2010755" y="1776885"/>
                    </a:lnTo>
                    <a:lnTo>
                      <a:pt x="1997344" y="1776885"/>
                    </a:lnTo>
                    <a:lnTo>
                      <a:pt x="1983934" y="1764280"/>
                    </a:lnTo>
                    <a:lnTo>
                      <a:pt x="1969734" y="1776885"/>
                    </a:lnTo>
                    <a:lnTo>
                      <a:pt x="1969734" y="1788703"/>
                    </a:lnTo>
                    <a:lnTo>
                      <a:pt x="1969734" y="1802096"/>
                    </a:lnTo>
                    <a:lnTo>
                      <a:pt x="1969734" y="1826519"/>
                    </a:lnTo>
                    <a:lnTo>
                      <a:pt x="1983934" y="1864336"/>
                    </a:lnTo>
                    <a:lnTo>
                      <a:pt x="1969734" y="1889546"/>
                    </a:lnTo>
                    <a:lnTo>
                      <a:pt x="1915305" y="1915545"/>
                    </a:lnTo>
                    <a:lnTo>
                      <a:pt x="1874287" y="1953360"/>
                    </a:lnTo>
                    <a:lnTo>
                      <a:pt x="1860877" y="1977784"/>
                    </a:lnTo>
                    <a:lnTo>
                      <a:pt x="1888486" y="2066808"/>
                    </a:lnTo>
                    <a:lnTo>
                      <a:pt x="1888486" y="2104624"/>
                    </a:lnTo>
                    <a:lnTo>
                      <a:pt x="1874287" y="2104624"/>
                    </a:lnTo>
                    <a:lnTo>
                      <a:pt x="1860877" y="2091232"/>
                    </a:lnTo>
                    <a:lnTo>
                      <a:pt x="1834056" y="2066808"/>
                    </a:lnTo>
                    <a:lnTo>
                      <a:pt x="1834056" y="2015599"/>
                    </a:lnTo>
                    <a:lnTo>
                      <a:pt x="1806446" y="1991176"/>
                    </a:lnTo>
                    <a:lnTo>
                      <a:pt x="1779626" y="2002994"/>
                    </a:lnTo>
                    <a:lnTo>
                      <a:pt x="1779626" y="1991176"/>
                    </a:lnTo>
                    <a:lnTo>
                      <a:pt x="1752016" y="1991176"/>
                    </a:lnTo>
                    <a:lnTo>
                      <a:pt x="1724408" y="1991176"/>
                    </a:lnTo>
                    <a:lnTo>
                      <a:pt x="1724408" y="1977784"/>
                    </a:lnTo>
                    <a:lnTo>
                      <a:pt x="1684176" y="1991176"/>
                    </a:lnTo>
                    <a:lnTo>
                      <a:pt x="1697586" y="1991176"/>
                    </a:lnTo>
                    <a:lnTo>
                      <a:pt x="1684176" y="2002994"/>
                    </a:lnTo>
                    <a:lnTo>
                      <a:pt x="1697586" y="2015599"/>
                    </a:lnTo>
                    <a:lnTo>
                      <a:pt x="1684176" y="2015599"/>
                    </a:lnTo>
                    <a:lnTo>
                      <a:pt x="1656568" y="2015599"/>
                    </a:lnTo>
                    <a:lnTo>
                      <a:pt x="1643156" y="2002994"/>
                    </a:lnTo>
                    <a:lnTo>
                      <a:pt x="1628169" y="2002994"/>
                    </a:lnTo>
                    <a:lnTo>
                      <a:pt x="1600558" y="2002994"/>
                    </a:lnTo>
                    <a:lnTo>
                      <a:pt x="1572949" y="2015599"/>
                    </a:lnTo>
                    <a:lnTo>
                      <a:pt x="1572949" y="2002994"/>
                    </a:lnTo>
                    <a:lnTo>
                      <a:pt x="1559538" y="2002994"/>
                    </a:lnTo>
                    <a:lnTo>
                      <a:pt x="1572949" y="2015599"/>
                    </a:lnTo>
                    <a:lnTo>
                      <a:pt x="1518518" y="2053415"/>
                    </a:lnTo>
                    <a:lnTo>
                      <a:pt x="1518518" y="2091232"/>
                    </a:lnTo>
                    <a:lnTo>
                      <a:pt x="1517287" y="2090853"/>
                    </a:lnTo>
                    <a:lnTo>
                      <a:pt x="1505105" y="2113738"/>
                    </a:lnTo>
                    <a:lnTo>
                      <a:pt x="1505105" y="2164121"/>
                    </a:lnTo>
                    <a:lnTo>
                      <a:pt x="1518517" y="2177505"/>
                    </a:lnTo>
                    <a:lnTo>
                      <a:pt x="1518517" y="2189313"/>
                    </a:lnTo>
                    <a:lnTo>
                      <a:pt x="1546124" y="2239698"/>
                    </a:lnTo>
                    <a:lnTo>
                      <a:pt x="1587146" y="2253081"/>
                    </a:lnTo>
                    <a:lnTo>
                      <a:pt x="1628168" y="2239698"/>
                    </a:lnTo>
                    <a:lnTo>
                      <a:pt x="1641576" y="2239698"/>
                    </a:lnTo>
                    <a:lnTo>
                      <a:pt x="1654989" y="2227102"/>
                    </a:lnTo>
                    <a:lnTo>
                      <a:pt x="1668399" y="2189313"/>
                    </a:lnTo>
                    <a:lnTo>
                      <a:pt x="1682597" y="2189313"/>
                    </a:lnTo>
                    <a:lnTo>
                      <a:pt x="1722829" y="2177505"/>
                    </a:lnTo>
                    <a:lnTo>
                      <a:pt x="1737028" y="2189313"/>
                    </a:lnTo>
                    <a:lnTo>
                      <a:pt x="1722829" y="2239698"/>
                    </a:lnTo>
                    <a:lnTo>
                      <a:pt x="1722829" y="2253081"/>
                    </a:lnTo>
                    <a:lnTo>
                      <a:pt x="1709418" y="2239698"/>
                    </a:lnTo>
                    <a:lnTo>
                      <a:pt x="1696162" y="2252928"/>
                    </a:lnTo>
                    <a:lnTo>
                      <a:pt x="1696668" y="2252928"/>
                    </a:lnTo>
                    <a:lnTo>
                      <a:pt x="1696668" y="2291133"/>
                    </a:lnTo>
                    <a:lnTo>
                      <a:pt x="1710209" y="2303073"/>
                    </a:lnTo>
                    <a:lnTo>
                      <a:pt x="1683125" y="2329340"/>
                    </a:lnTo>
                    <a:lnTo>
                      <a:pt x="1668789" y="2341278"/>
                    </a:lnTo>
                    <a:lnTo>
                      <a:pt x="1628169" y="2329340"/>
                    </a:lnTo>
                    <a:lnTo>
                      <a:pt x="1641709" y="2291133"/>
                    </a:lnTo>
                    <a:lnTo>
                      <a:pt x="1668789" y="2291133"/>
                    </a:lnTo>
                    <a:lnTo>
                      <a:pt x="1641709" y="2264867"/>
                    </a:lnTo>
                    <a:lnTo>
                      <a:pt x="1655077" y="2253081"/>
                    </a:lnTo>
                    <a:lnTo>
                      <a:pt x="1654989" y="2253081"/>
                    </a:lnTo>
                    <a:lnTo>
                      <a:pt x="1641576" y="2264890"/>
                    </a:lnTo>
                    <a:lnTo>
                      <a:pt x="1668399" y="2290870"/>
                    </a:lnTo>
                    <a:lnTo>
                      <a:pt x="1641576" y="2290870"/>
                    </a:lnTo>
                    <a:lnTo>
                      <a:pt x="1628168" y="2328657"/>
                    </a:lnTo>
                    <a:lnTo>
                      <a:pt x="1587146" y="2290870"/>
                    </a:lnTo>
                    <a:lnTo>
                      <a:pt x="1559538" y="2290870"/>
                    </a:lnTo>
                    <a:lnTo>
                      <a:pt x="1546124" y="2302679"/>
                    </a:lnTo>
                    <a:lnTo>
                      <a:pt x="1505105" y="2290870"/>
                    </a:lnTo>
                    <a:lnTo>
                      <a:pt x="1437264" y="2264890"/>
                    </a:lnTo>
                    <a:lnTo>
                      <a:pt x="1423066" y="2253081"/>
                    </a:lnTo>
                    <a:lnTo>
                      <a:pt x="1382834" y="2253081"/>
                    </a:lnTo>
                    <a:lnTo>
                      <a:pt x="1355226" y="2227102"/>
                    </a:lnTo>
                    <a:lnTo>
                      <a:pt x="1341821" y="2201910"/>
                    </a:lnTo>
                    <a:lnTo>
                      <a:pt x="1355226" y="2189313"/>
                    </a:lnTo>
                    <a:lnTo>
                      <a:pt x="1341821" y="2164121"/>
                    </a:lnTo>
                    <a:lnTo>
                      <a:pt x="1287390" y="2101929"/>
                    </a:lnTo>
                    <a:lnTo>
                      <a:pt x="1258204" y="2088546"/>
                    </a:lnTo>
                    <a:lnTo>
                      <a:pt x="1258204" y="2075949"/>
                    </a:lnTo>
                    <a:lnTo>
                      <a:pt x="1231383" y="2050757"/>
                    </a:lnTo>
                    <a:lnTo>
                      <a:pt x="1231383" y="2038161"/>
                    </a:lnTo>
                    <a:lnTo>
                      <a:pt x="1217185" y="2038161"/>
                    </a:lnTo>
                    <a:lnTo>
                      <a:pt x="1203774" y="2012969"/>
                    </a:lnTo>
                    <a:lnTo>
                      <a:pt x="1176166" y="1962585"/>
                    </a:lnTo>
                    <a:lnTo>
                      <a:pt x="1162756" y="1962585"/>
                    </a:lnTo>
                    <a:lnTo>
                      <a:pt x="1135935" y="1950776"/>
                    </a:lnTo>
                    <a:lnTo>
                      <a:pt x="1149344" y="1988565"/>
                    </a:lnTo>
                    <a:lnTo>
                      <a:pt x="1217185" y="2075949"/>
                    </a:lnTo>
                    <a:lnTo>
                      <a:pt x="1231383" y="2126333"/>
                    </a:lnTo>
                    <a:lnTo>
                      <a:pt x="1244793" y="2126333"/>
                    </a:lnTo>
                    <a:lnTo>
                      <a:pt x="1258204" y="2139717"/>
                    </a:lnTo>
                    <a:lnTo>
                      <a:pt x="1244793" y="2151526"/>
                    </a:lnTo>
                    <a:lnTo>
                      <a:pt x="1231383" y="2139717"/>
                    </a:lnTo>
                    <a:lnTo>
                      <a:pt x="1190363" y="2113738"/>
                    </a:lnTo>
                    <a:lnTo>
                      <a:pt x="1203774" y="2101929"/>
                    </a:lnTo>
                    <a:lnTo>
                      <a:pt x="1190363" y="2075949"/>
                    </a:lnTo>
                    <a:lnTo>
                      <a:pt x="1149344" y="2064140"/>
                    </a:lnTo>
                    <a:lnTo>
                      <a:pt x="1135935" y="2038161"/>
                    </a:lnTo>
                    <a:lnTo>
                      <a:pt x="1149344" y="2050757"/>
                    </a:lnTo>
                    <a:lnTo>
                      <a:pt x="1162756" y="2026352"/>
                    </a:lnTo>
                    <a:lnTo>
                      <a:pt x="1121736" y="2000373"/>
                    </a:lnTo>
                    <a:lnTo>
                      <a:pt x="1096010" y="1939967"/>
                    </a:lnTo>
                    <a:lnTo>
                      <a:pt x="1094916" y="1939967"/>
                    </a:lnTo>
                    <a:lnTo>
                      <a:pt x="1080715" y="1915545"/>
                    </a:lnTo>
                    <a:lnTo>
                      <a:pt x="1067304" y="1915545"/>
                    </a:lnTo>
                    <a:lnTo>
                      <a:pt x="1067304" y="1902151"/>
                    </a:lnTo>
                    <a:lnTo>
                      <a:pt x="1012874" y="1889546"/>
                    </a:lnTo>
                    <a:lnTo>
                      <a:pt x="1012874" y="1877728"/>
                    </a:lnTo>
                    <a:lnTo>
                      <a:pt x="986053" y="1851730"/>
                    </a:lnTo>
                    <a:lnTo>
                      <a:pt x="986053" y="1826519"/>
                    </a:lnTo>
                    <a:lnTo>
                      <a:pt x="971854" y="1826519"/>
                    </a:lnTo>
                    <a:lnTo>
                      <a:pt x="971854" y="1813914"/>
                    </a:lnTo>
                    <a:lnTo>
                      <a:pt x="986053" y="1813914"/>
                    </a:lnTo>
                    <a:lnTo>
                      <a:pt x="986053" y="1802096"/>
                    </a:lnTo>
                    <a:lnTo>
                      <a:pt x="971854" y="1802096"/>
                    </a:lnTo>
                    <a:lnTo>
                      <a:pt x="945035" y="1776885"/>
                    </a:lnTo>
                    <a:lnTo>
                      <a:pt x="945035" y="1764280"/>
                    </a:lnTo>
                    <a:lnTo>
                      <a:pt x="930838" y="1750887"/>
                    </a:lnTo>
                    <a:lnTo>
                      <a:pt x="945035" y="1713071"/>
                    </a:lnTo>
                    <a:lnTo>
                      <a:pt x="930838" y="1675255"/>
                    </a:lnTo>
                    <a:lnTo>
                      <a:pt x="945035" y="1587805"/>
                    </a:lnTo>
                    <a:lnTo>
                      <a:pt x="930838" y="1523991"/>
                    </a:lnTo>
                    <a:lnTo>
                      <a:pt x="944133" y="1523991"/>
                    </a:lnTo>
                    <a:lnTo>
                      <a:pt x="916638" y="1512208"/>
                    </a:lnTo>
                    <a:lnTo>
                      <a:pt x="916638" y="1499585"/>
                    </a:lnTo>
                    <a:lnTo>
                      <a:pt x="889816" y="1486176"/>
                    </a:lnTo>
                    <a:lnTo>
                      <a:pt x="862207" y="1474342"/>
                    </a:lnTo>
                    <a:lnTo>
                      <a:pt x="848796" y="1448310"/>
                    </a:lnTo>
                    <a:lnTo>
                      <a:pt x="862207" y="1448310"/>
                    </a:lnTo>
                    <a:lnTo>
                      <a:pt x="903223" y="1461720"/>
                    </a:lnTo>
                    <a:lnTo>
                      <a:pt x="862207" y="1436479"/>
                    </a:lnTo>
                    <a:lnTo>
                      <a:pt x="848796" y="1398615"/>
                    </a:lnTo>
                    <a:lnTo>
                      <a:pt x="834597" y="1385994"/>
                    </a:lnTo>
                    <a:lnTo>
                      <a:pt x="794367" y="1348130"/>
                    </a:lnTo>
                    <a:lnTo>
                      <a:pt x="807776" y="1334719"/>
                    </a:lnTo>
                    <a:lnTo>
                      <a:pt x="807776" y="1311077"/>
                    </a:lnTo>
                    <a:lnTo>
                      <a:pt x="794354" y="1322897"/>
                    </a:lnTo>
                    <a:lnTo>
                      <a:pt x="780141" y="1311077"/>
                    </a:lnTo>
                    <a:lnTo>
                      <a:pt x="766718" y="1285072"/>
                    </a:lnTo>
                    <a:lnTo>
                      <a:pt x="766718" y="1273252"/>
                    </a:lnTo>
                    <a:lnTo>
                      <a:pt x="751715" y="1273252"/>
                    </a:lnTo>
                    <a:lnTo>
                      <a:pt x="766718" y="1296893"/>
                    </a:lnTo>
                    <a:lnTo>
                      <a:pt x="766718" y="1322897"/>
                    </a:lnTo>
                    <a:lnTo>
                      <a:pt x="738292" y="1285072"/>
                    </a:lnTo>
                    <a:lnTo>
                      <a:pt x="738292" y="1259067"/>
                    </a:lnTo>
                    <a:lnTo>
                      <a:pt x="724079" y="1273252"/>
                    </a:lnTo>
                    <a:lnTo>
                      <a:pt x="724079" y="1247246"/>
                    </a:lnTo>
                    <a:lnTo>
                      <a:pt x="724079" y="1235426"/>
                    </a:lnTo>
                    <a:lnTo>
                      <a:pt x="751715" y="1247246"/>
                    </a:lnTo>
                    <a:lnTo>
                      <a:pt x="724079" y="1221241"/>
                    </a:lnTo>
                    <a:lnTo>
                      <a:pt x="710656" y="1235426"/>
                    </a:lnTo>
                    <a:lnTo>
                      <a:pt x="697232" y="1171595"/>
                    </a:lnTo>
                    <a:lnTo>
                      <a:pt x="697232" y="1197601"/>
                    </a:lnTo>
                    <a:lnTo>
                      <a:pt x="683809" y="1197601"/>
                    </a:lnTo>
                    <a:lnTo>
                      <a:pt x="697232" y="1209421"/>
                    </a:lnTo>
                    <a:lnTo>
                      <a:pt x="710656" y="1273252"/>
                    </a:lnTo>
                    <a:lnTo>
                      <a:pt x="669597" y="1197601"/>
                    </a:lnTo>
                    <a:lnTo>
                      <a:pt x="601689" y="1145590"/>
                    </a:lnTo>
                    <a:lnTo>
                      <a:pt x="601689" y="1133770"/>
                    </a:lnTo>
                    <a:lnTo>
                      <a:pt x="588265" y="1133770"/>
                    </a:lnTo>
                    <a:lnTo>
                      <a:pt x="547206" y="1121950"/>
                    </a:lnTo>
                    <a:lnTo>
                      <a:pt x="506146" y="1121950"/>
                    </a:lnTo>
                    <a:lnTo>
                      <a:pt x="451663" y="1095944"/>
                    </a:lnTo>
                    <a:lnTo>
                      <a:pt x="410601" y="1084124"/>
                    </a:lnTo>
                    <a:lnTo>
                      <a:pt x="424025" y="1107765"/>
                    </a:lnTo>
                    <a:lnTo>
                      <a:pt x="410601" y="1133770"/>
                    </a:lnTo>
                    <a:lnTo>
                      <a:pt x="397179" y="1133770"/>
                    </a:lnTo>
                    <a:lnTo>
                      <a:pt x="356118" y="1159775"/>
                    </a:lnTo>
                    <a:lnTo>
                      <a:pt x="342695" y="1159775"/>
                    </a:lnTo>
                    <a:lnTo>
                      <a:pt x="356118" y="1145590"/>
                    </a:lnTo>
                    <a:lnTo>
                      <a:pt x="342695" y="1133770"/>
                    </a:lnTo>
                    <a:lnTo>
                      <a:pt x="356118" y="1095944"/>
                    </a:lnTo>
                    <a:lnTo>
                      <a:pt x="369542" y="1084124"/>
                    </a:lnTo>
                    <a:lnTo>
                      <a:pt x="382964" y="1069939"/>
                    </a:lnTo>
                    <a:lnTo>
                      <a:pt x="369542" y="1069939"/>
                    </a:lnTo>
                    <a:lnTo>
                      <a:pt x="328482" y="1095944"/>
                    </a:lnTo>
                    <a:lnTo>
                      <a:pt x="328482" y="1121950"/>
                    </a:lnTo>
                    <a:lnTo>
                      <a:pt x="301636" y="1145590"/>
                    </a:lnTo>
                    <a:lnTo>
                      <a:pt x="287423" y="1159775"/>
                    </a:lnTo>
                    <a:lnTo>
                      <a:pt x="315060" y="1171595"/>
                    </a:lnTo>
                    <a:lnTo>
                      <a:pt x="301636" y="1183416"/>
                    </a:lnTo>
                    <a:lnTo>
                      <a:pt x="232935" y="1235426"/>
                    </a:lnTo>
                    <a:lnTo>
                      <a:pt x="206089" y="1259067"/>
                    </a:lnTo>
                    <a:lnTo>
                      <a:pt x="192665" y="1273252"/>
                    </a:lnTo>
                    <a:lnTo>
                      <a:pt x="137394" y="1296893"/>
                    </a:lnTo>
                    <a:lnTo>
                      <a:pt x="67907" y="1334718"/>
                    </a:lnTo>
                    <a:lnTo>
                      <a:pt x="54484" y="1322897"/>
                    </a:lnTo>
                    <a:lnTo>
                      <a:pt x="97123" y="1296893"/>
                    </a:lnTo>
                    <a:lnTo>
                      <a:pt x="110547" y="1285072"/>
                    </a:lnTo>
                    <a:lnTo>
                      <a:pt x="151605" y="1273252"/>
                    </a:lnTo>
                    <a:lnTo>
                      <a:pt x="219512" y="1221241"/>
                    </a:lnTo>
                    <a:lnTo>
                      <a:pt x="219512" y="1197601"/>
                    </a:lnTo>
                    <a:lnTo>
                      <a:pt x="219512" y="1171595"/>
                    </a:lnTo>
                    <a:lnTo>
                      <a:pt x="192665" y="1171595"/>
                    </a:lnTo>
                    <a:lnTo>
                      <a:pt x="192665" y="1183416"/>
                    </a:lnTo>
                    <a:lnTo>
                      <a:pt x="178452" y="1171595"/>
                    </a:lnTo>
                    <a:lnTo>
                      <a:pt x="137394" y="1171595"/>
                    </a:lnTo>
                    <a:lnTo>
                      <a:pt x="123970" y="1159775"/>
                    </a:lnTo>
                    <a:lnTo>
                      <a:pt x="123970" y="1145590"/>
                    </a:lnTo>
                    <a:lnTo>
                      <a:pt x="123970" y="1121950"/>
                    </a:lnTo>
                    <a:lnTo>
                      <a:pt x="97123" y="1133770"/>
                    </a:lnTo>
                    <a:lnTo>
                      <a:pt x="81331" y="1133770"/>
                    </a:lnTo>
                    <a:lnTo>
                      <a:pt x="41061" y="1058119"/>
                    </a:lnTo>
                    <a:lnTo>
                      <a:pt x="67907" y="994288"/>
                    </a:lnTo>
                    <a:lnTo>
                      <a:pt x="81331" y="994288"/>
                    </a:lnTo>
                    <a:lnTo>
                      <a:pt x="97123" y="994288"/>
                    </a:lnTo>
                    <a:lnTo>
                      <a:pt x="110547" y="982468"/>
                    </a:lnTo>
                    <a:lnTo>
                      <a:pt x="137394" y="982468"/>
                    </a:lnTo>
                    <a:lnTo>
                      <a:pt x="151605" y="956463"/>
                    </a:lnTo>
                    <a:lnTo>
                      <a:pt x="137394" y="932822"/>
                    </a:lnTo>
                    <a:lnTo>
                      <a:pt x="137394" y="919425"/>
                    </a:lnTo>
                    <a:lnTo>
                      <a:pt x="110547" y="932822"/>
                    </a:lnTo>
                    <a:lnTo>
                      <a:pt x="81331" y="932822"/>
                    </a:lnTo>
                    <a:lnTo>
                      <a:pt x="54484" y="932822"/>
                    </a:lnTo>
                    <a:lnTo>
                      <a:pt x="26847" y="919425"/>
                    </a:lnTo>
                    <a:lnTo>
                      <a:pt x="26847" y="906817"/>
                    </a:lnTo>
                    <a:lnTo>
                      <a:pt x="26847" y="894996"/>
                    </a:lnTo>
                    <a:lnTo>
                      <a:pt x="0" y="881600"/>
                    </a:lnTo>
                    <a:lnTo>
                      <a:pt x="13424" y="857171"/>
                    </a:lnTo>
                    <a:lnTo>
                      <a:pt x="67907" y="831166"/>
                    </a:lnTo>
                    <a:lnTo>
                      <a:pt x="81331" y="831166"/>
                    </a:lnTo>
                    <a:lnTo>
                      <a:pt x="81331" y="857171"/>
                    </a:lnTo>
                    <a:lnTo>
                      <a:pt x="123970" y="857171"/>
                    </a:lnTo>
                    <a:lnTo>
                      <a:pt x="123970" y="843774"/>
                    </a:lnTo>
                    <a:lnTo>
                      <a:pt x="97123" y="805949"/>
                    </a:lnTo>
                    <a:lnTo>
                      <a:pt x="81331" y="781520"/>
                    </a:lnTo>
                    <a:lnTo>
                      <a:pt x="26847" y="743694"/>
                    </a:lnTo>
                    <a:lnTo>
                      <a:pt x="41061" y="717689"/>
                    </a:lnTo>
                    <a:lnTo>
                      <a:pt x="97123" y="705869"/>
                    </a:lnTo>
                    <a:lnTo>
                      <a:pt x="110547" y="654646"/>
                    </a:lnTo>
                    <a:lnTo>
                      <a:pt x="137394" y="630218"/>
                    </a:lnTo>
                    <a:lnTo>
                      <a:pt x="151605" y="630218"/>
                    </a:lnTo>
                    <a:lnTo>
                      <a:pt x="192665" y="604213"/>
                    </a:lnTo>
                    <a:lnTo>
                      <a:pt x="219512" y="592393"/>
                    </a:lnTo>
                    <a:lnTo>
                      <a:pt x="247153" y="566387"/>
                    </a:lnTo>
                    <a:lnTo>
                      <a:pt x="274001" y="578996"/>
                    </a:lnTo>
                    <a:lnTo>
                      <a:pt x="287423" y="592393"/>
                    </a:lnTo>
                    <a:lnTo>
                      <a:pt x="328482" y="592393"/>
                    </a:lnTo>
                    <a:lnTo>
                      <a:pt x="342695" y="616822"/>
                    </a:lnTo>
                    <a:lnTo>
                      <a:pt x="397179" y="616822"/>
                    </a:lnTo>
                    <a:lnTo>
                      <a:pt x="438239" y="642038"/>
                    </a:lnTo>
                    <a:lnTo>
                      <a:pt x="465087" y="642038"/>
                    </a:lnTo>
                    <a:lnTo>
                      <a:pt x="492722" y="654646"/>
                    </a:lnTo>
                    <a:lnTo>
                      <a:pt x="532994" y="642038"/>
                    </a:lnTo>
                    <a:lnTo>
                      <a:pt x="574052" y="668043"/>
                    </a:lnTo>
                    <a:lnTo>
                      <a:pt x="574052" y="1107765"/>
                    </a:lnTo>
                    <a:lnTo>
                      <a:pt x="574052" y="1121950"/>
                    </a:lnTo>
                    <a:lnTo>
                      <a:pt x="575859" y="1121325"/>
                    </a:lnTo>
                    <a:lnTo>
                      <a:pt x="575859" y="1107532"/>
                    </a:lnTo>
                    <a:lnTo>
                      <a:pt x="575859" y="667360"/>
                    </a:lnTo>
                    <a:lnTo>
                      <a:pt x="601891" y="667360"/>
                    </a:lnTo>
                    <a:lnTo>
                      <a:pt x="683931" y="717057"/>
                    </a:lnTo>
                    <a:lnTo>
                      <a:pt x="683931" y="691813"/>
                    </a:lnTo>
                    <a:lnTo>
                      <a:pt x="698919" y="679192"/>
                    </a:lnTo>
                    <a:lnTo>
                      <a:pt x="724161" y="667360"/>
                    </a:lnTo>
                    <a:lnTo>
                      <a:pt x="739937" y="679192"/>
                    </a:lnTo>
                    <a:lnTo>
                      <a:pt x="821187" y="629496"/>
                    </a:lnTo>
                    <a:lnTo>
                      <a:pt x="821187" y="653949"/>
                    </a:lnTo>
                    <a:lnTo>
                      <a:pt x="848796" y="653949"/>
                    </a:lnTo>
                    <a:lnTo>
                      <a:pt x="862207" y="616085"/>
                    </a:lnTo>
                    <a:lnTo>
                      <a:pt x="889816" y="641328"/>
                    </a:lnTo>
                    <a:lnTo>
                      <a:pt x="889816" y="667360"/>
                    </a:lnTo>
                    <a:lnTo>
                      <a:pt x="918215" y="679192"/>
                    </a:lnTo>
                    <a:lnTo>
                      <a:pt x="930049" y="653949"/>
                    </a:lnTo>
                    <a:lnTo>
                      <a:pt x="930049" y="679192"/>
                    </a:lnTo>
                    <a:lnTo>
                      <a:pt x="959232" y="679192"/>
                    </a:lnTo>
                    <a:lnTo>
                      <a:pt x="959232" y="653949"/>
                    </a:lnTo>
                    <a:lnTo>
                      <a:pt x="1000253" y="653949"/>
                    </a:lnTo>
                    <a:lnTo>
                      <a:pt x="1025497" y="679192"/>
                    </a:lnTo>
                    <a:lnTo>
                      <a:pt x="1053107" y="691813"/>
                    </a:lnTo>
                    <a:lnTo>
                      <a:pt x="1081505" y="705224"/>
                    </a:lnTo>
                    <a:lnTo>
                      <a:pt x="1109115" y="705224"/>
                    </a:lnTo>
                    <a:lnTo>
                      <a:pt x="1150135" y="717057"/>
                    </a:lnTo>
                    <a:lnTo>
                      <a:pt x="1150135" y="743088"/>
                    </a:lnTo>
                    <a:lnTo>
                      <a:pt x="1135148" y="754921"/>
                    </a:lnTo>
                    <a:lnTo>
                      <a:pt x="1135148" y="767542"/>
                    </a:lnTo>
                    <a:lnTo>
                      <a:pt x="1175378" y="780953"/>
                    </a:lnTo>
                    <a:lnTo>
                      <a:pt x="1245584" y="754921"/>
                    </a:lnTo>
                    <a:lnTo>
                      <a:pt x="1286603" y="780953"/>
                    </a:lnTo>
                    <a:lnTo>
                      <a:pt x="1286603" y="754921"/>
                    </a:lnTo>
                    <a:lnTo>
                      <a:pt x="1272405" y="743088"/>
                    </a:lnTo>
                    <a:lnTo>
                      <a:pt x="1286603" y="729678"/>
                    </a:lnTo>
                    <a:lnTo>
                      <a:pt x="1341034" y="705224"/>
                    </a:lnTo>
                    <a:lnTo>
                      <a:pt x="1354439" y="743088"/>
                    </a:lnTo>
                    <a:lnTo>
                      <a:pt x="1422278" y="767542"/>
                    </a:lnTo>
                    <a:lnTo>
                      <a:pt x="1463298" y="780953"/>
                    </a:lnTo>
                    <a:lnTo>
                      <a:pt x="1492486" y="780953"/>
                    </a:lnTo>
                    <a:lnTo>
                      <a:pt x="1492486" y="743088"/>
                    </a:lnTo>
                    <a:lnTo>
                      <a:pt x="1504317" y="729678"/>
                    </a:lnTo>
                    <a:lnTo>
                      <a:pt x="1463298" y="705224"/>
                    </a:lnTo>
                    <a:lnTo>
                      <a:pt x="1492486" y="691813"/>
                    </a:lnTo>
                    <a:lnTo>
                      <a:pt x="1501475" y="663047"/>
                    </a:lnTo>
                    <a:lnTo>
                      <a:pt x="1485516" y="654349"/>
                    </a:lnTo>
                    <a:lnTo>
                      <a:pt x="1485516" y="639955"/>
                    </a:lnTo>
                    <a:lnTo>
                      <a:pt x="1499057" y="624762"/>
                    </a:lnTo>
                    <a:lnTo>
                      <a:pt x="1526935" y="639955"/>
                    </a:lnTo>
                    <a:lnTo>
                      <a:pt x="1540473" y="654349"/>
                    </a:lnTo>
                    <a:lnTo>
                      <a:pt x="1554016" y="669543"/>
                    </a:lnTo>
                    <a:lnTo>
                      <a:pt x="1540473" y="669543"/>
                    </a:lnTo>
                    <a:lnTo>
                      <a:pt x="1540473" y="683137"/>
                    </a:lnTo>
                    <a:lnTo>
                      <a:pt x="1518197" y="671954"/>
                    </a:lnTo>
                    <a:lnTo>
                      <a:pt x="1533506" y="691813"/>
                    </a:lnTo>
                    <a:lnTo>
                      <a:pt x="1560327" y="717057"/>
                    </a:lnTo>
                    <a:lnTo>
                      <a:pt x="1533506" y="743088"/>
                    </a:lnTo>
                    <a:lnTo>
                      <a:pt x="1533506" y="767542"/>
                    </a:lnTo>
                    <a:lnTo>
                      <a:pt x="1545337" y="780953"/>
                    </a:lnTo>
                    <a:lnTo>
                      <a:pt x="1560327" y="754921"/>
                    </a:lnTo>
                    <a:lnTo>
                      <a:pt x="1586359" y="729678"/>
                    </a:lnTo>
                    <a:lnTo>
                      <a:pt x="1573738" y="705224"/>
                    </a:lnTo>
                    <a:lnTo>
                      <a:pt x="1586359" y="679192"/>
                    </a:lnTo>
                    <a:lnTo>
                      <a:pt x="1560327" y="653949"/>
                    </a:lnTo>
                    <a:lnTo>
                      <a:pt x="1533506" y="629496"/>
                    </a:lnTo>
                    <a:lnTo>
                      <a:pt x="1545337" y="553766"/>
                    </a:lnTo>
                    <a:close/>
                    <a:moveTo>
                      <a:pt x="1710264" y="478039"/>
                    </a:moveTo>
                    <a:lnTo>
                      <a:pt x="1723690" y="478039"/>
                    </a:lnTo>
                    <a:lnTo>
                      <a:pt x="1751335" y="478039"/>
                    </a:lnTo>
                    <a:lnTo>
                      <a:pt x="1764763" y="478039"/>
                    </a:lnTo>
                    <a:lnTo>
                      <a:pt x="1764763" y="489894"/>
                    </a:lnTo>
                    <a:lnTo>
                      <a:pt x="1751335" y="504120"/>
                    </a:lnTo>
                    <a:lnTo>
                      <a:pt x="1737906" y="517555"/>
                    </a:lnTo>
                    <a:lnTo>
                      <a:pt x="1737906" y="530990"/>
                    </a:lnTo>
                    <a:lnTo>
                      <a:pt x="1751335" y="530990"/>
                    </a:lnTo>
                    <a:lnTo>
                      <a:pt x="1751335" y="545216"/>
                    </a:lnTo>
                    <a:lnTo>
                      <a:pt x="1764763" y="545216"/>
                    </a:lnTo>
                    <a:lnTo>
                      <a:pt x="1764763" y="530990"/>
                    </a:lnTo>
                    <a:lnTo>
                      <a:pt x="1764763" y="517555"/>
                    </a:lnTo>
                    <a:lnTo>
                      <a:pt x="1778979" y="489894"/>
                    </a:lnTo>
                    <a:lnTo>
                      <a:pt x="1820839" y="478039"/>
                    </a:lnTo>
                    <a:lnTo>
                      <a:pt x="1848484" y="478039"/>
                    </a:lnTo>
                    <a:lnTo>
                      <a:pt x="1860088" y="478039"/>
                    </a:lnTo>
                    <a:lnTo>
                      <a:pt x="1861912" y="478039"/>
                    </a:lnTo>
                    <a:lnTo>
                      <a:pt x="1875076" y="478039"/>
                    </a:lnTo>
                    <a:lnTo>
                      <a:pt x="1902684" y="478039"/>
                    </a:lnTo>
                    <a:lnTo>
                      <a:pt x="1916095" y="478039"/>
                    </a:lnTo>
                    <a:lnTo>
                      <a:pt x="1945282" y="478039"/>
                    </a:lnTo>
                    <a:lnTo>
                      <a:pt x="1958693" y="489872"/>
                    </a:lnTo>
                    <a:lnTo>
                      <a:pt x="1972101" y="504071"/>
                    </a:lnTo>
                    <a:lnTo>
                      <a:pt x="1958693" y="504071"/>
                    </a:lnTo>
                    <a:lnTo>
                      <a:pt x="1958693" y="517482"/>
                    </a:lnTo>
                    <a:lnTo>
                      <a:pt x="1945282" y="517482"/>
                    </a:lnTo>
                    <a:lnTo>
                      <a:pt x="1931082" y="504071"/>
                    </a:lnTo>
                    <a:lnTo>
                      <a:pt x="1931082" y="517482"/>
                    </a:lnTo>
                    <a:lnTo>
                      <a:pt x="1916095" y="517482"/>
                    </a:lnTo>
                    <a:lnTo>
                      <a:pt x="1902684" y="517482"/>
                    </a:lnTo>
                    <a:lnTo>
                      <a:pt x="1889276" y="517482"/>
                    </a:lnTo>
                    <a:lnTo>
                      <a:pt x="1889276" y="504071"/>
                    </a:lnTo>
                    <a:lnTo>
                      <a:pt x="1875076" y="489872"/>
                    </a:lnTo>
                    <a:lnTo>
                      <a:pt x="1861912" y="489872"/>
                    </a:lnTo>
                    <a:lnTo>
                      <a:pt x="1861912" y="504120"/>
                    </a:lnTo>
                    <a:lnTo>
                      <a:pt x="1876918" y="530990"/>
                    </a:lnTo>
                    <a:lnTo>
                      <a:pt x="1891135" y="530990"/>
                    </a:lnTo>
                    <a:lnTo>
                      <a:pt x="1904562" y="530990"/>
                    </a:lnTo>
                    <a:lnTo>
                      <a:pt x="1917989" y="530990"/>
                    </a:lnTo>
                    <a:lnTo>
                      <a:pt x="1931415" y="530990"/>
                    </a:lnTo>
                    <a:lnTo>
                      <a:pt x="1945634" y="517555"/>
                    </a:lnTo>
                    <a:lnTo>
                      <a:pt x="1959058" y="517555"/>
                    </a:lnTo>
                    <a:lnTo>
                      <a:pt x="1974067" y="530990"/>
                    </a:lnTo>
                    <a:lnTo>
                      <a:pt x="2001709" y="530990"/>
                    </a:lnTo>
                    <a:lnTo>
                      <a:pt x="2001709" y="545216"/>
                    </a:lnTo>
                    <a:lnTo>
                      <a:pt x="2015138" y="558651"/>
                    </a:lnTo>
                    <a:lnTo>
                      <a:pt x="2043570" y="572087"/>
                    </a:lnTo>
                    <a:lnTo>
                      <a:pt x="2057787" y="572087"/>
                    </a:lnTo>
                    <a:lnTo>
                      <a:pt x="2072794" y="572087"/>
                    </a:lnTo>
                    <a:lnTo>
                      <a:pt x="2086226" y="572087"/>
                    </a:lnTo>
                    <a:lnTo>
                      <a:pt x="2099653" y="585522"/>
                    </a:lnTo>
                    <a:lnTo>
                      <a:pt x="2127296" y="599748"/>
                    </a:lnTo>
                    <a:lnTo>
                      <a:pt x="2140723" y="599748"/>
                    </a:lnTo>
                    <a:lnTo>
                      <a:pt x="2140723" y="613183"/>
                    </a:lnTo>
                    <a:lnTo>
                      <a:pt x="2154940" y="613183"/>
                    </a:lnTo>
                    <a:lnTo>
                      <a:pt x="2169947" y="613183"/>
                    </a:lnTo>
                    <a:lnTo>
                      <a:pt x="2183375" y="626618"/>
                    </a:lnTo>
                    <a:lnTo>
                      <a:pt x="2169947" y="626618"/>
                    </a:lnTo>
                    <a:lnTo>
                      <a:pt x="2154940" y="640054"/>
                    </a:lnTo>
                    <a:lnTo>
                      <a:pt x="2169947" y="640054"/>
                    </a:lnTo>
                    <a:lnTo>
                      <a:pt x="2183375" y="640054"/>
                    </a:lnTo>
                    <a:lnTo>
                      <a:pt x="2183375" y="655860"/>
                    </a:lnTo>
                    <a:lnTo>
                      <a:pt x="2169947" y="655860"/>
                    </a:lnTo>
                    <a:lnTo>
                      <a:pt x="2154940" y="669296"/>
                    </a:lnTo>
                    <a:lnTo>
                      <a:pt x="2169947" y="669296"/>
                    </a:lnTo>
                    <a:lnTo>
                      <a:pt x="2183375" y="669296"/>
                    </a:lnTo>
                    <a:lnTo>
                      <a:pt x="2183375" y="682731"/>
                    </a:lnTo>
                    <a:lnTo>
                      <a:pt x="2196804" y="696166"/>
                    </a:lnTo>
                    <a:lnTo>
                      <a:pt x="2211019" y="710392"/>
                    </a:lnTo>
                    <a:lnTo>
                      <a:pt x="2224446" y="710392"/>
                    </a:lnTo>
                    <a:lnTo>
                      <a:pt x="2224446" y="723827"/>
                    </a:lnTo>
                    <a:lnTo>
                      <a:pt x="2237872" y="723827"/>
                    </a:lnTo>
                    <a:lnTo>
                      <a:pt x="2251300" y="723827"/>
                    </a:lnTo>
                    <a:lnTo>
                      <a:pt x="2267096" y="737263"/>
                    </a:lnTo>
                    <a:lnTo>
                      <a:pt x="2280523" y="737263"/>
                    </a:lnTo>
                    <a:lnTo>
                      <a:pt x="2280523" y="751489"/>
                    </a:lnTo>
                    <a:lnTo>
                      <a:pt x="2280523" y="763343"/>
                    </a:lnTo>
                    <a:lnTo>
                      <a:pt x="2280523" y="776779"/>
                    </a:lnTo>
                    <a:lnTo>
                      <a:pt x="2267096" y="776779"/>
                    </a:lnTo>
                    <a:lnTo>
                      <a:pt x="2251300" y="776779"/>
                    </a:lnTo>
                    <a:lnTo>
                      <a:pt x="2251300" y="790214"/>
                    </a:lnTo>
                    <a:lnTo>
                      <a:pt x="2237872" y="790214"/>
                    </a:lnTo>
                    <a:lnTo>
                      <a:pt x="2211019" y="790214"/>
                    </a:lnTo>
                    <a:lnTo>
                      <a:pt x="2196804" y="763343"/>
                    </a:lnTo>
                    <a:lnTo>
                      <a:pt x="2169947" y="751489"/>
                    </a:lnTo>
                    <a:lnTo>
                      <a:pt x="2154940" y="751489"/>
                    </a:lnTo>
                    <a:lnTo>
                      <a:pt x="2154940" y="763343"/>
                    </a:lnTo>
                    <a:lnTo>
                      <a:pt x="2154940" y="776779"/>
                    </a:lnTo>
                    <a:lnTo>
                      <a:pt x="2169947" y="776779"/>
                    </a:lnTo>
                    <a:lnTo>
                      <a:pt x="2169947" y="790214"/>
                    </a:lnTo>
                    <a:lnTo>
                      <a:pt x="2183375" y="790214"/>
                    </a:lnTo>
                    <a:lnTo>
                      <a:pt x="2196804" y="790214"/>
                    </a:lnTo>
                    <a:lnTo>
                      <a:pt x="2196804" y="804440"/>
                    </a:lnTo>
                    <a:lnTo>
                      <a:pt x="2211019" y="804440"/>
                    </a:lnTo>
                    <a:lnTo>
                      <a:pt x="2224446" y="804440"/>
                    </a:lnTo>
                    <a:lnTo>
                      <a:pt x="2224446" y="817875"/>
                    </a:lnTo>
                    <a:lnTo>
                      <a:pt x="2224446" y="831310"/>
                    </a:lnTo>
                    <a:lnTo>
                      <a:pt x="2224446" y="846326"/>
                    </a:lnTo>
                    <a:lnTo>
                      <a:pt x="2224446" y="860552"/>
                    </a:lnTo>
                    <a:lnTo>
                      <a:pt x="2224446" y="873988"/>
                    </a:lnTo>
                    <a:lnTo>
                      <a:pt x="2196804" y="860552"/>
                    </a:lnTo>
                    <a:lnTo>
                      <a:pt x="2169947" y="846326"/>
                    </a:lnTo>
                    <a:lnTo>
                      <a:pt x="2140723" y="831310"/>
                    </a:lnTo>
                    <a:lnTo>
                      <a:pt x="2154940" y="860552"/>
                    </a:lnTo>
                    <a:lnTo>
                      <a:pt x="2183375" y="873988"/>
                    </a:lnTo>
                    <a:lnTo>
                      <a:pt x="2183375" y="887423"/>
                    </a:lnTo>
                    <a:lnTo>
                      <a:pt x="2154940" y="873988"/>
                    </a:lnTo>
                    <a:lnTo>
                      <a:pt x="2140723" y="873988"/>
                    </a:lnTo>
                    <a:lnTo>
                      <a:pt x="2127296" y="873988"/>
                    </a:lnTo>
                    <a:lnTo>
                      <a:pt x="2086226" y="873988"/>
                    </a:lnTo>
                    <a:lnTo>
                      <a:pt x="2072794" y="860552"/>
                    </a:lnTo>
                    <a:lnTo>
                      <a:pt x="2072794" y="831310"/>
                    </a:lnTo>
                    <a:lnTo>
                      <a:pt x="2043570" y="831310"/>
                    </a:lnTo>
                    <a:lnTo>
                      <a:pt x="2030145" y="817875"/>
                    </a:lnTo>
                    <a:lnTo>
                      <a:pt x="2001709" y="804440"/>
                    </a:lnTo>
                    <a:lnTo>
                      <a:pt x="2001709" y="817875"/>
                    </a:lnTo>
                    <a:lnTo>
                      <a:pt x="1987492" y="804440"/>
                    </a:lnTo>
                    <a:lnTo>
                      <a:pt x="1974067" y="804440"/>
                    </a:lnTo>
                    <a:lnTo>
                      <a:pt x="1959058" y="817875"/>
                    </a:lnTo>
                    <a:lnTo>
                      <a:pt x="1931415" y="804440"/>
                    </a:lnTo>
                    <a:lnTo>
                      <a:pt x="1931415" y="790214"/>
                    </a:lnTo>
                    <a:lnTo>
                      <a:pt x="1945634" y="790214"/>
                    </a:lnTo>
                    <a:lnTo>
                      <a:pt x="1959058" y="790214"/>
                    </a:lnTo>
                    <a:lnTo>
                      <a:pt x="1974067" y="790214"/>
                    </a:lnTo>
                    <a:lnTo>
                      <a:pt x="1987492" y="790214"/>
                    </a:lnTo>
                    <a:lnTo>
                      <a:pt x="2001709" y="790214"/>
                    </a:lnTo>
                    <a:lnTo>
                      <a:pt x="2015138" y="790214"/>
                    </a:lnTo>
                    <a:lnTo>
                      <a:pt x="2030145" y="776779"/>
                    </a:lnTo>
                    <a:lnTo>
                      <a:pt x="2015138" y="776779"/>
                    </a:lnTo>
                    <a:lnTo>
                      <a:pt x="2015138" y="763343"/>
                    </a:lnTo>
                    <a:lnTo>
                      <a:pt x="2001709" y="763343"/>
                    </a:lnTo>
                    <a:lnTo>
                      <a:pt x="2015138" y="751489"/>
                    </a:lnTo>
                    <a:lnTo>
                      <a:pt x="2030145" y="751489"/>
                    </a:lnTo>
                    <a:lnTo>
                      <a:pt x="2043570" y="751489"/>
                    </a:lnTo>
                    <a:lnTo>
                      <a:pt x="2043570" y="737263"/>
                    </a:lnTo>
                    <a:lnTo>
                      <a:pt x="2043570" y="723827"/>
                    </a:lnTo>
                    <a:lnTo>
                      <a:pt x="2043570" y="696166"/>
                    </a:lnTo>
                    <a:lnTo>
                      <a:pt x="2015138" y="669296"/>
                    </a:lnTo>
                    <a:lnTo>
                      <a:pt x="1987492" y="655860"/>
                    </a:lnTo>
                    <a:lnTo>
                      <a:pt x="1987492" y="669296"/>
                    </a:lnTo>
                    <a:lnTo>
                      <a:pt x="1974067" y="669296"/>
                    </a:lnTo>
                    <a:lnTo>
                      <a:pt x="1959058" y="669296"/>
                    </a:lnTo>
                    <a:lnTo>
                      <a:pt x="1959058" y="655860"/>
                    </a:lnTo>
                    <a:lnTo>
                      <a:pt x="1974067" y="655860"/>
                    </a:lnTo>
                    <a:lnTo>
                      <a:pt x="1959058" y="640054"/>
                    </a:lnTo>
                    <a:lnTo>
                      <a:pt x="1945634" y="613183"/>
                    </a:lnTo>
                    <a:lnTo>
                      <a:pt x="1917989" y="613183"/>
                    </a:lnTo>
                    <a:lnTo>
                      <a:pt x="1904562" y="613183"/>
                    </a:lnTo>
                    <a:lnTo>
                      <a:pt x="1904562" y="626618"/>
                    </a:lnTo>
                    <a:lnTo>
                      <a:pt x="1891135" y="640054"/>
                    </a:lnTo>
                    <a:lnTo>
                      <a:pt x="1876918" y="640054"/>
                    </a:lnTo>
                    <a:lnTo>
                      <a:pt x="1876918" y="626618"/>
                    </a:lnTo>
                    <a:lnTo>
                      <a:pt x="1848484" y="613183"/>
                    </a:lnTo>
                    <a:lnTo>
                      <a:pt x="1807414" y="626618"/>
                    </a:lnTo>
                    <a:lnTo>
                      <a:pt x="1764763" y="626618"/>
                    </a:lnTo>
                    <a:lnTo>
                      <a:pt x="1764763" y="613183"/>
                    </a:lnTo>
                    <a:lnTo>
                      <a:pt x="1751335" y="613183"/>
                    </a:lnTo>
                    <a:lnTo>
                      <a:pt x="1737906" y="613183"/>
                    </a:lnTo>
                    <a:lnTo>
                      <a:pt x="1723690" y="613183"/>
                    </a:lnTo>
                    <a:lnTo>
                      <a:pt x="1710264" y="613183"/>
                    </a:lnTo>
                    <a:lnTo>
                      <a:pt x="1696836" y="599748"/>
                    </a:lnTo>
                    <a:lnTo>
                      <a:pt x="1681830" y="585522"/>
                    </a:lnTo>
                    <a:lnTo>
                      <a:pt x="1696836" y="585522"/>
                    </a:lnTo>
                    <a:lnTo>
                      <a:pt x="1710264" y="585522"/>
                    </a:lnTo>
                    <a:lnTo>
                      <a:pt x="1723690" y="585522"/>
                    </a:lnTo>
                    <a:lnTo>
                      <a:pt x="1723690" y="572087"/>
                    </a:lnTo>
                    <a:lnTo>
                      <a:pt x="1710264" y="572087"/>
                    </a:lnTo>
                    <a:lnTo>
                      <a:pt x="1681830" y="572087"/>
                    </a:lnTo>
                    <a:lnTo>
                      <a:pt x="1681830" y="558651"/>
                    </a:lnTo>
                    <a:lnTo>
                      <a:pt x="1666032" y="558651"/>
                    </a:lnTo>
                    <a:lnTo>
                      <a:pt x="1681830" y="530990"/>
                    </a:lnTo>
                    <a:lnTo>
                      <a:pt x="1681830" y="517555"/>
                    </a:lnTo>
                    <a:lnTo>
                      <a:pt x="1681830" y="504120"/>
                    </a:lnTo>
                    <a:close/>
                    <a:moveTo>
                      <a:pt x="1430326" y="478039"/>
                    </a:moveTo>
                    <a:lnTo>
                      <a:pt x="1445398" y="478039"/>
                    </a:lnTo>
                    <a:lnTo>
                      <a:pt x="1458886" y="478039"/>
                    </a:lnTo>
                    <a:lnTo>
                      <a:pt x="1486652" y="478039"/>
                    </a:lnTo>
                    <a:lnTo>
                      <a:pt x="1500137" y="478039"/>
                    </a:lnTo>
                    <a:lnTo>
                      <a:pt x="1514418" y="478039"/>
                    </a:lnTo>
                    <a:lnTo>
                      <a:pt x="1514418" y="489971"/>
                    </a:lnTo>
                    <a:lnTo>
                      <a:pt x="1500137" y="504290"/>
                    </a:lnTo>
                    <a:lnTo>
                      <a:pt x="1514418" y="504290"/>
                    </a:lnTo>
                    <a:lnTo>
                      <a:pt x="1514418" y="517812"/>
                    </a:lnTo>
                    <a:lnTo>
                      <a:pt x="1514418" y="531336"/>
                    </a:lnTo>
                    <a:lnTo>
                      <a:pt x="1527907" y="531336"/>
                    </a:lnTo>
                    <a:lnTo>
                      <a:pt x="1541391" y="531336"/>
                    </a:lnTo>
                    <a:lnTo>
                      <a:pt x="1527907" y="545654"/>
                    </a:lnTo>
                    <a:lnTo>
                      <a:pt x="1527907" y="559178"/>
                    </a:lnTo>
                    <a:lnTo>
                      <a:pt x="1500137" y="572700"/>
                    </a:lnTo>
                    <a:lnTo>
                      <a:pt x="1486652" y="572700"/>
                    </a:lnTo>
                    <a:lnTo>
                      <a:pt x="1473165" y="572700"/>
                    </a:lnTo>
                    <a:lnTo>
                      <a:pt x="1473165" y="559178"/>
                    </a:lnTo>
                    <a:lnTo>
                      <a:pt x="1445398" y="545654"/>
                    </a:lnTo>
                    <a:lnTo>
                      <a:pt x="1430326" y="531336"/>
                    </a:lnTo>
                    <a:lnTo>
                      <a:pt x="1402557" y="531336"/>
                    </a:lnTo>
                    <a:lnTo>
                      <a:pt x="1402557" y="517812"/>
                    </a:lnTo>
                    <a:lnTo>
                      <a:pt x="1402557" y="504290"/>
                    </a:lnTo>
                    <a:lnTo>
                      <a:pt x="1416840" y="517812"/>
                    </a:lnTo>
                    <a:lnTo>
                      <a:pt x="1430326" y="517812"/>
                    </a:lnTo>
                    <a:lnTo>
                      <a:pt x="1445398" y="517812"/>
                    </a:lnTo>
                    <a:lnTo>
                      <a:pt x="1445398" y="504290"/>
                    </a:lnTo>
                    <a:lnTo>
                      <a:pt x="1445398" y="489971"/>
                    </a:lnTo>
                    <a:lnTo>
                      <a:pt x="1430326" y="489971"/>
                    </a:lnTo>
                    <a:close/>
                    <a:moveTo>
                      <a:pt x="1306596" y="478039"/>
                    </a:moveTo>
                    <a:lnTo>
                      <a:pt x="1319981" y="478039"/>
                    </a:lnTo>
                    <a:lnTo>
                      <a:pt x="1334939" y="478039"/>
                    </a:lnTo>
                    <a:lnTo>
                      <a:pt x="1348324" y="478039"/>
                    </a:lnTo>
                    <a:lnTo>
                      <a:pt x="1348324" y="489871"/>
                    </a:lnTo>
                    <a:lnTo>
                      <a:pt x="1348324" y="504071"/>
                    </a:lnTo>
                    <a:lnTo>
                      <a:pt x="1348324" y="517480"/>
                    </a:lnTo>
                    <a:lnTo>
                      <a:pt x="1348324" y="530891"/>
                    </a:lnTo>
                    <a:lnTo>
                      <a:pt x="1348324" y="558500"/>
                    </a:lnTo>
                    <a:lnTo>
                      <a:pt x="1363275" y="571910"/>
                    </a:lnTo>
                    <a:lnTo>
                      <a:pt x="1377448" y="599521"/>
                    </a:lnTo>
                    <a:lnTo>
                      <a:pt x="1404215" y="612930"/>
                    </a:lnTo>
                    <a:lnTo>
                      <a:pt x="1445155" y="626341"/>
                    </a:lnTo>
                    <a:lnTo>
                      <a:pt x="1431773" y="626341"/>
                    </a:lnTo>
                    <a:lnTo>
                      <a:pt x="1418387" y="626341"/>
                    </a:lnTo>
                    <a:lnTo>
                      <a:pt x="1404215" y="626341"/>
                    </a:lnTo>
                    <a:lnTo>
                      <a:pt x="1404215" y="639751"/>
                    </a:lnTo>
                    <a:lnTo>
                      <a:pt x="1404215" y="653950"/>
                    </a:lnTo>
                    <a:lnTo>
                      <a:pt x="1404215" y="667360"/>
                    </a:lnTo>
                    <a:lnTo>
                      <a:pt x="1377448" y="667360"/>
                    </a:lnTo>
                    <a:lnTo>
                      <a:pt x="1348324" y="653950"/>
                    </a:lnTo>
                    <a:lnTo>
                      <a:pt x="1334939" y="653950"/>
                    </a:lnTo>
                    <a:lnTo>
                      <a:pt x="1306596" y="653950"/>
                    </a:lnTo>
                    <a:lnTo>
                      <a:pt x="1292425" y="653950"/>
                    </a:lnTo>
                    <a:lnTo>
                      <a:pt x="1265657" y="653950"/>
                    </a:lnTo>
                    <a:lnTo>
                      <a:pt x="1265657" y="667360"/>
                    </a:lnTo>
                    <a:lnTo>
                      <a:pt x="1238103" y="667360"/>
                    </a:lnTo>
                    <a:lnTo>
                      <a:pt x="1209760" y="667360"/>
                    </a:lnTo>
                    <a:lnTo>
                      <a:pt x="1182205" y="667360"/>
                    </a:lnTo>
                    <a:lnTo>
                      <a:pt x="1168822" y="667360"/>
                    </a:lnTo>
                    <a:lnTo>
                      <a:pt x="1168822" y="653950"/>
                    </a:lnTo>
                    <a:lnTo>
                      <a:pt x="1155438" y="653950"/>
                    </a:lnTo>
                    <a:lnTo>
                      <a:pt x="1141267" y="653950"/>
                    </a:lnTo>
                    <a:lnTo>
                      <a:pt x="1127883" y="653950"/>
                    </a:lnTo>
                    <a:lnTo>
                      <a:pt x="1099539" y="653950"/>
                    </a:lnTo>
                    <a:lnTo>
                      <a:pt x="1085367" y="639751"/>
                    </a:lnTo>
                    <a:lnTo>
                      <a:pt x="1071983" y="626341"/>
                    </a:lnTo>
                    <a:lnTo>
                      <a:pt x="1099539" y="612930"/>
                    </a:lnTo>
                    <a:lnTo>
                      <a:pt x="1127883" y="612930"/>
                    </a:lnTo>
                    <a:lnTo>
                      <a:pt x="1155438" y="612930"/>
                    </a:lnTo>
                    <a:lnTo>
                      <a:pt x="1168822" y="612930"/>
                    </a:lnTo>
                    <a:lnTo>
                      <a:pt x="1168822" y="599521"/>
                    </a:lnTo>
                    <a:lnTo>
                      <a:pt x="1141267" y="599521"/>
                    </a:lnTo>
                    <a:lnTo>
                      <a:pt x="1127883" y="599521"/>
                    </a:lnTo>
                    <a:lnTo>
                      <a:pt x="1099539" y="599521"/>
                    </a:lnTo>
                    <a:lnTo>
                      <a:pt x="1071983" y="599521"/>
                    </a:lnTo>
                    <a:lnTo>
                      <a:pt x="1058600" y="585321"/>
                    </a:lnTo>
                    <a:lnTo>
                      <a:pt x="1071983" y="571910"/>
                    </a:lnTo>
                    <a:lnTo>
                      <a:pt x="1058600" y="571910"/>
                    </a:lnTo>
                    <a:lnTo>
                      <a:pt x="1044428" y="571910"/>
                    </a:lnTo>
                    <a:lnTo>
                      <a:pt x="1044428" y="558500"/>
                    </a:lnTo>
                    <a:lnTo>
                      <a:pt x="1058600" y="530891"/>
                    </a:lnTo>
                    <a:lnTo>
                      <a:pt x="1099539" y="504071"/>
                    </a:lnTo>
                    <a:lnTo>
                      <a:pt x="1141267" y="489871"/>
                    </a:lnTo>
                    <a:lnTo>
                      <a:pt x="1141267" y="504071"/>
                    </a:lnTo>
                    <a:lnTo>
                      <a:pt x="1155438" y="517480"/>
                    </a:lnTo>
                    <a:lnTo>
                      <a:pt x="1168822" y="504071"/>
                    </a:lnTo>
                    <a:lnTo>
                      <a:pt x="1195590" y="517480"/>
                    </a:lnTo>
                    <a:lnTo>
                      <a:pt x="1209760" y="517480"/>
                    </a:lnTo>
                    <a:lnTo>
                      <a:pt x="1209760" y="530891"/>
                    </a:lnTo>
                    <a:lnTo>
                      <a:pt x="1224719" y="530891"/>
                    </a:lnTo>
                    <a:lnTo>
                      <a:pt x="1224719" y="517480"/>
                    </a:lnTo>
                    <a:lnTo>
                      <a:pt x="1238103" y="517480"/>
                    </a:lnTo>
                    <a:lnTo>
                      <a:pt x="1251486" y="517480"/>
                    </a:lnTo>
                    <a:lnTo>
                      <a:pt x="1265657" y="517480"/>
                    </a:lnTo>
                    <a:lnTo>
                      <a:pt x="1265657" y="530891"/>
                    </a:lnTo>
                    <a:lnTo>
                      <a:pt x="1265657" y="545091"/>
                    </a:lnTo>
                    <a:lnTo>
                      <a:pt x="1265657" y="558500"/>
                    </a:lnTo>
                    <a:lnTo>
                      <a:pt x="1279041" y="558500"/>
                    </a:lnTo>
                    <a:lnTo>
                      <a:pt x="1292425" y="558500"/>
                    </a:lnTo>
                    <a:lnTo>
                      <a:pt x="1279041" y="530891"/>
                    </a:lnTo>
                    <a:lnTo>
                      <a:pt x="1279041" y="517480"/>
                    </a:lnTo>
                    <a:lnTo>
                      <a:pt x="1265657" y="504071"/>
                    </a:lnTo>
                    <a:lnTo>
                      <a:pt x="1279041" y="489871"/>
                    </a:lnTo>
                    <a:lnTo>
                      <a:pt x="1292425" y="489871"/>
                    </a:lnTo>
                    <a:lnTo>
                      <a:pt x="1306596" y="489871"/>
                    </a:lnTo>
                    <a:close/>
                    <a:moveTo>
                      <a:pt x="1583723" y="449640"/>
                    </a:moveTo>
                    <a:lnTo>
                      <a:pt x="1610376" y="462939"/>
                    </a:lnTo>
                    <a:lnTo>
                      <a:pt x="1626054" y="462939"/>
                    </a:lnTo>
                    <a:lnTo>
                      <a:pt x="1666032" y="462939"/>
                    </a:lnTo>
                    <a:lnTo>
                      <a:pt x="1666032" y="476238"/>
                    </a:lnTo>
                    <a:lnTo>
                      <a:pt x="1652708" y="476238"/>
                    </a:lnTo>
                    <a:lnTo>
                      <a:pt x="1639380" y="476238"/>
                    </a:lnTo>
                    <a:lnTo>
                      <a:pt x="1626054" y="503620"/>
                    </a:lnTo>
                    <a:lnTo>
                      <a:pt x="1626054" y="516920"/>
                    </a:lnTo>
                    <a:lnTo>
                      <a:pt x="1597051" y="516920"/>
                    </a:lnTo>
                    <a:lnTo>
                      <a:pt x="1583723" y="516920"/>
                    </a:lnTo>
                    <a:lnTo>
                      <a:pt x="1583723" y="530219"/>
                    </a:lnTo>
                    <a:lnTo>
                      <a:pt x="1583723" y="544301"/>
                    </a:lnTo>
                    <a:lnTo>
                      <a:pt x="1568829" y="544301"/>
                    </a:lnTo>
                    <a:lnTo>
                      <a:pt x="1554720" y="544301"/>
                    </a:lnTo>
                    <a:lnTo>
                      <a:pt x="1554720" y="530219"/>
                    </a:lnTo>
                    <a:lnTo>
                      <a:pt x="1554720" y="516920"/>
                    </a:lnTo>
                    <a:lnTo>
                      <a:pt x="1554720" y="503620"/>
                    </a:lnTo>
                    <a:lnTo>
                      <a:pt x="1541391" y="476238"/>
                    </a:lnTo>
                    <a:lnTo>
                      <a:pt x="1554720" y="476238"/>
                    </a:lnTo>
                    <a:lnTo>
                      <a:pt x="1568829" y="476238"/>
                    </a:lnTo>
                    <a:lnTo>
                      <a:pt x="1568829" y="462939"/>
                    </a:lnTo>
                    <a:lnTo>
                      <a:pt x="1583723" y="462939"/>
                    </a:lnTo>
                    <a:close/>
                    <a:moveTo>
                      <a:pt x="930182" y="435440"/>
                    </a:moveTo>
                    <a:lnTo>
                      <a:pt x="946010" y="435440"/>
                    </a:lnTo>
                    <a:lnTo>
                      <a:pt x="972918" y="451217"/>
                    </a:lnTo>
                    <a:lnTo>
                      <a:pt x="986375" y="435440"/>
                    </a:lnTo>
                    <a:lnTo>
                      <a:pt x="1000619" y="435440"/>
                    </a:lnTo>
                    <a:lnTo>
                      <a:pt x="1015658" y="451217"/>
                    </a:lnTo>
                    <a:lnTo>
                      <a:pt x="1030696" y="451217"/>
                    </a:lnTo>
                    <a:lnTo>
                      <a:pt x="1044151" y="464628"/>
                    </a:lnTo>
                    <a:lnTo>
                      <a:pt x="1058398" y="451217"/>
                    </a:lnTo>
                    <a:lnTo>
                      <a:pt x="1071852" y="451217"/>
                    </a:lnTo>
                    <a:lnTo>
                      <a:pt x="1085308" y="464628"/>
                    </a:lnTo>
                    <a:lnTo>
                      <a:pt x="1114593" y="478038"/>
                    </a:lnTo>
                    <a:lnTo>
                      <a:pt x="1128049" y="478038"/>
                    </a:lnTo>
                    <a:lnTo>
                      <a:pt x="1114593" y="489871"/>
                    </a:lnTo>
                    <a:lnTo>
                      <a:pt x="1085308" y="504070"/>
                    </a:lnTo>
                    <a:lnTo>
                      <a:pt x="1071852" y="504070"/>
                    </a:lnTo>
                    <a:lnTo>
                      <a:pt x="1044151" y="517480"/>
                    </a:lnTo>
                    <a:lnTo>
                      <a:pt x="1030696" y="530891"/>
                    </a:lnTo>
                    <a:lnTo>
                      <a:pt x="1015658" y="558500"/>
                    </a:lnTo>
                    <a:lnTo>
                      <a:pt x="1000619" y="571911"/>
                    </a:lnTo>
                    <a:lnTo>
                      <a:pt x="972918" y="571911"/>
                    </a:lnTo>
                    <a:lnTo>
                      <a:pt x="946010" y="585321"/>
                    </a:lnTo>
                    <a:lnTo>
                      <a:pt x="946010" y="571911"/>
                    </a:lnTo>
                    <a:lnTo>
                      <a:pt x="930182" y="571911"/>
                    </a:lnTo>
                    <a:lnTo>
                      <a:pt x="930182" y="558500"/>
                    </a:lnTo>
                    <a:lnTo>
                      <a:pt x="916726" y="558500"/>
                    </a:lnTo>
                    <a:lnTo>
                      <a:pt x="903272" y="558500"/>
                    </a:lnTo>
                    <a:lnTo>
                      <a:pt x="889816" y="545090"/>
                    </a:lnTo>
                    <a:lnTo>
                      <a:pt x="903272" y="530891"/>
                    </a:lnTo>
                    <a:lnTo>
                      <a:pt x="930182" y="489871"/>
                    </a:lnTo>
                    <a:lnTo>
                      <a:pt x="930182" y="478038"/>
                    </a:lnTo>
                    <a:lnTo>
                      <a:pt x="930182" y="464628"/>
                    </a:lnTo>
                    <a:lnTo>
                      <a:pt x="930182" y="451217"/>
                    </a:lnTo>
                    <a:lnTo>
                      <a:pt x="916726" y="451217"/>
                    </a:lnTo>
                    <a:close/>
                    <a:moveTo>
                      <a:pt x="3194201" y="394420"/>
                    </a:moveTo>
                    <a:lnTo>
                      <a:pt x="3208602" y="394420"/>
                    </a:lnTo>
                    <a:lnTo>
                      <a:pt x="3208602" y="410241"/>
                    </a:lnTo>
                    <a:lnTo>
                      <a:pt x="3222209" y="410241"/>
                    </a:lnTo>
                    <a:lnTo>
                      <a:pt x="3208602" y="424397"/>
                    </a:lnTo>
                    <a:lnTo>
                      <a:pt x="3194201" y="424397"/>
                    </a:lnTo>
                    <a:lnTo>
                      <a:pt x="3194201" y="410241"/>
                    </a:lnTo>
                    <a:close/>
                    <a:moveTo>
                      <a:pt x="1542183" y="394420"/>
                    </a:moveTo>
                    <a:lnTo>
                      <a:pt x="1569792" y="394420"/>
                    </a:lnTo>
                    <a:lnTo>
                      <a:pt x="1583203" y="394420"/>
                    </a:lnTo>
                    <a:lnTo>
                      <a:pt x="1583203" y="408094"/>
                    </a:lnTo>
                    <a:lnTo>
                      <a:pt x="1596616" y="421767"/>
                    </a:lnTo>
                    <a:lnTo>
                      <a:pt x="1583203" y="435440"/>
                    </a:lnTo>
                    <a:lnTo>
                      <a:pt x="1569792" y="435440"/>
                    </a:lnTo>
                    <a:lnTo>
                      <a:pt x="1542183" y="421767"/>
                    </a:lnTo>
                    <a:lnTo>
                      <a:pt x="1528771" y="421767"/>
                    </a:lnTo>
                    <a:lnTo>
                      <a:pt x="1542183" y="408094"/>
                    </a:lnTo>
                    <a:close/>
                    <a:moveTo>
                      <a:pt x="1348922" y="394420"/>
                    </a:moveTo>
                    <a:lnTo>
                      <a:pt x="1363519" y="394420"/>
                    </a:lnTo>
                    <a:lnTo>
                      <a:pt x="1378891" y="410241"/>
                    </a:lnTo>
                    <a:lnTo>
                      <a:pt x="1363519" y="424397"/>
                    </a:lnTo>
                    <a:lnTo>
                      <a:pt x="1348922" y="424397"/>
                    </a:lnTo>
                    <a:lnTo>
                      <a:pt x="1348922" y="410241"/>
                    </a:lnTo>
                    <a:close/>
                    <a:moveTo>
                      <a:pt x="6031450" y="350246"/>
                    </a:moveTo>
                    <a:lnTo>
                      <a:pt x="6056693" y="363655"/>
                    </a:lnTo>
                    <a:lnTo>
                      <a:pt x="6056693" y="388110"/>
                    </a:lnTo>
                    <a:lnTo>
                      <a:pt x="6031450" y="363655"/>
                    </a:lnTo>
                    <a:close/>
                    <a:moveTo>
                      <a:pt x="1348922" y="340779"/>
                    </a:moveTo>
                    <a:lnTo>
                      <a:pt x="1363904" y="340779"/>
                    </a:lnTo>
                    <a:lnTo>
                      <a:pt x="1391511" y="354318"/>
                    </a:lnTo>
                    <a:lnTo>
                      <a:pt x="1404923" y="382987"/>
                    </a:lnTo>
                    <a:lnTo>
                      <a:pt x="1419124" y="382987"/>
                    </a:lnTo>
                    <a:lnTo>
                      <a:pt x="1404923" y="367855"/>
                    </a:lnTo>
                    <a:lnTo>
                      <a:pt x="1404923" y="354318"/>
                    </a:lnTo>
                    <a:lnTo>
                      <a:pt x="1419124" y="367855"/>
                    </a:lnTo>
                    <a:lnTo>
                      <a:pt x="1447520" y="367855"/>
                    </a:lnTo>
                    <a:lnTo>
                      <a:pt x="1447520" y="354318"/>
                    </a:lnTo>
                    <a:lnTo>
                      <a:pt x="1432535" y="354318"/>
                    </a:lnTo>
                    <a:lnTo>
                      <a:pt x="1432535" y="340779"/>
                    </a:lnTo>
                    <a:lnTo>
                      <a:pt x="1447520" y="340779"/>
                    </a:lnTo>
                    <a:lnTo>
                      <a:pt x="1460933" y="354318"/>
                    </a:lnTo>
                    <a:lnTo>
                      <a:pt x="1475131" y="354318"/>
                    </a:lnTo>
                    <a:lnTo>
                      <a:pt x="1488542" y="354318"/>
                    </a:lnTo>
                    <a:lnTo>
                      <a:pt x="1501952" y="354318"/>
                    </a:lnTo>
                    <a:lnTo>
                      <a:pt x="1501952" y="367855"/>
                    </a:lnTo>
                    <a:lnTo>
                      <a:pt x="1501952" y="397320"/>
                    </a:lnTo>
                    <a:lnTo>
                      <a:pt x="1488542" y="397320"/>
                    </a:lnTo>
                    <a:lnTo>
                      <a:pt x="1488542" y="424397"/>
                    </a:lnTo>
                    <a:lnTo>
                      <a:pt x="1475131" y="424397"/>
                    </a:lnTo>
                    <a:lnTo>
                      <a:pt x="1460933" y="424397"/>
                    </a:lnTo>
                    <a:lnTo>
                      <a:pt x="1447520" y="424397"/>
                    </a:lnTo>
                    <a:lnTo>
                      <a:pt x="1447520" y="410858"/>
                    </a:lnTo>
                    <a:lnTo>
                      <a:pt x="1447520" y="397320"/>
                    </a:lnTo>
                    <a:lnTo>
                      <a:pt x="1419124" y="397320"/>
                    </a:lnTo>
                    <a:lnTo>
                      <a:pt x="1404923" y="397320"/>
                    </a:lnTo>
                    <a:lnTo>
                      <a:pt x="1391511" y="397320"/>
                    </a:lnTo>
                    <a:lnTo>
                      <a:pt x="1378102" y="397320"/>
                    </a:lnTo>
                    <a:lnTo>
                      <a:pt x="1378102" y="382987"/>
                    </a:lnTo>
                    <a:lnTo>
                      <a:pt x="1363904" y="382987"/>
                    </a:lnTo>
                    <a:lnTo>
                      <a:pt x="1363904" y="367855"/>
                    </a:lnTo>
                    <a:lnTo>
                      <a:pt x="1363904" y="354318"/>
                    </a:lnTo>
                    <a:close/>
                    <a:moveTo>
                      <a:pt x="1236119" y="340779"/>
                    </a:moveTo>
                    <a:lnTo>
                      <a:pt x="1250316" y="340779"/>
                    </a:lnTo>
                    <a:lnTo>
                      <a:pt x="1263726" y="340779"/>
                    </a:lnTo>
                    <a:lnTo>
                      <a:pt x="1263726" y="354190"/>
                    </a:lnTo>
                    <a:lnTo>
                      <a:pt x="1263726" y="367600"/>
                    </a:lnTo>
                    <a:lnTo>
                      <a:pt x="1277136" y="381010"/>
                    </a:lnTo>
                    <a:lnTo>
                      <a:pt x="1304746" y="381010"/>
                    </a:lnTo>
                    <a:lnTo>
                      <a:pt x="1318155" y="367600"/>
                    </a:lnTo>
                    <a:lnTo>
                      <a:pt x="1318155" y="381010"/>
                    </a:lnTo>
                    <a:lnTo>
                      <a:pt x="1331566" y="381010"/>
                    </a:lnTo>
                    <a:lnTo>
                      <a:pt x="1331566" y="395209"/>
                    </a:lnTo>
                    <a:lnTo>
                      <a:pt x="1318155" y="422030"/>
                    </a:lnTo>
                    <a:lnTo>
                      <a:pt x="1304746" y="422030"/>
                    </a:lnTo>
                    <a:lnTo>
                      <a:pt x="1263726" y="422030"/>
                    </a:lnTo>
                    <a:lnTo>
                      <a:pt x="1250316" y="435439"/>
                    </a:lnTo>
                    <a:lnTo>
                      <a:pt x="1222708" y="435439"/>
                    </a:lnTo>
                    <a:lnTo>
                      <a:pt x="1209297" y="435439"/>
                    </a:lnTo>
                    <a:lnTo>
                      <a:pt x="1195099" y="435439"/>
                    </a:lnTo>
                    <a:lnTo>
                      <a:pt x="1181688" y="435439"/>
                    </a:lnTo>
                    <a:lnTo>
                      <a:pt x="1168278" y="449639"/>
                    </a:lnTo>
                    <a:lnTo>
                      <a:pt x="1154868" y="435439"/>
                    </a:lnTo>
                    <a:lnTo>
                      <a:pt x="1168278" y="435439"/>
                    </a:lnTo>
                    <a:lnTo>
                      <a:pt x="1168278" y="422030"/>
                    </a:lnTo>
                    <a:lnTo>
                      <a:pt x="1154868" y="422030"/>
                    </a:lnTo>
                    <a:lnTo>
                      <a:pt x="1154868" y="408619"/>
                    </a:lnTo>
                    <a:lnTo>
                      <a:pt x="1140669" y="408619"/>
                    </a:lnTo>
                    <a:lnTo>
                      <a:pt x="1140669" y="422030"/>
                    </a:lnTo>
                    <a:lnTo>
                      <a:pt x="1127259" y="422030"/>
                    </a:lnTo>
                    <a:lnTo>
                      <a:pt x="1113848" y="422030"/>
                    </a:lnTo>
                    <a:lnTo>
                      <a:pt x="1099649" y="422030"/>
                    </a:lnTo>
                    <a:lnTo>
                      <a:pt x="1086238" y="422030"/>
                    </a:lnTo>
                    <a:lnTo>
                      <a:pt x="1072827" y="422030"/>
                    </a:lnTo>
                    <a:lnTo>
                      <a:pt x="1072827" y="408619"/>
                    </a:lnTo>
                    <a:lnTo>
                      <a:pt x="1072827" y="395209"/>
                    </a:lnTo>
                    <a:lnTo>
                      <a:pt x="1086238" y="395209"/>
                    </a:lnTo>
                    <a:lnTo>
                      <a:pt x="1086238" y="381010"/>
                    </a:lnTo>
                    <a:lnTo>
                      <a:pt x="1099649" y="381010"/>
                    </a:lnTo>
                    <a:lnTo>
                      <a:pt x="1099649" y="367600"/>
                    </a:lnTo>
                    <a:lnTo>
                      <a:pt x="1113848" y="367600"/>
                    </a:lnTo>
                    <a:lnTo>
                      <a:pt x="1127259" y="367600"/>
                    </a:lnTo>
                    <a:lnTo>
                      <a:pt x="1113848" y="354190"/>
                    </a:lnTo>
                    <a:lnTo>
                      <a:pt x="1127259" y="354190"/>
                    </a:lnTo>
                    <a:lnTo>
                      <a:pt x="1140669" y="354190"/>
                    </a:lnTo>
                    <a:lnTo>
                      <a:pt x="1154868" y="367600"/>
                    </a:lnTo>
                    <a:lnTo>
                      <a:pt x="1168278" y="367600"/>
                    </a:lnTo>
                    <a:lnTo>
                      <a:pt x="1181688" y="381010"/>
                    </a:lnTo>
                    <a:lnTo>
                      <a:pt x="1209297" y="395209"/>
                    </a:lnTo>
                    <a:lnTo>
                      <a:pt x="1236119" y="395209"/>
                    </a:lnTo>
                    <a:lnTo>
                      <a:pt x="1250316" y="381010"/>
                    </a:lnTo>
                    <a:lnTo>
                      <a:pt x="1250316" y="367600"/>
                    </a:lnTo>
                    <a:lnTo>
                      <a:pt x="1236119" y="367600"/>
                    </a:lnTo>
                    <a:lnTo>
                      <a:pt x="1222708" y="367600"/>
                    </a:lnTo>
                    <a:lnTo>
                      <a:pt x="1222708" y="354190"/>
                    </a:lnTo>
                    <a:close/>
                    <a:moveTo>
                      <a:pt x="1542183" y="328158"/>
                    </a:moveTo>
                    <a:lnTo>
                      <a:pt x="1583201" y="341569"/>
                    </a:lnTo>
                    <a:lnTo>
                      <a:pt x="1611601" y="355767"/>
                    </a:lnTo>
                    <a:lnTo>
                      <a:pt x="1625801" y="355767"/>
                    </a:lnTo>
                    <a:lnTo>
                      <a:pt x="1625801" y="341569"/>
                    </a:lnTo>
                    <a:lnTo>
                      <a:pt x="1639211" y="341569"/>
                    </a:lnTo>
                    <a:lnTo>
                      <a:pt x="1639211" y="355767"/>
                    </a:lnTo>
                    <a:lnTo>
                      <a:pt x="1666032" y="369178"/>
                    </a:lnTo>
                    <a:lnTo>
                      <a:pt x="1652622" y="369178"/>
                    </a:lnTo>
                    <a:lnTo>
                      <a:pt x="1639211" y="369178"/>
                    </a:lnTo>
                    <a:lnTo>
                      <a:pt x="1652622" y="396787"/>
                    </a:lnTo>
                    <a:lnTo>
                      <a:pt x="1666032" y="396787"/>
                    </a:lnTo>
                    <a:lnTo>
                      <a:pt x="1680231" y="396787"/>
                    </a:lnTo>
                    <a:lnTo>
                      <a:pt x="1708631" y="396787"/>
                    </a:lnTo>
                    <a:lnTo>
                      <a:pt x="1723619" y="410197"/>
                    </a:lnTo>
                    <a:lnTo>
                      <a:pt x="1737817" y="410197"/>
                    </a:lnTo>
                    <a:lnTo>
                      <a:pt x="1764641" y="396787"/>
                    </a:lnTo>
                    <a:lnTo>
                      <a:pt x="1807237" y="396787"/>
                    </a:lnTo>
                    <a:lnTo>
                      <a:pt x="1834846" y="396787"/>
                    </a:lnTo>
                    <a:lnTo>
                      <a:pt x="1861666" y="396787"/>
                    </a:lnTo>
                    <a:lnTo>
                      <a:pt x="1875074" y="396787"/>
                    </a:lnTo>
                    <a:lnTo>
                      <a:pt x="1904262" y="410197"/>
                    </a:lnTo>
                    <a:lnTo>
                      <a:pt x="1889275" y="410197"/>
                    </a:lnTo>
                    <a:lnTo>
                      <a:pt x="1889275" y="422030"/>
                    </a:lnTo>
                    <a:lnTo>
                      <a:pt x="1904262" y="422030"/>
                    </a:lnTo>
                    <a:lnTo>
                      <a:pt x="1889275" y="435440"/>
                    </a:lnTo>
                    <a:lnTo>
                      <a:pt x="1861666" y="435440"/>
                    </a:lnTo>
                    <a:lnTo>
                      <a:pt x="1834846" y="435440"/>
                    </a:lnTo>
                    <a:lnTo>
                      <a:pt x="1820645" y="435440"/>
                    </a:lnTo>
                    <a:lnTo>
                      <a:pt x="1807237" y="435440"/>
                    </a:lnTo>
                    <a:lnTo>
                      <a:pt x="1778839" y="435440"/>
                    </a:lnTo>
                    <a:lnTo>
                      <a:pt x="1751231" y="435440"/>
                    </a:lnTo>
                    <a:lnTo>
                      <a:pt x="1737817" y="435440"/>
                    </a:lnTo>
                    <a:lnTo>
                      <a:pt x="1723619" y="435440"/>
                    </a:lnTo>
                    <a:lnTo>
                      <a:pt x="1708631" y="435440"/>
                    </a:lnTo>
                    <a:lnTo>
                      <a:pt x="1695221" y="435440"/>
                    </a:lnTo>
                    <a:lnTo>
                      <a:pt x="1680231" y="435440"/>
                    </a:lnTo>
                    <a:lnTo>
                      <a:pt x="1652622" y="435440"/>
                    </a:lnTo>
                    <a:lnTo>
                      <a:pt x="1625801" y="422030"/>
                    </a:lnTo>
                    <a:lnTo>
                      <a:pt x="1611601" y="410197"/>
                    </a:lnTo>
                    <a:lnTo>
                      <a:pt x="1625801" y="410197"/>
                    </a:lnTo>
                    <a:lnTo>
                      <a:pt x="1625801" y="396787"/>
                    </a:lnTo>
                    <a:lnTo>
                      <a:pt x="1611601" y="396787"/>
                    </a:lnTo>
                    <a:lnTo>
                      <a:pt x="1596612" y="369178"/>
                    </a:lnTo>
                    <a:lnTo>
                      <a:pt x="1596612" y="355767"/>
                    </a:lnTo>
                    <a:lnTo>
                      <a:pt x="1583201" y="369178"/>
                    </a:lnTo>
                    <a:lnTo>
                      <a:pt x="1555594" y="355767"/>
                    </a:lnTo>
                    <a:lnTo>
                      <a:pt x="1542183" y="341569"/>
                    </a:lnTo>
                    <a:close/>
                    <a:moveTo>
                      <a:pt x="1043641" y="312381"/>
                    </a:moveTo>
                    <a:lnTo>
                      <a:pt x="1057840" y="312381"/>
                    </a:lnTo>
                    <a:lnTo>
                      <a:pt x="1071250" y="312381"/>
                    </a:lnTo>
                    <a:lnTo>
                      <a:pt x="1098860" y="312381"/>
                    </a:lnTo>
                    <a:lnTo>
                      <a:pt x="1113848" y="312381"/>
                    </a:lnTo>
                    <a:lnTo>
                      <a:pt x="1113848" y="325791"/>
                    </a:lnTo>
                    <a:lnTo>
                      <a:pt x="1098860" y="325791"/>
                    </a:lnTo>
                    <a:lnTo>
                      <a:pt x="1098860" y="339991"/>
                    </a:lnTo>
                    <a:lnTo>
                      <a:pt x="1071250" y="366811"/>
                    </a:lnTo>
                    <a:lnTo>
                      <a:pt x="1057840" y="353401"/>
                    </a:lnTo>
                    <a:lnTo>
                      <a:pt x="1057840" y="339991"/>
                    </a:lnTo>
                    <a:lnTo>
                      <a:pt x="1043641" y="353401"/>
                    </a:lnTo>
                    <a:lnTo>
                      <a:pt x="1043641" y="366811"/>
                    </a:lnTo>
                    <a:lnTo>
                      <a:pt x="1030231" y="366811"/>
                    </a:lnTo>
                    <a:lnTo>
                      <a:pt x="1030231" y="380221"/>
                    </a:lnTo>
                    <a:lnTo>
                      <a:pt x="1030231" y="394420"/>
                    </a:lnTo>
                    <a:lnTo>
                      <a:pt x="1013664" y="394420"/>
                    </a:lnTo>
                    <a:lnTo>
                      <a:pt x="1000256" y="394420"/>
                    </a:lnTo>
                    <a:lnTo>
                      <a:pt x="1000256" y="380221"/>
                    </a:lnTo>
                    <a:lnTo>
                      <a:pt x="986054" y="380221"/>
                    </a:lnTo>
                    <a:lnTo>
                      <a:pt x="972644" y="380221"/>
                    </a:lnTo>
                    <a:lnTo>
                      <a:pt x="959232" y="380221"/>
                    </a:lnTo>
                    <a:lnTo>
                      <a:pt x="959232" y="366811"/>
                    </a:lnTo>
                    <a:lnTo>
                      <a:pt x="972644" y="353401"/>
                    </a:lnTo>
                    <a:lnTo>
                      <a:pt x="986054" y="353401"/>
                    </a:lnTo>
                    <a:lnTo>
                      <a:pt x="1000256" y="339991"/>
                    </a:lnTo>
                    <a:lnTo>
                      <a:pt x="1013664" y="339991"/>
                    </a:lnTo>
                    <a:lnTo>
                      <a:pt x="1030231" y="339991"/>
                    </a:lnTo>
                    <a:lnTo>
                      <a:pt x="1030231" y="325791"/>
                    </a:lnTo>
                    <a:close/>
                    <a:moveTo>
                      <a:pt x="1317368" y="299759"/>
                    </a:moveTo>
                    <a:lnTo>
                      <a:pt x="1333145" y="299759"/>
                    </a:lnTo>
                    <a:lnTo>
                      <a:pt x="1348922" y="313170"/>
                    </a:lnTo>
                    <a:lnTo>
                      <a:pt x="1348922" y="328158"/>
                    </a:lnTo>
                    <a:lnTo>
                      <a:pt x="1333145" y="328158"/>
                    </a:lnTo>
                    <a:lnTo>
                      <a:pt x="1317368" y="313170"/>
                    </a:lnTo>
                    <a:close/>
                    <a:moveTo>
                      <a:pt x="1402557" y="287138"/>
                    </a:moveTo>
                    <a:lnTo>
                      <a:pt x="1417909" y="287138"/>
                    </a:lnTo>
                    <a:lnTo>
                      <a:pt x="1417909" y="299759"/>
                    </a:lnTo>
                    <a:lnTo>
                      <a:pt x="1402557" y="299759"/>
                    </a:lnTo>
                    <a:close/>
                    <a:moveTo>
                      <a:pt x="1165913" y="258739"/>
                    </a:moveTo>
                    <a:lnTo>
                      <a:pt x="1194311" y="258739"/>
                    </a:lnTo>
                    <a:lnTo>
                      <a:pt x="1208509" y="258739"/>
                    </a:lnTo>
                    <a:lnTo>
                      <a:pt x="1221919" y="258739"/>
                    </a:lnTo>
                    <a:lnTo>
                      <a:pt x="1235330" y="258739"/>
                    </a:lnTo>
                    <a:lnTo>
                      <a:pt x="1249528" y="272150"/>
                    </a:lnTo>
                    <a:lnTo>
                      <a:pt x="1235330" y="272150"/>
                    </a:lnTo>
                    <a:lnTo>
                      <a:pt x="1221919" y="287138"/>
                    </a:lnTo>
                    <a:lnTo>
                      <a:pt x="1223192" y="287138"/>
                    </a:lnTo>
                    <a:lnTo>
                      <a:pt x="1236907" y="287138"/>
                    </a:lnTo>
                    <a:lnTo>
                      <a:pt x="1236907" y="301338"/>
                    </a:lnTo>
                    <a:lnTo>
                      <a:pt x="1223192" y="301338"/>
                    </a:lnTo>
                    <a:lnTo>
                      <a:pt x="1209477" y="314747"/>
                    </a:lnTo>
                    <a:lnTo>
                      <a:pt x="1179628" y="328158"/>
                    </a:lnTo>
                    <a:lnTo>
                      <a:pt x="1165913" y="314747"/>
                    </a:lnTo>
                    <a:lnTo>
                      <a:pt x="1165913" y="301338"/>
                    </a:lnTo>
                    <a:lnTo>
                      <a:pt x="1165913" y="287138"/>
                    </a:lnTo>
                    <a:lnTo>
                      <a:pt x="1194311" y="287138"/>
                    </a:lnTo>
                    <a:lnTo>
                      <a:pt x="1179323" y="272150"/>
                    </a:lnTo>
                    <a:lnTo>
                      <a:pt x="1165913" y="272150"/>
                    </a:lnTo>
                    <a:close/>
                    <a:moveTo>
                      <a:pt x="1505894" y="244541"/>
                    </a:moveTo>
                    <a:lnTo>
                      <a:pt x="1519305" y="244541"/>
                    </a:lnTo>
                    <a:lnTo>
                      <a:pt x="1519305" y="258146"/>
                    </a:lnTo>
                    <a:lnTo>
                      <a:pt x="1533505" y="258146"/>
                    </a:lnTo>
                    <a:lnTo>
                      <a:pt x="1546914" y="258146"/>
                    </a:lnTo>
                    <a:lnTo>
                      <a:pt x="1560326" y="258146"/>
                    </a:lnTo>
                    <a:lnTo>
                      <a:pt x="1574524" y="271750"/>
                    </a:lnTo>
                    <a:lnTo>
                      <a:pt x="1560326" y="271750"/>
                    </a:lnTo>
                    <a:lnTo>
                      <a:pt x="1560326" y="285356"/>
                    </a:lnTo>
                    <a:lnTo>
                      <a:pt x="1574523" y="299759"/>
                    </a:lnTo>
                    <a:lnTo>
                      <a:pt x="1583390" y="299759"/>
                    </a:lnTo>
                    <a:lnTo>
                      <a:pt x="1596614" y="299759"/>
                    </a:lnTo>
                    <a:lnTo>
                      <a:pt x="1596614" y="312380"/>
                    </a:lnTo>
                    <a:lnTo>
                      <a:pt x="1583390" y="312380"/>
                    </a:lnTo>
                    <a:lnTo>
                      <a:pt x="1570171" y="312380"/>
                    </a:lnTo>
                    <a:lnTo>
                      <a:pt x="1541394" y="299760"/>
                    </a:lnTo>
                    <a:lnTo>
                      <a:pt x="1519305" y="299760"/>
                    </a:lnTo>
                    <a:lnTo>
                      <a:pt x="1519305" y="285356"/>
                    </a:lnTo>
                    <a:lnTo>
                      <a:pt x="1505894" y="271750"/>
                    </a:lnTo>
                    <a:lnTo>
                      <a:pt x="1492485" y="258146"/>
                    </a:lnTo>
                    <a:close/>
                    <a:moveTo>
                      <a:pt x="3840841" y="241385"/>
                    </a:moveTo>
                    <a:lnTo>
                      <a:pt x="3840841" y="257205"/>
                    </a:lnTo>
                    <a:lnTo>
                      <a:pt x="3825853" y="257205"/>
                    </a:lnTo>
                    <a:close/>
                    <a:moveTo>
                      <a:pt x="1569003" y="219622"/>
                    </a:moveTo>
                    <a:lnTo>
                      <a:pt x="1583992" y="219622"/>
                    </a:lnTo>
                    <a:lnTo>
                      <a:pt x="1583992" y="231398"/>
                    </a:lnTo>
                    <a:close/>
                    <a:moveTo>
                      <a:pt x="1351198" y="219298"/>
                    </a:moveTo>
                    <a:lnTo>
                      <a:pt x="1366887" y="231130"/>
                    </a:lnTo>
                    <a:lnTo>
                      <a:pt x="1380222" y="231130"/>
                    </a:lnTo>
                    <a:lnTo>
                      <a:pt x="1393559" y="245330"/>
                    </a:lnTo>
                    <a:lnTo>
                      <a:pt x="1393559" y="231130"/>
                    </a:lnTo>
                    <a:lnTo>
                      <a:pt x="1406894" y="231130"/>
                    </a:lnTo>
                    <a:lnTo>
                      <a:pt x="1421015" y="245330"/>
                    </a:lnTo>
                    <a:lnTo>
                      <a:pt x="1421015" y="258740"/>
                    </a:lnTo>
                    <a:lnTo>
                      <a:pt x="1435918" y="258740"/>
                    </a:lnTo>
                    <a:lnTo>
                      <a:pt x="1435918" y="245330"/>
                    </a:lnTo>
                    <a:lnTo>
                      <a:pt x="1449253" y="245330"/>
                    </a:lnTo>
                    <a:lnTo>
                      <a:pt x="1449253" y="258740"/>
                    </a:lnTo>
                    <a:lnTo>
                      <a:pt x="1462588" y="272151"/>
                    </a:lnTo>
                    <a:lnTo>
                      <a:pt x="1476709" y="285561"/>
                    </a:lnTo>
                    <a:lnTo>
                      <a:pt x="1476709" y="299760"/>
                    </a:lnTo>
                    <a:lnTo>
                      <a:pt x="1462588" y="299760"/>
                    </a:lnTo>
                    <a:lnTo>
                      <a:pt x="1449253" y="299760"/>
                    </a:lnTo>
                    <a:lnTo>
                      <a:pt x="1449253" y="285561"/>
                    </a:lnTo>
                    <a:lnTo>
                      <a:pt x="1435918" y="285561"/>
                    </a:lnTo>
                    <a:lnTo>
                      <a:pt x="1406894" y="272151"/>
                    </a:lnTo>
                    <a:lnTo>
                      <a:pt x="1393559" y="272151"/>
                    </a:lnTo>
                    <a:lnTo>
                      <a:pt x="1380222" y="272151"/>
                    </a:lnTo>
                    <a:lnTo>
                      <a:pt x="1366887" y="272151"/>
                    </a:lnTo>
                    <a:lnTo>
                      <a:pt x="1351198" y="272151"/>
                    </a:lnTo>
                    <a:lnTo>
                      <a:pt x="1351198" y="258740"/>
                    </a:lnTo>
                    <a:lnTo>
                      <a:pt x="1351198" y="245330"/>
                    </a:lnTo>
                    <a:lnTo>
                      <a:pt x="1336300" y="245330"/>
                    </a:lnTo>
                    <a:lnTo>
                      <a:pt x="1336300" y="231130"/>
                    </a:lnTo>
                    <a:lnTo>
                      <a:pt x="1351198" y="231130"/>
                    </a:lnTo>
                    <a:close/>
                    <a:moveTo>
                      <a:pt x="1459354" y="190900"/>
                    </a:moveTo>
                    <a:lnTo>
                      <a:pt x="1473169" y="190900"/>
                    </a:lnTo>
                    <a:lnTo>
                      <a:pt x="1487753" y="190900"/>
                    </a:lnTo>
                    <a:lnTo>
                      <a:pt x="1487753" y="205099"/>
                    </a:lnTo>
                    <a:lnTo>
                      <a:pt x="1473169" y="205099"/>
                    </a:lnTo>
                    <a:close/>
                    <a:moveTo>
                      <a:pt x="3939959" y="184589"/>
                    </a:moveTo>
                    <a:lnTo>
                      <a:pt x="3953332" y="184589"/>
                    </a:lnTo>
                    <a:lnTo>
                      <a:pt x="3967491" y="184589"/>
                    </a:lnTo>
                    <a:lnTo>
                      <a:pt x="3982438" y="184589"/>
                    </a:lnTo>
                    <a:lnTo>
                      <a:pt x="3982438" y="199651"/>
                    </a:lnTo>
                    <a:lnTo>
                      <a:pt x="3995810" y="199651"/>
                    </a:lnTo>
                    <a:lnTo>
                      <a:pt x="4009183" y="199651"/>
                    </a:lnTo>
                    <a:lnTo>
                      <a:pt x="4009183" y="213127"/>
                    </a:lnTo>
                    <a:lnTo>
                      <a:pt x="4009183" y="227397"/>
                    </a:lnTo>
                    <a:lnTo>
                      <a:pt x="4053234" y="242459"/>
                    </a:lnTo>
                    <a:lnTo>
                      <a:pt x="4066607" y="257520"/>
                    </a:lnTo>
                    <a:lnTo>
                      <a:pt x="4080767" y="257520"/>
                    </a:lnTo>
                    <a:lnTo>
                      <a:pt x="4095712" y="257520"/>
                    </a:lnTo>
                    <a:lnTo>
                      <a:pt x="4109085" y="286059"/>
                    </a:lnTo>
                    <a:lnTo>
                      <a:pt x="4122458" y="301914"/>
                    </a:lnTo>
                    <a:lnTo>
                      <a:pt x="4109085" y="301914"/>
                    </a:lnTo>
                    <a:lnTo>
                      <a:pt x="4095712" y="316975"/>
                    </a:lnTo>
                    <a:lnTo>
                      <a:pt x="4066607" y="316975"/>
                    </a:lnTo>
                    <a:lnTo>
                      <a:pt x="4066607" y="301914"/>
                    </a:lnTo>
                    <a:lnTo>
                      <a:pt x="4053234" y="301914"/>
                    </a:lnTo>
                    <a:lnTo>
                      <a:pt x="4053234" y="286059"/>
                    </a:lnTo>
                    <a:lnTo>
                      <a:pt x="4039862" y="270997"/>
                    </a:lnTo>
                    <a:lnTo>
                      <a:pt x="4039862" y="257520"/>
                    </a:lnTo>
                    <a:lnTo>
                      <a:pt x="4023342" y="257520"/>
                    </a:lnTo>
                    <a:lnTo>
                      <a:pt x="4009183" y="257520"/>
                    </a:lnTo>
                    <a:lnTo>
                      <a:pt x="4009183" y="286059"/>
                    </a:lnTo>
                    <a:lnTo>
                      <a:pt x="3995810" y="301914"/>
                    </a:lnTo>
                    <a:lnTo>
                      <a:pt x="3982438" y="301914"/>
                    </a:lnTo>
                    <a:lnTo>
                      <a:pt x="3982438" y="330452"/>
                    </a:lnTo>
                    <a:lnTo>
                      <a:pt x="3982438" y="345514"/>
                    </a:lnTo>
                    <a:lnTo>
                      <a:pt x="3967491" y="345514"/>
                    </a:lnTo>
                    <a:lnTo>
                      <a:pt x="3939959" y="345514"/>
                    </a:lnTo>
                    <a:lnTo>
                      <a:pt x="3925014" y="330452"/>
                    </a:lnTo>
                    <a:lnTo>
                      <a:pt x="3897481" y="301914"/>
                    </a:lnTo>
                    <a:lnTo>
                      <a:pt x="3897481" y="286059"/>
                    </a:lnTo>
                    <a:lnTo>
                      <a:pt x="3911640" y="270997"/>
                    </a:lnTo>
                    <a:lnTo>
                      <a:pt x="3925014" y="270997"/>
                    </a:lnTo>
                    <a:lnTo>
                      <a:pt x="3939959" y="270997"/>
                    </a:lnTo>
                    <a:lnTo>
                      <a:pt x="3939959" y="257520"/>
                    </a:lnTo>
                    <a:lnTo>
                      <a:pt x="3925014" y="257520"/>
                    </a:lnTo>
                    <a:lnTo>
                      <a:pt x="3911640" y="257520"/>
                    </a:lnTo>
                    <a:lnTo>
                      <a:pt x="3897481" y="270997"/>
                    </a:lnTo>
                    <a:lnTo>
                      <a:pt x="3884108" y="270997"/>
                    </a:lnTo>
                    <a:lnTo>
                      <a:pt x="3884108" y="257520"/>
                    </a:lnTo>
                    <a:lnTo>
                      <a:pt x="3869163" y="257520"/>
                    </a:lnTo>
                    <a:lnTo>
                      <a:pt x="3855003" y="242459"/>
                    </a:lnTo>
                    <a:lnTo>
                      <a:pt x="3855003" y="227397"/>
                    </a:lnTo>
                    <a:lnTo>
                      <a:pt x="3841630" y="227397"/>
                    </a:lnTo>
                    <a:lnTo>
                      <a:pt x="3841630" y="213127"/>
                    </a:lnTo>
                    <a:lnTo>
                      <a:pt x="3841630" y="199651"/>
                    </a:lnTo>
                    <a:lnTo>
                      <a:pt x="3855003" y="199651"/>
                    </a:lnTo>
                    <a:lnTo>
                      <a:pt x="3869163" y="199651"/>
                    </a:lnTo>
                    <a:lnTo>
                      <a:pt x="3884108" y="199651"/>
                    </a:lnTo>
                    <a:lnTo>
                      <a:pt x="3897481" y="199651"/>
                    </a:lnTo>
                    <a:lnTo>
                      <a:pt x="3897481" y="213127"/>
                    </a:lnTo>
                    <a:lnTo>
                      <a:pt x="3911640" y="213127"/>
                    </a:lnTo>
                    <a:lnTo>
                      <a:pt x="3897481" y="199651"/>
                    </a:lnTo>
                    <a:lnTo>
                      <a:pt x="3911640" y="199651"/>
                    </a:lnTo>
                    <a:lnTo>
                      <a:pt x="3939959" y="199651"/>
                    </a:lnTo>
                    <a:close/>
                    <a:moveTo>
                      <a:pt x="3983620" y="154613"/>
                    </a:moveTo>
                    <a:lnTo>
                      <a:pt x="3997083" y="154613"/>
                    </a:lnTo>
                    <a:lnTo>
                      <a:pt x="4010548" y="170220"/>
                    </a:lnTo>
                    <a:lnTo>
                      <a:pt x="4010548" y="154613"/>
                    </a:lnTo>
                    <a:lnTo>
                      <a:pt x="4024012" y="154613"/>
                    </a:lnTo>
                    <a:lnTo>
                      <a:pt x="4039852" y="154613"/>
                    </a:lnTo>
                    <a:lnTo>
                      <a:pt x="4068365" y="170220"/>
                    </a:lnTo>
                    <a:lnTo>
                      <a:pt x="4081829" y="154613"/>
                    </a:lnTo>
                    <a:lnTo>
                      <a:pt x="4096084" y="154613"/>
                    </a:lnTo>
                    <a:lnTo>
                      <a:pt x="4096084" y="170220"/>
                    </a:lnTo>
                    <a:lnTo>
                      <a:pt x="4111133" y="170220"/>
                    </a:lnTo>
                    <a:lnTo>
                      <a:pt x="4111133" y="154613"/>
                    </a:lnTo>
                    <a:lnTo>
                      <a:pt x="4124597" y="154613"/>
                    </a:lnTo>
                    <a:lnTo>
                      <a:pt x="4138061" y="154613"/>
                    </a:lnTo>
                    <a:lnTo>
                      <a:pt x="4152318" y="154613"/>
                    </a:lnTo>
                    <a:lnTo>
                      <a:pt x="4152318" y="170220"/>
                    </a:lnTo>
                    <a:lnTo>
                      <a:pt x="4167366" y="170220"/>
                    </a:lnTo>
                    <a:lnTo>
                      <a:pt x="4180830" y="185047"/>
                    </a:lnTo>
                    <a:lnTo>
                      <a:pt x="4152318" y="198313"/>
                    </a:lnTo>
                    <a:lnTo>
                      <a:pt x="4124597" y="213140"/>
                    </a:lnTo>
                    <a:lnTo>
                      <a:pt x="4096084" y="227187"/>
                    </a:lnTo>
                    <a:lnTo>
                      <a:pt x="4081829" y="227187"/>
                    </a:lnTo>
                    <a:lnTo>
                      <a:pt x="4081829" y="213140"/>
                    </a:lnTo>
                    <a:lnTo>
                      <a:pt x="4068365" y="213140"/>
                    </a:lnTo>
                    <a:lnTo>
                      <a:pt x="4039852" y="213140"/>
                    </a:lnTo>
                    <a:lnTo>
                      <a:pt x="4024012" y="213140"/>
                    </a:lnTo>
                    <a:lnTo>
                      <a:pt x="4010548" y="198313"/>
                    </a:lnTo>
                    <a:lnTo>
                      <a:pt x="3997083" y="185047"/>
                    </a:lnTo>
                    <a:lnTo>
                      <a:pt x="3983620" y="170220"/>
                    </a:lnTo>
                    <a:close/>
                    <a:moveTo>
                      <a:pt x="5073798" y="149881"/>
                    </a:moveTo>
                    <a:lnTo>
                      <a:pt x="5100618" y="161693"/>
                    </a:lnTo>
                    <a:lnTo>
                      <a:pt x="5100618" y="212882"/>
                    </a:lnTo>
                    <a:lnTo>
                      <a:pt x="4991759" y="263282"/>
                    </a:lnTo>
                    <a:lnTo>
                      <a:pt x="4923918" y="312895"/>
                    </a:lnTo>
                    <a:lnTo>
                      <a:pt x="4828468" y="464096"/>
                    </a:lnTo>
                    <a:lnTo>
                      <a:pt x="4813481" y="489296"/>
                    </a:lnTo>
                    <a:lnTo>
                      <a:pt x="4813481" y="553085"/>
                    </a:lnTo>
                    <a:lnTo>
                      <a:pt x="4828468" y="577497"/>
                    </a:lnTo>
                    <a:lnTo>
                      <a:pt x="4855289" y="602698"/>
                    </a:lnTo>
                    <a:lnTo>
                      <a:pt x="4841879" y="615297"/>
                    </a:lnTo>
                    <a:lnTo>
                      <a:pt x="4772461" y="602698"/>
                    </a:lnTo>
                    <a:lnTo>
                      <a:pt x="4731441" y="553085"/>
                    </a:lnTo>
                    <a:lnTo>
                      <a:pt x="4731441" y="515284"/>
                    </a:lnTo>
                    <a:lnTo>
                      <a:pt x="4759050" y="501896"/>
                    </a:lnTo>
                    <a:lnTo>
                      <a:pt x="4744852" y="477484"/>
                    </a:lnTo>
                    <a:lnTo>
                      <a:pt x="4772461" y="452283"/>
                    </a:lnTo>
                    <a:lnTo>
                      <a:pt x="4785871" y="426295"/>
                    </a:lnTo>
                    <a:lnTo>
                      <a:pt x="4772461" y="401883"/>
                    </a:lnTo>
                    <a:lnTo>
                      <a:pt x="4799282" y="376682"/>
                    </a:lnTo>
                    <a:lnTo>
                      <a:pt x="4813481" y="338882"/>
                    </a:lnTo>
                    <a:lnTo>
                      <a:pt x="4813481" y="312895"/>
                    </a:lnTo>
                    <a:lnTo>
                      <a:pt x="4855289" y="288482"/>
                    </a:lnTo>
                    <a:lnTo>
                      <a:pt x="4896309" y="237294"/>
                    </a:lnTo>
                    <a:lnTo>
                      <a:pt x="4937329" y="212882"/>
                    </a:lnTo>
                    <a:lnTo>
                      <a:pt x="4978348" y="212882"/>
                    </a:lnTo>
                    <a:lnTo>
                      <a:pt x="5019368" y="199493"/>
                    </a:lnTo>
                    <a:lnTo>
                      <a:pt x="5046188" y="175081"/>
                    </a:lnTo>
                    <a:close/>
                    <a:moveTo>
                      <a:pt x="4602859" y="140414"/>
                    </a:moveTo>
                    <a:lnTo>
                      <a:pt x="4616270" y="140414"/>
                    </a:lnTo>
                    <a:lnTo>
                      <a:pt x="4629680" y="140414"/>
                    </a:lnTo>
                    <a:lnTo>
                      <a:pt x="4658867" y="140414"/>
                    </a:lnTo>
                    <a:lnTo>
                      <a:pt x="4672277" y="140414"/>
                    </a:lnTo>
                    <a:lnTo>
                      <a:pt x="4685688" y="140414"/>
                    </a:lnTo>
                    <a:lnTo>
                      <a:pt x="4699886" y="140414"/>
                    </a:lnTo>
                    <a:lnTo>
                      <a:pt x="4699886" y="153824"/>
                    </a:lnTo>
                    <a:lnTo>
                      <a:pt x="4685688" y="153824"/>
                    </a:lnTo>
                    <a:lnTo>
                      <a:pt x="4672277" y="153824"/>
                    </a:lnTo>
                    <a:lnTo>
                      <a:pt x="4658867" y="153824"/>
                    </a:lnTo>
                    <a:lnTo>
                      <a:pt x="4643879" y="153824"/>
                    </a:lnTo>
                    <a:lnTo>
                      <a:pt x="4643879" y="169601"/>
                    </a:lnTo>
                    <a:lnTo>
                      <a:pt x="4629680" y="184589"/>
                    </a:lnTo>
                    <a:lnTo>
                      <a:pt x="4629680" y="169601"/>
                    </a:lnTo>
                    <a:lnTo>
                      <a:pt x="4616270" y="169601"/>
                    </a:lnTo>
                    <a:lnTo>
                      <a:pt x="4602859" y="153824"/>
                    </a:lnTo>
                    <a:lnTo>
                      <a:pt x="4616270" y="153824"/>
                    </a:lnTo>
                    <a:close/>
                    <a:moveTo>
                      <a:pt x="4560262" y="140414"/>
                    </a:moveTo>
                    <a:lnTo>
                      <a:pt x="4587871" y="140414"/>
                    </a:lnTo>
                    <a:lnTo>
                      <a:pt x="4602859" y="140414"/>
                    </a:lnTo>
                    <a:lnTo>
                      <a:pt x="4587871" y="153824"/>
                    </a:lnTo>
                    <a:lnTo>
                      <a:pt x="4573673" y="153824"/>
                    </a:lnTo>
                    <a:lnTo>
                      <a:pt x="4560262" y="153824"/>
                    </a:lnTo>
                    <a:lnTo>
                      <a:pt x="4545274" y="153824"/>
                    </a:lnTo>
                    <a:close/>
                    <a:moveTo>
                      <a:pt x="4770882" y="126215"/>
                    </a:moveTo>
                    <a:lnTo>
                      <a:pt x="4786008" y="126215"/>
                    </a:lnTo>
                    <a:lnTo>
                      <a:pt x="4799541" y="126215"/>
                    </a:lnTo>
                    <a:lnTo>
                      <a:pt x="4813870" y="126215"/>
                    </a:lnTo>
                    <a:lnTo>
                      <a:pt x="4828997" y="126215"/>
                    </a:lnTo>
                    <a:lnTo>
                      <a:pt x="4857655" y="126215"/>
                    </a:lnTo>
                    <a:lnTo>
                      <a:pt x="4857655" y="139625"/>
                    </a:lnTo>
                    <a:lnTo>
                      <a:pt x="4842530" y="139625"/>
                    </a:lnTo>
                    <a:lnTo>
                      <a:pt x="4828997" y="139625"/>
                    </a:lnTo>
                    <a:lnTo>
                      <a:pt x="4813870" y="154613"/>
                    </a:lnTo>
                    <a:lnTo>
                      <a:pt x="4799541" y="154613"/>
                    </a:lnTo>
                    <a:lnTo>
                      <a:pt x="4770882" y="139625"/>
                    </a:lnTo>
                    <a:close/>
                    <a:moveTo>
                      <a:pt x="1625011" y="123849"/>
                    </a:moveTo>
                    <a:lnTo>
                      <a:pt x="1625011" y="136405"/>
                    </a:lnTo>
                    <a:lnTo>
                      <a:pt x="1638424" y="150537"/>
                    </a:lnTo>
                    <a:lnTo>
                      <a:pt x="1638424" y="165452"/>
                    </a:lnTo>
                    <a:lnTo>
                      <a:pt x="1651834" y="165452"/>
                    </a:lnTo>
                    <a:lnTo>
                      <a:pt x="1666819" y="165452"/>
                    </a:lnTo>
                    <a:lnTo>
                      <a:pt x="1681021" y="165452"/>
                    </a:lnTo>
                    <a:lnTo>
                      <a:pt x="1696008" y="178798"/>
                    </a:lnTo>
                    <a:lnTo>
                      <a:pt x="1696008" y="192144"/>
                    </a:lnTo>
                    <a:lnTo>
                      <a:pt x="1709418" y="192144"/>
                    </a:lnTo>
                    <a:lnTo>
                      <a:pt x="1709418" y="178798"/>
                    </a:lnTo>
                    <a:lnTo>
                      <a:pt x="1722829" y="178798"/>
                    </a:lnTo>
                    <a:lnTo>
                      <a:pt x="1722829" y="192144"/>
                    </a:lnTo>
                    <a:lnTo>
                      <a:pt x="1722829" y="206276"/>
                    </a:lnTo>
                    <a:lnTo>
                      <a:pt x="1738603" y="206276"/>
                    </a:lnTo>
                    <a:lnTo>
                      <a:pt x="1752016" y="206276"/>
                    </a:lnTo>
                    <a:lnTo>
                      <a:pt x="1765428" y="219622"/>
                    </a:lnTo>
                    <a:lnTo>
                      <a:pt x="1765428" y="231398"/>
                    </a:lnTo>
                    <a:lnTo>
                      <a:pt x="1738603" y="245529"/>
                    </a:lnTo>
                    <a:lnTo>
                      <a:pt x="1722986" y="258740"/>
                    </a:lnTo>
                    <a:lnTo>
                      <a:pt x="1735714" y="258740"/>
                    </a:lnTo>
                    <a:lnTo>
                      <a:pt x="1750739" y="258740"/>
                    </a:lnTo>
                    <a:lnTo>
                      <a:pt x="1764183" y="258740"/>
                    </a:lnTo>
                    <a:lnTo>
                      <a:pt x="1778415" y="245331"/>
                    </a:lnTo>
                    <a:lnTo>
                      <a:pt x="1791858" y="231131"/>
                    </a:lnTo>
                    <a:lnTo>
                      <a:pt x="1778415" y="205888"/>
                    </a:lnTo>
                    <a:lnTo>
                      <a:pt x="1750739" y="205888"/>
                    </a:lnTo>
                    <a:lnTo>
                      <a:pt x="1735714" y="191690"/>
                    </a:lnTo>
                    <a:lnTo>
                      <a:pt x="1750739" y="191690"/>
                    </a:lnTo>
                    <a:lnTo>
                      <a:pt x="1750739" y="178280"/>
                    </a:lnTo>
                    <a:lnTo>
                      <a:pt x="1764183" y="178280"/>
                    </a:lnTo>
                    <a:lnTo>
                      <a:pt x="1778415" y="178280"/>
                    </a:lnTo>
                    <a:lnTo>
                      <a:pt x="1791858" y="178280"/>
                    </a:lnTo>
                    <a:lnTo>
                      <a:pt x="1818741" y="191690"/>
                    </a:lnTo>
                    <a:lnTo>
                      <a:pt x="1818741" y="205888"/>
                    </a:lnTo>
                    <a:lnTo>
                      <a:pt x="1834554" y="205888"/>
                    </a:lnTo>
                    <a:lnTo>
                      <a:pt x="1818741" y="191690"/>
                    </a:lnTo>
                    <a:lnTo>
                      <a:pt x="1818741" y="178280"/>
                    </a:lnTo>
                    <a:lnTo>
                      <a:pt x="1834554" y="178280"/>
                    </a:lnTo>
                    <a:lnTo>
                      <a:pt x="1847995" y="178280"/>
                    </a:lnTo>
                    <a:lnTo>
                      <a:pt x="1861439" y="178280"/>
                    </a:lnTo>
                    <a:lnTo>
                      <a:pt x="1874881" y="164869"/>
                    </a:lnTo>
                    <a:lnTo>
                      <a:pt x="1861439" y="164869"/>
                    </a:lnTo>
                    <a:lnTo>
                      <a:pt x="1847995" y="164869"/>
                    </a:lnTo>
                    <a:lnTo>
                      <a:pt x="1818741" y="164869"/>
                    </a:lnTo>
                    <a:lnTo>
                      <a:pt x="1805296" y="164869"/>
                    </a:lnTo>
                    <a:lnTo>
                      <a:pt x="1791858" y="164869"/>
                    </a:lnTo>
                    <a:lnTo>
                      <a:pt x="1778415" y="164869"/>
                    </a:lnTo>
                    <a:lnTo>
                      <a:pt x="1764183" y="164869"/>
                    </a:lnTo>
                    <a:lnTo>
                      <a:pt x="1750739" y="164869"/>
                    </a:lnTo>
                    <a:lnTo>
                      <a:pt x="1735714" y="164869"/>
                    </a:lnTo>
                    <a:lnTo>
                      <a:pt x="1721482" y="164869"/>
                    </a:lnTo>
                    <a:lnTo>
                      <a:pt x="1694599" y="164869"/>
                    </a:lnTo>
                    <a:lnTo>
                      <a:pt x="1679576" y="151458"/>
                    </a:lnTo>
                    <a:lnTo>
                      <a:pt x="1694599" y="151458"/>
                    </a:lnTo>
                    <a:lnTo>
                      <a:pt x="1708041" y="137260"/>
                    </a:lnTo>
                    <a:lnTo>
                      <a:pt x="1694599" y="137260"/>
                    </a:lnTo>
                    <a:lnTo>
                      <a:pt x="1679576" y="137260"/>
                    </a:lnTo>
                    <a:lnTo>
                      <a:pt x="1679576" y="123849"/>
                    </a:lnTo>
                    <a:lnTo>
                      <a:pt x="1665343" y="123849"/>
                    </a:lnTo>
                    <a:lnTo>
                      <a:pt x="1651901" y="123849"/>
                    </a:lnTo>
                    <a:lnTo>
                      <a:pt x="1636878" y="123849"/>
                    </a:lnTo>
                    <a:close/>
                    <a:moveTo>
                      <a:pt x="4813870" y="111227"/>
                    </a:moveTo>
                    <a:lnTo>
                      <a:pt x="4828997" y="111227"/>
                    </a:lnTo>
                    <a:lnTo>
                      <a:pt x="4813870" y="126215"/>
                    </a:lnTo>
                    <a:close/>
                    <a:moveTo>
                      <a:pt x="4799541" y="111227"/>
                    </a:moveTo>
                    <a:lnTo>
                      <a:pt x="4813870" y="111227"/>
                    </a:lnTo>
                    <a:lnTo>
                      <a:pt x="4799541" y="126215"/>
                    </a:lnTo>
                    <a:close/>
                    <a:moveTo>
                      <a:pt x="4842530" y="97816"/>
                    </a:moveTo>
                    <a:lnTo>
                      <a:pt x="4857655" y="97816"/>
                    </a:lnTo>
                    <a:lnTo>
                      <a:pt x="4857655" y="111227"/>
                    </a:lnTo>
                    <a:lnTo>
                      <a:pt x="4842530" y="111227"/>
                    </a:lnTo>
                    <a:lnTo>
                      <a:pt x="4828997" y="111227"/>
                    </a:lnTo>
                    <a:close/>
                    <a:moveTo>
                      <a:pt x="5866166" y="86773"/>
                    </a:moveTo>
                    <a:lnTo>
                      <a:pt x="5907195" y="112793"/>
                    </a:lnTo>
                    <a:lnTo>
                      <a:pt x="5866166" y="138023"/>
                    </a:lnTo>
                    <a:lnTo>
                      <a:pt x="5934021" y="150639"/>
                    </a:lnTo>
                    <a:lnTo>
                      <a:pt x="5907195" y="200311"/>
                    </a:lnTo>
                    <a:lnTo>
                      <a:pt x="5948224" y="200311"/>
                    </a:lnTo>
                    <a:lnTo>
                      <a:pt x="5948224" y="175869"/>
                    </a:lnTo>
                    <a:lnTo>
                      <a:pt x="6016079" y="175869"/>
                    </a:lnTo>
                    <a:lnTo>
                      <a:pt x="6072099" y="226330"/>
                    </a:lnTo>
                    <a:lnTo>
                      <a:pt x="6072099" y="302022"/>
                    </a:lnTo>
                    <a:lnTo>
                      <a:pt x="5934021" y="415561"/>
                    </a:lnTo>
                    <a:lnTo>
                      <a:pt x="5920608" y="453406"/>
                    </a:lnTo>
                    <a:lnTo>
                      <a:pt x="5934021" y="453406"/>
                    </a:lnTo>
                    <a:lnTo>
                      <a:pt x="5988464" y="427387"/>
                    </a:lnTo>
                    <a:lnTo>
                      <a:pt x="5975051" y="402945"/>
                    </a:lnTo>
                    <a:lnTo>
                      <a:pt x="5988464" y="389542"/>
                    </a:lnTo>
                    <a:lnTo>
                      <a:pt x="6072099" y="427387"/>
                    </a:lnTo>
                    <a:lnTo>
                      <a:pt x="6113129" y="402945"/>
                    </a:lnTo>
                    <a:lnTo>
                      <a:pt x="6180984" y="415561"/>
                    </a:lnTo>
                    <a:lnTo>
                      <a:pt x="6167570" y="453406"/>
                    </a:lnTo>
                    <a:lnTo>
                      <a:pt x="6276455" y="465233"/>
                    </a:lnTo>
                    <a:lnTo>
                      <a:pt x="6263041" y="440791"/>
                    </a:lnTo>
                    <a:lnTo>
                      <a:pt x="6276455" y="415561"/>
                    </a:lnTo>
                    <a:lnTo>
                      <a:pt x="6304071" y="415561"/>
                    </a:lnTo>
                    <a:lnTo>
                      <a:pt x="6385339" y="440791"/>
                    </a:lnTo>
                    <a:lnTo>
                      <a:pt x="6412955" y="478637"/>
                    </a:lnTo>
                    <a:lnTo>
                      <a:pt x="6399542" y="540925"/>
                    </a:lnTo>
                    <a:lnTo>
                      <a:pt x="6426368" y="592175"/>
                    </a:lnTo>
                    <a:lnTo>
                      <a:pt x="6453984" y="604002"/>
                    </a:lnTo>
                    <a:lnTo>
                      <a:pt x="6480810" y="528310"/>
                    </a:lnTo>
                    <a:lnTo>
                      <a:pt x="6521839" y="566156"/>
                    </a:lnTo>
                    <a:lnTo>
                      <a:pt x="6549455" y="554330"/>
                    </a:lnTo>
                    <a:lnTo>
                      <a:pt x="6562869" y="554330"/>
                    </a:lnTo>
                    <a:lnTo>
                      <a:pt x="6646504" y="554330"/>
                    </a:lnTo>
                    <a:lnTo>
                      <a:pt x="6618888" y="516483"/>
                    </a:lnTo>
                    <a:lnTo>
                      <a:pt x="6646504" y="465233"/>
                    </a:lnTo>
                    <a:lnTo>
                      <a:pt x="6755388" y="490464"/>
                    </a:lnTo>
                    <a:lnTo>
                      <a:pt x="6850859" y="516483"/>
                    </a:lnTo>
                    <a:lnTo>
                      <a:pt x="6850859" y="554330"/>
                    </a:lnTo>
                    <a:lnTo>
                      <a:pt x="6864273" y="566156"/>
                    </a:lnTo>
                    <a:lnTo>
                      <a:pt x="6891889" y="566156"/>
                    </a:lnTo>
                    <a:lnTo>
                      <a:pt x="6905302" y="604002"/>
                    </a:lnTo>
                    <a:lnTo>
                      <a:pt x="6987360" y="578771"/>
                    </a:lnTo>
                    <a:lnTo>
                      <a:pt x="7041801" y="592175"/>
                    </a:lnTo>
                    <a:lnTo>
                      <a:pt x="7068628" y="630021"/>
                    </a:lnTo>
                    <a:lnTo>
                      <a:pt x="7055215" y="654464"/>
                    </a:lnTo>
                    <a:lnTo>
                      <a:pt x="7082041" y="667867"/>
                    </a:lnTo>
                    <a:lnTo>
                      <a:pt x="7150686" y="667867"/>
                    </a:lnTo>
                    <a:lnTo>
                      <a:pt x="7220119" y="679694"/>
                    </a:lnTo>
                    <a:lnTo>
                      <a:pt x="7247735" y="654464"/>
                    </a:lnTo>
                    <a:lnTo>
                      <a:pt x="7274562" y="654464"/>
                    </a:lnTo>
                    <a:lnTo>
                      <a:pt x="7261149" y="667867"/>
                    </a:lnTo>
                    <a:lnTo>
                      <a:pt x="7247735" y="667867"/>
                    </a:lnTo>
                    <a:lnTo>
                      <a:pt x="7247735" y="692309"/>
                    </a:lnTo>
                    <a:lnTo>
                      <a:pt x="7274562" y="717540"/>
                    </a:lnTo>
                    <a:lnTo>
                      <a:pt x="7302177" y="705713"/>
                    </a:lnTo>
                    <a:lnTo>
                      <a:pt x="7302177" y="641848"/>
                    </a:lnTo>
                    <a:lnTo>
                      <a:pt x="7411061" y="654464"/>
                    </a:lnTo>
                    <a:lnTo>
                      <a:pt x="7493119" y="705713"/>
                    </a:lnTo>
                    <a:lnTo>
                      <a:pt x="7615417" y="805847"/>
                    </a:lnTo>
                    <a:lnTo>
                      <a:pt x="7684061" y="819251"/>
                    </a:lnTo>
                    <a:lnTo>
                      <a:pt x="7724301" y="857097"/>
                    </a:lnTo>
                    <a:lnTo>
                      <a:pt x="7697474" y="881540"/>
                    </a:lnTo>
                    <a:lnTo>
                      <a:pt x="7669858" y="881540"/>
                    </a:lnTo>
                    <a:lnTo>
                      <a:pt x="7669858" y="906770"/>
                    </a:lnTo>
                    <a:lnTo>
                      <a:pt x="7656446" y="944616"/>
                    </a:lnTo>
                    <a:lnTo>
                      <a:pt x="7588590" y="906770"/>
                    </a:lnTo>
                    <a:lnTo>
                      <a:pt x="7560975" y="881540"/>
                    </a:lnTo>
                    <a:lnTo>
                      <a:pt x="7534148" y="881540"/>
                    </a:lnTo>
                    <a:lnTo>
                      <a:pt x="7519946" y="843693"/>
                    </a:lnTo>
                    <a:lnTo>
                      <a:pt x="7506532" y="857097"/>
                    </a:lnTo>
                    <a:lnTo>
                      <a:pt x="7519946" y="881540"/>
                    </a:lnTo>
                    <a:lnTo>
                      <a:pt x="7493119" y="906770"/>
                    </a:lnTo>
                    <a:lnTo>
                      <a:pt x="7465504" y="919385"/>
                    </a:lnTo>
                    <a:lnTo>
                      <a:pt x="7452091" y="919385"/>
                    </a:lnTo>
                    <a:lnTo>
                      <a:pt x="7452091" y="944616"/>
                    </a:lnTo>
                    <a:lnTo>
                      <a:pt x="7465504" y="944616"/>
                    </a:lnTo>
                    <a:lnTo>
                      <a:pt x="7493119" y="1020307"/>
                    </a:lnTo>
                    <a:lnTo>
                      <a:pt x="7478917" y="1032134"/>
                    </a:lnTo>
                    <a:lnTo>
                      <a:pt x="7438677" y="1020307"/>
                    </a:lnTo>
                    <a:lnTo>
                      <a:pt x="7302177" y="1107827"/>
                    </a:lnTo>
                    <a:lnTo>
                      <a:pt x="7288764" y="1133846"/>
                    </a:lnTo>
                    <a:lnTo>
                      <a:pt x="7261149" y="1107827"/>
                    </a:lnTo>
                    <a:lnTo>
                      <a:pt x="7220119" y="1122019"/>
                    </a:lnTo>
                    <a:lnTo>
                      <a:pt x="7206706" y="1133846"/>
                    </a:lnTo>
                    <a:lnTo>
                      <a:pt x="7206706" y="1107827"/>
                    </a:lnTo>
                    <a:lnTo>
                      <a:pt x="7164099" y="1133846"/>
                    </a:lnTo>
                    <a:lnTo>
                      <a:pt x="7137272" y="1133846"/>
                    </a:lnTo>
                    <a:lnTo>
                      <a:pt x="7137272" y="1159865"/>
                    </a:lnTo>
                    <a:lnTo>
                      <a:pt x="7109657" y="1197711"/>
                    </a:lnTo>
                    <a:lnTo>
                      <a:pt x="7109657" y="1209538"/>
                    </a:lnTo>
                    <a:lnTo>
                      <a:pt x="7123071" y="1209538"/>
                    </a:lnTo>
                    <a:lnTo>
                      <a:pt x="7137272" y="1209538"/>
                    </a:lnTo>
                    <a:lnTo>
                      <a:pt x="7123071" y="1247383"/>
                    </a:lnTo>
                    <a:lnTo>
                      <a:pt x="7137272" y="1247383"/>
                    </a:lnTo>
                    <a:lnTo>
                      <a:pt x="7137272" y="1273402"/>
                    </a:lnTo>
                    <a:lnTo>
                      <a:pt x="7123071" y="1273402"/>
                    </a:lnTo>
                    <a:lnTo>
                      <a:pt x="7096244" y="1285230"/>
                    </a:lnTo>
                    <a:lnTo>
                      <a:pt x="7109657" y="1323076"/>
                    </a:lnTo>
                    <a:lnTo>
                      <a:pt x="7082041" y="1334903"/>
                    </a:lnTo>
                    <a:lnTo>
                      <a:pt x="7068628" y="1334903"/>
                    </a:lnTo>
                    <a:lnTo>
                      <a:pt x="7068628" y="1372749"/>
                    </a:lnTo>
                    <a:lnTo>
                      <a:pt x="7055215" y="1372749"/>
                    </a:lnTo>
                    <a:lnTo>
                      <a:pt x="7027600" y="1423998"/>
                    </a:lnTo>
                    <a:lnTo>
                      <a:pt x="7000773" y="1448440"/>
                    </a:lnTo>
                    <a:lnTo>
                      <a:pt x="6973157" y="1297057"/>
                    </a:lnTo>
                    <a:lnTo>
                      <a:pt x="7000773" y="1209538"/>
                    </a:lnTo>
                    <a:lnTo>
                      <a:pt x="7027600" y="1197711"/>
                    </a:lnTo>
                    <a:lnTo>
                      <a:pt x="7109657" y="1107827"/>
                    </a:lnTo>
                    <a:lnTo>
                      <a:pt x="7137272" y="1096000"/>
                    </a:lnTo>
                    <a:lnTo>
                      <a:pt x="7150686" y="1032134"/>
                    </a:lnTo>
                    <a:lnTo>
                      <a:pt x="7164099" y="1020307"/>
                    </a:lnTo>
                    <a:lnTo>
                      <a:pt x="7137272" y="1020307"/>
                    </a:lnTo>
                    <a:lnTo>
                      <a:pt x="7137272" y="1058154"/>
                    </a:lnTo>
                    <a:lnTo>
                      <a:pt x="7068628" y="1096000"/>
                    </a:lnTo>
                    <a:lnTo>
                      <a:pt x="7068628" y="1069981"/>
                    </a:lnTo>
                    <a:lnTo>
                      <a:pt x="7068628" y="1046327"/>
                    </a:lnTo>
                    <a:lnTo>
                      <a:pt x="7000773" y="1058154"/>
                    </a:lnTo>
                    <a:lnTo>
                      <a:pt x="6946330" y="1145673"/>
                    </a:lnTo>
                    <a:lnTo>
                      <a:pt x="6959744" y="1159865"/>
                    </a:lnTo>
                    <a:lnTo>
                      <a:pt x="6877686" y="1171692"/>
                    </a:lnTo>
                    <a:lnTo>
                      <a:pt x="6877686" y="1159865"/>
                    </a:lnTo>
                    <a:lnTo>
                      <a:pt x="6891889" y="1145673"/>
                    </a:lnTo>
                    <a:lnTo>
                      <a:pt x="6877686" y="1145673"/>
                    </a:lnTo>
                    <a:lnTo>
                      <a:pt x="6836658" y="1133846"/>
                    </a:lnTo>
                    <a:lnTo>
                      <a:pt x="6823244" y="1159865"/>
                    </a:lnTo>
                    <a:lnTo>
                      <a:pt x="6782215" y="1145673"/>
                    </a:lnTo>
                    <a:lnTo>
                      <a:pt x="6768802" y="1159865"/>
                    </a:lnTo>
                    <a:lnTo>
                      <a:pt x="6755388" y="1145673"/>
                    </a:lnTo>
                    <a:lnTo>
                      <a:pt x="6700947" y="1159865"/>
                    </a:lnTo>
                    <a:lnTo>
                      <a:pt x="6576282" y="1273402"/>
                    </a:lnTo>
                    <a:lnTo>
                      <a:pt x="6535253" y="1311249"/>
                    </a:lnTo>
                    <a:lnTo>
                      <a:pt x="6535253" y="1323076"/>
                    </a:lnTo>
                    <a:lnTo>
                      <a:pt x="6562869" y="1323076"/>
                    </a:lnTo>
                    <a:lnTo>
                      <a:pt x="6576282" y="1334903"/>
                    </a:lnTo>
                    <a:lnTo>
                      <a:pt x="6590484" y="1334903"/>
                    </a:lnTo>
                    <a:lnTo>
                      <a:pt x="6576282" y="1360922"/>
                    </a:lnTo>
                    <a:lnTo>
                      <a:pt x="6603897" y="1360922"/>
                    </a:lnTo>
                    <a:lnTo>
                      <a:pt x="6618888" y="1334903"/>
                    </a:lnTo>
                    <a:lnTo>
                      <a:pt x="6632301" y="1334903"/>
                    </a:lnTo>
                    <a:lnTo>
                      <a:pt x="6659917" y="1372749"/>
                    </a:lnTo>
                    <a:lnTo>
                      <a:pt x="6659917" y="1410595"/>
                    </a:lnTo>
                    <a:lnTo>
                      <a:pt x="6646504" y="1436614"/>
                    </a:lnTo>
                    <a:lnTo>
                      <a:pt x="6646504" y="1524132"/>
                    </a:lnTo>
                    <a:lnTo>
                      <a:pt x="6521839" y="1663690"/>
                    </a:lnTo>
                    <a:lnTo>
                      <a:pt x="6480810" y="1688920"/>
                    </a:lnTo>
                    <a:lnTo>
                      <a:pt x="6467398" y="1675516"/>
                    </a:lnTo>
                    <a:lnTo>
                      <a:pt x="6467398" y="1663690"/>
                    </a:lnTo>
                    <a:lnTo>
                      <a:pt x="6455388" y="1663690"/>
                    </a:lnTo>
                    <a:lnTo>
                      <a:pt x="6440989" y="1686773"/>
                    </a:lnTo>
                    <a:lnTo>
                      <a:pt x="6439971" y="1688407"/>
                    </a:lnTo>
                    <a:lnTo>
                      <a:pt x="6426567" y="1688407"/>
                    </a:lnTo>
                    <a:lnTo>
                      <a:pt x="6399625" y="1701091"/>
                    </a:lnTo>
                    <a:lnTo>
                      <a:pt x="6385432" y="1701091"/>
                    </a:lnTo>
                    <a:lnTo>
                      <a:pt x="6372026" y="1712930"/>
                    </a:lnTo>
                    <a:lnTo>
                      <a:pt x="6358622" y="1712930"/>
                    </a:lnTo>
                    <a:lnTo>
                      <a:pt x="6309339" y="1747163"/>
                    </a:lnTo>
                    <a:lnTo>
                      <a:pt x="6357874" y="1713998"/>
                    </a:lnTo>
                    <a:lnTo>
                      <a:pt x="6371440" y="1713998"/>
                    </a:lnTo>
                    <a:lnTo>
                      <a:pt x="6385006" y="1702240"/>
                    </a:lnTo>
                    <a:lnTo>
                      <a:pt x="6399371" y="1702240"/>
                    </a:lnTo>
                    <a:lnTo>
                      <a:pt x="6426503" y="1689697"/>
                    </a:lnTo>
                    <a:lnTo>
                      <a:pt x="6440069" y="1689697"/>
                    </a:lnTo>
                    <a:lnTo>
                      <a:pt x="6412937" y="1713998"/>
                    </a:lnTo>
                    <a:lnTo>
                      <a:pt x="6412937" y="1739866"/>
                    </a:lnTo>
                    <a:lnTo>
                      <a:pt x="6357874" y="1764951"/>
                    </a:lnTo>
                    <a:lnTo>
                      <a:pt x="6357874" y="1777492"/>
                    </a:lnTo>
                    <a:lnTo>
                      <a:pt x="6385006" y="1789251"/>
                    </a:lnTo>
                    <a:lnTo>
                      <a:pt x="6384373" y="1789641"/>
                    </a:lnTo>
                    <a:lnTo>
                      <a:pt x="6398261" y="1814333"/>
                    </a:lnTo>
                    <a:lnTo>
                      <a:pt x="6411672" y="1852197"/>
                    </a:lnTo>
                    <a:lnTo>
                      <a:pt x="6398261" y="1878229"/>
                    </a:lnTo>
                    <a:lnTo>
                      <a:pt x="6343830" y="1890061"/>
                    </a:lnTo>
                    <a:lnTo>
                      <a:pt x="6343830" y="1878229"/>
                    </a:lnTo>
                    <a:lnTo>
                      <a:pt x="6343830" y="1864818"/>
                    </a:lnTo>
                    <a:lnTo>
                      <a:pt x="6343830" y="1826954"/>
                    </a:lnTo>
                    <a:lnTo>
                      <a:pt x="6343830" y="1814335"/>
                    </a:lnTo>
                    <a:lnTo>
                      <a:pt x="6329943" y="1814335"/>
                    </a:lnTo>
                    <a:lnTo>
                      <a:pt x="6316376" y="1814335"/>
                    </a:lnTo>
                    <a:lnTo>
                      <a:pt x="6302810" y="1802577"/>
                    </a:lnTo>
                    <a:lnTo>
                      <a:pt x="6316376" y="1764951"/>
                    </a:lnTo>
                    <a:lnTo>
                      <a:pt x="6302810" y="1764951"/>
                    </a:lnTo>
                    <a:lnTo>
                      <a:pt x="6302810" y="1764260"/>
                    </a:lnTo>
                    <a:lnTo>
                      <a:pt x="6276484" y="1764260"/>
                    </a:lnTo>
                    <a:lnTo>
                      <a:pt x="6235349" y="1788700"/>
                    </a:lnTo>
                    <a:lnTo>
                      <a:pt x="6235349" y="1776861"/>
                    </a:lnTo>
                    <a:lnTo>
                      <a:pt x="6235349" y="1764260"/>
                    </a:lnTo>
                    <a:cubicBezTo>
                      <a:pt x="6240080" y="1755804"/>
                      <a:pt x="6244943" y="1747432"/>
                      <a:pt x="6249674" y="1738975"/>
                    </a:cubicBezTo>
                    <a:cubicBezTo>
                      <a:pt x="6244943" y="1734748"/>
                      <a:pt x="6240080" y="1730520"/>
                      <a:pt x="6235349" y="1726292"/>
                    </a:cubicBezTo>
                    <a:lnTo>
                      <a:pt x="6194346" y="1764260"/>
                    </a:lnTo>
                    <a:lnTo>
                      <a:pt x="6180941" y="1776861"/>
                    </a:lnTo>
                    <a:lnTo>
                      <a:pt x="6167536" y="1776861"/>
                    </a:lnTo>
                    <a:lnTo>
                      <a:pt x="6154131" y="1788700"/>
                    </a:lnTo>
                    <a:lnTo>
                      <a:pt x="6194346" y="1826584"/>
                    </a:lnTo>
                    <a:lnTo>
                      <a:pt x="6221944" y="1813984"/>
                    </a:lnTo>
                    <a:lnTo>
                      <a:pt x="6263079" y="1826584"/>
                    </a:lnTo>
                    <a:lnTo>
                      <a:pt x="6263079" y="1840030"/>
                    </a:lnTo>
                    <a:lnTo>
                      <a:pt x="6249674" y="1826584"/>
                    </a:lnTo>
                    <a:lnTo>
                      <a:pt x="6221944" y="1840030"/>
                    </a:lnTo>
                    <a:lnTo>
                      <a:pt x="6194346" y="1877914"/>
                    </a:lnTo>
                    <a:lnTo>
                      <a:pt x="6208539" y="1889753"/>
                    </a:lnTo>
                    <a:lnTo>
                      <a:pt x="6221944" y="1940322"/>
                    </a:lnTo>
                    <a:lnTo>
                      <a:pt x="6249674" y="1953683"/>
                    </a:lnTo>
                    <a:lnTo>
                      <a:pt x="6235349" y="1953683"/>
                    </a:lnTo>
                    <a:cubicBezTo>
                      <a:pt x="6240080" y="1961886"/>
                      <a:pt x="6244943" y="1970004"/>
                      <a:pt x="6249674" y="1978207"/>
                    </a:cubicBezTo>
                    <a:lnTo>
                      <a:pt x="6208539" y="1991653"/>
                    </a:lnTo>
                    <a:lnTo>
                      <a:pt x="6249674" y="1991653"/>
                    </a:lnTo>
                    <a:cubicBezTo>
                      <a:pt x="6244943" y="2008227"/>
                      <a:pt x="6240080" y="2024802"/>
                      <a:pt x="6235349" y="2041376"/>
                    </a:cubicBezTo>
                    <a:lnTo>
                      <a:pt x="6208539" y="2067421"/>
                    </a:lnTo>
                    <a:lnTo>
                      <a:pt x="6194346" y="2067421"/>
                    </a:lnTo>
                    <a:lnTo>
                      <a:pt x="6194346" y="2091860"/>
                    </a:lnTo>
                    <a:lnTo>
                      <a:pt x="6180941" y="2117145"/>
                    </a:lnTo>
                    <a:lnTo>
                      <a:pt x="6167536" y="2117145"/>
                    </a:lnTo>
                    <a:lnTo>
                      <a:pt x="6167536" y="2129829"/>
                    </a:lnTo>
                    <a:lnTo>
                      <a:pt x="6126402" y="2155029"/>
                    </a:lnTo>
                    <a:lnTo>
                      <a:pt x="6085397" y="2155029"/>
                    </a:lnTo>
                    <a:lnTo>
                      <a:pt x="6085397" y="2167714"/>
                    </a:lnTo>
                    <a:lnTo>
                      <a:pt x="6071993" y="2155029"/>
                    </a:lnTo>
                    <a:lnTo>
                      <a:pt x="6071993" y="2167714"/>
                    </a:lnTo>
                    <a:lnTo>
                      <a:pt x="6058457" y="2167714"/>
                    </a:lnTo>
                    <a:lnTo>
                      <a:pt x="6004048" y="2192998"/>
                    </a:lnTo>
                    <a:lnTo>
                      <a:pt x="5989855" y="2205598"/>
                    </a:lnTo>
                    <a:lnTo>
                      <a:pt x="5989855" y="2181160"/>
                    </a:lnTo>
                    <a:lnTo>
                      <a:pt x="5962914" y="2181160"/>
                    </a:lnTo>
                    <a:lnTo>
                      <a:pt x="5948720" y="2181160"/>
                    </a:lnTo>
                    <a:lnTo>
                      <a:pt x="5947629" y="2181160"/>
                    </a:lnTo>
                    <a:lnTo>
                      <a:pt x="5920224" y="2192873"/>
                    </a:lnTo>
                    <a:lnTo>
                      <a:pt x="5906813" y="2218834"/>
                    </a:lnTo>
                    <a:lnTo>
                      <a:pt x="5892613" y="2230634"/>
                    </a:lnTo>
                    <a:lnTo>
                      <a:pt x="5961244" y="2317959"/>
                    </a:lnTo>
                    <a:lnTo>
                      <a:pt x="5974653" y="2343920"/>
                    </a:lnTo>
                    <a:lnTo>
                      <a:pt x="5961244" y="2393482"/>
                    </a:lnTo>
                    <a:lnTo>
                      <a:pt x="5933633" y="2407642"/>
                    </a:lnTo>
                    <a:lnTo>
                      <a:pt x="5920224" y="2407642"/>
                    </a:lnTo>
                    <a:lnTo>
                      <a:pt x="5906813" y="2431244"/>
                    </a:lnTo>
                    <a:lnTo>
                      <a:pt x="5879204" y="2445405"/>
                    </a:lnTo>
                    <a:lnTo>
                      <a:pt x="5879204" y="2419444"/>
                    </a:lnTo>
                    <a:lnTo>
                      <a:pt x="5865793" y="2407642"/>
                    </a:lnTo>
                    <a:lnTo>
                      <a:pt x="5885659" y="2397155"/>
                    </a:lnTo>
                    <a:lnTo>
                      <a:pt x="5866924" y="2405963"/>
                    </a:lnTo>
                    <a:lnTo>
                      <a:pt x="5840373" y="2405963"/>
                    </a:lnTo>
                    <a:lnTo>
                      <a:pt x="5840373" y="2393676"/>
                    </a:lnTo>
                    <a:lnTo>
                      <a:pt x="5840373" y="2381387"/>
                    </a:lnTo>
                    <a:lnTo>
                      <a:pt x="5827928" y="2357236"/>
                    </a:lnTo>
                    <a:lnTo>
                      <a:pt x="5830445" y="2352095"/>
                    </a:lnTo>
                    <a:lnTo>
                      <a:pt x="5828241" y="2351077"/>
                    </a:lnTo>
                    <a:lnTo>
                      <a:pt x="5825101" y="2356660"/>
                    </a:lnTo>
                    <a:lnTo>
                      <a:pt x="5838446" y="2382759"/>
                    </a:lnTo>
                    <a:lnTo>
                      <a:pt x="5838446" y="2394623"/>
                    </a:lnTo>
                    <a:lnTo>
                      <a:pt x="5811755" y="2370895"/>
                    </a:lnTo>
                    <a:lnTo>
                      <a:pt x="5798409" y="2370895"/>
                    </a:lnTo>
                    <a:lnTo>
                      <a:pt x="5798409" y="2356660"/>
                    </a:lnTo>
                    <a:lnTo>
                      <a:pt x="5770934" y="2356660"/>
                    </a:lnTo>
                    <a:lnTo>
                      <a:pt x="5770934" y="2382759"/>
                    </a:lnTo>
                    <a:lnTo>
                      <a:pt x="5757588" y="2344795"/>
                    </a:lnTo>
                    <a:lnTo>
                      <a:pt x="5743458" y="2318696"/>
                    </a:lnTo>
                    <a:lnTo>
                      <a:pt x="5743458" y="2295774"/>
                    </a:lnTo>
                    <a:lnTo>
                      <a:pt x="5742626" y="2294941"/>
                    </a:lnTo>
                    <a:lnTo>
                      <a:pt x="5742734" y="2295249"/>
                    </a:lnTo>
                    <a:lnTo>
                      <a:pt x="5742734" y="2318961"/>
                    </a:lnTo>
                    <a:lnTo>
                      <a:pt x="5756933" y="2345045"/>
                    </a:lnTo>
                    <a:lnTo>
                      <a:pt x="5768766" y="2382986"/>
                    </a:lnTo>
                    <a:lnTo>
                      <a:pt x="5742734" y="2432784"/>
                    </a:lnTo>
                    <a:lnTo>
                      <a:pt x="5742734" y="2371130"/>
                    </a:lnTo>
                    <a:lnTo>
                      <a:pt x="5715913" y="2295249"/>
                    </a:lnTo>
                    <a:lnTo>
                      <a:pt x="5702504" y="2281811"/>
                    </a:lnTo>
                    <a:lnTo>
                      <a:pt x="5674894" y="2307104"/>
                    </a:lnTo>
                    <a:lnTo>
                      <a:pt x="5647285" y="2295249"/>
                    </a:lnTo>
                    <a:lnTo>
                      <a:pt x="5661483" y="2281811"/>
                    </a:lnTo>
                    <a:lnTo>
                      <a:pt x="5647285" y="2243871"/>
                    </a:lnTo>
                    <a:lnTo>
                      <a:pt x="5633874" y="2219367"/>
                    </a:lnTo>
                    <a:lnTo>
                      <a:pt x="5607054" y="2193282"/>
                    </a:lnTo>
                    <a:lnTo>
                      <a:pt x="5620465" y="2181426"/>
                    </a:lnTo>
                    <a:lnTo>
                      <a:pt x="5620465" y="2167989"/>
                    </a:lnTo>
                    <a:lnTo>
                      <a:pt x="5620643" y="2167664"/>
                    </a:lnTo>
                    <a:lnTo>
                      <a:pt x="5620062" y="2167025"/>
                    </a:lnTo>
                    <a:lnTo>
                      <a:pt x="5619696" y="2167712"/>
                    </a:lnTo>
                    <a:lnTo>
                      <a:pt x="5619696" y="2181948"/>
                    </a:lnTo>
                    <a:lnTo>
                      <a:pt x="5619464" y="2181331"/>
                    </a:lnTo>
                    <a:lnTo>
                      <a:pt x="5606265" y="2192977"/>
                    </a:lnTo>
                    <a:lnTo>
                      <a:pt x="5592066" y="2155113"/>
                    </a:lnTo>
                    <a:lnTo>
                      <a:pt x="5563668" y="2181145"/>
                    </a:lnTo>
                    <a:lnTo>
                      <a:pt x="5537469" y="2181145"/>
                    </a:lnTo>
                    <a:lnTo>
                      <a:pt x="5537645" y="2181948"/>
                    </a:lnTo>
                    <a:lnTo>
                      <a:pt x="5523428" y="2181948"/>
                    </a:lnTo>
                    <a:lnTo>
                      <a:pt x="5523428" y="2167712"/>
                    </a:lnTo>
                    <a:lnTo>
                      <a:pt x="5496620" y="2181948"/>
                    </a:lnTo>
                    <a:cubicBezTo>
                      <a:pt x="5491860" y="2194550"/>
                      <a:pt x="5487162" y="2207212"/>
                      <a:pt x="5482402" y="2219813"/>
                    </a:cubicBezTo>
                    <a:lnTo>
                      <a:pt x="5455595" y="2230839"/>
                    </a:lnTo>
                    <a:lnTo>
                      <a:pt x="5387763" y="2281304"/>
                    </a:lnTo>
                    <a:lnTo>
                      <a:pt x="5387763" y="2295541"/>
                    </a:lnTo>
                    <a:lnTo>
                      <a:pt x="5373545" y="2295541"/>
                    </a:lnTo>
                    <a:lnTo>
                      <a:pt x="5360955" y="2306568"/>
                    </a:lnTo>
                    <a:lnTo>
                      <a:pt x="5346737" y="2306568"/>
                    </a:lnTo>
                    <a:lnTo>
                      <a:pt x="5346737" y="2319169"/>
                    </a:lnTo>
                    <a:lnTo>
                      <a:pt x="5346737" y="2357033"/>
                    </a:lnTo>
                    <a:lnTo>
                      <a:pt x="5332520" y="2382296"/>
                    </a:lnTo>
                    <a:lnTo>
                      <a:pt x="5332520" y="2420160"/>
                    </a:lnTo>
                    <a:lnTo>
                      <a:pt x="5319929" y="2432761"/>
                    </a:lnTo>
                    <a:lnTo>
                      <a:pt x="5305712" y="2446999"/>
                    </a:lnTo>
                    <a:lnTo>
                      <a:pt x="5291494" y="2458025"/>
                    </a:lnTo>
                    <a:lnTo>
                      <a:pt x="5264687" y="2446999"/>
                    </a:lnTo>
                    <a:lnTo>
                      <a:pt x="5223661" y="2333406"/>
                    </a:lnTo>
                    <a:lnTo>
                      <a:pt x="5196855" y="2295541"/>
                    </a:lnTo>
                    <a:cubicBezTo>
                      <a:pt x="5192094" y="2270279"/>
                      <a:pt x="5187397" y="2245076"/>
                      <a:pt x="5182636" y="2219813"/>
                    </a:cubicBezTo>
                    <a:lnTo>
                      <a:pt x="5182636" y="2167712"/>
                    </a:lnTo>
                    <a:lnTo>
                      <a:pt x="5170047" y="2192975"/>
                    </a:lnTo>
                    <a:lnTo>
                      <a:pt x="5141611" y="2205576"/>
                    </a:lnTo>
                    <a:lnTo>
                      <a:pt x="5100648" y="2167712"/>
                    </a:lnTo>
                    <a:lnTo>
                      <a:pt x="5129021" y="2167712"/>
                    </a:lnTo>
                    <a:lnTo>
                      <a:pt x="5129021" y="2155111"/>
                    </a:lnTo>
                    <a:lnTo>
                      <a:pt x="5114804" y="2155111"/>
                    </a:lnTo>
                    <a:lnTo>
                      <a:pt x="5087996" y="2144084"/>
                    </a:lnTo>
                    <a:lnTo>
                      <a:pt x="5100648" y="2129847"/>
                    </a:lnTo>
                    <a:lnTo>
                      <a:pt x="5141611" y="2129847"/>
                    </a:lnTo>
                    <a:lnTo>
                      <a:pt x="5141611" y="2129112"/>
                    </a:lnTo>
                    <a:lnTo>
                      <a:pt x="5101045" y="2129112"/>
                    </a:lnTo>
                    <a:lnTo>
                      <a:pt x="5087707" y="2142491"/>
                    </a:lnTo>
                    <a:lnTo>
                      <a:pt x="5074279" y="2129112"/>
                    </a:lnTo>
                    <a:lnTo>
                      <a:pt x="5060881" y="2104721"/>
                    </a:lnTo>
                    <a:lnTo>
                      <a:pt x="5019940" y="2104721"/>
                    </a:lnTo>
                    <a:lnTo>
                      <a:pt x="4992456" y="2104721"/>
                    </a:lnTo>
                    <a:lnTo>
                      <a:pt x="4951515" y="2104721"/>
                    </a:lnTo>
                    <a:lnTo>
                      <a:pt x="4951515" y="2085968"/>
                    </a:lnTo>
                    <a:lnTo>
                      <a:pt x="4949950" y="2086015"/>
                    </a:lnTo>
                    <a:lnTo>
                      <a:pt x="4949950" y="2104627"/>
                    </a:lnTo>
                    <a:lnTo>
                      <a:pt x="4854500" y="2091247"/>
                    </a:lnTo>
                    <a:lnTo>
                      <a:pt x="4839512" y="2066846"/>
                    </a:lnTo>
                    <a:lnTo>
                      <a:pt x="4798493" y="2078653"/>
                    </a:lnTo>
                    <a:lnTo>
                      <a:pt x="4771672" y="2078653"/>
                    </a:lnTo>
                    <a:lnTo>
                      <a:pt x="4730652" y="2040873"/>
                    </a:lnTo>
                    <a:lnTo>
                      <a:pt x="4703043" y="2003093"/>
                    </a:lnTo>
                    <a:lnTo>
                      <a:pt x="4676223" y="1991287"/>
                    </a:lnTo>
                    <a:lnTo>
                      <a:pt x="4662812" y="1991287"/>
                    </a:lnTo>
                    <a:lnTo>
                      <a:pt x="4648612" y="1977906"/>
                    </a:lnTo>
                    <a:lnTo>
                      <a:pt x="4635203" y="1940126"/>
                    </a:lnTo>
                    <a:lnTo>
                      <a:pt x="4608382" y="1927532"/>
                    </a:lnTo>
                    <a:lnTo>
                      <a:pt x="4594183" y="1902345"/>
                    </a:lnTo>
                    <a:lnTo>
                      <a:pt x="4608382" y="1877946"/>
                    </a:lnTo>
                    <a:lnTo>
                      <a:pt x="4608382" y="1851973"/>
                    </a:lnTo>
                    <a:lnTo>
                      <a:pt x="4594183" y="1851973"/>
                    </a:lnTo>
                    <a:lnTo>
                      <a:pt x="4580773" y="1826786"/>
                    </a:lnTo>
                    <a:lnTo>
                      <a:pt x="4567362" y="1764606"/>
                    </a:lnTo>
                    <a:lnTo>
                      <a:pt x="4580773" y="1751225"/>
                    </a:lnTo>
                    <a:lnTo>
                      <a:pt x="4594183" y="1777200"/>
                    </a:lnTo>
                    <a:lnTo>
                      <a:pt x="4608382" y="1777200"/>
                    </a:lnTo>
                    <a:lnTo>
                      <a:pt x="4621792" y="1777200"/>
                    </a:lnTo>
                    <a:lnTo>
                      <a:pt x="4622842" y="1776707"/>
                    </a:lnTo>
                    <a:lnTo>
                      <a:pt x="4622842" y="1764415"/>
                    </a:lnTo>
                    <a:lnTo>
                      <a:pt x="4622583" y="1764156"/>
                    </a:lnTo>
                    <a:lnTo>
                      <a:pt x="4622583" y="1776469"/>
                    </a:lnTo>
                    <a:lnTo>
                      <a:pt x="4609327" y="1776469"/>
                    </a:lnTo>
                    <a:lnTo>
                      <a:pt x="4609327" y="1764003"/>
                    </a:lnTo>
                    <a:lnTo>
                      <a:pt x="4582034" y="1750759"/>
                    </a:lnTo>
                    <a:lnTo>
                      <a:pt x="4579923" y="1750759"/>
                    </a:lnTo>
                    <a:lnTo>
                      <a:pt x="4566574" y="1764177"/>
                    </a:lnTo>
                    <a:lnTo>
                      <a:pt x="4579984" y="1826821"/>
                    </a:lnTo>
                    <a:lnTo>
                      <a:pt x="4538965" y="1814134"/>
                    </a:lnTo>
                    <a:lnTo>
                      <a:pt x="4538965" y="1814478"/>
                    </a:lnTo>
                    <a:lnTo>
                      <a:pt x="4579669" y="1826955"/>
                    </a:lnTo>
                    <a:lnTo>
                      <a:pt x="4593130" y="1852197"/>
                    </a:lnTo>
                    <a:lnTo>
                      <a:pt x="4607384" y="1852197"/>
                    </a:lnTo>
                    <a:lnTo>
                      <a:pt x="4607384" y="1878229"/>
                    </a:lnTo>
                    <a:lnTo>
                      <a:pt x="4593130" y="1902683"/>
                    </a:lnTo>
                    <a:lnTo>
                      <a:pt x="4607384" y="1927927"/>
                    </a:lnTo>
                    <a:lnTo>
                      <a:pt x="4634309" y="1940548"/>
                    </a:lnTo>
                    <a:lnTo>
                      <a:pt x="4647771" y="1978412"/>
                    </a:lnTo>
                    <a:lnTo>
                      <a:pt x="4662024" y="1991823"/>
                    </a:lnTo>
                    <a:lnTo>
                      <a:pt x="4662024" y="2003655"/>
                    </a:lnTo>
                    <a:lnTo>
                      <a:pt x="4662023" y="2003655"/>
                    </a:lnTo>
                    <a:lnTo>
                      <a:pt x="4647824" y="2015893"/>
                    </a:lnTo>
                    <a:lnTo>
                      <a:pt x="4662023" y="2028897"/>
                    </a:lnTo>
                    <a:lnTo>
                      <a:pt x="4634493" y="2020170"/>
                    </a:lnTo>
                    <a:lnTo>
                      <a:pt x="4663600" y="2029686"/>
                    </a:lnTo>
                    <a:lnTo>
                      <a:pt x="4703831" y="2067550"/>
                    </a:lnTo>
                    <a:lnTo>
                      <a:pt x="4703831" y="2105414"/>
                    </a:lnTo>
                    <a:lnTo>
                      <a:pt x="4718029" y="2129868"/>
                    </a:lnTo>
                    <a:lnTo>
                      <a:pt x="4703831" y="2143278"/>
                    </a:lnTo>
                    <a:lnTo>
                      <a:pt x="4718029" y="2155111"/>
                    </a:lnTo>
                    <a:lnTo>
                      <a:pt x="4718735" y="2155111"/>
                    </a:lnTo>
                    <a:lnTo>
                      <a:pt x="4704620" y="2143279"/>
                    </a:lnTo>
                    <a:lnTo>
                      <a:pt x="4718737" y="2129869"/>
                    </a:lnTo>
                    <a:lnTo>
                      <a:pt x="4745403" y="2129869"/>
                    </a:lnTo>
                    <a:lnTo>
                      <a:pt x="4786186" y="2129869"/>
                    </a:lnTo>
                    <a:lnTo>
                      <a:pt x="4826745" y="2092212"/>
                    </a:lnTo>
                    <a:lnTo>
                      <a:pt x="4826101" y="2091623"/>
                    </a:lnTo>
                    <a:lnTo>
                      <a:pt x="4826101" y="2079383"/>
                    </a:lnTo>
                    <a:lnTo>
                      <a:pt x="4840301" y="2079383"/>
                    </a:lnTo>
                    <a:lnTo>
                      <a:pt x="4840301" y="2104627"/>
                    </a:lnTo>
                    <a:lnTo>
                      <a:pt x="4831545" y="2096608"/>
                    </a:lnTo>
                    <a:lnTo>
                      <a:pt x="4840301" y="2105415"/>
                    </a:lnTo>
                    <a:lnTo>
                      <a:pt x="4840301" y="2117248"/>
                    </a:lnTo>
                    <a:lnTo>
                      <a:pt x="4839924" y="2117614"/>
                    </a:lnTo>
                    <a:lnTo>
                      <a:pt x="4853711" y="2129869"/>
                    </a:lnTo>
                    <a:lnTo>
                      <a:pt x="4880532" y="2143279"/>
                    </a:lnTo>
                    <a:lnTo>
                      <a:pt x="4908141" y="2167733"/>
                    </a:lnTo>
                    <a:lnTo>
                      <a:pt x="4893942" y="2181144"/>
                    </a:lnTo>
                    <a:lnTo>
                      <a:pt x="4867121" y="2219008"/>
                    </a:lnTo>
                    <a:lnTo>
                      <a:pt x="4867121" y="2230840"/>
                    </a:lnTo>
                    <a:lnTo>
                      <a:pt x="4853711" y="2243461"/>
                    </a:lnTo>
                    <a:lnTo>
                      <a:pt x="4826101" y="2256872"/>
                    </a:lnTo>
                    <a:lnTo>
                      <a:pt x="4812691" y="2268705"/>
                    </a:lnTo>
                    <a:lnTo>
                      <a:pt x="4798492" y="2281326"/>
                    </a:lnTo>
                    <a:lnTo>
                      <a:pt x="4758261" y="2281326"/>
                    </a:lnTo>
                    <a:lnTo>
                      <a:pt x="4758261" y="2281229"/>
                    </a:lnTo>
                    <a:lnTo>
                      <a:pt x="4744113" y="2294534"/>
                    </a:lnTo>
                    <a:lnTo>
                      <a:pt x="4744113" y="2306275"/>
                    </a:lnTo>
                    <a:lnTo>
                      <a:pt x="4689879" y="2318016"/>
                    </a:lnTo>
                    <a:lnTo>
                      <a:pt x="4635644" y="2355587"/>
                    </a:lnTo>
                    <a:lnTo>
                      <a:pt x="4607348" y="2355587"/>
                    </a:lnTo>
                    <a:lnTo>
                      <a:pt x="4579838" y="2369676"/>
                    </a:lnTo>
                    <a:lnTo>
                      <a:pt x="4552327" y="2369676"/>
                    </a:lnTo>
                    <a:lnTo>
                      <a:pt x="4538964" y="2294534"/>
                    </a:lnTo>
                    <a:lnTo>
                      <a:pt x="4539654" y="2293848"/>
                    </a:lnTo>
                    <a:lnTo>
                      <a:pt x="4527131" y="2281325"/>
                    </a:lnTo>
                    <a:lnTo>
                      <a:pt x="4499522" y="2219007"/>
                    </a:lnTo>
                    <a:lnTo>
                      <a:pt x="4458501" y="2192975"/>
                    </a:lnTo>
                    <a:lnTo>
                      <a:pt x="4458501" y="2155111"/>
                    </a:lnTo>
                    <a:lnTo>
                      <a:pt x="4445091" y="2129868"/>
                    </a:lnTo>
                    <a:lnTo>
                      <a:pt x="4431681" y="2117247"/>
                    </a:lnTo>
                    <a:lnTo>
                      <a:pt x="4377251" y="2041518"/>
                    </a:lnTo>
                    <a:lnTo>
                      <a:pt x="4363840" y="2041518"/>
                    </a:lnTo>
                    <a:lnTo>
                      <a:pt x="4363840" y="2016277"/>
                    </a:lnTo>
                    <a:lnTo>
                      <a:pt x="4363840" y="2016275"/>
                    </a:lnTo>
                    <a:lnTo>
                      <a:pt x="4363841" y="2016275"/>
                    </a:lnTo>
                    <a:lnTo>
                      <a:pt x="4375574" y="1978711"/>
                    </a:lnTo>
                    <a:lnTo>
                      <a:pt x="4375574" y="1978693"/>
                    </a:lnTo>
                    <a:lnTo>
                      <a:pt x="4362263" y="2016276"/>
                    </a:lnTo>
                    <a:lnTo>
                      <a:pt x="4348064" y="1965790"/>
                    </a:lnTo>
                    <a:lnTo>
                      <a:pt x="4362263" y="1953957"/>
                    </a:lnTo>
                    <a:lnTo>
                      <a:pt x="4375674" y="1927925"/>
                    </a:lnTo>
                    <a:lnTo>
                      <a:pt x="4374885" y="1927925"/>
                    </a:lnTo>
                    <a:lnTo>
                      <a:pt x="4388864" y="1890534"/>
                    </a:lnTo>
                    <a:lnTo>
                      <a:pt x="4388361" y="1890062"/>
                    </a:lnTo>
                    <a:lnTo>
                      <a:pt x="4388361" y="1852198"/>
                    </a:lnTo>
                    <a:lnTo>
                      <a:pt x="4401835" y="1852198"/>
                    </a:lnTo>
                    <a:lnTo>
                      <a:pt x="4401835" y="1852196"/>
                    </a:lnTo>
                    <a:lnTo>
                      <a:pt x="4389085" y="1852196"/>
                    </a:lnTo>
                    <a:lnTo>
                      <a:pt x="4389085" y="1840302"/>
                    </a:lnTo>
                    <a:lnTo>
                      <a:pt x="4362264" y="1840302"/>
                    </a:lnTo>
                    <a:lnTo>
                      <a:pt x="4334655" y="1852196"/>
                    </a:lnTo>
                    <a:lnTo>
                      <a:pt x="4321245" y="1852196"/>
                    </a:lnTo>
                    <a:lnTo>
                      <a:pt x="4293635" y="1840302"/>
                    </a:lnTo>
                    <a:lnTo>
                      <a:pt x="4280225" y="1840302"/>
                    </a:lnTo>
                    <a:lnTo>
                      <a:pt x="4252616" y="1852196"/>
                    </a:lnTo>
                    <a:lnTo>
                      <a:pt x="4225795" y="1840302"/>
                    </a:lnTo>
                    <a:lnTo>
                      <a:pt x="4225795" y="1826821"/>
                    </a:lnTo>
                    <a:lnTo>
                      <a:pt x="4212385" y="1826821"/>
                    </a:lnTo>
                    <a:lnTo>
                      <a:pt x="4198186" y="1814134"/>
                    </a:lnTo>
                    <a:lnTo>
                      <a:pt x="4198186" y="1802239"/>
                    </a:lnTo>
                    <a:lnTo>
                      <a:pt x="4184775" y="1802239"/>
                    </a:lnTo>
                    <a:lnTo>
                      <a:pt x="4184775" y="1788759"/>
                    </a:lnTo>
                    <a:lnTo>
                      <a:pt x="4198186" y="1788759"/>
                    </a:lnTo>
                    <a:lnTo>
                      <a:pt x="4198186" y="1764177"/>
                    </a:lnTo>
                    <a:lnTo>
                      <a:pt x="4184775" y="1776864"/>
                    </a:lnTo>
                    <a:lnTo>
                      <a:pt x="4184775" y="1750696"/>
                    </a:lnTo>
                    <a:lnTo>
                      <a:pt x="4198186" y="1750696"/>
                    </a:lnTo>
                    <a:lnTo>
                      <a:pt x="4239205" y="1750696"/>
                    </a:lnTo>
                    <a:lnTo>
                      <a:pt x="4239205" y="1738802"/>
                    </a:lnTo>
                    <a:lnTo>
                      <a:pt x="4252616" y="1738802"/>
                    </a:lnTo>
                    <a:lnTo>
                      <a:pt x="4239205" y="1726114"/>
                    </a:lnTo>
                    <a:lnTo>
                      <a:pt x="4266814" y="1726114"/>
                    </a:lnTo>
                    <a:lnTo>
                      <a:pt x="4293635" y="1726114"/>
                    </a:lnTo>
                    <a:lnTo>
                      <a:pt x="4334655" y="1700739"/>
                    </a:lnTo>
                    <a:lnTo>
                      <a:pt x="4375675" y="1700739"/>
                    </a:lnTo>
                    <a:lnTo>
                      <a:pt x="4416695" y="1726114"/>
                    </a:lnTo>
                    <a:lnTo>
                      <a:pt x="4471125" y="1726114"/>
                    </a:lnTo>
                    <a:lnTo>
                      <a:pt x="4512144" y="1712634"/>
                    </a:lnTo>
                    <a:lnTo>
                      <a:pt x="4513720" y="1712634"/>
                    </a:lnTo>
                    <a:lnTo>
                      <a:pt x="4513720" y="1701341"/>
                    </a:lnTo>
                    <a:lnTo>
                      <a:pt x="4513720" y="1688519"/>
                    </a:lnTo>
                    <a:lnTo>
                      <a:pt x="4471123" y="1662875"/>
                    </a:lnTo>
                    <a:lnTo>
                      <a:pt x="4471884" y="1662875"/>
                    </a:lnTo>
                    <a:lnTo>
                      <a:pt x="4418320" y="1613228"/>
                    </a:lnTo>
                    <a:lnTo>
                      <a:pt x="4445147" y="1587998"/>
                    </a:lnTo>
                    <a:lnTo>
                      <a:pt x="4431733" y="1575382"/>
                    </a:lnTo>
                    <a:lnTo>
                      <a:pt x="4472763" y="1561979"/>
                    </a:lnTo>
                    <a:lnTo>
                      <a:pt x="4458560" y="1550152"/>
                    </a:lnTo>
                    <a:lnTo>
                      <a:pt x="4445800" y="1561403"/>
                    </a:lnTo>
                    <a:lnTo>
                      <a:pt x="4445800" y="1561655"/>
                    </a:lnTo>
                    <a:lnTo>
                      <a:pt x="4445513" y="1561655"/>
                    </a:lnTo>
                    <a:lnTo>
                      <a:pt x="4445147" y="1561979"/>
                    </a:lnTo>
                    <a:lnTo>
                      <a:pt x="4445147" y="1561655"/>
                    </a:lnTo>
                    <a:lnTo>
                      <a:pt x="4432362" y="1561655"/>
                    </a:lnTo>
                    <a:lnTo>
                      <a:pt x="4364387" y="1599644"/>
                    </a:lnTo>
                    <a:lnTo>
                      <a:pt x="4391261" y="1613100"/>
                    </a:lnTo>
                    <a:lnTo>
                      <a:pt x="4350160" y="1637634"/>
                    </a:lnTo>
                    <a:lnTo>
                      <a:pt x="4336723" y="1637634"/>
                    </a:lnTo>
                    <a:lnTo>
                      <a:pt x="4336723" y="1625762"/>
                    </a:lnTo>
                    <a:lnTo>
                      <a:pt x="4323286" y="1613100"/>
                    </a:lnTo>
                    <a:lnTo>
                      <a:pt x="4350160" y="1599644"/>
                    </a:lnTo>
                    <a:lnTo>
                      <a:pt x="4309059" y="1587772"/>
                    </a:lnTo>
                    <a:lnTo>
                      <a:pt x="4309059" y="1575110"/>
                    </a:lnTo>
                    <a:lnTo>
                      <a:pt x="4282185" y="1575110"/>
                    </a:lnTo>
                    <a:lnTo>
                      <a:pt x="4268748" y="1599644"/>
                    </a:lnTo>
                    <a:lnTo>
                      <a:pt x="4254521" y="1599644"/>
                    </a:lnTo>
                    <a:lnTo>
                      <a:pt x="4254521" y="1613100"/>
                    </a:lnTo>
                    <a:lnTo>
                      <a:pt x="4253403" y="1613100"/>
                    </a:lnTo>
                    <a:lnTo>
                      <a:pt x="4253403" y="1625225"/>
                    </a:lnTo>
                    <a:lnTo>
                      <a:pt x="4239942" y="1636991"/>
                    </a:lnTo>
                    <a:lnTo>
                      <a:pt x="4239942" y="1650325"/>
                    </a:lnTo>
                    <a:lnTo>
                      <a:pt x="4197182" y="1636991"/>
                    </a:lnTo>
                    <a:lnTo>
                      <a:pt x="4170258" y="1662875"/>
                    </a:lnTo>
                    <a:lnTo>
                      <a:pt x="4129081" y="1650325"/>
                    </a:lnTo>
                    <a:lnTo>
                      <a:pt x="4116768" y="1650325"/>
                    </a:lnTo>
                    <a:lnTo>
                      <a:pt x="4117641" y="1651161"/>
                    </a:lnTo>
                    <a:lnTo>
                      <a:pt x="4130974" y="1651161"/>
                    </a:lnTo>
                    <a:lnTo>
                      <a:pt x="4171757" y="1663895"/>
                    </a:lnTo>
                    <a:lnTo>
                      <a:pt x="4198422" y="1637633"/>
                    </a:lnTo>
                    <a:lnTo>
                      <a:pt x="4239205" y="1651161"/>
                    </a:lnTo>
                    <a:lnTo>
                      <a:pt x="4239205" y="1663895"/>
                    </a:lnTo>
                    <a:lnTo>
                      <a:pt x="4225873" y="1663895"/>
                    </a:lnTo>
                    <a:lnTo>
                      <a:pt x="4212540" y="1689362"/>
                    </a:lnTo>
                    <a:lnTo>
                      <a:pt x="4224454" y="1700739"/>
                    </a:lnTo>
                    <a:lnTo>
                      <a:pt x="4225795" y="1700739"/>
                    </a:lnTo>
                    <a:lnTo>
                      <a:pt x="4239205" y="1726114"/>
                    </a:lnTo>
                    <a:lnTo>
                      <a:pt x="4212385" y="1726114"/>
                    </a:lnTo>
                    <a:lnTo>
                      <a:pt x="4184775" y="1750696"/>
                    </a:lnTo>
                    <a:lnTo>
                      <a:pt x="4184775" y="1738802"/>
                    </a:lnTo>
                    <a:lnTo>
                      <a:pt x="4170955" y="1738802"/>
                    </a:lnTo>
                    <a:lnTo>
                      <a:pt x="4170652" y="1739393"/>
                    </a:lnTo>
                    <a:lnTo>
                      <a:pt x="4143200" y="1726772"/>
                    </a:lnTo>
                    <a:lnTo>
                      <a:pt x="4129867" y="1739393"/>
                    </a:lnTo>
                    <a:lnTo>
                      <a:pt x="4129867" y="1751225"/>
                    </a:lnTo>
                    <a:lnTo>
                      <a:pt x="4116533" y="1751225"/>
                    </a:lnTo>
                    <a:lnTo>
                      <a:pt x="4100846" y="1739393"/>
                    </a:lnTo>
                    <a:lnTo>
                      <a:pt x="4100846" y="1751225"/>
                    </a:lnTo>
                    <a:lnTo>
                      <a:pt x="4116533" y="1777257"/>
                    </a:lnTo>
                    <a:lnTo>
                      <a:pt x="4143200" y="1802500"/>
                    </a:lnTo>
                    <a:lnTo>
                      <a:pt x="4129867" y="1802500"/>
                    </a:lnTo>
                    <a:lnTo>
                      <a:pt x="4129867" y="1814333"/>
                    </a:lnTo>
                    <a:lnTo>
                      <a:pt x="4100846" y="1802500"/>
                    </a:lnTo>
                    <a:lnTo>
                      <a:pt x="4074179" y="1802500"/>
                    </a:lnTo>
                    <a:lnTo>
                      <a:pt x="4046732" y="1764643"/>
                    </a:lnTo>
                    <a:lnTo>
                      <a:pt x="4034106" y="1752016"/>
                    </a:lnTo>
                    <a:lnTo>
                      <a:pt x="4034106" y="1714152"/>
                    </a:lnTo>
                    <a:lnTo>
                      <a:pt x="4034106" y="1702320"/>
                    </a:lnTo>
                    <a:lnTo>
                      <a:pt x="4034106" y="1689697"/>
                    </a:lnTo>
                    <a:lnTo>
                      <a:pt x="4047517" y="1689697"/>
                    </a:lnTo>
                    <a:lnTo>
                      <a:pt x="4060926" y="1702320"/>
                    </a:lnTo>
                    <a:lnTo>
                      <a:pt x="4060926" y="1714152"/>
                    </a:lnTo>
                    <a:lnTo>
                      <a:pt x="4074262" y="1726745"/>
                    </a:lnTo>
                    <a:lnTo>
                      <a:pt x="4075165" y="1726459"/>
                    </a:lnTo>
                    <a:lnTo>
                      <a:pt x="4062505" y="1714152"/>
                    </a:lnTo>
                    <a:lnTo>
                      <a:pt x="4062505" y="1702319"/>
                    </a:lnTo>
                    <a:lnTo>
                      <a:pt x="4076298" y="1689697"/>
                    </a:lnTo>
                    <a:lnTo>
                      <a:pt x="4102354" y="1689697"/>
                    </a:lnTo>
                    <a:lnTo>
                      <a:pt x="4116147" y="1702319"/>
                    </a:lnTo>
                    <a:lnTo>
                      <a:pt x="4116147" y="1713483"/>
                    </a:lnTo>
                    <a:lnTo>
                      <a:pt x="4116533" y="1713361"/>
                    </a:lnTo>
                    <a:lnTo>
                      <a:pt x="4117641" y="1713361"/>
                    </a:lnTo>
                    <a:lnTo>
                      <a:pt x="4117641" y="1702094"/>
                    </a:lnTo>
                    <a:lnTo>
                      <a:pt x="4103524" y="1689362"/>
                    </a:lnTo>
                    <a:lnTo>
                      <a:pt x="4117641" y="1675833"/>
                    </a:lnTo>
                    <a:lnTo>
                      <a:pt x="4103524" y="1651161"/>
                    </a:lnTo>
                    <a:lnTo>
                      <a:pt x="4103524" y="1639009"/>
                    </a:lnTo>
                    <a:lnTo>
                      <a:pt x="4102064" y="1637644"/>
                    </a:lnTo>
                    <a:lnTo>
                      <a:pt x="4102064" y="1650255"/>
                    </a:lnTo>
                    <a:lnTo>
                      <a:pt x="4116146" y="1674709"/>
                    </a:lnTo>
                    <a:lnTo>
                      <a:pt x="4102064" y="1688120"/>
                    </a:lnTo>
                    <a:lnTo>
                      <a:pt x="4075465" y="1688120"/>
                    </a:lnTo>
                    <a:lnTo>
                      <a:pt x="4061383" y="1700741"/>
                    </a:lnTo>
                    <a:lnTo>
                      <a:pt x="4048084" y="1688120"/>
                    </a:lnTo>
                    <a:lnTo>
                      <a:pt x="4048084" y="1674709"/>
                    </a:lnTo>
                    <a:lnTo>
                      <a:pt x="4034785" y="1662877"/>
                    </a:lnTo>
                    <a:lnTo>
                      <a:pt x="4034785" y="1650255"/>
                    </a:lnTo>
                    <a:lnTo>
                      <a:pt x="4034785" y="1636845"/>
                    </a:lnTo>
                    <a:lnTo>
                      <a:pt x="4034785" y="1625012"/>
                    </a:lnTo>
                    <a:lnTo>
                      <a:pt x="4034785" y="1612391"/>
                    </a:lnTo>
                    <a:lnTo>
                      <a:pt x="4021500" y="1598996"/>
                    </a:lnTo>
                    <a:lnTo>
                      <a:pt x="4019744" y="1599768"/>
                    </a:lnTo>
                    <a:lnTo>
                      <a:pt x="4005569" y="1599768"/>
                    </a:lnTo>
                    <a:lnTo>
                      <a:pt x="4006851" y="1600558"/>
                    </a:lnTo>
                    <a:lnTo>
                      <a:pt x="4020867" y="1600558"/>
                    </a:lnTo>
                    <a:lnTo>
                      <a:pt x="4034106" y="1613968"/>
                    </a:lnTo>
                    <a:lnTo>
                      <a:pt x="4034106" y="1625800"/>
                    </a:lnTo>
                    <a:lnTo>
                      <a:pt x="4034106" y="1626590"/>
                    </a:lnTo>
                    <a:lnTo>
                      <a:pt x="4034106" y="1637634"/>
                    </a:lnTo>
                    <a:lnTo>
                      <a:pt x="4034106" y="1651043"/>
                    </a:lnTo>
                    <a:lnTo>
                      <a:pt x="4034106" y="1663571"/>
                    </a:lnTo>
                    <a:lnTo>
                      <a:pt x="4046727" y="1674707"/>
                    </a:lnTo>
                    <a:lnTo>
                      <a:pt x="4046727" y="1688118"/>
                    </a:lnTo>
                    <a:lnTo>
                      <a:pt x="4033317" y="1688118"/>
                    </a:lnTo>
                    <a:lnTo>
                      <a:pt x="4033317" y="1700739"/>
                    </a:lnTo>
                    <a:lnTo>
                      <a:pt x="4007599" y="1688982"/>
                    </a:lnTo>
                    <a:lnTo>
                      <a:pt x="4006851" y="1689697"/>
                    </a:lnTo>
                    <a:lnTo>
                      <a:pt x="3980373" y="1664454"/>
                    </a:lnTo>
                    <a:lnTo>
                      <a:pt x="3967136" y="1664454"/>
                    </a:lnTo>
                    <a:lnTo>
                      <a:pt x="3939879" y="1638422"/>
                    </a:lnTo>
                    <a:lnTo>
                      <a:pt x="3939879" y="1613968"/>
                    </a:lnTo>
                    <a:lnTo>
                      <a:pt x="3926642" y="1613968"/>
                    </a:lnTo>
                    <a:lnTo>
                      <a:pt x="3912624" y="1626590"/>
                    </a:lnTo>
                    <a:lnTo>
                      <a:pt x="3912624" y="1613968"/>
                    </a:lnTo>
                    <a:lnTo>
                      <a:pt x="3912624" y="1600558"/>
                    </a:lnTo>
                    <a:lnTo>
                      <a:pt x="3926642" y="1600558"/>
                    </a:lnTo>
                    <a:lnTo>
                      <a:pt x="3939879" y="1600558"/>
                    </a:lnTo>
                    <a:lnTo>
                      <a:pt x="3953118" y="1576104"/>
                    </a:lnTo>
                    <a:lnTo>
                      <a:pt x="3966354" y="1576104"/>
                    </a:lnTo>
                    <a:lnTo>
                      <a:pt x="3965051" y="1575315"/>
                    </a:lnTo>
                    <a:lnTo>
                      <a:pt x="3952473" y="1575315"/>
                    </a:lnTo>
                    <a:lnTo>
                      <a:pt x="3939446" y="1599768"/>
                    </a:lnTo>
                    <a:lnTo>
                      <a:pt x="3926418" y="1599768"/>
                    </a:lnTo>
                    <a:lnTo>
                      <a:pt x="3912624" y="1599768"/>
                    </a:lnTo>
                    <a:lnTo>
                      <a:pt x="3912624" y="1587936"/>
                    </a:lnTo>
                    <a:lnTo>
                      <a:pt x="3912624" y="1575638"/>
                    </a:lnTo>
                    <a:lnTo>
                      <a:pt x="3911049" y="1576024"/>
                    </a:lnTo>
                    <a:lnTo>
                      <a:pt x="3911049" y="1588021"/>
                    </a:lnTo>
                    <a:lnTo>
                      <a:pt x="3911049" y="1599893"/>
                    </a:lnTo>
                    <a:lnTo>
                      <a:pt x="3896851" y="1599893"/>
                    </a:lnTo>
                    <a:lnTo>
                      <a:pt x="3881862" y="1599893"/>
                    </a:lnTo>
                    <a:lnTo>
                      <a:pt x="3881862" y="1637881"/>
                    </a:lnTo>
                    <a:lnTo>
                      <a:pt x="3911049" y="1663998"/>
                    </a:lnTo>
                    <a:lnTo>
                      <a:pt x="3924460" y="1689324"/>
                    </a:lnTo>
                    <a:lnTo>
                      <a:pt x="3951280" y="1701987"/>
                    </a:lnTo>
                    <a:lnTo>
                      <a:pt x="3965480" y="1701987"/>
                    </a:lnTo>
                    <a:lnTo>
                      <a:pt x="3951280" y="1713859"/>
                    </a:lnTo>
                    <a:lnTo>
                      <a:pt x="4019910" y="1751846"/>
                    </a:lnTo>
                    <a:lnTo>
                      <a:pt x="4005711" y="1765300"/>
                    </a:lnTo>
                    <a:lnTo>
                      <a:pt x="3978890" y="1739975"/>
                    </a:lnTo>
                    <a:lnTo>
                      <a:pt x="3978890" y="1765300"/>
                    </a:lnTo>
                    <a:lnTo>
                      <a:pt x="3978890" y="1777964"/>
                    </a:lnTo>
                    <a:lnTo>
                      <a:pt x="3978890" y="1789835"/>
                    </a:lnTo>
                    <a:lnTo>
                      <a:pt x="3965480" y="1803289"/>
                    </a:lnTo>
                    <a:lnTo>
                      <a:pt x="3953644" y="1803289"/>
                    </a:lnTo>
                    <a:lnTo>
                      <a:pt x="3938316" y="1841153"/>
                    </a:lnTo>
                    <a:lnTo>
                      <a:pt x="3882649" y="1815121"/>
                    </a:lnTo>
                    <a:lnTo>
                      <a:pt x="3882649" y="1803289"/>
                    </a:lnTo>
                    <a:lnTo>
                      <a:pt x="3896364" y="1803289"/>
                    </a:lnTo>
                    <a:lnTo>
                      <a:pt x="3924601" y="1803289"/>
                    </a:lnTo>
                    <a:lnTo>
                      <a:pt x="3951280" y="1803289"/>
                    </a:lnTo>
                    <a:lnTo>
                      <a:pt x="3965480" y="1789835"/>
                    </a:lnTo>
                    <a:lnTo>
                      <a:pt x="3951280" y="1751846"/>
                    </a:lnTo>
                    <a:lnTo>
                      <a:pt x="3937870" y="1751846"/>
                    </a:lnTo>
                    <a:lnTo>
                      <a:pt x="3911049" y="1727312"/>
                    </a:lnTo>
                    <a:lnTo>
                      <a:pt x="3881862" y="1713859"/>
                    </a:lnTo>
                    <a:lnTo>
                      <a:pt x="3868452" y="1689324"/>
                    </a:lnTo>
                    <a:lnTo>
                      <a:pt x="3854252" y="1689324"/>
                    </a:lnTo>
                    <a:lnTo>
                      <a:pt x="3827432" y="1651336"/>
                    </a:lnTo>
                    <a:lnTo>
                      <a:pt x="3799822" y="1637881"/>
                    </a:lnTo>
                    <a:lnTo>
                      <a:pt x="3773002" y="1651336"/>
                    </a:lnTo>
                    <a:lnTo>
                      <a:pt x="3759591" y="1626010"/>
                    </a:lnTo>
                    <a:lnTo>
                      <a:pt x="3759591" y="1599893"/>
                    </a:lnTo>
                    <a:lnTo>
                      <a:pt x="3773002" y="1599893"/>
                    </a:lnTo>
                    <a:lnTo>
                      <a:pt x="3774337" y="1599302"/>
                    </a:lnTo>
                    <a:lnTo>
                      <a:pt x="3773225" y="1599768"/>
                    </a:lnTo>
                    <a:lnTo>
                      <a:pt x="3759706" y="1599768"/>
                    </a:lnTo>
                    <a:lnTo>
                      <a:pt x="3759706" y="1574926"/>
                    </a:lnTo>
                    <a:lnTo>
                      <a:pt x="3745390" y="1587748"/>
                    </a:lnTo>
                    <a:lnTo>
                      <a:pt x="3745390" y="1575184"/>
                    </a:lnTo>
                    <a:lnTo>
                      <a:pt x="3745274" y="1575394"/>
                    </a:lnTo>
                    <a:lnTo>
                      <a:pt x="3745274" y="1588093"/>
                    </a:lnTo>
                    <a:lnTo>
                      <a:pt x="3759513" y="1575394"/>
                    </a:lnTo>
                    <a:lnTo>
                      <a:pt x="3759513" y="1600000"/>
                    </a:lnTo>
                    <a:lnTo>
                      <a:pt x="3759513" y="1626195"/>
                    </a:lnTo>
                    <a:lnTo>
                      <a:pt x="3772962" y="1651595"/>
                    </a:lnTo>
                    <a:lnTo>
                      <a:pt x="3759513" y="1676203"/>
                    </a:lnTo>
                    <a:lnTo>
                      <a:pt x="3745274" y="1676203"/>
                    </a:lnTo>
                    <a:lnTo>
                      <a:pt x="3704134" y="1664296"/>
                    </a:lnTo>
                    <a:lnTo>
                      <a:pt x="3677236" y="1676203"/>
                    </a:lnTo>
                    <a:lnTo>
                      <a:pt x="3677236" y="1689487"/>
                    </a:lnTo>
                    <a:lnTo>
                      <a:pt x="3677551" y="1689549"/>
                    </a:lnTo>
                    <a:lnTo>
                      <a:pt x="3677551" y="1702120"/>
                    </a:lnTo>
                    <a:lnTo>
                      <a:pt x="3636532" y="1727264"/>
                    </a:lnTo>
                    <a:lnTo>
                      <a:pt x="3608923" y="1764981"/>
                    </a:lnTo>
                    <a:lnTo>
                      <a:pt x="3623121" y="1789338"/>
                    </a:lnTo>
                    <a:lnTo>
                      <a:pt x="3568694" y="1840412"/>
                    </a:lnTo>
                    <a:lnTo>
                      <a:pt x="3514265" y="1840412"/>
                    </a:lnTo>
                    <a:lnTo>
                      <a:pt x="3500065" y="1852198"/>
                    </a:lnTo>
                    <a:lnTo>
                      <a:pt x="3459046" y="1827054"/>
                    </a:lnTo>
                    <a:lnTo>
                      <a:pt x="3473245" y="1802696"/>
                    </a:lnTo>
                    <a:lnTo>
                      <a:pt x="3459046" y="1764981"/>
                    </a:lnTo>
                    <a:lnTo>
                      <a:pt x="3473245" y="1751623"/>
                    </a:lnTo>
                    <a:lnTo>
                      <a:pt x="3473245" y="1727264"/>
                    </a:lnTo>
                    <a:lnTo>
                      <a:pt x="3486655" y="1713906"/>
                    </a:lnTo>
                    <a:lnTo>
                      <a:pt x="3486655" y="1702120"/>
                    </a:lnTo>
                    <a:lnTo>
                      <a:pt x="3485078" y="1702120"/>
                    </a:lnTo>
                    <a:lnTo>
                      <a:pt x="3485078" y="1712646"/>
                    </a:lnTo>
                    <a:lnTo>
                      <a:pt x="3471667" y="1726141"/>
                    </a:lnTo>
                    <a:lnTo>
                      <a:pt x="3471667" y="1750748"/>
                    </a:lnTo>
                    <a:lnTo>
                      <a:pt x="3458258" y="1764243"/>
                    </a:lnTo>
                    <a:lnTo>
                      <a:pt x="3471667" y="1802345"/>
                    </a:lnTo>
                    <a:lnTo>
                      <a:pt x="3458258" y="1826953"/>
                    </a:lnTo>
                    <a:lnTo>
                      <a:pt x="3418815" y="1826953"/>
                    </a:lnTo>
                    <a:lnTo>
                      <a:pt x="3432226" y="1788850"/>
                    </a:lnTo>
                    <a:lnTo>
                      <a:pt x="3418815" y="1788850"/>
                    </a:lnTo>
                    <a:lnTo>
                      <a:pt x="3432226" y="1726141"/>
                    </a:lnTo>
                    <a:lnTo>
                      <a:pt x="3432226" y="1702120"/>
                    </a:lnTo>
                    <a:lnTo>
                      <a:pt x="3418815" y="1676191"/>
                    </a:lnTo>
                    <a:lnTo>
                      <a:pt x="3418815" y="1664404"/>
                    </a:lnTo>
                    <a:lnTo>
                      <a:pt x="3432226" y="1664404"/>
                    </a:lnTo>
                    <a:lnTo>
                      <a:pt x="3445637" y="1651832"/>
                    </a:lnTo>
                    <a:lnTo>
                      <a:pt x="3527675" y="1664404"/>
                    </a:lnTo>
                    <a:lnTo>
                      <a:pt x="3541085" y="1664404"/>
                    </a:lnTo>
                    <a:lnTo>
                      <a:pt x="3568694" y="1664404"/>
                    </a:lnTo>
                    <a:lnTo>
                      <a:pt x="3581755" y="1664404"/>
                    </a:lnTo>
                    <a:lnTo>
                      <a:pt x="3581509" y="1664296"/>
                    </a:lnTo>
                    <a:lnTo>
                      <a:pt x="3594958" y="1600000"/>
                    </a:lnTo>
                    <a:lnTo>
                      <a:pt x="3594958" y="1588093"/>
                    </a:lnTo>
                    <a:lnTo>
                      <a:pt x="3568062" y="1549993"/>
                    </a:lnTo>
                    <a:lnTo>
                      <a:pt x="3513474" y="1537292"/>
                    </a:lnTo>
                    <a:lnTo>
                      <a:pt x="3513474" y="1523799"/>
                    </a:lnTo>
                    <a:lnTo>
                      <a:pt x="3553822" y="1511892"/>
                    </a:lnTo>
                    <a:lnTo>
                      <a:pt x="3553822" y="1523799"/>
                    </a:lnTo>
                    <a:lnTo>
                      <a:pt x="3581509" y="1511892"/>
                    </a:lnTo>
                    <a:lnTo>
                      <a:pt x="3568062" y="1485697"/>
                    </a:lnTo>
                    <a:lnTo>
                      <a:pt x="3581509" y="1485697"/>
                    </a:lnTo>
                    <a:lnTo>
                      <a:pt x="3594958" y="1499191"/>
                    </a:lnTo>
                    <a:lnTo>
                      <a:pt x="3608407" y="1499191"/>
                    </a:lnTo>
                    <a:lnTo>
                      <a:pt x="3622648" y="1485697"/>
                    </a:lnTo>
                    <a:lnTo>
                      <a:pt x="3649546" y="1473791"/>
                    </a:lnTo>
                    <a:lnTo>
                      <a:pt x="3649546" y="1447596"/>
                    </a:lnTo>
                    <a:lnTo>
                      <a:pt x="3675973" y="1436233"/>
                    </a:lnTo>
                    <a:lnTo>
                      <a:pt x="3675973" y="1435689"/>
                    </a:lnTo>
                    <a:lnTo>
                      <a:pt x="3677236" y="1435689"/>
                    </a:lnTo>
                    <a:lnTo>
                      <a:pt x="3690961" y="1435689"/>
                    </a:lnTo>
                    <a:lnTo>
                      <a:pt x="3692113" y="1435689"/>
                    </a:lnTo>
                    <a:lnTo>
                      <a:pt x="3718828" y="1385432"/>
                    </a:lnTo>
                    <a:lnTo>
                      <a:pt x="3731981" y="1385432"/>
                    </a:lnTo>
                    <a:lnTo>
                      <a:pt x="3731981" y="1398166"/>
                    </a:lnTo>
                    <a:lnTo>
                      <a:pt x="3745133" y="1398166"/>
                    </a:lnTo>
                    <a:lnTo>
                      <a:pt x="3731981" y="1371901"/>
                    </a:lnTo>
                    <a:lnTo>
                      <a:pt x="3772212" y="1359961"/>
                    </a:lnTo>
                    <a:lnTo>
                      <a:pt x="3759060" y="1398166"/>
                    </a:lnTo>
                    <a:lnTo>
                      <a:pt x="3745133" y="1410106"/>
                    </a:lnTo>
                    <a:lnTo>
                      <a:pt x="3745133" y="1447479"/>
                    </a:lnTo>
                    <a:lnTo>
                      <a:pt x="3745390" y="1447710"/>
                    </a:lnTo>
                    <a:lnTo>
                      <a:pt x="3745390" y="1410120"/>
                    </a:lnTo>
                    <a:lnTo>
                      <a:pt x="3759590" y="1398326"/>
                    </a:lnTo>
                    <a:lnTo>
                      <a:pt x="3773000" y="1360586"/>
                    </a:lnTo>
                    <a:lnTo>
                      <a:pt x="3801399" y="1360586"/>
                    </a:lnTo>
                    <a:lnTo>
                      <a:pt x="3815597" y="1334640"/>
                    </a:lnTo>
                    <a:lnTo>
                      <a:pt x="3801399" y="1334640"/>
                    </a:lnTo>
                    <a:lnTo>
                      <a:pt x="3815597" y="1322847"/>
                    </a:lnTo>
                    <a:lnTo>
                      <a:pt x="3801399" y="1311053"/>
                    </a:lnTo>
                    <a:lnTo>
                      <a:pt x="3801399" y="1296854"/>
                    </a:lnTo>
                    <a:lnTo>
                      <a:pt x="3786410" y="1285021"/>
                    </a:lnTo>
                    <a:lnTo>
                      <a:pt x="3786410" y="1258989"/>
                    </a:lnTo>
                    <a:lnTo>
                      <a:pt x="3801399" y="1235325"/>
                    </a:lnTo>
                    <a:lnTo>
                      <a:pt x="3842419" y="1221125"/>
                    </a:lnTo>
                    <a:lnTo>
                      <a:pt x="3842419" y="1258989"/>
                    </a:lnTo>
                    <a:lnTo>
                      <a:pt x="3855828" y="1258989"/>
                    </a:lnTo>
                    <a:lnTo>
                      <a:pt x="3855828" y="1273189"/>
                    </a:lnTo>
                    <a:lnTo>
                      <a:pt x="3842419" y="1273189"/>
                    </a:lnTo>
                    <a:lnTo>
                      <a:pt x="3836736" y="1289234"/>
                    </a:lnTo>
                    <a:lnTo>
                      <a:pt x="3843207" y="1284232"/>
                    </a:lnTo>
                    <a:lnTo>
                      <a:pt x="3843207" y="1296424"/>
                    </a:lnTo>
                    <a:lnTo>
                      <a:pt x="3843207" y="1311053"/>
                    </a:lnTo>
                    <a:lnTo>
                      <a:pt x="3829008" y="1311053"/>
                    </a:lnTo>
                    <a:lnTo>
                      <a:pt x="3829008" y="1322847"/>
                    </a:lnTo>
                    <a:lnTo>
                      <a:pt x="3855828" y="1334640"/>
                    </a:lnTo>
                    <a:lnTo>
                      <a:pt x="3842418" y="1348006"/>
                    </a:lnTo>
                    <a:lnTo>
                      <a:pt x="3855828" y="1348006"/>
                    </a:lnTo>
                    <a:lnTo>
                      <a:pt x="3911047" y="1322847"/>
                    </a:lnTo>
                    <a:lnTo>
                      <a:pt x="3911047" y="1334640"/>
                    </a:lnTo>
                    <a:lnTo>
                      <a:pt x="3896848" y="1334640"/>
                    </a:lnTo>
                    <a:lnTo>
                      <a:pt x="3924369" y="1347964"/>
                    </a:lnTo>
                    <a:lnTo>
                      <a:pt x="4005233" y="1311053"/>
                    </a:lnTo>
                    <a:lnTo>
                      <a:pt x="4019487" y="1334818"/>
                    </a:lnTo>
                    <a:lnTo>
                      <a:pt x="4032948" y="1334818"/>
                    </a:lnTo>
                    <a:lnTo>
                      <a:pt x="4032948" y="1322935"/>
                    </a:lnTo>
                    <a:lnTo>
                      <a:pt x="4074127" y="1334818"/>
                    </a:lnTo>
                    <a:lnTo>
                      <a:pt x="4101051" y="1334818"/>
                    </a:lnTo>
                    <a:lnTo>
                      <a:pt x="4115305" y="1348284"/>
                    </a:lnTo>
                    <a:lnTo>
                      <a:pt x="4128767" y="1372840"/>
                    </a:lnTo>
                    <a:lnTo>
                      <a:pt x="4115305" y="1398981"/>
                    </a:lnTo>
                    <a:lnTo>
                      <a:pt x="4115305" y="1424329"/>
                    </a:lnTo>
                    <a:lnTo>
                      <a:pt x="4128767" y="1462352"/>
                    </a:lnTo>
                    <a:lnTo>
                      <a:pt x="4115305" y="1475026"/>
                    </a:lnTo>
                    <a:lnTo>
                      <a:pt x="4101853" y="1498949"/>
                    </a:lnTo>
                    <a:lnTo>
                      <a:pt x="4102643" y="1499347"/>
                    </a:lnTo>
                    <a:lnTo>
                      <a:pt x="4102762" y="1499132"/>
                    </a:lnTo>
                    <a:lnTo>
                      <a:pt x="4116989" y="1473804"/>
                    </a:lnTo>
                    <a:lnTo>
                      <a:pt x="4130426" y="1461142"/>
                    </a:lnTo>
                    <a:lnTo>
                      <a:pt x="4116989" y="1423152"/>
                    </a:lnTo>
                    <a:lnTo>
                      <a:pt x="4119301" y="1421995"/>
                    </a:lnTo>
                    <a:lnTo>
                      <a:pt x="4119301" y="1399283"/>
                    </a:lnTo>
                    <a:lnTo>
                      <a:pt x="4132764" y="1373126"/>
                    </a:lnTo>
                    <a:lnTo>
                      <a:pt x="4119428" y="1348788"/>
                    </a:lnTo>
                    <a:lnTo>
                      <a:pt x="4105274" y="1335388"/>
                    </a:lnTo>
                    <a:lnTo>
                      <a:pt x="4105274" y="1297189"/>
                    </a:lnTo>
                    <a:lnTo>
                      <a:pt x="4103524" y="1297189"/>
                    </a:lnTo>
                    <a:lnTo>
                      <a:pt x="4103524" y="1334718"/>
                    </a:lnTo>
                    <a:lnTo>
                      <a:pt x="4076079" y="1334718"/>
                    </a:lnTo>
                    <a:lnTo>
                      <a:pt x="4034106" y="1322885"/>
                    </a:lnTo>
                    <a:lnTo>
                      <a:pt x="4061550" y="1311053"/>
                    </a:lnTo>
                    <a:lnTo>
                      <a:pt x="4076079" y="1296854"/>
                    </a:lnTo>
                    <a:lnTo>
                      <a:pt x="4078281" y="1296854"/>
                    </a:lnTo>
                    <a:lnTo>
                      <a:pt x="4078281" y="1285252"/>
                    </a:lnTo>
                    <a:lnTo>
                      <a:pt x="4078281" y="1273314"/>
                    </a:lnTo>
                    <a:lnTo>
                      <a:pt x="4079858" y="1271640"/>
                    </a:lnTo>
                    <a:lnTo>
                      <a:pt x="4079858" y="1246711"/>
                    </a:lnTo>
                    <a:lnTo>
                      <a:pt x="4093269" y="1220912"/>
                    </a:lnTo>
                    <a:lnTo>
                      <a:pt x="4106679" y="1209186"/>
                    </a:lnTo>
                    <a:lnTo>
                      <a:pt x="4120878" y="1234984"/>
                    </a:lnTo>
                    <a:lnTo>
                      <a:pt x="4134289" y="1234984"/>
                    </a:lnTo>
                    <a:lnTo>
                      <a:pt x="4147699" y="1234984"/>
                    </a:lnTo>
                    <a:lnTo>
                      <a:pt x="4147699" y="1197460"/>
                    </a:lnTo>
                    <a:lnTo>
                      <a:pt x="4161109" y="1197460"/>
                    </a:lnTo>
                    <a:lnTo>
                      <a:pt x="4188719" y="1209186"/>
                    </a:lnTo>
                    <a:lnTo>
                      <a:pt x="4212387" y="1209186"/>
                    </a:lnTo>
                    <a:lnTo>
                      <a:pt x="4212387" y="1208504"/>
                    </a:lnTo>
                    <a:lnTo>
                      <a:pt x="4189058" y="1208504"/>
                    </a:lnTo>
                    <a:lnTo>
                      <a:pt x="4161677" y="1196817"/>
                    </a:lnTo>
                    <a:lnTo>
                      <a:pt x="4148378" y="1196817"/>
                    </a:lnTo>
                    <a:lnTo>
                      <a:pt x="4135078" y="1182794"/>
                    </a:lnTo>
                    <a:lnTo>
                      <a:pt x="4135078" y="1159421"/>
                    </a:lnTo>
                    <a:lnTo>
                      <a:pt x="4148378" y="1145397"/>
                    </a:lnTo>
                    <a:lnTo>
                      <a:pt x="4175758" y="1145397"/>
                    </a:lnTo>
                    <a:lnTo>
                      <a:pt x="4226113" y="1145397"/>
                    </a:lnTo>
                    <a:lnTo>
                      <a:pt x="4252626" y="1122019"/>
                    </a:lnTo>
                    <a:lnTo>
                      <a:pt x="4225800" y="1096000"/>
                    </a:lnTo>
                    <a:lnTo>
                      <a:pt x="4212387" y="1096000"/>
                    </a:lnTo>
                    <a:lnTo>
                      <a:pt x="4212784" y="1095743"/>
                    </a:lnTo>
                    <a:lnTo>
                      <a:pt x="4198975" y="1095743"/>
                    </a:lnTo>
                    <a:lnTo>
                      <a:pt x="4131134" y="1121732"/>
                    </a:lnTo>
                    <a:lnTo>
                      <a:pt x="4076704" y="1095743"/>
                    </a:lnTo>
                    <a:lnTo>
                      <a:pt x="4090114" y="1057941"/>
                    </a:lnTo>
                    <a:lnTo>
                      <a:pt x="4076704" y="1020138"/>
                    </a:lnTo>
                    <a:lnTo>
                      <a:pt x="4090114" y="994150"/>
                    </a:lnTo>
                    <a:lnTo>
                      <a:pt x="4144545" y="919333"/>
                    </a:lnTo>
                    <a:lnTo>
                      <a:pt x="4157955" y="906732"/>
                    </a:lnTo>
                    <a:lnTo>
                      <a:pt x="4157955" y="881531"/>
                    </a:lnTo>
                    <a:lnTo>
                      <a:pt x="4144545" y="868930"/>
                    </a:lnTo>
                    <a:lnTo>
                      <a:pt x="4131134" y="868930"/>
                    </a:lnTo>
                    <a:lnTo>
                      <a:pt x="4117724" y="755524"/>
                    </a:lnTo>
                    <a:lnTo>
                      <a:pt x="4062505" y="705908"/>
                    </a:lnTo>
                    <a:lnTo>
                      <a:pt x="4076483" y="692729"/>
                    </a:lnTo>
                    <a:lnTo>
                      <a:pt x="4074826" y="691169"/>
                    </a:lnTo>
                    <a:lnTo>
                      <a:pt x="4061397" y="704596"/>
                    </a:lnTo>
                    <a:lnTo>
                      <a:pt x="4047179" y="704596"/>
                    </a:lnTo>
                    <a:lnTo>
                      <a:pt x="4047179" y="705224"/>
                    </a:lnTo>
                    <a:lnTo>
                      <a:pt x="4060926" y="705224"/>
                    </a:lnTo>
                    <a:lnTo>
                      <a:pt x="4115357" y="754921"/>
                    </a:lnTo>
                    <a:lnTo>
                      <a:pt x="4128767" y="868515"/>
                    </a:lnTo>
                    <a:lnTo>
                      <a:pt x="4101158" y="868515"/>
                    </a:lnTo>
                    <a:lnTo>
                      <a:pt x="4074337" y="894546"/>
                    </a:lnTo>
                    <a:lnTo>
                      <a:pt x="4074337" y="906379"/>
                    </a:lnTo>
                    <a:lnTo>
                      <a:pt x="4074337" y="919000"/>
                    </a:lnTo>
                    <a:lnTo>
                      <a:pt x="4087747" y="932411"/>
                    </a:lnTo>
                    <a:lnTo>
                      <a:pt x="4060926" y="956075"/>
                    </a:lnTo>
                    <a:lnTo>
                      <a:pt x="4019907" y="993940"/>
                    </a:lnTo>
                    <a:lnTo>
                      <a:pt x="3992297" y="1031804"/>
                    </a:lnTo>
                    <a:lnTo>
                      <a:pt x="3992297" y="1095700"/>
                    </a:lnTo>
                    <a:lnTo>
                      <a:pt x="4019907" y="1133565"/>
                    </a:lnTo>
                    <a:lnTo>
                      <a:pt x="4005708" y="1145398"/>
                    </a:lnTo>
                    <a:lnTo>
                      <a:pt x="4005708" y="1159596"/>
                    </a:lnTo>
                    <a:lnTo>
                      <a:pt x="3978887" y="1183262"/>
                    </a:lnTo>
                    <a:lnTo>
                      <a:pt x="3965477" y="1273190"/>
                    </a:lnTo>
                    <a:lnTo>
                      <a:pt x="3937867" y="1273190"/>
                    </a:lnTo>
                    <a:lnTo>
                      <a:pt x="3924457" y="1285022"/>
                    </a:lnTo>
                    <a:lnTo>
                      <a:pt x="3924457" y="1296855"/>
                    </a:lnTo>
                    <a:lnTo>
                      <a:pt x="3896847" y="1296855"/>
                    </a:lnTo>
                    <a:lnTo>
                      <a:pt x="3884226" y="1274582"/>
                    </a:lnTo>
                    <a:lnTo>
                      <a:pt x="3884226" y="1285021"/>
                    </a:lnTo>
                    <a:lnTo>
                      <a:pt x="3884226" y="1296854"/>
                    </a:lnTo>
                    <a:lnTo>
                      <a:pt x="3855827" y="1296854"/>
                    </a:lnTo>
                    <a:lnTo>
                      <a:pt x="3855827" y="1285021"/>
                    </a:lnTo>
                    <a:lnTo>
                      <a:pt x="3883588" y="1273456"/>
                    </a:lnTo>
                    <a:lnTo>
                      <a:pt x="3883438" y="1273190"/>
                    </a:lnTo>
                    <a:lnTo>
                      <a:pt x="3896847" y="1258990"/>
                    </a:lnTo>
                    <a:lnTo>
                      <a:pt x="3883438" y="1247158"/>
                    </a:lnTo>
                    <a:lnTo>
                      <a:pt x="3855827" y="1171430"/>
                    </a:lnTo>
                    <a:lnTo>
                      <a:pt x="3870027" y="1171430"/>
                    </a:lnTo>
                    <a:lnTo>
                      <a:pt x="3870027" y="1133565"/>
                    </a:lnTo>
                    <a:lnTo>
                      <a:pt x="3883438" y="1121732"/>
                    </a:lnTo>
                    <a:lnTo>
                      <a:pt x="3883438" y="1083868"/>
                    </a:lnTo>
                    <a:lnTo>
                      <a:pt x="3883438" y="1069669"/>
                    </a:lnTo>
                    <a:lnTo>
                      <a:pt x="3870027" y="1019972"/>
                    </a:lnTo>
                    <a:lnTo>
                      <a:pt x="3883438" y="970275"/>
                    </a:lnTo>
                    <a:lnTo>
                      <a:pt x="3896847" y="956075"/>
                    </a:lnTo>
                    <a:lnTo>
                      <a:pt x="3924457" y="944243"/>
                    </a:lnTo>
                    <a:lnTo>
                      <a:pt x="3911047" y="919000"/>
                    </a:lnTo>
                    <a:lnTo>
                      <a:pt x="3924457" y="894546"/>
                    </a:lnTo>
                    <a:lnTo>
                      <a:pt x="3937867" y="856682"/>
                    </a:lnTo>
                    <a:lnTo>
                      <a:pt x="3965477" y="818817"/>
                    </a:lnTo>
                    <a:lnTo>
                      <a:pt x="3965477" y="805407"/>
                    </a:lnTo>
                    <a:lnTo>
                      <a:pt x="3965477" y="792786"/>
                    </a:lnTo>
                    <a:lnTo>
                      <a:pt x="3978887" y="767543"/>
                    </a:lnTo>
                    <a:lnTo>
                      <a:pt x="3992297" y="754921"/>
                    </a:lnTo>
                    <a:lnTo>
                      <a:pt x="4005708" y="754921"/>
                    </a:lnTo>
                    <a:lnTo>
                      <a:pt x="4005708" y="754356"/>
                    </a:lnTo>
                    <a:lnTo>
                      <a:pt x="3992674" y="754356"/>
                    </a:lnTo>
                    <a:lnTo>
                      <a:pt x="3977666" y="766995"/>
                    </a:lnTo>
                    <a:lnTo>
                      <a:pt x="3964237" y="792270"/>
                    </a:lnTo>
                    <a:lnTo>
                      <a:pt x="3964237" y="804907"/>
                    </a:lnTo>
                    <a:lnTo>
                      <a:pt x="3964237" y="818334"/>
                    </a:lnTo>
                    <a:lnTo>
                      <a:pt x="3936590" y="856246"/>
                    </a:lnTo>
                    <a:lnTo>
                      <a:pt x="3923161" y="894160"/>
                    </a:lnTo>
                    <a:lnTo>
                      <a:pt x="3909732" y="918645"/>
                    </a:lnTo>
                    <a:lnTo>
                      <a:pt x="3923161" y="943920"/>
                    </a:lnTo>
                    <a:lnTo>
                      <a:pt x="3895513" y="955767"/>
                    </a:lnTo>
                    <a:lnTo>
                      <a:pt x="3882086" y="969985"/>
                    </a:lnTo>
                    <a:lnTo>
                      <a:pt x="3868657" y="1019745"/>
                    </a:lnTo>
                    <a:lnTo>
                      <a:pt x="3882086" y="1069506"/>
                    </a:lnTo>
                    <a:lnTo>
                      <a:pt x="3882086" y="1083723"/>
                    </a:lnTo>
                    <a:lnTo>
                      <a:pt x="3882086" y="1121635"/>
                    </a:lnTo>
                    <a:lnTo>
                      <a:pt x="3868657" y="1133483"/>
                    </a:lnTo>
                    <a:lnTo>
                      <a:pt x="3868657" y="1171396"/>
                    </a:lnTo>
                    <a:lnTo>
                      <a:pt x="3854438" y="1171396"/>
                    </a:lnTo>
                    <a:lnTo>
                      <a:pt x="3854438" y="1159548"/>
                    </a:lnTo>
                    <a:lnTo>
                      <a:pt x="3841009" y="1145331"/>
                    </a:lnTo>
                    <a:lnTo>
                      <a:pt x="3841009" y="1159548"/>
                    </a:lnTo>
                    <a:lnTo>
                      <a:pt x="3827580" y="1159548"/>
                    </a:lnTo>
                    <a:lnTo>
                      <a:pt x="3786505" y="1197460"/>
                    </a:lnTo>
                    <a:lnTo>
                      <a:pt x="3759647" y="1197460"/>
                    </a:lnTo>
                    <a:lnTo>
                      <a:pt x="3732000" y="1183243"/>
                    </a:lnTo>
                    <a:lnTo>
                      <a:pt x="3745429" y="1145331"/>
                    </a:lnTo>
                    <a:lnTo>
                      <a:pt x="3732000" y="1159548"/>
                    </a:lnTo>
                    <a:lnTo>
                      <a:pt x="3732000" y="1145331"/>
                    </a:lnTo>
                    <a:lnTo>
                      <a:pt x="3732000" y="1133483"/>
                    </a:lnTo>
                    <a:lnTo>
                      <a:pt x="3732000" y="1107418"/>
                    </a:lnTo>
                    <a:lnTo>
                      <a:pt x="3718571" y="1083723"/>
                    </a:lnTo>
                    <a:lnTo>
                      <a:pt x="3732000" y="1057657"/>
                    </a:lnTo>
                    <a:lnTo>
                      <a:pt x="3718571" y="1045810"/>
                    </a:lnTo>
                    <a:lnTo>
                      <a:pt x="3773076" y="1007898"/>
                    </a:lnTo>
                    <a:lnTo>
                      <a:pt x="3786505" y="993680"/>
                    </a:lnTo>
                    <a:lnTo>
                      <a:pt x="3814151" y="969985"/>
                    </a:lnTo>
                    <a:lnTo>
                      <a:pt x="3814151" y="981832"/>
                    </a:lnTo>
                    <a:lnTo>
                      <a:pt x="3854438" y="918645"/>
                    </a:lnTo>
                    <a:lnTo>
                      <a:pt x="3882086" y="894160"/>
                    </a:lnTo>
                    <a:lnTo>
                      <a:pt x="3909732" y="830182"/>
                    </a:lnTo>
                    <a:lnTo>
                      <a:pt x="3936590" y="766995"/>
                    </a:lnTo>
                    <a:lnTo>
                      <a:pt x="3964237" y="742509"/>
                    </a:lnTo>
                    <a:lnTo>
                      <a:pt x="3923161" y="754356"/>
                    </a:lnTo>
                    <a:lnTo>
                      <a:pt x="3895513" y="766995"/>
                    </a:lnTo>
                    <a:lnTo>
                      <a:pt x="3909732" y="742509"/>
                    </a:lnTo>
                    <a:lnTo>
                      <a:pt x="3936590" y="742509"/>
                    </a:lnTo>
                    <a:lnTo>
                      <a:pt x="3923161" y="716444"/>
                    </a:lnTo>
                    <a:lnTo>
                      <a:pt x="3964237" y="691169"/>
                    </a:lnTo>
                    <a:lnTo>
                      <a:pt x="3964237" y="716444"/>
                    </a:lnTo>
                    <a:lnTo>
                      <a:pt x="3977666" y="704596"/>
                    </a:lnTo>
                    <a:lnTo>
                      <a:pt x="3977666" y="716444"/>
                    </a:lnTo>
                    <a:lnTo>
                      <a:pt x="3992674" y="704596"/>
                    </a:lnTo>
                    <a:lnTo>
                      <a:pt x="3977666" y="704596"/>
                    </a:lnTo>
                    <a:lnTo>
                      <a:pt x="3977666" y="678531"/>
                    </a:lnTo>
                    <a:lnTo>
                      <a:pt x="4006103" y="666684"/>
                    </a:lnTo>
                    <a:lnTo>
                      <a:pt x="4020322" y="640619"/>
                    </a:lnTo>
                    <a:lnTo>
                      <a:pt x="4047179" y="640619"/>
                    </a:lnTo>
                    <a:lnTo>
                      <a:pt x="4074826" y="628771"/>
                    </a:lnTo>
                    <a:lnTo>
                      <a:pt x="4115903" y="590859"/>
                    </a:lnTo>
                    <a:lnTo>
                      <a:pt x="4142759" y="602706"/>
                    </a:lnTo>
                    <a:lnTo>
                      <a:pt x="4156978" y="590859"/>
                    </a:lnTo>
                    <a:lnTo>
                      <a:pt x="4170407" y="577431"/>
                    </a:lnTo>
                    <a:lnTo>
                      <a:pt x="4170407" y="615344"/>
                    </a:lnTo>
                    <a:lnTo>
                      <a:pt x="4183836" y="590859"/>
                    </a:lnTo>
                    <a:lnTo>
                      <a:pt x="4197265" y="615344"/>
                    </a:lnTo>
                    <a:lnTo>
                      <a:pt x="4211483" y="577431"/>
                    </a:lnTo>
                    <a:lnTo>
                      <a:pt x="4238340" y="590859"/>
                    </a:lnTo>
                    <a:lnTo>
                      <a:pt x="4294425" y="628771"/>
                    </a:lnTo>
                    <a:lnTo>
                      <a:pt x="4267568" y="640619"/>
                    </a:lnTo>
                    <a:lnTo>
                      <a:pt x="4238340" y="640619"/>
                    </a:lnTo>
                    <a:lnTo>
                      <a:pt x="4267568" y="653256"/>
                    </a:lnTo>
                    <a:lnTo>
                      <a:pt x="4280996" y="666684"/>
                    </a:lnTo>
                    <a:lnTo>
                      <a:pt x="4280996" y="678531"/>
                    </a:lnTo>
                    <a:lnTo>
                      <a:pt x="4267568" y="678531"/>
                    </a:lnTo>
                    <a:lnTo>
                      <a:pt x="4241441" y="701831"/>
                    </a:lnTo>
                    <a:lnTo>
                      <a:pt x="4240491" y="704510"/>
                    </a:lnTo>
                    <a:lnTo>
                      <a:pt x="4266829" y="679694"/>
                    </a:lnTo>
                    <a:lnTo>
                      <a:pt x="4281821" y="679694"/>
                    </a:lnTo>
                    <a:lnTo>
                      <a:pt x="4281821" y="667867"/>
                    </a:lnTo>
                    <a:lnTo>
                      <a:pt x="4308646" y="654464"/>
                    </a:lnTo>
                    <a:lnTo>
                      <a:pt x="4336262" y="667867"/>
                    </a:lnTo>
                    <a:lnTo>
                      <a:pt x="4336262" y="679694"/>
                    </a:lnTo>
                    <a:lnTo>
                      <a:pt x="4418320" y="705713"/>
                    </a:lnTo>
                    <a:lnTo>
                      <a:pt x="4499588" y="781406"/>
                    </a:lnTo>
                    <a:lnTo>
                      <a:pt x="4513791" y="819251"/>
                    </a:lnTo>
                    <a:lnTo>
                      <a:pt x="4445147" y="857097"/>
                    </a:lnTo>
                    <a:lnTo>
                      <a:pt x="4336262" y="819251"/>
                    </a:lnTo>
                    <a:lnTo>
                      <a:pt x="4308646" y="805847"/>
                    </a:lnTo>
                    <a:lnTo>
                      <a:pt x="4322849" y="831078"/>
                    </a:lnTo>
                    <a:lnTo>
                      <a:pt x="4363878" y="857097"/>
                    </a:lnTo>
                    <a:lnTo>
                      <a:pt x="4363878" y="932789"/>
                    </a:lnTo>
                    <a:lnTo>
                      <a:pt x="4404117" y="956443"/>
                    </a:lnTo>
                    <a:lnTo>
                      <a:pt x="4431733" y="956443"/>
                    </a:lnTo>
                    <a:lnTo>
                      <a:pt x="4404117" y="919385"/>
                    </a:lnTo>
                    <a:lnTo>
                      <a:pt x="4418320" y="906770"/>
                    </a:lnTo>
                    <a:lnTo>
                      <a:pt x="4499588" y="932789"/>
                    </a:lnTo>
                    <a:lnTo>
                      <a:pt x="4472763" y="881540"/>
                    </a:lnTo>
                    <a:lnTo>
                      <a:pt x="4527204" y="843693"/>
                    </a:lnTo>
                    <a:lnTo>
                      <a:pt x="4568234" y="857097"/>
                    </a:lnTo>
                    <a:lnTo>
                      <a:pt x="4581647" y="831078"/>
                    </a:lnTo>
                    <a:lnTo>
                      <a:pt x="4568234" y="805847"/>
                    </a:lnTo>
                    <a:lnTo>
                      <a:pt x="4568234" y="743559"/>
                    </a:lnTo>
                    <a:lnTo>
                      <a:pt x="4554031" y="717540"/>
                    </a:lnTo>
                    <a:lnTo>
                      <a:pt x="4609262" y="730155"/>
                    </a:lnTo>
                    <a:lnTo>
                      <a:pt x="4622675" y="768001"/>
                    </a:lnTo>
                    <a:lnTo>
                      <a:pt x="4581647" y="793232"/>
                    </a:lnTo>
                    <a:lnTo>
                      <a:pt x="4622675" y="819251"/>
                    </a:lnTo>
                    <a:lnTo>
                      <a:pt x="4649502" y="805847"/>
                    </a:lnTo>
                    <a:lnTo>
                      <a:pt x="4649502" y="781406"/>
                    </a:lnTo>
                    <a:lnTo>
                      <a:pt x="4786002" y="705713"/>
                    </a:lnTo>
                    <a:lnTo>
                      <a:pt x="4786002" y="730155"/>
                    </a:lnTo>
                    <a:lnTo>
                      <a:pt x="4799416" y="755386"/>
                    </a:lnTo>
                    <a:lnTo>
                      <a:pt x="4813617" y="730155"/>
                    </a:lnTo>
                    <a:lnTo>
                      <a:pt x="4896464" y="705713"/>
                    </a:lnTo>
                    <a:lnTo>
                      <a:pt x="4910667" y="717540"/>
                    </a:lnTo>
                    <a:lnTo>
                      <a:pt x="4937494" y="705713"/>
                    </a:lnTo>
                    <a:lnTo>
                      <a:pt x="4883051" y="641848"/>
                    </a:lnTo>
                    <a:lnTo>
                      <a:pt x="4896464" y="616618"/>
                    </a:lnTo>
                    <a:lnTo>
                      <a:pt x="5060580" y="717540"/>
                    </a:lnTo>
                    <a:lnTo>
                      <a:pt x="5100820" y="743559"/>
                    </a:lnTo>
                    <a:lnTo>
                      <a:pt x="5100820" y="717540"/>
                    </a:lnTo>
                    <a:lnTo>
                      <a:pt x="5060580" y="667867"/>
                    </a:lnTo>
                    <a:lnTo>
                      <a:pt x="5060580" y="604002"/>
                    </a:lnTo>
                    <a:lnTo>
                      <a:pt x="5128436" y="440791"/>
                    </a:lnTo>
                    <a:lnTo>
                      <a:pt x="5156051" y="427387"/>
                    </a:lnTo>
                    <a:lnTo>
                      <a:pt x="5169464" y="453406"/>
                    </a:lnTo>
                    <a:lnTo>
                      <a:pt x="5156051" y="465233"/>
                    </a:lnTo>
                    <a:lnTo>
                      <a:pt x="5182877" y="478637"/>
                    </a:lnTo>
                    <a:lnTo>
                      <a:pt x="5169464" y="554330"/>
                    </a:lnTo>
                    <a:lnTo>
                      <a:pt x="5182877" y="578771"/>
                    </a:lnTo>
                    <a:lnTo>
                      <a:pt x="5182877" y="705713"/>
                    </a:lnTo>
                    <a:lnTo>
                      <a:pt x="5210493" y="730155"/>
                    </a:lnTo>
                    <a:lnTo>
                      <a:pt x="5196291" y="768001"/>
                    </a:lnTo>
                    <a:lnTo>
                      <a:pt x="5141849" y="831078"/>
                    </a:lnTo>
                    <a:lnTo>
                      <a:pt x="5156051" y="843693"/>
                    </a:lnTo>
                    <a:lnTo>
                      <a:pt x="5237320" y="781406"/>
                    </a:lnTo>
                    <a:lnTo>
                      <a:pt x="5223907" y="717540"/>
                    </a:lnTo>
                    <a:lnTo>
                      <a:pt x="5250733" y="705713"/>
                    </a:lnTo>
                    <a:lnTo>
                      <a:pt x="5210493" y="705713"/>
                    </a:lnTo>
                    <a:lnTo>
                      <a:pt x="5210493" y="667867"/>
                    </a:lnTo>
                    <a:lnTo>
                      <a:pt x="5223907" y="616618"/>
                    </a:lnTo>
                    <a:lnTo>
                      <a:pt x="5196291" y="566156"/>
                    </a:lnTo>
                    <a:lnTo>
                      <a:pt x="5237320" y="503079"/>
                    </a:lnTo>
                    <a:lnTo>
                      <a:pt x="5223907" y="465233"/>
                    </a:lnTo>
                    <a:lnTo>
                      <a:pt x="5223907" y="453406"/>
                    </a:lnTo>
                    <a:lnTo>
                      <a:pt x="5250733" y="478637"/>
                    </a:lnTo>
                    <a:lnTo>
                      <a:pt x="5278348" y="503079"/>
                    </a:lnTo>
                    <a:lnTo>
                      <a:pt x="5291762" y="490464"/>
                    </a:lnTo>
                    <a:lnTo>
                      <a:pt x="5332791" y="503079"/>
                    </a:lnTo>
                    <a:lnTo>
                      <a:pt x="5373819" y="554330"/>
                    </a:lnTo>
                    <a:lnTo>
                      <a:pt x="5401435" y="540925"/>
                    </a:lnTo>
                    <a:lnTo>
                      <a:pt x="5360406" y="503079"/>
                    </a:lnTo>
                    <a:lnTo>
                      <a:pt x="5346204" y="427387"/>
                    </a:lnTo>
                    <a:lnTo>
                      <a:pt x="5497696" y="402945"/>
                    </a:lnTo>
                    <a:lnTo>
                      <a:pt x="5484282" y="339868"/>
                    </a:lnTo>
                    <a:lnTo>
                      <a:pt x="5525311" y="289408"/>
                    </a:lnTo>
                    <a:lnTo>
                      <a:pt x="5634195" y="226330"/>
                    </a:lnTo>
                    <a:lnTo>
                      <a:pt x="5757282" y="200311"/>
                    </a:lnTo>
                    <a:lnTo>
                      <a:pt x="5798310" y="200311"/>
                    </a:lnTo>
                    <a:lnTo>
                      <a:pt x="5798310" y="150639"/>
                    </a:lnTo>
                    <a:close/>
                    <a:moveTo>
                      <a:pt x="2887941" y="81183"/>
                    </a:moveTo>
                    <a:lnTo>
                      <a:pt x="2901352" y="95371"/>
                    </a:lnTo>
                    <a:lnTo>
                      <a:pt x="2957358" y="81183"/>
                    </a:lnTo>
                    <a:lnTo>
                      <a:pt x="2901352" y="81183"/>
                    </a:lnTo>
                    <a:close/>
                    <a:moveTo>
                      <a:pt x="1972133" y="28399"/>
                    </a:moveTo>
                    <a:lnTo>
                      <a:pt x="1986367" y="28399"/>
                    </a:lnTo>
                    <a:lnTo>
                      <a:pt x="2001390" y="41809"/>
                    </a:lnTo>
                    <a:lnTo>
                      <a:pt x="2014833" y="41809"/>
                    </a:lnTo>
                    <a:lnTo>
                      <a:pt x="2014833" y="28399"/>
                    </a:lnTo>
                    <a:lnTo>
                      <a:pt x="2029857" y="28399"/>
                    </a:lnTo>
                    <a:lnTo>
                      <a:pt x="2043296" y="28399"/>
                    </a:lnTo>
                    <a:lnTo>
                      <a:pt x="2057529" y="28399"/>
                    </a:lnTo>
                    <a:lnTo>
                      <a:pt x="2070975" y="28399"/>
                    </a:lnTo>
                    <a:lnTo>
                      <a:pt x="2099442" y="28399"/>
                    </a:lnTo>
                    <a:lnTo>
                      <a:pt x="2140557" y="41809"/>
                    </a:lnTo>
                    <a:lnTo>
                      <a:pt x="2183256" y="41809"/>
                    </a:lnTo>
                    <a:lnTo>
                      <a:pt x="2168231" y="56008"/>
                    </a:lnTo>
                    <a:lnTo>
                      <a:pt x="2183256" y="56008"/>
                    </a:lnTo>
                    <a:lnTo>
                      <a:pt x="2196698" y="41809"/>
                    </a:lnTo>
                    <a:lnTo>
                      <a:pt x="2224370" y="41809"/>
                    </a:lnTo>
                    <a:lnTo>
                      <a:pt x="2237812" y="56008"/>
                    </a:lnTo>
                    <a:lnTo>
                      <a:pt x="2267068" y="69419"/>
                    </a:lnTo>
                    <a:lnTo>
                      <a:pt x="2280510" y="69419"/>
                    </a:lnTo>
                    <a:lnTo>
                      <a:pt x="2293954" y="69419"/>
                    </a:lnTo>
                    <a:lnTo>
                      <a:pt x="2293954" y="82829"/>
                    </a:lnTo>
                    <a:lnTo>
                      <a:pt x="2280510" y="82829"/>
                    </a:lnTo>
                    <a:lnTo>
                      <a:pt x="2237812" y="97028"/>
                    </a:lnTo>
                    <a:lnTo>
                      <a:pt x="2210931" y="110439"/>
                    </a:lnTo>
                    <a:lnTo>
                      <a:pt x="2168231" y="123849"/>
                    </a:lnTo>
                    <a:lnTo>
                      <a:pt x="2183256" y="123849"/>
                    </a:lnTo>
                    <a:lnTo>
                      <a:pt x="2210931" y="123849"/>
                    </a:lnTo>
                    <a:lnTo>
                      <a:pt x="2224370" y="123849"/>
                    </a:lnTo>
                    <a:lnTo>
                      <a:pt x="2196698" y="137260"/>
                    </a:lnTo>
                    <a:lnTo>
                      <a:pt x="2168231" y="151458"/>
                    </a:lnTo>
                    <a:lnTo>
                      <a:pt x="2140557" y="164869"/>
                    </a:lnTo>
                    <a:lnTo>
                      <a:pt x="2113672" y="164869"/>
                    </a:lnTo>
                    <a:lnTo>
                      <a:pt x="2084416" y="191690"/>
                    </a:lnTo>
                    <a:lnTo>
                      <a:pt x="2070975" y="205888"/>
                    </a:lnTo>
                    <a:lnTo>
                      <a:pt x="2057529" y="205888"/>
                    </a:lnTo>
                    <a:lnTo>
                      <a:pt x="2043296" y="205888"/>
                    </a:lnTo>
                    <a:lnTo>
                      <a:pt x="2029857" y="205888"/>
                    </a:lnTo>
                    <a:lnTo>
                      <a:pt x="2001390" y="219299"/>
                    </a:lnTo>
                    <a:lnTo>
                      <a:pt x="1986367" y="231131"/>
                    </a:lnTo>
                    <a:lnTo>
                      <a:pt x="2001390" y="231131"/>
                    </a:lnTo>
                    <a:lnTo>
                      <a:pt x="2001390" y="245331"/>
                    </a:lnTo>
                    <a:lnTo>
                      <a:pt x="1986367" y="245331"/>
                    </a:lnTo>
                    <a:lnTo>
                      <a:pt x="2001390" y="258740"/>
                    </a:lnTo>
                    <a:lnTo>
                      <a:pt x="1986367" y="272151"/>
                    </a:lnTo>
                    <a:lnTo>
                      <a:pt x="1972133" y="285562"/>
                    </a:lnTo>
                    <a:lnTo>
                      <a:pt x="1958693" y="299760"/>
                    </a:lnTo>
                    <a:lnTo>
                      <a:pt x="1945251" y="299760"/>
                    </a:lnTo>
                    <a:lnTo>
                      <a:pt x="1931019" y="299760"/>
                    </a:lnTo>
                    <a:lnTo>
                      <a:pt x="1931019" y="313171"/>
                    </a:lnTo>
                    <a:lnTo>
                      <a:pt x="1902554" y="326581"/>
                    </a:lnTo>
                    <a:lnTo>
                      <a:pt x="1902554" y="340780"/>
                    </a:lnTo>
                    <a:lnTo>
                      <a:pt x="1917577" y="340780"/>
                    </a:lnTo>
                    <a:lnTo>
                      <a:pt x="1931019" y="340780"/>
                    </a:lnTo>
                    <a:lnTo>
                      <a:pt x="1917577" y="354191"/>
                    </a:lnTo>
                    <a:lnTo>
                      <a:pt x="1902554" y="367601"/>
                    </a:lnTo>
                    <a:lnTo>
                      <a:pt x="1874881" y="367601"/>
                    </a:lnTo>
                    <a:lnTo>
                      <a:pt x="1861439" y="367601"/>
                    </a:lnTo>
                    <a:lnTo>
                      <a:pt x="1847995" y="354191"/>
                    </a:lnTo>
                    <a:lnTo>
                      <a:pt x="1818741" y="354191"/>
                    </a:lnTo>
                    <a:lnTo>
                      <a:pt x="1791858" y="354191"/>
                    </a:lnTo>
                    <a:lnTo>
                      <a:pt x="1778415" y="354191"/>
                    </a:lnTo>
                    <a:lnTo>
                      <a:pt x="1778415" y="367601"/>
                    </a:lnTo>
                    <a:lnTo>
                      <a:pt x="1764183" y="367601"/>
                    </a:lnTo>
                    <a:lnTo>
                      <a:pt x="1750739" y="367601"/>
                    </a:lnTo>
                    <a:lnTo>
                      <a:pt x="1721482" y="354191"/>
                    </a:lnTo>
                    <a:lnTo>
                      <a:pt x="1694599" y="354191"/>
                    </a:lnTo>
                    <a:lnTo>
                      <a:pt x="1679576" y="354191"/>
                    </a:lnTo>
                    <a:lnTo>
                      <a:pt x="1694599" y="340780"/>
                    </a:lnTo>
                    <a:lnTo>
                      <a:pt x="1721482" y="326581"/>
                    </a:lnTo>
                    <a:lnTo>
                      <a:pt x="1735714" y="326581"/>
                    </a:lnTo>
                    <a:lnTo>
                      <a:pt x="1721482" y="313171"/>
                    </a:lnTo>
                    <a:lnTo>
                      <a:pt x="1708041" y="299760"/>
                    </a:lnTo>
                    <a:lnTo>
                      <a:pt x="1721482" y="299760"/>
                    </a:lnTo>
                    <a:lnTo>
                      <a:pt x="1750739" y="299760"/>
                    </a:lnTo>
                    <a:lnTo>
                      <a:pt x="1764183" y="299760"/>
                    </a:lnTo>
                    <a:lnTo>
                      <a:pt x="1778415" y="313171"/>
                    </a:lnTo>
                    <a:lnTo>
                      <a:pt x="1791858" y="313171"/>
                    </a:lnTo>
                    <a:lnTo>
                      <a:pt x="1778415" y="299760"/>
                    </a:lnTo>
                    <a:lnTo>
                      <a:pt x="1764183" y="299760"/>
                    </a:lnTo>
                    <a:lnTo>
                      <a:pt x="1764183" y="285562"/>
                    </a:lnTo>
                    <a:lnTo>
                      <a:pt x="1750739" y="285562"/>
                    </a:lnTo>
                    <a:lnTo>
                      <a:pt x="1735714" y="285562"/>
                    </a:lnTo>
                    <a:lnTo>
                      <a:pt x="1721482" y="285562"/>
                    </a:lnTo>
                    <a:lnTo>
                      <a:pt x="1721482" y="272151"/>
                    </a:lnTo>
                    <a:lnTo>
                      <a:pt x="1721482" y="258875"/>
                    </a:lnTo>
                    <a:lnTo>
                      <a:pt x="1709418" y="258875"/>
                    </a:lnTo>
                    <a:lnTo>
                      <a:pt x="1709418" y="272221"/>
                    </a:lnTo>
                    <a:lnTo>
                      <a:pt x="1696008" y="272221"/>
                    </a:lnTo>
                    <a:lnTo>
                      <a:pt x="1696008" y="287137"/>
                    </a:lnTo>
                    <a:lnTo>
                      <a:pt x="1681021" y="272221"/>
                    </a:lnTo>
                    <a:lnTo>
                      <a:pt x="1681021" y="258875"/>
                    </a:lnTo>
                    <a:lnTo>
                      <a:pt x="1666819" y="272221"/>
                    </a:lnTo>
                    <a:lnTo>
                      <a:pt x="1666819" y="287137"/>
                    </a:lnTo>
                    <a:lnTo>
                      <a:pt x="1651834" y="287137"/>
                    </a:lnTo>
                    <a:lnTo>
                      <a:pt x="1638424" y="287137"/>
                    </a:lnTo>
                    <a:lnTo>
                      <a:pt x="1625011" y="272221"/>
                    </a:lnTo>
                    <a:lnTo>
                      <a:pt x="1625011" y="258875"/>
                    </a:lnTo>
                    <a:lnTo>
                      <a:pt x="1597402" y="258875"/>
                    </a:lnTo>
                    <a:lnTo>
                      <a:pt x="1597402" y="245529"/>
                    </a:lnTo>
                    <a:lnTo>
                      <a:pt x="1610813" y="231398"/>
                    </a:lnTo>
                    <a:lnTo>
                      <a:pt x="1625011" y="231398"/>
                    </a:lnTo>
                    <a:lnTo>
                      <a:pt x="1638424" y="231398"/>
                    </a:lnTo>
                    <a:lnTo>
                      <a:pt x="1625011" y="219622"/>
                    </a:lnTo>
                    <a:lnTo>
                      <a:pt x="1610813" y="219622"/>
                    </a:lnTo>
                    <a:lnTo>
                      <a:pt x="1610813" y="231398"/>
                    </a:lnTo>
                    <a:lnTo>
                      <a:pt x="1597402" y="231398"/>
                    </a:lnTo>
                    <a:lnTo>
                      <a:pt x="1583992" y="219622"/>
                    </a:lnTo>
                    <a:lnTo>
                      <a:pt x="1583992" y="206276"/>
                    </a:lnTo>
                    <a:lnTo>
                      <a:pt x="1569003" y="206276"/>
                    </a:lnTo>
                    <a:lnTo>
                      <a:pt x="1541391" y="206276"/>
                    </a:lnTo>
                    <a:lnTo>
                      <a:pt x="1541391" y="192144"/>
                    </a:lnTo>
                    <a:lnTo>
                      <a:pt x="1554804" y="192144"/>
                    </a:lnTo>
                    <a:lnTo>
                      <a:pt x="1569003" y="192144"/>
                    </a:lnTo>
                    <a:lnTo>
                      <a:pt x="1583992" y="192144"/>
                    </a:lnTo>
                    <a:lnTo>
                      <a:pt x="1569003" y="178798"/>
                    </a:lnTo>
                    <a:lnTo>
                      <a:pt x="1554804" y="178798"/>
                    </a:lnTo>
                    <a:lnTo>
                      <a:pt x="1541391" y="165452"/>
                    </a:lnTo>
                    <a:lnTo>
                      <a:pt x="1554804" y="165452"/>
                    </a:lnTo>
                    <a:lnTo>
                      <a:pt x="1569003" y="165452"/>
                    </a:lnTo>
                    <a:lnTo>
                      <a:pt x="1569003" y="150537"/>
                    </a:lnTo>
                    <a:lnTo>
                      <a:pt x="1583992" y="136405"/>
                    </a:lnTo>
                    <a:lnTo>
                      <a:pt x="1583992" y="150537"/>
                    </a:lnTo>
                    <a:lnTo>
                      <a:pt x="1597402" y="150537"/>
                    </a:lnTo>
                    <a:lnTo>
                      <a:pt x="1610813" y="150537"/>
                    </a:lnTo>
                    <a:lnTo>
                      <a:pt x="1597402" y="136405"/>
                    </a:lnTo>
                    <a:lnTo>
                      <a:pt x="1583992" y="136405"/>
                    </a:lnTo>
                    <a:lnTo>
                      <a:pt x="1583992" y="123059"/>
                    </a:lnTo>
                    <a:lnTo>
                      <a:pt x="1597402" y="123059"/>
                    </a:lnTo>
                    <a:lnTo>
                      <a:pt x="1624226" y="123059"/>
                    </a:lnTo>
                    <a:lnTo>
                      <a:pt x="1636878" y="110439"/>
                    </a:lnTo>
                    <a:lnTo>
                      <a:pt x="1679576" y="97028"/>
                    </a:lnTo>
                    <a:lnTo>
                      <a:pt x="1708041" y="82829"/>
                    </a:lnTo>
                    <a:lnTo>
                      <a:pt x="1721482" y="82829"/>
                    </a:lnTo>
                    <a:lnTo>
                      <a:pt x="1750739" y="69419"/>
                    </a:lnTo>
                    <a:lnTo>
                      <a:pt x="1764183" y="69419"/>
                    </a:lnTo>
                    <a:lnTo>
                      <a:pt x="1778415" y="69419"/>
                    </a:lnTo>
                    <a:lnTo>
                      <a:pt x="1791858" y="69419"/>
                    </a:lnTo>
                    <a:lnTo>
                      <a:pt x="1818741" y="82829"/>
                    </a:lnTo>
                    <a:lnTo>
                      <a:pt x="1818741" y="69419"/>
                    </a:lnTo>
                    <a:lnTo>
                      <a:pt x="1834554" y="56008"/>
                    </a:lnTo>
                    <a:lnTo>
                      <a:pt x="1847995" y="56008"/>
                    </a:lnTo>
                    <a:lnTo>
                      <a:pt x="1861439" y="56008"/>
                    </a:lnTo>
                    <a:lnTo>
                      <a:pt x="1861439" y="41809"/>
                    </a:lnTo>
                    <a:lnTo>
                      <a:pt x="1874881" y="41809"/>
                    </a:lnTo>
                    <a:lnTo>
                      <a:pt x="1902554" y="41809"/>
                    </a:lnTo>
                    <a:lnTo>
                      <a:pt x="1931019" y="41809"/>
                    </a:lnTo>
                    <a:lnTo>
                      <a:pt x="1958693" y="41809"/>
                    </a:lnTo>
                    <a:close/>
                    <a:moveTo>
                      <a:pt x="2804326" y="0"/>
                    </a:moveTo>
                    <a:lnTo>
                      <a:pt x="2833511" y="0"/>
                    </a:lnTo>
                    <a:lnTo>
                      <a:pt x="2873743" y="0"/>
                    </a:lnTo>
                    <a:lnTo>
                      <a:pt x="2901352" y="0"/>
                    </a:lnTo>
                    <a:lnTo>
                      <a:pt x="2957358" y="0"/>
                    </a:lnTo>
                    <a:lnTo>
                      <a:pt x="2984966" y="13399"/>
                    </a:lnTo>
                    <a:lnTo>
                      <a:pt x="3026775" y="26798"/>
                    </a:lnTo>
                    <a:lnTo>
                      <a:pt x="3055960" y="40986"/>
                    </a:lnTo>
                    <a:lnTo>
                      <a:pt x="3082781" y="40986"/>
                    </a:lnTo>
                    <a:lnTo>
                      <a:pt x="3096981" y="40986"/>
                    </a:lnTo>
                    <a:lnTo>
                      <a:pt x="3123803" y="54385"/>
                    </a:lnTo>
                    <a:lnTo>
                      <a:pt x="3110390" y="67784"/>
                    </a:lnTo>
                    <a:lnTo>
                      <a:pt x="3082781" y="67784"/>
                    </a:lnTo>
                    <a:lnTo>
                      <a:pt x="3040973" y="67784"/>
                    </a:lnTo>
                    <a:lnTo>
                      <a:pt x="3026775" y="81183"/>
                    </a:lnTo>
                    <a:lnTo>
                      <a:pt x="3040973" y="81183"/>
                    </a:lnTo>
                    <a:lnTo>
                      <a:pt x="3026775" y="95371"/>
                    </a:lnTo>
                    <a:lnTo>
                      <a:pt x="3011786" y="122170"/>
                    </a:lnTo>
                    <a:lnTo>
                      <a:pt x="3040973" y="122170"/>
                    </a:lnTo>
                    <a:lnTo>
                      <a:pt x="3069370" y="95371"/>
                    </a:lnTo>
                    <a:lnTo>
                      <a:pt x="3096981" y="81183"/>
                    </a:lnTo>
                    <a:lnTo>
                      <a:pt x="3110390" y="81183"/>
                    </a:lnTo>
                    <a:lnTo>
                      <a:pt x="3110390" y="95371"/>
                    </a:lnTo>
                    <a:lnTo>
                      <a:pt x="3123803" y="108770"/>
                    </a:lnTo>
                    <a:lnTo>
                      <a:pt x="3096981" y="122170"/>
                    </a:lnTo>
                    <a:lnTo>
                      <a:pt x="3082781" y="151333"/>
                    </a:lnTo>
                    <a:lnTo>
                      <a:pt x="3069370" y="164732"/>
                    </a:lnTo>
                    <a:lnTo>
                      <a:pt x="3096981" y="151333"/>
                    </a:lnTo>
                    <a:lnTo>
                      <a:pt x="3123803" y="122170"/>
                    </a:lnTo>
                    <a:lnTo>
                      <a:pt x="3137211" y="108770"/>
                    </a:lnTo>
                    <a:lnTo>
                      <a:pt x="3151409" y="108770"/>
                    </a:lnTo>
                    <a:lnTo>
                      <a:pt x="3179807" y="108770"/>
                    </a:lnTo>
                    <a:lnTo>
                      <a:pt x="3193218" y="108770"/>
                    </a:lnTo>
                    <a:lnTo>
                      <a:pt x="3207415" y="108770"/>
                    </a:lnTo>
                    <a:lnTo>
                      <a:pt x="3220825" y="108770"/>
                    </a:lnTo>
                    <a:lnTo>
                      <a:pt x="3220825" y="95371"/>
                    </a:lnTo>
                    <a:lnTo>
                      <a:pt x="3234238" y="95371"/>
                    </a:lnTo>
                    <a:lnTo>
                      <a:pt x="3261846" y="95371"/>
                    </a:lnTo>
                    <a:lnTo>
                      <a:pt x="3276832" y="95371"/>
                    </a:lnTo>
                    <a:lnTo>
                      <a:pt x="3276832" y="81183"/>
                    </a:lnTo>
                    <a:lnTo>
                      <a:pt x="3304440" y="81183"/>
                    </a:lnTo>
                    <a:lnTo>
                      <a:pt x="3317851" y="95371"/>
                    </a:lnTo>
                    <a:lnTo>
                      <a:pt x="3317851" y="108770"/>
                    </a:lnTo>
                    <a:lnTo>
                      <a:pt x="3317851" y="122170"/>
                    </a:lnTo>
                    <a:lnTo>
                      <a:pt x="3276832" y="135569"/>
                    </a:lnTo>
                    <a:lnTo>
                      <a:pt x="3261846" y="151333"/>
                    </a:lnTo>
                    <a:lnTo>
                      <a:pt x="3234238" y="164732"/>
                    </a:lnTo>
                    <a:lnTo>
                      <a:pt x="3248436" y="164732"/>
                    </a:lnTo>
                    <a:lnTo>
                      <a:pt x="3234238" y="178131"/>
                    </a:lnTo>
                    <a:lnTo>
                      <a:pt x="3220825" y="178131"/>
                    </a:lnTo>
                    <a:lnTo>
                      <a:pt x="3220825" y="191530"/>
                    </a:lnTo>
                    <a:lnTo>
                      <a:pt x="3207415" y="205717"/>
                    </a:lnTo>
                    <a:lnTo>
                      <a:pt x="3193218" y="205717"/>
                    </a:lnTo>
                    <a:lnTo>
                      <a:pt x="3179807" y="205717"/>
                    </a:lnTo>
                    <a:lnTo>
                      <a:pt x="3179807" y="219117"/>
                    </a:lnTo>
                    <a:lnTo>
                      <a:pt x="3179807" y="230939"/>
                    </a:lnTo>
                    <a:lnTo>
                      <a:pt x="3166397" y="245127"/>
                    </a:lnTo>
                    <a:lnTo>
                      <a:pt x="3151409" y="258526"/>
                    </a:lnTo>
                    <a:lnTo>
                      <a:pt x="3137211" y="258526"/>
                    </a:lnTo>
                    <a:lnTo>
                      <a:pt x="3137211" y="271925"/>
                    </a:lnTo>
                    <a:lnTo>
                      <a:pt x="3137211" y="285325"/>
                    </a:lnTo>
                    <a:lnTo>
                      <a:pt x="3151409" y="285325"/>
                    </a:lnTo>
                    <a:lnTo>
                      <a:pt x="3166397" y="285325"/>
                    </a:lnTo>
                    <a:lnTo>
                      <a:pt x="3179807" y="285325"/>
                    </a:lnTo>
                    <a:lnTo>
                      <a:pt x="3179807" y="299512"/>
                    </a:lnTo>
                    <a:lnTo>
                      <a:pt x="3207415" y="312911"/>
                    </a:lnTo>
                    <a:lnTo>
                      <a:pt x="3207415" y="326310"/>
                    </a:lnTo>
                    <a:lnTo>
                      <a:pt x="3193218" y="340498"/>
                    </a:lnTo>
                    <a:lnTo>
                      <a:pt x="3179807" y="340498"/>
                    </a:lnTo>
                    <a:lnTo>
                      <a:pt x="3151409" y="340498"/>
                    </a:lnTo>
                    <a:lnTo>
                      <a:pt x="3137211" y="340498"/>
                    </a:lnTo>
                    <a:lnTo>
                      <a:pt x="3137211" y="353897"/>
                    </a:lnTo>
                    <a:lnTo>
                      <a:pt x="3151409" y="353897"/>
                    </a:lnTo>
                    <a:lnTo>
                      <a:pt x="3166397" y="353897"/>
                    </a:lnTo>
                    <a:lnTo>
                      <a:pt x="3179807" y="380695"/>
                    </a:lnTo>
                    <a:lnTo>
                      <a:pt x="3179807" y="394883"/>
                    </a:lnTo>
                    <a:lnTo>
                      <a:pt x="3179807" y="408282"/>
                    </a:lnTo>
                    <a:lnTo>
                      <a:pt x="3166397" y="408282"/>
                    </a:lnTo>
                    <a:lnTo>
                      <a:pt x="3151409" y="408282"/>
                    </a:lnTo>
                    <a:lnTo>
                      <a:pt x="3151409" y="421681"/>
                    </a:lnTo>
                    <a:lnTo>
                      <a:pt x="3166397" y="435080"/>
                    </a:lnTo>
                    <a:lnTo>
                      <a:pt x="3179807" y="435080"/>
                    </a:lnTo>
                    <a:lnTo>
                      <a:pt x="3166397" y="450843"/>
                    </a:lnTo>
                    <a:lnTo>
                      <a:pt x="3151409" y="450843"/>
                    </a:lnTo>
                    <a:lnTo>
                      <a:pt x="3151409" y="464243"/>
                    </a:lnTo>
                    <a:lnTo>
                      <a:pt x="3137211" y="477642"/>
                    </a:lnTo>
                    <a:lnTo>
                      <a:pt x="3123803" y="489465"/>
                    </a:lnTo>
                    <a:lnTo>
                      <a:pt x="3110390" y="489465"/>
                    </a:lnTo>
                    <a:lnTo>
                      <a:pt x="3096981" y="477642"/>
                    </a:lnTo>
                    <a:lnTo>
                      <a:pt x="3082781" y="477642"/>
                    </a:lnTo>
                    <a:lnTo>
                      <a:pt x="3096981" y="489465"/>
                    </a:lnTo>
                    <a:lnTo>
                      <a:pt x="3110390" y="489465"/>
                    </a:lnTo>
                    <a:lnTo>
                      <a:pt x="3123803" y="517052"/>
                    </a:lnTo>
                    <a:lnTo>
                      <a:pt x="3123803" y="530451"/>
                    </a:lnTo>
                    <a:lnTo>
                      <a:pt x="3110390" y="530451"/>
                    </a:lnTo>
                    <a:lnTo>
                      <a:pt x="3096981" y="530451"/>
                    </a:lnTo>
                    <a:lnTo>
                      <a:pt x="3082781" y="517052"/>
                    </a:lnTo>
                    <a:lnTo>
                      <a:pt x="3069370" y="489465"/>
                    </a:lnTo>
                    <a:lnTo>
                      <a:pt x="3055960" y="489465"/>
                    </a:lnTo>
                    <a:lnTo>
                      <a:pt x="3055960" y="503653"/>
                    </a:lnTo>
                    <a:lnTo>
                      <a:pt x="3096981" y="530451"/>
                    </a:lnTo>
                    <a:lnTo>
                      <a:pt x="3123803" y="558037"/>
                    </a:lnTo>
                    <a:lnTo>
                      <a:pt x="3137211" y="584836"/>
                    </a:lnTo>
                    <a:lnTo>
                      <a:pt x="3137211" y="599023"/>
                    </a:lnTo>
                    <a:lnTo>
                      <a:pt x="3123803" y="599023"/>
                    </a:lnTo>
                    <a:lnTo>
                      <a:pt x="3096981" y="584836"/>
                    </a:lnTo>
                    <a:lnTo>
                      <a:pt x="3082781" y="571437"/>
                    </a:lnTo>
                    <a:lnTo>
                      <a:pt x="3055960" y="571437"/>
                    </a:lnTo>
                    <a:lnTo>
                      <a:pt x="3040973" y="584836"/>
                    </a:lnTo>
                    <a:lnTo>
                      <a:pt x="3055960" y="612422"/>
                    </a:lnTo>
                    <a:lnTo>
                      <a:pt x="3096981" y="612422"/>
                    </a:lnTo>
                    <a:lnTo>
                      <a:pt x="3110390" y="612422"/>
                    </a:lnTo>
                    <a:lnTo>
                      <a:pt x="3096981" y="625821"/>
                    </a:lnTo>
                    <a:lnTo>
                      <a:pt x="3069370" y="639220"/>
                    </a:lnTo>
                    <a:lnTo>
                      <a:pt x="3040973" y="653408"/>
                    </a:lnTo>
                    <a:lnTo>
                      <a:pt x="2998376" y="666807"/>
                    </a:lnTo>
                    <a:lnTo>
                      <a:pt x="2984966" y="666807"/>
                    </a:lnTo>
                    <a:lnTo>
                      <a:pt x="2957358" y="680206"/>
                    </a:lnTo>
                    <a:lnTo>
                      <a:pt x="2928959" y="680206"/>
                    </a:lnTo>
                    <a:lnTo>
                      <a:pt x="2914761" y="680206"/>
                    </a:lnTo>
                    <a:lnTo>
                      <a:pt x="2901352" y="680206"/>
                    </a:lnTo>
                    <a:lnTo>
                      <a:pt x="2901352" y="694394"/>
                    </a:lnTo>
                    <a:lnTo>
                      <a:pt x="2901352" y="707793"/>
                    </a:lnTo>
                    <a:lnTo>
                      <a:pt x="2887941" y="707793"/>
                    </a:lnTo>
                    <a:lnTo>
                      <a:pt x="2873743" y="721192"/>
                    </a:lnTo>
                    <a:lnTo>
                      <a:pt x="2860331" y="734592"/>
                    </a:lnTo>
                    <a:lnTo>
                      <a:pt x="2860331" y="750356"/>
                    </a:lnTo>
                    <a:lnTo>
                      <a:pt x="2846922" y="750356"/>
                    </a:lnTo>
                    <a:lnTo>
                      <a:pt x="2817736" y="762178"/>
                    </a:lnTo>
                    <a:lnTo>
                      <a:pt x="2804326" y="762178"/>
                    </a:lnTo>
                    <a:lnTo>
                      <a:pt x="2790916" y="762178"/>
                    </a:lnTo>
                    <a:lnTo>
                      <a:pt x="2790916" y="750356"/>
                    </a:lnTo>
                    <a:lnTo>
                      <a:pt x="2777505" y="750356"/>
                    </a:lnTo>
                    <a:lnTo>
                      <a:pt x="2777505" y="762178"/>
                    </a:lnTo>
                    <a:lnTo>
                      <a:pt x="2777505" y="775578"/>
                    </a:lnTo>
                    <a:lnTo>
                      <a:pt x="2763307" y="788977"/>
                    </a:lnTo>
                    <a:lnTo>
                      <a:pt x="2721499" y="788977"/>
                    </a:lnTo>
                    <a:lnTo>
                      <a:pt x="2721499" y="803164"/>
                    </a:lnTo>
                    <a:lnTo>
                      <a:pt x="2721499" y="816564"/>
                    </a:lnTo>
                    <a:lnTo>
                      <a:pt x="2721499" y="829963"/>
                    </a:lnTo>
                    <a:lnTo>
                      <a:pt x="2721499" y="843362"/>
                    </a:lnTo>
                    <a:lnTo>
                      <a:pt x="2693890" y="843362"/>
                    </a:lnTo>
                    <a:lnTo>
                      <a:pt x="2693890" y="870949"/>
                    </a:lnTo>
                    <a:lnTo>
                      <a:pt x="2678902" y="870949"/>
                    </a:lnTo>
                    <a:lnTo>
                      <a:pt x="2678902" y="884348"/>
                    </a:lnTo>
                    <a:lnTo>
                      <a:pt x="2693890" y="911934"/>
                    </a:lnTo>
                    <a:lnTo>
                      <a:pt x="2678902" y="911934"/>
                    </a:lnTo>
                    <a:lnTo>
                      <a:pt x="2678902" y="938733"/>
                    </a:lnTo>
                    <a:lnTo>
                      <a:pt x="2664702" y="952920"/>
                    </a:lnTo>
                    <a:lnTo>
                      <a:pt x="2651292" y="952920"/>
                    </a:lnTo>
                    <a:lnTo>
                      <a:pt x="2651292" y="938733"/>
                    </a:lnTo>
                    <a:lnTo>
                      <a:pt x="2637883" y="938733"/>
                    </a:lnTo>
                    <a:lnTo>
                      <a:pt x="2637883" y="952920"/>
                    </a:lnTo>
                    <a:lnTo>
                      <a:pt x="2624472" y="938733"/>
                    </a:lnTo>
                    <a:lnTo>
                      <a:pt x="2610275" y="911934"/>
                    </a:lnTo>
                    <a:lnTo>
                      <a:pt x="2595287" y="911934"/>
                    </a:lnTo>
                    <a:lnTo>
                      <a:pt x="2581874" y="911934"/>
                    </a:lnTo>
                    <a:lnTo>
                      <a:pt x="2568467" y="911934"/>
                    </a:lnTo>
                    <a:lnTo>
                      <a:pt x="2554267" y="911934"/>
                    </a:lnTo>
                    <a:lnTo>
                      <a:pt x="2540858" y="911934"/>
                    </a:lnTo>
                    <a:lnTo>
                      <a:pt x="2540858" y="898535"/>
                    </a:lnTo>
                    <a:lnTo>
                      <a:pt x="2540858" y="884348"/>
                    </a:lnTo>
                    <a:lnTo>
                      <a:pt x="2527447" y="870949"/>
                    </a:lnTo>
                    <a:lnTo>
                      <a:pt x="2498260" y="843362"/>
                    </a:lnTo>
                    <a:lnTo>
                      <a:pt x="2484851" y="829963"/>
                    </a:lnTo>
                    <a:lnTo>
                      <a:pt x="2484851" y="816564"/>
                    </a:lnTo>
                    <a:lnTo>
                      <a:pt x="2498260" y="816564"/>
                    </a:lnTo>
                    <a:lnTo>
                      <a:pt x="2498260" y="803164"/>
                    </a:lnTo>
                    <a:lnTo>
                      <a:pt x="2484851" y="803164"/>
                    </a:lnTo>
                    <a:lnTo>
                      <a:pt x="2471441" y="803164"/>
                    </a:lnTo>
                    <a:lnTo>
                      <a:pt x="2471441" y="788977"/>
                    </a:lnTo>
                    <a:lnTo>
                      <a:pt x="2457241" y="788977"/>
                    </a:lnTo>
                    <a:lnTo>
                      <a:pt x="2443830" y="762178"/>
                    </a:lnTo>
                    <a:lnTo>
                      <a:pt x="2443830" y="750356"/>
                    </a:lnTo>
                    <a:lnTo>
                      <a:pt x="2443830" y="734592"/>
                    </a:lnTo>
                    <a:lnTo>
                      <a:pt x="2443830" y="721192"/>
                    </a:lnTo>
                    <a:lnTo>
                      <a:pt x="2443830" y="707793"/>
                    </a:lnTo>
                    <a:lnTo>
                      <a:pt x="2457241" y="694394"/>
                    </a:lnTo>
                    <a:lnTo>
                      <a:pt x="2471441" y="680206"/>
                    </a:lnTo>
                    <a:lnTo>
                      <a:pt x="2471441" y="666807"/>
                    </a:lnTo>
                    <a:lnTo>
                      <a:pt x="2484851" y="666807"/>
                    </a:lnTo>
                    <a:lnTo>
                      <a:pt x="2484851" y="653408"/>
                    </a:lnTo>
                    <a:lnTo>
                      <a:pt x="2498260" y="639220"/>
                    </a:lnTo>
                    <a:lnTo>
                      <a:pt x="2514037" y="612422"/>
                    </a:lnTo>
                    <a:lnTo>
                      <a:pt x="2484851" y="612422"/>
                    </a:lnTo>
                    <a:lnTo>
                      <a:pt x="2458770" y="612422"/>
                    </a:lnTo>
                    <a:lnTo>
                      <a:pt x="2486427" y="625551"/>
                    </a:lnTo>
                    <a:lnTo>
                      <a:pt x="2472705" y="638961"/>
                    </a:lnTo>
                    <a:lnTo>
                      <a:pt x="2458176" y="653161"/>
                    </a:lnTo>
                    <a:lnTo>
                      <a:pt x="2444455" y="653161"/>
                    </a:lnTo>
                    <a:lnTo>
                      <a:pt x="2430733" y="653161"/>
                    </a:lnTo>
                    <a:lnTo>
                      <a:pt x="2430733" y="638961"/>
                    </a:lnTo>
                    <a:lnTo>
                      <a:pt x="2417011" y="625551"/>
                    </a:lnTo>
                    <a:lnTo>
                      <a:pt x="2417011" y="612141"/>
                    </a:lnTo>
                    <a:lnTo>
                      <a:pt x="2430733" y="612141"/>
                    </a:lnTo>
                    <a:lnTo>
                      <a:pt x="2443694" y="612141"/>
                    </a:lnTo>
                    <a:lnTo>
                      <a:pt x="2430422" y="584836"/>
                    </a:lnTo>
                    <a:lnTo>
                      <a:pt x="2443830" y="584836"/>
                    </a:lnTo>
                    <a:lnTo>
                      <a:pt x="2457241" y="599023"/>
                    </a:lnTo>
                    <a:lnTo>
                      <a:pt x="2471441" y="599023"/>
                    </a:lnTo>
                    <a:lnTo>
                      <a:pt x="2484851" y="599023"/>
                    </a:lnTo>
                    <a:lnTo>
                      <a:pt x="2484851" y="584836"/>
                    </a:lnTo>
                    <a:lnTo>
                      <a:pt x="2484851" y="571437"/>
                    </a:lnTo>
                    <a:lnTo>
                      <a:pt x="2457241" y="558037"/>
                    </a:lnTo>
                    <a:lnTo>
                      <a:pt x="2443830" y="544638"/>
                    </a:lnTo>
                    <a:lnTo>
                      <a:pt x="2443830" y="558037"/>
                    </a:lnTo>
                    <a:lnTo>
                      <a:pt x="2430422" y="558037"/>
                    </a:lnTo>
                    <a:lnTo>
                      <a:pt x="2417011" y="571437"/>
                    </a:lnTo>
                    <a:lnTo>
                      <a:pt x="2402809" y="558037"/>
                    </a:lnTo>
                    <a:lnTo>
                      <a:pt x="2402809" y="544638"/>
                    </a:lnTo>
                    <a:lnTo>
                      <a:pt x="2402809" y="530451"/>
                    </a:lnTo>
                    <a:lnTo>
                      <a:pt x="2417011" y="530451"/>
                    </a:lnTo>
                    <a:lnTo>
                      <a:pt x="2417011" y="517052"/>
                    </a:lnTo>
                    <a:lnTo>
                      <a:pt x="2402809" y="503653"/>
                    </a:lnTo>
                    <a:lnTo>
                      <a:pt x="2402809" y="489465"/>
                    </a:lnTo>
                    <a:lnTo>
                      <a:pt x="2402809" y="464243"/>
                    </a:lnTo>
                    <a:lnTo>
                      <a:pt x="2374414" y="435080"/>
                    </a:lnTo>
                    <a:lnTo>
                      <a:pt x="2361003" y="408282"/>
                    </a:lnTo>
                    <a:lnTo>
                      <a:pt x="2318404" y="394883"/>
                    </a:lnTo>
                    <a:lnTo>
                      <a:pt x="2290794" y="367296"/>
                    </a:lnTo>
                    <a:lnTo>
                      <a:pt x="2248986" y="367296"/>
                    </a:lnTo>
                    <a:lnTo>
                      <a:pt x="2234787" y="367296"/>
                    </a:lnTo>
                    <a:lnTo>
                      <a:pt x="2221377" y="367296"/>
                    </a:lnTo>
                    <a:lnTo>
                      <a:pt x="2207968" y="380695"/>
                    </a:lnTo>
                    <a:lnTo>
                      <a:pt x="2193767" y="380695"/>
                    </a:lnTo>
                    <a:lnTo>
                      <a:pt x="2193767" y="367296"/>
                    </a:lnTo>
                    <a:lnTo>
                      <a:pt x="2180358" y="367296"/>
                    </a:lnTo>
                    <a:lnTo>
                      <a:pt x="2180358" y="380695"/>
                    </a:lnTo>
                    <a:lnTo>
                      <a:pt x="2165369" y="380695"/>
                    </a:lnTo>
                    <a:lnTo>
                      <a:pt x="2151958" y="380695"/>
                    </a:lnTo>
                    <a:lnTo>
                      <a:pt x="2137760" y="367296"/>
                    </a:lnTo>
                    <a:lnTo>
                      <a:pt x="2124350" y="367296"/>
                    </a:lnTo>
                    <a:lnTo>
                      <a:pt x="2124350" y="353897"/>
                    </a:lnTo>
                    <a:lnTo>
                      <a:pt x="2137760" y="353897"/>
                    </a:lnTo>
                    <a:lnTo>
                      <a:pt x="2137760" y="340498"/>
                    </a:lnTo>
                    <a:lnTo>
                      <a:pt x="2124350" y="340498"/>
                    </a:lnTo>
                    <a:lnTo>
                      <a:pt x="2110940" y="340498"/>
                    </a:lnTo>
                    <a:lnTo>
                      <a:pt x="2097529" y="340498"/>
                    </a:lnTo>
                    <a:lnTo>
                      <a:pt x="2083329" y="340498"/>
                    </a:lnTo>
                    <a:lnTo>
                      <a:pt x="2083329" y="326310"/>
                    </a:lnTo>
                    <a:lnTo>
                      <a:pt x="2097529" y="326310"/>
                    </a:lnTo>
                    <a:lnTo>
                      <a:pt x="2110940" y="326310"/>
                    </a:lnTo>
                    <a:lnTo>
                      <a:pt x="2124350" y="326310"/>
                    </a:lnTo>
                    <a:lnTo>
                      <a:pt x="2137760" y="326310"/>
                    </a:lnTo>
                    <a:lnTo>
                      <a:pt x="2137760" y="312911"/>
                    </a:lnTo>
                    <a:lnTo>
                      <a:pt x="2165369" y="312911"/>
                    </a:lnTo>
                    <a:lnTo>
                      <a:pt x="2180358" y="312911"/>
                    </a:lnTo>
                    <a:lnTo>
                      <a:pt x="2180358" y="299512"/>
                    </a:lnTo>
                    <a:lnTo>
                      <a:pt x="2165369" y="299512"/>
                    </a:lnTo>
                    <a:lnTo>
                      <a:pt x="2151958" y="299512"/>
                    </a:lnTo>
                    <a:lnTo>
                      <a:pt x="2137760" y="299512"/>
                    </a:lnTo>
                    <a:lnTo>
                      <a:pt x="2124350" y="299512"/>
                    </a:lnTo>
                    <a:lnTo>
                      <a:pt x="2097529" y="299512"/>
                    </a:lnTo>
                    <a:lnTo>
                      <a:pt x="2069919" y="299512"/>
                    </a:lnTo>
                    <a:lnTo>
                      <a:pt x="2041517" y="271925"/>
                    </a:lnTo>
                    <a:lnTo>
                      <a:pt x="2054927" y="258526"/>
                    </a:lnTo>
                    <a:lnTo>
                      <a:pt x="2069919" y="258526"/>
                    </a:lnTo>
                    <a:lnTo>
                      <a:pt x="2083329" y="258526"/>
                    </a:lnTo>
                    <a:lnTo>
                      <a:pt x="2097529" y="258526"/>
                    </a:lnTo>
                    <a:lnTo>
                      <a:pt x="2110940" y="245127"/>
                    </a:lnTo>
                    <a:lnTo>
                      <a:pt x="2124350" y="245127"/>
                    </a:lnTo>
                    <a:lnTo>
                      <a:pt x="2137760" y="245127"/>
                    </a:lnTo>
                    <a:lnTo>
                      <a:pt x="2165369" y="245127"/>
                    </a:lnTo>
                    <a:lnTo>
                      <a:pt x="2180358" y="230939"/>
                    </a:lnTo>
                    <a:lnTo>
                      <a:pt x="2193767" y="219117"/>
                    </a:lnTo>
                    <a:lnTo>
                      <a:pt x="2207968" y="205717"/>
                    </a:lnTo>
                    <a:lnTo>
                      <a:pt x="2180358" y="191530"/>
                    </a:lnTo>
                    <a:lnTo>
                      <a:pt x="2165369" y="191530"/>
                    </a:lnTo>
                    <a:lnTo>
                      <a:pt x="2151958" y="178131"/>
                    </a:lnTo>
                    <a:lnTo>
                      <a:pt x="2165369" y="164732"/>
                    </a:lnTo>
                    <a:lnTo>
                      <a:pt x="2193767" y="164732"/>
                    </a:lnTo>
                    <a:lnTo>
                      <a:pt x="2221377" y="151333"/>
                    </a:lnTo>
                    <a:lnTo>
                      <a:pt x="2234787" y="122170"/>
                    </a:lnTo>
                    <a:lnTo>
                      <a:pt x="2248986" y="122170"/>
                    </a:lnTo>
                    <a:lnTo>
                      <a:pt x="2262396" y="135569"/>
                    </a:lnTo>
                    <a:lnTo>
                      <a:pt x="2275807" y="122170"/>
                    </a:lnTo>
                    <a:lnTo>
                      <a:pt x="2275807" y="108770"/>
                    </a:lnTo>
                    <a:lnTo>
                      <a:pt x="2290794" y="95371"/>
                    </a:lnTo>
                    <a:lnTo>
                      <a:pt x="2318404" y="95371"/>
                    </a:lnTo>
                    <a:lnTo>
                      <a:pt x="2331814" y="81183"/>
                    </a:lnTo>
                    <a:lnTo>
                      <a:pt x="2361003" y="81183"/>
                    </a:lnTo>
                    <a:lnTo>
                      <a:pt x="2374414" y="67784"/>
                    </a:lnTo>
                    <a:lnTo>
                      <a:pt x="2402809" y="67784"/>
                    </a:lnTo>
                    <a:lnTo>
                      <a:pt x="2417011" y="67784"/>
                    </a:lnTo>
                    <a:lnTo>
                      <a:pt x="2430422" y="81183"/>
                    </a:lnTo>
                    <a:lnTo>
                      <a:pt x="2443830" y="95371"/>
                    </a:lnTo>
                    <a:lnTo>
                      <a:pt x="2443830" y="81183"/>
                    </a:lnTo>
                    <a:lnTo>
                      <a:pt x="2443830" y="67784"/>
                    </a:lnTo>
                    <a:lnTo>
                      <a:pt x="2457241" y="81183"/>
                    </a:lnTo>
                    <a:lnTo>
                      <a:pt x="2484851" y="81183"/>
                    </a:lnTo>
                    <a:lnTo>
                      <a:pt x="2484851" y="67784"/>
                    </a:lnTo>
                    <a:lnTo>
                      <a:pt x="2498260" y="67784"/>
                    </a:lnTo>
                    <a:lnTo>
                      <a:pt x="2527447" y="67784"/>
                    </a:lnTo>
                    <a:lnTo>
                      <a:pt x="2554267" y="67784"/>
                    </a:lnTo>
                    <a:lnTo>
                      <a:pt x="2568467" y="81183"/>
                    </a:lnTo>
                    <a:lnTo>
                      <a:pt x="2581874" y="81183"/>
                    </a:lnTo>
                    <a:lnTo>
                      <a:pt x="2568467" y="67784"/>
                    </a:lnTo>
                    <a:lnTo>
                      <a:pt x="2554267" y="54385"/>
                    </a:lnTo>
                    <a:lnTo>
                      <a:pt x="2568467" y="54385"/>
                    </a:lnTo>
                    <a:lnTo>
                      <a:pt x="2581874" y="54385"/>
                    </a:lnTo>
                    <a:lnTo>
                      <a:pt x="2581874" y="40986"/>
                    </a:lnTo>
                    <a:lnTo>
                      <a:pt x="2595287" y="26798"/>
                    </a:lnTo>
                    <a:lnTo>
                      <a:pt x="2624472" y="26798"/>
                    </a:lnTo>
                    <a:lnTo>
                      <a:pt x="2637883" y="26798"/>
                    </a:lnTo>
                    <a:lnTo>
                      <a:pt x="2651292" y="26798"/>
                    </a:lnTo>
                    <a:lnTo>
                      <a:pt x="2678902" y="26798"/>
                    </a:lnTo>
                    <a:lnTo>
                      <a:pt x="2693890" y="26798"/>
                    </a:lnTo>
                    <a:lnTo>
                      <a:pt x="2707298" y="26798"/>
                    </a:lnTo>
                    <a:lnTo>
                      <a:pt x="2721499" y="26798"/>
                    </a:lnTo>
                    <a:lnTo>
                      <a:pt x="2736487" y="26798"/>
                    </a:lnTo>
                    <a:lnTo>
                      <a:pt x="2763307" y="13399"/>
                    </a:lnTo>
                    <a:close/>
                  </a:path>
                </a:pathLst>
              </a:custGeom>
              <a:gradFill flip="none" rotWithShape="1">
                <a:gsLst>
                  <a:gs pos="100000">
                    <a:schemeClr val="bg1">
                      <a:lumMod val="85000"/>
                    </a:schemeClr>
                  </a:gs>
                  <a:gs pos="0">
                    <a:schemeClr val="bg1">
                      <a:lumMod val="75000"/>
                    </a:schemeClr>
                  </a:gs>
                </a:gsLst>
                <a:lin ang="54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11" name="组合 10"/>
              <p:cNvGrpSpPr/>
              <p:nvPr/>
            </p:nvGrpSpPr>
            <p:grpSpPr>
              <a:xfrm>
                <a:off x="1448616" y="-1054640"/>
                <a:ext cx="2383578" cy="925277"/>
                <a:chOff x="1448616" y="-1054640"/>
                <a:chExt cx="2383578" cy="925277"/>
              </a:xfrm>
            </p:grpSpPr>
            <p:sp>
              <p:nvSpPr>
                <p:cNvPr id="12" name="任意多边形 11"/>
                <p:cNvSpPr/>
                <p:nvPr/>
              </p:nvSpPr>
              <p:spPr>
                <a:xfrm>
                  <a:off x="1520288" y="-878533"/>
                  <a:ext cx="2046516" cy="441081"/>
                </a:xfrm>
                <a:custGeom>
                  <a:avLst/>
                  <a:gdLst>
                    <a:gd name="connsiteX0" fmla="*/ 0 w 4478694"/>
                    <a:gd name="connsiteY0" fmla="*/ 143070 h 1194319"/>
                    <a:gd name="connsiteX1" fmla="*/ 2214465 w 4478694"/>
                    <a:gd name="connsiteY1" fmla="*/ 0 h 1194319"/>
                    <a:gd name="connsiteX2" fmla="*/ 3570514 w 4478694"/>
                    <a:gd name="connsiteY2" fmla="*/ 765111 h 1194319"/>
                    <a:gd name="connsiteX3" fmla="*/ 4111690 w 4478694"/>
                    <a:gd name="connsiteY3" fmla="*/ 1194319 h 1194319"/>
                    <a:gd name="connsiteX4" fmla="*/ 4329404 w 4478694"/>
                    <a:gd name="connsiteY4" fmla="*/ 702906 h 1194319"/>
                    <a:gd name="connsiteX5" fmla="*/ 4478694 w 4478694"/>
                    <a:gd name="connsiteY5" fmla="*/ 522515 h 1194319"/>
                    <a:gd name="connsiteX0-1" fmla="*/ 0 w 4519883"/>
                    <a:gd name="connsiteY0-2" fmla="*/ 147189 h 1194319"/>
                    <a:gd name="connsiteX1-3" fmla="*/ 2255654 w 4519883"/>
                    <a:gd name="connsiteY1-4" fmla="*/ 0 h 1194319"/>
                    <a:gd name="connsiteX2-5" fmla="*/ 3611703 w 4519883"/>
                    <a:gd name="connsiteY2-6" fmla="*/ 765111 h 1194319"/>
                    <a:gd name="connsiteX3-7" fmla="*/ 4152879 w 4519883"/>
                    <a:gd name="connsiteY3-8" fmla="*/ 1194319 h 1194319"/>
                    <a:gd name="connsiteX4-9" fmla="*/ 4370593 w 4519883"/>
                    <a:gd name="connsiteY4-10" fmla="*/ 702906 h 1194319"/>
                    <a:gd name="connsiteX5-11" fmla="*/ 4519883 w 4519883"/>
                    <a:gd name="connsiteY5-12" fmla="*/ 522515 h 1194319"/>
                    <a:gd name="connsiteX0-13" fmla="*/ 18240 w 4538123"/>
                    <a:gd name="connsiteY0-14" fmla="*/ 147189 h 1194319"/>
                    <a:gd name="connsiteX1-15" fmla="*/ 0 w 4538123"/>
                    <a:gd name="connsiteY1-16" fmla="*/ 153913 h 1194319"/>
                    <a:gd name="connsiteX2-17" fmla="*/ 2273894 w 4538123"/>
                    <a:gd name="connsiteY2-18" fmla="*/ 0 h 1194319"/>
                    <a:gd name="connsiteX3-19" fmla="*/ 3629943 w 4538123"/>
                    <a:gd name="connsiteY3-20" fmla="*/ 765111 h 1194319"/>
                    <a:gd name="connsiteX4-21" fmla="*/ 4171119 w 4538123"/>
                    <a:gd name="connsiteY4-22" fmla="*/ 1194319 h 1194319"/>
                    <a:gd name="connsiteX5-23" fmla="*/ 4388833 w 4538123"/>
                    <a:gd name="connsiteY5-24" fmla="*/ 702906 h 1194319"/>
                    <a:gd name="connsiteX6" fmla="*/ 4538123 w 4538123"/>
                    <a:gd name="connsiteY6" fmla="*/ 522515 h 1194319"/>
                    <a:gd name="connsiteX0-25" fmla="*/ 0 w 4519883"/>
                    <a:gd name="connsiteY0-26" fmla="*/ 147189 h 1194319"/>
                    <a:gd name="connsiteX1-27" fmla="*/ 117685 w 4519883"/>
                    <a:gd name="connsiteY1-28" fmla="*/ 153913 h 1194319"/>
                    <a:gd name="connsiteX2-29" fmla="*/ 2255654 w 4519883"/>
                    <a:gd name="connsiteY2-30" fmla="*/ 0 h 1194319"/>
                    <a:gd name="connsiteX3-31" fmla="*/ 3611703 w 4519883"/>
                    <a:gd name="connsiteY3-32" fmla="*/ 765111 h 1194319"/>
                    <a:gd name="connsiteX4-33" fmla="*/ 4152879 w 4519883"/>
                    <a:gd name="connsiteY4-34" fmla="*/ 1194319 h 1194319"/>
                    <a:gd name="connsiteX5-35" fmla="*/ 4370593 w 4519883"/>
                    <a:gd name="connsiteY5-36" fmla="*/ 702906 h 1194319"/>
                    <a:gd name="connsiteX6-37" fmla="*/ 4519883 w 4519883"/>
                    <a:gd name="connsiteY6-38" fmla="*/ 522515 h 1194319"/>
                    <a:gd name="connsiteX0-39" fmla="*/ 0 w 5541375"/>
                    <a:gd name="connsiteY0-40" fmla="*/ 31860 h 1194319"/>
                    <a:gd name="connsiteX1-41" fmla="*/ 1139177 w 5541375"/>
                    <a:gd name="connsiteY1-42" fmla="*/ 153913 h 1194319"/>
                    <a:gd name="connsiteX2-43" fmla="*/ 3277146 w 5541375"/>
                    <a:gd name="connsiteY2-44" fmla="*/ 0 h 1194319"/>
                    <a:gd name="connsiteX3-45" fmla="*/ 4633195 w 5541375"/>
                    <a:gd name="connsiteY3-46" fmla="*/ 765111 h 1194319"/>
                    <a:gd name="connsiteX4-47" fmla="*/ 5174371 w 5541375"/>
                    <a:gd name="connsiteY4-48" fmla="*/ 1194319 h 1194319"/>
                    <a:gd name="connsiteX5-49" fmla="*/ 5392085 w 5541375"/>
                    <a:gd name="connsiteY5-50" fmla="*/ 702906 h 1194319"/>
                    <a:gd name="connsiteX6-51" fmla="*/ 5541375 w 5541375"/>
                    <a:gd name="connsiteY6-52" fmla="*/ 522515 h 1194319"/>
                    <a:gd name="connsiteX0-53" fmla="*/ 0 w 5541375"/>
                    <a:gd name="connsiteY0-54" fmla="*/ 31860 h 1194319"/>
                    <a:gd name="connsiteX1-55" fmla="*/ 990896 w 5541375"/>
                    <a:gd name="connsiteY1-56" fmla="*/ 158032 h 1194319"/>
                    <a:gd name="connsiteX2-57" fmla="*/ 3277146 w 5541375"/>
                    <a:gd name="connsiteY2-58" fmla="*/ 0 h 1194319"/>
                    <a:gd name="connsiteX3-59" fmla="*/ 4633195 w 5541375"/>
                    <a:gd name="connsiteY3-60" fmla="*/ 765111 h 1194319"/>
                    <a:gd name="connsiteX4-61" fmla="*/ 5174371 w 5541375"/>
                    <a:gd name="connsiteY4-62" fmla="*/ 1194319 h 1194319"/>
                    <a:gd name="connsiteX5-63" fmla="*/ 5392085 w 5541375"/>
                    <a:gd name="connsiteY5-64" fmla="*/ 702906 h 1194319"/>
                    <a:gd name="connsiteX6-65" fmla="*/ 5541375 w 5541375"/>
                    <a:gd name="connsiteY6-66" fmla="*/ 522515 h 119431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37" y="connsiteY6-38"/>
                    </a:cxn>
                  </a:cxnLst>
                  <a:rect l="l" t="t" r="r" b="b"/>
                  <a:pathLst>
                    <a:path w="5541375" h="1194319">
                      <a:moveTo>
                        <a:pt x="0" y="31860"/>
                      </a:moveTo>
                      <a:lnTo>
                        <a:pt x="990896" y="158032"/>
                      </a:lnTo>
                      <a:lnTo>
                        <a:pt x="3277146" y="0"/>
                      </a:lnTo>
                      <a:lnTo>
                        <a:pt x="4633195" y="765111"/>
                      </a:lnTo>
                      <a:lnTo>
                        <a:pt x="5174371" y="1194319"/>
                      </a:lnTo>
                      <a:lnTo>
                        <a:pt x="5392085" y="702906"/>
                      </a:lnTo>
                      <a:lnTo>
                        <a:pt x="5541375" y="522515"/>
                      </a:lnTo>
                    </a:path>
                  </a:pathLst>
                </a:custGeom>
                <a:noFill/>
                <a:ln w="19050" cap="rnd" cmpd="sng" algn="ctr">
                  <a:solidFill>
                    <a:schemeClr val="accent2">
                      <a:lumMod val="75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10" name="椭圆 9"/>
                <p:cNvSpPr/>
                <p:nvPr/>
              </p:nvSpPr>
              <p:spPr>
                <a:xfrm>
                  <a:off x="3478183" y="-653573"/>
                  <a:ext cx="72406" cy="72406"/>
                </a:xfrm>
                <a:prstGeom prst="ellipse">
                  <a:avLst/>
                </a:prstGeom>
                <a:solidFill>
                  <a:schemeClr val="accent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89" name="椭圆 88"/>
                <p:cNvSpPr/>
                <p:nvPr/>
              </p:nvSpPr>
              <p:spPr>
                <a:xfrm>
                  <a:off x="3531580" y="-718515"/>
                  <a:ext cx="72406" cy="72406"/>
                </a:xfrm>
                <a:prstGeom prst="ellipse">
                  <a:avLst/>
                </a:prstGeom>
                <a:solidFill>
                  <a:schemeClr val="accent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90" name="椭圆 89"/>
                <p:cNvSpPr/>
                <p:nvPr/>
              </p:nvSpPr>
              <p:spPr>
                <a:xfrm>
                  <a:off x="3190992" y="-629039"/>
                  <a:ext cx="72406" cy="72406"/>
                </a:xfrm>
                <a:prstGeom prst="ellipse">
                  <a:avLst/>
                </a:prstGeom>
                <a:solidFill>
                  <a:schemeClr val="accent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91" name="椭圆 90"/>
                <p:cNvSpPr/>
                <p:nvPr/>
              </p:nvSpPr>
              <p:spPr>
                <a:xfrm>
                  <a:off x="2697427" y="-913343"/>
                  <a:ext cx="72406" cy="72406"/>
                </a:xfrm>
                <a:prstGeom prst="ellipse">
                  <a:avLst/>
                </a:prstGeom>
                <a:solidFill>
                  <a:schemeClr val="accent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92" name="椭圆 91"/>
                <p:cNvSpPr/>
                <p:nvPr/>
              </p:nvSpPr>
              <p:spPr>
                <a:xfrm>
                  <a:off x="3390087" y="-481051"/>
                  <a:ext cx="72406" cy="72406"/>
                </a:xfrm>
                <a:prstGeom prst="ellipse">
                  <a:avLst/>
                </a:prstGeom>
                <a:solidFill>
                  <a:schemeClr val="accent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93" name="椭圆 92"/>
                <p:cNvSpPr/>
                <p:nvPr/>
              </p:nvSpPr>
              <p:spPr>
                <a:xfrm>
                  <a:off x="1853172" y="-861954"/>
                  <a:ext cx="72406" cy="72406"/>
                </a:xfrm>
                <a:prstGeom prst="ellipse">
                  <a:avLst/>
                </a:prstGeom>
                <a:solidFill>
                  <a:schemeClr val="accent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4" name="任意多边形 13"/>
                <p:cNvSpPr/>
                <p:nvPr/>
              </p:nvSpPr>
              <p:spPr>
                <a:xfrm>
                  <a:off x="1533699" y="-1016370"/>
                  <a:ext cx="1971077" cy="307837"/>
                </a:xfrm>
                <a:custGeom>
                  <a:avLst/>
                  <a:gdLst>
                    <a:gd name="connsiteX0" fmla="*/ 0 w 5337110"/>
                    <a:gd name="connsiteY0" fmla="*/ 385665 h 833535"/>
                    <a:gd name="connsiteX1" fmla="*/ 2687216 w 5337110"/>
                    <a:gd name="connsiteY1" fmla="*/ 248816 h 833535"/>
                    <a:gd name="connsiteX2" fmla="*/ 3054220 w 5337110"/>
                    <a:gd name="connsiteY2" fmla="*/ 634481 h 833535"/>
                    <a:gd name="connsiteX3" fmla="*/ 4155232 w 5337110"/>
                    <a:gd name="connsiteY3" fmla="*/ 0 h 833535"/>
                    <a:gd name="connsiteX4" fmla="*/ 5100734 w 5337110"/>
                    <a:gd name="connsiteY4" fmla="*/ 833535 h 833535"/>
                    <a:gd name="connsiteX5" fmla="*/ 5337110 w 5337110"/>
                    <a:gd name="connsiteY5" fmla="*/ 640702 h 83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7110" h="833535">
                      <a:moveTo>
                        <a:pt x="0" y="385665"/>
                      </a:moveTo>
                      <a:lnTo>
                        <a:pt x="2687216" y="248816"/>
                      </a:lnTo>
                      <a:lnTo>
                        <a:pt x="3054220" y="634481"/>
                      </a:lnTo>
                      <a:lnTo>
                        <a:pt x="4155232" y="0"/>
                      </a:lnTo>
                      <a:lnTo>
                        <a:pt x="5100734" y="833535"/>
                      </a:lnTo>
                      <a:lnTo>
                        <a:pt x="5337110" y="640702"/>
                      </a:lnTo>
                    </a:path>
                  </a:pathLst>
                </a:custGeom>
                <a:noFill/>
                <a:ln w="9525" cap="rnd" cmpd="sng" algn="ctr">
                  <a:solidFill>
                    <a:schemeClr val="bg1">
                      <a:lumMod val="50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15" name="任意多边形 14"/>
                <p:cNvSpPr/>
                <p:nvPr/>
              </p:nvSpPr>
              <p:spPr>
                <a:xfrm>
                  <a:off x="1907202" y="-778373"/>
                  <a:ext cx="1891627" cy="618893"/>
                </a:xfrm>
                <a:custGeom>
                  <a:avLst/>
                  <a:gdLst>
                    <a:gd name="connsiteX0" fmla="*/ 4957665 w 5175379"/>
                    <a:gd name="connsiteY0" fmla="*/ 223934 h 1791477"/>
                    <a:gd name="connsiteX1" fmla="*/ 5175379 w 5175379"/>
                    <a:gd name="connsiteY1" fmla="*/ 1679510 h 1791477"/>
                    <a:gd name="connsiteX2" fmla="*/ 2276669 w 5175379"/>
                    <a:gd name="connsiteY2" fmla="*/ 1791477 h 1791477"/>
                    <a:gd name="connsiteX3" fmla="*/ 665583 w 5175379"/>
                    <a:gd name="connsiteY3" fmla="*/ 1306285 h 1791477"/>
                    <a:gd name="connsiteX4" fmla="*/ 0 w 5175379"/>
                    <a:gd name="connsiteY4" fmla="*/ 0 h 1791477"/>
                    <a:gd name="connsiteX0-1" fmla="*/ 4904269 w 5121983"/>
                    <a:gd name="connsiteY0-2" fmla="*/ 108241 h 1675784"/>
                    <a:gd name="connsiteX1-3" fmla="*/ 5121983 w 5121983"/>
                    <a:gd name="connsiteY1-4" fmla="*/ 1563817 h 1675784"/>
                    <a:gd name="connsiteX2-5" fmla="*/ 2223273 w 5121983"/>
                    <a:gd name="connsiteY2-6" fmla="*/ 1675784 h 1675784"/>
                    <a:gd name="connsiteX3-7" fmla="*/ 612187 w 5121983"/>
                    <a:gd name="connsiteY3-8" fmla="*/ 1190592 h 1675784"/>
                    <a:gd name="connsiteX4-9" fmla="*/ 0 w 5121983"/>
                    <a:gd name="connsiteY4-10" fmla="*/ 0 h 167578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121983" h="1675784">
                      <a:moveTo>
                        <a:pt x="4904269" y="108241"/>
                      </a:moveTo>
                      <a:lnTo>
                        <a:pt x="5121983" y="1563817"/>
                      </a:lnTo>
                      <a:lnTo>
                        <a:pt x="2223273" y="1675784"/>
                      </a:lnTo>
                      <a:lnTo>
                        <a:pt x="612187" y="1190592"/>
                      </a:lnTo>
                      <a:lnTo>
                        <a:pt x="0" y="0"/>
                      </a:lnTo>
                    </a:path>
                  </a:pathLst>
                </a:custGeom>
                <a:noFill/>
                <a:ln w="9525" cap="rnd" cmpd="sng" algn="ctr">
                  <a:solidFill>
                    <a:schemeClr val="bg1">
                      <a:lumMod val="50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16" name="任意多边形 15"/>
                <p:cNvSpPr/>
                <p:nvPr/>
              </p:nvSpPr>
              <p:spPr>
                <a:xfrm>
                  <a:off x="2500860" y="-775154"/>
                  <a:ext cx="498512" cy="608782"/>
                </a:xfrm>
                <a:custGeom>
                  <a:avLst/>
                  <a:gdLst>
                    <a:gd name="connsiteX0" fmla="*/ 1349828 w 1349828"/>
                    <a:gd name="connsiteY0" fmla="*/ 279918 h 1648408"/>
                    <a:gd name="connsiteX1" fmla="*/ 1337387 w 1349828"/>
                    <a:gd name="connsiteY1" fmla="*/ 497632 h 1648408"/>
                    <a:gd name="connsiteX2" fmla="*/ 0 w 1349828"/>
                    <a:gd name="connsiteY2" fmla="*/ 0 h 1648408"/>
                    <a:gd name="connsiteX3" fmla="*/ 615820 w 1349828"/>
                    <a:gd name="connsiteY3" fmla="*/ 1648408 h 1648408"/>
                  </a:gdLst>
                  <a:ahLst/>
                  <a:cxnLst>
                    <a:cxn ang="0">
                      <a:pos x="connsiteX0" y="connsiteY0"/>
                    </a:cxn>
                    <a:cxn ang="0">
                      <a:pos x="connsiteX1" y="connsiteY1"/>
                    </a:cxn>
                    <a:cxn ang="0">
                      <a:pos x="connsiteX2" y="connsiteY2"/>
                    </a:cxn>
                    <a:cxn ang="0">
                      <a:pos x="connsiteX3" y="connsiteY3"/>
                    </a:cxn>
                  </a:cxnLst>
                  <a:rect l="l" t="t" r="r" b="b"/>
                  <a:pathLst>
                    <a:path w="1349828" h="1648408">
                      <a:moveTo>
                        <a:pt x="1349828" y="279918"/>
                      </a:moveTo>
                      <a:lnTo>
                        <a:pt x="1337387" y="497632"/>
                      </a:lnTo>
                      <a:lnTo>
                        <a:pt x="0" y="0"/>
                      </a:lnTo>
                      <a:lnTo>
                        <a:pt x="615820" y="1648408"/>
                      </a:lnTo>
                    </a:path>
                  </a:pathLst>
                </a:custGeom>
                <a:noFill/>
                <a:ln w="9525" cap="rnd" cmpd="sng" algn="ctr">
                  <a:solidFill>
                    <a:schemeClr val="bg1">
                      <a:lumMod val="50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96" name="椭圆 95"/>
                <p:cNvSpPr/>
                <p:nvPr/>
              </p:nvSpPr>
              <p:spPr>
                <a:xfrm>
                  <a:off x="3685700" y="-776668"/>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97" name="椭圆 96"/>
                <p:cNvSpPr/>
                <p:nvPr/>
              </p:nvSpPr>
              <p:spPr>
                <a:xfrm>
                  <a:off x="3761510" y="-241398"/>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98" name="椭圆 97"/>
                <p:cNvSpPr/>
                <p:nvPr/>
              </p:nvSpPr>
              <p:spPr>
                <a:xfrm>
                  <a:off x="2966647" y="-707749"/>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99" name="椭圆 98"/>
                <p:cNvSpPr/>
                <p:nvPr/>
              </p:nvSpPr>
              <p:spPr>
                <a:xfrm>
                  <a:off x="2470432" y="-806532"/>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00" name="椭圆 99"/>
                <p:cNvSpPr/>
                <p:nvPr/>
              </p:nvSpPr>
              <p:spPr>
                <a:xfrm>
                  <a:off x="2486513" y="-958154"/>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01" name="椭圆 100"/>
                <p:cNvSpPr/>
                <p:nvPr/>
              </p:nvSpPr>
              <p:spPr>
                <a:xfrm>
                  <a:off x="2622053" y="-820316"/>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02" name="椭圆 101"/>
                <p:cNvSpPr/>
                <p:nvPr/>
              </p:nvSpPr>
              <p:spPr>
                <a:xfrm>
                  <a:off x="3028674" y="-1054640"/>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03" name="椭圆 102"/>
                <p:cNvSpPr/>
                <p:nvPr/>
              </p:nvSpPr>
              <p:spPr>
                <a:xfrm>
                  <a:off x="3467457" y="-815721"/>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04" name="椭圆 103"/>
                <p:cNvSpPr/>
                <p:nvPr/>
              </p:nvSpPr>
              <p:spPr>
                <a:xfrm>
                  <a:off x="3384754" y="-742208"/>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05" name="椭圆 104"/>
                <p:cNvSpPr/>
                <p:nvPr/>
              </p:nvSpPr>
              <p:spPr>
                <a:xfrm>
                  <a:off x="1448616" y="-939296"/>
                  <a:ext cx="143241" cy="143241"/>
                </a:xfrm>
                <a:prstGeom prst="ellipse">
                  <a:avLst/>
                </a:prstGeom>
                <a:solidFill>
                  <a:schemeClr val="accent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09" name="椭圆 108"/>
                <p:cNvSpPr/>
                <p:nvPr/>
              </p:nvSpPr>
              <p:spPr>
                <a:xfrm>
                  <a:off x="2095973" y="-372344"/>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10" name="椭圆 109"/>
                <p:cNvSpPr/>
                <p:nvPr/>
              </p:nvSpPr>
              <p:spPr>
                <a:xfrm>
                  <a:off x="2693269" y="-200047"/>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11" name="椭圆 110"/>
                <p:cNvSpPr/>
                <p:nvPr/>
              </p:nvSpPr>
              <p:spPr>
                <a:xfrm>
                  <a:off x="2950566" y="-625046"/>
                  <a:ext cx="70684" cy="70684"/>
                </a:xfrm>
                <a:prstGeom prst="ellipse">
                  <a:avLst/>
                </a:prstGeom>
                <a:solidFill>
                  <a:schemeClr val="tx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grpSp>
      </p:grpSp>
      <p:sp>
        <p:nvSpPr>
          <p:cNvPr id="69" name="圆角右箭头 68"/>
          <p:cNvSpPr/>
          <p:nvPr/>
        </p:nvSpPr>
        <p:spPr>
          <a:xfrm flipV="1">
            <a:off x="789038" y="1881138"/>
            <a:ext cx="752168" cy="2528629"/>
          </a:xfrm>
          <a:prstGeom prst="bentArrow">
            <a:avLst>
              <a:gd name="adj1" fmla="val 8558"/>
              <a:gd name="adj2" fmla="val 12449"/>
              <a:gd name="adj3" fmla="val 17157"/>
              <a:gd name="adj4" fmla="val 20221"/>
            </a:avLst>
          </a:prstGeom>
          <a:solidFill>
            <a:schemeClr val="accent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72" name="直接连接符 71"/>
          <p:cNvCxnSpPr/>
          <p:nvPr/>
        </p:nvCxnSpPr>
        <p:spPr>
          <a:xfrm>
            <a:off x="2141034" y="3869473"/>
            <a:ext cx="579864" cy="80288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05" name="直接连接符 204"/>
          <p:cNvCxnSpPr/>
          <p:nvPr/>
        </p:nvCxnSpPr>
        <p:spPr>
          <a:xfrm flipH="1">
            <a:off x="8028878" y="3869473"/>
            <a:ext cx="579864" cy="802888"/>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pic>
        <p:nvPicPr>
          <p:cNvPr id="186" name="图片 18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18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内容</a:t>
            </a:r>
            <a:endParaRPr lang="zh-CN" altLang="en-US" sz="2400" dirty="0">
              <a:solidFill>
                <a:prstClr val="black"/>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华文楷体" panose="02010600040101010101" charset="-122"/>
              </a:rPr>
              <a:t>内容</a:t>
            </a:r>
            <a:endParaRPr lang="zh-CN" altLang="en-US" sz="2400" dirty="0">
              <a:latin typeface="华文楷体" panose="02010600040101010101" charset="-122"/>
            </a:endParaRPr>
          </a:p>
        </p:txBody>
      </p:sp>
      <p:sp>
        <p:nvSpPr>
          <p:cNvPr id="36" name="灯片编号占位符 5"/>
          <p:cNvSpPr txBox="1"/>
          <p:nvPr/>
        </p:nvSpPr>
        <p:spPr>
          <a:xfrm>
            <a:off x="9432198" y="6489838"/>
            <a:ext cx="2743200" cy="365125"/>
          </a:xfrm>
          <a:prstGeom prst="rect">
            <a:avLst/>
          </a:prstGeom>
        </p:spPr>
        <p:txBody>
          <a:bodyPr vert="horz" lIns="91440" tIns="45720" rIns="91440" bIns="45720" rtlCol="0" anchor="ctr"/>
          <a:lstStyle>
            <a:defPPr>
              <a:defRPr lang="en-US"/>
            </a:defPPr>
            <a:lvl1pPr marL="0" algn="r" defTabSz="914400" rtl="0" eaLnBrk="1" fontAlgn="auto" latinLnBrk="0" hangingPunct="1">
              <a:spcBef>
                <a:spcPts val="0"/>
              </a:spcBef>
              <a:spcAft>
                <a:spcPts val="0"/>
              </a:spcAft>
              <a:defRPr sz="1200" kern="1200" smtClean="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C59A0A-2995-4370-A357-9205D0E828F4}" type="slidenum">
              <a:rPr lang="zh-CN" altLang="en-US" smtClean="0">
                <a:solidFill>
                  <a:prstClr val="black">
                    <a:tint val="75000"/>
                  </a:prstClr>
                </a:solidFill>
                <a:latin typeface="+mj-ea"/>
                <a:ea typeface="+mj-ea"/>
              </a:rPr>
            </a:fld>
            <a:endParaRPr lang="zh-CN" altLang="en-US" dirty="0">
              <a:solidFill>
                <a:prstClr val="black">
                  <a:tint val="75000"/>
                </a:prstClr>
              </a:solidFill>
              <a:latin typeface="+mj-ea"/>
              <a:ea typeface="+mj-ea"/>
            </a:endParaRPr>
          </a:p>
        </p:txBody>
      </p:sp>
      <p:sp>
        <p:nvSpPr>
          <p:cNvPr id="37" name="AutoShape 14"/>
          <p:cNvSpPr>
            <a:spLocks noChangeArrowheads="1"/>
          </p:cNvSpPr>
          <p:nvPr/>
        </p:nvSpPr>
        <p:spPr bwMode="gray">
          <a:xfrm>
            <a:off x="5630414" y="776099"/>
            <a:ext cx="329422" cy="5400000"/>
          </a:xfrm>
          <a:prstGeom prst="roundRect">
            <a:avLst>
              <a:gd name="adj" fmla="val 50000"/>
            </a:avLst>
          </a:prstGeom>
          <a:solidFill>
            <a:sysClr val="window" lastClr="FFFFFF">
              <a:lumMod val="65000"/>
              <a:alpha val="69804"/>
            </a:sysClr>
          </a:solidFill>
          <a:ln w="12700" cmpd="sng">
            <a:noFill/>
            <a:round/>
          </a:ln>
          <a:effec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black"/>
              </a:solidFill>
              <a:effectLst/>
              <a:uLnTx/>
              <a:uFillTx/>
              <a:latin typeface="+mj-ea"/>
              <a:ea typeface="+mj-ea"/>
            </a:endParaRPr>
          </a:p>
        </p:txBody>
      </p:sp>
      <p:grpSp>
        <p:nvGrpSpPr>
          <p:cNvPr id="38" name="组合 37"/>
          <p:cNvGrpSpPr/>
          <p:nvPr/>
        </p:nvGrpSpPr>
        <p:grpSpPr>
          <a:xfrm>
            <a:off x="1231765" y="1950305"/>
            <a:ext cx="4664336" cy="764802"/>
            <a:chOff x="8640" y="1891680"/>
            <a:chExt cx="4664336" cy="764802"/>
          </a:xfrm>
        </p:grpSpPr>
        <p:sp>
          <p:nvSpPr>
            <p:cNvPr id="39" name="椭圆 38"/>
            <p:cNvSpPr/>
            <p:nvPr/>
          </p:nvSpPr>
          <p:spPr>
            <a:xfrm flipH="1">
              <a:off x="4483238" y="2152317"/>
              <a:ext cx="189738" cy="189738"/>
            </a:xfrm>
            <a:prstGeom prst="ellipse">
              <a:avLst/>
            </a:prstGeom>
            <a:solidFill>
              <a:srgbClr val="A5A5A5"/>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smtClean="0">
                <a:ln>
                  <a:noFill/>
                </a:ln>
                <a:solidFill>
                  <a:sysClr val="window" lastClr="FFFFFF"/>
                </a:solidFill>
                <a:effectLst/>
                <a:uLnTx/>
                <a:uFillTx/>
                <a:latin typeface="+mj-ea"/>
                <a:ea typeface="+mj-ea"/>
              </a:endParaRPr>
            </a:p>
          </p:txBody>
        </p:sp>
        <p:sp>
          <p:nvSpPr>
            <p:cNvPr id="40" name="椭圆形标注 39"/>
            <p:cNvSpPr/>
            <p:nvPr/>
          </p:nvSpPr>
          <p:spPr>
            <a:xfrm rot="15378986">
              <a:off x="62046" y="1895528"/>
              <a:ext cx="764802" cy="757106"/>
            </a:xfrm>
            <a:prstGeom prst="wedgeEllipseCallout">
              <a:avLst>
                <a:gd name="adj1" fmla="val -11257"/>
                <a:gd name="adj2" fmla="val 65210"/>
              </a:avLst>
            </a:prstGeom>
            <a:solidFill>
              <a:srgbClr val="ED7D31"/>
            </a:solidFill>
            <a:ln w="19050" cmpd="sng">
              <a:noFill/>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 lastClr="FFFFFF"/>
                </a:solidFill>
                <a:effectLst/>
                <a:uLnTx/>
                <a:uFillTx/>
                <a:latin typeface="+mj-ea"/>
                <a:ea typeface="+mj-ea"/>
              </a:endParaRPr>
            </a:p>
          </p:txBody>
        </p:sp>
        <p:sp>
          <p:nvSpPr>
            <p:cNvPr id="41" name="TextBox 108"/>
            <p:cNvSpPr txBox="1"/>
            <p:nvPr/>
          </p:nvSpPr>
          <p:spPr>
            <a:xfrm>
              <a:off x="8640" y="2071792"/>
              <a:ext cx="844361"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charset="-122"/>
                </a:defRPr>
              </a:lvl1pPr>
            </a:lstStyle>
            <a:p>
              <a:pPr marL="0" marR="0" lvl="0" indent="0" algn="ctr" defTabSz="914400" eaLnBrk="1" fontAlgn="auto" latinLnBrk="0" hangingPunct="1">
                <a:lnSpc>
                  <a:spcPct val="80000"/>
                </a:lnSpc>
                <a:spcBef>
                  <a:spcPts val="0"/>
                </a:spcBef>
                <a:spcAft>
                  <a:spcPts val="0"/>
                </a:spcAft>
                <a:buClrTx/>
                <a:buSzTx/>
                <a:buFontTx/>
                <a:buNone/>
                <a:defRPr/>
              </a:pPr>
              <a:r>
                <a:rPr kumimoji="0" lang="en-US" altLang="zh-CN" sz="3200" b="1" i="0" u="none" strike="noStrike" kern="0" cap="none" spc="0" normalizeH="0" baseline="0" noProof="0" dirty="0" smtClean="0">
                  <a:ln w="18415" cmpd="sng">
                    <a:noFill/>
                    <a:prstDash val="solid"/>
                  </a:ln>
                  <a:solidFill>
                    <a:srgbClr val="A5A5A5">
                      <a:lumMod val="40000"/>
                      <a:lumOff val="60000"/>
                    </a:srgbClr>
                  </a:solidFill>
                  <a:effectLst/>
                  <a:uLnTx/>
                  <a:uFillTx/>
                  <a:latin typeface="+mj-ea"/>
                  <a:ea typeface="+mj-ea"/>
                  <a:cs typeface="Times New Roman" panose="02020603050405020304" pitchFamily="18" charset="0"/>
                </a:rPr>
                <a:t>02</a:t>
              </a:r>
              <a:endParaRPr kumimoji="0" lang="zh-CN" altLang="en-US" sz="3200" b="1" i="0" u="none" strike="noStrike" kern="0" cap="none" spc="0" normalizeH="0" baseline="0" noProof="0" dirty="0">
                <a:ln w="18415" cmpd="sng">
                  <a:noFill/>
                  <a:prstDash val="solid"/>
                </a:ln>
                <a:solidFill>
                  <a:srgbClr val="A5A5A5">
                    <a:lumMod val="40000"/>
                    <a:lumOff val="60000"/>
                  </a:srgbClr>
                </a:solidFill>
                <a:effectLst/>
                <a:uLnTx/>
                <a:uFillTx/>
                <a:latin typeface="+mj-ea"/>
                <a:ea typeface="+mj-ea"/>
                <a:cs typeface="Times New Roman" panose="02020603050405020304" pitchFamily="18" charset="0"/>
              </a:endParaRPr>
            </a:p>
          </p:txBody>
        </p:sp>
        <p:cxnSp>
          <p:nvCxnSpPr>
            <p:cNvPr id="42" name="直接连接符 41"/>
            <p:cNvCxnSpPr/>
            <p:nvPr/>
          </p:nvCxnSpPr>
          <p:spPr>
            <a:xfrm flipH="1">
              <a:off x="889634" y="2239929"/>
              <a:ext cx="3600000" cy="0"/>
            </a:xfrm>
            <a:prstGeom prst="line">
              <a:avLst/>
            </a:prstGeom>
            <a:noFill/>
            <a:ln w="19050" cmpd="sng">
              <a:solidFill>
                <a:srgbClr val="ED7D31"/>
              </a:solidFill>
              <a:round/>
            </a:ln>
            <a:effectLst/>
          </p:spPr>
        </p:cxnSp>
      </p:grpSp>
      <p:grpSp>
        <p:nvGrpSpPr>
          <p:cNvPr id="43" name="组合 42"/>
          <p:cNvGrpSpPr/>
          <p:nvPr/>
        </p:nvGrpSpPr>
        <p:grpSpPr>
          <a:xfrm>
            <a:off x="1219890" y="4097782"/>
            <a:ext cx="4640586" cy="764802"/>
            <a:chOff x="946765" y="3540407"/>
            <a:chExt cx="4640586" cy="764802"/>
          </a:xfrm>
          <a:effectLst/>
        </p:grpSpPr>
        <p:sp>
          <p:nvSpPr>
            <p:cNvPr id="44" name="椭圆 43"/>
            <p:cNvSpPr/>
            <p:nvPr/>
          </p:nvSpPr>
          <p:spPr>
            <a:xfrm flipH="1">
              <a:off x="5397613" y="3801044"/>
              <a:ext cx="189738" cy="189738"/>
            </a:xfrm>
            <a:prstGeom prst="ellipse">
              <a:avLst/>
            </a:prstGeom>
            <a:solidFill>
              <a:srgbClr val="A5A5A5"/>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smtClean="0">
                <a:ln>
                  <a:noFill/>
                </a:ln>
                <a:solidFill>
                  <a:sysClr val="window" lastClr="FFFFFF"/>
                </a:solidFill>
                <a:effectLst/>
                <a:uLnTx/>
                <a:uFillTx/>
                <a:latin typeface="+mj-ea"/>
                <a:ea typeface="+mj-ea"/>
              </a:endParaRPr>
            </a:p>
          </p:txBody>
        </p:sp>
        <p:cxnSp>
          <p:nvCxnSpPr>
            <p:cNvPr id="45" name="直接连接符 44"/>
            <p:cNvCxnSpPr/>
            <p:nvPr/>
          </p:nvCxnSpPr>
          <p:spPr>
            <a:xfrm flipH="1">
              <a:off x="1827759" y="3900531"/>
              <a:ext cx="3600000" cy="0"/>
            </a:xfrm>
            <a:prstGeom prst="line">
              <a:avLst/>
            </a:prstGeom>
            <a:noFill/>
            <a:ln w="19050" cmpd="sng">
              <a:solidFill>
                <a:srgbClr val="ED7D31"/>
              </a:solidFill>
              <a:round/>
            </a:ln>
            <a:effectLst/>
          </p:spPr>
        </p:cxnSp>
        <p:sp>
          <p:nvSpPr>
            <p:cNvPr id="46" name="椭圆形标注 45"/>
            <p:cNvSpPr/>
            <p:nvPr/>
          </p:nvSpPr>
          <p:spPr>
            <a:xfrm rot="15378986">
              <a:off x="1000171" y="3544255"/>
              <a:ext cx="764802" cy="757106"/>
            </a:xfrm>
            <a:prstGeom prst="wedgeEllipseCallout">
              <a:avLst>
                <a:gd name="adj1" fmla="val -11257"/>
                <a:gd name="adj2" fmla="val 65210"/>
              </a:avLst>
            </a:prstGeom>
            <a:solidFill>
              <a:srgbClr val="ED7D31"/>
            </a:solidFill>
            <a:ln w="19050" cmpd="sng">
              <a:noFill/>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smtClean="0">
                <a:ln>
                  <a:noFill/>
                </a:ln>
                <a:solidFill>
                  <a:sysClr val="window" lastClr="FFFFFF"/>
                </a:solidFill>
                <a:effectLst/>
                <a:uLnTx/>
                <a:uFillTx/>
                <a:latin typeface="+mj-ea"/>
                <a:ea typeface="+mj-ea"/>
              </a:endParaRPr>
            </a:p>
          </p:txBody>
        </p:sp>
        <p:sp>
          <p:nvSpPr>
            <p:cNvPr id="47" name="TextBox 114"/>
            <p:cNvSpPr txBox="1"/>
            <p:nvPr/>
          </p:nvSpPr>
          <p:spPr>
            <a:xfrm>
              <a:off x="946765" y="3720519"/>
              <a:ext cx="844361"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charset="-122"/>
                </a:defRPr>
              </a:lvl1pPr>
            </a:lstStyle>
            <a:p>
              <a:pPr marL="0" marR="0" lvl="0" indent="0" algn="ctr" defTabSz="914400" eaLnBrk="1" fontAlgn="auto" latinLnBrk="0" hangingPunct="1">
                <a:lnSpc>
                  <a:spcPct val="80000"/>
                </a:lnSpc>
                <a:spcBef>
                  <a:spcPts val="0"/>
                </a:spcBef>
                <a:spcAft>
                  <a:spcPts val="0"/>
                </a:spcAft>
                <a:buClrTx/>
                <a:buSzTx/>
                <a:buFontTx/>
                <a:buNone/>
                <a:defRPr/>
              </a:pPr>
              <a:r>
                <a:rPr kumimoji="0" lang="en-US" altLang="zh-CN" sz="3200" b="1" i="0" u="none" strike="noStrike" kern="0" cap="none" spc="0" normalizeH="0" baseline="0" noProof="0" dirty="0" smtClean="0">
                  <a:ln w="18415" cmpd="sng">
                    <a:noFill/>
                    <a:prstDash val="solid"/>
                  </a:ln>
                  <a:solidFill>
                    <a:srgbClr val="A5A5A5">
                      <a:lumMod val="40000"/>
                      <a:lumOff val="60000"/>
                    </a:srgbClr>
                  </a:solidFill>
                  <a:effectLst/>
                  <a:uLnTx/>
                  <a:uFillTx/>
                  <a:latin typeface="+mj-ea"/>
                  <a:ea typeface="+mj-ea"/>
                  <a:cs typeface="Times New Roman" panose="02020603050405020304" pitchFamily="18" charset="0"/>
                </a:rPr>
                <a:t>04</a:t>
              </a:r>
              <a:endParaRPr kumimoji="0" lang="zh-CN" altLang="en-US" sz="3200" b="1" i="0" u="none" strike="noStrike" kern="0" cap="none" spc="0" normalizeH="0" baseline="0" noProof="0" dirty="0">
                <a:ln w="18415" cmpd="sng">
                  <a:noFill/>
                  <a:prstDash val="solid"/>
                </a:ln>
                <a:solidFill>
                  <a:srgbClr val="A5A5A5">
                    <a:lumMod val="40000"/>
                    <a:lumOff val="60000"/>
                  </a:srgbClr>
                </a:solidFill>
                <a:effectLst/>
                <a:uLnTx/>
                <a:uFillTx/>
                <a:latin typeface="+mj-ea"/>
                <a:ea typeface="+mj-ea"/>
                <a:cs typeface="Times New Roman" panose="02020603050405020304" pitchFamily="18" charset="0"/>
              </a:endParaRPr>
            </a:p>
          </p:txBody>
        </p:sp>
      </p:grpSp>
      <p:grpSp>
        <p:nvGrpSpPr>
          <p:cNvPr id="48" name="组合 47"/>
          <p:cNvGrpSpPr/>
          <p:nvPr/>
        </p:nvGrpSpPr>
        <p:grpSpPr>
          <a:xfrm>
            <a:off x="5703247" y="873239"/>
            <a:ext cx="4680908" cy="764802"/>
            <a:chOff x="4480122" y="1063989"/>
            <a:chExt cx="4680908" cy="764802"/>
          </a:xfrm>
        </p:grpSpPr>
        <p:sp>
          <p:nvSpPr>
            <p:cNvPr id="49" name="椭圆 48"/>
            <p:cNvSpPr/>
            <p:nvPr/>
          </p:nvSpPr>
          <p:spPr>
            <a:xfrm>
              <a:off x="4480122" y="1324626"/>
              <a:ext cx="189738" cy="189738"/>
            </a:xfrm>
            <a:prstGeom prst="ellipse">
              <a:avLst/>
            </a:prstGeom>
            <a:solidFill>
              <a:srgbClr val="ED7D3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smtClean="0">
                <a:ln>
                  <a:noFill/>
                </a:ln>
                <a:solidFill>
                  <a:sysClr val="window" lastClr="FFFFFF"/>
                </a:solidFill>
                <a:effectLst/>
                <a:uLnTx/>
                <a:uFillTx/>
                <a:latin typeface="+mj-ea"/>
                <a:ea typeface="+mj-ea"/>
              </a:endParaRPr>
            </a:p>
          </p:txBody>
        </p:sp>
        <p:sp>
          <p:nvSpPr>
            <p:cNvPr id="50" name="椭圆形标注 49"/>
            <p:cNvSpPr/>
            <p:nvPr/>
          </p:nvSpPr>
          <p:spPr>
            <a:xfrm rot="6221014" flipH="1">
              <a:off x="8354697" y="1067837"/>
              <a:ext cx="764802" cy="757106"/>
            </a:xfrm>
            <a:prstGeom prst="wedgeEllipseCallout">
              <a:avLst>
                <a:gd name="adj1" fmla="val -11257"/>
                <a:gd name="adj2" fmla="val 65210"/>
              </a:avLst>
            </a:prstGeom>
            <a:solidFill>
              <a:srgbClr val="ED7D31"/>
            </a:solidFill>
            <a:ln w="19050" cmpd="sng">
              <a:noFill/>
              <a:round/>
            </a:ln>
            <a:effec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smtClean="0">
                <a:ln>
                  <a:noFill/>
                </a:ln>
                <a:solidFill>
                  <a:prstClr val="black"/>
                </a:solidFill>
                <a:effectLst/>
                <a:uLnTx/>
                <a:uFillTx/>
                <a:latin typeface="+mj-ea"/>
                <a:ea typeface="+mj-ea"/>
              </a:endParaRPr>
            </a:p>
          </p:txBody>
        </p:sp>
        <p:sp>
          <p:nvSpPr>
            <p:cNvPr id="51" name="TextBox 118"/>
            <p:cNvSpPr txBox="1"/>
            <p:nvPr/>
          </p:nvSpPr>
          <p:spPr>
            <a:xfrm flipH="1">
              <a:off x="8316669" y="1244101"/>
              <a:ext cx="844361"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charset="-122"/>
                </a:defRPr>
              </a:lvl1pPr>
            </a:lstStyle>
            <a:p>
              <a:pPr marL="0" marR="0" lvl="0" indent="0" algn="ctr" defTabSz="914400" eaLnBrk="1" fontAlgn="auto" latinLnBrk="0" hangingPunct="1">
                <a:lnSpc>
                  <a:spcPct val="80000"/>
                </a:lnSpc>
                <a:spcBef>
                  <a:spcPts val="0"/>
                </a:spcBef>
                <a:spcAft>
                  <a:spcPts val="0"/>
                </a:spcAft>
                <a:buClrTx/>
                <a:buSzTx/>
                <a:buFontTx/>
                <a:buNone/>
                <a:defRPr/>
              </a:pPr>
              <a:r>
                <a:rPr kumimoji="0" lang="en-US" altLang="zh-CN" sz="3200" b="1" i="0" u="none" strike="noStrike" kern="0" cap="none" spc="0" normalizeH="0" baseline="0" noProof="0" dirty="0" smtClean="0">
                  <a:ln w="18415" cmpd="sng">
                    <a:noFill/>
                    <a:prstDash val="solid"/>
                  </a:ln>
                  <a:solidFill>
                    <a:srgbClr val="A5A5A5">
                      <a:lumMod val="40000"/>
                      <a:lumOff val="60000"/>
                    </a:srgbClr>
                  </a:solidFill>
                  <a:effectLst/>
                  <a:uLnTx/>
                  <a:uFillTx/>
                  <a:latin typeface="+mj-ea"/>
                  <a:ea typeface="+mj-ea"/>
                  <a:cs typeface="Times New Roman" panose="02020603050405020304" pitchFamily="18" charset="0"/>
                </a:rPr>
                <a:t>01</a:t>
              </a:r>
              <a:endParaRPr kumimoji="0" lang="zh-CN" altLang="en-US" sz="3200" b="1" i="0" u="none" strike="noStrike" kern="0" cap="none" spc="0" normalizeH="0" baseline="0" noProof="0" dirty="0">
                <a:ln w="18415" cmpd="sng">
                  <a:noFill/>
                  <a:prstDash val="solid"/>
                </a:ln>
                <a:solidFill>
                  <a:srgbClr val="A5A5A5">
                    <a:lumMod val="40000"/>
                    <a:lumOff val="60000"/>
                  </a:srgbClr>
                </a:solidFill>
                <a:effectLst/>
                <a:uLnTx/>
                <a:uFillTx/>
                <a:latin typeface="+mj-ea"/>
                <a:ea typeface="+mj-ea"/>
                <a:cs typeface="Times New Roman" panose="02020603050405020304" pitchFamily="18" charset="0"/>
              </a:endParaRPr>
            </a:p>
          </p:txBody>
        </p:sp>
        <p:cxnSp>
          <p:nvCxnSpPr>
            <p:cNvPr id="52" name="直接连接符 51"/>
            <p:cNvCxnSpPr>
              <a:stCxn id="49" idx="6"/>
            </p:cNvCxnSpPr>
            <p:nvPr/>
          </p:nvCxnSpPr>
          <p:spPr>
            <a:xfrm>
              <a:off x="4650296" y="1412238"/>
              <a:ext cx="3600000" cy="0"/>
            </a:xfrm>
            <a:prstGeom prst="line">
              <a:avLst/>
            </a:prstGeom>
            <a:noFill/>
            <a:ln w="19050" cmpd="sng">
              <a:solidFill>
                <a:srgbClr val="ED7D31"/>
              </a:solidFill>
              <a:round/>
            </a:ln>
            <a:effectLst/>
          </p:spPr>
        </p:cxnSp>
      </p:grpSp>
      <p:grpSp>
        <p:nvGrpSpPr>
          <p:cNvPr id="53" name="组合 52"/>
          <p:cNvGrpSpPr/>
          <p:nvPr/>
        </p:nvGrpSpPr>
        <p:grpSpPr>
          <a:xfrm>
            <a:off x="5703247" y="2996966"/>
            <a:ext cx="4680908" cy="764802"/>
            <a:chOff x="4480122" y="2712716"/>
            <a:chExt cx="4680908" cy="764802"/>
          </a:xfrm>
        </p:grpSpPr>
        <p:sp>
          <p:nvSpPr>
            <p:cNvPr id="54" name="椭圆 53"/>
            <p:cNvSpPr/>
            <p:nvPr/>
          </p:nvSpPr>
          <p:spPr>
            <a:xfrm>
              <a:off x="4480122" y="2973353"/>
              <a:ext cx="189738" cy="189738"/>
            </a:xfrm>
            <a:prstGeom prst="ellipse">
              <a:avLst/>
            </a:prstGeom>
            <a:solidFill>
              <a:srgbClr val="ED7D3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smtClean="0">
                <a:ln>
                  <a:noFill/>
                </a:ln>
                <a:solidFill>
                  <a:sysClr val="window" lastClr="FFFFFF"/>
                </a:solidFill>
                <a:effectLst/>
                <a:uLnTx/>
                <a:uFillTx/>
                <a:latin typeface="+mj-ea"/>
                <a:ea typeface="+mj-ea"/>
              </a:endParaRPr>
            </a:p>
          </p:txBody>
        </p:sp>
        <p:sp>
          <p:nvSpPr>
            <p:cNvPr id="55" name="椭圆形标注 54"/>
            <p:cNvSpPr/>
            <p:nvPr/>
          </p:nvSpPr>
          <p:spPr>
            <a:xfrm rot="6221014" flipH="1">
              <a:off x="8354697" y="2716564"/>
              <a:ext cx="764802" cy="757106"/>
            </a:xfrm>
            <a:prstGeom prst="wedgeEllipseCallout">
              <a:avLst>
                <a:gd name="adj1" fmla="val -11257"/>
                <a:gd name="adj2" fmla="val 65210"/>
              </a:avLst>
            </a:prstGeom>
            <a:solidFill>
              <a:srgbClr val="ED7D31"/>
            </a:solidFill>
            <a:ln w="19050" cmpd="sng">
              <a:noFill/>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 lastClr="FFFFFF"/>
                </a:solidFill>
                <a:effectLst/>
                <a:uLnTx/>
                <a:uFillTx/>
                <a:latin typeface="+mj-ea"/>
                <a:ea typeface="+mj-ea"/>
              </a:endParaRPr>
            </a:p>
          </p:txBody>
        </p:sp>
        <p:sp>
          <p:nvSpPr>
            <p:cNvPr id="56" name="TextBox 123"/>
            <p:cNvSpPr txBox="1"/>
            <p:nvPr/>
          </p:nvSpPr>
          <p:spPr>
            <a:xfrm flipH="1">
              <a:off x="8316669" y="2892828"/>
              <a:ext cx="844361"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charset="-122"/>
                </a:defRPr>
              </a:lvl1pPr>
            </a:lstStyle>
            <a:p>
              <a:pPr marL="0" marR="0" lvl="0" indent="0" algn="ctr" defTabSz="914400" eaLnBrk="1" fontAlgn="auto" latinLnBrk="0" hangingPunct="1">
                <a:lnSpc>
                  <a:spcPct val="80000"/>
                </a:lnSpc>
                <a:spcBef>
                  <a:spcPts val="0"/>
                </a:spcBef>
                <a:spcAft>
                  <a:spcPts val="0"/>
                </a:spcAft>
                <a:buClrTx/>
                <a:buSzTx/>
                <a:buFontTx/>
                <a:buNone/>
                <a:defRPr/>
              </a:pPr>
              <a:r>
                <a:rPr kumimoji="0" lang="en-US" altLang="zh-CN" sz="3200" b="1" i="0" u="none" strike="noStrike" kern="0" cap="none" spc="0" normalizeH="0" baseline="0" noProof="0" dirty="0" smtClean="0">
                  <a:ln w="18415" cmpd="sng">
                    <a:noFill/>
                    <a:prstDash val="solid"/>
                  </a:ln>
                  <a:solidFill>
                    <a:srgbClr val="A5A5A5">
                      <a:lumMod val="40000"/>
                      <a:lumOff val="60000"/>
                    </a:srgbClr>
                  </a:solidFill>
                  <a:effectLst/>
                  <a:uLnTx/>
                  <a:uFillTx/>
                  <a:latin typeface="+mj-ea"/>
                  <a:ea typeface="+mj-ea"/>
                  <a:cs typeface="Times New Roman" panose="02020603050405020304" pitchFamily="18" charset="0"/>
                </a:rPr>
                <a:t>03</a:t>
              </a:r>
              <a:endParaRPr kumimoji="0" lang="zh-CN" altLang="en-US" sz="3200" b="1" i="0" u="none" strike="noStrike" kern="0" cap="none" spc="0" normalizeH="0" baseline="0" noProof="0" dirty="0">
                <a:ln w="18415" cmpd="sng">
                  <a:noFill/>
                  <a:prstDash val="solid"/>
                </a:ln>
                <a:solidFill>
                  <a:srgbClr val="A5A5A5">
                    <a:lumMod val="40000"/>
                    <a:lumOff val="60000"/>
                  </a:srgbClr>
                </a:solidFill>
                <a:effectLst/>
                <a:uLnTx/>
                <a:uFillTx/>
                <a:latin typeface="+mj-ea"/>
                <a:ea typeface="+mj-ea"/>
                <a:cs typeface="Times New Roman" panose="02020603050405020304" pitchFamily="18" charset="0"/>
              </a:endParaRPr>
            </a:p>
          </p:txBody>
        </p:sp>
        <p:cxnSp>
          <p:nvCxnSpPr>
            <p:cNvPr id="57" name="直接连接符 56"/>
            <p:cNvCxnSpPr>
              <a:stCxn id="54" idx="6"/>
            </p:cNvCxnSpPr>
            <p:nvPr/>
          </p:nvCxnSpPr>
          <p:spPr>
            <a:xfrm>
              <a:off x="4650291" y="3060965"/>
              <a:ext cx="3600000" cy="0"/>
            </a:xfrm>
            <a:prstGeom prst="line">
              <a:avLst/>
            </a:prstGeom>
            <a:noFill/>
            <a:ln w="19050" cmpd="sng">
              <a:solidFill>
                <a:srgbClr val="ED7D31"/>
              </a:solidFill>
              <a:round/>
            </a:ln>
            <a:effectLst/>
          </p:spPr>
        </p:cxnSp>
      </p:grpSp>
      <p:grpSp>
        <p:nvGrpSpPr>
          <p:cNvPr id="58" name="组合 57"/>
          <p:cNvGrpSpPr/>
          <p:nvPr/>
        </p:nvGrpSpPr>
        <p:grpSpPr>
          <a:xfrm>
            <a:off x="5703247" y="5024406"/>
            <a:ext cx="4692783" cy="764802"/>
            <a:chOff x="4480122" y="4372031"/>
            <a:chExt cx="4692783" cy="764802"/>
          </a:xfrm>
        </p:grpSpPr>
        <p:sp>
          <p:nvSpPr>
            <p:cNvPr id="59" name="椭圆形标注 58"/>
            <p:cNvSpPr/>
            <p:nvPr/>
          </p:nvSpPr>
          <p:spPr>
            <a:xfrm rot="6221014" flipH="1">
              <a:off x="8354697" y="4375879"/>
              <a:ext cx="764802" cy="757106"/>
            </a:xfrm>
            <a:prstGeom prst="wedgeEllipseCallout">
              <a:avLst>
                <a:gd name="adj1" fmla="val -11257"/>
                <a:gd name="adj2" fmla="val 65210"/>
              </a:avLst>
            </a:prstGeom>
            <a:solidFill>
              <a:srgbClr val="ED7D31"/>
            </a:solidFill>
            <a:ln w="19050" cmpd="sng">
              <a:noFill/>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 lastClr="FFFFFF"/>
                </a:solidFill>
                <a:effectLst/>
                <a:uLnTx/>
                <a:uFillTx/>
                <a:latin typeface="+mj-ea"/>
                <a:ea typeface="+mj-ea"/>
              </a:endParaRPr>
            </a:p>
          </p:txBody>
        </p:sp>
        <p:grpSp>
          <p:nvGrpSpPr>
            <p:cNvPr id="60" name="组合 59"/>
            <p:cNvGrpSpPr/>
            <p:nvPr/>
          </p:nvGrpSpPr>
          <p:grpSpPr>
            <a:xfrm>
              <a:off x="4480122" y="4564018"/>
              <a:ext cx="4692783" cy="486287"/>
              <a:chOff x="4480122" y="4564018"/>
              <a:chExt cx="4692783" cy="486287"/>
            </a:xfrm>
          </p:grpSpPr>
          <p:sp>
            <p:nvSpPr>
              <p:cNvPr id="61" name="椭圆 60"/>
              <p:cNvSpPr/>
              <p:nvPr/>
            </p:nvSpPr>
            <p:spPr>
              <a:xfrm>
                <a:off x="4480122" y="4644543"/>
                <a:ext cx="189738" cy="189738"/>
              </a:xfrm>
              <a:prstGeom prst="ellipse">
                <a:avLst/>
              </a:prstGeom>
              <a:solidFill>
                <a:srgbClr val="ED7D3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2400" b="1" i="0" u="none" strike="noStrike" kern="0" cap="none" spc="0" normalizeH="0" baseline="0" noProof="0" dirty="0" smtClean="0">
                  <a:ln>
                    <a:noFill/>
                  </a:ln>
                  <a:solidFill>
                    <a:sysClr val="window" lastClr="FFFFFF"/>
                  </a:solidFill>
                  <a:effectLst/>
                  <a:uLnTx/>
                  <a:uFillTx/>
                  <a:latin typeface="+mj-ea"/>
                  <a:ea typeface="+mj-ea"/>
                </a:endParaRPr>
              </a:p>
            </p:txBody>
          </p:sp>
          <p:cxnSp>
            <p:nvCxnSpPr>
              <p:cNvPr id="62" name="直接连接符 61"/>
              <p:cNvCxnSpPr>
                <a:stCxn id="61" idx="6"/>
              </p:cNvCxnSpPr>
              <p:nvPr/>
            </p:nvCxnSpPr>
            <p:spPr>
              <a:xfrm>
                <a:off x="4650291" y="4732155"/>
                <a:ext cx="3600000" cy="0"/>
              </a:xfrm>
              <a:prstGeom prst="line">
                <a:avLst/>
              </a:prstGeom>
              <a:noFill/>
              <a:ln w="19050" cmpd="sng">
                <a:solidFill>
                  <a:srgbClr val="ED7D31"/>
                </a:solidFill>
                <a:round/>
              </a:ln>
              <a:effectLst/>
            </p:spPr>
          </p:cxnSp>
          <p:sp>
            <p:nvSpPr>
              <p:cNvPr id="63" name="TextBox 130"/>
              <p:cNvSpPr txBox="1"/>
              <p:nvPr/>
            </p:nvSpPr>
            <p:spPr>
              <a:xfrm flipH="1">
                <a:off x="8328544" y="4564018"/>
                <a:ext cx="844361"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charset="-122"/>
                  </a:defRPr>
                </a:lvl1pPr>
              </a:lstStyle>
              <a:p>
                <a:pPr marL="0" marR="0" lvl="0" indent="0" algn="ctr" defTabSz="914400" eaLnBrk="1" fontAlgn="auto" latinLnBrk="0" hangingPunct="1">
                  <a:lnSpc>
                    <a:spcPct val="80000"/>
                  </a:lnSpc>
                  <a:spcBef>
                    <a:spcPts val="0"/>
                  </a:spcBef>
                  <a:spcAft>
                    <a:spcPts val="0"/>
                  </a:spcAft>
                  <a:buClrTx/>
                  <a:buSzTx/>
                  <a:buFontTx/>
                  <a:buNone/>
                  <a:defRPr/>
                </a:pPr>
                <a:r>
                  <a:rPr kumimoji="0" lang="en-US" altLang="zh-CN" sz="3200" b="1" i="0" u="none" strike="noStrike" kern="0" cap="none" spc="0" normalizeH="0" baseline="0" noProof="0" dirty="0" smtClean="0">
                    <a:ln w="18415" cmpd="sng">
                      <a:noFill/>
                      <a:prstDash val="solid"/>
                    </a:ln>
                    <a:solidFill>
                      <a:srgbClr val="A5A5A5">
                        <a:lumMod val="40000"/>
                        <a:lumOff val="60000"/>
                      </a:srgbClr>
                    </a:solidFill>
                    <a:effectLst/>
                    <a:uLnTx/>
                    <a:uFillTx/>
                    <a:latin typeface="+mj-ea"/>
                    <a:ea typeface="+mj-ea"/>
                    <a:cs typeface="Times New Roman" panose="02020603050405020304" pitchFamily="18" charset="0"/>
                  </a:rPr>
                  <a:t>05</a:t>
                </a:r>
                <a:endParaRPr kumimoji="0" lang="zh-CN" altLang="en-US" sz="3200" b="1" i="0" u="none" strike="noStrike" kern="0" cap="none" spc="0" normalizeH="0" baseline="0" noProof="0" dirty="0">
                  <a:ln w="18415" cmpd="sng">
                    <a:noFill/>
                    <a:prstDash val="solid"/>
                  </a:ln>
                  <a:solidFill>
                    <a:srgbClr val="A5A5A5">
                      <a:lumMod val="40000"/>
                      <a:lumOff val="60000"/>
                    </a:srgbClr>
                  </a:solidFill>
                  <a:effectLst/>
                  <a:uLnTx/>
                  <a:uFillTx/>
                  <a:latin typeface="+mj-ea"/>
                  <a:ea typeface="+mj-ea"/>
                  <a:cs typeface="Times New Roman" panose="02020603050405020304" pitchFamily="18" charset="0"/>
                </a:endParaRPr>
              </a:p>
            </p:txBody>
          </p:sp>
        </p:grpSp>
      </p:grpSp>
      <p:sp>
        <p:nvSpPr>
          <p:cNvPr id="64" name="TextBox 131"/>
          <p:cNvSpPr txBox="1"/>
          <p:nvPr/>
        </p:nvSpPr>
        <p:spPr>
          <a:xfrm>
            <a:off x="1784570" y="1153444"/>
            <a:ext cx="3780000" cy="323165"/>
          </a:xfrm>
          <a:prstGeom prst="rect">
            <a:avLst/>
          </a:prstGeom>
          <a:noFill/>
        </p:spPr>
        <p:txBody>
          <a:bodyPr wrap="square" rtlCol="0">
            <a:spAutoFit/>
          </a:bodyPr>
          <a:lstStyle/>
          <a:p>
            <a:pPr marL="285750" indent="-285750" algn="just">
              <a:buFont typeface="Wingdings" panose="05000000000000000000" pitchFamily="2" charset="2"/>
              <a:buChar char="p"/>
              <a:defRPr/>
            </a:pPr>
            <a:r>
              <a:rPr lang="en-US" altLang="zh-CN" sz="1500" dirty="0" err="1" smtClean="0">
                <a:solidFill>
                  <a:prstClr val="black"/>
                </a:solidFill>
                <a:latin typeface="+mj-ea"/>
                <a:ea typeface="+mj-ea"/>
              </a:rPr>
              <a:t>xxxxxx</a:t>
            </a:r>
            <a:endParaRPr lang="en-US" altLang="zh-CN" sz="1500" dirty="0">
              <a:solidFill>
                <a:prstClr val="black"/>
              </a:solidFill>
              <a:latin typeface="+mj-ea"/>
              <a:ea typeface="+mj-ea"/>
            </a:endParaRPr>
          </a:p>
        </p:txBody>
      </p:sp>
      <p:sp>
        <p:nvSpPr>
          <p:cNvPr id="65" name="TextBox 140"/>
          <p:cNvSpPr txBox="1"/>
          <p:nvPr/>
        </p:nvSpPr>
        <p:spPr>
          <a:xfrm>
            <a:off x="1784570" y="3143222"/>
            <a:ext cx="3780000" cy="323165"/>
          </a:xfrm>
          <a:prstGeom prst="rect">
            <a:avLst/>
          </a:prstGeom>
          <a:noFill/>
        </p:spPr>
        <p:txBody>
          <a:bodyPr wrap="square" rtlCol="0">
            <a:spAutoFit/>
          </a:bodyPr>
          <a:lstStyle/>
          <a:p>
            <a:pPr marL="285750" indent="-285750" algn="just">
              <a:buFont typeface="Wingdings" panose="05000000000000000000" pitchFamily="2" charset="2"/>
              <a:buChar char="p"/>
              <a:defRPr/>
            </a:pPr>
            <a:r>
              <a:rPr lang="en-US" altLang="zh-CN" sz="1500" dirty="0" smtClean="0">
                <a:solidFill>
                  <a:prstClr val="black"/>
                </a:solidFill>
                <a:latin typeface="+mj-ea"/>
                <a:ea typeface="+mj-ea"/>
              </a:rPr>
              <a:t>xx</a:t>
            </a:r>
            <a:r>
              <a:rPr lang="zh-CN" altLang="en-US" sz="1500" dirty="0" smtClean="0">
                <a:solidFill>
                  <a:prstClr val="black"/>
                </a:solidFill>
                <a:latin typeface="+mj-ea"/>
                <a:ea typeface="+mj-ea"/>
              </a:rPr>
              <a:t>；</a:t>
            </a:r>
            <a:endParaRPr lang="en-US" altLang="zh-CN" sz="1500" dirty="0">
              <a:solidFill>
                <a:prstClr val="black"/>
              </a:solidFill>
              <a:latin typeface="+mj-ea"/>
              <a:ea typeface="+mj-ea"/>
            </a:endParaRPr>
          </a:p>
        </p:txBody>
      </p:sp>
      <p:sp>
        <p:nvSpPr>
          <p:cNvPr id="66" name="TextBox 141"/>
          <p:cNvSpPr txBox="1"/>
          <p:nvPr/>
        </p:nvSpPr>
        <p:spPr>
          <a:xfrm>
            <a:off x="6037723" y="2062706"/>
            <a:ext cx="3780000" cy="323165"/>
          </a:xfrm>
          <a:prstGeom prst="rect">
            <a:avLst/>
          </a:prstGeom>
          <a:noFill/>
        </p:spPr>
        <p:txBody>
          <a:bodyPr wrap="square" rtlCol="0">
            <a:spAutoFit/>
          </a:bodyPr>
          <a:lstStyle/>
          <a:p>
            <a:pPr marL="285750" indent="-285750" algn="just">
              <a:buFont typeface="Wingdings" panose="05000000000000000000" pitchFamily="2" charset="2"/>
              <a:buChar char="p"/>
              <a:defRPr/>
            </a:pPr>
            <a:r>
              <a:rPr lang="en-US" altLang="zh-CN" sz="1500" dirty="0" smtClean="0">
                <a:solidFill>
                  <a:prstClr val="black"/>
                </a:solidFill>
                <a:latin typeface="+mj-ea"/>
                <a:ea typeface="+mj-ea"/>
              </a:rPr>
              <a:t>xx</a:t>
            </a:r>
            <a:endParaRPr lang="en-US" altLang="zh-CN" sz="1500" dirty="0">
              <a:solidFill>
                <a:prstClr val="black"/>
              </a:solidFill>
              <a:latin typeface="+mj-ea"/>
              <a:ea typeface="+mj-ea"/>
            </a:endParaRPr>
          </a:p>
        </p:txBody>
      </p:sp>
      <p:sp>
        <p:nvSpPr>
          <p:cNvPr id="67" name="TextBox 142"/>
          <p:cNvSpPr txBox="1"/>
          <p:nvPr/>
        </p:nvSpPr>
        <p:spPr>
          <a:xfrm>
            <a:off x="6037723" y="4180907"/>
            <a:ext cx="3780000" cy="323165"/>
          </a:xfrm>
          <a:prstGeom prst="rect">
            <a:avLst/>
          </a:prstGeom>
          <a:noFill/>
        </p:spPr>
        <p:txBody>
          <a:bodyPr wrap="square" rtlCol="0">
            <a:spAutoFit/>
          </a:bodyPr>
          <a:lstStyle/>
          <a:p>
            <a:pPr marL="285750" indent="-285750" algn="just">
              <a:buFont typeface="Wingdings" panose="05000000000000000000" pitchFamily="2" charset="2"/>
              <a:buChar char="p"/>
              <a:defRPr/>
            </a:pPr>
            <a:r>
              <a:rPr lang="en-US" altLang="zh-CN" sz="1500" dirty="0" smtClean="0">
                <a:solidFill>
                  <a:prstClr val="black"/>
                </a:solidFill>
                <a:latin typeface="+mj-ea"/>
                <a:ea typeface="+mj-ea"/>
              </a:rPr>
              <a:t>xx</a:t>
            </a:r>
            <a:endParaRPr lang="en-US" altLang="zh-CN" sz="1500" dirty="0">
              <a:solidFill>
                <a:prstClr val="black"/>
              </a:solidFill>
              <a:latin typeface="+mj-ea"/>
              <a:ea typeface="+mj-ea"/>
            </a:endParaRPr>
          </a:p>
        </p:txBody>
      </p:sp>
      <p:sp>
        <p:nvSpPr>
          <p:cNvPr id="68" name="TextBox 143"/>
          <p:cNvSpPr txBox="1"/>
          <p:nvPr/>
        </p:nvSpPr>
        <p:spPr>
          <a:xfrm>
            <a:off x="1784570" y="5111287"/>
            <a:ext cx="3780000" cy="553998"/>
          </a:xfrm>
          <a:prstGeom prst="rect">
            <a:avLst/>
          </a:prstGeom>
          <a:noFill/>
        </p:spPr>
        <p:txBody>
          <a:bodyPr wrap="square" rtlCol="0">
            <a:spAutoFit/>
          </a:bodyPr>
          <a:lstStyle/>
          <a:p>
            <a:pPr marL="285750" indent="-285750" algn="just">
              <a:buFont typeface="Wingdings" panose="05000000000000000000" pitchFamily="2" charset="2"/>
              <a:buChar char="p"/>
              <a:defRPr/>
            </a:pPr>
            <a:r>
              <a:rPr lang="en-US" altLang="zh-CN" sz="1500" dirty="0" smtClean="0">
                <a:solidFill>
                  <a:prstClr val="black"/>
                </a:solidFill>
                <a:latin typeface="+mj-ea"/>
                <a:ea typeface="+mj-ea"/>
              </a:rPr>
              <a:t>Xx</a:t>
            </a:r>
            <a:endParaRPr lang="en-US" altLang="zh-CN" sz="1500" dirty="0" smtClean="0">
              <a:solidFill>
                <a:prstClr val="black"/>
              </a:solidFill>
              <a:latin typeface="+mj-ea"/>
              <a:ea typeface="+mj-ea"/>
            </a:endParaRPr>
          </a:p>
          <a:p>
            <a:pPr marL="285750" indent="-285750" algn="just">
              <a:buFont typeface="Wingdings" panose="05000000000000000000" pitchFamily="2" charset="2"/>
              <a:buChar char="p"/>
              <a:defRPr/>
            </a:pPr>
            <a:endParaRPr lang="en-US" altLang="zh-CN" sz="1500" dirty="0">
              <a:solidFill>
                <a:prstClr val="black"/>
              </a:solidFill>
              <a:latin typeface="+mj-ea"/>
              <a:ea typeface="+mj-ea"/>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a:spLocks noChangeAspect="1"/>
          </p:cNvSpPr>
          <p:nvPr/>
        </p:nvSpPr>
        <p:spPr>
          <a:xfrm>
            <a:off x="5820849" y="3511956"/>
            <a:ext cx="453707" cy="458530"/>
          </a:xfrm>
          <a:prstGeom prst="ellipse">
            <a:avLst/>
          </a:prstGeom>
          <a:solidFill>
            <a:schemeClr val="accent4"/>
          </a:solidFill>
          <a:ln w="25400" algn="ctr">
            <a:noFill/>
            <a:miter lim="800000"/>
          </a:ln>
          <a:effectLst>
            <a:outerShdw blurRad="63500" algn="ctr" rotWithShape="0">
              <a:prstClr val="black">
                <a:alpha val="40000"/>
              </a:prstClr>
            </a:outerShdw>
          </a:effectLst>
        </p:spPr>
        <p:txBody>
          <a:bodyPr anchor="ctr"/>
          <a:lstStyle/>
          <a:p>
            <a:pPr algn="ctr" defTabSz="1146810"/>
            <a:endParaRPr lang="zh-CN" altLang="en-US" sz="2255" dirty="0">
              <a:solidFill>
                <a:schemeClr val="tx1"/>
              </a:solidFill>
            </a:endParaRPr>
          </a:p>
        </p:txBody>
      </p:sp>
      <p:grpSp>
        <p:nvGrpSpPr>
          <p:cNvPr id="3" name="组合 2"/>
          <p:cNvGrpSpPr/>
          <p:nvPr/>
        </p:nvGrpSpPr>
        <p:grpSpPr>
          <a:xfrm>
            <a:off x="1428827" y="1756099"/>
            <a:ext cx="1562974" cy="1953257"/>
            <a:chOff x="1575270" y="1648989"/>
            <a:chExt cx="2160000" cy="2160000"/>
          </a:xfrm>
        </p:grpSpPr>
        <p:graphicFrame>
          <p:nvGraphicFramePr>
            <p:cNvPr id="4" name="图表 3"/>
            <p:cNvGraphicFramePr/>
            <p:nvPr/>
          </p:nvGraphicFramePr>
          <p:xfrm>
            <a:off x="1575270" y="1648989"/>
            <a:ext cx="2160000" cy="2160000"/>
          </p:xfrm>
          <a:graphic>
            <a:graphicData uri="http://schemas.openxmlformats.org/drawingml/2006/chart">
              <c:chart xmlns:c="http://schemas.openxmlformats.org/drawingml/2006/chart" xmlns:r="http://schemas.openxmlformats.org/officeDocument/2006/relationships" r:id="rId1"/>
            </a:graphicData>
          </a:graphic>
        </p:graphicFrame>
        <p:sp>
          <p:nvSpPr>
            <p:cNvPr id="5" name="文本框 4"/>
            <p:cNvSpPr txBox="1"/>
            <p:nvPr/>
          </p:nvSpPr>
          <p:spPr>
            <a:xfrm>
              <a:off x="2001119" y="2242005"/>
              <a:ext cx="1388338" cy="960071"/>
            </a:xfrm>
            <a:prstGeom prst="rect">
              <a:avLst/>
            </a:prstGeom>
            <a:noFill/>
          </p:spPr>
          <p:txBody>
            <a:bodyPr wrap="none" rtlCol="0">
              <a:spAutoFit/>
            </a:bodyPr>
            <a:lstStyle/>
            <a:p>
              <a:pPr algn="ctr">
                <a:lnSpc>
                  <a:spcPct val="125000"/>
                </a:lnSpc>
                <a:spcAft>
                  <a:spcPts val="800"/>
                </a:spcAft>
              </a:pPr>
              <a:r>
                <a:rPr lang="en-US" altLang="zh-CN" sz="4000" dirty="0" smtClean="0">
                  <a:solidFill>
                    <a:schemeClr val="accent1"/>
                  </a:solidFill>
                  <a:latin typeface="Impact" panose="020B0806030902050204" pitchFamily="34" charset="0"/>
                </a:rPr>
                <a:t>95%</a:t>
              </a:r>
              <a:endParaRPr lang="zh-CN" altLang="en-US" sz="4000" dirty="0">
                <a:solidFill>
                  <a:schemeClr val="accent1"/>
                </a:solidFill>
                <a:latin typeface="Impact" panose="020B0806030902050204" pitchFamily="34" charset="0"/>
              </a:endParaRPr>
            </a:p>
          </p:txBody>
        </p:sp>
      </p:grpSp>
      <p:grpSp>
        <p:nvGrpSpPr>
          <p:cNvPr id="6" name="组合 5"/>
          <p:cNvGrpSpPr/>
          <p:nvPr/>
        </p:nvGrpSpPr>
        <p:grpSpPr>
          <a:xfrm>
            <a:off x="3187358" y="1701763"/>
            <a:ext cx="1568871" cy="2025210"/>
            <a:chOff x="5084437" y="1746623"/>
            <a:chExt cx="2160000" cy="2160000"/>
          </a:xfrm>
        </p:grpSpPr>
        <p:graphicFrame>
          <p:nvGraphicFramePr>
            <p:cNvPr id="7" name="图表 6"/>
            <p:cNvGraphicFramePr/>
            <p:nvPr/>
          </p:nvGraphicFramePr>
          <p:xfrm>
            <a:off x="5084437" y="1746623"/>
            <a:ext cx="2160000" cy="2160000"/>
          </p:xfrm>
          <a:graphic>
            <a:graphicData uri="http://schemas.openxmlformats.org/drawingml/2006/chart">
              <c:chart xmlns:c="http://schemas.openxmlformats.org/drawingml/2006/chart" xmlns:r="http://schemas.openxmlformats.org/officeDocument/2006/relationships" r:id="rId2"/>
            </a:graphicData>
          </a:graphic>
        </p:graphicFrame>
        <p:sp>
          <p:nvSpPr>
            <p:cNvPr id="8" name="文本框 7"/>
            <p:cNvSpPr txBox="1"/>
            <p:nvPr/>
          </p:nvSpPr>
          <p:spPr>
            <a:xfrm>
              <a:off x="5505859" y="2376522"/>
              <a:ext cx="1399036" cy="947034"/>
            </a:xfrm>
            <a:prstGeom prst="rect">
              <a:avLst/>
            </a:prstGeom>
            <a:noFill/>
          </p:spPr>
          <p:txBody>
            <a:bodyPr wrap="none" rtlCol="0">
              <a:spAutoFit/>
            </a:bodyPr>
            <a:lstStyle/>
            <a:p>
              <a:pPr algn="ctr">
                <a:lnSpc>
                  <a:spcPct val="125000"/>
                </a:lnSpc>
                <a:spcAft>
                  <a:spcPts val="800"/>
                </a:spcAft>
              </a:pPr>
              <a:r>
                <a:rPr lang="en-US" altLang="zh-CN" sz="4000" dirty="0" smtClean="0">
                  <a:solidFill>
                    <a:schemeClr val="accent2"/>
                  </a:solidFill>
                  <a:latin typeface="Impact" panose="020B0806030902050204" pitchFamily="34" charset="0"/>
                </a:rPr>
                <a:t>50%</a:t>
              </a:r>
              <a:endParaRPr lang="zh-CN" altLang="en-US" sz="4000" dirty="0">
                <a:solidFill>
                  <a:schemeClr val="accent2"/>
                </a:solidFill>
                <a:latin typeface="Impact" panose="020B0806030902050204" pitchFamily="34" charset="0"/>
              </a:endParaRPr>
            </a:p>
          </p:txBody>
        </p:sp>
      </p:grpSp>
      <p:grpSp>
        <p:nvGrpSpPr>
          <p:cNvPr id="9" name="组合 8"/>
          <p:cNvGrpSpPr/>
          <p:nvPr/>
        </p:nvGrpSpPr>
        <p:grpSpPr>
          <a:xfrm>
            <a:off x="7226997" y="1893991"/>
            <a:ext cx="1582081" cy="1684663"/>
            <a:chOff x="6194608" y="1732822"/>
            <a:chExt cx="2160000" cy="2160000"/>
          </a:xfrm>
        </p:grpSpPr>
        <p:graphicFrame>
          <p:nvGraphicFramePr>
            <p:cNvPr id="10" name="图表 9"/>
            <p:cNvGraphicFramePr/>
            <p:nvPr/>
          </p:nvGraphicFramePr>
          <p:xfrm>
            <a:off x="6194608" y="1732822"/>
            <a:ext cx="2160000" cy="2160000"/>
          </p:xfrm>
          <a:graphic>
            <a:graphicData uri="http://schemas.openxmlformats.org/drawingml/2006/chart">
              <c:chart xmlns:c="http://schemas.openxmlformats.org/drawingml/2006/chart" xmlns:r="http://schemas.openxmlformats.org/officeDocument/2006/relationships" r:id="rId3"/>
            </a:graphicData>
          </a:graphic>
        </p:graphicFrame>
        <p:sp>
          <p:nvSpPr>
            <p:cNvPr id="11" name="文本框 10"/>
            <p:cNvSpPr txBox="1"/>
            <p:nvPr/>
          </p:nvSpPr>
          <p:spPr>
            <a:xfrm>
              <a:off x="6684241" y="2216461"/>
              <a:ext cx="1174913" cy="1023949"/>
            </a:xfrm>
            <a:prstGeom prst="rect">
              <a:avLst/>
            </a:prstGeom>
            <a:noFill/>
          </p:spPr>
          <p:txBody>
            <a:bodyPr wrap="none" rtlCol="0">
              <a:spAutoFit/>
            </a:bodyPr>
            <a:lstStyle/>
            <a:p>
              <a:pPr algn="ctr">
                <a:lnSpc>
                  <a:spcPct val="125000"/>
                </a:lnSpc>
                <a:spcAft>
                  <a:spcPts val="800"/>
                </a:spcAft>
              </a:pPr>
              <a:r>
                <a:rPr lang="en-US" altLang="zh-CN" sz="4000" dirty="0" smtClean="0">
                  <a:solidFill>
                    <a:schemeClr val="accent3"/>
                  </a:solidFill>
                  <a:latin typeface="Impact" panose="020B0806030902050204" pitchFamily="34" charset="0"/>
                </a:rPr>
                <a:t>15%</a:t>
              </a:r>
              <a:endParaRPr lang="zh-CN" altLang="en-US" sz="4000" dirty="0">
                <a:solidFill>
                  <a:schemeClr val="accent3"/>
                </a:solidFill>
                <a:latin typeface="Impact" panose="020B0806030902050204" pitchFamily="34" charset="0"/>
              </a:endParaRPr>
            </a:p>
          </p:txBody>
        </p:sp>
      </p:grpSp>
      <p:grpSp>
        <p:nvGrpSpPr>
          <p:cNvPr id="12" name="组合 11"/>
          <p:cNvGrpSpPr/>
          <p:nvPr/>
        </p:nvGrpSpPr>
        <p:grpSpPr>
          <a:xfrm>
            <a:off x="8970252" y="1598327"/>
            <a:ext cx="1631423" cy="2180735"/>
            <a:chOff x="6365793" y="1120370"/>
            <a:chExt cx="2160000" cy="2160000"/>
          </a:xfrm>
        </p:grpSpPr>
        <p:graphicFrame>
          <p:nvGraphicFramePr>
            <p:cNvPr id="13" name="图表 12"/>
            <p:cNvGraphicFramePr/>
            <p:nvPr/>
          </p:nvGraphicFramePr>
          <p:xfrm>
            <a:off x="6365793" y="1120370"/>
            <a:ext cx="2160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4" name="文本框 13"/>
            <p:cNvSpPr txBox="1"/>
            <p:nvPr/>
          </p:nvSpPr>
          <p:spPr>
            <a:xfrm>
              <a:off x="6703640" y="1778884"/>
              <a:ext cx="1433051" cy="980032"/>
            </a:xfrm>
            <a:prstGeom prst="rect">
              <a:avLst/>
            </a:prstGeom>
            <a:noFill/>
          </p:spPr>
          <p:txBody>
            <a:bodyPr wrap="none" rtlCol="0">
              <a:spAutoFit/>
            </a:bodyPr>
            <a:lstStyle/>
            <a:p>
              <a:pPr algn="ctr">
                <a:lnSpc>
                  <a:spcPct val="125000"/>
                </a:lnSpc>
                <a:spcAft>
                  <a:spcPts val="800"/>
                </a:spcAft>
              </a:pPr>
              <a:r>
                <a:rPr lang="en-US" altLang="zh-CN" sz="4000" dirty="0" smtClean="0">
                  <a:solidFill>
                    <a:schemeClr val="accent4"/>
                  </a:solidFill>
                  <a:latin typeface="Impact" panose="020B0806030902050204" pitchFamily="34" charset="0"/>
                </a:rPr>
                <a:t>10%</a:t>
              </a:r>
              <a:endParaRPr lang="zh-CN" altLang="en-US" sz="4000" dirty="0">
                <a:solidFill>
                  <a:schemeClr val="accent4"/>
                </a:solidFill>
                <a:latin typeface="Impact" panose="020B0806030902050204" pitchFamily="34" charset="0"/>
              </a:endParaRPr>
            </a:p>
          </p:txBody>
        </p:sp>
      </p:grpSp>
      <p:grpSp>
        <p:nvGrpSpPr>
          <p:cNvPr id="15" name="组合 14"/>
          <p:cNvGrpSpPr/>
          <p:nvPr/>
        </p:nvGrpSpPr>
        <p:grpSpPr>
          <a:xfrm>
            <a:off x="1389378" y="3469105"/>
            <a:ext cx="1792541" cy="1591496"/>
            <a:chOff x="935062" y="3571044"/>
            <a:chExt cx="2116417" cy="1788561"/>
          </a:xfrm>
        </p:grpSpPr>
        <p:sp>
          <p:nvSpPr>
            <p:cNvPr id="16" name="椭圆 15"/>
            <p:cNvSpPr>
              <a:spLocks noChangeAspect="1"/>
            </p:cNvSpPr>
            <p:nvPr/>
          </p:nvSpPr>
          <p:spPr>
            <a:xfrm>
              <a:off x="1661421" y="3571044"/>
              <a:ext cx="540000" cy="540000"/>
            </a:xfrm>
            <a:prstGeom prst="ellipse">
              <a:avLst/>
            </a:prstGeom>
            <a:solidFill>
              <a:schemeClr val="accent1"/>
            </a:solidFill>
            <a:ln w="25400" algn="ctr">
              <a:noFill/>
              <a:miter lim="800000"/>
            </a:ln>
            <a:effectLst>
              <a:outerShdw blurRad="63500" algn="ctr" rotWithShape="0">
                <a:prstClr val="black">
                  <a:alpha val="40000"/>
                </a:prstClr>
              </a:outerShdw>
            </a:effectLst>
          </p:spPr>
          <p:txBody>
            <a:bodyPr anchor="ctr"/>
            <a:lstStyle/>
            <a:p>
              <a:pPr algn="ctr" defTabSz="1146810"/>
              <a:endParaRPr lang="zh-CN" altLang="en-US" sz="2255" dirty="0">
                <a:solidFill>
                  <a:schemeClr val="tx1"/>
                </a:solidFill>
              </a:endParaRPr>
            </a:p>
          </p:txBody>
        </p:sp>
        <p:cxnSp>
          <p:nvCxnSpPr>
            <p:cNvPr id="17" name="直接连接符 16"/>
            <p:cNvCxnSpPr/>
            <p:nvPr/>
          </p:nvCxnSpPr>
          <p:spPr>
            <a:xfrm>
              <a:off x="1904325" y="4023926"/>
              <a:ext cx="0" cy="360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Box 24"/>
            <p:cNvSpPr txBox="1"/>
            <p:nvPr/>
          </p:nvSpPr>
          <p:spPr>
            <a:xfrm>
              <a:off x="935062" y="4570983"/>
              <a:ext cx="2116417" cy="788622"/>
            </a:xfrm>
            <a:prstGeom prst="rect">
              <a:avLst/>
            </a:prstGeom>
            <a:noFill/>
          </p:spPr>
          <p:txBody>
            <a:bodyPr wrap="square" rtlCol="0">
              <a:spAutoFit/>
            </a:bodyPr>
            <a:lstStyle/>
            <a:p>
              <a:pPr>
                <a:lnSpc>
                  <a:spcPct val="110000"/>
                </a:lnSpc>
              </a:pPr>
              <a:r>
                <a:rPr lang="zh-CN" altLang="en-US" b="1" dirty="0" smtClean="0">
                  <a:latin typeface="+mn-ea"/>
                </a:rPr>
                <a:t>违法</a:t>
              </a:r>
              <a:r>
                <a:rPr lang="zh-CN" altLang="en-US" b="1" dirty="0">
                  <a:latin typeface="+mn-ea"/>
                </a:rPr>
                <a:t>停车</a:t>
              </a:r>
              <a:r>
                <a:rPr lang="zh-CN" altLang="en-US" b="1" dirty="0" smtClean="0">
                  <a:latin typeface="+mn-ea"/>
                </a:rPr>
                <a:t>规模</a:t>
              </a:r>
              <a:endParaRPr lang="en-US" altLang="zh-CN" b="1" dirty="0" smtClean="0">
                <a:latin typeface="+mn-ea"/>
              </a:endParaRPr>
            </a:p>
            <a:p>
              <a:pPr>
                <a:lnSpc>
                  <a:spcPct val="110000"/>
                </a:lnSpc>
              </a:pPr>
              <a:r>
                <a:rPr lang="zh-CN" altLang="en-US" b="1" dirty="0" smtClean="0">
                  <a:latin typeface="+mn-ea"/>
                </a:rPr>
                <a:t>下降</a:t>
              </a:r>
              <a:r>
                <a:rPr lang="en-US" altLang="zh-CN" b="1" dirty="0">
                  <a:latin typeface="+mn-ea"/>
                </a:rPr>
                <a:t>95%</a:t>
              </a:r>
              <a:endParaRPr lang="zh-CN" altLang="en-US" b="1" dirty="0">
                <a:latin typeface="+mn-ea"/>
              </a:endParaRPr>
            </a:p>
          </p:txBody>
        </p:sp>
      </p:grpSp>
      <p:grpSp>
        <p:nvGrpSpPr>
          <p:cNvPr id="19" name="组合 18"/>
          <p:cNvGrpSpPr/>
          <p:nvPr/>
        </p:nvGrpSpPr>
        <p:grpSpPr>
          <a:xfrm>
            <a:off x="3262720" y="3473129"/>
            <a:ext cx="1645549" cy="1584780"/>
            <a:chOff x="3870536" y="3571043"/>
            <a:chExt cx="1875254" cy="1721554"/>
          </a:xfrm>
        </p:grpSpPr>
        <p:sp>
          <p:nvSpPr>
            <p:cNvPr id="20" name="椭圆 19"/>
            <p:cNvSpPr>
              <a:spLocks noChangeAspect="1"/>
            </p:cNvSpPr>
            <p:nvPr/>
          </p:nvSpPr>
          <p:spPr>
            <a:xfrm>
              <a:off x="4442479" y="3571043"/>
              <a:ext cx="540000" cy="540000"/>
            </a:xfrm>
            <a:prstGeom prst="ellipse">
              <a:avLst/>
            </a:prstGeom>
            <a:solidFill>
              <a:schemeClr val="accent2"/>
            </a:solidFill>
            <a:ln w="25400" algn="ctr">
              <a:noFill/>
              <a:miter lim="800000"/>
            </a:ln>
            <a:effectLst>
              <a:outerShdw blurRad="63500" algn="ctr" rotWithShape="0">
                <a:prstClr val="black">
                  <a:alpha val="40000"/>
                </a:prstClr>
              </a:outerShdw>
            </a:effectLst>
          </p:spPr>
          <p:txBody>
            <a:bodyPr anchor="ctr"/>
            <a:lstStyle/>
            <a:p>
              <a:pPr algn="ctr" defTabSz="1146810"/>
              <a:endParaRPr lang="zh-CN" altLang="en-US" sz="2255" dirty="0">
                <a:solidFill>
                  <a:schemeClr val="tx1"/>
                </a:solidFill>
              </a:endParaRPr>
            </a:p>
          </p:txBody>
        </p:sp>
        <p:cxnSp>
          <p:nvCxnSpPr>
            <p:cNvPr id="21" name="直接连接符 20"/>
            <p:cNvCxnSpPr/>
            <p:nvPr/>
          </p:nvCxnSpPr>
          <p:spPr>
            <a:xfrm>
              <a:off x="4712479" y="4105068"/>
              <a:ext cx="0" cy="360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KSO_Shape"/>
            <p:cNvSpPr>
              <a:spLocks noChangeAspect="1"/>
            </p:cNvSpPr>
            <p:nvPr/>
          </p:nvSpPr>
          <p:spPr bwMode="auto">
            <a:xfrm>
              <a:off x="4616479" y="3660284"/>
              <a:ext cx="192000" cy="360000"/>
            </a:xfrm>
            <a:custGeom>
              <a:avLst/>
              <a:gdLst>
                <a:gd name="T0" fmla="*/ 134485 w 2938"/>
                <a:gd name="T1" fmla="*/ 2420 h 5511"/>
                <a:gd name="T2" fmla="*/ 89887 w 2938"/>
                <a:gd name="T3" fmla="*/ 15901 h 5511"/>
                <a:gd name="T4" fmla="*/ 51858 w 2938"/>
                <a:gd name="T5" fmla="*/ 41481 h 5511"/>
                <a:gd name="T6" fmla="*/ 22817 w 2938"/>
                <a:gd name="T7" fmla="*/ 77085 h 5511"/>
                <a:gd name="T8" fmla="*/ 4840 w 2938"/>
                <a:gd name="T9" fmla="*/ 119257 h 5511"/>
                <a:gd name="T10" fmla="*/ 0 w 2938"/>
                <a:gd name="T11" fmla="*/ 1746336 h 5511"/>
                <a:gd name="T12" fmla="*/ 4840 w 2938"/>
                <a:gd name="T13" fmla="*/ 1786089 h 5511"/>
                <a:gd name="T14" fmla="*/ 22817 w 2938"/>
                <a:gd name="T15" fmla="*/ 1828606 h 5511"/>
                <a:gd name="T16" fmla="*/ 51858 w 2938"/>
                <a:gd name="T17" fmla="*/ 1863865 h 5511"/>
                <a:gd name="T18" fmla="*/ 89887 w 2938"/>
                <a:gd name="T19" fmla="*/ 1889445 h 5511"/>
                <a:gd name="T20" fmla="*/ 134485 w 2938"/>
                <a:gd name="T21" fmla="*/ 1903272 h 5511"/>
                <a:gd name="T22" fmla="*/ 864989 w 2938"/>
                <a:gd name="T23" fmla="*/ 1905000 h 5511"/>
                <a:gd name="T24" fmla="*/ 911316 w 2938"/>
                <a:gd name="T25" fmla="*/ 1895667 h 5511"/>
                <a:gd name="T26" fmla="*/ 952111 w 2938"/>
                <a:gd name="T27" fmla="*/ 1873544 h 5511"/>
                <a:gd name="T28" fmla="*/ 984263 w 2938"/>
                <a:gd name="T29" fmla="*/ 1841396 h 5511"/>
                <a:gd name="T30" fmla="*/ 1006043 w 2938"/>
                <a:gd name="T31" fmla="*/ 1800953 h 5511"/>
                <a:gd name="T32" fmla="*/ 1015377 w 2938"/>
                <a:gd name="T33" fmla="*/ 1754633 h 5511"/>
                <a:gd name="T34" fmla="*/ 1013994 w 2938"/>
                <a:gd name="T35" fmla="*/ 134812 h 5511"/>
                <a:gd name="T36" fmla="*/ 999820 w 2938"/>
                <a:gd name="T37" fmla="*/ 90220 h 5511"/>
                <a:gd name="T38" fmla="*/ 974237 w 2938"/>
                <a:gd name="T39" fmla="*/ 52542 h 5511"/>
                <a:gd name="T40" fmla="*/ 938973 w 2938"/>
                <a:gd name="T41" fmla="*/ 23160 h 5511"/>
                <a:gd name="T42" fmla="*/ 896450 w 2938"/>
                <a:gd name="T43" fmla="*/ 5531 h 5511"/>
                <a:gd name="T44" fmla="*/ 412789 w 2938"/>
                <a:gd name="T45" fmla="*/ 127553 h 5511"/>
                <a:gd name="T46" fmla="*/ 615380 w 2938"/>
                <a:gd name="T47" fmla="*/ 129973 h 5511"/>
                <a:gd name="T48" fmla="*/ 629209 w 2938"/>
                <a:gd name="T49" fmla="*/ 141034 h 5511"/>
                <a:gd name="T50" fmla="*/ 635086 w 2938"/>
                <a:gd name="T51" fmla="*/ 159009 h 5511"/>
                <a:gd name="T52" fmla="*/ 630938 w 2938"/>
                <a:gd name="T53" fmla="*/ 174219 h 5511"/>
                <a:gd name="T54" fmla="*/ 618146 w 2938"/>
                <a:gd name="T55" fmla="*/ 187009 h 5511"/>
                <a:gd name="T56" fmla="*/ 412789 w 2938"/>
                <a:gd name="T57" fmla="*/ 190811 h 5511"/>
                <a:gd name="T58" fmla="*/ 397577 w 2938"/>
                <a:gd name="T59" fmla="*/ 187009 h 5511"/>
                <a:gd name="T60" fmla="*/ 384440 w 2938"/>
                <a:gd name="T61" fmla="*/ 174219 h 5511"/>
                <a:gd name="T62" fmla="*/ 380637 w 2938"/>
                <a:gd name="T63" fmla="*/ 159009 h 5511"/>
                <a:gd name="T64" fmla="*/ 386168 w 2938"/>
                <a:gd name="T65" fmla="*/ 141034 h 5511"/>
                <a:gd name="T66" fmla="*/ 400343 w 2938"/>
                <a:gd name="T67" fmla="*/ 129973 h 5511"/>
                <a:gd name="T68" fmla="*/ 507516 w 2938"/>
                <a:gd name="T69" fmla="*/ 1841742 h 5511"/>
                <a:gd name="T70" fmla="*/ 479513 w 2938"/>
                <a:gd name="T71" fmla="*/ 1837594 h 5511"/>
                <a:gd name="T72" fmla="*/ 454275 w 2938"/>
                <a:gd name="T73" fmla="*/ 1825495 h 5511"/>
                <a:gd name="T74" fmla="*/ 434223 w 2938"/>
                <a:gd name="T75" fmla="*/ 1806829 h 5511"/>
                <a:gd name="T76" fmla="*/ 420049 w 2938"/>
                <a:gd name="T77" fmla="*/ 1783323 h 5511"/>
                <a:gd name="T78" fmla="*/ 413134 w 2938"/>
                <a:gd name="T79" fmla="*/ 1756015 h 5511"/>
                <a:gd name="T80" fmla="*/ 413826 w 2938"/>
                <a:gd name="T81" fmla="*/ 1731818 h 5511"/>
                <a:gd name="T82" fmla="*/ 422123 w 2938"/>
                <a:gd name="T83" fmla="*/ 1704856 h 5511"/>
                <a:gd name="T84" fmla="*/ 437335 w 2938"/>
                <a:gd name="T85" fmla="*/ 1682387 h 5511"/>
                <a:gd name="T86" fmla="*/ 458078 w 2938"/>
                <a:gd name="T87" fmla="*/ 1665103 h 5511"/>
                <a:gd name="T88" fmla="*/ 483661 w 2938"/>
                <a:gd name="T89" fmla="*/ 1654042 h 5511"/>
                <a:gd name="T90" fmla="*/ 507516 w 2938"/>
                <a:gd name="T91" fmla="*/ 1651277 h 5511"/>
                <a:gd name="T92" fmla="*/ 536210 w 2938"/>
                <a:gd name="T93" fmla="*/ 1655425 h 5511"/>
                <a:gd name="T94" fmla="*/ 561102 w 2938"/>
                <a:gd name="T95" fmla="*/ 1667523 h 5511"/>
                <a:gd name="T96" fmla="*/ 581154 w 2938"/>
                <a:gd name="T97" fmla="*/ 1685498 h 5511"/>
                <a:gd name="T98" fmla="*/ 595674 w 2938"/>
                <a:gd name="T99" fmla="*/ 1709349 h 5511"/>
                <a:gd name="T100" fmla="*/ 602589 w 2938"/>
                <a:gd name="T101" fmla="*/ 1737003 h 5511"/>
                <a:gd name="T102" fmla="*/ 601897 w 2938"/>
                <a:gd name="T103" fmla="*/ 1761200 h 5511"/>
                <a:gd name="T104" fmla="*/ 593600 w 2938"/>
                <a:gd name="T105" fmla="*/ 1787817 h 5511"/>
                <a:gd name="T106" fmla="*/ 578388 w 2938"/>
                <a:gd name="T107" fmla="*/ 1810631 h 5511"/>
                <a:gd name="T108" fmla="*/ 556954 w 2938"/>
                <a:gd name="T109" fmla="*/ 1827915 h 5511"/>
                <a:gd name="T110" fmla="*/ 531370 w 2938"/>
                <a:gd name="T111" fmla="*/ 1838631 h 5511"/>
                <a:gd name="T112" fmla="*/ 952456 w 2938"/>
                <a:gd name="T113" fmla="*/ 1587673 h 551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938" h="5511">
                  <a:moveTo>
                    <a:pt x="2479" y="0"/>
                  </a:moveTo>
                  <a:lnTo>
                    <a:pt x="458" y="0"/>
                  </a:lnTo>
                  <a:lnTo>
                    <a:pt x="435" y="1"/>
                  </a:lnTo>
                  <a:lnTo>
                    <a:pt x="412" y="3"/>
                  </a:lnTo>
                  <a:lnTo>
                    <a:pt x="389" y="7"/>
                  </a:lnTo>
                  <a:lnTo>
                    <a:pt x="366" y="11"/>
                  </a:lnTo>
                  <a:lnTo>
                    <a:pt x="345" y="16"/>
                  </a:lnTo>
                  <a:lnTo>
                    <a:pt x="322" y="22"/>
                  </a:lnTo>
                  <a:lnTo>
                    <a:pt x="301" y="29"/>
                  </a:lnTo>
                  <a:lnTo>
                    <a:pt x="281" y="37"/>
                  </a:lnTo>
                  <a:lnTo>
                    <a:pt x="260" y="46"/>
                  </a:lnTo>
                  <a:lnTo>
                    <a:pt x="240" y="56"/>
                  </a:lnTo>
                  <a:lnTo>
                    <a:pt x="221" y="67"/>
                  </a:lnTo>
                  <a:lnTo>
                    <a:pt x="203" y="80"/>
                  </a:lnTo>
                  <a:lnTo>
                    <a:pt x="184" y="93"/>
                  </a:lnTo>
                  <a:lnTo>
                    <a:pt x="167" y="106"/>
                  </a:lnTo>
                  <a:lnTo>
                    <a:pt x="150" y="120"/>
                  </a:lnTo>
                  <a:lnTo>
                    <a:pt x="135" y="135"/>
                  </a:lnTo>
                  <a:lnTo>
                    <a:pt x="119" y="152"/>
                  </a:lnTo>
                  <a:lnTo>
                    <a:pt x="104" y="169"/>
                  </a:lnTo>
                  <a:lnTo>
                    <a:pt x="91" y="186"/>
                  </a:lnTo>
                  <a:lnTo>
                    <a:pt x="78" y="203"/>
                  </a:lnTo>
                  <a:lnTo>
                    <a:pt x="66" y="223"/>
                  </a:lnTo>
                  <a:lnTo>
                    <a:pt x="55" y="242"/>
                  </a:lnTo>
                  <a:lnTo>
                    <a:pt x="45" y="261"/>
                  </a:lnTo>
                  <a:lnTo>
                    <a:pt x="35" y="281"/>
                  </a:lnTo>
                  <a:lnTo>
                    <a:pt x="27" y="303"/>
                  </a:lnTo>
                  <a:lnTo>
                    <a:pt x="20" y="324"/>
                  </a:lnTo>
                  <a:lnTo>
                    <a:pt x="14" y="345"/>
                  </a:lnTo>
                  <a:lnTo>
                    <a:pt x="9" y="368"/>
                  </a:lnTo>
                  <a:lnTo>
                    <a:pt x="5" y="390"/>
                  </a:lnTo>
                  <a:lnTo>
                    <a:pt x="2" y="413"/>
                  </a:lnTo>
                  <a:lnTo>
                    <a:pt x="0" y="437"/>
                  </a:lnTo>
                  <a:lnTo>
                    <a:pt x="0" y="460"/>
                  </a:lnTo>
                  <a:lnTo>
                    <a:pt x="0" y="5052"/>
                  </a:lnTo>
                  <a:lnTo>
                    <a:pt x="0" y="5076"/>
                  </a:lnTo>
                  <a:lnTo>
                    <a:pt x="2" y="5099"/>
                  </a:lnTo>
                  <a:lnTo>
                    <a:pt x="5" y="5122"/>
                  </a:lnTo>
                  <a:lnTo>
                    <a:pt x="9" y="5144"/>
                  </a:lnTo>
                  <a:lnTo>
                    <a:pt x="14" y="5167"/>
                  </a:lnTo>
                  <a:lnTo>
                    <a:pt x="20" y="5189"/>
                  </a:lnTo>
                  <a:lnTo>
                    <a:pt x="27" y="5210"/>
                  </a:lnTo>
                  <a:lnTo>
                    <a:pt x="35" y="5230"/>
                  </a:lnTo>
                  <a:lnTo>
                    <a:pt x="45" y="5251"/>
                  </a:lnTo>
                  <a:lnTo>
                    <a:pt x="55" y="5271"/>
                  </a:lnTo>
                  <a:lnTo>
                    <a:pt x="66" y="5290"/>
                  </a:lnTo>
                  <a:lnTo>
                    <a:pt x="78" y="5309"/>
                  </a:lnTo>
                  <a:lnTo>
                    <a:pt x="91" y="5327"/>
                  </a:lnTo>
                  <a:lnTo>
                    <a:pt x="104" y="5344"/>
                  </a:lnTo>
                  <a:lnTo>
                    <a:pt x="119" y="5360"/>
                  </a:lnTo>
                  <a:lnTo>
                    <a:pt x="135" y="5377"/>
                  </a:lnTo>
                  <a:lnTo>
                    <a:pt x="150" y="5392"/>
                  </a:lnTo>
                  <a:lnTo>
                    <a:pt x="167" y="5406"/>
                  </a:lnTo>
                  <a:lnTo>
                    <a:pt x="184" y="5420"/>
                  </a:lnTo>
                  <a:lnTo>
                    <a:pt x="203" y="5433"/>
                  </a:lnTo>
                  <a:lnTo>
                    <a:pt x="221" y="5445"/>
                  </a:lnTo>
                  <a:lnTo>
                    <a:pt x="240" y="5456"/>
                  </a:lnTo>
                  <a:lnTo>
                    <a:pt x="260" y="5466"/>
                  </a:lnTo>
                  <a:lnTo>
                    <a:pt x="281" y="5475"/>
                  </a:lnTo>
                  <a:lnTo>
                    <a:pt x="301" y="5484"/>
                  </a:lnTo>
                  <a:lnTo>
                    <a:pt x="322" y="5491"/>
                  </a:lnTo>
                  <a:lnTo>
                    <a:pt x="345" y="5497"/>
                  </a:lnTo>
                  <a:lnTo>
                    <a:pt x="366" y="5502"/>
                  </a:lnTo>
                  <a:lnTo>
                    <a:pt x="389" y="5506"/>
                  </a:lnTo>
                  <a:lnTo>
                    <a:pt x="412" y="5509"/>
                  </a:lnTo>
                  <a:lnTo>
                    <a:pt x="435" y="5511"/>
                  </a:lnTo>
                  <a:lnTo>
                    <a:pt x="458" y="5511"/>
                  </a:lnTo>
                  <a:lnTo>
                    <a:pt x="2479" y="5511"/>
                  </a:lnTo>
                  <a:lnTo>
                    <a:pt x="2502" y="5511"/>
                  </a:lnTo>
                  <a:lnTo>
                    <a:pt x="2525" y="5509"/>
                  </a:lnTo>
                  <a:lnTo>
                    <a:pt x="2549" y="5506"/>
                  </a:lnTo>
                  <a:lnTo>
                    <a:pt x="2571" y="5502"/>
                  </a:lnTo>
                  <a:lnTo>
                    <a:pt x="2593" y="5497"/>
                  </a:lnTo>
                  <a:lnTo>
                    <a:pt x="2615" y="5491"/>
                  </a:lnTo>
                  <a:lnTo>
                    <a:pt x="2636" y="5484"/>
                  </a:lnTo>
                  <a:lnTo>
                    <a:pt x="2657" y="5475"/>
                  </a:lnTo>
                  <a:lnTo>
                    <a:pt x="2677" y="5466"/>
                  </a:lnTo>
                  <a:lnTo>
                    <a:pt x="2698" y="5456"/>
                  </a:lnTo>
                  <a:lnTo>
                    <a:pt x="2716" y="5445"/>
                  </a:lnTo>
                  <a:lnTo>
                    <a:pt x="2735" y="5433"/>
                  </a:lnTo>
                  <a:lnTo>
                    <a:pt x="2754" y="5420"/>
                  </a:lnTo>
                  <a:lnTo>
                    <a:pt x="2771" y="5406"/>
                  </a:lnTo>
                  <a:lnTo>
                    <a:pt x="2787" y="5392"/>
                  </a:lnTo>
                  <a:lnTo>
                    <a:pt x="2803" y="5377"/>
                  </a:lnTo>
                  <a:lnTo>
                    <a:pt x="2818" y="5360"/>
                  </a:lnTo>
                  <a:lnTo>
                    <a:pt x="2833" y="5344"/>
                  </a:lnTo>
                  <a:lnTo>
                    <a:pt x="2847" y="5327"/>
                  </a:lnTo>
                  <a:lnTo>
                    <a:pt x="2859" y="5309"/>
                  </a:lnTo>
                  <a:lnTo>
                    <a:pt x="2871" y="5290"/>
                  </a:lnTo>
                  <a:lnTo>
                    <a:pt x="2882" y="5271"/>
                  </a:lnTo>
                  <a:lnTo>
                    <a:pt x="2892" y="5251"/>
                  </a:lnTo>
                  <a:lnTo>
                    <a:pt x="2902" y="5230"/>
                  </a:lnTo>
                  <a:lnTo>
                    <a:pt x="2910" y="5210"/>
                  </a:lnTo>
                  <a:lnTo>
                    <a:pt x="2918" y="5189"/>
                  </a:lnTo>
                  <a:lnTo>
                    <a:pt x="2924" y="5167"/>
                  </a:lnTo>
                  <a:lnTo>
                    <a:pt x="2929" y="5144"/>
                  </a:lnTo>
                  <a:lnTo>
                    <a:pt x="2933" y="5122"/>
                  </a:lnTo>
                  <a:lnTo>
                    <a:pt x="2936" y="5099"/>
                  </a:lnTo>
                  <a:lnTo>
                    <a:pt x="2937" y="5076"/>
                  </a:lnTo>
                  <a:lnTo>
                    <a:pt x="2938" y="5052"/>
                  </a:lnTo>
                  <a:lnTo>
                    <a:pt x="2938" y="460"/>
                  </a:lnTo>
                  <a:lnTo>
                    <a:pt x="2937" y="437"/>
                  </a:lnTo>
                  <a:lnTo>
                    <a:pt x="2936" y="413"/>
                  </a:lnTo>
                  <a:lnTo>
                    <a:pt x="2933" y="390"/>
                  </a:lnTo>
                  <a:lnTo>
                    <a:pt x="2929" y="368"/>
                  </a:lnTo>
                  <a:lnTo>
                    <a:pt x="2924" y="345"/>
                  </a:lnTo>
                  <a:lnTo>
                    <a:pt x="2918" y="324"/>
                  </a:lnTo>
                  <a:lnTo>
                    <a:pt x="2910" y="303"/>
                  </a:lnTo>
                  <a:lnTo>
                    <a:pt x="2902" y="281"/>
                  </a:lnTo>
                  <a:lnTo>
                    <a:pt x="2892" y="261"/>
                  </a:lnTo>
                  <a:lnTo>
                    <a:pt x="2882" y="242"/>
                  </a:lnTo>
                  <a:lnTo>
                    <a:pt x="2871" y="223"/>
                  </a:lnTo>
                  <a:lnTo>
                    <a:pt x="2859" y="203"/>
                  </a:lnTo>
                  <a:lnTo>
                    <a:pt x="2847" y="186"/>
                  </a:lnTo>
                  <a:lnTo>
                    <a:pt x="2833" y="169"/>
                  </a:lnTo>
                  <a:lnTo>
                    <a:pt x="2818" y="152"/>
                  </a:lnTo>
                  <a:lnTo>
                    <a:pt x="2803" y="135"/>
                  </a:lnTo>
                  <a:lnTo>
                    <a:pt x="2787" y="120"/>
                  </a:lnTo>
                  <a:lnTo>
                    <a:pt x="2771" y="106"/>
                  </a:lnTo>
                  <a:lnTo>
                    <a:pt x="2754" y="93"/>
                  </a:lnTo>
                  <a:lnTo>
                    <a:pt x="2735" y="80"/>
                  </a:lnTo>
                  <a:lnTo>
                    <a:pt x="2716" y="67"/>
                  </a:lnTo>
                  <a:lnTo>
                    <a:pt x="2698" y="56"/>
                  </a:lnTo>
                  <a:lnTo>
                    <a:pt x="2677" y="46"/>
                  </a:lnTo>
                  <a:lnTo>
                    <a:pt x="2657" y="37"/>
                  </a:lnTo>
                  <a:lnTo>
                    <a:pt x="2636" y="29"/>
                  </a:lnTo>
                  <a:lnTo>
                    <a:pt x="2615" y="22"/>
                  </a:lnTo>
                  <a:lnTo>
                    <a:pt x="2593" y="16"/>
                  </a:lnTo>
                  <a:lnTo>
                    <a:pt x="2571" y="11"/>
                  </a:lnTo>
                  <a:lnTo>
                    <a:pt x="2549" y="7"/>
                  </a:lnTo>
                  <a:lnTo>
                    <a:pt x="2525" y="3"/>
                  </a:lnTo>
                  <a:lnTo>
                    <a:pt x="2502" y="1"/>
                  </a:lnTo>
                  <a:lnTo>
                    <a:pt x="2479" y="0"/>
                  </a:lnTo>
                  <a:close/>
                  <a:moveTo>
                    <a:pt x="1194" y="369"/>
                  </a:moveTo>
                  <a:lnTo>
                    <a:pt x="1744" y="369"/>
                  </a:lnTo>
                  <a:lnTo>
                    <a:pt x="1753" y="369"/>
                  </a:lnTo>
                  <a:lnTo>
                    <a:pt x="1763" y="370"/>
                  </a:lnTo>
                  <a:lnTo>
                    <a:pt x="1772" y="373"/>
                  </a:lnTo>
                  <a:lnTo>
                    <a:pt x="1780" y="376"/>
                  </a:lnTo>
                  <a:lnTo>
                    <a:pt x="1788" y="379"/>
                  </a:lnTo>
                  <a:lnTo>
                    <a:pt x="1796" y="384"/>
                  </a:lnTo>
                  <a:lnTo>
                    <a:pt x="1803" y="389"/>
                  </a:lnTo>
                  <a:lnTo>
                    <a:pt x="1809" y="395"/>
                  </a:lnTo>
                  <a:lnTo>
                    <a:pt x="1815" y="401"/>
                  </a:lnTo>
                  <a:lnTo>
                    <a:pt x="1820" y="408"/>
                  </a:lnTo>
                  <a:lnTo>
                    <a:pt x="1825" y="416"/>
                  </a:lnTo>
                  <a:lnTo>
                    <a:pt x="1828" y="424"/>
                  </a:lnTo>
                  <a:lnTo>
                    <a:pt x="1833" y="433"/>
                  </a:lnTo>
                  <a:lnTo>
                    <a:pt x="1835" y="442"/>
                  </a:lnTo>
                  <a:lnTo>
                    <a:pt x="1836" y="451"/>
                  </a:lnTo>
                  <a:lnTo>
                    <a:pt x="1837" y="460"/>
                  </a:lnTo>
                  <a:lnTo>
                    <a:pt x="1836" y="469"/>
                  </a:lnTo>
                  <a:lnTo>
                    <a:pt x="1835" y="478"/>
                  </a:lnTo>
                  <a:lnTo>
                    <a:pt x="1833" y="487"/>
                  </a:lnTo>
                  <a:lnTo>
                    <a:pt x="1828" y="495"/>
                  </a:lnTo>
                  <a:lnTo>
                    <a:pt x="1825" y="504"/>
                  </a:lnTo>
                  <a:lnTo>
                    <a:pt x="1820" y="512"/>
                  </a:lnTo>
                  <a:lnTo>
                    <a:pt x="1815" y="519"/>
                  </a:lnTo>
                  <a:lnTo>
                    <a:pt x="1809" y="525"/>
                  </a:lnTo>
                  <a:lnTo>
                    <a:pt x="1803" y="531"/>
                  </a:lnTo>
                  <a:lnTo>
                    <a:pt x="1796" y="536"/>
                  </a:lnTo>
                  <a:lnTo>
                    <a:pt x="1788" y="541"/>
                  </a:lnTo>
                  <a:lnTo>
                    <a:pt x="1780" y="545"/>
                  </a:lnTo>
                  <a:lnTo>
                    <a:pt x="1772" y="548"/>
                  </a:lnTo>
                  <a:lnTo>
                    <a:pt x="1763" y="550"/>
                  </a:lnTo>
                  <a:lnTo>
                    <a:pt x="1753" y="551"/>
                  </a:lnTo>
                  <a:lnTo>
                    <a:pt x="1744" y="552"/>
                  </a:lnTo>
                  <a:lnTo>
                    <a:pt x="1194" y="552"/>
                  </a:lnTo>
                  <a:lnTo>
                    <a:pt x="1184" y="551"/>
                  </a:lnTo>
                  <a:lnTo>
                    <a:pt x="1175" y="550"/>
                  </a:lnTo>
                  <a:lnTo>
                    <a:pt x="1166" y="548"/>
                  </a:lnTo>
                  <a:lnTo>
                    <a:pt x="1158" y="545"/>
                  </a:lnTo>
                  <a:lnTo>
                    <a:pt x="1150" y="541"/>
                  </a:lnTo>
                  <a:lnTo>
                    <a:pt x="1142" y="536"/>
                  </a:lnTo>
                  <a:lnTo>
                    <a:pt x="1135" y="531"/>
                  </a:lnTo>
                  <a:lnTo>
                    <a:pt x="1129" y="525"/>
                  </a:lnTo>
                  <a:lnTo>
                    <a:pt x="1123" y="519"/>
                  </a:lnTo>
                  <a:lnTo>
                    <a:pt x="1117" y="512"/>
                  </a:lnTo>
                  <a:lnTo>
                    <a:pt x="1112" y="504"/>
                  </a:lnTo>
                  <a:lnTo>
                    <a:pt x="1108" y="495"/>
                  </a:lnTo>
                  <a:lnTo>
                    <a:pt x="1105" y="487"/>
                  </a:lnTo>
                  <a:lnTo>
                    <a:pt x="1103" y="478"/>
                  </a:lnTo>
                  <a:lnTo>
                    <a:pt x="1102" y="469"/>
                  </a:lnTo>
                  <a:lnTo>
                    <a:pt x="1101" y="460"/>
                  </a:lnTo>
                  <a:lnTo>
                    <a:pt x="1102" y="451"/>
                  </a:lnTo>
                  <a:lnTo>
                    <a:pt x="1103" y="442"/>
                  </a:lnTo>
                  <a:lnTo>
                    <a:pt x="1105" y="433"/>
                  </a:lnTo>
                  <a:lnTo>
                    <a:pt x="1108" y="424"/>
                  </a:lnTo>
                  <a:lnTo>
                    <a:pt x="1112" y="416"/>
                  </a:lnTo>
                  <a:lnTo>
                    <a:pt x="1117" y="408"/>
                  </a:lnTo>
                  <a:lnTo>
                    <a:pt x="1123" y="401"/>
                  </a:lnTo>
                  <a:lnTo>
                    <a:pt x="1129" y="395"/>
                  </a:lnTo>
                  <a:lnTo>
                    <a:pt x="1135" y="389"/>
                  </a:lnTo>
                  <a:lnTo>
                    <a:pt x="1142" y="384"/>
                  </a:lnTo>
                  <a:lnTo>
                    <a:pt x="1150" y="379"/>
                  </a:lnTo>
                  <a:lnTo>
                    <a:pt x="1158" y="376"/>
                  </a:lnTo>
                  <a:lnTo>
                    <a:pt x="1166" y="373"/>
                  </a:lnTo>
                  <a:lnTo>
                    <a:pt x="1175" y="370"/>
                  </a:lnTo>
                  <a:lnTo>
                    <a:pt x="1184" y="369"/>
                  </a:lnTo>
                  <a:lnTo>
                    <a:pt x="1194" y="369"/>
                  </a:lnTo>
                  <a:close/>
                  <a:moveTo>
                    <a:pt x="1468" y="5328"/>
                  </a:moveTo>
                  <a:lnTo>
                    <a:pt x="1468" y="5328"/>
                  </a:lnTo>
                  <a:lnTo>
                    <a:pt x="1454" y="5328"/>
                  </a:lnTo>
                  <a:lnTo>
                    <a:pt x="1441" y="5327"/>
                  </a:lnTo>
                  <a:lnTo>
                    <a:pt x="1427" y="5325"/>
                  </a:lnTo>
                  <a:lnTo>
                    <a:pt x="1414" y="5322"/>
                  </a:lnTo>
                  <a:lnTo>
                    <a:pt x="1399" y="5319"/>
                  </a:lnTo>
                  <a:lnTo>
                    <a:pt x="1387" y="5316"/>
                  </a:lnTo>
                  <a:lnTo>
                    <a:pt x="1374" y="5312"/>
                  </a:lnTo>
                  <a:lnTo>
                    <a:pt x="1362" y="5307"/>
                  </a:lnTo>
                  <a:lnTo>
                    <a:pt x="1350" y="5300"/>
                  </a:lnTo>
                  <a:lnTo>
                    <a:pt x="1338" y="5294"/>
                  </a:lnTo>
                  <a:lnTo>
                    <a:pt x="1325" y="5288"/>
                  </a:lnTo>
                  <a:lnTo>
                    <a:pt x="1314" y="5281"/>
                  </a:lnTo>
                  <a:lnTo>
                    <a:pt x="1304" y="5273"/>
                  </a:lnTo>
                  <a:lnTo>
                    <a:pt x="1294" y="5265"/>
                  </a:lnTo>
                  <a:lnTo>
                    <a:pt x="1284" y="5257"/>
                  </a:lnTo>
                  <a:lnTo>
                    <a:pt x="1274" y="5248"/>
                  </a:lnTo>
                  <a:lnTo>
                    <a:pt x="1265" y="5238"/>
                  </a:lnTo>
                  <a:lnTo>
                    <a:pt x="1256" y="5227"/>
                  </a:lnTo>
                  <a:lnTo>
                    <a:pt x="1248" y="5217"/>
                  </a:lnTo>
                  <a:lnTo>
                    <a:pt x="1240" y="5206"/>
                  </a:lnTo>
                  <a:lnTo>
                    <a:pt x="1233" y="5195"/>
                  </a:lnTo>
                  <a:lnTo>
                    <a:pt x="1227" y="5184"/>
                  </a:lnTo>
                  <a:lnTo>
                    <a:pt x="1221" y="5172"/>
                  </a:lnTo>
                  <a:lnTo>
                    <a:pt x="1215" y="5159"/>
                  </a:lnTo>
                  <a:lnTo>
                    <a:pt x="1210" y="5147"/>
                  </a:lnTo>
                  <a:lnTo>
                    <a:pt x="1206" y="5134"/>
                  </a:lnTo>
                  <a:lnTo>
                    <a:pt x="1202" y="5121"/>
                  </a:lnTo>
                  <a:lnTo>
                    <a:pt x="1199" y="5108"/>
                  </a:lnTo>
                  <a:lnTo>
                    <a:pt x="1197" y="5095"/>
                  </a:lnTo>
                  <a:lnTo>
                    <a:pt x="1195" y="5080"/>
                  </a:lnTo>
                  <a:lnTo>
                    <a:pt x="1194" y="5066"/>
                  </a:lnTo>
                  <a:lnTo>
                    <a:pt x="1194" y="5052"/>
                  </a:lnTo>
                  <a:lnTo>
                    <a:pt x="1194" y="5038"/>
                  </a:lnTo>
                  <a:lnTo>
                    <a:pt x="1195" y="5025"/>
                  </a:lnTo>
                  <a:lnTo>
                    <a:pt x="1197" y="5010"/>
                  </a:lnTo>
                  <a:lnTo>
                    <a:pt x="1199" y="4997"/>
                  </a:lnTo>
                  <a:lnTo>
                    <a:pt x="1202" y="4983"/>
                  </a:lnTo>
                  <a:lnTo>
                    <a:pt x="1206" y="4970"/>
                  </a:lnTo>
                  <a:lnTo>
                    <a:pt x="1210" y="4958"/>
                  </a:lnTo>
                  <a:lnTo>
                    <a:pt x="1215" y="4945"/>
                  </a:lnTo>
                  <a:lnTo>
                    <a:pt x="1221" y="4932"/>
                  </a:lnTo>
                  <a:lnTo>
                    <a:pt x="1227" y="4921"/>
                  </a:lnTo>
                  <a:lnTo>
                    <a:pt x="1233" y="4909"/>
                  </a:lnTo>
                  <a:lnTo>
                    <a:pt x="1240" y="4898"/>
                  </a:lnTo>
                  <a:lnTo>
                    <a:pt x="1248" y="4888"/>
                  </a:lnTo>
                  <a:lnTo>
                    <a:pt x="1256" y="4876"/>
                  </a:lnTo>
                  <a:lnTo>
                    <a:pt x="1265" y="4867"/>
                  </a:lnTo>
                  <a:lnTo>
                    <a:pt x="1274" y="4857"/>
                  </a:lnTo>
                  <a:lnTo>
                    <a:pt x="1284" y="4848"/>
                  </a:lnTo>
                  <a:lnTo>
                    <a:pt x="1294" y="4840"/>
                  </a:lnTo>
                  <a:lnTo>
                    <a:pt x="1304" y="4832"/>
                  </a:lnTo>
                  <a:lnTo>
                    <a:pt x="1314" y="4824"/>
                  </a:lnTo>
                  <a:lnTo>
                    <a:pt x="1325" y="4817"/>
                  </a:lnTo>
                  <a:lnTo>
                    <a:pt x="1338" y="4810"/>
                  </a:lnTo>
                  <a:lnTo>
                    <a:pt x="1350" y="4803"/>
                  </a:lnTo>
                  <a:lnTo>
                    <a:pt x="1362" y="4798"/>
                  </a:lnTo>
                  <a:lnTo>
                    <a:pt x="1374" y="4793"/>
                  </a:lnTo>
                  <a:lnTo>
                    <a:pt x="1387" y="4789"/>
                  </a:lnTo>
                  <a:lnTo>
                    <a:pt x="1399" y="4785"/>
                  </a:lnTo>
                  <a:lnTo>
                    <a:pt x="1414" y="4782"/>
                  </a:lnTo>
                  <a:lnTo>
                    <a:pt x="1427" y="4780"/>
                  </a:lnTo>
                  <a:lnTo>
                    <a:pt x="1441" y="4778"/>
                  </a:lnTo>
                  <a:lnTo>
                    <a:pt x="1454" y="4777"/>
                  </a:lnTo>
                  <a:lnTo>
                    <a:pt x="1468" y="4777"/>
                  </a:lnTo>
                  <a:lnTo>
                    <a:pt x="1483" y="4777"/>
                  </a:lnTo>
                  <a:lnTo>
                    <a:pt x="1497" y="4778"/>
                  </a:lnTo>
                  <a:lnTo>
                    <a:pt x="1511" y="4780"/>
                  </a:lnTo>
                  <a:lnTo>
                    <a:pt x="1524" y="4782"/>
                  </a:lnTo>
                  <a:lnTo>
                    <a:pt x="1537" y="4785"/>
                  </a:lnTo>
                  <a:lnTo>
                    <a:pt x="1551" y="4789"/>
                  </a:lnTo>
                  <a:lnTo>
                    <a:pt x="1564" y="4793"/>
                  </a:lnTo>
                  <a:lnTo>
                    <a:pt x="1576" y="4798"/>
                  </a:lnTo>
                  <a:lnTo>
                    <a:pt x="1588" y="4803"/>
                  </a:lnTo>
                  <a:lnTo>
                    <a:pt x="1600" y="4810"/>
                  </a:lnTo>
                  <a:lnTo>
                    <a:pt x="1611" y="4817"/>
                  </a:lnTo>
                  <a:lnTo>
                    <a:pt x="1623" y="4824"/>
                  </a:lnTo>
                  <a:lnTo>
                    <a:pt x="1634" y="4832"/>
                  </a:lnTo>
                  <a:lnTo>
                    <a:pt x="1644" y="4840"/>
                  </a:lnTo>
                  <a:lnTo>
                    <a:pt x="1654" y="4848"/>
                  </a:lnTo>
                  <a:lnTo>
                    <a:pt x="1664" y="4857"/>
                  </a:lnTo>
                  <a:lnTo>
                    <a:pt x="1673" y="4867"/>
                  </a:lnTo>
                  <a:lnTo>
                    <a:pt x="1681" y="4876"/>
                  </a:lnTo>
                  <a:lnTo>
                    <a:pt x="1690" y="4888"/>
                  </a:lnTo>
                  <a:lnTo>
                    <a:pt x="1698" y="4898"/>
                  </a:lnTo>
                  <a:lnTo>
                    <a:pt x="1705" y="4909"/>
                  </a:lnTo>
                  <a:lnTo>
                    <a:pt x="1711" y="4921"/>
                  </a:lnTo>
                  <a:lnTo>
                    <a:pt x="1717" y="4932"/>
                  </a:lnTo>
                  <a:lnTo>
                    <a:pt x="1723" y="4945"/>
                  </a:lnTo>
                  <a:lnTo>
                    <a:pt x="1728" y="4958"/>
                  </a:lnTo>
                  <a:lnTo>
                    <a:pt x="1732" y="4970"/>
                  </a:lnTo>
                  <a:lnTo>
                    <a:pt x="1736" y="4983"/>
                  </a:lnTo>
                  <a:lnTo>
                    <a:pt x="1739" y="4997"/>
                  </a:lnTo>
                  <a:lnTo>
                    <a:pt x="1741" y="5010"/>
                  </a:lnTo>
                  <a:lnTo>
                    <a:pt x="1743" y="5025"/>
                  </a:lnTo>
                  <a:lnTo>
                    <a:pt x="1744" y="5038"/>
                  </a:lnTo>
                  <a:lnTo>
                    <a:pt x="1744" y="5052"/>
                  </a:lnTo>
                  <a:lnTo>
                    <a:pt x="1744" y="5066"/>
                  </a:lnTo>
                  <a:lnTo>
                    <a:pt x="1743" y="5080"/>
                  </a:lnTo>
                  <a:lnTo>
                    <a:pt x="1741" y="5095"/>
                  </a:lnTo>
                  <a:lnTo>
                    <a:pt x="1739" y="5108"/>
                  </a:lnTo>
                  <a:lnTo>
                    <a:pt x="1736" y="5121"/>
                  </a:lnTo>
                  <a:lnTo>
                    <a:pt x="1732" y="5134"/>
                  </a:lnTo>
                  <a:lnTo>
                    <a:pt x="1728" y="5147"/>
                  </a:lnTo>
                  <a:lnTo>
                    <a:pt x="1723" y="5159"/>
                  </a:lnTo>
                  <a:lnTo>
                    <a:pt x="1717" y="5172"/>
                  </a:lnTo>
                  <a:lnTo>
                    <a:pt x="1711" y="5184"/>
                  </a:lnTo>
                  <a:lnTo>
                    <a:pt x="1705" y="5195"/>
                  </a:lnTo>
                  <a:lnTo>
                    <a:pt x="1698" y="5206"/>
                  </a:lnTo>
                  <a:lnTo>
                    <a:pt x="1690" y="5217"/>
                  </a:lnTo>
                  <a:lnTo>
                    <a:pt x="1681" y="5227"/>
                  </a:lnTo>
                  <a:lnTo>
                    <a:pt x="1673" y="5238"/>
                  </a:lnTo>
                  <a:lnTo>
                    <a:pt x="1664" y="5248"/>
                  </a:lnTo>
                  <a:lnTo>
                    <a:pt x="1654" y="5257"/>
                  </a:lnTo>
                  <a:lnTo>
                    <a:pt x="1644" y="5265"/>
                  </a:lnTo>
                  <a:lnTo>
                    <a:pt x="1634" y="5273"/>
                  </a:lnTo>
                  <a:lnTo>
                    <a:pt x="1623" y="5281"/>
                  </a:lnTo>
                  <a:lnTo>
                    <a:pt x="1611" y="5288"/>
                  </a:lnTo>
                  <a:lnTo>
                    <a:pt x="1600" y="5294"/>
                  </a:lnTo>
                  <a:lnTo>
                    <a:pt x="1588" y="5300"/>
                  </a:lnTo>
                  <a:lnTo>
                    <a:pt x="1576" y="5307"/>
                  </a:lnTo>
                  <a:lnTo>
                    <a:pt x="1564" y="5312"/>
                  </a:lnTo>
                  <a:lnTo>
                    <a:pt x="1551" y="5316"/>
                  </a:lnTo>
                  <a:lnTo>
                    <a:pt x="1537" y="5319"/>
                  </a:lnTo>
                  <a:lnTo>
                    <a:pt x="1524" y="5322"/>
                  </a:lnTo>
                  <a:lnTo>
                    <a:pt x="1511" y="5325"/>
                  </a:lnTo>
                  <a:lnTo>
                    <a:pt x="1497" y="5327"/>
                  </a:lnTo>
                  <a:lnTo>
                    <a:pt x="1483" y="5328"/>
                  </a:lnTo>
                  <a:lnTo>
                    <a:pt x="1468" y="5328"/>
                  </a:lnTo>
                  <a:close/>
                  <a:moveTo>
                    <a:pt x="2755" y="4593"/>
                  </a:moveTo>
                  <a:lnTo>
                    <a:pt x="183" y="4593"/>
                  </a:lnTo>
                  <a:lnTo>
                    <a:pt x="183" y="919"/>
                  </a:lnTo>
                  <a:lnTo>
                    <a:pt x="2755" y="919"/>
                  </a:lnTo>
                  <a:lnTo>
                    <a:pt x="2755" y="4593"/>
                  </a:lnTo>
                  <a:close/>
                </a:path>
              </a:pathLst>
            </a:custGeom>
            <a:solidFill>
              <a:schemeClr val="bg1"/>
            </a:solidFill>
            <a:ln>
              <a:noFill/>
            </a:ln>
          </p:spPr>
          <p:txBody>
            <a:bodyPr anchor="ctr">
              <a:scene3d>
                <a:camera prst="orthographicFront"/>
                <a:lightRig rig="threePt" dir="t"/>
              </a:scene3d>
              <a:sp3d contourW="12700">
                <a:contourClr>
                  <a:srgbClr val="FFFFFF"/>
                </a:contourClr>
              </a:sp3d>
            </a:bodyPr>
            <a:lstStyle/>
            <a:p>
              <a:pPr algn="ctr">
                <a:defRPr/>
              </a:pPr>
              <a:endParaRPr lang="zh-CN" altLang="en-US" dirty="0"/>
            </a:p>
          </p:txBody>
        </p:sp>
        <p:sp>
          <p:nvSpPr>
            <p:cNvPr id="23" name="TextBox 24"/>
            <p:cNvSpPr txBox="1"/>
            <p:nvPr/>
          </p:nvSpPr>
          <p:spPr>
            <a:xfrm>
              <a:off x="3870536" y="4530303"/>
              <a:ext cx="1875254" cy="762294"/>
            </a:xfrm>
            <a:prstGeom prst="rect">
              <a:avLst/>
            </a:prstGeom>
            <a:noFill/>
          </p:spPr>
          <p:txBody>
            <a:bodyPr wrap="square" rtlCol="0">
              <a:spAutoFit/>
            </a:bodyPr>
            <a:lstStyle/>
            <a:p>
              <a:pPr>
                <a:lnSpc>
                  <a:spcPct val="110000"/>
                </a:lnSpc>
              </a:pPr>
              <a:r>
                <a:rPr lang="zh-CN" altLang="en-US" b="1" dirty="0">
                  <a:latin typeface="+mn-ea"/>
                </a:rPr>
                <a:t>泊位</a:t>
              </a:r>
              <a:r>
                <a:rPr lang="zh-CN" altLang="en-US" b="1" dirty="0" smtClean="0">
                  <a:latin typeface="+mn-ea"/>
                </a:rPr>
                <a:t>周转率</a:t>
              </a:r>
              <a:endParaRPr lang="en-US" altLang="zh-CN" b="1" dirty="0" smtClean="0">
                <a:latin typeface="+mn-ea"/>
              </a:endParaRPr>
            </a:p>
            <a:p>
              <a:pPr>
                <a:lnSpc>
                  <a:spcPct val="110000"/>
                </a:lnSpc>
              </a:pPr>
              <a:r>
                <a:rPr lang="zh-CN" altLang="en-US" b="1" dirty="0" smtClean="0">
                  <a:latin typeface="+mn-ea"/>
                </a:rPr>
                <a:t>上升</a:t>
              </a:r>
              <a:r>
                <a:rPr lang="en-US" altLang="zh-CN" b="1" dirty="0">
                  <a:latin typeface="+mn-ea"/>
                </a:rPr>
                <a:t>50%</a:t>
              </a:r>
              <a:endParaRPr lang="zh-CN" altLang="en-US" b="1" dirty="0">
                <a:latin typeface="+mn-ea"/>
              </a:endParaRPr>
            </a:p>
          </p:txBody>
        </p:sp>
      </p:grpSp>
      <p:grpSp>
        <p:nvGrpSpPr>
          <p:cNvPr id="24" name="组合 23"/>
          <p:cNvGrpSpPr/>
          <p:nvPr/>
        </p:nvGrpSpPr>
        <p:grpSpPr>
          <a:xfrm>
            <a:off x="7225105" y="3428214"/>
            <a:ext cx="1645549" cy="1637953"/>
            <a:chOff x="3870536" y="3559556"/>
            <a:chExt cx="1875254" cy="1779318"/>
          </a:xfrm>
        </p:grpSpPr>
        <p:sp>
          <p:nvSpPr>
            <p:cNvPr id="25" name="椭圆 24"/>
            <p:cNvSpPr>
              <a:spLocks noChangeAspect="1"/>
            </p:cNvSpPr>
            <p:nvPr/>
          </p:nvSpPr>
          <p:spPr>
            <a:xfrm>
              <a:off x="4476382" y="3559556"/>
              <a:ext cx="557442" cy="519468"/>
            </a:xfrm>
            <a:prstGeom prst="ellipse">
              <a:avLst/>
            </a:prstGeom>
            <a:solidFill>
              <a:schemeClr val="accent2"/>
            </a:solidFill>
            <a:ln w="25400" algn="ctr">
              <a:noFill/>
              <a:miter lim="800000"/>
            </a:ln>
            <a:effectLst>
              <a:outerShdw blurRad="63500" algn="ctr" rotWithShape="0">
                <a:prstClr val="black">
                  <a:alpha val="40000"/>
                </a:prstClr>
              </a:outerShdw>
            </a:effectLst>
          </p:spPr>
          <p:txBody>
            <a:bodyPr anchor="ctr"/>
            <a:lstStyle/>
            <a:p>
              <a:pPr algn="ctr" defTabSz="1146810"/>
              <a:endParaRPr lang="zh-CN" altLang="en-US" sz="2255" dirty="0">
                <a:solidFill>
                  <a:schemeClr val="tx1"/>
                </a:solidFill>
              </a:endParaRPr>
            </a:p>
          </p:txBody>
        </p:sp>
        <p:cxnSp>
          <p:nvCxnSpPr>
            <p:cNvPr id="26" name="直接连接符 25"/>
            <p:cNvCxnSpPr/>
            <p:nvPr/>
          </p:nvCxnSpPr>
          <p:spPr>
            <a:xfrm>
              <a:off x="4762825" y="4042671"/>
              <a:ext cx="0" cy="360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Box 24"/>
            <p:cNvSpPr txBox="1"/>
            <p:nvPr/>
          </p:nvSpPr>
          <p:spPr>
            <a:xfrm>
              <a:off x="3870536" y="4576579"/>
              <a:ext cx="1875254" cy="762295"/>
            </a:xfrm>
            <a:prstGeom prst="rect">
              <a:avLst/>
            </a:prstGeom>
            <a:noFill/>
          </p:spPr>
          <p:txBody>
            <a:bodyPr wrap="square" rtlCol="0">
              <a:spAutoFit/>
            </a:bodyPr>
            <a:lstStyle/>
            <a:p>
              <a:pPr>
                <a:lnSpc>
                  <a:spcPct val="110000"/>
                </a:lnSpc>
              </a:pPr>
              <a:r>
                <a:rPr lang="zh-CN" altLang="en-US" b="1" dirty="0" smtClean="0">
                  <a:latin typeface="+mn-ea"/>
                </a:rPr>
                <a:t>平均车速提升</a:t>
              </a:r>
              <a:r>
                <a:rPr lang="en-US" altLang="zh-CN" b="1" dirty="0" smtClean="0">
                  <a:latin typeface="+mn-ea"/>
                </a:rPr>
                <a:t>15%</a:t>
              </a:r>
              <a:endParaRPr lang="zh-CN" altLang="en-US" b="1" dirty="0">
                <a:latin typeface="+mn-ea"/>
              </a:endParaRPr>
            </a:p>
          </p:txBody>
        </p:sp>
      </p:grpSp>
      <p:grpSp>
        <p:nvGrpSpPr>
          <p:cNvPr id="28" name="组合 27"/>
          <p:cNvGrpSpPr/>
          <p:nvPr/>
        </p:nvGrpSpPr>
        <p:grpSpPr>
          <a:xfrm>
            <a:off x="9009110" y="3491094"/>
            <a:ext cx="1838965" cy="1279151"/>
            <a:chOff x="9307120" y="3571044"/>
            <a:chExt cx="2266930" cy="1560248"/>
          </a:xfrm>
        </p:grpSpPr>
        <p:sp>
          <p:nvSpPr>
            <p:cNvPr id="29" name="椭圆 28"/>
            <p:cNvSpPr>
              <a:spLocks noChangeAspect="1"/>
            </p:cNvSpPr>
            <p:nvPr/>
          </p:nvSpPr>
          <p:spPr>
            <a:xfrm>
              <a:off x="10004596" y="3571044"/>
              <a:ext cx="540000" cy="540000"/>
            </a:xfrm>
            <a:prstGeom prst="ellipse">
              <a:avLst/>
            </a:prstGeom>
            <a:solidFill>
              <a:schemeClr val="accent4"/>
            </a:solidFill>
            <a:ln w="25400" algn="ctr">
              <a:noFill/>
              <a:miter lim="800000"/>
            </a:ln>
            <a:effectLst>
              <a:outerShdw blurRad="63500" algn="ctr" rotWithShape="0">
                <a:prstClr val="black">
                  <a:alpha val="40000"/>
                </a:prstClr>
              </a:outerShdw>
            </a:effectLst>
          </p:spPr>
          <p:txBody>
            <a:bodyPr anchor="ctr"/>
            <a:lstStyle/>
            <a:p>
              <a:pPr algn="ctr" defTabSz="1146810"/>
              <a:endParaRPr lang="zh-CN" altLang="en-US" sz="2255" dirty="0">
                <a:solidFill>
                  <a:schemeClr val="tx1"/>
                </a:solidFill>
              </a:endParaRPr>
            </a:p>
          </p:txBody>
        </p:sp>
        <p:cxnSp>
          <p:nvCxnSpPr>
            <p:cNvPr id="30" name="直接连接符 29"/>
            <p:cNvCxnSpPr/>
            <p:nvPr/>
          </p:nvCxnSpPr>
          <p:spPr>
            <a:xfrm>
              <a:off x="10274596" y="4105068"/>
              <a:ext cx="0" cy="36000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1" name="TextBox 24"/>
            <p:cNvSpPr txBox="1"/>
            <p:nvPr/>
          </p:nvSpPr>
          <p:spPr>
            <a:xfrm>
              <a:off x="9307120" y="4672898"/>
              <a:ext cx="2266930" cy="458394"/>
            </a:xfrm>
            <a:prstGeom prst="rect">
              <a:avLst/>
            </a:prstGeom>
            <a:noFill/>
          </p:spPr>
          <p:txBody>
            <a:bodyPr wrap="none" rtlCol="0">
              <a:spAutoFit/>
            </a:bodyPr>
            <a:lstStyle/>
            <a:p>
              <a:pPr>
                <a:lnSpc>
                  <a:spcPct val="110000"/>
                </a:lnSpc>
              </a:pPr>
              <a:r>
                <a:rPr lang="zh-CN" altLang="en-US" b="1" dirty="0" smtClean="0">
                  <a:latin typeface="+mn-ea"/>
                </a:rPr>
                <a:t>碳排放下降</a:t>
              </a:r>
              <a:r>
                <a:rPr lang="en-US" altLang="zh-CN" b="1" dirty="0" smtClean="0">
                  <a:latin typeface="+mn-ea"/>
                </a:rPr>
                <a:t>10%</a:t>
              </a:r>
              <a:endParaRPr lang="zh-CN" altLang="en-US" b="1" dirty="0">
                <a:latin typeface="+mn-ea"/>
              </a:endParaRPr>
            </a:p>
          </p:txBody>
        </p:sp>
      </p:grpSp>
      <p:sp>
        <p:nvSpPr>
          <p:cNvPr id="32" name="Freeform 17"/>
          <p:cNvSpPr>
            <a:spLocks noEditPoints="1"/>
          </p:cNvSpPr>
          <p:nvPr/>
        </p:nvSpPr>
        <p:spPr bwMode="auto">
          <a:xfrm>
            <a:off x="9607675" y="3518040"/>
            <a:ext cx="372533" cy="372533"/>
          </a:xfrm>
          <a:custGeom>
            <a:avLst/>
            <a:gdLst>
              <a:gd name="T0" fmla="*/ 1434 w 2867"/>
              <a:gd name="T1" fmla="*/ 205 h 2867"/>
              <a:gd name="T2" fmla="*/ 2662 w 2867"/>
              <a:gd name="T3" fmla="*/ 1434 h 2867"/>
              <a:gd name="T4" fmla="*/ 1434 w 2867"/>
              <a:gd name="T5" fmla="*/ 2662 h 2867"/>
              <a:gd name="T6" fmla="*/ 205 w 2867"/>
              <a:gd name="T7" fmla="*/ 1434 h 2867"/>
              <a:gd name="T8" fmla="*/ 1434 w 2867"/>
              <a:gd name="T9" fmla="*/ 205 h 2867"/>
              <a:gd name="T10" fmla="*/ 1434 w 2867"/>
              <a:gd name="T11" fmla="*/ 0 h 2867"/>
              <a:gd name="T12" fmla="*/ 0 w 2867"/>
              <a:gd name="T13" fmla="*/ 1434 h 2867"/>
              <a:gd name="T14" fmla="*/ 1434 w 2867"/>
              <a:gd name="T15" fmla="*/ 2867 h 2867"/>
              <a:gd name="T16" fmla="*/ 2867 w 2867"/>
              <a:gd name="T17" fmla="*/ 1434 h 2867"/>
              <a:gd name="T18" fmla="*/ 1434 w 2867"/>
              <a:gd name="T19" fmla="*/ 0 h 2867"/>
              <a:gd name="T20" fmla="*/ 1434 w 2867"/>
              <a:gd name="T21" fmla="*/ 0 h 2867"/>
              <a:gd name="T22" fmla="*/ 901 w 2867"/>
              <a:gd name="T23" fmla="*/ 573 h 2867"/>
              <a:gd name="T24" fmla="*/ 1341 w 2867"/>
              <a:gd name="T25" fmla="*/ 393 h 2867"/>
              <a:gd name="T26" fmla="*/ 2232 w 2867"/>
              <a:gd name="T27" fmla="*/ 737 h 2867"/>
              <a:gd name="T28" fmla="*/ 2212 w 2867"/>
              <a:gd name="T29" fmla="*/ 860 h 2867"/>
              <a:gd name="T30" fmla="*/ 2089 w 2867"/>
              <a:gd name="T31" fmla="*/ 840 h 2867"/>
              <a:gd name="T32" fmla="*/ 1399 w 2867"/>
              <a:gd name="T33" fmla="*/ 573 h 2867"/>
              <a:gd name="T34" fmla="*/ 1004 w 2867"/>
              <a:gd name="T35" fmla="*/ 717 h 2867"/>
              <a:gd name="T36" fmla="*/ 895 w 2867"/>
              <a:gd name="T37" fmla="*/ 702 h 2867"/>
              <a:gd name="T38" fmla="*/ 901 w 2867"/>
              <a:gd name="T39" fmla="*/ 573 h 2867"/>
              <a:gd name="T40" fmla="*/ 2253 w 2867"/>
              <a:gd name="T41" fmla="*/ 1106 h 2867"/>
              <a:gd name="T42" fmla="*/ 2314 w 2867"/>
              <a:gd name="T43" fmla="*/ 998 h 2867"/>
              <a:gd name="T44" fmla="*/ 2437 w 2867"/>
              <a:gd name="T45" fmla="*/ 1044 h 2867"/>
              <a:gd name="T46" fmla="*/ 2478 w 2867"/>
              <a:gd name="T47" fmla="*/ 1208 h 2867"/>
              <a:gd name="T48" fmla="*/ 2416 w 2867"/>
              <a:gd name="T49" fmla="*/ 1316 h 2867"/>
              <a:gd name="T50" fmla="*/ 2314 w 2867"/>
              <a:gd name="T51" fmla="*/ 1290 h 2867"/>
              <a:gd name="T52" fmla="*/ 2253 w 2867"/>
              <a:gd name="T53" fmla="*/ 1106 h 2867"/>
              <a:gd name="T54" fmla="*/ 942 w 2867"/>
              <a:gd name="T55" fmla="*/ 1925 h 2867"/>
              <a:gd name="T56" fmla="*/ 1434 w 2867"/>
              <a:gd name="T57" fmla="*/ 1843 h 2867"/>
              <a:gd name="T58" fmla="*/ 1925 w 2867"/>
              <a:gd name="T59" fmla="*/ 1925 h 2867"/>
              <a:gd name="T60" fmla="*/ 1843 w 2867"/>
              <a:gd name="T61" fmla="*/ 1434 h 2867"/>
              <a:gd name="T62" fmla="*/ 1925 w 2867"/>
              <a:gd name="T63" fmla="*/ 942 h 2867"/>
              <a:gd name="T64" fmla="*/ 1434 w 2867"/>
              <a:gd name="T65" fmla="*/ 1024 h 2867"/>
              <a:gd name="T66" fmla="*/ 942 w 2867"/>
              <a:gd name="T67" fmla="*/ 942 h 2867"/>
              <a:gd name="T68" fmla="*/ 1024 w 2867"/>
              <a:gd name="T69" fmla="*/ 1434 h 2867"/>
              <a:gd name="T70" fmla="*/ 942 w 2867"/>
              <a:gd name="T71" fmla="*/ 1925 h 2867"/>
              <a:gd name="T72" fmla="*/ 819 w 2867"/>
              <a:gd name="T73" fmla="*/ 2048 h 2867"/>
              <a:gd name="T74" fmla="*/ 819 w 2867"/>
              <a:gd name="T75" fmla="*/ 2048 h 2867"/>
              <a:gd name="T76" fmla="*/ 819 w 2867"/>
              <a:gd name="T77" fmla="*/ 2048 h 2867"/>
              <a:gd name="T78" fmla="*/ 819 w 2867"/>
              <a:gd name="T79" fmla="*/ 2048 h 2867"/>
              <a:gd name="T80" fmla="*/ 819 w 2867"/>
              <a:gd name="T81" fmla="*/ 819 h 2867"/>
              <a:gd name="T82" fmla="*/ 819 w 2867"/>
              <a:gd name="T83" fmla="*/ 819 h 2867"/>
              <a:gd name="T84" fmla="*/ 819 w 2867"/>
              <a:gd name="T85" fmla="*/ 819 h 2867"/>
              <a:gd name="T86" fmla="*/ 819 w 2867"/>
              <a:gd name="T87" fmla="*/ 819 h 2867"/>
              <a:gd name="T88" fmla="*/ 819 w 2867"/>
              <a:gd name="T89" fmla="*/ 819 h 2867"/>
              <a:gd name="T90" fmla="*/ 819 w 2867"/>
              <a:gd name="T91" fmla="*/ 819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67" h="2867">
                <a:moveTo>
                  <a:pt x="1434" y="205"/>
                </a:moveTo>
                <a:cubicBezTo>
                  <a:pt x="2109" y="205"/>
                  <a:pt x="2662" y="758"/>
                  <a:pt x="2662" y="1434"/>
                </a:cubicBezTo>
                <a:cubicBezTo>
                  <a:pt x="2662" y="2109"/>
                  <a:pt x="2109" y="2662"/>
                  <a:pt x="1434" y="2662"/>
                </a:cubicBezTo>
                <a:cubicBezTo>
                  <a:pt x="758" y="2662"/>
                  <a:pt x="205" y="2109"/>
                  <a:pt x="205" y="1434"/>
                </a:cubicBezTo>
                <a:cubicBezTo>
                  <a:pt x="205" y="758"/>
                  <a:pt x="758" y="205"/>
                  <a:pt x="1434" y="205"/>
                </a:cubicBezTo>
                <a:moveTo>
                  <a:pt x="1434" y="0"/>
                </a:moveTo>
                <a:cubicBezTo>
                  <a:pt x="655" y="0"/>
                  <a:pt x="0" y="655"/>
                  <a:pt x="0" y="1434"/>
                </a:cubicBezTo>
                <a:cubicBezTo>
                  <a:pt x="0" y="2212"/>
                  <a:pt x="655" y="2867"/>
                  <a:pt x="1434" y="2867"/>
                </a:cubicBezTo>
                <a:cubicBezTo>
                  <a:pt x="2212" y="2867"/>
                  <a:pt x="2867" y="2232"/>
                  <a:pt x="2867" y="1434"/>
                </a:cubicBezTo>
                <a:cubicBezTo>
                  <a:pt x="2867" y="635"/>
                  <a:pt x="2232" y="0"/>
                  <a:pt x="1434" y="0"/>
                </a:cubicBezTo>
                <a:cubicBezTo>
                  <a:pt x="1434" y="0"/>
                  <a:pt x="1434" y="0"/>
                  <a:pt x="1434" y="0"/>
                </a:cubicBezTo>
                <a:close/>
                <a:moveTo>
                  <a:pt x="901" y="573"/>
                </a:moveTo>
                <a:cubicBezTo>
                  <a:pt x="1030" y="479"/>
                  <a:pt x="1147" y="420"/>
                  <a:pt x="1341" y="393"/>
                </a:cubicBezTo>
                <a:cubicBezTo>
                  <a:pt x="1646" y="350"/>
                  <a:pt x="2037" y="463"/>
                  <a:pt x="2232" y="737"/>
                </a:cubicBezTo>
                <a:cubicBezTo>
                  <a:pt x="2266" y="784"/>
                  <a:pt x="2257" y="831"/>
                  <a:pt x="2212" y="860"/>
                </a:cubicBezTo>
                <a:cubicBezTo>
                  <a:pt x="2161" y="893"/>
                  <a:pt x="2118" y="881"/>
                  <a:pt x="2089" y="840"/>
                </a:cubicBezTo>
                <a:cubicBezTo>
                  <a:pt x="1938" y="625"/>
                  <a:pt x="1599" y="539"/>
                  <a:pt x="1399" y="573"/>
                </a:cubicBezTo>
                <a:cubicBezTo>
                  <a:pt x="1200" y="607"/>
                  <a:pt x="1116" y="650"/>
                  <a:pt x="1004" y="717"/>
                </a:cubicBezTo>
                <a:cubicBezTo>
                  <a:pt x="978" y="732"/>
                  <a:pt x="924" y="739"/>
                  <a:pt x="895" y="702"/>
                </a:cubicBezTo>
                <a:cubicBezTo>
                  <a:pt x="864" y="664"/>
                  <a:pt x="861" y="603"/>
                  <a:pt x="901" y="573"/>
                </a:cubicBezTo>
                <a:close/>
                <a:moveTo>
                  <a:pt x="2253" y="1106"/>
                </a:moveTo>
                <a:cubicBezTo>
                  <a:pt x="2248" y="1050"/>
                  <a:pt x="2271" y="1012"/>
                  <a:pt x="2314" y="998"/>
                </a:cubicBezTo>
                <a:cubicBezTo>
                  <a:pt x="2362" y="982"/>
                  <a:pt x="2417" y="1004"/>
                  <a:pt x="2437" y="1044"/>
                </a:cubicBezTo>
                <a:cubicBezTo>
                  <a:pt x="2456" y="1082"/>
                  <a:pt x="2466" y="1140"/>
                  <a:pt x="2478" y="1208"/>
                </a:cubicBezTo>
                <a:cubicBezTo>
                  <a:pt x="2485" y="1249"/>
                  <a:pt x="2472" y="1310"/>
                  <a:pt x="2416" y="1316"/>
                </a:cubicBezTo>
                <a:cubicBezTo>
                  <a:pt x="2375" y="1320"/>
                  <a:pt x="2348" y="1324"/>
                  <a:pt x="2314" y="1290"/>
                </a:cubicBezTo>
                <a:cubicBezTo>
                  <a:pt x="2280" y="1256"/>
                  <a:pt x="2256" y="1147"/>
                  <a:pt x="2253" y="1106"/>
                </a:cubicBezTo>
                <a:close/>
                <a:moveTo>
                  <a:pt x="942" y="1925"/>
                </a:moveTo>
                <a:cubicBezTo>
                  <a:pt x="1044" y="1884"/>
                  <a:pt x="1229" y="1843"/>
                  <a:pt x="1434" y="1843"/>
                </a:cubicBezTo>
                <a:cubicBezTo>
                  <a:pt x="1638" y="1843"/>
                  <a:pt x="1823" y="1884"/>
                  <a:pt x="1925" y="1925"/>
                </a:cubicBezTo>
                <a:cubicBezTo>
                  <a:pt x="1884" y="1823"/>
                  <a:pt x="1843" y="1638"/>
                  <a:pt x="1843" y="1434"/>
                </a:cubicBezTo>
                <a:cubicBezTo>
                  <a:pt x="1843" y="1229"/>
                  <a:pt x="1884" y="1044"/>
                  <a:pt x="1925" y="942"/>
                </a:cubicBezTo>
                <a:cubicBezTo>
                  <a:pt x="1823" y="983"/>
                  <a:pt x="1638" y="1024"/>
                  <a:pt x="1434" y="1024"/>
                </a:cubicBezTo>
                <a:cubicBezTo>
                  <a:pt x="1229" y="1024"/>
                  <a:pt x="1044" y="983"/>
                  <a:pt x="942" y="942"/>
                </a:cubicBezTo>
                <a:cubicBezTo>
                  <a:pt x="983" y="1044"/>
                  <a:pt x="1024" y="1229"/>
                  <a:pt x="1024" y="1434"/>
                </a:cubicBezTo>
                <a:cubicBezTo>
                  <a:pt x="1024" y="1638"/>
                  <a:pt x="983" y="1823"/>
                  <a:pt x="942" y="1925"/>
                </a:cubicBezTo>
                <a:close/>
                <a:moveTo>
                  <a:pt x="819" y="2048"/>
                </a:moveTo>
                <a:cubicBezTo>
                  <a:pt x="819" y="2048"/>
                  <a:pt x="819" y="2048"/>
                  <a:pt x="819" y="2048"/>
                </a:cubicBezTo>
                <a:cubicBezTo>
                  <a:pt x="819" y="2048"/>
                  <a:pt x="819" y="2048"/>
                  <a:pt x="819" y="2048"/>
                </a:cubicBezTo>
                <a:cubicBezTo>
                  <a:pt x="819" y="2048"/>
                  <a:pt x="819" y="2048"/>
                  <a:pt x="819" y="2048"/>
                </a:cubicBezTo>
                <a:close/>
                <a:moveTo>
                  <a:pt x="819" y="819"/>
                </a:moveTo>
                <a:cubicBezTo>
                  <a:pt x="819" y="819"/>
                  <a:pt x="819" y="819"/>
                  <a:pt x="819" y="819"/>
                </a:cubicBezTo>
                <a:cubicBezTo>
                  <a:pt x="819" y="819"/>
                  <a:pt x="819" y="819"/>
                  <a:pt x="819" y="819"/>
                </a:cubicBezTo>
                <a:cubicBezTo>
                  <a:pt x="819" y="819"/>
                  <a:pt x="819" y="819"/>
                  <a:pt x="819" y="819"/>
                </a:cubicBezTo>
                <a:close/>
                <a:moveTo>
                  <a:pt x="819" y="819"/>
                </a:moveTo>
                <a:cubicBezTo>
                  <a:pt x="819" y="819"/>
                  <a:pt x="819" y="819"/>
                  <a:pt x="819" y="819"/>
                </a:cubicBezTo>
              </a:path>
            </a:pathLst>
          </a:custGeom>
          <a:solidFill>
            <a:schemeClr val="accent4"/>
          </a:solidFill>
          <a:ln>
            <a:solidFill>
              <a:schemeClr val="bg1"/>
            </a:solidFill>
          </a:ln>
        </p:spPr>
        <p:txBody>
          <a:bodyPr vert="horz" wrap="square" lIns="121920" tIns="60960" rIns="121920" bIns="60960" numCol="1" anchor="t" anchorCtr="0" compatLnSpc="1"/>
          <a:lstStyle/>
          <a:p>
            <a:endParaRPr lang="zh-CN" altLang="en-US" sz="2400"/>
          </a:p>
        </p:txBody>
      </p:sp>
      <p:sp>
        <p:nvSpPr>
          <p:cNvPr id="33" name="Freeform 10"/>
          <p:cNvSpPr>
            <a:spLocks noEditPoints="1"/>
          </p:cNvSpPr>
          <p:nvPr/>
        </p:nvSpPr>
        <p:spPr bwMode="auto">
          <a:xfrm>
            <a:off x="2010553" y="3491094"/>
            <a:ext cx="399522" cy="398799"/>
          </a:xfrm>
          <a:custGeom>
            <a:avLst/>
            <a:gdLst>
              <a:gd name="T0" fmla="*/ 439327 w 1145"/>
              <a:gd name="T1" fmla="*/ 326030 h 1145"/>
              <a:gd name="T2" fmla="*/ 326620 w 1145"/>
              <a:gd name="T3" fmla="*/ 438533 h 1145"/>
              <a:gd name="T4" fmla="*/ 439327 w 1145"/>
              <a:gd name="T5" fmla="*/ 551036 h 1145"/>
              <a:gd name="T6" fmla="*/ 552034 w 1145"/>
              <a:gd name="T7" fmla="*/ 438533 h 1145"/>
              <a:gd name="T8" fmla="*/ 439327 w 1145"/>
              <a:gd name="T9" fmla="*/ 326030 h 1145"/>
              <a:gd name="T10" fmla="*/ 485330 w 1145"/>
              <a:gd name="T11" fmla="*/ 652824 h 1145"/>
              <a:gd name="T12" fmla="*/ 485330 w 1145"/>
              <a:gd name="T13" fmla="*/ 601547 h 1145"/>
              <a:gd name="T14" fmla="*/ 393324 w 1145"/>
              <a:gd name="T15" fmla="*/ 601547 h 1145"/>
              <a:gd name="T16" fmla="*/ 393324 w 1145"/>
              <a:gd name="T17" fmla="*/ 652824 h 1145"/>
              <a:gd name="T18" fmla="*/ 224647 w 1145"/>
              <a:gd name="T19" fmla="*/ 484452 h 1145"/>
              <a:gd name="T20" fmla="*/ 275250 w 1145"/>
              <a:gd name="T21" fmla="*/ 484452 h 1145"/>
              <a:gd name="T22" fmla="*/ 275250 w 1145"/>
              <a:gd name="T23" fmla="*/ 392613 h 1145"/>
              <a:gd name="T24" fmla="*/ 224647 w 1145"/>
              <a:gd name="T25" fmla="*/ 392613 h 1145"/>
              <a:gd name="T26" fmla="*/ 393324 w 1145"/>
              <a:gd name="T27" fmla="*/ 224241 h 1145"/>
              <a:gd name="T28" fmla="*/ 393324 w 1145"/>
              <a:gd name="T29" fmla="*/ 274753 h 1145"/>
              <a:gd name="T30" fmla="*/ 485330 w 1145"/>
              <a:gd name="T31" fmla="*/ 274753 h 1145"/>
              <a:gd name="T32" fmla="*/ 485330 w 1145"/>
              <a:gd name="T33" fmla="*/ 224241 h 1145"/>
              <a:gd name="T34" fmla="*/ 654007 w 1145"/>
              <a:gd name="T35" fmla="*/ 392613 h 1145"/>
              <a:gd name="T36" fmla="*/ 603404 w 1145"/>
              <a:gd name="T37" fmla="*/ 392613 h 1145"/>
              <a:gd name="T38" fmla="*/ 603404 w 1145"/>
              <a:gd name="T39" fmla="*/ 484452 h 1145"/>
              <a:gd name="T40" fmla="*/ 654007 w 1145"/>
              <a:gd name="T41" fmla="*/ 484452 h 1145"/>
              <a:gd name="T42" fmla="*/ 485330 w 1145"/>
              <a:gd name="T43" fmla="*/ 652824 h 1145"/>
              <a:gd name="T44" fmla="*/ 747546 w 1145"/>
              <a:gd name="T45" fmla="*/ 392613 h 1145"/>
              <a:gd name="T46" fmla="*/ 485330 w 1145"/>
              <a:gd name="T47" fmla="*/ 130871 h 1145"/>
              <a:gd name="T48" fmla="*/ 485330 w 1145"/>
              <a:gd name="T49" fmla="*/ 0 h 1145"/>
              <a:gd name="T50" fmla="*/ 393324 w 1145"/>
              <a:gd name="T51" fmla="*/ 0 h 1145"/>
              <a:gd name="T52" fmla="*/ 393324 w 1145"/>
              <a:gd name="T53" fmla="*/ 130871 h 1145"/>
              <a:gd name="T54" fmla="*/ 131108 w 1145"/>
              <a:gd name="T55" fmla="*/ 392613 h 1145"/>
              <a:gd name="T56" fmla="*/ 0 w 1145"/>
              <a:gd name="T57" fmla="*/ 392613 h 1145"/>
              <a:gd name="T58" fmla="*/ 0 w 1145"/>
              <a:gd name="T59" fmla="*/ 484452 h 1145"/>
              <a:gd name="T60" fmla="*/ 131108 w 1145"/>
              <a:gd name="T61" fmla="*/ 484452 h 1145"/>
              <a:gd name="T62" fmla="*/ 393324 w 1145"/>
              <a:gd name="T63" fmla="*/ 746194 h 1145"/>
              <a:gd name="T64" fmla="*/ 393324 w 1145"/>
              <a:gd name="T65" fmla="*/ 876300 h 1145"/>
              <a:gd name="T66" fmla="*/ 485330 w 1145"/>
              <a:gd name="T67" fmla="*/ 876300 h 1145"/>
              <a:gd name="T68" fmla="*/ 485330 w 1145"/>
              <a:gd name="T69" fmla="*/ 746194 h 1145"/>
              <a:gd name="T70" fmla="*/ 747546 w 1145"/>
              <a:gd name="T71" fmla="*/ 484452 h 1145"/>
              <a:gd name="T72" fmla="*/ 877887 w 1145"/>
              <a:gd name="T73" fmla="*/ 484452 h 1145"/>
              <a:gd name="T74" fmla="*/ 877887 w 1145"/>
              <a:gd name="T75" fmla="*/ 392613 h 1145"/>
              <a:gd name="T76" fmla="*/ 747546 w 1145"/>
              <a:gd name="T77" fmla="*/ 392613 h 11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145" h="1145">
                <a:moveTo>
                  <a:pt x="573" y="426"/>
                </a:moveTo>
                <a:cubicBezTo>
                  <a:pt x="492" y="426"/>
                  <a:pt x="426" y="492"/>
                  <a:pt x="426" y="573"/>
                </a:cubicBezTo>
                <a:cubicBezTo>
                  <a:pt x="426" y="654"/>
                  <a:pt x="492" y="720"/>
                  <a:pt x="573" y="720"/>
                </a:cubicBezTo>
                <a:cubicBezTo>
                  <a:pt x="654" y="720"/>
                  <a:pt x="720" y="654"/>
                  <a:pt x="720" y="573"/>
                </a:cubicBezTo>
                <a:cubicBezTo>
                  <a:pt x="720" y="492"/>
                  <a:pt x="654" y="426"/>
                  <a:pt x="573" y="426"/>
                </a:cubicBezTo>
                <a:close/>
                <a:moveTo>
                  <a:pt x="633" y="853"/>
                </a:moveTo>
                <a:lnTo>
                  <a:pt x="633" y="786"/>
                </a:lnTo>
                <a:lnTo>
                  <a:pt x="513" y="786"/>
                </a:lnTo>
                <a:lnTo>
                  <a:pt x="513" y="853"/>
                </a:lnTo>
                <a:cubicBezTo>
                  <a:pt x="403" y="829"/>
                  <a:pt x="316" y="743"/>
                  <a:pt x="293" y="633"/>
                </a:cubicBezTo>
                <a:lnTo>
                  <a:pt x="359" y="633"/>
                </a:lnTo>
                <a:lnTo>
                  <a:pt x="359" y="513"/>
                </a:lnTo>
                <a:lnTo>
                  <a:pt x="293" y="513"/>
                </a:lnTo>
                <a:cubicBezTo>
                  <a:pt x="316" y="403"/>
                  <a:pt x="403" y="316"/>
                  <a:pt x="513" y="293"/>
                </a:cubicBezTo>
                <a:lnTo>
                  <a:pt x="513" y="359"/>
                </a:lnTo>
                <a:lnTo>
                  <a:pt x="633" y="359"/>
                </a:lnTo>
                <a:lnTo>
                  <a:pt x="633" y="293"/>
                </a:lnTo>
                <a:cubicBezTo>
                  <a:pt x="743" y="316"/>
                  <a:pt x="830" y="403"/>
                  <a:pt x="853" y="513"/>
                </a:cubicBezTo>
                <a:lnTo>
                  <a:pt x="787" y="513"/>
                </a:lnTo>
                <a:lnTo>
                  <a:pt x="787" y="633"/>
                </a:lnTo>
                <a:lnTo>
                  <a:pt x="853" y="633"/>
                </a:lnTo>
                <a:cubicBezTo>
                  <a:pt x="830" y="743"/>
                  <a:pt x="743" y="829"/>
                  <a:pt x="633" y="853"/>
                </a:cubicBezTo>
                <a:close/>
                <a:moveTo>
                  <a:pt x="975" y="513"/>
                </a:moveTo>
                <a:cubicBezTo>
                  <a:pt x="949" y="337"/>
                  <a:pt x="809" y="197"/>
                  <a:pt x="633" y="171"/>
                </a:cubicBezTo>
                <a:lnTo>
                  <a:pt x="633" y="0"/>
                </a:lnTo>
                <a:lnTo>
                  <a:pt x="513" y="0"/>
                </a:lnTo>
                <a:lnTo>
                  <a:pt x="513" y="171"/>
                </a:lnTo>
                <a:cubicBezTo>
                  <a:pt x="337" y="197"/>
                  <a:pt x="197" y="337"/>
                  <a:pt x="171" y="513"/>
                </a:cubicBezTo>
                <a:lnTo>
                  <a:pt x="0" y="513"/>
                </a:lnTo>
                <a:lnTo>
                  <a:pt x="0" y="633"/>
                </a:lnTo>
                <a:lnTo>
                  <a:pt x="171" y="633"/>
                </a:lnTo>
                <a:cubicBezTo>
                  <a:pt x="197" y="809"/>
                  <a:pt x="337" y="949"/>
                  <a:pt x="513" y="975"/>
                </a:cubicBezTo>
                <a:lnTo>
                  <a:pt x="513" y="1145"/>
                </a:lnTo>
                <a:lnTo>
                  <a:pt x="633" y="1145"/>
                </a:lnTo>
                <a:lnTo>
                  <a:pt x="633" y="975"/>
                </a:lnTo>
                <a:cubicBezTo>
                  <a:pt x="809" y="949"/>
                  <a:pt x="949" y="809"/>
                  <a:pt x="975" y="633"/>
                </a:cubicBezTo>
                <a:lnTo>
                  <a:pt x="1145" y="633"/>
                </a:lnTo>
                <a:lnTo>
                  <a:pt x="1145" y="513"/>
                </a:lnTo>
                <a:lnTo>
                  <a:pt x="975" y="513"/>
                </a:lnTo>
                <a:close/>
              </a:path>
            </a:pathLst>
          </a:custGeom>
          <a:solidFill>
            <a:schemeClr val="accent4"/>
          </a:solidFill>
          <a:ln>
            <a:solidFill>
              <a:schemeClr val="bg1"/>
            </a:solidFill>
          </a:ln>
        </p:spPr>
        <p:txBody>
          <a:bodyPr/>
          <a:lstStyle/>
          <a:p>
            <a:pPr algn="ctr"/>
            <a:endParaRPr lang="zh-CN" altLang="en-US">
              <a:solidFill>
                <a:schemeClr val="bg1"/>
              </a:solidFill>
            </a:endParaRPr>
          </a:p>
        </p:txBody>
      </p:sp>
      <p:grpSp>
        <p:nvGrpSpPr>
          <p:cNvPr id="34" name="组合 33"/>
          <p:cNvGrpSpPr/>
          <p:nvPr/>
        </p:nvGrpSpPr>
        <p:grpSpPr>
          <a:xfrm>
            <a:off x="7781472" y="3469105"/>
            <a:ext cx="439691" cy="396414"/>
            <a:chOff x="10019977" y="-551766"/>
            <a:chExt cx="2093913" cy="2122488"/>
          </a:xfrm>
          <a:solidFill>
            <a:schemeClr val="bg1"/>
          </a:solidFill>
        </p:grpSpPr>
        <p:sp>
          <p:nvSpPr>
            <p:cNvPr id="35" name="Freeform 6"/>
            <p:cNvSpPr>
              <a:spLocks noEditPoints="1"/>
            </p:cNvSpPr>
            <p:nvPr/>
          </p:nvSpPr>
          <p:spPr bwMode="auto">
            <a:xfrm>
              <a:off x="10019977" y="-551766"/>
              <a:ext cx="2093913" cy="2122488"/>
            </a:xfrm>
            <a:custGeom>
              <a:avLst/>
              <a:gdLst>
                <a:gd name="T0" fmla="*/ 1391 w 2783"/>
                <a:gd name="T1" fmla="*/ 0 h 2783"/>
                <a:gd name="T2" fmla="*/ 0 w 2783"/>
                <a:gd name="T3" fmla="*/ 1391 h 2783"/>
                <a:gd name="T4" fmla="*/ 1391 w 2783"/>
                <a:gd name="T5" fmla="*/ 2783 h 2783"/>
                <a:gd name="T6" fmla="*/ 2783 w 2783"/>
                <a:gd name="T7" fmla="*/ 1391 h 2783"/>
                <a:gd name="T8" fmla="*/ 1391 w 2783"/>
                <a:gd name="T9" fmla="*/ 0 h 2783"/>
                <a:gd name="T10" fmla="*/ 1391 w 2783"/>
                <a:gd name="T11" fmla="*/ 55 h 2783"/>
                <a:gd name="T12" fmla="*/ 55 w 2783"/>
                <a:gd name="T13" fmla="*/ 1391 h 2783"/>
                <a:gd name="T14" fmla="*/ 1391 w 2783"/>
                <a:gd name="T15" fmla="*/ 2728 h 2783"/>
                <a:gd name="T16" fmla="*/ 2728 w 2783"/>
                <a:gd name="T17" fmla="*/ 1391 h 2783"/>
                <a:gd name="T18" fmla="*/ 1391 w 2783"/>
                <a:gd name="T19" fmla="*/ 55 h 2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83" h="2783">
                  <a:moveTo>
                    <a:pt x="1391" y="0"/>
                  </a:moveTo>
                  <a:cubicBezTo>
                    <a:pt x="623" y="0"/>
                    <a:pt x="0" y="623"/>
                    <a:pt x="0" y="1391"/>
                  </a:cubicBezTo>
                  <a:cubicBezTo>
                    <a:pt x="0" y="2160"/>
                    <a:pt x="623" y="2783"/>
                    <a:pt x="1391" y="2783"/>
                  </a:cubicBezTo>
                  <a:cubicBezTo>
                    <a:pt x="2160" y="2783"/>
                    <a:pt x="2783" y="2160"/>
                    <a:pt x="2783" y="1391"/>
                  </a:cubicBezTo>
                  <a:cubicBezTo>
                    <a:pt x="2783" y="623"/>
                    <a:pt x="2160" y="0"/>
                    <a:pt x="1391" y="0"/>
                  </a:cubicBezTo>
                  <a:close/>
                  <a:moveTo>
                    <a:pt x="1391" y="55"/>
                  </a:moveTo>
                  <a:cubicBezTo>
                    <a:pt x="654" y="55"/>
                    <a:pt x="55" y="654"/>
                    <a:pt x="55" y="1391"/>
                  </a:cubicBezTo>
                  <a:cubicBezTo>
                    <a:pt x="55" y="2129"/>
                    <a:pt x="654" y="2728"/>
                    <a:pt x="1391" y="2728"/>
                  </a:cubicBezTo>
                  <a:cubicBezTo>
                    <a:pt x="2129" y="2728"/>
                    <a:pt x="2728" y="2129"/>
                    <a:pt x="2728" y="1391"/>
                  </a:cubicBezTo>
                  <a:cubicBezTo>
                    <a:pt x="2728" y="654"/>
                    <a:pt x="2129" y="55"/>
                    <a:pt x="1391" y="55"/>
                  </a:cubicBezTo>
                  <a:close/>
                </a:path>
              </a:pathLst>
            </a:custGeom>
            <a:grpFill/>
            <a:ln>
              <a:solidFill>
                <a:schemeClr val="bg1"/>
              </a:solidFill>
            </a:ln>
          </p:spPr>
          <p:txBody>
            <a:bodyPr vert="horz" wrap="square" lIns="91440" tIns="45720" rIns="91440" bIns="45720" numCol="1" anchor="t" anchorCtr="0" compatLnSpc="1"/>
            <a:lstStyle/>
            <a:p>
              <a:pPr algn="ctr"/>
              <a:endParaRPr lang="zh-CN" altLang="en-US">
                <a:solidFill>
                  <a:schemeClr val="bg1"/>
                </a:solidFill>
              </a:endParaRPr>
            </a:p>
          </p:txBody>
        </p:sp>
        <p:sp>
          <p:nvSpPr>
            <p:cNvPr id="36" name="Freeform 6"/>
            <p:cNvSpPr>
              <a:spLocks noEditPoints="1"/>
            </p:cNvSpPr>
            <p:nvPr/>
          </p:nvSpPr>
          <p:spPr bwMode="auto">
            <a:xfrm>
              <a:off x="10357958" y="-215901"/>
              <a:ext cx="1417951" cy="1401542"/>
            </a:xfrm>
            <a:custGeom>
              <a:avLst/>
              <a:gdLst>
                <a:gd name="T0" fmla="*/ 675 w 1848"/>
                <a:gd name="T1" fmla="*/ 126 h 1848"/>
                <a:gd name="T2" fmla="*/ 286 w 1848"/>
                <a:gd name="T3" fmla="*/ 287 h 1848"/>
                <a:gd name="T4" fmla="*/ 126 w 1848"/>
                <a:gd name="T5" fmla="*/ 675 h 1848"/>
                <a:gd name="T6" fmla="*/ 286 w 1848"/>
                <a:gd name="T7" fmla="*/ 1064 h 1848"/>
                <a:gd name="T8" fmla="*/ 675 w 1848"/>
                <a:gd name="T9" fmla="*/ 1225 h 1848"/>
                <a:gd name="T10" fmla="*/ 1063 w 1848"/>
                <a:gd name="T11" fmla="*/ 1064 h 1848"/>
                <a:gd name="T12" fmla="*/ 1063 w 1848"/>
                <a:gd name="T13" fmla="*/ 287 h 1848"/>
                <a:gd name="T14" fmla="*/ 675 w 1848"/>
                <a:gd name="T15" fmla="*/ 126 h 1848"/>
                <a:gd name="T16" fmla="*/ 675 w 1848"/>
                <a:gd name="T17" fmla="*/ 1350 h 1848"/>
                <a:gd name="T18" fmla="*/ 198 w 1848"/>
                <a:gd name="T19" fmla="*/ 1153 h 1848"/>
                <a:gd name="T20" fmla="*/ 0 w 1848"/>
                <a:gd name="T21" fmla="*/ 675 h 1848"/>
                <a:gd name="T22" fmla="*/ 198 w 1848"/>
                <a:gd name="T23" fmla="*/ 198 h 1848"/>
                <a:gd name="T24" fmla="*/ 675 w 1848"/>
                <a:gd name="T25" fmla="*/ 0 h 1848"/>
                <a:gd name="T26" fmla="*/ 1152 w 1848"/>
                <a:gd name="T27" fmla="*/ 198 h 1848"/>
                <a:gd name="T28" fmla="*/ 1152 w 1848"/>
                <a:gd name="T29" fmla="*/ 1153 h 1848"/>
                <a:gd name="T30" fmla="*/ 675 w 1848"/>
                <a:gd name="T31" fmla="*/ 1350 h 1848"/>
                <a:gd name="T32" fmla="*/ 1261 w 1848"/>
                <a:gd name="T33" fmla="*/ 1068 h 1848"/>
                <a:gd name="T34" fmla="*/ 1261 w 1848"/>
                <a:gd name="T35" fmla="*/ 1153 h 1848"/>
                <a:gd name="T36" fmla="*/ 1153 w 1848"/>
                <a:gd name="T37" fmla="*/ 1261 h 1848"/>
                <a:gd name="T38" fmla="*/ 1067 w 1848"/>
                <a:gd name="T39" fmla="*/ 1261 h 1848"/>
                <a:gd name="T40" fmla="*/ 1063 w 1848"/>
                <a:gd name="T41" fmla="*/ 1257 h 1848"/>
                <a:gd name="T42" fmla="*/ 1063 w 1848"/>
                <a:gd name="T43" fmla="*/ 1172 h 1848"/>
                <a:gd name="T44" fmla="*/ 1171 w 1848"/>
                <a:gd name="T45" fmla="*/ 1064 h 1848"/>
                <a:gd name="T46" fmla="*/ 1257 w 1848"/>
                <a:gd name="T47" fmla="*/ 1064 h 1848"/>
                <a:gd name="T48" fmla="*/ 1261 w 1848"/>
                <a:gd name="T49" fmla="*/ 1068 h 1848"/>
                <a:gd name="T50" fmla="*/ 1401 w 1848"/>
                <a:gd name="T51" fmla="*/ 1250 h 1848"/>
                <a:gd name="T52" fmla="*/ 1401 w 1848"/>
                <a:gd name="T53" fmla="*/ 1401 h 1848"/>
                <a:gd name="T54" fmla="*/ 1250 w 1848"/>
                <a:gd name="T55" fmla="*/ 1401 h 1848"/>
                <a:gd name="T56" fmla="*/ 1250 w 1848"/>
                <a:gd name="T57" fmla="*/ 1250 h 1848"/>
                <a:gd name="T58" fmla="*/ 1401 w 1848"/>
                <a:gd name="T59" fmla="*/ 1250 h 1848"/>
                <a:gd name="T60" fmla="*/ 1827 w 1848"/>
                <a:gd name="T61" fmla="*/ 1655 h 1848"/>
                <a:gd name="T62" fmla="*/ 1823 w 1848"/>
                <a:gd name="T63" fmla="*/ 1736 h 1848"/>
                <a:gd name="T64" fmla="*/ 1736 w 1848"/>
                <a:gd name="T65" fmla="*/ 1823 h 1848"/>
                <a:gd name="T66" fmla="*/ 1654 w 1848"/>
                <a:gd name="T67" fmla="*/ 1827 h 1848"/>
                <a:gd name="T68" fmla="*/ 1396 w 1848"/>
                <a:gd name="T69" fmla="*/ 1569 h 1848"/>
                <a:gd name="T70" fmla="*/ 1400 w 1848"/>
                <a:gd name="T71" fmla="*/ 1487 h 1848"/>
                <a:gd name="T72" fmla="*/ 1487 w 1848"/>
                <a:gd name="T73" fmla="*/ 1400 h 1848"/>
                <a:gd name="T74" fmla="*/ 1568 w 1848"/>
                <a:gd name="T75" fmla="*/ 1396 h 1848"/>
                <a:gd name="T76" fmla="*/ 1827 w 1848"/>
                <a:gd name="T77" fmla="*/ 1655 h 1848"/>
                <a:gd name="T78" fmla="*/ 675 w 1848"/>
                <a:gd name="T79" fmla="*/ 270 h 1848"/>
                <a:gd name="T80" fmla="*/ 389 w 1848"/>
                <a:gd name="T81" fmla="*/ 389 h 1848"/>
                <a:gd name="T82" fmla="*/ 270 w 1848"/>
                <a:gd name="T83" fmla="*/ 675 h 1848"/>
                <a:gd name="T84" fmla="*/ 389 w 1848"/>
                <a:gd name="T85" fmla="*/ 962 h 1848"/>
                <a:gd name="T86" fmla="*/ 675 w 1848"/>
                <a:gd name="T87" fmla="*/ 1080 h 1848"/>
                <a:gd name="T88" fmla="*/ 961 w 1848"/>
                <a:gd name="T89" fmla="*/ 962 h 1848"/>
                <a:gd name="T90" fmla="*/ 961 w 1848"/>
                <a:gd name="T91" fmla="*/ 389 h 1848"/>
                <a:gd name="T92" fmla="*/ 675 w 1848"/>
                <a:gd name="T93" fmla="*/ 270 h 1848"/>
                <a:gd name="T94" fmla="*/ 675 w 1848"/>
                <a:gd name="T95" fmla="*/ 1164 h 1848"/>
                <a:gd name="T96" fmla="*/ 329 w 1848"/>
                <a:gd name="T97" fmla="*/ 1021 h 1848"/>
                <a:gd name="T98" fmla="*/ 186 w 1848"/>
                <a:gd name="T99" fmla="*/ 675 h 1848"/>
                <a:gd name="T100" fmla="*/ 329 w 1848"/>
                <a:gd name="T101" fmla="*/ 330 h 1848"/>
                <a:gd name="T102" fmla="*/ 675 w 1848"/>
                <a:gd name="T103" fmla="*/ 187 h 1848"/>
                <a:gd name="T104" fmla="*/ 1021 w 1848"/>
                <a:gd name="T105" fmla="*/ 330 h 1848"/>
                <a:gd name="T106" fmla="*/ 1021 w 1848"/>
                <a:gd name="T107" fmla="*/ 1021 h 1848"/>
                <a:gd name="T108" fmla="*/ 675 w 1848"/>
                <a:gd name="T109" fmla="*/ 1164 h 1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8" h="1848">
                  <a:moveTo>
                    <a:pt x="675" y="126"/>
                  </a:moveTo>
                  <a:cubicBezTo>
                    <a:pt x="528" y="126"/>
                    <a:pt x="390" y="183"/>
                    <a:pt x="286" y="287"/>
                  </a:cubicBezTo>
                  <a:cubicBezTo>
                    <a:pt x="183" y="391"/>
                    <a:pt x="126" y="529"/>
                    <a:pt x="126" y="675"/>
                  </a:cubicBezTo>
                  <a:cubicBezTo>
                    <a:pt x="126" y="822"/>
                    <a:pt x="183" y="960"/>
                    <a:pt x="286" y="1064"/>
                  </a:cubicBezTo>
                  <a:cubicBezTo>
                    <a:pt x="390" y="1168"/>
                    <a:pt x="528" y="1225"/>
                    <a:pt x="675" y="1225"/>
                  </a:cubicBezTo>
                  <a:cubicBezTo>
                    <a:pt x="822" y="1225"/>
                    <a:pt x="960" y="1168"/>
                    <a:pt x="1063" y="1064"/>
                  </a:cubicBezTo>
                  <a:cubicBezTo>
                    <a:pt x="1278" y="850"/>
                    <a:pt x="1278" y="501"/>
                    <a:pt x="1063" y="287"/>
                  </a:cubicBezTo>
                  <a:cubicBezTo>
                    <a:pt x="960" y="183"/>
                    <a:pt x="822" y="126"/>
                    <a:pt x="675" y="126"/>
                  </a:cubicBezTo>
                  <a:close/>
                  <a:moveTo>
                    <a:pt x="675" y="1350"/>
                  </a:moveTo>
                  <a:cubicBezTo>
                    <a:pt x="495" y="1350"/>
                    <a:pt x="325" y="1280"/>
                    <a:pt x="198" y="1153"/>
                  </a:cubicBezTo>
                  <a:cubicBezTo>
                    <a:pt x="70" y="1025"/>
                    <a:pt x="0" y="856"/>
                    <a:pt x="0" y="675"/>
                  </a:cubicBezTo>
                  <a:cubicBezTo>
                    <a:pt x="0" y="495"/>
                    <a:pt x="70" y="326"/>
                    <a:pt x="198" y="198"/>
                  </a:cubicBezTo>
                  <a:cubicBezTo>
                    <a:pt x="325" y="71"/>
                    <a:pt x="495" y="0"/>
                    <a:pt x="675" y="0"/>
                  </a:cubicBezTo>
                  <a:cubicBezTo>
                    <a:pt x="855" y="0"/>
                    <a:pt x="1025" y="71"/>
                    <a:pt x="1152" y="198"/>
                  </a:cubicBezTo>
                  <a:cubicBezTo>
                    <a:pt x="1415" y="461"/>
                    <a:pt x="1415" y="889"/>
                    <a:pt x="1152" y="1153"/>
                  </a:cubicBezTo>
                  <a:cubicBezTo>
                    <a:pt x="1025" y="1280"/>
                    <a:pt x="855" y="1350"/>
                    <a:pt x="675" y="1350"/>
                  </a:cubicBezTo>
                  <a:close/>
                  <a:moveTo>
                    <a:pt x="1261" y="1068"/>
                  </a:moveTo>
                  <a:cubicBezTo>
                    <a:pt x="1284" y="1091"/>
                    <a:pt x="1284" y="1130"/>
                    <a:pt x="1261" y="1153"/>
                  </a:cubicBezTo>
                  <a:lnTo>
                    <a:pt x="1153" y="1261"/>
                  </a:lnTo>
                  <a:cubicBezTo>
                    <a:pt x="1129" y="1285"/>
                    <a:pt x="1091" y="1285"/>
                    <a:pt x="1067" y="1261"/>
                  </a:cubicBezTo>
                  <a:lnTo>
                    <a:pt x="1063" y="1257"/>
                  </a:lnTo>
                  <a:cubicBezTo>
                    <a:pt x="1040" y="1234"/>
                    <a:pt x="1040" y="1195"/>
                    <a:pt x="1063" y="1172"/>
                  </a:cubicBezTo>
                  <a:lnTo>
                    <a:pt x="1171" y="1064"/>
                  </a:lnTo>
                  <a:cubicBezTo>
                    <a:pt x="1195" y="1040"/>
                    <a:pt x="1233" y="1040"/>
                    <a:pt x="1257" y="1064"/>
                  </a:cubicBezTo>
                  <a:lnTo>
                    <a:pt x="1261" y="1068"/>
                  </a:lnTo>
                  <a:close/>
                  <a:moveTo>
                    <a:pt x="1401" y="1250"/>
                  </a:moveTo>
                  <a:cubicBezTo>
                    <a:pt x="1442" y="1292"/>
                    <a:pt x="1442" y="1359"/>
                    <a:pt x="1401" y="1401"/>
                  </a:cubicBezTo>
                  <a:cubicBezTo>
                    <a:pt x="1359" y="1443"/>
                    <a:pt x="1291" y="1443"/>
                    <a:pt x="1250" y="1401"/>
                  </a:cubicBezTo>
                  <a:cubicBezTo>
                    <a:pt x="1208" y="1359"/>
                    <a:pt x="1208" y="1292"/>
                    <a:pt x="1250" y="1250"/>
                  </a:cubicBezTo>
                  <a:cubicBezTo>
                    <a:pt x="1291" y="1208"/>
                    <a:pt x="1359" y="1208"/>
                    <a:pt x="1401" y="1250"/>
                  </a:cubicBezTo>
                  <a:close/>
                  <a:moveTo>
                    <a:pt x="1827" y="1655"/>
                  </a:moveTo>
                  <a:cubicBezTo>
                    <a:pt x="1848" y="1676"/>
                    <a:pt x="1846" y="1713"/>
                    <a:pt x="1823" y="1736"/>
                  </a:cubicBezTo>
                  <a:lnTo>
                    <a:pt x="1736" y="1823"/>
                  </a:lnTo>
                  <a:cubicBezTo>
                    <a:pt x="1713" y="1847"/>
                    <a:pt x="1676" y="1848"/>
                    <a:pt x="1654" y="1827"/>
                  </a:cubicBezTo>
                  <a:lnTo>
                    <a:pt x="1396" y="1569"/>
                  </a:lnTo>
                  <a:cubicBezTo>
                    <a:pt x="1375" y="1547"/>
                    <a:pt x="1376" y="1511"/>
                    <a:pt x="1400" y="1487"/>
                  </a:cubicBezTo>
                  <a:lnTo>
                    <a:pt x="1487" y="1400"/>
                  </a:lnTo>
                  <a:cubicBezTo>
                    <a:pt x="1510" y="1377"/>
                    <a:pt x="1547" y="1375"/>
                    <a:pt x="1568" y="1396"/>
                  </a:cubicBezTo>
                  <a:lnTo>
                    <a:pt x="1827" y="1655"/>
                  </a:lnTo>
                  <a:close/>
                  <a:moveTo>
                    <a:pt x="675" y="270"/>
                  </a:moveTo>
                  <a:cubicBezTo>
                    <a:pt x="567" y="270"/>
                    <a:pt x="465" y="312"/>
                    <a:pt x="389" y="389"/>
                  </a:cubicBezTo>
                  <a:cubicBezTo>
                    <a:pt x="312" y="465"/>
                    <a:pt x="270" y="567"/>
                    <a:pt x="270" y="675"/>
                  </a:cubicBezTo>
                  <a:cubicBezTo>
                    <a:pt x="270" y="783"/>
                    <a:pt x="312" y="885"/>
                    <a:pt x="389" y="962"/>
                  </a:cubicBezTo>
                  <a:cubicBezTo>
                    <a:pt x="465" y="1038"/>
                    <a:pt x="567" y="1080"/>
                    <a:pt x="675" y="1080"/>
                  </a:cubicBezTo>
                  <a:cubicBezTo>
                    <a:pt x="783" y="1080"/>
                    <a:pt x="885" y="1038"/>
                    <a:pt x="961" y="962"/>
                  </a:cubicBezTo>
                  <a:cubicBezTo>
                    <a:pt x="1119" y="804"/>
                    <a:pt x="1119" y="547"/>
                    <a:pt x="961" y="389"/>
                  </a:cubicBezTo>
                  <a:cubicBezTo>
                    <a:pt x="885" y="312"/>
                    <a:pt x="783" y="270"/>
                    <a:pt x="675" y="270"/>
                  </a:cubicBezTo>
                  <a:close/>
                  <a:moveTo>
                    <a:pt x="675" y="1164"/>
                  </a:moveTo>
                  <a:cubicBezTo>
                    <a:pt x="544" y="1164"/>
                    <a:pt x="422" y="1113"/>
                    <a:pt x="329" y="1021"/>
                  </a:cubicBezTo>
                  <a:cubicBezTo>
                    <a:pt x="237" y="929"/>
                    <a:pt x="186" y="806"/>
                    <a:pt x="186" y="675"/>
                  </a:cubicBezTo>
                  <a:cubicBezTo>
                    <a:pt x="186" y="545"/>
                    <a:pt x="237" y="422"/>
                    <a:pt x="329" y="330"/>
                  </a:cubicBezTo>
                  <a:cubicBezTo>
                    <a:pt x="422" y="237"/>
                    <a:pt x="544" y="187"/>
                    <a:pt x="675" y="187"/>
                  </a:cubicBezTo>
                  <a:cubicBezTo>
                    <a:pt x="806" y="187"/>
                    <a:pt x="928" y="237"/>
                    <a:pt x="1021" y="330"/>
                  </a:cubicBezTo>
                  <a:cubicBezTo>
                    <a:pt x="1211" y="520"/>
                    <a:pt x="1211" y="830"/>
                    <a:pt x="1021" y="1021"/>
                  </a:cubicBezTo>
                  <a:cubicBezTo>
                    <a:pt x="928" y="1113"/>
                    <a:pt x="806" y="1164"/>
                    <a:pt x="675" y="1164"/>
                  </a:cubicBezTo>
                  <a:close/>
                </a:path>
              </a:pathLst>
            </a:custGeom>
            <a:grpFill/>
            <a:ln>
              <a:solidFill>
                <a:schemeClr val="bg1"/>
              </a:solidFill>
            </a:ln>
          </p:spPr>
          <p:txBody>
            <a:bodyPr vert="horz" wrap="square" lIns="91440" tIns="45720" rIns="91440" bIns="45720" numCol="1" anchor="t" anchorCtr="0" compatLnSpc="1"/>
            <a:lstStyle/>
            <a:p>
              <a:pPr algn="ctr"/>
              <a:endParaRPr lang="zh-CN" altLang="en-US">
                <a:solidFill>
                  <a:schemeClr val="bg1"/>
                </a:solidFill>
              </a:endParaRPr>
            </a:p>
          </p:txBody>
        </p:sp>
      </p:grpSp>
      <p:graphicFrame>
        <p:nvGraphicFramePr>
          <p:cNvPr id="37" name="图表 36"/>
          <p:cNvGraphicFramePr/>
          <p:nvPr/>
        </p:nvGraphicFramePr>
        <p:xfrm>
          <a:off x="5448554" y="1955681"/>
          <a:ext cx="1543086" cy="1604401"/>
        </p:xfrm>
        <a:graphic>
          <a:graphicData uri="http://schemas.openxmlformats.org/drawingml/2006/chart">
            <c:chart xmlns:c="http://schemas.openxmlformats.org/drawingml/2006/chart" xmlns:r="http://schemas.openxmlformats.org/officeDocument/2006/relationships" r:id="rId5"/>
          </a:graphicData>
        </a:graphic>
      </p:graphicFrame>
      <p:sp>
        <p:nvSpPr>
          <p:cNvPr id="38" name="TextBox 24"/>
          <p:cNvSpPr txBox="1"/>
          <p:nvPr/>
        </p:nvSpPr>
        <p:spPr>
          <a:xfrm>
            <a:off x="5311169" y="4330384"/>
            <a:ext cx="1569660" cy="701731"/>
          </a:xfrm>
          <a:prstGeom prst="rect">
            <a:avLst/>
          </a:prstGeom>
          <a:noFill/>
        </p:spPr>
        <p:txBody>
          <a:bodyPr wrap="none" rtlCol="0">
            <a:spAutoFit/>
          </a:bodyPr>
          <a:lstStyle/>
          <a:p>
            <a:pPr>
              <a:lnSpc>
                <a:spcPct val="110000"/>
              </a:lnSpc>
            </a:pPr>
            <a:r>
              <a:rPr lang="zh-CN" altLang="en-US" b="1" dirty="0" smtClean="0">
                <a:latin typeface="+mn-ea"/>
              </a:rPr>
              <a:t>停车场利用率</a:t>
            </a:r>
            <a:endParaRPr lang="en-US" altLang="zh-CN" b="1" dirty="0" smtClean="0">
              <a:latin typeface="+mn-ea"/>
            </a:endParaRPr>
          </a:p>
          <a:p>
            <a:pPr>
              <a:lnSpc>
                <a:spcPct val="110000"/>
              </a:lnSpc>
            </a:pPr>
            <a:r>
              <a:rPr lang="zh-CN" altLang="en-US" b="1" dirty="0" smtClean="0">
                <a:latin typeface="+mn-ea"/>
              </a:rPr>
              <a:t>上升</a:t>
            </a:r>
            <a:r>
              <a:rPr lang="en-US" altLang="zh-CN" b="1" dirty="0" smtClean="0">
                <a:latin typeface="+mn-ea"/>
              </a:rPr>
              <a:t>30%</a:t>
            </a:r>
            <a:endParaRPr lang="zh-CN" altLang="en-US" b="1" dirty="0">
              <a:latin typeface="+mn-ea"/>
            </a:endParaRPr>
          </a:p>
        </p:txBody>
      </p:sp>
      <p:cxnSp>
        <p:nvCxnSpPr>
          <p:cNvPr id="39" name="直接连接符 38"/>
          <p:cNvCxnSpPr/>
          <p:nvPr/>
        </p:nvCxnSpPr>
        <p:spPr>
          <a:xfrm>
            <a:off x="6067912" y="3902986"/>
            <a:ext cx="0" cy="29514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0" name="任意多边形: 形状 18"/>
          <p:cNvSpPr/>
          <p:nvPr/>
        </p:nvSpPr>
        <p:spPr bwMode="auto">
          <a:xfrm>
            <a:off x="5880231" y="3514958"/>
            <a:ext cx="431536" cy="345188"/>
          </a:xfrm>
          <a:custGeom>
            <a:avLst/>
            <a:gdLst>
              <a:gd name="connsiteX0" fmla="*/ 304701 w 609473"/>
              <a:gd name="connsiteY0" fmla="*/ 381618 h 587034"/>
              <a:gd name="connsiteX1" fmla="*/ 325879 w 609473"/>
              <a:gd name="connsiteY1" fmla="*/ 394101 h 587034"/>
              <a:gd name="connsiteX2" fmla="*/ 309542 w 609473"/>
              <a:gd name="connsiteY2" fmla="*/ 410914 h 587034"/>
              <a:gd name="connsiteX3" fmla="*/ 331022 w 609473"/>
              <a:gd name="connsiteY3" fmla="*/ 433867 h 587034"/>
              <a:gd name="connsiteX4" fmla="*/ 312466 w 609473"/>
              <a:gd name="connsiteY4" fmla="*/ 468800 h 587034"/>
              <a:gd name="connsiteX5" fmla="*/ 294112 w 609473"/>
              <a:gd name="connsiteY5" fmla="*/ 468096 h 587034"/>
              <a:gd name="connsiteX6" fmla="*/ 278380 w 609473"/>
              <a:gd name="connsiteY6" fmla="*/ 432055 h 587034"/>
              <a:gd name="connsiteX7" fmla="*/ 299861 w 609473"/>
              <a:gd name="connsiteY7" fmla="*/ 410612 h 587034"/>
              <a:gd name="connsiteX8" fmla="*/ 284028 w 609473"/>
              <a:gd name="connsiteY8" fmla="*/ 393397 h 587034"/>
              <a:gd name="connsiteX9" fmla="*/ 224835 w 609473"/>
              <a:gd name="connsiteY9" fmla="*/ 380559 h 587034"/>
              <a:gd name="connsiteX10" fmla="*/ 283211 w 609473"/>
              <a:gd name="connsiteY10" fmla="*/ 483344 h 587034"/>
              <a:gd name="connsiteX11" fmla="*/ 305190 w 609473"/>
              <a:gd name="connsiteY11" fmla="*/ 499753 h 587034"/>
              <a:gd name="connsiteX12" fmla="*/ 327069 w 609473"/>
              <a:gd name="connsiteY12" fmla="*/ 483646 h 587034"/>
              <a:gd name="connsiteX13" fmla="*/ 387865 w 609473"/>
              <a:gd name="connsiteY13" fmla="*/ 380861 h 587034"/>
              <a:gd name="connsiteX14" fmla="*/ 498972 w 609473"/>
              <a:gd name="connsiteY14" fmla="*/ 386700 h 587034"/>
              <a:gd name="connsiteX15" fmla="*/ 581344 w 609473"/>
              <a:gd name="connsiteY15" fmla="*/ 414485 h 587034"/>
              <a:gd name="connsiteX16" fmla="*/ 609473 w 609473"/>
              <a:gd name="connsiteY16" fmla="*/ 494820 h 587034"/>
              <a:gd name="connsiteX17" fmla="*/ 609473 w 609473"/>
              <a:gd name="connsiteY17" fmla="*/ 529048 h 587034"/>
              <a:gd name="connsiteX18" fmla="*/ 551399 w 609473"/>
              <a:gd name="connsiteY18" fmla="*/ 587034 h 587034"/>
              <a:gd name="connsiteX19" fmla="*/ 58074 w 609473"/>
              <a:gd name="connsiteY19" fmla="*/ 587034 h 587034"/>
              <a:gd name="connsiteX20" fmla="*/ 0 w 609473"/>
              <a:gd name="connsiteY20" fmla="*/ 529048 h 587034"/>
              <a:gd name="connsiteX21" fmla="*/ 0 w 609473"/>
              <a:gd name="connsiteY21" fmla="*/ 494820 h 587034"/>
              <a:gd name="connsiteX22" fmla="*/ 28129 w 609473"/>
              <a:gd name="connsiteY22" fmla="*/ 414485 h 587034"/>
              <a:gd name="connsiteX23" fmla="*/ 110501 w 609473"/>
              <a:gd name="connsiteY23" fmla="*/ 386700 h 587034"/>
              <a:gd name="connsiteX24" fmla="*/ 316407 w 609473"/>
              <a:gd name="connsiteY24" fmla="*/ 206077 h 587034"/>
              <a:gd name="connsiteX25" fmla="*/ 316407 w 609473"/>
              <a:gd name="connsiteY25" fmla="*/ 272924 h 587034"/>
              <a:gd name="connsiteX26" fmla="*/ 335965 w 609473"/>
              <a:gd name="connsiteY26" fmla="*/ 266783 h 587034"/>
              <a:gd name="connsiteX27" fmla="*/ 346551 w 609473"/>
              <a:gd name="connsiteY27" fmla="*/ 239602 h 587034"/>
              <a:gd name="connsiteX28" fmla="*/ 336570 w 609473"/>
              <a:gd name="connsiteY28" fmla="*/ 216346 h 587034"/>
              <a:gd name="connsiteX29" fmla="*/ 316407 w 609473"/>
              <a:gd name="connsiteY29" fmla="*/ 206077 h 587034"/>
              <a:gd name="connsiteX30" fmla="*/ 299872 w 609473"/>
              <a:gd name="connsiteY30" fmla="*/ 94230 h 587034"/>
              <a:gd name="connsiteX31" fmla="*/ 277793 w 609473"/>
              <a:gd name="connsiteY31" fmla="*/ 102183 h 587034"/>
              <a:gd name="connsiteX32" fmla="*/ 270534 w 609473"/>
              <a:gd name="connsiteY32" fmla="*/ 122922 h 587034"/>
              <a:gd name="connsiteX33" fmla="*/ 281322 w 609473"/>
              <a:gd name="connsiteY33" fmla="*/ 145674 h 587034"/>
              <a:gd name="connsiteX34" fmla="*/ 299872 w 609473"/>
              <a:gd name="connsiteY34" fmla="*/ 154231 h 587034"/>
              <a:gd name="connsiteX35" fmla="*/ 316407 w 609473"/>
              <a:gd name="connsiteY35" fmla="*/ 42585 h 587034"/>
              <a:gd name="connsiteX36" fmla="*/ 316407 w 609473"/>
              <a:gd name="connsiteY36" fmla="*/ 56478 h 587034"/>
              <a:gd name="connsiteX37" fmla="*/ 360061 w 609473"/>
              <a:gd name="connsiteY37" fmla="*/ 70169 h 587034"/>
              <a:gd name="connsiteX38" fmla="*/ 389904 w 609473"/>
              <a:gd name="connsiteY38" fmla="*/ 129465 h 587034"/>
              <a:gd name="connsiteX39" fmla="*/ 344837 w 609473"/>
              <a:gd name="connsiteY39" fmla="*/ 129465 h 587034"/>
              <a:gd name="connsiteX40" fmla="*/ 339797 w 609473"/>
              <a:gd name="connsiteY40" fmla="*/ 107217 h 587034"/>
              <a:gd name="connsiteX41" fmla="*/ 316407 w 609473"/>
              <a:gd name="connsiteY41" fmla="*/ 93928 h 587034"/>
              <a:gd name="connsiteX42" fmla="*/ 316407 w 609473"/>
              <a:gd name="connsiteY42" fmla="*/ 159063 h 587034"/>
              <a:gd name="connsiteX43" fmla="*/ 371050 w 609473"/>
              <a:gd name="connsiteY43" fmla="*/ 183829 h 587034"/>
              <a:gd name="connsiteX44" fmla="*/ 394037 w 609473"/>
              <a:gd name="connsiteY44" fmla="*/ 234467 h 587034"/>
              <a:gd name="connsiteX45" fmla="*/ 362380 w 609473"/>
              <a:gd name="connsiteY45" fmla="*/ 297086 h 587034"/>
              <a:gd name="connsiteX46" fmla="*/ 316407 w 609473"/>
              <a:gd name="connsiteY46" fmla="*/ 311079 h 587034"/>
              <a:gd name="connsiteX47" fmla="*/ 316407 w 609473"/>
              <a:gd name="connsiteY47" fmla="*/ 318328 h 587034"/>
              <a:gd name="connsiteX48" fmla="*/ 445959 w 609473"/>
              <a:gd name="connsiteY48" fmla="*/ 180507 h 587034"/>
              <a:gd name="connsiteX49" fmla="*/ 316407 w 609473"/>
              <a:gd name="connsiteY49" fmla="*/ 42585 h 587034"/>
              <a:gd name="connsiteX50" fmla="*/ 299872 w 609473"/>
              <a:gd name="connsiteY50" fmla="*/ 42484 h 587034"/>
              <a:gd name="connsiteX51" fmla="*/ 168808 w 609473"/>
              <a:gd name="connsiteY51" fmla="*/ 180507 h 587034"/>
              <a:gd name="connsiteX52" fmla="*/ 299872 w 609473"/>
              <a:gd name="connsiteY52" fmla="*/ 318428 h 587034"/>
              <a:gd name="connsiteX53" fmla="*/ 299872 w 609473"/>
              <a:gd name="connsiteY53" fmla="*/ 311381 h 587034"/>
              <a:gd name="connsiteX54" fmla="*/ 249564 w 609473"/>
              <a:gd name="connsiteY54" fmla="*/ 296683 h 587034"/>
              <a:gd name="connsiteX55" fmla="*/ 220729 w 609473"/>
              <a:gd name="connsiteY55" fmla="*/ 229635 h 587034"/>
              <a:gd name="connsiteX56" fmla="*/ 266904 w 609473"/>
              <a:gd name="connsiteY56" fmla="*/ 229635 h 587034"/>
              <a:gd name="connsiteX57" fmla="*/ 273659 w 609473"/>
              <a:gd name="connsiteY57" fmla="*/ 258528 h 587034"/>
              <a:gd name="connsiteX58" fmla="*/ 299872 w 609473"/>
              <a:gd name="connsiteY58" fmla="*/ 273428 h 587034"/>
              <a:gd name="connsiteX59" fmla="*/ 299872 w 609473"/>
              <a:gd name="connsiteY59" fmla="*/ 200440 h 587034"/>
              <a:gd name="connsiteX60" fmla="*/ 285959 w 609473"/>
              <a:gd name="connsiteY60" fmla="*/ 196312 h 587034"/>
              <a:gd name="connsiteX61" fmla="*/ 239784 w 609473"/>
              <a:gd name="connsiteY61" fmla="*/ 169634 h 587034"/>
              <a:gd name="connsiteX62" fmla="*/ 226375 w 609473"/>
              <a:gd name="connsiteY62" fmla="*/ 128459 h 587034"/>
              <a:gd name="connsiteX63" fmla="*/ 231618 w 609473"/>
              <a:gd name="connsiteY63" fmla="*/ 99566 h 587034"/>
              <a:gd name="connsiteX64" fmla="*/ 246237 w 609473"/>
              <a:gd name="connsiteY64" fmla="*/ 77115 h 587034"/>
              <a:gd name="connsiteX65" fmla="*/ 273256 w 609473"/>
              <a:gd name="connsiteY65" fmla="*/ 60404 h 587034"/>
              <a:gd name="connsiteX66" fmla="*/ 299872 w 609473"/>
              <a:gd name="connsiteY66" fmla="*/ 56075 h 587034"/>
              <a:gd name="connsiteX67" fmla="*/ 307333 w 609473"/>
              <a:gd name="connsiteY67" fmla="*/ 0 h 587034"/>
              <a:gd name="connsiteX68" fmla="*/ 488101 w 609473"/>
              <a:gd name="connsiteY68" fmla="*/ 180507 h 587034"/>
              <a:gd name="connsiteX69" fmla="*/ 307333 w 609473"/>
              <a:gd name="connsiteY69" fmla="*/ 361013 h 587034"/>
              <a:gd name="connsiteX70" fmla="*/ 126665 w 609473"/>
              <a:gd name="connsiteY70" fmla="*/ 180507 h 587034"/>
              <a:gd name="connsiteX71" fmla="*/ 307333 w 609473"/>
              <a:gd name="connsiteY71" fmla="*/ 0 h 587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609473" h="587034">
                <a:moveTo>
                  <a:pt x="304701" y="381618"/>
                </a:moveTo>
                <a:lnTo>
                  <a:pt x="325879" y="394101"/>
                </a:lnTo>
                <a:lnTo>
                  <a:pt x="309542" y="410914"/>
                </a:lnTo>
                <a:lnTo>
                  <a:pt x="331022" y="433867"/>
                </a:lnTo>
                <a:lnTo>
                  <a:pt x="312466" y="468800"/>
                </a:lnTo>
                <a:cubicBezTo>
                  <a:pt x="307021" y="479069"/>
                  <a:pt x="298751" y="478767"/>
                  <a:pt x="294112" y="468096"/>
                </a:cubicBezTo>
                <a:lnTo>
                  <a:pt x="278380" y="432055"/>
                </a:lnTo>
                <a:lnTo>
                  <a:pt x="299861" y="410612"/>
                </a:lnTo>
                <a:lnTo>
                  <a:pt x="284028" y="393397"/>
                </a:lnTo>
                <a:close/>
                <a:moveTo>
                  <a:pt x="224835" y="380559"/>
                </a:moveTo>
                <a:lnTo>
                  <a:pt x="283211" y="483344"/>
                </a:lnTo>
                <a:cubicBezTo>
                  <a:pt x="289260" y="493914"/>
                  <a:pt x="297024" y="499753"/>
                  <a:pt x="305190" y="499753"/>
                </a:cubicBezTo>
                <a:cubicBezTo>
                  <a:pt x="313155" y="499753"/>
                  <a:pt x="320919" y="494015"/>
                  <a:pt x="327069" y="483646"/>
                </a:cubicBezTo>
                <a:lnTo>
                  <a:pt x="387865" y="380861"/>
                </a:lnTo>
                <a:lnTo>
                  <a:pt x="498972" y="386700"/>
                </a:lnTo>
                <a:cubicBezTo>
                  <a:pt x="529521" y="388311"/>
                  <a:pt x="565716" y="400492"/>
                  <a:pt x="581344" y="414485"/>
                </a:cubicBezTo>
                <a:cubicBezTo>
                  <a:pt x="597072" y="428679"/>
                  <a:pt x="609473" y="464015"/>
                  <a:pt x="609473" y="494820"/>
                </a:cubicBezTo>
                <a:lnTo>
                  <a:pt x="609473" y="529048"/>
                </a:lnTo>
                <a:cubicBezTo>
                  <a:pt x="609473" y="561061"/>
                  <a:pt x="583360" y="587034"/>
                  <a:pt x="551399" y="587034"/>
                </a:cubicBezTo>
                <a:lnTo>
                  <a:pt x="58074" y="587034"/>
                </a:lnTo>
                <a:cubicBezTo>
                  <a:pt x="26012" y="587034"/>
                  <a:pt x="0" y="561061"/>
                  <a:pt x="0" y="529048"/>
                </a:cubicBezTo>
                <a:lnTo>
                  <a:pt x="0" y="494820"/>
                </a:lnTo>
                <a:cubicBezTo>
                  <a:pt x="0" y="464015"/>
                  <a:pt x="12401" y="428679"/>
                  <a:pt x="28129" y="414485"/>
                </a:cubicBezTo>
                <a:cubicBezTo>
                  <a:pt x="43757" y="400492"/>
                  <a:pt x="79851" y="388311"/>
                  <a:pt x="110501" y="386700"/>
                </a:cubicBezTo>
                <a:close/>
                <a:moveTo>
                  <a:pt x="316407" y="206077"/>
                </a:moveTo>
                <a:lnTo>
                  <a:pt x="316407" y="272924"/>
                </a:lnTo>
                <a:cubicBezTo>
                  <a:pt x="325379" y="271817"/>
                  <a:pt x="331832" y="269703"/>
                  <a:pt x="335965" y="266783"/>
                </a:cubicBezTo>
                <a:cubicBezTo>
                  <a:pt x="343023" y="261548"/>
                  <a:pt x="346551" y="252488"/>
                  <a:pt x="346551" y="239602"/>
                </a:cubicBezTo>
                <a:cubicBezTo>
                  <a:pt x="346551" y="229736"/>
                  <a:pt x="343224" y="222084"/>
                  <a:pt x="336570" y="216346"/>
                </a:cubicBezTo>
                <a:cubicBezTo>
                  <a:pt x="332638" y="213024"/>
                  <a:pt x="325884" y="209601"/>
                  <a:pt x="316407" y="206077"/>
                </a:cubicBezTo>
                <a:close/>
                <a:moveTo>
                  <a:pt x="299872" y="94230"/>
                </a:moveTo>
                <a:cubicBezTo>
                  <a:pt x="289891" y="94431"/>
                  <a:pt x="282531" y="97149"/>
                  <a:pt x="277793" y="102183"/>
                </a:cubicBezTo>
                <a:cubicBezTo>
                  <a:pt x="272954" y="107317"/>
                  <a:pt x="270534" y="114163"/>
                  <a:pt x="270534" y="122922"/>
                </a:cubicBezTo>
                <a:cubicBezTo>
                  <a:pt x="270534" y="132586"/>
                  <a:pt x="274163" y="140137"/>
                  <a:pt x="281322" y="145674"/>
                </a:cubicBezTo>
                <a:cubicBezTo>
                  <a:pt x="285354" y="148795"/>
                  <a:pt x="291504" y="151613"/>
                  <a:pt x="299872" y="154231"/>
                </a:cubicBezTo>
                <a:close/>
                <a:moveTo>
                  <a:pt x="316407" y="42585"/>
                </a:moveTo>
                <a:lnTo>
                  <a:pt x="316407" y="56478"/>
                </a:lnTo>
                <a:cubicBezTo>
                  <a:pt x="334957" y="57887"/>
                  <a:pt x="349576" y="62518"/>
                  <a:pt x="360061" y="70169"/>
                </a:cubicBezTo>
                <a:cubicBezTo>
                  <a:pt x="379318" y="82350"/>
                  <a:pt x="389198" y="102082"/>
                  <a:pt x="389904" y="129465"/>
                </a:cubicBezTo>
                <a:lnTo>
                  <a:pt x="344837" y="129465"/>
                </a:lnTo>
                <a:cubicBezTo>
                  <a:pt x="344031" y="119297"/>
                  <a:pt x="342317" y="111948"/>
                  <a:pt x="339797" y="107217"/>
                </a:cubicBezTo>
                <a:cubicBezTo>
                  <a:pt x="335562" y="99163"/>
                  <a:pt x="327698" y="94733"/>
                  <a:pt x="316407" y="93928"/>
                </a:cubicBezTo>
                <a:lnTo>
                  <a:pt x="316407" y="159063"/>
                </a:lnTo>
                <a:cubicBezTo>
                  <a:pt x="343527" y="168426"/>
                  <a:pt x="361674" y="176681"/>
                  <a:pt x="371050" y="183829"/>
                </a:cubicBezTo>
                <a:cubicBezTo>
                  <a:pt x="386375" y="195809"/>
                  <a:pt x="394037" y="212722"/>
                  <a:pt x="394037" y="234467"/>
                </a:cubicBezTo>
                <a:cubicBezTo>
                  <a:pt x="394037" y="263159"/>
                  <a:pt x="383451" y="284099"/>
                  <a:pt x="362380" y="297086"/>
                </a:cubicBezTo>
                <a:cubicBezTo>
                  <a:pt x="349475" y="305039"/>
                  <a:pt x="334151" y="309670"/>
                  <a:pt x="316407" y="311079"/>
                </a:cubicBezTo>
                <a:lnTo>
                  <a:pt x="316407" y="318328"/>
                </a:lnTo>
                <a:cubicBezTo>
                  <a:pt x="388593" y="313697"/>
                  <a:pt x="445959" y="253696"/>
                  <a:pt x="445959" y="180507"/>
                </a:cubicBezTo>
                <a:cubicBezTo>
                  <a:pt x="445959" y="107217"/>
                  <a:pt x="388593" y="47316"/>
                  <a:pt x="316407" y="42585"/>
                </a:cubicBezTo>
                <a:close/>
                <a:moveTo>
                  <a:pt x="299872" y="42484"/>
                </a:moveTo>
                <a:cubicBezTo>
                  <a:pt x="226980" y="46410"/>
                  <a:pt x="168808" y="106713"/>
                  <a:pt x="168808" y="180507"/>
                </a:cubicBezTo>
                <a:cubicBezTo>
                  <a:pt x="168808" y="254199"/>
                  <a:pt x="226980" y="314502"/>
                  <a:pt x="299872" y="318428"/>
                </a:cubicBezTo>
                <a:lnTo>
                  <a:pt x="299872" y="311381"/>
                </a:lnTo>
                <a:cubicBezTo>
                  <a:pt x="277390" y="308864"/>
                  <a:pt x="260553" y="303931"/>
                  <a:pt x="249564" y="296683"/>
                </a:cubicBezTo>
                <a:cubicBezTo>
                  <a:pt x="230005" y="283596"/>
                  <a:pt x="220427" y="261246"/>
                  <a:pt x="220729" y="229635"/>
                </a:cubicBezTo>
                <a:lnTo>
                  <a:pt x="266904" y="229635"/>
                </a:lnTo>
                <a:cubicBezTo>
                  <a:pt x="268518" y="244031"/>
                  <a:pt x="270736" y="253696"/>
                  <a:pt x="273659" y="258528"/>
                </a:cubicBezTo>
                <a:cubicBezTo>
                  <a:pt x="278095" y="266179"/>
                  <a:pt x="286867" y="271112"/>
                  <a:pt x="299872" y="273428"/>
                </a:cubicBezTo>
                <a:lnTo>
                  <a:pt x="299872" y="200440"/>
                </a:lnTo>
                <a:lnTo>
                  <a:pt x="285959" y="196312"/>
                </a:lnTo>
                <a:cubicBezTo>
                  <a:pt x="264182" y="189970"/>
                  <a:pt x="248757" y="181010"/>
                  <a:pt x="239784" y="169634"/>
                </a:cubicBezTo>
                <a:cubicBezTo>
                  <a:pt x="230811" y="158258"/>
                  <a:pt x="226375" y="144466"/>
                  <a:pt x="226375" y="128459"/>
                </a:cubicBezTo>
                <a:cubicBezTo>
                  <a:pt x="226375" y="117787"/>
                  <a:pt x="228089" y="108223"/>
                  <a:pt x="231618" y="99566"/>
                </a:cubicBezTo>
                <a:cubicBezTo>
                  <a:pt x="235046" y="90908"/>
                  <a:pt x="239986" y="83357"/>
                  <a:pt x="246237" y="77115"/>
                </a:cubicBezTo>
                <a:cubicBezTo>
                  <a:pt x="254302" y="69062"/>
                  <a:pt x="263376" y="63424"/>
                  <a:pt x="273256" y="60404"/>
                </a:cubicBezTo>
                <a:cubicBezTo>
                  <a:pt x="279406" y="58390"/>
                  <a:pt x="288177" y="56981"/>
                  <a:pt x="299872" y="56075"/>
                </a:cubicBezTo>
                <a:close/>
                <a:moveTo>
                  <a:pt x="307333" y="0"/>
                </a:moveTo>
                <a:cubicBezTo>
                  <a:pt x="407043" y="0"/>
                  <a:pt x="488101" y="80941"/>
                  <a:pt x="488101" y="180507"/>
                </a:cubicBezTo>
                <a:cubicBezTo>
                  <a:pt x="488101" y="279971"/>
                  <a:pt x="407043" y="361013"/>
                  <a:pt x="307333" y="361013"/>
                </a:cubicBezTo>
                <a:cubicBezTo>
                  <a:pt x="207724" y="361013"/>
                  <a:pt x="126665" y="279971"/>
                  <a:pt x="126665" y="180507"/>
                </a:cubicBezTo>
                <a:cubicBezTo>
                  <a:pt x="126665" y="80941"/>
                  <a:pt x="207724" y="0"/>
                  <a:pt x="307333" y="0"/>
                </a:cubicBezTo>
                <a:close/>
              </a:path>
            </a:pathLst>
          </a:custGeom>
          <a:solidFill>
            <a:schemeClr val="bg1"/>
          </a:solidFill>
          <a:ln>
            <a:noFill/>
          </a:ln>
        </p:spPr>
        <p:txBody>
          <a:bodyPr anchor="ctr"/>
          <a:lstStyle/>
          <a:p>
            <a:pPr algn="ctr"/>
            <a:endParaRPr>
              <a:cs typeface="+mn-ea"/>
              <a:sym typeface="+mn-lt"/>
            </a:endParaRPr>
          </a:p>
        </p:txBody>
      </p:sp>
      <p:sp>
        <p:nvSpPr>
          <p:cNvPr id="41"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华文楷体" panose="02010600040101010101" charset="-122"/>
              </a:rPr>
              <a:t>内容</a:t>
            </a:r>
            <a:endParaRPr lang="zh-CN" altLang="en-US" sz="2400" dirty="0">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13"/>
          <p:cNvSpPr txBox="1"/>
          <p:nvPr/>
        </p:nvSpPr>
        <p:spPr>
          <a:xfrm>
            <a:off x="625896" y="1281266"/>
            <a:ext cx="2861882" cy="646331"/>
          </a:xfrm>
          <a:prstGeom prst="rect">
            <a:avLst/>
          </a:prstGeom>
          <a:noFill/>
        </p:spPr>
        <p:txBody>
          <a:bodyPr wrap="square" rtlCol="0">
            <a:spAutoFit/>
          </a:bodyPr>
          <a:lstStyle/>
          <a:p>
            <a:pPr marL="285750" indent="-285750">
              <a:buFont typeface="Century Gothic" panose="020B0502020202020204" pitchFamily="34" charset="0"/>
              <a:buChar char="▪"/>
            </a:pPr>
            <a:r>
              <a:rPr lang="en-US" altLang="zh-CN" sz="1200" b="1" dirty="0" smtClean="0">
                <a:solidFill>
                  <a:srgbClr val="FF5805"/>
                </a:solidFill>
                <a:latin typeface="华文楷体" panose="02010600040101010101" charset="-122"/>
                <a:ea typeface="华文楷体" panose="02010600040101010101" charset="-122"/>
              </a:rPr>
              <a:t>xx</a:t>
            </a:r>
            <a:endParaRPr lang="en-US" altLang="zh-CN" sz="1200" dirty="0" smtClean="0">
              <a:latin typeface="华文楷体" panose="02010600040101010101" charset="-122"/>
              <a:ea typeface="华文楷体" panose="02010600040101010101" charset="-122"/>
            </a:endParaRPr>
          </a:p>
          <a:p>
            <a:pPr marL="285750" indent="-285750">
              <a:buFont typeface="Century Gothic" panose="020B0502020202020204" pitchFamily="34" charset="0"/>
              <a:buChar char="▪"/>
            </a:pPr>
            <a:r>
              <a:rPr lang="en-US" altLang="zh-CN" sz="1200" b="1" dirty="0" smtClean="0">
                <a:solidFill>
                  <a:srgbClr val="FF5805"/>
                </a:solidFill>
                <a:latin typeface="华文楷体" panose="02010600040101010101" charset="-122"/>
                <a:ea typeface="华文楷体" panose="02010600040101010101" charset="-122"/>
              </a:rPr>
              <a:t>xx</a:t>
            </a:r>
            <a:endParaRPr lang="en-US" altLang="zh-CN" sz="1200" dirty="0" smtClean="0">
              <a:latin typeface="华文楷体" panose="02010600040101010101" charset="-122"/>
              <a:ea typeface="华文楷体" panose="02010600040101010101" charset="-122"/>
            </a:endParaRPr>
          </a:p>
          <a:p>
            <a:pPr marL="285750" indent="-285750">
              <a:buFont typeface="Century Gothic" panose="020B0502020202020204" pitchFamily="34" charset="0"/>
              <a:buChar char="▪"/>
            </a:pPr>
            <a:r>
              <a:rPr lang="en-US" altLang="zh-CN" sz="1200" b="1" dirty="0" smtClean="0">
                <a:solidFill>
                  <a:srgbClr val="FF5805"/>
                </a:solidFill>
                <a:latin typeface="华文楷体" panose="02010600040101010101" charset="-122"/>
                <a:ea typeface="华文楷体" panose="02010600040101010101" charset="-122"/>
              </a:rPr>
              <a:t>xx</a:t>
            </a:r>
            <a:endParaRPr lang="en-US" altLang="zh-CN" sz="1200" dirty="0" smtClean="0">
              <a:latin typeface="华文楷体" panose="02010600040101010101" charset="-122"/>
              <a:ea typeface="华文楷体" panose="02010600040101010101" charset="-122"/>
            </a:endParaRPr>
          </a:p>
        </p:txBody>
      </p:sp>
      <p:sp>
        <p:nvSpPr>
          <p:cNvPr id="4" name="文本框 20"/>
          <p:cNvSpPr txBox="1"/>
          <p:nvPr/>
        </p:nvSpPr>
        <p:spPr>
          <a:xfrm>
            <a:off x="8690073" y="1262395"/>
            <a:ext cx="3109781" cy="276999"/>
          </a:xfrm>
          <a:prstGeom prst="rect">
            <a:avLst/>
          </a:prstGeom>
          <a:noFill/>
        </p:spPr>
        <p:txBody>
          <a:bodyPr wrap="square" rtlCol="0">
            <a:spAutoFit/>
          </a:bodyPr>
          <a:lstStyle/>
          <a:p>
            <a:pPr marL="285750" indent="-285750">
              <a:buFont typeface="Century Gothic" panose="020B0502020202020204" pitchFamily="34" charset="0"/>
              <a:buChar char="▪"/>
            </a:pPr>
            <a:r>
              <a:rPr lang="en-US" altLang="zh-CN" sz="1200" b="1" dirty="0" smtClean="0">
                <a:solidFill>
                  <a:srgbClr val="FF5805"/>
                </a:solidFill>
                <a:latin typeface="华文楷体" panose="02010600040101010101" charset="-122"/>
                <a:ea typeface="华文楷体" panose="02010600040101010101" charset="-122"/>
              </a:rPr>
              <a:t>xx</a:t>
            </a:r>
            <a:endParaRPr lang="en-US" altLang="zh-CN" sz="1200" dirty="0" smtClean="0">
              <a:latin typeface="华文楷体" panose="02010600040101010101" charset="-122"/>
              <a:ea typeface="华文楷体" panose="02010600040101010101" charset="-122"/>
            </a:endParaRPr>
          </a:p>
        </p:txBody>
      </p:sp>
      <p:sp>
        <p:nvSpPr>
          <p:cNvPr id="5" name="文本框 21"/>
          <p:cNvSpPr txBox="1"/>
          <p:nvPr/>
        </p:nvSpPr>
        <p:spPr>
          <a:xfrm>
            <a:off x="8676734" y="3662620"/>
            <a:ext cx="3145147" cy="276999"/>
          </a:xfrm>
          <a:prstGeom prst="rect">
            <a:avLst/>
          </a:prstGeom>
          <a:noFill/>
        </p:spPr>
        <p:txBody>
          <a:bodyPr wrap="square" rtlCol="0">
            <a:spAutoFit/>
          </a:bodyPr>
          <a:lstStyle>
            <a:defPPr>
              <a:defRPr lang="zh-CN"/>
            </a:defPPr>
            <a:lvl1pPr marL="285750" indent="-285750">
              <a:buFont typeface="Century Gothic" panose="020B0502020202020204" pitchFamily="34" charset="0"/>
              <a:buChar char="▪"/>
              <a:defRPr>
                <a:solidFill>
                  <a:srgbClr val="FF3300"/>
                </a:solidFill>
                <a:latin typeface="华文楷体" panose="02010600040101010101" charset="-122"/>
                <a:ea typeface="华文楷体" panose="02010600040101010101" charset="-122"/>
              </a:defRPr>
            </a:lvl1pPr>
          </a:lstStyle>
          <a:p>
            <a:r>
              <a:rPr lang="en-US" altLang="zh-CN" sz="1200" b="1" dirty="0" smtClean="0">
                <a:solidFill>
                  <a:srgbClr val="FF5805"/>
                </a:solidFill>
              </a:rPr>
              <a:t>xx</a:t>
            </a:r>
            <a:endParaRPr lang="en-US" altLang="zh-CN" sz="1200" dirty="0">
              <a:solidFill>
                <a:schemeClr val="tx1"/>
              </a:solidFill>
            </a:endParaRPr>
          </a:p>
        </p:txBody>
      </p:sp>
      <p:sp>
        <p:nvSpPr>
          <p:cNvPr id="6" name="文本框 22"/>
          <p:cNvSpPr txBox="1"/>
          <p:nvPr/>
        </p:nvSpPr>
        <p:spPr>
          <a:xfrm>
            <a:off x="613948" y="3780092"/>
            <a:ext cx="2873829" cy="276999"/>
          </a:xfrm>
          <a:prstGeom prst="rect">
            <a:avLst/>
          </a:prstGeom>
          <a:noFill/>
        </p:spPr>
        <p:txBody>
          <a:bodyPr wrap="square" rtlCol="0">
            <a:spAutoFit/>
          </a:bodyPr>
          <a:lstStyle/>
          <a:p>
            <a:pPr marL="285750" indent="-285750">
              <a:buFont typeface="Century Gothic" panose="020B0502020202020204" pitchFamily="34" charset="0"/>
              <a:buChar char="▪"/>
            </a:pPr>
            <a:r>
              <a:rPr lang="en-US" altLang="zh-CN" sz="1200" b="1" dirty="0" smtClean="0">
                <a:solidFill>
                  <a:srgbClr val="FF5805"/>
                </a:solidFill>
                <a:latin typeface="华文楷体" panose="02010600040101010101" charset="-122"/>
                <a:ea typeface="华文楷体" panose="02010600040101010101" charset="-122"/>
              </a:rPr>
              <a:t>xx</a:t>
            </a:r>
            <a:endParaRPr lang="en-US" altLang="zh-CN" sz="1200" dirty="0" smtClean="0">
              <a:latin typeface="华文楷体" panose="02010600040101010101" charset="-122"/>
              <a:ea typeface="华文楷体" panose="02010600040101010101" charset="-122"/>
            </a:endParaRPr>
          </a:p>
        </p:txBody>
      </p:sp>
      <p:sp>
        <p:nvSpPr>
          <p:cNvPr id="7" name="线形标注 1(带强调线) 6"/>
          <p:cNvSpPr/>
          <p:nvPr/>
        </p:nvSpPr>
        <p:spPr>
          <a:xfrm>
            <a:off x="8716199" y="1325430"/>
            <a:ext cx="1066800" cy="1206844"/>
          </a:xfrm>
          <a:prstGeom prst="accentCallout1">
            <a:avLst>
              <a:gd name="adj1" fmla="val 18750"/>
              <a:gd name="adj2" fmla="val -8333"/>
              <a:gd name="adj3" fmla="val 69354"/>
              <a:gd name="adj4" fmla="val -52619"/>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线形标注 1(带强调线) 7"/>
          <p:cNvSpPr/>
          <p:nvPr/>
        </p:nvSpPr>
        <p:spPr>
          <a:xfrm>
            <a:off x="8716199" y="3884860"/>
            <a:ext cx="1066800" cy="1826689"/>
          </a:xfrm>
          <a:prstGeom prst="accentCallout1">
            <a:avLst>
              <a:gd name="adj1" fmla="val 18750"/>
              <a:gd name="adj2" fmla="val -8333"/>
              <a:gd name="adj3" fmla="val 56100"/>
              <a:gd name="adj4" fmla="val -49048"/>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线形标注 1(带强调线) 8"/>
          <p:cNvSpPr/>
          <p:nvPr/>
        </p:nvSpPr>
        <p:spPr>
          <a:xfrm flipH="1">
            <a:off x="1994575" y="3943771"/>
            <a:ext cx="1388699" cy="1793129"/>
          </a:xfrm>
          <a:prstGeom prst="accentCallout1">
            <a:avLst>
              <a:gd name="adj1" fmla="val 18750"/>
              <a:gd name="adj2" fmla="val -8333"/>
              <a:gd name="adj3" fmla="val 56100"/>
              <a:gd name="adj4" fmla="val -49048"/>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线形标注 1(带强调线) 9"/>
          <p:cNvSpPr/>
          <p:nvPr/>
        </p:nvSpPr>
        <p:spPr>
          <a:xfrm flipH="1">
            <a:off x="1994575" y="1264960"/>
            <a:ext cx="1388699" cy="1793129"/>
          </a:xfrm>
          <a:prstGeom prst="accentCallout1">
            <a:avLst>
              <a:gd name="adj1" fmla="val 18750"/>
              <a:gd name="adj2" fmla="val -8333"/>
              <a:gd name="adj3" fmla="val 56100"/>
              <a:gd name="adj4" fmla="val -49048"/>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 name="组合 10"/>
          <p:cNvGrpSpPr/>
          <p:nvPr/>
        </p:nvGrpSpPr>
        <p:grpSpPr>
          <a:xfrm>
            <a:off x="3801727" y="1325430"/>
            <a:ext cx="4527476" cy="4510830"/>
            <a:chOff x="3927827" y="1613490"/>
            <a:chExt cx="3872871" cy="3858632"/>
          </a:xfrm>
        </p:grpSpPr>
        <p:sp>
          <p:nvSpPr>
            <p:cNvPr id="12" name="Freeform 19"/>
            <p:cNvSpPr/>
            <p:nvPr/>
          </p:nvSpPr>
          <p:spPr bwMode="auto">
            <a:xfrm rot="5400000" flipH="1">
              <a:off x="4217881" y="1329046"/>
              <a:ext cx="1618195" cy="2198303"/>
            </a:xfrm>
            <a:custGeom>
              <a:avLst/>
              <a:gdLst/>
              <a:ahLst/>
              <a:cxnLst>
                <a:cxn ang="0">
                  <a:pos x="346" y="216"/>
                </a:cxn>
                <a:cxn ang="0">
                  <a:pos x="342" y="208"/>
                </a:cxn>
                <a:cxn ang="0">
                  <a:pos x="342" y="158"/>
                </a:cxn>
                <a:cxn ang="0">
                  <a:pos x="352" y="146"/>
                </a:cxn>
                <a:cxn ang="0">
                  <a:pos x="378" y="108"/>
                </a:cxn>
                <a:cxn ang="0">
                  <a:pos x="384" y="84"/>
                </a:cxn>
                <a:cxn ang="0">
                  <a:pos x="370" y="38"/>
                </a:cxn>
                <a:cxn ang="0">
                  <a:pos x="334" y="6"/>
                </a:cxn>
                <a:cxn ang="0">
                  <a:pos x="300" y="0"/>
                </a:cxn>
                <a:cxn ang="0">
                  <a:pos x="252" y="14"/>
                </a:cxn>
                <a:cxn ang="0">
                  <a:pos x="222" y="52"/>
                </a:cxn>
                <a:cxn ang="0">
                  <a:pos x="216" y="84"/>
                </a:cxn>
                <a:cxn ang="0">
                  <a:pos x="228" y="120"/>
                </a:cxn>
                <a:cxn ang="0">
                  <a:pos x="254" y="152"/>
                </a:cxn>
                <a:cxn ang="0">
                  <a:pos x="260" y="166"/>
                </a:cxn>
                <a:cxn ang="0">
                  <a:pos x="258" y="214"/>
                </a:cxn>
                <a:cxn ang="0">
                  <a:pos x="256" y="216"/>
                </a:cxn>
                <a:cxn ang="0">
                  <a:pos x="8" y="216"/>
                </a:cxn>
                <a:cxn ang="0">
                  <a:pos x="2" y="220"/>
                </a:cxn>
                <a:cxn ang="0">
                  <a:pos x="0" y="464"/>
                </a:cxn>
                <a:cxn ang="0">
                  <a:pos x="6" y="472"/>
                </a:cxn>
                <a:cxn ang="0">
                  <a:pos x="58" y="472"/>
                </a:cxn>
                <a:cxn ang="0">
                  <a:pos x="72" y="468"/>
                </a:cxn>
                <a:cxn ang="0">
                  <a:pos x="106" y="442"/>
                </a:cxn>
                <a:cxn ang="0">
                  <a:pos x="142" y="430"/>
                </a:cxn>
                <a:cxn ang="0">
                  <a:pos x="178" y="436"/>
                </a:cxn>
                <a:cxn ang="0">
                  <a:pos x="216" y="466"/>
                </a:cxn>
                <a:cxn ang="0">
                  <a:pos x="232" y="514"/>
                </a:cxn>
                <a:cxn ang="0">
                  <a:pos x="224" y="546"/>
                </a:cxn>
                <a:cxn ang="0">
                  <a:pos x="192" y="584"/>
                </a:cxn>
                <a:cxn ang="0">
                  <a:pos x="142" y="598"/>
                </a:cxn>
                <a:cxn ang="0">
                  <a:pos x="118" y="592"/>
                </a:cxn>
                <a:cxn ang="0">
                  <a:pos x="78" y="566"/>
                </a:cxn>
                <a:cxn ang="0">
                  <a:pos x="64" y="556"/>
                </a:cxn>
                <a:cxn ang="0">
                  <a:pos x="8" y="554"/>
                </a:cxn>
                <a:cxn ang="0">
                  <a:pos x="2" y="560"/>
                </a:cxn>
                <a:cxn ang="0">
                  <a:pos x="0" y="802"/>
                </a:cxn>
                <a:cxn ang="0">
                  <a:pos x="6" y="810"/>
                </a:cxn>
                <a:cxn ang="0">
                  <a:pos x="588" y="810"/>
                </a:cxn>
                <a:cxn ang="0">
                  <a:pos x="594" y="806"/>
                </a:cxn>
                <a:cxn ang="0">
                  <a:pos x="596" y="224"/>
                </a:cxn>
                <a:cxn ang="0">
                  <a:pos x="590" y="216"/>
                </a:cxn>
              </a:cxnLst>
              <a:rect l="0" t="0" r="r" b="b"/>
              <a:pathLst>
                <a:path w="596" h="810">
                  <a:moveTo>
                    <a:pt x="350" y="216"/>
                  </a:moveTo>
                  <a:lnTo>
                    <a:pt x="350" y="216"/>
                  </a:lnTo>
                  <a:lnTo>
                    <a:pt x="346" y="216"/>
                  </a:lnTo>
                  <a:lnTo>
                    <a:pt x="344" y="214"/>
                  </a:lnTo>
                  <a:lnTo>
                    <a:pt x="342" y="210"/>
                  </a:lnTo>
                  <a:lnTo>
                    <a:pt x="342" y="208"/>
                  </a:lnTo>
                  <a:lnTo>
                    <a:pt x="342" y="166"/>
                  </a:lnTo>
                  <a:lnTo>
                    <a:pt x="342" y="166"/>
                  </a:lnTo>
                  <a:lnTo>
                    <a:pt x="342" y="158"/>
                  </a:lnTo>
                  <a:lnTo>
                    <a:pt x="348" y="152"/>
                  </a:lnTo>
                  <a:lnTo>
                    <a:pt x="348" y="152"/>
                  </a:lnTo>
                  <a:lnTo>
                    <a:pt x="352" y="146"/>
                  </a:lnTo>
                  <a:lnTo>
                    <a:pt x="366" y="130"/>
                  </a:lnTo>
                  <a:lnTo>
                    <a:pt x="372" y="120"/>
                  </a:lnTo>
                  <a:lnTo>
                    <a:pt x="378" y="108"/>
                  </a:lnTo>
                  <a:lnTo>
                    <a:pt x="384" y="96"/>
                  </a:lnTo>
                  <a:lnTo>
                    <a:pt x="384" y="84"/>
                  </a:lnTo>
                  <a:lnTo>
                    <a:pt x="384" y="84"/>
                  </a:lnTo>
                  <a:lnTo>
                    <a:pt x="384" y="68"/>
                  </a:lnTo>
                  <a:lnTo>
                    <a:pt x="378" y="52"/>
                  </a:lnTo>
                  <a:lnTo>
                    <a:pt x="370" y="38"/>
                  </a:lnTo>
                  <a:lnTo>
                    <a:pt x="360" y="24"/>
                  </a:lnTo>
                  <a:lnTo>
                    <a:pt x="348" y="14"/>
                  </a:lnTo>
                  <a:lnTo>
                    <a:pt x="334" y="6"/>
                  </a:lnTo>
                  <a:lnTo>
                    <a:pt x="318" y="2"/>
                  </a:lnTo>
                  <a:lnTo>
                    <a:pt x="300" y="0"/>
                  </a:lnTo>
                  <a:lnTo>
                    <a:pt x="300" y="0"/>
                  </a:lnTo>
                  <a:lnTo>
                    <a:pt x="284" y="2"/>
                  </a:lnTo>
                  <a:lnTo>
                    <a:pt x="268" y="6"/>
                  </a:lnTo>
                  <a:lnTo>
                    <a:pt x="252" y="14"/>
                  </a:lnTo>
                  <a:lnTo>
                    <a:pt x="240" y="24"/>
                  </a:lnTo>
                  <a:lnTo>
                    <a:pt x="230" y="38"/>
                  </a:lnTo>
                  <a:lnTo>
                    <a:pt x="222" y="52"/>
                  </a:lnTo>
                  <a:lnTo>
                    <a:pt x="218" y="68"/>
                  </a:lnTo>
                  <a:lnTo>
                    <a:pt x="216" y="84"/>
                  </a:lnTo>
                  <a:lnTo>
                    <a:pt x="216" y="84"/>
                  </a:lnTo>
                  <a:lnTo>
                    <a:pt x="218" y="96"/>
                  </a:lnTo>
                  <a:lnTo>
                    <a:pt x="222" y="108"/>
                  </a:lnTo>
                  <a:lnTo>
                    <a:pt x="228" y="120"/>
                  </a:lnTo>
                  <a:lnTo>
                    <a:pt x="234" y="130"/>
                  </a:lnTo>
                  <a:lnTo>
                    <a:pt x="248" y="146"/>
                  </a:lnTo>
                  <a:lnTo>
                    <a:pt x="254" y="152"/>
                  </a:lnTo>
                  <a:lnTo>
                    <a:pt x="254" y="152"/>
                  </a:lnTo>
                  <a:lnTo>
                    <a:pt x="258" y="158"/>
                  </a:lnTo>
                  <a:lnTo>
                    <a:pt x="260" y="166"/>
                  </a:lnTo>
                  <a:lnTo>
                    <a:pt x="260" y="206"/>
                  </a:lnTo>
                  <a:lnTo>
                    <a:pt x="260" y="206"/>
                  </a:lnTo>
                  <a:lnTo>
                    <a:pt x="258" y="214"/>
                  </a:lnTo>
                  <a:lnTo>
                    <a:pt x="258" y="214"/>
                  </a:lnTo>
                  <a:lnTo>
                    <a:pt x="256" y="216"/>
                  </a:lnTo>
                  <a:lnTo>
                    <a:pt x="256" y="216"/>
                  </a:lnTo>
                  <a:lnTo>
                    <a:pt x="248" y="216"/>
                  </a:lnTo>
                  <a:lnTo>
                    <a:pt x="8" y="216"/>
                  </a:lnTo>
                  <a:lnTo>
                    <a:pt x="8" y="216"/>
                  </a:lnTo>
                  <a:lnTo>
                    <a:pt x="6" y="216"/>
                  </a:lnTo>
                  <a:lnTo>
                    <a:pt x="4" y="218"/>
                  </a:lnTo>
                  <a:lnTo>
                    <a:pt x="2" y="220"/>
                  </a:lnTo>
                  <a:lnTo>
                    <a:pt x="0" y="224"/>
                  </a:lnTo>
                  <a:lnTo>
                    <a:pt x="0" y="464"/>
                  </a:lnTo>
                  <a:lnTo>
                    <a:pt x="0" y="464"/>
                  </a:lnTo>
                  <a:lnTo>
                    <a:pt x="2" y="468"/>
                  </a:lnTo>
                  <a:lnTo>
                    <a:pt x="4" y="470"/>
                  </a:lnTo>
                  <a:lnTo>
                    <a:pt x="6" y="472"/>
                  </a:lnTo>
                  <a:lnTo>
                    <a:pt x="8" y="472"/>
                  </a:lnTo>
                  <a:lnTo>
                    <a:pt x="58" y="472"/>
                  </a:lnTo>
                  <a:lnTo>
                    <a:pt x="58" y="472"/>
                  </a:lnTo>
                  <a:lnTo>
                    <a:pt x="64" y="472"/>
                  </a:lnTo>
                  <a:lnTo>
                    <a:pt x="72" y="468"/>
                  </a:lnTo>
                  <a:lnTo>
                    <a:pt x="72" y="468"/>
                  </a:lnTo>
                  <a:lnTo>
                    <a:pt x="78" y="462"/>
                  </a:lnTo>
                  <a:lnTo>
                    <a:pt x="94" y="448"/>
                  </a:lnTo>
                  <a:lnTo>
                    <a:pt x="106" y="442"/>
                  </a:lnTo>
                  <a:lnTo>
                    <a:pt x="118" y="436"/>
                  </a:lnTo>
                  <a:lnTo>
                    <a:pt x="130" y="430"/>
                  </a:lnTo>
                  <a:lnTo>
                    <a:pt x="142" y="430"/>
                  </a:lnTo>
                  <a:lnTo>
                    <a:pt x="142" y="430"/>
                  </a:lnTo>
                  <a:lnTo>
                    <a:pt x="160" y="430"/>
                  </a:lnTo>
                  <a:lnTo>
                    <a:pt x="178" y="436"/>
                  </a:lnTo>
                  <a:lnTo>
                    <a:pt x="192" y="444"/>
                  </a:lnTo>
                  <a:lnTo>
                    <a:pt x="206" y="454"/>
                  </a:lnTo>
                  <a:lnTo>
                    <a:pt x="216" y="466"/>
                  </a:lnTo>
                  <a:lnTo>
                    <a:pt x="224" y="480"/>
                  </a:lnTo>
                  <a:lnTo>
                    <a:pt x="230" y="496"/>
                  </a:lnTo>
                  <a:lnTo>
                    <a:pt x="232" y="514"/>
                  </a:lnTo>
                  <a:lnTo>
                    <a:pt x="232" y="514"/>
                  </a:lnTo>
                  <a:lnTo>
                    <a:pt x="230" y="530"/>
                  </a:lnTo>
                  <a:lnTo>
                    <a:pt x="224" y="546"/>
                  </a:lnTo>
                  <a:lnTo>
                    <a:pt x="216" y="562"/>
                  </a:lnTo>
                  <a:lnTo>
                    <a:pt x="206" y="574"/>
                  </a:lnTo>
                  <a:lnTo>
                    <a:pt x="192" y="584"/>
                  </a:lnTo>
                  <a:lnTo>
                    <a:pt x="178" y="592"/>
                  </a:lnTo>
                  <a:lnTo>
                    <a:pt x="160" y="596"/>
                  </a:lnTo>
                  <a:lnTo>
                    <a:pt x="142" y="598"/>
                  </a:lnTo>
                  <a:lnTo>
                    <a:pt x="142" y="598"/>
                  </a:lnTo>
                  <a:lnTo>
                    <a:pt x="130" y="596"/>
                  </a:lnTo>
                  <a:lnTo>
                    <a:pt x="118" y="592"/>
                  </a:lnTo>
                  <a:lnTo>
                    <a:pt x="106" y="586"/>
                  </a:lnTo>
                  <a:lnTo>
                    <a:pt x="94" y="580"/>
                  </a:lnTo>
                  <a:lnTo>
                    <a:pt x="78" y="566"/>
                  </a:lnTo>
                  <a:lnTo>
                    <a:pt x="72" y="560"/>
                  </a:lnTo>
                  <a:lnTo>
                    <a:pt x="72" y="560"/>
                  </a:lnTo>
                  <a:lnTo>
                    <a:pt x="64" y="556"/>
                  </a:lnTo>
                  <a:lnTo>
                    <a:pt x="58" y="554"/>
                  </a:lnTo>
                  <a:lnTo>
                    <a:pt x="8" y="554"/>
                  </a:lnTo>
                  <a:lnTo>
                    <a:pt x="8" y="554"/>
                  </a:lnTo>
                  <a:lnTo>
                    <a:pt x="6" y="556"/>
                  </a:lnTo>
                  <a:lnTo>
                    <a:pt x="4" y="558"/>
                  </a:lnTo>
                  <a:lnTo>
                    <a:pt x="2" y="560"/>
                  </a:lnTo>
                  <a:lnTo>
                    <a:pt x="0" y="562"/>
                  </a:lnTo>
                  <a:lnTo>
                    <a:pt x="0" y="802"/>
                  </a:lnTo>
                  <a:lnTo>
                    <a:pt x="0" y="802"/>
                  </a:lnTo>
                  <a:lnTo>
                    <a:pt x="2" y="806"/>
                  </a:lnTo>
                  <a:lnTo>
                    <a:pt x="4" y="808"/>
                  </a:lnTo>
                  <a:lnTo>
                    <a:pt x="6" y="810"/>
                  </a:lnTo>
                  <a:lnTo>
                    <a:pt x="8" y="810"/>
                  </a:lnTo>
                  <a:lnTo>
                    <a:pt x="588" y="810"/>
                  </a:lnTo>
                  <a:lnTo>
                    <a:pt x="588" y="810"/>
                  </a:lnTo>
                  <a:lnTo>
                    <a:pt x="590" y="810"/>
                  </a:lnTo>
                  <a:lnTo>
                    <a:pt x="592" y="808"/>
                  </a:lnTo>
                  <a:lnTo>
                    <a:pt x="594" y="806"/>
                  </a:lnTo>
                  <a:lnTo>
                    <a:pt x="596" y="802"/>
                  </a:lnTo>
                  <a:lnTo>
                    <a:pt x="596" y="224"/>
                  </a:lnTo>
                  <a:lnTo>
                    <a:pt x="596" y="224"/>
                  </a:lnTo>
                  <a:lnTo>
                    <a:pt x="594" y="220"/>
                  </a:lnTo>
                  <a:lnTo>
                    <a:pt x="592" y="218"/>
                  </a:lnTo>
                  <a:lnTo>
                    <a:pt x="590" y="216"/>
                  </a:lnTo>
                  <a:lnTo>
                    <a:pt x="588" y="216"/>
                  </a:lnTo>
                  <a:lnTo>
                    <a:pt x="350" y="216"/>
                  </a:lnTo>
                  <a:close/>
                </a:path>
              </a:pathLst>
            </a:custGeom>
            <a:solidFill>
              <a:srgbClr val="FF5805"/>
            </a:solidFill>
            <a:ln w="317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da-DK" sz="2200" kern="0" dirty="0">
                <a:solidFill>
                  <a:sysClr val="windowText" lastClr="000000">
                    <a:lumMod val="95000"/>
                    <a:lumOff val="5000"/>
                  </a:sysClr>
                </a:solidFill>
                <a:latin typeface="华文楷体" panose="02010600040101010101" charset="-122"/>
                <a:ea typeface="华文楷体" panose="02010600040101010101" charset="-122"/>
                <a:cs typeface="Arial" panose="020B0604020202020204" pitchFamily="34" charset="0"/>
              </a:endParaRPr>
            </a:p>
          </p:txBody>
        </p:sp>
        <p:sp>
          <p:nvSpPr>
            <p:cNvPr id="13" name="Freeform 24"/>
            <p:cNvSpPr/>
            <p:nvPr/>
          </p:nvSpPr>
          <p:spPr bwMode="auto">
            <a:xfrm>
              <a:off x="3927827" y="3283460"/>
              <a:ext cx="1613375" cy="2188662"/>
            </a:xfrm>
            <a:custGeom>
              <a:avLst/>
              <a:gdLst/>
              <a:ahLst/>
              <a:cxnLst>
                <a:cxn ang="0">
                  <a:pos x="452" y="426"/>
                </a:cxn>
                <a:cxn ang="0">
                  <a:pos x="478" y="432"/>
                </a:cxn>
                <a:cxn ang="0">
                  <a:pos x="500" y="444"/>
                </a:cxn>
                <a:cxn ang="0">
                  <a:pos x="524" y="464"/>
                </a:cxn>
                <a:cxn ang="0">
                  <a:pos x="530" y="468"/>
                </a:cxn>
                <a:cxn ang="0">
                  <a:pos x="586" y="468"/>
                </a:cxn>
                <a:cxn ang="0">
                  <a:pos x="590" y="468"/>
                </a:cxn>
                <a:cxn ang="0">
                  <a:pos x="594" y="464"/>
                </a:cxn>
                <a:cxn ang="0">
                  <a:pos x="594" y="220"/>
                </a:cxn>
                <a:cxn ang="0">
                  <a:pos x="594" y="216"/>
                </a:cxn>
                <a:cxn ang="0">
                  <a:pos x="590" y="212"/>
                </a:cxn>
                <a:cxn ang="0">
                  <a:pos x="346" y="212"/>
                </a:cxn>
                <a:cxn ang="0">
                  <a:pos x="338" y="212"/>
                </a:cxn>
                <a:cxn ang="0">
                  <a:pos x="338" y="202"/>
                </a:cxn>
                <a:cxn ang="0">
                  <a:pos x="338" y="166"/>
                </a:cxn>
                <a:cxn ang="0">
                  <a:pos x="344" y="152"/>
                </a:cxn>
                <a:cxn ang="0">
                  <a:pos x="350" y="146"/>
                </a:cxn>
                <a:cxn ang="0">
                  <a:pos x="370" y="120"/>
                </a:cxn>
                <a:cxn ang="0">
                  <a:pos x="380" y="96"/>
                </a:cxn>
                <a:cxn ang="0">
                  <a:pos x="382" y="84"/>
                </a:cxn>
                <a:cxn ang="0">
                  <a:pos x="376" y="50"/>
                </a:cxn>
                <a:cxn ang="0">
                  <a:pos x="358" y="24"/>
                </a:cxn>
                <a:cxn ang="0">
                  <a:pos x="330" y="6"/>
                </a:cxn>
                <a:cxn ang="0">
                  <a:pos x="298" y="0"/>
                </a:cxn>
                <a:cxn ang="0">
                  <a:pos x="280" y="0"/>
                </a:cxn>
                <a:cxn ang="0">
                  <a:pos x="250" y="14"/>
                </a:cxn>
                <a:cxn ang="0">
                  <a:pos x="228" y="36"/>
                </a:cxn>
                <a:cxn ang="0">
                  <a:pos x="214" y="66"/>
                </a:cxn>
                <a:cxn ang="0">
                  <a:pos x="212" y="84"/>
                </a:cxn>
                <a:cxn ang="0">
                  <a:pos x="218" y="108"/>
                </a:cxn>
                <a:cxn ang="0">
                  <a:pos x="232" y="130"/>
                </a:cxn>
                <a:cxn ang="0">
                  <a:pos x="250" y="152"/>
                </a:cxn>
                <a:cxn ang="0">
                  <a:pos x="254" y="158"/>
                </a:cxn>
                <a:cxn ang="0">
                  <a:pos x="256" y="202"/>
                </a:cxn>
                <a:cxn ang="0">
                  <a:pos x="256" y="212"/>
                </a:cxn>
                <a:cxn ang="0">
                  <a:pos x="248" y="212"/>
                </a:cxn>
                <a:cxn ang="0">
                  <a:pos x="8" y="212"/>
                </a:cxn>
                <a:cxn ang="0">
                  <a:pos x="2" y="214"/>
                </a:cxn>
                <a:cxn ang="0">
                  <a:pos x="0" y="220"/>
                </a:cxn>
                <a:cxn ang="0">
                  <a:pos x="0" y="798"/>
                </a:cxn>
                <a:cxn ang="0">
                  <a:pos x="2" y="804"/>
                </a:cxn>
                <a:cxn ang="0">
                  <a:pos x="8" y="806"/>
                </a:cxn>
                <a:cxn ang="0">
                  <a:pos x="586" y="806"/>
                </a:cxn>
                <a:cxn ang="0">
                  <a:pos x="592" y="804"/>
                </a:cxn>
                <a:cxn ang="0">
                  <a:pos x="594" y="798"/>
                </a:cxn>
                <a:cxn ang="0">
                  <a:pos x="594" y="558"/>
                </a:cxn>
                <a:cxn ang="0">
                  <a:pos x="592" y="554"/>
                </a:cxn>
                <a:cxn ang="0">
                  <a:pos x="586" y="550"/>
                </a:cxn>
                <a:cxn ang="0">
                  <a:pos x="538" y="550"/>
                </a:cxn>
                <a:cxn ang="0">
                  <a:pos x="524" y="556"/>
                </a:cxn>
                <a:cxn ang="0">
                  <a:pos x="518" y="562"/>
                </a:cxn>
                <a:cxn ang="0">
                  <a:pos x="490" y="582"/>
                </a:cxn>
                <a:cxn ang="0">
                  <a:pos x="466" y="592"/>
                </a:cxn>
                <a:cxn ang="0">
                  <a:pos x="452" y="594"/>
                </a:cxn>
                <a:cxn ang="0">
                  <a:pos x="418" y="588"/>
                </a:cxn>
                <a:cxn ang="0">
                  <a:pos x="390" y="570"/>
                </a:cxn>
                <a:cxn ang="0">
                  <a:pos x="370" y="542"/>
                </a:cxn>
                <a:cxn ang="0">
                  <a:pos x="364" y="510"/>
                </a:cxn>
                <a:cxn ang="0">
                  <a:pos x="366" y="492"/>
                </a:cxn>
                <a:cxn ang="0">
                  <a:pos x="380" y="462"/>
                </a:cxn>
                <a:cxn ang="0">
                  <a:pos x="404" y="440"/>
                </a:cxn>
                <a:cxn ang="0">
                  <a:pos x="434" y="426"/>
                </a:cxn>
                <a:cxn ang="0">
                  <a:pos x="452" y="426"/>
                </a:cxn>
              </a:cxnLst>
              <a:rect l="0" t="0" r="r" b="b"/>
              <a:pathLst>
                <a:path w="594" h="806">
                  <a:moveTo>
                    <a:pt x="452" y="426"/>
                  </a:moveTo>
                  <a:lnTo>
                    <a:pt x="452" y="426"/>
                  </a:lnTo>
                  <a:lnTo>
                    <a:pt x="466" y="426"/>
                  </a:lnTo>
                  <a:lnTo>
                    <a:pt x="478" y="432"/>
                  </a:lnTo>
                  <a:lnTo>
                    <a:pt x="490" y="438"/>
                  </a:lnTo>
                  <a:lnTo>
                    <a:pt x="500" y="444"/>
                  </a:lnTo>
                  <a:lnTo>
                    <a:pt x="518" y="458"/>
                  </a:lnTo>
                  <a:lnTo>
                    <a:pt x="524" y="464"/>
                  </a:lnTo>
                  <a:lnTo>
                    <a:pt x="524" y="464"/>
                  </a:lnTo>
                  <a:lnTo>
                    <a:pt x="530" y="468"/>
                  </a:lnTo>
                  <a:lnTo>
                    <a:pt x="538" y="468"/>
                  </a:lnTo>
                  <a:lnTo>
                    <a:pt x="586" y="468"/>
                  </a:lnTo>
                  <a:lnTo>
                    <a:pt x="586" y="468"/>
                  </a:lnTo>
                  <a:lnTo>
                    <a:pt x="590" y="468"/>
                  </a:lnTo>
                  <a:lnTo>
                    <a:pt x="592" y="466"/>
                  </a:lnTo>
                  <a:lnTo>
                    <a:pt x="594" y="464"/>
                  </a:lnTo>
                  <a:lnTo>
                    <a:pt x="594" y="460"/>
                  </a:lnTo>
                  <a:lnTo>
                    <a:pt x="594" y="220"/>
                  </a:lnTo>
                  <a:lnTo>
                    <a:pt x="594" y="220"/>
                  </a:lnTo>
                  <a:lnTo>
                    <a:pt x="594" y="216"/>
                  </a:lnTo>
                  <a:lnTo>
                    <a:pt x="592" y="214"/>
                  </a:lnTo>
                  <a:lnTo>
                    <a:pt x="590" y="212"/>
                  </a:lnTo>
                  <a:lnTo>
                    <a:pt x="586" y="212"/>
                  </a:lnTo>
                  <a:lnTo>
                    <a:pt x="346" y="212"/>
                  </a:lnTo>
                  <a:lnTo>
                    <a:pt x="346" y="212"/>
                  </a:lnTo>
                  <a:lnTo>
                    <a:pt x="338" y="212"/>
                  </a:lnTo>
                  <a:lnTo>
                    <a:pt x="338" y="212"/>
                  </a:lnTo>
                  <a:lnTo>
                    <a:pt x="338" y="202"/>
                  </a:lnTo>
                  <a:lnTo>
                    <a:pt x="338" y="166"/>
                  </a:lnTo>
                  <a:lnTo>
                    <a:pt x="338" y="166"/>
                  </a:lnTo>
                  <a:lnTo>
                    <a:pt x="340" y="158"/>
                  </a:lnTo>
                  <a:lnTo>
                    <a:pt x="344" y="152"/>
                  </a:lnTo>
                  <a:lnTo>
                    <a:pt x="344" y="152"/>
                  </a:lnTo>
                  <a:lnTo>
                    <a:pt x="350" y="146"/>
                  </a:lnTo>
                  <a:lnTo>
                    <a:pt x="364" y="130"/>
                  </a:lnTo>
                  <a:lnTo>
                    <a:pt x="370" y="120"/>
                  </a:lnTo>
                  <a:lnTo>
                    <a:pt x="376" y="108"/>
                  </a:lnTo>
                  <a:lnTo>
                    <a:pt x="380" y="96"/>
                  </a:lnTo>
                  <a:lnTo>
                    <a:pt x="382" y="84"/>
                  </a:lnTo>
                  <a:lnTo>
                    <a:pt x="382" y="84"/>
                  </a:lnTo>
                  <a:lnTo>
                    <a:pt x="380" y="66"/>
                  </a:lnTo>
                  <a:lnTo>
                    <a:pt x="376" y="50"/>
                  </a:lnTo>
                  <a:lnTo>
                    <a:pt x="368" y="36"/>
                  </a:lnTo>
                  <a:lnTo>
                    <a:pt x="358" y="24"/>
                  </a:lnTo>
                  <a:lnTo>
                    <a:pt x="344" y="14"/>
                  </a:lnTo>
                  <a:lnTo>
                    <a:pt x="330" y="6"/>
                  </a:lnTo>
                  <a:lnTo>
                    <a:pt x="314" y="0"/>
                  </a:lnTo>
                  <a:lnTo>
                    <a:pt x="298" y="0"/>
                  </a:lnTo>
                  <a:lnTo>
                    <a:pt x="298" y="0"/>
                  </a:lnTo>
                  <a:lnTo>
                    <a:pt x="280" y="0"/>
                  </a:lnTo>
                  <a:lnTo>
                    <a:pt x="264" y="6"/>
                  </a:lnTo>
                  <a:lnTo>
                    <a:pt x="250" y="14"/>
                  </a:lnTo>
                  <a:lnTo>
                    <a:pt x="238" y="24"/>
                  </a:lnTo>
                  <a:lnTo>
                    <a:pt x="228" y="36"/>
                  </a:lnTo>
                  <a:lnTo>
                    <a:pt x="220" y="50"/>
                  </a:lnTo>
                  <a:lnTo>
                    <a:pt x="214" y="66"/>
                  </a:lnTo>
                  <a:lnTo>
                    <a:pt x="212" y="84"/>
                  </a:lnTo>
                  <a:lnTo>
                    <a:pt x="212" y="84"/>
                  </a:lnTo>
                  <a:lnTo>
                    <a:pt x="214" y="96"/>
                  </a:lnTo>
                  <a:lnTo>
                    <a:pt x="218" y="108"/>
                  </a:lnTo>
                  <a:lnTo>
                    <a:pt x="224" y="120"/>
                  </a:lnTo>
                  <a:lnTo>
                    <a:pt x="232" y="130"/>
                  </a:lnTo>
                  <a:lnTo>
                    <a:pt x="244" y="146"/>
                  </a:lnTo>
                  <a:lnTo>
                    <a:pt x="250" y="152"/>
                  </a:lnTo>
                  <a:lnTo>
                    <a:pt x="250" y="152"/>
                  </a:lnTo>
                  <a:lnTo>
                    <a:pt x="254" y="158"/>
                  </a:lnTo>
                  <a:lnTo>
                    <a:pt x="256" y="166"/>
                  </a:lnTo>
                  <a:lnTo>
                    <a:pt x="256" y="202"/>
                  </a:lnTo>
                  <a:lnTo>
                    <a:pt x="256" y="202"/>
                  </a:lnTo>
                  <a:lnTo>
                    <a:pt x="256" y="212"/>
                  </a:lnTo>
                  <a:lnTo>
                    <a:pt x="256" y="212"/>
                  </a:lnTo>
                  <a:lnTo>
                    <a:pt x="248" y="212"/>
                  </a:lnTo>
                  <a:lnTo>
                    <a:pt x="8" y="212"/>
                  </a:lnTo>
                  <a:lnTo>
                    <a:pt x="8" y="212"/>
                  </a:lnTo>
                  <a:lnTo>
                    <a:pt x="6" y="212"/>
                  </a:lnTo>
                  <a:lnTo>
                    <a:pt x="2" y="214"/>
                  </a:lnTo>
                  <a:lnTo>
                    <a:pt x="0" y="216"/>
                  </a:lnTo>
                  <a:lnTo>
                    <a:pt x="0" y="220"/>
                  </a:lnTo>
                  <a:lnTo>
                    <a:pt x="0" y="798"/>
                  </a:lnTo>
                  <a:lnTo>
                    <a:pt x="0" y="798"/>
                  </a:lnTo>
                  <a:lnTo>
                    <a:pt x="0" y="802"/>
                  </a:lnTo>
                  <a:lnTo>
                    <a:pt x="2" y="804"/>
                  </a:lnTo>
                  <a:lnTo>
                    <a:pt x="6" y="806"/>
                  </a:lnTo>
                  <a:lnTo>
                    <a:pt x="8" y="806"/>
                  </a:lnTo>
                  <a:lnTo>
                    <a:pt x="586" y="806"/>
                  </a:lnTo>
                  <a:lnTo>
                    <a:pt x="586" y="806"/>
                  </a:lnTo>
                  <a:lnTo>
                    <a:pt x="590" y="806"/>
                  </a:lnTo>
                  <a:lnTo>
                    <a:pt x="592" y="804"/>
                  </a:lnTo>
                  <a:lnTo>
                    <a:pt x="594" y="802"/>
                  </a:lnTo>
                  <a:lnTo>
                    <a:pt x="594" y="798"/>
                  </a:lnTo>
                  <a:lnTo>
                    <a:pt x="594" y="558"/>
                  </a:lnTo>
                  <a:lnTo>
                    <a:pt x="594" y="558"/>
                  </a:lnTo>
                  <a:lnTo>
                    <a:pt x="594" y="556"/>
                  </a:lnTo>
                  <a:lnTo>
                    <a:pt x="592" y="554"/>
                  </a:lnTo>
                  <a:lnTo>
                    <a:pt x="590" y="552"/>
                  </a:lnTo>
                  <a:lnTo>
                    <a:pt x="586" y="550"/>
                  </a:lnTo>
                  <a:lnTo>
                    <a:pt x="538" y="550"/>
                  </a:lnTo>
                  <a:lnTo>
                    <a:pt x="538" y="550"/>
                  </a:lnTo>
                  <a:lnTo>
                    <a:pt x="530" y="552"/>
                  </a:lnTo>
                  <a:lnTo>
                    <a:pt x="524" y="556"/>
                  </a:lnTo>
                  <a:lnTo>
                    <a:pt x="524" y="556"/>
                  </a:lnTo>
                  <a:lnTo>
                    <a:pt x="518" y="562"/>
                  </a:lnTo>
                  <a:lnTo>
                    <a:pt x="500" y="576"/>
                  </a:lnTo>
                  <a:lnTo>
                    <a:pt x="490" y="582"/>
                  </a:lnTo>
                  <a:lnTo>
                    <a:pt x="478" y="588"/>
                  </a:lnTo>
                  <a:lnTo>
                    <a:pt x="466" y="592"/>
                  </a:lnTo>
                  <a:lnTo>
                    <a:pt x="452" y="594"/>
                  </a:lnTo>
                  <a:lnTo>
                    <a:pt x="452" y="594"/>
                  </a:lnTo>
                  <a:lnTo>
                    <a:pt x="434" y="592"/>
                  </a:lnTo>
                  <a:lnTo>
                    <a:pt x="418" y="588"/>
                  </a:lnTo>
                  <a:lnTo>
                    <a:pt x="404" y="580"/>
                  </a:lnTo>
                  <a:lnTo>
                    <a:pt x="390" y="570"/>
                  </a:lnTo>
                  <a:lnTo>
                    <a:pt x="380" y="558"/>
                  </a:lnTo>
                  <a:lnTo>
                    <a:pt x="370" y="542"/>
                  </a:lnTo>
                  <a:lnTo>
                    <a:pt x="366" y="526"/>
                  </a:lnTo>
                  <a:lnTo>
                    <a:pt x="364" y="510"/>
                  </a:lnTo>
                  <a:lnTo>
                    <a:pt x="364" y="510"/>
                  </a:lnTo>
                  <a:lnTo>
                    <a:pt x="366" y="492"/>
                  </a:lnTo>
                  <a:lnTo>
                    <a:pt x="370" y="476"/>
                  </a:lnTo>
                  <a:lnTo>
                    <a:pt x="380" y="462"/>
                  </a:lnTo>
                  <a:lnTo>
                    <a:pt x="390" y="450"/>
                  </a:lnTo>
                  <a:lnTo>
                    <a:pt x="404" y="440"/>
                  </a:lnTo>
                  <a:lnTo>
                    <a:pt x="418" y="432"/>
                  </a:lnTo>
                  <a:lnTo>
                    <a:pt x="434" y="426"/>
                  </a:lnTo>
                  <a:lnTo>
                    <a:pt x="452" y="426"/>
                  </a:lnTo>
                  <a:lnTo>
                    <a:pt x="452" y="426"/>
                  </a:lnTo>
                  <a:close/>
                </a:path>
              </a:pathLst>
            </a:custGeom>
            <a:solidFill>
              <a:srgbClr val="FF5805"/>
            </a:solidFill>
            <a:ln w="1905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da-DK" sz="2200" kern="0">
                <a:solidFill>
                  <a:prstClr val="black">
                    <a:lumMod val="95000"/>
                    <a:lumOff val="5000"/>
                  </a:prstClr>
                </a:solidFill>
                <a:latin typeface="华文楷体" panose="02010600040101010101" charset="-122"/>
                <a:ea typeface="华文楷体" panose="02010600040101010101" charset="-122"/>
                <a:cs typeface="Arial" panose="020B0604020202020204" pitchFamily="34" charset="0"/>
              </a:endParaRPr>
            </a:p>
          </p:txBody>
        </p:sp>
        <p:sp>
          <p:nvSpPr>
            <p:cNvPr id="14" name="Freeform 19"/>
            <p:cNvSpPr/>
            <p:nvPr/>
          </p:nvSpPr>
          <p:spPr bwMode="auto">
            <a:xfrm rot="16200000" flipH="1">
              <a:off x="5891643" y="3563067"/>
              <a:ext cx="1618197" cy="2199912"/>
            </a:xfrm>
            <a:custGeom>
              <a:avLst/>
              <a:gdLst/>
              <a:ahLst/>
              <a:cxnLst>
                <a:cxn ang="0">
                  <a:pos x="346" y="216"/>
                </a:cxn>
                <a:cxn ang="0">
                  <a:pos x="342" y="208"/>
                </a:cxn>
                <a:cxn ang="0">
                  <a:pos x="342" y="158"/>
                </a:cxn>
                <a:cxn ang="0">
                  <a:pos x="352" y="146"/>
                </a:cxn>
                <a:cxn ang="0">
                  <a:pos x="378" y="108"/>
                </a:cxn>
                <a:cxn ang="0">
                  <a:pos x="384" y="84"/>
                </a:cxn>
                <a:cxn ang="0">
                  <a:pos x="370" y="38"/>
                </a:cxn>
                <a:cxn ang="0">
                  <a:pos x="334" y="6"/>
                </a:cxn>
                <a:cxn ang="0">
                  <a:pos x="300" y="0"/>
                </a:cxn>
                <a:cxn ang="0">
                  <a:pos x="252" y="14"/>
                </a:cxn>
                <a:cxn ang="0">
                  <a:pos x="222" y="52"/>
                </a:cxn>
                <a:cxn ang="0">
                  <a:pos x="216" y="84"/>
                </a:cxn>
                <a:cxn ang="0">
                  <a:pos x="228" y="120"/>
                </a:cxn>
                <a:cxn ang="0">
                  <a:pos x="254" y="152"/>
                </a:cxn>
                <a:cxn ang="0">
                  <a:pos x="260" y="166"/>
                </a:cxn>
                <a:cxn ang="0">
                  <a:pos x="258" y="214"/>
                </a:cxn>
                <a:cxn ang="0">
                  <a:pos x="256" y="216"/>
                </a:cxn>
                <a:cxn ang="0">
                  <a:pos x="8" y="216"/>
                </a:cxn>
                <a:cxn ang="0">
                  <a:pos x="2" y="220"/>
                </a:cxn>
                <a:cxn ang="0">
                  <a:pos x="0" y="464"/>
                </a:cxn>
                <a:cxn ang="0">
                  <a:pos x="6" y="472"/>
                </a:cxn>
                <a:cxn ang="0">
                  <a:pos x="58" y="472"/>
                </a:cxn>
                <a:cxn ang="0">
                  <a:pos x="72" y="468"/>
                </a:cxn>
                <a:cxn ang="0">
                  <a:pos x="106" y="442"/>
                </a:cxn>
                <a:cxn ang="0">
                  <a:pos x="142" y="430"/>
                </a:cxn>
                <a:cxn ang="0">
                  <a:pos x="178" y="436"/>
                </a:cxn>
                <a:cxn ang="0">
                  <a:pos x="216" y="466"/>
                </a:cxn>
                <a:cxn ang="0">
                  <a:pos x="232" y="514"/>
                </a:cxn>
                <a:cxn ang="0">
                  <a:pos x="224" y="546"/>
                </a:cxn>
                <a:cxn ang="0">
                  <a:pos x="192" y="584"/>
                </a:cxn>
                <a:cxn ang="0">
                  <a:pos x="142" y="598"/>
                </a:cxn>
                <a:cxn ang="0">
                  <a:pos x="118" y="592"/>
                </a:cxn>
                <a:cxn ang="0">
                  <a:pos x="78" y="566"/>
                </a:cxn>
                <a:cxn ang="0">
                  <a:pos x="64" y="556"/>
                </a:cxn>
                <a:cxn ang="0">
                  <a:pos x="8" y="554"/>
                </a:cxn>
                <a:cxn ang="0">
                  <a:pos x="2" y="560"/>
                </a:cxn>
                <a:cxn ang="0">
                  <a:pos x="0" y="802"/>
                </a:cxn>
                <a:cxn ang="0">
                  <a:pos x="6" y="810"/>
                </a:cxn>
                <a:cxn ang="0">
                  <a:pos x="588" y="810"/>
                </a:cxn>
                <a:cxn ang="0">
                  <a:pos x="594" y="806"/>
                </a:cxn>
                <a:cxn ang="0">
                  <a:pos x="596" y="224"/>
                </a:cxn>
                <a:cxn ang="0">
                  <a:pos x="590" y="216"/>
                </a:cxn>
              </a:cxnLst>
              <a:rect l="0" t="0" r="r" b="b"/>
              <a:pathLst>
                <a:path w="596" h="810">
                  <a:moveTo>
                    <a:pt x="350" y="216"/>
                  </a:moveTo>
                  <a:lnTo>
                    <a:pt x="350" y="216"/>
                  </a:lnTo>
                  <a:lnTo>
                    <a:pt x="346" y="216"/>
                  </a:lnTo>
                  <a:lnTo>
                    <a:pt x="344" y="214"/>
                  </a:lnTo>
                  <a:lnTo>
                    <a:pt x="342" y="210"/>
                  </a:lnTo>
                  <a:lnTo>
                    <a:pt x="342" y="208"/>
                  </a:lnTo>
                  <a:lnTo>
                    <a:pt x="342" y="166"/>
                  </a:lnTo>
                  <a:lnTo>
                    <a:pt x="342" y="166"/>
                  </a:lnTo>
                  <a:lnTo>
                    <a:pt x="342" y="158"/>
                  </a:lnTo>
                  <a:lnTo>
                    <a:pt x="348" y="152"/>
                  </a:lnTo>
                  <a:lnTo>
                    <a:pt x="348" y="152"/>
                  </a:lnTo>
                  <a:lnTo>
                    <a:pt x="352" y="146"/>
                  </a:lnTo>
                  <a:lnTo>
                    <a:pt x="366" y="130"/>
                  </a:lnTo>
                  <a:lnTo>
                    <a:pt x="372" y="120"/>
                  </a:lnTo>
                  <a:lnTo>
                    <a:pt x="378" y="108"/>
                  </a:lnTo>
                  <a:lnTo>
                    <a:pt x="384" y="96"/>
                  </a:lnTo>
                  <a:lnTo>
                    <a:pt x="384" y="84"/>
                  </a:lnTo>
                  <a:lnTo>
                    <a:pt x="384" y="84"/>
                  </a:lnTo>
                  <a:lnTo>
                    <a:pt x="384" y="68"/>
                  </a:lnTo>
                  <a:lnTo>
                    <a:pt x="378" y="52"/>
                  </a:lnTo>
                  <a:lnTo>
                    <a:pt x="370" y="38"/>
                  </a:lnTo>
                  <a:lnTo>
                    <a:pt x="360" y="24"/>
                  </a:lnTo>
                  <a:lnTo>
                    <a:pt x="348" y="14"/>
                  </a:lnTo>
                  <a:lnTo>
                    <a:pt x="334" y="6"/>
                  </a:lnTo>
                  <a:lnTo>
                    <a:pt x="318" y="2"/>
                  </a:lnTo>
                  <a:lnTo>
                    <a:pt x="300" y="0"/>
                  </a:lnTo>
                  <a:lnTo>
                    <a:pt x="300" y="0"/>
                  </a:lnTo>
                  <a:lnTo>
                    <a:pt x="284" y="2"/>
                  </a:lnTo>
                  <a:lnTo>
                    <a:pt x="268" y="6"/>
                  </a:lnTo>
                  <a:lnTo>
                    <a:pt x="252" y="14"/>
                  </a:lnTo>
                  <a:lnTo>
                    <a:pt x="240" y="24"/>
                  </a:lnTo>
                  <a:lnTo>
                    <a:pt x="230" y="38"/>
                  </a:lnTo>
                  <a:lnTo>
                    <a:pt x="222" y="52"/>
                  </a:lnTo>
                  <a:lnTo>
                    <a:pt x="218" y="68"/>
                  </a:lnTo>
                  <a:lnTo>
                    <a:pt x="216" y="84"/>
                  </a:lnTo>
                  <a:lnTo>
                    <a:pt x="216" y="84"/>
                  </a:lnTo>
                  <a:lnTo>
                    <a:pt x="218" y="96"/>
                  </a:lnTo>
                  <a:lnTo>
                    <a:pt x="222" y="108"/>
                  </a:lnTo>
                  <a:lnTo>
                    <a:pt x="228" y="120"/>
                  </a:lnTo>
                  <a:lnTo>
                    <a:pt x="234" y="130"/>
                  </a:lnTo>
                  <a:lnTo>
                    <a:pt x="248" y="146"/>
                  </a:lnTo>
                  <a:lnTo>
                    <a:pt x="254" y="152"/>
                  </a:lnTo>
                  <a:lnTo>
                    <a:pt x="254" y="152"/>
                  </a:lnTo>
                  <a:lnTo>
                    <a:pt x="258" y="158"/>
                  </a:lnTo>
                  <a:lnTo>
                    <a:pt x="260" y="166"/>
                  </a:lnTo>
                  <a:lnTo>
                    <a:pt x="260" y="206"/>
                  </a:lnTo>
                  <a:lnTo>
                    <a:pt x="260" y="206"/>
                  </a:lnTo>
                  <a:lnTo>
                    <a:pt x="258" y="214"/>
                  </a:lnTo>
                  <a:lnTo>
                    <a:pt x="258" y="214"/>
                  </a:lnTo>
                  <a:lnTo>
                    <a:pt x="256" y="216"/>
                  </a:lnTo>
                  <a:lnTo>
                    <a:pt x="256" y="216"/>
                  </a:lnTo>
                  <a:lnTo>
                    <a:pt x="248" y="216"/>
                  </a:lnTo>
                  <a:lnTo>
                    <a:pt x="8" y="216"/>
                  </a:lnTo>
                  <a:lnTo>
                    <a:pt x="8" y="216"/>
                  </a:lnTo>
                  <a:lnTo>
                    <a:pt x="6" y="216"/>
                  </a:lnTo>
                  <a:lnTo>
                    <a:pt x="4" y="218"/>
                  </a:lnTo>
                  <a:lnTo>
                    <a:pt x="2" y="220"/>
                  </a:lnTo>
                  <a:lnTo>
                    <a:pt x="0" y="224"/>
                  </a:lnTo>
                  <a:lnTo>
                    <a:pt x="0" y="464"/>
                  </a:lnTo>
                  <a:lnTo>
                    <a:pt x="0" y="464"/>
                  </a:lnTo>
                  <a:lnTo>
                    <a:pt x="2" y="468"/>
                  </a:lnTo>
                  <a:lnTo>
                    <a:pt x="4" y="470"/>
                  </a:lnTo>
                  <a:lnTo>
                    <a:pt x="6" y="472"/>
                  </a:lnTo>
                  <a:lnTo>
                    <a:pt x="8" y="472"/>
                  </a:lnTo>
                  <a:lnTo>
                    <a:pt x="58" y="472"/>
                  </a:lnTo>
                  <a:lnTo>
                    <a:pt x="58" y="472"/>
                  </a:lnTo>
                  <a:lnTo>
                    <a:pt x="64" y="472"/>
                  </a:lnTo>
                  <a:lnTo>
                    <a:pt x="72" y="468"/>
                  </a:lnTo>
                  <a:lnTo>
                    <a:pt x="72" y="468"/>
                  </a:lnTo>
                  <a:lnTo>
                    <a:pt x="78" y="462"/>
                  </a:lnTo>
                  <a:lnTo>
                    <a:pt x="94" y="448"/>
                  </a:lnTo>
                  <a:lnTo>
                    <a:pt x="106" y="442"/>
                  </a:lnTo>
                  <a:lnTo>
                    <a:pt x="118" y="436"/>
                  </a:lnTo>
                  <a:lnTo>
                    <a:pt x="130" y="430"/>
                  </a:lnTo>
                  <a:lnTo>
                    <a:pt x="142" y="430"/>
                  </a:lnTo>
                  <a:lnTo>
                    <a:pt x="142" y="430"/>
                  </a:lnTo>
                  <a:lnTo>
                    <a:pt x="160" y="430"/>
                  </a:lnTo>
                  <a:lnTo>
                    <a:pt x="178" y="436"/>
                  </a:lnTo>
                  <a:lnTo>
                    <a:pt x="192" y="444"/>
                  </a:lnTo>
                  <a:lnTo>
                    <a:pt x="206" y="454"/>
                  </a:lnTo>
                  <a:lnTo>
                    <a:pt x="216" y="466"/>
                  </a:lnTo>
                  <a:lnTo>
                    <a:pt x="224" y="480"/>
                  </a:lnTo>
                  <a:lnTo>
                    <a:pt x="230" y="496"/>
                  </a:lnTo>
                  <a:lnTo>
                    <a:pt x="232" y="514"/>
                  </a:lnTo>
                  <a:lnTo>
                    <a:pt x="232" y="514"/>
                  </a:lnTo>
                  <a:lnTo>
                    <a:pt x="230" y="530"/>
                  </a:lnTo>
                  <a:lnTo>
                    <a:pt x="224" y="546"/>
                  </a:lnTo>
                  <a:lnTo>
                    <a:pt x="216" y="562"/>
                  </a:lnTo>
                  <a:lnTo>
                    <a:pt x="206" y="574"/>
                  </a:lnTo>
                  <a:lnTo>
                    <a:pt x="192" y="584"/>
                  </a:lnTo>
                  <a:lnTo>
                    <a:pt x="178" y="592"/>
                  </a:lnTo>
                  <a:lnTo>
                    <a:pt x="160" y="596"/>
                  </a:lnTo>
                  <a:lnTo>
                    <a:pt x="142" y="598"/>
                  </a:lnTo>
                  <a:lnTo>
                    <a:pt x="142" y="598"/>
                  </a:lnTo>
                  <a:lnTo>
                    <a:pt x="130" y="596"/>
                  </a:lnTo>
                  <a:lnTo>
                    <a:pt x="118" y="592"/>
                  </a:lnTo>
                  <a:lnTo>
                    <a:pt x="106" y="586"/>
                  </a:lnTo>
                  <a:lnTo>
                    <a:pt x="94" y="580"/>
                  </a:lnTo>
                  <a:lnTo>
                    <a:pt x="78" y="566"/>
                  </a:lnTo>
                  <a:lnTo>
                    <a:pt x="72" y="560"/>
                  </a:lnTo>
                  <a:lnTo>
                    <a:pt x="72" y="560"/>
                  </a:lnTo>
                  <a:lnTo>
                    <a:pt x="64" y="556"/>
                  </a:lnTo>
                  <a:lnTo>
                    <a:pt x="58" y="554"/>
                  </a:lnTo>
                  <a:lnTo>
                    <a:pt x="8" y="554"/>
                  </a:lnTo>
                  <a:lnTo>
                    <a:pt x="8" y="554"/>
                  </a:lnTo>
                  <a:lnTo>
                    <a:pt x="6" y="556"/>
                  </a:lnTo>
                  <a:lnTo>
                    <a:pt x="4" y="558"/>
                  </a:lnTo>
                  <a:lnTo>
                    <a:pt x="2" y="560"/>
                  </a:lnTo>
                  <a:lnTo>
                    <a:pt x="0" y="562"/>
                  </a:lnTo>
                  <a:lnTo>
                    <a:pt x="0" y="802"/>
                  </a:lnTo>
                  <a:lnTo>
                    <a:pt x="0" y="802"/>
                  </a:lnTo>
                  <a:lnTo>
                    <a:pt x="2" y="806"/>
                  </a:lnTo>
                  <a:lnTo>
                    <a:pt x="4" y="808"/>
                  </a:lnTo>
                  <a:lnTo>
                    <a:pt x="6" y="810"/>
                  </a:lnTo>
                  <a:lnTo>
                    <a:pt x="8" y="810"/>
                  </a:lnTo>
                  <a:lnTo>
                    <a:pt x="588" y="810"/>
                  </a:lnTo>
                  <a:lnTo>
                    <a:pt x="588" y="810"/>
                  </a:lnTo>
                  <a:lnTo>
                    <a:pt x="590" y="810"/>
                  </a:lnTo>
                  <a:lnTo>
                    <a:pt x="592" y="808"/>
                  </a:lnTo>
                  <a:lnTo>
                    <a:pt x="594" y="806"/>
                  </a:lnTo>
                  <a:lnTo>
                    <a:pt x="596" y="802"/>
                  </a:lnTo>
                  <a:lnTo>
                    <a:pt x="596" y="224"/>
                  </a:lnTo>
                  <a:lnTo>
                    <a:pt x="596" y="224"/>
                  </a:lnTo>
                  <a:lnTo>
                    <a:pt x="594" y="220"/>
                  </a:lnTo>
                  <a:lnTo>
                    <a:pt x="592" y="218"/>
                  </a:lnTo>
                  <a:lnTo>
                    <a:pt x="590" y="216"/>
                  </a:lnTo>
                  <a:lnTo>
                    <a:pt x="588" y="216"/>
                  </a:lnTo>
                  <a:lnTo>
                    <a:pt x="350" y="216"/>
                  </a:lnTo>
                  <a:close/>
                </a:path>
              </a:pathLst>
            </a:custGeom>
            <a:solidFill>
              <a:srgbClr val="FF5805"/>
            </a:solidFill>
            <a:ln w="317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da-DK" sz="2200" kern="0">
                <a:solidFill>
                  <a:sysClr val="windowText" lastClr="000000">
                    <a:lumMod val="95000"/>
                    <a:lumOff val="5000"/>
                  </a:sysClr>
                </a:solidFill>
                <a:latin typeface="华文楷体" panose="02010600040101010101" charset="-122"/>
                <a:ea typeface="华文楷体" panose="02010600040101010101" charset="-122"/>
                <a:cs typeface="Arial" panose="020B0604020202020204" pitchFamily="34" charset="0"/>
              </a:endParaRPr>
            </a:p>
          </p:txBody>
        </p:sp>
        <p:sp>
          <p:nvSpPr>
            <p:cNvPr id="15" name="Freeform 24"/>
            <p:cNvSpPr/>
            <p:nvPr/>
          </p:nvSpPr>
          <p:spPr bwMode="auto">
            <a:xfrm rot="10800000">
              <a:off x="6188931" y="1613490"/>
              <a:ext cx="1611767" cy="2188662"/>
            </a:xfrm>
            <a:custGeom>
              <a:avLst/>
              <a:gdLst/>
              <a:ahLst/>
              <a:cxnLst>
                <a:cxn ang="0">
                  <a:pos x="452" y="426"/>
                </a:cxn>
                <a:cxn ang="0">
                  <a:pos x="478" y="432"/>
                </a:cxn>
                <a:cxn ang="0">
                  <a:pos x="500" y="444"/>
                </a:cxn>
                <a:cxn ang="0">
                  <a:pos x="524" y="464"/>
                </a:cxn>
                <a:cxn ang="0">
                  <a:pos x="530" y="468"/>
                </a:cxn>
                <a:cxn ang="0">
                  <a:pos x="586" y="468"/>
                </a:cxn>
                <a:cxn ang="0">
                  <a:pos x="590" y="468"/>
                </a:cxn>
                <a:cxn ang="0">
                  <a:pos x="594" y="464"/>
                </a:cxn>
                <a:cxn ang="0">
                  <a:pos x="594" y="220"/>
                </a:cxn>
                <a:cxn ang="0">
                  <a:pos x="594" y="216"/>
                </a:cxn>
                <a:cxn ang="0">
                  <a:pos x="590" y="212"/>
                </a:cxn>
                <a:cxn ang="0">
                  <a:pos x="346" y="212"/>
                </a:cxn>
                <a:cxn ang="0">
                  <a:pos x="338" y="212"/>
                </a:cxn>
                <a:cxn ang="0">
                  <a:pos x="338" y="202"/>
                </a:cxn>
                <a:cxn ang="0">
                  <a:pos x="338" y="166"/>
                </a:cxn>
                <a:cxn ang="0">
                  <a:pos x="344" y="152"/>
                </a:cxn>
                <a:cxn ang="0">
                  <a:pos x="350" y="146"/>
                </a:cxn>
                <a:cxn ang="0">
                  <a:pos x="370" y="120"/>
                </a:cxn>
                <a:cxn ang="0">
                  <a:pos x="380" y="96"/>
                </a:cxn>
                <a:cxn ang="0">
                  <a:pos x="382" y="84"/>
                </a:cxn>
                <a:cxn ang="0">
                  <a:pos x="376" y="50"/>
                </a:cxn>
                <a:cxn ang="0">
                  <a:pos x="358" y="24"/>
                </a:cxn>
                <a:cxn ang="0">
                  <a:pos x="330" y="6"/>
                </a:cxn>
                <a:cxn ang="0">
                  <a:pos x="298" y="0"/>
                </a:cxn>
                <a:cxn ang="0">
                  <a:pos x="280" y="0"/>
                </a:cxn>
                <a:cxn ang="0">
                  <a:pos x="250" y="14"/>
                </a:cxn>
                <a:cxn ang="0">
                  <a:pos x="228" y="36"/>
                </a:cxn>
                <a:cxn ang="0">
                  <a:pos x="214" y="66"/>
                </a:cxn>
                <a:cxn ang="0">
                  <a:pos x="212" y="84"/>
                </a:cxn>
                <a:cxn ang="0">
                  <a:pos x="218" y="108"/>
                </a:cxn>
                <a:cxn ang="0">
                  <a:pos x="232" y="130"/>
                </a:cxn>
                <a:cxn ang="0">
                  <a:pos x="250" y="152"/>
                </a:cxn>
                <a:cxn ang="0">
                  <a:pos x="254" y="158"/>
                </a:cxn>
                <a:cxn ang="0">
                  <a:pos x="256" y="202"/>
                </a:cxn>
                <a:cxn ang="0">
                  <a:pos x="256" y="212"/>
                </a:cxn>
                <a:cxn ang="0">
                  <a:pos x="248" y="212"/>
                </a:cxn>
                <a:cxn ang="0">
                  <a:pos x="8" y="212"/>
                </a:cxn>
                <a:cxn ang="0">
                  <a:pos x="2" y="214"/>
                </a:cxn>
                <a:cxn ang="0">
                  <a:pos x="0" y="220"/>
                </a:cxn>
                <a:cxn ang="0">
                  <a:pos x="0" y="798"/>
                </a:cxn>
                <a:cxn ang="0">
                  <a:pos x="2" y="804"/>
                </a:cxn>
                <a:cxn ang="0">
                  <a:pos x="8" y="806"/>
                </a:cxn>
                <a:cxn ang="0">
                  <a:pos x="586" y="806"/>
                </a:cxn>
                <a:cxn ang="0">
                  <a:pos x="592" y="804"/>
                </a:cxn>
                <a:cxn ang="0">
                  <a:pos x="594" y="798"/>
                </a:cxn>
                <a:cxn ang="0">
                  <a:pos x="594" y="558"/>
                </a:cxn>
                <a:cxn ang="0">
                  <a:pos x="592" y="554"/>
                </a:cxn>
                <a:cxn ang="0">
                  <a:pos x="586" y="550"/>
                </a:cxn>
                <a:cxn ang="0">
                  <a:pos x="538" y="550"/>
                </a:cxn>
                <a:cxn ang="0">
                  <a:pos x="524" y="556"/>
                </a:cxn>
                <a:cxn ang="0">
                  <a:pos x="518" y="562"/>
                </a:cxn>
                <a:cxn ang="0">
                  <a:pos x="490" y="582"/>
                </a:cxn>
                <a:cxn ang="0">
                  <a:pos x="466" y="592"/>
                </a:cxn>
                <a:cxn ang="0">
                  <a:pos x="452" y="594"/>
                </a:cxn>
                <a:cxn ang="0">
                  <a:pos x="418" y="588"/>
                </a:cxn>
                <a:cxn ang="0">
                  <a:pos x="390" y="570"/>
                </a:cxn>
                <a:cxn ang="0">
                  <a:pos x="370" y="542"/>
                </a:cxn>
                <a:cxn ang="0">
                  <a:pos x="364" y="510"/>
                </a:cxn>
                <a:cxn ang="0">
                  <a:pos x="366" y="492"/>
                </a:cxn>
                <a:cxn ang="0">
                  <a:pos x="380" y="462"/>
                </a:cxn>
                <a:cxn ang="0">
                  <a:pos x="404" y="440"/>
                </a:cxn>
                <a:cxn ang="0">
                  <a:pos x="434" y="426"/>
                </a:cxn>
                <a:cxn ang="0">
                  <a:pos x="452" y="426"/>
                </a:cxn>
              </a:cxnLst>
              <a:rect l="0" t="0" r="r" b="b"/>
              <a:pathLst>
                <a:path w="594" h="806">
                  <a:moveTo>
                    <a:pt x="452" y="426"/>
                  </a:moveTo>
                  <a:lnTo>
                    <a:pt x="452" y="426"/>
                  </a:lnTo>
                  <a:lnTo>
                    <a:pt x="466" y="426"/>
                  </a:lnTo>
                  <a:lnTo>
                    <a:pt x="478" y="432"/>
                  </a:lnTo>
                  <a:lnTo>
                    <a:pt x="490" y="438"/>
                  </a:lnTo>
                  <a:lnTo>
                    <a:pt x="500" y="444"/>
                  </a:lnTo>
                  <a:lnTo>
                    <a:pt x="518" y="458"/>
                  </a:lnTo>
                  <a:lnTo>
                    <a:pt x="524" y="464"/>
                  </a:lnTo>
                  <a:lnTo>
                    <a:pt x="524" y="464"/>
                  </a:lnTo>
                  <a:lnTo>
                    <a:pt x="530" y="468"/>
                  </a:lnTo>
                  <a:lnTo>
                    <a:pt x="538" y="468"/>
                  </a:lnTo>
                  <a:lnTo>
                    <a:pt x="586" y="468"/>
                  </a:lnTo>
                  <a:lnTo>
                    <a:pt x="586" y="468"/>
                  </a:lnTo>
                  <a:lnTo>
                    <a:pt x="590" y="468"/>
                  </a:lnTo>
                  <a:lnTo>
                    <a:pt x="592" y="466"/>
                  </a:lnTo>
                  <a:lnTo>
                    <a:pt x="594" y="464"/>
                  </a:lnTo>
                  <a:lnTo>
                    <a:pt x="594" y="460"/>
                  </a:lnTo>
                  <a:lnTo>
                    <a:pt x="594" y="220"/>
                  </a:lnTo>
                  <a:lnTo>
                    <a:pt x="594" y="220"/>
                  </a:lnTo>
                  <a:lnTo>
                    <a:pt x="594" y="216"/>
                  </a:lnTo>
                  <a:lnTo>
                    <a:pt x="592" y="214"/>
                  </a:lnTo>
                  <a:lnTo>
                    <a:pt x="590" y="212"/>
                  </a:lnTo>
                  <a:lnTo>
                    <a:pt x="586" y="212"/>
                  </a:lnTo>
                  <a:lnTo>
                    <a:pt x="346" y="212"/>
                  </a:lnTo>
                  <a:lnTo>
                    <a:pt x="346" y="212"/>
                  </a:lnTo>
                  <a:lnTo>
                    <a:pt x="338" y="212"/>
                  </a:lnTo>
                  <a:lnTo>
                    <a:pt x="338" y="212"/>
                  </a:lnTo>
                  <a:lnTo>
                    <a:pt x="338" y="202"/>
                  </a:lnTo>
                  <a:lnTo>
                    <a:pt x="338" y="166"/>
                  </a:lnTo>
                  <a:lnTo>
                    <a:pt x="338" y="166"/>
                  </a:lnTo>
                  <a:lnTo>
                    <a:pt x="340" y="158"/>
                  </a:lnTo>
                  <a:lnTo>
                    <a:pt x="344" y="152"/>
                  </a:lnTo>
                  <a:lnTo>
                    <a:pt x="344" y="152"/>
                  </a:lnTo>
                  <a:lnTo>
                    <a:pt x="350" y="146"/>
                  </a:lnTo>
                  <a:lnTo>
                    <a:pt x="364" y="130"/>
                  </a:lnTo>
                  <a:lnTo>
                    <a:pt x="370" y="120"/>
                  </a:lnTo>
                  <a:lnTo>
                    <a:pt x="376" y="108"/>
                  </a:lnTo>
                  <a:lnTo>
                    <a:pt x="380" y="96"/>
                  </a:lnTo>
                  <a:lnTo>
                    <a:pt x="382" y="84"/>
                  </a:lnTo>
                  <a:lnTo>
                    <a:pt x="382" y="84"/>
                  </a:lnTo>
                  <a:lnTo>
                    <a:pt x="380" y="66"/>
                  </a:lnTo>
                  <a:lnTo>
                    <a:pt x="376" y="50"/>
                  </a:lnTo>
                  <a:lnTo>
                    <a:pt x="368" y="36"/>
                  </a:lnTo>
                  <a:lnTo>
                    <a:pt x="358" y="24"/>
                  </a:lnTo>
                  <a:lnTo>
                    <a:pt x="344" y="14"/>
                  </a:lnTo>
                  <a:lnTo>
                    <a:pt x="330" y="6"/>
                  </a:lnTo>
                  <a:lnTo>
                    <a:pt x="314" y="0"/>
                  </a:lnTo>
                  <a:lnTo>
                    <a:pt x="298" y="0"/>
                  </a:lnTo>
                  <a:lnTo>
                    <a:pt x="298" y="0"/>
                  </a:lnTo>
                  <a:lnTo>
                    <a:pt x="280" y="0"/>
                  </a:lnTo>
                  <a:lnTo>
                    <a:pt x="264" y="6"/>
                  </a:lnTo>
                  <a:lnTo>
                    <a:pt x="250" y="14"/>
                  </a:lnTo>
                  <a:lnTo>
                    <a:pt x="238" y="24"/>
                  </a:lnTo>
                  <a:lnTo>
                    <a:pt x="228" y="36"/>
                  </a:lnTo>
                  <a:lnTo>
                    <a:pt x="220" y="50"/>
                  </a:lnTo>
                  <a:lnTo>
                    <a:pt x="214" y="66"/>
                  </a:lnTo>
                  <a:lnTo>
                    <a:pt x="212" y="84"/>
                  </a:lnTo>
                  <a:lnTo>
                    <a:pt x="212" y="84"/>
                  </a:lnTo>
                  <a:lnTo>
                    <a:pt x="214" y="96"/>
                  </a:lnTo>
                  <a:lnTo>
                    <a:pt x="218" y="108"/>
                  </a:lnTo>
                  <a:lnTo>
                    <a:pt x="224" y="120"/>
                  </a:lnTo>
                  <a:lnTo>
                    <a:pt x="232" y="130"/>
                  </a:lnTo>
                  <a:lnTo>
                    <a:pt x="244" y="146"/>
                  </a:lnTo>
                  <a:lnTo>
                    <a:pt x="250" y="152"/>
                  </a:lnTo>
                  <a:lnTo>
                    <a:pt x="250" y="152"/>
                  </a:lnTo>
                  <a:lnTo>
                    <a:pt x="254" y="158"/>
                  </a:lnTo>
                  <a:lnTo>
                    <a:pt x="256" y="166"/>
                  </a:lnTo>
                  <a:lnTo>
                    <a:pt x="256" y="202"/>
                  </a:lnTo>
                  <a:lnTo>
                    <a:pt x="256" y="202"/>
                  </a:lnTo>
                  <a:lnTo>
                    <a:pt x="256" y="212"/>
                  </a:lnTo>
                  <a:lnTo>
                    <a:pt x="256" y="212"/>
                  </a:lnTo>
                  <a:lnTo>
                    <a:pt x="248" y="212"/>
                  </a:lnTo>
                  <a:lnTo>
                    <a:pt x="8" y="212"/>
                  </a:lnTo>
                  <a:lnTo>
                    <a:pt x="8" y="212"/>
                  </a:lnTo>
                  <a:lnTo>
                    <a:pt x="6" y="212"/>
                  </a:lnTo>
                  <a:lnTo>
                    <a:pt x="2" y="214"/>
                  </a:lnTo>
                  <a:lnTo>
                    <a:pt x="0" y="216"/>
                  </a:lnTo>
                  <a:lnTo>
                    <a:pt x="0" y="220"/>
                  </a:lnTo>
                  <a:lnTo>
                    <a:pt x="0" y="798"/>
                  </a:lnTo>
                  <a:lnTo>
                    <a:pt x="0" y="798"/>
                  </a:lnTo>
                  <a:lnTo>
                    <a:pt x="0" y="802"/>
                  </a:lnTo>
                  <a:lnTo>
                    <a:pt x="2" y="804"/>
                  </a:lnTo>
                  <a:lnTo>
                    <a:pt x="6" y="806"/>
                  </a:lnTo>
                  <a:lnTo>
                    <a:pt x="8" y="806"/>
                  </a:lnTo>
                  <a:lnTo>
                    <a:pt x="586" y="806"/>
                  </a:lnTo>
                  <a:lnTo>
                    <a:pt x="586" y="806"/>
                  </a:lnTo>
                  <a:lnTo>
                    <a:pt x="590" y="806"/>
                  </a:lnTo>
                  <a:lnTo>
                    <a:pt x="592" y="804"/>
                  </a:lnTo>
                  <a:lnTo>
                    <a:pt x="594" y="802"/>
                  </a:lnTo>
                  <a:lnTo>
                    <a:pt x="594" y="798"/>
                  </a:lnTo>
                  <a:lnTo>
                    <a:pt x="594" y="558"/>
                  </a:lnTo>
                  <a:lnTo>
                    <a:pt x="594" y="558"/>
                  </a:lnTo>
                  <a:lnTo>
                    <a:pt x="594" y="556"/>
                  </a:lnTo>
                  <a:lnTo>
                    <a:pt x="592" y="554"/>
                  </a:lnTo>
                  <a:lnTo>
                    <a:pt x="590" y="552"/>
                  </a:lnTo>
                  <a:lnTo>
                    <a:pt x="586" y="550"/>
                  </a:lnTo>
                  <a:lnTo>
                    <a:pt x="538" y="550"/>
                  </a:lnTo>
                  <a:lnTo>
                    <a:pt x="538" y="550"/>
                  </a:lnTo>
                  <a:lnTo>
                    <a:pt x="530" y="552"/>
                  </a:lnTo>
                  <a:lnTo>
                    <a:pt x="524" y="556"/>
                  </a:lnTo>
                  <a:lnTo>
                    <a:pt x="524" y="556"/>
                  </a:lnTo>
                  <a:lnTo>
                    <a:pt x="518" y="562"/>
                  </a:lnTo>
                  <a:lnTo>
                    <a:pt x="500" y="576"/>
                  </a:lnTo>
                  <a:lnTo>
                    <a:pt x="490" y="582"/>
                  </a:lnTo>
                  <a:lnTo>
                    <a:pt x="478" y="588"/>
                  </a:lnTo>
                  <a:lnTo>
                    <a:pt x="466" y="592"/>
                  </a:lnTo>
                  <a:lnTo>
                    <a:pt x="452" y="594"/>
                  </a:lnTo>
                  <a:lnTo>
                    <a:pt x="452" y="594"/>
                  </a:lnTo>
                  <a:lnTo>
                    <a:pt x="434" y="592"/>
                  </a:lnTo>
                  <a:lnTo>
                    <a:pt x="418" y="588"/>
                  </a:lnTo>
                  <a:lnTo>
                    <a:pt x="404" y="580"/>
                  </a:lnTo>
                  <a:lnTo>
                    <a:pt x="390" y="570"/>
                  </a:lnTo>
                  <a:lnTo>
                    <a:pt x="380" y="558"/>
                  </a:lnTo>
                  <a:lnTo>
                    <a:pt x="370" y="542"/>
                  </a:lnTo>
                  <a:lnTo>
                    <a:pt x="366" y="526"/>
                  </a:lnTo>
                  <a:lnTo>
                    <a:pt x="364" y="510"/>
                  </a:lnTo>
                  <a:lnTo>
                    <a:pt x="364" y="510"/>
                  </a:lnTo>
                  <a:lnTo>
                    <a:pt x="366" y="492"/>
                  </a:lnTo>
                  <a:lnTo>
                    <a:pt x="370" y="476"/>
                  </a:lnTo>
                  <a:lnTo>
                    <a:pt x="380" y="462"/>
                  </a:lnTo>
                  <a:lnTo>
                    <a:pt x="390" y="450"/>
                  </a:lnTo>
                  <a:lnTo>
                    <a:pt x="404" y="440"/>
                  </a:lnTo>
                  <a:lnTo>
                    <a:pt x="418" y="432"/>
                  </a:lnTo>
                  <a:lnTo>
                    <a:pt x="434" y="426"/>
                  </a:lnTo>
                  <a:lnTo>
                    <a:pt x="452" y="426"/>
                  </a:lnTo>
                  <a:lnTo>
                    <a:pt x="452" y="426"/>
                  </a:lnTo>
                  <a:close/>
                </a:path>
              </a:pathLst>
            </a:custGeom>
            <a:solidFill>
              <a:srgbClr val="FF5805"/>
            </a:solidFill>
            <a:ln w="317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da-DK" sz="2200" kern="0">
                <a:solidFill>
                  <a:sysClr val="windowText" lastClr="000000">
                    <a:lumMod val="95000"/>
                    <a:lumOff val="5000"/>
                  </a:sysClr>
                </a:solidFill>
                <a:latin typeface="华文楷体" panose="02010600040101010101" charset="-122"/>
                <a:ea typeface="华文楷体" panose="02010600040101010101" charset="-122"/>
                <a:cs typeface="Arial" panose="020B0604020202020204" pitchFamily="34" charset="0"/>
              </a:endParaRPr>
            </a:p>
          </p:txBody>
        </p:sp>
        <p:sp>
          <p:nvSpPr>
            <p:cNvPr id="16" name="Tekstboks 8"/>
            <p:cNvSpPr txBox="1"/>
            <p:nvPr/>
          </p:nvSpPr>
          <p:spPr>
            <a:xfrm>
              <a:off x="4309032" y="4607382"/>
              <a:ext cx="380105" cy="368587"/>
            </a:xfrm>
            <a:prstGeom prst="rect">
              <a:avLst/>
            </a:prstGeom>
            <a:noFill/>
            <a:effectLst>
              <a:outerShdw blurRad="50800" dist="38100" dir="2700000" algn="tl" rotWithShape="0">
                <a:prstClr val="black">
                  <a:alpha val="40000"/>
                </a:prstClr>
              </a:outerShdw>
            </a:effectLst>
          </p:spPr>
          <p:txBody>
            <a:bodyPr wrap="none">
              <a:spAutoFit/>
            </a:bodyPr>
            <a:lstStyle/>
            <a:p>
              <a:pPr algn="ctr">
                <a:defRPr/>
              </a:pPr>
              <a:r>
                <a:rPr lang="en-US" altLang="zh-CN" sz="2200" b="1" dirty="0" smtClean="0">
                  <a:solidFill>
                    <a:schemeClr val="bg1"/>
                  </a:solidFill>
                  <a:latin typeface="华文楷体" panose="02010600040101010101" charset="-122"/>
                  <a:ea typeface="华文楷体" panose="02010600040101010101" charset="-122"/>
                  <a:cs typeface="Arial" panose="020B0604020202020204" pitchFamily="34" charset="0"/>
                </a:rPr>
                <a:t>xx</a:t>
              </a:r>
              <a:endParaRPr lang="da-DK" sz="2200" b="1" dirty="0">
                <a:solidFill>
                  <a:schemeClr val="bg1"/>
                </a:solidFill>
                <a:latin typeface="华文楷体" panose="02010600040101010101" charset="-122"/>
                <a:ea typeface="华文楷体" panose="02010600040101010101" charset="-122"/>
                <a:cs typeface="Arial" panose="020B0604020202020204" pitchFamily="34" charset="0"/>
              </a:endParaRPr>
            </a:p>
          </p:txBody>
        </p:sp>
        <p:sp>
          <p:nvSpPr>
            <p:cNvPr id="17" name="Tekstboks 9"/>
            <p:cNvSpPr txBox="1">
              <a:spLocks noChangeArrowheads="1"/>
            </p:cNvSpPr>
            <p:nvPr/>
          </p:nvSpPr>
          <p:spPr bwMode="auto">
            <a:xfrm>
              <a:off x="6941081" y="4594999"/>
              <a:ext cx="380105" cy="368587"/>
            </a:xfrm>
            <a:prstGeom prst="rect">
              <a:avLst/>
            </a:prstGeom>
            <a:noFill/>
            <a:ln w="9525">
              <a:noFill/>
              <a:miter lim="800000"/>
            </a:ln>
            <a:effectLst>
              <a:outerShdw blurRad="50800" dist="38100" dir="2700000" algn="tl" rotWithShape="0">
                <a:prstClr val="black">
                  <a:alpha val="40000"/>
                </a:prstClr>
              </a:outerShdw>
            </a:effectLst>
          </p:spPr>
          <p:txBody>
            <a:bodyPr wrap="none">
              <a:spAutoFit/>
            </a:bodyPr>
            <a:lstStyle/>
            <a:p>
              <a:pPr algn="ctr" fontAlgn="base">
                <a:spcBef>
                  <a:spcPct val="0"/>
                </a:spcBef>
                <a:spcAft>
                  <a:spcPct val="0"/>
                </a:spcAft>
              </a:pPr>
              <a:r>
                <a:rPr lang="en-US" altLang="zh-CN" sz="2200" b="1" dirty="0" smtClean="0">
                  <a:solidFill>
                    <a:prstClr val="white"/>
                  </a:solidFill>
                  <a:latin typeface="华文楷体" panose="02010600040101010101" charset="-122"/>
                  <a:ea typeface="华文楷体" panose="02010600040101010101" charset="-122"/>
                  <a:cs typeface="Arial" panose="020B0604020202020204" pitchFamily="34" charset="0"/>
                </a:rPr>
                <a:t>xx</a:t>
              </a:r>
              <a:endParaRPr lang="da-DK" sz="2200" b="1" dirty="0" smtClean="0">
                <a:solidFill>
                  <a:prstClr val="white"/>
                </a:solidFill>
                <a:latin typeface="华文楷体" panose="02010600040101010101" charset="-122"/>
                <a:ea typeface="华文楷体" panose="02010600040101010101" charset="-122"/>
                <a:cs typeface="Arial" panose="020B0604020202020204" pitchFamily="34" charset="0"/>
              </a:endParaRPr>
            </a:p>
          </p:txBody>
        </p:sp>
        <p:sp>
          <p:nvSpPr>
            <p:cNvPr id="18" name="Tekstboks 10"/>
            <p:cNvSpPr txBox="1">
              <a:spLocks noChangeArrowheads="1"/>
            </p:cNvSpPr>
            <p:nvPr/>
          </p:nvSpPr>
          <p:spPr bwMode="auto">
            <a:xfrm>
              <a:off x="4583911" y="2090866"/>
              <a:ext cx="380105" cy="368587"/>
            </a:xfrm>
            <a:prstGeom prst="rect">
              <a:avLst/>
            </a:prstGeom>
            <a:noFill/>
            <a:ln w="9525">
              <a:noFill/>
              <a:miter lim="800000"/>
            </a:ln>
            <a:effectLst>
              <a:outerShdw blurRad="50800" dist="38100" dir="2700000" algn="tl" rotWithShape="0">
                <a:prstClr val="black">
                  <a:alpha val="40000"/>
                </a:prstClr>
              </a:outerShdw>
            </a:effectLst>
          </p:spPr>
          <p:txBody>
            <a:bodyPr wrap="none">
              <a:spAutoFit/>
            </a:bodyPr>
            <a:lstStyle/>
            <a:p>
              <a:pPr algn="ctr" fontAlgn="base">
                <a:spcBef>
                  <a:spcPct val="0"/>
                </a:spcBef>
                <a:spcAft>
                  <a:spcPct val="0"/>
                </a:spcAft>
              </a:pPr>
              <a:r>
                <a:rPr lang="en-US" altLang="zh-CN" sz="2200" b="1" dirty="0" smtClean="0">
                  <a:solidFill>
                    <a:prstClr val="white"/>
                  </a:solidFill>
                  <a:latin typeface="华文楷体" panose="02010600040101010101" charset="-122"/>
                  <a:ea typeface="华文楷体" panose="02010600040101010101" charset="-122"/>
                  <a:cs typeface="Arial" panose="020B0604020202020204" pitchFamily="34" charset="0"/>
                </a:rPr>
                <a:t>xx</a:t>
              </a:r>
              <a:endParaRPr lang="da-DK" sz="2200" b="1" dirty="0" smtClean="0">
                <a:solidFill>
                  <a:prstClr val="white"/>
                </a:solidFill>
                <a:latin typeface="华文楷体" panose="02010600040101010101" charset="-122"/>
                <a:ea typeface="华文楷体" panose="02010600040101010101" charset="-122"/>
                <a:cs typeface="Arial" panose="020B0604020202020204" pitchFamily="34" charset="0"/>
              </a:endParaRPr>
            </a:p>
          </p:txBody>
        </p:sp>
        <p:sp>
          <p:nvSpPr>
            <p:cNvPr id="19" name="Tekstboks 11"/>
            <p:cNvSpPr txBox="1">
              <a:spLocks noChangeArrowheads="1"/>
            </p:cNvSpPr>
            <p:nvPr/>
          </p:nvSpPr>
          <p:spPr bwMode="auto">
            <a:xfrm>
              <a:off x="6979055" y="2113253"/>
              <a:ext cx="380105" cy="368587"/>
            </a:xfrm>
            <a:prstGeom prst="rect">
              <a:avLst/>
            </a:prstGeom>
            <a:noFill/>
            <a:ln w="9525">
              <a:noFill/>
              <a:miter lim="800000"/>
            </a:ln>
            <a:effectLst>
              <a:outerShdw blurRad="50800" dist="38100" dir="2700000" algn="tl" rotWithShape="0">
                <a:prstClr val="black">
                  <a:alpha val="40000"/>
                </a:prstClr>
              </a:outerShdw>
            </a:effectLst>
          </p:spPr>
          <p:txBody>
            <a:bodyPr wrap="none">
              <a:spAutoFit/>
            </a:bodyPr>
            <a:lstStyle/>
            <a:p>
              <a:pPr algn="ctr" fontAlgn="base">
                <a:spcBef>
                  <a:spcPct val="0"/>
                </a:spcBef>
                <a:spcAft>
                  <a:spcPct val="0"/>
                </a:spcAft>
              </a:pPr>
              <a:r>
                <a:rPr lang="en-US" altLang="zh-CN" sz="2200" b="1" dirty="0" smtClean="0">
                  <a:solidFill>
                    <a:prstClr val="white"/>
                  </a:solidFill>
                  <a:latin typeface="华文楷体" panose="02010600040101010101" charset="-122"/>
                  <a:ea typeface="华文楷体" panose="02010600040101010101" charset="-122"/>
                  <a:cs typeface="Arial" panose="020B0604020202020204" pitchFamily="34" charset="0"/>
                </a:rPr>
                <a:t>xx</a:t>
              </a:r>
              <a:endParaRPr lang="da-DK" sz="2200" b="1" dirty="0" smtClean="0">
                <a:solidFill>
                  <a:prstClr val="white"/>
                </a:solidFill>
                <a:latin typeface="华文楷体" panose="02010600040101010101" charset="-122"/>
                <a:ea typeface="华文楷体" panose="02010600040101010101" charset="-122"/>
                <a:cs typeface="Arial" panose="020B0604020202020204" pitchFamily="34" charset="0"/>
              </a:endParaRPr>
            </a:p>
          </p:txBody>
        </p:sp>
      </p:grpSp>
      <p:sp>
        <p:nvSpPr>
          <p:cNvPr id="20"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华文楷体" panose="02010600040101010101" charset="-122"/>
              </a:rPr>
              <a:t>内容</a:t>
            </a:r>
            <a:endParaRPr lang="zh-CN" altLang="en-US" sz="2400" dirty="0">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 4"/>
          <p:cNvGrpSpPr/>
          <p:nvPr/>
        </p:nvGrpSpPr>
        <p:grpSpPr>
          <a:xfrm>
            <a:off x="594216" y="1024100"/>
            <a:ext cx="3234576" cy="5069853"/>
            <a:chOff x="683698" y="1163515"/>
            <a:chExt cx="3235325" cy="5071027"/>
          </a:xfrm>
        </p:grpSpPr>
        <p:sp>
          <p:nvSpPr>
            <p:cNvPr id="4" name="Freeform 6"/>
            <p:cNvSpPr/>
            <p:nvPr/>
          </p:nvSpPr>
          <p:spPr bwMode="auto">
            <a:xfrm flipH="1">
              <a:off x="1866770" y="5833920"/>
              <a:ext cx="893867" cy="192303"/>
            </a:xfrm>
            <a:custGeom>
              <a:avLst/>
              <a:gdLst>
                <a:gd name="T0" fmla="*/ 20 w 23"/>
                <a:gd name="T1" fmla="*/ 0 h 5"/>
                <a:gd name="T2" fmla="*/ 3 w 23"/>
                <a:gd name="T3" fmla="*/ 0 h 5"/>
                <a:gd name="T4" fmla="*/ 0 w 23"/>
                <a:gd name="T5" fmla="*/ 2 h 5"/>
                <a:gd name="T6" fmla="*/ 3 w 23"/>
                <a:gd name="T7" fmla="*/ 5 h 5"/>
                <a:gd name="T8" fmla="*/ 20 w 23"/>
                <a:gd name="T9" fmla="*/ 5 h 5"/>
                <a:gd name="T10" fmla="*/ 23 w 23"/>
                <a:gd name="T11" fmla="*/ 2 h 5"/>
                <a:gd name="T12" fmla="*/ 20 w 2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3" h="5">
                  <a:moveTo>
                    <a:pt x="20" y="0"/>
                  </a:moveTo>
                  <a:cubicBezTo>
                    <a:pt x="3" y="0"/>
                    <a:pt x="3" y="0"/>
                    <a:pt x="3" y="0"/>
                  </a:cubicBezTo>
                  <a:cubicBezTo>
                    <a:pt x="1" y="0"/>
                    <a:pt x="0" y="1"/>
                    <a:pt x="0" y="2"/>
                  </a:cubicBezTo>
                  <a:cubicBezTo>
                    <a:pt x="0" y="4"/>
                    <a:pt x="1" y="5"/>
                    <a:pt x="3" y="5"/>
                  </a:cubicBezTo>
                  <a:cubicBezTo>
                    <a:pt x="20" y="5"/>
                    <a:pt x="20" y="5"/>
                    <a:pt x="20" y="5"/>
                  </a:cubicBezTo>
                  <a:cubicBezTo>
                    <a:pt x="22" y="5"/>
                    <a:pt x="23" y="4"/>
                    <a:pt x="23" y="2"/>
                  </a:cubicBezTo>
                  <a:cubicBezTo>
                    <a:pt x="23" y="1"/>
                    <a:pt x="22" y="0"/>
                    <a:pt x="20" y="0"/>
                  </a:cubicBezTo>
                  <a:close/>
                </a:path>
              </a:pathLst>
            </a:custGeom>
            <a:solidFill>
              <a:schemeClr val="tx1">
                <a:lumMod val="50000"/>
                <a:lumOff val="50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35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5" name="Freeform 63"/>
            <p:cNvSpPr/>
            <p:nvPr/>
          </p:nvSpPr>
          <p:spPr>
            <a:xfrm flipH="1">
              <a:off x="1632484" y="5435156"/>
              <a:ext cx="1362439" cy="320186"/>
            </a:xfrm>
            <a:custGeom>
              <a:avLst/>
              <a:gdLst>
                <a:gd name="connsiteX0" fmla="*/ 0 w 2645228"/>
                <a:gd name="connsiteY0" fmla="*/ 0 h 496975"/>
                <a:gd name="connsiteX1" fmla="*/ 2645228 w 2645228"/>
                <a:gd name="connsiteY1" fmla="*/ 0 h 496975"/>
                <a:gd name="connsiteX2" fmla="*/ 2645228 w 2645228"/>
                <a:gd name="connsiteY2" fmla="*/ 56095 h 496975"/>
                <a:gd name="connsiteX3" fmla="*/ 2204348 w 2645228"/>
                <a:gd name="connsiteY3" fmla="*/ 496975 h 496975"/>
                <a:gd name="connsiteX4" fmla="*/ 440880 w 2645228"/>
                <a:gd name="connsiteY4" fmla="*/ 496975 h 496975"/>
                <a:gd name="connsiteX5" fmla="*/ 0 w 2645228"/>
                <a:gd name="connsiteY5" fmla="*/ 56095 h 496975"/>
                <a:gd name="connsiteX6" fmla="*/ 0 w 2645228"/>
                <a:gd name="connsiteY6" fmla="*/ 0 h 49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5228" h="496975">
                  <a:moveTo>
                    <a:pt x="0" y="0"/>
                  </a:moveTo>
                  <a:lnTo>
                    <a:pt x="2645228" y="0"/>
                  </a:lnTo>
                  <a:lnTo>
                    <a:pt x="2645228" y="56095"/>
                  </a:lnTo>
                  <a:cubicBezTo>
                    <a:pt x="2645228" y="299586"/>
                    <a:pt x="2447839" y="496975"/>
                    <a:pt x="2204348" y="496975"/>
                  </a:cubicBezTo>
                  <a:lnTo>
                    <a:pt x="440880" y="496975"/>
                  </a:lnTo>
                  <a:cubicBezTo>
                    <a:pt x="197389" y="496975"/>
                    <a:pt x="0" y="299586"/>
                    <a:pt x="0" y="56095"/>
                  </a:cubicBezTo>
                  <a:lnTo>
                    <a:pt x="0" y="0"/>
                  </a:ln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6" name="Freeform 64"/>
            <p:cNvSpPr/>
            <p:nvPr/>
          </p:nvSpPr>
          <p:spPr>
            <a:xfrm flipH="1">
              <a:off x="2009821" y="6104800"/>
              <a:ext cx="607766" cy="129742"/>
            </a:xfrm>
            <a:custGeom>
              <a:avLst/>
              <a:gdLst>
                <a:gd name="connsiteX0" fmla="*/ 0 w 694404"/>
                <a:gd name="connsiteY0" fmla="*/ 0 h 288475"/>
                <a:gd name="connsiteX1" fmla="*/ 694404 w 694404"/>
                <a:gd name="connsiteY1" fmla="*/ 0 h 288475"/>
                <a:gd name="connsiteX2" fmla="*/ 693800 w 694404"/>
                <a:gd name="connsiteY2" fmla="*/ 5989 h 288475"/>
                <a:gd name="connsiteX3" fmla="*/ 347202 w 694404"/>
                <a:gd name="connsiteY3" fmla="*/ 288475 h 288475"/>
                <a:gd name="connsiteX4" fmla="*/ 604 w 694404"/>
                <a:gd name="connsiteY4" fmla="*/ 5989 h 288475"/>
                <a:gd name="connsiteX5" fmla="*/ 0 w 694404"/>
                <a:gd name="connsiteY5" fmla="*/ 0 h 28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4404" h="288475">
                  <a:moveTo>
                    <a:pt x="0" y="0"/>
                  </a:moveTo>
                  <a:lnTo>
                    <a:pt x="694404" y="0"/>
                  </a:lnTo>
                  <a:lnTo>
                    <a:pt x="693800" y="5989"/>
                  </a:lnTo>
                  <a:cubicBezTo>
                    <a:pt x="660811" y="167204"/>
                    <a:pt x="518169" y="288475"/>
                    <a:pt x="347202" y="288475"/>
                  </a:cubicBezTo>
                  <a:cubicBezTo>
                    <a:pt x="176235" y="288475"/>
                    <a:pt x="33593" y="167204"/>
                    <a:pt x="604" y="5989"/>
                  </a:cubicBezTo>
                  <a:lnTo>
                    <a:pt x="0" y="0"/>
                  </a:ln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cxnSp>
          <p:nvCxnSpPr>
            <p:cNvPr id="7" name="Straight Connector 65"/>
            <p:cNvCxnSpPr/>
            <p:nvPr/>
          </p:nvCxnSpPr>
          <p:spPr>
            <a:xfrm>
              <a:off x="2452173" y="1448089"/>
              <a:ext cx="165412" cy="557274"/>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66"/>
            <p:cNvCxnSpPr/>
            <p:nvPr/>
          </p:nvCxnSpPr>
          <p:spPr>
            <a:xfrm>
              <a:off x="2470041" y="1400046"/>
              <a:ext cx="902239" cy="411702"/>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67"/>
            <p:cNvCxnSpPr/>
            <p:nvPr/>
          </p:nvCxnSpPr>
          <p:spPr>
            <a:xfrm flipH="1">
              <a:off x="1726685" y="2450978"/>
              <a:ext cx="587019" cy="0"/>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68"/>
            <p:cNvCxnSpPr/>
            <p:nvPr/>
          </p:nvCxnSpPr>
          <p:spPr>
            <a:xfrm flipH="1">
              <a:off x="3188888" y="2926358"/>
              <a:ext cx="355712" cy="379691"/>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69"/>
            <p:cNvCxnSpPr/>
            <p:nvPr/>
          </p:nvCxnSpPr>
          <p:spPr>
            <a:xfrm flipH="1">
              <a:off x="2760637" y="3543179"/>
              <a:ext cx="234286" cy="767194"/>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70"/>
            <p:cNvCxnSpPr/>
            <p:nvPr/>
          </p:nvCxnSpPr>
          <p:spPr>
            <a:xfrm flipH="1">
              <a:off x="2307468" y="3479678"/>
              <a:ext cx="507310" cy="171450"/>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71"/>
            <p:cNvCxnSpPr/>
            <p:nvPr/>
          </p:nvCxnSpPr>
          <p:spPr>
            <a:xfrm flipH="1">
              <a:off x="2170956" y="2599988"/>
              <a:ext cx="424645" cy="848734"/>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72"/>
            <p:cNvCxnSpPr/>
            <p:nvPr/>
          </p:nvCxnSpPr>
          <p:spPr>
            <a:xfrm flipV="1">
              <a:off x="892152" y="2578072"/>
              <a:ext cx="478998" cy="205519"/>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73"/>
            <p:cNvCxnSpPr/>
            <p:nvPr/>
          </p:nvCxnSpPr>
          <p:spPr>
            <a:xfrm>
              <a:off x="1622679" y="2695781"/>
              <a:ext cx="310381" cy="746554"/>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74"/>
            <p:cNvCxnSpPr/>
            <p:nvPr/>
          </p:nvCxnSpPr>
          <p:spPr>
            <a:xfrm flipH="1" flipV="1">
              <a:off x="1441999" y="1726726"/>
              <a:ext cx="109185" cy="645674"/>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75"/>
            <p:cNvCxnSpPr/>
            <p:nvPr/>
          </p:nvCxnSpPr>
          <p:spPr>
            <a:xfrm>
              <a:off x="1139386" y="3686053"/>
              <a:ext cx="526758" cy="7617"/>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76"/>
            <p:cNvCxnSpPr/>
            <p:nvPr/>
          </p:nvCxnSpPr>
          <p:spPr>
            <a:xfrm flipH="1" flipV="1">
              <a:off x="2760637" y="4542828"/>
              <a:ext cx="350348" cy="396955"/>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77"/>
            <p:cNvCxnSpPr/>
            <p:nvPr/>
          </p:nvCxnSpPr>
          <p:spPr>
            <a:xfrm flipH="1">
              <a:off x="2052371" y="4421559"/>
              <a:ext cx="614178" cy="266126"/>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78"/>
            <p:cNvCxnSpPr>
              <a:stCxn id="39" idx="0"/>
            </p:cNvCxnSpPr>
            <p:nvPr/>
          </p:nvCxnSpPr>
          <p:spPr>
            <a:xfrm flipV="1">
              <a:off x="1912422" y="4008610"/>
              <a:ext cx="20638" cy="441031"/>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79"/>
            <p:cNvCxnSpPr/>
            <p:nvPr/>
          </p:nvCxnSpPr>
          <p:spPr>
            <a:xfrm flipH="1">
              <a:off x="1371150" y="3926776"/>
              <a:ext cx="261334" cy="518086"/>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80"/>
            <p:cNvCxnSpPr>
              <a:endCxn id="55" idx="7"/>
            </p:cNvCxnSpPr>
            <p:nvPr/>
          </p:nvCxnSpPr>
          <p:spPr>
            <a:xfrm flipH="1">
              <a:off x="1599376" y="4897425"/>
              <a:ext cx="195398" cy="216886"/>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81"/>
            <p:cNvCxnSpPr/>
            <p:nvPr/>
          </p:nvCxnSpPr>
          <p:spPr>
            <a:xfrm flipH="1">
              <a:off x="2409310" y="4542828"/>
              <a:ext cx="216969" cy="748060"/>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82"/>
            <p:cNvCxnSpPr/>
            <p:nvPr/>
          </p:nvCxnSpPr>
          <p:spPr>
            <a:xfrm>
              <a:off x="2024749" y="4822903"/>
              <a:ext cx="313875" cy="91083"/>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83"/>
            <p:cNvCxnSpPr/>
            <p:nvPr/>
          </p:nvCxnSpPr>
          <p:spPr>
            <a:xfrm flipH="1">
              <a:off x="2804079" y="4969548"/>
              <a:ext cx="317036" cy="206314"/>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84"/>
            <p:cNvCxnSpPr/>
            <p:nvPr/>
          </p:nvCxnSpPr>
          <p:spPr>
            <a:xfrm>
              <a:off x="2814778" y="4426622"/>
              <a:ext cx="476200" cy="81856"/>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85"/>
            <p:cNvCxnSpPr/>
            <p:nvPr/>
          </p:nvCxnSpPr>
          <p:spPr>
            <a:xfrm flipH="1" flipV="1">
              <a:off x="2760637" y="3014540"/>
              <a:ext cx="133888" cy="278729"/>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86"/>
            <p:cNvCxnSpPr/>
            <p:nvPr/>
          </p:nvCxnSpPr>
          <p:spPr>
            <a:xfrm flipH="1">
              <a:off x="3644386" y="2895020"/>
              <a:ext cx="39855" cy="785873"/>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87"/>
            <p:cNvCxnSpPr/>
            <p:nvPr/>
          </p:nvCxnSpPr>
          <p:spPr>
            <a:xfrm>
              <a:off x="3104736" y="3565403"/>
              <a:ext cx="295663" cy="560903"/>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88"/>
            <p:cNvCxnSpPr/>
            <p:nvPr/>
          </p:nvCxnSpPr>
          <p:spPr>
            <a:xfrm flipH="1" flipV="1">
              <a:off x="857834" y="3327276"/>
              <a:ext cx="169307" cy="218675"/>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89"/>
            <p:cNvCxnSpPr/>
            <p:nvPr/>
          </p:nvCxnSpPr>
          <p:spPr>
            <a:xfrm flipH="1">
              <a:off x="942899" y="1605897"/>
              <a:ext cx="412864" cy="399466"/>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90"/>
            <p:cNvCxnSpPr>
              <a:endCxn id="66" idx="6"/>
            </p:cNvCxnSpPr>
            <p:nvPr/>
          </p:nvCxnSpPr>
          <p:spPr>
            <a:xfrm flipH="1" flipV="1">
              <a:off x="936919" y="2348283"/>
              <a:ext cx="546879" cy="3910"/>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91"/>
            <p:cNvCxnSpPr/>
            <p:nvPr/>
          </p:nvCxnSpPr>
          <p:spPr>
            <a:xfrm flipV="1">
              <a:off x="1650227" y="1657575"/>
              <a:ext cx="430665" cy="788817"/>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92"/>
            <p:cNvCxnSpPr>
              <a:stCxn id="45" idx="7"/>
            </p:cNvCxnSpPr>
            <p:nvPr/>
          </p:nvCxnSpPr>
          <p:spPr>
            <a:xfrm flipH="1" flipV="1">
              <a:off x="2261201" y="1882653"/>
              <a:ext cx="107973" cy="129726"/>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93"/>
            <p:cNvCxnSpPr/>
            <p:nvPr/>
          </p:nvCxnSpPr>
          <p:spPr>
            <a:xfrm flipH="1" flipV="1">
              <a:off x="2104512" y="1291536"/>
              <a:ext cx="347661" cy="37653"/>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94"/>
            <p:cNvCxnSpPr/>
            <p:nvPr/>
          </p:nvCxnSpPr>
          <p:spPr>
            <a:xfrm flipH="1">
              <a:off x="3260210" y="1875562"/>
              <a:ext cx="140189" cy="265777"/>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95"/>
            <p:cNvCxnSpPr/>
            <p:nvPr/>
          </p:nvCxnSpPr>
          <p:spPr>
            <a:xfrm>
              <a:off x="2935811" y="2372400"/>
              <a:ext cx="464588" cy="0"/>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96"/>
            <p:cNvCxnSpPr/>
            <p:nvPr/>
          </p:nvCxnSpPr>
          <p:spPr>
            <a:xfrm flipV="1">
              <a:off x="1126802" y="3746656"/>
              <a:ext cx="4922" cy="258138"/>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Oval 9"/>
            <p:cNvSpPr>
              <a:spLocks noChangeArrowheads="1"/>
            </p:cNvSpPr>
            <p:nvPr/>
          </p:nvSpPr>
          <p:spPr bwMode="auto">
            <a:xfrm flipH="1">
              <a:off x="1593335" y="4449641"/>
              <a:ext cx="638175" cy="636588"/>
            </a:xfrm>
            <a:prstGeom prst="ellipse">
              <a:avLst/>
            </a:prstGeom>
            <a:solidFill>
              <a:schemeClr val="tx1">
                <a:lumMod val="65000"/>
                <a:lumOff val="35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40" name="Oval 10"/>
            <p:cNvSpPr>
              <a:spLocks noChangeArrowheads="1"/>
            </p:cNvSpPr>
            <p:nvPr/>
          </p:nvSpPr>
          <p:spPr bwMode="auto">
            <a:xfrm flipH="1">
              <a:off x="2452173" y="4182941"/>
              <a:ext cx="488950" cy="487363"/>
            </a:xfrm>
            <a:prstGeom prst="ellipse">
              <a:avLst/>
            </a:prstGeom>
            <a:solidFill>
              <a:schemeClr val="bg1">
                <a:lumMod val="50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41" name="Oval 11"/>
            <p:cNvSpPr>
              <a:spLocks noChangeArrowheads="1"/>
            </p:cNvSpPr>
            <p:nvPr/>
          </p:nvSpPr>
          <p:spPr bwMode="auto">
            <a:xfrm flipH="1">
              <a:off x="1536186" y="3305053"/>
              <a:ext cx="887412" cy="889000"/>
            </a:xfrm>
            <a:prstGeom prst="ellipse">
              <a:avLst/>
            </a:prstGeom>
            <a:solidFill>
              <a:schemeClr val="accent2"/>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42" name="Oval 12"/>
            <p:cNvSpPr>
              <a:spLocks noChangeArrowheads="1"/>
            </p:cNvSpPr>
            <p:nvPr/>
          </p:nvSpPr>
          <p:spPr bwMode="auto">
            <a:xfrm flipH="1">
              <a:off x="2698236" y="3130428"/>
              <a:ext cx="639762" cy="636588"/>
            </a:xfrm>
            <a:prstGeom prst="ellipse">
              <a:avLst/>
            </a:prstGeom>
            <a:solidFill>
              <a:schemeClr val="accent1"/>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43" name="Oval 13"/>
            <p:cNvSpPr>
              <a:spLocks noChangeArrowheads="1"/>
            </p:cNvSpPr>
            <p:nvPr/>
          </p:nvSpPr>
          <p:spPr bwMode="auto">
            <a:xfrm flipH="1">
              <a:off x="3431661" y="2544641"/>
              <a:ext cx="487362" cy="488950"/>
            </a:xfrm>
            <a:prstGeom prst="ellipse">
              <a:avLst/>
            </a:prstGeom>
            <a:solidFill>
              <a:schemeClr val="bg1">
                <a:lumMod val="50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44" name="Oval 14"/>
            <p:cNvSpPr>
              <a:spLocks noChangeArrowheads="1"/>
            </p:cNvSpPr>
            <p:nvPr/>
          </p:nvSpPr>
          <p:spPr bwMode="auto">
            <a:xfrm flipH="1">
              <a:off x="3260210" y="1695328"/>
              <a:ext cx="339725" cy="339725"/>
            </a:xfrm>
            <a:prstGeom prst="ellipse">
              <a:avLst/>
            </a:prstGeom>
            <a:solidFill>
              <a:schemeClr val="tx1">
                <a:lumMod val="65000"/>
                <a:lumOff val="35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45" name="Oval 15"/>
            <p:cNvSpPr>
              <a:spLocks noChangeArrowheads="1"/>
            </p:cNvSpPr>
            <p:nvPr/>
          </p:nvSpPr>
          <p:spPr bwMode="auto">
            <a:xfrm flipH="1">
              <a:off x="2239448" y="1882653"/>
              <a:ext cx="885825" cy="885825"/>
            </a:xfrm>
            <a:prstGeom prst="ellipse">
              <a:avLst/>
            </a:prstGeom>
            <a:solidFill>
              <a:srgbClr val="FE5817"/>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4E9F8E"/>
                </a:solidFill>
                <a:effectLst/>
                <a:uLnTx/>
                <a:uFillTx/>
                <a:latin typeface="华文楷体" panose="02010600040101010101" charset="-122"/>
                <a:ea typeface="华文楷体" panose="02010600040101010101" charset="-122"/>
              </a:endParaRPr>
            </a:p>
          </p:txBody>
        </p:sp>
        <p:sp>
          <p:nvSpPr>
            <p:cNvPr id="46" name="Oval 16"/>
            <p:cNvSpPr>
              <a:spLocks noChangeArrowheads="1"/>
            </p:cNvSpPr>
            <p:nvPr/>
          </p:nvSpPr>
          <p:spPr bwMode="auto">
            <a:xfrm flipH="1">
              <a:off x="1252023" y="2192216"/>
              <a:ext cx="639762" cy="639763"/>
            </a:xfrm>
            <a:prstGeom prst="ellipse">
              <a:avLst/>
            </a:prstGeom>
            <a:solidFill>
              <a:schemeClr val="bg1">
                <a:lumMod val="65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47" name="Oval 17"/>
            <p:cNvSpPr>
              <a:spLocks noChangeArrowheads="1"/>
            </p:cNvSpPr>
            <p:nvPr/>
          </p:nvSpPr>
          <p:spPr bwMode="auto">
            <a:xfrm flipH="1">
              <a:off x="1240910" y="1417516"/>
              <a:ext cx="485775" cy="488950"/>
            </a:xfrm>
            <a:prstGeom prst="ellipse">
              <a:avLst/>
            </a:prstGeom>
            <a:solidFill>
              <a:srgbClr val="BFBFBF"/>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48" name="Oval 18"/>
            <p:cNvSpPr>
              <a:spLocks noChangeArrowheads="1"/>
            </p:cNvSpPr>
            <p:nvPr/>
          </p:nvSpPr>
          <p:spPr bwMode="auto">
            <a:xfrm flipH="1">
              <a:off x="920235" y="3479678"/>
              <a:ext cx="339725" cy="342900"/>
            </a:xfrm>
            <a:prstGeom prst="ellipse">
              <a:avLst/>
            </a:prstGeom>
            <a:solidFill>
              <a:schemeClr val="accent5">
                <a:lumMod val="50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4E9F8E"/>
                </a:solidFill>
                <a:effectLst/>
                <a:uLnTx/>
                <a:uFillTx/>
                <a:latin typeface="华文楷体" panose="02010600040101010101" charset="-122"/>
                <a:ea typeface="华文楷体" panose="02010600040101010101" charset="-122"/>
              </a:endParaRPr>
            </a:p>
          </p:txBody>
        </p:sp>
        <p:sp>
          <p:nvSpPr>
            <p:cNvPr id="49" name="Oval 19"/>
            <p:cNvSpPr>
              <a:spLocks noChangeArrowheads="1"/>
            </p:cNvSpPr>
            <p:nvPr/>
          </p:nvSpPr>
          <p:spPr bwMode="auto">
            <a:xfrm flipH="1">
              <a:off x="2239448" y="1163515"/>
              <a:ext cx="339725" cy="339725"/>
            </a:xfrm>
            <a:prstGeom prst="ellipse">
              <a:avLst/>
            </a:prstGeom>
            <a:solidFill>
              <a:schemeClr val="bg2">
                <a:lumMod val="60000"/>
                <a:lumOff val="40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4E9F8E"/>
                </a:solidFill>
                <a:effectLst/>
                <a:uLnTx/>
                <a:uFillTx/>
                <a:latin typeface="华文楷体" panose="02010600040101010101" charset="-122"/>
                <a:ea typeface="华文楷体" panose="02010600040101010101" charset="-122"/>
              </a:endParaRPr>
            </a:p>
          </p:txBody>
        </p:sp>
        <p:sp>
          <p:nvSpPr>
            <p:cNvPr id="50" name="Oval 20"/>
            <p:cNvSpPr>
              <a:spLocks noChangeArrowheads="1"/>
            </p:cNvSpPr>
            <p:nvPr/>
          </p:nvSpPr>
          <p:spPr bwMode="auto">
            <a:xfrm flipH="1">
              <a:off x="683698" y="2630366"/>
              <a:ext cx="339725" cy="339725"/>
            </a:xfrm>
            <a:prstGeom prst="ellipse">
              <a:avLst/>
            </a:prstGeom>
            <a:solidFill>
              <a:schemeClr val="bg1">
                <a:lumMod val="50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51" name="Oval 21"/>
            <p:cNvSpPr>
              <a:spLocks noChangeArrowheads="1"/>
            </p:cNvSpPr>
            <p:nvPr/>
          </p:nvSpPr>
          <p:spPr bwMode="auto">
            <a:xfrm flipH="1">
              <a:off x="2941123" y="4779841"/>
              <a:ext cx="339725" cy="339725"/>
            </a:xfrm>
            <a:prstGeom prst="ellipse">
              <a:avLst/>
            </a:prstGeom>
            <a:solidFill>
              <a:schemeClr val="accent2">
                <a:lumMod val="60000"/>
                <a:lumOff val="40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4E9F8E"/>
                </a:solidFill>
                <a:effectLst/>
                <a:uLnTx/>
                <a:uFillTx/>
                <a:latin typeface="华文楷体" panose="02010600040101010101" charset="-122"/>
                <a:ea typeface="华文楷体" panose="02010600040101010101" charset="-122"/>
              </a:endParaRPr>
            </a:p>
          </p:txBody>
        </p:sp>
        <p:cxnSp>
          <p:nvCxnSpPr>
            <p:cNvPr id="52" name="Straight Connector 160"/>
            <p:cNvCxnSpPr/>
            <p:nvPr/>
          </p:nvCxnSpPr>
          <p:spPr>
            <a:xfrm flipV="1">
              <a:off x="3314360" y="2259523"/>
              <a:ext cx="521620" cy="128917"/>
            </a:xfrm>
            <a:prstGeom prst="line">
              <a:avLst/>
            </a:prstGeom>
            <a:ln w="539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3" name="Oval 161"/>
            <p:cNvSpPr/>
            <p:nvPr/>
          </p:nvSpPr>
          <p:spPr>
            <a:xfrm>
              <a:off x="1991720" y="1594148"/>
              <a:ext cx="126853" cy="12685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54" name="Oval 163"/>
            <p:cNvSpPr/>
            <p:nvPr/>
          </p:nvSpPr>
          <p:spPr>
            <a:xfrm>
              <a:off x="3239367" y="2284497"/>
              <a:ext cx="181874" cy="18187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55" name="Oval 164"/>
            <p:cNvSpPr/>
            <p:nvPr/>
          </p:nvSpPr>
          <p:spPr>
            <a:xfrm>
              <a:off x="1463554" y="5091008"/>
              <a:ext cx="159125" cy="159125"/>
            </a:xfrm>
            <a:prstGeom prst="ellipse">
              <a:avLst/>
            </a:prstGeom>
            <a:noFill/>
            <a:ln w="317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56" name="Oval 166"/>
            <p:cNvSpPr/>
            <p:nvPr/>
          </p:nvSpPr>
          <p:spPr>
            <a:xfrm>
              <a:off x="2666549" y="5146938"/>
              <a:ext cx="161032" cy="161032"/>
            </a:xfrm>
            <a:prstGeom prst="ellipse">
              <a:avLst/>
            </a:prstGeom>
            <a:noFill/>
            <a:ln w="508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57" name="Oval 167"/>
            <p:cNvSpPr/>
            <p:nvPr/>
          </p:nvSpPr>
          <p:spPr>
            <a:xfrm>
              <a:off x="2352372" y="5235976"/>
              <a:ext cx="109823" cy="1098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58" name="Oval 169"/>
            <p:cNvSpPr/>
            <p:nvPr/>
          </p:nvSpPr>
          <p:spPr>
            <a:xfrm>
              <a:off x="2309277" y="4875649"/>
              <a:ext cx="109823" cy="1098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59" name="Oval 170"/>
            <p:cNvSpPr/>
            <p:nvPr/>
          </p:nvSpPr>
          <p:spPr>
            <a:xfrm>
              <a:off x="3128969" y="4378227"/>
              <a:ext cx="215318" cy="21531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60" name="Oval 172"/>
            <p:cNvSpPr/>
            <p:nvPr/>
          </p:nvSpPr>
          <p:spPr>
            <a:xfrm>
              <a:off x="2641374" y="2865819"/>
              <a:ext cx="161032" cy="161032"/>
            </a:xfrm>
            <a:prstGeom prst="ellipse">
              <a:avLst/>
            </a:prstGeom>
            <a:noFill/>
            <a:ln w="508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61" name="Oval 173"/>
            <p:cNvSpPr/>
            <p:nvPr/>
          </p:nvSpPr>
          <p:spPr>
            <a:xfrm>
              <a:off x="2197725" y="1814208"/>
              <a:ext cx="109823" cy="1098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62" name="Oval 175"/>
            <p:cNvSpPr/>
            <p:nvPr/>
          </p:nvSpPr>
          <p:spPr>
            <a:xfrm>
              <a:off x="1985889" y="1223030"/>
              <a:ext cx="132964" cy="132964"/>
            </a:xfrm>
            <a:prstGeom prst="ellips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63" name="Oval 176"/>
            <p:cNvSpPr/>
            <p:nvPr/>
          </p:nvSpPr>
          <p:spPr>
            <a:xfrm>
              <a:off x="3189140" y="2077901"/>
              <a:ext cx="126853" cy="12685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64" name="Oval 183"/>
            <p:cNvSpPr/>
            <p:nvPr/>
          </p:nvSpPr>
          <p:spPr>
            <a:xfrm>
              <a:off x="3719578" y="2204754"/>
              <a:ext cx="126853" cy="12685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65" name="Oval 184"/>
            <p:cNvSpPr/>
            <p:nvPr/>
          </p:nvSpPr>
          <p:spPr>
            <a:xfrm>
              <a:off x="1297267" y="4437071"/>
              <a:ext cx="111797" cy="111797"/>
            </a:xfrm>
            <a:prstGeom prst="ellipse">
              <a:avLst/>
            </a:prstGeom>
            <a:noFill/>
            <a:ln w="317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66" name="Oval 185"/>
            <p:cNvSpPr/>
            <p:nvPr/>
          </p:nvSpPr>
          <p:spPr>
            <a:xfrm>
              <a:off x="759251" y="2259451"/>
              <a:ext cx="177668" cy="177664"/>
            </a:xfrm>
            <a:prstGeom prst="ellipse">
              <a:avLst/>
            </a:prstGeom>
            <a:noFill/>
            <a:ln w="444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67" name="Oval 186"/>
            <p:cNvSpPr/>
            <p:nvPr/>
          </p:nvSpPr>
          <p:spPr>
            <a:xfrm>
              <a:off x="3580959" y="3640163"/>
              <a:ext cx="126853" cy="12685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68" name="Oval 187"/>
            <p:cNvSpPr/>
            <p:nvPr/>
          </p:nvSpPr>
          <p:spPr>
            <a:xfrm>
              <a:off x="3351910" y="4103431"/>
              <a:ext cx="117237" cy="117237"/>
            </a:xfrm>
            <a:prstGeom prst="ellipse">
              <a:avLst/>
            </a:prstGeom>
            <a:noFill/>
            <a:ln w="508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69" name="Oval 188"/>
            <p:cNvSpPr/>
            <p:nvPr/>
          </p:nvSpPr>
          <p:spPr>
            <a:xfrm>
              <a:off x="1071890" y="3963564"/>
              <a:ext cx="109823" cy="1098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70" name="Oval 189"/>
            <p:cNvSpPr/>
            <p:nvPr/>
          </p:nvSpPr>
          <p:spPr>
            <a:xfrm>
              <a:off x="757162" y="3221474"/>
              <a:ext cx="132964" cy="132964"/>
            </a:xfrm>
            <a:prstGeom prst="ellips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sp>
          <p:nvSpPr>
            <p:cNvPr id="71" name="Oval 190"/>
            <p:cNvSpPr/>
            <p:nvPr/>
          </p:nvSpPr>
          <p:spPr>
            <a:xfrm>
              <a:off x="854048" y="1973250"/>
              <a:ext cx="126853" cy="12685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grpSp>
          <p:nvGrpSpPr>
            <p:cNvPr id="72" name="Group 191"/>
            <p:cNvGrpSpPr/>
            <p:nvPr/>
          </p:nvGrpSpPr>
          <p:grpSpPr>
            <a:xfrm>
              <a:off x="1457827" y="2331725"/>
              <a:ext cx="193263" cy="326426"/>
              <a:chOff x="14288" y="17463"/>
              <a:chExt cx="520700" cy="879475"/>
            </a:xfrm>
          </p:grpSpPr>
          <p:sp>
            <p:nvSpPr>
              <p:cNvPr id="178" name="Freeform 5"/>
              <p:cNvSpPr/>
              <p:nvPr/>
            </p:nvSpPr>
            <p:spPr bwMode="auto">
              <a:xfrm>
                <a:off x="14288" y="138113"/>
                <a:ext cx="184150" cy="758825"/>
              </a:xfrm>
              <a:custGeom>
                <a:avLst/>
                <a:gdLst>
                  <a:gd name="T0" fmla="*/ 48 w 48"/>
                  <a:gd name="T1" fmla="*/ 180 h 200"/>
                  <a:gd name="T2" fmla="*/ 25 w 48"/>
                  <a:gd name="T3" fmla="*/ 200 h 200"/>
                  <a:gd name="T4" fmla="*/ 0 w 48"/>
                  <a:gd name="T5" fmla="*/ 180 h 200"/>
                  <a:gd name="T6" fmla="*/ 0 w 48"/>
                  <a:gd name="T7" fmla="*/ 48 h 200"/>
                  <a:gd name="T8" fmla="*/ 24 w 48"/>
                  <a:gd name="T9" fmla="*/ 0 h 200"/>
                  <a:gd name="T10" fmla="*/ 48 w 48"/>
                  <a:gd name="T11" fmla="*/ 48 h 200"/>
                  <a:gd name="T12" fmla="*/ 48 w 48"/>
                  <a:gd name="T13" fmla="*/ 180 h 200"/>
                </a:gdLst>
                <a:ahLst/>
                <a:cxnLst>
                  <a:cxn ang="0">
                    <a:pos x="T0" y="T1"/>
                  </a:cxn>
                  <a:cxn ang="0">
                    <a:pos x="T2" y="T3"/>
                  </a:cxn>
                  <a:cxn ang="0">
                    <a:pos x="T4" y="T5"/>
                  </a:cxn>
                  <a:cxn ang="0">
                    <a:pos x="T6" y="T7"/>
                  </a:cxn>
                  <a:cxn ang="0">
                    <a:pos x="T8" y="T9"/>
                  </a:cxn>
                  <a:cxn ang="0">
                    <a:pos x="T10" y="T11"/>
                  </a:cxn>
                  <a:cxn ang="0">
                    <a:pos x="T12" y="T13"/>
                  </a:cxn>
                </a:cxnLst>
                <a:rect l="0" t="0" r="r" b="b"/>
                <a:pathLst>
                  <a:path w="48" h="200">
                    <a:moveTo>
                      <a:pt x="48" y="180"/>
                    </a:moveTo>
                    <a:cubicBezTo>
                      <a:pt x="48" y="191"/>
                      <a:pt x="36" y="200"/>
                      <a:pt x="25" y="200"/>
                    </a:cubicBezTo>
                    <a:cubicBezTo>
                      <a:pt x="14" y="200"/>
                      <a:pt x="0" y="191"/>
                      <a:pt x="0" y="180"/>
                    </a:cubicBezTo>
                    <a:cubicBezTo>
                      <a:pt x="0" y="48"/>
                      <a:pt x="0" y="48"/>
                      <a:pt x="0" y="48"/>
                    </a:cubicBezTo>
                    <a:cubicBezTo>
                      <a:pt x="24" y="0"/>
                      <a:pt x="24" y="0"/>
                      <a:pt x="24" y="0"/>
                    </a:cubicBezTo>
                    <a:cubicBezTo>
                      <a:pt x="48" y="48"/>
                      <a:pt x="48" y="48"/>
                      <a:pt x="48" y="48"/>
                    </a:cubicBezTo>
                    <a:lnTo>
                      <a:pt x="48" y="180"/>
                    </a:lnTo>
                    <a:close/>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79" name="Line 6"/>
              <p:cNvSpPr>
                <a:spLocks noChangeShapeType="1"/>
              </p:cNvSpPr>
              <p:nvPr/>
            </p:nvSpPr>
            <p:spPr bwMode="auto">
              <a:xfrm>
                <a:off x="14288" y="776288"/>
                <a:ext cx="184150" cy="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80" name="Line 7"/>
              <p:cNvSpPr>
                <a:spLocks noChangeShapeType="1"/>
              </p:cNvSpPr>
              <p:nvPr/>
            </p:nvSpPr>
            <p:spPr bwMode="auto">
              <a:xfrm>
                <a:off x="14288" y="715963"/>
                <a:ext cx="184150" cy="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81" name="Rectangle 8"/>
              <p:cNvSpPr>
                <a:spLocks noChangeArrowheads="1"/>
              </p:cNvSpPr>
              <p:nvPr/>
            </p:nvSpPr>
            <p:spPr bwMode="auto">
              <a:xfrm>
                <a:off x="290513" y="17463"/>
                <a:ext cx="244475" cy="879475"/>
              </a:xfrm>
              <a:prstGeom prst="rect">
                <a:avLst/>
              </a:pr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82" name="Line 9"/>
              <p:cNvSpPr>
                <a:spLocks noChangeShapeType="1"/>
              </p:cNvSpPr>
              <p:nvPr/>
            </p:nvSpPr>
            <p:spPr bwMode="auto">
              <a:xfrm>
                <a:off x="290513" y="138113"/>
                <a:ext cx="92075" cy="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83" name="Line 10"/>
              <p:cNvSpPr>
                <a:spLocks noChangeShapeType="1"/>
              </p:cNvSpPr>
              <p:nvPr/>
            </p:nvSpPr>
            <p:spPr bwMode="auto">
              <a:xfrm>
                <a:off x="290513" y="290513"/>
                <a:ext cx="92075" cy="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84" name="Line 11"/>
              <p:cNvSpPr>
                <a:spLocks noChangeShapeType="1"/>
              </p:cNvSpPr>
              <p:nvPr/>
            </p:nvSpPr>
            <p:spPr bwMode="auto">
              <a:xfrm>
                <a:off x="290513" y="441326"/>
                <a:ext cx="92075" cy="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85" name="Line 12"/>
              <p:cNvSpPr>
                <a:spLocks noChangeShapeType="1"/>
              </p:cNvSpPr>
              <p:nvPr/>
            </p:nvSpPr>
            <p:spPr bwMode="auto">
              <a:xfrm>
                <a:off x="290513" y="593726"/>
                <a:ext cx="92075" cy="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86" name="Line 13"/>
              <p:cNvSpPr>
                <a:spLocks noChangeShapeType="1"/>
              </p:cNvSpPr>
              <p:nvPr/>
            </p:nvSpPr>
            <p:spPr bwMode="auto">
              <a:xfrm>
                <a:off x="290513" y="746126"/>
                <a:ext cx="92075" cy="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87" name="Line 14"/>
              <p:cNvSpPr>
                <a:spLocks noChangeShapeType="1"/>
              </p:cNvSpPr>
              <p:nvPr/>
            </p:nvSpPr>
            <p:spPr bwMode="auto">
              <a:xfrm>
                <a:off x="14288" y="320676"/>
                <a:ext cx="184150" cy="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88" name="Line 15"/>
              <p:cNvSpPr>
                <a:spLocks noChangeShapeType="1"/>
              </p:cNvSpPr>
              <p:nvPr/>
            </p:nvSpPr>
            <p:spPr bwMode="auto">
              <a:xfrm>
                <a:off x="106363" y="320676"/>
                <a:ext cx="0" cy="395288"/>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sp>
          <p:nvSpPr>
            <p:cNvPr id="73" name="Freeform 5"/>
            <p:cNvSpPr>
              <a:spLocks noEditPoints="1"/>
            </p:cNvSpPr>
            <p:nvPr/>
          </p:nvSpPr>
          <p:spPr bwMode="auto">
            <a:xfrm>
              <a:off x="1794774" y="3576042"/>
              <a:ext cx="350049" cy="343035"/>
            </a:xfrm>
            <a:custGeom>
              <a:avLst/>
              <a:gdLst>
                <a:gd name="T0" fmla="*/ 179 w 208"/>
                <a:gd name="T1" fmla="*/ 79 h 204"/>
                <a:gd name="T2" fmla="*/ 174 w 208"/>
                <a:gd name="T3" fmla="*/ 66 h 204"/>
                <a:gd name="T4" fmla="*/ 185 w 208"/>
                <a:gd name="T5" fmla="*/ 38 h 204"/>
                <a:gd name="T6" fmla="*/ 169 w 208"/>
                <a:gd name="T7" fmla="*/ 22 h 204"/>
                <a:gd name="T8" fmla="*/ 140 w 208"/>
                <a:gd name="T9" fmla="*/ 33 h 204"/>
                <a:gd name="T10" fmla="*/ 128 w 208"/>
                <a:gd name="T11" fmla="*/ 28 h 204"/>
                <a:gd name="T12" fmla="*/ 115 w 208"/>
                <a:gd name="T13" fmla="*/ 0 h 204"/>
                <a:gd name="T14" fmla="*/ 92 w 208"/>
                <a:gd name="T15" fmla="*/ 0 h 204"/>
                <a:gd name="T16" fmla="*/ 80 w 208"/>
                <a:gd name="T17" fmla="*/ 28 h 204"/>
                <a:gd name="T18" fmla="*/ 67 w 208"/>
                <a:gd name="T19" fmla="*/ 33 h 204"/>
                <a:gd name="T20" fmla="*/ 38 w 208"/>
                <a:gd name="T21" fmla="*/ 22 h 204"/>
                <a:gd name="T22" fmla="*/ 22 w 208"/>
                <a:gd name="T23" fmla="*/ 38 h 204"/>
                <a:gd name="T24" fmla="*/ 34 w 208"/>
                <a:gd name="T25" fmla="*/ 66 h 204"/>
                <a:gd name="T26" fmla="*/ 28 w 208"/>
                <a:gd name="T27" fmla="*/ 79 h 204"/>
                <a:gd name="T28" fmla="*/ 0 w 208"/>
                <a:gd name="T29" fmla="*/ 91 h 204"/>
                <a:gd name="T30" fmla="*/ 0 w 208"/>
                <a:gd name="T31" fmla="*/ 114 h 204"/>
                <a:gd name="T32" fmla="*/ 28 w 208"/>
                <a:gd name="T33" fmla="*/ 125 h 204"/>
                <a:gd name="T34" fmla="*/ 34 w 208"/>
                <a:gd name="T35" fmla="*/ 138 h 204"/>
                <a:gd name="T36" fmla="*/ 22 w 208"/>
                <a:gd name="T37" fmla="*/ 167 h 204"/>
                <a:gd name="T38" fmla="*/ 39 w 208"/>
                <a:gd name="T39" fmla="*/ 182 h 204"/>
                <a:gd name="T40" fmla="*/ 67 w 208"/>
                <a:gd name="T41" fmla="*/ 171 h 204"/>
                <a:gd name="T42" fmla="*/ 80 w 208"/>
                <a:gd name="T43" fmla="*/ 176 h 204"/>
                <a:gd name="T44" fmla="*/ 93 w 208"/>
                <a:gd name="T45" fmla="*/ 204 h 204"/>
                <a:gd name="T46" fmla="*/ 116 w 208"/>
                <a:gd name="T47" fmla="*/ 204 h 204"/>
                <a:gd name="T48" fmla="*/ 128 w 208"/>
                <a:gd name="T49" fmla="*/ 176 h 204"/>
                <a:gd name="T50" fmla="*/ 141 w 208"/>
                <a:gd name="T51" fmla="*/ 171 h 204"/>
                <a:gd name="T52" fmla="*/ 170 w 208"/>
                <a:gd name="T53" fmla="*/ 182 h 204"/>
                <a:gd name="T54" fmla="*/ 186 w 208"/>
                <a:gd name="T55" fmla="*/ 166 h 204"/>
                <a:gd name="T56" fmla="*/ 174 w 208"/>
                <a:gd name="T57" fmla="*/ 138 h 204"/>
                <a:gd name="T58" fmla="*/ 179 w 208"/>
                <a:gd name="T59" fmla="*/ 125 h 204"/>
                <a:gd name="T60" fmla="*/ 208 w 208"/>
                <a:gd name="T61" fmla="*/ 113 h 204"/>
                <a:gd name="T62" fmla="*/ 208 w 208"/>
                <a:gd name="T63" fmla="*/ 90 h 204"/>
                <a:gd name="T64" fmla="*/ 179 w 208"/>
                <a:gd name="T65" fmla="*/ 79 h 204"/>
                <a:gd name="T66" fmla="*/ 137 w 208"/>
                <a:gd name="T67" fmla="*/ 102 h 204"/>
                <a:gd name="T68" fmla="*/ 104 w 208"/>
                <a:gd name="T69" fmla="*/ 135 h 204"/>
                <a:gd name="T70" fmla="*/ 70 w 208"/>
                <a:gd name="T71" fmla="*/ 102 h 204"/>
                <a:gd name="T72" fmla="*/ 104 w 208"/>
                <a:gd name="T73" fmla="*/ 69 h 204"/>
                <a:gd name="T74" fmla="*/ 137 w 208"/>
                <a:gd name="T75" fmla="*/ 10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 h="204">
                  <a:moveTo>
                    <a:pt x="179" y="79"/>
                  </a:moveTo>
                  <a:cubicBezTo>
                    <a:pt x="174" y="66"/>
                    <a:pt x="174" y="66"/>
                    <a:pt x="174" y="66"/>
                  </a:cubicBezTo>
                  <a:cubicBezTo>
                    <a:pt x="174" y="66"/>
                    <a:pt x="186" y="39"/>
                    <a:pt x="185" y="38"/>
                  </a:cubicBezTo>
                  <a:cubicBezTo>
                    <a:pt x="169" y="22"/>
                    <a:pt x="169" y="22"/>
                    <a:pt x="169" y="22"/>
                  </a:cubicBezTo>
                  <a:cubicBezTo>
                    <a:pt x="168" y="21"/>
                    <a:pt x="140" y="33"/>
                    <a:pt x="140" y="33"/>
                  </a:cubicBezTo>
                  <a:cubicBezTo>
                    <a:pt x="128" y="28"/>
                    <a:pt x="128" y="28"/>
                    <a:pt x="128" y="28"/>
                  </a:cubicBezTo>
                  <a:cubicBezTo>
                    <a:pt x="128" y="28"/>
                    <a:pt x="116" y="0"/>
                    <a:pt x="115" y="0"/>
                  </a:cubicBezTo>
                  <a:cubicBezTo>
                    <a:pt x="92" y="0"/>
                    <a:pt x="92" y="0"/>
                    <a:pt x="92" y="0"/>
                  </a:cubicBezTo>
                  <a:cubicBezTo>
                    <a:pt x="90" y="0"/>
                    <a:pt x="80" y="28"/>
                    <a:pt x="80" y="28"/>
                  </a:cubicBezTo>
                  <a:cubicBezTo>
                    <a:pt x="67" y="33"/>
                    <a:pt x="67" y="33"/>
                    <a:pt x="67" y="33"/>
                  </a:cubicBezTo>
                  <a:cubicBezTo>
                    <a:pt x="67" y="33"/>
                    <a:pt x="39" y="21"/>
                    <a:pt x="38" y="22"/>
                  </a:cubicBezTo>
                  <a:cubicBezTo>
                    <a:pt x="22" y="38"/>
                    <a:pt x="22" y="38"/>
                    <a:pt x="22" y="38"/>
                  </a:cubicBezTo>
                  <a:cubicBezTo>
                    <a:pt x="21" y="39"/>
                    <a:pt x="34" y="66"/>
                    <a:pt x="34" y="66"/>
                  </a:cubicBezTo>
                  <a:cubicBezTo>
                    <a:pt x="28" y="79"/>
                    <a:pt x="28" y="79"/>
                    <a:pt x="28" y="79"/>
                  </a:cubicBezTo>
                  <a:cubicBezTo>
                    <a:pt x="28" y="79"/>
                    <a:pt x="0" y="90"/>
                    <a:pt x="0" y="91"/>
                  </a:cubicBezTo>
                  <a:cubicBezTo>
                    <a:pt x="0" y="114"/>
                    <a:pt x="0" y="114"/>
                    <a:pt x="0" y="114"/>
                  </a:cubicBezTo>
                  <a:cubicBezTo>
                    <a:pt x="0" y="115"/>
                    <a:pt x="28" y="125"/>
                    <a:pt x="28" y="125"/>
                  </a:cubicBezTo>
                  <a:cubicBezTo>
                    <a:pt x="34" y="138"/>
                    <a:pt x="34" y="138"/>
                    <a:pt x="34" y="138"/>
                  </a:cubicBezTo>
                  <a:cubicBezTo>
                    <a:pt x="34" y="138"/>
                    <a:pt x="21" y="166"/>
                    <a:pt x="22" y="167"/>
                  </a:cubicBezTo>
                  <a:cubicBezTo>
                    <a:pt x="39" y="182"/>
                    <a:pt x="39" y="182"/>
                    <a:pt x="39" y="182"/>
                  </a:cubicBezTo>
                  <a:cubicBezTo>
                    <a:pt x="40" y="183"/>
                    <a:pt x="67" y="171"/>
                    <a:pt x="67" y="171"/>
                  </a:cubicBezTo>
                  <a:cubicBezTo>
                    <a:pt x="80" y="176"/>
                    <a:pt x="80" y="176"/>
                    <a:pt x="80" y="176"/>
                  </a:cubicBezTo>
                  <a:cubicBezTo>
                    <a:pt x="80" y="176"/>
                    <a:pt x="91" y="204"/>
                    <a:pt x="93" y="204"/>
                  </a:cubicBezTo>
                  <a:cubicBezTo>
                    <a:pt x="116" y="204"/>
                    <a:pt x="116" y="204"/>
                    <a:pt x="116" y="204"/>
                  </a:cubicBezTo>
                  <a:cubicBezTo>
                    <a:pt x="117" y="204"/>
                    <a:pt x="128" y="176"/>
                    <a:pt x="128" y="176"/>
                  </a:cubicBezTo>
                  <a:cubicBezTo>
                    <a:pt x="141" y="171"/>
                    <a:pt x="141" y="171"/>
                    <a:pt x="141" y="171"/>
                  </a:cubicBezTo>
                  <a:cubicBezTo>
                    <a:pt x="141" y="171"/>
                    <a:pt x="169" y="183"/>
                    <a:pt x="170" y="182"/>
                  </a:cubicBezTo>
                  <a:cubicBezTo>
                    <a:pt x="186" y="166"/>
                    <a:pt x="186" y="166"/>
                    <a:pt x="186" y="166"/>
                  </a:cubicBezTo>
                  <a:cubicBezTo>
                    <a:pt x="187" y="165"/>
                    <a:pt x="174" y="138"/>
                    <a:pt x="174" y="138"/>
                  </a:cubicBezTo>
                  <a:cubicBezTo>
                    <a:pt x="179" y="125"/>
                    <a:pt x="179" y="125"/>
                    <a:pt x="179" y="125"/>
                  </a:cubicBezTo>
                  <a:cubicBezTo>
                    <a:pt x="179" y="125"/>
                    <a:pt x="208" y="114"/>
                    <a:pt x="208" y="113"/>
                  </a:cubicBezTo>
                  <a:cubicBezTo>
                    <a:pt x="208" y="90"/>
                    <a:pt x="208" y="90"/>
                    <a:pt x="208" y="90"/>
                  </a:cubicBezTo>
                  <a:cubicBezTo>
                    <a:pt x="208" y="89"/>
                    <a:pt x="179" y="79"/>
                    <a:pt x="179" y="79"/>
                  </a:cubicBezTo>
                  <a:moveTo>
                    <a:pt x="137" y="102"/>
                  </a:moveTo>
                  <a:cubicBezTo>
                    <a:pt x="137" y="120"/>
                    <a:pt x="122" y="135"/>
                    <a:pt x="104" y="135"/>
                  </a:cubicBezTo>
                  <a:cubicBezTo>
                    <a:pt x="85" y="135"/>
                    <a:pt x="70" y="120"/>
                    <a:pt x="70" y="102"/>
                  </a:cubicBezTo>
                  <a:cubicBezTo>
                    <a:pt x="70" y="84"/>
                    <a:pt x="85" y="69"/>
                    <a:pt x="104" y="69"/>
                  </a:cubicBezTo>
                  <a:cubicBezTo>
                    <a:pt x="122" y="69"/>
                    <a:pt x="137" y="84"/>
                    <a:pt x="137" y="102"/>
                  </a:cubicBezTo>
                </a:path>
              </a:pathLst>
            </a:custGeom>
            <a:solidFill>
              <a:schemeClr val="bg1"/>
            </a:solidFill>
            <a:ln>
              <a:noFill/>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74" name="Freeform 9"/>
            <p:cNvSpPr/>
            <p:nvPr/>
          </p:nvSpPr>
          <p:spPr bwMode="auto">
            <a:xfrm>
              <a:off x="3312020" y="1748990"/>
              <a:ext cx="232580" cy="221066"/>
            </a:xfrm>
            <a:custGeom>
              <a:avLst/>
              <a:gdLst>
                <a:gd name="T0" fmla="*/ 207 w 211"/>
                <a:gd name="T1" fmla="*/ 85 h 200"/>
                <a:gd name="T2" fmla="*/ 153 w 211"/>
                <a:gd name="T3" fmla="*/ 124 h 200"/>
                <a:gd name="T4" fmla="*/ 173 w 211"/>
                <a:gd name="T5" fmla="*/ 189 h 200"/>
                <a:gd name="T6" fmla="*/ 170 w 211"/>
                <a:gd name="T7" fmla="*/ 198 h 200"/>
                <a:gd name="T8" fmla="*/ 165 w 211"/>
                <a:gd name="T9" fmla="*/ 200 h 200"/>
                <a:gd name="T10" fmla="*/ 160 w 211"/>
                <a:gd name="T11" fmla="*/ 198 h 200"/>
                <a:gd name="T12" fmla="*/ 106 w 211"/>
                <a:gd name="T13" fmla="*/ 158 h 200"/>
                <a:gd name="T14" fmla="*/ 51 w 211"/>
                <a:gd name="T15" fmla="*/ 198 h 200"/>
                <a:gd name="T16" fmla="*/ 41 w 211"/>
                <a:gd name="T17" fmla="*/ 198 h 200"/>
                <a:gd name="T18" fmla="*/ 38 w 211"/>
                <a:gd name="T19" fmla="*/ 189 h 200"/>
                <a:gd name="T20" fmla="*/ 59 w 211"/>
                <a:gd name="T21" fmla="*/ 124 h 200"/>
                <a:gd name="T22" fmla="*/ 5 w 211"/>
                <a:gd name="T23" fmla="*/ 85 h 200"/>
                <a:gd name="T24" fmla="*/ 2 w 211"/>
                <a:gd name="T25" fmla="*/ 75 h 200"/>
                <a:gd name="T26" fmla="*/ 10 w 211"/>
                <a:gd name="T27" fmla="*/ 70 h 200"/>
                <a:gd name="T28" fmla="*/ 77 w 211"/>
                <a:gd name="T29" fmla="*/ 70 h 200"/>
                <a:gd name="T30" fmla="*/ 98 w 211"/>
                <a:gd name="T31" fmla="*/ 5 h 200"/>
                <a:gd name="T32" fmla="*/ 106 w 211"/>
                <a:gd name="T33" fmla="*/ 0 h 200"/>
                <a:gd name="T34" fmla="*/ 114 w 211"/>
                <a:gd name="T35" fmla="*/ 5 h 200"/>
                <a:gd name="T36" fmla="*/ 135 w 211"/>
                <a:gd name="T37" fmla="*/ 70 h 200"/>
                <a:gd name="T38" fmla="*/ 202 w 211"/>
                <a:gd name="T39" fmla="*/ 70 h 200"/>
                <a:gd name="T40" fmla="*/ 210 w 211"/>
                <a:gd name="T41" fmla="*/ 75 h 200"/>
                <a:gd name="T42" fmla="*/ 207 w 211"/>
                <a:gd name="T43" fmla="*/ 8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 h="200">
                  <a:moveTo>
                    <a:pt x="207" y="85"/>
                  </a:moveTo>
                  <a:cubicBezTo>
                    <a:pt x="153" y="124"/>
                    <a:pt x="153" y="124"/>
                    <a:pt x="153" y="124"/>
                  </a:cubicBezTo>
                  <a:cubicBezTo>
                    <a:pt x="173" y="189"/>
                    <a:pt x="173" y="189"/>
                    <a:pt x="173" y="189"/>
                  </a:cubicBezTo>
                  <a:cubicBezTo>
                    <a:pt x="175" y="192"/>
                    <a:pt x="173" y="196"/>
                    <a:pt x="170" y="198"/>
                  </a:cubicBezTo>
                  <a:cubicBezTo>
                    <a:pt x="169" y="199"/>
                    <a:pt x="167" y="200"/>
                    <a:pt x="165" y="200"/>
                  </a:cubicBezTo>
                  <a:cubicBezTo>
                    <a:pt x="164" y="200"/>
                    <a:pt x="162" y="199"/>
                    <a:pt x="160" y="198"/>
                  </a:cubicBezTo>
                  <a:cubicBezTo>
                    <a:pt x="106" y="158"/>
                    <a:pt x="106" y="158"/>
                    <a:pt x="106" y="158"/>
                  </a:cubicBezTo>
                  <a:cubicBezTo>
                    <a:pt x="51" y="198"/>
                    <a:pt x="51" y="198"/>
                    <a:pt x="51" y="198"/>
                  </a:cubicBezTo>
                  <a:cubicBezTo>
                    <a:pt x="48" y="200"/>
                    <a:pt x="44" y="200"/>
                    <a:pt x="41" y="198"/>
                  </a:cubicBezTo>
                  <a:cubicBezTo>
                    <a:pt x="38" y="196"/>
                    <a:pt x="37" y="192"/>
                    <a:pt x="38" y="189"/>
                  </a:cubicBezTo>
                  <a:cubicBezTo>
                    <a:pt x="59" y="124"/>
                    <a:pt x="59" y="124"/>
                    <a:pt x="59" y="124"/>
                  </a:cubicBezTo>
                  <a:cubicBezTo>
                    <a:pt x="5" y="85"/>
                    <a:pt x="5" y="85"/>
                    <a:pt x="5" y="85"/>
                  </a:cubicBezTo>
                  <a:cubicBezTo>
                    <a:pt x="2" y="83"/>
                    <a:pt x="0" y="79"/>
                    <a:pt x="2" y="75"/>
                  </a:cubicBezTo>
                  <a:cubicBezTo>
                    <a:pt x="3" y="72"/>
                    <a:pt x="6" y="70"/>
                    <a:pt x="10" y="70"/>
                  </a:cubicBezTo>
                  <a:cubicBezTo>
                    <a:pt x="77" y="70"/>
                    <a:pt x="77" y="70"/>
                    <a:pt x="77" y="70"/>
                  </a:cubicBezTo>
                  <a:cubicBezTo>
                    <a:pt x="98" y="5"/>
                    <a:pt x="98" y="5"/>
                    <a:pt x="98" y="5"/>
                  </a:cubicBezTo>
                  <a:cubicBezTo>
                    <a:pt x="99" y="2"/>
                    <a:pt x="102" y="0"/>
                    <a:pt x="106" y="0"/>
                  </a:cubicBezTo>
                  <a:cubicBezTo>
                    <a:pt x="110" y="0"/>
                    <a:pt x="113" y="2"/>
                    <a:pt x="114" y="5"/>
                  </a:cubicBezTo>
                  <a:cubicBezTo>
                    <a:pt x="135" y="70"/>
                    <a:pt x="135" y="70"/>
                    <a:pt x="135" y="70"/>
                  </a:cubicBezTo>
                  <a:cubicBezTo>
                    <a:pt x="202" y="70"/>
                    <a:pt x="202" y="70"/>
                    <a:pt x="202" y="70"/>
                  </a:cubicBezTo>
                  <a:cubicBezTo>
                    <a:pt x="206" y="70"/>
                    <a:pt x="209" y="72"/>
                    <a:pt x="210" y="75"/>
                  </a:cubicBezTo>
                  <a:cubicBezTo>
                    <a:pt x="211" y="79"/>
                    <a:pt x="210" y="83"/>
                    <a:pt x="207" y="85"/>
                  </a:cubicBezTo>
                </a:path>
              </a:pathLst>
            </a:custGeom>
            <a:solidFill>
              <a:schemeClr val="bg1"/>
            </a:solidFill>
            <a:ln>
              <a:noFill/>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75" name="Freeform 13"/>
            <p:cNvSpPr>
              <a:spLocks noEditPoints="1"/>
            </p:cNvSpPr>
            <p:nvPr/>
          </p:nvSpPr>
          <p:spPr bwMode="auto">
            <a:xfrm>
              <a:off x="999366" y="3583863"/>
              <a:ext cx="170227" cy="148497"/>
            </a:xfrm>
            <a:custGeom>
              <a:avLst/>
              <a:gdLst>
                <a:gd name="T0" fmla="*/ 36 w 216"/>
                <a:gd name="T1" fmla="*/ 19 h 188"/>
                <a:gd name="T2" fmla="*/ 10 w 216"/>
                <a:gd name="T3" fmla="*/ 3 h 188"/>
                <a:gd name="T4" fmla="*/ 0 w 216"/>
                <a:gd name="T5" fmla="*/ 8 h 188"/>
                <a:gd name="T6" fmla="*/ 0 w 216"/>
                <a:gd name="T7" fmla="*/ 42 h 188"/>
                <a:gd name="T8" fmla="*/ 10 w 216"/>
                <a:gd name="T9" fmla="*/ 48 h 188"/>
                <a:gd name="T10" fmla="*/ 36 w 216"/>
                <a:gd name="T11" fmla="*/ 31 h 188"/>
                <a:gd name="T12" fmla="*/ 36 w 216"/>
                <a:gd name="T13" fmla="*/ 19 h 188"/>
                <a:gd name="T14" fmla="*/ 205 w 216"/>
                <a:gd name="T15" fmla="*/ 8 h 188"/>
                <a:gd name="T16" fmla="*/ 68 w 216"/>
                <a:gd name="T17" fmla="*/ 8 h 188"/>
                <a:gd name="T18" fmla="*/ 57 w 216"/>
                <a:gd name="T19" fmla="*/ 20 h 188"/>
                <a:gd name="T20" fmla="*/ 57 w 216"/>
                <a:gd name="T21" fmla="*/ 31 h 188"/>
                <a:gd name="T22" fmla="*/ 68 w 216"/>
                <a:gd name="T23" fmla="*/ 42 h 188"/>
                <a:gd name="T24" fmla="*/ 205 w 216"/>
                <a:gd name="T25" fmla="*/ 42 h 188"/>
                <a:gd name="T26" fmla="*/ 216 w 216"/>
                <a:gd name="T27" fmla="*/ 31 h 188"/>
                <a:gd name="T28" fmla="*/ 216 w 216"/>
                <a:gd name="T29" fmla="*/ 20 h 188"/>
                <a:gd name="T30" fmla="*/ 205 w 216"/>
                <a:gd name="T31" fmla="*/ 8 h 188"/>
                <a:gd name="T32" fmla="*/ 10 w 216"/>
                <a:gd name="T33" fmla="*/ 116 h 188"/>
                <a:gd name="T34" fmla="*/ 36 w 216"/>
                <a:gd name="T35" fmla="*/ 100 h 188"/>
                <a:gd name="T36" fmla="*/ 35 w 216"/>
                <a:gd name="T37" fmla="*/ 89 h 188"/>
                <a:gd name="T38" fmla="*/ 10 w 216"/>
                <a:gd name="T39" fmla="*/ 76 h 188"/>
                <a:gd name="T40" fmla="*/ 0 w 216"/>
                <a:gd name="T41" fmla="*/ 82 h 188"/>
                <a:gd name="T42" fmla="*/ 0 w 216"/>
                <a:gd name="T43" fmla="*/ 111 h 188"/>
                <a:gd name="T44" fmla="*/ 10 w 216"/>
                <a:gd name="T45" fmla="*/ 116 h 188"/>
                <a:gd name="T46" fmla="*/ 205 w 216"/>
                <a:gd name="T47" fmla="*/ 77 h 188"/>
                <a:gd name="T48" fmla="*/ 68 w 216"/>
                <a:gd name="T49" fmla="*/ 77 h 188"/>
                <a:gd name="T50" fmla="*/ 57 w 216"/>
                <a:gd name="T51" fmla="*/ 88 h 188"/>
                <a:gd name="T52" fmla="*/ 57 w 216"/>
                <a:gd name="T53" fmla="*/ 99 h 188"/>
                <a:gd name="T54" fmla="*/ 68 w 216"/>
                <a:gd name="T55" fmla="*/ 111 h 188"/>
                <a:gd name="T56" fmla="*/ 205 w 216"/>
                <a:gd name="T57" fmla="*/ 111 h 188"/>
                <a:gd name="T58" fmla="*/ 216 w 216"/>
                <a:gd name="T59" fmla="*/ 99 h 188"/>
                <a:gd name="T60" fmla="*/ 216 w 216"/>
                <a:gd name="T61" fmla="*/ 88 h 188"/>
                <a:gd name="T62" fmla="*/ 205 w 216"/>
                <a:gd name="T63" fmla="*/ 77 h 188"/>
                <a:gd name="T64" fmla="*/ 36 w 216"/>
                <a:gd name="T65" fmla="*/ 156 h 188"/>
                <a:gd name="T66" fmla="*/ 10 w 216"/>
                <a:gd name="T67" fmla="*/ 139 h 188"/>
                <a:gd name="T68" fmla="*/ 0 w 216"/>
                <a:gd name="T69" fmla="*/ 145 h 188"/>
                <a:gd name="T70" fmla="*/ 0 w 216"/>
                <a:gd name="T71" fmla="*/ 179 h 188"/>
                <a:gd name="T72" fmla="*/ 10 w 216"/>
                <a:gd name="T73" fmla="*/ 184 h 188"/>
                <a:gd name="T74" fmla="*/ 36 w 216"/>
                <a:gd name="T75" fmla="*/ 168 h 188"/>
                <a:gd name="T76" fmla="*/ 36 w 216"/>
                <a:gd name="T77" fmla="*/ 156 h 188"/>
                <a:gd name="T78" fmla="*/ 205 w 216"/>
                <a:gd name="T79" fmla="*/ 145 h 188"/>
                <a:gd name="T80" fmla="*/ 68 w 216"/>
                <a:gd name="T81" fmla="*/ 145 h 188"/>
                <a:gd name="T82" fmla="*/ 57 w 216"/>
                <a:gd name="T83" fmla="*/ 156 h 188"/>
                <a:gd name="T84" fmla="*/ 57 w 216"/>
                <a:gd name="T85" fmla="*/ 167 h 188"/>
                <a:gd name="T86" fmla="*/ 68 w 216"/>
                <a:gd name="T87" fmla="*/ 179 h 188"/>
                <a:gd name="T88" fmla="*/ 205 w 216"/>
                <a:gd name="T89" fmla="*/ 179 h 188"/>
                <a:gd name="T90" fmla="*/ 216 w 216"/>
                <a:gd name="T91" fmla="*/ 167 h 188"/>
                <a:gd name="T92" fmla="*/ 216 w 216"/>
                <a:gd name="T93" fmla="*/ 156 h 188"/>
                <a:gd name="T94" fmla="*/ 205 w 216"/>
                <a:gd name="T95" fmla="*/ 14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6" h="188">
                  <a:moveTo>
                    <a:pt x="36" y="19"/>
                  </a:moveTo>
                  <a:cubicBezTo>
                    <a:pt x="10" y="3"/>
                    <a:pt x="10" y="3"/>
                    <a:pt x="10" y="3"/>
                  </a:cubicBezTo>
                  <a:cubicBezTo>
                    <a:pt x="4" y="0"/>
                    <a:pt x="0" y="2"/>
                    <a:pt x="0" y="8"/>
                  </a:cubicBezTo>
                  <a:cubicBezTo>
                    <a:pt x="0" y="42"/>
                    <a:pt x="0" y="42"/>
                    <a:pt x="0" y="42"/>
                  </a:cubicBezTo>
                  <a:cubicBezTo>
                    <a:pt x="0" y="49"/>
                    <a:pt x="4" y="51"/>
                    <a:pt x="10" y="48"/>
                  </a:cubicBezTo>
                  <a:cubicBezTo>
                    <a:pt x="36" y="31"/>
                    <a:pt x="36" y="31"/>
                    <a:pt x="36" y="31"/>
                  </a:cubicBezTo>
                  <a:cubicBezTo>
                    <a:pt x="41" y="28"/>
                    <a:pt x="41" y="23"/>
                    <a:pt x="36" y="19"/>
                  </a:cubicBezTo>
                  <a:moveTo>
                    <a:pt x="205" y="8"/>
                  </a:moveTo>
                  <a:cubicBezTo>
                    <a:pt x="68" y="8"/>
                    <a:pt x="68" y="8"/>
                    <a:pt x="68" y="8"/>
                  </a:cubicBezTo>
                  <a:cubicBezTo>
                    <a:pt x="62" y="8"/>
                    <a:pt x="57" y="13"/>
                    <a:pt x="57" y="20"/>
                  </a:cubicBezTo>
                  <a:cubicBezTo>
                    <a:pt x="57" y="31"/>
                    <a:pt x="57" y="31"/>
                    <a:pt x="57" y="31"/>
                  </a:cubicBezTo>
                  <a:cubicBezTo>
                    <a:pt x="57" y="37"/>
                    <a:pt x="62" y="42"/>
                    <a:pt x="68" y="42"/>
                  </a:cubicBezTo>
                  <a:cubicBezTo>
                    <a:pt x="205" y="42"/>
                    <a:pt x="205" y="42"/>
                    <a:pt x="205" y="42"/>
                  </a:cubicBezTo>
                  <a:cubicBezTo>
                    <a:pt x="211" y="42"/>
                    <a:pt x="216" y="37"/>
                    <a:pt x="216" y="31"/>
                  </a:cubicBezTo>
                  <a:cubicBezTo>
                    <a:pt x="216" y="20"/>
                    <a:pt x="216" y="20"/>
                    <a:pt x="216" y="20"/>
                  </a:cubicBezTo>
                  <a:cubicBezTo>
                    <a:pt x="216" y="13"/>
                    <a:pt x="211" y="8"/>
                    <a:pt x="205" y="8"/>
                  </a:cubicBezTo>
                  <a:moveTo>
                    <a:pt x="10" y="116"/>
                  </a:moveTo>
                  <a:cubicBezTo>
                    <a:pt x="36" y="100"/>
                    <a:pt x="36" y="100"/>
                    <a:pt x="36" y="100"/>
                  </a:cubicBezTo>
                  <a:cubicBezTo>
                    <a:pt x="41" y="96"/>
                    <a:pt x="41" y="91"/>
                    <a:pt x="35" y="89"/>
                  </a:cubicBezTo>
                  <a:cubicBezTo>
                    <a:pt x="10" y="76"/>
                    <a:pt x="10" y="76"/>
                    <a:pt x="10" y="76"/>
                  </a:cubicBezTo>
                  <a:cubicBezTo>
                    <a:pt x="5" y="73"/>
                    <a:pt x="0" y="76"/>
                    <a:pt x="0" y="82"/>
                  </a:cubicBezTo>
                  <a:cubicBezTo>
                    <a:pt x="0" y="111"/>
                    <a:pt x="0" y="111"/>
                    <a:pt x="0" y="111"/>
                  </a:cubicBezTo>
                  <a:cubicBezTo>
                    <a:pt x="0" y="117"/>
                    <a:pt x="4" y="119"/>
                    <a:pt x="10" y="116"/>
                  </a:cubicBezTo>
                  <a:moveTo>
                    <a:pt x="205" y="77"/>
                  </a:moveTo>
                  <a:cubicBezTo>
                    <a:pt x="68" y="77"/>
                    <a:pt x="68" y="77"/>
                    <a:pt x="68" y="77"/>
                  </a:cubicBezTo>
                  <a:cubicBezTo>
                    <a:pt x="62" y="77"/>
                    <a:pt x="57" y="82"/>
                    <a:pt x="57" y="88"/>
                  </a:cubicBezTo>
                  <a:cubicBezTo>
                    <a:pt x="57" y="99"/>
                    <a:pt x="57" y="99"/>
                    <a:pt x="57" y="99"/>
                  </a:cubicBezTo>
                  <a:cubicBezTo>
                    <a:pt x="57" y="106"/>
                    <a:pt x="62" y="111"/>
                    <a:pt x="68" y="111"/>
                  </a:cubicBezTo>
                  <a:cubicBezTo>
                    <a:pt x="205" y="111"/>
                    <a:pt x="205" y="111"/>
                    <a:pt x="205" y="111"/>
                  </a:cubicBezTo>
                  <a:cubicBezTo>
                    <a:pt x="211" y="111"/>
                    <a:pt x="216" y="106"/>
                    <a:pt x="216" y="99"/>
                  </a:cubicBezTo>
                  <a:cubicBezTo>
                    <a:pt x="216" y="88"/>
                    <a:pt x="216" y="88"/>
                    <a:pt x="216" y="88"/>
                  </a:cubicBezTo>
                  <a:cubicBezTo>
                    <a:pt x="216" y="82"/>
                    <a:pt x="211" y="77"/>
                    <a:pt x="205" y="77"/>
                  </a:cubicBezTo>
                  <a:moveTo>
                    <a:pt x="36" y="156"/>
                  </a:moveTo>
                  <a:cubicBezTo>
                    <a:pt x="10" y="139"/>
                    <a:pt x="10" y="139"/>
                    <a:pt x="10" y="139"/>
                  </a:cubicBezTo>
                  <a:cubicBezTo>
                    <a:pt x="4" y="136"/>
                    <a:pt x="0" y="138"/>
                    <a:pt x="0" y="145"/>
                  </a:cubicBezTo>
                  <a:cubicBezTo>
                    <a:pt x="0" y="179"/>
                    <a:pt x="0" y="179"/>
                    <a:pt x="0" y="179"/>
                  </a:cubicBezTo>
                  <a:cubicBezTo>
                    <a:pt x="0" y="185"/>
                    <a:pt x="4" y="188"/>
                    <a:pt x="10" y="184"/>
                  </a:cubicBezTo>
                  <a:cubicBezTo>
                    <a:pt x="36" y="168"/>
                    <a:pt x="36" y="168"/>
                    <a:pt x="36" y="168"/>
                  </a:cubicBezTo>
                  <a:cubicBezTo>
                    <a:pt x="41" y="165"/>
                    <a:pt x="41" y="159"/>
                    <a:pt x="36" y="156"/>
                  </a:cubicBezTo>
                  <a:moveTo>
                    <a:pt x="205" y="145"/>
                  </a:moveTo>
                  <a:cubicBezTo>
                    <a:pt x="68" y="145"/>
                    <a:pt x="68" y="145"/>
                    <a:pt x="68" y="145"/>
                  </a:cubicBezTo>
                  <a:cubicBezTo>
                    <a:pt x="62" y="145"/>
                    <a:pt x="57" y="150"/>
                    <a:pt x="57" y="156"/>
                  </a:cubicBezTo>
                  <a:cubicBezTo>
                    <a:pt x="57" y="167"/>
                    <a:pt x="57" y="167"/>
                    <a:pt x="57" y="167"/>
                  </a:cubicBezTo>
                  <a:cubicBezTo>
                    <a:pt x="57" y="174"/>
                    <a:pt x="62" y="179"/>
                    <a:pt x="68" y="179"/>
                  </a:cubicBezTo>
                  <a:cubicBezTo>
                    <a:pt x="205" y="179"/>
                    <a:pt x="205" y="179"/>
                    <a:pt x="205" y="179"/>
                  </a:cubicBezTo>
                  <a:cubicBezTo>
                    <a:pt x="211" y="179"/>
                    <a:pt x="216" y="174"/>
                    <a:pt x="216" y="167"/>
                  </a:cubicBezTo>
                  <a:cubicBezTo>
                    <a:pt x="216" y="156"/>
                    <a:pt x="216" y="156"/>
                    <a:pt x="216" y="156"/>
                  </a:cubicBezTo>
                  <a:cubicBezTo>
                    <a:pt x="216" y="150"/>
                    <a:pt x="211" y="145"/>
                    <a:pt x="205" y="145"/>
                  </a:cubicBezTo>
                </a:path>
              </a:pathLst>
            </a:custGeom>
            <a:solidFill>
              <a:schemeClr val="bg1"/>
            </a:solidFill>
            <a:ln>
              <a:noFill/>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76" name="Freeform 26"/>
            <p:cNvSpPr/>
            <p:nvPr/>
          </p:nvSpPr>
          <p:spPr bwMode="auto">
            <a:xfrm>
              <a:off x="3019711" y="4852711"/>
              <a:ext cx="170049" cy="190649"/>
            </a:xfrm>
            <a:custGeom>
              <a:avLst/>
              <a:gdLst>
                <a:gd name="T0" fmla="*/ 157 w 175"/>
                <a:gd name="T1" fmla="*/ 3 h 197"/>
                <a:gd name="T2" fmla="*/ 74 w 175"/>
                <a:gd name="T3" fmla="*/ 28 h 197"/>
                <a:gd name="T4" fmla="*/ 55 w 175"/>
                <a:gd name="T5" fmla="*/ 52 h 197"/>
                <a:gd name="T6" fmla="*/ 55 w 175"/>
                <a:gd name="T7" fmla="*/ 138 h 197"/>
                <a:gd name="T8" fmla="*/ 55 w 175"/>
                <a:gd name="T9" fmla="*/ 140 h 197"/>
                <a:gd name="T10" fmla="*/ 36 w 175"/>
                <a:gd name="T11" fmla="*/ 137 h 197"/>
                <a:gd name="T12" fmla="*/ 0 w 175"/>
                <a:gd name="T13" fmla="*/ 171 h 197"/>
                <a:gd name="T14" fmla="*/ 36 w 175"/>
                <a:gd name="T15" fmla="*/ 194 h 197"/>
                <a:gd name="T16" fmla="*/ 70 w 175"/>
                <a:gd name="T17" fmla="*/ 161 h 197"/>
                <a:gd name="T18" fmla="*/ 70 w 175"/>
                <a:gd name="T19" fmla="*/ 86 h 197"/>
                <a:gd name="T20" fmla="*/ 79 w 175"/>
                <a:gd name="T21" fmla="*/ 76 h 197"/>
                <a:gd name="T22" fmla="*/ 152 w 175"/>
                <a:gd name="T23" fmla="*/ 52 h 197"/>
                <a:gd name="T24" fmla="*/ 160 w 175"/>
                <a:gd name="T25" fmla="*/ 57 h 197"/>
                <a:gd name="T26" fmla="*/ 160 w 175"/>
                <a:gd name="T27" fmla="*/ 117 h 197"/>
                <a:gd name="T28" fmla="*/ 160 w 175"/>
                <a:gd name="T29" fmla="*/ 118 h 197"/>
                <a:gd name="T30" fmla="*/ 139 w 175"/>
                <a:gd name="T31" fmla="*/ 115 h 197"/>
                <a:gd name="T32" fmla="*/ 104 w 175"/>
                <a:gd name="T33" fmla="*/ 148 h 197"/>
                <a:gd name="T34" fmla="*/ 139 w 175"/>
                <a:gd name="T35" fmla="*/ 172 h 197"/>
                <a:gd name="T36" fmla="*/ 175 w 175"/>
                <a:gd name="T37" fmla="*/ 138 h 197"/>
                <a:gd name="T38" fmla="*/ 175 w 175"/>
                <a:gd name="T39" fmla="*/ 16 h 197"/>
                <a:gd name="T40" fmla="*/ 157 w 175"/>
                <a:gd name="T4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97">
                  <a:moveTo>
                    <a:pt x="157" y="3"/>
                  </a:moveTo>
                  <a:cubicBezTo>
                    <a:pt x="74" y="28"/>
                    <a:pt x="74" y="28"/>
                    <a:pt x="74" y="28"/>
                  </a:cubicBezTo>
                  <a:cubicBezTo>
                    <a:pt x="63" y="31"/>
                    <a:pt x="55" y="42"/>
                    <a:pt x="55" y="52"/>
                  </a:cubicBezTo>
                  <a:cubicBezTo>
                    <a:pt x="55" y="138"/>
                    <a:pt x="55" y="138"/>
                    <a:pt x="55" y="138"/>
                  </a:cubicBezTo>
                  <a:cubicBezTo>
                    <a:pt x="55" y="140"/>
                    <a:pt x="55" y="140"/>
                    <a:pt x="55" y="140"/>
                  </a:cubicBezTo>
                  <a:cubicBezTo>
                    <a:pt x="55" y="140"/>
                    <a:pt x="49" y="135"/>
                    <a:pt x="36" y="137"/>
                  </a:cubicBezTo>
                  <a:cubicBezTo>
                    <a:pt x="16" y="140"/>
                    <a:pt x="0" y="155"/>
                    <a:pt x="0" y="171"/>
                  </a:cubicBezTo>
                  <a:cubicBezTo>
                    <a:pt x="0" y="187"/>
                    <a:pt x="16" y="197"/>
                    <a:pt x="36" y="194"/>
                  </a:cubicBezTo>
                  <a:cubicBezTo>
                    <a:pt x="56" y="191"/>
                    <a:pt x="70" y="177"/>
                    <a:pt x="70" y="161"/>
                  </a:cubicBezTo>
                  <a:cubicBezTo>
                    <a:pt x="70" y="86"/>
                    <a:pt x="70" y="86"/>
                    <a:pt x="70" y="86"/>
                  </a:cubicBezTo>
                  <a:cubicBezTo>
                    <a:pt x="70" y="79"/>
                    <a:pt x="79" y="76"/>
                    <a:pt x="79" y="76"/>
                  </a:cubicBezTo>
                  <a:cubicBezTo>
                    <a:pt x="152" y="52"/>
                    <a:pt x="152" y="52"/>
                    <a:pt x="152" y="52"/>
                  </a:cubicBezTo>
                  <a:cubicBezTo>
                    <a:pt x="152" y="52"/>
                    <a:pt x="160" y="50"/>
                    <a:pt x="160" y="57"/>
                  </a:cubicBezTo>
                  <a:cubicBezTo>
                    <a:pt x="160" y="117"/>
                    <a:pt x="160" y="117"/>
                    <a:pt x="160" y="117"/>
                  </a:cubicBezTo>
                  <a:cubicBezTo>
                    <a:pt x="160" y="118"/>
                    <a:pt x="160" y="118"/>
                    <a:pt x="160" y="118"/>
                  </a:cubicBezTo>
                  <a:cubicBezTo>
                    <a:pt x="160" y="118"/>
                    <a:pt x="153" y="113"/>
                    <a:pt x="139" y="115"/>
                  </a:cubicBezTo>
                  <a:cubicBezTo>
                    <a:pt x="120" y="117"/>
                    <a:pt x="104" y="132"/>
                    <a:pt x="104" y="148"/>
                  </a:cubicBezTo>
                  <a:cubicBezTo>
                    <a:pt x="104" y="164"/>
                    <a:pt x="120" y="174"/>
                    <a:pt x="139" y="172"/>
                  </a:cubicBezTo>
                  <a:cubicBezTo>
                    <a:pt x="159" y="169"/>
                    <a:pt x="175" y="154"/>
                    <a:pt x="175" y="138"/>
                  </a:cubicBezTo>
                  <a:cubicBezTo>
                    <a:pt x="175" y="16"/>
                    <a:pt x="175" y="16"/>
                    <a:pt x="175" y="16"/>
                  </a:cubicBezTo>
                  <a:cubicBezTo>
                    <a:pt x="175" y="6"/>
                    <a:pt x="167" y="0"/>
                    <a:pt x="157" y="3"/>
                  </a:cubicBezTo>
                </a:path>
              </a:pathLst>
            </a:custGeom>
            <a:solidFill>
              <a:schemeClr val="bg1"/>
            </a:solidFill>
            <a:ln>
              <a:noFill/>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77" name="Freeform 30"/>
            <p:cNvSpPr/>
            <p:nvPr/>
          </p:nvSpPr>
          <p:spPr bwMode="auto">
            <a:xfrm>
              <a:off x="1735553" y="4643950"/>
              <a:ext cx="357730" cy="270036"/>
            </a:xfrm>
            <a:custGeom>
              <a:avLst/>
              <a:gdLst>
                <a:gd name="T0" fmla="*/ 192 w 389"/>
                <a:gd name="T1" fmla="*/ 293 h 293"/>
                <a:gd name="T2" fmla="*/ 183 w 389"/>
                <a:gd name="T3" fmla="*/ 285 h 293"/>
                <a:gd name="T4" fmla="*/ 235 w 389"/>
                <a:gd name="T5" fmla="*/ 233 h 293"/>
                <a:gd name="T6" fmla="*/ 145 w 389"/>
                <a:gd name="T7" fmla="*/ 238 h 293"/>
                <a:gd name="T8" fmla="*/ 141 w 389"/>
                <a:gd name="T9" fmla="*/ 241 h 293"/>
                <a:gd name="T10" fmla="*/ 88 w 389"/>
                <a:gd name="T11" fmla="*/ 188 h 293"/>
                <a:gd name="T12" fmla="*/ 93 w 389"/>
                <a:gd name="T13" fmla="*/ 184 h 293"/>
                <a:gd name="T14" fmla="*/ 288 w 389"/>
                <a:gd name="T15" fmla="*/ 180 h 293"/>
                <a:gd name="T16" fmla="*/ 325 w 389"/>
                <a:gd name="T17" fmla="*/ 144 h 293"/>
                <a:gd name="T18" fmla="*/ 254 w 389"/>
                <a:gd name="T19" fmla="*/ 102 h 293"/>
                <a:gd name="T20" fmla="*/ 56 w 389"/>
                <a:gd name="T21" fmla="*/ 149 h 293"/>
                <a:gd name="T22" fmla="*/ 52 w 389"/>
                <a:gd name="T23" fmla="*/ 152 h 293"/>
                <a:gd name="T24" fmla="*/ 0 w 389"/>
                <a:gd name="T25" fmla="*/ 101 h 293"/>
                <a:gd name="T26" fmla="*/ 4 w 389"/>
                <a:gd name="T27" fmla="*/ 96 h 293"/>
                <a:gd name="T28" fmla="*/ 120 w 389"/>
                <a:gd name="T29" fmla="*/ 26 h 293"/>
                <a:gd name="T30" fmla="*/ 389 w 389"/>
                <a:gd name="T31" fmla="*/ 96 h 293"/>
                <a:gd name="T32" fmla="*/ 381 w 389"/>
                <a:gd name="T33" fmla="*/ 105 h 293"/>
                <a:gd name="T34" fmla="*/ 124 w 389"/>
                <a:gd name="T35" fmla="*/ 38 h 293"/>
                <a:gd name="T36" fmla="*/ 17 w 389"/>
                <a:gd name="T37" fmla="*/ 101 h 293"/>
                <a:gd name="T38" fmla="*/ 53 w 389"/>
                <a:gd name="T39" fmla="*/ 136 h 293"/>
                <a:gd name="T40" fmla="*/ 258 w 389"/>
                <a:gd name="T41" fmla="*/ 91 h 293"/>
                <a:gd name="T42" fmla="*/ 338 w 389"/>
                <a:gd name="T43" fmla="*/ 140 h 293"/>
                <a:gd name="T44" fmla="*/ 342 w 389"/>
                <a:gd name="T45" fmla="*/ 144 h 293"/>
                <a:gd name="T46" fmla="*/ 288 w 389"/>
                <a:gd name="T47" fmla="*/ 197 h 293"/>
                <a:gd name="T48" fmla="*/ 284 w 389"/>
                <a:gd name="T49" fmla="*/ 193 h 293"/>
                <a:gd name="T50" fmla="*/ 106 w 389"/>
                <a:gd name="T51" fmla="*/ 189 h 293"/>
                <a:gd name="T52" fmla="*/ 142 w 389"/>
                <a:gd name="T53" fmla="*/ 225 h 293"/>
                <a:gd name="T54" fmla="*/ 248 w 389"/>
                <a:gd name="T55" fmla="*/ 229 h 293"/>
                <a:gd name="T56" fmla="*/ 252 w 389"/>
                <a:gd name="T57" fmla="*/ 233 h 293"/>
                <a:gd name="T58" fmla="*/ 192 w 389"/>
                <a:gd name="T59"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9" h="293">
                  <a:moveTo>
                    <a:pt x="192" y="293"/>
                  </a:moveTo>
                  <a:cubicBezTo>
                    <a:pt x="183" y="285"/>
                    <a:pt x="183" y="285"/>
                    <a:pt x="183" y="285"/>
                  </a:cubicBezTo>
                  <a:cubicBezTo>
                    <a:pt x="235" y="233"/>
                    <a:pt x="235" y="233"/>
                    <a:pt x="235" y="233"/>
                  </a:cubicBezTo>
                  <a:cubicBezTo>
                    <a:pt x="224" y="223"/>
                    <a:pt x="191" y="201"/>
                    <a:pt x="145" y="238"/>
                  </a:cubicBezTo>
                  <a:cubicBezTo>
                    <a:pt x="141" y="241"/>
                    <a:pt x="141" y="241"/>
                    <a:pt x="141" y="241"/>
                  </a:cubicBezTo>
                  <a:cubicBezTo>
                    <a:pt x="88" y="188"/>
                    <a:pt x="88" y="188"/>
                    <a:pt x="88" y="188"/>
                  </a:cubicBezTo>
                  <a:cubicBezTo>
                    <a:pt x="93" y="184"/>
                    <a:pt x="93" y="184"/>
                    <a:pt x="93" y="184"/>
                  </a:cubicBezTo>
                  <a:cubicBezTo>
                    <a:pt x="94" y="183"/>
                    <a:pt x="202" y="101"/>
                    <a:pt x="288" y="180"/>
                  </a:cubicBezTo>
                  <a:cubicBezTo>
                    <a:pt x="325" y="144"/>
                    <a:pt x="325" y="144"/>
                    <a:pt x="325" y="144"/>
                  </a:cubicBezTo>
                  <a:cubicBezTo>
                    <a:pt x="316" y="135"/>
                    <a:pt x="291" y="114"/>
                    <a:pt x="254" y="102"/>
                  </a:cubicBezTo>
                  <a:cubicBezTo>
                    <a:pt x="191" y="82"/>
                    <a:pt x="124" y="97"/>
                    <a:pt x="56" y="149"/>
                  </a:cubicBezTo>
                  <a:cubicBezTo>
                    <a:pt x="52" y="152"/>
                    <a:pt x="52" y="152"/>
                    <a:pt x="52" y="152"/>
                  </a:cubicBezTo>
                  <a:cubicBezTo>
                    <a:pt x="0" y="101"/>
                    <a:pt x="0" y="101"/>
                    <a:pt x="0" y="101"/>
                  </a:cubicBezTo>
                  <a:cubicBezTo>
                    <a:pt x="4" y="96"/>
                    <a:pt x="4" y="96"/>
                    <a:pt x="4" y="96"/>
                  </a:cubicBezTo>
                  <a:cubicBezTo>
                    <a:pt x="6" y="94"/>
                    <a:pt x="50" y="49"/>
                    <a:pt x="120" y="26"/>
                  </a:cubicBezTo>
                  <a:cubicBezTo>
                    <a:pt x="185" y="5"/>
                    <a:pt x="284" y="0"/>
                    <a:pt x="389" y="96"/>
                  </a:cubicBezTo>
                  <a:cubicBezTo>
                    <a:pt x="381" y="105"/>
                    <a:pt x="381" y="105"/>
                    <a:pt x="381" y="105"/>
                  </a:cubicBezTo>
                  <a:cubicBezTo>
                    <a:pt x="300" y="31"/>
                    <a:pt x="213" y="8"/>
                    <a:pt x="124" y="38"/>
                  </a:cubicBezTo>
                  <a:cubicBezTo>
                    <a:pt x="69" y="56"/>
                    <a:pt x="29" y="89"/>
                    <a:pt x="17" y="101"/>
                  </a:cubicBezTo>
                  <a:cubicBezTo>
                    <a:pt x="53" y="136"/>
                    <a:pt x="53" y="136"/>
                    <a:pt x="53" y="136"/>
                  </a:cubicBezTo>
                  <a:cubicBezTo>
                    <a:pt x="102" y="100"/>
                    <a:pt x="177" y="64"/>
                    <a:pt x="258" y="91"/>
                  </a:cubicBezTo>
                  <a:cubicBezTo>
                    <a:pt x="308" y="107"/>
                    <a:pt x="337" y="139"/>
                    <a:pt x="338" y="140"/>
                  </a:cubicBezTo>
                  <a:cubicBezTo>
                    <a:pt x="342" y="144"/>
                    <a:pt x="342" y="144"/>
                    <a:pt x="342" y="144"/>
                  </a:cubicBezTo>
                  <a:cubicBezTo>
                    <a:pt x="288" y="197"/>
                    <a:pt x="288" y="197"/>
                    <a:pt x="288" y="197"/>
                  </a:cubicBezTo>
                  <a:cubicBezTo>
                    <a:pt x="284" y="193"/>
                    <a:pt x="284" y="193"/>
                    <a:pt x="284" y="193"/>
                  </a:cubicBezTo>
                  <a:cubicBezTo>
                    <a:pt x="215" y="125"/>
                    <a:pt x="129" y="174"/>
                    <a:pt x="106" y="189"/>
                  </a:cubicBezTo>
                  <a:cubicBezTo>
                    <a:pt x="142" y="225"/>
                    <a:pt x="142" y="225"/>
                    <a:pt x="142" y="225"/>
                  </a:cubicBezTo>
                  <a:cubicBezTo>
                    <a:pt x="204" y="179"/>
                    <a:pt x="247" y="229"/>
                    <a:pt x="248" y="229"/>
                  </a:cubicBezTo>
                  <a:cubicBezTo>
                    <a:pt x="252" y="233"/>
                    <a:pt x="252" y="233"/>
                    <a:pt x="252" y="233"/>
                  </a:cubicBezTo>
                  <a:lnTo>
                    <a:pt x="192" y="293"/>
                  </a:lnTo>
                  <a:close/>
                </a:path>
              </a:pathLst>
            </a:custGeom>
            <a:solidFill>
              <a:srgbClr val="B4DE2C"/>
            </a:solidFill>
            <a:ln w="12700">
              <a:solidFill>
                <a:schemeClr val="bg1"/>
              </a:solidFill>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nvGrpSpPr>
            <p:cNvPr id="78" name="Group 208"/>
            <p:cNvGrpSpPr/>
            <p:nvPr/>
          </p:nvGrpSpPr>
          <p:grpSpPr>
            <a:xfrm>
              <a:off x="2520658" y="2081728"/>
              <a:ext cx="323404" cy="390195"/>
              <a:chOff x="134906" y="3220460"/>
              <a:chExt cx="730251" cy="881067"/>
            </a:xfrm>
            <a:noFill/>
          </p:grpSpPr>
          <p:sp>
            <p:nvSpPr>
              <p:cNvPr id="172" name="Freeform 34"/>
              <p:cNvSpPr/>
              <p:nvPr/>
            </p:nvSpPr>
            <p:spPr bwMode="auto">
              <a:xfrm>
                <a:off x="134906" y="3220464"/>
                <a:ext cx="730251" cy="577851"/>
              </a:xfrm>
              <a:custGeom>
                <a:avLst/>
                <a:gdLst>
                  <a:gd name="T0" fmla="*/ 124 w 192"/>
                  <a:gd name="T1" fmla="*/ 96 h 152"/>
                  <a:gd name="T2" fmla="*/ 116 w 192"/>
                  <a:gd name="T3" fmla="*/ 92 h 152"/>
                  <a:gd name="T4" fmla="*/ 116 w 192"/>
                  <a:gd name="T5" fmla="*/ 80 h 152"/>
                  <a:gd name="T6" fmla="*/ 120 w 192"/>
                  <a:gd name="T7" fmla="*/ 60 h 152"/>
                  <a:gd name="T8" fmla="*/ 121 w 192"/>
                  <a:gd name="T9" fmla="*/ 25 h 152"/>
                  <a:gd name="T10" fmla="*/ 96 w 192"/>
                  <a:gd name="T11" fmla="*/ 0 h 152"/>
                  <a:gd name="T12" fmla="*/ 72 w 192"/>
                  <a:gd name="T13" fmla="*/ 24 h 152"/>
                  <a:gd name="T14" fmla="*/ 72 w 192"/>
                  <a:gd name="T15" fmla="*/ 60 h 152"/>
                  <a:gd name="T16" fmla="*/ 76 w 192"/>
                  <a:gd name="T17" fmla="*/ 80 h 152"/>
                  <a:gd name="T18" fmla="*/ 76 w 192"/>
                  <a:gd name="T19" fmla="*/ 92 h 152"/>
                  <a:gd name="T20" fmla="*/ 68 w 192"/>
                  <a:gd name="T21" fmla="*/ 96 h 152"/>
                  <a:gd name="T22" fmla="*/ 16 w 192"/>
                  <a:gd name="T23" fmla="*/ 96 h 152"/>
                  <a:gd name="T24" fmla="*/ 0 w 192"/>
                  <a:gd name="T25" fmla="*/ 116 h 152"/>
                  <a:gd name="T26" fmla="*/ 0 w 192"/>
                  <a:gd name="T27" fmla="*/ 152 h 152"/>
                  <a:gd name="T28" fmla="*/ 192 w 192"/>
                  <a:gd name="T29" fmla="*/ 152 h 152"/>
                  <a:gd name="T30" fmla="*/ 192 w 192"/>
                  <a:gd name="T31" fmla="*/ 116 h 152"/>
                  <a:gd name="T32" fmla="*/ 176 w 192"/>
                  <a:gd name="T33" fmla="*/ 96 h 152"/>
                  <a:gd name="T34" fmla="*/ 124 w 192"/>
                  <a:gd name="T35" fmla="*/ 9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52">
                    <a:moveTo>
                      <a:pt x="124" y="96"/>
                    </a:moveTo>
                    <a:cubicBezTo>
                      <a:pt x="121" y="96"/>
                      <a:pt x="118" y="95"/>
                      <a:pt x="116" y="92"/>
                    </a:cubicBezTo>
                    <a:cubicBezTo>
                      <a:pt x="114" y="89"/>
                      <a:pt x="115" y="83"/>
                      <a:pt x="116" y="80"/>
                    </a:cubicBezTo>
                    <a:cubicBezTo>
                      <a:pt x="119" y="72"/>
                      <a:pt x="120" y="68"/>
                      <a:pt x="120" y="60"/>
                    </a:cubicBezTo>
                    <a:cubicBezTo>
                      <a:pt x="121" y="25"/>
                      <a:pt x="121" y="25"/>
                      <a:pt x="121" y="25"/>
                    </a:cubicBezTo>
                    <a:cubicBezTo>
                      <a:pt x="121" y="11"/>
                      <a:pt x="110" y="0"/>
                      <a:pt x="96" y="0"/>
                    </a:cubicBezTo>
                    <a:cubicBezTo>
                      <a:pt x="82" y="0"/>
                      <a:pt x="72" y="10"/>
                      <a:pt x="72" y="24"/>
                    </a:cubicBezTo>
                    <a:cubicBezTo>
                      <a:pt x="72" y="60"/>
                      <a:pt x="72" y="60"/>
                      <a:pt x="72" y="60"/>
                    </a:cubicBezTo>
                    <a:cubicBezTo>
                      <a:pt x="72" y="68"/>
                      <a:pt x="73" y="72"/>
                      <a:pt x="76" y="80"/>
                    </a:cubicBezTo>
                    <a:cubicBezTo>
                      <a:pt x="77" y="83"/>
                      <a:pt x="78" y="89"/>
                      <a:pt x="76" y="92"/>
                    </a:cubicBezTo>
                    <a:cubicBezTo>
                      <a:pt x="74" y="95"/>
                      <a:pt x="71" y="96"/>
                      <a:pt x="68" y="96"/>
                    </a:cubicBezTo>
                    <a:cubicBezTo>
                      <a:pt x="16" y="96"/>
                      <a:pt x="16" y="96"/>
                      <a:pt x="16" y="96"/>
                    </a:cubicBezTo>
                    <a:cubicBezTo>
                      <a:pt x="8" y="96"/>
                      <a:pt x="0" y="108"/>
                      <a:pt x="0" y="116"/>
                    </a:cubicBezTo>
                    <a:cubicBezTo>
                      <a:pt x="0" y="152"/>
                      <a:pt x="0" y="152"/>
                      <a:pt x="0" y="152"/>
                    </a:cubicBezTo>
                    <a:cubicBezTo>
                      <a:pt x="192" y="152"/>
                      <a:pt x="192" y="152"/>
                      <a:pt x="192" y="152"/>
                    </a:cubicBezTo>
                    <a:cubicBezTo>
                      <a:pt x="192" y="116"/>
                      <a:pt x="192" y="116"/>
                      <a:pt x="192" y="116"/>
                    </a:cubicBezTo>
                    <a:cubicBezTo>
                      <a:pt x="192" y="108"/>
                      <a:pt x="184" y="96"/>
                      <a:pt x="176" y="96"/>
                    </a:cubicBezTo>
                    <a:lnTo>
                      <a:pt x="124" y="96"/>
                    </a:lnTo>
                    <a:close/>
                  </a:path>
                </a:pathLst>
              </a:cu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73" name="Freeform 35"/>
              <p:cNvSpPr/>
              <p:nvPr/>
            </p:nvSpPr>
            <p:spPr bwMode="auto">
              <a:xfrm>
                <a:off x="165069" y="3798314"/>
                <a:ext cx="669926" cy="303213"/>
              </a:xfrm>
              <a:custGeom>
                <a:avLst/>
                <a:gdLst>
                  <a:gd name="T0" fmla="*/ 422 w 422"/>
                  <a:gd name="T1" fmla="*/ 191 h 191"/>
                  <a:gd name="T2" fmla="*/ 115 w 422"/>
                  <a:gd name="T3" fmla="*/ 191 h 191"/>
                  <a:gd name="T4" fmla="*/ 115 w 422"/>
                  <a:gd name="T5" fmla="*/ 95 h 191"/>
                  <a:gd name="T6" fmla="*/ 67 w 422"/>
                  <a:gd name="T7" fmla="*/ 191 h 191"/>
                  <a:gd name="T8" fmla="*/ 0 w 422"/>
                  <a:gd name="T9" fmla="*/ 191 h 191"/>
                  <a:gd name="T10" fmla="*/ 0 w 422"/>
                  <a:gd name="T11" fmla="*/ 0 h 191"/>
                  <a:gd name="T12" fmla="*/ 422 w 422"/>
                  <a:gd name="T13" fmla="*/ 0 h 191"/>
                  <a:gd name="T14" fmla="*/ 422 w 422"/>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2" h="191">
                    <a:moveTo>
                      <a:pt x="422" y="191"/>
                    </a:moveTo>
                    <a:lnTo>
                      <a:pt x="115" y="191"/>
                    </a:lnTo>
                    <a:lnTo>
                      <a:pt x="115" y="95"/>
                    </a:lnTo>
                    <a:lnTo>
                      <a:pt x="67" y="191"/>
                    </a:lnTo>
                    <a:lnTo>
                      <a:pt x="0" y="191"/>
                    </a:lnTo>
                    <a:lnTo>
                      <a:pt x="0" y="0"/>
                    </a:lnTo>
                    <a:lnTo>
                      <a:pt x="422" y="0"/>
                    </a:lnTo>
                    <a:lnTo>
                      <a:pt x="422" y="191"/>
                    </a:lnTo>
                    <a:close/>
                  </a:path>
                </a:pathLst>
              </a:cu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74" name="Line 36"/>
              <p:cNvSpPr>
                <a:spLocks noChangeShapeType="1"/>
              </p:cNvSpPr>
              <p:nvPr/>
            </p:nvSpPr>
            <p:spPr bwMode="auto">
              <a:xfrm>
                <a:off x="742919" y="3904677"/>
                <a:ext cx="0" cy="196850"/>
              </a:xfrm>
              <a:prstGeom prst="line">
                <a:avLst/>
              </a:pr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75" name="Line 37"/>
              <p:cNvSpPr>
                <a:spLocks noChangeShapeType="1"/>
              </p:cNvSpPr>
              <p:nvPr/>
            </p:nvSpPr>
            <p:spPr bwMode="auto">
              <a:xfrm>
                <a:off x="652432" y="3949127"/>
                <a:ext cx="0" cy="152400"/>
              </a:xfrm>
              <a:prstGeom prst="line">
                <a:avLst/>
              </a:pr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76" name="Line 38"/>
              <p:cNvSpPr>
                <a:spLocks noChangeShapeType="1"/>
              </p:cNvSpPr>
              <p:nvPr/>
            </p:nvSpPr>
            <p:spPr bwMode="auto">
              <a:xfrm>
                <a:off x="560357" y="4011039"/>
                <a:ext cx="0" cy="90488"/>
              </a:xfrm>
              <a:prstGeom prst="line">
                <a:avLst/>
              </a:pr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77" name="Oval 39"/>
              <p:cNvSpPr>
                <a:spLocks noChangeArrowheads="1"/>
              </p:cNvSpPr>
              <p:nvPr/>
            </p:nvSpPr>
            <p:spPr bwMode="auto">
              <a:xfrm>
                <a:off x="480981" y="3296664"/>
                <a:ext cx="38100" cy="38100"/>
              </a:xfrm>
              <a:prstGeom prst="ellipse">
                <a:avLst/>
              </a:pr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79" name="Group 215"/>
            <p:cNvGrpSpPr/>
            <p:nvPr/>
          </p:nvGrpSpPr>
          <p:grpSpPr>
            <a:xfrm>
              <a:off x="1382621" y="1541991"/>
              <a:ext cx="182816" cy="240000"/>
              <a:chOff x="139667" y="3898841"/>
              <a:chExt cx="669925" cy="879475"/>
            </a:xfrm>
          </p:grpSpPr>
          <p:sp>
            <p:nvSpPr>
              <p:cNvPr id="169" name="Freeform 43"/>
              <p:cNvSpPr/>
              <p:nvPr/>
            </p:nvSpPr>
            <p:spPr bwMode="auto">
              <a:xfrm>
                <a:off x="139667" y="3898841"/>
                <a:ext cx="669925" cy="879475"/>
              </a:xfrm>
              <a:custGeom>
                <a:avLst/>
                <a:gdLst>
                  <a:gd name="T0" fmla="*/ 176 w 176"/>
                  <a:gd name="T1" fmla="*/ 212 h 232"/>
                  <a:gd name="T2" fmla="*/ 156 w 176"/>
                  <a:gd name="T3" fmla="*/ 232 h 232"/>
                  <a:gd name="T4" fmla="*/ 20 w 176"/>
                  <a:gd name="T5" fmla="*/ 232 h 232"/>
                  <a:gd name="T6" fmla="*/ 0 w 176"/>
                  <a:gd name="T7" fmla="*/ 212 h 232"/>
                  <a:gd name="T8" fmla="*/ 0 w 176"/>
                  <a:gd name="T9" fmla="*/ 20 h 232"/>
                  <a:gd name="T10" fmla="*/ 20 w 176"/>
                  <a:gd name="T11" fmla="*/ 0 h 232"/>
                  <a:gd name="T12" fmla="*/ 156 w 176"/>
                  <a:gd name="T13" fmla="*/ 0 h 232"/>
                  <a:gd name="T14" fmla="*/ 176 w 176"/>
                  <a:gd name="T15" fmla="*/ 20 h 232"/>
                  <a:gd name="T16" fmla="*/ 176 w 176"/>
                  <a:gd name="T17" fmla="*/ 2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232">
                    <a:moveTo>
                      <a:pt x="176" y="212"/>
                    </a:moveTo>
                    <a:cubicBezTo>
                      <a:pt x="176" y="223"/>
                      <a:pt x="167" y="232"/>
                      <a:pt x="156" y="232"/>
                    </a:cubicBezTo>
                    <a:cubicBezTo>
                      <a:pt x="20" y="232"/>
                      <a:pt x="20" y="232"/>
                      <a:pt x="20" y="232"/>
                    </a:cubicBezTo>
                    <a:cubicBezTo>
                      <a:pt x="9" y="232"/>
                      <a:pt x="0" y="223"/>
                      <a:pt x="0" y="212"/>
                    </a:cubicBezTo>
                    <a:cubicBezTo>
                      <a:pt x="0" y="20"/>
                      <a:pt x="0" y="20"/>
                      <a:pt x="0" y="20"/>
                    </a:cubicBezTo>
                    <a:cubicBezTo>
                      <a:pt x="0" y="9"/>
                      <a:pt x="9" y="0"/>
                      <a:pt x="20" y="0"/>
                    </a:cubicBezTo>
                    <a:cubicBezTo>
                      <a:pt x="156" y="0"/>
                      <a:pt x="156" y="0"/>
                      <a:pt x="156" y="0"/>
                    </a:cubicBezTo>
                    <a:cubicBezTo>
                      <a:pt x="167" y="0"/>
                      <a:pt x="176" y="9"/>
                      <a:pt x="176" y="20"/>
                    </a:cubicBezTo>
                    <a:lnTo>
                      <a:pt x="176" y="212"/>
                    </a:lnTo>
                    <a:close/>
                  </a:path>
                </a:pathLst>
              </a:custGeom>
              <a:noFill/>
              <a:ln w="12700" cap="rnd">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70" name="Rectangle 44"/>
              <p:cNvSpPr>
                <a:spLocks noChangeArrowheads="1"/>
              </p:cNvSpPr>
              <p:nvPr/>
            </p:nvSpPr>
            <p:spPr bwMode="auto">
              <a:xfrm>
                <a:off x="230154" y="4019491"/>
                <a:ext cx="487362" cy="577850"/>
              </a:xfrm>
              <a:prstGeom prst="rect">
                <a:avLst/>
              </a:prstGeom>
              <a:noFill/>
              <a:ln w="12700" cap="rnd">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71" name="Oval 46"/>
              <p:cNvSpPr>
                <a:spLocks noChangeArrowheads="1"/>
              </p:cNvSpPr>
              <p:nvPr/>
            </p:nvSpPr>
            <p:spPr bwMode="auto">
              <a:xfrm>
                <a:off x="444467" y="4657666"/>
                <a:ext cx="60325" cy="60325"/>
              </a:xfrm>
              <a:prstGeom prst="ellipse">
                <a:avLst/>
              </a:prstGeom>
              <a:noFill/>
              <a:ln w="12700" cap="rnd">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80" name="Group 219"/>
            <p:cNvGrpSpPr/>
            <p:nvPr/>
          </p:nvGrpSpPr>
          <p:grpSpPr>
            <a:xfrm>
              <a:off x="2921160" y="3303489"/>
              <a:ext cx="199685" cy="304754"/>
              <a:chOff x="6553" y="1835403"/>
              <a:chExt cx="576263" cy="879476"/>
            </a:xfrm>
          </p:grpSpPr>
          <p:sp>
            <p:nvSpPr>
              <p:cNvPr id="165" name="Freeform 50"/>
              <p:cNvSpPr/>
              <p:nvPr/>
            </p:nvSpPr>
            <p:spPr bwMode="auto">
              <a:xfrm>
                <a:off x="63703" y="1835403"/>
                <a:ext cx="442913" cy="150813"/>
              </a:xfrm>
              <a:custGeom>
                <a:avLst/>
                <a:gdLst>
                  <a:gd name="T0" fmla="*/ 231 w 279"/>
                  <a:gd name="T1" fmla="*/ 95 h 95"/>
                  <a:gd name="T2" fmla="*/ 58 w 279"/>
                  <a:gd name="T3" fmla="*/ 95 h 95"/>
                  <a:gd name="T4" fmla="*/ 0 w 279"/>
                  <a:gd name="T5" fmla="*/ 0 h 95"/>
                  <a:gd name="T6" fmla="*/ 279 w 279"/>
                  <a:gd name="T7" fmla="*/ 0 h 95"/>
                  <a:gd name="T8" fmla="*/ 231 w 279"/>
                  <a:gd name="T9" fmla="*/ 95 h 95"/>
                </a:gdLst>
                <a:ahLst/>
                <a:cxnLst>
                  <a:cxn ang="0">
                    <a:pos x="T0" y="T1"/>
                  </a:cxn>
                  <a:cxn ang="0">
                    <a:pos x="T2" y="T3"/>
                  </a:cxn>
                  <a:cxn ang="0">
                    <a:pos x="T4" y="T5"/>
                  </a:cxn>
                  <a:cxn ang="0">
                    <a:pos x="T6" y="T7"/>
                  </a:cxn>
                  <a:cxn ang="0">
                    <a:pos x="T8" y="T9"/>
                  </a:cxn>
                </a:cxnLst>
                <a:rect l="0" t="0" r="r" b="b"/>
                <a:pathLst>
                  <a:path w="279" h="95">
                    <a:moveTo>
                      <a:pt x="231" y="95"/>
                    </a:moveTo>
                    <a:lnTo>
                      <a:pt x="58" y="95"/>
                    </a:lnTo>
                    <a:lnTo>
                      <a:pt x="0" y="0"/>
                    </a:lnTo>
                    <a:lnTo>
                      <a:pt x="279" y="0"/>
                    </a:lnTo>
                    <a:lnTo>
                      <a:pt x="231" y="95"/>
                    </a:lnTo>
                    <a:close/>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66" name="Freeform 51"/>
              <p:cNvSpPr/>
              <p:nvPr/>
            </p:nvSpPr>
            <p:spPr bwMode="auto">
              <a:xfrm>
                <a:off x="6553" y="1986216"/>
                <a:ext cx="576263" cy="728663"/>
              </a:xfrm>
              <a:custGeom>
                <a:avLst/>
                <a:gdLst>
                  <a:gd name="T0" fmla="*/ 219 w 363"/>
                  <a:gd name="T1" fmla="*/ 459 h 459"/>
                  <a:gd name="T2" fmla="*/ 142 w 363"/>
                  <a:gd name="T3" fmla="*/ 459 h 459"/>
                  <a:gd name="T4" fmla="*/ 0 w 363"/>
                  <a:gd name="T5" fmla="*/ 158 h 459"/>
                  <a:gd name="T6" fmla="*/ 94 w 363"/>
                  <a:gd name="T7" fmla="*/ 0 h 459"/>
                  <a:gd name="T8" fmla="*/ 267 w 363"/>
                  <a:gd name="T9" fmla="*/ 0 h 459"/>
                  <a:gd name="T10" fmla="*/ 363 w 363"/>
                  <a:gd name="T11" fmla="*/ 158 h 459"/>
                  <a:gd name="T12" fmla="*/ 219 w 363"/>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363" h="459">
                    <a:moveTo>
                      <a:pt x="219" y="459"/>
                    </a:moveTo>
                    <a:lnTo>
                      <a:pt x="142" y="459"/>
                    </a:lnTo>
                    <a:lnTo>
                      <a:pt x="0" y="158"/>
                    </a:lnTo>
                    <a:lnTo>
                      <a:pt x="94" y="0"/>
                    </a:lnTo>
                    <a:lnTo>
                      <a:pt x="267" y="0"/>
                    </a:lnTo>
                    <a:lnTo>
                      <a:pt x="363" y="158"/>
                    </a:lnTo>
                    <a:lnTo>
                      <a:pt x="219" y="459"/>
                    </a:lnTo>
                    <a:close/>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67" name="Line 52"/>
              <p:cNvSpPr>
                <a:spLocks noChangeShapeType="1"/>
              </p:cNvSpPr>
              <p:nvPr/>
            </p:nvSpPr>
            <p:spPr bwMode="auto">
              <a:xfrm>
                <a:off x="292303" y="2291016"/>
                <a:ext cx="0" cy="423863"/>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68" name="Oval 53"/>
              <p:cNvSpPr>
                <a:spLocks noChangeArrowheads="1"/>
              </p:cNvSpPr>
              <p:nvPr/>
            </p:nvSpPr>
            <p:spPr bwMode="auto">
              <a:xfrm>
                <a:off x="216103" y="2138616"/>
                <a:ext cx="152400" cy="152400"/>
              </a:xfrm>
              <a:prstGeom prst="ellipse">
                <a:avLst/>
              </a:pr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81" name="Group 224"/>
            <p:cNvGrpSpPr/>
            <p:nvPr/>
          </p:nvGrpSpPr>
          <p:grpSpPr>
            <a:xfrm>
              <a:off x="3552277" y="2700588"/>
              <a:ext cx="246130" cy="162605"/>
              <a:chOff x="17463" y="11113"/>
              <a:chExt cx="879475" cy="581025"/>
            </a:xfrm>
          </p:grpSpPr>
          <p:sp>
            <p:nvSpPr>
              <p:cNvPr id="161" name="Freeform 5"/>
              <p:cNvSpPr/>
              <p:nvPr/>
            </p:nvSpPr>
            <p:spPr bwMode="auto">
              <a:xfrm>
                <a:off x="17463" y="11113"/>
                <a:ext cx="879475" cy="581025"/>
              </a:xfrm>
              <a:custGeom>
                <a:avLst/>
                <a:gdLst>
                  <a:gd name="T0" fmla="*/ 232 w 232"/>
                  <a:gd name="T1" fmla="*/ 136 h 152"/>
                  <a:gd name="T2" fmla="*/ 216 w 232"/>
                  <a:gd name="T3" fmla="*/ 152 h 152"/>
                  <a:gd name="T4" fmla="*/ 16 w 232"/>
                  <a:gd name="T5" fmla="*/ 152 h 152"/>
                  <a:gd name="T6" fmla="*/ 0 w 232"/>
                  <a:gd name="T7" fmla="*/ 136 h 152"/>
                  <a:gd name="T8" fmla="*/ 0 w 232"/>
                  <a:gd name="T9" fmla="*/ 16 h 152"/>
                  <a:gd name="T10" fmla="*/ 16 w 232"/>
                  <a:gd name="T11" fmla="*/ 0 h 152"/>
                  <a:gd name="T12" fmla="*/ 216 w 232"/>
                  <a:gd name="T13" fmla="*/ 0 h 152"/>
                  <a:gd name="T14" fmla="*/ 232 w 232"/>
                  <a:gd name="T15" fmla="*/ 16 h 152"/>
                  <a:gd name="T16" fmla="*/ 232 w 232"/>
                  <a:gd name="T17" fmla="*/ 13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152">
                    <a:moveTo>
                      <a:pt x="232" y="136"/>
                    </a:moveTo>
                    <a:cubicBezTo>
                      <a:pt x="232" y="145"/>
                      <a:pt x="224" y="152"/>
                      <a:pt x="216" y="152"/>
                    </a:cubicBezTo>
                    <a:cubicBezTo>
                      <a:pt x="16" y="152"/>
                      <a:pt x="16" y="152"/>
                      <a:pt x="16" y="152"/>
                    </a:cubicBezTo>
                    <a:cubicBezTo>
                      <a:pt x="8" y="152"/>
                      <a:pt x="0" y="145"/>
                      <a:pt x="0" y="136"/>
                    </a:cubicBezTo>
                    <a:cubicBezTo>
                      <a:pt x="0" y="16"/>
                      <a:pt x="0" y="16"/>
                      <a:pt x="0" y="16"/>
                    </a:cubicBezTo>
                    <a:cubicBezTo>
                      <a:pt x="0" y="8"/>
                      <a:pt x="8" y="0"/>
                      <a:pt x="16" y="0"/>
                    </a:cubicBezTo>
                    <a:cubicBezTo>
                      <a:pt x="216" y="0"/>
                      <a:pt x="216" y="0"/>
                      <a:pt x="216" y="0"/>
                    </a:cubicBezTo>
                    <a:cubicBezTo>
                      <a:pt x="224" y="0"/>
                      <a:pt x="232" y="8"/>
                      <a:pt x="232" y="16"/>
                    </a:cubicBezTo>
                    <a:lnTo>
                      <a:pt x="232" y="136"/>
                    </a:lnTo>
                    <a:close/>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62" name="Freeform 6"/>
              <p:cNvSpPr/>
              <p:nvPr/>
            </p:nvSpPr>
            <p:spPr bwMode="auto">
              <a:xfrm>
                <a:off x="138113" y="165100"/>
                <a:ext cx="638175" cy="212725"/>
              </a:xfrm>
              <a:custGeom>
                <a:avLst/>
                <a:gdLst>
                  <a:gd name="T0" fmla="*/ 402 w 402"/>
                  <a:gd name="T1" fmla="*/ 0 h 134"/>
                  <a:gd name="T2" fmla="*/ 201 w 402"/>
                  <a:gd name="T3" fmla="*/ 134 h 134"/>
                  <a:gd name="T4" fmla="*/ 0 w 402"/>
                  <a:gd name="T5" fmla="*/ 0 h 134"/>
                </a:gdLst>
                <a:ahLst/>
                <a:cxnLst>
                  <a:cxn ang="0">
                    <a:pos x="T0" y="T1"/>
                  </a:cxn>
                  <a:cxn ang="0">
                    <a:pos x="T2" y="T3"/>
                  </a:cxn>
                  <a:cxn ang="0">
                    <a:pos x="T4" y="T5"/>
                  </a:cxn>
                </a:cxnLst>
                <a:rect l="0" t="0" r="r" b="b"/>
                <a:pathLst>
                  <a:path w="402" h="134">
                    <a:moveTo>
                      <a:pt x="402" y="0"/>
                    </a:moveTo>
                    <a:lnTo>
                      <a:pt x="201" y="134"/>
                    </a:lnTo>
                    <a:lnTo>
                      <a:pt x="0" y="0"/>
                    </a:lnTo>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63" name="Line 7"/>
              <p:cNvSpPr>
                <a:spLocks noChangeShapeType="1"/>
              </p:cNvSpPr>
              <p:nvPr/>
            </p:nvSpPr>
            <p:spPr bwMode="auto">
              <a:xfrm flipV="1">
                <a:off x="138113" y="363538"/>
                <a:ext cx="136525" cy="92075"/>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64" name="Line 8"/>
              <p:cNvSpPr>
                <a:spLocks noChangeShapeType="1"/>
              </p:cNvSpPr>
              <p:nvPr/>
            </p:nvSpPr>
            <p:spPr bwMode="auto">
              <a:xfrm flipH="1" flipV="1">
                <a:off x="639763" y="363538"/>
                <a:ext cx="136525" cy="92075"/>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sp>
          <p:nvSpPr>
            <p:cNvPr id="82" name="Freeform 12"/>
            <p:cNvSpPr>
              <a:spLocks noEditPoints="1"/>
            </p:cNvSpPr>
            <p:nvPr/>
          </p:nvSpPr>
          <p:spPr bwMode="auto">
            <a:xfrm>
              <a:off x="2574636" y="4305578"/>
              <a:ext cx="253580" cy="210222"/>
            </a:xfrm>
            <a:custGeom>
              <a:avLst/>
              <a:gdLst>
                <a:gd name="T0" fmla="*/ 221 w 242"/>
                <a:gd name="T1" fmla="*/ 0 h 200"/>
                <a:gd name="T2" fmla="*/ 171 w 242"/>
                <a:gd name="T3" fmla="*/ 0 h 200"/>
                <a:gd name="T4" fmla="*/ 135 w 242"/>
                <a:gd name="T5" fmla="*/ 15 h 200"/>
                <a:gd name="T6" fmla="*/ 51 w 242"/>
                <a:gd name="T7" fmla="*/ 99 h 200"/>
                <a:gd name="T8" fmla="*/ 51 w 242"/>
                <a:gd name="T9" fmla="*/ 129 h 200"/>
                <a:gd name="T10" fmla="*/ 113 w 242"/>
                <a:gd name="T11" fmla="*/ 192 h 200"/>
                <a:gd name="T12" fmla="*/ 143 w 242"/>
                <a:gd name="T13" fmla="*/ 192 h 200"/>
                <a:gd name="T14" fmla="*/ 227 w 242"/>
                <a:gd name="T15" fmla="*/ 108 h 200"/>
                <a:gd name="T16" fmla="*/ 242 w 242"/>
                <a:gd name="T17" fmla="*/ 71 h 200"/>
                <a:gd name="T18" fmla="*/ 242 w 242"/>
                <a:gd name="T19" fmla="*/ 22 h 200"/>
                <a:gd name="T20" fmla="*/ 221 w 242"/>
                <a:gd name="T21" fmla="*/ 0 h 200"/>
                <a:gd name="T22" fmla="*/ 192 w 242"/>
                <a:gd name="T23" fmla="*/ 71 h 200"/>
                <a:gd name="T24" fmla="*/ 171 w 242"/>
                <a:gd name="T25" fmla="*/ 50 h 200"/>
                <a:gd name="T26" fmla="*/ 192 w 242"/>
                <a:gd name="T27" fmla="*/ 29 h 200"/>
                <a:gd name="T28" fmla="*/ 214 w 242"/>
                <a:gd name="T29" fmla="*/ 50 h 200"/>
                <a:gd name="T30" fmla="*/ 192 w 242"/>
                <a:gd name="T31" fmla="*/ 71 h 200"/>
                <a:gd name="T32" fmla="*/ 19 w 242"/>
                <a:gd name="T33" fmla="*/ 119 h 200"/>
                <a:gd name="T34" fmla="*/ 95 w 242"/>
                <a:gd name="T35" fmla="*/ 196 h 200"/>
                <a:gd name="T36" fmla="*/ 70 w 242"/>
                <a:gd name="T37" fmla="*/ 192 h 200"/>
                <a:gd name="T38" fmla="*/ 8 w 242"/>
                <a:gd name="T39" fmla="*/ 129 h 200"/>
                <a:gd name="T40" fmla="*/ 8 w 242"/>
                <a:gd name="T41" fmla="*/ 99 h 200"/>
                <a:gd name="T42" fmla="*/ 92 w 242"/>
                <a:gd name="T43" fmla="*/ 15 h 200"/>
                <a:gd name="T44" fmla="*/ 128 w 242"/>
                <a:gd name="T45" fmla="*/ 0 h 200"/>
                <a:gd name="T46" fmla="*/ 19 w 242"/>
                <a:gd name="T47" fmla="*/ 109 h 200"/>
                <a:gd name="T48" fmla="*/ 19 w 242"/>
                <a:gd name="T49" fmla="*/ 11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2" h="200">
                  <a:moveTo>
                    <a:pt x="221" y="0"/>
                  </a:moveTo>
                  <a:cubicBezTo>
                    <a:pt x="171" y="0"/>
                    <a:pt x="171" y="0"/>
                    <a:pt x="171" y="0"/>
                  </a:cubicBezTo>
                  <a:cubicBezTo>
                    <a:pt x="159" y="0"/>
                    <a:pt x="143" y="7"/>
                    <a:pt x="135" y="15"/>
                  </a:cubicBezTo>
                  <a:cubicBezTo>
                    <a:pt x="51" y="99"/>
                    <a:pt x="51" y="99"/>
                    <a:pt x="51" y="99"/>
                  </a:cubicBezTo>
                  <a:cubicBezTo>
                    <a:pt x="42" y="107"/>
                    <a:pt x="42" y="121"/>
                    <a:pt x="51" y="129"/>
                  </a:cubicBezTo>
                  <a:cubicBezTo>
                    <a:pt x="113" y="192"/>
                    <a:pt x="113" y="192"/>
                    <a:pt x="113" y="192"/>
                  </a:cubicBezTo>
                  <a:cubicBezTo>
                    <a:pt x="121" y="200"/>
                    <a:pt x="135" y="200"/>
                    <a:pt x="143" y="192"/>
                  </a:cubicBezTo>
                  <a:cubicBezTo>
                    <a:pt x="227" y="108"/>
                    <a:pt x="227" y="108"/>
                    <a:pt x="227" y="108"/>
                  </a:cubicBezTo>
                  <a:cubicBezTo>
                    <a:pt x="236" y="100"/>
                    <a:pt x="242" y="83"/>
                    <a:pt x="242" y="71"/>
                  </a:cubicBezTo>
                  <a:cubicBezTo>
                    <a:pt x="242" y="22"/>
                    <a:pt x="242" y="22"/>
                    <a:pt x="242" y="22"/>
                  </a:cubicBezTo>
                  <a:cubicBezTo>
                    <a:pt x="242" y="10"/>
                    <a:pt x="233" y="0"/>
                    <a:pt x="221" y="0"/>
                  </a:cubicBezTo>
                  <a:moveTo>
                    <a:pt x="192" y="71"/>
                  </a:moveTo>
                  <a:cubicBezTo>
                    <a:pt x="181" y="71"/>
                    <a:pt x="171" y="62"/>
                    <a:pt x="171" y="50"/>
                  </a:cubicBezTo>
                  <a:cubicBezTo>
                    <a:pt x="171" y="38"/>
                    <a:pt x="181" y="29"/>
                    <a:pt x="192" y="29"/>
                  </a:cubicBezTo>
                  <a:cubicBezTo>
                    <a:pt x="204" y="29"/>
                    <a:pt x="214" y="38"/>
                    <a:pt x="214" y="50"/>
                  </a:cubicBezTo>
                  <a:cubicBezTo>
                    <a:pt x="214" y="62"/>
                    <a:pt x="204" y="71"/>
                    <a:pt x="192" y="71"/>
                  </a:cubicBezTo>
                  <a:moveTo>
                    <a:pt x="19" y="119"/>
                  </a:moveTo>
                  <a:cubicBezTo>
                    <a:pt x="95" y="196"/>
                    <a:pt x="95" y="196"/>
                    <a:pt x="95" y="196"/>
                  </a:cubicBezTo>
                  <a:cubicBezTo>
                    <a:pt x="87" y="200"/>
                    <a:pt x="77" y="199"/>
                    <a:pt x="70" y="192"/>
                  </a:cubicBezTo>
                  <a:cubicBezTo>
                    <a:pt x="8" y="129"/>
                    <a:pt x="8" y="129"/>
                    <a:pt x="8" y="129"/>
                  </a:cubicBezTo>
                  <a:cubicBezTo>
                    <a:pt x="0" y="121"/>
                    <a:pt x="0" y="107"/>
                    <a:pt x="8" y="99"/>
                  </a:cubicBezTo>
                  <a:cubicBezTo>
                    <a:pt x="92" y="15"/>
                    <a:pt x="92" y="15"/>
                    <a:pt x="92" y="15"/>
                  </a:cubicBezTo>
                  <a:cubicBezTo>
                    <a:pt x="100" y="7"/>
                    <a:pt x="116" y="0"/>
                    <a:pt x="128" y="0"/>
                  </a:cubicBezTo>
                  <a:cubicBezTo>
                    <a:pt x="19" y="109"/>
                    <a:pt x="19" y="109"/>
                    <a:pt x="19" y="109"/>
                  </a:cubicBezTo>
                  <a:cubicBezTo>
                    <a:pt x="16" y="112"/>
                    <a:pt x="16" y="117"/>
                    <a:pt x="19" y="119"/>
                  </a:cubicBezTo>
                </a:path>
              </a:pathLst>
            </a:custGeom>
            <a:solidFill>
              <a:schemeClr val="bg1"/>
            </a:solidFill>
            <a:ln>
              <a:noFill/>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nvGrpSpPr>
            <p:cNvPr id="83" name="Group 230"/>
            <p:cNvGrpSpPr/>
            <p:nvPr/>
          </p:nvGrpSpPr>
          <p:grpSpPr>
            <a:xfrm>
              <a:off x="2978941" y="2672458"/>
              <a:ext cx="292025" cy="292025"/>
              <a:chOff x="2501147" y="287196"/>
              <a:chExt cx="879475" cy="879475"/>
            </a:xfrm>
          </p:grpSpPr>
          <p:sp>
            <p:nvSpPr>
              <p:cNvPr id="148" name="Rectangle 19"/>
              <p:cNvSpPr>
                <a:spLocks noChangeArrowheads="1"/>
              </p:cNvSpPr>
              <p:nvPr/>
            </p:nvSpPr>
            <p:spPr bwMode="auto">
              <a:xfrm>
                <a:off x="2501147" y="287196"/>
                <a:ext cx="879475" cy="879475"/>
              </a:xfrm>
              <a:prstGeom prst="rect">
                <a:avLst/>
              </a:prstGeom>
              <a:noFill/>
              <a:ln w="12700" cap="rnd">
                <a:solidFill>
                  <a:schemeClr val="tx1">
                    <a:lumMod val="65000"/>
                    <a:lumOff val="35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49" name="Line 20"/>
              <p:cNvSpPr>
                <a:spLocks noChangeShapeType="1"/>
              </p:cNvSpPr>
              <p:nvPr/>
            </p:nvSpPr>
            <p:spPr bwMode="auto">
              <a:xfrm flipV="1">
                <a:off x="2956760" y="560246"/>
                <a:ext cx="0" cy="261938"/>
              </a:xfrm>
              <a:prstGeom prst="line">
                <a:avLst/>
              </a:prstGeom>
              <a:noFill/>
              <a:ln w="12700" cap="rnd">
                <a:solidFill>
                  <a:schemeClr val="tx1">
                    <a:lumMod val="65000"/>
                    <a:lumOff val="35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50" name="Line 21"/>
              <p:cNvSpPr>
                <a:spLocks noChangeShapeType="1"/>
              </p:cNvSpPr>
              <p:nvPr/>
            </p:nvSpPr>
            <p:spPr bwMode="auto">
              <a:xfrm flipV="1">
                <a:off x="3137735" y="742809"/>
                <a:ext cx="0" cy="79375"/>
              </a:xfrm>
              <a:prstGeom prst="line">
                <a:avLst/>
              </a:prstGeom>
              <a:noFill/>
              <a:ln w="12700" cap="rnd">
                <a:solidFill>
                  <a:schemeClr val="tx1">
                    <a:lumMod val="65000"/>
                    <a:lumOff val="35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51" name="Line 22"/>
              <p:cNvSpPr>
                <a:spLocks noChangeShapeType="1"/>
              </p:cNvSpPr>
              <p:nvPr/>
            </p:nvSpPr>
            <p:spPr bwMode="auto">
              <a:xfrm flipV="1">
                <a:off x="2744035" y="399909"/>
                <a:ext cx="0" cy="220663"/>
              </a:xfrm>
              <a:prstGeom prst="line">
                <a:avLst/>
              </a:prstGeom>
              <a:noFill/>
              <a:ln w="12700" cap="rnd">
                <a:solidFill>
                  <a:schemeClr val="tx1">
                    <a:lumMod val="65000"/>
                    <a:lumOff val="35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52" name="Line 23"/>
              <p:cNvSpPr>
                <a:spLocks noChangeShapeType="1"/>
              </p:cNvSpPr>
              <p:nvPr/>
            </p:nvSpPr>
            <p:spPr bwMode="auto">
              <a:xfrm flipV="1">
                <a:off x="2744035" y="680896"/>
                <a:ext cx="0" cy="141288"/>
              </a:xfrm>
              <a:prstGeom prst="line">
                <a:avLst/>
              </a:prstGeom>
              <a:noFill/>
              <a:ln w="12700" cap="rnd">
                <a:solidFill>
                  <a:schemeClr val="tx1">
                    <a:lumMod val="65000"/>
                    <a:lumOff val="35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53" name="Line 24"/>
              <p:cNvSpPr>
                <a:spLocks noChangeShapeType="1"/>
              </p:cNvSpPr>
              <p:nvPr/>
            </p:nvSpPr>
            <p:spPr bwMode="auto">
              <a:xfrm flipV="1">
                <a:off x="3137735" y="399909"/>
                <a:ext cx="0" cy="280988"/>
              </a:xfrm>
              <a:prstGeom prst="line">
                <a:avLst/>
              </a:prstGeom>
              <a:noFill/>
              <a:ln w="12700" cap="rnd">
                <a:solidFill>
                  <a:schemeClr val="tx1">
                    <a:lumMod val="65000"/>
                    <a:lumOff val="35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54" name="Line 25"/>
              <p:cNvSpPr>
                <a:spLocks noChangeShapeType="1"/>
              </p:cNvSpPr>
              <p:nvPr/>
            </p:nvSpPr>
            <p:spPr bwMode="auto">
              <a:xfrm flipV="1">
                <a:off x="2956760" y="399909"/>
                <a:ext cx="0" cy="98425"/>
              </a:xfrm>
              <a:prstGeom prst="line">
                <a:avLst/>
              </a:prstGeom>
              <a:noFill/>
              <a:ln w="12700" cap="rnd">
                <a:solidFill>
                  <a:schemeClr val="tx1">
                    <a:lumMod val="65000"/>
                    <a:lumOff val="35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55" name="Rectangle 26"/>
              <p:cNvSpPr>
                <a:spLocks noChangeArrowheads="1"/>
              </p:cNvSpPr>
              <p:nvPr/>
            </p:nvSpPr>
            <p:spPr bwMode="auto">
              <a:xfrm>
                <a:off x="3077410" y="680896"/>
                <a:ext cx="122238" cy="61913"/>
              </a:xfrm>
              <a:prstGeom prst="rect">
                <a:avLst/>
              </a:prstGeom>
              <a:noFill/>
              <a:ln w="12700" cap="rnd">
                <a:solidFill>
                  <a:schemeClr val="tx1">
                    <a:lumMod val="65000"/>
                    <a:lumOff val="35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56" name="Rectangle 27"/>
              <p:cNvSpPr>
                <a:spLocks noChangeArrowheads="1"/>
              </p:cNvSpPr>
              <p:nvPr/>
            </p:nvSpPr>
            <p:spPr bwMode="auto">
              <a:xfrm>
                <a:off x="2894847" y="498334"/>
                <a:ext cx="122238" cy="61913"/>
              </a:xfrm>
              <a:prstGeom prst="rect">
                <a:avLst/>
              </a:prstGeom>
              <a:noFill/>
              <a:ln w="12700" cap="rnd">
                <a:solidFill>
                  <a:schemeClr val="tx1">
                    <a:lumMod val="65000"/>
                    <a:lumOff val="35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57" name="Rectangle 28"/>
              <p:cNvSpPr>
                <a:spLocks noChangeArrowheads="1"/>
              </p:cNvSpPr>
              <p:nvPr/>
            </p:nvSpPr>
            <p:spPr bwMode="auto">
              <a:xfrm>
                <a:off x="2682122" y="620571"/>
                <a:ext cx="122238" cy="60325"/>
              </a:xfrm>
              <a:prstGeom prst="rect">
                <a:avLst/>
              </a:prstGeom>
              <a:noFill/>
              <a:ln w="12700" cap="rnd">
                <a:solidFill>
                  <a:schemeClr val="tx1">
                    <a:lumMod val="65000"/>
                    <a:lumOff val="35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58" name="Oval 29"/>
              <p:cNvSpPr>
                <a:spLocks noChangeArrowheads="1"/>
              </p:cNvSpPr>
              <p:nvPr/>
            </p:nvSpPr>
            <p:spPr bwMode="auto">
              <a:xfrm>
                <a:off x="3077410" y="923784"/>
                <a:ext cx="122238" cy="122238"/>
              </a:xfrm>
              <a:prstGeom prst="ellipse">
                <a:avLst/>
              </a:prstGeom>
              <a:noFill/>
              <a:ln w="12700" cap="rnd">
                <a:solidFill>
                  <a:schemeClr val="tx1">
                    <a:lumMod val="65000"/>
                    <a:lumOff val="35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59" name="Oval 30"/>
              <p:cNvSpPr>
                <a:spLocks noChangeArrowheads="1"/>
              </p:cNvSpPr>
              <p:nvPr/>
            </p:nvSpPr>
            <p:spPr bwMode="auto">
              <a:xfrm>
                <a:off x="2894847" y="923784"/>
                <a:ext cx="122238" cy="122238"/>
              </a:xfrm>
              <a:prstGeom prst="ellipse">
                <a:avLst/>
              </a:prstGeom>
              <a:noFill/>
              <a:ln w="12700" cap="rnd">
                <a:solidFill>
                  <a:schemeClr val="tx1">
                    <a:lumMod val="65000"/>
                    <a:lumOff val="35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60" name="Oval 31"/>
              <p:cNvSpPr>
                <a:spLocks noChangeArrowheads="1"/>
              </p:cNvSpPr>
              <p:nvPr/>
            </p:nvSpPr>
            <p:spPr bwMode="auto">
              <a:xfrm>
                <a:off x="2682122" y="923784"/>
                <a:ext cx="122238" cy="122238"/>
              </a:xfrm>
              <a:prstGeom prst="ellipse">
                <a:avLst/>
              </a:prstGeom>
              <a:noFill/>
              <a:ln w="12700" cap="rnd">
                <a:solidFill>
                  <a:schemeClr val="tx1">
                    <a:lumMod val="65000"/>
                    <a:lumOff val="35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84" name="Group 244"/>
            <p:cNvGrpSpPr/>
            <p:nvPr/>
          </p:nvGrpSpPr>
          <p:grpSpPr>
            <a:xfrm>
              <a:off x="1939639" y="2685985"/>
              <a:ext cx="303954" cy="293728"/>
              <a:chOff x="20638" y="19050"/>
              <a:chExt cx="849312" cy="820738"/>
            </a:xfrm>
          </p:grpSpPr>
          <p:sp>
            <p:nvSpPr>
              <p:cNvPr id="142" name="Freeform 35"/>
              <p:cNvSpPr/>
              <p:nvPr/>
            </p:nvSpPr>
            <p:spPr bwMode="auto">
              <a:xfrm>
                <a:off x="36513" y="719138"/>
                <a:ext cx="817562" cy="120650"/>
              </a:xfrm>
              <a:custGeom>
                <a:avLst/>
                <a:gdLst>
                  <a:gd name="T0" fmla="*/ 196 w 216"/>
                  <a:gd name="T1" fmla="*/ 32 h 32"/>
                  <a:gd name="T2" fmla="*/ 20 w 216"/>
                  <a:gd name="T3" fmla="*/ 32 h 32"/>
                  <a:gd name="T4" fmla="*/ 20 w 216"/>
                  <a:gd name="T5" fmla="*/ 0 h 32"/>
                  <a:gd name="T6" fmla="*/ 196 w 216"/>
                  <a:gd name="T7" fmla="*/ 0 h 32"/>
                  <a:gd name="T8" fmla="*/ 196 w 216"/>
                  <a:gd name="T9" fmla="*/ 32 h 32"/>
                </a:gdLst>
                <a:ahLst/>
                <a:cxnLst>
                  <a:cxn ang="0">
                    <a:pos x="T0" y="T1"/>
                  </a:cxn>
                  <a:cxn ang="0">
                    <a:pos x="T2" y="T3"/>
                  </a:cxn>
                  <a:cxn ang="0">
                    <a:pos x="T4" y="T5"/>
                  </a:cxn>
                  <a:cxn ang="0">
                    <a:pos x="T6" y="T7"/>
                  </a:cxn>
                  <a:cxn ang="0">
                    <a:pos x="T8" y="T9"/>
                  </a:cxn>
                </a:cxnLst>
                <a:rect l="0" t="0" r="r" b="b"/>
                <a:pathLst>
                  <a:path w="216" h="32">
                    <a:moveTo>
                      <a:pt x="196" y="32"/>
                    </a:moveTo>
                    <a:cubicBezTo>
                      <a:pt x="20" y="32"/>
                      <a:pt x="20" y="32"/>
                      <a:pt x="20" y="32"/>
                    </a:cubicBezTo>
                    <a:cubicBezTo>
                      <a:pt x="0" y="32"/>
                      <a:pt x="0" y="0"/>
                      <a:pt x="20" y="0"/>
                    </a:cubicBezTo>
                    <a:cubicBezTo>
                      <a:pt x="196" y="0"/>
                      <a:pt x="196" y="0"/>
                      <a:pt x="196" y="0"/>
                    </a:cubicBezTo>
                    <a:cubicBezTo>
                      <a:pt x="216" y="0"/>
                      <a:pt x="216" y="32"/>
                      <a:pt x="196" y="32"/>
                    </a:cubicBezTo>
                    <a:close/>
                  </a:path>
                </a:pathLst>
              </a:cu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43" name="Freeform 36"/>
              <p:cNvSpPr/>
              <p:nvPr/>
            </p:nvSpPr>
            <p:spPr bwMode="auto">
              <a:xfrm>
                <a:off x="214313" y="307975"/>
                <a:ext cx="461962" cy="304800"/>
              </a:xfrm>
              <a:custGeom>
                <a:avLst/>
                <a:gdLst>
                  <a:gd name="T0" fmla="*/ 118 w 122"/>
                  <a:gd name="T1" fmla="*/ 80 h 80"/>
                  <a:gd name="T2" fmla="*/ 122 w 122"/>
                  <a:gd name="T3" fmla="*/ 59 h 80"/>
                  <a:gd name="T4" fmla="*/ 61 w 122"/>
                  <a:gd name="T5" fmla="*/ 0 h 80"/>
                  <a:gd name="T6" fmla="*/ 0 w 122"/>
                  <a:gd name="T7" fmla="*/ 59 h 80"/>
                  <a:gd name="T8" fmla="*/ 4 w 122"/>
                  <a:gd name="T9" fmla="*/ 79 h 80"/>
                </a:gdLst>
                <a:ahLst/>
                <a:cxnLst>
                  <a:cxn ang="0">
                    <a:pos x="T0" y="T1"/>
                  </a:cxn>
                  <a:cxn ang="0">
                    <a:pos x="T2" y="T3"/>
                  </a:cxn>
                  <a:cxn ang="0">
                    <a:pos x="T4" y="T5"/>
                  </a:cxn>
                  <a:cxn ang="0">
                    <a:pos x="T6" y="T7"/>
                  </a:cxn>
                  <a:cxn ang="0">
                    <a:pos x="T8" y="T9"/>
                  </a:cxn>
                </a:cxnLst>
                <a:rect l="0" t="0" r="r" b="b"/>
                <a:pathLst>
                  <a:path w="122" h="80">
                    <a:moveTo>
                      <a:pt x="118" y="80"/>
                    </a:moveTo>
                    <a:cubicBezTo>
                      <a:pt x="120" y="73"/>
                      <a:pt x="122" y="66"/>
                      <a:pt x="122" y="59"/>
                    </a:cubicBezTo>
                    <a:cubicBezTo>
                      <a:pt x="122" y="26"/>
                      <a:pt x="94" y="0"/>
                      <a:pt x="61" y="0"/>
                    </a:cubicBezTo>
                    <a:cubicBezTo>
                      <a:pt x="28" y="0"/>
                      <a:pt x="0" y="26"/>
                      <a:pt x="0" y="59"/>
                    </a:cubicBezTo>
                    <a:cubicBezTo>
                      <a:pt x="0" y="66"/>
                      <a:pt x="2" y="73"/>
                      <a:pt x="4" y="79"/>
                    </a:cubicBezTo>
                  </a:path>
                </a:pathLst>
              </a:cu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44" name="Oval 37"/>
              <p:cNvSpPr>
                <a:spLocks noChangeArrowheads="1"/>
              </p:cNvSpPr>
              <p:nvPr/>
            </p:nvSpPr>
            <p:spPr bwMode="auto">
              <a:xfrm>
                <a:off x="354013" y="19050"/>
                <a:ext cx="182562" cy="182563"/>
              </a:xfrm>
              <a:prstGeom prst="ellipse">
                <a:avLst/>
              </a:prstGeom>
              <a:noFill/>
              <a:ln w="12700" cap="flat">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45" name="Line 38"/>
              <p:cNvSpPr>
                <a:spLocks noChangeShapeType="1"/>
              </p:cNvSpPr>
              <p:nvPr/>
            </p:nvSpPr>
            <p:spPr bwMode="auto">
              <a:xfrm>
                <a:off x="354013" y="111125"/>
                <a:ext cx="182562" cy="0"/>
              </a:xfrm>
              <a:prstGeom prst="line">
                <a:avLst/>
              </a:prstGeom>
              <a:noFill/>
              <a:ln w="12700" cap="flat">
                <a:solidFill>
                  <a:schemeClr val="bg1">
                    <a:lumMod val="50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46" name="Line 39"/>
              <p:cNvSpPr>
                <a:spLocks noChangeShapeType="1"/>
              </p:cNvSpPr>
              <p:nvPr/>
            </p:nvSpPr>
            <p:spPr bwMode="auto">
              <a:xfrm>
                <a:off x="446088" y="201613"/>
                <a:ext cx="0" cy="106363"/>
              </a:xfrm>
              <a:prstGeom prst="line">
                <a:avLst/>
              </a:prstGeom>
              <a:noFill/>
              <a:ln w="12700" cap="flat">
                <a:solidFill>
                  <a:schemeClr val="bg1">
                    <a:lumMod val="50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47" name="Freeform 40"/>
              <p:cNvSpPr/>
              <p:nvPr/>
            </p:nvSpPr>
            <p:spPr bwMode="auto">
              <a:xfrm>
                <a:off x="20638" y="307975"/>
                <a:ext cx="849312" cy="411163"/>
              </a:xfrm>
              <a:custGeom>
                <a:avLst/>
                <a:gdLst>
                  <a:gd name="T0" fmla="*/ 83 w 224"/>
                  <a:gd name="T1" fmla="*/ 7 h 108"/>
                  <a:gd name="T2" fmla="*/ 56 w 224"/>
                  <a:gd name="T3" fmla="*/ 0 h 108"/>
                  <a:gd name="T4" fmla="*/ 0 w 224"/>
                  <a:gd name="T5" fmla="*/ 60 h 108"/>
                  <a:gd name="T6" fmla="*/ 28 w 224"/>
                  <a:gd name="T7" fmla="*/ 108 h 108"/>
                  <a:gd name="T8" fmla="*/ 196 w 224"/>
                  <a:gd name="T9" fmla="*/ 108 h 108"/>
                  <a:gd name="T10" fmla="*/ 224 w 224"/>
                  <a:gd name="T11" fmla="*/ 60 h 108"/>
                  <a:gd name="T12" fmla="*/ 168 w 224"/>
                  <a:gd name="T13" fmla="*/ 0 h 108"/>
                  <a:gd name="T14" fmla="*/ 141 w 224"/>
                  <a:gd name="T15" fmla="*/ 7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108">
                    <a:moveTo>
                      <a:pt x="83" y="7"/>
                    </a:moveTo>
                    <a:cubicBezTo>
                      <a:pt x="74" y="3"/>
                      <a:pt x="66" y="0"/>
                      <a:pt x="56" y="0"/>
                    </a:cubicBezTo>
                    <a:cubicBezTo>
                      <a:pt x="23" y="0"/>
                      <a:pt x="0" y="27"/>
                      <a:pt x="0" y="60"/>
                    </a:cubicBezTo>
                    <a:cubicBezTo>
                      <a:pt x="0" y="81"/>
                      <a:pt x="12" y="97"/>
                      <a:pt x="28" y="108"/>
                    </a:cubicBezTo>
                    <a:cubicBezTo>
                      <a:pt x="196" y="108"/>
                      <a:pt x="196" y="108"/>
                      <a:pt x="196" y="108"/>
                    </a:cubicBezTo>
                    <a:cubicBezTo>
                      <a:pt x="213" y="97"/>
                      <a:pt x="224" y="81"/>
                      <a:pt x="224" y="60"/>
                    </a:cubicBezTo>
                    <a:cubicBezTo>
                      <a:pt x="224" y="27"/>
                      <a:pt x="201" y="0"/>
                      <a:pt x="168" y="0"/>
                    </a:cubicBezTo>
                    <a:cubicBezTo>
                      <a:pt x="158" y="0"/>
                      <a:pt x="150" y="3"/>
                      <a:pt x="141" y="7"/>
                    </a:cubicBezTo>
                  </a:path>
                </a:pathLst>
              </a:custGeom>
              <a:noFill/>
              <a:ln w="12700" cap="flat">
                <a:solidFill>
                  <a:schemeClr val="bg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85" name="Group 251"/>
            <p:cNvGrpSpPr/>
            <p:nvPr/>
          </p:nvGrpSpPr>
          <p:grpSpPr>
            <a:xfrm>
              <a:off x="1997209" y="5057494"/>
              <a:ext cx="234301" cy="299084"/>
              <a:chOff x="12701" y="15875"/>
              <a:chExt cx="688975" cy="879475"/>
            </a:xfrm>
          </p:grpSpPr>
          <p:sp>
            <p:nvSpPr>
              <p:cNvPr id="130" name="Freeform 44"/>
              <p:cNvSpPr/>
              <p:nvPr/>
            </p:nvSpPr>
            <p:spPr bwMode="auto">
              <a:xfrm>
                <a:off x="546101" y="471488"/>
                <a:ext cx="152400" cy="211138"/>
              </a:xfrm>
              <a:custGeom>
                <a:avLst/>
                <a:gdLst>
                  <a:gd name="T0" fmla="*/ 0 w 40"/>
                  <a:gd name="T1" fmla="*/ 0 h 56"/>
                  <a:gd name="T2" fmla="*/ 12 w 40"/>
                  <a:gd name="T3" fmla="*/ 0 h 56"/>
                  <a:gd name="T4" fmla="*/ 40 w 40"/>
                  <a:gd name="T5" fmla="*/ 28 h 56"/>
                  <a:gd name="T6" fmla="*/ 12 w 40"/>
                  <a:gd name="T7" fmla="*/ 56 h 56"/>
                  <a:gd name="T8" fmla="*/ 0 w 40"/>
                  <a:gd name="T9" fmla="*/ 56 h 56"/>
                </a:gdLst>
                <a:ahLst/>
                <a:cxnLst>
                  <a:cxn ang="0">
                    <a:pos x="T0" y="T1"/>
                  </a:cxn>
                  <a:cxn ang="0">
                    <a:pos x="T2" y="T3"/>
                  </a:cxn>
                  <a:cxn ang="0">
                    <a:pos x="T4" y="T5"/>
                  </a:cxn>
                  <a:cxn ang="0">
                    <a:pos x="T6" y="T7"/>
                  </a:cxn>
                  <a:cxn ang="0">
                    <a:pos x="T8" y="T9"/>
                  </a:cxn>
                </a:cxnLst>
                <a:rect l="0" t="0" r="r" b="b"/>
                <a:pathLst>
                  <a:path w="40" h="56">
                    <a:moveTo>
                      <a:pt x="0" y="0"/>
                    </a:moveTo>
                    <a:cubicBezTo>
                      <a:pt x="12" y="0"/>
                      <a:pt x="12" y="0"/>
                      <a:pt x="12" y="0"/>
                    </a:cubicBezTo>
                    <a:cubicBezTo>
                      <a:pt x="29" y="0"/>
                      <a:pt x="40" y="12"/>
                      <a:pt x="40" y="28"/>
                    </a:cubicBezTo>
                    <a:cubicBezTo>
                      <a:pt x="40" y="44"/>
                      <a:pt x="29" y="56"/>
                      <a:pt x="12" y="56"/>
                    </a:cubicBezTo>
                    <a:cubicBezTo>
                      <a:pt x="0" y="56"/>
                      <a:pt x="0" y="56"/>
                      <a:pt x="0" y="56"/>
                    </a:cubicBezTo>
                  </a:path>
                </a:pathLst>
              </a:cu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31" name="Freeform 45"/>
              <p:cNvSpPr/>
              <p:nvPr/>
            </p:nvSpPr>
            <p:spPr bwMode="auto">
              <a:xfrm>
                <a:off x="58738" y="409575"/>
                <a:ext cx="487363" cy="485775"/>
              </a:xfrm>
              <a:custGeom>
                <a:avLst/>
                <a:gdLst>
                  <a:gd name="T0" fmla="*/ 128 w 128"/>
                  <a:gd name="T1" fmla="*/ 108 h 128"/>
                  <a:gd name="T2" fmla="*/ 108 w 128"/>
                  <a:gd name="T3" fmla="*/ 128 h 128"/>
                  <a:gd name="T4" fmla="*/ 20 w 128"/>
                  <a:gd name="T5" fmla="*/ 128 h 128"/>
                  <a:gd name="T6" fmla="*/ 0 w 128"/>
                  <a:gd name="T7" fmla="*/ 108 h 128"/>
                  <a:gd name="T8" fmla="*/ 0 w 128"/>
                  <a:gd name="T9" fmla="*/ 0 h 128"/>
                  <a:gd name="T10" fmla="*/ 128 w 128"/>
                  <a:gd name="T11" fmla="*/ 0 h 128"/>
                  <a:gd name="T12" fmla="*/ 128 w 128"/>
                  <a:gd name="T13" fmla="*/ 108 h 128"/>
                </a:gdLst>
                <a:ahLst/>
                <a:cxnLst>
                  <a:cxn ang="0">
                    <a:pos x="T0" y="T1"/>
                  </a:cxn>
                  <a:cxn ang="0">
                    <a:pos x="T2" y="T3"/>
                  </a:cxn>
                  <a:cxn ang="0">
                    <a:pos x="T4" y="T5"/>
                  </a:cxn>
                  <a:cxn ang="0">
                    <a:pos x="T6" y="T7"/>
                  </a:cxn>
                  <a:cxn ang="0">
                    <a:pos x="T8" y="T9"/>
                  </a:cxn>
                  <a:cxn ang="0">
                    <a:pos x="T10" y="T11"/>
                  </a:cxn>
                  <a:cxn ang="0">
                    <a:pos x="T12" y="T13"/>
                  </a:cxn>
                </a:cxnLst>
                <a:rect l="0" t="0" r="r" b="b"/>
                <a:pathLst>
                  <a:path w="128" h="128">
                    <a:moveTo>
                      <a:pt x="128" y="108"/>
                    </a:moveTo>
                    <a:cubicBezTo>
                      <a:pt x="128" y="120"/>
                      <a:pt x="119" y="128"/>
                      <a:pt x="108" y="128"/>
                    </a:cubicBezTo>
                    <a:cubicBezTo>
                      <a:pt x="20" y="128"/>
                      <a:pt x="20" y="128"/>
                      <a:pt x="20" y="128"/>
                    </a:cubicBezTo>
                    <a:cubicBezTo>
                      <a:pt x="9" y="128"/>
                      <a:pt x="0" y="119"/>
                      <a:pt x="0" y="108"/>
                    </a:cubicBezTo>
                    <a:cubicBezTo>
                      <a:pt x="0" y="0"/>
                      <a:pt x="0" y="0"/>
                      <a:pt x="0" y="0"/>
                    </a:cubicBezTo>
                    <a:cubicBezTo>
                      <a:pt x="128" y="0"/>
                      <a:pt x="128" y="0"/>
                      <a:pt x="128" y="0"/>
                    </a:cubicBezTo>
                    <a:lnTo>
                      <a:pt x="128" y="108"/>
                    </a:lnTo>
                    <a:close/>
                  </a:path>
                </a:pathLst>
              </a:cu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32" name="Freeform 46"/>
              <p:cNvSpPr/>
              <p:nvPr/>
            </p:nvSpPr>
            <p:spPr bwMode="auto">
              <a:xfrm>
                <a:off x="508001" y="19050"/>
                <a:ext cx="193675" cy="254000"/>
              </a:xfrm>
              <a:custGeom>
                <a:avLst/>
                <a:gdLst>
                  <a:gd name="T0" fmla="*/ 12 w 51"/>
                  <a:gd name="T1" fmla="*/ 0 h 67"/>
                  <a:gd name="T2" fmla="*/ 4 w 51"/>
                  <a:gd name="T3" fmla="*/ 33 h 67"/>
                  <a:gd name="T4" fmla="*/ 13 w 51"/>
                  <a:gd name="T5" fmla="*/ 54 h 67"/>
                  <a:gd name="T6" fmla="*/ 12 w 51"/>
                  <a:gd name="T7" fmla="*/ 0 h 67"/>
                </a:gdLst>
                <a:ahLst/>
                <a:cxnLst>
                  <a:cxn ang="0">
                    <a:pos x="T0" y="T1"/>
                  </a:cxn>
                  <a:cxn ang="0">
                    <a:pos x="T2" y="T3"/>
                  </a:cxn>
                  <a:cxn ang="0">
                    <a:pos x="T4" y="T5"/>
                  </a:cxn>
                  <a:cxn ang="0">
                    <a:pos x="T6" y="T7"/>
                  </a:cxn>
                </a:cxnLst>
                <a:rect l="0" t="0" r="r" b="b"/>
                <a:pathLst>
                  <a:path w="51" h="67">
                    <a:moveTo>
                      <a:pt x="12" y="0"/>
                    </a:moveTo>
                    <a:cubicBezTo>
                      <a:pt x="23" y="16"/>
                      <a:pt x="7" y="24"/>
                      <a:pt x="4" y="33"/>
                    </a:cubicBezTo>
                    <a:cubicBezTo>
                      <a:pt x="0" y="42"/>
                      <a:pt x="4" y="50"/>
                      <a:pt x="13" y="54"/>
                    </a:cubicBezTo>
                    <a:cubicBezTo>
                      <a:pt x="42" y="67"/>
                      <a:pt x="51" y="9"/>
                      <a:pt x="12" y="0"/>
                    </a:cubicBezTo>
                    <a:close/>
                  </a:path>
                </a:pathLst>
              </a:cu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33" name="Line 47"/>
              <p:cNvSpPr>
                <a:spLocks noChangeShapeType="1"/>
              </p:cNvSpPr>
              <p:nvPr/>
            </p:nvSpPr>
            <p:spPr bwMode="auto">
              <a:xfrm flipV="1">
                <a:off x="439738" y="215900"/>
                <a:ext cx="103188" cy="193675"/>
              </a:xfrm>
              <a:prstGeom prst="line">
                <a:avLst/>
              </a:prstGeom>
              <a:noFill/>
              <a:ln w="12700" cap="rnd">
                <a:solidFill>
                  <a:schemeClr val="bg1">
                    <a:lumMod val="50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34" name="Line 48"/>
              <p:cNvSpPr>
                <a:spLocks noChangeShapeType="1"/>
              </p:cNvSpPr>
              <p:nvPr/>
            </p:nvSpPr>
            <p:spPr bwMode="auto">
              <a:xfrm flipH="1">
                <a:off x="515938" y="231775"/>
                <a:ext cx="68263" cy="177800"/>
              </a:xfrm>
              <a:prstGeom prst="line">
                <a:avLst/>
              </a:prstGeom>
              <a:noFill/>
              <a:ln w="12700" cap="rnd">
                <a:solidFill>
                  <a:schemeClr val="bg1">
                    <a:lumMod val="50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35" name="Freeform 49"/>
              <p:cNvSpPr/>
              <p:nvPr/>
            </p:nvSpPr>
            <p:spPr bwMode="auto">
              <a:xfrm>
                <a:off x="12701" y="166688"/>
                <a:ext cx="198438" cy="242888"/>
              </a:xfrm>
              <a:custGeom>
                <a:avLst/>
                <a:gdLst>
                  <a:gd name="T0" fmla="*/ 125 w 125"/>
                  <a:gd name="T1" fmla="*/ 153 h 153"/>
                  <a:gd name="T2" fmla="*/ 48 w 125"/>
                  <a:gd name="T3" fmla="*/ 153 h 153"/>
                  <a:gd name="T4" fmla="*/ 10 w 125"/>
                  <a:gd name="T5" fmla="*/ 77 h 153"/>
                  <a:gd name="T6" fmla="*/ 0 w 125"/>
                  <a:gd name="T7" fmla="*/ 0 h 153"/>
                  <a:gd name="T8" fmla="*/ 67 w 125"/>
                  <a:gd name="T9" fmla="*/ 38 h 153"/>
                  <a:gd name="T10" fmla="*/ 125 w 125"/>
                  <a:gd name="T11" fmla="*/ 153 h 153"/>
                </a:gdLst>
                <a:ahLst/>
                <a:cxnLst>
                  <a:cxn ang="0">
                    <a:pos x="T0" y="T1"/>
                  </a:cxn>
                  <a:cxn ang="0">
                    <a:pos x="T2" y="T3"/>
                  </a:cxn>
                  <a:cxn ang="0">
                    <a:pos x="T4" y="T5"/>
                  </a:cxn>
                  <a:cxn ang="0">
                    <a:pos x="T6" y="T7"/>
                  </a:cxn>
                  <a:cxn ang="0">
                    <a:pos x="T8" y="T9"/>
                  </a:cxn>
                  <a:cxn ang="0">
                    <a:pos x="T10" y="T11"/>
                  </a:cxn>
                </a:cxnLst>
                <a:rect l="0" t="0" r="r" b="b"/>
                <a:pathLst>
                  <a:path w="125" h="153">
                    <a:moveTo>
                      <a:pt x="125" y="153"/>
                    </a:moveTo>
                    <a:lnTo>
                      <a:pt x="48" y="153"/>
                    </a:lnTo>
                    <a:lnTo>
                      <a:pt x="10" y="77"/>
                    </a:lnTo>
                    <a:lnTo>
                      <a:pt x="0" y="0"/>
                    </a:lnTo>
                    <a:lnTo>
                      <a:pt x="67" y="38"/>
                    </a:lnTo>
                    <a:lnTo>
                      <a:pt x="125" y="153"/>
                    </a:lnTo>
                    <a:close/>
                  </a:path>
                </a:pathLst>
              </a:cu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36" name="Line 50"/>
              <p:cNvSpPr>
                <a:spLocks noChangeShapeType="1"/>
              </p:cNvSpPr>
              <p:nvPr/>
            </p:nvSpPr>
            <p:spPr bwMode="auto">
              <a:xfrm flipV="1">
                <a:off x="28576" y="227013"/>
                <a:ext cx="90488" cy="61913"/>
              </a:xfrm>
              <a:prstGeom prst="line">
                <a:avLst/>
              </a:prstGeom>
              <a:noFill/>
              <a:ln w="12700" cap="rnd">
                <a:solidFill>
                  <a:schemeClr val="bg1">
                    <a:lumMod val="50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37" name="Rectangle 51"/>
              <p:cNvSpPr>
                <a:spLocks noChangeArrowheads="1"/>
              </p:cNvSpPr>
              <p:nvPr/>
            </p:nvSpPr>
            <p:spPr bwMode="auto">
              <a:xfrm>
                <a:off x="241301" y="15875"/>
                <a:ext cx="182563" cy="393700"/>
              </a:xfrm>
              <a:prstGeom prst="rect">
                <a:avLst/>
              </a:pr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38" name="Line 52"/>
              <p:cNvSpPr>
                <a:spLocks noChangeShapeType="1"/>
              </p:cNvSpPr>
              <p:nvPr/>
            </p:nvSpPr>
            <p:spPr bwMode="auto">
              <a:xfrm flipH="1">
                <a:off x="333376" y="106363"/>
                <a:ext cx="90488" cy="0"/>
              </a:xfrm>
              <a:prstGeom prst="line">
                <a:avLst/>
              </a:prstGeom>
              <a:noFill/>
              <a:ln w="12700" cap="rnd">
                <a:solidFill>
                  <a:schemeClr val="bg1">
                    <a:lumMod val="50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39" name="Line 53"/>
              <p:cNvSpPr>
                <a:spLocks noChangeShapeType="1"/>
              </p:cNvSpPr>
              <p:nvPr/>
            </p:nvSpPr>
            <p:spPr bwMode="auto">
              <a:xfrm flipH="1">
                <a:off x="363538" y="166688"/>
                <a:ext cx="60325" cy="0"/>
              </a:xfrm>
              <a:prstGeom prst="line">
                <a:avLst/>
              </a:prstGeom>
              <a:noFill/>
              <a:ln w="12700" cap="rnd">
                <a:solidFill>
                  <a:schemeClr val="bg1">
                    <a:lumMod val="50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40" name="Line 54"/>
              <p:cNvSpPr>
                <a:spLocks noChangeShapeType="1"/>
              </p:cNvSpPr>
              <p:nvPr/>
            </p:nvSpPr>
            <p:spPr bwMode="auto">
              <a:xfrm flipH="1">
                <a:off x="333376" y="227013"/>
                <a:ext cx="90488" cy="0"/>
              </a:xfrm>
              <a:prstGeom prst="line">
                <a:avLst/>
              </a:prstGeom>
              <a:noFill/>
              <a:ln w="12700" cap="rnd">
                <a:solidFill>
                  <a:schemeClr val="bg1">
                    <a:lumMod val="50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41" name="Line 55"/>
              <p:cNvSpPr>
                <a:spLocks noChangeShapeType="1"/>
              </p:cNvSpPr>
              <p:nvPr/>
            </p:nvSpPr>
            <p:spPr bwMode="auto">
              <a:xfrm flipH="1">
                <a:off x="363538" y="319088"/>
                <a:ext cx="60325" cy="0"/>
              </a:xfrm>
              <a:prstGeom prst="line">
                <a:avLst/>
              </a:prstGeom>
              <a:noFill/>
              <a:ln w="12700" cap="rnd">
                <a:solidFill>
                  <a:schemeClr val="bg1">
                    <a:lumMod val="50000"/>
                  </a:schemeClr>
                </a:solidFill>
                <a:prstDash val="solid"/>
                <a:round/>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86" name="Group 264"/>
            <p:cNvGrpSpPr/>
            <p:nvPr/>
          </p:nvGrpSpPr>
          <p:grpSpPr>
            <a:xfrm>
              <a:off x="1846841" y="1436173"/>
              <a:ext cx="425879" cy="315950"/>
              <a:chOff x="17463" y="19050"/>
              <a:chExt cx="879476" cy="652463"/>
            </a:xfrm>
          </p:grpSpPr>
          <p:sp>
            <p:nvSpPr>
              <p:cNvPr id="125" name="Freeform 59"/>
              <p:cNvSpPr/>
              <p:nvPr/>
            </p:nvSpPr>
            <p:spPr bwMode="auto">
              <a:xfrm>
                <a:off x="17463" y="396875"/>
                <a:ext cx="90488" cy="168275"/>
              </a:xfrm>
              <a:custGeom>
                <a:avLst/>
                <a:gdLst>
                  <a:gd name="T0" fmla="*/ 24 w 24"/>
                  <a:gd name="T1" fmla="*/ 44 h 44"/>
                  <a:gd name="T2" fmla="*/ 0 w 24"/>
                  <a:gd name="T3" fmla="*/ 22 h 44"/>
                  <a:gd name="T4" fmla="*/ 24 w 24"/>
                  <a:gd name="T5" fmla="*/ 0 h 44"/>
                </a:gdLst>
                <a:ahLst/>
                <a:cxnLst>
                  <a:cxn ang="0">
                    <a:pos x="T0" y="T1"/>
                  </a:cxn>
                  <a:cxn ang="0">
                    <a:pos x="T2" y="T3"/>
                  </a:cxn>
                  <a:cxn ang="0">
                    <a:pos x="T4" y="T5"/>
                  </a:cxn>
                </a:cxnLst>
                <a:rect l="0" t="0" r="r" b="b"/>
                <a:pathLst>
                  <a:path w="24" h="44">
                    <a:moveTo>
                      <a:pt x="24" y="44"/>
                    </a:moveTo>
                    <a:cubicBezTo>
                      <a:pt x="13" y="44"/>
                      <a:pt x="0" y="40"/>
                      <a:pt x="0" y="22"/>
                    </a:cubicBezTo>
                    <a:cubicBezTo>
                      <a:pt x="0" y="4"/>
                      <a:pt x="13" y="0"/>
                      <a:pt x="24" y="0"/>
                    </a:cubicBezTo>
                  </a:path>
                </a:pathLst>
              </a:cu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26" name="Freeform 60"/>
              <p:cNvSpPr/>
              <p:nvPr/>
            </p:nvSpPr>
            <p:spPr bwMode="auto">
              <a:xfrm>
                <a:off x="107951" y="274638"/>
                <a:ext cx="120650" cy="396875"/>
              </a:xfrm>
              <a:custGeom>
                <a:avLst/>
                <a:gdLst>
                  <a:gd name="T0" fmla="*/ 32 w 32"/>
                  <a:gd name="T1" fmla="*/ 104 h 104"/>
                  <a:gd name="T2" fmla="*/ 16 w 32"/>
                  <a:gd name="T3" fmla="*/ 104 h 104"/>
                  <a:gd name="T4" fmla="*/ 0 w 32"/>
                  <a:gd name="T5" fmla="*/ 84 h 104"/>
                  <a:gd name="T6" fmla="*/ 0 w 32"/>
                  <a:gd name="T7" fmla="*/ 23 h 104"/>
                  <a:gd name="T8" fmla="*/ 16 w 32"/>
                  <a:gd name="T9" fmla="*/ 0 h 104"/>
                  <a:gd name="T10" fmla="*/ 32 w 32"/>
                  <a:gd name="T11" fmla="*/ 0 h 104"/>
                  <a:gd name="T12" fmla="*/ 32 w 3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32" h="104">
                    <a:moveTo>
                      <a:pt x="32" y="104"/>
                    </a:moveTo>
                    <a:cubicBezTo>
                      <a:pt x="16" y="104"/>
                      <a:pt x="16" y="104"/>
                      <a:pt x="16" y="104"/>
                    </a:cubicBezTo>
                    <a:cubicBezTo>
                      <a:pt x="4" y="104"/>
                      <a:pt x="0" y="96"/>
                      <a:pt x="0" y="84"/>
                    </a:cubicBezTo>
                    <a:cubicBezTo>
                      <a:pt x="0" y="23"/>
                      <a:pt x="0" y="23"/>
                      <a:pt x="0" y="23"/>
                    </a:cubicBezTo>
                    <a:cubicBezTo>
                      <a:pt x="0" y="12"/>
                      <a:pt x="5" y="0"/>
                      <a:pt x="16" y="0"/>
                    </a:cubicBezTo>
                    <a:cubicBezTo>
                      <a:pt x="32" y="0"/>
                      <a:pt x="32" y="0"/>
                      <a:pt x="32" y="0"/>
                    </a:cubicBezTo>
                    <a:lnTo>
                      <a:pt x="32" y="104"/>
                    </a:lnTo>
                    <a:close/>
                  </a:path>
                </a:pathLst>
              </a:cu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27" name="Freeform 61"/>
              <p:cNvSpPr/>
              <p:nvPr/>
            </p:nvSpPr>
            <p:spPr bwMode="auto">
              <a:xfrm>
                <a:off x="806451" y="396875"/>
                <a:ext cx="90488" cy="152400"/>
              </a:xfrm>
              <a:custGeom>
                <a:avLst/>
                <a:gdLst>
                  <a:gd name="T0" fmla="*/ 0 w 24"/>
                  <a:gd name="T1" fmla="*/ 40 h 40"/>
                  <a:gd name="T2" fmla="*/ 24 w 24"/>
                  <a:gd name="T3" fmla="*/ 20 h 40"/>
                  <a:gd name="T4" fmla="*/ 0 w 24"/>
                  <a:gd name="T5" fmla="*/ 0 h 40"/>
                </a:gdLst>
                <a:ahLst/>
                <a:cxnLst>
                  <a:cxn ang="0">
                    <a:pos x="T0" y="T1"/>
                  </a:cxn>
                  <a:cxn ang="0">
                    <a:pos x="T2" y="T3"/>
                  </a:cxn>
                  <a:cxn ang="0">
                    <a:pos x="T4" y="T5"/>
                  </a:cxn>
                </a:cxnLst>
                <a:rect l="0" t="0" r="r" b="b"/>
                <a:pathLst>
                  <a:path w="24" h="40">
                    <a:moveTo>
                      <a:pt x="0" y="40"/>
                    </a:moveTo>
                    <a:cubicBezTo>
                      <a:pt x="11" y="40"/>
                      <a:pt x="24" y="36"/>
                      <a:pt x="24" y="20"/>
                    </a:cubicBezTo>
                    <a:cubicBezTo>
                      <a:pt x="24" y="4"/>
                      <a:pt x="11" y="0"/>
                      <a:pt x="0" y="0"/>
                    </a:cubicBezTo>
                  </a:path>
                </a:pathLst>
              </a:cu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28" name="Freeform 62"/>
              <p:cNvSpPr/>
              <p:nvPr/>
            </p:nvSpPr>
            <p:spPr bwMode="auto">
              <a:xfrm>
                <a:off x="684213" y="274638"/>
                <a:ext cx="122238" cy="396875"/>
              </a:xfrm>
              <a:custGeom>
                <a:avLst/>
                <a:gdLst>
                  <a:gd name="T0" fmla="*/ 0 w 32"/>
                  <a:gd name="T1" fmla="*/ 104 h 104"/>
                  <a:gd name="T2" fmla="*/ 16 w 32"/>
                  <a:gd name="T3" fmla="*/ 104 h 104"/>
                  <a:gd name="T4" fmla="*/ 32 w 32"/>
                  <a:gd name="T5" fmla="*/ 84 h 104"/>
                  <a:gd name="T6" fmla="*/ 32 w 32"/>
                  <a:gd name="T7" fmla="*/ 23 h 104"/>
                  <a:gd name="T8" fmla="*/ 12 w 32"/>
                  <a:gd name="T9" fmla="*/ 0 h 104"/>
                  <a:gd name="T10" fmla="*/ 0 w 32"/>
                  <a:gd name="T11" fmla="*/ 0 h 104"/>
                  <a:gd name="T12" fmla="*/ 0 w 3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32" h="104">
                    <a:moveTo>
                      <a:pt x="0" y="104"/>
                    </a:moveTo>
                    <a:cubicBezTo>
                      <a:pt x="16" y="104"/>
                      <a:pt x="16" y="104"/>
                      <a:pt x="16" y="104"/>
                    </a:cubicBezTo>
                    <a:cubicBezTo>
                      <a:pt x="28" y="104"/>
                      <a:pt x="32" y="96"/>
                      <a:pt x="32" y="84"/>
                    </a:cubicBezTo>
                    <a:cubicBezTo>
                      <a:pt x="32" y="23"/>
                      <a:pt x="32" y="23"/>
                      <a:pt x="32" y="23"/>
                    </a:cubicBezTo>
                    <a:cubicBezTo>
                      <a:pt x="32" y="12"/>
                      <a:pt x="24" y="0"/>
                      <a:pt x="12" y="0"/>
                    </a:cubicBezTo>
                    <a:cubicBezTo>
                      <a:pt x="0" y="0"/>
                      <a:pt x="0" y="0"/>
                      <a:pt x="0" y="0"/>
                    </a:cubicBezTo>
                    <a:lnTo>
                      <a:pt x="0" y="104"/>
                    </a:lnTo>
                    <a:close/>
                  </a:path>
                </a:pathLst>
              </a:cu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29" name="Freeform 63"/>
              <p:cNvSpPr/>
              <p:nvPr/>
            </p:nvSpPr>
            <p:spPr bwMode="auto">
              <a:xfrm>
                <a:off x="187326" y="19050"/>
                <a:ext cx="539750" cy="255588"/>
              </a:xfrm>
              <a:custGeom>
                <a:avLst/>
                <a:gdLst>
                  <a:gd name="T0" fmla="*/ 0 w 142"/>
                  <a:gd name="T1" fmla="*/ 67 h 67"/>
                  <a:gd name="T2" fmla="*/ 71 w 142"/>
                  <a:gd name="T3" fmla="*/ 0 h 67"/>
                  <a:gd name="T4" fmla="*/ 142 w 142"/>
                  <a:gd name="T5" fmla="*/ 67 h 67"/>
                </a:gdLst>
                <a:ahLst/>
                <a:cxnLst>
                  <a:cxn ang="0">
                    <a:pos x="T0" y="T1"/>
                  </a:cxn>
                  <a:cxn ang="0">
                    <a:pos x="T2" y="T3"/>
                  </a:cxn>
                  <a:cxn ang="0">
                    <a:pos x="T4" y="T5"/>
                  </a:cxn>
                </a:cxnLst>
                <a:rect l="0" t="0" r="r" b="b"/>
                <a:pathLst>
                  <a:path w="142" h="67">
                    <a:moveTo>
                      <a:pt x="0" y="67"/>
                    </a:moveTo>
                    <a:cubicBezTo>
                      <a:pt x="0" y="28"/>
                      <a:pt x="32" y="0"/>
                      <a:pt x="71" y="0"/>
                    </a:cubicBezTo>
                    <a:cubicBezTo>
                      <a:pt x="110" y="0"/>
                      <a:pt x="142" y="28"/>
                      <a:pt x="142" y="67"/>
                    </a:cubicBezTo>
                  </a:path>
                </a:pathLst>
              </a:custGeom>
              <a:noFill/>
              <a:ln w="12700" cap="flat">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87" name="Group 270"/>
            <p:cNvGrpSpPr/>
            <p:nvPr/>
          </p:nvGrpSpPr>
          <p:grpSpPr>
            <a:xfrm>
              <a:off x="750365" y="2704444"/>
              <a:ext cx="195270" cy="195270"/>
              <a:chOff x="15875" y="15875"/>
              <a:chExt cx="850901" cy="850901"/>
            </a:xfrm>
          </p:grpSpPr>
          <p:sp>
            <p:nvSpPr>
              <p:cNvPr id="119" name="Freeform 67"/>
              <p:cNvSpPr/>
              <p:nvPr/>
            </p:nvSpPr>
            <p:spPr bwMode="auto">
              <a:xfrm>
                <a:off x="182563" y="182563"/>
                <a:ext cx="684213" cy="684213"/>
              </a:xfrm>
              <a:custGeom>
                <a:avLst/>
                <a:gdLst>
                  <a:gd name="T0" fmla="*/ 431 w 431"/>
                  <a:gd name="T1" fmla="*/ 0 h 431"/>
                  <a:gd name="T2" fmla="*/ 431 w 431"/>
                  <a:gd name="T3" fmla="*/ 431 h 431"/>
                  <a:gd name="T4" fmla="*/ 0 w 431"/>
                  <a:gd name="T5" fmla="*/ 431 h 431"/>
                </a:gdLst>
                <a:ahLst/>
                <a:cxnLst>
                  <a:cxn ang="0">
                    <a:pos x="T0" y="T1"/>
                  </a:cxn>
                  <a:cxn ang="0">
                    <a:pos x="T2" y="T3"/>
                  </a:cxn>
                  <a:cxn ang="0">
                    <a:pos x="T4" y="T5"/>
                  </a:cxn>
                </a:cxnLst>
                <a:rect l="0" t="0" r="r" b="b"/>
                <a:pathLst>
                  <a:path w="431" h="431">
                    <a:moveTo>
                      <a:pt x="431" y="0"/>
                    </a:moveTo>
                    <a:lnTo>
                      <a:pt x="431" y="431"/>
                    </a:lnTo>
                    <a:lnTo>
                      <a:pt x="0" y="431"/>
                    </a:lnTo>
                  </a:path>
                </a:pathLst>
              </a:custGeom>
              <a:noFill/>
              <a:ln w="12700" cap="flat">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20" name="Freeform 68"/>
              <p:cNvSpPr/>
              <p:nvPr/>
            </p:nvSpPr>
            <p:spPr bwMode="auto">
              <a:xfrm>
                <a:off x="90488" y="90488"/>
                <a:ext cx="715963" cy="715963"/>
              </a:xfrm>
              <a:custGeom>
                <a:avLst/>
                <a:gdLst>
                  <a:gd name="T0" fmla="*/ 451 w 451"/>
                  <a:gd name="T1" fmla="*/ 0 h 451"/>
                  <a:gd name="T2" fmla="*/ 451 w 451"/>
                  <a:gd name="T3" fmla="*/ 451 h 451"/>
                  <a:gd name="T4" fmla="*/ 0 w 451"/>
                  <a:gd name="T5" fmla="*/ 451 h 451"/>
                </a:gdLst>
                <a:ahLst/>
                <a:cxnLst>
                  <a:cxn ang="0">
                    <a:pos x="T0" y="T1"/>
                  </a:cxn>
                  <a:cxn ang="0">
                    <a:pos x="T2" y="T3"/>
                  </a:cxn>
                  <a:cxn ang="0">
                    <a:pos x="T4" y="T5"/>
                  </a:cxn>
                </a:cxnLst>
                <a:rect l="0" t="0" r="r" b="b"/>
                <a:pathLst>
                  <a:path w="451" h="451">
                    <a:moveTo>
                      <a:pt x="451" y="0"/>
                    </a:moveTo>
                    <a:lnTo>
                      <a:pt x="451" y="451"/>
                    </a:lnTo>
                    <a:lnTo>
                      <a:pt x="0" y="451"/>
                    </a:lnTo>
                  </a:path>
                </a:pathLst>
              </a:custGeom>
              <a:noFill/>
              <a:ln w="12700" cap="flat">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21" name="Rectangle 69"/>
              <p:cNvSpPr>
                <a:spLocks noChangeArrowheads="1"/>
              </p:cNvSpPr>
              <p:nvPr/>
            </p:nvSpPr>
            <p:spPr bwMode="auto">
              <a:xfrm>
                <a:off x="15875" y="15875"/>
                <a:ext cx="728663" cy="728663"/>
              </a:xfrm>
              <a:prstGeom prst="rect">
                <a:avLst/>
              </a:prstGeom>
              <a:noFill/>
              <a:ln w="12700" cap="flat">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22" name="Freeform 70"/>
              <p:cNvSpPr/>
              <p:nvPr/>
            </p:nvSpPr>
            <p:spPr bwMode="auto">
              <a:xfrm>
                <a:off x="166688" y="285750"/>
                <a:ext cx="482600" cy="307975"/>
              </a:xfrm>
              <a:custGeom>
                <a:avLst/>
                <a:gdLst>
                  <a:gd name="T0" fmla="*/ 304 w 304"/>
                  <a:gd name="T1" fmla="*/ 194 h 194"/>
                  <a:gd name="T2" fmla="*/ 230 w 304"/>
                  <a:gd name="T3" fmla="*/ 0 h 194"/>
                  <a:gd name="T4" fmla="*/ 134 w 304"/>
                  <a:gd name="T5" fmla="*/ 143 h 194"/>
                  <a:gd name="T6" fmla="*/ 75 w 304"/>
                  <a:gd name="T7" fmla="*/ 71 h 194"/>
                  <a:gd name="T8" fmla="*/ 0 w 304"/>
                  <a:gd name="T9" fmla="*/ 194 h 194"/>
                </a:gdLst>
                <a:ahLst/>
                <a:cxnLst>
                  <a:cxn ang="0">
                    <a:pos x="T0" y="T1"/>
                  </a:cxn>
                  <a:cxn ang="0">
                    <a:pos x="T2" y="T3"/>
                  </a:cxn>
                  <a:cxn ang="0">
                    <a:pos x="T4" y="T5"/>
                  </a:cxn>
                  <a:cxn ang="0">
                    <a:pos x="T6" y="T7"/>
                  </a:cxn>
                  <a:cxn ang="0">
                    <a:pos x="T8" y="T9"/>
                  </a:cxn>
                </a:cxnLst>
                <a:rect l="0" t="0" r="r" b="b"/>
                <a:pathLst>
                  <a:path w="304" h="194">
                    <a:moveTo>
                      <a:pt x="304" y="194"/>
                    </a:moveTo>
                    <a:lnTo>
                      <a:pt x="230" y="0"/>
                    </a:lnTo>
                    <a:lnTo>
                      <a:pt x="134" y="143"/>
                    </a:lnTo>
                    <a:lnTo>
                      <a:pt x="75" y="71"/>
                    </a:lnTo>
                    <a:lnTo>
                      <a:pt x="0" y="194"/>
                    </a:lnTo>
                  </a:path>
                </a:pathLst>
              </a:custGeom>
              <a:noFill/>
              <a:ln w="127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23" name="Oval 71"/>
              <p:cNvSpPr>
                <a:spLocks noChangeArrowheads="1"/>
              </p:cNvSpPr>
              <p:nvPr/>
            </p:nvSpPr>
            <p:spPr bwMode="auto">
              <a:xfrm>
                <a:off x="166688" y="128588"/>
                <a:ext cx="119063" cy="119063"/>
              </a:xfrm>
              <a:prstGeom prst="ellipse">
                <a:avLst/>
              </a:prstGeom>
              <a:noFill/>
              <a:ln w="12700" cap="flat">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24" name="Line 72"/>
              <p:cNvSpPr>
                <a:spLocks noChangeShapeType="1"/>
              </p:cNvSpPr>
              <p:nvPr/>
            </p:nvSpPr>
            <p:spPr bwMode="auto">
              <a:xfrm flipH="1">
                <a:off x="15875" y="593725"/>
                <a:ext cx="728663" cy="0"/>
              </a:xfrm>
              <a:prstGeom prst="line">
                <a:avLst/>
              </a:prstGeom>
              <a:noFill/>
              <a:ln w="12700" cap="flat">
                <a:solidFill>
                  <a:schemeClr val="bg1"/>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88" name="Group 277"/>
            <p:cNvGrpSpPr/>
            <p:nvPr/>
          </p:nvGrpSpPr>
          <p:grpSpPr>
            <a:xfrm>
              <a:off x="1115282" y="2947951"/>
              <a:ext cx="394323" cy="394323"/>
              <a:chOff x="15875" y="15875"/>
              <a:chExt cx="879475" cy="879475"/>
            </a:xfrm>
          </p:grpSpPr>
          <p:sp>
            <p:nvSpPr>
              <p:cNvPr id="113" name="Rectangle 76"/>
              <p:cNvSpPr>
                <a:spLocks noChangeArrowheads="1"/>
              </p:cNvSpPr>
              <p:nvPr/>
            </p:nvSpPr>
            <p:spPr bwMode="auto">
              <a:xfrm>
                <a:off x="136525" y="106363"/>
                <a:ext cx="638175" cy="365125"/>
              </a:xfrm>
              <a:prstGeom prst="rect">
                <a:avLst/>
              </a:prstGeom>
              <a:noFill/>
              <a:ln w="12700" cap="rnd">
                <a:solidFill>
                  <a:schemeClr val="bg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14" name="Line 77"/>
              <p:cNvSpPr>
                <a:spLocks noChangeShapeType="1"/>
              </p:cNvSpPr>
              <p:nvPr/>
            </p:nvSpPr>
            <p:spPr bwMode="auto">
              <a:xfrm>
                <a:off x="106363" y="714375"/>
                <a:ext cx="212725" cy="0"/>
              </a:xfrm>
              <a:prstGeom prst="line">
                <a:avLst/>
              </a:prstGeom>
              <a:noFill/>
              <a:ln w="12700" cap="rnd">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15" name="Line 78"/>
              <p:cNvSpPr>
                <a:spLocks noChangeShapeType="1"/>
              </p:cNvSpPr>
              <p:nvPr/>
            </p:nvSpPr>
            <p:spPr bwMode="auto">
              <a:xfrm>
                <a:off x="106363" y="774700"/>
                <a:ext cx="90488" cy="0"/>
              </a:xfrm>
              <a:prstGeom prst="line">
                <a:avLst/>
              </a:prstGeom>
              <a:noFill/>
              <a:ln w="12700" cap="rnd">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16" name="Rectangle 79"/>
              <p:cNvSpPr>
                <a:spLocks noChangeArrowheads="1"/>
              </p:cNvSpPr>
              <p:nvPr/>
            </p:nvSpPr>
            <p:spPr bwMode="auto">
              <a:xfrm>
                <a:off x="471488" y="682625"/>
                <a:ext cx="333375" cy="61913"/>
              </a:xfrm>
              <a:prstGeom prst="rect">
                <a:avLst/>
              </a:prstGeom>
              <a:noFill/>
              <a:ln w="12700" cap="rnd">
                <a:solidFill>
                  <a:schemeClr val="bg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17" name="Freeform 80"/>
              <p:cNvSpPr/>
              <p:nvPr/>
            </p:nvSpPr>
            <p:spPr bwMode="auto">
              <a:xfrm>
                <a:off x="15875" y="622300"/>
                <a:ext cx="879475" cy="273050"/>
              </a:xfrm>
              <a:custGeom>
                <a:avLst/>
                <a:gdLst>
                  <a:gd name="T0" fmla="*/ 232 w 232"/>
                  <a:gd name="T1" fmla="*/ 16 h 72"/>
                  <a:gd name="T2" fmla="*/ 216 w 232"/>
                  <a:gd name="T3" fmla="*/ 0 h 72"/>
                  <a:gd name="T4" fmla="*/ 16 w 232"/>
                  <a:gd name="T5" fmla="*/ 0 h 72"/>
                  <a:gd name="T6" fmla="*/ 0 w 232"/>
                  <a:gd name="T7" fmla="*/ 16 h 72"/>
                  <a:gd name="T8" fmla="*/ 0 w 232"/>
                  <a:gd name="T9" fmla="*/ 72 h 72"/>
                  <a:gd name="T10" fmla="*/ 232 w 232"/>
                  <a:gd name="T11" fmla="*/ 72 h 72"/>
                  <a:gd name="T12" fmla="*/ 232 w 232"/>
                  <a:gd name="T13" fmla="*/ 16 h 72"/>
                </a:gdLst>
                <a:ahLst/>
                <a:cxnLst>
                  <a:cxn ang="0">
                    <a:pos x="T0" y="T1"/>
                  </a:cxn>
                  <a:cxn ang="0">
                    <a:pos x="T2" y="T3"/>
                  </a:cxn>
                  <a:cxn ang="0">
                    <a:pos x="T4" y="T5"/>
                  </a:cxn>
                  <a:cxn ang="0">
                    <a:pos x="T6" y="T7"/>
                  </a:cxn>
                  <a:cxn ang="0">
                    <a:pos x="T8" y="T9"/>
                  </a:cxn>
                  <a:cxn ang="0">
                    <a:pos x="T10" y="T11"/>
                  </a:cxn>
                  <a:cxn ang="0">
                    <a:pos x="T12" y="T13"/>
                  </a:cxn>
                </a:cxnLst>
                <a:rect l="0" t="0" r="r" b="b"/>
                <a:pathLst>
                  <a:path w="232" h="72">
                    <a:moveTo>
                      <a:pt x="232" y="16"/>
                    </a:moveTo>
                    <a:cubicBezTo>
                      <a:pt x="232" y="7"/>
                      <a:pt x="225" y="0"/>
                      <a:pt x="216" y="0"/>
                    </a:cubicBezTo>
                    <a:cubicBezTo>
                      <a:pt x="16" y="0"/>
                      <a:pt x="16" y="0"/>
                      <a:pt x="16" y="0"/>
                    </a:cubicBezTo>
                    <a:cubicBezTo>
                      <a:pt x="7" y="0"/>
                      <a:pt x="0" y="7"/>
                      <a:pt x="0" y="16"/>
                    </a:cubicBezTo>
                    <a:cubicBezTo>
                      <a:pt x="0" y="72"/>
                      <a:pt x="0" y="72"/>
                      <a:pt x="0" y="72"/>
                    </a:cubicBezTo>
                    <a:cubicBezTo>
                      <a:pt x="232" y="72"/>
                      <a:pt x="232" y="72"/>
                      <a:pt x="232" y="72"/>
                    </a:cubicBezTo>
                    <a:lnTo>
                      <a:pt x="232" y="16"/>
                    </a:lnTo>
                    <a:close/>
                  </a:path>
                </a:pathLst>
              </a:custGeom>
              <a:noFill/>
              <a:ln w="12700" cap="rnd">
                <a:solidFill>
                  <a:schemeClr val="bg1">
                    <a:lumMod val="5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18" name="Freeform 81"/>
              <p:cNvSpPr/>
              <p:nvPr/>
            </p:nvSpPr>
            <p:spPr bwMode="auto">
              <a:xfrm>
                <a:off x="46038" y="15875"/>
                <a:ext cx="819150" cy="546100"/>
              </a:xfrm>
              <a:custGeom>
                <a:avLst/>
                <a:gdLst>
                  <a:gd name="T0" fmla="*/ 216 w 216"/>
                  <a:gd name="T1" fmla="*/ 128 h 144"/>
                  <a:gd name="T2" fmla="*/ 200 w 216"/>
                  <a:gd name="T3" fmla="*/ 144 h 144"/>
                  <a:gd name="T4" fmla="*/ 16 w 216"/>
                  <a:gd name="T5" fmla="*/ 144 h 144"/>
                  <a:gd name="T6" fmla="*/ 0 w 216"/>
                  <a:gd name="T7" fmla="*/ 128 h 144"/>
                  <a:gd name="T8" fmla="*/ 0 w 216"/>
                  <a:gd name="T9" fmla="*/ 16 h 144"/>
                  <a:gd name="T10" fmla="*/ 16 w 216"/>
                  <a:gd name="T11" fmla="*/ 0 h 144"/>
                  <a:gd name="T12" fmla="*/ 200 w 216"/>
                  <a:gd name="T13" fmla="*/ 0 h 144"/>
                  <a:gd name="T14" fmla="*/ 216 w 216"/>
                  <a:gd name="T15" fmla="*/ 16 h 144"/>
                  <a:gd name="T16" fmla="*/ 216 w 216"/>
                  <a:gd name="T17" fmla="*/ 12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44">
                    <a:moveTo>
                      <a:pt x="216" y="128"/>
                    </a:moveTo>
                    <a:cubicBezTo>
                      <a:pt x="216" y="137"/>
                      <a:pt x="209" y="144"/>
                      <a:pt x="200" y="144"/>
                    </a:cubicBezTo>
                    <a:cubicBezTo>
                      <a:pt x="16" y="144"/>
                      <a:pt x="16" y="144"/>
                      <a:pt x="16" y="144"/>
                    </a:cubicBezTo>
                    <a:cubicBezTo>
                      <a:pt x="7" y="144"/>
                      <a:pt x="0" y="137"/>
                      <a:pt x="0" y="128"/>
                    </a:cubicBezTo>
                    <a:cubicBezTo>
                      <a:pt x="0" y="16"/>
                      <a:pt x="0" y="16"/>
                      <a:pt x="0" y="16"/>
                    </a:cubicBezTo>
                    <a:cubicBezTo>
                      <a:pt x="0" y="7"/>
                      <a:pt x="7" y="0"/>
                      <a:pt x="16" y="0"/>
                    </a:cubicBezTo>
                    <a:cubicBezTo>
                      <a:pt x="200" y="0"/>
                      <a:pt x="200" y="0"/>
                      <a:pt x="200" y="0"/>
                    </a:cubicBezTo>
                    <a:cubicBezTo>
                      <a:pt x="209" y="0"/>
                      <a:pt x="216" y="7"/>
                      <a:pt x="216" y="16"/>
                    </a:cubicBezTo>
                    <a:lnTo>
                      <a:pt x="216" y="128"/>
                    </a:lnTo>
                    <a:close/>
                  </a:path>
                </a:pathLst>
              </a:custGeom>
              <a:noFill/>
              <a:ln w="12700" cap="rnd">
                <a:solidFill>
                  <a:schemeClr val="bg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89" name="Group 284"/>
            <p:cNvGrpSpPr/>
            <p:nvPr/>
          </p:nvGrpSpPr>
          <p:grpSpPr>
            <a:xfrm>
              <a:off x="2452962" y="3732360"/>
              <a:ext cx="330556" cy="330556"/>
              <a:chOff x="15875" y="15875"/>
              <a:chExt cx="879476" cy="879475"/>
            </a:xfrm>
          </p:grpSpPr>
          <p:sp>
            <p:nvSpPr>
              <p:cNvPr id="94" name="Freeform 85"/>
              <p:cNvSpPr/>
              <p:nvPr/>
            </p:nvSpPr>
            <p:spPr bwMode="auto">
              <a:xfrm>
                <a:off x="15875" y="15875"/>
                <a:ext cx="515938" cy="879475"/>
              </a:xfrm>
              <a:custGeom>
                <a:avLst/>
                <a:gdLst>
                  <a:gd name="T0" fmla="*/ 136 w 136"/>
                  <a:gd name="T1" fmla="*/ 16 h 232"/>
                  <a:gd name="T2" fmla="*/ 120 w 136"/>
                  <a:gd name="T3" fmla="*/ 0 h 232"/>
                  <a:gd name="T4" fmla="*/ 16 w 136"/>
                  <a:gd name="T5" fmla="*/ 0 h 232"/>
                  <a:gd name="T6" fmla="*/ 0 w 136"/>
                  <a:gd name="T7" fmla="*/ 16 h 232"/>
                  <a:gd name="T8" fmla="*/ 0 w 136"/>
                  <a:gd name="T9" fmla="*/ 216 h 232"/>
                  <a:gd name="T10" fmla="*/ 16 w 136"/>
                  <a:gd name="T11" fmla="*/ 232 h 232"/>
                  <a:gd name="T12" fmla="*/ 120 w 136"/>
                  <a:gd name="T13" fmla="*/ 232 h 232"/>
                  <a:gd name="T14" fmla="*/ 136 w 136"/>
                  <a:gd name="T15" fmla="*/ 216 h 232"/>
                  <a:gd name="T16" fmla="*/ 136 w 136"/>
                  <a:gd name="T17" fmla="*/ 1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232">
                    <a:moveTo>
                      <a:pt x="136" y="16"/>
                    </a:moveTo>
                    <a:cubicBezTo>
                      <a:pt x="136" y="7"/>
                      <a:pt x="129" y="0"/>
                      <a:pt x="120" y="0"/>
                    </a:cubicBezTo>
                    <a:cubicBezTo>
                      <a:pt x="16" y="0"/>
                      <a:pt x="16" y="0"/>
                      <a:pt x="16" y="0"/>
                    </a:cubicBezTo>
                    <a:cubicBezTo>
                      <a:pt x="7" y="0"/>
                      <a:pt x="0" y="7"/>
                      <a:pt x="0" y="16"/>
                    </a:cubicBezTo>
                    <a:cubicBezTo>
                      <a:pt x="0" y="216"/>
                      <a:pt x="0" y="216"/>
                      <a:pt x="0" y="216"/>
                    </a:cubicBezTo>
                    <a:cubicBezTo>
                      <a:pt x="0" y="225"/>
                      <a:pt x="7" y="232"/>
                      <a:pt x="16" y="232"/>
                    </a:cubicBezTo>
                    <a:cubicBezTo>
                      <a:pt x="120" y="232"/>
                      <a:pt x="120" y="232"/>
                      <a:pt x="120" y="232"/>
                    </a:cubicBezTo>
                    <a:cubicBezTo>
                      <a:pt x="129" y="232"/>
                      <a:pt x="136" y="225"/>
                      <a:pt x="136" y="216"/>
                    </a:cubicBezTo>
                    <a:lnTo>
                      <a:pt x="136" y="16"/>
                    </a:lnTo>
                    <a:close/>
                  </a:path>
                </a:pathLst>
              </a:custGeom>
              <a:noFill/>
              <a:ln w="12700" cap="rnd">
                <a:solidFill>
                  <a:schemeClr val="bg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95" name="Line 86"/>
              <p:cNvSpPr>
                <a:spLocks noChangeShapeType="1"/>
              </p:cNvSpPr>
              <p:nvPr/>
            </p:nvSpPr>
            <p:spPr bwMode="auto">
              <a:xfrm>
                <a:off x="15875" y="531813"/>
                <a:ext cx="515938" cy="0"/>
              </a:xfrm>
              <a:prstGeom prst="line">
                <a:avLst/>
              </a:prstGeom>
              <a:noFill/>
              <a:ln w="12700" cap="rnd">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96" name="Oval 87"/>
              <p:cNvSpPr>
                <a:spLocks noChangeArrowheads="1"/>
              </p:cNvSpPr>
              <p:nvPr/>
            </p:nvSpPr>
            <p:spPr bwMode="auto">
              <a:xfrm>
                <a:off x="182563" y="622300"/>
                <a:ext cx="182563" cy="182563"/>
              </a:xfrm>
              <a:prstGeom prst="ellipse">
                <a:avLst/>
              </a:prstGeom>
              <a:noFill/>
              <a:ln w="12700" cap="rnd">
                <a:solidFill>
                  <a:schemeClr val="bg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97" name="Freeform 88"/>
              <p:cNvSpPr/>
              <p:nvPr/>
            </p:nvSpPr>
            <p:spPr bwMode="auto">
              <a:xfrm>
                <a:off x="242888" y="668338"/>
                <a:ext cx="76200" cy="90488"/>
              </a:xfrm>
              <a:custGeom>
                <a:avLst/>
                <a:gdLst>
                  <a:gd name="T0" fmla="*/ 0 w 48"/>
                  <a:gd name="T1" fmla="*/ 0 h 57"/>
                  <a:gd name="T2" fmla="*/ 0 w 48"/>
                  <a:gd name="T3" fmla="*/ 57 h 57"/>
                  <a:gd name="T4" fmla="*/ 48 w 48"/>
                  <a:gd name="T5" fmla="*/ 29 h 57"/>
                  <a:gd name="T6" fmla="*/ 0 w 48"/>
                  <a:gd name="T7" fmla="*/ 0 h 57"/>
                  <a:gd name="T8" fmla="*/ 0 w 48"/>
                  <a:gd name="T9" fmla="*/ 0 h 57"/>
                </a:gdLst>
                <a:ahLst/>
                <a:cxnLst>
                  <a:cxn ang="0">
                    <a:pos x="T0" y="T1"/>
                  </a:cxn>
                  <a:cxn ang="0">
                    <a:pos x="T2" y="T3"/>
                  </a:cxn>
                  <a:cxn ang="0">
                    <a:pos x="T4" y="T5"/>
                  </a:cxn>
                  <a:cxn ang="0">
                    <a:pos x="T6" y="T7"/>
                  </a:cxn>
                  <a:cxn ang="0">
                    <a:pos x="T8" y="T9"/>
                  </a:cxn>
                </a:cxnLst>
                <a:rect l="0" t="0" r="r" b="b"/>
                <a:pathLst>
                  <a:path w="48" h="57">
                    <a:moveTo>
                      <a:pt x="0" y="0"/>
                    </a:moveTo>
                    <a:lnTo>
                      <a:pt x="0" y="57"/>
                    </a:lnTo>
                    <a:lnTo>
                      <a:pt x="48" y="29"/>
                    </a:lnTo>
                    <a:lnTo>
                      <a:pt x="0" y="0"/>
                    </a:lnTo>
                    <a:lnTo>
                      <a:pt x="0" y="0"/>
                    </a:lnTo>
                    <a:close/>
                  </a:path>
                </a:pathLst>
              </a:custGeom>
              <a:solidFill>
                <a:srgbClr val="010101"/>
              </a:solidFill>
              <a:ln w="12700">
                <a:solidFill>
                  <a:schemeClr val="bg1">
                    <a:lumMod val="50000"/>
                  </a:schemeClr>
                </a:solidFill>
                <a:round/>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98" name="Line 89"/>
              <p:cNvSpPr>
                <a:spLocks noChangeShapeType="1"/>
              </p:cNvSpPr>
              <p:nvPr/>
            </p:nvSpPr>
            <p:spPr bwMode="auto">
              <a:xfrm>
                <a:off x="106363" y="439738"/>
                <a:ext cx="90488"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99" name="Line 90"/>
              <p:cNvSpPr>
                <a:spLocks noChangeShapeType="1"/>
              </p:cNvSpPr>
              <p:nvPr/>
            </p:nvSpPr>
            <p:spPr bwMode="auto">
              <a:xfrm>
                <a:off x="106363" y="379413"/>
                <a:ext cx="90488"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00" name="Line 91"/>
              <p:cNvSpPr>
                <a:spLocks noChangeShapeType="1"/>
              </p:cNvSpPr>
              <p:nvPr/>
            </p:nvSpPr>
            <p:spPr bwMode="auto">
              <a:xfrm>
                <a:off x="106363" y="319088"/>
                <a:ext cx="90488"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01" name="Line 92"/>
              <p:cNvSpPr>
                <a:spLocks noChangeShapeType="1"/>
              </p:cNvSpPr>
              <p:nvPr/>
            </p:nvSpPr>
            <p:spPr bwMode="auto">
              <a:xfrm>
                <a:off x="227013" y="439738"/>
                <a:ext cx="92075"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02" name="Line 93"/>
              <p:cNvSpPr>
                <a:spLocks noChangeShapeType="1"/>
              </p:cNvSpPr>
              <p:nvPr/>
            </p:nvSpPr>
            <p:spPr bwMode="auto">
              <a:xfrm>
                <a:off x="227013" y="379413"/>
                <a:ext cx="92075"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03" name="Line 94"/>
              <p:cNvSpPr>
                <a:spLocks noChangeShapeType="1"/>
              </p:cNvSpPr>
              <p:nvPr/>
            </p:nvSpPr>
            <p:spPr bwMode="auto">
              <a:xfrm>
                <a:off x="227013" y="319088"/>
                <a:ext cx="92075"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04" name="Line 95"/>
              <p:cNvSpPr>
                <a:spLocks noChangeShapeType="1"/>
              </p:cNvSpPr>
              <p:nvPr/>
            </p:nvSpPr>
            <p:spPr bwMode="auto">
              <a:xfrm>
                <a:off x="349250" y="439738"/>
                <a:ext cx="90488"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05" name="Line 96"/>
              <p:cNvSpPr>
                <a:spLocks noChangeShapeType="1"/>
              </p:cNvSpPr>
              <p:nvPr/>
            </p:nvSpPr>
            <p:spPr bwMode="auto">
              <a:xfrm>
                <a:off x="349250" y="379413"/>
                <a:ext cx="90488"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06" name="Line 97"/>
              <p:cNvSpPr>
                <a:spLocks noChangeShapeType="1"/>
              </p:cNvSpPr>
              <p:nvPr/>
            </p:nvSpPr>
            <p:spPr bwMode="auto">
              <a:xfrm>
                <a:off x="349250" y="319088"/>
                <a:ext cx="90488"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07" name="Line 98"/>
              <p:cNvSpPr>
                <a:spLocks noChangeShapeType="1"/>
              </p:cNvSpPr>
              <p:nvPr/>
            </p:nvSpPr>
            <p:spPr bwMode="auto">
              <a:xfrm>
                <a:off x="106363" y="258763"/>
                <a:ext cx="90488"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08" name="Line 99"/>
              <p:cNvSpPr>
                <a:spLocks noChangeShapeType="1"/>
              </p:cNvSpPr>
              <p:nvPr/>
            </p:nvSpPr>
            <p:spPr bwMode="auto">
              <a:xfrm>
                <a:off x="349250" y="258763"/>
                <a:ext cx="90488"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09" name="Line 100"/>
              <p:cNvSpPr>
                <a:spLocks noChangeShapeType="1"/>
              </p:cNvSpPr>
              <p:nvPr/>
            </p:nvSpPr>
            <p:spPr bwMode="auto">
              <a:xfrm>
                <a:off x="106363" y="196850"/>
                <a:ext cx="90488" cy="0"/>
              </a:xfrm>
              <a:prstGeom prst="line">
                <a:avLst/>
              </a:prstGeom>
              <a:noFill/>
              <a:ln w="12700" cap="flat">
                <a:solidFill>
                  <a:schemeClr val="bg1">
                    <a:lumMod val="50000"/>
                  </a:schemeClr>
                </a:solidFill>
                <a:prstDash val="solid"/>
                <a:miter lim="800000"/>
              </a:ln>
              <a:extLst>
                <a:ext uri="{909E8E84-426E-40DD-AFC4-6F175D3DCCD1}">
                  <a14:hiddenFill xmlns:a14="http://schemas.microsoft.com/office/drawing/2010/main">
                    <a:no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10" name="Freeform 101"/>
              <p:cNvSpPr/>
              <p:nvPr/>
            </p:nvSpPr>
            <p:spPr bwMode="auto">
              <a:xfrm>
                <a:off x="804863" y="227013"/>
                <a:ext cx="90488" cy="212725"/>
              </a:xfrm>
              <a:custGeom>
                <a:avLst/>
                <a:gdLst>
                  <a:gd name="T0" fmla="*/ 24 w 24"/>
                  <a:gd name="T1" fmla="*/ 44 h 56"/>
                  <a:gd name="T2" fmla="*/ 12 w 24"/>
                  <a:gd name="T3" fmla="*/ 56 h 56"/>
                  <a:gd name="T4" fmla="*/ 12 w 24"/>
                  <a:gd name="T5" fmla="*/ 56 h 56"/>
                  <a:gd name="T6" fmla="*/ 0 w 24"/>
                  <a:gd name="T7" fmla="*/ 44 h 56"/>
                  <a:gd name="T8" fmla="*/ 0 w 24"/>
                  <a:gd name="T9" fmla="*/ 12 h 56"/>
                  <a:gd name="T10" fmla="*/ 12 w 24"/>
                  <a:gd name="T11" fmla="*/ 0 h 56"/>
                  <a:gd name="T12" fmla="*/ 12 w 24"/>
                  <a:gd name="T13" fmla="*/ 0 h 56"/>
                  <a:gd name="T14" fmla="*/ 24 w 24"/>
                  <a:gd name="T15" fmla="*/ 12 h 56"/>
                  <a:gd name="T16" fmla="*/ 24 w 24"/>
                  <a:gd name="T17"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56">
                    <a:moveTo>
                      <a:pt x="24" y="44"/>
                    </a:moveTo>
                    <a:cubicBezTo>
                      <a:pt x="24" y="51"/>
                      <a:pt x="19" y="56"/>
                      <a:pt x="12" y="56"/>
                    </a:cubicBezTo>
                    <a:cubicBezTo>
                      <a:pt x="12" y="56"/>
                      <a:pt x="12" y="56"/>
                      <a:pt x="12" y="56"/>
                    </a:cubicBezTo>
                    <a:cubicBezTo>
                      <a:pt x="5" y="56"/>
                      <a:pt x="0" y="51"/>
                      <a:pt x="0" y="44"/>
                    </a:cubicBezTo>
                    <a:cubicBezTo>
                      <a:pt x="0" y="12"/>
                      <a:pt x="0" y="12"/>
                      <a:pt x="0" y="12"/>
                    </a:cubicBezTo>
                    <a:cubicBezTo>
                      <a:pt x="0" y="5"/>
                      <a:pt x="5" y="0"/>
                      <a:pt x="12" y="0"/>
                    </a:cubicBezTo>
                    <a:cubicBezTo>
                      <a:pt x="12" y="0"/>
                      <a:pt x="12" y="0"/>
                      <a:pt x="12" y="0"/>
                    </a:cubicBezTo>
                    <a:cubicBezTo>
                      <a:pt x="19" y="0"/>
                      <a:pt x="24" y="5"/>
                      <a:pt x="24" y="12"/>
                    </a:cubicBezTo>
                    <a:lnTo>
                      <a:pt x="24" y="44"/>
                    </a:lnTo>
                    <a:close/>
                  </a:path>
                </a:pathLst>
              </a:custGeom>
              <a:noFill/>
              <a:ln w="12700" cap="flat">
                <a:solidFill>
                  <a:schemeClr val="bg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11" name="Freeform 102"/>
              <p:cNvSpPr/>
              <p:nvPr/>
            </p:nvSpPr>
            <p:spPr bwMode="auto">
              <a:xfrm>
                <a:off x="744538" y="273050"/>
                <a:ext cx="60325" cy="122238"/>
              </a:xfrm>
              <a:custGeom>
                <a:avLst/>
                <a:gdLst>
                  <a:gd name="T0" fmla="*/ 16 w 16"/>
                  <a:gd name="T1" fmla="*/ 32 h 32"/>
                  <a:gd name="T2" fmla="*/ 0 w 16"/>
                  <a:gd name="T3" fmla="*/ 16 h 32"/>
                  <a:gd name="T4" fmla="*/ 16 w 16"/>
                  <a:gd name="T5" fmla="*/ 0 h 32"/>
                </a:gdLst>
                <a:ahLst/>
                <a:cxnLst>
                  <a:cxn ang="0">
                    <a:pos x="T0" y="T1"/>
                  </a:cxn>
                  <a:cxn ang="0">
                    <a:pos x="T2" y="T3"/>
                  </a:cxn>
                  <a:cxn ang="0">
                    <a:pos x="T4" y="T5"/>
                  </a:cxn>
                </a:cxnLst>
                <a:rect l="0" t="0" r="r" b="b"/>
                <a:pathLst>
                  <a:path w="16" h="32">
                    <a:moveTo>
                      <a:pt x="16" y="32"/>
                    </a:moveTo>
                    <a:cubicBezTo>
                      <a:pt x="7" y="32"/>
                      <a:pt x="0" y="25"/>
                      <a:pt x="0" y="16"/>
                    </a:cubicBezTo>
                    <a:cubicBezTo>
                      <a:pt x="0" y="7"/>
                      <a:pt x="7" y="0"/>
                      <a:pt x="16" y="0"/>
                    </a:cubicBezTo>
                  </a:path>
                </a:pathLst>
              </a:custGeom>
              <a:noFill/>
              <a:ln w="12700" cap="flat">
                <a:solidFill>
                  <a:schemeClr val="bg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12" name="Freeform 103"/>
              <p:cNvSpPr/>
              <p:nvPr/>
            </p:nvSpPr>
            <p:spPr bwMode="auto">
              <a:xfrm>
                <a:off x="531813" y="133350"/>
                <a:ext cx="333375" cy="682625"/>
              </a:xfrm>
              <a:custGeom>
                <a:avLst/>
                <a:gdLst>
                  <a:gd name="T0" fmla="*/ 88 w 88"/>
                  <a:gd name="T1" fmla="*/ 80 h 180"/>
                  <a:gd name="T2" fmla="*/ 88 w 88"/>
                  <a:gd name="T3" fmla="*/ 152 h 180"/>
                  <a:gd name="T4" fmla="*/ 60 w 88"/>
                  <a:gd name="T5" fmla="*/ 180 h 180"/>
                  <a:gd name="T6" fmla="*/ 32 w 88"/>
                  <a:gd name="T7" fmla="*/ 152 h 180"/>
                  <a:gd name="T8" fmla="*/ 32 w 88"/>
                  <a:gd name="T9" fmla="*/ 16 h 180"/>
                  <a:gd name="T10" fmla="*/ 16 w 88"/>
                  <a:gd name="T11" fmla="*/ 0 h 180"/>
                  <a:gd name="T12" fmla="*/ 0 w 88"/>
                  <a:gd name="T13" fmla="*/ 0 h 180"/>
                </a:gdLst>
                <a:ahLst/>
                <a:cxnLst>
                  <a:cxn ang="0">
                    <a:pos x="T0" y="T1"/>
                  </a:cxn>
                  <a:cxn ang="0">
                    <a:pos x="T2" y="T3"/>
                  </a:cxn>
                  <a:cxn ang="0">
                    <a:pos x="T4" y="T5"/>
                  </a:cxn>
                  <a:cxn ang="0">
                    <a:pos x="T6" y="T7"/>
                  </a:cxn>
                  <a:cxn ang="0">
                    <a:pos x="T8" y="T9"/>
                  </a:cxn>
                  <a:cxn ang="0">
                    <a:pos x="T10" y="T11"/>
                  </a:cxn>
                  <a:cxn ang="0">
                    <a:pos x="T12" y="T13"/>
                  </a:cxn>
                </a:cxnLst>
                <a:rect l="0" t="0" r="r" b="b"/>
                <a:pathLst>
                  <a:path w="88" h="180">
                    <a:moveTo>
                      <a:pt x="88" y="80"/>
                    </a:moveTo>
                    <a:cubicBezTo>
                      <a:pt x="88" y="152"/>
                      <a:pt x="88" y="152"/>
                      <a:pt x="88" y="152"/>
                    </a:cubicBezTo>
                    <a:cubicBezTo>
                      <a:pt x="88" y="168"/>
                      <a:pt x="75" y="180"/>
                      <a:pt x="60" y="180"/>
                    </a:cubicBezTo>
                    <a:cubicBezTo>
                      <a:pt x="45" y="180"/>
                      <a:pt x="32" y="168"/>
                      <a:pt x="32" y="152"/>
                    </a:cubicBezTo>
                    <a:cubicBezTo>
                      <a:pt x="32" y="16"/>
                      <a:pt x="32" y="16"/>
                      <a:pt x="32" y="16"/>
                    </a:cubicBezTo>
                    <a:cubicBezTo>
                      <a:pt x="32" y="7"/>
                      <a:pt x="25" y="0"/>
                      <a:pt x="16" y="0"/>
                    </a:cubicBezTo>
                    <a:cubicBezTo>
                      <a:pt x="0" y="0"/>
                      <a:pt x="0" y="0"/>
                      <a:pt x="0" y="0"/>
                    </a:cubicBezTo>
                  </a:path>
                </a:pathLst>
              </a:custGeom>
              <a:noFill/>
              <a:ln w="12700" cap="flat">
                <a:solidFill>
                  <a:schemeClr val="bg1">
                    <a:lumMod val="50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90" name="Group 304"/>
            <p:cNvGrpSpPr/>
            <p:nvPr/>
          </p:nvGrpSpPr>
          <p:grpSpPr>
            <a:xfrm>
              <a:off x="2327964" y="1233633"/>
              <a:ext cx="182341" cy="153955"/>
              <a:chOff x="-1587" y="0"/>
              <a:chExt cx="866775" cy="731838"/>
            </a:xfrm>
            <a:solidFill>
              <a:schemeClr val="bg1"/>
            </a:solidFill>
          </p:grpSpPr>
          <p:sp>
            <p:nvSpPr>
              <p:cNvPr id="91" name="Freeform 107"/>
              <p:cNvSpPr/>
              <p:nvPr/>
            </p:nvSpPr>
            <p:spPr bwMode="auto">
              <a:xfrm>
                <a:off x="-1587" y="503238"/>
                <a:ext cx="866775" cy="228600"/>
              </a:xfrm>
              <a:custGeom>
                <a:avLst/>
                <a:gdLst>
                  <a:gd name="T0" fmla="*/ 354 w 546"/>
                  <a:gd name="T1" fmla="*/ 74 h 144"/>
                  <a:gd name="T2" fmla="*/ 189 w 546"/>
                  <a:gd name="T3" fmla="*/ 74 h 144"/>
                  <a:gd name="T4" fmla="*/ 189 w 546"/>
                  <a:gd name="T5" fmla="*/ 0 h 144"/>
                  <a:gd name="T6" fmla="*/ 0 w 546"/>
                  <a:gd name="T7" fmla="*/ 0 h 144"/>
                  <a:gd name="T8" fmla="*/ 0 w 546"/>
                  <a:gd name="T9" fmla="*/ 144 h 144"/>
                  <a:gd name="T10" fmla="*/ 546 w 546"/>
                  <a:gd name="T11" fmla="*/ 144 h 144"/>
                  <a:gd name="T12" fmla="*/ 546 w 546"/>
                  <a:gd name="T13" fmla="*/ 0 h 144"/>
                  <a:gd name="T14" fmla="*/ 354 w 546"/>
                  <a:gd name="T15" fmla="*/ 0 h 144"/>
                  <a:gd name="T16" fmla="*/ 354 w 546"/>
                  <a:gd name="T17" fmla="*/ 7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44">
                    <a:moveTo>
                      <a:pt x="354" y="74"/>
                    </a:moveTo>
                    <a:lnTo>
                      <a:pt x="189" y="74"/>
                    </a:lnTo>
                    <a:lnTo>
                      <a:pt x="189" y="0"/>
                    </a:lnTo>
                    <a:lnTo>
                      <a:pt x="0" y="0"/>
                    </a:lnTo>
                    <a:lnTo>
                      <a:pt x="0" y="144"/>
                    </a:lnTo>
                    <a:lnTo>
                      <a:pt x="546" y="144"/>
                    </a:lnTo>
                    <a:lnTo>
                      <a:pt x="546" y="0"/>
                    </a:lnTo>
                    <a:lnTo>
                      <a:pt x="354" y="0"/>
                    </a:lnTo>
                    <a:lnTo>
                      <a:pt x="354" y="7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92" name="Rectangle 108"/>
              <p:cNvSpPr>
                <a:spLocks noChangeArrowheads="1"/>
              </p:cNvSpPr>
              <p:nvPr/>
            </p:nvSpPr>
            <p:spPr bwMode="auto">
              <a:xfrm>
                <a:off x="347663" y="503238"/>
                <a:ext cx="163513" cy="68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93" name="Freeform 109"/>
              <p:cNvSpPr>
                <a:spLocks noEditPoints="1"/>
              </p:cNvSpPr>
              <p:nvPr/>
            </p:nvSpPr>
            <p:spPr bwMode="auto">
              <a:xfrm>
                <a:off x="-1587" y="0"/>
                <a:ext cx="866775" cy="454025"/>
              </a:xfrm>
              <a:custGeom>
                <a:avLst/>
                <a:gdLst>
                  <a:gd name="T0" fmla="*/ 404 w 546"/>
                  <a:gd name="T1" fmla="*/ 106 h 286"/>
                  <a:gd name="T2" fmla="*/ 404 w 546"/>
                  <a:gd name="T3" fmla="*/ 0 h 286"/>
                  <a:gd name="T4" fmla="*/ 273 w 546"/>
                  <a:gd name="T5" fmla="*/ 0 h 286"/>
                  <a:gd name="T6" fmla="*/ 138 w 546"/>
                  <a:gd name="T7" fmla="*/ 0 h 286"/>
                  <a:gd name="T8" fmla="*/ 138 w 546"/>
                  <a:gd name="T9" fmla="*/ 106 h 286"/>
                  <a:gd name="T10" fmla="*/ 0 w 546"/>
                  <a:gd name="T11" fmla="*/ 106 h 286"/>
                  <a:gd name="T12" fmla="*/ 0 w 546"/>
                  <a:gd name="T13" fmla="*/ 286 h 286"/>
                  <a:gd name="T14" fmla="*/ 189 w 546"/>
                  <a:gd name="T15" fmla="*/ 286 h 286"/>
                  <a:gd name="T16" fmla="*/ 273 w 546"/>
                  <a:gd name="T17" fmla="*/ 286 h 286"/>
                  <a:gd name="T18" fmla="*/ 354 w 546"/>
                  <a:gd name="T19" fmla="*/ 286 h 286"/>
                  <a:gd name="T20" fmla="*/ 546 w 546"/>
                  <a:gd name="T21" fmla="*/ 286 h 286"/>
                  <a:gd name="T22" fmla="*/ 546 w 546"/>
                  <a:gd name="T23" fmla="*/ 106 h 286"/>
                  <a:gd name="T24" fmla="*/ 404 w 546"/>
                  <a:gd name="T25" fmla="*/ 106 h 286"/>
                  <a:gd name="T26" fmla="*/ 359 w 546"/>
                  <a:gd name="T27" fmla="*/ 106 h 286"/>
                  <a:gd name="T28" fmla="*/ 273 w 546"/>
                  <a:gd name="T29" fmla="*/ 106 h 286"/>
                  <a:gd name="T30" fmla="*/ 186 w 546"/>
                  <a:gd name="T31" fmla="*/ 106 h 286"/>
                  <a:gd name="T32" fmla="*/ 186 w 546"/>
                  <a:gd name="T33" fmla="*/ 48 h 286"/>
                  <a:gd name="T34" fmla="*/ 273 w 546"/>
                  <a:gd name="T35" fmla="*/ 48 h 286"/>
                  <a:gd name="T36" fmla="*/ 359 w 546"/>
                  <a:gd name="T37" fmla="*/ 48 h 286"/>
                  <a:gd name="T38" fmla="*/ 359 w 546"/>
                  <a:gd name="T39" fmla="*/ 10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6" h="286">
                    <a:moveTo>
                      <a:pt x="404" y="106"/>
                    </a:moveTo>
                    <a:lnTo>
                      <a:pt x="404" y="0"/>
                    </a:lnTo>
                    <a:lnTo>
                      <a:pt x="273" y="0"/>
                    </a:lnTo>
                    <a:lnTo>
                      <a:pt x="138" y="0"/>
                    </a:lnTo>
                    <a:lnTo>
                      <a:pt x="138" y="106"/>
                    </a:lnTo>
                    <a:lnTo>
                      <a:pt x="0" y="106"/>
                    </a:lnTo>
                    <a:lnTo>
                      <a:pt x="0" y="286"/>
                    </a:lnTo>
                    <a:lnTo>
                      <a:pt x="189" y="286"/>
                    </a:lnTo>
                    <a:lnTo>
                      <a:pt x="273" y="286"/>
                    </a:lnTo>
                    <a:lnTo>
                      <a:pt x="354" y="286"/>
                    </a:lnTo>
                    <a:lnTo>
                      <a:pt x="546" y="286"/>
                    </a:lnTo>
                    <a:lnTo>
                      <a:pt x="546" y="106"/>
                    </a:lnTo>
                    <a:lnTo>
                      <a:pt x="404" y="106"/>
                    </a:lnTo>
                    <a:close/>
                    <a:moveTo>
                      <a:pt x="359" y="106"/>
                    </a:moveTo>
                    <a:lnTo>
                      <a:pt x="273" y="106"/>
                    </a:lnTo>
                    <a:lnTo>
                      <a:pt x="186" y="106"/>
                    </a:lnTo>
                    <a:lnTo>
                      <a:pt x="186" y="48"/>
                    </a:lnTo>
                    <a:lnTo>
                      <a:pt x="273" y="48"/>
                    </a:lnTo>
                    <a:lnTo>
                      <a:pt x="359" y="48"/>
                    </a:lnTo>
                    <a:lnTo>
                      <a:pt x="359" y="10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sp>
        <p:nvSpPr>
          <p:cNvPr id="189" name="Oval 15"/>
          <p:cNvSpPr>
            <a:spLocks noChangeArrowheads="1"/>
          </p:cNvSpPr>
          <p:nvPr/>
        </p:nvSpPr>
        <p:spPr bwMode="auto">
          <a:xfrm flipH="1">
            <a:off x="4778600" y="1024100"/>
            <a:ext cx="772895" cy="772895"/>
          </a:xfrm>
          <a:prstGeom prst="ellipse">
            <a:avLst/>
          </a:prstGeom>
          <a:solidFill>
            <a:srgbClr val="FE5817"/>
          </a:solidFill>
          <a:ln>
            <a:noFill/>
          </a:ln>
        </p:spPr>
        <p:txBody>
          <a:bodyPr vert="horz" wrap="square" lIns="91419" tIns="45709" rIns="91419" bIns="45709" numCol="1" anchor="t" anchorCtr="0" compatLnSpc="1"/>
          <a:lstStyle/>
          <a:p>
            <a:pPr defTabSz="914400" fontAlgn="base">
              <a:spcBef>
                <a:spcPct val="0"/>
              </a:spcBef>
              <a:spcAft>
                <a:spcPct val="0"/>
              </a:spcAft>
            </a:pPr>
            <a:endParaRPr lang="id-ID">
              <a:solidFill>
                <a:srgbClr val="4E9F8E"/>
              </a:solidFill>
              <a:latin typeface="华文楷体" panose="02010600040101010101" charset="-122"/>
              <a:ea typeface="华文楷体" panose="02010600040101010101" charset="-122"/>
            </a:endParaRPr>
          </a:p>
        </p:txBody>
      </p:sp>
      <p:grpSp>
        <p:nvGrpSpPr>
          <p:cNvPr id="190" name="Group 309"/>
          <p:cNvGrpSpPr/>
          <p:nvPr/>
        </p:nvGrpSpPr>
        <p:grpSpPr>
          <a:xfrm>
            <a:off x="5003383" y="1215497"/>
            <a:ext cx="323329" cy="390103"/>
            <a:chOff x="134906" y="3220464"/>
            <a:chExt cx="730251" cy="881063"/>
          </a:xfrm>
          <a:noFill/>
        </p:grpSpPr>
        <p:sp>
          <p:nvSpPr>
            <p:cNvPr id="191" name="Freeform 34"/>
            <p:cNvSpPr/>
            <p:nvPr/>
          </p:nvSpPr>
          <p:spPr bwMode="auto">
            <a:xfrm>
              <a:off x="134906" y="3220464"/>
              <a:ext cx="730251" cy="577851"/>
            </a:xfrm>
            <a:custGeom>
              <a:avLst/>
              <a:gdLst>
                <a:gd name="T0" fmla="*/ 124 w 192"/>
                <a:gd name="T1" fmla="*/ 96 h 152"/>
                <a:gd name="T2" fmla="*/ 116 w 192"/>
                <a:gd name="T3" fmla="*/ 92 h 152"/>
                <a:gd name="T4" fmla="*/ 116 w 192"/>
                <a:gd name="T5" fmla="*/ 80 h 152"/>
                <a:gd name="T6" fmla="*/ 120 w 192"/>
                <a:gd name="T7" fmla="*/ 60 h 152"/>
                <a:gd name="T8" fmla="*/ 121 w 192"/>
                <a:gd name="T9" fmla="*/ 25 h 152"/>
                <a:gd name="T10" fmla="*/ 96 w 192"/>
                <a:gd name="T11" fmla="*/ 0 h 152"/>
                <a:gd name="T12" fmla="*/ 72 w 192"/>
                <a:gd name="T13" fmla="*/ 24 h 152"/>
                <a:gd name="T14" fmla="*/ 72 w 192"/>
                <a:gd name="T15" fmla="*/ 60 h 152"/>
                <a:gd name="T16" fmla="*/ 76 w 192"/>
                <a:gd name="T17" fmla="*/ 80 h 152"/>
                <a:gd name="T18" fmla="*/ 76 w 192"/>
                <a:gd name="T19" fmla="*/ 92 h 152"/>
                <a:gd name="T20" fmla="*/ 68 w 192"/>
                <a:gd name="T21" fmla="*/ 96 h 152"/>
                <a:gd name="T22" fmla="*/ 16 w 192"/>
                <a:gd name="T23" fmla="*/ 96 h 152"/>
                <a:gd name="T24" fmla="*/ 0 w 192"/>
                <a:gd name="T25" fmla="*/ 116 h 152"/>
                <a:gd name="T26" fmla="*/ 0 w 192"/>
                <a:gd name="T27" fmla="*/ 152 h 152"/>
                <a:gd name="T28" fmla="*/ 192 w 192"/>
                <a:gd name="T29" fmla="*/ 152 h 152"/>
                <a:gd name="T30" fmla="*/ 192 w 192"/>
                <a:gd name="T31" fmla="*/ 116 h 152"/>
                <a:gd name="T32" fmla="*/ 176 w 192"/>
                <a:gd name="T33" fmla="*/ 96 h 152"/>
                <a:gd name="T34" fmla="*/ 124 w 192"/>
                <a:gd name="T35" fmla="*/ 9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52">
                  <a:moveTo>
                    <a:pt x="124" y="96"/>
                  </a:moveTo>
                  <a:cubicBezTo>
                    <a:pt x="121" y="96"/>
                    <a:pt x="118" y="95"/>
                    <a:pt x="116" y="92"/>
                  </a:cubicBezTo>
                  <a:cubicBezTo>
                    <a:pt x="114" y="89"/>
                    <a:pt x="115" y="83"/>
                    <a:pt x="116" y="80"/>
                  </a:cubicBezTo>
                  <a:cubicBezTo>
                    <a:pt x="119" y="72"/>
                    <a:pt x="120" y="68"/>
                    <a:pt x="120" y="60"/>
                  </a:cubicBezTo>
                  <a:cubicBezTo>
                    <a:pt x="121" y="25"/>
                    <a:pt x="121" y="25"/>
                    <a:pt x="121" y="25"/>
                  </a:cubicBezTo>
                  <a:cubicBezTo>
                    <a:pt x="121" y="11"/>
                    <a:pt x="110" y="0"/>
                    <a:pt x="96" y="0"/>
                  </a:cubicBezTo>
                  <a:cubicBezTo>
                    <a:pt x="82" y="0"/>
                    <a:pt x="72" y="10"/>
                    <a:pt x="72" y="24"/>
                  </a:cubicBezTo>
                  <a:cubicBezTo>
                    <a:pt x="72" y="60"/>
                    <a:pt x="72" y="60"/>
                    <a:pt x="72" y="60"/>
                  </a:cubicBezTo>
                  <a:cubicBezTo>
                    <a:pt x="72" y="68"/>
                    <a:pt x="73" y="72"/>
                    <a:pt x="76" y="80"/>
                  </a:cubicBezTo>
                  <a:cubicBezTo>
                    <a:pt x="77" y="83"/>
                    <a:pt x="78" y="89"/>
                    <a:pt x="76" y="92"/>
                  </a:cubicBezTo>
                  <a:cubicBezTo>
                    <a:pt x="74" y="95"/>
                    <a:pt x="71" y="96"/>
                    <a:pt x="68" y="96"/>
                  </a:cubicBezTo>
                  <a:cubicBezTo>
                    <a:pt x="16" y="96"/>
                    <a:pt x="16" y="96"/>
                    <a:pt x="16" y="96"/>
                  </a:cubicBezTo>
                  <a:cubicBezTo>
                    <a:pt x="8" y="96"/>
                    <a:pt x="0" y="108"/>
                    <a:pt x="0" y="116"/>
                  </a:cubicBezTo>
                  <a:cubicBezTo>
                    <a:pt x="0" y="152"/>
                    <a:pt x="0" y="152"/>
                    <a:pt x="0" y="152"/>
                  </a:cubicBezTo>
                  <a:cubicBezTo>
                    <a:pt x="192" y="152"/>
                    <a:pt x="192" y="152"/>
                    <a:pt x="192" y="152"/>
                  </a:cubicBezTo>
                  <a:cubicBezTo>
                    <a:pt x="192" y="116"/>
                    <a:pt x="192" y="116"/>
                    <a:pt x="192" y="116"/>
                  </a:cubicBezTo>
                  <a:cubicBezTo>
                    <a:pt x="192" y="108"/>
                    <a:pt x="184" y="96"/>
                    <a:pt x="176" y="96"/>
                  </a:cubicBezTo>
                  <a:lnTo>
                    <a:pt x="124" y="96"/>
                  </a:lnTo>
                  <a:close/>
                </a:path>
              </a:pathLst>
            </a:cu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192" name="Freeform 35"/>
            <p:cNvSpPr/>
            <p:nvPr/>
          </p:nvSpPr>
          <p:spPr bwMode="auto">
            <a:xfrm>
              <a:off x="165069" y="3798314"/>
              <a:ext cx="669926" cy="303213"/>
            </a:xfrm>
            <a:custGeom>
              <a:avLst/>
              <a:gdLst>
                <a:gd name="T0" fmla="*/ 422 w 422"/>
                <a:gd name="T1" fmla="*/ 191 h 191"/>
                <a:gd name="T2" fmla="*/ 115 w 422"/>
                <a:gd name="T3" fmla="*/ 191 h 191"/>
                <a:gd name="T4" fmla="*/ 115 w 422"/>
                <a:gd name="T5" fmla="*/ 95 h 191"/>
                <a:gd name="T6" fmla="*/ 67 w 422"/>
                <a:gd name="T7" fmla="*/ 191 h 191"/>
                <a:gd name="T8" fmla="*/ 0 w 422"/>
                <a:gd name="T9" fmla="*/ 191 h 191"/>
                <a:gd name="T10" fmla="*/ 0 w 422"/>
                <a:gd name="T11" fmla="*/ 0 h 191"/>
                <a:gd name="T12" fmla="*/ 422 w 422"/>
                <a:gd name="T13" fmla="*/ 0 h 191"/>
                <a:gd name="T14" fmla="*/ 422 w 422"/>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2" h="191">
                  <a:moveTo>
                    <a:pt x="422" y="191"/>
                  </a:moveTo>
                  <a:lnTo>
                    <a:pt x="115" y="191"/>
                  </a:lnTo>
                  <a:lnTo>
                    <a:pt x="115" y="95"/>
                  </a:lnTo>
                  <a:lnTo>
                    <a:pt x="67" y="191"/>
                  </a:lnTo>
                  <a:lnTo>
                    <a:pt x="0" y="191"/>
                  </a:lnTo>
                  <a:lnTo>
                    <a:pt x="0" y="0"/>
                  </a:lnTo>
                  <a:lnTo>
                    <a:pt x="422" y="0"/>
                  </a:lnTo>
                  <a:lnTo>
                    <a:pt x="422" y="191"/>
                  </a:lnTo>
                  <a:close/>
                </a:path>
              </a:pathLst>
            </a:cu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193" name="Line 36"/>
            <p:cNvSpPr>
              <a:spLocks noChangeShapeType="1"/>
            </p:cNvSpPr>
            <p:nvPr/>
          </p:nvSpPr>
          <p:spPr bwMode="auto">
            <a:xfrm>
              <a:off x="742919" y="3904677"/>
              <a:ext cx="0" cy="196850"/>
            </a:xfrm>
            <a:prstGeom prst="line">
              <a:avLst/>
            </a:pr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194" name="Line 37"/>
            <p:cNvSpPr>
              <a:spLocks noChangeShapeType="1"/>
            </p:cNvSpPr>
            <p:nvPr/>
          </p:nvSpPr>
          <p:spPr bwMode="auto">
            <a:xfrm>
              <a:off x="652432" y="3949127"/>
              <a:ext cx="0" cy="152400"/>
            </a:xfrm>
            <a:prstGeom prst="line">
              <a:avLst/>
            </a:pr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195" name="Line 38"/>
            <p:cNvSpPr>
              <a:spLocks noChangeShapeType="1"/>
            </p:cNvSpPr>
            <p:nvPr/>
          </p:nvSpPr>
          <p:spPr bwMode="auto">
            <a:xfrm>
              <a:off x="560357" y="4011039"/>
              <a:ext cx="0" cy="90488"/>
            </a:xfrm>
            <a:prstGeom prst="line">
              <a:avLst/>
            </a:pr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196" name="Oval 39"/>
            <p:cNvSpPr>
              <a:spLocks noChangeArrowheads="1"/>
            </p:cNvSpPr>
            <p:nvPr/>
          </p:nvSpPr>
          <p:spPr bwMode="auto">
            <a:xfrm>
              <a:off x="480981" y="3296664"/>
              <a:ext cx="38100" cy="38100"/>
            </a:xfrm>
            <a:prstGeom prst="ellipse">
              <a:avLst/>
            </a:prstGeom>
            <a:grpFill/>
            <a:ln w="15875" cap="rnd">
              <a:solidFill>
                <a:schemeClr val="bg1"/>
              </a:solidFill>
              <a:prstDash val="solid"/>
              <a:round/>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grpSp>
      <p:sp>
        <p:nvSpPr>
          <p:cNvPr id="197" name="Oval 15"/>
          <p:cNvSpPr>
            <a:spLocks noChangeArrowheads="1"/>
          </p:cNvSpPr>
          <p:nvPr/>
        </p:nvSpPr>
        <p:spPr bwMode="auto">
          <a:xfrm flipH="1">
            <a:off x="4778600" y="2015747"/>
            <a:ext cx="772895" cy="772895"/>
          </a:xfrm>
          <a:prstGeom prst="ellipse">
            <a:avLst/>
          </a:prstGeom>
          <a:solidFill>
            <a:schemeClr val="accent2"/>
          </a:solidFill>
          <a:ln>
            <a:noFill/>
          </a:ln>
        </p:spPr>
        <p:txBody>
          <a:bodyPr vert="horz" wrap="square" lIns="91419" tIns="45709" rIns="91419" bIns="45709" numCol="1" anchor="t" anchorCtr="0" compatLnSpc="1"/>
          <a:lstStyle/>
          <a:p>
            <a:pPr defTabSz="914400" fontAlgn="base">
              <a:spcBef>
                <a:spcPct val="0"/>
              </a:spcBef>
              <a:spcAft>
                <a:spcPct val="0"/>
              </a:spcAft>
            </a:pPr>
            <a:endParaRPr lang="id-ID">
              <a:solidFill>
                <a:srgbClr val="000000"/>
              </a:solidFill>
              <a:latin typeface="华文楷体" panose="02010600040101010101" charset="-122"/>
              <a:ea typeface="华文楷体" panose="02010600040101010101" charset="-122"/>
            </a:endParaRPr>
          </a:p>
        </p:txBody>
      </p:sp>
      <p:sp>
        <p:nvSpPr>
          <p:cNvPr id="198" name="Freeform 5"/>
          <p:cNvSpPr>
            <a:spLocks noEditPoints="1"/>
          </p:cNvSpPr>
          <p:nvPr/>
        </p:nvSpPr>
        <p:spPr bwMode="auto">
          <a:xfrm>
            <a:off x="4990064" y="2230717"/>
            <a:ext cx="349968" cy="342956"/>
          </a:xfrm>
          <a:custGeom>
            <a:avLst/>
            <a:gdLst>
              <a:gd name="T0" fmla="*/ 179 w 208"/>
              <a:gd name="T1" fmla="*/ 79 h 204"/>
              <a:gd name="T2" fmla="*/ 174 w 208"/>
              <a:gd name="T3" fmla="*/ 66 h 204"/>
              <a:gd name="T4" fmla="*/ 185 w 208"/>
              <a:gd name="T5" fmla="*/ 38 h 204"/>
              <a:gd name="T6" fmla="*/ 169 w 208"/>
              <a:gd name="T7" fmla="*/ 22 h 204"/>
              <a:gd name="T8" fmla="*/ 140 w 208"/>
              <a:gd name="T9" fmla="*/ 33 h 204"/>
              <a:gd name="T10" fmla="*/ 128 w 208"/>
              <a:gd name="T11" fmla="*/ 28 h 204"/>
              <a:gd name="T12" fmla="*/ 115 w 208"/>
              <a:gd name="T13" fmla="*/ 0 h 204"/>
              <a:gd name="T14" fmla="*/ 92 w 208"/>
              <a:gd name="T15" fmla="*/ 0 h 204"/>
              <a:gd name="T16" fmla="*/ 80 w 208"/>
              <a:gd name="T17" fmla="*/ 28 h 204"/>
              <a:gd name="T18" fmla="*/ 67 w 208"/>
              <a:gd name="T19" fmla="*/ 33 h 204"/>
              <a:gd name="T20" fmla="*/ 38 w 208"/>
              <a:gd name="T21" fmla="*/ 22 h 204"/>
              <a:gd name="T22" fmla="*/ 22 w 208"/>
              <a:gd name="T23" fmla="*/ 38 h 204"/>
              <a:gd name="T24" fmla="*/ 34 w 208"/>
              <a:gd name="T25" fmla="*/ 66 h 204"/>
              <a:gd name="T26" fmla="*/ 28 w 208"/>
              <a:gd name="T27" fmla="*/ 79 h 204"/>
              <a:gd name="T28" fmla="*/ 0 w 208"/>
              <a:gd name="T29" fmla="*/ 91 h 204"/>
              <a:gd name="T30" fmla="*/ 0 w 208"/>
              <a:gd name="T31" fmla="*/ 114 h 204"/>
              <a:gd name="T32" fmla="*/ 28 w 208"/>
              <a:gd name="T33" fmla="*/ 125 h 204"/>
              <a:gd name="T34" fmla="*/ 34 w 208"/>
              <a:gd name="T35" fmla="*/ 138 h 204"/>
              <a:gd name="T36" fmla="*/ 22 w 208"/>
              <a:gd name="T37" fmla="*/ 167 h 204"/>
              <a:gd name="T38" fmla="*/ 39 w 208"/>
              <a:gd name="T39" fmla="*/ 182 h 204"/>
              <a:gd name="T40" fmla="*/ 67 w 208"/>
              <a:gd name="T41" fmla="*/ 171 h 204"/>
              <a:gd name="T42" fmla="*/ 80 w 208"/>
              <a:gd name="T43" fmla="*/ 176 h 204"/>
              <a:gd name="T44" fmla="*/ 93 w 208"/>
              <a:gd name="T45" fmla="*/ 204 h 204"/>
              <a:gd name="T46" fmla="*/ 116 w 208"/>
              <a:gd name="T47" fmla="*/ 204 h 204"/>
              <a:gd name="T48" fmla="*/ 128 w 208"/>
              <a:gd name="T49" fmla="*/ 176 h 204"/>
              <a:gd name="T50" fmla="*/ 141 w 208"/>
              <a:gd name="T51" fmla="*/ 171 h 204"/>
              <a:gd name="T52" fmla="*/ 170 w 208"/>
              <a:gd name="T53" fmla="*/ 182 h 204"/>
              <a:gd name="T54" fmla="*/ 186 w 208"/>
              <a:gd name="T55" fmla="*/ 166 h 204"/>
              <a:gd name="T56" fmla="*/ 174 w 208"/>
              <a:gd name="T57" fmla="*/ 138 h 204"/>
              <a:gd name="T58" fmla="*/ 179 w 208"/>
              <a:gd name="T59" fmla="*/ 125 h 204"/>
              <a:gd name="T60" fmla="*/ 208 w 208"/>
              <a:gd name="T61" fmla="*/ 113 h 204"/>
              <a:gd name="T62" fmla="*/ 208 w 208"/>
              <a:gd name="T63" fmla="*/ 90 h 204"/>
              <a:gd name="T64" fmla="*/ 179 w 208"/>
              <a:gd name="T65" fmla="*/ 79 h 204"/>
              <a:gd name="T66" fmla="*/ 137 w 208"/>
              <a:gd name="T67" fmla="*/ 102 h 204"/>
              <a:gd name="T68" fmla="*/ 104 w 208"/>
              <a:gd name="T69" fmla="*/ 135 h 204"/>
              <a:gd name="T70" fmla="*/ 70 w 208"/>
              <a:gd name="T71" fmla="*/ 102 h 204"/>
              <a:gd name="T72" fmla="*/ 104 w 208"/>
              <a:gd name="T73" fmla="*/ 69 h 204"/>
              <a:gd name="T74" fmla="*/ 137 w 208"/>
              <a:gd name="T75" fmla="*/ 10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 h="204">
                <a:moveTo>
                  <a:pt x="179" y="79"/>
                </a:moveTo>
                <a:cubicBezTo>
                  <a:pt x="174" y="66"/>
                  <a:pt x="174" y="66"/>
                  <a:pt x="174" y="66"/>
                </a:cubicBezTo>
                <a:cubicBezTo>
                  <a:pt x="174" y="66"/>
                  <a:pt x="186" y="39"/>
                  <a:pt x="185" y="38"/>
                </a:cubicBezTo>
                <a:cubicBezTo>
                  <a:pt x="169" y="22"/>
                  <a:pt x="169" y="22"/>
                  <a:pt x="169" y="22"/>
                </a:cubicBezTo>
                <a:cubicBezTo>
                  <a:pt x="168" y="21"/>
                  <a:pt x="140" y="33"/>
                  <a:pt x="140" y="33"/>
                </a:cubicBezTo>
                <a:cubicBezTo>
                  <a:pt x="128" y="28"/>
                  <a:pt x="128" y="28"/>
                  <a:pt x="128" y="28"/>
                </a:cubicBezTo>
                <a:cubicBezTo>
                  <a:pt x="128" y="28"/>
                  <a:pt x="116" y="0"/>
                  <a:pt x="115" y="0"/>
                </a:cubicBezTo>
                <a:cubicBezTo>
                  <a:pt x="92" y="0"/>
                  <a:pt x="92" y="0"/>
                  <a:pt x="92" y="0"/>
                </a:cubicBezTo>
                <a:cubicBezTo>
                  <a:pt x="90" y="0"/>
                  <a:pt x="80" y="28"/>
                  <a:pt x="80" y="28"/>
                </a:cubicBezTo>
                <a:cubicBezTo>
                  <a:pt x="67" y="33"/>
                  <a:pt x="67" y="33"/>
                  <a:pt x="67" y="33"/>
                </a:cubicBezTo>
                <a:cubicBezTo>
                  <a:pt x="67" y="33"/>
                  <a:pt x="39" y="21"/>
                  <a:pt x="38" y="22"/>
                </a:cubicBezTo>
                <a:cubicBezTo>
                  <a:pt x="22" y="38"/>
                  <a:pt x="22" y="38"/>
                  <a:pt x="22" y="38"/>
                </a:cubicBezTo>
                <a:cubicBezTo>
                  <a:pt x="21" y="39"/>
                  <a:pt x="34" y="66"/>
                  <a:pt x="34" y="66"/>
                </a:cubicBezTo>
                <a:cubicBezTo>
                  <a:pt x="28" y="79"/>
                  <a:pt x="28" y="79"/>
                  <a:pt x="28" y="79"/>
                </a:cubicBezTo>
                <a:cubicBezTo>
                  <a:pt x="28" y="79"/>
                  <a:pt x="0" y="90"/>
                  <a:pt x="0" y="91"/>
                </a:cubicBezTo>
                <a:cubicBezTo>
                  <a:pt x="0" y="114"/>
                  <a:pt x="0" y="114"/>
                  <a:pt x="0" y="114"/>
                </a:cubicBezTo>
                <a:cubicBezTo>
                  <a:pt x="0" y="115"/>
                  <a:pt x="28" y="125"/>
                  <a:pt x="28" y="125"/>
                </a:cubicBezTo>
                <a:cubicBezTo>
                  <a:pt x="34" y="138"/>
                  <a:pt x="34" y="138"/>
                  <a:pt x="34" y="138"/>
                </a:cubicBezTo>
                <a:cubicBezTo>
                  <a:pt x="34" y="138"/>
                  <a:pt x="21" y="166"/>
                  <a:pt x="22" y="167"/>
                </a:cubicBezTo>
                <a:cubicBezTo>
                  <a:pt x="39" y="182"/>
                  <a:pt x="39" y="182"/>
                  <a:pt x="39" y="182"/>
                </a:cubicBezTo>
                <a:cubicBezTo>
                  <a:pt x="40" y="183"/>
                  <a:pt x="67" y="171"/>
                  <a:pt x="67" y="171"/>
                </a:cubicBezTo>
                <a:cubicBezTo>
                  <a:pt x="80" y="176"/>
                  <a:pt x="80" y="176"/>
                  <a:pt x="80" y="176"/>
                </a:cubicBezTo>
                <a:cubicBezTo>
                  <a:pt x="80" y="176"/>
                  <a:pt x="91" y="204"/>
                  <a:pt x="93" y="204"/>
                </a:cubicBezTo>
                <a:cubicBezTo>
                  <a:pt x="116" y="204"/>
                  <a:pt x="116" y="204"/>
                  <a:pt x="116" y="204"/>
                </a:cubicBezTo>
                <a:cubicBezTo>
                  <a:pt x="117" y="204"/>
                  <a:pt x="128" y="176"/>
                  <a:pt x="128" y="176"/>
                </a:cubicBezTo>
                <a:cubicBezTo>
                  <a:pt x="141" y="171"/>
                  <a:pt x="141" y="171"/>
                  <a:pt x="141" y="171"/>
                </a:cubicBezTo>
                <a:cubicBezTo>
                  <a:pt x="141" y="171"/>
                  <a:pt x="169" y="183"/>
                  <a:pt x="170" y="182"/>
                </a:cubicBezTo>
                <a:cubicBezTo>
                  <a:pt x="186" y="166"/>
                  <a:pt x="186" y="166"/>
                  <a:pt x="186" y="166"/>
                </a:cubicBezTo>
                <a:cubicBezTo>
                  <a:pt x="187" y="165"/>
                  <a:pt x="174" y="138"/>
                  <a:pt x="174" y="138"/>
                </a:cubicBezTo>
                <a:cubicBezTo>
                  <a:pt x="179" y="125"/>
                  <a:pt x="179" y="125"/>
                  <a:pt x="179" y="125"/>
                </a:cubicBezTo>
                <a:cubicBezTo>
                  <a:pt x="179" y="125"/>
                  <a:pt x="208" y="114"/>
                  <a:pt x="208" y="113"/>
                </a:cubicBezTo>
                <a:cubicBezTo>
                  <a:pt x="208" y="90"/>
                  <a:pt x="208" y="90"/>
                  <a:pt x="208" y="90"/>
                </a:cubicBezTo>
                <a:cubicBezTo>
                  <a:pt x="208" y="89"/>
                  <a:pt x="179" y="79"/>
                  <a:pt x="179" y="79"/>
                </a:cubicBezTo>
                <a:moveTo>
                  <a:pt x="137" y="102"/>
                </a:moveTo>
                <a:cubicBezTo>
                  <a:pt x="137" y="120"/>
                  <a:pt x="122" y="135"/>
                  <a:pt x="104" y="135"/>
                </a:cubicBezTo>
                <a:cubicBezTo>
                  <a:pt x="85" y="135"/>
                  <a:pt x="70" y="120"/>
                  <a:pt x="70" y="102"/>
                </a:cubicBezTo>
                <a:cubicBezTo>
                  <a:pt x="70" y="84"/>
                  <a:pt x="85" y="69"/>
                  <a:pt x="104" y="69"/>
                </a:cubicBezTo>
                <a:cubicBezTo>
                  <a:pt x="122" y="69"/>
                  <a:pt x="137" y="84"/>
                  <a:pt x="137" y="102"/>
                </a:cubicBezTo>
              </a:path>
            </a:pathLst>
          </a:custGeom>
          <a:solidFill>
            <a:schemeClr val="bg1"/>
          </a:solidFill>
          <a:ln>
            <a:noFill/>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199" name="Oval 15"/>
          <p:cNvSpPr>
            <a:spLocks noChangeArrowheads="1"/>
          </p:cNvSpPr>
          <p:nvPr/>
        </p:nvSpPr>
        <p:spPr bwMode="auto">
          <a:xfrm flipH="1">
            <a:off x="4778600" y="3062863"/>
            <a:ext cx="772895" cy="772895"/>
          </a:xfrm>
          <a:prstGeom prst="ellipse">
            <a:avLst/>
          </a:prstGeom>
          <a:solidFill>
            <a:schemeClr val="accent1"/>
          </a:solidFill>
          <a:ln>
            <a:noFill/>
          </a:ln>
        </p:spPr>
        <p:txBody>
          <a:bodyPr vert="horz" wrap="square" lIns="91419" tIns="45709" rIns="91419" bIns="45709" numCol="1" anchor="t" anchorCtr="0" compatLnSpc="1"/>
          <a:lstStyle/>
          <a:p>
            <a:pPr defTabSz="914400" fontAlgn="base">
              <a:spcBef>
                <a:spcPct val="0"/>
              </a:spcBef>
              <a:spcAft>
                <a:spcPct val="0"/>
              </a:spcAft>
            </a:pPr>
            <a:endParaRPr lang="id-ID">
              <a:solidFill>
                <a:srgbClr val="000000"/>
              </a:solidFill>
              <a:latin typeface="华文楷体" panose="02010600040101010101" charset="-122"/>
              <a:ea typeface="华文楷体" panose="02010600040101010101" charset="-122"/>
            </a:endParaRPr>
          </a:p>
        </p:txBody>
      </p:sp>
      <p:grpSp>
        <p:nvGrpSpPr>
          <p:cNvPr id="200" name="Group 319"/>
          <p:cNvGrpSpPr/>
          <p:nvPr/>
        </p:nvGrpSpPr>
        <p:grpSpPr>
          <a:xfrm>
            <a:off x="5065229" y="3296969"/>
            <a:ext cx="199639" cy="304683"/>
            <a:chOff x="6553" y="1835403"/>
            <a:chExt cx="576263" cy="879476"/>
          </a:xfrm>
        </p:grpSpPr>
        <p:sp>
          <p:nvSpPr>
            <p:cNvPr id="201" name="Freeform 50"/>
            <p:cNvSpPr/>
            <p:nvPr/>
          </p:nvSpPr>
          <p:spPr bwMode="auto">
            <a:xfrm>
              <a:off x="63703" y="1835403"/>
              <a:ext cx="442913" cy="150813"/>
            </a:xfrm>
            <a:custGeom>
              <a:avLst/>
              <a:gdLst>
                <a:gd name="T0" fmla="*/ 231 w 279"/>
                <a:gd name="T1" fmla="*/ 95 h 95"/>
                <a:gd name="T2" fmla="*/ 58 w 279"/>
                <a:gd name="T3" fmla="*/ 95 h 95"/>
                <a:gd name="T4" fmla="*/ 0 w 279"/>
                <a:gd name="T5" fmla="*/ 0 h 95"/>
                <a:gd name="T6" fmla="*/ 279 w 279"/>
                <a:gd name="T7" fmla="*/ 0 h 95"/>
                <a:gd name="T8" fmla="*/ 231 w 279"/>
                <a:gd name="T9" fmla="*/ 95 h 95"/>
              </a:gdLst>
              <a:ahLst/>
              <a:cxnLst>
                <a:cxn ang="0">
                  <a:pos x="T0" y="T1"/>
                </a:cxn>
                <a:cxn ang="0">
                  <a:pos x="T2" y="T3"/>
                </a:cxn>
                <a:cxn ang="0">
                  <a:pos x="T4" y="T5"/>
                </a:cxn>
                <a:cxn ang="0">
                  <a:pos x="T6" y="T7"/>
                </a:cxn>
                <a:cxn ang="0">
                  <a:pos x="T8" y="T9"/>
                </a:cxn>
              </a:cxnLst>
              <a:rect l="0" t="0" r="r" b="b"/>
              <a:pathLst>
                <a:path w="279" h="95">
                  <a:moveTo>
                    <a:pt x="231" y="95"/>
                  </a:moveTo>
                  <a:lnTo>
                    <a:pt x="58" y="95"/>
                  </a:lnTo>
                  <a:lnTo>
                    <a:pt x="0" y="0"/>
                  </a:lnTo>
                  <a:lnTo>
                    <a:pt x="279" y="0"/>
                  </a:lnTo>
                  <a:lnTo>
                    <a:pt x="231" y="95"/>
                  </a:lnTo>
                  <a:close/>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02" name="Freeform 51"/>
            <p:cNvSpPr/>
            <p:nvPr/>
          </p:nvSpPr>
          <p:spPr bwMode="auto">
            <a:xfrm>
              <a:off x="6553" y="1986216"/>
              <a:ext cx="576263" cy="728663"/>
            </a:xfrm>
            <a:custGeom>
              <a:avLst/>
              <a:gdLst>
                <a:gd name="T0" fmla="*/ 219 w 363"/>
                <a:gd name="T1" fmla="*/ 459 h 459"/>
                <a:gd name="T2" fmla="*/ 142 w 363"/>
                <a:gd name="T3" fmla="*/ 459 h 459"/>
                <a:gd name="T4" fmla="*/ 0 w 363"/>
                <a:gd name="T5" fmla="*/ 158 h 459"/>
                <a:gd name="T6" fmla="*/ 94 w 363"/>
                <a:gd name="T7" fmla="*/ 0 h 459"/>
                <a:gd name="T8" fmla="*/ 267 w 363"/>
                <a:gd name="T9" fmla="*/ 0 h 459"/>
                <a:gd name="T10" fmla="*/ 363 w 363"/>
                <a:gd name="T11" fmla="*/ 158 h 459"/>
                <a:gd name="T12" fmla="*/ 219 w 363"/>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363" h="459">
                  <a:moveTo>
                    <a:pt x="219" y="459"/>
                  </a:moveTo>
                  <a:lnTo>
                    <a:pt x="142" y="459"/>
                  </a:lnTo>
                  <a:lnTo>
                    <a:pt x="0" y="158"/>
                  </a:lnTo>
                  <a:lnTo>
                    <a:pt x="94" y="0"/>
                  </a:lnTo>
                  <a:lnTo>
                    <a:pt x="267" y="0"/>
                  </a:lnTo>
                  <a:lnTo>
                    <a:pt x="363" y="158"/>
                  </a:lnTo>
                  <a:lnTo>
                    <a:pt x="219" y="459"/>
                  </a:lnTo>
                  <a:close/>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03" name="Line 52"/>
            <p:cNvSpPr>
              <a:spLocks noChangeShapeType="1"/>
            </p:cNvSpPr>
            <p:nvPr/>
          </p:nvSpPr>
          <p:spPr bwMode="auto">
            <a:xfrm>
              <a:off x="292303" y="2291016"/>
              <a:ext cx="0" cy="423863"/>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04" name="Oval 53"/>
            <p:cNvSpPr>
              <a:spLocks noChangeArrowheads="1"/>
            </p:cNvSpPr>
            <p:nvPr/>
          </p:nvSpPr>
          <p:spPr bwMode="auto">
            <a:xfrm>
              <a:off x="216103" y="2138616"/>
              <a:ext cx="152400" cy="152400"/>
            </a:xfrm>
            <a:prstGeom prst="ellipse">
              <a:avLst/>
            </a:pr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grpSp>
      <p:sp>
        <p:nvSpPr>
          <p:cNvPr id="205" name="Oval 15"/>
          <p:cNvSpPr>
            <a:spLocks noChangeArrowheads="1"/>
          </p:cNvSpPr>
          <p:nvPr/>
        </p:nvSpPr>
        <p:spPr bwMode="auto">
          <a:xfrm flipH="1">
            <a:off x="4778600" y="4155714"/>
            <a:ext cx="772895" cy="772895"/>
          </a:xfrm>
          <a:prstGeom prst="ellipse">
            <a:avLst/>
          </a:prstGeom>
          <a:solidFill>
            <a:schemeClr val="bg1">
              <a:lumMod val="50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06" name="Freeform 12"/>
          <p:cNvSpPr>
            <a:spLocks noEditPoints="1"/>
          </p:cNvSpPr>
          <p:nvPr/>
        </p:nvSpPr>
        <p:spPr bwMode="auto">
          <a:xfrm>
            <a:off x="5004588" y="4409138"/>
            <a:ext cx="320918" cy="266046"/>
          </a:xfrm>
          <a:custGeom>
            <a:avLst/>
            <a:gdLst>
              <a:gd name="T0" fmla="*/ 221 w 242"/>
              <a:gd name="T1" fmla="*/ 0 h 200"/>
              <a:gd name="T2" fmla="*/ 171 w 242"/>
              <a:gd name="T3" fmla="*/ 0 h 200"/>
              <a:gd name="T4" fmla="*/ 135 w 242"/>
              <a:gd name="T5" fmla="*/ 15 h 200"/>
              <a:gd name="T6" fmla="*/ 51 w 242"/>
              <a:gd name="T7" fmla="*/ 99 h 200"/>
              <a:gd name="T8" fmla="*/ 51 w 242"/>
              <a:gd name="T9" fmla="*/ 129 h 200"/>
              <a:gd name="T10" fmla="*/ 113 w 242"/>
              <a:gd name="T11" fmla="*/ 192 h 200"/>
              <a:gd name="T12" fmla="*/ 143 w 242"/>
              <a:gd name="T13" fmla="*/ 192 h 200"/>
              <a:gd name="T14" fmla="*/ 227 w 242"/>
              <a:gd name="T15" fmla="*/ 108 h 200"/>
              <a:gd name="T16" fmla="*/ 242 w 242"/>
              <a:gd name="T17" fmla="*/ 71 h 200"/>
              <a:gd name="T18" fmla="*/ 242 w 242"/>
              <a:gd name="T19" fmla="*/ 22 h 200"/>
              <a:gd name="T20" fmla="*/ 221 w 242"/>
              <a:gd name="T21" fmla="*/ 0 h 200"/>
              <a:gd name="T22" fmla="*/ 192 w 242"/>
              <a:gd name="T23" fmla="*/ 71 h 200"/>
              <a:gd name="T24" fmla="*/ 171 w 242"/>
              <a:gd name="T25" fmla="*/ 50 h 200"/>
              <a:gd name="T26" fmla="*/ 192 w 242"/>
              <a:gd name="T27" fmla="*/ 29 h 200"/>
              <a:gd name="T28" fmla="*/ 214 w 242"/>
              <a:gd name="T29" fmla="*/ 50 h 200"/>
              <a:gd name="T30" fmla="*/ 192 w 242"/>
              <a:gd name="T31" fmla="*/ 71 h 200"/>
              <a:gd name="T32" fmla="*/ 19 w 242"/>
              <a:gd name="T33" fmla="*/ 119 h 200"/>
              <a:gd name="T34" fmla="*/ 95 w 242"/>
              <a:gd name="T35" fmla="*/ 196 h 200"/>
              <a:gd name="T36" fmla="*/ 70 w 242"/>
              <a:gd name="T37" fmla="*/ 192 h 200"/>
              <a:gd name="T38" fmla="*/ 8 w 242"/>
              <a:gd name="T39" fmla="*/ 129 h 200"/>
              <a:gd name="T40" fmla="*/ 8 w 242"/>
              <a:gd name="T41" fmla="*/ 99 h 200"/>
              <a:gd name="T42" fmla="*/ 92 w 242"/>
              <a:gd name="T43" fmla="*/ 15 h 200"/>
              <a:gd name="T44" fmla="*/ 128 w 242"/>
              <a:gd name="T45" fmla="*/ 0 h 200"/>
              <a:gd name="T46" fmla="*/ 19 w 242"/>
              <a:gd name="T47" fmla="*/ 109 h 200"/>
              <a:gd name="T48" fmla="*/ 19 w 242"/>
              <a:gd name="T49" fmla="*/ 11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2" h="200">
                <a:moveTo>
                  <a:pt x="221" y="0"/>
                </a:moveTo>
                <a:cubicBezTo>
                  <a:pt x="171" y="0"/>
                  <a:pt x="171" y="0"/>
                  <a:pt x="171" y="0"/>
                </a:cubicBezTo>
                <a:cubicBezTo>
                  <a:pt x="159" y="0"/>
                  <a:pt x="143" y="7"/>
                  <a:pt x="135" y="15"/>
                </a:cubicBezTo>
                <a:cubicBezTo>
                  <a:pt x="51" y="99"/>
                  <a:pt x="51" y="99"/>
                  <a:pt x="51" y="99"/>
                </a:cubicBezTo>
                <a:cubicBezTo>
                  <a:pt x="42" y="107"/>
                  <a:pt x="42" y="121"/>
                  <a:pt x="51" y="129"/>
                </a:cubicBezTo>
                <a:cubicBezTo>
                  <a:pt x="113" y="192"/>
                  <a:pt x="113" y="192"/>
                  <a:pt x="113" y="192"/>
                </a:cubicBezTo>
                <a:cubicBezTo>
                  <a:pt x="121" y="200"/>
                  <a:pt x="135" y="200"/>
                  <a:pt x="143" y="192"/>
                </a:cubicBezTo>
                <a:cubicBezTo>
                  <a:pt x="227" y="108"/>
                  <a:pt x="227" y="108"/>
                  <a:pt x="227" y="108"/>
                </a:cubicBezTo>
                <a:cubicBezTo>
                  <a:pt x="236" y="100"/>
                  <a:pt x="242" y="83"/>
                  <a:pt x="242" y="71"/>
                </a:cubicBezTo>
                <a:cubicBezTo>
                  <a:pt x="242" y="22"/>
                  <a:pt x="242" y="22"/>
                  <a:pt x="242" y="22"/>
                </a:cubicBezTo>
                <a:cubicBezTo>
                  <a:pt x="242" y="10"/>
                  <a:pt x="233" y="0"/>
                  <a:pt x="221" y="0"/>
                </a:cubicBezTo>
                <a:moveTo>
                  <a:pt x="192" y="71"/>
                </a:moveTo>
                <a:cubicBezTo>
                  <a:pt x="181" y="71"/>
                  <a:pt x="171" y="62"/>
                  <a:pt x="171" y="50"/>
                </a:cubicBezTo>
                <a:cubicBezTo>
                  <a:pt x="171" y="38"/>
                  <a:pt x="181" y="29"/>
                  <a:pt x="192" y="29"/>
                </a:cubicBezTo>
                <a:cubicBezTo>
                  <a:pt x="204" y="29"/>
                  <a:pt x="214" y="38"/>
                  <a:pt x="214" y="50"/>
                </a:cubicBezTo>
                <a:cubicBezTo>
                  <a:pt x="214" y="62"/>
                  <a:pt x="204" y="71"/>
                  <a:pt x="192" y="71"/>
                </a:cubicBezTo>
                <a:moveTo>
                  <a:pt x="19" y="119"/>
                </a:moveTo>
                <a:cubicBezTo>
                  <a:pt x="95" y="196"/>
                  <a:pt x="95" y="196"/>
                  <a:pt x="95" y="196"/>
                </a:cubicBezTo>
                <a:cubicBezTo>
                  <a:pt x="87" y="200"/>
                  <a:pt x="77" y="199"/>
                  <a:pt x="70" y="192"/>
                </a:cubicBezTo>
                <a:cubicBezTo>
                  <a:pt x="8" y="129"/>
                  <a:pt x="8" y="129"/>
                  <a:pt x="8" y="129"/>
                </a:cubicBezTo>
                <a:cubicBezTo>
                  <a:pt x="0" y="121"/>
                  <a:pt x="0" y="107"/>
                  <a:pt x="8" y="99"/>
                </a:cubicBezTo>
                <a:cubicBezTo>
                  <a:pt x="92" y="15"/>
                  <a:pt x="92" y="15"/>
                  <a:pt x="92" y="15"/>
                </a:cubicBezTo>
                <a:cubicBezTo>
                  <a:pt x="100" y="7"/>
                  <a:pt x="116" y="0"/>
                  <a:pt x="128" y="0"/>
                </a:cubicBezTo>
                <a:cubicBezTo>
                  <a:pt x="19" y="109"/>
                  <a:pt x="19" y="109"/>
                  <a:pt x="19" y="109"/>
                </a:cubicBezTo>
                <a:cubicBezTo>
                  <a:pt x="16" y="112"/>
                  <a:pt x="16" y="117"/>
                  <a:pt x="19" y="119"/>
                </a:cubicBezTo>
              </a:path>
            </a:pathLst>
          </a:custGeom>
          <a:solidFill>
            <a:schemeClr val="bg1"/>
          </a:solidFill>
          <a:ln>
            <a:noFill/>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07" name="Oval 15"/>
          <p:cNvSpPr>
            <a:spLocks noChangeArrowheads="1"/>
          </p:cNvSpPr>
          <p:nvPr/>
        </p:nvSpPr>
        <p:spPr bwMode="auto">
          <a:xfrm flipH="1">
            <a:off x="4778600" y="5319800"/>
            <a:ext cx="772895" cy="772895"/>
          </a:xfrm>
          <a:prstGeom prst="ellipse">
            <a:avLst/>
          </a:prstGeom>
          <a:solidFill>
            <a:schemeClr val="tx1">
              <a:lumMod val="65000"/>
              <a:lumOff val="35000"/>
            </a:schemeClr>
          </a:solidFill>
          <a:ln>
            <a:noFill/>
          </a:ln>
        </p:spPr>
        <p:txBody>
          <a:bodyPr vert="horz" wrap="square" lIns="91419" tIns="45709" rIns="91419" bIns="45709"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08" name="Freeform 9"/>
          <p:cNvSpPr/>
          <p:nvPr/>
        </p:nvSpPr>
        <p:spPr bwMode="auto">
          <a:xfrm>
            <a:off x="4964589" y="5515713"/>
            <a:ext cx="400918" cy="381071"/>
          </a:xfrm>
          <a:custGeom>
            <a:avLst/>
            <a:gdLst>
              <a:gd name="T0" fmla="*/ 207 w 211"/>
              <a:gd name="T1" fmla="*/ 85 h 200"/>
              <a:gd name="T2" fmla="*/ 153 w 211"/>
              <a:gd name="T3" fmla="*/ 124 h 200"/>
              <a:gd name="T4" fmla="*/ 173 w 211"/>
              <a:gd name="T5" fmla="*/ 189 h 200"/>
              <a:gd name="T6" fmla="*/ 170 w 211"/>
              <a:gd name="T7" fmla="*/ 198 h 200"/>
              <a:gd name="T8" fmla="*/ 165 w 211"/>
              <a:gd name="T9" fmla="*/ 200 h 200"/>
              <a:gd name="T10" fmla="*/ 160 w 211"/>
              <a:gd name="T11" fmla="*/ 198 h 200"/>
              <a:gd name="T12" fmla="*/ 106 w 211"/>
              <a:gd name="T13" fmla="*/ 158 h 200"/>
              <a:gd name="T14" fmla="*/ 51 w 211"/>
              <a:gd name="T15" fmla="*/ 198 h 200"/>
              <a:gd name="T16" fmla="*/ 41 w 211"/>
              <a:gd name="T17" fmla="*/ 198 h 200"/>
              <a:gd name="T18" fmla="*/ 38 w 211"/>
              <a:gd name="T19" fmla="*/ 189 h 200"/>
              <a:gd name="T20" fmla="*/ 59 w 211"/>
              <a:gd name="T21" fmla="*/ 124 h 200"/>
              <a:gd name="T22" fmla="*/ 5 w 211"/>
              <a:gd name="T23" fmla="*/ 85 h 200"/>
              <a:gd name="T24" fmla="*/ 2 w 211"/>
              <a:gd name="T25" fmla="*/ 75 h 200"/>
              <a:gd name="T26" fmla="*/ 10 w 211"/>
              <a:gd name="T27" fmla="*/ 70 h 200"/>
              <a:gd name="T28" fmla="*/ 77 w 211"/>
              <a:gd name="T29" fmla="*/ 70 h 200"/>
              <a:gd name="T30" fmla="*/ 98 w 211"/>
              <a:gd name="T31" fmla="*/ 5 h 200"/>
              <a:gd name="T32" fmla="*/ 106 w 211"/>
              <a:gd name="T33" fmla="*/ 0 h 200"/>
              <a:gd name="T34" fmla="*/ 114 w 211"/>
              <a:gd name="T35" fmla="*/ 5 h 200"/>
              <a:gd name="T36" fmla="*/ 135 w 211"/>
              <a:gd name="T37" fmla="*/ 70 h 200"/>
              <a:gd name="T38" fmla="*/ 202 w 211"/>
              <a:gd name="T39" fmla="*/ 70 h 200"/>
              <a:gd name="T40" fmla="*/ 210 w 211"/>
              <a:gd name="T41" fmla="*/ 75 h 200"/>
              <a:gd name="T42" fmla="*/ 207 w 211"/>
              <a:gd name="T43" fmla="*/ 8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 h="200">
                <a:moveTo>
                  <a:pt x="207" y="85"/>
                </a:moveTo>
                <a:cubicBezTo>
                  <a:pt x="153" y="124"/>
                  <a:pt x="153" y="124"/>
                  <a:pt x="153" y="124"/>
                </a:cubicBezTo>
                <a:cubicBezTo>
                  <a:pt x="173" y="189"/>
                  <a:pt x="173" y="189"/>
                  <a:pt x="173" y="189"/>
                </a:cubicBezTo>
                <a:cubicBezTo>
                  <a:pt x="175" y="192"/>
                  <a:pt x="173" y="196"/>
                  <a:pt x="170" y="198"/>
                </a:cubicBezTo>
                <a:cubicBezTo>
                  <a:pt x="169" y="199"/>
                  <a:pt x="167" y="200"/>
                  <a:pt x="165" y="200"/>
                </a:cubicBezTo>
                <a:cubicBezTo>
                  <a:pt x="164" y="200"/>
                  <a:pt x="162" y="199"/>
                  <a:pt x="160" y="198"/>
                </a:cubicBezTo>
                <a:cubicBezTo>
                  <a:pt x="106" y="158"/>
                  <a:pt x="106" y="158"/>
                  <a:pt x="106" y="158"/>
                </a:cubicBezTo>
                <a:cubicBezTo>
                  <a:pt x="51" y="198"/>
                  <a:pt x="51" y="198"/>
                  <a:pt x="51" y="198"/>
                </a:cubicBezTo>
                <a:cubicBezTo>
                  <a:pt x="48" y="200"/>
                  <a:pt x="44" y="200"/>
                  <a:pt x="41" y="198"/>
                </a:cubicBezTo>
                <a:cubicBezTo>
                  <a:pt x="38" y="196"/>
                  <a:pt x="37" y="192"/>
                  <a:pt x="38" y="189"/>
                </a:cubicBezTo>
                <a:cubicBezTo>
                  <a:pt x="59" y="124"/>
                  <a:pt x="59" y="124"/>
                  <a:pt x="59" y="124"/>
                </a:cubicBezTo>
                <a:cubicBezTo>
                  <a:pt x="5" y="85"/>
                  <a:pt x="5" y="85"/>
                  <a:pt x="5" y="85"/>
                </a:cubicBezTo>
                <a:cubicBezTo>
                  <a:pt x="2" y="83"/>
                  <a:pt x="0" y="79"/>
                  <a:pt x="2" y="75"/>
                </a:cubicBezTo>
                <a:cubicBezTo>
                  <a:pt x="3" y="72"/>
                  <a:pt x="6" y="70"/>
                  <a:pt x="10" y="70"/>
                </a:cubicBezTo>
                <a:cubicBezTo>
                  <a:pt x="77" y="70"/>
                  <a:pt x="77" y="70"/>
                  <a:pt x="77" y="70"/>
                </a:cubicBezTo>
                <a:cubicBezTo>
                  <a:pt x="98" y="5"/>
                  <a:pt x="98" y="5"/>
                  <a:pt x="98" y="5"/>
                </a:cubicBezTo>
                <a:cubicBezTo>
                  <a:pt x="99" y="2"/>
                  <a:pt x="102" y="0"/>
                  <a:pt x="106" y="0"/>
                </a:cubicBezTo>
                <a:cubicBezTo>
                  <a:pt x="110" y="0"/>
                  <a:pt x="113" y="2"/>
                  <a:pt x="114" y="5"/>
                </a:cubicBezTo>
                <a:cubicBezTo>
                  <a:pt x="135" y="70"/>
                  <a:pt x="135" y="70"/>
                  <a:pt x="135" y="70"/>
                </a:cubicBezTo>
                <a:cubicBezTo>
                  <a:pt x="202" y="70"/>
                  <a:pt x="202" y="70"/>
                  <a:pt x="202" y="70"/>
                </a:cubicBezTo>
                <a:cubicBezTo>
                  <a:pt x="206" y="70"/>
                  <a:pt x="209" y="72"/>
                  <a:pt x="210" y="75"/>
                </a:cubicBezTo>
                <a:cubicBezTo>
                  <a:pt x="211" y="79"/>
                  <a:pt x="210" y="83"/>
                  <a:pt x="207" y="85"/>
                </a:cubicBezTo>
              </a:path>
            </a:pathLst>
          </a:custGeom>
          <a:solidFill>
            <a:schemeClr val="bg1"/>
          </a:solidFill>
          <a:ln>
            <a:noFill/>
          </a:ln>
        </p:spPr>
        <p:txBody>
          <a:bodyPr vert="horz" wrap="square" lIns="121892" tIns="60946" rIns="121892" bIns="60946" numCol="1" anchor="t" anchorCtr="0" compatLnSpc="1"/>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id-ID" sz="2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09" name="TextBox 328"/>
          <p:cNvSpPr txBox="1"/>
          <p:nvPr/>
        </p:nvSpPr>
        <p:spPr>
          <a:xfrm>
            <a:off x="5685468" y="979375"/>
            <a:ext cx="671823" cy="379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65"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创新</a:t>
            </a:r>
            <a:endParaRPr kumimoji="0" lang="id-ID" sz="1865"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10" name="TextBox 329"/>
          <p:cNvSpPr txBox="1"/>
          <p:nvPr/>
        </p:nvSpPr>
        <p:spPr>
          <a:xfrm>
            <a:off x="5685467" y="1317864"/>
            <a:ext cx="5881115" cy="46155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2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创新是引领发展的第一动力，一定要运用技术创新、制度创新、业务模式创新、融资方式创新、文化创新来带动城市产业升级、创新创业环境打造、产城一体化发展。 </a:t>
            </a:r>
            <a:endParaRPr kumimoji="0" lang="en-US" sz="1200"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11" name="TextBox 330"/>
          <p:cNvSpPr txBox="1"/>
          <p:nvPr/>
        </p:nvSpPr>
        <p:spPr>
          <a:xfrm>
            <a:off x="5685468" y="1970931"/>
            <a:ext cx="671823" cy="379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65"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协调</a:t>
            </a:r>
            <a:endParaRPr kumimoji="0" lang="id-ID" sz="1865"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12" name="TextBox 331"/>
          <p:cNvSpPr txBox="1"/>
          <p:nvPr/>
        </p:nvSpPr>
        <p:spPr>
          <a:xfrm>
            <a:off x="5685467" y="2309421"/>
            <a:ext cx="5847255" cy="46155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2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协调是智慧城市持续健康发展的内在要求，我们需要从协调的角度处理两化融合、互联网＋等战略，做到智慧城市科技、管理与人文协调发展。产业与民生的共同成长。 </a:t>
            </a:r>
            <a:endParaRPr kumimoji="0" lang="en-US" sz="1200"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13" name="TextBox 332"/>
          <p:cNvSpPr txBox="1"/>
          <p:nvPr/>
        </p:nvSpPr>
        <p:spPr>
          <a:xfrm>
            <a:off x="5685468" y="2900445"/>
            <a:ext cx="663361" cy="379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65"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绿色</a:t>
            </a:r>
            <a:endParaRPr kumimoji="0" lang="id-ID" sz="1865"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14" name="TextBox 333"/>
          <p:cNvSpPr txBox="1"/>
          <p:nvPr/>
        </p:nvSpPr>
        <p:spPr>
          <a:xfrm>
            <a:off x="5685468" y="3238934"/>
            <a:ext cx="5923437"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a:t>
            </a:r>
            <a:endParaRPr kumimoji="0" lang="en-US" sz="1200"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15" name="TextBox 334"/>
          <p:cNvSpPr txBox="1"/>
          <p:nvPr/>
        </p:nvSpPr>
        <p:spPr>
          <a:xfrm>
            <a:off x="5685468" y="4115559"/>
            <a:ext cx="671823" cy="379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65"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开放</a:t>
            </a:r>
            <a:endParaRPr kumimoji="0" lang="id-ID" sz="1865"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16" name="TextBox 335"/>
          <p:cNvSpPr txBox="1"/>
          <p:nvPr/>
        </p:nvSpPr>
        <p:spPr>
          <a:xfrm>
            <a:off x="5685467" y="4454048"/>
            <a:ext cx="5889579"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200" b="1" i="0" u="none" strike="noStrike" kern="120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a:t>
            </a:r>
            <a:endParaRPr kumimoji="0" lang="en-US" sz="1200"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17" name="TextBox 336"/>
          <p:cNvSpPr txBox="1"/>
          <p:nvPr/>
        </p:nvSpPr>
        <p:spPr>
          <a:xfrm>
            <a:off x="5685468" y="5290642"/>
            <a:ext cx="663361" cy="379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65"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共享</a:t>
            </a:r>
            <a:endParaRPr kumimoji="0" lang="id-ID" sz="1865"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218" name="TextBox 337"/>
          <p:cNvSpPr txBox="1"/>
          <p:nvPr/>
        </p:nvSpPr>
        <p:spPr>
          <a:xfrm>
            <a:off x="5685467" y="5629131"/>
            <a:ext cx="5889579"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200" b="0" i="0" u="none" strike="noStrike" kern="120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 </a:t>
            </a:r>
            <a:endParaRPr kumimoji="0" lang="en-US" sz="1200"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cxnSp>
        <p:nvCxnSpPr>
          <p:cNvPr id="219" name="Straight Connector 338"/>
          <p:cNvCxnSpPr/>
          <p:nvPr/>
        </p:nvCxnSpPr>
        <p:spPr>
          <a:xfrm>
            <a:off x="3815890" y="1393862"/>
            <a:ext cx="823101" cy="0"/>
          </a:xfrm>
          <a:prstGeom prst="line">
            <a:avLst/>
          </a:prstGeom>
          <a:ln w="19050">
            <a:solidFill>
              <a:schemeClr val="bg1">
                <a:lumMod val="8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220" name="Straight Connector 339"/>
          <p:cNvCxnSpPr/>
          <p:nvPr/>
        </p:nvCxnSpPr>
        <p:spPr>
          <a:xfrm>
            <a:off x="3815890" y="2434531"/>
            <a:ext cx="823101" cy="0"/>
          </a:xfrm>
          <a:prstGeom prst="line">
            <a:avLst/>
          </a:prstGeom>
          <a:ln w="19050">
            <a:solidFill>
              <a:schemeClr val="bg1">
                <a:lumMod val="8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221" name="Straight Connector 340"/>
          <p:cNvCxnSpPr/>
          <p:nvPr/>
        </p:nvCxnSpPr>
        <p:spPr>
          <a:xfrm>
            <a:off x="3815890" y="3503949"/>
            <a:ext cx="823101" cy="0"/>
          </a:xfrm>
          <a:prstGeom prst="line">
            <a:avLst/>
          </a:prstGeom>
          <a:ln w="19050">
            <a:solidFill>
              <a:schemeClr val="bg1">
                <a:lumMod val="8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222" name="Straight Connector 341"/>
          <p:cNvCxnSpPr/>
          <p:nvPr/>
        </p:nvCxnSpPr>
        <p:spPr>
          <a:xfrm>
            <a:off x="3815890" y="4624548"/>
            <a:ext cx="823101" cy="0"/>
          </a:xfrm>
          <a:prstGeom prst="line">
            <a:avLst/>
          </a:prstGeom>
          <a:ln w="19050">
            <a:solidFill>
              <a:schemeClr val="bg1">
                <a:lumMod val="8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223" name="Straight Connector 342"/>
          <p:cNvCxnSpPr/>
          <p:nvPr/>
        </p:nvCxnSpPr>
        <p:spPr>
          <a:xfrm>
            <a:off x="3815890" y="5727101"/>
            <a:ext cx="823101" cy="0"/>
          </a:xfrm>
          <a:prstGeom prst="line">
            <a:avLst/>
          </a:prstGeom>
          <a:ln w="19050">
            <a:solidFill>
              <a:schemeClr val="bg1">
                <a:lumMod val="8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224"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华文楷体" panose="02010600040101010101" charset="-122"/>
              </a:rPr>
              <a:t>内容</a:t>
            </a:r>
            <a:endParaRPr lang="zh-CN" altLang="en-US" sz="2400" dirty="0">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p:cNvSpPr>
            <a:spLocks noChangeArrowheads="1"/>
          </p:cNvSpPr>
          <p:nvPr/>
        </p:nvSpPr>
        <p:spPr bwMode="auto">
          <a:xfrm>
            <a:off x="4394286" y="1945758"/>
            <a:ext cx="3636731" cy="363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4" name="Oval 7"/>
          <p:cNvSpPr>
            <a:spLocks noChangeArrowheads="1"/>
          </p:cNvSpPr>
          <p:nvPr/>
        </p:nvSpPr>
        <p:spPr bwMode="auto">
          <a:xfrm>
            <a:off x="3901561" y="2211134"/>
            <a:ext cx="1579858" cy="1579858"/>
          </a:xfrm>
          <a:prstGeom prst="ellipse">
            <a:avLst/>
          </a:prstGeom>
          <a:solidFill>
            <a:schemeClr val="bg1">
              <a:lumMod val="85000"/>
            </a:schemeClr>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5" name="Oval 8"/>
          <p:cNvSpPr>
            <a:spLocks noChangeArrowheads="1"/>
          </p:cNvSpPr>
          <p:nvPr/>
        </p:nvSpPr>
        <p:spPr bwMode="auto">
          <a:xfrm>
            <a:off x="3910656" y="3965429"/>
            <a:ext cx="903602" cy="903602"/>
          </a:xfrm>
          <a:prstGeom prst="ellipse">
            <a:avLst/>
          </a:prstGeom>
          <a:solidFill>
            <a:schemeClr val="bg1">
              <a:lumMod val="85000"/>
            </a:schemeClr>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6" name="Oval 9"/>
          <p:cNvSpPr>
            <a:spLocks noChangeArrowheads="1"/>
          </p:cNvSpPr>
          <p:nvPr/>
        </p:nvSpPr>
        <p:spPr bwMode="auto">
          <a:xfrm>
            <a:off x="5461578" y="1434847"/>
            <a:ext cx="901950" cy="901950"/>
          </a:xfrm>
          <a:prstGeom prst="ellipse">
            <a:avLst/>
          </a:prstGeom>
          <a:solidFill>
            <a:schemeClr val="bg1">
              <a:lumMod val="85000"/>
            </a:schemeClr>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7" name="Oval 10"/>
          <p:cNvSpPr>
            <a:spLocks noChangeArrowheads="1"/>
          </p:cNvSpPr>
          <p:nvPr/>
        </p:nvSpPr>
        <p:spPr bwMode="auto">
          <a:xfrm>
            <a:off x="4972988" y="4382094"/>
            <a:ext cx="1436835" cy="1436835"/>
          </a:xfrm>
          <a:prstGeom prst="ellipse">
            <a:avLst/>
          </a:prstGeom>
          <a:solidFill>
            <a:schemeClr val="bg1">
              <a:lumMod val="85000"/>
            </a:schemeClr>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8" name="Oval 11"/>
          <p:cNvSpPr>
            <a:spLocks noChangeArrowheads="1"/>
          </p:cNvSpPr>
          <p:nvPr/>
        </p:nvSpPr>
        <p:spPr bwMode="auto">
          <a:xfrm>
            <a:off x="7303505" y="4651604"/>
            <a:ext cx="1169806" cy="1169806"/>
          </a:xfrm>
          <a:prstGeom prst="ellipse">
            <a:avLst/>
          </a:prstGeom>
          <a:solidFill>
            <a:schemeClr val="bg1">
              <a:lumMod val="85000"/>
            </a:schemeClr>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9" name="Oval 12"/>
          <p:cNvSpPr>
            <a:spLocks noChangeArrowheads="1"/>
          </p:cNvSpPr>
          <p:nvPr/>
        </p:nvSpPr>
        <p:spPr bwMode="auto">
          <a:xfrm>
            <a:off x="6197357" y="2031736"/>
            <a:ext cx="1946920" cy="1947748"/>
          </a:xfrm>
          <a:prstGeom prst="ellipse">
            <a:avLst/>
          </a:prstGeom>
          <a:solidFill>
            <a:schemeClr val="bg1">
              <a:lumMod val="85000"/>
            </a:schemeClr>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grpSp>
        <p:nvGrpSpPr>
          <p:cNvPr id="10" name="Group 16"/>
          <p:cNvGrpSpPr/>
          <p:nvPr/>
        </p:nvGrpSpPr>
        <p:grpSpPr>
          <a:xfrm>
            <a:off x="5567399" y="3132097"/>
            <a:ext cx="1273145" cy="1275626"/>
            <a:chOff x="5475928" y="3602345"/>
            <a:chExt cx="1273215" cy="1275696"/>
          </a:xfrm>
        </p:grpSpPr>
        <p:sp>
          <p:nvSpPr>
            <p:cNvPr id="11" name="Oval 13"/>
            <p:cNvSpPr>
              <a:spLocks noChangeArrowheads="1"/>
            </p:cNvSpPr>
            <p:nvPr/>
          </p:nvSpPr>
          <p:spPr bwMode="auto">
            <a:xfrm>
              <a:off x="5475928" y="3602345"/>
              <a:ext cx="1273215" cy="1275696"/>
            </a:xfrm>
            <a:prstGeom prst="ellipse">
              <a:avLst/>
            </a:prstGeom>
            <a:solidFill>
              <a:schemeClr val="bg1">
                <a:lumMod val="85000"/>
              </a:schemeClr>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grpSp>
          <p:nvGrpSpPr>
            <p:cNvPr id="12" name="Group 18"/>
            <p:cNvGrpSpPr/>
            <p:nvPr/>
          </p:nvGrpSpPr>
          <p:grpSpPr>
            <a:xfrm>
              <a:off x="5501557" y="3606478"/>
              <a:ext cx="1233530" cy="1234357"/>
              <a:chOff x="5501557" y="3606478"/>
              <a:chExt cx="1233530" cy="1234357"/>
            </a:xfrm>
          </p:grpSpPr>
          <p:sp>
            <p:nvSpPr>
              <p:cNvPr id="13" name="Oval 14"/>
              <p:cNvSpPr>
                <a:spLocks noChangeArrowheads="1"/>
              </p:cNvSpPr>
              <p:nvPr/>
            </p:nvSpPr>
            <p:spPr bwMode="auto">
              <a:xfrm>
                <a:off x="5501557" y="3606478"/>
                <a:ext cx="1233530" cy="1234357"/>
              </a:xfrm>
              <a:prstGeom prst="ellipse">
                <a:avLst/>
              </a:prstGeom>
              <a:solidFill>
                <a:schemeClr val="bg1"/>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14" name="Oval 15"/>
              <p:cNvSpPr>
                <a:spLocks noChangeArrowheads="1"/>
              </p:cNvSpPr>
              <p:nvPr/>
            </p:nvSpPr>
            <p:spPr bwMode="auto">
              <a:xfrm>
                <a:off x="5536281" y="3642029"/>
                <a:ext cx="1164082" cy="1163256"/>
              </a:xfrm>
              <a:prstGeom prst="ellipse">
                <a:avLst/>
              </a:prstGeom>
              <a:solidFill>
                <a:schemeClr val="accent5"/>
              </a:solidFill>
              <a:ln>
                <a:noFill/>
              </a:ln>
              <a:extLst>
                <a:ext uri="{91240B29-F687-4F45-9708-019B960494DF}">
                  <a14:hiddenLine xmlns:a14="http://schemas.microsoft.com/office/drawing/2010/main" w="9525">
                    <a:solidFill>
                      <a:srgbClr val="000000"/>
                    </a:solidFill>
                    <a:round/>
                  </a14:hiddenLine>
                </a:ext>
              </a:extLst>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grpSp>
      </p:grpSp>
      <p:sp>
        <p:nvSpPr>
          <p:cNvPr id="15" name="Freeform 16"/>
          <p:cNvSpPr/>
          <p:nvPr/>
        </p:nvSpPr>
        <p:spPr bwMode="auto">
          <a:xfrm>
            <a:off x="4605099" y="2096220"/>
            <a:ext cx="2440470" cy="1380618"/>
          </a:xfrm>
          <a:custGeom>
            <a:avLst/>
            <a:gdLst>
              <a:gd name="T0" fmla="*/ 1248 w 1248"/>
              <a:gd name="T1" fmla="*/ 706 h 706"/>
              <a:gd name="T2" fmla="*/ 1233 w 1248"/>
              <a:gd name="T3" fmla="*/ 520 h 706"/>
              <a:gd name="T4" fmla="*/ 1192 w 1248"/>
              <a:gd name="T5" fmla="*/ 567 h 706"/>
              <a:gd name="T6" fmla="*/ 1182 w 1248"/>
              <a:gd name="T7" fmla="*/ 542 h 706"/>
              <a:gd name="T8" fmla="*/ 623 w 1248"/>
              <a:gd name="T9" fmla="*/ 282 h 706"/>
              <a:gd name="T10" fmla="*/ 312 w 1248"/>
              <a:gd name="T11" fmla="*/ 0 h 706"/>
              <a:gd name="T12" fmla="*/ 0 w 1248"/>
              <a:gd name="T13" fmla="*/ 312 h 706"/>
              <a:gd name="T14" fmla="*/ 226 w 1248"/>
              <a:gd name="T15" fmla="*/ 612 h 706"/>
              <a:gd name="T16" fmla="*/ 226 w 1248"/>
              <a:gd name="T17" fmla="*/ 613 h 706"/>
              <a:gd name="T18" fmla="*/ 250 w 1248"/>
              <a:gd name="T19" fmla="*/ 619 h 706"/>
              <a:gd name="T20" fmla="*/ 251 w 1248"/>
              <a:gd name="T21" fmla="*/ 618 h 706"/>
              <a:gd name="T22" fmla="*/ 251 w 1248"/>
              <a:gd name="T23" fmla="*/ 619 h 706"/>
              <a:gd name="T24" fmla="*/ 511 w 1248"/>
              <a:gd name="T25" fmla="*/ 369 h 706"/>
              <a:gd name="T26" fmla="*/ 627 w 1248"/>
              <a:gd name="T27" fmla="*/ 329 h 706"/>
              <a:gd name="T28" fmla="*/ 1181 w 1248"/>
              <a:gd name="T29" fmla="*/ 572 h 706"/>
              <a:gd name="T30" fmla="*/ 1117 w 1248"/>
              <a:gd name="T31" fmla="*/ 573 h 706"/>
              <a:gd name="T32" fmla="*/ 1248 w 1248"/>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48" h="706">
                <a:moveTo>
                  <a:pt x="1248" y="706"/>
                </a:moveTo>
                <a:cubicBezTo>
                  <a:pt x="1233" y="520"/>
                  <a:pt x="1233" y="520"/>
                  <a:pt x="1233" y="520"/>
                </a:cubicBezTo>
                <a:cubicBezTo>
                  <a:pt x="1192" y="567"/>
                  <a:pt x="1192" y="567"/>
                  <a:pt x="1192" y="567"/>
                </a:cubicBezTo>
                <a:cubicBezTo>
                  <a:pt x="1188" y="556"/>
                  <a:pt x="1187" y="553"/>
                  <a:pt x="1182" y="542"/>
                </a:cubicBezTo>
                <a:cubicBezTo>
                  <a:pt x="1086" y="336"/>
                  <a:pt x="851" y="233"/>
                  <a:pt x="623" y="282"/>
                </a:cubicBezTo>
                <a:cubicBezTo>
                  <a:pt x="607" y="124"/>
                  <a:pt x="474" y="0"/>
                  <a:pt x="312" y="0"/>
                </a:cubicBezTo>
                <a:cubicBezTo>
                  <a:pt x="140" y="0"/>
                  <a:pt x="0" y="140"/>
                  <a:pt x="0" y="312"/>
                </a:cubicBezTo>
                <a:cubicBezTo>
                  <a:pt x="0" y="455"/>
                  <a:pt x="96" y="575"/>
                  <a:pt x="226" y="612"/>
                </a:cubicBezTo>
                <a:cubicBezTo>
                  <a:pt x="226" y="613"/>
                  <a:pt x="226" y="613"/>
                  <a:pt x="226" y="613"/>
                </a:cubicBezTo>
                <a:cubicBezTo>
                  <a:pt x="234" y="615"/>
                  <a:pt x="242" y="617"/>
                  <a:pt x="250" y="619"/>
                </a:cubicBezTo>
                <a:cubicBezTo>
                  <a:pt x="251" y="618"/>
                  <a:pt x="251" y="618"/>
                  <a:pt x="251" y="618"/>
                </a:cubicBezTo>
                <a:cubicBezTo>
                  <a:pt x="251" y="619"/>
                  <a:pt x="251" y="619"/>
                  <a:pt x="251" y="619"/>
                </a:cubicBezTo>
                <a:cubicBezTo>
                  <a:pt x="303" y="514"/>
                  <a:pt x="393" y="423"/>
                  <a:pt x="511" y="369"/>
                </a:cubicBezTo>
                <a:cubicBezTo>
                  <a:pt x="580" y="337"/>
                  <a:pt x="626" y="329"/>
                  <a:pt x="627" y="329"/>
                </a:cubicBezTo>
                <a:cubicBezTo>
                  <a:pt x="853" y="278"/>
                  <a:pt x="1082" y="370"/>
                  <a:pt x="1181" y="572"/>
                </a:cubicBezTo>
                <a:cubicBezTo>
                  <a:pt x="1117" y="573"/>
                  <a:pt x="1117" y="573"/>
                  <a:pt x="1117" y="573"/>
                </a:cubicBezTo>
                <a:cubicBezTo>
                  <a:pt x="1248" y="706"/>
                  <a:pt x="1248" y="706"/>
                  <a:pt x="1248" y="706"/>
                </a:cubicBezTo>
              </a:path>
            </a:pathLst>
          </a:custGeom>
          <a:solidFill>
            <a:srgbClr val="FE5817"/>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16" name="Freeform 17"/>
          <p:cNvSpPr>
            <a:spLocks noEditPoints="1"/>
          </p:cNvSpPr>
          <p:nvPr/>
        </p:nvSpPr>
        <p:spPr bwMode="auto">
          <a:xfrm>
            <a:off x="4593525" y="2083820"/>
            <a:ext cx="2463619" cy="1404594"/>
          </a:xfrm>
          <a:custGeom>
            <a:avLst/>
            <a:gdLst>
              <a:gd name="T0" fmla="*/ 1254 w 1260"/>
              <a:gd name="T1" fmla="*/ 718 h 718"/>
              <a:gd name="T2" fmla="*/ 1250 w 1260"/>
              <a:gd name="T3" fmla="*/ 716 h 718"/>
              <a:gd name="T4" fmla="*/ 1119 w 1260"/>
              <a:gd name="T5" fmla="*/ 583 h 718"/>
              <a:gd name="T6" fmla="*/ 1117 w 1260"/>
              <a:gd name="T7" fmla="*/ 577 h 718"/>
              <a:gd name="T8" fmla="*/ 1123 w 1260"/>
              <a:gd name="T9" fmla="*/ 573 h 718"/>
              <a:gd name="T10" fmla="*/ 1175 w 1260"/>
              <a:gd name="T11" fmla="*/ 572 h 718"/>
              <a:gd name="T12" fmla="*/ 755 w 1260"/>
              <a:gd name="T13" fmla="*/ 327 h 718"/>
              <a:gd name="T14" fmla="*/ 634 w 1260"/>
              <a:gd name="T15" fmla="*/ 341 h 718"/>
              <a:gd name="T16" fmla="*/ 632 w 1260"/>
              <a:gd name="T17" fmla="*/ 341 h 718"/>
              <a:gd name="T18" fmla="*/ 632 w 1260"/>
              <a:gd name="T19" fmla="*/ 341 h 718"/>
              <a:gd name="T20" fmla="*/ 630 w 1260"/>
              <a:gd name="T21" fmla="*/ 342 h 718"/>
              <a:gd name="T22" fmla="*/ 630 w 1260"/>
              <a:gd name="T23" fmla="*/ 342 h 718"/>
              <a:gd name="T24" fmla="*/ 628 w 1260"/>
              <a:gd name="T25" fmla="*/ 341 h 718"/>
              <a:gd name="T26" fmla="*/ 520 w 1260"/>
              <a:gd name="T27" fmla="*/ 380 h 718"/>
              <a:gd name="T28" fmla="*/ 263 w 1260"/>
              <a:gd name="T29" fmla="*/ 627 h 718"/>
              <a:gd name="T30" fmla="*/ 257 w 1260"/>
              <a:gd name="T31" fmla="*/ 631 h 718"/>
              <a:gd name="T32" fmla="*/ 255 w 1260"/>
              <a:gd name="T33" fmla="*/ 631 h 718"/>
              <a:gd name="T34" fmla="*/ 230 w 1260"/>
              <a:gd name="T35" fmla="*/ 624 h 718"/>
              <a:gd name="T36" fmla="*/ 229 w 1260"/>
              <a:gd name="T37" fmla="*/ 624 h 718"/>
              <a:gd name="T38" fmla="*/ 0 w 1260"/>
              <a:gd name="T39" fmla="*/ 318 h 718"/>
              <a:gd name="T40" fmla="*/ 318 w 1260"/>
              <a:gd name="T41" fmla="*/ 0 h 718"/>
              <a:gd name="T42" fmla="*/ 532 w 1260"/>
              <a:gd name="T43" fmla="*/ 83 h 718"/>
              <a:gd name="T44" fmla="*/ 634 w 1260"/>
              <a:gd name="T45" fmla="*/ 280 h 718"/>
              <a:gd name="T46" fmla="*/ 742 w 1260"/>
              <a:gd name="T47" fmla="*/ 270 h 718"/>
              <a:gd name="T48" fmla="*/ 1009 w 1260"/>
              <a:gd name="T49" fmla="*/ 342 h 718"/>
              <a:gd name="T50" fmla="*/ 1193 w 1260"/>
              <a:gd name="T51" fmla="*/ 544 h 718"/>
              <a:gd name="T52" fmla="*/ 1199 w 1260"/>
              <a:gd name="T53" fmla="*/ 554 h 718"/>
              <a:gd name="T54" fmla="*/ 1202 w 1260"/>
              <a:gd name="T55" fmla="*/ 560 h 718"/>
              <a:gd name="T56" fmla="*/ 1234 w 1260"/>
              <a:gd name="T57" fmla="*/ 522 h 718"/>
              <a:gd name="T58" fmla="*/ 1241 w 1260"/>
              <a:gd name="T59" fmla="*/ 520 h 718"/>
              <a:gd name="T60" fmla="*/ 1245 w 1260"/>
              <a:gd name="T61" fmla="*/ 526 h 718"/>
              <a:gd name="T62" fmla="*/ 1260 w 1260"/>
              <a:gd name="T63" fmla="*/ 712 h 718"/>
              <a:gd name="T64" fmla="*/ 1256 w 1260"/>
              <a:gd name="T65" fmla="*/ 717 h 718"/>
              <a:gd name="T66" fmla="*/ 1254 w 1260"/>
              <a:gd name="T67" fmla="*/ 718 h 718"/>
              <a:gd name="T68" fmla="*/ 1132 w 1260"/>
              <a:gd name="T69" fmla="*/ 583 h 718"/>
              <a:gd name="T70" fmla="*/ 1247 w 1260"/>
              <a:gd name="T71" fmla="*/ 696 h 718"/>
              <a:gd name="T72" fmla="*/ 1236 w 1260"/>
              <a:gd name="T73" fmla="*/ 536 h 718"/>
              <a:gd name="T74" fmla="*/ 1204 w 1260"/>
              <a:gd name="T75" fmla="*/ 574 h 718"/>
              <a:gd name="T76" fmla="*/ 1199 w 1260"/>
              <a:gd name="T77" fmla="*/ 577 h 718"/>
              <a:gd name="T78" fmla="*/ 1196 w 1260"/>
              <a:gd name="T79" fmla="*/ 573 h 718"/>
              <a:gd name="T80" fmla="*/ 1185 w 1260"/>
              <a:gd name="T81" fmla="*/ 550 h 718"/>
              <a:gd name="T82" fmla="*/ 742 w 1260"/>
              <a:gd name="T83" fmla="*/ 282 h 718"/>
              <a:gd name="T84" fmla="*/ 630 w 1260"/>
              <a:gd name="T85" fmla="*/ 294 h 718"/>
              <a:gd name="T86" fmla="*/ 625 w 1260"/>
              <a:gd name="T87" fmla="*/ 292 h 718"/>
              <a:gd name="T88" fmla="*/ 623 w 1260"/>
              <a:gd name="T89" fmla="*/ 288 h 718"/>
              <a:gd name="T90" fmla="*/ 318 w 1260"/>
              <a:gd name="T91" fmla="*/ 12 h 718"/>
              <a:gd name="T92" fmla="*/ 12 w 1260"/>
              <a:gd name="T93" fmla="*/ 318 h 718"/>
              <a:gd name="T94" fmla="*/ 234 w 1260"/>
              <a:gd name="T95" fmla="*/ 613 h 718"/>
              <a:gd name="T96" fmla="*/ 235 w 1260"/>
              <a:gd name="T97" fmla="*/ 613 h 718"/>
              <a:gd name="T98" fmla="*/ 254 w 1260"/>
              <a:gd name="T99" fmla="*/ 618 h 718"/>
              <a:gd name="T100" fmla="*/ 515 w 1260"/>
              <a:gd name="T101" fmla="*/ 369 h 718"/>
              <a:gd name="T102" fmla="*/ 628 w 1260"/>
              <a:gd name="T103" fmla="*/ 329 h 718"/>
              <a:gd name="T104" fmla="*/ 631 w 1260"/>
              <a:gd name="T105" fmla="*/ 329 h 718"/>
              <a:gd name="T106" fmla="*/ 632 w 1260"/>
              <a:gd name="T107" fmla="*/ 329 h 718"/>
              <a:gd name="T108" fmla="*/ 755 w 1260"/>
              <a:gd name="T109" fmla="*/ 315 h 718"/>
              <a:gd name="T110" fmla="*/ 1011 w 1260"/>
              <a:gd name="T111" fmla="*/ 383 h 718"/>
              <a:gd name="T112" fmla="*/ 1190 w 1260"/>
              <a:gd name="T113" fmla="*/ 576 h 718"/>
              <a:gd name="T114" fmla="*/ 1190 w 1260"/>
              <a:gd name="T115" fmla="*/ 581 h 718"/>
              <a:gd name="T116" fmla="*/ 1184 w 1260"/>
              <a:gd name="T117" fmla="*/ 583 h 718"/>
              <a:gd name="T118" fmla="*/ 1132 w 1260"/>
              <a:gd name="T119" fmla="*/ 58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0" h="718">
                <a:moveTo>
                  <a:pt x="1254" y="718"/>
                </a:moveTo>
                <a:cubicBezTo>
                  <a:pt x="1252" y="718"/>
                  <a:pt x="1251" y="717"/>
                  <a:pt x="1250" y="716"/>
                </a:cubicBezTo>
                <a:cubicBezTo>
                  <a:pt x="1119" y="583"/>
                  <a:pt x="1119" y="583"/>
                  <a:pt x="1119" y="583"/>
                </a:cubicBezTo>
                <a:cubicBezTo>
                  <a:pt x="1117" y="581"/>
                  <a:pt x="1117" y="579"/>
                  <a:pt x="1117" y="577"/>
                </a:cubicBezTo>
                <a:cubicBezTo>
                  <a:pt x="1118" y="575"/>
                  <a:pt x="1121" y="573"/>
                  <a:pt x="1123" y="573"/>
                </a:cubicBezTo>
                <a:cubicBezTo>
                  <a:pt x="1175" y="572"/>
                  <a:pt x="1175" y="572"/>
                  <a:pt x="1175" y="572"/>
                </a:cubicBezTo>
                <a:cubicBezTo>
                  <a:pt x="1097" y="421"/>
                  <a:pt x="937" y="327"/>
                  <a:pt x="755" y="327"/>
                </a:cubicBezTo>
                <a:cubicBezTo>
                  <a:pt x="715" y="327"/>
                  <a:pt x="674" y="332"/>
                  <a:pt x="634" y="341"/>
                </a:cubicBezTo>
                <a:cubicBezTo>
                  <a:pt x="633" y="341"/>
                  <a:pt x="633" y="341"/>
                  <a:pt x="632" y="341"/>
                </a:cubicBezTo>
                <a:cubicBezTo>
                  <a:pt x="632" y="341"/>
                  <a:pt x="632" y="341"/>
                  <a:pt x="632" y="341"/>
                </a:cubicBezTo>
                <a:cubicBezTo>
                  <a:pt x="631" y="341"/>
                  <a:pt x="631" y="342"/>
                  <a:pt x="630" y="342"/>
                </a:cubicBezTo>
                <a:cubicBezTo>
                  <a:pt x="630" y="342"/>
                  <a:pt x="630" y="342"/>
                  <a:pt x="630" y="342"/>
                </a:cubicBezTo>
                <a:cubicBezTo>
                  <a:pt x="629" y="342"/>
                  <a:pt x="629" y="342"/>
                  <a:pt x="628" y="341"/>
                </a:cubicBezTo>
                <a:cubicBezTo>
                  <a:pt x="596" y="349"/>
                  <a:pt x="560" y="362"/>
                  <a:pt x="520" y="380"/>
                </a:cubicBezTo>
                <a:cubicBezTo>
                  <a:pt x="407" y="432"/>
                  <a:pt x="316" y="520"/>
                  <a:pt x="263" y="627"/>
                </a:cubicBezTo>
                <a:cubicBezTo>
                  <a:pt x="262" y="630"/>
                  <a:pt x="259" y="631"/>
                  <a:pt x="257" y="631"/>
                </a:cubicBezTo>
                <a:cubicBezTo>
                  <a:pt x="256" y="631"/>
                  <a:pt x="256" y="631"/>
                  <a:pt x="255" y="631"/>
                </a:cubicBezTo>
                <a:cubicBezTo>
                  <a:pt x="247" y="629"/>
                  <a:pt x="239" y="627"/>
                  <a:pt x="230" y="624"/>
                </a:cubicBezTo>
                <a:cubicBezTo>
                  <a:pt x="230" y="624"/>
                  <a:pt x="229" y="624"/>
                  <a:pt x="229" y="624"/>
                </a:cubicBezTo>
                <a:cubicBezTo>
                  <a:pt x="94" y="584"/>
                  <a:pt x="0" y="459"/>
                  <a:pt x="0" y="318"/>
                </a:cubicBezTo>
                <a:cubicBezTo>
                  <a:pt x="0" y="143"/>
                  <a:pt x="143" y="0"/>
                  <a:pt x="318" y="0"/>
                </a:cubicBezTo>
                <a:cubicBezTo>
                  <a:pt x="398" y="0"/>
                  <a:pt x="474" y="30"/>
                  <a:pt x="532" y="83"/>
                </a:cubicBezTo>
                <a:cubicBezTo>
                  <a:pt x="589" y="135"/>
                  <a:pt x="625" y="205"/>
                  <a:pt x="634" y="280"/>
                </a:cubicBezTo>
                <a:cubicBezTo>
                  <a:pt x="670" y="273"/>
                  <a:pt x="706" y="270"/>
                  <a:pt x="742" y="270"/>
                </a:cubicBezTo>
                <a:cubicBezTo>
                  <a:pt x="838" y="270"/>
                  <a:pt x="930" y="295"/>
                  <a:pt x="1009" y="342"/>
                </a:cubicBezTo>
                <a:cubicBezTo>
                  <a:pt x="1091" y="390"/>
                  <a:pt x="1155" y="460"/>
                  <a:pt x="1193" y="544"/>
                </a:cubicBezTo>
                <a:cubicBezTo>
                  <a:pt x="1195" y="549"/>
                  <a:pt x="1197" y="552"/>
                  <a:pt x="1199" y="554"/>
                </a:cubicBezTo>
                <a:cubicBezTo>
                  <a:pt x="1200" y="556"/>
                  <a:pt x="1201" y="558"/>
                  <a:pt x="1202" y="560"/>
                </a:cubicBezTo>
                <a:cubicBezTo>
                  <a:pt x="1234" y="522"/>
                  <a:pt x="1234" y="522"/>
                  <a:pt x="1234" y="522"/>
                </a:cubicBezTo>
                <a:cubicBezTo>
                  <a:pt x="1236" y="520"/>
                  <a:pt x="1239" y="520"/>
                  <a:pt x="1241" y="520"/>
                </a:cubicBezTo>
                <a:cubicBezTo>
                  <a:pt x="1243" y="521"/>
                  <a:pt x="1245" y="523"/>
                  <a:pt x="1245" y="526"/>
                </a:cubicBezTo>
                <a:cubicBezTo>
                  <a:pt x="1260" y="712"/>
                  <a:pt x="1260" y="712"/>
                  <a:pt x="1260" y="712"/>
                </a:cubicBezTo>
                <a:cubicBezTo>
                  <a:pt x="1260" y="714"/>
                  <a:pt x="1259" y="716"/>
                  <a:pt x="1256" y="717"/>
                </a:cubicBezTo>
                <a:cubicBezTo>
                  <a:pt x="1256" y="718"/>
                  <a:pt x="1255" y="718"/>
                  <a:pt x="1254" y="718"/>
                </a:cubicBezTo>
                <a:close/>
                <a:moveTo>
                  <a:pt x="1132" y="583"/>
                </a:moveTo>
                <a:cubicBezTo>
                  <a:pt x="1247" y="696"/>
                  <a:pt x="1247" y="696"/>
                  <a:pt x="1247" y="696"/>
                </a:cubicBezTo>
                <a:cubicBezTo>
                  <a:pt x="1236" y="536"/>
                  <a:pt x="1236" y="536"/>
                  <a:pt x="1236" y="536"/>
                </a:cubicBezTo>
                <a:cubicBezTo>
                  <a:pt x="1204" y="574"/>
                  <a:pt x="1204" y="574"/>
                  <a:pt x="1204" y="574"/>
                </a:cubicBezTo>
                <a:cubicBezTo>
                  <a:pt x="1203" y="575"/>
                  <a:pt x="1201" y="577"/>
                  <a:pt x="1199" y="577"/>
                </a:cubicBezTo>
                <a:cubicBezTo>
                  <a:pt x="1197" y="576"/>
                  <a:pt x="1196" y="575"/>
                  <a:pt x="1196" y="573"/>
                </a:cubicBezTo>
                <a:cubicBezTo>
                  <a:pt x="1193" y="567"/>
                  <a:pt x="1187" y="555"/>
                  <a:pt x="1185" y="550"/>
                </a:cubicBezTo>
                <a:cubicBezTo>
                  <a:pt x="1109" y="385"/>
                  <a:pt x="938" y="282"/>
                  <a:pt x="742" y="282"/>
                </a:cubicBezTo>
                <a:cubicBezTo>
                  <a:pt x="705" y="282"/>
                  <a:pt x="667" y="286"/>
                  <a:pt x="630" y="294"/>
                </a:cubicBezTo>
                <a:cubicBezTo>
                  <a:pt x="628" y="294"/>
                  <a:pt x="627" y="293"/>
                  <a:pt x="625" y="292"/>
                </a:cubicBezTo>
                <a:cubicBezTo>
                  <a:pt x="624" y="291"/>
                  <a:pt x="623" y="290"/>
                  <a:pt x="623" y="288"/>
                </a:cubicBezTo>
                <a:cubicBezTo>
                  <a:pt x="607" y="131"/>
                  <a:pt x="476" y="12"/>
                  <a:pt x="318" y="12"/>
                </a:cubicBezTo>
                <a:cubicBezTo>
                  <a:pt x="149" y="12"/>
                  <a:pt x="12" y="150"/>
                  <a:pt x="12" y="318"/>
                </a:cubicBezTo>
                <a:cubicBezTo>
                  <a:pt x="12" y="454"/>
                  <a:pt x="103" y="575"/>
                  <a:pt x="234" y="613"/>
                </a:cubicBezTo>
                <a:cubicBezTo>
                  <a:pt x="234" y="613"/>
                  <a:pt x="235" y="613"/>
                  <a:pt x="235" y="613"/>
                </a:cubicBezTo>
                <a:cubicBezTo>
                  <a:pt x="241" y="615"/>
                  <a:pt x="248" y="617"/>
                  <a:pt x="254" y="618"/>
                </a:cubicBezTo>
                <a:cubicBezTo>
                  <a:pt x="309" y="510"/>
                  <a:pt x="401" y="422"/>
                  <a:pt x="515" y="369"/>
                </a:cubicBezTo>
                <a:cubicBezTo>
                  <a:pt x="556" y="350"/>
                  <a:pt x="593" y="337"/>
                  <a:pt x="628" y="329"/>
                </a:cubicBezTo>
                <a:cubicBezTo>
                  <a:pt x="629" y="329"/>
                  <a:pt x="630" y="329"/>
                  <a:pt x="631" y="329"/>
                </a:cubicBezTo>
                <a:cubicBezTo>
                  <a:pt x="632" y="329"/>
                  <a:pt x="632" y="329"/>
                  <a:pt x="632" y="329"/>
                </a:cubicBezTo>
                <a:cubicBezTo>
                  <a:pt x="672" y="320"/>
                  <a:pt x="714" y="315"/>
                  <a:pt x="755" y="315"/>
                </a:cubicBezTo>
                <a:cubicBezTo>
                  <a:pt x="847" y="315"/>
                  <a:pt x="935" y="339"/>
                  <a:pt x="1011" y="383"/>
                </a:cubicBezTo>
                <a:cubicBezTo>
                  <a:pt x="1089" y="428"/>
                  <a:pt x="1150" y="495"/>
                  <a:pt x="1190" y="576"/>
                </a:cubicBezTo>
                <a:cubicBezTo>
                  <a:pt x="1191" y="578"/>
                  <a:pt x="1191" y="579"/>
                  <a:pt x="1190" y="581"/>
                </a:cubicBezTo>
                <a:cubicBezTo>
                  <a:pt x="1189" y="583"/>
                  <a:pt x="1186" y="583"/>
                  <a:pt x="1184" y="583"/>
                </a:cubicBezTo>
                <a:lnTo>
                  <a:pt x="1132" y="583"/>
                </a:lnTo>
                <a:close/>
              </a:path>
            </a:pathLst>
          </a:custGeom>
          <a:solidFill>
            <a:schemeClr val="bg1"/>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17" name="Freeform 18"/>
          <p:cNvSpPr/>
          <p:nvPr/>
        </p:nvSpPr>
        <p:spPr bwMode="auto">
          <a:xfrm>
            <a:off x="6508203" y="2119368"/>
            <a:ext cx="1378138" cy="2442124"/>
          </a:xfrm>
          <a:custGeom>
            <a:avLst/>
            <a:gdLst>
              <a:gd name="T0" fmla="*/ 0 w 705"/>
              <a:gd name="T1" fmla="*/ 1249 h 1249"/>
              <a:gd name="T2" fmla="*/ 186 w 705"/>
              <a:gd name="T3" fmla="*/ 1234 h 1249"/>
              <a:gd name="T4" fmla="*/ 138 w 705"/>
              <a:gd name="T5" fmla="*/ 1192 h 1249"/>
              <a:gd name="T6" fmla="*/ 163 w 705"/>
              <a:gd name="T7" fmla="*/ 1182 h 1249"/>
              <a:gd name="T8" fmla="*/ 423 w 705"/>
              <a:gd name="T9" fmla="*/ 623 h 1249"/>
              <a:gd name="T10" fmla="*/ 704 w 705"/>
              <a:gd name="T11" fmla="*/ 312 h 1249"/>
              <a:gd name="T12" fmla="*/ 392 w 705"/>
              <a:gd name="T13" fmla="*/ 0 h 1249"/>
              <a:gd name="T14" fmla="*/ 92 w 705"/>
              <a:gd name="T15" fmla="*/ 227 h 1249"/>
              <a:gd name="T16" fmla="*/ 92 w 705"/>
              <a:gd name="T17" fmla="*/ 227 h 1249"/>
              <a:gd name="T18" fmla="*/ 86 w 705"/>
              <a:gd name="T19" fmla="*/ 251 h 1249"/>
              <a:gd name="T20" fmla="*/ 86 w 705"/>
              <a:gd name="T21" fmla="*/ 251 h 1249"/>
              <a:gd name="T22" fmla="*/ 86 w 705"/>
              <a:gd name="T23" fmla="*/ 252 h 1249"/>
              <a:gd name="T24" fmla="*/ 336 w 705"/>
              <a:gd name="T25" fmla="*/ 512 h 1249"/>
              <a:gd name="T26" fmla="*/ 376 w 705"/>
              <a:gd name="T27" fmla="*/ 627 h 1249"/>
              <a:gd name="T28" fmla="*/ 134 w 705"/>
              <a:gd name="T29" fmla="*/ 1182 h 1249"/>
              <a:gd name="T30" fmla="*/ 133 w 705"/>
              <a:gd name="T31" fmla="*/ 1118 h 1249"/>
              <a:gd name="T32" fmla="*/ 0 w 705"/>
              <a:gd name="T33" fmla="*/ 1249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5" h="1249">
                <a:moveTo>
                  <a:pt x="0" y="1249"/>
                </a:moveTo>
                <a:cubicBezTo>
                  <a:pt x="186" y="1234"/>
                  <a:pt x="186" y="1234"/>
                  <a:pt x="186" y="1234"/>
                </a:cubicBezTo>
                <a:cubicBezTo>
                  <a:pt x="138" y="1192"/>
                  <a:pt x="138" y="1192"/>
                  <a:pt x="138" y="1192"/>
                </a:cubicBezTo>
                <a:cubicBezTo>
                  <a:pt x="149" y="1188"/>
                  <a:pt x="152" y="1187"/>
                  <a:pt x="163" y="1182"/>
                </a:cubicBezTo>
                <a:cubicBezTo>
                  <a:pt x="370" y="1087"/>
                  <a:pt x="472" y="851"/>
                  <a:pt x="423" y="623"/>
                </a:cubicBezTo>
                <a:cubicBezTo>
                  <a:pt x="581" y="608"/>
                  <a:pt x="705" y="474"/>
                  <a:pt x="704" y="312"/>
                </a:cubicBezTo>
                <a:cubicBezTo>
                  <a:pt x="704" y="140"/>
                  <a:pt x="564" y="0"/>
                  <a:pt x="392" y="0"/>
                </a:cubicBezTo>
                <a:cubicBezTo>
                  <a:pt x="249" y="1"/>
                  <a:pt x="129" y="96"/>
                  <a:pt x="92" y="227"/>
                </a:cubicBezTo>
                <a:cubicBezTo>
                  <a:pt x="92" y="227"/>
                  <a:pt x="92" y="227"/>
                  <a:pt x="92" y="227"/>
                </a:cubicBezTo>
                <a:cubicBezTo>
                  <a:pt x="90" y="235"/>
                  <a:pt x="88" y="243"/>
                  <a:pt x="86" y="251"/>
                </a:cubicBezTo>
                <a:cubicBezTo>
                  <a:pt x="86" y="251"/>
                  <a:pt x="86" y="251"/>
                  <a:pt x="86" y="251"/>
                </a:cubicBezTo>
                <a:cubicBezTo>
                  <a:pt x="86" y="252"/>
                  <a:pt x="86" y="252"/>
                  <a:pt x="86" y="252"/>
                </a:cubicBezTo>
                <a:cubicBezTo>
                  <a:pt x="191" y="304"/>
                  <a:pt x="281" y="394"/>
                  <a:pt x="336" y="512"/>
                </a:cubicBezTo>
                <a:cubicBezTo>
                  <a:pt x="368" y="580"/>
                  <a:pt x="376" y="626"/>
                  <a:pt x="376" y="627"/>
                </a:cubicBezTo>
                <a:cubicBezTo>
                  <a:pt x="427" y="854"/>
                  <a:pt x="335" y="1083"/>
                  <a:pt x="134" y="1182"/>
                </a:cubicBezTo>
                <a:cubicBezTo>
                  <a:pt x="133" y="1118"/>
                  <a:pt x="133" y="1118"/>
                  <a:pt x="133" y="1118"/>
                </a:cubicBezTo>
                <a:cubicBezTo>
                  <a:pt x="0" y="1249"/>
                  <a:pt x="0" y="1249"/>
                  <a:pt x="0" y="1249"/>
                </a:cubicBezTo>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18" name="Freeform 19"/>
          <p:cNvSpPr>
            <a:spLocks noEditPoints="1"/>
          </p:cNvSpPr>
          <p:nvPr/>
        </p:nvSpPr>
        <p:spPr bwMode="auto">
          <a:xfrm>
            <a:off x="6495802" y="2107794"/>
            <a:ext cx="1400460" cy="2466098"/>
          </a:xfrm>
          <a:custGeom>
            <a:avLst/>
            <a:gdLst>
              <a:gd name="T0" fmla="*/ 0 w 716"/>
              <a:gd name="T1" fmla="*/ 1255 h 1261"/>
              <a:gd name="T2" fmla="*/ 1 w 716"/>
              <a:gd name="T3" fmla="*/ 1251 h 1261"/>
              <a:gd name="T4" fmla="*/ 134 w 716"/>
              <a:gd name="T5" fmla="*/ 1119 h 1261"/>
              <a:gd name="T6" fmla="*/ 141 w 716"/>
              <a:gd name="T7" fmla="*/ 1118 h 1261"/>
              <a:gd name="T8" fmla="*/ 145 w 716"/>
              <a:gd name="T9" fmla="*/ 1124 h 1261"/>
              <a:gd name="T10" fmla="*/ 145 w 716"/>
              <a:gd name="T11" fmla="*/ 1176 h 1261"/>
              <a:gd name="T12" fmla="*/ 390 w 716"/>
              <a:gd name="T13" fmla="*/ 755 h 1261"/>
              <a:gd name="T14" fmla="*/ 376 w 716"/>
              <a:gd name="T15" fmla="*/ 635 h 1261"/>
              <a:gd name="T16" fmla="*/ 376 w 716"/>
              <a:gd name="T17" fmla="*/ 633 h 1261"/>
              <a:gd name="T18" fmla="*/ 376 w 716"/>
              <a:gd name="T19" fmla="*/ 632 h 1261"/>
              <a:gd name="T20" fmla="*/ 375 w 716"/>
              <a:gd name="T21" fmla="*/ 630 h 1261"/>
              <a:gd name="T22" fmla="*/ 375 w 716"/>
              <a:gd name="T23" fmla="*/ 630 h 1261"/>
              <a:gd name="T24" fmla="*/ 376 w 716"/>
              <a:gd name="T25" fmla="*/ 629 h 1261"/>
              <a:gd name="T26" fmla="*/ 337 w 716"/>
              <a:gd name="T27" fmla="*/ 520 h 1261"/>
              <a:gd name="T28" fmla="*/ 89 w 716"/>
              <a:gd name="T29" fmla="*/ 263 h 1261"/>
              <a:gd name="T30" fmla="*/ 86 w 716"/>
              <a:gd name="T31" fmla="*/ 258 h 1261"/>
              <a:gd name="T32" fmla="*/ 86 w 716"/>
              <a:gd name="T33" fmla="*/ 256 h 1261"/>
              <a:gd name="T34" fmla="*/ 92 w 716"/>
              <a:gd name="T35" fmla="*/ 231 h 1261"/>
              <a:gd name="T36" fmla="*/ 93 w 716"/>
              <a:gd name="T37" fmla="*/ 230 h 1261"/>
              <a:gd name="T38" fmla="*/ 398 w 716"/>
              <a:gd name="T39" fmla="*/ 0 h 1261"/>
              <a:gd name="T40" fmla="*/ 716 w 716"/>
              <a:gd name="T41" fmla="*/ 318 h 1261"/>
              <a:gd name="T42" fmla="*/ 634 w 716"/>
              <a:gd name="T43" fmla="*/ 533 h 1261"/>
              <a:gd name="T44" fmla="*/ 437 w 716"/>
              <a:gd name="T45" fmla="*/ 634 h 1261"/>
              <a:gd name="T46" fmla="*/ 447 w 716"/>
              <a:gd name="T47" fmla="*/ 743 h 1261"/>
              <a:gd name="T48" fmla="*/ 376 w 716"/>
              <a:gd name="T49" fmla="*/ 1010 h 1261"/>
              <a:gd name="T50" fmla="*/ 173 w 716"/>
              <a:gd name="T51" fmla="*/ 1194 h 1261"/>
              <a:gd name="T52" fmla="*/ 163 w 716"/>
              <a:gd name="T53" fmla="*/ 1199 h 1261"/>
              <a:gd name="T54" fmla="*/ 158 w 716"/>
              <a:gd name="T55" fmla="*/ 1202 h 1261"/>
              <a:gd name="T56" fmla="*/ 196 w 716"/>
              <a:gd name="T57" fmla="*/ 1235 h 1261"/>
              <a:gd name="T58" fmla="*/ 197 w 716"/>
              <a:gd name="T59" fmla="*/ 1242 h 1261"/>
              <a:gd name="T60" fmla="*/ 192 w 716"/>
              <a:gd name="T61" fmla="*/ 1246 h 1261"/>
              <a:gd name="T62" fmla="*/ 6 w 716"/>
              <a:gd name="T63" fmla="*/ 1261 h 1261"/>
              <a:gd name="T64" fmla="*/ 0 w 716"/>
              <a:gd name="T65" fmla="*/ 1257 h 1261"/>
              <a:gd name="T66" fmla="*/ 0 w 716"/>
              <a:gd name="T67" fmla="*/ 1255 h 1261"/>
              <a:gd name="T68" fmla="*/ 135 w 716"/>
              <a:gd name="T69" fmla="*/ 1133 h 1261"/>
              <a:gd name="T70" fmla="*/ 22 w 716"/>
              <a:gd name="T71" fmla="*/ 1248 h 1261"/>
              <a:gd name="T72" fmla="*/ 182 w 716"/>
              <a:gd name="T73" fmla="*/ 1236 h 1261"/>
              <a:gd name="T74" fmla="*/ 144 w 716"/>
              <a:gd name="T75" fmla="*/ 1205 h 1261"/>
              <a:gd name="T76" fmla="*/ 141 w 716"/>
              <a:gd name="T77" fmla="*/ 1200 h 1261"/>
              <a:gd name="T78" fmla="*/ 145 w 716"/>
              <a:gd name="T79" fmla="*/ 1196 h 1261"/>
              <a:gd name="T80" fmla="*/ 168 w 716"/>
              <a:gd name="T81" fmla="*/ 1186 h 1261"/>
              <a:gd name="T82" fmla="*/ 435 w 716"/>
              <a:gd name="T83" fmla="*/ 743 h 1261"/>
              <a:gd name="T84" fmla="*/ 424 w 716"/>
              <a:gd name="T85" fmla="*/ 630 h 1261"/>
              <a:gd name="T86" fmla="*/ 425 w 716"/>
              <a:gd name="T87" fmla="*/ 626 h 1261"/>
              <a:gd name="T88" fmla="*/ 429 w 716"/>
              <a:gd name="T89" fmla="*/ 623 h 1261"/>
              <a:gd name="T90" fmla="*/ 704 w 716"/>
              <a:gd name="T91" fmla="*/ 318 h 1261"/>
              <a:gd name="T92" fmla="*/ 398 w 716"/>
              <a:gd name="T93" fmla="*/ 12 h 1261"/>
              <a:gd name="T94" fmla="*/ 104 w 716"/>
              <a:gd name="T95" fmla="*/ 234 h 1261"/>
              <a:gd name="T96" fmla="*/ 103 w 716"/>
              <a:gd name="T97" fmla="*/ 236 h 1261"/>
              <a:gd name="T98" fmla="*/ 99 w 716"/>
              <a:gd name="T99" fmla="*/ 255 h 1261"/>
              <a:gd name="T100" fmla="*/ 347 w 716"/>
              <a:gd name="T101" fmla="*/ 515 h 1261"/>
              <a:gd name="T102" fmla="*/ 388 w 716"/>
              <a:gd name="T103" fmla="*/ 628 h 1261"/>
              <a:gd name="T104" fmla="*/ 388 w 716"/>
              <a:gd name="T105" fmla="*/ 632 h 1261"/>
              <a:gd name="T106" fmla="*/ 388 w 716"/>
              <a:gd name="T107" fmla="*/ 632 h 1261"/>
              <a:gd name="T108" fmla="*/ 402 w 716"/>
              <a:gd name="T109" fmla="*/ 755 h 1261"/>
              <a:gd name="T110" fmla="*/ 335 w 716"/>
              <a:gd name="T111" fmla="*/ 1011 h 1261"/>
              <a:gd name="T112" fmla="*/ 142 w 716"/>
              <a:gd name="T113" fmla="*/ 1190 h 1261"/>
              <a:gd name="T114" fmla="*/ 136 w 716"/>
              <a:gd name="T115" fmla="*/ 1191 h 1261"/>
              <a:gd name="T116" fmla="*/ 135 w 716"/>
              <a:gd name="T117" fmla="*/ 1184 h 1261"/>
              <a:gd name="T118" fmla="*/ 135 w 716"/>
              <a:gd name="T119" fmla="*/ 1133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6" h="1261">
                <a:moveTo>
                  <a:pt x="0" y="1255"/>
                </a:moveTo>
                <a:cubicBezTo>
                  <a:pt x="0" y="1253"/>
                  <a:pt x="0" y="1252"/>
                  <a:pt x="1" y="1251"/>
                </a:cubicBezTo>
                <a:cubicBezTo>
                  <a:pt x="134" y="1119"/>
                  <a:pt x="134" y="1119"/>
                  <a:pt x="134" y="1119"/>
                </a:cubicBezTo>
                <a:cubicBezTo>
                  <a:pt x="136" y="1118"/>
                  <a:pt x="139" y="1117"/>
                  <a:pt x="141" y="1118"/>
                </a:cubicBezTo>
                <a:cubicBezTo>
                  <a:pt x="143" y="1119"/>
                  <a:pt x="145" y="1121"/>
                  <a:pt x="145" y="1124"/>
                </a:cubicBezTo>
                <a:cubicBezTo>
                  <a:pt x="145" y="1176"/>
                  <a:pt x="145" y="1176"/>
                  <a:pt x="145" y="1176"/>
                </a:cubicBezTo>
                <a:cubicBezTo>
                  <a:pt x="297" y="1097"/>
                  <a:pt x="390" y="937"/>
                  <a:pt x="390" y="755"/>
                </a:cubicBezTo>
                <a:cubicBezTo>
                  <a:pt x="390" y="715"/>
                  <a:pt x="385" y="675"/>
                  <a:pt x="376" y="635"/>
                </a:cubicBezTo>
                <a:cubicBezTo>
                  <a:pt x="376" y="634"/>
                  <a:pt x="376" y="633"/>
                  <a:pt x="376" y="633"/>
                </a:cubicBezTo>
                <a:cubicBezTo>
                  <a:pt x="376" y="632"/>
                  <a:pt x="376" y="632"/>
                  <a:pt x="376" y="632"/>
                </a:cubicBezTo>
                <a:cubicBezTo>
                  <a:pt x="376" y="632"/>
                  <a:pt x="375" y="631"/>
                  <a:pt x="375" y="630"/>
                </a:cubicBezTo>
                <a:cubicBezTo>
                  <a:pt x="375" y="630"/>
                  <a:pt x="375" y="630"/>
                  <a:pt x="375" y="630"/>
                </a:cubicBezTo>
                <a:cubicBezTo>
                  <a:pt x="375" y="630"/>
                  <a:pt x="375" y="629"/>
                  <a:pt x="376" y="629"/>
                </a:cubicBezTo>
                <a:cubicBezTo>
                  <a:pt x="368" y="596"/>
                  <a:pt x="355" y="560"/>
                  <a:pt x="337" y="520"/>
                </a:cubicBezTo>
                <a:cubicBezTo>
                  <a:pt x="285" y="408"/>
                  <a:pt x="197" y="317"/>
                  <a:pt x="89" y="263"/>
                </a:cubicBezTo>
                <a:cubicBezTo>
                  <a:pt x="87" y="262"/>
                  <a:pt x="86" y="260"/>
                  <a:pt x="86" y="258"/>
                </a:cubicBezTo>
                <a:cubicBezTo>
                  <a:pt x="86" y="257"/>
                  <a:pt x="86" y="257"/>
                  <a:pt x="86" y="256"/>
                </a:cubicBezTo>
                <a:cubicBezTo>
                  <a:pt x="88" y="248"/>
                  <a:pt x="90" y="240"/>
                  <a:pt x="92" y="231"/>
                </a:cubicBezTo>
                <a:cubicBezTo>
                  <a:pt x="92" y="230"/>
                  <a:pt x="93" y="230"/>
                  <a:pt x="93" y="230"/>
                </a:cubicBezTo>
                <a:cubicBezTo>
                  <a:pt x="132" y="95"/>
                  <a:pt x="257" y="1"/>
                  <a:pt x="398" y="0"/>
                </a:cubicBezTo>
                <a:cubicBezTo>
                  <a:pt x="573" y="0"/>
                  <a:pt x="716" y="143"/>
                  <a:pt x="716" y="318"/>
                </a:cubicBezTo>
                <a:cubicBezTo>
                  <a:pt x="716" y="398"/>
                  <a:pt x="687" y="474"/>
                  <a:pt x="634" y="533"/>
                </a:cubicBezTo>
                <a:cubicBezTo>
                  <a:pt x="582" y="589"/>
                  <a:pt x="512" y="625"/>
                  <a:pt x="437" y="634"/>
                </a:cubicBezTo>
                <a:cubicBezTo>
                  <a:pt x="444" y="670"/>
                  <a:pt x="447" y="706"/>
                  <a:pt x="447" y="743"/>
                </a:cubicBezTo>
                <a:cubicBezTo>
                  <a:pt x="448" y="838"/>
                  <a:pt x="423" y="931"/>
                  <a:pt x="376" y="1010"/>
                </a:cubicBezTo>
                <a:cubicBezTo>
                  <a:pt x="327" y="1092"/>
                  <a:pt x="257" y="1155"/>
                  <a:pt x="173" y="1194"/>
                </a:cubicBezTo>
                <a:cubicBezTo>
                  <a:pt x="169" y="1196"/>
                  <a:pt x="166" y="1198"/>
                  <a:pt x="163" y="1199"/>
                </a:cubicBezTo>
                <a:cubicBezTo>
                  <a:pt x="161" y="1200"/>
                  <a:pt x="160" y="1201"/>
                  <a:pt x="158" y="1202"/>
                </a:cubicBezTo>
                <a:cubicBezTo>
                  <a:pt x="196" y="1235"/>
                  <a:pt x="196" y="1235"/>
                  <a:pt x="196" y="1235"/>
                </a:cubicBezTo>
                <a:cubicBezTo>
                  <a:pt x="197" y="1237"/>
                  <a:pt x="198" y="1239"/>
                  <a:pt x="197" y="1242"/>
                </a:cubicBezTo>
                <a:cubicBezTo>
                  <a:pt x="197" y="1244"/>
                  <a:pt x="195" y="1245"/>
                  <a:pt x="192" y="1246"/>
                </a:cubicBezTo>
                <a:cubicBezTo>
                  <a:pt x="6" y="1261"/>
                  <a:pt x="6" y="1261"/>
                  <a:pt x="6" y="1261"/>
                </a:cubicBezTo>
                <a:cubicBezTo>
                  <a:pt x="4" y="1261"/>
                  <a:pt x="1" y="1260"/>
                  <a:pt x="0" y="1257"/>
                </a:cubicBezTo>
                <a:cubicBezTo>
                  <a:pt x="0" y="1257"/>
                  <a:pt x="0" y="1256"/>
                  <a:pt x="0" y="1255"/>
                </a:cubicBezTo>
                <a:close/>
                <a:moveTo>
                  <a:pt x="135" y="1133"/>
                </a:moveTo>
                <a:cubicBezTo>
                  <a:pt x="22" y="1248"/>
                  <a:pt x="22" y="1248"/>
                  <a:pt x="22" y="1248"/>
                </a:cubicBezTo>
                <a:cubicBezTo>
                  <a:pt x="182" y="1236"/>
                  <a:pt x="182" y="1236"/>
                  <a:pt x="182" y="1236"/>
                </a:cubicBezTo>
                <a:cubicBezTo>
                  <a:pt x="144" y="1205"/>
                  <a:pt x="144" y="1205"/>
                  <a:pt x="144" y="1205"/>
                </a:cubicBezTo>
                <a:cubicBezTo>
                  <a:pt x="142" y="1204"/>
                  <a:pt x="141" y="1202"/>
                  <a:pt x="141" y="1200"/>
                </a:cubicBezTo>
                <a:cubicBezTo>
                  <a:pt x="141" y="1198"/>
                  <a:pt x="143" y="1197"/>
                  <a:pt x="145" y="1196"/>
                </a:cubicBezTo>
                <a:cubicBezTo>
                  <a:pt x="151" y="1194"/>
                  <a:pt x="163" y="1188"/>
                  <a:pt x="168" y="1186"/>
                </a:cubicBezTo>
                <a:cubicBezTo>
                  <a:pt x="333" y="1109"/>
                  <a:pt x="436" y="938"/>
                  <a:pt x="435" y="743"/>
                </a:cubicBezTo>
                <a:cubicBezTo>
                  <a:pt x="435" y="705"/>
                  <a:pt x="431" y="667"/>
                  <a:pt x="424" y="630"/>
                </a:cubicBezTo>
                <a:cubicBezTo>
                  <a:pt x="423" y="629"/>
                  <a:pt x="424" y="627"/>
                  <a:pt x="425" y="626"/>
                </a:cubicBezTo>
                <a:cubicBezTo>
                  <a:pt x="426" y="624"/>
                  <a:pt x="427" y="623"/>
                  <a:pt x="429" y="623"/>
                </a:cubicBezTo>
                <a:cubicBezTo>
                  <a:pt x="586" y="608"/>
                  <a:pt x="705" y="477"/>
                  <a:pt x="704" y="318"/>
                </a:cubicBezTo>
                <a:cubicBezTo>
                  <a:pt x="704" y="149"/>
                  <a:pt x="567" y="12"/>
                  <a:pt x="398" y="12"/>
                </a:cubicBezTo>
                <a:cubicBezTo>
                  <a:pt x="262" y="13"/>
                  <a:pt x="141" y="104"/>
                  <a:pt x="104" y="234"/>
                </a:cubicBezTo>
                <a:cubicBezTo>
                  <a:pt x="104" y="235"/>
                  <a:pt x="104" y="235"/>
                  <a:pt x="103" y="236"/>
                </a:cubicBezTo>
                <a:cubicBezTo>
                  <a:pt x="102" y="242"/>
                  <a:pt x="100" y="249"/>
                  <a:pt x="99" y="255"/>
                </a:cubicBezTo>
                <a:cubicBezTo>
                  <a:pt x="207" y="309"/>
                  <a:pt x="295" y="402"/>
                  <a:pt x="347" y="515"/>
                </a:cubicBezTo>
                <a:cubicBezTo>
                  <a:pt x="367" y="557"/>
                  <a:pt x="380" y="594"/>
                  <a:pt x="388" y="628"/>
                </a:cubicBezTo>
                <a:cubicBezTo>
                  <a:pt x="388" y="629"/>
                  <a:pt x="388" y="631"/>
                  <a:pt x="388" y="632"/>
                </a:cubicBezTo>
                <a:cubicBezTo>
                  <a:pt x="388" y="632"/>
                  <a:pt x="388" y="632"/>
                  <a:pt x="388" y="632"/>
                </a:cubicBezTo>
                <a:cubicBezTo>
                  <a:pt x="397" y="673"/>
                  <a:pt x="402" y="714"/>
                  <a:pt x="402" y="755"/>
                </a:cubicBezTo>
                <a:cubicBezTo>
                  <a:pt x="402" y="847"/>
                  <a:pt x="379" y="936"/>
                  <a:pt x="335" y="1011"/>
                </a:cubicBezTo>
                <a:cubicBezTo>
                  <a:pt x="289" y="1089"/>
                  <a:pt x="222" y="1151"/>
                  <a:pt x="142" y="1190"/>
                </a:cubicBezTo>
                <a:cubicBezTo>
                  <a:pt x="140" y="1191"/>
                  <a:pt x="138" y="1192"/>
                  <a:pt x="136" y="1191"/>
                </a:cubicBezTo>
                <a:cubicBezTo>
                  <a:pt x="135" y="1190"/>
                  <a:pt x="135" y="1186"/>
                  <a:pt x="135" y="1184"/>
                </a:cubicBezTo>
                <a:lnTo>
                  <a:pt x="135" y="1133"/>
                </a:lnTo>
                <a:close/>
              </a:path>
            </a:pathLst>
          </a:custGeom>
          <a:solidFill>
            <a:schemeClr val="bg1"/>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19" name="Freeform 20"/>
          <p:cNvSpPr/>
          <p:nvPr/>
        </p:nvSpPr>
        <p:spPr bwMode="auto">
          <a:xfrm>
            <a:off x="5420242" y="4061328"/>
            <a:ext cx="2484287" cy="1316135"/>
          </a:xfrm>
          <a:custGeom>
            <a:avLst/>
            <a:gdLst>
              <a:gd name="T0" fmla="*/ 0 w 1270"/>
              <a:gd name="T1" fmla="*/ 0 h 673"/>
              <a:gd name="T2" fmla="*/ 23 w 1270"/>
              <a:gd name="T3" fmla="*/ 185 h 673"/>
              <a:gd name="T4" fmla="*/ 62 w 1270"/>
              <a:gd name="T5" fmla="*/ 136 h 673"/>
              <a:gd name="T6" fmla="*/ 73 w 1270"/>
              <a:gd name="T7" fmla="*/ 160 h 673"/>
              <a:gd name="T8" fmla="*/ 642 w 1270"/>
              <a:gd name="T9" fmla="*/ 398 h 673"/>
              <a:gd name="T10" fmla="*/ 964 w 1270"/>
              <a:gd name="T11" fmla="*/ 666 h 673"/>
              <a:gd name="T12" fmla="*/ 1263 w 1270"/>
              <a:gd name="T13" fmla="*/ 341 h 673"/>
              <a:gd name="T14" fmla="*/ 1025 w 1270"/>
              <a:gd name="T15" fmla="*/ 51 h 673"/>
              <a:gd name="T16" fmla="*/ 1025 w 1270"/>
              <a:gd name="T17" fmla="*/ 51 h 673"/>
              <a:gd name="T18" fmla="*/ 1000 w 1270"/>
              <a:gd name="T19" fmla="*/ 46 h 673"/>
              <a:gd name="T20" fmla="*/ 1000 w 1270"/>
              <a:gd name="T21" fmla="*/ 46 h 673"/>
              <a:gd name="T22" fmla="*/ 999 w 1270"/>
              <a:gd name="T23" fmla="*/ 46 h 673"/>
              <a:gd name="T24" fmla="*/ 750 w 1270"/>
              <a:gd name="T25" fmla="*/ 306 h 673"/>
              <a:gd name="T26" fmla="*/ 636 w 1270"/>
              <a:gd name="T27" fmla="*/ 351 h 673"/>
              <a:gd name="T28" fmla="*/ 72 w 1270"/>
              <a:gd name="T29" fmla="*/ 131 h 673"/>
              <a:gd name="T30" fmla="*/ 136 w 1270"/>
              <a:gd name="T31" fmla="*/ 127 h 673"/>
              <a:gd name="T32" fmla="*/ 0 w 1270"/>
              <a:gd name="T33"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0" h="673">
                <a:moveTo>
                  <a:pt x="0" y="0"/>
                </a:moveTo>
                <a:cubicBezTo>
                  <a:pt x="23" y="185"/>
                  <a:pt x="23" y="185"/>
                  <a:pt x="23" y="185"/>
                </a:cubicBezTo>
                <a:cubicBezTo>
                  <a:pt x="62" y="136"/>
                  <a:pt x="62" y="136"/>
                  <a:pt x="62" y="136"/>
                </a:cubicBezTo>
                <a:cubicBezTo>
                  <a:pt x="66" y="147"/>
                  <a:pt x="67" y="150"/>
                  <a:pt x="73" y="160"/>
                </a:cubicBezTo>
                <a:cubicBezTo>
                  <a:pt x="177" y="363"/>
                  <a:pt x="416" y="456"/>
                  <a:pt x="642" y="398"/>
                </a:cubicBezTo>
                <a:cubicBezTo>
                  <a:pt x="664" y="555"/>
                  <a:pt x="802" y="673"/>
                  <a:pt x="964" y="666"/>
                </a:cubicBezTo>
                <a:cubicBezTo>
                  <a:pt x="1136" y="659"/>
                  <a:pt x="1270" y="514"/>
                  <a:pt x="1263" y="341"/>
                </a:cubicBezTo>
                <a:cubicBezTo>
                  <a:pt x="1257" y="199"/>
                  <a:pt x="1157" y="83"/>
                  <a:pt x="1025" y="51"/>
                </a:cubicBezTo>
                <a:cubicBezTo>
                  <a:pt x="1025" y="51"/>
                  <a:pt x="1025" y="51"/>
                  <a:pt x="1025" y="51"/>
                </a:cubicBezTo>
                <a:cubicBezTo>
                  <a:pt x="1017" y="49"/>
                  <a:pt x="1009" y="47"/>
                  <a:pt x="1000" y="46"/>
                </a:cubicBezTo>
                <a:cubicBezTo>
                  <a:pt x="1000" y="46"/>
                  <a:pt x="1000" y="46"/>
                  <a:pt x="1000" y="46"/>
                </a:cubicBezTo>
                <a:cubicBezTo>
                  <a:pt x="999" y="46"/>
                  <a:pt x="999" y="46"/>
                  <a:pt x="999" y="46"/>
                </a:cubicBezTo>
                <a:cubicBezTo>
                  <a:pt x="952" y="153"/>
                  <a:pt x="866" y="247"/>
                  <a:pt x="750" y="306"/>
                </a:cubicBezTo>
                <a:cubicBezTo>
                  <a:pt x="683" y="341"/>
                  <a:pt x="637" y="351"/>
                  <a:pt x="636" y="351"/>
                </a:cubicBezTo>
                <a:cubicBezTo>
                  <a:pt x="412" y="411"/>
                  <a:pt x="180" y="328"/>
                  <a:pt x="72" y="131"/>
                </a:cubicBezTo>
                <a:cubicBezTo>
                  <a:pt x="136" y="127"/>
                  <a:pt x="136" y="127"/>
                  <a:pt x="136" y="127"/>
                </a:cubicBezTo>
                <a:cubicBezTo>
                  <a:pt x="0" y="0"/>
                  <a:pt x="0" y="0"/>
                  <a:pt x="0" y="0"/>
                </a:cubicBezTo>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20" name="Freeform 21"/>
          <p:cNvSpPr>
            <a:spLocks noEditPoints="1"/>
          </p:cNvSpPr>
          <p:nvPr/>
        </p:nvSpPr>
        <p:spPr bwMode="auto">
          <a:xfrm>
            <a:off x="5408667" y="4049755"/>
            <a:ext cx="2507435" cy="1331842"/>
          </a:xfrm>
          <a:custGeom>
            <a:avLst/>
            <a:gdLst>
              <a:gd name="T0" fmla="*/ 6 w 1282"/>
              <a:gd name="T1" fmla="*/ 0 h 681"/>
              <a:gd name="T2" fmla="*/ 10 w 1282"/>
              <a:gd name="T3" fmla="*/ 1 h 681"/>
              <a:gd name="T4" fmla="*/ 146 w 1282"/>
              <a:gd name="T5" fmla="*/ 129 h 681"/>
              <a:gd name="T6" fmla="*/ 148 w 1282"/>
              <a:gd name="T7" fmla="*/ 135 h 681"/>
              <a:gd name="T8" fmla="*/ 143 w 1282"/>
              <a:gd name="T9" fmla="*/ 139 h 681"/>
              <a:gd name="T10" fmla="*/ 90 w 1282"/>
              <a:gd name="T11" fmla="*/ 142 h 681"/>
              <a:gd name="T12" fmla="*/ 521 w 1282"/>
              <a:gd name="T13" fmla="*/ 369 h 681"/>
              <a:gd name="T14" fmla="*/ 641 w 1282"/>
              <a:gd name="T15" fmla="*/ 351 h 681"/>
              <a:gd name="T16" fmla="*/ 643 w 1282"/>
              <a:gd name="T17" fmla="*/ 350 h 681"/>
              <a:gd name="T18" fmla="*/ 643 w 1282"/>
              <a:gd name="T19" fmla="*/ 350 h 681"/>
              <a:gd name="T20" fmla="*/ 645 w 1282"/>
              <a:gd name="T21" fmla="*/ 350 h 681"/>
              <a:gd name="T22" fmla="*/ 645 w 1282"/>
              <a:gd name="T23" fmla="*/ 350 h 681"/>
              <a:gd name="T24" fmla="*/ 646 w 1282"/>
              <a:gd name="T25" fmla="*/ 350 h 681"/>
              <a:gd name="T26" fmla="*/ 753 w 1282"/>
              <a:gd name="T27" fmla="*/ 307 h 681"/>
              <a:gd name="T28" fmla="*/ 1000 w 1282"/>
              <a:gd name="T29" fmla="*/ 49 h 681"/>
              <a:gd name="T30" fmla="*/ 1006 w 1282"/>
              <a:gd name="T31" fmla="*/ 46 h 681"/>
              <a:gd name="T32" fmla="*/ 1007 w 1282"/>
              <a:gd name="T33" fmla="*/ 46 h 681"/>
              <a:gd name="T34" fmla="*/ 1032 w 1282"/>
              <a:gd name="T35" fmla="*/ 51 h 681"/>
              <a:gd name="T36" fmla="*/ 1034 w 1282"/>
              <a:gd name="T37" fmla="*/ 51 h 681"/>
              <a:gd name="T38" fmla="*/ 1275 w 1282"/>
              <a:gd name="T39" fmla="*/ 347 h 681"/>
              <a:gd name="T40" fmla="*/ 970 w 1282"/>
              <a:gd name="T41" fmla="*/ 678 h 681"/>
              <a:gd name="T42" fmla="*/ 753 w 1282"/>
              <a:gd name="T43" fmla="*/ 604 h 681"/>
              <a:gd name="T44" fmla="*/ 643 w 1282"/>
              <a:gd name="T45" fmla="*/ 411 h 681"/>
              <a:gd name="T46" fmla="*/ 535 w 1282"/>
              <a:gd name="T47" fmla="*/ 426 h 681"/>
              <a:gd name="T48" fmla="*/ 266 w 1282"/>
              <a:gd name="T49" fmla="*/ 366 h 681"/>
              <a:gd name="T50" fmla="*/ 73 w 1282"/>
              <a:gd name="T51" fmla="*/ 170 h 681"/>
              <a:gd name="T52" fmla="*/ 68 w 1282"/>
              <a:gd name="T53" fmla="*/ 161 h 681"/>
              <a:gd name="T54" fmla="*/ 64 w 1282"/>
              <a:gd name="T55" fmla="*/ 155 h 681"/>
              <a:gd name="T56" fmla="*/ 33 w 1282"/>
              <a:gd name="T57" fmla="*/ 195 h 681"/>
              <a:gd name="T58" fmla="*/ 27 w 1282"/>
              <a:gd name="T59" fmla="*/ 197 h 681"/>
              <a:gd name="T60" fmla="*/ 23 w 1282"/>
              <a:gd name="T61" fmla="*/ 192 h 681"/>
              <a:gd name="T62" fmla="*/ 0 w 1282"/>
              <a:gd name="T63" fmla="*/ 6 h 681"/>
              <a:gd name="T64" fmla="*/ 3 w 1282"/>
              <a:gd name="T65" fmla="*/ 0 h 681"/>
              <a:gd name="T66" fmla="*/ 6 w 1282"/>
              <a:gd name="T67" fmla="*/ 0 h 681"/>
              <a:gd name="T68" fmla="*/ 133 w 1282"/>
              <a:gd name="T69" fmla="*/ 129 h 681"/>
              <a:gd name="T70" fmla="*/ 14 w 1282"/>
              <a:gd name="T71" fmla="*/ 21 h 681"/>
              <a:gd name="T72" fmla="*/ 32 w 1282"/>
              <a:gd name="T73" fmla="*/ 181 h 681"/>
              <a:gd name="T74" fmla="*/ 61 w 1282"/>
              <a:gd name="T75" fmla="*/ 142 h 681"/>
              <a:gd name="T76" fmla="*/ 66 w 1282"/>
              <a:gd name="T77" fmla="*/ 139 h 681"/>
              <a:gd name="T78" fmla="*/ 70 w 1282"/>
              <a:gd name="T79" fmla="*/ 142 h 681"/>
              <a:gd name="T80" fmla="*/ 82 w 1282"/>
              <a:gd name="T81" fmla="*/ 165 h 681"/>
              <a:gd name="T82" fmla="*/ 535 w 1282"/>
              <a:gd name="T83" fmla="*/ 414 h 681"/>
              <a:gd name="T84" fmla="*/ 647 w 1282"/>
              <a:gd name="T85" fmla="*/ 398 h 681"/>
              <a:gd name="T86" fmla="*/ 651 w 1282"/>
              <a:gd name="T87" fmla="*/ 399 h 681"/>
              <a:gd name="T88" fmla="*/ 654 w 1282"/>
              <a:gd name="T89" fmla="*/ 403 h 681"/>
              <a:gd name="T90" fmla="*/ 970 w 1282"/>
              <a:gd name="T91" fmla="*/ 666 h 681"/>
              <a:gd name="T92" fmla="*/ 1263 w 1282"/>
              <a:gd name="T93" fmla="*/ 348 h 681"/>
              <a:gd name="T94" fmla="*/ 1030 w 1282"/>
              <a:gd name="T95" fmla="*/ 63 h 681"/>
              <a:gd name="T96" fmla="*/ 1028 w 1282"/>
              <a:gd name="T97" fmla="*/ 62 h 681"/>
              <a:gd name="T98" fmla="*/ 1009 w 1282"/>
              <a:gd name="T99" fmla="*/ 58 h 681"/>
              <a:gd name="T100" fmla="*/ 759 w 1282"/>
              <a:gd name="T101" fmla="*/ 317 h 681"/>
              <a:gd name="T102" fmla="*/ 647 w 1282"/>
              <a:gd name="T103" fmla="*/ 362 h 681"/>
              <a:gd name="T104" fmla="*/ 644 w 1282"/>
              <a:gd name="T105" fmla="*/ 363 h 681"/>
              <a:gd name="T106" fmla="*/ 644 w 1282"/>
              <a:gd name="T107" fmla="*/ 363 h 681"/>
              <a:gd name="T108" fmla="*/ 521 w 1282"/>
              <a:gd name="T109" fmla="*/ 381 h 681"/>
              <a:gd name="T110" fmla="*/ 263 w 1282"/>
              <a:gd name="T111" fmla="*/ 325 h 681"/>
              <a:gd name="T112" fmla="*/ 76 w 1282"/>
              <a:gd name="T113" fmla="*/ 139 h 681"/>
              <a:gd name="T114" fmla="*/ 75 w 1282"/>
              <a:gd name="T115" fmla="*/ 134 h 681"/>
              <a:gd name="T116" fmla="*/ 82 w 1282"/>
              <a:gd name="T117" fmla="*/ 132 h 681"/>
              <a:gd name="T118" fmla="*/ 133 w 1282"/>
              <a:gd name="T119" fmla="*/ 12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2" h="681">
                <a:moveTo>
                  <a:pt x="6" y="0"/>
                </a:moveTo>
                <a:cubicBezTo>
                  <a:pt x="7" y="0"/>
                  <a:pt x="9" y="0"/>
                  <a:pt x="10" y="1"/>
                </a:cubicBezTo>
                <a:cubicBezTo>
                  <a:pt x="146" y="129"/>
                  <a:pt x="146" y="129"/>
                  <a:pt x="146" y="129"/>
                </a:cubicBezTo>
                <a:cubicBezTo>
                  <a:pt x="148" y="130"/>
                  <a:pt x="149" y="133"/>
                  <a:pt x="148" y="135"/>
                </a:cubicBezTo>
                <a:cubicBezTo>
                  <a:pt x="147" y="137"/>
                  <a:pt x="145" y="139"/>
                  <a:pt x="143" y="139"/>
                </a:cubicBezTo>
                <a:cubicBezTo>
                  <a:pt x="90" y="142"/>
                  <a:pt x="90" y="142"/>
                  <a:pt x="90" y="142"/>
                </a:cubicBezTo>
                <a:cubicBezTo>
                  <a:pt x="175" y="290"/>
                  <a:pt x="339" y="377"/>
                  <a:pt x="521" y="369"/>
                </a:cubicBezTo>
                <a:cubicBezTo>
                  <a:pt x="561" y="368"/>
                  <a:pt x="601" y="362"/>
                  <a:pt x="641" y="351"/>
                </a:cubicBezTo>
                <a:cubicBezTo>
                  <a:pt x="641" y="351"/>
                  <a:pt x="642" y="351"/>
                  <a:pt x="643" y="350"/>
                </a:cubicBezTo>
                <a:cubicBezTo>
                  <a:pt x="643" y="350"/>
                  <a:pt x="643" y="350"/>
                  <a:pt x="643" y="350"/>
                </a:cubicBezTo>
                <a:cubicBezTo>
                  <a:pt x="643" y="350"/>
                  <a:pt x="644" y="350"/>
                  <a:pt x="645" y="350"/>
                </a:cubicBezTo>
                <a:cubicBezTo>
                  <a:pt x="645" y="350"/>
                  <a:pt x="645" y="350"/>
                  <a:pt x="645" y="350"/>
                </a:cubicBezTo>
                <a:cubicBezTo>
                  <a:pt x="645" y="350"/>
                  <a:pt x="646" y="350"/>
                  <a:pt x="646" y="350"/>
                </a:cubicBezTo>
                <a:cubicBezTo>
                  <a:pt x="679" y="341"/>
                  <a:pt x="714" y="327"/>
                  <a:pt x="753" y="307"/>
                </a:cubicBezTo>
                <a:cubicBezTo>
                  <a:pt x="863" y="250"/>
                  <a:pt x="951" y="159"/>
                  <a:pt x="1000" y="49"/>
                </a:cubicBezTo>
                <a:cubicBezTo>
                  <a:pt x="1001" y="47"/>
                  <a:pt x="1003" y="46"/>
                  <a:pt x="1006" y="46"/>
                </a:cubicBezTo>
                <a:cubicBezTo>
                  <a:pt x="1006" y="46"/>
                  <a:pt x="1007" y="46"/>
                  <a:pt x="1007" y="46"/>
                </a:cubicBezTo>
                <a:cubicBezTo>
                  <a:pt x="1015" y="47"/>
                  <a:pt x="1024" y="49"/>
                  <a:pt x="1032" y="51"/>
                </a:cubicBezTo>
                <a:cubicBezTo>
                  <a:pt x="1033" y="51"/>
                  <a:pt x="1033" y="51"/>
                  <a:pt x="1034" y="51"/>
                </a:cubicBezTo>
                <a:cubicBezTo>
                  <a:pt x="1170" y="85"/>
                  <a:pt x="1269" y="207"/>
                  <a:pt x="1275" y="347"/>
                </a:cubicBezTo>
                <a:cubicBezTo>
                  <a:pt x="1282" y="522"/>
                  <a:pt x="1146" y="671"/>
                  <a:pt x="970" y="678"/>
                </a:cubicBezTo>
                <a:cubicBezTo>
                  <a:pt x="891" y="681"/>
                  <a:pt x="814" y="655"/>
                  <a:pt x="753" y="604"/>
                </a:cubicBezTo>
                <a:cubicBezTo>
                  <a:pt x="694" y="555"/>
                  <a:pt x="655" y="486"/>
                  <a:pt x="643" y="411"/>
                </a:cubicBezTo>
                <a:cubicBezTo>
                  <a:pt x="608" y="420"/>
                  <a:pt x="572" y="425"/>
                  <a:pt x="535" y="426"/>
                </a:cubicBezTo>
                <a:cubicBezTo>
                  <a:pt x="440" y="430"/>
                  <a:pt x="347" y="409"/>
                  <a:pt x="266" y="366"/>
                </a:cubicBezTo>
                <a:cubicBezTo>
                  <a:pt x="182" y="320"/>
                  <a:pt x="116" y="253"/>
                  <a:pt x="73" y="170"/>
                </a:cubicBezTo>
                <a:cubicBezTo>
                  <a:pt x="71" y="166"/>
                  <a:pt x="69" y="163"/>
                  <a:pt x="68" y="161"/>
                </a:cubicBezTo>
                <a:cubicBezTo>
                  <a:pt x="67" y="159"/>
                  <a:pt x="66" y="157"/>
                  <a:pt x="64" y="155"/>
                </a:cubicBezTo>
                <a:cubicBezTo>
                  <a:pt x="33" y="195"/>
                  <a:pt x="33" y="195"/>
                  <a:pt x="33" y="195"/>
                </a:cubicBezTo>
                <a:cubicBezTo>
                  <a:pt x="32" y="196"/>
                  <a:pt x="29" y="197"/>
                  <a:pt x="27" y="197"/>
                </a:cubicBezTo>
                <a:cubicBezTo>
                  <a:pt x="25" y="196"/>
                  <a:pt x="23" y="194"/>
                  <a:pt x="23" y="192"/>
                </a:cubicBezTo>
                <a:cubicBezTo>
                  <a:pt x="0" y="6"/>
                  <a:pt x="0" y="6"/>
                  <a:pt x="0" y="6"/>
                </a:cubicBezTo>
                <a:cubicBezTo>
                  <a:pt x="0" y="4"/>
                  <a:pt x="1" y="1"/>
                  <a:pt x="3" y="0"/>
                </a:cubicBezTo>
                <a:cubicBezTo>
                  <a:pt x="4" y="0"/>
                  <a:pt x="5" y="0"/>
                  <a:pt x="6" y="0"/>
                </a:cubicBezTo>
                <a:close/>
                <a:moveTo>
                  <a:pt x="133" y="129"/>
                </a:moveTo>
                <a:cubicBezTo>
                  <a:pt x="14" y="21"/>
                  <a:pt x="14" y="21"/>
                  <a:pt x="14" y="21"/>
                </a:cubicBezTo>
                <a:cubicBezTo>
                  <a:pt x="32" y="181"/>
                  <a:pt x="32" y="181"/>
                  <a:pt x="32" y="181"/>
                </a:cubicBezTo>
                <a:cubicBezTo>
                  <a:pt x="61" y="142"/>
                  <a:pt x="61" y="142"/>
                  <a:pt x="61" y="142"/>
                </a:cubicBezTo>
                <a:cubicBezTo>
                  <a:pt x="63" y="140"/>
                  <a:pt x="64" y="138"/>
                  <a:pt x="66" y="139"/>
                </a:cubicBezTo>
                <a:cubicBezTo>
                  <a:pt x="69" y="139"/>
                  <a:pt x="69" y="140"/>
                  <a:pt x="70" y="142"/>
                </a:cubicBezTo>
                <a:cubicBezTo>
                  <a:pt x="72" y="148"/>
                  <a:pt x="79" y="160"/>
                  <a:pt x="82" y="165"/>
                </a:cubicBezTo>
                <a:cubicBezTo>
                  <a:pt x="164" y="327"/>
                  <a:pt x="340" y="423"/>
                  <a:pt x="535" y="414"/>
                </a:cubicBezTo>
                <a:cubicBezTo>
                  <a:pt x="572" y="413"/>
                  <a:pt x="610" y="407"/>
                  <a:pt x="647" y="398"/>
                </a:cubicBezTo>
                <a:cubicBezTo>
                  <a:pt x="648" y="398"/>
                  <a:pt x="650" y="398"/>
                  <a:pt x="651" y="399"/>
                </a:cubicBezTo>
                <a:cubicBezTo>
                  <a:pt x="653" y="400"/>
                  <a:pt x="654" y="401"/>
                  <a:pt x="654" y="403"/>
                </a:cubicBezTo>
                <a:cubicBezTo>
                  <a:pt x="676" y="560"/>
                  <a:pt x="812" y="673"/>
                  <a:pt x="970" y="666"/>
                </a:cubicBezTo>
                <a:cubicBezTo>
                  <a:pt x="1139" y="659"/>
                  <a:pt x="1270" y="516"/>
                  <a:pt x="1263" y="348"/>
                </a:cubicBezTo>
                <a:cubicBezTo>
                  <a:pt x="1257" y="212"/>
                  <a:pt x="1161" y="95"/>
                  <a:pt x="1030" y="63"/>
                </a:cubicBezTo>
                <a:cubicBezTo>
                  <a:pt x="1029" y="63"/>
                  <a:pt x="1029" y="62"/>
                  <a:pt x="1028" y="62"/>
                </a:cubicBezTo>
                <a:cubicBezTo>
                  <a:pt x="1022" y="61"/>
                  <a:pt x="1015" y="59"/>
                  <a:pt x="1009" y="58"/>
                </a:cubicBezTo>
                <a:cubicBezTo>
                  <a:pt x="959" y="169"/>
                  <a:pt x="870" y="260"/>
                  <a:pt x="759" y="317"/>
                </a:cubicBezTo>
                <a:cubicBezTo>
                  <a:pt x="718" y="338"/>
                  <a:pt x="681" y="353"/>
                  <a:pt x="647" y="362"/>
                </a:cubicBezTo>
                <a:cubicBezTo>
                  <a:pt x="646" y="363"/>
                  <a:pt x="645" y="363"/>
                  <a:pt x="644" y="363"/>
                </a:cubicBezTo>
                <a:cubicBezTo>
                  <a:pt x="644" y="363"/>
                  <a:pt x="644" y="363"/>
                  <a:pt x="644" y="363"/>
                </a:cubicBezTo>
                <a:cubicBezTo>
                  <a:pt x="603" y="373"/>
                  <a:pt x="562" y="380"/>
                  <a:pt x="521" y="381"/>
                </a:cubicBezTo>
                <a:cubicBezTo>
                  <a:pt x="429" y="385"/>
                  <a:pt x="340" y="366"/>
                  <a:pt x="263" y="325"/>
                </a:cubicBezTo>
                <a:cubicBezTo>
                  <a:pt x="183" y="283"/>
                  <a:pt x="119" y="218"/>
                  <a:pt x="76" y="139"/>
                </a:cubicBezTo>
                <a:cubicBezTo>
                  <a:pt x="75" y="137"/>
                  <a:pt x="74" y="136"/>
                  <a:pt x="75" y="134"/>
                </a:cubicBezTo>
                <a:cubicBezTo>
                  <a:pt x="76" y="132"/>
                  <a:pt x="79" y="132"/>
                  <a:pt x="82" y="132"/>
                </a:cubicBezTo>
                <a:lnTo>
                  <a:pt x="133" y="129"/>
                </a:lnTo>
                <a:close/>
              </a:path>
            </a:pathLst>
          </a:custGeom>
          <a:solidFill>
            <a:schemeClr val="bg1"/>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21" name="Freeform 22"/>
          <p:cNvSpPr/>
          <p:nvPr/>
        </p:nvSpPr>
        <p:spPr bwMode="auto">
          <a:xfrm>
            <a:off x="4599312" y="2954352"/>
            <a:ext cx="1314481" cy="2485940"/>
          </a:xfrm>
          <a:custGeom>
            <a:avLst/>
            <a:gdLst>
              <a:gd name="T0" fmla="*/ 672 w 672"/>
              <a:gd name="T1" fmla="*/ 0 h 1271"/>
              <a:gd name="T2" fmla="*/ 487 w 672"/>
              <a:gd name="T3" fmla="*/ 23 h 1271"/>
              <a:gd name="T4" fmla="*/ 536 w 672"/>
              <a:gd name="T5" fmla="*/ 62 h 1271"/>
              <a:gd name="T6" fmla="*/ 511 w 672"/>
              <a:gd name="T7" fmla="*/ 73 h 1271"/>
              <a:gd name="T8" fmla="*/ 275 w 672"/>
              <a:gd name="T9" fmla="*/ 643 h 1271"/>
              <a:gd name="T10" fmla="*/ 7 w 672"/>
              <a:gd name="T11" fmla="*/ 965 h 1271"/>
              <a:gd name="T12" fmla="*/ 332 w 672"/>
              <a:gd name="T13" fmla="*/ 1263 h 1271"/>
              <a:gd name="T14" fmla="*/ 622 w 672"/>
              <a:gd name="T15" fmla="*/ 1025 h 1271"/>
              <a:gd name="T16" fmla="*/ 622 w 672"/>
              <a:gd name="T17" fmla="*/ 1025 h 1271"/>
              <a:gd name="T18" fmla="*/ 627 w 672"/>
              <a:gd name="T19" fmla="*/ 1000 h 1271"/>
              <a:gd name="T20" fmla="*/ 627 w 672"/>
              <a:gd name="T21" fmla="*/ 1000 h 1271"/>
              <a:gd name="T22" fmla="*/ 627 w 672"/>
              <a:gd name="T23" fmla="*/ 999 h 1271"/>
              <a:gd name="T24" fmla="*/ 366 w 672"/>
              <a:gd name="T25" fmla="*/ 750 h 1271"/>
              <a:gd name="T26" fmla="*/ 322 w 672"/>
              <a:gd name="T27" fmla="*/ 636 h 1271"/>
              <a:gd name="T28" fmla="*/ 541 w 672"/>
              <a:gd name="T29" fmla="*/ 72 h 1271"/>
              <a:gd name="T30" fmla="*/ 545 w 672"/>
              <a:gd name="T31" fmla="*/ 136 h 1271"/>
              <a:gd name="T32" fmla="*/ 672 w 672"/>
              <a:gd name="T33" fmla="*/ 0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2" h="1271">
                <a:moveTo>
                  <a:pt x="672" y="0"/>
                </a:moveTo>
                <a:cubicBezTo>
                  <a:pt x="487" y="23"/>
                  <a:pt x="487" y="23"/>
                  <a:pt x="487" y="23"/>
                </a:cubicBezTo>
                <a:cubicBezTo>
                  <a:pt x="536" y="62"/>
                  <a:pt x="536" y="62"/>
                  <a:pt x="536" y="62"/>
                </a:cubicBezTo>
                <a:cubicBezTo>
                  <a:pt x="525" y="67"/>
                  <a:pt x="522" y="68"/>
                  <a:pt x="511" y="73"/>
                </a:cubicBezTo>
                <a:cubicBezTo>
                  <a:pt x="309" y="177"/>
                  <a:pt x="217" y="416"/>
                  <a:pt x="275" y="643"/>
                </a:cubicBezTo>
                <a:cubicBezTo>
                  <a:pt x="117" y="665"/>
                  <a:pt x="0" y="803"/>
                  <a:pt x="7" y="965"/>
                </a:cubicBezTo>
                <a:cubicBezTo>
                  <a:pt x="14" y="1137"/>
                  <a:pt x="159" y="1271"/>
                  <a:pt x="332" y="1263"/>
                </a:cubicBezTo>
                <a:cubicBezTo>
                  <a:pt x="474" y="1257"/>
                  <a:pt x="590" y="1157"/>
                  <a:pt x="622" y="1025"/>
                </a:cubicBezTo>
                <a:cubicBezTo>
                  <a:pt x="622" y="1025"/>
                  <a:pt x="622" y="1025"/>
                  <a:pt x="622" y="1025"/>
                </a:cubicBezTo>
                <a:cubicBezTo>
                  <a:pt x="624" y="1017"/>
                  <a:pt x="626" y="1009"/>
                  <a:pt x="627" y="1000"/>
                </a:cubicBezTo>
                <a:cubicBezTo>
                  <a:pt x="627" y="1000"/>
                  <a:pt x="627" y="1000"/>
                  <a:pt x="627" y="1000"/>
                </a:cubicBezTo>
                <a:cubicBezTo>
                  <a:pt x="627" y="999"/>
                  <a:pt x="627" y="999"/>
                  <a:pt x="627" y="999"/>
                </a:cubicBezTo>
                <a:cubicBezTo>
                  <a:pt x="520" y="952"/>
                  <a:pt x="426" y="866"/>
                  <a:pt x="366" y="750"/>
                </a:cubicBezTo>
                <a:cubicBezTo>
                  <a:pt x="331" y="683"/>
                  <a:pt x="322" y="637"/>
                  <a:pt x="322" y="636"/>
                </a:cubicBezTo>
                <a:cubicBezTo>
                  <a:pt x="261" y="412"/>
                  <a:pt x="344" y="180"/>
                  <a:pt x="541" y="72"/>
                </a:cubicBezTo>
                <a:cubicBezTo>
                  <a:pt x="545" y="136"/>
                  <a:pt x="545" y="136"/>
                  <a:pt x="545" y="136"/>
                </a:cubicBezTo>
                <a:cubicBezTo>
                  <a:pt x="672" y="0"/>
                  <a:pt x="672" y="0"/>
                  <a:pt x="672" y="0"/>
                </a:cubicBezTo>
              </a:path>
            </a:pathLst>
          </a:custGeom>
          <a:solidFill>
            <a:schemeClr val="accent4"/>
          </a:solidFill>
          <a:ln>
            <a:noFill/>
          </a:ln>
          <a:extLst>
            <a:ext uri="{91240B29-F687-4F45-9708-019B960494DF}">
              <a14:hiddenLine xmlns:a14="http://schemas.microsoft.com/office/drawing/2010/main" w="9525">
                <a:solidFill>
                  <a:srgbClr val="000000"/>
                </a:solidFill>
                <a:round/>
              </a14:hiddenLine>
            </a:ext>
          </a:extLst>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22" name="Freeform 23"/>
          <p:cNvSpPr>
            <a:spLocks noEditPoints="1"/>
          </p:cNvSpPr>
          <p:nvPr/>
        </p:nvSpPr>
        <p:spPr bwMode="auto">
          <a:xfrm>
            <a:off x="4593525" y="2942778"/>
            <a:ext cx="1331842" cy="2509088"/>
          </a:xfrm>
          <a:custGeom>
            <a:avLst/>
            <a:gdLst>
              <a:gd name="T0" fmla="*/ 681 w 681"/>
              <a:gd name="T1" fmla="*/ 6 h 1283"/>
              <a:gd name="T2" fmla="*/ 680 w 681"/>
              <a:gd name="T3" fmla="*/ 10 h 1283"/>
              <a:gd name="T4" fmla="*/ 552 w 681"/>
              <a:gd name="T5" fmla="*/ 146 h 1283"/>
              <a:gd name="T6" fmla="*/ 546 w 681"/>
              <a:gd name="T7" fmla="*/ 148 h 1283"/>
              <a:gd name="T8" fmla="*/ 542 w 681"/>
              <a:gd name="T9" fmla="*/ 143 h 1283"/>
              <a:gd name="T10" fmla="*/ 539 w 681"/>
              <a:gd name="T11" fmla="*/ 90 h 1283"/>
              <a:gd name="T12" fmla="*/ 312 w 681"/>
              <a:gd name="T13" fmla="*/ 521 h 1283"/>
              <a:gd name="T14" fmla="*/ 330 w 681"/>
              <a:gd name="T15" fmla="*/ 641 h 1283"/>
              <a:gd name="T16" fmla="*/ 331 w 681"/>
              <a:gd name="T17" fmla="*/ 643 h 1283"/>
              <a:gd name="T18" fmla="*/ 331 w 681"/>
              <a:gd name="T19" fmla="*/ 643 h 1283"/>
              <a:gd name="T20" fmla="*/ 331 w 681"/>
              <a:gd name="T21" fmla="*/ 645 h 1283"/>
              <a:gd name="T22" fmla="*/ 331 w 681"/>
              <a:gd name="T23" fmla="*/ 645 h 1283"/>
              <a:gd name="T24" fmla="*/ 331 w 681"/>
              <a:gd name="T25" fmla="*/ 646 h 1283"/>
              <a:gd name="T26" fmla="*/ 375 w 681"/>
              <a:gd name="T27" fmla="*/ 753 h 1283"/>
              <a:gd name="T28" fmla="*/ 632 w 681"/>
              <a:gd name="T29" fmla="*/ 1000 h 1283"/>
              <a:gd name="T30" fmla="*/ 636 w 681"/>
              <a:gd name="T31" fmla="*/ 1006 h 1283"/>
              <a:gd name="T32" fmla="*/ 636 w 681"/>
              <a:gd name="T33" fmla="*/ 1007 h 1283"/>
              <a:gd name="T34" fmla="*/ 631 w 681"/>
              <a:gd name="T35" fmla="*/ 1032 h 1283"/>
              <a:gd name="T36" fmla="*/ 630 w 681"/>
              <a:gd name="T37" fmla="*/ 1034 h 1283"/>
              <a:gd name="T38" fmla="*/ 335 w 681"/>
              <a:gd name="T39" fmla="*/ 1275 h 1283"/>
              <a:gd name="T40" fmla="*/ 4 w 681"/>
              <a:gd name="T41" fmla="*/ 971 h 1283"/>
              <a:gd name="T42" fmla="*/ 78 w 681"/>
              <a:gd name="T43" fmla="*/ 753 h 1283"/>
              <a:gd name="T44" fmla="*/ 270 w 681"/>
              <a:gd name="T45" fmla="*/ 644 h 1283"/>
              <a:gd name="T46" fmla="*/ 255 w 681"/>
              <a:gd name="T47" fmla="*/ 536 h 1283"/>
              <a:gd name="T48" fmla="*/ 315 w 681"/>
              <a:gd name="T49" fmla="*/ 266 h 1283"/>
              <a:gd name="T50" fmla="*/ 510 w 681"/>
              <a:gd name="T51" fmla="*/ 73 h 1283"/>
              <a:gd name="T52" fmla="*/ 520 w 681"/>
              <a:gd name="T53" fmla="*/ 68 h 1283"/>
              <a:gd name="T54" fmla="*/ 525 w 681"/>
              <a:gd name="T55" fmla="*/ 65 h 1283"/>
              <a:gd name="T56" fmla="*/ 486 w 681"/>
              <a:gd name="T57" fmla="*/ 33 h 1283"/>
              <a:gd name="T58" fmla="*/ 484 w 681"/>
              <a:gd name="T59" fmla="*/ 27 h 1283"/>
              <a:gd name="T60" fmla="*/ 489 w 681"/>
              <a:gd name="T61" fmla="*/ 23 h 1283"/>
              <a:gd name="T62" fmla="*/ 674 w 681"/>
              <a:gd name="T63" fmla="*/ 0 h 1283"/>
              <a:gd name="T64" fmla="*/ 680 w 681"/>
              <a:gd name="T65" fmla="*/ 3 h 1283"/>
              <a:gd name="T66" fmla="*/ 681 w 681"/>
              <a:gd name="T67" fmla="*/ 6 h 1283"/>
              <a:gd name="T68" fmla="*/ 551 w 681"/>
              <a:gd name="T69" fmla="*/ 133 h 1283"/>
              <a:gd name="T70" fmla="*/ 659 w 681"/>
              <a:gd name="T71" fmla="*/ 14 h 1283"/>
              <a:gd name="T72" fmla="*/ 500 w 681"/>
              <a:gd name="T73" fmla="*/ 32 h 1283"/>
              <a:gd name="T74" fmla="*/ 539 w 681"/>
              <a:gd name="T75" fmla="*/ 61 h 1283"/>
              <a:gd name="T76" fmla="*/ 542 w 681"/>
              <a:gd name="T77" fmla="*/ 67 h 1283"/>
              <a:gd name="T78" fmla="*/ 539 w 681"/>
              <a:gd name="T79" fmla="*/ 70 h 1283"/>
              <a:gd name="T80" fmla="*/ 516 w 681"/>
              <a:gd name="T81" fmla="*/ 82 h 1283"/>
              <a:gd name="T82" fmla="*/ 267 w 681"/>
              <a:gd name="T83" fmla="*/ 535 h 1283"/>
              <a:gd name="T84" fmla="*/ 283 w 681"/>
              <a:gd name="T85" fmla="*/ 647 h 1283"/>
              <a:gd name="T86" fmla="*/ 283 w 681"/>
              <a:gd name="T87" fmla="*/ 652 h 1283"/>
              <a:gd name="T88" fmla="*/ 278 w 681"/>
              <a:gd name="T89" fmla="*/ 654 h 1283"/>
              <a:gd name="T90" fmla="*/ 16 w 681"/>
              <a:gd name="T91" fmla="*/ 970 h 1283"/>
              <a:gd name="T92" fmla="*/ 334 w 681"/>
              <a:gd name="T93" fmla="*/ 1263 h 1283"/>
              <a:gd name="T94" fmla="*/ 619 w 681"/>
              <a:gd name="T95" fmla="*/ 1030 h 1283"/>
              <a:gd name="T96" fmla="*/ 620 w 681"/>
              <a:gd name="T97" fmla="*/ 1028 h 1283"/>
              <a:gd name="T98" fmla="*/ 623 w 681"/>
              <a:gd name="T99" fmla="*/ 1009 h 1283"/>
              <a:gd name="T100" fmla="*/ 364 w 681"/>
              <a:gd name="T101" fmla="*/ 759 h 1283"/>
              <a:gd name="T102" fmla="*/ 319 w 681"/>
              <a:gd name="T103" fmla="*/ 648 h 1283"/>
              <a:gd name="T104" fmla="*/ 319 w 681"/>
              <a:gd name="T105" fmla="*/ 644 h 1283"/>
              <a:gd name="T106" fmla="*/ 319 w 681"/>
              <a:gd name="T107" fmla="*/ 644 h 1283"/>
              <a:gd name="T108" fmla="*/ 300 w 681"/>
              <a:gd name="T109" fmla="*/ 521 h 1283"/>
              <a:gd name="T110" fmla="*/ 356 w 681"/>
              <a:gd name="T111" fmla="*/ 263 h 1283"/>
              <a:gd name="T112" fmla="*/ 542 w 681"/>
              <a:gd name="T113" fmla="*/ 76 h 1283"/>
              <a:gd name="T114" fmla="*/ 547 w 681"/>
              <a:gd name="T115" fmla="*/ 75 h 1283"/>
              <a:gd name="T116" fmla="*/ 549 w 681"/>
              <a:gd name="T117" fmla="*/ 82 h 1283"/>
              <a:gd name="T118" fmla="*/ 551 w 681"/>
              <a:gd name="T119" fmla="*/ 133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1" h="1283">
                <a:moveTo>
                  <a:pt x="681" y="6"/>
                </a:moveTo>
                <a:cubicBezTo>
                  <a:pt x="681" y="7"/>
                  <a:pt x="681" y="9"/>
                  <a:pt x="680" y="10"/>
                </a:cubicBezTo>
                <a:cubicBezTo>
                  <a:pt x="552" y="146"/>
                  <a:pt x="552" y="146"/>
                  <a:pt x="552" y="146"/>
                </a:cubicBezTo>
                <a:cubicBezTo>
                  <a:pt x="551" y="148"/>
                  <a:pt x="548" y="149"/>
                  <a:pt x="546" y="148"/>
                </a:cubicBezTo>
                <a:cubicBezTo>
                  <a:pt x="543" y="147"/>
                  <a:pt x="542" y="145"/>
                  <a:pt x="542" y="143"/>
                </a:cubicBezTo>
                <a:cubicBezTo>
                  <a:pt x="539" y="90"/>
                  <a:pt x="539" y="90"/>
                  <a:pt x="539" y="90"/>
                </a:cubicBezTo>
                <a:cubicBezTo>
                  <a:pt x="391" y="175"/>
                  <a:pt x="304" y="339"/>
                  <a:pt x="312" y="521"/>
                </a:cubicBezTo>
                <a:cubicBezTo>
                  <a:pt x="313" y="561"/>
                  <a:pt x="320" y="601"/>
                  <a:pt x="330" y="641"/>
                </a:cubicBezTo>
                <a:cubicBezTo>
                  <a:pt x="331" y="642"/>
                  <a:pt x="331" y="642"/>
                  <a:pt x="331" y="643"/>
                </a:cubicBezTo>
                <a:cubicBezTo>
                  <a:pt x="331" y="643"/>
                  <a:pt x="331" y="643"/>
                  <a:pt x="331" y="643"/>
                </a:cubicBezTo>
                <a:cubicBezTo>
                  <a:pt x="331" y="644"/>
                  <a:pt x="331" y="644"/>
                  <a:pt x="331" y="645"/>
                </a:cubicBezTo>
                <a:cubicBezTo>
                  <a:pt x="331" y="645"/>
                  <a:pt x="331" y="645"/>
                  <a:pt x="331" y="645"/>
                </a:cubicBezTo>
                <a:cubicBezTo>
                  <a:pt x="332" y="646"/>
                  <a:pt x="331" y="646"/>
                  <a:pt x="331" y="646"/>
                </a:cubicBezTo>
                <a:cubicBezTo>
                  <a:pt x="340" y="679"/>
                  <a:pt x="355" y="714"/>
                  <a:pt x="375" y="753"/>
                </a:cubicBezTo>
                <a:cubicBezTo>
                  <a:pt x="431" y="864"/>
                  <a:pt x="523" y="951"/>
                  <a:pt x="632" y="1000"/>
                </a:cubicBezTo>
                <a:cubicBezTo>
                  <a:pt x="635" y="1001"/>
                  <a:pt x="636" y="1003"/>
                  <a:pt x="636" y="1006"/>
                </a:cubicBezTo>
                <a:cubicBezTo>
                  <a:pt x="636" y="1006"/>
                  <a:pt x="636" y="1007"/>
                  <a:pt x="636" y="1007"/>
                </a:cubicBezTo>
                <a:cubicBezTo>
                  <a:pt x="635" y="1015"/>
                  <a:pt x="633" y="1024"/>
                  <a:pt x="631" y="1032"/>
                </a:cubicBezTo>
                <a:cubicBezTo>
                  <a:pt x="631" y="1033"/>
                  <a:pt x="631" y="1033"/>
                  <a:pt x="630" y="1034"/>
                </a:cubicBezTo>
                <a:cubicBezTo>
                  <a:pt x="597" y="1170"/>
                  <a:pt x="475" y="1269"/>
                  <a:pt x="335" y="1275"/>
                </a:cubicBezTo>
                <a:cubicBezTo>
                  <a:pt x="160" y="1283"/>
                  <a:pt x="11" y="1146"/>
                  <a:pt x="4" y="971"/>
                </a:cubicBezTo>
                <a:cubicBezTo>
                  <a:pt x="0" y="892"/>
                  <a:pt x="27" y="814"/>
                  <a:pt x="78" y="753"/>
                </a:cubicBezTo>
                <a:cubicBezTo>
                  <a:pt x="127" y="695"/>
                  <a:pt x="195" y="656"/>
                  <a:pt x="270" y="644"/>
                </a:cubicBezTo>
                <a:cubicBezTo>
                  <a:pt x="262" y="608"/>
                  <a:pt x="256" y="572"/>
                  <a:pt x="255" y="536"/>
                </a:cubicBezTo>
                <a:cubicBezTo>
                  <a:pt x="251" y="440"/>
                  <a:pt x="272" y="347"/>
                  <a:pt x="315" y="266"/>
                </a:cubicBezTo>
                <a:cubicBezTo>
                  <a:pt x="360" y="182"/>
                  <a:pt x="428" y="116"/>
                  <a:pt x="510" y="73"/>
                </a:cubicBezTo>
                <a:cubicBezTo>
                  <a:pt x="515" y="71"/>
                  <a:pt x="517" y="69"/>
                  <a:pt x="520" y="68"/>
                </a:cubicBezTo>
                <a:cubicBezTo>
                  <a:pt x="522" y="67"/>
                  <a:pt x="523" y="66"/>
                  <a:pt x="525" y="65"/>
                </a:cubicBezTo>
                <a:cubicBezTo>
                  <a:pt x="486" y="33"/>
                  <a:pt x="486" y="33"/>
                  <a:pt x="486" y="33"/>
                </a:cubicBezTo>
                <a:cubicBezTo>
                  <a:pt x="484" y="32"/>
                  <a:pt x="484" y="29"/>
                  <a:pt x="484" y="27"/>
                </a:cubicBezTo>
                <a:cubicBezTo>
                  <a:pt x="485" y="25"/>
                  <a:pt x="487" y="23"/>
                  <a:pt x="489" y="23"/>
                </a:cubicBezTo>
                <a:cubicBezTo>
                  <a:pt x="674" y="0"/>
                  <a:pt x="674" y="0"/>
                  <a:pt x="674" y="0"/>
                </a:cubicBezTo>
                <a:cubicBezTo>
                  <a:pt x="677" y="0"/>
                  <a:pt x="679" y="1"/>
                  <a:pt x="680" y="3"/>
                </a:cubicBezTo>
                <a:cubicBezTo>
                  <a:pt x="681" y="4"/>
                  <a:pt x="681" y="5"/>
                  <a:pt x="681" y="6"/>
                </a:cubicBezTo>
                <a:close/>
                <a:moveTo>
                  <a:pt x="551" y="133"/>
                </a:moveTo>
                <a:cubicBezTo>
                  <a:pt x="659" y="14"/>
                  <a:pt x="659" y="14"/>
                  <a:pt x="659" y="14"/>
                </a:cubicBezTo>
                <a:cubicBezTo>
                  <a:pt x="500" y="32"/>
                  <a:pt x="500" y="32"/>
                  <a:pt x="500" y="32"/>
                </a:cubicBezTo>
                <a:cubicBezTo>
                  <a:pt x="539" y="61"/>
                  <a:pt x="539" y="61"/>
                  <a:pt x="539" y="61"/>
                </a:cubicBezTo>
                <a:cubicBezTo>
                  <a:pt x="541" y="63"/>
                  <a:pt x="543" y="64"/>
                  <a:pt x="542" y="67"/>
                </a:cubicBezTo>
                <a:cubicBezTo>
                  <a:pt x="542" y="69"/>
                  <a:pt x="541" y="69"/>
                  <a:pt x="539" y="70"/>
                </a:cubicBezTo>
                <a:cubicBezTo>
                  <a:pt x="533" y="72"/>
                  <a:pt x="521" y="79"/>
                  <a:pt x="516" y="82"/>
                </a:cubicBezTo>
                <a:cubicBezTo>
                  <a:pt x="354" y="165"/>
                  <a:pt x="259" y="340"/>
                  <a:pt x="267" y="535"/>
                </a:cubicBezTo>
                <a:cubicBezTo>
                  <a:pt x="268" y="573"/>
                  <a:pt x="274" y="610"/>
                  <a:pt x="283" y="647"/>
                </a:cubicBezTo>
                <a:cubicBezTo>
                  <a:pt x="284" y="649"/>
                  <a:pt x="284" y="650"/>
                  <a:pt x="283" y="652"/>
                </a:cubicBezTo>
                <a:cubicBezTo>
                  <a:pt x="282" y="653"/>
                  <a:pt x="280" y="654"/>
                  <a:pt x="278" y="654"/>
                </a:cubicBezTo>
                <a:cubicBezTo>
                  <a:pt x="122" y="676"/>
                  <a:pt x="9" y="812"/>
                  <a:pt x="16" y="970"/>
                </a:cubicBezTo>
                <a:cubicBezTo>
                  <a:pt x="23" y="1139"/>
                  <a:pt x="166" y="1271"/>
                  <a:pt x="334" y="1263"/>
                </a:cubicBezTo>
                <a:cubicBezTo>
                  <a:pt x="470" y="1258"/>
                  <a:pt x="587" y="1161"/>
                  <a:pt x="619" y="1030"/>
                </a:cubicBezTo>
                <a:cubicBezTo>
                  <a:pt x="619" y="1029"/>
                  <a:pt x="619" y="1029"/>
                  <a:pt x="620" y="1028"/>
                </a:cubicBezTo>
                <a:cubicBezTo>
                  <a:pt x="621" y="1022"/>
                  <a:pt x="622" y="1015"/>
                  <a:pt x="623" y="1009"/>
                </a:cubicBezTo>
                <a:cubicBezTo>
                  <a:pt x="513" y="959"/>
                  <a:pt x="421" y="870"/>
                  <a:pt x="364" y="759"/>
                </a:cubicBezTo>
                <a:cubicBezTo>
                  <a:pt x="343" y="718"/>
                  <a:pt x="328" y="682"/>
                  <a:pt x="319" y="648"/>
                </a:cubicBezTo>
                <a:cubicBezTo>
                  <a:pt x="319" y="647"/>
                  <a:pt x="319" y="645"/>
                  <a:pt x="319" y="644"/>
                </a:cubicBezTo>
                <a:cubicBezTo>
                  <a:pt x="319" y="644"/>
                  <a:pt x="319" y="644"/>
                  <a:pt x="319" y="644"/>
                </a:cubicBezTo>
                <a:cubicBezTo>
                  <a:pt x="308" y="604"/>
                  <a:pt x="302" y="562"/>
                  <a:pt x="300" y="521"/>
                </a:cubicBezTo>
                <a:cubicBezTo>
                  <a:pt x="296" y="430"/>
                  <a:pt x="315" y="340"/>
                  <a:pt x="356" y="263"/>
                </a:cubicBezTo>
                <a:cubicBezTo>
                  <a:pt x="398" y="183"/>
                  <a:pt x="463" y="119"/>
                  <a:pt x="542" y="76"/>
                </a:cubicBezTo>
                <a:cubicBezTo>
                  <a:pt x="544" y="75"/>
                  <a:pt x="545" y="74"/>
                  <a:pt x="547" y="75"/>
                </a:cubicBezTo>
                <a:cubicBezTo>
                  <a:pt x="549" y="76"/>
                  <a:pt x="549" y="80"/>
                  <a:pt x="549" y="82"/>
                </a:cubicBezTo>
                <a:lnTo>
                  <a:pt x="551" y="133"/>
                </a:lnTo>
                <a:close/>
              </a:path>
            </a:pathLst>
          </a:custGeom>
          <a:solidFill>
            <a:schemeClr val="bg1"/>
          </a:solidFill>
          <a:ln>
            <a:noFill/>
          </a:ln>
        </p:spPr>
        <p:txBody>
          <a:bodyPr vert="horz" wrap="square" lIns="91435" tIns="45718" rIns="91435" bIns="45718"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23" name="AutoShape 123"/>
          <p:cNvSpPr>
            <a:spLocks noChangeAspect="1"/>
          </p:cNvSpPr>
          <p:nvPr/>
        </p:nvSpPr>
        <p:spPr bwMode="auto">
          <a:xfrm>
            <a:off x="6017369" y="3431943"/>
            <a:ext cx="384777" cy="42336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6949"/>
                </a:moveTo>
                <a:cubicBezTo>
                  <a:pt x="21599" y="7542"/>
                  <a:pt x="21407" y="8153"/>
                  <a:pt x="21017" y="8781"/>
                </a:cubicBezTo>
                <a:cubicBezTo>
                  <a:pt x="20628" y="9416"/>
                  <a:pt x="20109" y="10015"/>
                  <a:pt x="19458" y="10585"/>
                </a:cubicBezTo>
                <a:cubicBezTo>
                  <a:pt x="18806" y="11152"/>
                  <a:pt x="18040" y="11651"/>
                  <a:pt x="17159" y="12083"/>
                </a:cubicBezTo>
                <a:cubicBezTo>
                  <a:pt x="16275" y="12512"/>
                  <a:pt x="15327" y="12820"/>
                  <a:pt x="14315" y="12996"/>
                </a:cubicBezTo>
                <a:cubicBezTo>
                  <a:pt x="13880" y="13090"/>
                  <a:pt x="13492" y="13284"/>
                  <a:pt x="13151" y="13578"/>
                </a:cubicBezTo>
                <a:cubicBezTo>
                  <a:pt x="12809" y="13872"/>
                  <a:pt x="12641" y="14204"/>
                  <a:pt x="12641" y="14571"/>
                </a:cubicBezTo>
                <a:cubicBezTo>
                  <a:pt x="12641" y="14900"/>
                  <a:pt x="12713" y="15140"/>
                  <a:pt x="12865" y="15293"/>
                </a:cubicBezTo>
                <a:cubicBezTo>
                  <a:pt x="13015" y="15449"/>
                  <a:pt x="13177" y="15596"/>
                  <a:pt x="13364" y="15728"/>
                </a:cubicBezTo>
                <a:cubicBezTo>
                  <a:pt x="13546" y="15866"/>
                  <a:pt x="13717" y="16010"/>
                  <a:pt x="13874" y="16169"/>
                </a:cubicBezTo>
                <a:cubicBezTo>
                  <a:pt x="14032" y="16330"/>
                  <a:pt x="14125" y="16574"/>
                  <a:pt x="14160" y="16903"/>
                </a:cubicBezTo>
                <a:cubicBezTo>
                  <a:pt x="14195" y="17117"/>
                  <a:pt x="14187" y="17340"/>
                  <a:pt x="14133" y="17564"/>
                </a:cubicBezTo>
                <a:cubicBezTo>
                  <a:pt x="14099" y="17696"/>
                  <a:pt x="14200" y="17805"/>
                  <a:pt x="14432" y="17893"/>
                </a:cubicBezTo>
                <a:cubicBezTo>
                  <a:pt x="14667" y="17981"/>
                  <a:pt x="14956" y="18069"/>
                  <a:pt x="15295" y="18154"/>
                </a:cubicBezTo>
                <a:cubicBezTo>
                  <a:pt x="15637" y="18236"/>
                  <a:pt x="15987" y="18342"/>
                  <a:pt x="16344" y="18468"/>
                </a:cubicBezTo>
                <a:cubicBezTo>
                  <a:pt x="16705" y="18595"/>
                  <a:pt x="16975" y="18756"/>
                  <a:pt x="17164" y="18953"/>
                </a:cubicBezTo>
                <a:cubicBezTo>
                  <a:pt x="17266" y="19050"/>
                  <a:pt x="17351" y="19232"/>
                  <a:pt x="17415" y="19511"/>
                </a:cubicBezTo>
                <a:cubicBezTo>
                  <a:pt x="17477" y="19790"/>
                  <a:pt x="17519" y="20090"/>
                  <a:pt x="17535" y="20416"/>
                </a:cubicBezTo>
                <a:cubicBezTo>
                  <a:pt x="17554" y="20727"/>
                  <a:pt x="17527" y="21000"/>
                  <a:pt x="17463" y="21241"/>
                </a:cubicBezTo>
                <a:cubicBezTo>
                  <a:pt x="17394" y="21479"/>
                  <a:pt x="17268" y="21599"/>
                  <a:pt x="17089" y="21599"/>
                </a:cubicBezTo>
                <a:lnTo>
                  <a:pt x="4496" y="21599"/>
                </a:lnTo>
                <a:cubicBezTo>
                  <a:pt x="4328" y="21599"/>
                  <a:pt x="4205" y="21479"/>
                  <a:pt x="4130" y="21241"/>
                </a:cubicBezTo>
                <a:cubicBezTo>
                  <a:pt x="4061" y="21000"/>
                  <a:pt x="4032" y="20727"/>
                  <a:pt x="4048" y="20416"/>
                </a:cubicBezTo>
                <a:cubicBezTo>
                  <a:pt x="4066" y="20090"/>
                  <a:pt x="4109" y="19790"/>
                  <a:pt x="4170" y="19511"/>
                </a:cubicBezTo>
                <a:cubicBezTo>
                  <a:pt x="4235" y="19232"/>
                  <a:pt x="4317" y="19050"/>
                  <a:pt x="4421" y="18953"/>
                </a:cubicBezTo>
                <a:cubicBezTo>
                  <a:pt x="4616" y="18768"/>
                  <a:pt x="4889" y="18606"/>
                  <a:pt x="5239" y="18474"/>
                </a:cubicBezTo>
                <a:cubicBezTo>
                  <a:pt x="5588" y="18345"/>
                  <a:pt x="5933" y="18236"/>
                  <a:pt x="6269" y="18154"/>
                </a:cubicBezTo>
                <a:cubicBezTo>
                  <a:pt x="6606" y="18069"/>
                  <a:pt x="6897" y="17984"/>
                  <a:pt x="7145" y="17901"/>
                </a:cubicBezTo>
                <a:cubicBezTo>
                  <a:pt x="7394" y="17816"/>
                  <a:pt x="7498" y="17705"/>
                  <a:pt x="7463" y="17564"/>
                </a:cubicBezTo>
                <a:cubicBezTo>
                  <a:pt x="7428" y="17432"/>
                  <a:pt x="7412" y="17311"/>
                  <a:pt x="7412" y="17205"/>
                </a:cubicBezTo>
                <a:lnTo>
                  <a:pt x="7412" y="16903"/>
                </a:lnTo>
                <a:cubicBezTo>
                  <a:pt x="7428" y="16574"/>
                  <a:pt x="7519" y="16330"/>
                  <a:pt x="7687" y="16169"/>
                </a:cubicBezTo>
                <a:cubicBezTo>
                  <a:pt x="7853" y="16010"/>
                  <a:pt x="8034" y="15866"/>
                  <a:pt x="8224" y="15728"/>
                </a:cubicBezTo>
                <a:cubicBezTo>
                  <a:pt x="8416" y="15593"/>
                  <a:pt x="8584" y="15446"/>
                  <a:pt x="8729" y="15293"/>
                </a:cubicBezTo>
                <a:cubicBezTo>
                  <a:pt x="8873" y="15140"/>
                  <a:pt x="8945" y="14900"/>
                  <a:pt x="8945" y="14571"/>
                </a:cubicBezTo>
                <a:cubicBezTo>
                  <a:pt x="8945" y="14204"/>
                  <a:pt x="8777" y="13875"/>
                  <a:pt x="8440" y="13578"/>
                </a:cubicBezTo>
                <a:cubicBezTo>
                  <a:pt x="8104" y="13281"/>
                  <a:pt x="7706" y="13090"/>
                  <a:pt x="7247" y="12996"/>
                </a:cubicBezTo>
                <a:cubicBezTo>
                  <a:pt x="6251" y="12811"/>
                  <a:pt x="5311" y="12497"/>
                  <a:pt x="4435" y="12062"/>
                </a:cubicBezTo>
                <a:cubicBezTo>
                  <a:pt x="3554" y="11628"/>
                  <a:pt x="2790" y="11128"/>
                  <a:pt x="2133" y="10570"/>
                </a:cubicBezTo>
                <a:cubicBezTo>
                  <a:pt x="1479" y="10012"/>
                  <a:pt x="958" y="9416"/>
                  <a:pt x="574" y="8781"/>
                </a:cubicBezTo>
                <a:cubicBezTo>
                  <a:pt x="189" y="8153"/>
                  <a:pt x="0" y="7542"/>
                  <a:pt x="0" y="6949"/>
                </a:cubicBezTo>
                <a:lnTo>
                  <a:pt x="0" y="4320"/>
                </a:lnTo>
                <a:cubicBezTo>
                  <a:pt x="0" y="4009"/>
                  <a:pt x="93" y="3756"/>
                  <a:pt x="285" y="3553"/>
                </a:cubicBezTo>
                <a:cubicBezTo>
                  <a:pt x="475" y="3354"/>
                  <a:pt x="712" y="3254"/>
                  <a:pt x="998" y="3254"/>
                </a:cubicBezTo>
                <a:lnTo>
                  <a:pt x="5124" y="3254"/>
                </a:lnTo>
                <a:cubicBezTo>
                  <a:pt x="5108" y="3139"/>
                  <a:pt x="5097" y="3025"/>
                  <a:pt x="5097" y="2901"/>
                </a:cubicBezTo>
                <a:lnTo>
                  <a:pt x="5097" y="2564"/>
                </a:lnTo>
                <a:lnTo>
                  <a:pt x="5097" y="2505"/>
                </a:lnTo>
                <a:cubicBezTo>
                  <a:pt x="5097" y="2005"/>
                  <a:pt x="5118" y="1594"/>
                  <a:pt x="5156" y="1265"/>
                </a:cubicBezTo>
                <a:cubicBezTo>
                  <a:pt x="5193" y="939"/>
                  <a:pt x="5260" y="684"/>
                  <a:pt x="5353" y="499"/>
                </a:cubicBezTo>
                <a:cubicBezTo>
                  <a:pt x="5444" y="320"/>
                  <a:pt x="5580" y="187"/>
                  <a:pt x="5754" y="111"/>
                </a:cubicBezTo>
                <a:cubicBezTo>
                  <a:pt x="5928" y="38"/>
                  <a:pt x="6165" y="0"/>
                  <a:pt x="6464" y="0"/>
                </a:cubicBezTo>
                <a:lnTo>
                  <a:pt x="15132" y="0"/>
                </a:lnTo>
                <a:cubicBezTo>
                  <a:pt x="15410" y="0"/>
                  <a:pt x="15645" y="38"/>
                  <a:pt x="15829" y="111"/>
                </a:cubicBezTo>
                <a:cubicBezTo>
                  <a:pt x="16011" y="187"/>
                  <a:pt x="16149" y="320"/>
                  <a:pt x="16243" y="499"/>
                </a:cubicBezTo>
                <a:cubicBezTo>
                  <a:pt x="16336" y="684"/>
                  <a:pt x="16403" y="939"/>
                  <a:pt x="16435" y="1265"/>
                </a:cubicBezTo>
                <a:cubicBezTo>
                  <a:pt x="16470" y="1594"/>
                  <a:pt x="16486" y="2006"/>
                  <a:pt x="16486" y="2505"/>
                </a:cubicBezTo>
                <a:lnTo>
                  <a:pt x="16486" y="2863"/>
                </a:lnTo>
                <a:cubicBezTo>
                  <a:pt x="16486" y="2989"/>
                  <a:pt x="16478" y="3119"/>
                  <a:pt x="16459" y="3251"/>
                </a:cubicBezTo>
                <a:lnTo>
                  <a:pt x="20603" y="3251"/>
                </a:lnTo>
                <a:cubicBezTo>
                  <a:pt x="20884" y="3251"/>
                  <a:pt x="21119" y="3351"/>
                  <a:pt x="21314" y="3550"/>
                </a:cubicBezTo>
                <a:cubicBezTo>
                  <a:pt x="21503" y="3753"/>
                  <a:pt x="21599" y="4006"/>
                  <a:pt x="21599" y="4317"/>
                </a:cubicBezTo>
                <a:lnTo>
                  <a:pt x="21599" y="6949"/>
                </a:lnTo>
                <a:close/>
                <a:moveTo>
                  <a:pt x="6283" y="10550"/>
                </a:moveTo>
                <a:cubicBezTo>
                  <a:pt x="6072" y="9798"/>
                  <a:pt x="5882" y="8978"/>
                  <a:pt x="5714" y="8082"/>
                </a:cubicBezTo>
                <a:cubicBezTo>
                  <a:pt x="5548" y="7189"/>
                  <a:pt x="5407" y="6299"/>
                  <a:pt x="5287" y="5415"/>
                </a:cubicBezTo>
                <a:lnTo>
                  <a:pt x="1962" y="5415"/>
                </a:lnTo>
                <a:lnTo>
                  <a:pt x="1962" y="6949"/>
                </a:lnTo>
                <a:cubicBezTo>
                  <a:pt x="1962" y="7137"/>
                  <a:pt x="2064" y="7389"/>
                  <a:pt x="2264" y="7709"/>
                </a:cubicBezTo>
                <a:cubicBezTo>
                  <a:pt x="2462" y="8029"/>
                  <a:pt x="2753" y="8358"/>
                  <a:pt x="3126" y="8699"/>
                </a:cubicBezTo>
                <a:cubicBezTo>
                  <a:pt x="3500" y="9040"/>
                  <a:pt x="3954" y="9381"/>
                  <a:pt x="4488" y="9707"/>
                </a:cubicBezTo>
                <a:cubicBezTo>
                  <a:pt x="5022" y="10033"/>
                  <a:pt x="5618" y="10315"/>
                  <a:pt x="6283" y="10550"/>
                </a:cubicBezTo>
                <a:moveTo>
                  <a:pt x="19629" y="5415"/>
                </a:moveTo>
                <a:lnTo>
                  <a:pt x="16280" y="5415"/>
                </a:lnTo>
                <a:cubicBezTo>
                  <a:pt x="16179" y="6299"/>
                  <a:pt x="16043" y="7189"/>
                  <a:pt x="15877" y="8082"/>
                </a:cubicBezTo>
                <a:cubicBezTo>
                  <a:pt x="15712" y="8978"/>
                  <a:pt x="15522" y="9798"/>
                  <a:pt x="15308" y="10550"/>
                </a:cubicBezTo>
                <a:cubicBezTo>
                  <a:pt x="15973" y="10315"/>
                  <a:pt x="16574" y="10033"/>
                  <a:pt x="17105" y="9707"/>
                </a:cubicBezTo>
                <a:cubicBezTo>
                  <a:pt x="17637" y="9381"/>
                  <a:pt x="18091" y="9040"/>
                  <a:pt x="18467" y="8699"/>
                </a:cubicBezTo>
                <a:cubicBezTo>
                  <a:pt x="18844" y="8358"/>
                  <a:pt x="19130" y="8029"/>
                  <a:pt x="19330" y="7709"/>
                </a:cubicBezTo>
                <a:cubicBezTo>
                  <a:pt x="19530" y="7389"/>
                  <a:pt x="19629" y="7137"/>
                  <a:pt x="19629" y="6949"/>
                </a:cubicBezTo>
                <a:lnTo>
                  <a:pt x="19629" y="5415"/>
                </a:lnTo>
                <a:close/>
              </a:path>
            </a:pathLst>
          </a:custGeom>
          <a:solidFill>
            <a:schemeClr val="bg1"/>
          </a:solidFill>
          <a:ln>
            <a:noFill/>
          </a:ln>
          <a:effectLst/>
        </p:spPr>
        <p:txBody>
          <a:bodyPr lIns="50787" tIns="50787" rIns="50787" bIns="50787"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s-ES" sz="3600" b="0" i="0" u="none" strike="noStrike" kern="1200" cap="none" spc="0" normalizeH="0" baseline="0" noProof="0" dirty="0">
              <a:ln>
                <a:noFill/>
              </a:ln>
              <a:solidFill>
                <a:prstClr val="white"/>
              </a:solidFill>
              <a:effectLst>
                <a:outerShdw blurRad="38100" dist="38100" dir="2700000" algn="tl">
                  <a:srgbClr val="000000"/>
                </a:outerShdw>
              </a:effectLst>
              <a:uLnTx/>
              <a:uFillTx/>
              <a:latin typeface="华文楷体" panose="02010600040101010101" charset="-122"/>
              <a:ea typeface="华文楷体" panose="02010600040101010101" charset="-122"/>
              <a:cs typeface="Gill Sans" charset="0"/>
              <a:sym typeface="Gill Sans" charset="0"/>
            </a:endParaRPr>
          </a:p>
        </p:txBody>
      </p:sp>
      <p:sp>
        <p:nvSpPr>
          <p:cNvPr id="24" name="TextBox 30"/>
          <p:cNvSpPr txBox="1"/>
          <p:nvPr/>
        </p:nvSpPr>
        <p:spPr>
          <a:xfrm>
            <a:off x="5860948" y="3872311"/>
            <a:ext cx="768159" cy="30764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rPr>
              <a:t>S-SDLC</a:t>
            </a:r>
            <a:endParaRPr kumimoji="0" lang="en-US" sz="1400" b="1"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sp>
        <p:nvSpPr>
          <p:cNvPr id="25" name="Freeform 237"/>
          <p:cNvSpPr>
            <a:spLocks noChangeAspect="1" noChangeArrowheads="1"/>
          </p:cNvSpPr>
          <p:nvPr/>
        </p:nvSpPr>
        <p:spPr bwMode="auto">
          <a:xfrm>
            <a:off x="4936156" y="2439971"/>
            <a:ext cx="426094" cy="313017"/>
          </a:xfrm>
          <a:custGeom>
            <a:avLst/>
            <a:gdLst>
              <a:gd name="T0" fmla="*/ 586 w 1347"/>
              <a:gd name="T1" fmla="*/ 602 h 987"/>
              <a:gd name="T2" fmla="*/ 502 w 1347"/>
              <a:gd name="T3" fmla="*/ 535 h 987"/>
              <a:gd name="T4" fmla="*/ 42 w 1347"/>
              <a:gd name="T5" fmla="*/ 117 h 987"/>
              <a:gd name="T6" fmla="*/ 17 w 1347"/>
              <a:gd name="T7" fmla="*/ 33 h 987"/>
              <a:gd name="T8" fmla="*/ 92 w 1347"/>
              <a:gd name="T9" fmla="*/ 0 h 987"/>
              <a:gd name="T10" fmla="*/ 1255 w 1347"/>
              <a:gd name="T11" fmla="*/ 0 h 987"/>
              <a:gd name="T12" fmla="*/ 1330 w 1347"/>
              <a:gd name="T13" fmla="*/ 41 h 987"/>
              <a:gd name="T14" fmla="*/ 1305 w 1347"/>
              <a:gd name="T15" fmla="*/ 125 h 987"/>
              <a:gd name="T16" fmla="*/ 803 w 1347"/>
              <a:gd name="T17" fmla="*/ 576 h 987"/>
              <a:gd name="T18" fmla="*/ 586 w 1347"/>
              <a:gd name="T19" fmla="*/ 602 h 987"/>
              <a:gd name="T20" fmla="*/ 92 w 1347"/>
              <a:gd name="T21" fmla="*/ 986 h 987"/>
              <a:gd name="T22" fmla="*/ 0 w 1347"/>
              <a:gd name="T23" fmla="*/ 894 h 987"/>
              <a:gd name="T24" fmla="*/ 0 w 1347"/>
              <a:gd name="T25" fmla="*/ 225 h 987"/>
              <a:gd name="T26" fmla="*/ 42 w 1347"/>
              <a:gd name="T27" fmla="*/ 217 h 987"/>
              <a:gd name="T28" fmla="*/ 234 w 1347"/>
              <a:gd name="T29" fmla="*/ 409 h 987"/>
              <a:gd name="T30" fmla="*/ 251 w 1347"/>
              <a:gd name="T31" fmla="*/ 493 h 987"/>
              <a:gd name="T32" fmla="*/ 109 w 1347"/>
              <a:gd name="T33" fmla="*/ 827 h 987"/>
              <a:gd name="T34" fmla="*/ 126 w 1347"/>
              <a:gd name="T35" fmla="*/ 827 h 987"/>
              <a:gd name="T36" fmla="*/ 318 w 1347"/>
              <a:gd name="T37" fmla="*/ 576 h 987"/>
              <a:gd name="T38" fmla="*/ 393 w 1347"/>
              <a:gd name="T39" fmla="*/ 568 h 987"/>
              <a:gd name="T40" fmla="*/ 477 w 1347"/>
              <a:gd name="T41" fmla="*/ 643 h 987"/>
              <a:gd name="T42" fmla="*/ 569 w 1347"/>
              <a:gd name="T43" fmla="*/ 694 h 987"/>
              <a:gd name="T44" fmla="*/ 820 w 1347"/>
              <a:gd name="T45" fmla="*/ 677 h 987"/>
              <a:gd name="T46" fmla="*/ 945 w 1347"/>
              <a:gd name="T47" fmla="*/ 568 h 987"/>
              <a:gd name="T48" fmla="*/ 1020 w 1347"/>
              <a:gd name="T49" fmla="*/ 576 h 987"/>
              <a:gd name="T50" fmla="*/ 1229 w 1347"/>
              <a:gd name="T51" fmla="*/ 853 h 987"/>
              <a:gd name="T52" fmla="*/ 1238 w 1347"/>
              <a:gd name="T53" fmla="*/ 844 h 987"/>
              <a:gd name="T54" fmla="*/ 1096 w 1347"/>
              <a:gd name="T55" fmla="*/ 493 h 987"/>
              <a:gd name="T56" fmla="*/ 1112 w 1347"/>
              <a:gd name="T57" fmla="*/ 409 h 987"/>
              <a:gd name="T58" fmla="*/ 1313 w 1347"/>
              <a:gd name="T59" fmla="*/ 217 h 987"/>
              <a:gd name="T60" fmla="*/ 1346 w 1347"/>
              <a:gd name="T61" fmla="*/ 225 h 987"/>
              <a:gd name="T62" fmla="*/ 1346 w 1347"/>
              <a:gd name="T63" fmla="*/ 903 h 987"/>
              <a:gd name="T64" fmla="*/ 1246 w 1347"/>
              <a:gd name="T65" fmla="*/ 986 h 987"/>
              <a:gd name="T66" fmla="*/ 92 w 1347"/>
              <a:gd name="T67" fmla="*/ 986 h 987"/>
              <a:gd name="T68" fmla="*/ 92 w 1347"/>
              <a:gd name="T69" fmla="*/ 986 h 987"/>
              <a:gd name="T70" fmla="*/ 92 w 1347"/>
              <a:gd name="T71" fmla="*/ 98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47" h="987">
                <a:moveTo>
                  <a:pt x="586" y="602"/>
                </a:moveTo>
                <a:cubicBezTo>
                  <a:pt x="561" y="585"/>
                  <a:pt x="519" y="560"/>
                  <a:pt x="502" y="535"/>
                </a:cubicBezTo>
                <a:cubicBezTo>
                  <a:pt x="42" y="117"/>
                  <a:pt x="42" y="117"/>
                  <a:pt x="42" y="117"/>
                </a:cubicBezTo>
                <a:cubicBezTo>
                  <a:pt x="26" y="100"/>
                  <a:pt x="9" y="58"/>
                  <a:pt x="17" y="33"/>
                </a:cubicBezTo>
                <a:cubicBezTo>
                  <a:pt x="34" y="17"/>
                  <a:pt x="51" y="0"/>
                  <a:pt x="92" y="0"/>
                </a:cubicBezTo>
                <a:cubicBezTo>
                  <a:pt x="1255" y="0"/>
                  <a:pt x="1255" y="0"/>
                  <a:pt x="1255" y="0"/>
                </a:cubicBezTo>
                <a:cubicBezTo>
                  <a:pt x="1255" y="0"/>
                  <a:pt x="1305" y="0"/>
                  <a:pt x="1330" y="41"/>
                </a:cubicBezTo>
                <a:cubicBezTo>
                  <a:pt x="1346" y="67"/>
                  <a:pt x="1330" y="108"/>
                  <a:pt x="1305" y="125"/>
                </a:cubicBezTo>
                <a:cubicBezTo>
                  <a:pt x="803" y="576"/>
                  <a:pt x="803" y="576"/>
                  <a:pt x="803" y="576"/>
                </a:cubicBezTo>
                <a:cubicBezTo>
                  <a:pt x="803" y="576"/>
                  <a:pt x="711" y="652"/>
                  <a:pt x="586" y="602"/>
                </a:cubicBezTo>
                <a:close/>
                <a:moveTo>
                  <a:pt x="92" y="986"/>
                </a:moveTo>
                <a:cubicBezTo>
                  <a:pt x="92" y="986"/>
                  <a:pt x="0" y="978"/>
                  <a:pt x="0" y="894"/>
                </a:cubicBezTo>
                <a:cubicBezTo>
                  <a:pt x="0" y="225"/>
                  <a:pt x="0" y="225"/>
                  <a:pt x="0" y="225"/>
                </a:cubicBezTo>
                <a:cubicBezTo>
                  <a:pt x="0" y="200"/>
                  <a:pt x="17" y="192"/>
                  <a:pt x="42" y="217"/>
                </a:cubicBezTo>
                <a:cubicBezTo>
                  <a:pt x="234" y="409"/>
                  <a:pt x="234" y="409"/>
                  <a:pt x="234" y="409"/>
                </a:cubicBezTo>
                <a:cubicBezTo>
                  <a:pt x="260" y="426"/>
                  <a:pt x="268" y="468"/>
                  <a:pt x="251" y="493"/>
                </a:cubicBezTo>
                <a:cubicBezTo>
                  <a:pt x="109" y="827"/>
                  <a:pt x="109" y="827"/>
                  <a:pt x="109" y="827"/>
                </a:cubicBezTo>
                <a:cubicBezTo>
                  <a:pt x="101" y="853"/>
                  <a:pt x="109" y="853"/>
                  <a:pt x="126" y="827"/>
                </a:cubicBezTo>
                <a:cubicBezTo>
                  <a:pt x="318" y="576"/>
                  <a:pt x="318" y="576"/>
                  <a:pt x="318" y="576"/>
                </a:cubicBezTo>
                <a:cubicBezTo>
                  <a:pt x="343" y="552"/>
                  <a:pt x="368" y="552"/>
                  <a:pt x="393" y="568"/>
                </a:cubicBezTo>
                <a:cubicBezTo>
                  <a:pt x="477" y="643"/>
                  <a:pt x="477" y="643"/>
                  <a:pt x="477" y="643"/>
                </a:cubicBezTo>
                <a:cubicBezTo>
                  <a:pt x="502" y="660"/>
                  <a:pt x="544" y="685"/>
                  <a:pt x="569" y="694"/>
                </a:cubicBezTo>
                <a:cubicBezTo>
                  <a:pt x="636" y="710"/>
                  <a:pt x="744" y="735"/>
                  <a:pt x="820" y="677"/>
                </a:cubicBezTo>
                <a:cubicBezTo>
                  <a:pt x="945" y="568"/>
                  <a:pt x="945" y="568"/>
                  <a:pt x="945" y="568"/>
                </a:cubicBezTo>
                <a:cubicBezTo>
                  <a:pt x="970" y="552"/>
                  <a:pt x="1004" y="552"/>
                  <a:pt x="1020" y="576"/>
                </a:cubicBezTo>
                <a:cubicBezTo>
                  <a:pt x="1229" y="853"/>
                  <a:pt x="1229" y="853"/>
                  <a:pt x="1229" y="853"/>
                </a:cubicBezTo>
                <a:cubicBezTo>
                  <a:pt x="1246" y="877"/>
                  <a:pt x="1246" y="869"/>
                  <a:pt x="1238" y="844"/>
                </a:cubicBezTo>
                <a:cubicBezTo>
                  <a:pt x="1096" y="493"/>
                  <a:pt x="1096" y="493"/>
                  <a:pt x="1096" y="493"/>
                </a:cubicBezTo>
                <a:cubicBezTo>
                  <a:pt x="1079" y="468"/>
                  <a:pt x="1087" y="434"/>
                  <a:pt x="1112" y="409"/>
                </a:cubicBezTo>
                <a:cubicBezTo>
                  <a:pt x="1313" y="217"/>
                  <a:pt x="1313" y="217"/>
                  <a:pt x="1313" y="217"/>
                </a:cubicBezTo>
                <a:cubicBezTo>
                  <a:pt x="1330" y="192"/>
                  <a:pt x="1346" y="200"/>
                  <a:pt x="1346" y="225"/>
                </a:cubicBezTo>
                <a:cubicBezTo>
                  <a:pt x="1346" y="903"/>
                  <a:pt x="1346" y="903"/>
                  <a:pt x="1346" y="903"/>
                </a:cubicBezTo>
                <a:cubicBezTo>
                  <a:pt x="1346" y="903"/>
                  <a:pt x="1338" y="986"/>
                  <a:pt x="1246" y="986"/>
                </a:cubicBezTo>
                <a:cubicBezTo>
                  <a:pt x="92" y="986"/>
                  <a:pt x="92" y="986"/>
                  <a:pt x="92" y="986"/>
                </a:cubicBezTo>
                <a:close/>
                <a:moveTo>
                  <a:pt x="92" y="986"/>
                </a:moveTo>
                <a:lnTo>
                  <a:pt x="92" y="986"/>
                </a:lnTo>
                <a:close/>
              </a:path>
            </a:pathLst>
          </a:custGeom>
          <a:solidFill>
            <a:schemeClr val="bg1"/>
          </a:solidFill>
          <a:ln>
            <a:noFill/>
          </a:ln>
          <a:effectLst/>
        </p:spPr>
        <p:txBody>
          <a:bodyPr wrap="none" lIns="121886" tIns="60942" rIns="121886" bIns="60942"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sp>
        <p:nvSpPr>
          <p:cNvPr id="26" name="Freeform 290"/>
          <p:cNvSpPr>
            <a:spLocks noChangeAspect="1" noChangeArrowheads="1"/>
          </p:cNvSpPr>
          <p:nvPr/>
        </p:nvSpPr>
        <p:spPr bwMode="auto">
          <a:xfrm>
            <a:off x="7121077" y="2444968"/>
            <a:ext cx="506501" cy="392304"/>
          </a:xfrm>
          <a:custGeom>
            <a:avLst/>
            <a:gdLst>
              <a:gd name="T0" fmla="*/ 995 w 996"/>
              <a:gd name="T1" fmla="*/ 409 h 770"/>
              <a:gd name="T2" fmla="*/ 836 w 996"/>
              <a:gd name="T3" fmla="*/ 409 h 770"/>
              <a:gd name="T4" fmla="*/ 543 w 996"/>
              <a:gd name="T5" fmla="*/ 192 h 770"/>
              <a:gd name="T6" fmla="*/ 384 w 996"/>
              <a:gd name="T7" fmla="*/ 275 h 770"/>
              <a:gd name="T8" fmla="*/ 360 w 996"/>
              <a:gd name="T9" fmla="*/ 158 h 770"/>
              <a:gd name="T10" fmla="*/ 702 w 996"/>
              <a:gd name="T11" fmla="*/ 33 h 770"/>
              <a:gd name="T12" fmla="*/ 836 w 996"/>
              <a:gd name="T13" fmla="*/ 133 h 770"/>
              <a:gd name="T14" fmla="*/ 334 w 996"/>
              <a:gd name="T15" fmla="*/ 626 h 770"/>
              <a:gd name="T16" fmla="*/ 276 w 996"/>
              <a:gd name="T17" fmla="*/ 551 h 770"/>
              <a:gd name="T18" fmla="*/ 209 w 996"/>
              <a:gd name="T19" fmla="*/ 484 h 770"/>
              <a:gd name="T20" fmla="*/ 109 w 996"/>
              <a:gd name="T21" fmla="*/ 434 h 770"/>
              <a:gd name="T22" fmla="*/ 159 w 996"/>
              <a:gd name="T23" fmla="*/ 535 h 770"/>
              <a:gd name="T24" fmla="*/ 226 w 996"/>
              <a:gd name="T25" fmla="*/ 602 h 770"/>
              <a:gd name="T26" fmla="*/ 293 w 996"/>
              <a:gd name="T27" fmla="*/ 668 h 770"/>
              <a:gd name="T28" fmla="*/ 393 w 996"/>
              <a:gd name="T29" fmla="*/ 727 h 770"/>
              <a:gd name="T30" fmla="*/ 334 w 996"/>
              <a:gd name="T31" fmla="*/ 626 h 770"/>
              <a:gd name="T32" fmla="*/ 594 w 996"/>
              <a:gd name="T33" fmla="*/ 267 h 770"/>
              <a:gd name="T34" fmla="*/ 443 w 996"/>
              <a:gd name="T35" fmla="*/ 301 h 770"/>
              <a:gd name="T36" fmla="*/ 284 w 996"/>
              <a:gd name="T37" fmla="*/ 217 h 770"/>
              <a:gd name="T38" fmla="*/ 460 w 996"/>
              <a:gd name="T39" fmla="*/ 50 h 770"/>
              <a:gd name="T40" fmla="*/ 184 w 996"/>
              <a:gd name="T41" fmla="*/ 100 h 770"/>
              <a:gd name="T42" fmla="*/ 0 w 996"/>
              <a:gd name="T43" fmla="*/ 66 h 770"/>
              <a:gd name="T44" fmla="*/ 50 w 996"/>
              <a:gd name="T45" fmla="*/ 443 h 770"/>
              <a:gd name="T46" fmla="*/ 234 w 996"/>
              <a:gd name="T47" fmla="*/ 392 h 770"/>
              <a:gd name="T48" fmla="*/ 293 w 996"/>
              <a:gd name="T49" fmla="*/ 468 h 770"/>
              <a:gd name="T50" fmla="*/ 360 w 996"/>
              <a:gd name="T51" fmla="*/ 535 h 770"/>
              <a:gd name="T52" fmla="*/ 426 w 996"/>
              <a:gd name="T53" fmla="*/ 610 h 770"/>
              <a:gd name="T54" fmla="*/ 477 w 996"/>
              <a:gd name="T55" fmla="*/ 727 h 770"/>
              <a:gd name="T56" fmla="*/ 543 w 996"/>
              <a:gd name="T57" fmla="*/ 660 h 770"/>
              <a:gd name="T58" fmla="*/ 485 w 996"/>
              <a:gd name="T59" fmla="*/ 585 h 770"/>
              <a:gd name="T60" fmla="*/ 569 w 996"/>
              <a:gd name="T61" fmla="*/ 668 h 770"/>
              <a:gd name="T62" fmla="*/ 627 w 996"/>
              <a:gd name="T63" fmla="*/ 602 h 770"/>
              <a:gd name="T64" fmla="*/ 652 w 996"/>
              <a:gd name="T65" fmla="*/ 610 h 770"/>
              <a:gd name="T66" fmla="*/ 719 w 996"/>
              <a:gd name="T67" fmla="*/ 543 h 770"/>
              <a:gd name="T68" fmla="*/ 727 w 996"/>
              <a:gd name="T69" fmla="*/ 526 h 770"/>
              <a:gd name="T70" fmla="*/ 786 w 996"/>
              <a:gd name="T71" fmla="*/ 535 h 770"/>
              <a:gd name="T72" fmla="*/ 786 w 996"/>
              <a:gd name="T73" fmla="*/ 46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96" h="770">
                <a:moveTo>
                  <a:pt x="995" y="100"/>
                </a:moveTo>
                <a:cubicBezTo>
                  <a:pt x="995" y="409"/>
                  <a:pt x="995" y="409"/>
                  <a:pt x="995" y="409"/>
                </a:cubicBezTo>
                <a:cubicBezTo>
                  <a:pt x="995" y="409"/>
                  <a:pt x="928" y="426"/>
                  <a:pt x="920" y="426"/>
                </a:cubicBezTo>
                <a:cubicBezTo>
                  <a:pt x="903" y="426"/>
                  <a:pt x="861" y="443"/>
                  <a:pt x="836" y="409"/>
                </a:cubicBezTo>
                <a:cubicBezTo>
                  <a:pt x="786" y="367"/>
                  <a:pt x="619" y="192"/>
                  <a:pt x="619" y="192"/>
                </a:cubicBezTo>
                <a:cubicBezTo>
                  <a:pt x="619" y="192"/>
                  <a:pt x="594" y="167"/>
                  <a:pt x="543" y="192"/>
                </a:cubicBezTo>
                <a:cubicBezTo>
                  <a:pt x="502" y="217"/>
                  <a:pt x="443" y="250"/>
                  <a:pt x="418" y="259"/>
                </a:cubicBezTo>
                <a:cubicBezTo>
                  <a:pt x="410" y="267"/>
                  <a:pt x="393" y="275"/>
                  <a:pt x="384" y="275"/>
                </a:cubicBezTo>
                <a:cubicBezTo>
                  <a:pt x="351" y="275"/>
                  <a:pt x="326" y="242"/>
                  <a:pt x="326" y="209"/>
                </a:cubicBezTo>
                <a:cubicBezTo>
                  <a:pt x="326" y="183"/>
                  <a:pt x="343" y="167"/>
                  <a:pt x="360" y="158"/>
                </a:cubicBezTo>
                <a:cubicBezTo>
                  <a:pt x="426" y="116"/>
                  <a:pt x="552" y="50"/>
                  <a:pt x="602" y="16"/>
                </a:cubicBezTo>
                <a:cubicBezTo>
                  <a:pt x="635" y="0"/>
                  <a:pt x="652" y="0"/>
                  <a:pt x="702" y="33"/>
                </a:cubicBezTo>
                <a:cubicBezTo>
                  <a:pt x="752" y="83"/>
                  <a:pt x="803" y="125"/>
                  <a:pt x="803" y="125"/>
                </a:cubicBezTo>
                <a:cubicBezTo>
                  <a:pt x="803" y="125"/>
                  <a:pt x="819" y="133"/>
                  <a:pt x="836" y="133"/>
                </a:cubicBezTo>
                <a:cubicBezTo>
                  <a:pt x="878" y="125"/>
                  <a:pt x="995" y="100"/>
                  <a:pt x="995" y="100"/>
                </a:cubicBezTo>
                <a:close/>
                <a:moveTo>
                  <a:pt x="334" y="626"/>
                </a:moveTo>
                <a:cubicBezTo>
                  <a:pt x="343" y="610"/>
                  <a:pt x="343" y="585"/>
                  <a:pt x="326" y="568"/>
                </a:cubicBezTo>
                <a:cubicBezTo>
                  <a:pt x="309" y="551"/>
                  <a:pt x="293" y="551"/>
                  <a:pt x="276" y="551"/>
                </a:cubicBezTo>
                <a:cubicBezTo>
                  <a:pt x="276" y="535"/>
                  <a:pt x="276" y="510"/>
                  <a:pt x="259" y="501"/>
                </a:cubicBezTo>
                <a:cubicBezTo>
                  <a:pt x="251" y="484"/>
                  <a:pt x="226" y="476"/>
                  <a:pt x="209" y="484"/>
                </a:cubicBezTo>
                <a:cubicBezTo>
                  <a:pt x="217" y="468"/>
                  <a:pt x="209" y="443"/>
                  <a:pt x="201" y="426"/>
                </a:cubicBezTo>
                <a:cubicBezTo>
                  <a:pt x="176" y="401"/>
                  <a:pt x="134" y="409"/>
                  <a:pt x="109" y="434"/>
                </a:cubicBezTo>
                <a:cubicBezTo>
                  <a:pt x="92" y="451"/>
                  <a:pt x="75" y="501"/>
                  <a:pt x="92" y="526"/>
                </a:cubicBezTo>
                <a:cubicBezTo>
                  <a:pt x="117" y="551"/>
                  <a:pt x="142" y="535"/>
                  <a:pt x="159" y="535"/>
                </a:cubicBezTo>
                <a:cubicBezTo>
                  <a:pt x="159" y="551"/>
                  <a:pt x="142" y="568"/>
                  <a:pt x="159" y="593"/>
                </a:cubicBezTo>
                <a:cubicBezTo>
                  <a:pt x="176" y="618"/>
                  <a:pt x="209" y="602"/>
                  <a:pt x="226" y="602"/>
                </a:cubicBezTo>
                <a:cubicBezTo>
                  <a:pt x="217" y="618"/>
                  <a:pt x="201" y="643"/>
                  <a:pt x="226" y="668"/>
                </a:cubicBezTo>
                <a:cubicBezTo>
                  <a:pt x="242" y="685"/>
                  <a:pt x="276" y="677"/>
                  <a:pt x="293" y="668"/>
                </a:cubicBezTo>
                <a:cubicBezTo>
                  <a:pt x="284" y="693"/>
                  <a:pt x="268" y="710"/>
                  <a:pt x="293" y="744"/>
                </a:cubicBezTo>
                <a:cubicBezTo>
                  <a:pt x="318" y="769"/>
                  <a:pt x="368" y="752"/>
                  <a:pt x="393" y="727"/>
                </a:cubicBezTo>
                <a:cubicBezTo>
                  <a:pt x="418" y="702"/>
                  <a:pt x="418" y="668"/>
                  <a:pt x="393" y="643"/>
                </a:cubicBezTo>
                <a:cubicBezTo>
                  <a:pt x="376" y="626"/>
                  <a:pt x="360" y="626"/>
                  <a:pt x="334" y="626"/>
                </a:cubicBezTo>
                <a:close/>
                <a:moveTo>
                  <a:pt x="786" y="468"/>
                </a:moveTo>
                <a:cubicBezTo>
                  <a:pt x="610" y="284"/>
                  <a:pt x="694" y="367"/>
                  <a:pt x="594" y="267"/>
                </a:cubicBezTo>
                <a:cubicBezTo>
                  <a:pt x="594" y="267"/>
                  <a:pt x="569" y="234"/>
                  <a:pt x="527" y="259"/>
                </a:cubicBezTo>
                <a:cubicBezTo>
                  <a:pt x="502" y="267"/>
                  <a:pt x="468" y="284"/>
                  <a:pt x="443" y="301"/>
                </a:cubicBezTo>
                <a:cubicBezTo>
                  <a:pt x="418" y="309"/>
                  <a:pt x="393" y="317"/>
                  <a:pt x="384" y="317"/>
                </a:cubicBezTo>
                <a:cubicBezTo>
                  <a:pt x="326" y="317"/>
                  <a:pt x="284" y="267"/>
                  <a:pt x="284" y="217"/>
                </a:cubicBezTo>
                <a:cubicBezTo>
                  <a:pt x="284" y="175"/>
                  <a:pt x="301" y="142"/>
                  <a:pt x="334" y="125"/>
                </a:cubicBezTo>
                <a:cubicBezTo>
                  <a:pt x="368" y="100"/>
                  <a:pt x="460" y="50"/>
                  <a:pt x="460" y="50"/>
                </a:cubicBezTo>
                <a:cubicBezTo>
                  <a:pt x="460" y="50"/>
                  <a:pt x="435" y="8"/>
                  <a:pt x="376" y="8"/>
                </a:cubicBezTo>
                <a:cubicBezTo>
                  <a:pt x="309" y="8"/>
                  <a:pt x="184" y="100"/>
                  <a:pt x="184" y="100"/>
                </a:cubicBezTo>
                <a:cubicBezTo>
                  <a:pt x="184" y="100"/>
                  <a:pt x="150" y="116"/>
                  <a:pt x="100" y="100"/>
                </a:cubicBezTo>
                <a:cubicBezTo>
                  <a:pt x="0" y="66"/>
                  <a:pt x="0" y="66"/>
                  <a:pt x="0" y="66"/>
                </a:cubicBezTo>
                <a:cubicBezTo>
                  <a:pt x="0" y="426"/>
                  <a:pt x="0" y="426"/>
                  <a:pt x="0" y="426"/>
                </a:cubicBezTo>
                <a:cubicBezTo>
                  <a:pt x="0" y="426"/>
                  <a:pt x="25" y="434"/>
                  <a:pt x="50" y="443"/>
                </a:cubicBezTo>
                <a:cubicBezTo>
                  <a:pt x="59" y="426"/>
                  <a:pt x="67" y="409"/>
                  <a:pt x="83" y="392"/>
                </a:cubicBezTo>
                <a:cubicBezTo>
                  <a:pt x="125" y="351"/>
                  <a:pt x="192" y="351"/>
                  <a:pt x="234" y="392"/>
                </a:cubicBezTo>
                <a:cubicBezTo>
                  <a:pt x="242" y="409"/>
                  <a:pt x="251" y="417"/>
                  <a:pt x="251" y="434"/>
                </a:cubicBezTo>
                <a:cubicBezTo>
                  <a:pt x="268" y="443"/>
                  <a:pt x="284" y="451"/>
                  <a:pt x="293" y="468"/>
                </a:cubicBezTo>
                <a:cubicBezTo>
                  <a:pt x="309" y="476"/>
                  <a:pt x="318" y="493"/>
                  <a:pt x="318" y="510"/>
                </a:cubicBezTo>
                <a:cubicBezTo>
                  <a:pt x="334" y="510"/>
                  <a:pt x="351" y="518"/>
                  <a:pt x="360" y="535"/>
                </a:cubicBezTo>
                <a:cubicBezTo>
                  <a:pt x="376" y="551"/>
                  <a:pt x="384" y="568"/>
                  <a:pt x="384" y="585"/>
                </a:cubicBezTo>
                <a:cubicBezTo>
                  <a:pt x="401" y="585"/>
                  <a:pt x="418" y="593"/>
                  <a:pt x="426" y="610"/>
                </a:cubicBezTo>
                <a:cubicBezTo>
                  <a:pt x="451" y="635"/>
                  <a:pt x="460" y="668"/>
                  <a:pt x="451" y="702"/>
                </a:cubicBezTo>
                <a:cubicBezTo>
                  <a:pt x="460" y="702"/>
                  <a:pt x="468" y="718"/>
                  <a:pt x="477" y="727"/>
                </a:cubicBezTo>
                <a:cubicBezTo>
                  <a:pt x="493" y="744"/>
                  <a:pt x="527" y="744"/>
                  <a:pt x="543" y="727"/>
                </a:cubicBezTo>
                <a:cubicBezTo>
                  <a:pt x="560" y="710"/>
                  <a:pt x="560" y="677"/>
                  <a:pt x="543" y="660"/>
                </a:cubicBezTo>
                <a:lnTo>
                  <a:pt x="535" y="660"/>
                </a:lnTo>
                <a:cubicBezTo>
                  <a:pt x="485" y="602"/>
                  <a:pt x="477" y="593"/>
                  <a:pt x="485" y="585"/>
                </a:cubicBezTo>
                <a:cubicBezTo>
                  <a:pt x="493" y="585"/>
                  <a:pt x="502" y="593"/>
                  <a:pt x="560" y="660"/>
                </a:cubicBezTo>
                <a:cubicBezTo>
                  <a:pt x="569" y="668"/>
                  <a:pt x="569" y="668"/>
                  <a:pt x="569" y="668"/>
                </a:cubicBezTo>
                <a:cubicBezTo>
                  <a:pt x="585" y="685"/>
                  <a:pt x="610" y="685"/>
                  <a:pt x="627" y="668"/>
                </a:cubicBezTo>
                <a:cubicBezTo>
                  <a:pt x="644" y="652"/>
                  <a:pt x="644" y="618"/>
                  <a:pt x="627" y="602"/>
                </a:cubicBezTo>
                <a:cubicBezTo>
                  <a:pt x="569" y="535"/>
                  <a:pt x="560" y="526"/>
                  <a:pt x="560" y="518"/>
                </a:cubicBezTo>
                <a:cubicBezTo>
                  <a:pt x="569" y="518"/>
                  <a:pt x="594" y="551"/>
                  <a:pt x="652" y="610"/>
                </a:cubicBezTo>
                <a:cubicBezTo>
                  <a:pt x="669" y="626"/>
                  <a:pt x="702" y="626"/>
                  <a:pt x="719" y="610"/>
                </a:cubicBezTo>
                <a:cubicBezTo>
                  <a:pt x="727" y="593"/>
                  <a:pt x="736" y="568"/>
                  <a:pt x="719" y="543"/>
                </a:cubicBezTo>
                <a:cubicBezTo>
                  <a:pt x="644" y="468"/>
                  <a:pt x="644" y="468"/>
                  <a:pt x="652" y="459"/>
                </a:cubicBezTo>
                <a:lnTo>
                  <a:pt x="727" y="526"/>
                </a:lnTo>
                <a:cubicBezTo>
                  <a:pt x="727" y="535"/>
                  <a:pt x="727" y="535"/>
                  <a:pt x="727" y="535"/>
                </a:cubicBezTo>
                <a:cubicBezTo>
                  <a:pt x="744" y="551"/>
                  <a:pt x="769" y="551"/>
                  <a:pt x="786" y="535"/>
                </a:cubicBezTo>
                <a:cubicBezTo>
                  <a:pt x="803" y="510"/>
                  <a:pt x="803" y="484"/>
                  <a:pt x="786" y="468"/>
                </a:cubicBezTo>
                <a:close/>
                <a:moveTo>
                  <a:pt x="786" y="468"/>
                </a:moveTo>
                <a:lnTo>
                  <a:pt x="786" y="468"/>
                </a:lnTo>
                <a:close/>
              </a:path>
            </a:pathLst>
          </a:custGeom>
          <a:solidFill>
            <a:schemeClr val="bg1"/>
          </a:solidFill>
          <a:ln>
            <a:noFill/>
          </a:ln>
          <a:effectLst/>
        </p:spPr>
        <p:txBody>
          <a:bodyPr wrap="none" lIns="182833" tIns="91417" rIns="182833" bIns="91417"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sp>
        <p:nvSpPr>
          <p:cNvPr id="27" name="Freeform 417"/>
          <p:cNvSpPr>
            <a:spLocks noChangeAspect="1" noChangeArrowheads="1"/>
          </p:cNvSpPr>
          <p:nvPr/>
        </p:nvSpPr>
        <p:spPr bwMode="auto">
          <a:xfrm>
            <a:off x="7121078" y="4616237"/>
            <a:ext cx="437884" cy="437999"/>
          </a:xfrm>
          <a:custGeom>
            <a:avLst/>
            <a:gdLst>
              <a:gd name="T0" fmla="*/ 0 w 904"/>
              <a:gd name="T1" fmla="*/ 686 h 904"/>
              <a:gd name="T2" fmla="*/ 218 w 904"/>
              <a:gd name="T3" fmla="*/ 903 h 904"/>
              <a:gd name="T4" fmla="*/ 0 w 904"/>
              <a:gd name="T5" fmla="*/ 903 h 904"/>
              <a:gd name="T6" fmla="*/ 0 w 904"/>
              <a:gd name="T7" fmla="*/ 686 h 904"/>
              <a:gd name="T8" fmla="*/ 552 w 904"/>
              <a:gd name="T9" fmla="*/ 42 h 904"/>
              <a:gd name="T10" fmla="*/ 627 w 904"/>
              <a:gd name="T11" fmla="*/ 276 h 904"/>
              <a:gd name="T12" fmla="*/ 861 w 904"/>
              <a:gd name="T13" fmla="*/ 351 h 904"/>
              <a:gd name="T14" fmla="*/ 786 w 904"/>
              <a:gd name="T15" fmla="*/ 117 h 904"/>
              <a:gd name="T16" fmla="*/ 552 w 904"/>
              <a:gd name="T17" fmla="*/ 42 h 904"/>
              <a:gd name="T18" fmla="*/ 677 w 904"/>
              <a:gd name="T19" fmla="*/ 385 h 904"/>
              <a:gd name="T20" fmla="*/ 276 w 904"/>
              <a:gd name="T21" fmla="*/ 778 h 904"/>
              <a:gd name="T22" fmla="*/ 360 w 904"/>
              <a:gd name="T23" fmla="*/ 862 h 904"/>
              <a:gd name="T24" fmla="*/ 795 w 904"/>
              <a:gd name="T25" fmla="*/ 427 h 904"/>
              <a:gd name="T26" fmla="*/ 677 w 904"/>
              <a:gd name="T27" fmla="*/ 385 h 904"/>
              <a:gd name="T28" fmla="*/ 594 w 904"/>
              <a:gd name="T29" fmla="*/ 318 h 904"/>
              <a:gd name="T30" fmla="*/ 552 w 904"/>
              <a:gd name="T31" fmla="*/ 276 h 904"/>
              <a:gd name="T32" fmla="*/ 159 w 904"/>
              <a:gd name="T33" fmla="*/ 661 h 904"/>
              <a:gd name="T34" fmla="*/ 243 w 904"/>
              <a:gd name="T35" fmla="*/ 744 h 904"/>
              <a:gd name="T36" fmla="*/ 636 w 904"/>
              <a:gd name="T37" fmla="*/ 351 h 904"/>
              <a:gd name="T38" fmla="*/ 594 w 904"/>
              <a:gd name="T39" fmla="*/ 318 h 904"/>
              <a:gd name="T40" fmla="*/ 477 w 904"/>
              <a:gd name="T41" fmla="*/ 109 h 904"/>
              <a:gd name="T42" fmla="*/ 50 w 904"/>
              <a:gd name="T43" fmla="*/ 544 h 904"/>
              <a:gd name="T44" fmla="*/ 126 w 904"/>
              <a:gd name="T45" fmla="*/ 628 h 904"/>
              <a:gd name="T46" fmla="*/ 519 w 904"/>
              <a:gd name="T47" fmla="*/ 226 h 904"/>
              <a:gd name="T48" fmla="*/ 477 w 904"/>
              <a:gd name="T49" fmla="*/ 109 h 904"/>
              <a:gd name="T50" fmla="*/ 477 w 904"/>
              <a:gd name="T51" fmla="*/ 109 h 904"/>
              <a:gd name="T52" fmla="*/ 477 w 904"/>
              <a:gd name="T53" fmla="*/ 10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04" h="904">
                <a:moveTo>
                  <a:pt x="0" y="686"/>
                </a:moveTo>
                <a:cubicBezTo>
                  <a:pt x="218" y="903"/>
                  <a:pt x="218" y="903"/>
                  <a:pt x="218" y="903"/>
                </a:cubicBezTo>
                <a:cubicBezTo>
                  <a:pt x="0" y="903"/>
                  <a:pt x="0" y="903"/>
                  <a:pt x="0" y="903"/>
                </a:cubicBezTo>
                <a:lnTo>
                  <a:pt x="0" y="686"/>
                </a:lnTo>
                <a:close/>
                <a:moveTo>
                  <a:pt x="552" y="42"/>
                </a:moveTo>
                <a:cubicBezTo>
                  <a:pt x="510" y="84"/>
                  <a:pt x="544" y="193"/>
                  <a:pt x="627" y="276"/>
                </a:cubicBezTo>
                <a:cubicBezTo>
                  <a:pt x="719" y="360"/>
                  <a:pt x="820" y="393"/>
                  <a:pt x="861" y="351"/>
                </a:cubicBezTo>
                <a:cubicBezTo>
                  <a:pt x="903" y="310"/>
                  <a:pt x="870" y="209"/>
                  <a:pt x="786" y="117"/>
                </a:cubicBezTo>
                <a:cubicBezTo>
                  <a:pt x="703" y="34"/>
                  <a:pt x="594" y="0"/>
                  <a:pt x="552" y="42"/>
                </a:cubicBezTo>
                <a:close/>
                <a:moveTo>
                  <a:pt x="677" y="385"/>
                </a:moveTo>
                <a:cubicBezTo>
                  <a:pt x="276" y="778"/>
                  <a:pt x="276" y="778"/>
                  <a:pt x="276" y="778"/>
                </a:cubicBezTo>
                <a:cubicBezTo>
                  <a:pt x="360" y="862"/>
                  <a:pt x="360" y="862"/>
                  <a:pt x="360" y="862"/>
                </a:cubicBezTo>
                <a:cubicBezTo>
                  <a:pt x="795" y="427"/>
                  <a:pt x="795" y="427"/>
                  <a:pt x="795" y="427"/>
                </a:cubicBezTo>
                <a:cubicBezTo>
                  <a:pt x="753" y="418"/>
                  <a:pt x="719" y="410"/>
                  <a:pt x="677" y="385"/>
                </a:cubicBezTo>
                <a:close/>
                <a:moveTo>
                  <a:pt x="594" y="318"/>
                </a:moveTo>
                <a:cubicBezTo>
                  <a:pt x="577" y="301"/>
                  <a:pt x="569" y="285"/>
                  <a:pt x="552" y="276"/>
                </a:cubicBezTo>
                <a:cubicBezTo>
                  <a:pt x="159" y="661"/>
                  <a:pt x="159" y="661"/>
                  <a:pt x="159" y="661"/>
                </a:cubicBezTo>
                <a:cubicBezTo>
                  <a:pt x="243" y="744"/>
                  <a:pt x="243" y="744"/>
                  <a:pt x="243" y="744"/>
                </a:cubicBezTo>
                <a:cubicBezTo>
                  <a:pt x="636" y="351"/>
                  <a:pt x="636" y="351"/>
                  <a:pt x="636" y="351"/>
                </a:cubicBezTo>
                <a:cubicBezTo>
                  <a:pt x="619" y="343"/>
                  <a:pt x="602" y="327"/>
                  <a:pt x="594" y="318"/>
                </a:cubicBezTo>
                <a:close/>
                <a:moveTo>
                  <a:pt x="477" y="109"/>
                </a:moveTo>
                <a:cubicBezTo>
                  <a:pt x="50" y="544"/>
                  <a:pt x="50" y="544"/>
                  <a:pt x="50" y="544"/>
                </a:cubicBezTo>
                <a:cubicBezTo>
                  <a:pt x="126" y="628"/>
                  <a:pt x="126" y="628"/>
                  <a:pt x="126" y="628"/>
                </a:cubicBezTo>
                <a:cubicBezTo>
                  <a:pt x="519" y="226"/>
                  <a:pt x="519" y="226"/>
                  <a:pt x="519" y="226"/>
                </a:cubicBezTo>
                <a:cubicBezTo>
                  <a:pt x="502" y="184"/>
                  <a:pt x="485" y="151"/>
                  <a:pt x="477" y="109"/>
                </a:cubicBezTo>
                <a:close/>
                <a:moveTo>
                  <a:pt x="477" y="109"/>
                </a:moveTo>
                <a:lnTo>
                  <a:pt x="477" y="109"/>
                </a:lnTo>
                <a:close/>
              </a:path>
            </a:pathLst>
          </a:custGeom>
          <a:solidFill>
            <a:schemeClr val="bg1"/>
          </a:solidFill>
          <a:ln>
            <a:noFill/>
          </a:ln>
          <a:effectLst/>
        </p:spPr>
        <p:txBody>
          <a:bodyPr wrap="none" lIns="243772" tIns="121885" rIns="243772" bIns="121885"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sp>
        <p:nvSpPr>
          <p:cNvPr id="28" name="Freeform 526"/>
          <p:cNvSpPr>
            <a:spLocks noChangeAspect="1" noChangeArrowheads="1"/>
          </p:cNvSpPr>
          <p:nvPr/>
        </p:nvSpPr>
        <p:spPr bwMode="auto">
          <a:xfrm>
            <a:off x="4941445" y="4573892"/>
            <a:ext cx="428004" cy="554848"/>
          </a:xfrm>
          <a:custGeom>
            <a:avLst/>
            <a:gdLst>
              <a:gd name="T0" fmla="*/ 719 w 1222"/>
              <a:gd name="T1" fmla="*/ 1338 h 1581"/>
              <a:gd name="T2" fmla="*/ 686 w 1222"/>
              <a:gd name="T3" fmla="*/ 1221 h 1581"/>
              <a:gd name="T4" fmla="*/ 686 w 1222"/>
              <a:gd name="T5" fmla="*/ 359 h 1581"/>
              <a:gd name="T6" fmla="*/ 719 w 1222"/>
              <a:gd name="T7" fmla="*/ 243 h 1581"/>
              <a:gd name="T8" fmla="*/ 17 w 1222"/>
              <a:gd name="T9" fmla="*/ 460 h 1581"/>
              <a:gd name="T10" fmla="*/ 0 w 1222"/>
              <a:gd name="T11" fmla="*/ 794 h 1581"/>
              <a:gd name="T12" fmla="*/ 17 w 1222"/>
              <a:gd name="T13" fmla="*/ 1120 h 1581"/>
              <a:gd name="T14" fmla="*/ 502 w 1222"/>
              <a:gd name="T15" fmla="*/ 1530 h 1581"/>
              <a:gd name="T16" fmla="*/ 493 w 1222"/>
              <a:gd name="T17" fmla="*/ 1112 h 1581"/>
              <a:gd name="T18" fmla="*/ 284 w 1222"/>
              <a:gd name="T19" fmla="*/ 1120 h 1581"/>
              <a:gd name="T20" fmla="*/ 284 w 1222"/>
              <a:gd name="T21" fmla="*/ 794 h 1581"/>
              <a:gd name="T22" fmla="*/ 284 w 1222"/>
              <a:gd name="T23" fmla="*/ 460 h 1581"/>
              <a:gd name="T24" fmla="*/ 493 w 1222"/>
              <a:gd name="T25" fmla="*/ 468 h 1581"/>
              <a:gd name="T26" fmla="*/ 502 w 1222"/>
              <a:gd name="T27" fmla="*/ 58 h 1581"/>
              <a:gd name="T28" fmla="*/ 17 w 1222"/>
              <a:gd name="T29" fmla="*/ 460 h 1581"/>
              <a:gd name="T30" fmla="*/ 602 w 1222"/>
              <a:gd name="T31" fmla="*/ 911 h 1581"/>
              <a:gd name="T32" fmla="*/ 493 w 1222"/>
              <a:gd name="T33" fmla="*/ 861 h 1581"/>
              <a:gd name="T34" fmla="*/ 543 w 1222"/>
              <a:gd name="T35" fmla="*/ 828 h 1581"/>
              <a:gd name="T36" fmla="*/ 610 w 1222"/>
              <a:gd name="T37" fmla="*/ 778 h 1581"/>
              <a:gd name="T38" fmla="*/ 627 w 1222"/>
              <a:gd name="T39" fmla="*/ 660 h 1581"/>
              <a:gd name="T40" fmla="*/ 476 w 1222"/>
              <a:gd name="T41" fmla="*/ 677 h 1581"/>
              <a:gd name="T42" fmla="*/ 510 w 1222"/>
              <a:gd name="T43" fmla="*/ 736 h 1581"/>
              <a:gd name="T44" fmla="*/ 560 w 1222"/>
              <a:gd name="T45" fmla="*/ 677 h 1581"/>
              <a:gd name="T46" fmla="*/ 585 w 1222"/>
              <a:gd name="T47" fmla="*/ 719 h 1581"/>
              <a:gd name="T48" fmla="*/ 502 w 1222"/>
              <a:gd name="T49" fmla="*/ 803 h 1581"/>
              <a:gd name="T50" fmla="*/ 410 w 1222"/>
              <a:gd name="T51" fmla="*/ 911 h 1581"/>
              <a:gd name="T52" fmla="*/ 819 w 1222"/>
              <a:gd name="T53" fmla="*/ 811 h 1581"/>
              <a:gd name="T54" fmla="*/ 794 w 1222"/>
              <a:gd name="T55" fmla="*/ 635 h 1581"/>
              <a:gd name="T56" fmla="*/ 644 w 1222"/>
              <a:gd name="T57" fmla="*/ 853 h 1581"/>
              <a:gd name="T58" fmla="*/ 744 w 1222"/>
              <a:gd name="T59" fmla="*/ 911 h 1581"/>
              <a:gd name="T60" fmla="*/ 803 w 1222"/>
              <a:gd name="T61" fmla="*/ 853 h 1581"/>
              <a:gd name="T62" fmla="*/ 844 w 1222"/>
              <a:gd name="T63" fmla="*/ 811 h 1581"/>
              <a:gd name="T64" fmla="*/ 786 w 1222"/>
              <a:gd name="T65" fmla="*/ 686 h 1581"/>
              <a:gd name="T66" fmla="*/ 694 w 1222"/>
              <a:gd name="T67" fmla="*/ 811 h 1581"/>
              <a:gd name="T68" fmla="*/ 694 w 1222"/>
              <a:gd name="T69" fmla="*/ 811 h 1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2" h="1581">
                <a:moveTo>
                  <a:pt x="1221" y="794"/>
                </a:moveTo>
                <a:cubicBezTo>
                  <a:pt x="1221" y="1079"/>
                  <a:pt x="995" y="1313"/>
                  <a:pt x="719" y="1338"/>
                </a:cubicBezTo>
                <a:cubicBezTo>
                  <a:pt x="719" y="1329"/>
                  <a:pt x="711" y="1313"/>
                  <a:pt x="711" y="1296"/>
                </a:cubicBezTo>
                <a:cubicBezTo>
                  <a:pt x="711" y="1296"/>
                  <a:pt x="702" y="1262"/>
                  <a:pt x="686" y="1221"/>
                </a:cubicBezTo>
                <a:cubicBezTo>
                  <a:pt x="911" y="1212"/>
                  <a:pt x="1095" y="1028"/>
                  <a:pt x="1095" y="794"/>
                </a:cubicBezTo>
                <a:cubicBezTo>
                  <a:pt x="1095" y="560"/>
                  <a:pt x="911" y="368"/>
                  <a:pt x="686" y="359"/>
                </a:cubicBezTo>
                <a:cubicBezTo>
                  <a:pt x="702" y="326"/>
                  <a:pt x="711" y="293"/>
                  <a:pt x="711" y="284"/>
                </a:cubicBezTo>
                <a:cubicBezTo>
                  <a:pt x="711" y="276"/>
                  <a:pt x="719" y="259"/>
                  <a:pt x="719" y="243"/>
                </a:cubicBezTo>
                <a:cubicBezTo>
                  <a:pt x="995" y="267"/>
                  <a:pt x="1221" y="510"/>
                  <a:pt x="1221" y="794"/>
                </a:cubicBezTo>
                <a:close/>
                <a:moveTo>
                  <a:pt x="17" y="460"/>
                </a:moveTo>
                <a:cubicBezTo>
                  <a:pt x="8" y="568"/>
                  <a:pt x="0" y="677"/>
                  <a:pt x="0" y="786"/>
                </a:cubicBezTo>
                <a:lnTo>
                  <a:pt x="0" y="794"/>
                </a:lnTo>
                <a:lnTo>
                  <a:pt x="0" y="803"/>
                </a:lnTo>
                <a:cubicBezTo>
                  <a:pt x="0" y="911"/>
                  <a:pt x="8" y="1012"/>
                  <a:pt x="17" y="1120"/>
                </a:cubicBezTo>
                <a:cubicBezTo>
                  <a:pt x="42" y="1396"/>
                  <a:pt x="259" y="1580"/>
                  <a:pt x="468" y="1538"/>
                </a:cubicBezTo>
                <a:cubicBezTo>
                  <a:pt x="485" y="1530"/>
                  <a:pt x="493" y="1530"/>
                  <a:pt x="502" y="1530"/>
                </a:cubicBezTo>
                <a:cubicBezTo>
                  <a:pt x="552" y="1505"/>
                  <a:pt x="594" y="1471"/>
                  <a:pt x="644" y="1438"/>
                </a:cubicBezTo>
                <a:cubicBezTo>
                  <a:pt x="702" y="1396"/>
                  <a:pt x="569" y="1070"/>
                  <a:pt x="493" y="1112"/>
                </a:cubicBezTo>
                <a:cubicBezTo>
                  <a:pt x="460" y="1129"/>
                  <a:pt x="376" y="1196"/>
                  <a:pt x="343" y="1196"/>
                </a:cubicBezTo>
                <a:cubicBezTo>
                  <a:pt x="309" y="1204"/>
                  <a:pt x="293" y="1162"/>
                  <a:pt x="284" y="1120"/>
                </a:cubicBezTo>
                <a:cubicBezTo>
                  <a:pt x="276" y="1028"/>
                  <a:pt x="284" y="903"/>
                  <a:pt x="284" y="803"/>
                </a:cubicBezTo>
                <a:cubicBezTo>
                  <a:pt x="284" y="794"/>
                  <a:pt x="284" y="794"/>
                  <a:pt x="284" y="794"/>
                </a:cubicBezTo>
                <a:cubicBezTo>
                  <a:pt x="284" y="786"/>
                  <a:pt x="284" y="786"/>
                  <a:pt x="284" y="786"/>
                </a:cubicBezTo>
                <a:cubicBezTo>
                  <a:pt x="284" y="677"/>
                  <a:pt x="276" y="560"/>
                  <a:pt x="284" y="460"/>
                </a:cubicBezTo>
                <a:cubicBezTo>
                  <a:pt x="293" y="426"/>
                  <a:pt x="309" y="385"/>
                  <a:pt x="343" y="385"/>
                </a:cubicBezTo>
                <a:cubicBezTo>
                  <a:pt x="376" y="393"/>
                  <a:pt x="460" y="452"/>
                  <a:pt x="493" y="468"/>
                </a:cubicBezTo>
                <a:cubicBezTo>
                  <a:pt x="569" y="510"/>
                  <a:pt x="702" y="184"/>
                  <a:pt x="644" y="142"/>
                </a:cubicBezTo>
                <a:cubicBezTo>
                  <a:pt x="594" y="117"/>
                  <a:pt x="552" y="75"/>
                  <a:pt x="502" y="58"/>
                </a:cubicBezTo>
                <a:cubicBezTo>
                  <a:pt x="493" y="50"/>
                  <a:pt x="485" y="50"/>
                  <a:pt x="468" y="50"/>
                </a:cubicBezTo>
                <a:cubicBezTo>
                  <a:pt x="259" y="0"/>
                  <a:pt x="42" y="184"/>
                  <a:pt x="17" y="460"/>
                </a:cubicBezTo>
                <a:close/>
                <a:moveTo>
                  <a:pt x="410" y="911"/>
                </a:moveTo>
                <a:cubicBezTo>
                  <a:pt x="602" y="911"/>
                  <a:pt x="602" y="911"/>
                  <a:pt x="602" y="911"/>
                </a:cubicBezTo>
                <a:cubicBezTo>
                  <a:pt x="610" y="861"/>
                  <a:pt x="610" y="861"/>
                  <a:pt x="610" y="861"/>
                </a:cubicBezTo>
                <a:cubicBezTo>
                  <a:pt x="493" y="861"/>
                  <a:pt x="493" y="861"/>
                  <a:pt x="493" y="861"/>
                </a:cubicBezTo>
                <a:cubicBezTo>
                  <a:pt x="493" y="861"/>
                  <a:pt x="502" y="853"/>
                  <a:pt x="510" y="853"/>
                </a:cubicBezTo>
                <a:cubicBezTo>
                  <a:pt x="510" y="845"/>
                  <a:pt x="527" y="836"/>
                  <a:pt x="543" y="828"/>
                </a:cubicBezTo>
                <a:cubicBezTo>
                  <a:pt x="569" y="811"/>
                  <a:pt x="569" y="811"/>
                  <a:pt x="569" y="811"/>
                </a:cubicBezTo>
                <a:cubicBezTo>
                  <a:pt x="585" y="803"/>
                  <a:pt x="602" y="786"/>
                  <a:pt x="610" y="778"/>
                </a:cubicBezTo>
                <a:cubicBezTo>
                  <a:pt x="627" y="761"/>
                  <a:pt x="635" y="744"/>
                  <a:pt x="644" y="719"/>
                </a:cubicBezTo>
                <a:cubicBezTo>
                  <a:pt x="652" y="694"/>
                  <a:pt x="644" y="677"/>
                  <a:pt x="627" y="660"/>
                </a:cubicBezTo>
                <a:cubicBezTo>
                  <a:pt x="619" y="644"/>
                  <a:pt x="594" y="635"/>
                  <a:pt x="569" y="635"/>
                </a:cubicBezTo>
                <a:cubicBezTo>
                  <a:pt x="527" y="635"/>
                  <a:pt x="502" y="644"/>
                  <a:pt x="476" y="677"/>
                </a:cubicBezTo>
                <a:cubicBezTo>
                  <a:pt x="468" y="686"/>
                  <a:pt x="460" y="711"/>
                  <a:pt x="452" y="736"/>
                </a:cubicBezTo>
                <a:cubicBezTo>
                  <a:pt x="510" y="736"/>
                  <a:pt x="510" y="736"/>
                  <a:pt x="510" y="736"/>
                </a:cubicBezTo>
                <a:cubicBezTo>
                  <a:pt x="510" y="719"/>
                  <a:pt x="518" y="702"/>
                  <a:pt x="518" y="694"/>
                </a:cubicBezTo>
                <a:cubicBezTo>
                  <a:pt x="527" y="686"/>
                  <a:pt x="543" y="677"/>
                  <a:pt x="560" y="677"/>
                </a:cubicBezTo>
                <a:cubicBezTo>
                  <a:pt x="569" y="677"/>
                  <a:pt x="577" y="686"/>
                  <a:pt x="585" y="694"/>
                </a:cubicBezTo>
                <a:cubicBezTo>
                  <a:pt x="585" y="702"/>
                  <a:pt x="594" y="711"/>
                  <a:pt x="585" y="719"/>
                </a:cubicBezTo>
                <a:cubicBezTo>
                  <a:pt x="585" y="736"/>
                  <a:pt x="577" y="744"/>
                  <a:pt x="560" y="761"/>
                </a:cubicBezTo>
                <a:cubicBezTo>
                  <a:pt x="552" y="769"/>
                  <a:pt x="535" y="778"/>
                  <a:pt x="502" y="803"/>
                </a:cubicBezTo>
                <a:cubicBezTo>
                  <a:pt x="468" y="819"/>
                  <a:pt x="452" y="836"/>
                  <a:pt x="435" y="861"/>
                </a:cubicBezTo>
                <a:cubicBezTo>
                  <a:pt x="426" y="878"/>
                  <a:pt x="418" y="895"/>
                  <a:pt x="410" y="911"/>
                </a:cubicBezTo>
                <a:close/>
                <a:moveTo>
                  <a:pt x="844" y="811"/>
                </a:moveTo>
                <a:cubicBezTo>
                  <a:pt x="819" y="811"/>
                  <a:pt x="819" y="811"/>
                  <a:pt x="819" y="811"/>
                </a:cubicBezTo>
                <a:cubicBezTo>
                  <a:pt x="853" y="635"/>
                  <a:pt x="853" y="635"/>
                  <a:pt x="853" y="635"/>
                </a:cubicBezTo>
                <a:cubicBezTo>
                  <a:pt x="794" y="635"/>
                  <a:pt x="794" y="635"/>
                  <a:pt x="794" y="635"/>
                </a:cubicBezTo>
                <a:cubicBezTo>
                  <a:pt x="652" y="803"/>
                  <a:pt x="652" y="803"/>
                  <a:pt x="652" y="803"/>
                </a:cubicBezTo>
                <a:cubicBezTo>
                  <a:pt x="644" y="853"/>
                  <a:pt x="644" y="853"/>
                  <a:pt x="644" y="853"/>
                </a:cubicBezTo>
                <a:cubicBezTo>
                  <a:pt x="753" y="853"/>
                  <a:pt x="753" y="853"/>
                  <a:pt x="753" y="853"/>
                </a:cubicBezTo>
                <a:cubicBezTo>
                  <a:pt x="744" y="911"/>
                  <a:pt x="744" y="911"/>
                  <a:pt x="744" y="911"/>
                </a:cubicBezTo>
                <a:cubicBezTo>
                  <a:pt x="794" y="911"/>
                  <a:pt x="794" y="911"/>
                  <a:pt x="794" y="911"/>
                </a:cubicBezTo>
                <a:cubicBezTo>
                  <a:pt x="803" y="853"/>
                  <a:pt x="803" y="853"/>
                  <a:pt x="803" y="853"/>
                </a:cubicBezTo>
                <a:cubicBezTo>
                  <a:pt x="836" y="853"/>
                  <a:pt x="836" y="853"/>
                  <a:pt x="836" y="853"/>
                </a:cubicBezTo>
                <a:lnTo>
                  <a:pt x="844" y="811"/>
                </a:lnTo>
                <a:close/>
                <a:moveTo>
                  <a:pt x="694" y="811"/>
                </a:moveTo>
                <a:cubicBezTo>
                  <a:pt x="786" y="686"/>
                  <a:pt x="786" y="686"/>
                  <a:pt x="786" y="686"/>
                </a:cubicBezTo>
                <a:cubicBezTo>
                  <a:pt x="761" y="811"/>
                  <a:pt x="761" y="811"/>
                  <a:pt x="761" y="811"/>
                </a:cubicBezTo>
                <a:lnTo>
                  <a:pt x="694" y="811"/>
                </a:lnTo>
                <a:close/>
                <a:moveTo>
                  <a:pt x="694" y="811"/>
                </a:moveTo>
                <a:lnTo>
                  <a:pt x="694" y="811"/>
                </a:lnTo>
                <a:close/>
              </a:path>
            </a:pathLst>
          </a:custGeom>
          <a:solidFill>
            <a:schemeClr val="bg1"/>
          </a:solidFill>
          <a:ln>
            <a:noFill/>
          </a:ln>
          <a:effectLst/>
        </p:spPr>
        <p:txBody>
          <a:bodyPr wrap="none" lIns="243772" tIns="121885" rIns="243772" bIns="121885"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sp>
        <p:nvSpPr>
          <p:cNvPr id="29" name="TextBox 13"/>
          <p:cNvSpPr txBox="1"/>
          <p:nvPr/>
        </p:nvSpPr>
        <p:spPr>
          <a:xfrm>
            <a:off x="2494540" y="1824059"/>
            <a:ext cx="121058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000" b="1" i="0" u="none" strike="noStrike" kern="1200" cap="none" spc="0" normalizeH="0" baseline="0" noProof="0" dirty="0" err="1">
                <a:ln>
                  <a:noFill/>
                </a:ln>
                <a:solidFill>
                  <a:srgbClr val="FE5817"/>
                </a:solidFill>
                <a:effectLst/>
                <a:uLnTx/>
                <a:uFillTx/>
                <a:latin typeface="华文楷体" panose="02010600040101010101" charset="-122"/>
                <a:ea typeface="华文楷体" panose="02010600040101010101" charset="-122"/>
              </a:rPr>
              <a:t>接口安全</a:t>
            </a:r>
            <a:endParaRPr kumimoji="0" lang="id-ID" sz="2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endParaRPr>
          </a:p>
        </p:txBody>
      </p:sp>
      <p:sp>
        <p:nvSpPr>
          <p:cNvPr id="30" name="Rectangle 23"/>
          <p:cNvSpPr/>
          <p:nvPr/>
        </p:nvSpPr>
        <p:spPr>
          <a:xfrm>
            <a:off x="880298" y="2287334"/>
            <a:ext cx="2872041" cy="30764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rPr>
              <a:t>xxx</a:t>
            </a:r>
            <a:endParaRPr kumimoji="0" lang="id-ID"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endParaRPr>
          </a:p>
        </p:txBody>
      </p:sp>
      <p:sp>
        <p:nvSpPr>
          <p:cNvPr id="31" name="TextBox 20"/>
          <p:cNvSpPr txBox="1"/>
          <p:nvPr/>
        </p:nvSpPr>
        <p:spPr>
          <a:xfrm>
            <a:off x="8295647" y="1863738"/>
            <a:ext cx="1210589" cy="4001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2000" b="1" i="0" u="none" strike="noStrike" kern="1200" cap="none" spc="0" normalizeH="0" baseline="0" noProof="0">
                <a:ln>
                  <a:noFill/>
                </a:ln>
                <a:solidFill>
                  <a:srgbClr val="FE5817"/>
                </a:solidFill>
                <a:effectLst/>
                <a:uLnTx/>
                <a:uFillTx/>
                <a:latin typeface="华文楷体" panose="02010600040101010101" charset="-122"/>
                <a:ea typeface="华文楷体" panose="02010600040101010101" charset="-122"/>
              </a:rPr>
              <a:t>身份验证</a:t>
            </a:r>
            <a:endParaRPr kumimoji="0" lang="id-ID" sz="2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endParaRPr>
          </a:p>
        </p:txBody>
      </p:sp>
      <p:sp>
        <p:nvSpPr>
          <p:cNvPr id="32" name="Rectangle 34"/>
          <p:cNvSpPr/>
          <p:nvPr/>
        </p:nvSpPr>
        <p:spPr>
          <a:xfrm>
            <a:off x="8276551" y="2348857"/>
            <a:ext cx="2809690" cy="30764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rPr>
              <a:t>xxx</a:t>
            </a:r>
            <a:endParaRPr kumimoji="0" lang="id-ID"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endParaRPr>
          </a:p>
        </p:txBody>
      </p:sp>
      <p:sp>
        <p:nvSpPr>
          <p:cNvPr id="33" name="TextBox 17"/>
          <p:cNvSpPr txBox="1"/>
          <p:nvPr/>
        </p:nvSpPr>
        <p:spPr>
          <a:xfrm>
            <a:off x="2261815" y="3955166"/>
            <a:ext cx="121058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000" b="1" i="0" u="none" strike="noStrike" kern="1200" cap="none" spc="0" normalizeH="0" baseline="0" noProof="0">
                <a:ln>
                  <a:noFill/>
                </a:ln>
                <a:solidFill>
                  <a:srgbClr val="FE5817"/>
                </a:solidFill>
                <a:effectLst/>
                <a:uLnTx/>
                <a:uFillTx/>
                <a:latin typeface="华文楷体" panose="02010600040101010101" charset="-122"/>
                <a:ea typeface="华文楷体" panose="02010600040101010101" charset="-122"/>
              </a:rPr>
              <a:t>授权管理</a:t>
            </a:r>
            <a:endParaRPr kumimoji="0" lang="id-ID" sz="2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endParaRPr>
          </a:p>
        </p:txBody>
      </p:sp>
      <p:sp>
        <p:nvSpPr>
          <p:cNvPr id="34" name="Rectangle 23"/>
          <p:cNvSpPr/>
          <p:nvPr/>
        </p:nvSpPr>
        <p:spPr>
          <a:xfrm>
            <a:off x="432235" y="4370520"/>
            <a:ext cx="3050030" cy="30764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rPr>
              <a:t>xxx</a:t>
            </a:r>
            <a:endParaRPr kumimoji="0" lang="id-ID"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endParaRPr>
          </a:p>
        </p:txBody>
      </p:sp>
      <p:sp>
        <p:nvSpPr>
          <p:cNvPr id="35" name="TextBox 17"/>
          <p:cNvSpPr txBox="1"/>
          <p:nvPr/>
        </p:nvSpPr>
        <p:spPr>
          <a:xfrm>
            <a:off x="8416268" y="3949518"/>
            <a:ext cx="172354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a:ln>
                  <a:noFill/>
                </a:ln>
                <a:solidFill>
                  <a:srgbClr val="FE5817"/>
                </a:solidFill>
                <a:effectLst/>
                <a:uLnTx/>
                <a:uFillTx/>
                <a:latin typeface="华文楷体" panose="02010600040101010101" charset="-122"/>
                <a:ea typeface="华文楷体" panose="02010600040101010101" charset="-122"/>
              </a:rPr>
              <a:t>其他功能模块</a:t>
            </a:r>
            <a:endParaRPr kumimoji="0" lang="id-ID" sz="2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endParaRPr>
          </a:p>
        </p:txBody>
      </p:sp>
      <p:sp>
        <p:nvSpPr>
          <p:cNvPr id="36" name="Rectangle 34"/>
          <p:cNvSpPr/>
          <p:nvPr/>
        </p:nvSpPr>
        <p:spPr>
          <a:xfrm>
            <a:off x="8213445" y="4428265"/>
            <a:ext cx="2809690" cy="30764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rPr>
              <a:t>xxx</a:t>
            </a:r>
            <a:endParaRPr kumimoji="0" lang="id-ID"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endParaRPr>
          </a:p>
        </p:txBody>
      </p:sp>
      <p:sp>
        <p:nvSpPr>
          <p:cNvPr id="37"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华文楷体" panose="02010600040101010101" charset="-122"/>
              </a:rPr>
              <a:t>内容</a:t>
            </a:r>
            <a:endParaRPr lang="zh-CN" altLang="en-US" sz="2400" dirty="0">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16" name="think-cell Slide" r:id="rId2" imgW="12700" imgH="12700" progId="TCLayout.ActiveDocument.1">
                  <p:embed/>
                </p:oleObj>
              </mc:Choice>
              <mc:Fallback>
                <p:oleObj name="think-cell Slide" r:id="rId2" imgW="12700" imgH="12700" progId="TCLayout.ActiveDocument.1">
                  <p:embed/>
                  <p:pic>
                    <p:nvPicPr>
                      <p:cNvPr id="0" name="对象 16"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9" name="矩形 8"/>
          <p:cNvSpPr/>
          <p:nvPr/>
        </p:nvSpPr>
        <p:spPr>
          <a:xfrm>
            <a:off x="4902442" y="1220037"/>
            <a:ext cx="4295346" cy="417753"/>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b="1" dirty="0" smtClean="0">
                <a:solidFill>
                  <a:schemeClr val="bg1"/>
                </a:solidFill>
                <a:cs typeface="+mn-ea"/>
                <a:sym typeface="+mn-lt"/>
              </a:rPr>
              <a:t>XXX</a:t>
            </a:r>
            <a:endParaRPr lang="en-US" altLang="zh-CN" sz="1600" b="1" dirty="0">
              <a:solidFill>
                <a:schemeClr val="bg1"/>
              </a:solidFill>
              <a:cs typeface="+mn-ea"/>
              <a:sym typeface="+mn-lt"/>
            </a:endParaRPr>
          </a:p>
        </p:txBody>
      </p:sp>
      <p:sp>
        <p:nvSpPr>
          <p:cNvPr id="12" name="矩形 11"/>
          <p:cNvSpPr/>
          <p:nvPr/>
        </p:nvSpPr>
        <p:spPr>
          <a:xfrm>
            <a:off x="7287805" y="2127075"/>
            <a:ext cx="2799073" cy="370794"/>
          </a:xfrm>
          <a:prstGeom prst="rect">
            <a:avLst/>
          </a:prstGeom>
          <a:solidFill>
            <a:srgbClr val="FEA07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dirty="0" smtClean="0">
                <a:solidFill>
                  <a:schemeClr val="tx1"/>
                </a:solidFill>
                <a:cs typeface="+mn-ea"/>
                <a:sym typeface="+mn-lt"/>
              </a:rPr>
              <a:t>XXX</a:t>
            </a:r>
            <a:endParaRPr lang="zh-CN" altLang="en-US" sz="1400" dirty="0">
              <a:solidFill>
                <a:schemeClr val="tx1"/>
              </a:solidFill>
              <a:cs typeface="+mn-ea"/>
              <a:sym typeface="+mn-lt"/>
            </a:endParaRPr>
          </a:p>
        </p:txBody>
      </p:sp>
      <p:sp>
        <p:nvSpPr>
          <p:cNvPr id="19" name="矩形 18"/>
          <p:cNvSpPr/>
          <p:nvPr/>
        </p:nvSpPr>
        <p:spPr>
          <a:xfrm>
            <a:off x="4022480" y="2127075"/>
            <a:ext cx="2799073" cy="370794"/>
          </a:xfrm>
          <a:prstGeom prst="rect">
            <a:avLst/>
          </a:prstGeom>
          <a:solidFill>
            <a:srgbClr val="FEA07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dirty="0" smtClean="0">
                <a:solidFill>
                  <a:schemeClr val="tx1"/>
                </a:solidFill>
                <a:cs typeface="+mn-ea"/>
                <a:sym typeface="+mn-lt"/>
              </a:rPr>
              <a:t>XXX</a:t>
            </a:r>
            <a:endParaRPr lang="zh-CN" altLang="en-US" sz="1400" dirty="0" smtClean="0">
              <a:solidFill>
                <a:schemeClr val="tx1"/>
              </a:solidFill>
              <a:cs typeface="+mn-ea"/>
              <a:sym typeface="+mn-lt"/>
            </a:endParaRPr>
          </a:p>
        </p:txBody>
      </p:sp>
      <p:sp>
        <p:nvSpPr>
          <p:cNvPr id="11" name="矩形 10"/>
          <p:cNvSpPr/>
          <p:nvPr/>
        </p:nvSpPr>
        <p:spPr>
          <a:xfrm>
            <a:off x="1712261" y="3826340"/>
            <a:ext cx="3259993" cy="227092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20" name="同侧圆角矩形 19"/>
          <p:cNvSpPr/>
          <p:nvPr/>
        </p:nvSpPr>
        <p:spPr>
          <a:xfrm>
            <a:off x="1712261" y="3465594"/>
            <a:ext cx="3259993"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cs typeface="+mn-ea"/>
                <a:sym typeface="+mn-lt"/>
              </a:rPr>
              <a:t>XXX</a:t>
            </a:r>
            <a:endParaRPr lang="en-US" altLang="zh-CN" sz="1400" b="1" dirty="0">
              <a:solidFill>
                <a:schemeClr val="bg1"/>
              </a:solidFill>
              <a:cs typeface="+mn-ea"/>
              <a:sym typeface="+mn-lt"/>
            </a:endParaRPr>
          </a:p>
        </p:txBody>
      </p:sp>
      <p:sp>
        <p:nvSpPr>
          <p:cNvPr id="14" name="矩形 13"/>
          <p:cNvSpPr/>
          <p:nvPr/>
        </p:nvSpPr>
        <p:spPr>
          <a:xfrm>
            <a:off x="5312849" y="3826340"/>
            <a:ext cx="1885445" cy="227092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21" name="同侧圆角矩形 20"/>
          <p:cNvSpPr/>
          <p:nvPr/>
        </p:nvSpPr>
        <p:spPr>
          <a:xfrm>
            <a:off x="5312849" y="3465594"/>
            <a:ext cx="1885445"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cs typeface="+mn-ea"/>
                <a:sym typeface="+mn-lt"/>
              </a:rPr>
              <a:t>XXX</a:t>
            </a:r>
            <a:endParaRPr lang="zh-CN" altLang="en-US" sz="1400" b="1" dirty="0" smtClean="0">
              <a:solidFill>
                <a:schemeClr val="bg1"/>
              </a:solidFill>
              <a:cs typeface="+mn-ea"/>
              <a:sym typeface="+mn-lt"/>
            </a:endParaRPr>
          </a:p>
        </p:txBody>
      </p:sp>
      <p:sp>
        <p:nvSpPr>
          <p:cNvPr id="15" name="矩形 14"/>
          <p:cNvSpPr/>
          <p:nvPr/>
        </p:nvSpPr>
        <p:spPr>
          <a:xfrm>
            <a:off x="7538889" y="3826340"/>
            <a:ext cx="1885445" cy="227092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22" name="同侧圆角矩形 21"/>
          <p:cNvSpPr/>
          <p:nvPr/>
        </p:nvSpPr>
        <p:spPr>
          <a:xfrm>
            <a:off x="7538889" y="3465594"/>
            <a:ext cx="1885445"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cs typeface="+mn-ea"/>
                <a:sym typeface="+mn-lt"/>
              </a:rPr>
              <a:t>XXX</a:t>
            </a:r>
            <a:endParaRPr lang="zh-CN" altLang="en-US" sz="1400" b="1" dirty="0" smtClean="0">
              <a:solidFill>
                <a:schemeClr val="bg1"/>
              </a:solidFill>
              <a:cs typeface="+mn-ea"/>
              <a:sym typeface="+mn-lt"/>
            </a:endParaRPr>
          </a:p>
        </p:txBody>
      </p:sp>
      <p:sp>
        <p:nvSpPr>
          <p:cNvPr id="16" name="矩形 15"/>
          <p:cNvSpPr/>
          <p:nvPr/>
        </p:nvSpPr>
        <p:spPr>
          <a:xfrm>
            <a:off x="9764930" y="3826340"/>
            <a:ext cx="1885445" cy="227092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23" name="同侧圆角矩形 22"/>
          <p:cNvSpPr/>
          <p:nvPr/>
        </p:nvSpPr>
        <p:spPr>
          <a:xfrm>
            <a:off x="9764930" y="3465594"/>
            <a:ext cx="1885445"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400" b="1" dirty="0">
                <a:solidFill>
                  <a:schemeClr val="bg1"/>
                </a:solidFill>
                <a:cs typeface="+mn-ea"/>
                <a:sym typeface="+mn-lt"/>
              </a:rPr>
              <a:t>XXX</a:t>
            </a:r>
            <a:endParaRPr lang="zh-CN" altLang="en-US" sz="1400" b="1" dirty="0" smtClean="0">
              <a:solidFill>
                <a:schemeClr val="bg1"/>
              </a:solidFill>
              <a:cs typeface="+mn-ea"/>
              <a:sym typeface="+mn-lt"/>
            </a:endParaRPr>
          </a:p>
        </p:txBody>
      </p:sp>
      <p:cxnSp>
        <p:nvCxnSpPr>
          <p:cNvPr id="27" name="肘形连接符 26"/>
          <p:cNvCxnSpPr>
            <a:stCxn id="19" idx="0"/>
            <a:endCxn id="9" idx="2"/>
          </p:cNvCxnSpPr>
          <p:nvPr/>
        </p:nvCxnSpPr>
        <p:spPr>
          <a:xfrm rot="5400000" flipH="1" flipV="1">
            <a:off x="5991424" y="1068384"/>
            <a:ext cx="489285" cy="1628098"/>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肘形连接符 28"/>
          <p:cNvCxnSpPr>
            <a:stCxn id="12" idx="0"/>
            <a:endCxn id="9" idx="2"/>
          </p:cNvCxnSpPr>
          <p:nvPr/>
        </p:nvCxnSpPr>
        <p:spPr>
          <a:xfrm rot="16200000" flipV="1">
            <a:off x="7624087" y="1063819"/>
            <a:ext cx="489285" cy="1637227"/>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0353" name="矩形 100352"/>
          <p:cNvSpPr/>
          <p:nvPr/>
        </p:nvSpPr>
        <p:spPr>
          <a:xfrm>
            <a:off x="7008892" y="2850958"/>
            <a:ext cx="104312" cy="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cxnSp>
        <p:nvCxnSpPr>
          <p:cNvPr id="100356" name="肘形连接符 100355"/>
          <p:cNvCxnSpPr>
            <a:stCxn id="100353" idx="2"/>
            <a:endCxn id="20" idx="3"/>
          </p:cNvCxnSpPr>
          <p:nvPr/>
        </p:nvCxnSpPr>
        <p:spPr>
          <a:xfrm rot="5400000">
            <a:off x="4894336" y="1298881"/>
            <a:ext cx="614635" cy="3718790"/>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8" name="肘形连接符 37"/>
          <p:cNvCxnSpPr>
            <a:stCxn id="100353" idx="2"/>
            <a:endCxn id="23" idx="3"/>
          </p:cNvCxnSpPr>
          <p:nvPr/>
        </p:nvCxnSpPr>
        <p:spPr>
          <a:xfrm rot="16200000" flipH="1">
            <a:off x="8577032" y="1334973"/>
            <a:ext cx="614635" cy="3646605"/>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1" name="肘形连接符 40"/>
          <p:cNvCxnSpPr>
            <a:stCxn id="100353" idx="2"/>
            <a:endCxn id="22" idx="3"/>
          </p:cNvCxnSpPr>
          <p:nvPr/>
        </p:nvCxnSpPr>
        <p:spPr>
          <a:xfrm rot="16200000" flipH="1">
            <a:off x="7464013" y="2447994"/>
            <a:ext cx="614635" cy="142056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4" name="肘形连接符 43"/>
          <p:cNvCxnSpPr>
            <a:stCxn id="100353" idx="2"/>
            <a:endCxn id="21" idx="3"/>
          </p:cNvCxnSpPr>
          <p:nvPr/>
        </p:nvCxnSpPr>
        <p:spPr>
          <a:xfrm rot="5400000">
            <a:off x="6350993" y="2755538"/>
            <a:ext cx="614635" cy="80547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5" name="肘形连接符 54"/>
          <p:cNvCxnSpPr>
            <a:stCxn id="100353" idx="0"/>
            <a:endCxn id="19" idx="2"/>
          </p:cNvCxnSpPr>
          <p:nvPr/>
        </p:nvCxnSpPr>
        <p:spPr>
          <a:xfrm rot="16200000" flipV="1">
            <a:off x="6064989" y="1854899"/>
            <a:ext cx="353089" cy="1639030"/>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8" name="肘形连接符 57"/>
          <p:cNvCxnSpPr>
            <a:stCxn id="12" idx="2"/>
            <a:endCxn id="100353" idx="0"/>
          </p:cNvCxnSpPr>
          <p:nvPr/>
        </p:nvCxnSpPr>
        <p:spPr>
          <a:xfrm rot="5400000">
            <a:off x="7697650" y="1861266"/>
            <a:ext cx="353089" cy="1626295"/>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0376" name="矩形 100375"/>
          <p:cNvSpPr/>
          <p:nvPr/>
        </p:nvSpPr>
        <p:spPr>
          <a:xfrm>
            <a:off x="5373713" y="3919263"/>
            <a:ext cx="1757600"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spcBef>
                <a:spcPct val="0"/>
              </a:spcBef>
              <a:spcAft>
                <a:spcPct val="0"/>
              </a:spcAft>
            </a:pPr>
            <a:r>
              <a:rPr lang="zh-CN" altLang="en-US" sz="1400" b="1" dirty="0" smtClean="0">
                <a:solidFill>
                  <a:srgbClr val="000000">
                    <a:lumMod val="100000"/>
                  </a:srgbClr>
                </a:solidFill>
                <a:cs typeface="+mn-ea"/>
                <a:sym typeface="+mn-lt"/>
              </a:rPr>
              <a:t>技术（</a:t>
            </a:r>
            <a:r>
              <a:rPr lang="en-US" altLang="zh-CN" sz="1400" b="1" dirty="0" smtClean="0">
                <a:solidFill>
                  <a:srgbClr val="000000">
                    <a:lumMod val="100000"/>
                  </a:srgbClr>
                </a:solidFill>
                <a:cs typeface="+mn-ea"/>
                <a:sym typeface="+mn-lt"/>
              </a:rPr>
              <a:t>N</a:t>
            </a:r>
            <a:r>
              <a:rPr lang="zh-CN" altLang="en-US" sz="1400" b="1" dirty="0" smtClean="0">
                <a:solidFill>
                  <a:srgbClr val="000000">
                    <a:lumMod val="100000"/>
                  </a:srgbClr>
                </a:solidFill>
                <a:cs typeface="+mn-ea"/>
                <a:sym typeface="+mn-lt"/>
              </a:rPr>
              <a:t>人）</a:t>
            </a:r>
            <a:endParaRPr lang="en-US" altLang="zh-CN" sz="1400" b="1"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en-US" altLang="zh-CN" sz="1400"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63" name="矩形 62"/>
          <p:cNvSpPr/>
          <p:nvPr/>
        </p:nvSpPr>
        <p:spPr>
          <a:xfrm>
            <a:off x="5373713" y="5043841"/>
            <a:ext cx="1757600"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spcBef>
                <a:spcPct val="0"/>
              </a:spcBef>
              <a:spcAft>
                <a:spcPct val="0"/>
              </a:spcAft>
            </a:pPr>
            <a:r>
              <a:rPr lang="zh-CN" altLang="en-US" sz="1400" b="1" dirty="0" smtClean="0">
                <a:solidFill>
                  <a:srgbClr val="000000">
                    <a:lumMod val="100000"/>
                  </a:srgbClr>
                </a:solidFill>
                <a:cs typeface="+mn-ea"/>
                <a:sym typeface="+mn-lt"/>
              </a:rPr>
              <a:t>销售（</a:t>
            </a:r>
            <a:r>
              <a:rPr lang="en-US" altLang="zh-CN" sz="1400" b="1" dirty="0" smtClean="0">
                <a:solidFill>
                  <a:srgbClr val="000000">
                    <a:lumMod val="100000"/>
                  </a:srgbClr>
                </a:solidFill>
                <a:cs typeface="+mn-ea"/>
                <a:sym typeface="+mn-lt"/>
              </a:rPr>
              <a:t>N</a:t>
            </a:r>
            <a:r>
              <a:rPr lang="zh-CN" altLang="en-US" sz="1400" b="1" dirty="0" smtClean="0">
                <a:solidFill>
                  <a:srgbClr val="000000">
                    <a:lumMod val="100000"/>
                  </a:srgbClr>
                </a:solidFill>
                <a:cs typeface="+mn-ea"/>
                <a:sym typeface="+mn-lt"/>
              </a:rPr>
              <a:t>人）</a:t>
            </a:r>
            <a:endParaRPr lang="en-US" altLang="zh-CN" sz="1400" b="1"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en-US" altLang="zh-CN" sz="1400"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64" name="矩形 63"/>
          <p:cNvSpPr/>
          <p:nvPr/>
        </p:nvSpPr>
        <p:spPr>
          <a:xfrm>
            <a:off x="7594760" y="3919263"/>
            <a:ext cx="1757600"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spcBef>
                <a:spcPct val="0"/>
              </a:spcBef>
              <a:spcAft>
                <a:spcPct val="0"/>
              </a:spcAft>
            </a:pPr>
            <a:r>
              <a:rPr lang="zh-CN" altLang="en-US" sz="1400" b="1" dirty="0">
                <a:solidFill>
                  <a:srgbClr val="000000">
                    <a:lumMod val="100000"/>
                  </a:srgbClr>
                </a:solidFill>
                <a:cs typeface="+mn-ea"/>
                <a:sym typeface="+mn-lt"/>
              </a:rPr>
              <a:t>总部专家</a:t>
            </a:r>
            <a:endParaRPr lang="en-US" altLang="zh-CN" sz="1400" b="1"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en-US" altLang="zh-CN" sz="1400"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65" name="矩形 64"/>
          <p:cNvSpPr/>
          <p:nvPr/>
        </p:nvSpPr>
        <p:spPr>
          <a:xfrm>
            <a:off x="7594760" y="5043841"/>
            <a:ext cx="1757600"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spcBef>
                <a:spcPct val="0"/>
              </a:spcBef>
              <a:spcAft>
                <a:spcPct val="0"/>
              </a:spcAft>
            </a:pPr>
            <a:r>
              <a:rPr lang="zh-CN" altLang="en-US" sz="1400" b="1" dirty="0">
                <a:solidFill>
                  <a:srgbClr val="000000">
                    <a:lumMod val="100000"/>
                  </a:srgbClr>
                </a:solidFill>
                <a:cs typeface="+mn-ea"/>
                <a:sym typeface="+mn-lt"/>
              </a:rPr>
              <a:t>上</a:t>
            </a:r>
            <a:r>
              <a:rPr lang="zh-CN" altLang="en-US" sz="1400" b="1" dirty="0" smtClean="0">
                <a:solidFill>
                  <a:srgbClr val="000000">
                    <a:lumMod val="100000"/>
                  </a:srgbClr>
                </a:solidFill>
                <a:cs typeface="+mn-ea"/>
                <a:sym typeface="+mn-lt"/>
              </a:rPr>
              <a:t>分</a:t>
            </a:r>
            <a:endParaRPr lang="en-US" altLang="zh-CN" sz="1400" b="1"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en-US" altLang="zh-CN" sz="1400"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66" name="矩形 65"/>
          <p:cNvSpPr/>
          <p:nvPr/>
        </p:nvSpPr>
        <p:spPr>
          <a:xfrm>
            <a:off x="9815807" y="3919263"/>
            <a:ext cx="1757600"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spcBef>
                <a:spcPct val="0"/>
              </a:spcBef>
              <a:spcAft>
                <a:spcPct val="0"/>
              </a:spcAft>
            </a:pPr>
            <a:r>
              <a:rPr lang="en-US" altLang="zh-CN" sz="1400" b="1" dirty="0" smtClean="0">
                <a:solidFill>
                  <a:srgbClr val="000000">
                    <a:lumMod val="100000"/>
                  </a:srgbClr>
                </a:solidFill>
                <a:cs typeface="+mn-ea"/>
                <a:sym typeface="+mn-lt"/>
              </a:rPr>
              <a:t>XX</a:t>
            </a:r>
            <a:endParaRPr lang="en-US" altLang="zh-CN" sz="1400" b="1"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en-US" altLang="zh-CN" sz="1400"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67" name="矩形 66"/>
          <p:cNvSpPr/>
          <p:nvPr/>
        </p:nvSpPr>
        <p:spPr>
          <a:xfrm>
            <a:off x="9815807" y="5043841"/>
            <a:ext cx="1757600"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spcBef>
                <a:spcPct val="0"/>
              </a:spcBef>
              <a:spcAft>
                <a:spcPct val="0"/>
              </a:spcAft>
            </a:pPr>
            <a:r>
              <a:rPr lang="en-US" altLang="zh-CN" sz="1400" b="1" dirty="0" smtClean="0">
                <a:solidFill>
                  <a:srgbClr val="000000">
                    <a:lumMod val="100000"/>
                  </a:srgbClr>
                </a:solidFill>
                <a:cs typeface="+mn-ea"/>
                <a:sym typeface="+mn-lt"/>
              </a:rPr>
              <a:t>XXXX</a:t>
            </a:r>
            <a:endParaRPr lang="en-US" altLang="zh-CN" sz="1400" b="1"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en-US" altLang="zh-CN" sz="1400"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43" name="矩形 42"/>
          <p:cNvSpPr/>
          <p:nvPr/>
        </p:nvSpPr>
        <p:spPr>
          <a:xfrm>
            <a:off x="3397504" y="3194986"/>
            <a:ext cx="568378" cy="2444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dirty="0">
                <a:solidFill>
                  <a:schemeClr val="tx1"/>
                </a:solidFill>
                <a:cs typeface="+mn-ea"/>
                <a:sym typeface="+mn-lt"/>
              </a:rPr>
              <a:t>推动</a:t>
            </a:r>
            <a:endParaRPr lang="zh-CN" altLang="en-US" sz="1400" dirty="0" smtClean="0">
              <a:solidFill>
                <a:schemeClr val="tx1"/>
              </a:solidFill>
              <a:cs typeface="+mn-ea"/>
              <a:sym typeface="+mn-lt"/>
            </a:endParaRPr>
          </a:p>
        </p:txBody>
      </p:sp>
      <p:sp>
        <p:nvSpPr>
          <p:cNvPr id="89" name="矩形 88"/>
          <p:cNvSpPr/>
          <p:nvPr/>
        </p:nvSpPr>
        <p:spPr>
          <a:xfrm>
            <a:off x="5662272" y="3194986"/>
            <a:ext cx="568378" cy="2444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dirty="0">
                <a:solidFill>
                  <a:schemeClr val="tx1"/>
                </a:solidFill>
                <a:cs typeface="+mn-ea"/>
                <a:sym typeface="+mn-lt"/>
              </a:rPr>
              <a:t>实施</a:t>
            </a:r>
            <a:endParaRPr lang="zh-CN" altLang="en-US" sz="1400" dirty="0" smtClean="0">
              <a:solidFill>
                <a:schemeClr val="tx1"/>
              </a:solidFill>
              <a:cs typeface="+mn-ea"/>
              <a:sym typeface="+mn-lt"/>
            </a:endParaRPr>
          </a:p>
        </p:txBody>
      </p:sp>
      <p:sp>
        <p:nvSpPr>
          <p:cNvPr id="90" name="矩形 89"/>
          <p:cNvSpPr/>
          <p:nvPr/>
        </p:nvSpPr>
        <p:spPr>
          <a:xfrm>
            <a:off x="8469186" y="3194986"/>
            <a:ext cx="568378" cy="2444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dirty="0" smtClean="0">
                <a:solidFill>
                  <a:schemeClr val="tx1"/>
                </a:solidFill>
                <a:cs typeface="+mn-ea"/>
                <a:sym typeface="+mn-lt"/>
              </a:rPr>
              <a:t>支持</a:t>
            </a:r>
            <a:endParaRPr lang="zh-CN" altLang="en-US" sz="1400" dirty="0" smtClean="0">
              <a:solidFill>
                <a:schemeClr val="tx1"/>
              </a:solidFill>
              <a:cs typeface="+mn-ea"/>
              <a:sym typeface="+mn-lt"/>
            </a:endParaRPr>
          </a:p>
        </p:txBody>
      </p:sp>
      <p:sp>
        <p:nvSpPr>
          <p:cNvPr id="91" name="矩形 90"/>
          <p:cNvSpPr/>
          <p:nvPr/>
        </p:nvSpPr>
        <p:spPr>
          <a:xfrm>
            <a:off x="10672744" y="3194986"/>
            <a:ext cx="568378" cy="2444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dirty="0" smtClean="0">
                <a:solidFill>
                  <a:schemeClr val="tx1"/>
                </a:solidFill>
                <a:cs typeface="+mn-ea"/>
                <a:sym typeface="+mn-lt"/>
              </a:rPr>
              <a:t>支持</a:t>
            </a:r>
            <a:endParaRPr lang="zh-CN" altLang="en-US" sz="1400" dirty="0" smtClean="0">
              <a:solidFill>
                <a:schemeClr val="tx1"/>
              </a:solidFill>
              <a:cs typeface="+mn-ea"/>
              <a:sym typeface="+mn-lt"/>
            </a:endParaRPr>
          </a:p>
        </p:txBody>
      </p:sp>
      <p:sp>
        <p:nvSpPr>
          <p:cNvPr id="92" name="矩形 91"/>
          <p:cNvSpPr/>
          <p:nvPr/>
        </p:nvSpPr>
        <p:spPr>
          <a:xfrm>
            <a:off x="7078846" y="1637790"/>
            <a:ext cx="445959" cy="2444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zh-CN" altLang="en-US" sz="1400" dirty="0">
                <a:solidFill>
                  <a:schemeClr val="tx1"/>
                </a:solidFill>
                <a:cs typeface="+mn-ea"/>
                <a:sym typeface="+mn-lt"/>
              </a:rPr>
              <a:t>汇报</a:t>
            </a:r>
            <a:endParaRPr lang="zh-CN" altLang="en-US" sz="1400" dirty="0" smtClean="0">
              <a:solidFill>
                <a:schemeClr val="tx1"/>
              </a:solidFill>
              <a:cs typeface="+mn-ea"/>
              <a:sym typeface="+mn-lt"/>
            </a:endParaRPr>
          </a:p>
        </p:txBody>
      </p:sp>
      <p:sp>
        <p:nvSpPr>
          <p:cNvPr id="107" name="矩形 106"/>
          <p:cNvSpPr/>
          <p:nvPr/>
        </p:nvSpPr>
        <p:spPr>
          <a:xfrm>
            <a:off x="579456" y="1220037"/>
            <a:ext cx="845932" cy="41775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r">
              <a:lnSpc>
                <a:spcPct val="90000"/>
              </a:lnSpc>
              <a:spcAft>
                <a:spcPts val="1000"/>
              </a:spcAft>
            </a:pPr>
            <a:r>
              <a:rPr lang="en-US" altLang="zh-CN" sz="1600" b="1" dirty="0">
                <a:solidFill>
                  <a:schemeClr val="tx1"/>
                </a:solidFill>
                <a:cs typeface="+mn-ea"/>
                <a:sym typeface="+mn-lt"/>
              </a:rPr>
              <a:t>XXX</a:t>
            </a:r>
            <a:endParaRPr lang="en-US" altLang="zh-CN" sz="1600" b="1" dirty="0">
              <a:solidFill>
                <a:schemeClr val="tx1"/>
              </a:solidFill>
              <a:cs typeface="+mn-ea"/>
              <a:sym typeface="+mn-lt"/>
            </a:endParaRPr>
          </a:p>
        </p:txBody>
      </p:sp>
      <p:sp>
        <p:nvSpPr>
          <p:cNvPr id="108" name="矩形 107"/>
          <p:cNvSpPr/>
          <p:nvPr/>
        </p:nvSpPr>
        <p:spPr>
          <a:xfrm>
            <a:off x="579456" y="2080116"/>
            <a:ext cx="845932" cy="41775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r">
              <a:lnSpc>
                <a:spcPct val="90000"/>
              </a:lnSpc>
              <a:spcAft>
                <a:spcPts val="1000"/>
              </a:spcAft>
            </a:pPr>
            <a:r>
              <a:rPr lang="en-US" altLang="zh-CN" sz="1600" b="1" dirty="0">
                <a:solidFill>
                  <a:schemeClr val="tx1"/>
                </a:solidFill>
                <a:cs typeface="+mn-ea"/>
                <a:sym typeface="+mn-lt"/>
              </a:rPr>
              <a:t>XXX</a:t>
            </a:r>
            <a:endParaRPr lang="en-US" altLang="zh-CN" sz="1600" b="1" dirty="0">
              <a:solidFill>
                <a:schemeClr val="tx1"/>
              </a:solidFill>
              <a:cs typeface="+mn-ea"/>
              <a:sym typeface="+mn-lt"/>
            </a:endParaRPr>
          </a:p>
        </p:txBody>
      </p:sp>
      <p:sp>
        <p:nvSpPr>
          <p:cNvPr id="109" name="矩形 108"/>
          <p:cNvSpPr/>
          <p:nvPr/>
        </p:nvSpPr>
        <p:spPr>
          <a:xfrm>
            <a:off x="579456" y="3465594"/>
            <a:ext cx="845932" cy="263167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r">
              <a:lnSpc>
                <a:spcPct val="90000"/>
              </a:lnSpc>
              <a:spcAft>
                <a:spcPts val="1000"/>
              </a:spcAft>
            </a:pPr>
            <a:r>
              <a:rPr lang="en-US" altLang="zh-CN" sz="1600" b="1" dirty="0">
                <a:solidFill>
                  <a:schemeClr val="tx1"/>
                </a:solidFill>
                <a:cs typeface="+mn-ea"/>
                <a:sym typeface="+mn-lt"/>
              </a:rPr>
              <a:t>XXX</a:t>
            </a:r>
            <a:endParaRPr lang="en-US" altLang="zh-CN" sz="1600" b="1" dirty="0">
              <a:solidFill>
                <a:schemeClr val="tx1"/>
              </a:solidFill>
              <a:cs typeface="+mn-ea"/>
              <a:sym typeface="+mn-lt"/>
            </a:endParaRPr>
          </a:p>
        </p:txBody>
      </p:sp>
      <p:cxnSp>
        <p:nvCxnSpPr>
          <p:cNvPr id="75" name="直接连接符 74"/>
          <p:cNvCxnSpPr/>
          <p:nvPr/>
        </p:nvCxnSpPr>
        <p:spPr>
          <a:xfrm>
            <a:off x="1470213" y="3465594"/>
            <a:ext cx="0" cy="2631673"/>
          </a:xfrm>
          <a:prstGeom prst="line">
            <a:avLst/>
          </a:prstGeom>
          <a:ln w="127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a:off x="1470213" y="2080116"/>
            <a:ext cx="0" cy="417753"/>
          </a:xfrm>
          <a:prstGeom prst="line">
            <a:avLst/>
          </a:prstGeom>
          <a:ln w="127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16" name="直接连接符 115"/>
          <p:cNvCxnSpPr/>
          <p:nvPr/>
        </p:nvCxnSpPr>
        <p:spPr>
          <a:xfrm>
            <a:off x="1470213" y="1220037"/>
            <a:ext cx="0" cy="417753"/>
          </a:xfrm>
          <a:prstGeom prst="line">
            <a:avLst/>
          </a:prstGeom>
          <a:ln w="127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7" name="矩形 116"/>
          <p:cNvSpPr/>
          <p:nvPr/>
        </p:nvSpPr>
        <p:spPr>
          <a:xfrm>
            <a:off x="1850582" y="3919263"/>
            <a:ext cx="2999323"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spcBef>
                <a:spcPct val="0"/>
              </a:spcBef>
              <a:spcAft>
                <a:spcPct val="0"/>
              </a:spcAft>
            </a:pPr>
            <a:r>
              <a:rPr lang="zh-CN" altLang="en-US" sz="1400" b="1" dirty="0" smtClean="0">
                <a:solidFill>
                  <a:srgbClr val="000000">
                    <a:lumMod val="100000"/>
                  </a:srgbClr>
                </a:solidFill>
                <a:cs typeface="+mn-ea"/>
                <a:sym typeface="+mn-lt"/>
              </a:rPr>
              <a:t>技术（</a:t>
            </a:r>
            <a:r>
              <a:rPr lang="en-US" altLang="zh-CN" sz="1400" b="1" dirty="0" smtClean="0">
                <a:solidFill>
                  <a:srgbClr val="000000">
                    <a:lumMod val="100000"/>
                  </a:srgbClr>
                </a:solidFill>
                <a:cs typeface="+mn-ea"/>
                <a:sym typeface="+mn-lt"/>
              </a:rPr>
              <a:t>N</a:t>
            </a:r>
            <a:r>
              <a:rPr lang="zh-CN" altLang="en-US" sz="1400" b="1" dirty="0" smtClean="0">
                <a:solidFill>
                  <a:srgbClr val="000000">
                    <a:lumMod val="100000"/>
                  </a:srgbClr>
                </a:solidFill>
                <a:cs typeface="+mn-ea"/>
                <a:sym typeface="+mn-lt"/>
              </a:rPr>
              <a:t>人）</a:t>
            </a:r>
            <a:endParaRPr lang="en-US" altLang="zh-CN" sz="1400" b="1"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en-US" altLang="zh-CN" sz="1400"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118" name="矩形 117"/>
          <p:cNvSpPr/>
          <p:nvPr/>
        </p:nvSpPr>
        <p:spPr>
          <a:xfrm>
            <a:off x="1850582" y="5043841"/>
            <a:ext cx="2999323"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spcBef>
                <a:spcPct val="0"/>
              </a:spcBef>
              <a:spcAft>
                <a:spcPct val="0"/>
              </a:spcAft>
            </a:pPr>
            <a:r>
              <a:rPr lang="zh-CN" altLang="en-US" sz="1400" b="1" dirty="0" smtClean="0">
                <a:solidFill>
                  <a:srgbClr val="000000">
                    <a:lumMod val="100000"/>
                  </a:srgbClr>
                </a:solidFill>
                <a:cs typeface="+mn-ea"/>
                <a:sym typeface="+mn-lt"/>
              </a:rPr>
              <a:t>销售（</a:t>
            </a:r>
            <a:r>
              <a:rPr lang="en-US" altLang="zh-CN" sz="1400" b="1" dirty="0" smtClean="0">
                <a:solidFill>
                  <a:srgbClr val="000000">
                    <a:lumMod val="100000"/>
                  </a:srgbClr>
                </a:solidFill>
                <a:cs typeface="+mn-ea"/>
                <a:sym typeface="+mn-lt"/>
              </a:rPr>
              <a:t>N</a:t>
            </a:r>
            <a:r>
              <a:rPr lang="zh-CN" altLang="en-US" sz="1400" b="1" dirty="0" smtClean="0">
                <a:solidFill>
                  <a:srgbClr val="000000">
                    <a:lumMod val="100000"/>
                  </a:srgbClr>
                </a:solidFill>
                <a:cs typeface="+mn-ea"/>
                <a:sym typeface="+mn-lt"/>
              </a:rPr>
              <a:t>人）</a:t>
            </a:r>
            <a:endParaRPr lang="en-US" altLang="zh-CN" sz="1400" b="1"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en-US" altLang="zh-CN" sz="1400" dirty="0" smtClean="0">
              <a:solidFill>
                <a:srgbClr val="000000">
                  <a:lumMod val="100000"/>
                </a:srgbClr>
              </a:solidFill>
              <a:cs typeface="+mn-ea"/>
              <a:sym typeface="+mn-lt"/>
            </a:endParaRPr>
          </a:p>
          <a:p>
            <a:pPr marL="288925" lvl="1" indent="-174625">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49"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架构</a:t>
            </a:r>
            <a:r>
              <a:rPr lang="en-US" altLang="zh-CN" sz="2400" dirty="0" smtClean="0">
                <a:latin typeface="+mj-ea"/>
              </a:rPr>
              <a:t>-</a:t>
            </a:r>
            <a:r>
              <a:rPr lang="zh-CN" altLang="en-US" sz="2400" dirty="0" smtClean="0">
                <a:latin typeface="+mj-ea"/>
              </a:rPr>
              <a:t>项目小组</a:t>
            </a:r>
            <a:endParaRPr lang="zh-CN" altLang="en-US" sz="2400" dirty="0">
              <a:latin typeface="+mj-ea"/>
            </a:endParaRPr>
          </a:p>
        </p:txBody>
      </p:sp>
      <p:pic>
        <p:nvPicPr>
          <p:cNvPr id="46" name="图片 4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3056" y="702298"/>
            <a:ext cx="11868944" cy="4203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r>
              <a:rPr lang="zh-CN" altLang="en-US" sz="1400" dirty="0" smtClean="0">
                <a:solidFill>
                  <a:srgbClr val="575757"/>
                </a:solidFill>
              </a:rPr>
              <a:t>关于项目方案，制定详细实施计划，明确各项工作关键里程碑、指定具体责任人</a:t>
            </a:r>
            <a:endParaRPr lang="zh-CN" altLang="en-US" sz="1400" dirty="0" smtClean="0">
              <a:solidFill>
                <a:srgbClr val="575757"/>
              </a:solidFill>
            </a:endParaRPr>
          </a:p>
        </p:txBody>
      </p:sp>
      <p:sp>
        <p:nvSpPr>
          <p:cNvPr id="134" name="矩形 133"/>
          <p:cNvSpPr/>
          <p:nvPr/>
        </p:nvSpPr>
        <p:spPr>
          <a:xfrm>
            <a:off x="4971150" y="1077070"/>
            <a:ext cx="2520000" cy="637200"/>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b="1" dirty="0" smtClean="0">
                <a:solidFill>
                  <a:schemeClr val="bg1"/>
                </a:solidFill>
                <a:cs typeface="+mn-ea"/>
                <a:sym typeface="+mn-lt"/>
              </a:rPr>
              <a:t>项目领导小组</a:t>
            </a:r>
            <a:endParaRPr lang="en-US" altLang="zh-CN" b="1" dirty="0">
              <a:solidFill>
                <a:schemeClr val="bg1"/>
              </a:solidFill>
              <a:cs typeface="+mn-ea"/>
              <a:sym typeface="+mn-lt"/>
            </a:endParaRPr>
          </a:p>
        </p:txBody>
      </p:sp>
      <p:sp>
        <p:nvSpPr>
          <p:cNvPr id="135" name="矩形 134"/>
          <p:cNvSpPr/>
          <p:nvPr/>
        </p:nvSpPr>
        <p:spPr>
          <a:xfrm>
            <a:off x="5151150" y="2896823"/>
            <a:ext cx="2160000" cy="635936"/>
          </a:xfrm>
          <a:prstGeom prst="rect">
            <a:avLst/>
          </a:prstGeom>
          <a:solidFill>
            <a:srgbClr val="FEA07A"/>
          </a:solidFill>
          <a:ln w="12700" cap="flat">
            <a:noFill/>
            <a:miter lim="400000"/>
          </a:ln>
          <a:effectLst/>
        </p:spPr>
        <p:txBody>
          <a:bodyPr anchor="ctr"/>
          <a:lstStyle/>
          <a:p>
            <a:pPr algn="ctr"/>
            <a:r>
              <a:rPr lang="zh-CN" altLang="en-US" sz="1600" dirty="0" smtClean="0">
                <a:latin typeface="Arial" panose="020B0604020202020204"/>
                <a:ea typeface="华文楷体" panose="02010600040101010101" charset="-122"/>
                <a:sym typeface="+mn-lt"/>
              </a:rPr>
              <a:t>项目联合执行小组</a:t>
            </a:r>
            <a:endParaRPr lang="zh-CN" altLang="en-US" sz="1600" dirty="0">
              <a:latin typeface="Arial" panose="020B0604020202020204"/>
              <a:ea typeface="华文楷体" panose="02010600040101010101" charset="-122"/>
              <a:sym typeface="+mn-lt"/>
            </a:endParaRPr>
          </a:p>
        </p:txBody>
      </p:sp>
      <p:sp>
        <p:nvSpPr>
          <p:cNvPr id="136" name="矩形 135"/>
          <p:cNvSpPr/>
          <p:nvPr/>
        </p:nvSpPr>
        <p:spPr>
          <a:xfrm>
            <a:off x="7110610" y="2054638"/>
            <a:ext cx="2160000" cy="635936"/>
          </a:xfrm>
          <a:prstGeom prst="rect">
            <a:avLst/>
          </a:prstGeom>
          <a:solidFill>
            <a:srgbClr val="FF6600"/>
          </a:solidFill>
          <a:ln w="12700" cap="flat">
            <a:noFill/>
            <a:miter lim="400000"/>
          </a:ln>
          <a:effectLst/>
        </p:spPr>
        <p:txBody>
          <a:bodyPr anchor="ctr"/>
          <a:lstStyle/>
          <a:p>
            <a:pPr algn="ctr"/>
            <a:r>
              <a:rPr lang="zh-CN" altLang="en-US" sz="1600" dirty="0" smtClean="0">
                <a:latin typeface="Arial" panose="020B0604020202020204"/>
                <a:ea typeface="华文楷体" panose="02010600040101010101" charset="-122"/>
                <a:sym typeface="+mn-lt"/>
              </a:rPr>
              <a:t>项目</a:t>
            </a:r>
            <a:r>
              <a:rPr lang="en-US" altLang="zh-CN" sz="1600" dirty="0" smtClean="0">
                <a:latin typeface="Arial" panose="020B0604020202020204"/>
                <a:ea typeface="华文楷体" panose="02010600040101010101" charset="-122"/>
                <a:sym typeface="+mn-lt"/>
              </a:rPr>
              <a:t>PMO</a:t>
            </a:r>
            <a:endParaRPr lang="en-US" altLang="zh-CN" sz="1600" dirty="0">
              <a:latin typeface="Arial" panose="020B0604020202020204"/>
              <a:ea typeface="华文楷体" panose="02010600040101010101" charset="-122"/>
              <a:sym typeface="+mn-lt"/>
            </a:endParaRPr>
          </a:p>
        </p:txBody>
      </p:sp>
      <p:sp>
        <p:nvSpPr>
          <p:cNvPr id="137" name="矩形 136"/>
          <p:cNvSpPr/>
          <p:nvPr/>
        </p:nvSpPr>
        <p:spPr>
          <a:xfrm>
            <a:off x="1222287"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145" name="同侧圆角矩形 144"/>
          <p:cNvSpPr/>
          <p:nvPr/>
        </p:nvSpPr>
        <p:spPr>
          <a:xfrm>
            <a:off x="1222740"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dirty="0" smtClean="0">
                <a:solidFill>
                  <a:schemeClr val="bg1"/>
                </a:solidFill>
                <a:cs typeface="+mn-ea"/>
                <a:sym typeface="+mn-lt"/>
              </a:rPr>
              <a:t>工作</a:t>
            </a:r>
            <a:r>
              <a:rPr lang="en-US" altLang="zh-CN" sz="1400" b="1" dirty="0">
                <a:solidFill>
                  <a:schemeClr val="bg1"/>
                </a:solidFill>
                <a:cs typeface="+mn-ea"/>
                <a:sym typeface="+mn-lt"/>
              </a:rPr>
              <a:t>A</a:t>
            </a:r>
            <a:endParaRPr lang="en-US" altLang="zh-CN" sz="1400" b="1" dirty="0">
              <a:solidFill>
                <a:schemeClr val="bg1"/>
              </a:solidFill>
              <a:cs typeface="+mn-ea"/>
              <a:sym typeface="+mn-lt"/>
            </a:endParaRPr>
          </a:p>
        </p:txBody>
      </p:sp>
      <p:sp>
        <p:nvSpPr>
          <p:cNvPr id="147" name="同侧圆角矩形 146"/>
          <p:cNvSpPr/>
          <p:nvPr/>
        </p:nvSpPr>
        <p:spPr>
          <a:xfrm>
            <a:off x="2946902"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dirty="0" smtClean="0">
                <a:solidFill>
                  <a:schemeClr val="bg1"/>
                </a:solidFill>
                <a:cs typeface="+mn-ea"/>
                <a:sym typeface="+mn-lt"/>
              </a:rPr>
              <a:t>工作</a:t>
            </a:r>
            <a:r>
              <a:rPr lang="en-US" altLang="zh-CN" sz="1400" b="1" dirty="0" smtClean="0">
                <a:solidFill>
                  <a:schemeClr val="bg1"/>
                </a:solidFill>
                <a:cs typeface="+mn-ea"/>
                <a:sym typeface="+mn-lt"/>
              </a:rPr>
              <a:t>B</a:t>
            </a:r>
            <a:endParaRPr lang="en-US" altLang="zh-CN" sz="1400" b="1" dirty="0">
              <a:solidFill>
                <a:schemeClr val="bg1"/>
              </a:solidFill>
              <a:cs typeface="+mn-ea"/>
              <a:sym typeface="+mn-lt"/>
            </a:endParaRPr>
          </a:p>
        </p:txBody>
      </p:sp>
      <p:sp>
        <p:nvSpPr>
          <p:cNvPr id="148" name="同侧圆角矩形 147"/>
          <p:cNvSpPr/>
          <p:nvPr/>
        </p:nvSpPr>
        <p:spPr>
          <a:xfrm>
            <a:off x="4671064"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dirty="0" smtClean="0">
                <a:solidFill>
                  <a:schemeClr val="bg1"/>
                </a:solidFill>
                <a:cs typeface="+mn-ea"/>
                <a:sym typeface="+mn-lt"/>
              </a:rPr>
              <a:t>工作</a:t>
            </a:r>
            <a:r>
              <a:rPr lang="en-US" altLang="zh-CN" sz="1400" b="1" dirty="0" smtClean="0">
                <a:solidFill>
                  <a:schemeClr val="bg1"/>
                </a:solidFill>
                <a:cs typeface="+mn-ea"/>
                <a:sym typeface="+mn-lt"/>
              </a:rPr>
              <a:t>C</a:t>
            </a:r>
            <a:endParaRPr lang="en-US" altLang="zh-CN" sz="1400" b="1" dirty="0">
              <a:solidFill>
                <a:schemeClr val="bg1"/>
              </a:solidFill>
              <a:cs typeface="+mn-ea"/>
              <a:sym typeface="+mn-lt"/>
            </a:endParaRPr>
          </a:p>
        </p:txBody>
      </p:sp>
      <p:sp>
        <p:nvSpPr>
          <p:cNvPr id="149" name="同侧圆角矩形 148"/>
          <p:cNvSpPr/>
          <p:nvPr/>
        </p:nvSpPr>
        <p:spPr>
          <a:xfrm>
            <a:off x="6395226"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dirty="0" smtClean="0">
                <a:solidFill>
                  <a:schemeClr val="bg1"/>
                </a:solidFill>
                <a:cs typeface="+mn-ea"/>
                <a:sym typeface="+mn-lt"/>
              </a:rPr>
              <a:t>工作</a:t>
            </a:r>
            <a:r>
              <a:rPr lang="en-US" altLang="zh-CN" sz="1400" b="1" dirty="0" smtClean="0">
                <a:solidFill>
                  <a:schemeClr val="bg1"/>
                </a:solidFill>
                <a:cs typeface="+mn-ea"/>
                <a:sym typeface="+mn-lt"/>
              </a:rPr>
              <a:t>C</a:t>
            </a:r>
            <a:endParaRPr lang="en-US" altLang="zh-CN" sz="1400" b="1" dirty="0">
              <a:solidFill>
                <a:schemeClr val="bg1"/>
              </a:solidFill>
              <a:cs typeface="+mn-ea"/>
              <a:sym typeface="+mn-lt"/>
            </a:endParaRPr>
          </a:p>
        </p:txBody>
      </p:sp>
      <p:cxnSp>
        <p:nvCxnSpPr>
          <p:cNvPr id="150" name="肘形连接符 149"/>
          <p:cNvCxnSpPr>
            <a:stCxn id="135" idx="2"/>
            <a:endCxn id="145" idx="3"/>
          </p:cNvCxnSpPr>
          <p:nvPr/>
        </p:nvCxnSpPr>
        <p:spPr>
          <a:xfrm rot="5400000">
            <a:off x="3801268" y="1710231"/>
            <a:ext cx="607355" cy="4252410"/>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8" name="矩形 157"/>
          <p:cNvSpPr/>
          <p:nvPr/>
        </p:nvSpPr>
        <p:spPr>
          <a:xfrm>
            <a:off x="1261450"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14300" lvl="1">
              <a:spcBef>
                <a:spcPct val="0"/>
              </a:spcBef>
              <a:spcAft>
                <a:spcPct val="0"/>
              </a:spcAft>
              <a:buClr>
                <a:schemeClr val="tx2">
                  <a:lumMod val="100000"/>
                </a:schemeClr>
              </a:buClr>
              <a:buSzPct val="100000"/>
            </a:pPr>
            <a:r>
              <a:rPr lang="zh-CN" altLang="en-US" sz="1400" dirty="0" smtClean="0">
                <a:solidFill>
                  <a:srgbClr val="000000">
                    <a:lumMod val="100000"/>
                  </a:srgbClr>
                </a:solidFill>
                <a:cs typeface="+mn-ea"/>
                <a:sym typeface="+mn-lt"/>
              </a:rPr>
              <a:t>负责人：王一</a:t>
            </a:r>
            <a:endParaRPr lang="en-US" altLang="zh-CN" sz="1400" dirty="0" smtClean="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A.1</a:t>
            </a:r>
            <a:r>
              <a:rPr lang="zh-CN" altLang="en-US" sz="1400" dirty="0">
                <a:solidFill>
                  <a:srgbClr val="000000">
                    <a:lumMod val="100000"/>
                  </a:srgbClr>
                </a:solidFill>
                <a:cs typeface="+mn-ea"/>
                <a:sym typeface="+mn-lt"/>
              </a:rPr>
              <a:t>：王二</a:t>
            </a:r>
            <a:endParaRPr lang="zh-CN" altLang="en-US" sz="1400" dirty="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cs typeface="+mn-ea"/>
                <a:sym typeface="+mn-lt"/>
              </a:rPr>
              <a:t>A.2</a:t>
            </a:r>
            <a:r>
              <a:rPr lang="zh-CN" altLang="en-US" sz="1400" dirty="0">
                <a:solidFill>
                  <a:srgbClr val="000000">
                    <a:lumMod val="100000"/>
                  </a:srgbClr>
                </a:solidFill>
                <a:cs typeface="+mn-ea"/>
                <a:sym typeface="+mn-lt"/>
              </a:rPr>
              <a:t>：王三</a:t>
            </a:r>
            <a:endParaRPr lang="zh-CN" altLang="en-US" sz="1400" dirty="0">
              <a:solidFill>
                <a:srgbClr val="000000">
                  <a:lumMod val="100000"/>
                </a:srgbClr>
              </a:solidFill>
              <a:cs typeface="+mn-ea"/>
              <a:sym typeface="+mn-lt"/>
            </a:endParaRPr>
          </a:p>
        </p:txBody>
      </p:sp>
      <p:sp>
        <p:nvSpPr>
          <p:cNvPr id="159" name="同侧圆角矩形 158"/>
          <p:cNvSpPr/>
          <p:nvPr/>
        </p:nvSpPr>
        <p:spPr>
          <a:xfrm>
            <a:off x="8119388"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dirty="0" smtClean="0">
                <a:solidFill>
                  <a:schemeClr val="bg1"/>
                </a:solidFill>
                <a:cs typeface="+mn-ea"/>
                <a:sym typeface="+mn-lt"/>
              </a:rPr>
              <a:t>工作</a:t>
            </a:r>
            <a:r>
              <a:rPr lang="en-US" altLang="zh-CN" sz="1400" b="1" dirty="0" smtClean="0">
                <a:solidFill>
                  <a:schemeClr val="bg1"/>
                </a:solidFill>
                <a:cs typeface="+mn-ea"/>
                <a:sym typeface="+mn-lt"/>
              </a:rPr>
              <a:t>D</a:t>
            </a:r>
            <a:endParaRPr lang="en-US" altLang="zh-CN" sz="1400" b="1" dirty="0">
              <a:solidFill>
                <a:schemeClr val="bg1"/>
              </a:solidFill>
              <a:cs typeface="+mn-ea"/>
              <a:sym typeface="+mn-lt"/>
            </a:endParaRPr>
          </a:p>
        </p:txBody>
      </p:sp>
      <p:sp>
        <p:nvSpPr>
          <p:cNvPr id="160" name="同侧圆角矩形 159"/>
          <p:cNvSpPr/>
          <p:nvPr/>
        </p:nvSpPr>
        <p:spPr>
          <a:xfrm>
            <a:off x="9843552"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dirty="0" smtClean="0">
                <a:solidFill>
                  <a:schemeClr val="bg1"/>
                </a:solidFill>
                <a:cs typeface="+mn-ea"/>
                <a:sym typeface="+mn-lt"/>
              </a:rPr>
              <a:t>工作</a:t>
            </a:r>
            <a:r>
              <a:rPr lang="en-US" altLang="zh-CN" sz="1400" b="1" dirty="0" smtClean="0">
                <a:solidFill>
                  <a:schemeClr val="bg1"/>
                </a:solidFill>
                <a:cs typeface="+mn-ea"/>
                <a:sym typeface="+mn-lt"/>
              </a:rPr>
              <a:t>E</a:t>
            </a:r>
            <a:endParaRPr lang="en-US" altLang="zh-CN" sz="1400" b="1" dirty="0">
              <a:solidFill>
                <a:schemeClr val="bg1"/>
              </a:solidFill>
              <a:cs typeface="+mn-ea"/>
              <a:sym typeface="+mn-lt"/>
            </a:endParaRPr>
          </a:p>
        </p:txBody>
      </p:sp>
      <p:sp>
        <p:nvSpPr>
          <p:cNvPr id="161" name="矩形 160"/>
          <p:cNvSpPr/>
          <p:nvPr/>
        </p:nvSpPr>
        <p:spPr>
          <a:xfrm>
            <a:off x="2931732"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162" name="矩形 161"/>
          <p:cNvSpPr/>
          <p:nvPr/>
        </p:nvSpPr>
        <p:spPr>
          <a:xfrm>
            <a:off x="2970895"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14300" lvl="1">
              <a:spcBef>
                <a:spcPct val="0"/>
              </a:spcBef>
              <a:spcAft>
                <a:spcPct val="0"/>
              </a:spcAft>
              <a:buClr>
                <a:schemeClr val="tx2">
                  <a:lumMod val="100000"/>
                </a:schemeClr>
              </a:buClr>
              <a:buSzPct val="100000"/>
            </a:pPr>
            <a:r>
              <a:rPr lang="zh-CN" altLang="en-US" sz="1400" dirty="0">
                <a:solidFill>
                  <a:srgbClr val="000000">
                    <a:lumMod val="100000"/>
                  </a:srgbClr>
                </a:solidFill>
                <a:cs typeface="+mn-ea"/>
                <a:sym typeface="+mn-lt"/>
              </a:rPr>
              <a:t>负责人</a:t>
            </a:r>
            <a:r>
              <a:rPr lang="zh-CN" altLang="en-US" sz="1400" dirty="0" smtClean="0">
                <a:solidFill>
                  <a:srgbClr val="000000">
                    <a:lumMod val="100000"/>
                  </a:srgbClr>
                </a:solidFill>
                <a:cs typeface="+mn-ea"/>
                <a:sym typeface="+mn-lt"/>
              </a:rPr>
              <a:t>：刘一</a:t>
            </a:r>
            <a:endParaRPr lang="en-US" altLang="zh-CN" sz="1400" dirty="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cs typeface="+mn-ea"/>
                <a:sym typeface="+mn-lt"/>
              </a:rPr>
              <a:t>B.1</a:t>
            </a:r>
            <a:r>
              <a:rPr lang="zh-CN" altLang="en-US" sz="1400" dirty="0">
                <a:solidFill>
                  <a:srgbClr val="000000">
                    <a:lumMod val="100000"/>
                  </a:srgbClr>
                </a:solidFill>
                <a:cs typeface="+mn-ea"/>
                <a:sym typeface="+mn-lt"/>
              </a:rPr>
              <a:t>：刘二</a:t>
            </a:r>
            <a:endParaRPr lang="zh-CN" altLang="en-US" sz="1400" dirty="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cs typeface="+mn-ea"/>
                <a:sym typeface="+mn-lt"/>
              </a:rPr>
              <a:t>B.2</a:t>
            </a:r>
            <a:r>
              <a:rPr lang="zh-CN" altLang="en-US" sz="1400" dirty="0">
                <a:solidFill>
                  <a:srgbClr val="000000">
                    <a:lumMod val="100000"/>
                  </a:srgbClr>
                </a:solidFill>
                <a:cs typeface="+mn-ea"/>
                <a:sym typeface="+mn-lt"/>
              </a:rPr>
              <a:t>：刘三</a:t>
            </a:r>
            <a:endParaRPr lang="zh-CN" altLang="en-US" sz="1400" dirty="0">
              <a:solidFill>
                <a:srgbClr val="000000">
                  <a:lumMod val="100000"/>
                </a:srgbClr>
              </a:solidFill>
              <a:cs typeface="+mn-ea"/>
              <a:sym typeface="+mn-lt"/>
            </a:endParaRPr>
          </a:p>
        </p:txBody>
      </p:sp>
      <p:sp>
        <p:nvSpPr>
          <p:cNvPr id="163" name="矩形 162"/>
          <p:cNvSpPr/>
          <p:nvPr/>
        </p:nvSpPr>
        <p:spPr>
          <a:xfrm>
            <a:off x="4663982"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164" name="矩形 163"/>
          <p:cNvSpPr/>
          <p:nvPr/>
        </p:nvSpPr>
        <p:spPr>
          <a:xfrm>
            <a:off x="4703145"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14300" lvl="1">
              <a:spcBef>
                <a:spcPct val="0"/>
              </a:spcBef>
              <a:spcAft>
                <a:spcPct val="0"/>
              </a:spcAft>
              <a:buClr>
                <a:schemeClr val="tx2">
                  <a:lumMod val="100000"/>
                </a:schemeClr>
              </a:buClr>
              <a:buSzPct val="100000"/>
            </a:pPr>
            <a:r>
              <a:rPr lang="zh-CN" altLang="en-US" sz="1400" dirty="0">
                <a:solidFill>
                  <a:srgbClr val="000000">
                    <a:lumMod val="100000"/>
                  </a:srgbClr>
                </a:solidFill>
                <a:cs typeface="+mn-ea"/>
                <a:sym typeface="+mn-lt"/>
              </a:rPr>
              <a:t>负责人</a:t>
            </a:r>
            <a:r>
              <a:rPr lang="zh-CN" altLang="en-US" sz="1400" dirty="0" smtClean="0">
                <a:solidFill>
                  <a:srgbClr val="000000">
                    <a:lumMod val="100000"/>
                  </a:srgbClr>
                </a:solidFill>
                <a:cs typeface="+mn-ea"/>
                <a:sym typeface="+mn-lt"/>
              </a:rPr>
              <a:t>：陈一</a:t>
            </a:r>
            <a:endParaRPr lang="en-US" altLang="zh-CN" sz="1400" dirty="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cs typeface="+mn-ea"/>
                <a:sym typeface="+mn-lt"/>
              </a:rPr>
              <a:t>C.1</a:t>
            </a:r>
            <a:r>
              <a:rPr lang="zh-CN" altLang="en-US" sz="1400" dirty="0">
                <a:solidFill>
                  <a:srgbClr val="000000">
                    <a:lumMod val="100000"/>
                  </a:srgbClr>
                </a:solidFill>
                <a:cs typeface="+mn-ea"/>
                <a:sym typeface="+mn-lt"/>
              </a:rPr>
              <a:t>：陈二</a:t>
            </a:r>
            <a:endParaRPr lang="zh-CN" altLang="en-US" sz="1400" dirty="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cs typeface="+mn-ea"/>
                <a:sym typeface="+mn-lt"/>
              </a:rPr>
              <a:t>C.2</a:t>
            </a:r>
            <a:r>
              <a:rPr lang="zh-CN" altLang="en-US" sz="1400" dirty="0">
                <a:solidFill>
                  <a:srgbClr val="000000">
                    <a:lumMod val="100000"/>
                  </a:srgbClr>
                </a:solidFill>
                <a:cs typeface="+mn-ea"/>
                <a:sym typeface="+mn-lt"/>
              </a:rPr>
              <a:t>：陈三</a:t>
            </a:r>
            <a:endParaRPr lang="zh-CN" altLang="en-US" sz="1400" dirty="0">
              <a:solidFill>
                <a:srgbClr val="000000">
                  <a:lumMod val="100000"/>
                </a:srgbClr>
              </a:solidFill>
              <a:cs typeface="+mn-ea"/>
              <a:sym typeface="+mn-lt"/>
            </a:endParaRPr>
          </a:p>
        </p:txBody>
      </p:sp>
      <p:sp>
        <p:nvSpPr>
          <p:cNvPr id="165" name="矩形 164"/>
          <p:cNvSpPr/>
          <p:nvPr/>
        </p:nvSpPr>
        <p:spPr>
          <a:xfrm>
            <a:off x="6395226"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166" name="矩形 165"/>
          <p:cNvSpPr/>
          <p:nvPr/>
        </p:nvSpPr>
        <p:spPr>
          <a:xfrm>
            <a:off x="6434389"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14300" lvl="1">
              <a:spcBef>
                <a:spcPct val="0"/>
              </a:spcBef>
              <a:spcAft>
                <a:spcPct val="0"/>
              </a:spcAft>
              <a:buClr>
                <a:schemeClr val="tx2">
                  <a:lumMod val="100000"/>
                </a:schemeClr>
              </a:buClr>
              <a:buSzPct val="100000"/>
            </a:pPr>
            <a:r>
              <a:rPr lang="zh-CN" altLang="en-US" sz="1400" dirty="0">
                <a:solidFill>
                  <a:srgbClr val="000000">
                    <a:lumMod val="100000"/>
                  </a:srgbClr>
                </a:solidFill>
                <a:cs typeface="+mn-ea"/>
                <a:sym typeface="+mn-lt"/>
              </a:rPr>
              <a:t>负责人</a:t>
            </a:r>
            <a:r>
              <a:rPr lang="zh-CN" altLang="en-US" sz="1400" dirty="0" smtClean="0">
                <a:solidFill>
                  <a:srgbClr val="000000">
                    <a:lumMod val="100000"/>
                  </a:srgbClr>
                </a:solidFill>
                <a:cs typeface="+mn-ea"/>
                <a:sym typeface="+mn-lt"/>
              </a:rPr>
              <a:t>：田一</a:t>
            </a:r>
            <a:endParaRPr lang="en-US" altLang="zh-CN" sz="1400" dirty="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cs typeface="+mn-ea"/>
                <a:sym typeface="+mn-lt"/>
              </a:rPr>
              <a:t>D.1</a:t>
            </a:r>
            <a:r>
              <a:rPr lang="zh-CN" altLang="en-US" sz="1400" dirty="0">
                <a:solidFill>
                  <a:srgbClr val="000000">
                    <a:lumMod val="100000"/>
                  </a:srgbClr>
                </a:solidFill>
                <a:cs typeface="+mn-ea"/>
                <a:sym typeface="+mn-lt"/>
              </a:rPr>
              <a:t>：田二</a:t>
            </a:r>
            <a:endParaRPr lang="zh-CN" altLang="en-US" sz="1400" dirty="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a:solidFill>
                  <a:srgbClr val="000000">
                    <a:lumMod val="100000"/>
                  </a:srgbClr>
                </a:solidFill>
                <a:cs typeface="+mn-ea"/>
                <a:sym typeface="+mn-lt"/>
              </a:rPr>
              <a:t>D.2</a:t>
            </a:r>
            <a:r>
              <a:rPr lang="zh-CN" altLang="en-US" sz="1400" dirty="0">
                <a:solidFill>
                  <a:srgbClr val="000000">
                    <a:lumMod val="100000"/>
                  </a:srgbClr>
                </a:solidFill>
                <a:cs typeface="+mn-ea"/>
                <a:sym typeface="+mn-lt"/>
              </a:rPr>
              <a:t>：田三</a:t>
            </a:r>
            <a:endParaRPr lang="zh-CN" altLang="en-US" sz="1400" dirty="0">
              <a:solidFill>
                <a:srgbClr val="000000">
                  <a:lumMod val="100000"/>
                </a:srgbClr>
              </a:solidFill>
              <a:cs typeface="+mn-ea"/>
              <a:sym typeface="+mn-lt"/>
            </a:endParaRPr>
          </a:p>
        </p:txBody>
      </p:sp>
      <p:sp>
        <p:nvSpPr>
          <p:cNvPr id="167" name="矩形 166"/>
          <p:cNvSpPr/>
          <p:nvPr/>
        </p:nvSpPr>
        <p:spPr>
          <a:xfrm>
            <a:off x="8109582"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168" name="矩形 167"/>
          <p:cNvSpPr/>
          <p:nvPr/>
        </p:nvSpPr>
        <p:spPr>
          <a:xfrm>
            <a:off x="8148745"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14300" lvl="1">
              <a:spcBef>
                <a:spcPct val="0"/>
              </a:spcBef>
              <a:spcAft>
                <a:spcPct val="0"/>
              </a:spcAft>
              <a:buClr>
                <a:schemeClr val="tx2">
                  <a:lumMod val="100000"/>
                </a:schemeClr>
              </a:buClr>
              <a:buSzPct val="100000"/>
            </a:pPr>
            <a:r>
              <a:rPr lang="zh-CN" altLang="en-US" sz="1400" dirty="0">
                <a:solidFill>
                  <a:srgbClr val="000000">
                    <a:lumMod val="100000"/>
                  </a:srgbClr>
                </a:solidFill>
                <a:cs typeface="+mn-ea"/>
                <a:sym typeface="+mn-lt"/>
              </a:rPr>
              <a:t>负责人</a:t>
            </a:r>
            <a:r>
              <a:rPr lang="zh-CN" altLang="en-US" sz="1400" dirty="0" smtClean="0">
                <a:solidFill>
                  <a:srgbClr val="000000">
                    <a:lumMod val="100000"/>
                  </a:srgbClr>
                </a:solidFill>
                <a:cs typeface="+mn-ea"/>
                <a:sym typeface="+mn-lt"/>
              </a:rPr>
              <a:t>：</a:t>
            </a:r>
            <a:r>
              <a:rPr lang="en-US" altLang="zh-CN" sz="1400" dirty="0" smtClean="0">
                <a:solidFill>
                  <a:srgbClr val="000000">
                    <a:lumMod val="100000"/>
                  </a:srgbClr>
                </a:solidFill>
                <a:cs typeface="+mn-ea"/>
                <a:sym typeface="+mn-lt"/>
              </a:rPr>
              <a:t>XX</a:t>
            </a:r>
            <a:endParaRPr lang="en-US" altLang="zh-CN" sz="1400" dirty="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D.1</a:t>
            </a:r>
            <a:r>
              <a:rPr lang="zh-CN" altLang="en-US" sz="1400" dirty="0" smtClean="0">
                <a:solidFill>
                  <a:srgbClr val="000000">
                    <a:lumMod val="100000"/>
                  </a:srgbClr>
                </a:solidFill>
                <a:cs typeface="+mn-ea"/>
                <a:sym typeface="+mn-lt"/>
              </a:rPr>
              <a:t>：</a:t>
            </a:r>
            <a:r>
              <a:rPr lang="en-US" altLang="zh-CN" sz="1400" dirty="0" smtClean="0">
                <a:solidFill>
                  <a:srgbClr val="000000">
                    <a:lumMod val="100000"/>
                  </a:srgbClr>
                </a:solidFill>
                <a:cs typeface="+mn-ea"/>
                <a:sym typeface="+mn-lt"/>
              </a:rPr>
              <a:t>XX</a:t>
            </a:r>
            <a:endParaRPr lang="zh-CN" altLang="en-US" sz="1400" dirty="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D.2</a:t>
            </a:r>
            <a:r>
              <a:rPr lang="zh-CN" altLang="en-US" sz="1400" dirty="0" smtClean="0">
                <a:solidFill>
                  <a:srgbClr val="000000">
                    <a:lumMod val="100000"/>
                  </a:srgbClr>
                </a:solidFill>
                <a:cs typeface="+mn-ea"/>
                <a:sym typeface="+mn-lt"/>
              </a:rPr>
              <a:t>：</a:t>
            </a:r>
            <a:r>
              <a:rPr lang="en-US" altLang="zh-CN" sz="1400" dirty="0">
                <a:solidFill>
                  <a:srgbClr val="000000">
                    <a:lumMod val="100000"/>
                  </a:srgbClr>
                </a:solidFill>
                <a:cs typeface="+mn-ea"/>
                <a:sym typeface="+mn-lt"/>
              </a:rPr>
              <a:t>XX</a:t>
            </a:r>
            <a:endParaRPr lang="zh-CN" altLang="en-US" sz="1400" dirty="0">
              <a:solidFill>
                <a:srgbClr val="000000">
                  <a:lumMod val="100000"/>
                </a:srgbClr>
              </a:solidFill>
              <a:cs typeface="+mn-ea"/>
              <a:sym typeface="+mn-lt"/>
            </a:endParaRPr>
          </a:p>
        </p:txBody>
      </p:sp>
      <p:sp>
        <p:nvSpPr>
          <p:cNvPr id="169" name="矩形 168"/>
          <p:cNvSpPr/>
          <p:nvPr/>
        </p:nvSpPr>
        <p:spPr>
          <a:xfrm>
            <a:off x="9842871"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170" name="矩形 169"/>
          <p:cNvSpPr/>
          <p:nvPr/>
        </p:nvSpPr>
        <p:spPr>
          <a:xfrm>
            <a:off x="9882034"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14300" lvl="1">
              <a:spcBef>
                <a:spcPct val="0"/>
              </a:spcBef>
              <a:spcAft>
                <a:spcPct val="0"/>
              </a:spcAft>
              <a:buClr>
                <a:schemeClr val="tx2">
                  <a:lumMod val="100000"/>
                </a:schemeClr>
              </a:buClr>
              <a:buSzPct val="100000"/>
            </a:pPr>
            <a:r>
              <a:rPr lang="zh-CN" altLang="en-US" sz="1400" dirty="0">
                <a:solidFill>
                  <a:srgbClr val="000000">
                    <a:lumMod val="100000"/>
                  </a:srgbClr>
                </a:solidFill>
                <a:cs typeface="+mn-ea"/>
                <a:sym typeface="+mn-lt"/>
              </a:rPr>
              <a:t>负责人</a:t>
            </a:r>
            <a:r>
              <a:rPr lang="zh-CN" altLang="en-US" sz="1400" dirty="0" smtClean="0">
                <a:solidFill>
                  <a:srgbClr val="000000">
                    <a:lumMod val="100000"/>
                  </a:srgbClr>
                </a:solidFill>
                <a:cs typeface="+mn-ea"/>
                <a:sym typeface="+mn-lt"/>
              </a:rPr>
              <a:t>：</a:t>
            </a:r>
            <a:r>
              <a:rPr lang="en-US" altLang="zh-CN" sz="1400" dirty="0" smtClean="0">
                <a:solidFill>
                  <a:srgbClr val="000000">
                    <a:lumMod val="100000"/>
                  </a:srgbClr>
                </a:solidFill>
                <a:cs typeface="+mn-ea"/>
                <a:sym typeface="+mn-lt"/>
              </a:rPr>
              <a:t>XX</a:t>
            </a:r>
            <a:endParaRPr lang="en-US" altLang="zh-CN" sz="1400" dirty="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E.1</a:t>
            </a:r>
            <a:r>
              <a:rPr lang="zh-CN" altLang="en-US" sz="1400" dirty="0" smtClean="0">
                <a:solidFill>
                  <a:srgbClr val="000000">
                    <a:lumMod val="100000"/>
                  </a:srgbClr>
                </a:solidFill>
                <a:cs typeface="+mn-ea"/>
                <a:sym typeface="+mn-lt"/>
              </a:rPr>
              <a:t>：</a:t>
            </a:r>
            <a:r>
              <a:rPr lang="en-US" altLang="zh-CN" sz="1400" dirty="0" smtClean="0">
                <a:solidFill>
                  <a:srgbClr val="000000">
                    <a:lumMod val="100000"/>
                  </a:srgbClr>
                </a:solidFill>
                <a:cs typeface="+mn-ea"/>
                <a:sym typeface="+mn-lt"/>
              </a:rPr>
              <a:t>XX</a:t>
            </a:r>
            <a:endParaRPr lang="zh-CN" altLang="en-US" sz="1400" dirty="0">
              <a:solidFill>
                <a:srgbClr val="000000">
                  <a:lumMod val="100000"/>
                </a:srgbClr>
              </a:solidFill>
              <a:cs typeface="+mn-ea"/>
              <a:sym typeface="+mn-lt"/>
            </a:endParaRPr>
          </a:p>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E.2</a:t>
            </a:r>
            <a:r>
              <a:rPr lang="zh-CN" altLang="en-US" sz="1400" dirty="0" smtClean="0">
                <a:solidFill>
                  <a:srgbClr val="000000">
                    <a:lumMod val="100000"/>
                  </a:srgbClr>
                </a:solidFill>
                <a:cs typeface="+mn-ea"/>
                <a:sym typeface="+mn-lt"/>
              </a:rPr>
              <a:t>：</a:t>
            </a:r>
            <a:r>
              <a:rPr lang="en-US" altLang="zh-CN" sz="1400" dirty="0" smtClean="0">
                <a:solidFill>
                  <a:srgbClr val="000000">
                    <a:lumMod val="100000"/>
                  </a:srgbClr>
                </a:solidFill>
                <a:cs typeface="+mn-ea"/>
                <a:sym typeface="+mn-lt"/>
              </a:rPr>
              <a:t>XX</a:t>
            </a:r>
            <a:endParaRPr lang="zh-CN" altLang="en-US" sz="1400" dirty="0">
              <a:solidFill>
                <a:srgbClr val="000000">
                  <a:lumMod val="100000"/>
                </a:srgbClr>
              </a:solidFill>
              <a:cs typeface="+mn-ea"/>
              <a:sym typeface="+mn-lt"/>
            </a:endParaRPr>
          </a:p>
        </p:txBody>
      </p:sp>
      <p:cxnSp>
        <p:nvCxnSpPr>
          <p:cNvPr id="171" name="直接连接符 170"/>
          <p:cNvCxnSpPr>
            <a:stCxn id="135" idx="0"/>
            <a:endCxn id="134" idx="2"/>
          </p:cNvCxnSpPr>
          <p:nvPr/>
        </p:nvCxnSpPr>
        <p:spPr>
          <a:xfrm flipV="1">
            <a:off x="6231150" y="1714270"/>
            <a:ext cx="0" cy="118255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2" name="直接连接符 171"/>
          <p:cNvCxnSpPr>
            <a:endCxn id="136" idx="1"/>
          </p:cNvCxnSpPr>
          <p:nvPr/>
        </p:nvCxnSpPr>
        <p:spPr>
          <a:xfrm>
            <a:off x="6232261" y="2372606"/>
            <a:ext cx="87834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3" name="肘形连接符 172"/>
          <p:cNvCxnSpPr>
            <a:stCxn id="135" idx="2"/>
            <a:endCxn id="147" idx="3"/>
          </p:cNvCxnSpPr>
          <p:nvPr/>
        </p:nvCxnSpPr>
        <p:spPr>
          <a:xfrm rot="5400000">
            <a:off x="4663349" y="2572312"/>
            <a:ext cx="607355" cy="252824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4" name="肘形连接符 173"/>
          <p:cNvCxnSpPr>
            <a:stCxn id="135" idx="2"/>
            <a:endCxn id="148" idx="3"/>
          </p:cNvCxnSpPr>
          <p:nvPr/>
        </p:nvCxnSpPr>
        <p:spPr>
          <a:xfrm rot="5400000">
            <a:off x="5525430" y="3434393"/>
            <a:ext cx="607355" cy="80408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5" name="肘形连接符 174"/>
          <p:cNvCxnSpPr>
            <a:stCxn id="135" idx="2"/>
            <a:endCxn id="149" idx="3"/>
          </p:cNvCxnSpPr>
          <p:nvPr/>
        </p:nvCxnSpPr>
        <p:spPr>
          <a:xfrm rot="16200000" flipH="1">
            <a:off x="6387511" y="3376398"/>
            <a:ext cx="607355" cy="92007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6" name="肘形连接符 175"/>
          <p:cNvCxnSpPr>
            <a:stCxn id="135" idx="2"/>
            <a:endCxn id="159" idx="3"/>
          </p:cNvCxnSpPr>
          <p:nvPr/>
        </p:nvCxnSpPr>
        <p:spPr>
          <a:xfrm rot="16200000" flipH="1">
            <a:off x="7249592" y="2514317"/>
            <a:ext cx="607355" cy="264423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7" name="肘形连接符 176"/>
          <p:cNvCxnSpPr>
            <a:stCxn id="135" idx="2"/>
            <a:endCxn id="160" idx="3"/>
          </p:cNvCxnSpPr>
          <p:nvPr/>
        </p:nvCxnSpPr>
        <p:spPr>
          <a:xfrm rot="16200000" flipH="1">
            <a:off x="8111674" y="1652235"/>
            <a:ext cx="607355" cy="4368402"/>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3" name="矩形 182"/>
          <p:cNvSpPr/>
          <p:nvPr/>
        </p:nvSpPr>
        <p:spPr>
          <a:xfrm>
            <a:off x="7570568" y="979787"/>
            <a:ext cx="2343454" cy="847985"/>
          </a:xfrm>
          <a:prstGeom prst="rect">
            <a:avLst/>
          </a:prstGeom>
        </p:spPr>
        <p:txBody>
          <a:bodyPr wrap="square" lIns="36731" tIns="40071" rIns="36731" bIns="40071" anchor="ctr" anchorCtr="0">
            <a:noAutofit/>
          </a:bodyPr>
          <a:lstStyle/>
          <a:p>
            <a:pPr marL="151765" indent="-151765">
              <a:buFont typeface="Arial" panose="020B0604020202020204" pitchFamily="34" charset="0"/>
              <a:buChar char="•"/>
            </a:pPr>
            <a:r>
              <a:rPr lang="zh-CN" altLang="en-US" sz="1400" dirty="0" smtClean="0">
                <a:latin typeface="楷体" panose="02010609060101010101" pitchFamily="49" charset="-122"/>
                <a:ea typeface="楷体" panose="02010609060101010101" pitchFamily="49" charset="-122"/>
              </a:rPr>
              <a:t>组长：</a:t>
            </a:r>
            <a:r>
              <a:rPr lang="en-US" altLang="zh-CN" sz="1400" dirty="0" smtClean="0">
                <a:latin typeface="楷体" panose="02010609060101010101" pitchFamily="49" charset="-122"/>
                <a:ea typeface="楷体" panose="02010609060101010101" pitchFamily="49" charset="-122"/>
              </a:rPr>
              <a:t>xx</a:t>
            </a:r>
            <a:endParaRPr lang="en-US" altLang="zh-CN" sz="1400" dirty="0" smtClean="0">
              <a:latin typeface="楷体" panose="02010609060101010101" pitchFamily="49" charset="-122"/>
              <a:ea typeface="楷体" panose="02010609060101010101" pitchFamily="49" charset="-122"/>
            </a:endParaRPr>
          </a:p>
          <a:p>
            <a:pPr marL="151765" indent="-151765">
              <a:buFont typeface="Arial" panose="020B0604020202020204" pitchFamily="34" charset="0"/>
              <a:buChar char="•"/>
            </a:pPr>
            <a:r>
              <a:rPr lang="zh-CN" altLang="en-US" sz="1400" dirty="0" smtClean="0">
                <a:latin typeface="楷体" panose="02010609060101010101" pitchFamily="49" charset="-122"/>
                <a:ea typeface="楷体" panose="02010609060101010101" pitchFamily="49" charset="-122"/>
              </a:rPr>
              <a:t>常务副组长：</a:t>
            </a:r>
            <a:r>
              <a:rPr lang="en-US" altLang="zh-CN" sz="1400" dirty="0" smtClean="0">
                <a:latin typeface="楷体" panose="02010609060101010101" pitchFamily="49" charset="-122"/>
                <a:ea typeface="楷体" panose="02010609060101010101" pitchFamily="49" charset="-122"/>
              </a:rPr>
              <a:t>xx</a:t>
            </a:r>
            <a:endParaRPr lang="en-US" altLang="zh-CN" sz="1400" dirty="0" smtClean="0">
              <a:latin typeface="楷体" panose="02010609060101010101" pitchFamily="49" charset="-122"/>
              <a:ea typeface="楷体" panose="02010609060101010101" pitchFamily="49" charset="-122"/>
            </a:endParaRPr>
          </a:p>
          <a:p>
            <a:pPr marL="151765" indent="-151765">
              <a:buFont typeface="Arial" panose="020B0604020202020204" pitchFamily="34" charset="0"/>
              <a:buChar char="•"/>
            </a:pPr>
            <a:r>
              <a:rPr lang="zh-CN" altLang="en-US" sz="1400" dirty="0" smtClean="0">
                <a:latin typeface="楷体" panose="02010609060101010101" pitchFamily="49" charset="-122"/>
                <a:ea typeface="楷体" panose="02010609060101010101" pitchFamily="49" charset="-122"/>
              </a:rPr>
              <a:t>组员：</a:t>
            </a:r>
            <a:r>
              <a:rPr lang="en-US" altLang="zh-CN" sz="1400" dirty="0" err="1" smtClean="0">
                <a:latin typeface="楷体" panose="02010609060101010101" pitchFamily="49" charset="-122"/>
                <a:ea typeface="楷体" panose="02010609060101010101" pitchFamily="49" charset="-122"/>
              </a:rPr>
              <a:t>xxxx</a:t>
            </a:r>
            <a:endParaRPr lang="en-US" altLang="zh-CN" sz="1400" dirty="0">
              <a:latin typeface="楷体" panose="02010609060101010101" pitchFamily="49" charset="-122"/>
              <a:ea typeface="楷体" panose="02010609060101010101" pitchFamily="49" charset="-122"/>
            </a:endParaRPr>
          </a:p>
        </p:txBody>
      </p:sp>
      <p:sp>
        <p:nvSpPr>
          <p:cNvPr id="184" name="矩形 183"/>
          <p:cNvSpPr/>
          <p:nvPr/>
        </p:nvSpPr>
        <p:spPr>
          <a:xfrm>
            <a:off x="9347014" y="2097035"/>
            <a:ext cx="2123151" cy="540000"/>
          </a:xfrm>
          <a:prstGeom prst="rect">
            <a:avLst/>
          </a:prstGeom>
        </p:spPr>
        <p:txBody>
          <a:bodyPr wrap="square" lIns="80143" tIns="40071" rIns="80143" bIns="40071">
            <a:noAutofit/>
          </a:bodyPr>
          <a:lstStyle/>
          <a:p>
            <a:pPr marL="151765" indent="-151765">
              <a:buFont typeface="Arial" panose="020B0604020202020204" pitchFamily="34" charset="0"/>
              <a:buChar char="•"/>
            </a:pPr>
            <a:r>
              <a:rPr lang="zh-CN" altLang="en-US" sz="1400" dirty="0" smtClean="0">
                <a:latin typeface="楷体" panose="02010609060101010101" pitchFamily="49" charset="-122"/>
                <a:ea typeface="楷体" panose="02010609060101010101" pitchFamily="49" charset="-122"/>
              </a:rPr>
              <a:t>组长：</a:t>
            </a:r>
            <a:r>
              <a:rPr lang="en-US" altLang="zh-CN" sz="1400" dirty="0" smtClean="0">
                <a:latin typeface="楷体" panose="02010609060101010101" pitchFamily="49" charset="-122"/>
                <a:ea typeface="楷体" panose="02010609060101010101" pitchFamily="49" charset="-122"/>
              </a:rPr>
              <a:t>xx</a:t>
            </a:r>
            <a:endParaRPr lang="en-US" altLang="zh-CN" sz="1400" dirty="0" smtClean="0">
              <a:latin typeface="楷体" panose="02010609060101010101" pitchFamily="49" charset="-122"/>
              <a:ea typeface="楷体" panose="02010609060101010101" pitchFamily="49" charset="-122"/>
            </a:endParaRPr>
          </a:p>
          <a:p>
            <a:pPr marL="151765" indent="-151765">
              <a:buFont typeface="Arial" panose="020B0604020202020204" pitchFamily="34" charset="0"/>
              <a:buChar char="•"/>
            </a:pPr>
            <a:r>
              <a:rPr lang="zh-CN" altLang="en-US" sz="1400" dirty="0" smtClean="0">
                <a:latin typeface="楷体" panose="02010609060101010101" pitchFamily="49" charset="-122"/>
                <a:ea typeface="楷体" panose="02010609060101010101" pitchFamily="49" charset="-122"/>
              </a:rPr>
              <a:t>组员：</a:t>
            </a:r>
            <a:r>
              <a:rPr lang="en-US" altLang="zh-CN" sz="1400" dirty="0" smtClean="0">
                <a:latin typeface="楷体" panose="02010609060101010101" pitchFamily="49" charset="-122"/>
                <a:ea typeface="楷体" panose="02010609060101010101" pitchFamily="49" charset="-122"/>
              </a:rPr>
              <a:t>xx</a:t>
            </a:r>
            <a:endParaRPr lang="en-US" altLang="zh-CN" sz="1400" dirty="0">
              <a:latin typeface="楷体" panose="02010609060101010101" pitchFamily="49" charset="-122"/>
              <a:ea typeface="楷体" panose="02010609060101010101" pitchFamily="49" charset="-122"/>
            </a:endParaRPr>
          </a:p>
        </p:txBody>
      </p:sp>
      <p:sp>
        <p:nvSpPr>
          <p:cNvPr id="185" name="矩形 184"/>
          <p:cNvSpPr/>
          <p:nvPr/>
        </p:nvSpPr>
        <p:spPr>
          <a:xfrm>
            <a:off x="7403352" y="2944790"/>
            <a:ext cx="3352885" cy="540000"/>
          </a:xfrm>
          <a:prstGeom prst="rect">
            <a:avLst/>
          </a:prstGeom>
        </p:spPr>
        <p:txBody>
          <a:bodyPr wrap="square" lIns="80143" tIns="40071" rIns="80143" bIns="40071">
            <a:noAutofit/>
          </a:bodyPr>
          <a:lstStyle/>
          <a:p>
            <a:pPr marL="151765" indent="-151765">
              <a:buFont typeface="Arial" panose="020B0604020202020204" pitchFamily="34" charset="0"/>
              <a:buChar char="•"/>
            </a:pPr>
            <a:r>
              <a:rPr lang="zh-CN" altLang="en-US" sz="1400" dirty="0" smtClean="0">
                <a:latin typeface="楷体" panose="02010609060101010101" pitchFamily="49" charset="-122"/>
                <a:ea typeface="楷体" panose="02010609060101010101" pitchFamily="49" charset="-122"/>
              </a:rPr>
              <a:t>组长：</a:t>
            </a:r>
            <a:r>
              <a:rPr lang="en-US" altLang="zh-CN" sz="1400" dirty="0" smtClean="0">
                <a:latin typeface="楷体" panose="02010609060101010101" pitchFamily="49" charset="-122"/>
                <a:ea typeface="楷体" panose="02010609060101010101" pitchFamily="49" charset="-122"/>
              </a:rPr>
              <a:t>xx</a:t>
            </a:r>
            <a:endParaRPr lang="en-US" altLang="zh-CN" sz="1400" dirty="0" smtClean="0">
              <a:latin typeface="楷体" panose="02010609060101010101" pitchFamily="49" charset="-122"/>
              <a:ea typeface="楷体" panose="02010609060101010101" pitchFamily="49" charset="-122"/>
            </a:endParaRPr>
          </a:p>
          <a:p>
            <a:pPr marL="151765" indent="-151765">
              <a:buFont typeface="Arial" panose="020B0604020202020204" pitchFamily="34" charset="0"/>
              <a:buChar char="•"/>
            </a:pPr>
            <a:r>
              <a:rPr lang="zh-CN" altLang="en-US" sz="1400" dirty="0" smtClean="0">
                <a:latin typeface="楷体" panose="02010609060101010101" pitchFamily="49" charset="-122"/>
                <a:ea typeface="楷体" panose="02010609060101010101" pitchFamily="49" charset="-122"/>
              </a:rPr>
              <a:t>组员：</a:t>
            </a:r>
            <a:r>
              <a:rPr lang="en-US" altLang="zh-CN" sz="1400" dirty="0" err="1" smtClean="0">
                <a:latin typeface="楷体" panose="02010609060101010101" pitchFamily="49" charset="-122"/>
                <a:ea typeface="楷体" panose="02010609060101010101" pitchFamily="49" charset="-122"/>
              </a:rPr>
              <a:t>xxxx</a:t>
            </a:r>
            <a:endParaRPr lang="en-US" altLang="zh-CN" sz="1400" dirty="0">
              <a:latin typeface="楷体" panose="02010609060101010101" pitchFamily="49" charset="-122"/>
              <a:ea typeface="楷体" panose="02010609060101010101" pitchFamily="49" charset="-122"/>
            </a:endParaRPr>
          </a:p>
        </p:txBody>
      </p:sp>
      <p:sp>
        <p:nvSpPr>
          <p:cNvPr id="37"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架构</a:t>
            </a:r>
            <a:r>
              <a:rPr lang="en-US" altLang="zh-CN" sz="2400" dirty="0" smtClean="0">
                <a:solidFill>
                  <a:prstClr val="black"/>
                </a:solidFill>
                <a:latin typeface="华文楷体" panose="02010600040101010101" charset="-122"/>
              </a:rPr>
              <a:t>-</a:t>
            </a:r>
            <a:r>
              <a:rPr lang="en-US" altLang="zh-CN" sz="2400" dirty="0"/>
              <a:t>PMO</a:t>
            </a:r>
            <a:r>
              <a:rPr lang="zh-CN" altLang="en-US" sz="2400" dirty="0"/>
              <a:t>机制：组织架构</a:t>
            </a:r>
            <a:endParaRPr lang="zh-CN" altLang="en-US" sz="2400" dirty="0">
              <a:solidFill>
                <a:prstClr val="black"/>
              </a:solidFill>
              <a:latin typeface="华文楷体" panose="02010600040101010101" charset="-122"/>
            </a:endParaRPr>
          </a:p>
        </p:txBody>
      </p:sp>
      <p:pic>
        <p:nvPicPr>
          <p:cNvPr id="39" name="图片 3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9739" name="think-cell Slide" r:id="rId2" imgW="12700" imgH="12700" progId="TCLayout.ActiveDocument.1">
                  <p:embed/>
                </p:oleObj>
              </mc:Choice>
              <mc:Fallback>
                <p:oleObj name="think-cell Slide" r:id="rId2" imgW="12700" imgH="12700" progId="TCLayout.ActiveDocument.1">
                  <p:embed/>
                  <p:pic>
                    <p:nvPicPr>
                      <p:cNvPr id="0" name="对象 16"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9" name="矩形 8"/>
          <p:cNvSpPr/>
          <p:nvPr/>
        </p:nvSpPr>
        <p:spPr>
          <a:xfrm>
            <a:off x="5296596" y="1077070"/>
            <a:ext cx="3176302" cy="733380"/>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b="1" dirty="0" smtClean="0">
                <a:solidFill>
                  <a:schemeClr val="bg1"/>
                </a:solidFill>
                <a:cs typeface="+mn-ea"/>
                <a:sym typeface="+mn-lt"/>
              </a:rPr>
              <a:t>xxx</a:t>
            </a:r>
            <a:endParaRPr lang="en-US" altLang="zh-CN" sz="1600" b="1" dirty="0">
              <a:solidFill>
                <a:schemeClr val="bg1"/>
              </a:solidFill>
              <a:cs typeface="+mn-ea"/>
              <a:sym typeface="+mn-lt"/>
            </a:endParaRPr>
          </a:p>
        </p:txBody>
      </p:sp>
      <p:sp>
        <p:nvSpPr>
          <p:cNvPr id="12" name="矩形 11"/>
          <p:cNvSpPr/>
          <p:nvPr/>
        </p:nvSpPr>
        <p:spPr>
          <a:xfrm>
            <a:off x="5485211" y="2896823"/>
            <a:ext cx="2799073" cy="635936"/>
          </a:xfrm>
          <a:prstGeom prst="rect">
            <a:avLst/>
          </a:prstGeom>
          <a:solidFill>
            <a:srgbClr val="FEA07A"/>
          </a:solidFill>
          <a:ln w="12700" cap="flat">
            <a:noFill/>
            <a:miter lim="400000"/>
          </a:ln>
          <a:effectLst/>
        </p:spPr>
        <p:txBody>
          <a:bodyPr anchor="ctr"/>
          <a:lstStyle/>
          <a:p>
            <a:pPr algn="ctr"/>
            <a:r>
              <a:rPr lang="en-US" altLang="zh-CN" sz="1865" dirty="0">
                <a:solidFill>
                  <a:prstClr val="white">
                    <a:lumMod val="50000"/>
                  </a:prstClr>
                </a:solidFill>
                <a:latin typeface="Arial" panose="020B0604020202020204"/>
                <a:ea typeface="华文楷体" panose="02010600040101010101" charset="-122"/>
                <a:sym typeface="+mn-lt"/>
              </a:rPr>
              <a:t>xxx</a:t>
            </a:r>
            <a:r>
              <a:rPr lang="zh-CN" altLang="en-US" sz="1865" dirty="0">
                <a:solidFill>
                  <a:prstClr val="white">
                    <a:lumMod val="50000"/>
                  </a:prstClr>
                </a:solidFill>
                <a:latin typeface="Arial" panose="020B0604020202020204"/>
                <a:ea typeface="华文楷体" panose="02010600040101010101" charset="-122"/>
                <a:sym typeface="+mn-lt"/>
              </a:rPr>
              <a:t>团队</a:t>
            </a:r>
            <a:endParaRPr lang="en-US" altLang="zh-CN" sz="1865" dirty="0">
              <a:solidFill>
                <a:prstClr val="white">
                  <a:lumMod val="50000"/>
                </a:prstClr>
              </a:solidFill>
              <a:latin typeface="Arial" panose="020B0604020202020204"/>
              <a:ea typeface="华文楷体" panose="02010600040101010101" charset="-122"/>
              <a:sym typeface="+mn-lt"/>
            </a:endParaRPr>
          </a:p>
          <a:p>
            <a:pPr algn="ctr"/>
            <a:r>
              <a:rPr lang="en-US" altLang="zh-CN" sz="1865" dirty="0" err="1">
                <a:solidFill>
                  <a:prstClr val="white">
                    <a:lumMod val="50000"/>
                  </a:prstClr>
                </a:solidFill>
                <a:latin typeface="Arial" panose="020B0604020202020204"/>
                <a:ea typeface="华文楷体" panose="02010600040101010101" charset="-122"/>
                <a:sym typeface="+mn-lt"/>
              </a:rPr>
              <a:t>x'x'x</a:t>
            </a:r>
            <a:endParaRPr lang="zh-CN" altLang="en-US" sz="1865" dirty="0">
              <a:solidFill>
                <a:prstClr val="white">
                  <a:lumMod val="50000"/>
                </a:prstClr>
              </a:solidFill>
              <a:latin typeface="Arial" panose="020B0604020202020204"/>
              <a:ea typeface="华文楷体" panose="02010600040101010101" charset="-122"/>
              <a:sym typeface="+mn-lt"/>
            </a:endParaRPr>
          </a:p>
        </p:txBody>
      </p:sp>
      <p:sp>
        <p:nvSpPr>
          <p:cNvPr id="19" name="矩形 18"/>
          <p:cNvSpPr/>
          <p:nvPr/>
        </p:nvSpPr>
        <p:spPr>
          <a:xfrm>
            <a:off x="5485211" y="2016533"/>
            <a:ext cx="2799073" cy="635936"/>
          </a:xfrm>
          <a:prstGeom prst="rect">
            <a:avLst/>
          </a:prstGeom>
          <a:solidFill>
            <a:srgbClr val="FEA07A"/>
          </a:solidFill>
          <a:ln w="12700" cap="flat">
            <a:noFill/>
            <a:miter lim="400000"/>
          </a:ln>
          <a:effectLst/>
        </p:spPr>
        <p:txBody>
          <a:bodyPr anchor="ctr"/>
          <a:lstStyle/>
          <a:p>
            <a:pPr algn="ctr"/>
            <a:r>
              <a:rPr lang="en-US" altLang="zh-CN" sz="1865" dirty="0">
                <a:solidFill>
                  <a:prstClr val="white">
                    <a:lumMod val="50000"/>
                  </a:prstClr>
                </a:solidFill>
                <a:latin typeface="Arial" panose="020B0604020202020204"/>
                <a:ea typeface="华文楷体" panose="02010600040101010101" charset="-122"/>
                <a:sym typeface="+mn-lt"/>
              </a:rPr>
              <a:t>xxx</a:t>
            </a:r>
            <a:r>
              <a:rPr lang="zh-CN" altLang="en-US" sz="1865" dirty="0">
                <a:solidFill>
                  <a:prstClr val="white">
                    <a:lumMod val="50000"/>
                  </a:prstClr>
                </a:solidFill>
                <a:latin typeface="Arial" panose="020B0604020202020204"/>
                <a:ea typeface="华文楷体" panose="02010600040101010101" charset="-122"/>
                <a:sym typeface="+mn-lt"/>
              </a:rPr>
              <a:t>公司</a:t>
            </a:r>
            <a:endParaRPr lang="en-US" altLang="zh-CN" sz="1865" dirty="0">
              <a:solidFill>
                <a:prstClr val="white">
                  <a:lumMod val="50000"/>
                </a:prstClr>
              </a:solidFill>
              <a:latin typeface="Arial" panose="020B0604020202020204"/>
              <a:ea typeface="华文楷体" panose="02010600040101010101" charset="-122"/>
              <a:sym typeface="+mn-lt"/>
            </a:endParaRPr>
          </a:p>
          <a:p>
            <a:pPr algn="ctr"/>
            <a:r>
              <a:rPr lang="en-US" altLang="zh-CN" sz="1865" dirty="0">
                <a:solidFill>
                  <a:prstClr val="white">
                    <a:lumMod val="50000"/>
                  </a:prstClr>
                </a:solidFill>
                <a:latin typeface="Arial" panose="020B0604020202020204"/>
                <a:ea typeface="华文楷体" panose="02010600040101010101" charset="-122"/>
                <a:sym typeface="+mn-lt"/>
              </a:rPr>
              <a:t>xxx</a:t>
            </a:r>
            <a:endParaRPr lang="en-US" altLang="zh-CN" sz="1865" dirty="0">
              <a:solidFill>
                <a:prstClr val="white">
                  <a:lumMod val="50000"/>
                </a:prstClr>
              </a:solidFill>
              <a:latin typeface="Arial" panose="020B0604020202020204"/>
              <a:ea typeface="华文楷体" panose="02010600040101010101" charset="-122"/>
              <a:sym typeface="+mn-lt"/>
            </a:endParaRPr>
          </a:p>
        </p:txBody>
      </p:sp>
      <p:sp>
        <p:nvSpPr>
          <p:cNvPr id="11" name="矩形 10"/>
          <p:cNvSpPr/>
          <p:nvPr/>
        </p:nvSpPr>
        <p:spPr>
          <a:xfrm>
            <a:off x="1711808"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20" name="同侧圆角矩形 19"/>
          <p:cNvSpPr/>
          <p:nvPr/>
        </p:nvSpPr>
        <p:spPr>
          <a:xfrm>
            <a:off x="1712261"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dirty="0" smtClean="0">
                <a:solidFill>
                  <a:schemeClr val="bg1"/>
                </a:solidFill>
                <a:cs typeface="+mn-ea"/>
                <a:sym typeface="+mn-lt"/>
              </a:rPr>
              <a:t>智能</a:t>
            </a:r>
            <a:r>
              <a:rPr lang="en-US" altLang="zh-CN" sz="1400" b="1" dirty="0">
                <a:solidFill>
                  <a:schemeClr val="bg1"/>
                </a:solidFill>
                <a:cs typeface="+mn-ea"/>
                <a:sym typeface="+mn-lt"/>
              </a:rPr>
              <a:t>xx</a:t>
            </a:r>
            <a:endParaRPr lang="en-US" altLang="zh-CN" sz="1400" b="1" dirty="0">
              <a:solidFill>
                <a:schemeClr val="bg1"/>
              </a:solidFill>
              <a:cs typeface="+mn-ea"/>
              <a:sym typeface="+mn-lt"/>
            </a:endParaRPr>
          </a:p>
        </p:txBody>
      </p:sp>
      <p:sp>
        <p:nvSpPr>
          <p:cNvPr id="21" name="同侧圆角矩形 20"/>
          <p:cNvSpPr/>
          <p:nvPr/>
        </p:nvSpPr>
        <p:spPr>
          <a:xfrm>
            <a:off x="3436423"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dirty="0" smtClean="0">
                <a:solidFill>
                  <a:schemeClr val="bg1"/>
                </a:solidFill>
                <a:cs typeface="+mn-ea"/>
                <a:sym typeface="+mn-lt"/>
              </a:rPr>
              <a:t>智能</a:t>
            </a:r>
            <a:r>
              <a:rPr lang="en-US" altLang="zh-CN" sz="1400" b="1" dirty="0">
                <a:solidFill>
                  <a:schemeClr val="bg1"/>
                </a:solidFill>
                <a:cs typeface="+mn-ea"/>
                <a:sym typeface="+mn-lt"/>
              </a:rPr>
              <a:t>xx</a:t>
            </a:r>
            <a:endParaRPr lang="zh-CN" altLang="en-US" sz="1400" b="1" dirty="0" smtClean="0">
              <a:solidFill>
                <a:schemeClr val="bg1"/>
              </a:solidFill>
              <a:cs typeface="+mn-ea"/>
              <a:sym typeface="+mn-lt"/>
            </a:endParaRPr>
          </a:p>
        </p:txBody>
      </p:sp>
      <p:sp>
        <p:nvSpPr>
          <p:cNvPr id="22" name="同侧圆角矩形 21"/>
          <p:cNvSpPr/>
          <p:nvPr/>
        </p:nvSpPr>
        <p:spPr>
          <a:xfrm>
            <a:off x="5160585"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smtClean="0">
                <a:solidFill>
                  <a:schemeClr val="bg1"/>
                </a:solidFill>
                <a:cs typeface="+mn-ea"/>
                <a:sym typeface="+mn-lt"/>
              </a:rPr>
              <a:t>智能安防</a:t>
            </a:r>
            <a:endParaRPr lang="zh-CN" altLang="en-US" sz="1400" b="1" dirty="0" smtClean="0">
              <a:solidFill>
                <a:schemeClr val="bg1"/>
              </a:solidFill>
              <a:cs typeface="+mn-ea"/>
              <a:sym typeface="+mn-lt"/>
            </a:endParaRPr>
          </a:p>
        </p:txBody>
      </p:sp>
      <p:sp>
        <p:nvSpPr>
          <p:cNvPr id="23" name="同侧圆角矩形 22"/>
          <p:cNvSpPr/>
          <p:nvPr/>
        </p:nvSpPr>
        <p:spPr>
          <a:xfrm>
            <a:off x="6884747"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smtClean="0">
                <a:solidFill>
                  <a:schemeClr val="bg1"/>
                </a:solidFill>
                <a:cs typeface="+mn-ea"/>
                <a:sym typeface="+mn-lt"/>
              </a:rPr>
              <a:t>智能社交</a:t>
            </a:r>
            <a:endParaRPr lang="zh-CN" altLang="en-US" sz="1400" b="1" dirty="0" smtClean="0">
              <a:solidFill>
                <a:schemeClr val="bg1"/>
              </a:solidFill>
              <a:cs typeface="+mn-ea"/>
              <a:sym typeface="+mn-lt"/>
            </a:endParaRPr>
          </a:p>
        </p:txBody>
      </p:sp>
      <p:cxnSp>
        <p:nvCxnSpPr>
          <p:cNvPr id="100356" name="肘形连接符 100355"/>
          <p:cNvCxnSpPr>
            <a:stCxn id="12" idx="2"/>
            <a:endCxn id="20" idx="3"/>
          </p:cNvCxnSpPr>
          <p:nvPr/>
        </p:nvCxnSpPr>
        <p:spPr>
          <a:xfrm rot="5400000">
            <a:off x="4372828" y="1628193"/>
            <a:ext cx="607355" cy="4416487"/>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3" name="矩形 42"/>
          <p:cNvSpPr/>
          <p:nvPr/>
        </p:nvSpPr>
        <p:spPr>
          <a:xfrm>
            <a:off x="2522500" y="3904632"/>
            <a:ext cx="568378" cy="2444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dirty="0">
                <a:solidFill>
                  <a:schemeClr val="tx1"/>
                </a:solidFill>
                <a:cs typeface="+mn-ea"/>
                <a:sym typeface="+mn-lt"/>
              </a:rPr>
              <a:t>推动</a:t>
            </a:r>
            <a:endParaRPr lang="zh-CN" altLang="en-US" sz="1400" dirty="0" smtClean="0">
              <a:solidFill>
                <a:schemeClr val="tx1"/>
              </a:solidFill>
              <a:cs typeface="+mn-ea"/>
              <a:sym typeface="+mn-lt"/>
            </a:endParaRPr>
          </a:p>
        </p:txBody>
      </p:sp>
      <p:sp>
        <p:nvSpPr>
          <p:cNvPr id="107" name="矩形 106"/>
          <p:cNvSpPr/>
          <p:nvPr/>
        </p:nvSpPr>
        <p:spPr>
          <a:xfrm>
            <a:off x="307675" y="1220037"/>
            <a:ext cx="1117713" cy="55196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r">
              <a:lnSpc>
                <a:spcPct val="90000"/>
              </a:lnSpc>
              <a:spcAft>
                <a:spcPts val="1000"/>
              </a:spcAft>
            </a:pPr>
            <a:r>
              <a:rPr lang="zh-CN" altLang="en-US" sz="1600" b="1" smtClean="0">
                <a:solidFill>
                  <a:schemeClr val="tx1"/>
                </a:solidFill>
                <a:cs typeface="+mn-ea"/>
                <a:sym typeface="+mn-lt"/>
              </a:rPr>
              <a:t>项目指导委员会</a:t>
            </a:r>
            <a:endParaRPr lang="en-US" altLang="zh-CN" sz="1600" b="1" dirty="0">
              <a:solidFill>
                <a:schemeClr val="tx1"/>
              </a:solidFill>
              <a:cs typeface="+mn-ea"/>
              <a:sym typeface="+mn-lt"/>
            </a:endParaRPr>
          </a:p>
        </p:txBody>
      </p:sp>
      <p:sp>
        <p:nvSpPr>
          <p:cNvPr id="108" name="矩形 107"/>
          <p:cNvSpPr/>
          <p:nvPr/>
        </p:nvSpPr>
        <p:spPr>
          <a:xfrm>
            <a:off x="307675" y="2080116"/>
            <a:ext cx="1117713" cy="157129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r">
              <a:lnSpc>
                <a:spcPct val="90000"/>
              </a:lnSpc>
              <a:spcAft>
                <a:spcPts val="1000"/>
              </a:spcAft>
            </a:pPr>
            <a:r>
              <a:rPr lang="zh-CN" altLang="en-US" sz="1600" b="1" smtClean="0">
                <a:solidFill>
                  <a:schemeClr val="tx1"/>
                </a:solidFill>
                <a:cs typeface="+mn-ea"/>
                <a:sym typeface="+mn-lt"/>
              </a:rPr>
              <a:t>项目管理办公室</a:t>
            </a:r>
            <a:endParaRPr lang="en-US" altLang="zh-CN" sz="1600" b="1" dirty="0">
              <a:solidFill>
                <a:schemeClr val="tx1"/>
              </a:solidFill>
              <a:cs typeface="+mn-ea"/>
              <a:sym typeface="+mn-lt"/>
            </a:endParaRPr>
          </a:p>
        </p:txBody>
      </p:sp>
      <p:sp>
        <p:nvSpPr>
          <p:cNvPr id="109" name="矩形 108"/>
          <p:cNvSpPr/>
          <p:nvPr/>
        </p:nvSpPr>
        <p:spPr>
          <a:xfrm>
            <a:off x="579456" y="4140115"/>
            <a:ext cx="845932" cy="17793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r">
              <a:lnSpc>
                <a:spcPct val="90000"/>
              </a:lnSpc>
              <a:spcAft>
                <a:spcPts val="1000"/>
              </a:spcAft>
            </a:pPr>
            <a:r>
              <a:rPr lang="zh-CN" altLang="en-US" sz="1600" b="1" smtClean="0">
                <a:solidFill>
                  <a:schemeClr val="tx1"/>
                </a:solidFill>
                <a:cs typeface="+mn-ea"/>
                <a:sym typeface="+mn-lt"/>
              </a:rPr>
              <a:t>项目领导团队</a:t>
            </a:r>
            <a:endParaRPr lang="en-US" altLang="zh-CN" sz="1600" b="1" dirty="0">
              <a:solidFill>
                <a:schemeClr val="tx1"/>
              </a:solidFill>
              <a:cs typeface="+mn-ea"/>
              <a:sym typeface="+mn-lt"/>
            </a:endParaRPr>
          </a:p>
        </p:txBody>
      </p:sp>
      <p:cxnSp>
        <p:nvCxnSpPr>
          <p:cNvPr id="75" name="直接连接符 74"/>
          <p:cNvCxnSpPr/>
          <p:nvPr/>
        </p:nvCxnSpPr>
        <p:spPr>
          <a:xfrm>
            <a:off x="1470213" y="4140114"/>
            <a:ext cx="0" cy="1779388"/>
          </a:xfrm>
          <a:prstGeom prst="line">
            <a:avLst/>
          </a:prstGeom>
          <a:ln w="127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a:off x="1470213" y="2080116"/>
            <a:ext cx="0" cy="1571292"/>
          </a:xfrm>
          <a:prstGeom prst="line">
            <a:avLst/>
          </a:prstGeom>
          <a:ln w="127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16" name="直接连接符 115"/>
          <p:cNvCxnSpPr/>
          <p:nvPr/>
        </p:nvCxnSpPr>
        <p:spPr>
          <a:xfrm>
            <a:off x="1470213" y="1148254"/>
            <a:ext cx="0" cy="662196"/>
          </a:xfrm>
          <a:prstGeom prst="line">
            <a:avLst/>
          </a:prstGeom>
          <a:ln w="127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7" name="矩形 116"/>
          <p:cNvSpPr/>
          <p:nvPr/>
        </p:nvSpPr>
        <p:spPr>
          <a:xfrm>
            <a:off x="1750971"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83" name="同侧圆角矩形 82"/>
          <p:cNvSpPr/>
          <p:nvPr/>
        </p:nvSpPr>
        <p:spPr>
          <a:xfrm>
            <a:off x="8608909"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smtClean="0">
                <a:solidFill>
                  <a:schemeClr val="bg1"/>
                </a:solidFill>
                <a:cs typeface="+mn-ea"/>
                <a:sym typeface="+mn-lt"/>
              </a:rPr>
              <a:t>智能服务</a:t>
            </a:r>
            <a:endParaRPr lang="zh-CN" altLang="en-US" sz="1400" b="1" dirty="0" smtClean="0">
              <a:solidFill>
                <a:schemeClr val="bg1"/>
              </a:solidFill>
              <a:cs typeface="+mn-ea"/>
              <a:sym typeface="+mn-lt"/>
            </a:endParaRPr>
          </a:p>
        </p:txBody>
      </p:sp>
      <p:sp>
        <p:nvSpPr>
          <p:cNvPr id="84" name="同侧圆角矩形 83"/>
          <p:cNvSpPr/>
          <p:nvPr/>
        </p:nvSpPr>
        <p:spPr>
          <a:xfrm>
            <a:off x="10333073" y="4140114"/>
            <a:ext cx="1512000" cy="321548"/>
          </a:xfrm>
          <a:prstGeom prst="round2SameRect">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b="1">
                <a:solidFill>
                  <a:schemeClr val="bg1"/>
                </a:solidFill>
                <a:cs typeface="+mn-ea"/>
                <a:sym typeface="+mn-lt"/>
              </a:rPr>
              <a:t>智</a:t>
            </a:r>
            <a:r>
              <a:rPr lang="zh-CN" altLang="en-US" sz="1400" b="1" smtClean="0">
                <a:solidFill>
                  <a:schemeClr val="bg1"/>
                </a:solidFill>
                <a:cs typeface="+mn-ea"/>
                <a:sym typeface="+mn-lt"/>
              </a:rPr>
              <a:t>慧社区中心</a:t>
            </a:r>
            <a:endParaRPr lang="zh-CN" altLang="en-US" sz="1400" b="1" dirty="0" smtClean="0">
              <a:solidFill>
                <a:schemeClr val="bg1"/>
              </a:solidFill>
              <a:cs typeface="+mn-ea"/>
              <a:sym typeface="+mn-lt"/>
            </a:endParaRPr>
          </a:p>
        </p:txBody>
      </p:sp>
      <p:sp>
        <p:nvSpPr>
          <p:cNvPr id="85" name="矩形 84"/>
          <p:cNvSpPr/>
          <p:nvPr/>
        </p:nvSpPr>
        <p:spPr>
          <a:xfrm>
            <a:off x="3421253"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86" name="矩形 85"/>
          <p:cNvSpPr/>
          <p:nvPr/>
        </p:nvSpPr>
        <p:spPr>
          <a:xfrm>
            <a:off x="3460416"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87" name="矩形 86"/>
          <p:cNvSpPr/>
          <p:nvPr/>
        </p:nvSpPr>
        <p:spPr>
          <a:xfrm>
            <a:off x="5153503"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88" name="矩形 87"/>
          <p:cNvSpPr/>
          <p:nvPr/>
        </p:nvSpPr>
        <p:spPr>
          <a:xfrm>
            <a:off x="5192666"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93" name="矩形 92"/>
          <p:cNvSpPr/>
          <p:nvPr/>
        </p:nvSpPr>
        <p:spPr>
          <a:xfrm>
            <a:off x="6884747"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94" name="矩形 93"/>
          <p:cNvSpPr/>
          <p:nvPr/>
        </p:nvSpPr>
        <p:spPr>
          <a:xfrm>
            <a:off x="6923910"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sp>
        <p:nvSpPr>
          <p:cNvPr id="95" name="矩形 94"/>
          <p:cNvSpPr/>
          <p:nvPr/>
        </p:nvSpPr>
        <p:spPr>
          <a:xfrm>
            <a:off x="8599103"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96" name="矩形 95"/>
          <p:cNvSpPr/>
          <p:nvPr/>
        </p:nvSpPr>
        <p:spPr>
          <a:xfrm>
            <a:off x="8638266"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a:solidFill>
                <a:srgbClr val="000000">
                  <a:lumMod val="100000"/>
                </a:srgbClr>
              </a:solidFill>
              <a:cs typeface="+mn-ea"/>
              <a:sym typeface="+mn-lt"/>
            </a:endParaRPr>
          </a:p>
        </p:txBody>
      </p:sp>
      <p:sp>
        <p:nvSpPr>
          <p:cNvPr id="97" name="矩形 96"/>
          <p:cNvSpPr/>
          <p:nvPr/>
        </p:nvSpPr>
        <p:spPr>
          <a:xfrm>
            <a:off x="10332392" y="4552279"/>
            <a:ext cx="1512454" cy="1367223"/>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cs typeface="+mn-ea"/>
              <a:sym typeface="+mn-lt"/>
            </a:endParaRPr>
          </a:p>
        </p:txBody>
      </p:sp>
      <p:sp>
        <p:nvSpPr>
          <p:cNvPr id="98" name="矩形 97"/>
          <p:cNvSpPr/>
          <p:nvPr/>
        </p:nvSpPr>
        <p:spPr>
          <a:xfrm>
            <a:off x="10371555" y="4628820"/>
            <a:ext cx="1434127" cy="98487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400050" lvl="1" indent="-285750">
              <a:spcBef>
                <a:spcPct val="0"/>
              </a:spcBef>
              <a:spcAft>
                <a:spcPct val="0"/>
              </a:spcAft>
              <a:buClr>
                <a:schemeClr val="tx2">
                  <a:lumMod val="100000"/>
                </a:schemeClr>
              </a:buClr>
              <a:buSzPct val="100000"/>
              <a:buFont typeface="Arial" panose="020B0604020202020204" pitchFamily="34" charset="0"/>
              <a:buChar char="•"/>
            </a:pPr>
            <a:r>
              <a:rPr lang="en-US" altLang="zh-CN" sz="1400" dirty="0" smtClean="0">
                <a:solidFill>
                  <a:srgbClr val="000000">
                    <a:lumMod val="100000"/>
                  </a:srgbClr>
                </a:solidFill>
                <a:cs typeface="+mn-ea"/>
                <a:sym typeface="+mn-lt"/>
              </a:rPr>
              <a:t>xxx</a:t>
            </a:r>
            <a:endParaRPr lang="zh-CN" altLang="en-US" sz="1400" dirty="0" smtClean="0">
              <a:solidFill>
                <a:srgbClr val="000000">
                  <a:lumMod val="100000"/>
                </a:srgbClr>
              </a:solidFill>
              <a:cs typeface="+mn-ea"/>
              <a:sym typeface="+mn-lt"/>
            </a:endParaRPr>
          </a:p>
        </p:txBody>
      </p:sp>
      <p:cxnSp>
        <p:nvCxnSpPr>
          <p:cNvPr id="10" name="直接连接符 9"/>
          <p:cNvCxnSpPr>
            <a:stCxn id="19" idx="0"/>
            <a:endCxn id="9" idx="2"/>
          </p:cNvCxnSpPr>
          <p:nvPr/>
        </p:nvCxnSpPr>
        <p:spPr>
          <a:xfrm flipH="1" flipV="1">
            <a:off x="6884747" y="1810450"/>
            <a:ext cx="1" cy="20608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 idx="0"/>
            <a:endCxn id="19" idx="2"/>
          </p:cNvCxnSpPr>
          <p:nvPr/>
        </p:nvCxnSpPr>
        <p:spPr>
          <a:xfrm flipV="1">
            <a:off x="6884748" y="2652469"/>
            <a:ext cx="0" cy="24435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0" name="肘形连接符 99"/>
          <p:cNvCxnSpPr>
            <a:stCxn id="12" idx="2"/>
            <a:endCxn id="21" idx="3"/>
          </p:cNvCxnSpPr>
          <p:nvPr/>
        </p:nvCxnSpPr>
        <p:spPr>
          <a:xfrm rot="5400000">
            <a:off x="5234909" y="2490274"/>
            <a:ext cx="607355" cy="2692325"/>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1" name="肘形连接符 100"/>
          <p:cNvCxnSpPr>
            <a:stCxn id="12" idx="2"/>
            <a:endCxn id="22" idx="3"/>
          </p:cNvCxnSpPr>
          <p:nvPr/>
        </p:nvCxnSpPr>
        <p:spPr>
          <a:xfrm rot="5400000">
            <a:off x="6096990" y="3352355"/>
            <a:ext cx="607355" cy="96816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4" name="肘形连接符 103"/>
          <p:cNvCxnSpPr>
            <a:stCxn id="12" idx="2"/>
            <a:endCxn id="23" idx="3"/>
          </p:cNvCxnSpPr>
          <p:nvPr/>
        </p:nvCxnSpPr>
        <p:spPr>
          <a:xfrm rot="16200000" flipH="1">
            <a:off x="6959070" y="3458436"/>
            <a:ext cx="607355" cy="755999"/>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10" name="肘形连接符 109"/>
          <p:cNvCxnSpPr>
            <a:stCxn id="12" idx="2"/>
            <a:endCxn id="83" idx="3"/>
          </p:cNvCxnSpPr>
          <p:nvPr/>
        </p:nvCxnSpPr>
        <p:spPr>
          <a:xfrm rot="16200000" flipH="1">
            <a:off x="7821151" y="2596355"/>
            <a:ext cx="607355" cy="2480161"/>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11" name="肘形连接符 110"/>
          <p:cNvCxnSpPr>
            <a:stCxn id="12" idx="2"/>
            <a:endCxn id="84" idx="3"/>
          </p:cNvCxnSpPr>
          <p:nvPr/>
        </p:nvCxnSpPr>
        <p:spPr>
          <a:xfrm rot="16200000" flipH="1">
            <a:off x="8683233" y="1734273"/>
            <a:ext cx="607355" cy="4204325"/>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3" name="矩形 112"/>
          <p:cNvSpPr/>
          <p:nvPr/>
        </p:nvSpPr>
        <p:spPr>
          <a:xfrm>
            <a:off x="4199165" y="3904632"/>
            <a:ext cx="568378" cy="2444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dirty="0">
                <a:solidFill>
                  <a:schemeClr val="tx1"/>
                </a:solidFill>
                <a:cs typeface="+mn-ea"/>
                <a:sym typeface="+mn-lt"/>
              </a:rPr>
              <a:t>推动</a:t>
            </a:r>
            <a:endParaRPr lang="zh-CN" altLang="en-US" sz="1400" dirty="0" smtClean="0">
              <a:solidFill>
                <a:schemeClr val="tx1"/>
              </a:solidFill>
              <a:cs typeface="+mn-ea"/>
              <a:sym typeface="+mn-lt"/>
            </a:endParaRPr>
          </a:p>
        </p:txBody>
      </p:sp>
      <p:sp>
        <p:nvSpPr>
          <p:cNvPr id="114" name="矩形 113"/>
          <p:cNvSpPr/>
          <p:nvPr/>
        </p:nvSpPr>
        <p:spPr>
          <a:xfrm>
            <a:off x="6009872" y="3904632"/>
            <a:ext cx="568378" cy="2444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dirty="0">
                <a:solidFill>
                  <a:schemeClr val="tx1"/>
                </a:solidFill>
                <a:cs typeface="+mn-ea"/>
                <a:sym typeface="+mn-lt"/>
              </a:rPr>
              <a:t>推动</a:t>
            </a:r>
            <a:endParaRPr lang="zh-CN" altLang="en-US" sz="1400" dirty="0" smtClean="0">
              <a:solidFill>
                <a:schemeClr val="tx1"/>
              </a:solidFill>
              <a:cs typeface="+mn-ea"/>
              <a:sym typeface="+mn-lt"/>
            </a:endParaRPr>
          </a:p>
        </p:txBody>
      </p:sp>
      <p:sp>
        <p:nvSpPr>
          <p:cNvPr id="119" name="矩形 118"/>
          <p:cNvSpPr/>
          <p:nvPr/>
        </p:nvSpPr>
        <p:spPr>
          <a:xfrm>
            <a:off x="7666037" y="3904632"/>
            <a:ext cx="568378" cy="2444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dirty="0">
                <a:solidFill>
                  <a:schemeClr val="tx1"/>
                </a:solidFill>
                <a:cs typeface="+mn-ea"/>
                <a:sym typeface="+mn-lt"/>
              </a:rPr>
              <a:t>推动</a:t>
            </a:r>
            <a:endParaRPr lang="zh-CN" altLang="en-US" sz="1400" dirty="0" smtClean="0">
              <a:solidFill>
                <a:schemeClr val="tx1"/>
              </a:solidFill>
              <a:cs typeface="+mn-ea"/>
              <a:sym typeface="+mn-lt"/>
            </a:endParaRPr>
          </a:p>
        </p:txBody>
      </p:sp>
      <p:sp>
        <p:nvSpPr>
          <p:cNvPr id="120" name="矩形 119"/>
          <p:cNvSpPr/>
          <p:nvPr/>
        </p:nvSpPr>
        <p:spPr>
          <a:xfrm>
            <a:off x="9398342" y="3904632"/>
            <a:ext cx="568378" cy="2444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dirty="0">
                <a:solidFill>
                  <a:schemeClr val="tx1"/>
                </a:solidFill>
                <a:cs typeface="+mn-ea"/>
                <a:sym typeface="+mn-lt"/>
              </a:rPr>
              <a:t>推动</a:t>
            </a:r>
            <a:endParaRPr lang="zh-CN" altLang="en-US" sz="1400" dirty="0" smtClean="0">
              <a:solidFill>
                <a:schemeClr val="tx1"/>
              </a:solidFill>
              <a:cs typeface="+mn-ea"/>
              <a:sym typeface="+mn-lt"/>
            </a:endParaRPr>
          </a:p>
        </p:txBody>
      </p:sp>
      <p:sp>
        <p:nvSpPr>
          <p:cNvPr id="121" name="矩形 120"/>
          <p:cNvSpPr/>
          <p:nvPr/>
        </p:nvSpPr>
        <p:spPr>
          <a:xfrm>
            <a:off x="11170473" y="3904632"/>
            <a:ext cx="568378" cy="2444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400" dirty="0">
                <a:solidFill>
                  <a:schemeClr val="tx1"/>
                </a:solidFill>
                <a:cs typeface="+mn-ea"/>
                <a:sym typeface="+mn-lt"/>
              </a:rPr>
              <a:t>推动</a:t>
            </a:r>
            <a:endParaRPr lang="zh-CN" altLang="en-US" sz="1400" dirty="0" smtClean="0">
              <a:solidFill>
                <a:schemeClr val="tx1"/>
              </a:solidFill>
              <a:cs typeface="+mn-ea"/>
              <a:sym typeface="+mn-lt"/>
            </a:endParaRPr>
          </a:p>
        </p:txBody>
      </p:sp>
      <p:grpSp>
        <p:nvGrpSpPr>
          <p:cNvPr id="122" name="组合 121"/>
          <p:cNvGrpSpPr/>
          <p:nvPr/>
        </p:nvGrpSpPr>
        <p:grpSpPr>
          <a:xfrm>
            <a:off x="11205873" y="303798"/>
            <a:ext cx="914400" cy="396585"/>
            <a:chOff x="-1215914" y="463814"/>
            <a:chExt cx="914400" cy="396585"/>
          </a:xfrm>
        </p:grpSpPr>
        <p:sp>
          <p:nvSpPr>
            <p:cNvPr id="123" name="文本框 122"/>
            <p:cNvSpPr txBox="1"/>
            <p:nvPr/>
          </p:nvSpPr>
          <p:spPr>
            <a:xfrm>
              <a:off x="-1215914" y="469691"/>
              <a:ext cx="914400" cy="3848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zh-CN" altLang="en-US" sz="1600" b="1" dirty="0" smtClean="0">
                  <a:solidFill>
                    <a:srgbClr val="575757"/>
                  </a:solidFill>
                </a:rPr>
                <a:t>待讨论</a:t>
              </a:r>
              <a:endParaRPr lang="zh-CN" altLang="en-US" sz="1600" b="1" dirty="0" smtClean="0">
                <a:solidFill>
                  <a:srgbClr val="575757"/>
                </a:solidFill>
              </a:endParaRPr>
            </a:p>
          </p:txBody>
        </p:sp>
        <p:cxnSp>
          <p:nvCxnSpPr>
            <p:cNvPr id="124" name="直接连接符 123"/>
            <p:cNvCxnSpPr/>
            <p:nvPr/>
          </p:nvCxnSpPr>
          <p:spPr>
            <a:xfrm>
              <a:off x="-1215914" y="463814"/>
              <a:ext cx="914400" cy="0"/>
            </a:xfrm>
            <a:prstGeom prst="line">
              <a:avLst/>
            </a:prstGeom>
            <a:ln w="25400" cap="rnd" cmpd="dbl">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5" name="直接连接符 124"/>
            <p:cNvCxnSpPr/>
            <p:nvPr/>
          </p:nvCxnSpPr>
          <p:spPr>
            <a:xfrm>
              <a:off x="-1215914" y="860399"/>
              <a:ext cx="914400" cy="0"/>
            </a:xfrm>
            <a:prstGeom prst="line">
              <a:avLst/>
            </a:prstGeom>
            <a:ln w="25400" cap="rnd" cmpd="dbl">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5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架构</a:t>
            </a:r>
            <a:r>
              <a:rPr lang="en-US" altLang="zh-CN" sz="2400" dirty="0" smtClean="0">
                <a:latin typeface="+mj-ea"/>
              </a:rPr>
              <a:t>--</a:t>
            </a:r>
            <a:r>
              <a:rPr lang="zh-CN" altLang="en-US" sz="2400" dirty="0" smtClean="0">
                <a:cs typeface="+mn-ea"/>
                <a:sym typeface="+mn-lt"/>
              </a:rPr>
              <a:t>项目小组</a:t>
            </a:r>
            <a:endParaRPr lang="zh-CN" altLang="en-US" sz="2400" dirty="0">
              <a:latin typeface="+mj-ea"/>
            </a:endParaRPr>
          </a:p>
        </p:txBody>
      </p:sp>
      <p:pic>
        <p:nvPicPr>
          <p:cNvPr id="53" name="图片 5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080705" y="2305505"/>
            <a:ext cx="738875" cy="751139"/>
            <a:chOff x="2498710" y="2311467"/>
            <a:chExt cx="1748840" cy="1777866"/>
          </a:xfrm>
        </p:grpSpPr>
        <p:sp>
          <p:nvSpPr>
            <p:cNvPr id="5" name="椭圆 4"/>
            <p:cNvSpPr/>
            <p:nvPr/>
          </p:nvSpPr>
          <p:spPr>
            <a:xfrm>
              <a:off x="2644792" y="2457549"/>
              <a:ext cx="1456676" cy="1456676"/>
            </a:xfrm>
            <a:prstGeom prst="ellips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200" dirty="0" smtClean="0">
                  <a:latin typeface="Arial" panose="020B0604020202020204" pitchFamily="34" charset="0"/>
                  <a:ea typeface="华文楷体" panose="02010600040101010101" charset="-122"/>
                  <a:cs typeface="Arial" panose="020B0604020202020204" pitchFamily="34" charset="0"/>
                </a:rPr>
                <a:t>1</a:t>
              </a:r>
              <a:endParaRPr lang="zh-CN" altLang="en-US" sz="3200" dirty="0">
                <a:latin typeface="Arial" panose="020B0604020202020204" pitchFamily="34" charset="0"/>
                <a:ea typeface="华文楷体" panose="02010600040101010101" charset="-122"/>
                <a:cs typeface="Arial" panose="020B0604020202020204" pitchFamily="34" charset="0"/>
              </a:endParaRPr>
            </a:p>
          </p:txBody>
        </p:sp>
        <p:sp>
          <p:nvSpPr>
            <p:cNvPr id="6" name="椭圆 5"/>
            <p:cNvSpPr/>
            <p:nvPr/>
          </p:nvSpPr>
          <p:spPr>
            <a:xfrm>
              <a:off x="2498710" y="2311467"/>
              <a:ext cx="1748840" cy="1748840"/>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6600" dirty="0">
                <a:latin typeface="华文楷体" panose="02010600040101010101" charset="-122"/>
                <a:ea typeface="华文楷体" panose="02010600040101010101" charset="-122"/>
              </a:endParaRPr>
            </a:p>
          </p:txBody>
        </p:sp>
        <p:sp>
          <p:nvSpPr>
            <p:cNvPr id="7" name="椭圆 6"/>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sp>
          <p:nvSpPr>
            <p:cNvPr id="8" name="椭圆 7"/>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grpSp>
      <p:sp>
        <p:nvSpPr>
          <p:cNvPr id="9" name="文本框 8">
            <a:hlinkClick r:id="rId1" action="ppaction://hlinkpres?slideindex=1&amp;slidetitle="/>
          </p:cNvPr>
          <p:cNvSpPr txBox="1"/>
          <p:nvPr/>
        </p:nvSpPr>
        <p:spPr>
          <a:xfrm>
            <a:off x="1885051" y="2427398"/>
            <a:ext cx="2256815" cy="52322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0"/>
              </a:spcBef>
              <a:spcAft>
                <a:spcPts val="0"/>
              </a:spcAft>
              <a:buClrTx/>
              <a:buSzTx/>
              <a:buFontTx/>
              <a:buNone/>
              <a:defRPr/>
            </a:pPr>
            <a:r>
              <a:rPr kumimoji="1" lang="zh-CN" altLang="en-US" sz="2800" b="1" dirty="0" smtClean="0">
                <a:latin typeface="Arial" panose="020B0604020202020204" pitchFamily="34" charset="0"/>
                <a:ea typeface="华文楷体" panose="02010600040101010101" charset="-122"/>
                <a:cs typeface="Arial" panose="020B0604020202020204" pitchFamily="34" charset="0"/>
                <a:sym typeface="+mn-lt"/>
                <a:hlinkClick r:id="rId2" action="ppaction://hlinksldjump"/>
              </a:rPr>
              <a:t>图表</a:t>
            </a:r>
            <a:endParaRPr kumimoji="1" lang="zh-CN" altLang="en-US" sz="2800" b="1" i="0" strike="noStrike" kern="1200" cap="none" spc="0" normalizeH="0" baseline="0" noProof="0" dirty="0">
              <a:ln>
                <a:noFill/>
              </a:ln>
              <a:effectLst/>
              <a:uLnTx/>
              <a:uFillTx/>
              <a:latin typeface="华文楷体" panose="02010600040101010101" charset="-122"/>
              <a:ea typeface="华文楷体" panose="02010600040101010101" charset="-122"/>
              <a:cs typeface="+mn-ea"/>
              <a:sym typeface="+mn-lt"/>
            </a:endParaRPr>
          </a:p>
        </p:txBody>
      </p:sp>
      <p:cxnSp>
        <p:nvCxnSpPr>
          <p:cNvPr id="10" name="直接连接符 9"/>
          <p:cNvCxnSpPr/>
          <p:nvPr/>
        </p:nvCxnSpPr>
        <p:spPr>
          <a:xfrm>
            <a:off x="1885050" y="2370974"/>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 name="组合 10"/>
          <p:cNvGrpSpPr/>
          <p:nvPr/>
        </p:nvGrpSpPr>
        <p:grpSpPr>
          <a:xfrm>
            <a:off x="5045676" y="2305505"/>
            <a:ext cx="738875" cy="751139"/>
            <a:chOff x="2498710" y="2311467"/>
            <a:chExt cx="1748840" cy="1777866"/>
          </a:xfrm>
        </p:grpSpPr>
        <p:sp>
          <p:nvSpPr>
            <p:cNvPr id="12" name="椭圆 11"/>
            <p:cNvSpPr/>
            <p:nvPr/>
          </p:nvSpPr>
          <p:spPr>
            <a:xfrm>
              <a:off x="2644792" y="2457549"/>
              <a:ext cx="1456676" cy="1456676"/>
            </a:xfrm>
            <a:prstGeom prst="ellips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200" dirty="0">
                  <a:latin typeface="Arial" panose="020B0604020202020204" pitchFamily="34" charset="0"/>
                  <a:ea typeface="华文楷体" panose="02010600040101010101" charset="-122"/>
                  <a:cs typeface="Arial" panose="020B0604020202020204" pitchFamily="34" charset="0"/>
                </a:rPr>
                <a:t>2</a:t>
              </a:r>
              <a:endParaRPr lang="zh-CN" altLang="en-US" sz="3200" dirty="0">
                <a:latin typeface="Arial" panose="020B0604020202020204" pitchFamily="34" charset="0"/>
                <a:ea typeface="华文楷体" panose="02010600040101010101" charset="-122"/>
                <a:cs typeface="Arial" panose="020B0604020202020204" pitchFamily="34" charset="0"/>
              </a:endParaRPr>
            </a:p>
          </p:txBody>
        </p:sp>
        <p:sp>
          <p:nvSpPr>
            <p:cNvPr id="13" name="椭圆 12"/>
            <p:cNvSpPr/>
            <p:nvPr/>
          </p:nvSpPr>
          <p:spPr>
            <a:xfrm>
              <a:off x="2498710" y="2311467"/>
              <a:ext cx="1748840" cy="1748840"/>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6600" dirty="0">
                <a:latin typeface="华文楷体" panose="02010600040101010101" charset="-122"/>
                <a:ea typeface="华文楷体" panose="02010600040101010101" charset="-122"/>
              </a:endParaRPr>
            </a:p>
          </p:txBody>
        </p:sp>
        <p:sp>
          <p:nvSpPr>
            <p:cNvPr id="14" name="椭圆 13"/>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sp>
          <p:nvSpPr>
            <p:cNvPr id="15" name="椭圆 14"/>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grpSp>
      <p:sp>
        <p:nvSpPr>
          <p:cNvPr id="16" name="文本框 8"/>
          <p:cNvSpPr txBox="1"/>
          <p:nvPr/>
        </p:nvSpPr>
        <p:spPr>
          <a:xfrm>
            <a:off x="5850022" y="2427398"/>
            <a:ext cx="2256815" cy="52322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0"/>
              </a:spcBef>
              <a:spcAft>
                <a:spcPts val="0"/>
              </a:spcAft>
              <a:buClrTx/>
              <a:buSzTx/>
              <a:buFontTx/>
              <a:buNone/>
              <a:defRPr/>
            </a:pPr>
            <a:r>
              <a:rPr kumimoji="1" lang="zh-CN" altLang="en-US" sz="2800" b="1" dirty="0">
                <a:solidFill>
                  <a:schemeClr val="tx1">
                    <a:lumMod val="75000"/>
                    <a:lumOff val="25000"/>
                  </a:schemeClr>
                </a:solidFill>
                <a:latin typeface="华文楷体" panose="02010600040101010101" charset="-122"/>
                <a:ea typeface="华文楷体" panose="02010600040101010101" charset="-122"/>
                <a:cs typeface="+mn-ea"/>
                <a:sym typeface="+mn-lt"/>
                <a:hlinkClick r:id="rId3" action="ppaction://hlinksldjump"/>
              </a:rPr>
              <a:t>内容</a:t>
            </a:r>
            <a:endParaRPr kumimoji="1" lang="zh-CN" altLang="en-US" sz="2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endParaRPr>
          </a:p>
        </p:txBody>
      </p:sp>
      <p:cxnSp>
        <p:nvCxnSpPr>
          <p:cNvPr id="17" name="直接连接符 16"/>
          <p:cNvCxnSpPr/>
          <p:nvPr/>
        </p:nvCxnSpPr>
        <p:spPr>
          <a:xfrm>
            <a:off x="5850021" y="2370974"/>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p:cNvGrpSpPr/>
          <p:nvPr/>
        </p:nvGrpSpPr>
        <p:grpSpPr>
          <a:xfrm>
            <a:off x="8639300" y="2305505"/>
            <a:ext cx="738875" cy="751139"/>
            <a:chOff x="2498710" y="2311467"/>
            <a:chExt cx="1748840" cy="1777866"/>
          </a:xfrm>
        </p:grpSpPr>
        <p:sp>
          <p:nvSpPr>
            <p:cNvPr id="19" name="椭圆 18"/>
            <p:cNvSpPr/>
            <p:nvPr/>
          </p:nvSpPr>
          <p:spPr>
            <a:xfrm>
              <a:off x="2644792" y="2457549"/>
              <a:ext cx="1456676" cy="1456676"/>
            </a:xfrm>
            <a:prstGeom prst="ellips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200" dirty="0">
                  <a:latin typeface="Arial" panose="020B0604020202020204" pitchFamily="34" charset="0"/>
                  <a:ea typeface="华文楷体" panose="02010600040101010101" charset="-122"/>
                  <a:cs typeface="Arial" panose="020B0604020202020204" pitchFamily="34" charset="0"/>
                </a:rPr>
                <a:t>3</a:t>
              </a:r>
              <a:endParaRPr lang="zh-CN" altLang="en-US" sz="3200" dirty="0">
                <a:latin typeface="Arial" panose="020B0604020202020204" pitchFamily="34" charset="0"/>
                <a:ea typeface="华文楷体" panose="02010600040101010101" charset="-122"/>
                <a:cs typeface="Arial" panose="020B0604020202020204" pitchFamily="34" charset="0"/>
              </a:endParaRPr>
            </a:p>
          </p:txBody>
        </p:sp>
        <p:sp>
          <p:nvSpPr>
            <p:cNvPr id="20" name="椭圆 19"/>
            <p:cNvSpPr/>
            <p:nvPr/>
          </p:nvSpPr>
          <p:spPr>
            <a:xfrm>
              <a:off x="2498710" y="2311467"/>
              <a:ext cx="1748840" cy="1748840"/>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6600" dirty="0">
                <a:latin typeface="华文楷体" panose="02010600040101010101" charset="-122"/>
                <a:ea typeface="华文楷体" panose="02010600040101010101" charset="-122"/>
              </a:endParaRPr>
            </a:p>
          </p:txBody>
        </p:sp>
        <p:sp>
          <p:nvSpPr>
            <p:cNvPr id="21" name="椭圆 20"/>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sp>
          <p:nvSpPr>
            <p:cNvPr id="22" name="椭圆 21"/>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grpSp>
      <p:cxnSp>
        <p:nvCxnSpPr>
          <p:cNvPr id="23" name="直接连接符 22"/>
          <p:cNvCxnSpPr/>
          <p:nvPr/>
        </p:nvCxnSpPr>
        <p:spPr>
          <a:xfrm>
            <a:off x="9443645" y="2370974"/>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4" name="组合 23"/>
          <p:cNvGrpSpPr/>
          <p:nvPr/>
        </p:nvGrpSpPr>
        <p:grpSpPr>
          <a:xfrm>
            <a:off x="3297866" y="4064360"/>
            <a:ext cx="738875" cy="751139"/>
            <a:chOff x="2498710" y="2311467"/>
            <a:chExt cx="1748840" cy="1777866"/>
          </a:xfrm>
        </p:grpSpPr>
        <p:sp>
          <p:nvSpPr>
            <p:cNvPr id="25" name="椭圆 24"/>
            <p:cNvSpPr/>
            <p:nvPr/>
          </p:nvSpPr>
          <p:spPr>
            <a:xfrm>
              <a:off x="2644792" y="2457549"/>
              <a:ext cx="1456676" cy="1456676"/>
            </a:xfrm>
            <a:prstGeom prst="ellips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200" dirty="0">
                  <a:latin typeface="Arial" panose="020B0604020202020204" pitchFamily="34" charset="0"/>
                  <a:ea typeface="华文楷体" panose="02010600040101010101" charset="-122"/>
                  <a:cs typeface="Arial" panose="020B0604020202020204" pitchFamily="34" charset="0"/>
                </a:rPr>
                <a:t>4</a:t>
              </a:r>
              <a:endParaRPr lang="zh-CN" altLang="en-US" sz="3200" dirty="0">
                <a:latin typeface="Arial" panose="020B0604020202020204" pitchFamily="34" charset="0"/>
                <a:ea typeface="华文楷体" panose="02010600040101010101" charset="-122"/>
                <a:cs typeface="Arial" panose="020B0604020202020204" pitchFamily="34" charset="0"/>
              </a:endParaRPr>
            </a:p>
          </p:txBody>
        </p:sp>
        <p:sp>
          <p:nvSpPr>
            <p:cNvPr id="26" name="椭圆 25"/>
            <p:cNvSpPr/>
            <p:nvPr/>
          </p:nvSpPr>
          <p:spPr>
            <a:xfrm>
              <a:off x="2498710" y="2311467"/>
              <a:ext cx="1748840" cy="1748840"/>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6600" dirty="0">
                <a:latin typeface="华文楷体" panose="02010600040101010101" charset="-122"/>
                <a:ea typeface="华文楷体" panose="02010600040101010101" charset="-122"/>
              </a:endParaRPr>
            </a:p>
          </p:txBody>
        </p:sp>
        <p:sp>
          <p:nvSpPr>
            <p:cNvPr id="27" name="椭圆 26"/>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sp>
          <p:nvSpPr>
            <p:cNvPr id="28" name="椭圆 27"/>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grpSp>
      <p:sp>
        <p:nvSpPr>
          <p:cNvPr id="29" name="文本框 8"/>
          <p:cNvSpPr txBox="1"/>
          <p:nvPr/>
        </p:nvSpPr>
        <p:spPr>
          <a:xfrm>
            <a:off x="4102212" y="4186253"/>
            <a:ext cx="2256815" cy="52322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0"/>
              </a:spcBef>
              <a:spcAft>
                <a:spcPts val="0"/>
              </a:spcAft>
              <a:buClrTx/>
              <a:buSzTx/>
              <a:buFontTx/>
              <a:buNone/>
              <a:defRPr/>
            </a:pPr>
            <a:r>
              <a:rPr kumimoji="1" lang="zh-CN" altLang="en-US" sz="28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hlinkClick r:id="rId4" action="ppaction://hlinksldjump"/>
              </a:rPr>
              <a:t>流程</a:t>
            </a:r>
            <a:endParaRPr kumimoji="1" lang="zh-CN" altLang="en-US" sz="2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endParaRPr>
          </a:p>
        </p:txBody>
      </p:sp>
      <p:cxnSp>
        <p:nvCxnSpPr>
          <p:cNvPr id="30" name="直接连接符 29"/>
          <p:cNvCxnSpPr/>
          <p:nvPr/>
        </p:nvCxnSpPr>
        <p:spPr>
          <a:xfrm>
            <a:off x="4102211" y="4129829"/>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矩形 30"/>
          <p:cNvSpPr/>
          <p:nvPr/>
        </p:nvSpPr>
        <p:spPr>
          <a:xfrm>
            <a:off x="4549670" y="674025"/>
            <a:ext cx="2031326" cy="646331"/>
          </a:xfrm>
          <a:prstGeom prst="rect">
            <a:avLst/>
          </a:prstGeom>
        </p:spPr>
        <p:txBody>
          <a:bodyPr wrap="none">
            <a:spAutoFit/>
          </a:bodyPr>
          <a:lstStyle/>
          <a:p>
            <a:pPr lvl="0" algn="ctr"/>
            <a:r>
              <a:rPr lang="zh-CN" altLang="en-US" sz="3600" b="1" dirty="0" smtClean="0">
                <a:solidFill>
                  <a:srgbClr val="FE5817"/>
                </a:solidFill>
                <a:latin typeface="华文楷体" panose="02010600040101010101" charset="-122"/>
                <a:ea typeface="华文楷体" panose="02010600040101010101" charset="-122"/>
              </a:rPr>
              <a:t>工具模板</a:t>
            </a:r>
            <a:endParaRPr lang="zh-CN" altLang="en-US" sz="3600" b="1" dirty="0">
              <a:solidFill>
                <a:srgbClr val="FE5817"/>
              </a:solidFill>
              <a:latin typeface="华文楷体" panose="02010600040101010101" charset="-122"/>
              <a:ea typeface="华文楷体" panose="02010600040101010101" charset="-122"/>
            </a:endParaRPr>
          </a:p>
        </p:txBody>
      </p:sp>
      <p:grpSp>
        <p:nvGrpSpPr>
          <p:cNvPr id="32" name="组合 31"/>
          <p:cNvGrpSpPr/>
          <p:nvPr/>
        </p:nvGrpSpPr>
        <p:grpSpPr>
          <a:xfrm>
            <a:off x="6756002" y="4080753"/>
            <a:ext cx="738875" cy="751139"/>
            <a:chOff x="2498710" y="2311467"/>
            <a:chExt cx="1748840" cy="1777866"/>
          </a:xfrm>
        </p:grpSpPr>
        <p:sp>
          <p:nvSpPr>
            <p:cNvPr id="33" name="椭圆 32"/>
            <p:cNvSpPr/>
            <p:nvPr/>
          </p:nvSpPr>
          <p:spPr>
            <a:xfrm>
              <a:off x="2644792" y="2457549"/>
              <a:ext cx="1456676" cy="1456676"/>
            </a:xfrm>
            <a:prstGeom prst="ellips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200" dirty="0" smtClean="0">
                  <a:latin typeface="Arial" panose="020B0604020202020204" pitchFamily="34" charset="0"/>
                  <a:ea typeface="华文楷体" panose="02010600040101010101" charset="-122"/>
                  <a:cs typeface="Arial" panose="020B0604020202020204" pitchFamily="34" charset="0"/>
                </a:rPr>
                <a:t>5</a:t>
              </a:r>
              <a:endParaRPr lang="zh-CN" altLang="en-US" sz="3200" dirty="0">
                <a:latin typeface="Arial" panose="020B0604020202020204" pitchFamily="34" charset="0"/>
                <a:ea typeface="华文楷体" panose="02010600040101010101" charset="-122"/>
                <a:cs typeface="Arial" panose="020B0604020202020204" pitchFamily="34" charset="0"/>
              </a:endParaRPr>
            </a:p>
          </p:txBody>
        </p:sp>
        <p:sp>
          <p:nvSpPr>
            <p:cNvPr id="34" name="椭圆 33"/>
            <p:cNvSpPr/>
            <p:nvPr/>
          </p:nvSpPr>
          <p:spPr>
            <a:xfrm>
              <a:off x="2498710" y="2311467"/>
              <a:ext cx="1748840" cy="1748840"/>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6600" dirty="0">
                <a:latin typeface="华文楷体" panose="02010600040101010101" charset="-122"/>
                <a:ea typeface="华文楷体" panose="02010600040101010101" charset="-122"/>
              </a:endParaRPr>
            </a:p>
          </p:txBody>
        </p:sp>
        <p:sp>
          <p:nvSpPr>
            <p:cNvPr id="35" name="椭圆 34"/>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sp>
          <p:nvSpPr>
            <p:cNvPr id="36" name="椭圆 35"/>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grpSp>
      <p:sp>
        <p:nvSpPr>
          <p:cNvPr id="37" name="文本框 8"/>
          <p:cNvSpPr txBox="1"/>
          <p:nvPr/>
        </p:nvSpPr>
        <p:spPr>
          <a:xfrm>
            <a:off x="7560348" y="4202646"/>
            <a:ext cx="2256815" cy="52322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0"/>
              </a:spcBef>
              <a:spcAft>
                <a:spcPts val="0"/>
              </a:spcAft>
              <a:buClrTx/>
              <a:buSzTx/>
              <a:buFontTx/>
              <a:buNone/>
              <a:defRPr/>
            </a:pPr>
            <a:r>
              <a:rPr kumimoji="1" lang="zh-CN" altLang="en-US" sz="28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hlinkClick r:id="rId5" action="ppaction://hlinksldjump"/>
              </a:rPr>
              <a:t>综合</a:t>
            </a:r>
            <a:endParaRPr kumimoji="1" lang="zh-CN" altLang="en-US" sz="2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endParaRPr>
          </a:p>
        </p:txBody>
      </p:sp>
      <p:cxnSp>
        <p:nvCxnSpPr>
          <p:cNvPr id="38" name="直接连接符 37"/>
          <p:cNvCxnSpPr/>
          <p:nvPr/>
        </p:nvCxnSpPr>
        <p:spPr>
          <a:xfrm>
            <a:off x="7560347" y="4146222"/>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9" name="图片 3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40" name="文本框 8"/>
          <p:cNvSpPr txBox="1"/>
          <p:nvPr/>
        </p:nvSpPr>
        <p:spPr>
          <a:xfrm>
            <a:off x="9443646" y="2427398"/>
            <a:ext cx="2256815" cy="52322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0"/>
              </a:spcBef>
              <a:spcAft>
                <a:spcPts val="0"/>
              </a:spcAft>
              <a:buClrTx/>
              <a:buSzTx/>
              <a:buFontTx/>
              <a:buNone/>
              <a:defRPr/>
            </a:pPr>
            <a:r>
              <a:rPr kumimoji="1" lang="zh-CN" altLang="en-US" sz="2800" b="1" dirty="0">
                <a:solidFill>
                  <a:schemeClr val="tx1">
                    <a:lumMod val="75000"/>
                    <a:lumOff val="25000"/>
                  </a:schemeClr>
                </a:solidFill>
                <a:latin typeface="华文楷体" panose="02010600040101010101" charset="-122"/>
                <a:ea typeface="华文楷体" panose="02010600040101010101" charset="-122"/>
                <a:cs typeface="+mn-ea"/>
                <a:sym typeface="+mn-lt"/>
                <a:hlinkClick r:id="rId7" action="ppaction://hlinksldjump"/>
              </a:rPr>
              <a:t>架构</a:t>
            </a:r>
            <a:endParaRPr kumimoji="1" lang="zh-CN" altLang="en-US" sz="2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p:nvPr/>
        </p:nvSpPr>
        <p:spPr>
          <a:xfrm>
            <a:off x="620960" y="6423"/>
            <a:ext cx="10515600" cy="54225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endParaRPr kumimoji="0" lang="zh-CN" altLang="en-US" sz="2400" b="1" i="0" u="none" strike="noStrike" kern="1200" cap="none" spc="0" normalizeH="0" baseline="0" noProof="0" dirty="0">
              <a:ln>
                <a:noFill/>
              </a:ln>
              <a:solidFill>
                <a:srgbClr val="000000"/>
              </a:solidFill>
              <a:effectLst/>
              <a:uLnTx/>
              <a:uFillTx/>
              <a:latin typeface="+mn-ea"/>
              <a:ea typeface="+mn-ea"/>
              <a:cs typeface="+mj-cs"/>
            </a:endParaRPr>
          </a:p>
        </p:txBody>
      </p:sp>
      <p:sp>
        <p:nvSpPr>
          <p:cNvPr id="5" name="灯片编号占位符 3"/>
          <p:cNvSpPr txBox="1"/>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zh-CN" smtClean="0">
                <a:solidFill>
                  <a:srgbClr val="000000"/>
                </a:solidFill>
                <a:latin typeface="+mn-ea"/>
              </a:rPr>
              <a:t> </a:t>
            </a:r>
            <a:endParaRPr lang="zh-CN" altLang="en-US" dirty="0">
              <a:solidFill>
                <a:srgbClr val="000000"/>
              </a:solidFill>
              <a:latin typeface="+mn-ea"/>
            </a:endParaRPr>
          </a:p>
        </p:txBody>
      </p:sp>
      <p:sp>
        <p:nvSpPr>
          <p:cNvPr id="6" name="矩形 5"/>
          <p:cNvSpPr/>
          <p:nvPr/>
        </p:nvSpPr>
        <p:spPr>
          <a:xfrm>
            <a:off x="387710" y="644982"/>
            <a:ext cx="9654886" cy="384721"/>
          </a:xfrm>
          <a:prstGeom prst="rect">
            <a:avLst/>
          </a:prstGeom>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1200" cap="none" spc="0" normalizeH="0" baseline="0" noProof="0" dirty="0" smtClean="0">
                <a:ln w="0"/>
                <a:solidFill>
                  <a:prstClr val="black"/>
                </a:solidFill>
                <a:uLnTx/>
                <a:uFillTx/>
                <a:latin typeface="+mn-ea"/>
                <a:cs typeface="+mn-cs"/>
              </a:rPr>
              <a:t>说明：人力编制、非人力费用预算模板以人事部、财务部另行下发为准</a:t>
            </a:r>
            <a:endParaRPr kumimoji="0" lang="zh-CN" altLang="en-US" sz="1400" b="1" i="0" u="none" strike="noStrike" kern="1200" cap="none" spc="0" normalizeH="0" baseline="0" noProof="0" dirty="0">
              <a:ln w="0"/>
              <a:solidFill>
                <a:prstClr val="black"/>
              </a:solidFill>
              <a:uLnTx/>
              <a:uFillTx/>
              <a:latin typeface="+mn-ea"/>
              <a:cs typeface="+mn-cs"/>
            </a:endParaRPr>
          </a:p>
        </p:txBody>
      </p:sp>
      <p:graphicFrame>
        <p:nvGraphicFramePr>
          <p:cNvPr id="7" name="表格 6"/>
          <p:cNvGraphicFramePr>
            <a:graphicFrameLocks noGrp="1"/>
          </p:cNvGraphicFramePr>
          <p:nvPr/>
        </p:nvGraphicFramePr>
        <p:xfrm>
          <a:off x="639711" y="1142999"/>
          <a:ext cx="6104361" cy="5228859"/>
        </p:xfrm>
        <a:graphic>
          <a:graphicData uri="http://schemas.openxmlformats.org/drawingml/2006/table">
            <a:tbl>
              <a:tblPr>
                <a:tableStyleId>{BDBED569-4797-4DF1-A0F4-6AAB3CD982D8}</a:tableStyleId>
              </a:tblPr>
              <a:tblGrid>
                <a:gridCol w="1547860"/>
                <a:gridCol w="1051500"/>
                <a:gridCol w="981400"/>
                <a:gridCol w="1610082"/>
                <a:gridCol w="913519"/>
              </a:tblGrid>
              <a:tr h="434990">
                <a:tc>
                  <a:txBody>
                    <a:bodyPr/>
                    <a:lstStyle/>
                    <a:p>
                      <a:pPr algn="ctr" rtl="0" fontAlgn="ctr"/>
                      <a:r>
                        <a:rPr lang="zh-CN" altLang="en-US" sz="1600" b="1" u="none" strike="noStrike" dirty="0">
                          <a:solidFill>
                            <a:schemeClr val="bg1"/>
                          </a:solidFill>
                          <a:effectLst/>
                          <a:latin typeface="华文楷体" panose="02010600040101010101" charset="-122"/>
                          <a:ea typeface="华文楷体" panose="02010600040101010101" charset="-122"/>
                        </a:rPr>
                        <a:t>项目</a:t>
                      </a:r>
                      <a:endParaRPr lang="zh-CN" altLang="en-US" sz="1600" b="1" i="0" u="none" strike="noStrike" dirty="0">
                        <a:solidFill>
                          <a:schemeClr val="bg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solidFill>
                      <a:srgbClr val="FE5817"/>
                    </a:solidFill>
                  </a:tcPr>
                </a:tc>
                <a:tc>
                  <a:txBody>
                    <a:bodyPr/>
                    <a:lstStyle/>
                    <a:p>
                      <a:pPr algn="ctr" rtl="0" fontAlgn="ctr"/>
                      <a:r>
                        <a:rPr lang="en-US" altLang="zh-CN" sz="1400" b="1" i="0" u="none" strike="noStrike" dirty="0" smtClean="0">
                          <a:solidFill>
                            <a:schemeClr val="bg1"/>
                          </a:solidFill>
                          <a:effectLst/>
                          <a:latin typeface="华文楷体" panose="02010600040101010101" charset="-122"/>
                          <a:ea typeface="华文楷体" panose="02010600040101010101" charset="-122"/>
                        </a:rPr>
                        <a:t>2018</a:t>
                      </a:r>
                      <a:r>
                        <a:rPr lang="zh-CN" altLang="en-US" sz="1400" b="1" i="0" u="none" strike="noStrike" dirty="0" smtClean="0">
                          <a:solidFill>
                            <a:schemeClr val="bg1"/>
                          </a:solidFill>
                          <a:effectLst/>
                          <a:latin typeface="华文楷体" panose="02010600040101010101" charset="-122"/>
                          <a:ea typeface="华文楷体" panose="02010600040101010101" charset="-122"/>
                        </a:rPr>
                        <a:t>年</a:t>
                      </a:r>
                      <a:endParaRPr lang="en-US" altLang="zh-CN" sz="1400" b="1" i="0" u="none" strike="noStrike" dirty="0" smtClean="0">
                        <a:solidFill>
                          <a:schemeClr val="bg1"/>
                        </a:solidFill>
                        <a:effectLst/>
                        <a:latin typeface="华文楷体" panose="02010600040101010101" charset="-122"/>
                        <a:ea typeface="华文楷体" panose="02010600040101010101" charset="-122"/>
                      </a:endParaRPr>
                    </a:p>
                    <a:p>
                      <a:pPr algn="ctr" rtl="0" fontAlgn="ctr"/>
                      <a:r>
                        <a:rPr lang="en-US" altLang="zh-CN" sz="1400" b="1" i="0" u="none" strike="noStrike" dirty="0" smtClean="0">
                          <a:solidFill>
                            <a:schemeClr val="bg1"/>
                          </a:solidFill>
                          <a:effectLst/>
                          <a:latin typeface="华文楷体" panose="02010600040101010101" charset="-122"/>
                          <a:ea typeface="华文楷体" panose="02010600040101010101" charset="-122"/>
                        </a:rPr>
                        <a:t>1-8</a:t>
                      </a:r>
                      <a:r>
                        <a:rPr lang="zh-CN" altLang="en-US" sz="1400" b="1" i="0" u="none" strike="noStrike" dirty="0" smtClean="0">
                          <a:solidFill>
                            <a:schemeClr val="bg1"/>
                          </a:solidFill>
                          <a:effectLst/>
                          <a:latin typeface="华文楷体" panose="02010600040101010101" charset="-122"/>
                          <a:ea typeface="华文楷体" panose="02010600040101010101" charset="-122"/>
                        </a:rPr>
                        <a:t>月实际</a:t>
                      </a:r>
                      <a:endParaRPr lang="zh-CN" altLang="en-US" sz="1400" b="1" i="0" u="none" strike="noStrike" dirty="0">
                        <a:solidFill>
                          <a:schemeClr val="bg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solidFill>
                      <a:srgbClr val="FE5817"/>
                    </a:solidFill>
                  </a:tcPr>
                </a:tc>
                <a:tc>
                  <a:txBody>
                    <a:bodyPr/>
                    <a:lstStyle/>
                    <a:p>
                      <a:pPr algn="ctr" rtl="0" fontAlgn="ctr"/>
                      <a:r>
                        <a:rPr lang="en-US" altLang="zh-CN" sz="1400" b="1" i="0" u="none" strike="noStrike" dirty="0" smtClean="0">
                          <a:solidFill>
                            <a:schemeClr val="bg1"/>
                          </a:solidFill>
                          <a:effectLst/>
                          <a:latin typeface="华文楷体" panose="02010600040101010101" charset="-122"/>
                          <a:ea typeface="华文楷体" panose="02010600040101010101" charset="-122"/>
                        </a:rPr>
                        <a:t>2018</a:t>
                      </a:r>
                      <a:r>
                        <a:rPr lang="zh-CN" altLang="en-US" sz="1400" b="1" i="0" u="none" strike="noStrike" dirty="0" smtClean="0">
                          <a:solidFill>
                            <a:schemeClr val="bg1"/>
                          </a:solidFill>
                          <a:effectLst/>
                          <a:latin typeface="华文楷体" panose="02010600040101010101" charset="-122"/>
                          <a:ea typeface="华文楷体" panose="02010600040101010101" charset="-122"/>
                        </a:rPr>
                        <a:t>年预测达成</a:t>
                      </a:r>
                      <a:endParaRPr lang="zh-CN" altLang="en-US" sz="1400" b="1" i="0" u="none" strike="noStrike" dirty="0">
                        <a:solidFill>
                          <a:schemeClr val="bg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solidFill>
                      <a:srgbClr val="FE5817"/>
                    </a:solidFill>
                  </a:tcPr>
                </a:tc>
                <a:tc>
                  <a:txBody>
                    <a:bodyPr/>
                    <a:lstStyle/>
                    <a:p>
                      <a:pPr algn="ctr" rtl="0" fontAlgn="ctr"/>
                      <a:r>
                        <a:rPr lang="en-US" altLang="zh-CN" sz="1400" b="1" i="0" u="none" strike="noStrike" dirty="0" smtClean="0">
                          <a:solidFill>
                            <a:schemeClr val="bg1"/>
                          </a:solidFill>
                          <a:effectLst/>
                          <a:latin typeface="华文楷体" panose="02010600040101010101" charset="-122"/>
                          <a:ea typeface="华文楷体" panose="02010600040101010101" charset="-122"/>
                        </a:rPr>
                        <a:t>2019</a:t>
                      </a:r>
                      <a:r>
                        <a:rPr lang="zh-CN" altLang="en-US" sz="1400" b="1" i="0" u="none" strike="noStrike" dirty="0" smtClean="0">
                          <a:solidFill>
                            <a:schemeClr val="bg1"/>
                          </a:solidFill>
                          <a:effectLst/>
                          <a:latin typeface="华文楷体" panose="02010600040101010101" charset="-122"/>
                          <a:ea typeface="华文楷体" panose="02010600040101010101" charset="-122"/>
                        </a:rPr>
                        <a:t>年预算</a:t>
                      </a:r>
                      <a:endParaRPr lang="zh-CN" altLang="en-US" sz="1400" b="1" i="0" u="none" strike="noStrike" dirty="0">
                        <a:solidFill>
                          <a:schemeClr val="bg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solidFill>
                      <a:srgbClr val="FE5817"/>
                    </a:solidFill>
                  </a:tcPr>
                </a:tc>
                <a:tc>
                  <a:txBody>
                    <a:bodyPr/>
                    <a:lstStyle/>
                    <a:p>
                      <a:pPr algn="ctr" rtl="0" fontAlgn="ctr"/>
                      <a:r>
                        <a:rPr lang="zh-CN" altLang="en-US" sz="1400" b="1" i="0" u="none" strike="noStrike" dirty="0" smtClean="0">
                          <a:solidFill>
                            <a:schemeClr val="bg1"/>
                          </a:solidFill>
                          <a:effectLst/>
                          <a:latin typeface="华文楷体" panose="02010600040101010101" charset="-122"/>
                          <a:ea typeface="华文楷体" panose="02010600040101010101" charset="-122"/>
                        </a:rPr>
                        <a:t>同比</a:t>
                      </a:r>
                      <a:endParaRPr lang="en-US" altLang="zh-CN" sz="1400" b="1" i="0" u="none" strike="noStrike" dirty="0" smtClean="0">
                        <a:solidFill>
                          <a:schemeClr val="bg1"/>
                        </a:solidFill>
                        <a:effectLst/>
                        <a:latin typeface="华文楷体" panose="02010600040101010101" charset="-122"/>
                        <a:ea typeface="华文楷体" panose="02010600040101010101" charset="-122"/>
                      </a:endParaRPr>
                    </a:p>
                    <a:p>
                      <a:pPr algn="ctr" rtl="0" fontAlgn="ctr"/>
                      <a:r>
                        <a:rPr lang="zh-CN" altLang="en-US" sz="1400" b="1" i="0" u="none" strike="noStrike" dirty="0" smtClean="0">
                          <a:solidFill>
                            <a:schemeClr val="bg1"/>
                          </a:solidFill>
                          <a:effectLst/>
                          <a:latin typeface="华文楷体" panose="02010600040101010101" charset="-122"/>
                          <a:ea typeface="华文楷体" panose="02010600040101010101" charset="-122"/>
                        </a:rPr>
                        <a:t>增长</a:t>
                      </a:r>
                      <a:endParaRPr lang="zh-CN" altLang="en-US" sz="1400" b="1" i="0" u="none" strike="noStrike" dirty="0">
                        <a:solidFill>
                          <a:schemeClr val="bg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solidFill>
                      <a:srgbClr val="FE5817"/>
                    </a:solidFill>
                  </a:tcPr>
                </a:tc>
              </a:tr>
              <a:tr h="299936">
                <a:tc>
                  <a:txBody>
                    <a:bodyPr/>
                    <a:lstStyle/>
                    <a:p>
                      <a:pPr algn="ctr" rtl="0" fontAlgn="ctr"/>
                      <a:r>
                        <a:rPr lang="en-US" altLang="zh-CN" sz="1400" b="1" i="0" u="none" strike="noStrike" dirty="0" smtClean="0">
                          <a:solidFill>
                            <a:schemeClr val="tx1"/>
                          </a:solidFill>
                          <a:effectLst/>
                          <a:latin typeface="华文楷体" panose="02010600040101010101" charset="-122"/>
                          <a:ea typeface="华文楷体" panose="02010600040101010101" charset="-122"/>
                        </a:rPr>
                        <a:t>KPI</a:t>
                      </a:r>
                      <a:endParaRPr lang="zh-CN" altLang="en-US" sz="1400" b="1"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r>
              <a:tr h="299936">
                <a:tc>
                  <a:txBody>
                    <a:bodyPr/>
                    <a:lstStyle/>
                    <a:p>
                      <a:pPr algn="ctr" rtl="0" fontAlgn="ctr"/>
                      <a:r>
                        <a:rPr lang="en-US" altLang="zh-CN" sz="1400" b="0" i="0" u="none" strike="noStrike" dirty="0" smtClean="0">
                          <a:solidFill>
                            <a:schemeClr val="tx1"/>
                          </a:solidFill>
                          <a:effectLst/>
                          <a:latin typeface="华文楷体" panose="02010600040101010101" charset="-122"/>
                          <a:ea typeface="华文楷体" panose="02010600040101010101" charset="-122"/>
                        </a:rPr>
                        <a:t>……</a:t>
                      </a:r>
                      <a:endParaRPr lang="zh-CN" altLang="en-US" sz="14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noFill/>
                  </a:tcPr>
                </a:tc>
              </a:tr>
              <a:tr h="299936">
                <a:tc>
                  <a:txBody>
                    <a:bodyPr/>
                    <a:lstStyle/>
                    <a:p>
                      <a:pPr algn="ctr" rtl="0" fontAlgn="ctr"/>
                      <a:r>
                        <a:rPr lang="en-US" altLang="zh-CN" sz="1400" b="0" i="0" u="none" strike="noStrike" dirty="0" smtClean="0">
                          <a:solidFill>
                            <a:schemeClr val="tx1"/>
                          </a:solidFill>
                          <a:effectLst/>
                          <a:latin typeface="华文楷体" panose="02010600040101010101" charset="-122"/>
                          <a:ea typeface="华文楷体" panose="02010600040101010101" charset="-122"/>
                        </a:rPr>
                        <a:t>……</a:t>
                      </a:r>
                      <a:endParaRPr lang="zh-CN" altLang="en-US" sz="14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altLang="zh-CN" sz="1600" b="0" i="0" u="none" strike="noStrike" dirty="0">
                        <a:solidFill>
                          <a:schemeClr val="tx1"/>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noFill/>
                  </a:tcPr>
                </a:tc>
              </a:tr>
              <a:tr h="247810">
                <a:tc>
                  <a:txBody>
                    <a:bodyPr/>
                    <a:lstStyle/>
                    <a:p>
                      <a:pPr algn="ctr" rtl="0" fontAlgn="ctr"/>
                      <a:r>
                        <a:rPr lang="zh-CN" altLang="en-US" sz="1400" b="1" u="none" strike="noStrike" dirty="0">
                          <a:effectLst/>
                          <a:latin typeface="华文楷体" panose="02010600040101010101" charset="-122"/>
                          <a:ea typeface="华文楷体" panose="02010600040101010101" charset="-122"/>
                        </a:rPr>
                        <a:t>总编制</a:t>
                      </a:r>
                      <a:endParaRPr lang="zh-CN" altLang="en-US"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r>
              <a:tr h="247810">
                <a:tc>
                  <a:txBody>
                    <a:bodyPr/>
                    <a:lstStyle/>
                    <a:p>
                      <a:pPr algn="ctr" rtl="0" fontAlgn="ctr"/>
                      <a:r>
                        <a:rPr lang="zh-CN" altLang="en-US" sz="1400" b="1" u="none" strike="noStrike" dirty="0">
                          <a:effectLst/>
                          <a:latin typeface="华文楷体" panose="02010600040101010101" charset="-122"/>
                          <a:ea typeface="华文楷体" panose="02010600040101010101" charset="-122"/>
                        </a:rPr>
                        <a:t>营业收入</a:t>
                      </a:r>
                      <a:endParaRPr lang="zh-CN" altLang="en-US"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r>
              <a:tr h="247810">
                <a:tc>
                  <a:txBody>
                    <a:bodyPr/>
                    <a:lstStyle/>
                    <a:p>
                      <a:pPr algn="ctr" rtl="0" fontAlgn="ctr"/>
                      <a:r>
                        <a:rPr lang="zh-CN" altLang="en-US" sz="1400" b="1" u="none" strike="noStrike" dirty="0">
                          <a:effectLst/>
                          <a:latin typeface="华文楷体" panose="02010600040101010101" charset="-122"/>
                          <a:ea typeface="华文楷体" panose="02010600040101010101" charset="-122"/>
                        </a:rPr>
                        <a:t>营业支出</a:t>
                      </a:r>
                      <a:endParaRPr lang="zh-CN" altLang="en-US"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r>
              <a:tr h="411478">
                <a:tc>
                  <a:txBody>
                    <a:bodyPr/>
                    <a:lstStyle/>
                    <a:p>
                      <a:pPr algn="ctr" rtl="0" fontAlgn="ctr"/>
                      <a:r>
                        <a:rPr lang="zh-CN" altLang="en-US" sz="1400" u="none" strike="noStrike" dirty="0" smtClean="0">
                          <a:effectLst/>
                          <a:latin typeface="华文楷体" panose="02010600040101010101" charset="-122"/>
                          <a:ea typeface="华文楷体" panose="02010600040101010101" charset="-122"/>
                        </a:rPr>
                        <a:t>  人力费用合计</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r>
              <a:tr h="411913">
                <a:tc>
                  <a:txBody>
                    <a:bodyPr/>
                    <a:lstStyle/>
                    <a:p>
                      <a:pPr algn="ctr" rtl="0" fontAlgn="ctr"/>
                      <a:r>
                        <a:rPr lang="zh-CN" altLang="en-US" sz="1400" u="none" strike="noStrike" dirty="0" smtClean="0">
                          <a:effectLst/>
                          <a:latin typeface="华文楷体" panose="02010600040101010101" charset="-122"/>
                          <a:ea typeface="华文楷体" panose="02010600040101010101" charset="-122"/>
                        </a:rPr>
                        <a:t>  非人</a:t>
                      </a:r>
                      <a:r>
                        <a:rPr lang="zh-CN" altLang="en-US" sz="1400" u="none" strike="noStrike" dirty="0">
                          <a:effectLst/>
                          <a:latin typeface="华文楷体" panose="02010600040101010101" charset="-122"/>
                          <a:ea typeface="华文楷体" panose="02010600040101010101" charset="-122"/>
                        </a:rPr>
                        <a:t>力费用合计</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r>
              <a:tr h="247810">
                <a:tc>
                  <a:txBody>
                    <a:bodyPr/>
                    <a:lstStyle/>
                    <a:p>
                      <a:pPr algn="r" rtl="0" fontAlgn="ctr"/>
                      <a:r>
                        <a:rPr lang="en-US" altLang="zh-CN" sz="1400" u="none" strike="noStrike" dirty="0" smtClean="0">
                          <a:effectLst/>
                          <a:latin typeface="华文楷体" panose="02010600040101010101" charset="-122"/>
                          <a:ea typeface="华文楷体" panose="02010600040101010101" charset="-122"/>
                        </a:rPr>
                        <a:t>——</a:t>
                      </a:r>
                      <a:r>
                        <a:rPr lang="en-US" sz="1400" u="none" strike="noStrike" dirty="0" smtClean="0">
                          <a:effectLst/>
                          <a:latin typeface="华文楷体" panose="02010600040101010101" charset="-122"/>
                          <a:ea typeface="华文楷体" panose="02010600040101010101" charset="-122"/>
                        </a:rPr>
                        <a:t>IT</a:t>
                      </a:r>
                      <a:r>
                        <a:rPr lang="zh-CN" altLang="en-US" sz="1400" u="none" strike="noStrike" dirty="0">
                          <a:effectLst/>
                          <a:latin typeface="华文楷体" panose="02010600040101010101" charset="-122"/>
                          <a:ea typeface="华文楷体" panose="02010600040101010101" charset="-122"/>
                        </a:rPr>
                        <a:t>费用</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r>
              <a:tr h="247810">
                <a:tc>
                  <a:txBody>
                    <a:bodyPr/>
                    <a:lstStyle/>
                    <a:p>
                      <a:pPr algn="r" rtl="0" fontAlgn="ctr"/>
                      <a:r>
                        <a:rPr lang="zh-CN" altLang="en-US" sz="1400" u="none" strike="noStrike" dirty="0" smtClean="0">
                          <a:effectLst/>
                          <a:latin typeface="华文楷体" panose="02010600040101010101" charset="-122"/>
                          <a:ea typeface="华文楷体" panose="02010600040101010101" charset="-122"/>
                        </a:rPr>
                        <a:t>  </a:t>
                      </a:r>
                      <a:r>
                        <a:rPr lang="en-US" altLang="zh-CN" sz="1400" u="none" strike="noStrike" dirty="0" smtClean="0">
                          <a:effectLst/>
                          <a:latin typeface="华文楷体" panose="02010600040101010101" charset="-122"/>
                          <a:ea typeface="华文楷体" panose="02010600040101010101" charset="-122"/>
                        </a:rPr>
                        <a:t>——</a:t>
                      </a:r>
                      <a:r>
                        <a:rPr lang="zh-CN" altLang="en-US" sz="1400" u="none" strike="noStrike" dirty="0" smtClean="0">
                          <a:effectLst/>
                          <a:latin typeface="华文楷体" panose="02010600040101010101" charset="-122"/>
                          <a:ea typeface="华文楷体" panose="02010600040101010101" charset="-122"/>
                        </a:rPr>
                        <a:t>业务费</a:t>
                      </a:r>
                      <a:r>
                        <a:rPr lang="zh-CN" altLang="en-US" sz="1400" u="none" strike="noStrike" dirty="0">
                          <a:effectLst/>
                          <a:latin typeface="华文楷体" panose="02010600040101010101" charset="-122"/>
                          <a:ea typeface="华文楷体" panose="02010600040101010101" charset="-122"/>
                        </a:rPr>
                        <a:t>用</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r>
              <a:tr h="247810">
                <a:tc>
                  <a:txBody>
                    <a:bodyPr/>
                    <a:lstStyle/>
                    <a:p>
                      <a:pPr algn="r" rtl="0" fontAlgn="ctr"/>
                      <a:r>
                        <a:rPr lang="zh-CN" altLang="en-US" sz="1400" u="none" strike="noStrike" dirty="0" smtClean="0">
                          <a:effectLst/>
                          <a:latin typeface="华文楷体" panose="02010600040101010101" charset="-122"/>
                          <a:ea typeface="华文楷体" panose="02010600040101010101" charset="-122"/>
                        </a:rPr>
                        <a:t>  </a:t>
                      </a:r>
                      <a:r>
                        <a:rPr lang="en-US" altLang="zh-CN" sz="1400" u="none" strike="noStrike" dirty="0" smtClean="0">
                          <a:effectLst/>
                          <a:latin typeface="华文楷体" panose="02010600040101010101" charset="-122"/>
                          <a:ea typeface="华文楷体" panose="02010600040101010101" charset="-122"/>
                        </a:rPr>
                        <a:t>——</a:t>
                      </a:r>
                      <a:r>
                        <a:rPr lang="zh-CN" altLang="en-US" sz="1400" u="none" strike="noStrike" dirty="0" smtClean="0">
                          <a:effectLst/>
                          <a:latin typeface="华文楷体" panose="02010600040101010101" charset="-122"/>
                          <a:ea typeface="华文楷体" panose="02010600040101010101" charset="-122"/>
                        </a:rPr>
                        <a:t>日常</a:t>
                      </a:r>
                      <a:r>
                        <a:rPr lang="zh-CN" altLang="en-US" sz="1400" u="none" strike="noStrike" dirty="0">
                          <a:effectLst/>
                          <a:latin typeface="华文楷体" panose="02010600040101010101" charset="-122"/>
                          <a:ea typeface="华文楷体" panose="02010600040101010101" charset="-122"/>
                        </a:rPr>
                        <a:t>费用</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r>
              <a:tr h="247810">
                <a:tc>
                  <a:txBody>
                    <a:bodyPr/>
                    <a:lstStyle/>
                    <a:p>
                      <a:pPr algn="ctr" rtl="0" fontAlgn="ctr"/>
                      <a:r>
                        <a:rPr lang="zh-CN" altLang="en-US" sz="1400" b="1" u="none" strike="noStrike" dirty="0">
                          <a:effectLst/>
                          <a:latin typeface="华文楷体" panose="02010600040101010101" charset="-122"/>
                          <a:ea typeface="华文楷体" panose="02010600040101010101" charset="-122"/>
                        </a:rPr>
                        <a:t>营业利润</a:t>
                      </a:r>
                      <a:endParaRPr lang="zh-CN" altLang="en-US"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r>
              <a:tr h="411913">
                <a:tc>
                  <a:txBody>
                    <a:bodyPr/>
                    <a:lstStyle/>
                    <a:p>
                      <a:pPr algn="ctr" rtl="0" fontAlgn="ctr"/>
                      <a:r>
                        <a:rPr lang="zh-CN" altLang="en-US" sz="1400" b="1" u="none" strike="noStrike" dirty="0">
                          <a:effectLst/>
                          <a:latin typeface="华文楷体" panose="02010600040101010101" charset="-122"/>
                          <a:ea typeface="华文楷体" panose="02010600040101010101" charset="-122"/>
                        </a:rPr>
                        <a:t>资本性支出合计</a:t>
                      </a:r>
                      <a:endParaRPr lang="zh-CN" altLang="en-US"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c>
                  <a:txBody>
                    <a:bodyPr/>
                    <a:lstStyle/>
                    <a:p>
                      <a:pPr algn="ctr" rtl="0" fontAlgn="ctr"/>
                      <a:endParaRPr lang="en-US" altLang="zh-CN" sz="16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solidFill>
                      <a:srgbClr val="FEA07A"/>
                    </a:solidFill>
                  </a:tcPr>
                </a:tc>
              </a:tr>
              <a:tr h="247810">
                <a:tc>
                  <a:txBody>
                    <a:bodyPr/>
                    <a:lstStyle/>
                    <a:p>
                      <a:pPr algn="r" rtl="0" fontAlgn="ctr"/>
                      <a:r>
                        <a:rPr lang="zh-CN" altLang="en-US" sz="1400" u="none" strike="noStrike" dirty="0" smtClean="0">
                          <a:effectLst/>
                          <a:latin typeface="华文楷体" panose="02010600040101010101" charset="-122"/>
                          <a:ea typeface="华文楷体" panose="02010600040101010101" charset="-122"/>
                        </a:rPr>
                        <a:t> </a:t>
                      </a:r>
                      <a:r>
                        <a:rPr lang="en-US" altLang="zh-CN" sz="1400" u="none" strike="noStrike" dirty="0" smtClean="0">
                          <a:effectLst/>
                          <a:latin typeface="华文楷体" panose="02010600040101010101" charset="-122"/>
                          <a:ea typeface="华文楷体" panose="02010600040101010101" charset="-122"/>
                        </a:rPr>
                        <a:t>——</a:t>
                      </a:r>
                      <a:r>
                        <a:rPr lang="zh-CN" altLang="en-US" sz="1400" u="none" strike="noStrike" dirty="0" smtClean="0">
                          <a:effectLst/>
                          <a:latin typeface="华文楷体" panose="02010600040101010101" charset="-122"/>
                          <a:ea typeface="华文楷体" panose="02010600040101010101" charset="-122"/>
                        </a:rPr>
                        <a:t>固定资产</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r>
              <a:tr h="247810">
                <a:tc>
                  <a:txBody>
                    <a:bodyPr/>
                    <a:lstStyle/>
                    <a:p>
                      <a:pPr algn="r" rtl="0" fontAlgn="ctr"/>
                      <a:r>
                        <a:rPr lang="zh-CN" altLang="en-US" sz="1400" u="none" strike="noStrike" dirty="0" smtClean="0">
                          <a:effectLst/>
                          <a:latin typeface="华文楷体" panose="02010600040101010101" charset="-122"/>
                          <a:ea typeface="华文楷体" panose="02010600040101010101" charset="-122"/>
                        </a:rPr>
                        <a:t> </a:t>
                      </a:r>
                      <a:r>
                        <a:rPr lang="en-US" altLang="zh-CN" sz="1400" u="none" strike="noStrike" dirty="0" smtClean="0">
                          <a:effectLst/>
                          <a:latin typeface="华文楷体" panose="02010600040101010101" charset="-122"/>
                          <a:ea typeface="华文楷体" panose="02010600040101010101" charset="-122"/>
                        </a:rPr>
                        <a:t>——</a:t>
                      </a:r>
                      <a:r>
                        <a:rPr lang="zh-CN" altLang="en-US" sz="1400" u="none" strike="noStrike" dirty="0" smtClean="0">
                          <a:effectLst/>
                          <a:latin typeface="华文楷体" panose="02010600040101010101" charset="-122"/>
                          <a:ea typeface="华文楷体" panose="02010600040101010101" charset="-122"/>
                        </a:rPr>
                        <a:t>无形资产</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r>
              <a:tr h="428467">
                <a:tc>
                  <a:txBody>
                    <a:bodyPr/>
                    <a:lstStyle/>
                    <a:p>
                      <a:pPr algn="r" rtl="0" fontAlgn="ctr"/>
                      <a:r>
                        <a:rPr lang="en-US" altLang="zh-CN" sz="1400" b="0" i="0" u="none" strike="noStrike" dirty="0" smtClean="0">
                          <a:solidFill>
                            <a:srgbClr val="000000"/>
                          </a:solidFill>
                          <a:effectLst/>
                          <a:latin typeface="华文楷体" panose="02010600040101010101" charset="-122"/>
                          <a:ea typeface="华文楷体" panose="02010600040101010101" charset="-122"/>
                        </a:rPr>
                        <a:t>   ——</a:t>
                      </a:r>
                      <a:r>
                        <a:rPr lang="zh-CN" altLang="en-US" sz="1400" b="0" i="0" u="none" strike="noStrike" dirty="0" smtClean="0">
                          <a:solidFill>
                            <a:srgbClr val="000000"/>
                          </a:solidFill>
                          <a:effectLst/>
                          <a:latin typeface="华文楷体" panose="02010600040101010101" charset="-122"/>
                          <a:ea typeface="华文楷体" panose="02010600040101010101" charset="-122"/>
                        </a:rPr>
                        <a:t>长期待摊及低值易耗品</a:t>
                      </a:r>
                      <a:endParaRPr lang="zh-CN" altLang="en-US" sz="1400" b="0"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no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solidFill>
                        <a:srgbClr val="B9CDE5"/>
                      </a:solid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en-US" altLang="zh-CN" sz="1400" b="1" i="0" u="none" strike="noStrike" dirty="0">
                        <a:solidFill>
                          <a:srgbClr val="000000"/>
                        </a:solidFill>
                        <a:effectLst/>
                        <a:latin typeface="华文楷体" panose="02010600040101010101" charset="-122"/>
                        <a:ea typeface="华文楷体" panose="02010600040101010101" charset="-122"/>
                      </a:endParaRPr>
                    </a:p>
                  </a:txBody>
                  <a:tcPr marL="0" marR="0" marT="0" marB="0" anchor="ctr">
                    <a:lnL w="3175" cap="flat" cmpd="sng" algn="ctr">
                      <a:solidFill>
                        <a:srgbClr val="B9CDE5"/>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B9CDE5"/>
                      </a:solidFill>
                      <a:prstDash val="solid"/>
                      <a:round/>
                      <a:headEnd type="none" w="med" len="med"/>
                      <a:tailEnd type="none" w="med" len="med"/>
                    </a:lnT>
                    <a:lnB w="3175" cap="flat" cmpd="sng" algn="ctr">
                      <a:solidFill>
                        <a:srgbClr val="B9CDE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8" name="图示 7"/>
          <p:cNvGraphicFramePr/>
          <p:nvPr/>
        </p:nvGraphicFramePr>
        <p:xfrm>
          <a:off x="6816080" y="861226"/>
          <a:ext cx="5679975" cy="5302024"/>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1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mj-ea"/>
              </a:rPr>
              <a:t>架构</a:t>
            </a:r>
            <a:r>
              <a:rPr lang="en-US" altLang="zh-CN" sz="2400" dirty="0" smtClean="0">
                <a:latin typeface="+mj-ea"/>
              </a:rPr>
              <a:t>-</a:t>
            </a:r>
            <a:r>
              <a:rPr lang="zh-CN" altLang="en-US" sz="2400" dirty="0" smtClean="0">
                <a:latin typeface="+mj-ea"/>
              </a:rPr>
              <a:t>人力编制</a:t>
            </a:r>
            <a:endParaRPr lang="zh-CN" altLang="en-US" sz="2400" dirty="0">
              <a:latin typeface="+mj-ea"/>
            </a:endParaRPr>
          </a:p>
        </p:txBody>
      </p:sp>
      <p:pic>
        <p:nvPicPr>
          <p:cNvPr id="14" name="图片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对象 15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567" name="think-cell Slide" r:id="rId2" imgW="12700" imgH="12700" progId="TCLayout.ActiveDocument.1">
                  <p:embed/>
                </p:oleObj>
              </mc:Choice>
              <mc:Fallback>
                <p:oleObj name="think-cell Slide" r:id="rId2" imgW="12700" imgH="12700" progId="TCLayout.ActiveDocument.1">
                  <p:embed/>
                  <p:pic>
                    <p:nvPicPr>
                      <p:cNvPr id="0" name="对象 153" hidden="1"/>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12" name="组合 11"/>
          <p:cNvGrpSpPr/>
          <p:nvPr/>
        </p:nvGrpSpPr>
        <p:grpSpPr>
          <a:xfrm>
            <a:off x="930620" y="3374949"/>
            <a:ext cx="10945694" cy="990221"/>
            <a:chOff x="625151" y="3565635"/>
            <a:chExt cx="10763691" cy="1545073"/>
          </a:xfrm>
        </p:grpSpPr>
        <p:grpSp>
          <p:nvGrpSpPr>
            <p:cNvPr id="13" name="组合 12"/>
            <p:cNvGrpSpPr/>
            <p:nvPr/>
          </p:nvGrpSpPr>
          <p:grpSpPr>
            <a:xfrm>
              <a:off x="625151" y="3565635"/>
              <a:ext cx="10763691" cy="1545073"/>
              <a:chOff x="709127" y="2616792"/>
              <a:chExt cx="10763691" cy="1545073"/>
            </a:xfrm>
          </p:grpSpPr>
          <p:sp>
            <p:nvSpPr>
              <p:cNvPr id="16" name="右箭头 15"/>
              <p:cNvSpPr/>
              <p:nvPr/>
            </p:nvSpPr>
            <p:spPr>
              <a:xfrm>
                <a:off x="709127" y="3071730"/>
                <a:ext cx="10602004" cy="569166"/>
              </a:xfrm>
              <a:prstGeom prst="rightArrow">
                <a:avLst>
                  <a:gd name="adj1" fmla="val 42066"/>
                  <a:gd name="adj2" fmla="val 54615"/>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7" name="Freeform 182"/>
              <p:cNvSpPr/>
              <p:nvPr/>
            </p:nvSpPr>
            <p:spPr>
              <a:xfrm>
                <a:off x="810304" y="2951985"/>
                <a:ext cx="4942025" cy="1209880"/>
              </a:xfrm>
              <a:custGeom>
                <a:avLst/>
                <a:gdLst>
                  <a:gd name="connsiteX0" fmla="*/ 149469 w 3938954"/>
                  <a:gd name="connsiteY0" fmla="*/ 237392 h 949569"/>
                  <a:gd name="connsiteX1" fmla="*/ 0 w 3938954"/>
                  <a:gd name="connsiteY1" fmla="*/ 0 h 949569"/>
                  <a:gd name="connsiteX2" fmla="*/ 712177 w 3938954"/>
                  <a:gd name="connsiteY2" fmla="*/ 167054 h 949569"/>
                  <a:gd name="connsiteX3" fmla="*/ 2233246 w 3938954"/>
                  <a:gd name="connsiteY3" fmla="*/ 720969 h 949569"/>
                  <a:gd name="connsiteX4" fmla="*/ 3631223 w 3938954"/>
                  <a:gd name="connsiteY4" fmla="*/ 246185 h 949569"/>
                  <a:gd name="connsiteX5" fmla="*/ 3938954 w 3938954"/>
                  <a:gd name="connsiteY5" fmla="*/ 369277 h 949569"/>
                  <a:gd name="connsiteX6" fmla="*/ 2233246 w 3938954"/>
                  <a:gd name="connsiteY6" fmla="*/ 949569 h 949569"/>
                  <a:gd name="connsiteX7" fmla="*/ 677008 w 3938954"/>
                  <a:gd name="connsiteY7" fmla="*/ 413238 h 949569"/>
                  <a:gd name="connsiteX8" fmla="*/ 149469 w 3938954"/>
                  <a:gd name="connsiteY8" fmla="*/ 237392 h 949569"/>
                  <a:gd name="connsiteX0-1" fmla="*/ 149469 w 3938954"/>
                  <a:gd name="connsiteY0-2" fmla="*/ 237392 h 949569"/>
                  <a:gd name="connsiteX1-3" fmla="*/ 0 w 3938954"/>
                  <a:gd name="connsiteY1-4" fmla="*/ 0 h 949569"/>
                  <a:gd name="connsiteX2-5" fmla="*/ 712177 w 3938954"/>
                  <a:gd name="connsiteY2-6" fmla="*/ 167054 h 949569"/>
                  <a:gd name="connsiteX3-7" fmla="*/ 2233246 w 3938954"/>
                  <a:gd name="connsiteY3-8" fmla="*/ 720969 h 949569"/>
                  <a:gd name="connsiteX4-9" fmla="*/ 3631223 w 3938954"/>
                  <a:gd name="connsiteY4-10" fmla="*/ 246185 h 949569"/>
                  <a:gd name="connsiteX5-11" fmla="*/ 3938954 w 3938954"/>
                  <a:gd name="connsiteY5-12" fmla="*/ 369277 h 949569"/>
                  <a:gd name="connsiteX6-13" fmla="*/ 2233246 w 3938954"/>
                  <a:gd name="connsiteY6-14" fmla="*/ 949569 h 949569"/>
                  <a:gd name="connsiteX7-15" fmla="*/ 677008 w 3938954"/>
                  <a:gd name="connsiteY7-16" fmla="*/ 413238 h 949569"/>
                  <a:gd name="connsiteX8-17" fmla="*/ 149469 w 3938954"/>
                  <a:gd name="connsiteY8-18" fmla="*/ 237392 h 949569"/>
                  <a:gd name="connsiteX0-19" fmla="*/ 149469 w 3938954"/>
                  <a:gd name="connsiteY0-20" fmla="*/ 240162 h 952339"/>
                  <a:gd name="connsiteX1-21" fmla="*/ 0 w 3938954"/>
                  <a:gd name="connsiteY1-22" fmla="*/ 2770 h 952339"/>
                  <a:gd name="connsiteX2-23" fmla="*/ 712177 w 3938954"/>
                  <a:gd name="connsiteY2-24" fmla="*/ 169824 h 952339"/>
                  <a:gd name="connsiteX3-25" fmla="*/ 2233246 w 3938954"/>
                  <a:gd name="connsiteY3-26" fmla="*/ 723739 h 952339"/>
                  <a:gd name="connsiteX4-27" fmla="*/ 3631223 w 3938954"/>
                  <a:gd name="connsiteY4-28" fmla="*/ 248955 h 952339"/>
                  <a:gd name="connsiteX5-29" fmla="*/ 3938954 w 3938954"/>
                  <a:gd name="connsiteY5-30" fmla="*/ 372047 h 952339"/>
                  <a:gd name="connsiteX6-31" fmla="*/ 2233246 w 3938954"/>
                  <a:gd name="connsiteY6-32" fmla="*/ 952339 h 952339"/>
                  <a:gd name="connsiteX7-33" fmla="*/ 677008 w 3938954"/>
                  <a:gd name="connsiteY7-34" fmla="*/ 416008 h 952339"/>
                  <a:gd name="connsiteX8-35" fmla="*/ 149469 w 3938954"/>
                  <a:gd name="connsiteY8-36" fmla="*/ 240162 h 952339"/>
                  <a:gd name="connsiteX0-37" fmla="*/ 149469 w 3938954"/>
                  <a:gd name="connsiteY0-38" fmla="*/ 240162 h 952339"/>
                  <a:gd name="connsiteX1-39" fmla="*/ 0 w 3938954"/>
                  <a:gd name="connsiteY1-40" fmla="*/ 2770 h 952339"/>
                  <a:gd name="connsiteX2-41" fmla="*/ 712177 w 3938954"/>
                  <a:gd name="connsiteY2-42" fmla="*/ 169824 h 952339"/>
                  <a:gd name="connsiteX3-43" fmla="*/ 2233246 w 3938954"/>
                  <a:gd name="connsiteY3-44" fmla="*/ 723739 h 952339"/>
                  <a:gd name="connsiteX4-45" fmla="*/ 3631223 w 3938954"/>
                  <a:gd name="connsiteY4-46" fmla="*/ 248955 h 952339"/>
                  <a:gd name="connsiteX5-47" fmla="*/ 3938954 w 3938954"/>
                  <a:gd name="connsiteY5-48" fmla="*/ 372047 h 952339"/>
                  <a:gd name="connsiteX6-49" fmla="*/ 2233246 w 3938954"/>
                  <a:gd name="connsiteY6-50" fmla="*/ 952339 h 952339"/>
                  <a:gd name="connsiteX7-51" fmla="*/ 677008 w 3938954"/>
                  <a:gd name="connsiteY7-52" fmla="*/ 416008 h 952339"/>
                  <a:gd name="connsiteX8-53" fmla="*/ 149469 w 3938954"/>
                  <a:gd name="connsiteY8-54" fmla="*/ 240162 h 952339"/>
                  <a:gd name="connsiteX0-55" fmla="*/ 149469 w 3938954"/>
                  <a:gd name="connsiteY0-56" fmla="*/ 240162 h 952339"/>
                  <a:gd name="connsiteX1-57" fmla="*/ 0 w 3938954"/>
                  <a:gd name="connsiteY1-58" fmla="*/ 2770 h 952339"/>
                  <a:gd name="connsiteX2-59" fmla="*/ 712177 w 3938954"/>
                  <a:gd name="connsiteY2-60" fmla="*/ 169824 h 952339"/>
                  <a:gd name="connsiteX3-61" fmla="*/ 2233246 w 3938954"/>
                  <a:gd name="connsiteY3-62" fmla="*/ 723739 h 952339"/>
                  <a:gd name="connsiteX4-63" fmla="*/ 3631223 w 3938954"/>
                  <a:gd name="connsiteY4-64" fmla="*/ 248955 h 952339"/>
                  <a:gd name="connsiteX5-65" fmla="*/ 3938954 w 3938954"/>
                  <a:gd name="connsiteY5-66" fmla="*/ 372047 h 952339"/>
                  <a:gd name="connsiteX6-67" fmla="*/ 2233246 w 3938954"/>
                  <a:gd name="connsiteY6-68" fmla="*/ 952339 h 952339"/>
                  <a:gd name="connsiteX7-69" fmla="*/ 677008 w 3938954"/>
                  <a:gd name="connsiteY7-70" fmla="*/ 416008 h 952339"/>
                  <a:gd name="connsiteX8-71" fmla="*/ 149469 w 3938954"/>
                  <a:gd name="connsiteY8-72" fmla="*/ 240162 h 952339"/>
                  <a:gd name="connsiteX0-73" fmla="*/ 149469 w 3938954"/>
                  <a:gd name="connsiteY0-74" fmla="*/ 240162 h 952339"/>
                  <a:gd name="connsiteX1-75" fmla="*/ 0 w 3938954"/>
                  <a:gd name="connsiteY1-76" fmla="*/ 2770 h 952339"/>
                  <a:gd name="connsiteX2-77" fmla="*/ 712177 w 3938954"/>
                  <a:gd name="connsiteY2-78" fmla="*/ 169824 h 952339"/>
                  <a:gd name="connsiteX3-79" fmla="*/ 2233246 w 3938954"/>
                  <a:gd name="connsiteY3-80" fmla="*/ 723739 h 952339"/>
                  <a:gd name="connsiteX4-81" fmla="*/ 3631223 w 3938954"/>
                  <a:gd name="connsiteY4-82" fmla="*/ 248955 h 952339"/>
                  <a:gd name="connsiteX5-83" fmla="*/ 3938954 w 3938954"/>
                  <a:gd name="connsiteY5-84" fmla="*/ 372047 h 952339"/>
                  <a:gd name="connsiteX6-85" fmla="*/ 2233246 w 3938954"/>
                  <a:gd name="connsiteY6-86" fmla="*/ 952339 h 952339"/>
                  <a:gd name="connsiteX7-87" fmla="*/ 677008 w 3938954"/>
                  <a:gd name="connsiteY7-88" fmla="*/ 416008 h 952339"/>
                  <a:gd name="connsiteX8-89" fmla="*/ 149469 w 3938954"/>
                  <a:gd name="connsiteY8-90" fmla="*/ 240162 h 952339"/>
                  <a:gd name="connsiteX0-91" fmla="*/ 149469 w 3938954"/>
                  <a:gd name="connsiteY0-92" fmla="*/ 240162 h 952339"/>
                  <a:gd name="connsiteX1-93" fmla="*/ 0 w 3938954"/>
                  <a:gd name="connsiteY1-94" fmla="*/ 2770 h 952339"/>
                  <a:gd name="connsiteX2-95" fmla="*/ 712177 w 3938954"/>
                  <a:gd name="connsiteY2-96" fmla="*/ 169824 h 952339"/>
                  <a:gd name="connsiteX3-97" fmla="*/ 2233246 w 3938954"/>
                  <a:gd name="connsiteY3-98" fmla="*/ 723739 h 952339"/>
                  <a:gd name="connsiteX4-99" fmla="*/ 3631223 w 3938954"/>
                  <a:gd name="connsiteY4-100" fmla="*/ 248955 h 952339"/>
                  <a:gd name="connsiteX5-101" fmla="*/ 3938954 w 3938954"/>
                  <a:gd name="connsiteY5-102" fmla="*/ 372047 h 952339"/>
                  <a:gd name="connsiteX6-103" fmla="*/ 2233246 w 3938954"/>
                  <a:gd name="connsiteY6-104" fmla="*/ 952339 h 952339"/>
                  <a:gd name="connsiteX7-105" fmla="*/ 677008 w 3938954"/>
                  <a:gd name="connsiteY7-106" fmla="*/ 416008 h 952339"/>
                  <a:gd name="connsiteX8-107" fmla="*/ 149469 w 3938954"/>
                  <a:gd name="connsiteY8-108" fmla="*/ 240162 h 952339"/>
                  <a:gd name="connsiteX0-109" fmla="*/ 149469 w 3938954"/>
                  <a:gd name="connsiteY0-110" fmla="*/ 240162 h 952339"/>
                  <a:gd name="connsiteX1-111" fmla="*/ 0 w 3938954"/>
                  <a:gd name="connsiteY1-112" fmla="*/ 2770 h 952339"/>
                  <a:gd name="connsiteX2-113" fmla="*/ 712177 w 3938954"/>
                  <a:gd name="connsiteY2-114" fmla="*/ 169824 h 952339"/>
                  <a:gd name="connsiteX3-115" fmla="*/ 2233246 w 3938954"/>
                  <a:gd name="connsiteY3-116" fmla="*/ 723739 h 952339"/>
                  <a:gd name="connsiteX4-117" fmla="*/ 3631223 w 3938954"/>
                  <a:gd name="connsiteY4-118" fmla="*/ 248955 h 952339"/>
                  <a:gd name="connsiteX5-119" fmla="*/ 3938954 w 3938954"/>
                  <a:gd name="connsiteY5-120" fmla="*/ 372047 h 952339"/>
                  <a:gd name="connsiteX6-121" fmla="*/ 2233246 w 3938954"/>
                  <a:gd name="connsiteY6-122" fmla="*/ 952339 h 952339"/>
                  <a:gd name="connsiteX7-123" fmla="*/ 677008 w 3938954"/>
                  <a:gd name="connsiteY7-124" fmla="*/ 416008 h 952339"/>
                  <a:gd name="connsiteX8-125" fmla="*/ 149469 w 3938954"/>
                  <a:gd name="connsiteY8-126" fmla="*/ 240162 h 952339"/>
                  <a:gd name="connsiteX0-127" fmla="*/ 149469 w 3938954"/>
                  <a:gd name="connsiteY0-128" fmla="*/ 240162 h 952339"/>
                  <a:gd name="connsiteX1-129" fmla="*/ 0 w 3938954"/>
                  <a:gd name="connsiteY1-130" fmla="*/ 2770 h 952339"/>
                  <a:gd name="connsiteX2-131" fmla="*/ 712177 w 3938954"/>
                  <a:gd name="connsiteY2-132" fmla="*/ 169824 h 952339"/>
                  <a:gd name="connsiteX3-133" fmla="*/ 2233246 w 3938954"/>
                  <a:gd name="connsiteY3-134" fmla="*/ 723739 h 952339"/>
                  <a:gd name="connsiteX4-135" fmla="*/ 3631223 w 3938954"/>
                  <a:gd name="connsiteY4-136" fmla="*/ 248955 h 952339"/>
                  <a:gd name="connsiteX5-137" fmla="*/ 3938954 w 3938954"/>
                  <a:gd name="connsiteY5-138" fmla="*/ 372047 h 952339"/>
                  <a:gd name="connsiteX6-139" fmla="*/ 2233246 w 3938954"/>
                  <a:gd name="connsiteY6-140" fmla="*/ 952339 h 952339"/>
                  <a:gd name="connsiteX7-141" fmla="*/ 677008 w 3938954"/>
                  <a:gd name="connsiteY7-142" fmla="*/ 416008 h 952339"/>
                  <a:gd name="connsiteX8-143" fmla="*/ 149469 w 3938954"/>
                  <a:gd name="connsiteY8-144" fmla="*/ 240162 h 952339"/>
                  <a:gd name="connsiteX0-145" fmla="*/ 149469 w 3938954"/>
                  <a:gd name="connsiteY0-146" fmla="*/ 240162 h 984377"/>
                  <a:gd name="connsiteX1-147" fmla="*/ 0 w 3938954"/>
                  <a:gd name="connsiteY1-148" fmla="*/ 2770 h 984377"/>
                  <a:gd name="connsiteX2-149" fmla="*/ 712177 w 3938954"/>
                  <a:gd name="connsiteY2-150" fmla="*/ 169824 h 984377"/>
                  <a:gd name="connsiteX3-151" fmla="*/ 2233246 w 3938954"/>
                  <a:gd name="connsiteY3-152" fmla="*/ 723739 h 984377"/>
                  <a:gd name="connsiteX4-153" fmla="*/ 3631223 w 3938954"/>
                  <a:gd name="connsiteY4-154" fmla="*/ 248955 h 984377"/>
                  <a:gd name="connsiteX5-155" fmla="*/ 3938954 w 3938954"/>
                  <a:gd name="connsiteY5-156" fmla="*/ 372047 h 984377"/>
                  <a:gd name="connsiteX6-157" fmla="*/ 2233246 w 3938954"/>
                  <a:gd name="connsiteY6-158" fmla="*/ 952339 h 984377"/>
                  <a:gd name="connsiteX7-159" fmla="*/ 677008 w 3938954"/>
                  <a:gd name="connsiteY7-160" fmla="*/ 416008 h 984377"/>
                  <a:gd name="connsiteX8-161" fmla="*/ 149469 w 3938954"/>
                  <a:gd name="connsiteY8-162" fmla="*/ 240162 h 984377"/>
                  <a:gd name="connsiteX0-163" fmla="*/ 149469 w 3938954"/>
                  <a:gd name="connsiteY0-164" fmla="*/ 240162 h 984377"/>
                  <a:gd name="connsiteX1-165" fmla="*/ 0 w 3938954"/>
                  <a:gd name="connsiteY1-166" fmla="*/ 2770 h 984377"/>
                  <a:gd name="connsiteX2-167" fmla="*/ 712177 w 3938954"/>
                  <a:gd name="connsiteY2-168" fmla="*/ 169824 h 984377"/>
                  <a:gd name="connsiteX3-169" fmla="*/ 2233246 w 3938954"/>
                  <a:gd name="connsiteY3-170" fmla="*/ 723739 h 984377"/>
                  <a:gd name="connsiteX4-171" fmla="*/ 3631223 w 3938954"/>
                  <a:gd name="connsiteY4-172" fmla="*/ 248955 h 984377"/>
                  <a:gd name="connsiteX5-173" fmla="*/ 3938954 w 3938954"/>
                  <a:gd name="connsiteY5-174" fmla="*/ 372047 h 984377"/>
                  <a:gd name="connsiteX6-175" fmla="*/ 2233246 w 3938954"/>
                  <a:gd name="connsiteY6-176" fmla="*/ 952339 h 984377"/>
                  <a:gd name="connsiteX7-177" fmla="*/ 677008 w 3938954"/>
                  <a:gd name="connsiteY7-178" fmla="*/ 416008 h 984377"/>
                  <a:gd name="connsiteX8-179" fmla="*/ 149469 w 3938954"/>
                  <a:gd name="connsiteY8-180" fmla="*/ 240162 h 984377"/>
                  <a:gd name="connsiteX0-181" fmla="*/ 149469 w 3938954"/>
                  <a:gd name="connsiteY0-182" fmla="*/ 240162 h 984377"/>
                  <a:gd name="connsiteX1-183" fmla="*/ 0 w 3938954"/>
                  <a:gd name="connsiteY1-184" fmla="*/ 2770 h 984377"/>
                  <a:gd name="connsiteX2-185" fmla="*/ 712177 w 3938954"/>
                  <a:gd name="connsiteY2-186" fmla="*/ 169824 h 984377"/>
                  <a:gd name="connsiteX3-187" fmla="*/ 2233246 w 3938954"/>
                  <a:gd name="connsiteY3-188" fmla="*/ 723739 h 984377"/>
                  <a:gd name="connsiteX4-189" fmla="*/ 3631223 w 3938954"/>
                  <a:gd name="connsiteY4-190" fmla="*/ 248955 h 984377"/>
                  <a:gd name="connsiteX5-191" fmla="*/ 3938954 w 3938954"/>
                  <a:gd name="connsiteY5-192" fmla="*/ 372047 h 984377"/>
                  <a:gd name="connsiteX6-193" fmla="*/ 2233246 w 3938954"/>
                  <a:gd name="connsiteY6-194" fmla="*/ 952339 h 984377"/>
                  <a:gd name="connsiteX7-195" fmla="*/ 677008 w 3938954"/>
                  <a:gd name="connsiteY7-196" fmla="*/ 416008 h 984377"/>
                  <a:gd name="connsiteX8-197" fmla="*/ 149469 w 3938954"/>
                  <a:gd name="connsiteY8-198" fmla="*/ 240162 h 984377"/>
                  <a:gd name="connsiteX0-199" fmla="*/ 149469 w 3938954"/>
                  <a:gd name="connsiteY0-200" fmla="*/ 240162 h 984377"/>
                  <a:gd name="connsiteX1-201" fmla="*/ 0 w 3938954"/>
                  <a:gd name="connsiteY1-202" fmla="*/ 2770 h 984377"/>
                  <a:gd name="connsiteX2-203" fmla="*/ 712177 w 3938954"/>
                  <a:gd name="connsiteY2-204" fmla="*/ 169824 h 984377"/>
                  <a:gd name="connsiteX3-205" fmla="*/ 2233246 w 3938954"/>
                  <a:gd name="connsiteY3-206" fmla="*/ 723739 h 984377"/>
                  <a:gd name="connsiteX4-207" fmla="*/ 3631223 w 3938954"/>
                  <a:gd name="connsiteY4-208" fmla="*/ 248955 h 984377"/>
                  <a:gd name="connsiteX5-209" fmla="*/ 3938954 w 3938954"/>
                  <a:gd name="connsiteY5-210" fmla="*/ 372047 h 984377"/>
                  <a:gd name="connsiteX6-211" fmla="*/ 2233246 w 3938954"/>
                  <a:gd name="connsiteY6-212" fmla="*/ 952339 h 984377"/>
                  <a:gd name="connsiteX7-213" fmla="*/ 677008 w 3938954"/>
                  <a:gd name="connsiteY7-214" fmla="*/ 416008 h 984377"/>
                  <a:gd name="connsiteX8-215" fmla="*/ 149469 w 3938954"/>
                  <a:gd name="connsiteY8-216" fmla="*/ 240162 h 984377"/>
                  <a:gd name="connsiteX0-217" fmla="*/ 149469 w 3938954"/>
                  <a:gd name="connsiteY0-218" fmla="*/ 240162 h 984377"/>
                  <a:gd name="connsiteX1-219" fmla="*/ 0 w 3938954"/>
                  <a:gd name="connsiteY1-220" fmla="*/ 2770 h 984377"/>
                  <a:gd name="connsiteX2-221" fmla="*/ 712177 w 3938954"/>
                  <a:gd name="connsiteY2-222" fmla="*/ 169824 h 984377"/>
                  <a:gd name="connsiteX3-223" fmla="*/ 2233246 w 3938954"/>
                  <a:gd name="connsiteY3-224" fmla="*/ 723739 h 984377"/>
                  <a:gd name="connsiteX4-225" fmla="*/ 3631223 w 3938954"/>
                  <a:gd name="connsiteY4-226" fmla="*/ 248955 h 984377"/>
                  <a:gd name="connsiteX5-227" fmla="*/ 3938954 w 3938954"/>
                  <a:gd name="connsiteY5-228" fmla="*/ 372047 h 984377"/>
                  <a:gd name="connsiteX6-229" fmla="*/ 2233246 w 3938954"/>
                  <a:gd name="connsiteY6-230" fmla="*/ 952339 h 984377"/>
                  <a:gd name="connsiteX7-231" fmla="*/ 677008 w 3938954"/>
                  <a:gd name="connsiteY7-232" fmla="*/ 416008 h 984377"/>
                  <a:gd name="connsiteX8-233" fmla="*/ 149469 w 3938954"/>
                  <a:gd name="connsiteY8-234" fmla="*/ 240162 h 984377"/>
                  <a:gd name="connsiteX0-235" fmla="*/ 149469 w 3938954"/>
                  <a:gd name="connsiteY0-236" fmla="*/ 240162 h 984377"/>
                  <a:gd name="connsiteX1-237" fmla="*/ 0 w 3938954"/>
                  <a:gd name="connsiteY1-238" fmla="*/ 2770 h 984377"/>
                  <a:gd name="connsiteX2-239" fmla="*/ 712177 w 3938954"/>
                  <a:gd name="connsiteY2-240" fmla="*/ 169824 h 984377"/>
                  <a:gd name="connsiteX3-241" fmla="*/ 2233246 w 3938954"/>
                  <a:gd name="connsiteY3-242" fmla="*/ 723739 h 984377"/>
                  <a:gd name="connsiteX4-243" fmla="*/ 3631223 w 3938954"/>
                  <a:gd name="connsiteY4-244" fmla="*/ 248955 h 984377"/>
                  <a:gd name="connsiteX5-245" fmla="*/ 3938954 w 3938954"/>
                  <a:gd name="connsiteY5-246" fmla="*/ 372047 h 984377"/>
                  <a:gd name="connsiteX6-247" fmla="*/ 2233246 w 3938954"/>
                  <a:gd name="connsiteY6-248" fmla="*/ 952339 h 984377"/>
                  <a:gd name="connsiteX7-249" fmla="*/ 677008 w 3938954"/>
                  <a:gd name="connsiteY7-250" fmla="*/ 416008 h 984377"/>
                  <a:gd name="connsiteX8-251" fmla="*/ 149469 w 3938954"/>
                  <a:gd name="connsiteY8-252" fmla="*/ 240162 h 984377"/>
                  <a:gd name="connsiteX0-253" fmla="*/ 149469 w 3938954"/>
                  <a:gd name="connsiteY0-254" fmla="*/ 240162 h 984377"/>
                  <a:gd name="connsiteX1-255" fmla="*/ 0 w 3938954"/>
                  <a:gd name="connsiteY1-256" fmla="*/ 2770 h 984377"/>
                  <a:gd name="connsiteX2-257" fmla="*/ 712177 w 3938954"/>
                  <a:gd name="connsiteY2-258" fmla="*/ 169824 h 984377"/>
                  <a:gd name="connsiteX3-259" fmla="*/ 2220720 w 3938954"/>
                  <a:gd name="connsiteY3-260" fmla="*/ 715389 h 984377"/>
                  <a:gd name="connsiteX4-261" fmla="*/ 3631223 w 3938954"/>
                  <a:gd name="connsiteY4-262" fmla="*/ 248955 h 984377"/>
                  <a:gd name="connsiteX5-263" fmla="*/ 3938954 w 3938954"/>
                  <a:gd name="connsiteY5-264" fmla="*/ 372047 h 984377"/>
                  <a:gd name="connsiteX6-265" fmla="*/ 2233246 w 3938954"/>
                  <a:gd name="connsiteY6-266" fmla="*/ 952339 h 984377"/>
                  <a:gd name="connsiteX7-267" fmla="*/ 677008 w 3938954"/>
                  <a:gd name="connsiteY7-268" fmla="*/ 416008 h 984377"/>
                  <a:gd name="connsiteX8-269" fmla="*/ 149469 w 3938954"/>
                  <a:gd name="connsiteY8-270" fmla="*/ 240162 h 984377"/>
                  <a:gd name="connsiteX0-271" fmla="*/ 149469 w 3938954"/>
                  <a:gd name="connsiteY0-272" fmla="*/ 240162 h 953102"/>
                  <a:gd name="connsiteX1-273" fmla="*/ 0 w 3938954"/>
                  <a:gd name="connsiteY1-274" fmla="*/ 2770 h 953102"/>
                  <a:gd name="connsiteX2-275" fmla="*/ 712177 w 3938954"/>
                  <a:gd name="connsiteY2-276" fmla="*/ 169824 h 953102"/>
                  <a:gd name="connsiteX3-277" fmla="*/ 2220720 w 3938954"/>
                  <a:gd name="connsiteY3-278" fmla="*/ 715389 h 953102"/>
                  <a:gd name="connsiteX4-279" fmla="*/ 3631223 w 3938954"/>
                  <a:gd name="connsiteY4-280" fmla="*/ 248955 h 953102"/>
                  <a:gd name="connsiteX5-281" fmla="*/ 3938954 w 3938954"/>
                  <a:gd name="connsiteY5-282" fmla="*/ 372047 h 953102"/>
                  <a:gd name="connsiteX6-283" fmla="*/ 2233246 w 3938954"/>
                  <a:gd name="connsiteY6-284" fmla="*/ 952339 h 953102"/>
                  <a:gd name="connsiteX7-285" fmla="*/ 677008 w 3938954"/>
                  <a:gd name="connsiteY7-286" fmla="*/ 416008 h 953102"/>
                  <a:gd name="connsiteX8-287" fmla="*/ 149469 w 3938954"/>
                  <a:gd name="connsiteY8-288" fmla="*/ 240162 h 953102"/>
                  <a:gd name="connsiteX0-289" fmla="*/ 149469 w 3938954"/>
                  <a:gd name="connsiteY0-290" fmla="*/ 240162 h 969402"/>
                  <a:gd name="connsiteX1-291" fmla="*/ 0 w 3938954"/>
                  <a:gd name="connsiteY1-292" fmla="*/ 2770 h 969402"/>
                  <a:gd name="connsiteX2-293" fmla="*/ 712177 w 3938954"/>
                  <a:gd name="connsiteY2-294" fmla="*/ 169824 h 969402"/>
                  <a:gd name="connsiteX3-295" fmla="*/ 2220720 w 3938954"/>
                  <a:gd name="connsiteY3-296" fmla="*/ 715389 h 969402"/>
                  <a:gd name="connsiteX4-297" fmla="*/ 3631223 w 3938954"/>
                  <a:gd name="connsiteY4-298" fmla="*/ 248955 h 969402"/>
                  <a:gd name="connsiteX5-299" fmla="*/ 3938954 w 3938954"/>
                  <a:gd name="connsiteY5-300" fmla="*/ 372047 h 969402"/>
                  <a:gd name="connsiteX6-301" fmla="*/ 2233246 w 3938954"/>
                  <a:gd name="connsiteY6-302" fmla="*/ 952339 h 969402"/>
                  <a:gd name="connsiteX7-303" fmla="*/ 677008 w 3938954"/>
                  <a:gd name="connsiteY7-304" fmla="*/ 416008 h 969402"/>
                  <a:gd name="connsiteX8-305" fmla="*/ 149469 w 3938954"/>
                  <a:gd name="connsiteY8-306" fmla="*/ 240162 h 969402"/>
                  <a:gd name="connsiteX0-307" fmla="*/ 149469 w 3938954"/>
                  <a:gd name="connsiteY0-308" fmla="*/ 240162 h 978195"/>
                  <a:gd name="connsiteX1-309" fmla="*/ 0 w 3938954"/>
                  <a:gd name="connsiteY1-310" fmla="*/ 2770 h 978195"/>
                  <a:gd name="connsiteX2-311" fmla="*/ 712177 w 3938954"/>
                  <a:gd name="connsiteY2-312" fmla="*/ 169824 h 978195"/>
                  <a:gd name="connsiteX3-313" fmla="*/ 2220720 w 3938954"/>
                  <a:gd name="connsiteY3-314" fmla="*/ 715389 h 978195"/>
                  <a:gd name="connsiteX4-315" fmla="*/ 3631223 w 3938954"/>
                  <a:gd name="connsiteY4-316" fmla="*/ 248955 h 978195"/>
                  <a:gd name="connsiteX5-317" fmla="*/ 3938954 w 3938954"/>
                  <a:gd name="connsiteY5-318" fmla="*/ 372047 h 978195"/>
                  <a:gd name="connsiteX6-319" fmla="*/ 2233246 w 3938954"/>
                  <a:gd name="connsiteY6-320" fmla="*/ 952339 h 978195"/>
                  <a:gd name="connsiteX7-321" fmla="*/ 677008 w 3938954"/>
                  <a:gd name="connsiteY7-322" fmla="*/ 416008 h 978195"/>
                  <a:gd name="connsiteX8-323" fmla="*/ 149469 w 3938954"/>
                  <a:gd name="connsiteY8-324" fmla="*/ 240162 h 978195"/>
                  <a:gd name="connsiteX0-325" fmla="*/ 149469 w 3938954"/>
                  <a:gd name="connsiteY0-326" fmla="*/ 240162 h 982409"/>
                  <a:gd name="connsiteX1-327" fmla="*/ 0 w 3938954"/>
                  <a:gd name="connsiteY1-328" fmla="*/ 2770 h 982409"/>
                  <a:gd name="connsiteX2-329" fmla="*/ 712177 w 3938954"/>
                  <a:gd name="connsiteY2-330" fmla="*/ 169824 h 982409"/>
                  <a:gd name="connsiteX3-331" fmla="*/ 2220720 w 3938954"/>
                  <a:gd name="connsiteY3-332" fmla="*/ 715389 h 982409"/>
                  <a:gd name="connsiteX4-333" fmla="*/ 3631223 w 3938954"/>
                  <a:gd name="connsiteY4-334" fmla="*/ 248955 h 982409"/>
                  <a:gd name="connsiteX5-335" fmla="*/ 3938954 w 3938954"/>
                  <a:gd name="connsiteY5-336" fmla="*/ 372047 h 982409"/>
                  <a:gd name="connsiteX6-337" fmla="*/ 2233246 w 3938954"/>
                  <a:gd name="connsiteY6-338" fmla="*/ 952339 h 982409"/>
                  <a:gd name="connsiteX7-339" fmla="*/ 677008 w 3938954"/>
                  <a:gd name="connsiteY7-340" fmla="*/ 416008 h 982409"/>
                  <a:gd name="connsiteX8-341" fmla="*/ 149469 w 3938954"/>
                  <a:gd name="connsiteY8-342" fmla="*/ 240162 h 982409"/>
                  <a:gd name="connsiteX0-343" fmla="*/ 149469 w 3938954"/>
                  <a:gd name="connsiteY0-344" fmla="*/ 240162 h 982409"/>
                  <a:gd name="connsiteX1-345" fmla="*/ 0 w 3938954"/>
                  <a:gd name="connsiteY1-346" fmla="*/ 2770 h 982409"/>
                  <a:gd name="connsiteX2-347" fmla="*/ 712177 w 3938954"/>
                  <a:gd name="connsiteY2-348" fmla="*/ 169824 h 982409"/>
                  <a:gd name="connsiteX3-349" fmla="*/ 2220720 w 3938954"/>
                  <a:gd name="connsiteY3-350" fmla="*/ 715389 h 982409"/>
                  <a:gd name="connsiteX4-351" fmla="*/ 3631223 w 3938954"/>
                  <a:gd name="connsiteY4-352" fmla="*/ 248955 h 982409"/>
                  <a:gd name="connsiteX5-353" fmla="*/ 3938954 w 3938954"/>
                  <a:gd name="connsiteY5-354" fmla="*/ 372047 h 982409"/>
                  <a:gd name="connsiteX6-355" fmla="*/ 2233246 w 3938954"/>
                  <a:gd name="connsiteY6-356" fmla="*/ 952339 h 982409"/>
                  <a:gd name="connsiteX7-357" fmla="*/ 677008 w 3938954"/>
                  <a:gd name="connsiteY7-358" fmla="*/ 416008 h 982409"/>
                  <a:gd name="connsiteX8-359" fmla="*/ 149469 w 3938954"/>
                  <a:gd name="connsiteY8-360" fmla="*/ 240162 h 982409"/>
                  <a:gd name="connsiteX0-361" fmla="*/ 149469 w 3938954"/>
                  <a:gd name="connsiteY0-362" fmla="*/ 240162 h 982409"/>
                  <a:gd name="connsiteX1-363" fmla="*/ 0 w 3938954"/>
                  <a:gd name="connsiteY1-364" fmla="*/ 2770 h 982409"/>
                  <a:gd name="connsiteX2-365" fmla="*/ 712177 w 3938954"/>
                  <a:gd name="connsiteY2-366" fmla="*/ 169824 h 982409"/>
                  <a:gd name="connsiteX3-367" fmla="*/ 2220720 w 3938954"/>
                  <a:gd name="connsiteY3-368" fmla="*/ 715389 h 982409"/>
                  <a:gd name="connsiteX4-369" fmla="*/ 3631223 w 3938954"/>
                  <a:gd name="connsiteY4-370" fmla="*/ 248955 h 982409"/>
                  <a:gd name="connsiteX5-371" fmla="*/ 3938954 w 3938954"/>
                  <a:gd name="connsiteY5-372" fmla="*/ 372047 h 982409"/>
                  <a:gd name="connsiteX6-373" fmla="*/ 2233246 w 3938954"/>
                  <a:gd name="connsiteY6-374" fmla="*/ 952339 h 982409"/>
                  <a:gd name="connsiteX7-375" fmla="*/ 677008 w 3938954"/>
                  <a:gd name="connsiteY7-376" fmla="*/ 416008 h 982409"/>
                  <a:gd name="connsiteX8-377" fmla="*/ 149469 w 3938954"/>
                  <a:gd name="connsiteY8-378" fmla="*/ 240162 h 982409"/>
                  <a:gd name="connsiteX0-379" fmla="*/ 149469 w 3938954"/>
                  <a:gd name="connsiteY0-380" fmla="*/ 240162 h 982409"/>
                  <a:gd name="connsiteX1-381" fmla="*/ 0 w 3938954"/>
                  <a:gd name="connsiteY1-382" fmla="*/ 2770 h 982409"/>
                  <a:gd name="connsiteX2-383" fmla="*/ 712177 w 3938954"/>
                  <a:gd name="connsiteY2-384" fmla="*/ 169824 h 982409"/>
                  <a:gd name="connsiteX3-385" fmla="*/ 2220720 w 3938954"/>
                  <a:gd name="connsiteY3-386" fmla="*/ 715389 h 982409"/>
                  <a:gd name="connsiteX4-387" fmla="*/ 3631223 w 3938954"/>
                  <a:gd name="connsiteY4-388" fmla="*/ 248955 h 982409"/>
                  <a:gd name="connsiteX5-389" fmla="*/ 3938954 w 3938954"/>
                  <a:gd name="connsiteY5-390" fmla="*/ 372047 h 982409"/>
                  <a:gd name="connsiteX6-391" fmla="*/ 2233246 w 3938954"/>
                  <a:gd name="connsiteY6-392" fmla="*/ 952339 h 982409"/>
                  <a:gd name="connsiteX7-393" fmla="*/ 677008 w 3938954"/>
                  <a:gd name="connsiteY7-394" fmla="*/ 416008 h 982409"/>
                  <a:gd name="connsiteX8-395" fmla="*/ 149469 w 3938954"/>
                  <a:gd name="connsiteY8-396" fmla="*/ 240162 h 982409"/>
                  <a:gd name="connsiteX0-397" fmla="*/ 149469 w 3938954"/>
                  <a:gd name="connsiteY0-398" fmla="*/ 240162 h 966472"/>
                  <a:gd name="connsiteX1-399" fmla="*/ 0 w 3938954"/>
                  <a:gd name="connsiteY1-400" fmla="*/ 2770 h 966472"/>
                  <a:gd name="connsiteX2-401" fmla="*/ 712177 w 3938954"/>
                  <a:gd name="connsiteY2-402" fmla="*/ 169824 h 966472"/>
                  <a:gd name="connsiteX3-403" fmla="*/ 2220720 w 3938954"/>
                  <a:gd name="connsiteY3-404" fmla="*/ 715389 h 966472"/>
                  <a:gd name="connsiteX4-405" fmla="*/ 3631223 w 3938954"/>
                  <a:gd name="connsiteY4-406" fmla="*/ 248955 h 966472"/>
                  <a:gd name="connsiteX5-407" fmla="*/ 3938954 w 3938954"/>
                  <a:gd name="connsiteY5-408" fmla="*/ 372047 h 966472"/>
                  <a:gd name="connsiteX6-409" fmla="*/ 2233246 w 3938954"/>
                  <a:gd name="connsiteY6-410" fmla="*/ 952339 h 966472"/>
                  <a:gd name="connsiteX7-411" fmla="*/ 677008 w 3938954"/>
                  <a:gd name="connsiteY7-412" fmla="*/ 416008 h 966472"/>
                  <a:gd name="connsiteX8-413" fmla="*/ 149469 w 3938954"/>
                  <a:gd name="connsiteY8-414" fmla="*/ 240162 h 966472"/>
                  <a:gd name="connsiteX0-415" fmla="*/ 149469 w 3938954"/>
                  <a:gd name="connsiteY0-416" fmla="*/ 240162 h 966472"/>
                  <a:gd name="connsiteX1-417" fmla="*/ 0 w 3938954"/>
                  <a:gd name="connsiteY1-418" fmla="*/ 2770 h 966472"/>
                  <a:gd name="connsiteX2-419" fmla="*/ 712177 w 3938954"/>
                  <a:gd name="connsiteY2-420" fmla="*/ 169824 h 966472"/>
                  <a:gd name="connsiteX3-421" fmla="*/ 2220720 w 3938954"/>
                  <a:gd name="connsiteY3-422" fmla="*/ 710627 h 966472"/>
                  <a:gd name="connsiteX4-423" fmla="*/ 3631223 w 3938954"/>
                  <a:gd name="connsiteY4-424" fmla="*/ 248955 h 966472"/>
                  <a:gd name="connsiteX5-425" fmla="*/ 3938954 w 3938954"/>
                  <a:gd name="connsiteY5-426" fmla="*/ 372047 h 966472"/>
                  <a:gd name="connsiteX6-427" fmla="*/ 2233246 w 3938954"/>
                  <a:gd name="connsiteY6-428" fmla="*/ 952339 h 966472"/>
                  <a:gd name="connsiteX7-429" fmla="*/ 677008 w 3938954"/>
                  <a:gd name="connsiteY7-430" fmla="*/ 416008 h 966472"/>
                  <a:gd name="connsiteX8-431" fmla="*/ 149469 w 3938954"/>
                  <a:gd name="connsiteY8-432" fmla="*/ 240162 h 966472"/>
                  <a:gd name="connsiteX0-433" fmla="*/ 149469 w 3938954"/>
                  <a:gd name="connsiteY0-434" fmla="*/ 240162 h 966472"/>
                  <a:gd name="connsiteX1-435" fmla="*/ 0 w 3938954"/>
                  <a:gd name="connsiteY1-436" fmla="*/ 2770 h 966472"/>
                  <a:gd name="connsiteX2-437" fmla="*/ 712177 w 3938954"/>
                  <a:gd name="connsiteY2-438" fmla="*/ 169824 h 966472"/>
                  <a:gd name="connsiteX3-439" fmla="*/ 2223101 w 3938954"/>
                  <a:gd name="connsiteY3-440" fmla="*/ 720152 h 966472"/>
                  <a:gd name="connsiteX4-441" fmla="*/ 3631223 w 3938954"/>
                  <a:gd name="connsiteY4-442" fmla="*/ 248955 h 966472"/>
                  <a:gd name="connsiteX5-443" fmla="*/ 3938954 w 3938954"/>
                  <a:gd name="connsiteY5-444" fmla="*/ 372047 h 966472"/>
                  <a:gd name="connsiteX6-445" fmla="*/ 2233246 w 3938954"/>
                  <a:gd name="connsiteY6-446" fmla="*/ 952339 h 966472"/>
                  <a:gd name="connsiteX7-447" fmla="*/ 677008 w 3938954"/>
                  <a:gd name="connsiteY7-448" fmla="*/ 416008 h 966472"/>
                  <a:gd name="connsiteX8-449" fmla="*/ 149469 w 3938954"/>
                  <a:gd name="connsiteY8-450" fmla="*/ 240162 h 966472"/>
                  <a:gd name="connsiteX0-451" fmla="*/ 149469 w 3938954"/>
                  <a:gd name="connsiteY0-452" fmla="*/ 240162 h 966472"/>
                  <a:gd name="connsiteX1-453" fmla="*/ 0 w 3938954"/>
                  <a:gd name="connsiteY1-454" fmla="*/ 2770 h 966472"/>
                  <a:gd name="connsiteX2-455" fmla="*/ 712177 w 3938954"/>
                  <a:gd name="connsiteY2-456" fmla="*/ 169824 h 966472"/>
                  <a:gd name="connsiteX3-457" fmla="*/ 2223101 w 3938954"/>
                  <a:gd name="connsiteY3-458" fmla="*/ 720152 h 966472"/>
                  <a:gd name="connsiteX4-459" fmla="*/ 3631223 w 3938954"/>
                  <a:gd name="connsiteY4-460" fmla="*/ 248955 h 966472"/>
                  <a:gd name="connsiteX5-461" fmla="*/ 3938954 w 3938954"/>
                  <a:gd name="connsiteY5-462" fmla="*/ 372047 h 966472"/>
                  <a:gd name="connsiteX6-463" fmla="*/ 2233246 w 3938954"/>
                  <a:gd name="connsiteY6-464" fmla="*/ 952339 h 966472"/>
                  <a:gd name="connsiteX7-465" fmla="*/ 677008 w 3938954"/>
                  <a:gd name="connsiteY7-466" fmla="*/ 416008 h 966472"/>
                  <a:gd name="connsiteX8-467" fmla="*/ 149469 w 3938954"/>
                  <a:gd name="connsiteY8-468" fmla="*/ 240162 h 966472"/>
                  <a:gd name="connsiteX0-469" fmla="*/ 149469 w 3938954"/>
                  <a:gd name="connsiteY0-470" fmla="*/ 240162 h 966472"/>
                  <a:gd name="connsiteX1-471" fmla="*/ 0 w 3938954"/>
                  <a:gd name="connsiteY1-472" fmla="*/ 2770 h 966472"/>
                  <a:gd name="connsiteX2-473" fmla="*/ 712177 w 3938954"/>
                  <a:gd name="connsiteY2-474" fmla="*/ 169824 h 966472"/>
                  <a:gd name="connsiteX3-475" fmla="*/ 2223101 w 3938954"/>
                  <a:gd name="connsiteY3-476" fmla="*/ 720152 h 966472"/>
                  <a:gd name="connsiteX4-477" fmla="*/ 3631223 w 3938954"/>
                  <a:gd name="connsiteY4-478" fmla="*/ 248955 h 966472"/>
                  <a:gd name="connsiteX5-479" fmla="*/ 3938954 w 3938954"/>
                  <a:gd name="connsiteY5-480" fmla="*/ 372047 h 966472"/>
                  <a:gd name="connsiteX6-481" fmla="*/ 2233246 w 3938954"/>
                  <a:gd name="connsiteY6-482" fmla="*/ 952339 h 966472"/>
                  <a:gd name="connsiteX7-483" fmla="*/ 677008 w 3938954"/>
                  <a:gd name="connsiteY7-484" fmla="*/ 416008 h 966472"/>
                  <a:gd name="connsiteX8-485" fmla="*/ 149469 w 3938954"/>
                  <a:gd name="connsiteY8-486" fmla="*/ 240162 h 966472"/>
                  <a:gd name="connsiteX0-487" fmla="*/ 149469 w 3938954"/>
                  <a:gd name="connsiteY0-488" fmla="*/ 240162 h 966472"/>
                  <a:gd name="connsiteX1-489" fmla="*/ 0 w 3938954"/>
                  <a:gd name="connsiteY1-490" fmla="*/ 2770 h 966472"/>
                  <a:gd name="connsiteX2-491" fmla="*/ 712177 w 3938954"/>
                  <a:gd name="connsiteY2-492" fmla="*/ 169824 h 966472"/>
                  <a:gd name="connsiteX3-493" fmla="*/ 2223101 w 3938954"/>
                  <a:gd name="connsiteY3-494" fmla="*/ 720152 h 966472"/>
                  <a:gd name="connsiteX4-495" fmla="*/ 3631223 w 3938954"/>
                  <a:gd name="connsiteY4-496" fmla="*/ 248955 h 966472"/>
                  <a:gd name="connsiteX5-497" fmla="*/ 3938954 w 3938954"/>
                  <a:gd name="connsiteY5-498" fmla="*/ 372047 h 966472"/>
                  <a:gd name="connsiteX6-499" fmla="*/ 2233246 w 3938954"/>
                  <a:gd name="connsiteY6-500" fmla="*/ 952339 h 966472"/>
                  <a:gd name="connsiteX7-501" fmla="*/ 677008 w 3938954"/>
                  <a:gd name="connsiteY7-502" fmla="*/ 416008 h 966472"/>
                  <a:gd name="connsiteX8-503" fmla="*/ 149469 w 3938954"/>
                  <a:gd name="connsiteY8-504" fmla="*/ 240162 h 966472"/>
                  <a:gd name="connsiteX0-505" fmla="*/ 149469 w 3938954"/>
                  <a:gd name="connsiteY0-506" fmla="*/ 240162 h 966472"/>
                  <a:gd name="connsiteX1-507" fmla="*/ 0 w 3938954"/>
                  <a:gd name="connsiteY1-508" fmla="*/ 2770 h 966472"/>
                  <a:gd name="connsiteX2-509" fmla="*/ 712177 w 3938954"/>
                  <a:gd name="connsiteY2-510" fmla="*/ 169824 h 966472"/>
                  <a:gd name="connsiteX3-511" fmla="*/ 2225483 w 3938954"/>
                  <a:gd name="connsiteY3-512" fmla="*/ 729677 h 966472"/>
                  <a:gd name="connsiteX4-513" fmla="*/ 3631223 w 3938954"/>
                  <a:gd name="connsiteY4-514" fmla="*/ 248955 h 966472"/>
                  <a:gd name="connsiteX5-515" fmla="*/ 3938954 w 3938954"/>
                  <a:gd name="connsiteY5-516" fmla="*/ 372047 h 966472"/>
                  <a:gd name="connsiteX6-517" fmla="*/ 2233246 w 3938954"/>
                  <a:gd name="connsiteY6-518" fmla="*/ 952339 h 966472"/>
                  <a:gd name="connsiteX7-519" fmla="*/ 677008 w 3938954"/>
                  <a:gd name="connsiteY7-520" fmla="*/ 416008 h 966472"/>
                  <a:gd name="connsiteX8-521" fmla="*/ 149469 w 3938954"/>
                  <a:gd name="connsiteY8-522" fmla="*/ 240162 h 966472"/>
                  <a:gd name="connsiteX0-523" fmla="*/ 149469 w 3938954"/>
                  <a:gd name="connsiteY0-524" fmla="*/ 240162 h 966472"/>
                  <a:gd name="connsiteX1-525" fmla="*/ 0 w 3938954"/>
                  <a:gd name="connsiteY1-526" fmla="*/ 2770 h 966472"/>
                  <a:gd name="connsiteX2-527" fmla="*/ 712177 w 3938954"/>
                  <a:gd name="connsiteY2-528" fmla="*/ 169824 h 966472"/>
                  <a:gd name="connsiteX3-529" fmla="*/ 2225483 w 3938954"/>
                  <a:gd name="connsiteY3-530" fmla="*/ 729677 h 966472"/>
                  <a:gd name="connsiteX4-531" fmla="*/ 3631223 w 3938954"/>
                  <a:gd name="connsiteY4-532" fmla="*/ 248955 h 966472"/>
                  <a:gd name="connsiteX5-533" fmla="*/ 3938954 w 3938954"/>
                  <a:gd name="connsiteY5-534" fmla="*/ 372047 h 966472"/>
                  <a:gd name="connsiteX6-535" fmla="*/ 2233246 w 3938954"/>
                  <a:gd name="connsiteY6-536" fmla="*/ 952339 h 966472"/>
                  <a:gd name="connsiteX7-537" fmla="*/ 677008 w 3938954"/>
                  <a:gd name="connsiteY7-538" fmla="*/ 416008 h 966472"/>
                  <a:gd name="connsiteX8-539" fmla="*/ 149469 w 3938954"/>
                  <a:gd name="connsiteY8-540" fmla="*/ 240162 h 966472"/>
                  <a:gd name="connsiteX0-541" fmla="*/ 149469 w 3938954"/>
                  <a:gd name="connsiteY0-542" fmla="*/ 240162 h 966472"/>
                  <a:gd name="connsiteX1-543" fmla="*/ 0 w 3938954"/>
                  <a:gd name="connsiteY1-544" fmla="*/ 2770 h 966472"/>
                  <a:gd name="connsiteX2-545" fmla="*/ 712177 w 3938954"/>
                  <a:gd name="connsiteY2-546" fmla="*/ 169824 h 966472"/>
                  <a:gd name="connsiteX3-547" fmla="*/ 2225483 w 3938954"/>
                  <a:gd name="connsiteY3-548" fmla="*/ 729677 h 966472"/>
                  <a:gd name="connsiteX4-549" fmla="*/ 3631223 w 3938954"/>
                  <a:gd name="connsiteY4-550" fmla="*/ 248955 h 966472"/>
                  <a:gd name="connsiteX5-551" fmla="*/ 3938954 w 3938954"/>
                  <a:gd name="connsiteY5-552" fmla="*/ 372047 h 966472"/>
                  <a:gd name="connsiteX6-553" fmla="*/ 2233246 w 3938954"/>
                  <a:gd name="connsiteY6-554" fmla="*/ 952339 h 966472"/>
                  <a:gd name="connsiteX7-555" fmla="*/ 677008 w 3938954"/>
                  <a:gd name="connsiteY7-556" fmla="*/ 416008 h 966472"/>
                  <a:gd name="connsiteX8-557" fmla="*/ 149469 w 3938954"/>
                  <a:gd name="connsiteY8-558" fmla="*/ 240162 h 966472"/>
                  <a:gd name="connsiteX0-559" fmla="*/ 149469 w 3938954"/>
                  <a:gd name="connsiteY0-560" fmla="*/ 240162 h 966472"/>
                  <a:gd name="connsiteX1-561" fmla="*/ 0 w 3938954"/>
                  <a:gd name="connsiteY1-562" fmla="*/ 2770 h 966472"/>
                  <a:gd name="connsiteX2-563" fmla="*/ 712177 w 3938954"/>
                  <a:gd name="connsiteY2-564" fmla="*/ 169824 h 966472"/>
                  <a:gd name="connsiteX3-565" fmla="*/ 2225483 w 3938954"/>
                  <a:gd name="connsiteY3-566" fmla="*/ 729677 h 966472"/>
                  <a:gd name="connsiteX4-567" fmla="*/ 3631223 w 3938954"/>
                  <a:gd name="connsiteY4-568" fmla="*/ 248955 h 966472"/>
                  <a:gd name="connsiteX5-569" fmla="*/ 3938954 w 3938954"/>
                  <a:gd name="connsiteY5-570" fmla="*/ 372047 h 966472"/>
                  <a:gd name="connsiteX6-571" fmla="*/ 2233246 w 3938954"/>
                  <a:gd name="connsiteY6-572" fmla="*/ 952339 h 966472"/>
                  <a:gd name="connsiteX7-573" fmla="*/ 677008 w 3938954"/>
                  <a:gd name="connsiteY7-574" fmla="*/ 416008 h 966472"/>
                  <a:gd name="connsiteX8-575" fmla="*/ 149469 w 3938954"/>
                  <a:gd name="connsiteY8-576" fmla="*/ 240162 h 966472"/>
                  <a:gd name="connsiteX0-577" fmla="*/ 149469 w 3938954"/>
                  <a:gd name="connsiteY0-578" fmla="*/ 240162 h 966472"/>
                  <a:gd name="connsiteX1-579" fmla="*/ 0 w 3938954"/>
                  <a:gd name="connsiteY1-580" fmla="*/ 2770 h 966472"/>
                  <a:gd name="connsiteX2-581" fmla="*/ 712177 w 3938954"/>
                  <a:gd name="connsiteY2-582" fmla="*/ 169824 h 966472"/>
                  <a:gd name="connsiteX3-583" fmla="*/ 2225483 w 3938954"/>
                  <a:gd name="connsiteY3-584" fmla="*/ 729677 h 966472"/>
                  <a:gd name="connsiteX4-585" fmla="*/ 3631223 w 3938954"/>
                  <a:gd name="connsiteY4-586" fmla="*/ 248955 h 966472"/>
                  <a:gd name="connsiteX5-587" fmla="*/ 3938954 w 3938954"/>
                  <a:gd name="connsiteY5-588" fmla="*/ 372047 h 966472"/>
                  <a:gd name="connsiteX6-589" fmla="*/ 2233246 w 3938954"/>
                  <a:gd name="connsiteY6-590" fmla="*/ 952339 h 966472"/>
                  <a:gd name="connsiteX7-591" fmla="*/ 677008 w 3938954"/>
                  <a:gd name="connsiteY7-592" fmla="*/ 416008 h 966472"/>
                  <a:gd name="connsiteX8-593" fmla="*/ 149469 w 3938954"/>
                  <a:gd name="connsiteY8-594" fmla="*/ 240162 h 966472"/>
                  <a:gd name="connsiteX0-595" fmla="*/ 149469 w 3938954"/>
                  <a:gd name="connsiteY0-596" fmla="*/ 240162 h 966472"/>
                  <a:gd name="connsiteX1-597" fmla="*/ 0 w 3938954"/>
                  <a:gd name="connsiteY1-598" fmla="*/ 2770 h 966472"/>
                  <a:gd name="connsiteX2-599" fmla="*/ 712177 w 3938954"/>
                  <a:gd name="connsiteY2-600" fmla="*/ 169824 h 966472"/>
                  <a:gd name="connsiteX3-601" fmla="*/ 3631223 w 3938954"/>
                  <a:gd name="connsiteY3-602" fmla="*/ 248955 h 966472"/>
                  <a:gd name="connsiteX4-603" fmla="*/ 3938954 w 3938954"/>
                  <a:gd name="connsiteY4-604" fmla="*/ 372047 h 966472"/>
                  <a:gd name="connsiteX5-605" fmla="*/ 2233246 w 3938954"/>
                  <a:gd name="connsiteY5-606" fmla="*/ 952339 h 966472"/>
                  <a:gd name="connsiteX6-607" fmla="*/ 677008 w 3938954"/>
                  <a:gd name="connsiteY6-608" fmla="*/ 416008 h 966472"/>
                  <a:gd name="connsiteX7-609" fmla="*/ 149469 w 3938954"/>
                  <a:gd name="connsiteY7-610" fmla="*/ 240162 h 966472"/>
                  <a:gd name="connsiteX0-611" fmla="*/ 149469 w 3938954"/>
                  <a:gd name="connsiteY0-612" fmla="*/ 240162 h 1093933"/>
                  <a:gd name="connsiteX1-613" fmla="*/ 0 w 3938954"/>
                  <a:gd name="connsiteY1-614" fmla="*/ 2770 h 1093933"/>
                  <a:gd name="connsiteX2-615" fmla="*/ 712177 w 3938954"/>
                  <a:gd name="connsiteY2-616" fmla="*/ 169824 h 1093933"/>
                  <a:gd name="connsiteX3-617" fmla="*/ 3631223 w 3938954"/>
                  <a:gd name="connsiteY3-618" fmla="*/ 248955 h 1093933"/>
                  <a:gd name="connsiteX4-619" fmla="*/ 3938954 w 3938954"/>
                  <a:gd name="connsiteY4-620" fmla="*/ 372047 h 1093933"/>
                  <a:gd name="connsiteX5-621" fmla="*/ 2233246 w 3938954"/>
                  <a:gd name="connsiteY5-622" fmla="*/ 952339 h 1093933"/>
                  <a:gd name="connsiteX6-623" fmla="*/ 677008 w 3938954"/>
                  <a:gd name="connsiteY6-624" fmla="*/ 416008 h 1093933"/>
                  <a:gd name="connsiteX7-625" fmla="*/ 149469 w 3938954"/>
                  <a:gd name="connsiteY7-626" fmla="*/ 240162 h 1093933"/>
                  <a:gd name="connsiteX0-627" fmla="*/ 149469 w 3938954"/>
                  <a:gd name="connsiteY0-628" fmla="*/ 240162 h 1093933"/>
                  <a:gd name="connsiteX1-629" fmla="*/ 0 w 3938954"/>
                  <a:gd name="connsiteY1-630" fmla="*/ 2770 h 1093933"/>
                  <a:gd name="connsiteX2-631" fmla="*/ 712177 w 3938954"/>
                  <a:gd name="connsiteY2-632" fmla="*/ 169824 h 1093933"/>
                  <a:gd name="connsiteX3-633" fmla="*/ 3631223 w 3938954"/>
                  <a:gd name="connsiteY3-634" fmla="*/ 248955 h 1093933"/>
                  <a:gd name="connsiteX4-635" fmla="*/ 3938954 w 3938954"/>
                  <a:gd name="connsiteY4-636" fmla="*/ 372047 h 1093933"/>
                  <a:gd name="connsiteX5-637" fmla="*/ 2233246 w 3938954"/>
                  <a:gd name="connsiteY5-638" fmla="*/ 952339 h 1093933"/>
                  <a:gd name="connsiteX6-639" fmla="*/ 677008 w 3938954"/>
                  <a:gd name="connsiteY6-640" fmla="*/ 416008 h 1093933"/>
                  <a:gd name="connsiteX7-641" fmla="*/ 149469 w 3938954"/>
                  <a:gd name="connsiteY7-642" fmla="*/ 240162 h 1093933"/>
                  <a:gd name="connsiteX0-643" fmla="*/ 149469 w 3938954"/>
                  <a:gd name="connsiteY0-644" fmla="*/ 240162 h 1093933"/>
                  <a:gd name="connsiteX1-645" fmla="*/ 0 w 3938954"/>
                  <a:gd name="connsiteY1-646" fmla="*/ 2770 h 1093933"/>
                  <a:gd name="connsiteX2-647" fmla="*/ 712177 w 3938954"/>
                  <a:gd name="connsiteY2-648" fmla="*/ 169824 h 1093933"/>
                  <a:gd name="connsiteX3-649" fmla="*/ 3631223 w 3938954"/>
                  <a:gd name="connsiteY3-650" fmla="*/ 248955 h 1093933"/>
                  <a:gd name="connsiteX4-651" fmla="*/ 3938954 w 3938954"/>
                  <a:gd name="connsiteY4-652" fmla="*/ 372047 h 1093933"/>
                  <a:gd name="connsiteX5-653" fmla="*/ 2233246 w 3938954"/>
                  <a:gd name="connsiteY5-654" fmla="*/ 952339 h 1093933"/>
                  <a:gd name="connsiteX6-655" fmla="*/ 677008 w 3938954"/>
                  <a:gd name="connsiteY6-656" fmla="*/ 416008 h 1093933"/>
                  <a:gd name="connsiteX7-657" fmla="*/ 149469 w 3938954"/>
                  <a:gd name="connsiteY7-658" fmla="*/ 240162 h 1093933"/>
                  <a:gd name="connsiteX0-659" fmla="*/ 149469 w 3938954"/>
                  <a:gd name="connsiteY0-660" fmla="*/ 240162 h 1155846"/>
                  <a:gd name="connsiteX1-661" fmla="*/ 0 w 3938954"/>
                  <a:gd name="connsiteY1-662" fmla="*/ 2770 h 1155846"/>
                  <a:gd name="connsiteX2-663" fmla="*/ 712177 w 3938954"/>
                  <a:gd name="connsiteY2-664" fmla="*/ 169824 h 1155846"/>
                  <a:gd name="connsiteX3-665" fmla="*/ 3631223 w 3938954"/>
                  <a:gd name="connsiteY3-666" fmla="*/ 248955 h 1155846"/>
                  <a:gd name="connsiteX4-667" fmla="*/ 3938954 w 3938954"/>
                  <a:gd name="connsiteY4-668" fmla="*/ 372047 h 1155846"/>
                  <a:gd name="connsiteX5-669" fmla="*/ 2233246 w 3938954"/>
                  <a:gd name="connsiteY5-670" fmla="*/ 952339 h 1155846"/>
                  <a:gd name="connsiteX6-671" fmla="*/ 677008 w 3938954"/>
                  <a:gd name="connsiteY6-672" fmla="*/ 416008 h 1155846"/>
                  <a:gd name="connsiteX7-673" fmla="*/ 149469 w 3938954"/>
                  <a:gd name="connsiteY7-674" fmla="*/ 240162 h 1155846"/>
                  <a:gd name="connsiteX0-675" fmla="*/ 149469 w 3938954"/>
                  <a:gd name="connsiteY0-676" fmla="*/ 240162 h 1174896"/>
                  <a:gd name="connsiteX1-677" fmla="*/ 0 w 3938954"/>
                  <a:gd name="connsiteY1-678" fmla="*/ 2770 h 1174896"/>
                  <a:gd name="connsiteX2-679" fmla="*/ 712177 w 3938954"/>
                  <a:gd name="connsiteY2-680" fmla="*/ 169824 h 1174896"/>
                  <a:gd name="connsiteX3-681" fmla="*/ 3631223 w 3938954"/>
                  <a:gd name="connsiteY3-682" fmla="*/ 248955 h 1174896"/>
                  <a:gd name="connsiteX4-683" fmla="*/ 3938954 w 3938954"/>
                  <a:gd name="connsiteY4-684" fmla="*/ 372047 h 1174896"/>
                  <a:gd name="connsiteX5-685" fmla="*/ 2233246 w 3938954"/>
                  <a:gd name="connsiteY5-686" fmla="*/ 952339 h 1174896"/>
                  <a:gd name="connsiteX6-687" fmla="*/ 677008 w 3938954"/>
                  <a:gd name="connsiteY6-688" fmla="*/ 416008 h 1174896"/>
                  <a:gd name="connsiteX7-689" fmla="*/ 149469 w 3938954"/>
                  <a:gd name="connsiteY7-690" fmla="*/ 240162 h 1174896"/>
                  <a:gd name="connsiteX0-691" fmla="*/ 149469 w 3938954"/>
                  <a:gd name="connsiteY0-692" fmla="*/ 240162 h 1174896"/>
                  <a:gd name="connsiteX1-693" fmla="*/ 0 w 3938954"/>
                  <a:gd name="connsiteY1-694" fmla="*/ 2770 h 1174896"/>
                  <a:gd name="connsiteX2-695" fmla="*/ 712177 w 3938954"/>
                  <a:gd name="connsiteY2-696" fmla="*/ 169824 h 1174896"/>
                  <a:gd name="connsiteX3-697" fmla="*/ 3631223 w 3938954"/>
                  <a:gd name="connsiteY3-698" fmla="*/ 248955 h 1174896"/>
                  <a:gd name="connsiteX4-699" fmla="*/ 3938954 w 3938954"/>
                  <a:gd name="connsiteY4-700" fmla="*/ 372047 h 1174896"/>
                  <a:gd name="connsiteX5-701" fmla="*/ 2233246 w 3938954"/>
                  <a:gd name="connsiteY5-702" fmla="*/ 952339 h 1174896"/>
                  <a:gd name="connsiteX6-703" fmla="*/ 677008 w 3938954"/>
                  <a:gd name="connsiteY6-704" fmla="*/ 416008 h 1174896"/>
                  <a:gd name="connsiteX7-705" fmla="*/ 149469 w 3938954"/>
                  <a:gd name="connsiteY7-706" fmla="*/ 240162 h 1174896"/>
                  <a:gd name="connsiteX0-707" fmla="*/ 149469 w 3938954"/>
                  <a:gd name="connsiteY0-708" fmla="*/ 240162 h 1177277"/>
                  <a:gd name="connsiteX1-709" fmla="*/ 0 w 3938954"/>
                  <a:gd name="connsiteY1-710" fmla="*/ 2770 h 1177277"/>
                  <a:gd name="connsiteX2-711" fmla="*/ 712177 w 3938954"/>
                  <a:gd name="connsiteY2-712" fmla="*/ 169824 h 1177277"/>
                  <a:gd name="connsiteX3-713" fmla="*/ 3631223 w 3938954"/>
                  <a:gd name="connsiteY3-714" fmla="*/ 248955 h 1177277"/>
                  <a:gd name="connsiteX4-715" fmla="*/ 3938954 w 3938954"/>
                  <a:gd name="connsiteY4-716" fmla="*/ 372047 h 1177277"/>
                  <a:gd name="connsiteX5-717" fmla="*/ 2233246 w 3938954"/>
                  <a:gd name="connsiteY5-718" fmla="*/ 952339 h 1177277"/>
                  <a:gd name="connsiteX6-719" fmla="*/ 677008 w 3938954"/>
                  <a:gd name="connsiteY6-720" fmla="*/ 416008 h 1177277"/>
                  <a:gd name="connsiteX7-721" fmla="*/ 149469 w 3938954"/>
                  <a:gd name="connsiteY7-722" fmla="*/ 240162 h 1177277"/>
                  <a:gd name="connsiteX0-723" fmla="*/ 149469 w 3938954"/>
                  <a:gd name="connsiteY0-724" fmla="*/ 240162 h 1170134"/>
                  <a:gd name="connsiteX1-725" fmla="*/ 0 w 3938954"/>
                  <a:gd name="connsiteY1-726" fmla="*/ 2770 h 1170134"/>
                  <a:gd name="connsiteX2-727" fmla="*/ 712177 w 3938954"/>
                  <a:gd name="connsiteY2-728" fmla="*/ 169824 h 1170134"/>
                  <a:gd name="connsiteX3-729" fmla="*/ 3631223 w 3938954"/>
                  <a:gd name="connsiteY3-730" fmla="*/ 248955 h 1170134"/>
                  <a:gd name="connsiteX4-731" fmla="*/ 3938954 w 3938954"/>
                  <a:gd name="connsiteY4-732" fmla="*/ 372047 h 1170134"/>
                  <a:gd name="connsiteX5-733" fmla="*/ 2233246 w 3938954"/>
                  <a:gd name="connsiteY5-734" fmla="*/ 952339 h 1170134"/>
                  <a:gd name="connsiteX6-735" fmla="*/ 677008 w 3938954"/>
                  <a:gd name="connsiteY6-736" fmla="*/ 416008 h 1170134"/>
                  <a:gd name="connsiteX7-737" fmla="*/ 149469 w 3938954"/>
                  <a:gd name="connsiteY7-738" fmla="*/ 240162 h 1170134"/>
                  <a:gd name="connsiteX0-739" fmla="*/ 149469 w 3938954"/>
                  <a:gd name="connsiteY0-740" fmla="*/ 240162 h 1170134"/>
                  <a:gd name="connsiteX1-741" fmla="*/ 0 w 3938954"/>
                  <a:gd name="connsiteY1-742" fmla="*/ 2770 h 1170134"/>
                  <a:gd name="connsiteX2-743" fmla="*/ 712177 w 3938954"/>
                  <a:gd name="connsiteY2-744" fmla="*/ 169824 h 1170134"/>
                  <a:gd name="connsiteX3-745" fmla="*/ 3631223 w 3938954"/>
                  <a:gd name="connsiteY3-746" fmla="*/ 248955 h 1170134"/>
                  <a:gd name="connsiteX4-747" fmla="*/ 3938954 w 3938954"/>
                  <a:gd name="connsiteY4-748" fmla="*/ 372047 h 1170134"/>
                  <a:gd name="connsiteX5-749" fmla="*/ 2233246 w 3938954"/>
                  <a:gd name="connsiteY5-750" fmla="*/ 945196 h 1170134"/>
                  <a:gd name="connsiteX6-751" fmla="*/ 677008 w 3938954"/>
                  <a:gd name="connsiteY6-752" fmla="*/ 416008 h 1170134"/>
                  <a:gd name="connsiteX7-753" fmla="*/ 149469 w 3938954"/>
                  <a:gd name="connsiteY7-754" fmla="*/ 240162 h 1170134"/>
                  <a:gd name="connsiteX0-755" fmla="*/ 149469 w 3938954"/>
                  <a:gd name="connsiteY0-756" fmla="*/ 240162 h 1170134"/>
                  <a:gd name="connsiteX1-757" fmla="*/ 0 w 3938954"/>
                  <a:gd name="connsiteY1-758" fmla="*/ 2770 h 1170134"/>
                  <a:gd name="connsiteX2-759" fmla="*/ 712177 w 3938954"/>
                  <a:gd name="connsiteY2-760" fmla="*/ 169824 h 1170134"/>
                  <a:gd name="connsiteX3-761" fmla="*/ 3631223 w 3938954"/>
                  <a:gd name="connsiteY3-762" fmla="*/ 248955 h 1170134"/>
                  <a:gd name="connsiteX4-763" fmla="*/ 3938954 w 3938954"/>
                  <a:gd name="connsiteY4-764" fmla="*/ 372047 h 1170134"/>
                  <a:gd name="connsiteX5-765" fmla="*/ 677008 w 3938954"/>
                  <a:gd name="connsiteY5-766" fmla="*/ 416008 h 1170134"/>
                  <a:gd name="connsiteX6-767" fmla="*/ 149469 w 3938954"/>
                  <a:gd name="connsiteY6-768" fmla="*/ 240162 h 1170134"/>
                  <a:gd name="connsiteX0-769" fmla="*/ 149469 w 3938954"/>
                  <a:gd name="connsiteY0-770" fmla="*/ 240162 h 1435732"/>
                  <a:gd name="connsiteX1-771" fmla="*/ 0 w 3938954"/>
                  <a:gd name="connsiteY1-772" fmla="*/ 2770 h 1435732"/>
                  <a:gd name="connsiteX2-773" fmla="*/ 712177 w 3938954"/>
                  <a:gd name="connsiteY2-774" fmla="*/ 169824 h 1435732"/>
                  <a:gd name="connsiteX3-775" fmla="*/ 3631223 w 3938954"/>
                  <a:gd name="connsiteY3-776" fmla="*/ 248955 h 1435732"/>
                  <a:gd name="connsiteX4-777" fmla="*/ 3938954 w 3938954"/>
                  <a:gd name="connsiteY4-778" fmla="*/ 372047 h 1435732"/>
                  <a:gd name="connsiteX5-779" fmla="*/ 677008 w 3938954"/>
                  <a:gd name="connsiteY5-780" fmla="*/ 416008 h 1435732"/>
                  <a:gd name="connsiteX6-781" fmla="*/ 149469 w 3938954"/>
                  <a:gd name="connsiteY6-782" fmla="*/ 240162 h 1435732"/>
                  <a:gd name="connsiteX0-783" fmla="*/ 149469 w 3938954"/>
                  <a:gd name="connsiteY0-784" fmla="*/ 240162 h 1435732"/>
                  <a:gd name="connsiteX1-785" fmla="*/ 0 w 3938954"/>
                  <a:gd name="connsiteY1-786" fmla="*/ 2770 h 1435732"/>
                  <a:gd name="connsiteX2-787" fmla="*/ 712177 w 3938954"/>
                  <a:gd name="connsiteY2-788" fmla="*/ 169824 h 1435732"/>
                  <a:gd name="connsiteX3-789" fmla="*/ 3631223 w 3938954"/>
                  <a:gd name="connsiteY3-790" fmla="*/ 248955 h 1435732"/>
                  <a:gd name="connsiteX4-791" fmla="*/ 3938954 w 3938954"/>
                  <a:gd name="connsiteY4-792" fmla="*/ 372047 h 1435732"/>
                  <a:gd name="connsiteX5-793" fmla="*/ 677008 w 3938954"/>
                  <a:gd name="connsiteY5-794" fmla="*/ 416008 h 1435732"/>
                  <a:gd name="connsiteX6-795" fmla="*/ 149469 w 3938954"/>
                  <a:gd name="connsiteY6-796" fmla="*/ 240162 h 1435732"/>
                  <a:gd name="connsiteX0-797" fmla="*/ 149469 w 3938954"/>
                  <a:gd name="connsiteY0-798" fmla="*/ 240162 h 1435732"/>
                  <a:gd name="connsiteX1-799" fmla="*/ 0 w 3938954"/>
                  <a:gd name="connsiteY1-800" fmla="*/ 2770 h 1435732"/>
                  <a:gd name="connsiteX2-801" fmla="*/ 712177 w 3938954"/>
                  <a:gd name="connsiteY2-802" fmla="*/ 169824 h 1435732"/>
                  <a:gd name="connsiteX3-803" fmla="*/ 3631223 w 3938954"/>
                  <a:gd name="connsiteY3-804" fmla="*/ 248955 h 1435732"/>
                  <a:gd name="connsiteX4-805" fmla="*/ 3938954 w 3938954"/>
                  <a:gd name="connsiteY4-806" fmla="*/ 372047 h 1435732"/>
                  <a:gd name="connsiteX5-807" fmla="*/ 677008 w 3938954"/>
                  <a:gd name="connsiteY5-808" fmla="*/ 416008 h 1435732"/>
                  <a:gd name="connsiteX6-809" fmla="*/ 149469 w 3938954"/>
                  <a:gd name="connsiteY6-810" fmla="*/ 240162 h 1435732"/>
                  <a:gd name="connsiteX0-811" fmla="*/ 149469 w 3938954"/>
                  <a:gd name="connsiteY0-812" fmla="*/ 240162 h 1170134"/>
                  <a:gd name="connsiteX1-813" fmla="*/ 0 w 3938954"/>
                  <a:gd name="connsiteY1-814" fmla="*/ 2770 h 1170134"/>
                  <a:gd name="connsiteX2-815" fmla="*/ 712177 w 3938954"/>
                  <a:gd name="connsiteY2-816" fmla="*/ 169824 h 1170134"/>
                  <a:gd name="connsiteX3-817" fmla="*/ 3631223 w 3938954"/>
                  <a:gd name="connsiteY3-818" fmla="*/ 248955 h 1170134"/>
                  <a:gd name="connsiteX4-819" fmla="*/ 3938954 w 3938954"/>
                  <a:gd name="connsiteY4-820" fmla="*/ 372047 h 1170134"/>
                  <a:gd name="connsiteX5-821" fmla="*/ 677008 w 3938954"/>
                  <a:gd name="connsiteY5-822" fmla="*/ 416008 h 1170134"/>
                  <a:gd name="connsiteX6-823" fmla="*/ 149469 w 3938954"/>
                  <a:gd name="connsiteY6-824" fmla="*/ 240162 h 1170134"/>
                  <a:gd name="connsiteX0-825" fmla="*/ 149469 w 3938954"/>
                  <a:gd name="connsiteY0-826" fmla="*/ 240162 h 1170134"/>
                  <a:gd name="connsiteX1-827" fmla="*/ 0 w 3938954"/>
                  <a:gd name="connsiteY1-828" fmla="*/ 2770 h 1170134"/>
                  <a:gd name="connsiteX2-829" fmla="*/ 712177 w 3938954"/>
                  <a:gd name="connsiteY2-830" fmla="*/ 169824 h 1170134"/>
                  <a:gd name="connsiteX3-831" fmla="*/ 3631223 w 3938954"/>
                  <a:gd name="connsiteY3-832" fmla="*/ 248955 h 1170134"/>
                  <a:gd name="connsiteX4-833" fmla="*/ 3938954 w 3938954"/>
                  <a:gd name="connsiteY4-834" fmla="*/ 372047 h 1170134"/>
                  <a:gd name="connsiteX5-835" fmla="*/ 677008 w 3938954"/>
                  <a:gd name="connsiteY5-836" fmla="*/ 416008 h 1170134"/>
                  <a:gd name="connsiteX6-837" fmla="*/ 149469 w 3938954"/>
                  <a:gd name="connsiteY6-838" fmla="*/ 240162 h 1170134"/>
                  <a:gd name="connsiteX0-839" fmla="*/ 149469 w 3938954"/>
                  <a:gd name="connsiteY0-840" fmla="*/ 240162 h 1170134"/>
                  <a:gd name="connsiteX1-841" fmla="*/ 0 w 3938954"/>
                  <a:gd name="connsiteY1-842" fmla="*/ 2770 h 1170134"/>
                  <a:gd name="connsiteX2-843" fmla="*/ 712177 w 3938954"/>
                  <a:gd name="connsiteY2-844" fmla="*/ 169824 h 1170134"/>
                  <a:gd name="connsiteX3-845" fmla="*/ 3631223 w 3938954"/>
                  <a:gd name="connsiteY3-846" fmla="*/ 248955 h 1170134"/>
                  <a:gd name="connsiteX4-847" fmla="*/ 3938954 w 3938954"/>
                  <a:gd name="connsiteY4-848" fmla="*/ 372047 h 1170134"/>
                  <a:gd name="connsiteX5-849" fmla="*/ 677008 w 3938954"/>
                  <a:gd name="connsiteY5-850" fmla="*/ 416008 h 1170134"/>
                  <a:gd name="connsiteX6-851" fmla="*/ 149469 w 3938954"/>
                  <a:gd name="connsiteY6-852" fmla="*/ 240162 h 1170134"/>
                  <a:gd name="connsiteX0-853" fmla="*/ 149469 w 3938954"/>
                  <a:gd name="connsiteY0-854" fmla="*/ 240162 h 1170134"/>
                  <a:gd name="connsiteX1-855" fmla="*/ 0 w 3938954"/>
                  <a:gd name="connsiteY1-856" fmla="*/ 2770 h 1170134"/>
                  <a:gd name="connsiteX2-857" fmla="*/ 712177 w 3938954"/>
                  <a:gd name="connsiteY2-858" fmla="*/ 169824 h 1170134"/>
                  <a:gd name="connsiteX3-859" fmla="*/ 3631223 w 3938954"/>
                  <a:gd name="connsiteY3-860" fmla="*/ 248955 h 1170134"/>
                  <a:gd name="connsiteX4-861" fmla="*/ 3938954 w 3938954"/>
                  <a:gd name="connsiteY4-862" fmla="*/ 372047 h 1170134"/>
                  <a:gd name="connsiteX5-863" fmla="*/ 677008 w 3938954"/>
                  <a:gd name="connsiteY5-864" fmla="*/ 416008 h 1170134"/>
                  <a:gd name="connsiteX6-865" fmla="*/ 149469 w 3938954"/>
                  <a:gd name="connsiteY6-866" fmla="*/ 240162 h 1170134"/>
                  <a:gd name="connsiteX0-867" fmla="*/ 149469 w 3938954"/>
                  <a:gd name="connsiteY0-868" fmla="*/ 240162 h 1209880"/>
                  <a:gd name="connsiteX1-869" fmla="*/ 0 w 3938954"/>
                  <a:gd name="connsiteY1-870" fmla="*/ 2770 h 1209880"/>
                  <a:gd name="connsiteX2-871" fmla="*/ 712177 w 3938954"/>
                  <a:gd name="connsiteY2-872" fmla="*/ 169824 h 1209880"/>
                  <a:gd name="connsiteX3-873" fmla="*/ 3631223 w 3938954"/>
                  <a:gd name="connsiteY3-874" fmla="*/ 248955 h 1209880"/>
                  <a:gd name="connsiteX4-875" fmla="*/ 3938954 w 3938954"/>
                  <a:gd name="connsiteY4-876" fmla="*/ 372047 h 1209880"/>
                  <a:gd name="connsiteX5-877" fmla="*/ 677008 w 3938954"/>
                  <a:gd name="connsiteY5-878" fmla="*/ 416008 h 1209880"/>
                  <a:gd name="connsiteX6-879" fmla="*/ 149469 w 3938954"/>
                  <a:gd name="connsiteY6-880" fmla="*/ 240162 h 120988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3938954" h="1209880">
                    <a:moveTo>
                      <a:pt x="149469" y="240162"/>
                    </a:moveTo>
                    <a:lnTo>
                      <a:pt x="0" y="2770"/>
                    </a:lnTo>
                    <a:cubicBezTo>
                      <a:pt x="82905" y="0"/>
                      <a:pt x="370401" y="22282"/>
                      <a:pt x="712177" y="169824"/>
                    </a:cubicBezTo>
                    <a:cubicBezTo>
                      <a:pt x="1447617" y="407217"/>
                      <a:pt x="2152832" y="1170134"/>
                      <a:pt x="3631223" y="248955"/>
                    </a:cubicBezTo>
                    <a:lnTo>
                      <a:pt x="3938954" y="372047"/>
                    </a:lnTo>
                    <a:cubicBezTo>
                      <a:pt x="2817936" y="1002347"/>
                      <a:pt x="2181225" y="1209880"/>
                      <a:pt x="677008" y="416008"/>
                    </a:cubicBezTo>
                    <a:cubicBezTo>
                      <a:pt x="458569" y="311464"/>
                      <a:pt x="312887" y="261199"/>
                      <a:pt x="149469" y="240162"/>
                    </a:cubicBezTo>
                    <a:close/>
                  </a:path>
                </a:pathLst>
              </a:custGeom>
              <a:solidFill>
                <a:srgbClr val="FEAB8A"/>
              </a:solidFill>
              <a:ln w="9525" cap="flat" cmpd="sng" algn="ctr">
                <a:no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000000"/>
                  </a:solidFill>
                  <a:effectLst/>
                  <a:uLnTx/>
                  <a:uFillTx/>
                  <a:latin typeface="Arial" panose="020B0604020202020204"/>
                  <a:ea typeface="华文楷体" panose="02010600040101010101" charset="-122"/>
                  <a:cs typeface="Arial" panose="020B0604020202020204" pitchFamily="34" charset="0"/>
                </a:endParaRPr>
              </a:p>
            </p:txBody>
          </p:sp>
          <p:sp>
            <p:nvSpPr>
              <p:cNvPr id="18" name="Freeform 186"/>
              <p:cNvSpPr/>
              <p:nvPr/>
            </p:nvSpPr>
            <p:spPr>
              <a:xfrm>
                <a:off x="787435" y="3531633"/>
                <a:ext cx="1686832" cy="363256"/>
              </a:xfrm>
              <a:custGeom>
                <a:avLst/>
                <a:gdLst>
                  <a:gd name="connsiteX0" fmla="*/ 225469 w 1344460"/>
                  <a:gd name="connsiteY0" fmla="*/ 0 h 308976"/>
                  <a:gd name="connsiteX1" fmla="*/ 997907 w 1344460"/>
                  <a:gd name="connsiteY1" fmla="*/ 45929 h 308976"/>
                  <a:gd name="connsiteX2" fmla="*/ 1344460 w 1344460"/>
                  <a:gd name="connsiteY2" fmla="*/ 196241 h 308976"/>
                  <a:gd name="connsiteX3" fmla="*/ 668055 w 1344460"/>
                  <a:gd name="connsiteY3" fmla="*/ 308976 h 308976"/>
                  <a:gd name="connsiteX4" fmla="*/ 0 w 1344460"/>
                  <a:gd name="connsiteY4" fmla="*/ 192066 h 308976"/>
                  <a:gd name="connsiteX5" fmla="*/ 225469 w 1344460"/>
                  <a:gd name="connsiteY5" fmla="*/ 0 h 308976"/>
                  <a:gd name="connsiteX0-1" fmla="*/ 225469 w 1344460"/>
                  <a:gd name="connsiteY0-2" fmla="*/ 0 h 308976"/>
                  <a:gd name="connsiteX1-3" fmla="*/ 997907 w 1344460"/>
                  <a:gd name="connsiteY1-4" fmla="*/ 45929 h 308976"/>
                  <a:gd name="connsiteX2-5" fmla="*/ 1344460 w 1344460"/>
                  <a:gd name="connsiteY2-6" fmla="*/ 196241 h 308976"/>
                  <a:gd name="connsiteX3-7" fmla="*/ 668055 w 1344460"/>
                  <a:gd name="connsiteY3-8" fmla="*/ 308976 h 308976"/>
                  <a:gd name="connsiteX4-9" fmla="*/ 0 w 1344460"/>
                  <a:gd name="connsiteY4-10" fmla="*/ 192066 h 308976"/>
                  <a:gd name="connsiteX5-11" fmla="*/ 225469 w 1344460"/>
                  <a:gd name="connsiteY5-12" fmla="*/ 0 h 308976"/>
                  <a:gd name="connsiteX0-13" fmla="*/ 225469 w 1344460"/>
                  <a:gd name="connsiteY0-14" fmla="*/ 0 h 308976"/>
                  <a:gd name="connsiteX1-15" fmla="*/ 997907 w 1344460"/>
                  <a:gd name="connsiteY1-16" fmla="*/ 45929 h 308976"/>
                  <a:gd name="connsiteX2-17" fmla="*/ 1344460 w 1344460"/>
                  <a:gd name="connsiteY2-18" fmla="*/ 196241 h 308976"/>
                  <a:gd name="connsiteX3-19" fmla="*/ 668055 w 1344460"/>
                  <a:gd name="connsiteY3-20" fmla="*/ 308976 h 308976"/>
                  <a:gd name="connsiteX4-21" fmla="*/ 0 w 1344460"/>
                  <a:gd name="connsiteY4-22" fmla="*/ 192066 h 308976"/>
                  <a:gd name="connsiteX5-23" fmla="*/ 225469 w 1344460"/>
                  <a:gd name="connsiteY5-24" fmla="*/ 0 h 308976"/>
                  <a:gd name="connsiteX0-25" fmla="*/ 225469 w 1344460"/>
                  <a:gd name="connsiteY0-26" fmla="*/ 0 h 308976"/>
                  <a:gd name="connsiteX1-27" fmla="*/ 997907 w 1344460"/>
                  <a:gd name="connsiteY1-28" fmla="*/ 45929 h 308976"/>
                  <a:gd name="connsiteX2-29" fmla="*/ 1344460 w 1344460"/>
                  <a:gd name="connsiteY2-30" fmla="*/ 196241 h 308976"/>
                  <a:gd name="connsiteX3-31" fmla="*/ 668055 w 1344460"/>
                  <a:gd name="connsiteY3-32" fmla="*/ 308976 h 308976"/>
                  <a:gd name="connsiteX4-33" fmla="*/ 0 w 1344460"/>
                  <a:gd name="connsiteY4-34" fmla="*/ 192066 h 308976"/>
                  <a:gd name="connsiteX5-35" fmla="*/ 225469 w 1344460"/>
                  <a:gd name="connsiteY5-36" fmla="*/ 0 h 308976"/>
                  <a:gd name="connsiteX0-37" fmla="*/ 225469 w 1344460"/>
                  <a:gd name="connsiteY0-38" fmla="*/ 0 h 308976"/>
                  <a:gd name="connsiteX1-39" fmla="*/ 997907 w 1344460"/>
                  <a:gd name="connsiteY1-40" fmla="*/ 45929 h 308976"/>
                  <a:gd name="connsiteX2-41" fmla="*/ 1344460 w 1344460"/>
                  <a:gd name="connsiteY2-42" fmla="*/ 196241 h 308976"/>
                  <a:gd name="connsiteX3-43" fmla="*/ 668055 w 1344460"/>
                  <a:gd name="connsiteY3-44" fmla="*/ 308976 h 308976"/>
                  <a:gd name="connsiteX4-45" fmla="*/ 0 w 1344460"/>
                  <a:gd name="connsiteY4-46" fmla="*/ 192066 h 308976"/>
                  <a:gd name="connsiteX5-47" fmla="*/ 225469 w 1344460"/>
                  <a:gd name="connsiteY5-48" fmla="*/ 0 h 308976"/>
                  <a:gd name="connsiteX0-49" fmla="*/ 225469 w 1344460"/>
                  <a:gd name="connsiteY0-50" fmla="*/ 0 h 224773"/>
                  <a:gd name="connsiteX1-51" fmla="*/ 997907 w 1344460"/>
                  <a:gd name="connsiteY1-52" fmla="*/ 45929 h 224773"/>
                  <a:gd name="connsiteX2-53" fmla="*/ 1344460 w 1344460"/>
                  <a:gd name="connsiteY2-54" fmla="*/ 196241 h 224773"/>
                  <a:gd name="connsiteX3-55" fmla="*/ 0 w 1344460"/>
                  <a:gd name="connsiteY3-56" fmla="*/ 192066 h 224773"/>
                  <a:gd name="connsiteX4-57" fmla="*/ 225469 w 1344460"/>
                  <a:gd name="connsiteY4-58" fmla="*/ 0 h 224773"/>
                  <a:gd name="connsiteX0-59" fmla="*/ 225469 w 1344460"/>
                  <a:gd name="connsiteY0-60" fmla="*/ 0 h 363256"/>
                  <a:gd name="connsiteX1-61" fmla="*/ 997907 w 1344460"/>
                  <a:gd name="connsiteY1-62" fmla="*/ 45929 h 363256"/>
                  <a:gd name="connsiteX2-63" fmla="*/ 1344460 w 1344460"/>
                  <a:gd name="connsiteY2-64" fmla="*/ 196241 h 363256"/>
                  <a:gd name="connsiteX3-65" fmla="*/ 0 w 1344460"/>
                  <a:gd name="connsiteY3-66" fmla="*/ 192066 h 363256"/>
                  <a:gd name="connsiteX4-67" fmla="*/ 225469 w 1344460"/>
                  <a:gd name="connsiteY4-68" fmla="*/ 0 h 363256"/>
                  <a:gd name="connsiteX0-69" fmla="*/ 225469 w 1344460"/>
                  <a:gd name="connsiteY0-70" fmla="*/ 0 h 363256"/>
                  <a:gd name="connsiteX1-71" fmla="*/ 997907 w 1344460"/>
                  <a:gd name="connsiteY1-72" fmla="*/ 45929 h 363256"/>
                  <a:gd name="connsiteX2-73" fmla="*/ 1344460 w 1344460"/>
                  <a:gd name="connsiteY2-74" fmla="*/ 196241 h 363256"/>
                  <a:gd name="connsiteX3-75" fmla="*/ 0 w 1344460"/>
                  <a:gd name="connsiteY3-76" fmla="*/ 192066 h 363256"/>
                  <a:gd name="connsiteX4-77" fmla="*/ 225469 w 1344460"/>
                  <a:gd name="connsiteY4-78" fmla="*/ 0 h 36325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344460" h="363256">
                    <a:moveTo>
                      <a:pt x="225469" y="0"/>
                    </a:moveTo>
                    <a:cubicBezTo>
                      <a:pt x="598813" y="94642"/>
                      <a:pt x="808735" y="64022"/>
                      <a:pt x="997907" y="45929"/>
                    </a:cubicBezTo>
                    <a:lnTo>
                      <a:pt x="1344460" y="196241"/>
                    </a:lnTo>
                    <a:cubicBezTo>
                      <a:pt x="827413" y="363256"/>
                      <a:pt x="302217" y="274877"/>
                      <a:pt x="0" y="192066"/>
                    </a:cubicBezTo>
                    <a:lnTo>
                      <a:pt x="225469" y="0"/>
                    </a:lnTo>
                    <a:close/>
                  </a:path>
                </a:pathLst>
              </a:custGeom>
              <a:solidFill>
                <a:srgbClr val="FE733C"/>
              </a:solidFill>
              <a:ln w="9525" cap="flat" cmpd="sng" algn="ctr">
                <a:noFill/>
                <a:prstDash val="solid"/>
              </a:ln>
              <a:effectLst/>
              <a:extLst>
                <a:ext uri="{91240B29-F687-4F45-9708-019B960494DF}">
                  <a14:hiddenLine xmlns:a14="http://schemas.microsoft.com/office/drawing/2010/main" w="9525">
                    <a:solidFill>
                      <a:srgbClr val="79A2B3"/>
                    </a:solidFill>
                    <a:prstDash val="solid"/>
                  </a14:hiddenLine>
                </a:ext>
              </a:ex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000000"/>
                  </a:solidFill>
                  <a:effectLst/>
                  <a:uLnTx/>
                  <a:uFillTx/>
                  <a:latin typeface="Arial" panose="020B0604020202020204"/>
                  <a:ea typeface="华文楷体" panose="02010600040101010101" charset="-122"/>
                  <a:cs typeface="Arial" panose="020B0604020202020204" pitchFamily="34" charset="0"/>
                </a:endParaRPr>
              </a:p>
            </p:txBody>
          </p:sp>
          <p:sp>
            <p:nvSpPr>
              <p:cNvPr id="19" name="Freeform 192"/>
              <p:cNvSpPr/>
              <p:nvPr/>
            </p:nvSpPr>
            <p:spPr>
              <a:xfrm>
                <a:off x="2667094" y="2768001"/>
                <a:ext cx="6480161" cy="1104176"/>
              </a:xfrm>
              <a:custGeom>
                <a:avLst/>
                <a:gdLst>
                  <a:gd name="connsiteX0" fmla="*/ 308975 w 5164898"/>
                  <a:gd name="connsiteY0" fmla="*/ 701458 h 1027134"/>
                  <a:gd name="connsiteX1" fmla="*/ 0 w 5164898"/>
                  <a:gd name="connsiteY1" fmla="*/ 584548 h 1027134"/>
                  <a:gd name="connsiteX2" fmla="*/ 1436318 w 5164898"/>
                  <a:gd name="connsiteY2" fmla="*/ 0 h 1027134"/>
                  <a:gd name="connsiteX3" fmla="*/ 3444657 w 5164898"/>
                  <a:gd name="connsiteY3" fmla="*/ 684756 h 1027134"/>
                  <a:gd name="connsiteX4" fmla="*/ 4346531 w 5164898"/>
                  <a:gd name="connsiteY4" fmla="*/ 789140 h 1027134"/>
                  <a:gd name="connsiteX5" fmla="*/ 5164898 w 5164898"/>
                  <a:gd name="connsiteY5" fmla="*/ 759912 h 1027134"/>
                  <a:gd name="connsiteX6" fmla="*/ 3820438 w 5164898"/>
                  <a:gd name="connsiteY6" fmla="*/ 1027134 h 1027134"/>
                  <a:gd name="connsiteX7" fmla="*/ 1511474 w 5164898"/>
                  <a:gd name="connsiteY7" fmla="*/ 237995 h 1027134"/>
                  <a:gd name="connsiteX8" fmla="*/ 308975 w 5164898"/>
                  <a:gd name="connsiteY8" fmla="*/ 701458 h 1027134"/>
                  <a:gd name="connsiteX0-1" fmla="*/ 308975 w 5164898"/>
                  <a:gd name="connsiteY0-2" fmla="*/ 701458 h 1027134"/>
                  <a:gd name="connsiteX1-3" fmla="*/ 0 w 5164898"/>
                  <a:gd name="connsiteY1-4" fmla="*/ 584548 h 1027134"/>
                  <a:gd name="connsiteX2-5" fmla="*/ 1436318 w 5164898"/>
                  <a:gd name="connsiteY2-6" fmla="*/ 0 h 1027134"/>
                  <a:gd name="connsiteX3-7" fmla="*/ 3444657 w 5164898"/>
                  <a:gd name="connsiteY3-8" fmla="*/ 684756 h 1027134"/>
                  <a:gd name="connsiteX4-9" fmla="*/ 4346531 w 5164898"/>
                  <a:gd name="connsiteY4-10" fmla="*/ 789140 h 1027134"/>
                  <a:gd name="connsiteX5-11" fmla="*/ 5164898 w 5164898"/>
                  <a:gd name="connsiteY5-12" fmla="*/ 759912 h 1027134"/>
                  <a:gd name="connsiteX6-13" fmla="*/ 3820438 w 5164898"/>
                  <a:gd name="connsiteY6-14" fmla="*/ 1027134 h 1027134"/>
                  <a:gd name="connsiteX7-15" fmla="*/ 1511474 w 5164898"/>
                  <a:gd name="connsiteY7-16" fmla="*/ 237995 h 1027134"/>
                  <a:gd name="connsiteX8-17" fmla="*/ 308975 w 5164898"/>
                  <a:gd name="connsiteY8-18" fmla="*/ 701458 h 1027134"/>
                  <a:gd name="connsiteX0-19" fmla="*/ 308975 w 5164898"/>
                  <a:gd name="connsiteY0-20" fmla="*/ 701458 h 1027134"/>
                  <a:gd name="connsiteX1-21" fmla="*/ 0 w 5164898"/>
                  <a:gd name="connsiteY1-22" fmla="*/ 584548 h 1027134"/>
                  <a:gd name="connsiteX2-23" fmla="*/ 1436318 w 5164898"/>
                  <a:gd name="connsiteY2-24" fmla="*/ 0 h 1027134"/>
                  <a:gd name="connsiteX3-25" fmla="*/ 3444657 w 5164898"/>
                  <a:gd name="connsiteY3-26" fmla="*/ 684756 h 1027134"/>
                  <a:gd name="connsiteX4-27" fmla="*/ 4346531 w 5164898"/>
                  <a:gd name="connsiteY4-28" fmla="*/ 789140 h 1027134"/>
                  <a:gd name="connsiteX5-29" fmla="*/ 5164898 w 5164898"/>
                  <a:gd name="connsiteY5-30" fmla="*/ 759912 h 1027134"/>
                  <a:gd name="connsiteX6-31" fmla="*/ 3820438 w 5164898"/>
                  <a:gd name="connsiteY6-32" fmla="*/ 1027134 h 1027134"/>
                  <a:gd name="connsiteX7-33" fmla="*/ 1511474 w 5164898"/>
                  <a:gd name="connsiteY7-34" fmla="*/ 237995 h 1027134"/>
                  <a:gd name="connsiteX8-35" fmla="*/ 308975 w 5164898"/>
                  <a:gd name="connsiteY8-36" fmla="*/ 701458 h 1027134"/>
                  <a:gd name="connsiteX0-37" fmla="*/ 308975 w 5164898"/>
                  <a:gd name="connsiteY0-38" fmla="*/ 744603 h 1070279"/>
                  <a:gd name="connsiteX1-39" fmla="*/ 0 w 5164898"/>
                  <a:gd name="connsiteY1-40" fmla="*/ 627693 h 1070279"/>
                  <a:gd name="connsiteX2-41" fmla="*/ 1436318 w 5164898"/>
                  <a:gd name="connsiteY2-42" fmla="*/ 43145 h 1070279"/>
                  <a:gd name="connsiteX3-43" fmla="*/ 3444657 w 5164898"/>
                  <a:gd name="connsiteY3-44" fmla="*/ 727901 h 1070279"/>
                  <a:gd name="connsiteX4-45" fmla="*/ 4346531 w 5164898"/>
                  <a:gd name="connsiteY4-46" fmla="*/ 832285 h 1070279"/>
                  <a:gd name="connsiteX5-47" fmla="*/ 5164898 w 5164898"/>
                  <a:gd name="connsiteY5-48" fmla="*/ 803057 h 1070279"/>
                  <a:gd name="connsiteX6-49" fmla="*/ 3820438 w 5164898"/>
                  <a:gd name="connsiteY6-50" fmla="*/ 1070279 h 1070279"/>
                  <a:gd name="connsiteX7-51" fmla="*/ 1511474 w 5164898"/>
                  <a:gd name="connsiteY7-52" fmla="*/ 281140 h 1070279"/>
                  <a:gd name="connsiteX8-53" fmla="*/ 308975 w 5164898"/>
                  <a:gd name="connsiteY8-54" fmla="*/ 744603 h 1070279"/>
                  <a:gd name="connsiteX0-55" fmla="*/ 308975 w 5164898"/>
                  <a:gd name="connsiteY0-56" fmla="*/ 720503 h 1046179"/>
                  <a:gd name="connsiteX1-57" fmla="*/ 0 w 5164898"/>
                  <a:gd name="connsiteY1-58" fmla="*/ 603593 h 1046179"/>
                  <a:gd name="connsiteX2-59" fmla="*/ 1436318 w 5164898"/>
                  <a:gd name="connsiteY2-60" fmla="*/ 19045 h 1046179"/>
                  <a:gd name="connsiteX3-61" fmla="*/ 3444657 w 5164898"/>
                  <a:gd name="connsiteY3-62" fmla="*/ 703801 h 1046179"/>
                  <a:gd name="connsiteX4-63" fmla="*/ 4346531 w 5164898"/>
                  <a:gd name="connsiteY4-64" fmla="*/ 808185 h 1046179"/>
                  <a:gd name="connsiteX5-65" fmla="*/ 5164898 w 5164898"/>
                  <a:gd name="connsiteY5-66" fmla="*/ 778957 h 1046179"/>
                  <a:gd name="connsiteX6-67" fmla="*/ 3820438 w 5164898"/>
                  <a:gd name="connsiteY6-68" fmla="*/ 1046179 h 1046179"/>
                  <a:gd name="connsiteX7-69" fmla="*/ 1511474 w 5164898"/>
                  <a:gd name="connsiteY7-70" fmla="*/ 257040 h 1046179"/>
                  <a:gd name="connsiteX8-71" fmla="*/ 308975 w 5164898"/>
                  <a:gd name="connsiteY8-72" fmla="*/ 720503 h 1046179"/>
                  <a:gd name="connsiteX0-73" fmla="*/ 308975 w 5164898"/>
                  <a:gd name="connsiteY0-74" fmla="*/ 720503 h 1046179"/>
                  <a:gd name="connsiteX1-75" fmla="*/ 0 w 5164898"/>
                  <a:gd name="connsiteY1-76" fmla="*/ 603593 h 1046179"/>
                  <a:gd name="connsiteX2-77" fmla="*/ 1436318 w 5164898"/>
                  <a:gd name="connsiteY2-78" fmla="*/ 19045 h 1046179"/>
                  <a:gd name="connsiteX3-79" fmla="*/ 3444657 w 5164898"/>
                  <a:gd name="connsiteY3-80" fmla="*/ 703801 h 1046179"/>
                  <a:gd name="connsiteX4-81" fmla="*/ 4346531 w 5164898"/>
                  <a:gd name="connsiteY4-82" fmla="*/ 808185 h 1046179"/>
                  <a:gd name="connsiteX5-83" fmla="*/ 5164898 w 5164898"/>
                  <a:gd name="connsiteY5-84" fmla="*/ 778957 h 1046179"/>
                  <a:gd name="connsiteX6-85" fmla="*/ 3820438 w 5164898"/>
                  <a:gd name="connsiteY6-86" fmla="*/ 1046179 h 1046179"/>
                  <a:gd name="connsiteX7-87" fmla="*/ 1511474 w 5164898"/>
                  <a:gd name="connsiteY7-88" fmla="*/ 257040 h 1046179"/>
                  <a:gd name="connsiteX8-89" fmla="*/ 308975 w 5164898"/>
                  <a:gd name="connsiteY8-90" fmla="*/ 720503 h 1046179"/>
                  <a:gd name="connsiteX0-91" fmla="*/ 308975 w 5164898"/>
                  <a:gd name="connsiteY0-92" fmla="*/ 720503 h 1046179"/>
                  <a:gd name="connsiteX1-93" fmla="*/ 0 w 5164898"/>
                  <a:gd name="connsiteY1-94" fmla="*/ 603593 h 1046179"/>
                  <a:gd name="connsiteX2-95" fmla="*/ 1436318 w 5164898"/>
                  <a:gd name="connsiteY2-96" fmla="*/ 19045 h 1046179"/>
                  <a:gd name="connsiteX3-97" fmla="*/ 3444657 w 5164898"/>
                  <a:gd name="connsiteY3-98" fmla="*/ 703801 h 1046179"/>
                  <a:gd name="connsiteX4-99" fmla="*/ 4346531 w 5164898"/>
                  <a:gd name="connsiteY4-100" fmla="*/ 808185 h 1046179"/>
                  <a:gd name="connsiteX5-101" fmla="*/ 5164898 w 5164898"/>
                  <a:gd name="connsiteY5-102" fmla="*/ 778957 h 1046179"/>
                  <a:gd name="connsiteX6-103" fmla="*/ 3820438 w 5164898"/>
                  <a:gd name="connsiteY6-104" fmla="*/ 1046179 h 1046179"/>
                  <a:gd name="connsiteX7-105" fmla="*/ 1511474 w 5164898"/>
                  <a:gd name="connsiteY7-106" fmla="*/ 257040 h 1046179"/>
                  <a:gd name="connsiteX8-107" fmla="*/ 308975 w 5164898"/>
                  <a:gd name="connsiteY8-108" fmla="*/ 720503 h 1046179"/>
                  <a:gd name="connsiteX0-109" fmla="*/ 308975 w 5164898"/>
                  <a:gd name="connsiteY0-110" fmla="*/ 720503 h 1046179"/>
                  <a:gd name="connsiteX1-111" fmla="*/ 0 w 5164898"/>
                  <a:gd name="connsiteY1-112" fmla="*/ 603593 h 1046179"/>
                  <a:gd name="connsiteX2-113" fmla="*/ 1436318 w 5164898"/>
                  <a:gd name="connsiteY2-114" fmla="*/ 19045 h 1046179"/>
                  <a:gd name="connsiteX3-115" fmla="*/ 3444657 w 5164898"/>
                  <a:gd name="connsiteY3-116" fmla="*/ 703801 h 1046179"/>
                  <a:gd name="connsiteX4-117" fmla="*/ 4346531 w 5164898"/>
                  <a:gd name="connsiteY4-118" fmla="*/ 808185 h 1046179"/>
                  <a:gd name="connsiteX5-119" fmla="*/ 5164898 w 5164898"/>
                  <a:gd name="connsiteY5-120" fmla="*/ 778957 h 1046179"/>
                  <a:gd name="connsiteX6-121" fmla="*/ 3820438 w 5164898"/>
                  <a:gd name="connsiteY6-122" fmla="*/ 1046179 h 1046179"/>
                  <a:gd name="connsiteX7-123" fmla="*/ 1511474 w 5164898"/>
                  <a:gd name="connsiteY7-124" fmla="*/ 257040 h 1046179"/>
                  <a:gd name="connsiteX8-125" fmla="*/ 308975 w 5164898"/>
                  <a:gd name="connsiteY8-126" fmla="*/ 720503 h 1046179"/>
                  <a:gd name="connsiteX0-127" fmla="*/ 308975 w 5164898"/>
                  <a:gd name="connsiteY0-128" fmla="*/ 720503 h 1046179"/>
                  <a:gd name="connsiteX1-129" fmla="*/ 0 w 5164898"/>
                  <a:gd name="connsiteY1-130" fmla="*/ 603593 h 1046179"/>
                  <a:gd name="connsiteX2-131" fmla="*/ 1436318 w 5164898"/>
                  <a:gd name="connsiteY2-132" fmla="*/ 19045 h 1046179"/>
                  <a:gd name="connsiteX3-133" fmla="*/ 3444657 w 5164898"/>
                  <a:gd name="connsiteY3-134" fmla="*/ 703801 h 1046179"/>
                  <a:gd name="connsiteX4-135" fmla="*/ 4346531 w 5164898"/>
                  <a:gd name="connsiteY4-136" fmla="*/ 808185 h 1046179"/>
                  <a:gd name="connsiteX5-137" fmla="*/ 5164898 w 5164898"/>
                  <a:gd name="connsiteY5-138" fmla="*/ 778957 h 1046179"/>
                  <a:gd name="connsiteX6-139" fmla="*/ 3820438 w 5164898"/>
                  <a:gd name="connsiteY6-140" fmla="*/ 1046179 h 1046179"/>
                  <a:gd name="connsiteX7-141" fmla="*/ 1511474 w 5164898"/>
                  <a:gd name="connsiteY7-142" fmla="*/ 257040 h 1046179"/>
                  <a:gd name="connsiteX8-143" fmla="*/ 308975 w 5164898"/>
                  <a:gd name="connsiteY8-144" fmla="*/ 720503 h 1046179"/>
                  <a:gd name="connsiteX0-145" fmla="*/ 308975 w 5164898"/>
                  <a:gd name="connsiteY0-146" fmla="*/ 720503 h 1046179"/>
                  <a:gd name="connsiteX1-147" fmla="*/ 0 w 5164898"/>
                  <a:gd name="connsiteY1-148" fmla="*/ 603593 h 1046179"/>
                  <a:gd name="connsiteX2-149" fmla="*/ 1436318 w 5164898"/>
                  <a:gd name="connsiteY2-150" fmla="*/ 19045 h 1046179"/>
                  <a:gd name="connsiteX3-151" fmla="*/ 3444657 w 5164898"/>
                  <a:gd name="connsiteY3-152" fmla="*/ 703801 h 1046179"/>
                  <a:gd name="connsiteX4-153" fmla="*/ 4346531 w 5164898"/>
                  <a:gd name="connsiteY4-154" fmla="*/ 808185 h 1046179"/>
                  <a:gd name="connsiteX5-155" fmla="*/ 5164898 w 5164898"/>
                  <a:gd name="connsiteY5-156" fmla="*/ 778957 h 1046179"/>
                  <a:gd name="connsiteX6-157" fmla="*/ 3820438 w 5164898"/>
                  <a:gd name="connsiteY6-158" fmla="*/ 1046179 h 1046179"/>
                  <a:gd name="connsiteX7-159" fmla="*/ 1511474 w 5164898"/>
                  <a:gd name="connsiteY7-160" fmla="*/ 257040 h 1046179"/>
                  <a:gd name="connsiteX8-161" fmla="*/ 308975 w 5164898"/>
                  <a:gd name="connsiteY8-162" fmla="*/ 720503 h 1046179"/>
                  <a:gd name="connsiteX0-163" fmla="*/ 308975 w 5164898"/>
                  <a:gd name="connsiteY0-164" fmla="*/ 720503 h 1060097"/>
                  <a:gd name="connsiteX1-165" fmla="*/ 0 w 5164898"/>
                  <a:gd name="connsiteY1-166" fmla="*/ 603593 h 1060097"/>
                  <a:gd name="connsiteX2-167" fmla="*/ 1436318 w 5164898"/>
                  <a:gd name="connsiteY2-168" fmla="*/ 19045 h 1060097"/>
                  <a:gd name="connsiteX3-169" fmla="*/ 3444657 w 5164898"/>
                  <a:gd name="connsiteY3-170" fmla="*/ 703801 h 1060097"/>
                  <a:gd name="connsiteX4-171" fmla="*/ 4346531 w 5164898"/>
                  <a:gd name="connsiteY4-172" fmla="*/ 808185 h 1060097"/>
                  <a:gd name="connsiteX5-173" fmla="*/ 5164898 w 5164898"/>
                  <a:gd name="connsiteY5-174" fmla="*/ 778957 h 1060097"/>
                  <a:gd name="connsiteX6-175" fmla="*/ 3820438 w 5164898"/>
                  <a:gd name="connsiteY6-176" fmla="*/ 1046179 h 1060097"/>
                  <a:gd name="connsiteX7-177" fmla="*/ 1511474 w 5164898"/>
                  <a:gd name="connsiteY7-178" fmla="*/ 257040 h 1060097"/>
                  <a:gd name="connsiteX8-179" fmla="*/ 308975 w 5164898"/>
                  <a:gd name="connsiteY8-180" fmla="*/ 720503 h 1060097"/>
                  <a:gd name="connsiteX0-181" fmla="*/ 308975 w 5164898"/>
                  <a:gd name="connsiteY0-182" fmla="*/ 720503 h 1060097"/>
                  <a:gd name="connsiteX1-183" fmla="*/ 0 w 5164898"/>
                  <a:gd name="connsiteY1-184" fmla="*/ 603593 h 1060097"/>
                  <a:gd name="connsiteX2-185" fmla="*/ 1436318 w 5164898"/>
                  <a:gd name="connsiteY2-186" fmla="*/ 19045 h 1060097"/>
                  <a:gd name="connsiteX3-187" fmla="*/ 3444657 w 5164898"/>
                  <a:gd name="connsiteY3-188" fmla="*/ 703801 h 1060097"/>
                  <a:gd name="connsiteX4-189" fmla="*/ 4346531 w 5164898"/>
                  <a:gd name="connsiteY4-190" fmla="*/ 808185 h 1060097"/>
                  <a:gd name="connsiteX5-191" fmla="*/ 5164898 w 5164898"/>
                  <a:gd name="connsiteY5-192" fmla="*/ 778957 h 1060097"/>
                  <a:gd name="connsiteX6-193" fmla="*/ 3820438 w 5164898"/>
                  <a:gd name="connsiteY6-194" fmla="*/ 1046179 h 1060097"/>
                  <a:gd name="connsiteX7-195" fmla="*/ 1511474 w 5164898"/>
                  <a:gd name="connsiteY7-196" fmla="*/ 257040 h 1060097"/>
                  <a:gd name="connsiteX8-197" fmla="*/ 308975 w 5164898"/>
                  <a:gd name="connsiteY8-198" fmla="*/ 720503 h 1060097"/>
                  <a:gd name="connsiteX0-199" fmla="*/ 308975 w 5164898"/>
                  <a:gd name="connsiteY0-200" fmla="*/ 720503 h 1078190"/>
                  <a:gd name="connsiteX1-201" fmla="*/ 0 w 5164898"/>
                  <a:gd name="connsiteY1-202" fmla="*/ 603593 h 1078190"/>
                  <a:gd name="connsiteX2-203" fmla="*/ 1436318 w 5164898"/>
                  <a:gd name="connsiteY2-204" fmla="*/ 19045 h 1078190"/>
                  <a:gd name="connsiteX3-205" fmla="*/ 3444657 w 5164898"/>
                  <a:gd name="connsiteY3-206" fmla="*/ 703801 h 1078190"/>
                  <a:gd name="connsiteX4-207" fmla="*/ 4346531 w 5164898"/>
                  <a:gd name="connsiteY4-208" fmla="*/ 808185 h 1078190"/>
                  <a:gd name="connsiteX5-209" fmla="*/ 5164898 w 5164898"/>
                  <a:gd name="connsiteY5-210" fmla="*/ 778957 h 1078190"/>
                  <a:gd name="connsiteX6-211" fmla="*/ 3820438 w 5164898"/>
                  <a:gd name="connsiteY6-212" fmla="*/ 1046179 h 1078190"/>
                  <a:gd name="connsiteX7-213" fmla="*/ 1511474 w 5164898"/>
                  <a:gd name="connsiteY7-214" fmla="*/ 257040 h 1078190"/>
                  <a:gd name="connsiteX8-215" fmla="*/ 308975 w 5164898"/>
                  <a:gd name="connsiteY8-216" fmla="*/ 720503 h 1078190"/>
                  <a:gd name="connsiteX0-217" fmla="*/ 308975 w 5164898"/>
                  <a:gd name="connsiteY0-218" fmla="*/ 720503 h 1078190"/>
                  <a:gd name="connsiteX1-219" fmla="*/ 0 w 5164898"/>
                  <a:gd name="connsiteY1-220" fmla="*/ 603593 h 1078190"/>
                  <a:gd name="connsiteX2-221" fmla="*/ 1436318 w 5164898"/>
                  <a:gd name="connsiteY2-222" fmla="*/ 19045 h 1078190"/>
                  <a:gd name="connsiteX3-223" fmla="*/ 3444657 w 5164898"/>
                  <a:gd name="connsiteY3-224" fmla="*/ 703801 h 1078190"/>
                  <a:gd name="connsiteX4-225" fmla="*/ 4346531 w 5164898"/>
                  <a:gd name="connsiteY4-226" fmla="*/ 808185 h 1078190"/>
                  <a:gd name="connsiteX5-227" fmla="*/ 5164898 w 5164898"/>
                  <a:gd name="connsiteY5-228" fmla="*/ 778957 h 1078190"/>
                  <a:gd name="connsiteX6-229" fmla="*/ 3820438 w 5164898"/>
                  <a:gd name="connsiteY6-230" fmla="*/ 1046179 h 1078190"/>
                  <a:gd name="connsiteX7-231" fmla="*/ 1511474 w 5164898"/>
                  <a:gd name="connsiteY7-232" fmla="*/ 257040 h 1078190"/>
                  <a:gd name="connsiteX8-233" fmla="*/ 308975 w 5164898"/>
                  <a:gd name="connsiteY8-234" fmla="*/ 720503 h 1078190"/>
                  <a:gd name="connsiteX0-235" fmla="*/ 308975 w 5164898"/>
                  <a:gd name="connsiteY0-236" fmla="*/ 720503 h 1078190"/>
                  <a:gd name="connsiteX1-237" fmla="*/ 0 w 5164898"/>
                  <a:gd name="connsiteY1-238" fmla="*/ 603593 h 1078190"/>
                  <a:gd name="connsiteX2-239" fmla="*/ 1436318 w 5164898"/>
                  <a:gd name="connsiteY2-240" fmla="*/ 19045 h 1078190"/>
                  <a:gd name="connsiteX3-241" fmla="*/ 3444657 w 5164898"/>
                  <a:gd name="connsiteY3-242" fmla="*/ 703801 h 1078190"/>
                  <a:gd name="connsiteX4-243" fmla="*/ 4346531 w 5164898"/>
                  <a:gd name="connsiteY4-244" fmla="*/ 808185 h 1078190"/>
                  <a:gd name="connsiteX5-245" fmla="*/ 5164898 w 5164898"/>
                  <a:gd name="connsiteY5-246" fmla="*/ 778957 h 1078190"/>
                  <a:gd name="connsiteX6-247" fmla="*/ 3820438 w 5164898"/>
                  <a:gd name="connsiteY6-248" fmla="*/ 1046179 h 1078190"/>
                  <a:gd name="connsiteX7-249" fmla="*/ 1511474 w 5164898"/>
                  <a:gd name="connsiteY7-250" fmla="*/ 257040 h 1078190"/>
                  <a:gd name="connsiteX8-251" fmla="*/ 308975 w 5164898"/>
                  <a:gd name="connsiteY8-252" fmla="*/ 720503 h 1078190"/>
                  <a:gd name="connsiteX0-253" fmla="*/ 308975 w 5164898"/>
                  <a:gd name="connsiteY0-254" fmla="*/ 720503 h 1078190"/>
                  <a:gd name="connsiteX1-255" fmla="*/ 0 w 5164898"/>
                  <a:gd name="connsiteY1-256" fmla="*/ 603593 h 1078190"/>
                  <a:gd name="connsiteX2-257" fmla="*/ 1436318 w 5164898"/>
                  <a:gd name="connsiteY2-258" fmla="*/ 19045 h 1078190"/>
                  <a:gd name="connsiteX3-259" fmla="*/ 3444657 w 5164898"/>
                  <a:gd name="connsiteY3-260" fmla="*/ 703801 h 1078190"/>
                  <a:gd name="connsiteX4-261" fmla="*/ 4346531 w 5164898"/>
                  <a:gd name="connsiteY4-262" fmla="*/ 808185 h 1078190"/>
                  <a:gd name="connsiteX5-263" fmla="*/ 5164898 w 5164898"/>
                  <a:gd name="connsiteY5-264" fmla="*/ 778957 h 1078190"/>
                  <a:gd name="connsiteX6-265" fmla="*/ 3820438 w 5164898"/>
                  <a:gd name="connsiteY6-266" fmla="*/ 1046179 h 1078190"/>
                  <a:gd name="connsiteX7-267" fmla="*/ 1511474 w 5164898"/>
                  <a:gd name="connsiteY7-268" fmla="*/ 257040 h 1078190"/>
                  <a:gd name="connsiteX8-269" fmla="*/ 308975 w 5164898"/>
                  <a:gd name="connsiteY8-270" fmla="*/ 720503 h 1078190"/>
                  <a:gd name="connsiteX0-271" fmla="*/ 308975 w 5164898"/>
                  <a:gd name="connsiteY0-272" fmla="*/ 720503 h 1078190"/>
                  <a:gd name="connsiteX1-273" fmla="*/ 0 w 5164898"/>
                  <a:gd name="connsiteY1-274" fmla="*/ 603593 h 1078190"/>
                  <a:gd name="connsiteX2-275" fmla="*/ 1436318 w 5164898"/>
                  <a:gd name="connsiteY2-276" fmla="*/ 19045 h 1078190"/>
                  <a:gd name="connsiteX3-277" fmla="*/ 3444657 w 5164898"/>
                  <a:gd name="connsiteY3-278" fmla="*/ 703801 h 1078190"/>
                  <a:gd name="connsiteX4-279" fmla="*/ 4346531 w 5164898"/>
                  <a:gd name="connsiteY4-280" fmla="*/ 808185 h 1078190"/>
                  <a:gd name="connsiteX5-281" fmla="*/ 5164898 w 5164898"/>
                  <a:gd name="connsiteY5-282" fmla="*/ 778957 h 1078190"/>
                  <a:gd name="connsiteX6-283" fmla="*/ 3820438 w 5164898"/>
                  <a:gd name="connsiteY6-284" fmla="*/ 1046179 h 1078190"/>
                  <a:gd name="connsiteX7-285" fmla="*/ 1511474 w 5164898"/>
                  <a:gd name="connsiteY7-286" fmla="*/ 257040 h 1078190"/>
                  <a:gd name="connsiteX8-287" fmla="*/ 308975 w 5164898"/>
                  <a:gd name="connsiteY8-288" fmla="*/ 720503 h 1078190"/>
                  <a:gd name="connsiteX0-289" fmla="*/ 308975 w 5164898"/>
                  <a:gd name="connsiteY0-290" fmla="*/ 720503 h 1078190"/>
                  <a:gd name="connsiteX1-291" fmla="*/ 0 w 5164898"/>
                  <a:gd name="connsiteY1-292" fmla="*/ 603593 h 1078190"/>
                  <a:gd name="connsiteX2-293" fmla="*/ 1436318 w 5164898"/>
                  <a:gd name="connsiteY2-294" fmla="*/ 19045 h 1078190"/>
                  <a:gd name="connsiteX3-295" fmla="*/ 3444657 w 5164898"/>
                  <a:gd name="connsiteY3-296" fmla="*/ 703801 h 1078190"/>
                  <a:gd name="connsiteX4-297" fmla="*/ 4346531 w 5164898"/>
                  <a:gd name="connsiteY4-298" fmla="*/ 808185 h 1078190"/>
                  <a:gd name="connsiteX5-299" fmla="*/ 5164898 w 5164898"/>
                  <a:gd name="connsiteY5-300" fmla="*/ 778957 h 1078190"/>
                  <a:gd name="connsiteX6-301" fmla="*/ 3820438 w 5164898"/>
                  <a:gd name="connsiteY6-302" fmla="*/ 1046179 h 1078190"/>
                  <a:gd name="connsiteX7-303" fmla="*/ 1511474 w 5164898"/>
                  <a:gd name="connsiteY7-304" fmla="*/ 257040 h 1078190"/>
                  <a:gd name="connsiteX8-305" fmla="*/ 308975 w 5164898"/>
                  <a:gd name="connsiteY8-306" fmla="*/ 720503 h 1078190"/>
                  <a:gd name="connsiteX0-307" fmla="*/ 308975 w 5164898"/>
                  <a:gd name="connsiteY0-308" fmla="*/ 720503 h 1078190"/>
                  <a:gd name="connsiteX1-309" fmla="*/ 0 w 5164898"/>
                  <a:gd name="connsiteY1-310" fmla="*/ 603593 h 1078190"/>
                  <a:gd name="connsiteX2-311" fmla="*/ 1436318 w 5164898"/>
                  <a:gd name="connsiteY2-312" fmla="*/ 19045 h 1078190"/>
                  <a:gd name="connsiteX3-313" fmla="*/ 3444657 w 5164898"/>
                  <a:gd name="connsiteY3-314" fmla="*/ 703801 h 1078190"/>
                  <a:gd name="connsiteX4-315" fmla="*/ 4346531 w 5164898"/>
                  <a:gd name="connsiteY4-316" fmla="*/ 808185 h 1078190"/>
                  <a:gd name="connsiteX5-317" fmla="*/ 5164898 w 5164898"/>
                  <a:gd name="connsiteY5-318" fmla="*/ 778957 h 1078190"/>
                  <a:gd name="connsiteX6-319" fmla="*/ 3820438 w 5164898"/>
                  <a:gd name="connsiteY6-320" fmla="*/ 1046179 h 1078190"/>
                  <a:gd name="connsiteX7-321" fmla="*/ 1511474 w 5164898"/>
                  <a:gd name="connsiteY7-322" fmla="*/ 257040 h 1078190"/>
                  <a:gd name="connsiteX8-323" fmla="*/ 308975 w 5164898"/>
                  <a:gd name="connsiteY8-324" fmla="*/ 720503 h 1078190"/>
                  <a:gd name="connsiteX0-325" fmla="*/ 308975 w 5164898"/>
                  <a:gd name="connsiteY0-326" fmla="*/ 720503 h 1078190"/>
                  <a:gd name="connsiteX1-327" fmla="*/ 0 w 5164898"/>
                  <a:gd name="connsiteY1-328" fmla="*/ 603593 h 1078190"/>
                  <a:gd name="connsiteX2-329" fmla="*/ 1436318 w 5164898"/>
                  <a:gd name="connsiteY2-330" fmla="*/ 19045 h 1078190"/>
                  <a:gd name="connsiteX3-331" fmla="*/ 3444657 w 5164898"/>
                  <a:gd name="connsiteY3-332" fmla="*/ 703801 h 1078190"/>
                  <a:gd name="connsiteX4-333" fmla="*/ 4346531 w 5164898"/>
                  <a:gd name="connsiteY4-334" fmla="*/ 808185 h 1078190"/>
                  <a:gd name="connsiteX5-335" fmla="*/ 5164898 w 5164898"/>
                  <a:gd name="connsiteY5-336" fmla="*/ 778957 h 1078190"/>
                  <a:gd name="connsiteX6-337" fmla="*/ 3820438 w 5164898"/>
                  <a:gd name="connsiteY6-338" fmla="*/ 1046179 h 1078190"/>
                  <a:gd name="connsiteX7-339" fmla="*/ 1511474 w 5164898"/>
                  <a:gd name="connsiteY7-340" fmla="*/ 257040 h 1078190"/>
                  <a:gd name="connsiteX8-341" fmla="*/ 308975 w 5164898"/>
                  <a:gd name="connsiteY8-342" fmla="*/ 720503 h 1078190"/>
                  <a:gd name="connsiteX0-343" fmla="*/ 308975 w 5164898"/>
                  <a:gd name="connsiteY0-344" fmla="*/ 720503 h 1078190"/>
                  <a:gd name="connsiteX1-345" fmla="*/ 0 w 5164898"/>
                  <a:gd name="connsiteY1-346" fmla="*/ 603593 h 1078190"/>
                  <a:gd name="connsiteX2-347" fmla="*/ 1436318 w 5164898"/>
                  <a:gd name="connsiteY2-348" fmla="*/ 19045 h 1078190"/>
                  <a:gd name="connsiteX3-349" fmla="*/ 3444657 w 5164898"/>
                  <a:gd name="connsiteY3-350" fmla="*/ 703801 h 1078190"/>
                  <a:gd name="connsiteX4-351" fmla="*/ 4346531 w 5164898"/>
                  <a:gd name="connsiteY4-352" fmla="*/ 808185 h 1078190"/>
                  <a:gd name="connsiteX5-353" fmla="*/ 5164898 w 5164898"/>
                  <a:gd name="connsiteY5-354" fmla="*/ 778957 h 1078190"/>
                  <a:gd name="connsiteX6-355" fmla="*/ 3820438 w 5164898"/>
                  <a:gd name="connsiteY6-356" fmla="*/ 1046179 h 1078190"/>
                  <a:gd name="connsiteX7-357" fmla="*/ 1511474 w 5164898"/>
                  <a:gd name="connsiteY7-358" fmla="*/ 257040 h 1078190"/>
                  <a:gd name="connsiteX8-359" fmla="*/ 308975 w 5164898"/>
                  <a:gd name="connsiteY8-360" fmla="*/ 720503 h 1078190"/>
                  <a:gd name="connsiteX0-361" fmla="*/ 308975 w 5164898"/>
                  <a:gd name="connsiteY0-362" fmla="*/ 720503 h 1078190"/>
                  <a:gd name="connsiteX1-363" fmla="*/ 0 w 5164898"/>
                  <a:gd name="connsiteY1-364" fmla="*/ 603593 h 1078190"/>
                  <a:gd name="connsiteX2-365" fmla="*/ 1436318 w 5164898"/>
                  <a:gd name="connsiteY2-366" fmla="*/ 19045 h 1078190"/>
                  <a:gd name="connsiteX3-367" fmla="*/ 3444657 w 5164898"/>
                  <a:gd name="connsiteY3-368" fmla="*/ 703801 h 1078190"/>
                  <a:gd name="connsiteX4-369" fmla="*/ 4346531 w 5164898"/>
                  <a:gd name="connsiteY4-370" fmla="*/ 808185 h 1078190"/>
                  <a:gd name="connsiteX5-371" fmla="*/ 5164898 w 5164898"/>
                  <a:gd name="connsiteY5-372" fmla="*/ 778957 h 1078190"/>
                  <a:gd name="connsiteX6-373" fmla="*/ 3820438 w 5164898"/>
                  <a:gd name="connsiteY6-374" fmla="*/ 1046179 h 1078190"/>
                  <a:gd name="connsiteX7-375" fmla="*/ 1511474 w 5164898"/>
                  <a:gd name="connsiteY7-376" fmla="*/ 257040 h 1078190"/>
                  <a:gd name="connsiteX8-377" fmla="*/ 308975 w 5164898"/>
                  <a:gd name="connsiteY8-378" fmla="*/ 720503 h 1078190"/>
                  <a:gd name="connsiteX0-379" fmla="*/ 308975 w 5164898"/>
                  <a:gd name="connsiteY0-380" fmla="*/ 734861 h 1092548"/>
                  <a:gd name="connsiteX1-381" fmla="*/ 0 w 5164898"/>
                  <a:gd name="connsiteY1-382" fmla="*/ 617951 h 1092548"/>
                  <a:gd name="connsiteX2-383" fmla="*/ 1436318 w 5164898"/>
                  <a:gd name="connsiteY2-384" fmla="*/ 33403 h 1092548"/>
                  <a:gd name="connsiteX3-385" fmla="*/ 3444657 w 5164898"/>
                  <a:gd name="connsiteY3-386" fmla="*/ 718159 h 1092548"/>
                  <a:gd name="connsiteX4-387" fmla="*/ 4346531 w 5164898"/>
                  <a:gd name="connsiteY4-388" fmla="*/ 822543 h 1092548"/>
                  <a:gd name="connsiteX5-389" fmla="*/ 5164898 w 5164898"/>
                  <a:gd name="connsiteY5-390" fmla="*/ 793315 h 1092548"/>
                  <a:gd name="connsiteX6-391" fmla="*/ 3820438 w 5164898"/>
                  <a:gd name="connsiteY6-392" fmla="*/ 1060537 h 1092548"/>
                  <a:gd name="connsiteX7-393" fmla="*/ 1511474 w 5164898"/>
                  <a:gd name="connsiteY7-394" fmla="*/ 271398 h 1092548"/>
                  <a:gd name="connsiteX8-395" fmla="*/ 308975 w 5164898"/>
                  <a:gd name="connsiteY8-396" fmla="*/ 734861 h 1092548"/>
                  <a:gd name="connsiteX0-397" fmla="*/ 308975 w 5164898"/>
                  <a:gd name="connsiteY0-398" fmla="*/ 701458 h 1059145"/>
                  <a:gd name="connsiteX1-399" fmla="*/ 0 w 5164898"/>
                  <a:gd name="connsiteY1-400" fmla="*/ 584548 h 1059145"/>
                  <a:gd name="connsiteX2-401" fmla="*/ 1436318 w 5164898"/>
                  <a:gd name="connsiteY2-402" fmla="*/ 0 h 1059145"/>
                  <a:gd name="connsiteX3-403" fmla="*/ 4346531 w 5164898"/>
                  <a:gd name="connsiteY3-404" fmla="*/ 789140 h 1059145"/>
                  <a:gd name="connsiteX4-405" fmla="*/ 5164898 w 5164898"/>
                  <a:gd name="connsiteY4-406" fmla="*/ 759912 h 1059145"/>
                  <a:gd name="connsiteX5-407" fmla="*/ 3820438 w 5164898"/>
                  <a:gd name="connsiteY5-408" fmla="*/ 1027134 h 1059145"/>
                  <a:gd name="connsiteX6-409" fmla="*/ 1511474 w 5164898"/>
                  <a:gd name="connsiteY6-410" fmla="*/ 237995 h 1059145"/>
                  <a:gd name="connsiteX7-411" fmla="*/ 308975 w 5164898"/>
                  <a:gd name="connsiteY7-412" fmla="*/ 701458 h 1059145"/>
                  <a:gd name="connsiteX0-413" fmla="*/ 308975 w 5164898"/>
                  <a:gd name="connsiteY0-414" fmla="*/ 772867 h 1130554"/>
                  <a:gd name="connsiteX1-415" fmla="*/ 0 w 5164898"/>
                  <a:gd name="connsiteY1-416" fmla="*/ 655957 h 1130554"/>
                  <a:gd name="connsiteX2-417" fmla="*/ 1436318 w 5164898"/>
                  <a:gd name="connsiteY2-418" fmla="*/ 71409 h 1130554"/>
                  <a:gd name="connsiteX3-419" fmla="*/ 4346531 w 5164898"/>
                  <a:gd name="connsiteY3-420" fmla="*/ 860549 h 1130554"/>
                  <a:gd name="connsiteX4-421" fmla="*/ 5164898 w 5164898"/>
                  <a:gd name="connsiteY4-422" fmla="*/ 831321 h 1130554"/>
                  <a:gd name="connsiteX5-423" fmla="*/ 3820438 w 5164898"/>
                  <a:gd name="connsiteY5-424" fmla="*/ 1098543 h 1130554"/>
                  <a:gd name="connsiteX6-425" fmla="*/ 1511474 w 5164898"/>
                  <a:gd name="connsiteY6-426" fmla="*/ 309404 h 1130554"/>
                  <a:gd name="connsiteX7-427" fmla="*/ 308975 w 5164898"/>
                  <a:gd name="connsiteY7-428" fmla="*/ 772867 h 1130554"/>
                  <a:gd name="connsiteX0-429" fmla="*/ 308975 w 5164898"/>
                  <a:gd name="connsiteY0-430" fmla="*/ 772867 h 1130554"/>
                  <a:gd name="connsiteX1-431" fmla="*/ 0 w 5164898"/>
                  <a:gd name="connsiteY1-432" fmla="*/ 655957 h 1130554"/>
                  <a:gd name="connsiteX2-433" fmla="*/ 1436318 w 5164898"/>
                  <a:gd name="connsiteY2-434" fmla="*/ 71409 h 1130554"/>
                  <a:gd name="connsiteX3-435" fmla="*/ 4346531 w 5164898"/>
                  <a:gd name="connsiteY3-436" fmla="*/ 860549 h 1130554"/>
                  <a:gd name="connsiteX4-437" fmla="*/ 5164898 w 5164898"/>
                  <a:gd name="connsiteY4-438" fmla="*/ 831321 h 1130554"/>
                  <a:gd name="connsiteX5-439" fmla="*/ 3820438 w 5164898"/>
                  <a:gd name="connsiteY5-440" fmla="*/ 1098543 h 1130554"/>
                  <a:gd name="connsiteX6-441" fmla="*/ 1511474 w 5164898"/>
                  <a:gd name="connsiteY6-442" fmla="*/ 309404 h 1130554"/>
                  <a:gd name="connsiteX7-443" fmla="*/ 308975 w 5164898"/>
                  <a:gd name="connsiteY7-444" fmla="*/ 772867 h 1130554"/>
                  <a:gd name="connsiteX0-445" fmla="*/ 308975 w 5164898"/>
                  <a:gd name="connsiteY0-446" fmla="*/ 772867 h 1138343"/>
                  <a:gd name="connsiteX1-447" fmla="*/ 0 w 5164898"/>
                  <a:gd name="connsiteY1-448" fmla="*/ 655957 h 1138343"/>
                  <a:gd name="connsiteX2-449" fmla="*/ 1436318 w 5164898"/>
                  <a:gd name="connsiteY2-450" fmla="*/ 71409 h 1138343"/>
                  <a:gd name="connsiteX3-451" fmla="*/ 4346531 w 5164898"/>
                  <a:gd name="connsiteY3-452" fmla="*/ 860549 h 1138343"/>
                  <a:gd name="connsiteX4-453" fmla="*/ 5164898 w 5164898"/>
                  <a:gd name="connsiteY4-454" fmla="*/ 831321 h 1138343"/>
                  <a:gd name="connsiteX5-455" fmla="*/ 3820438 w 5164898"/>
                  <a:gd name="connsiteY5-456" fmla="*/ 1098543 h 1138343"/>
                  <a:gd name="connsiteX6-457" fmla="*/ 1511474 w 5164898"/>
                  <a:gd name="connsiteY6-458" fmla="*/ 309404 h 1138343"/>
                  <a:gd name="connsiteX7-459" fmla="*/ 308975 w 5164898"/>
                  <a:gd name="connsiteY7-460" fmla="*/ 772867 h 1138343"/>
                  <a:gd name="connsiteX0-461" fmla="*/ 308975 w 5164898"/>
                  <a:gd name="connsiteY0-462" fmla="*/ 825621 h 1191097"/>
                  <a:gd name="connsiteX1-463" fmla="*/ 0 w 5164898"/>
                  <a:gd name="connsiteY1-464" fmla="*/ 708711 h 1191097"/>
                  <a:gd name="connsiteX2-465" fmla="*/ 1436318 w 5164898"/>
                  <a:gd name="connsiteY2-466" fmla="*/ 124163 h 1191097"/>
                  <a:gd name="connsiteX3-467" fmla="*/ 4346531 w 5164898"/>
                  <a:gd name="connsiteY3-468" fmla="*/ 913303 h 1191097"/>
                  <a:gd name="connsiteX4-469" fmla="*/ 5164898 w 5164898"/>
                  <a:gd name="connsiteY4-470" fmla="*/ 884075 h 1191097"/>
                  <a:gd name="connsiteX5-471" fmla="*/ 3820438 w 5164898"/>
                  <a:gd name="connsiteY5-472" fmla="*/ 1151297 h 1191097"/>
                  <a:gd name="connsiteX6-473" fmla="*/ 1511474 w 5164898"/>
                  <a:gd name="connsiteY6-474" fmla="*/ 362158 h 1191097"/>
                  <a:gd name="connsiteX7-475" fmla="*/ 308975 w 5164898"/>
                  <a:gd name="connsiteY7-476" fmla="*/ 825621 h 1191097"/>
                  <a:gd name="connsiteX0-477" fmla="*/ 308975 w 5164898"/>
                  <a:gd name="connsiteY0-478" fmla="*/ 825621 h 1183308"/>
                  <a:gd name="connsiteX1-479" fmla="*/ 0 w 5164898"/>
                  <a:gd name="connsiteY1-480" fmla="*/ 708711 h 1183308"/>
                  <a:gd name="connsiteX2-481" fmla="*/ 1436318 w 5164898"/>
                  <a:gd name="connsiteY2-482" fmla="*/ 124163 h 1183308"/>
                  <a:gd name="connsiteX3-483" fmla="*/ 4346531 w 5164898"/>
                  <a:gd name="connsiteY3-484" fmla="*/ 913303 h 1183308"/>
                  <a:gd name="connsiteX4-485" fmla="*/ 5164898 w 5164898"/>
                  <a:gd name="connsiteY4-486" fmla="*/ 884075 h 1183308"/>
                  <a:gd name="connsiteX5-487" fmla="*/ 3820438 w 5164898"/>
                  <a:gd name="connsiteY5-488" fmla="*/ 1151297 h 1183308"/>
                  <a:gd name="connsiteX6-489" fmla="*/ 1511474 w 5164898"/>
                  <a:gd name="connsiteY6-490" fmla="*/ 362158 h 1183308"/>
                  <a:gd name="connsiteX7-491" fmla="*/ 308975 w 5164898"/>
                  <a:gd name="connsiteY7-492" fmla="*/ 825621 h 1183308"/>
                  <a:gd name="connsiteX0-493" fmla="*/ 308975 w 5164898"/>
                  <a:gd name="connsiteY0-494" fmla="*/ 825621 h 1183308"/>
                  <a:gd name="connsiteX1-495" fmla="*/ 0 w 5164898"/>
                  <a:gd name="connsiteY1-496" fmla="*/ 708711 h 1183308"/>
                  <a:gd name="connsiteX2-497" fmla="*/ 1436318 w 5164898"/>
                  <a:gd name="connsiteY2-498" fmla="*/ 124163 h 1183308"/>
                  <a:gd name="connsiteX3-499" fmla="*/ 4346531 w 5164898"/>
                  <a:gd name="connsiteY3-500" fmla="*/ 913303 h 1183308"/>
                  <a:gd name="connsiteX4-501" fmla="*/ 5164898 w 5164898"/>
                  <a:gd name="connsiteY4-502" fmla="*/ 884075 h 1183308"/>
                  <a:gd name="connsiteX5-503" fmla="*/ 3820438 w 5164898"/>
                  <a:gd name="connsiteY5-504" fmla="*/ 1151297 h 1183308"/>
                  <a:gd name="connsiteX6-505" fmla="*/ 1511474 w 5164898"/>
                  <a:gd name="connsiteY6-506" fmla="*/ 362158 h 1183308"/>
                  <a:gd name="connsiteX7-507" fmla="*/ 308975 w 5164898"/>
                  <a:gd name="connsiteY7-508" fmla="*/ 825621 h 1183308"/>
                  <a:gd name="connsiteX0-509" fmla="*/ 308975 w 5164898"/>
                  <a:gd name="connsiteY0-510" fmla="*/ 746490 h 1104177"/>
                  <a:gd name="connsiteX1-511" fmla="*/ 0 w 5164898"/>
                  <a:gd name="connsiteY1-512" fmla="*/ 629580 h 1104177"/>
                  <a:gd name="connsiteX2-513" fmla="*/ 1436318 w 5164898"/>
                  <a:gd name="connsiteY2-514" fmla="*/ 45032 h 1104177"/>
                  <a:gd name="connsiteX3-515" fmla="*/ 4346531 w 5164898"/>
                  <a:gd name="connsiteY3-516" fmla="*/ 834172 h 1104177"/>
                  <a:gd name="connsiteX4-517" fmla="*/ 5164898 w 5164898"/>
                  <a:gd name="connsiteY4-518" fmla="*/ 804944 h 1104177"/>
                  <a:gd name="connsiteX5-519" fmla="*/ 3820438 w 5164898"/>
                  <a:gd name="connsiteY5-520" fmla="*/ 1072166 h 1104177"/>
                  <a:gd name="connsiteX6-521" fmla="*/ 1511474 w 5164898"/>
                  <a:gd name="connsiteY6-522" fmla="*/ 283027 h 1104177"/>
                  <a:gd name="connsiteX7-523" fmla="*/ 308975 w 5164898"/>
                  <a:gd name="connsiteY7-524" fmla="*/ 746490 h 1104177"/>
                  <a:gd name="connsiteX0-525" fmla="*/ 308975 w 5164898"/>
                  <a:gd name="connsiteY0-526" fmla="*/ 746490 h 1104177"/>
                  <a:gd name="connsiteX1-527" fmla="*/ 0 w 5164898"/>
                  <a:gd name="connsiteY1-528" fmla="*/ 629580 h 1104177"/>
                  <a:gd name="connsiteX2-529" fmla="*/ 1436318 w 5164898"/>
                  <a:gd name="connsiteY2-530" fmla="*/ 45032 h 1104177"/>
                  <a:gd name="connsiteX3-531" fmla="*/ 4332244 w 5164898"/>
                  <a:gd name="connsiteY3-532" fmla="*/ 841316 h 1104177"/>
                  <a:gd name="connsiteX4-533" fmla="*/ 5164898 w 5164898"/>
                  <a:gd name="connsiteY4-534" fmla="*/ 804944 h 1104177"/>
                  <a:gd name="connsiteX5-535" fmla="*/ 3820438 w 5164898"/>
                  <a:gd name="connsiteY5-536" fmla="*/ 1072166 h 1104177"/>
                  <a:gd name="connsiteX6-537" fmla="*/ 1511474 w 5164898"/>
                  <a:gd name="connsiteY6-538" fmla="*/ 283027 h 1104177"/>
                  <a:gd name="connsiteX7-539" fmla="*/ 308975 w 5164898"/>
                  <a:gd name="connsiteY7-540" fmla="*/ 746490 h 110417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5164898" h="1104177">
                    <a:moveTo>
                      <a:pt x="308975" y="746490"/>
                    </a:moveTo>
                    <a:lnTo>
                      <a:pt x="0" y="629580"/>
                    </a:lnTo>
                    <a:cubicBezTo>
                      <a:pt x="449546" y="367925"/>
                      <a:pt x="995122" y="71036"/>
                      <a:pt x="1436318" y="45032"/>
                    </a:cubicBezTo>
                    <a:cubicBezTo>
                      <a:pt x="2908087" y="0"/>
                      <a:pt x="3262406" y="1083940"/>
                      <a:pt x="4332244" y="841316"/>
                    </a:cubicBezTo>
                    <a:cubicBezTo>
                      <a:pt x="4645556" y="961009"/>
                      <a:pt x="4921337" y="831388"/>
                      <a:pt x="5164898" y="804944"/>
                    </a:cubicBezTo>
                    <a:cubicBezTo>
                      <a:pt x="4586891" y="1086084"/>
                      <a:pt x="4046065" y="1104177"/>
                      <a:pt x="3820438" y="1072166"/>
                    </a:cubicBezTo>
                    <a:cubicBezTo>
                      <a:pt x="2884876" y="914895"/>
                      <a:pt x="2519123" y="240108"/>
                      <a:pt x="1511474" y="283027"/>
                    </a:cubicBezTo>
                    <a:cubicBezTo>
                      <a:pt x="839244" y="341482"/>
                      <a:pt x="627288" y="583652"/>
                      <a:pt x="308975" y="746490"/>
                    </a:cubicBezTo>
                    <a:close/>
                  </a:path>
                </a:pathLst>
              </a:custGeom>
              <a:solidFill>
                <a:srgbClr val="FE733C"/>
              </a:solidFill>
              <a:ln w="9525" cap="flat" cmpd="sng" algn="ctr">
                <a:noFill/>
                <a:prstDash val="solid"/>
              </a:ln>
              <a:effectLst/>
              <a:extLst>
                <a:ext uri="{91240B29-F687-4F45-9708-019B960494DF}">
                  <a14:hiddenLine xmlns:a14="http://schemas.microsoft.com/office/drawing/2010/main" w="9525">
                    <a:solidFill>
                      <a:srgbClr val="79A2B3"/>
                    </a:solidFill>
                    <a:prstDash val="solid"/>
                  </a14:hiddenLine>
                </a:ext>
              </a:ex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000000"/>
                  </a:solidFill>
                  <a:effectLst/>
                  <a:uLnTx/>
                  <a:uFillTx/>
                  <a:latin typeface="Arial" panose="020B0604020202020204"/>
                  <a:ea typeface="华文楷体" panose="02010600040101010101" charset="-122"/>
                  <a:cs typeface="Arial" panose="020B0604020202020204" pitchFamily="34" charset="0"/>
                </a:endParaRPr>
              </a:p>
            </p:txBody>
          </p:sp>
          <p:sp>
            <p:nvSpPr>
              <p:cNvPr id="20" name="Freeform 196"/>
              <p:cNvSpPr/>
              <p:nvPr/>
            </p:nvSpPr>
            <p:spPr>
              <a:xfrm>
                <a:off x="5853171" y="2616792"/>
                <a:ext cx="2923145" cy="1017392"/>
              </a:xfrm>
              <a:custGeom>
                <a:avLst/>
                <a:gdLst>
                  <a:gd name="connsiteX0" fmla="*/ 288099 w 2329841"/>
                  <a:gd name="connsiteY0" fmla="*/ 154488 h 588723"/>
                  <a:gd name="connsiteX1" fmla="*/ 0 w 2329841"/>
                  <a:gd name="connsiteY1" fmla="*/ 0 h 588723"/>
                  <a:gd name="connsiteX2" fmla="*/ 2329841 w 2329841"/>
                  <a:gd name="connsiteY2" fmla="*/ 588723 h 588723"/>
                  <a:gd name="connsiteX3" fmla="*/ 1749469 w 2329841"/>
                  <a:gd name="connsiteY3" fmla="*/ 584548 h 588723"/>
                  <a:gd name="connsiteX4" fmla="*/ 780789 w 2329841"/>
                  <a:gd name="connsiteY4" fmla="*/ 150312 h 588723"/>
                  <a:gd name="connsiteX5" fmla="*/ 288099 w 2329841"/>
                  <a:gd name="connsiteY5" fmla="*/ 154488 h 588723"/>
                  <a:gd name="connsiteX0-1" fmla="*/ 288099 w 2329841"/>
                  <a:gd name="connsiteY0-2" fmla="*/ 488516 h 922751"/>
                  <a:gd name="connsiteX1-3" fmla="*/ 0 w 2329841"/>
                  <a:gd name="connsiteY1-4" fmla="*/ 334028 h 922751"/>
                  <a:gd name="connsiteX2-5" fmla="*/ 2329841 w 2329841"/>
                  <a:gd name="connsiteY2-6" fmla="*/ 922751 h 922751"/>
                  <a:gd name="connsiteX3-7" fmla="*/ 1749469 w 2329841"/>
                  <a:gd name="connsiteY3-8" fmla="*/ 918576 h 922751"/>
                  <a:gd name="connsiteX4-9" fmla="*/ 780789 w 2329841"/>
                  <a:gd name="connsiteY4-10" fmla="*/ 484340 h 922751"/>
                  <a:gd name="connsiteX5-11" fmla="*/ 288099 w 2329841"/>
                  <a:gd name="connsiteY5-12" fmla="*/ 488516 h 922751"/>
                  <a:gd name="connsiteX0-13" fmla="*/ 288099 w 2329841"/>
                  <a:gd name="connsiteY0-14" fmla="*/ 488516 h 922751"/>
                  <a:gd name="connsiteX1-15" fmla="*/ 0 w 2329841"/>
                  <a:gd name="connsiteY1-16" fmla="*/ 334028 h 922751"/>
                  <a:gd name="connsiteX2-17" fmla="*/ 2329841 w 2329841"/>
                  <a:gd name="connsiteY2-18" fmla="*/ 922751 h 922751"/>
                  <a:gd name="connsiteX3-19" fmla="*/ 1749469 w 2329841"/>
                  <a:gd name="connsiteY3-20" fmla="*/ 918576 h 922751"/>
                  <a:gd name="connsiteX4-21" fmla="*/ 780789 w 2329841"/>
                  <a:gd name="connsiteY4-22" fmla="*/ 484340 h 922751"/>
                  <a:gd name="connsiteX5-23" fmla="*/ 288099 w 2329841"/>
                  <a:gd name="connsiteY5-24" fmla="*/ 488516 h 922751"/>
                  <a:gd name="connsiteX0-25" fmla="*/ 288099 w 2329841"/>
                  <a:gd name="connsiteY0-26" fmla="*/ 517743 h 951978"/>
                  <a:gd name="connsiteX1-27" fmla="*/ 0 w 2329841"/>
                  <a:gd name="connsiteY1-28" fmla="*/ 363255 h 951978"/>
                  <a:gd name="connsiteX2-29" fmla="*/ 2329841 w 2329841"/>
                  <a:gd name="connsiteY2-30" fmla="*/ 951978 h 951978"/>
                  <a:gd name="connsiteX3-31" fmla="*/ 1749469 w 2329841"/>
                  <a:gd name="connsiteY3-32" fmla="*/ 947803 h 951978"/>
                  <a:gd name="connsiteX4-33" fmla="*/ 780789 w 2329841"/>
                  <a:gd name="connsiteY4-34" fmla="*/ 513567 h 951978"/>
                  <a:gd name="connsiteX5-35" fmla="*/ 288099 w 2329841"/>
                  <a:gd name="connsiteY5-36" fmla="*/ 517743 h 951978"/>
                  <a:gd name="connsiteX0-37" fmla="*/ 288099 w 2329841"/>
                  <a:gd name="connsiteY0-38" fmla="*/ 517743 h 1017392"/>
                  <a:gd name="connsiteX1-39" fmla="*/ 0 w 2329841"/>
                  <a:gd name="connsiteY1-40" fmla="*/ 363255 h 1017392"/>
                  <a:gd name="connsiteX2-41" fmla="*/ 2329841 w 2329841"/>
                  <a:gd name="connsiteY2-42" fmla="*/ 951978 h 1017392"/>
                  <a:gd name="connsiteX3-43" fmla="*/ 1749469 w 2329841"/>
                  <a:gd name="connsiteY3-44" fmla="*/ 947803 h 1017392"/>
                  <a:gd name="connsiteX4-45" fmla="*/ 780789 w 2329841"/>
                  <a:gd name="connsiteY4-46" fmla="*/ 513567 h 1017392"/>
                  <a:gd name="connsiteX5-47" fmla="*/ 288099 w 2329841"/>
                  <a:gd name="connsiteY5-48" fmla="*/ 517743 h 1017392"/>
                  <a:gd name="connsiteX0-49" fmla="*/ 288099 w 2329841"/>
                  <a:gd name="connsiteY0-50" fmla="*/ 517743 h 1017392"/>
                  <a:gd name="connsiteX1-51" fmla="*/ 0 w 2329841"/>
                  <a:gd name="connsiteY1-52" fmla="*/ 363255 h 1017392"/>
                  <a:gd name="connsiteX2-53" fmla="*/ 2329841 w 2329841"/>
                  <a:gd name="connsiteY2-54" fmla="*/ 951978 h 1017392"/>
                  <a:gd name="connsiteX3-55" fmla="*/ 1749469 w 2329841"/>
                  <a:gd name="connsiteY3-56" fmla="*/ 947803 h 1017392"/>
                  <a:gd name="connsiteX4-57" fmla="*/ 780789 w 2329841"/>
                  <a:gd name="connsiteY4-58" fmla="*/ 513567 h 1017392"/>
                  <a:gd name="connsiteX5-59" fmla="*/ 288099 w 2329841"/>
                  <a:gd name="connsiteY5-60" fmla="*/ 517743 h 1017392"/>
                  <a:gd name="connsiteX0-61" fmla="*/ 288099 w 2329841"/>
                  <a:gd name="connsiteY0-62" fmla="*/ 517743 h 1017392"/>
                  <a:gd name="connsiteX1-63" fmla="*/ 0 w 2329841"/>
                  <a:gd name="connsiteY1-64" fmla="*/ 363255 h 1017392"/>
                  <a:gd name="connsiteX2-65" fmla="*/ 2329841 w 2329841"/>
                  <a:gd name="connsiteY2-66" fmla="*/ 951978 h 1017392"/>
                  <a:gd name="connsiteX3-67" fmla="*/ 1749469 w 2329841"/>
                  <a:gd name="connsiteY3-68" fmla="*/ 947803 h 1017392"/>
                  <a:gd name="connsiteX4-69" fmla="*/ 780789 w 2329841"/>
                  <a:gd name="connsiteY4-70" fmla="*/ 513567 h 1017392"/>
                  <a:gd name="connsiteX5-71" fmla="*/ 288099 w 2329841"/>
                  <a:gd name="connsiteY5-72" fmla="*/ 517743 h 1017392"/>
                  <a:gd name="connsiteX0-73" fmla="*/ 288099 w 2329841"/>
                  <a:gd name="connsiteY0-74" fmla="*/ 517743 h 1017392"/>
                  <a:gd name="connsiteX1-75" fmla="*/ 0 w 2329841"/>
                  <a:gd name="connsiteY1-76" fmla="*/ 363255 h 1017392"/>
                  <a:gd name="connsiteX2-77" fmla="*/ 2329841 w 2329841"/>
                  <a:gd name="connsiteY2-78" fmla="*/ 951978 h 1017392"/>
                  <a:gd name="connsiteX3-79" fmla="*/ 1749469 w 2329841"/>
                  <a:gd name="connsiteY3-80" fmla="*/ 947803 h 1017392"/>
                  <a:gd name="connsiteX4-81" fmla="*/ 780789 w 2329841"/>
                  <a:gd name="connsiteY4-82" fmla="*/ 513567 h 1017392"/>
                  <a:gd name="connsiteX5-83" fmla="*/ 288099 w 2329841"/>
                  <a:gd name="connsiteY5-84" fmla="*/ 517743 h 1017392"/>
                  <a:gd name="connsiteX0-85" fmla="*/ 288099 w 2329841"/>
                  <a:gd name="connsiteY0-86" fmla="*/ 517743 h 1017392"/>
                  <a:gd name="connsiteX1-87" fmla="*/ 0 w 2329841"/>
                  <a:gd name="connsiteY1-88" fmla="*/ 363255 h 1017392"/>
                  <a:gd name="connsiteX2-89" fmla="*/ 2329841 w 2329841"/>
                  <a:gd name="connsiteY2-90" fmla="*/ 951978 h 1017392"/>
                  <a:gd name="connsiteX3-91" fmla="*/ 1749469 w 2329841"/>
                  <a:gd name="connsiteY3-92" fmla="*/ 947803 h 1017392"/>
                  <a:gd name="connsiteX4-93" fmla="*/ 780789 w 2329841"/>
                  <a:gd name="connsiteY4-94" fmla="*/ 513567 h 1017392"/>
                  <a:gd name="connsiteX5-95" fmla="*/ 288099 w 2329841"/>
                  <a:gd name="connsiteY5-96" fmla="*/ 517743 h 1017392"/>
                  <a:gd name="connsiteX0-97" fmla="*/ 288099 w 2329841"/>
                  <a:gd name="connsiteY0-98" fmla="*/ 517743 h 1017392"/>
                  <a:gd name="connsiteX1-99" fmla="*/ 0 w 2329841"/>
                  <a:gd name="connsiteY1-100" fmla="*/ 363255 h 1017392"/>
                  <a:gd name="connsiteX2-101" fmla="*/ 2329841 w 2329841"/>
                  <a:gd name="connsiteY2-102" fmla="*/ 951978 h 1017392"/>
                  <a:gd name="connsiteX3-103" fmla="*/ 1749469 w 2329841"/>
                  <a:gd name="connsiteY3-104" fmla="*/ 947803 h 1017392"/>
                  <a:gd name="connsiteX4-105" fmla="*/ 780789 w 2329841"/>
                  <a:gd name="connsiteY4-106" fmla="*/ 513567 h 1017392"/>
                  <a:gd name="connsiteX5-107" fmla="*/ 288099 w 2329841"/>
                  <a:gd name="connsiteY5-108" fmla="*/ 517743 h 1017392"/>
                  <a:gd name="connsiteX0-109" fmla="*/ 288099 w 2329841"/>
                  <a:gd name="connsiteY0-110" fmla="*/ 517743 h 1017392"/>
                  <a:gd name="connsiteX1-111" fmla="*/ 0 w 2329841"/>
                  <a:gd name="connsiteY1-112" fmla="*/ 363255 h 1017392"/>
                  <a:gd name="connsiteX2-113" fmla="*/ 2329841 w 2329841"/>
                  <a:gd name="connsiteY2-114" fmla="*/ 951978 h 1017392"/>
                  <a:gd name="connsiteX3-115" fmla="*/ 1749469 w 2329841"/>
                  <a:gd name="connsiteY3-116" fmla="*/ 947803 h 1017392"/>
                  <a:gd name="connsiteX4-117" fmla="*/ 780789 w 2329841"/>
                  <a:gd name="connsiteY4-118" fmla="*/ 513567 h 1017392"/>
                  <a:gd name="connsiteX5-119" fmla="*/ 288099 w 2329841"/>
                  <a:gd name="connsiteY5-120" fmla="*/ 517743 h 1017392"/>
                  <a:gd name="connsiteX0-121" fmla="*/ 288099 w 2329841"/>
                  <a:gd name="connsiteY0-122" fmla="*/ 517743 h 1017392"/>
                  <a:gd name="connsiteX1-123" fmla="*/ 0 w 2329841"/>
                  <a:gd name="connsiteY1-124" fmla="*/ 363255 h 1017392"/>
                  <a:gd name="connsiteX2-125" fmla="*/ 2329841 w 2329841"/>
                  <a:gd name="connsiteY2-126" fmla="*/ 951978 h 1017392"/>
                  <a:gd name="connsiteX3-127" fmla="*/ 1749469 w 2329841"/>
                  <a:gd name="connsiteY3-128" fmla="*/ 947803 h 1017392"/>
                  <a:gd name="connsiteX4-129" fmla="*/ 780789 w 2329841"/>
                  <a:gd name="connsiteY4-130" fmla="*/ 513567 h 1017392"/>
                  <a:gd name="connsiteX5-131" fmla="*/ 288099 w 2329841"/>
                  <a:gd name="connsiteY5-132" fmla="*/ 517743 h 1017392"/>
                  <a:gd name="connsiteX0-133" fmla="*/ 288099 w 2329841"/>
                  <a:gd name="connsiteY0-134" fmla="*/ 517743 h 1017392"/>
                  <a:gd name="connsiteX1-135" fmla="*/ 0 w 2329841"/>
                  <a:gd name="connsiteY1-136" fmla="*/ 363255 h 1017392"/>
                  <a:gd name="connsiteX2-137" fmla="*/ 2329841 w 2329841"/>
                  <a:gd name="connsiteY2-138" fmla="*/ 951978 h 1017392"/>
                  <a:gd name="connsiteX3-139" fmla="*/ 1749469 w 2329841"/>
                  <a:gd name="connsiteY3-140" fmla="*/ 947803 h 1017392"/>
                  <a:gd name="connsiteX4-141" fmla="*/ 780789 w 2329841"/>
                  <a:gd name="connsiteY4-142" fmla="*/ 513567 h 1017392"/>
                  <a:gd name="connsiteX5-143" fmla="*/ 288099 w 2329841"/>
                  <a:gd name="connsiteY5-144" fmla="*/ 517743 h 1017392"/>
                  <a:gd name="connsiteX0-145" fmla="*/ 288099 w 2329841"/>
                  <a:gd name="connsiteY0-146" fmla="*/ 517743 h 1017393"/>
                  <a:gd name="connsiteX1-147" fmla="*/ 0 w 2329841"/>
                  <a:gd name="connsiteY1-148" fmla="*/ 363255 h 1017393"/>
                  <a:gd name="connsiteX2-149" fmla="*/ 2329841 w 2329841"/>
                  <a:gd name="connsiteY2-150" fmla="*/ 951978 h 1017393"/>
                  <a:gd name="connsiteX3-151" fmla="*/ 1766171 w 2329841"/>
                  <a:gd name="connsiteY3-152" fmla="*/ 960329 h 1017393"/>
                  <a:gd name="connsiteX4-153" fmla="*/ 780789 w 2329841"/>
                  <a:gd name="connsiteY4-154" fmla="*/ 513567 h 1017393"/>
                  <a:gd name="connsiteX5-155" fmla="*/ 288099 w 2329841"/>
                  <a:gd name="connsiteY5-156" fmla="*/ 517743 h 1017393"/>
                  <a:gd name="connsiteX0-157" fmla="*/ 288099 w 2329841"/>
                  <a:gd name="connsiteY0-158" fmla="*/ 517743 h 1017392"/>
                  <a:gd name="connsiteX1-159" fmla="*/ 0 w 2329841"/>
                  <a:gd name="connsiteY1-160" fmla="*/ 363255 h 1017392"/>
                  <a:gd name="connsiteX2-161" fmla="*/ 2329841 w 2329841"/>
                  <a:gd name="connsiteY2-162" fmla="*/ 951978 h 1017392"/>
                  <a:gd name="connsiteX3-163" fmla="*/ 1757821 w 2329841"/>
                  <a:gd name="connsiteY3-164" fmla="*/ 906049 h 1017392"/>
                  <a:gd name="connsiteX4-165" fmla="*/ 780789 w 2329841"/>
                  <a:gd name="connsiteY4-166" fmla="*/ 513567 h 1017392"/>
                  <a:gd name="connsiteX5-167" fmla="*/ 288099 w 2329841"/>
                  <a:gd name="connsiteY5-168" fmla="*/ 517743 h 1017392"/>
                  <a:gd name="connsiteX0-169" fmla="*/ 288099 w 2329841"/>
                  <a:gd name="connsiteY0-170" fmla="*/ 517743 h 1017392"/>
                  <a:gd name="connsiteX1-171" fmla="*/ 0 w 2329841"/>
                  <a:gd name="connsiteY1-172" fmla="*/ 363255 h 1017392"/>
                  <a:gd name="connsiteX2-173" fmla="*/ 2329841 w 2329841"/>
                  <a:gd name="connsiteY2-174" fmla="*/ 951978 h 1017392"/>
                  <a:gd name="connsiteX3-175" fmla="*/ 1724418 w 2329841"/>
                  <a:gd name="connsiteY3-176" fmla="*/ 935277 h 1017392"/>
                  <a:gd name="connsiteX4-177" fmla="*/ 780789 w 2329841"/>
                  <a:gd name="connsiteY4-178" fmla="*/ 513567 h 1017392"/>
                  <a:gd name="connsiteX5-179" fmla="*/ 288099 w 2329841"/>
                  <a:gd name="connsiteY5-180" fmla="*/ 517743 h 1017392"/>
                  <a:gd name="connsiteX0-181" fmla="*/ 288099 w 2329841"/>
                  <a:gd name="connsiteY0-182" fmla="*/ 517743 h 1017392"/>
                  <a:gd name="connsiteX1-183" fmla="*/ 0 w 2329841"/>
                  <a:gd name="connsiteY1-184" fmla="*/ 363255 h 1017392"/>
                  <a:gd name="connsiteX2-185" fmla="*/ 2329841 w 2329841"/>
                  <a:gd name="connsiteY2-186" fmla="*/ 951978 h 1017392"/>
                  <a:gd name="connsiteX3-187" fmla="*/ 1724418 w 2329841"/>
                  <a:gd name="connsiteY3-188" fmla="*/ 935277 h 1017392"/>
                  <a:gd name="connsiteX4-189" fmla="*/ 780789 w 2329841"/>
                  <a:gd name="connsiteY4-190" fmla="*/ 513567 h 1017392"/>
                  <a:gd name="connsiteX5-191" fmla="*/ 288099 w 2329841"/>
                  <a:gd name="connsiteY5-192" fmla="*/ 517743 h 1017392"/>
                  <a:gd name="connsiteX0-193" fmla="*/ 288099 w 2329841"/>
                  <a:gd name="connsiteY0-194" fmla="*/ 517743 h 1017392"/>
                  <a:gd name="connsiteX1-195" fmla="*/ 0 w 2329841"/>
                  <a:gd name="connsiteY1-196" fmla="*/ 363255 h 1017392"/>
                  <a:gd name="connsiteX2-197" fmla="*/ 2329841 w 2329841"/>
                  <a:gd name="connsiteY2-198" fmla="*/ 951978 h 1017392"/>
                  <a:gd name="connsiteX3-199" fmla="*/ 1724418 w 2329841"/>
                  <a:gd name="connsiteY3-200" fmla="*/ 935277 h 1017392"/>
                  <a:gd name="connsiteX4-201" fmla="*/ 780789 w 2329841"/>
                  <a:gd name="connsiteY4-202" fmla="*/ 513567 h 1017392"/>
                  <a:gd name="connsiteX5-203" fmla="*/ 288099 w 2329841"/>
                  <a:gd name="connsiteY5-204" fmla="*/ 517743 h 1017392"/>
                  <a:gd name="connsiteX0-205" fmla="*/ 288099 w 2329841"/>
                  <a:gd name="connsiteY0-206" fmla="*/ 517743 h 1017392"/>
                  <a:gd name="connsiteX1-207" fmla="*/ 0 w 2329841"/>
                  <a:gd name="connsiteY1-208" fmla="*/ 363255 h 1017392"/>
                  <a:gd name="connsiteX2-209" fmla="*/ 2329841 w 2329841"/>
                  <a:gd name="connsiteY2-210" fmla="*/ 951978 h 1017392"/>
                  <a:gd name="connsiteX3-211" fmla="*/ 1724418 w 2329841"/>
                  <a:gd name="connsiteY3-212" fmla="*/ 935277 h 1017392"/>
                  <a:gd name="connsiteX4-213" fmla="*/ 780789 w 2329841"/>
                  <a:gd name="connsiteY4-214" fmla="*/ 513567 h 1017392"/>
                  <a:gd name="connsiteX5-215" fmla="*/ 288099 w 2329841"/>
                  <a:gd name="connsiteY5-216" fmla="*/ 517743 h 1017392"/>
                  <a:gd name="connsiteX0-217" fmla="*/ 288099 w 2329841"/>
                  <a:gd name="connsiteY0-218" fmla="*/ 517743 h 1017392"/>
                  <a:gd name="connsiteX1-219" fmla="*/ 0 w 2329841"/>
                  <a:gd name="connsiteY1-220" fmla="*/ 363255 h 1017392"/>
                  <a:gd name="connsiteX2-221" fmla="*/ 2329841 w 2329841"/>
                  <a:gd name="connsiteY2-222" fmla="*/ 951978 h 1017392"/>
                  <a:gd name="connsiteX3-223" fmla="*/ 1724418 w 2329841"/>
                  <a:gd name="connsiteY3-224" fmla="*/ 935277 h 1017392"/>
                  <a:gd name="connsiteX4-225" fmla="*/ 780789 w 2329841"/>
                  <a:gd name="connsiteY4-226" fmla="*/ 513567 h 1017392"/>
                  <a:gd name="connsiteX5-227" fmla="*/ 288099 w 2329841"/>
                  <a:gd name="connsiteY5-228" fmla="*/ 517743 h 1017392"/>
                  <a:gd name="connsiteX0-229" fmla="*/ 300005 w 2329841"/>
                  <a:gd name="connsiteY0-230" fmla="*/ 510599 h 1017392"/>
                  <a:gd name="connsiteX1-231" fmla="*/ 0 w 2329841"/>
                  <a:gd name="connsiteY1-232" fmla="*/ 363255 h 1017392"/>
                  <a:gd name="connsiteX2-233" fmla="*/ 2329841 w 2329841"/>
                  <a:gd name="connsiteY2-234" fmla="*/ 951978 h 1017392"/>
                  <a:gd name="connsiteX3-235" fmla="*/ 1724418 w 2329841"/>
                  <a:gd name="connsiteY3-236" fmla="*/ 935277 h 1017392"/>
                  <a:gd name="connsiteX4-237" fmla="*/ 780789 w 2329841"/>
                  <a:gd name="connsiteY4-238" fmla="*/ 513567 h 1017392"/>
                  <a:gd name="connsiteX5-239" fmla="*/ 300005 w 2329841"/>
                  <a:gd name="connsiteY5-240" fmla="*/ 510599 h 1017392"/>
                  <a:gd name="connsiteX0-241" fmla="*/ 304767 w 2329841"/>
                  <a:gd name="connsiteY0-242" fmla="*/ 503455 h 1017392"/>
                  <a:gd name="connsiteX1-243" fmla="*/ 0 w 2329841"/>
                  <a:gd name="connsiteY1-244" fmla="*/ 363255 h 1017392"/>
                  <a:gd name="connsiteX2-245" fmla="*/ 2329841 w 2329841"/>
                  <a:gd name="connsiteY2-246" fmla="*/ 951978 h 1017392"/>
                  <a:gd name="connsiteX3-247" fmla="*/ 1724418 w 2329841"/>
                  <a:gd name="connsiteY3-248" fmla="*/ 935277 h 1017392"/>
                  <a:gd name="connsiteX4-249" fmla="*/ 780789 w 2329841"/>
                  <a:gd name="connsiteY4-250" fmla="*/ 513567 h 1017392"/>
                  <a:gd name="connsiteX5-251" fmla="*/ 304767 w 2329841"/>
                  <a:gd name="connsiteY5-252" fmla="*/ 503455 h 101739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329841" h="1017392">
                    <a:moveTo>
                      <a:pt x="304767" y="503455"/>
                    </a:moveTo>
                    <a:lnTo>
                      <a:pt x="0" y="363255"/>
                    </a:lnTo>
                    <a:cubicBezTo>
                      <a:pt x="953084" y="0"/>
                      <a:pt x="1799751" y="914400"/>
                      <a:pt x="2329841" y="951978"/>
                    </a:cubicBezTo>
                    <a:cubicBezTo>
                      <a:pt x="2098388" y="1017392"/>
                      <a:pt x="1867771" y="1000691"/>
                      <a:pt x="1724418" y="935277"/>
                    </a:cubicBezTo>
                    <a:cubicBezTo>
                      <a:pt x="1420058" y="786356"/>
                      <a:pt x="1105877" y="624909"/>
                      <a:pt x="780789" y="513567"/>
                    </a:cubicBezTo>
                    <a:cubicBezTo>
                      <a:pt x="608209" y="473205"/>
                      <a:pt x="477348" y="464485"/>
                      <a:pt x="304767" y="503455"/>
                    </a:cubicBezTo>
                    <a:close/>
                  </a:path>
                </a:pathLst>
              </a:custGeom>
              <a:solidFill>
                <a:srgbClr val="FEAB8A"/>
              </a:solidFill>
              <a:ln w="9525" cap="flat" cmpd="sng" algn="ctr">
                <a:no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000000"/>
                  </a:solidFill>
                  <a:effectLst/>
                  <a:uLnTx/>
                  <a:uFillTx/>
                  <a:latin typeface="Arial" panose="020B0604020202020204"/>
                  <a:ea typeface="华文楷体" panose="02010600040101010101" charset="-122"/>
                  <a:cs typeface="Arial" panose="020B0604020202020204" pitchFamily="34" charset="0"/>
                </a:endParaRPr>
              </a:p>
            </p:txBody>
          </p:sp>
          <p:sp>
            <p:nvSpPr>
              <p:cNvPr id="21" name="Freeform 200"/>
              <p:cNvSpPr/>
              <p:nvPr/>
            </p:nvSpPr>
            <p:spPr>
              <a:xfrm>
                <a:off x="8540579" y="3272321"/>
                <a:ext cx="1236312" cy="290882"/>
              </a:xfrm>
              <a:custGeom>
                <a:avLst/>
                <a:gdLst>
                  <a:gd name="connsiteX0" fmla="*/ 0 w 985381"/>
                  <a:gd name="connsiteY0" fmla="*/ 179539 h 208767"/>
                  <a:gd name="connsiteX1" fmla="*/ 467638 w 985381"/>
                  <a:gd name="connsiteY1" fmla="*/ 0 h 208767"/>
                  <a:gd name="connsiteX2" fmla="*/ 985381 w 985381"/>
                  <a:gd name="connsiteY2" fmla="*/ 75156 h 208767"/>
                  <a:gd name="connsiteX3" fmla="*/ 555321 w 985381"/>
                  <a:gd name="connsiteY3" fmla="*/ 208767 h 208767"/>
                  <a:gd name="connsiteX4" fmla="*/ 0 w 985381"/>
                  <a:gd name="connsiteY4" fmla="*/ 179539 h 208767"/>
                  <a:gd name="connsiteX0-1" fmla="*/ 0 w 985381"/>
                  <a:gd name="connsiteY0-2" fmla="*/ 179539 h 208767"/>
                  <a:gd name="connsiteX1-3" fmla="*/ 467638 w 985381"/>
                  <a:gd name="connsiteY1-4" fmla="*/ 0 h 208767"/>
                  <a:gd name="connsiteX2-5" fmla="*/ 985381 w 985381"/>
                  <a:gd name="connsiteY2-6" fmla="*/ 75156 h 208767"/>
                  <a:gd name="connsiteX3-7" fmla="*/ 555321 w 985381"/>
                  <a:gd name="connsiteY3-8" fmla="*/ 208767 h 208767"/>
                  <a:gd name="connsiteX4-9" fmla="*/ 0 w 985381"/>
                  <a:gd name="connsiteY4-10" fmla="*/ 179539 h 208767"/>
                  <a:gd name="connsiteX0-11" fmla="*/ 0 w 985381"/>
                  <a:gd name="connsiteY0-12" fmla="*/ 179539 h 208767"/>
                  <a:gd name="connsiteX1-13" fmla="*/ 467638 w 985381"/>
                  <a:gd name="connsiteY1-14" fmla="*/ 0 h 208767"/>
                  <a:gd name="connsiteX2-15" fmla="*/ 985381 w 985381"/>
                  <a:gd name="connsiteY2-16" fmla="*/ 75156 h 208767"/>
                  <a:gd name="connsiteX3-17" fmla="*/ 555321 w 985381"/>
                  <a:gd name="connsiteY3-18" fmla="*/ 208767 h 208767"/>
                  <a:gd name="connsiteX4-19" fmla="*/ 0 w 985381"/>
                  <a:gd name="connsiteY4-20" fmla="*/ 179539 h 208767"/>
                  <a:gd name="connsiteX0-21" fmla="*/ 0 w 985381"/>
                  <a:gd name="connsiteY0-22" fmla="*/ 200416 h 229644"/>
                  <a:gd name="connsiteX1-23" fmla="*/ 467638 w 985381"/>
                  <a:gd name="connsiteY1-24" fmla="*/ 20877 h 229644"/>
                  <a:gd name="connsiteX2-25" fmla="*/ 985381 w 985381"/>
                  <a:gd name="connsiteY2-26" fmla="*/ 96033 h 229644"/>
                  <a:gd name="connsiteX3-27" fmla="*/ 555321 w 985381"/>
                  <a:gd name="connsiteY3-28" fmla="*/ 229644 h 229644"/>
                  <a:gd name="connsiteX4-29" fmla="*/ 0 w 985381"/>
                  <a:gd name="connsiteY4-30" fmla="*/ 200416 h 229644"/>
                  <a:gd name="connsiteX0-31" fmla="*/ 0 w 985381"/>
                  <a:gd name="connsiteY0-32" fmla="*/ 200416 h 229644"/>
                  <a:gd name="connsiteX1-33" fmla="*/ 467638 w 985381"/>
                  <a:gd name="connsiteY1-34" fmla="*/ 20877 h 229644"/>
                  <a:gd name="connsiteX2-35" fmla="*/ 985381 w 985381"/>
                  <a:gd name="connsiteY2-36" fmla="*/ 96033 h 229644"/>
                  <a:gd name="connsiteX3-37" fmla="*/ 555321 w 985381"/>
                  <a:gd name="connsiteY3-38" fmla="*/ 229644 h 229644"/>
                  <a:gd name="connsiteX4-39" fmla="*/ 0 w 985381"/>
                  <a:gd name="connsiteY4-40" fmla="*/ 200416 h 229644"/>
                  <a:gd name="connsiteX0-41" fmla="*/ 0 w 985381"/>
                  <a:gd name="connsiteY0-42" fmla="*/ 200416 h 229644"/>
                  <a:gd name="connsiteX1-43" fmla="*/ 467638 w 985381"/>
                  <a:gd name="connsiteY1-44" fmla="*/ 20877 h 229644"/>
                  <a:gd name="connsiteX2-45" fmla="*/ 985381 w 985381"/>
                  <a:gd name="connsiteY2-46" fmla="*/ 96033 h 229644"/>
                  <a:gd name="connsiteX3-47" fmla="*/ 555321 w 985381"/>
                  <a:gd name="connsiteY3-48" fmla="*/ 229644 h 229644"/>
                  <a:gd name="connsiteX4-49" fmla="*/ 0 w 985381"/>
                  <a:gd name="connsiteY4-50" fmla="*/ 200416 h 229644"/>
                  <a:gd name="connsiteX0-51" fmla="*/ 0 w 985381"/>
                  <a:gd name="connsiteY0-52" fmla="*/ 200416 h 229644"/>
                  <a:gd name="connsiteX1-53" fmla="*/ 467638 w 985381"/>
                  <a:gd name="connsiteY1-54" fmla="*/ 20877 h 229644"/>
                  <a:gd name="connsiteX2-55" fmla="*/ 985381 w 985381"/>
                  <a:gd name="connsiteY2-56" fmla="*/ 96033 h 229644"/>
                  <a:gd name="connsiteX3-57" fmla="*/ 555321 w 985381"/>
                  <a:gd name="connsiteY3-58" fmla="*/ 229644 h 229644"/>
                  <a:gd name="connsiteX4-59" fmla="*/ 0 w 985381"/>
                  <a:gd name="connsiteY4-60" fmla="*/ 200416 h 229644"/>
                  <a:gd name="connsiteX0-61" fmla="*/ 0 w 985381"/>
                  <a:gd name="connsiteY0-62" fmla="*/ 200416 h 290882"/>
                  <a:gd name="connsiteX1-63" fmla="*/ 467638 w 985381"/>
                  <a:gd name="connsiteY1-64" fmla="*/ 20877 h 290882"/>
                  <a:gd name="connsiteX2-65" fmla="*/ 985381 w 985381"/>
                  <a:gd name="connsiteY2-66" fmla="*/ 96033 h 290882"/>
                  <a:gd name="connsiteX3-67" fmla="*/ 555321 w 985381"/>
                  <a:gd name="connsiteY3-68" fmla="*/ 229644 h 290882"/>
                  <a:gd name="connsiteX4-69" fmla="*/ 0 w 985381"/>
                  <a:gd name="connsiteY4-70" fmla="*/ 200416 h 290882"/>
                  <a:gd name="connsiteX0-71" fmla="*/ 0 w 985381"/>
                  <a:gd name="connsiteY0-72" fmla="*/ 200416 h 290882"/>
                  <a:gd name="connsiteX1-73" fmla="*/ 467638 w 985381"/>
                  <a:gd name="connsiteY1-74" fmla="*/ 20877 h 290882"/>
                  <a:gd name="connsiteX2-75" fmla="*/ 985381 w 985381"/>
                  <a:gd name="connsiteY2-76" fmla="*/ 96033 h 290882"/>
                  <a:gd name="connsiteX3-77" fmla="*/ 555321 w 985381"/>
                  <a:gd name="connsiteY3-78" fmla="*/ 229644 h 290882"/>
                  <a:gd name="connsiteX4-79" fmla="*/ 0 w 985381"/>
                  <a:gd name="connsiteY4-80" fmla="*/ 200416 h 29088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985381" h="290882">
                    <a:moveTo>
                      <a:pt x="0" y="200416"/>
                    </a:moveTo>
                    <a:cubicBezTo>
                      <a:pt x="122476" y="132219"/>
                      <a:pt x="295058" y="47320"/>
                      <a:pt x="467638" y="20877"/>
                    </a:cubicBezTo>
                    <a:cubicBezTo>
                      <a:pt x="669447" y="0"/>
                      <a:pt x="829501" y="25053"/>
                      <a:pt x="985381" y="96033"/>
                    </a:cubicBezTo>
                    <a:cubicBezTo>
                      <a:pt x="833677" y="111342"/>
                      <a:pt x="698674" y="172581"/>
                      <a:pt x="555321" y="229644"/>
                    </a:cubicBezTo>
                    <a:cubicBezTo>
                      <a:pt x="391090" y="290882"/>
                      <a:pt x="151705" y="272789"/>
                      <a:pt x="0" y="200416"/>
                    </a:cubicBezTo>
                    <a:close/>
                  </a:path>
                </a:pathLst>
              </a:custGeom>
              <a:solidFill>
                <a:srgbClr val="FE733C"/>
              </a:solidFill>
              <a:ln w="9525" cap="flat" cmpd="sng" algn="ctr">
                <a:noFill/>
                <a:prstDash val="solid"/>
              </a:ln>
              <a:effectLst/>
              <a:extLst>
                <a:ext uri="{91240B29-F687-4F45-9708-019B960494DF}">
                  <a14:hiddenLine xmlns:a14="http://schemas.microsoft.com/office/drawing/2010/main" w="9525">
                    <a:solidFill>
                      <a:srgbClr val="79A2B3"/>
                    </a:solidFill>
                    <a:prstDash val="solid"/>
                  </a14:hiddenLine>
                </a:ext>
              </a:ex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000000"/>
                  </a:solidFill>
                  <a:effectLst/>
                  <a:uLnTx/>
                  <a:uFillTx/>
                  <a:latin typeface="Arial" panose="020B0604020202020204"/>
                  <a:ea typeface="华文楷体" panose="02010600040101010101" charset="-122"/>
                  <a:cs typeface="Arial" panose="020B0604020202020204" pitchFamily="34" charset="0"/>
                </a:endParaRPr>
              </a:p>
            </p:txBody>
          </p:sp>
          <p:sp>
            <p:nvSpPr>
              <p:cNvPr id="22" name="Freeform 204"/>
              <p:cNvSpPr/>
              <p:nvPr/>
            </p:nvSpPr>
            <p:spPr>
              <a:xfrm>
                <a:off x="9203590" y="3042677"/>
                <a:ext cx="2269228" cy="634652"/>
              </a:xfrm>
              <a:custGeom>
                <a:avLst/>
                <a:gdLst>
                  <a:gd name="connsiteX0" fmla="*/ 0 w 1774521"/>
                  <a:gd name="connsiteY0" fmla="*/ 212942 h 634652"/>
                  <a:gd name="connsiteX1" fmla="*/ 818367 w 1774521"/>
                  <a:gd name="connsiteY1" fmla="*/ 179540 h 634652"/>
                  <a:gd name="connsiteX2" fmla="*/ 1448844 w 1774521"/>
                  <a:gd name="connsiteY2" fmla="*/ 196241 h 634652"/>
                  <a:gd name="connsiteX3" fmla="*/ 1448844 w 1774521"/>
                  <a:gd name="connsiteY3" fmla="*/ 0 h 634652"/>
                  <a:gd name="connsiteX4" fmla="*/ 1774521 w 1774521"/>
                  <a:gd name="connsiteY4" fmla="*/ 313151 h 634652"/>
                  <a:gd name="connsiteX5" fmla="*/ 1448844 w 1774521"/>
                  <a:gd name="connsiteY5" fmla="*/ 634652 h 634652"/>
                  <a:gd name="connsiteX6" fmla="*/ 1448844 w 1774521"/>
                  <a:gd name="connsiteY6" fmla="*/ 421710 h 634652"/>
                  <a:gd name="connsiteX7" fmla="*/ 931102 w 1774521"/>
                  <a:gd name="connsiteY7" fmla="*/ 413359 h 634652"/>
                  <a:gd name="connsiteX8" fmla="*/ 0 w 1774521"/>
                  <a:gd name="connsiteY8" fmla="*/ 212942 h 634652"/>
                  <a:gd name="connsiteX0-1" fmla="*/ 0 w 1774521"/>
                  <a:gd name="connsiteY0-2" fmla="*/ 212942 h 634652"/>
                  <a:gd name="connsiteX1-3" fmla="*/ 818367 w 1774521"/>
                  <a:gd name="connsiteY1-4" fmla="*/ 179540 h 634652"/>
                  <a:gd name="connsiteX2-5" fmla="*/ 1448844 w 1774521"/>
                  <a:gd name="connsiteY2-6" fmla="*/ 196241 h 634652"/>
                  <a:gd name="connsiteX3-7" fmla="*/ 1448844 w 1774521"/>
                  <a:gd name="connsiteY3-8" fmla="*/ 0 h 634652"/>
                  <a:gd name="connsiteX4-9" fmla="*/ 1774521 w 1774521"/>
                  <a:gd name="connsiteY4-10" fmla="*/ 313151 h 634652"/>
                  <a:gd name="connsiteX5-11" fmla="*/ 1448844 w 1774521"/>
                  <a:gd name="connsiteY5-12" fmla="*/ 634652 h 634652"/>
                  <a:gd name="connsiteX6-13" fmla="*/ 1448844 w 1774521"/>
                  <a:gd name="connsiteY6-14" fmla="*/ 421710 h 634652"/>
                  <a:gd name="connsiteX7-15" fmla="*/ 931102 w 1774521"/>
                  <a:gd name="connsiteY7-16" fmla="*/ 413359 h 634652"/>
                  <a:gd name="connsiteX8-17" fmla="*/ 0 w 1774521"/>
                  <a:gd name="connsiteY8-18" fmla="*/ 212942 h 634652"/>
                  <a:gd name="connsiteX0-19" fmla="*/ 0 w 1774521"/>
                  <a:gd name="connsiteY0-20" fmla="*/ 212942 h 634652"/>
                  <a:gd name="connsiteX1-21" fmla="*/ 818367 w 1774521"/>
                  <a:gd name="connsiteY1-22" fmla="*/ 179540 h 634652"/>
                  <a:gd name="connsiteX2-23" fmla="*/ 1448844 w 1774521"/>
                  <a:gd name="connsiteY2-24" fmla="*/ 196241 h 634652"/>
                  <a:gd name="connsiteX3-25" fmla="*/ 1448844 w 1774521"/>
                  <a:gd name="connsiteY3-26" fmla="*/ 0 h 634652"/>
                  <a:gd name="connsiteX4-27" fmla="*/ 1774521 w 1774521"/>
                  <a:gd name="connsiteY4-28" fmla="*/ 313151 h 634652"/>
                  <a:gd name="connsiteX5-29" fmla="*/ 1448844 w 1774521"/>
                  <a:gd name="connsiteY5-30" fmla="*/ 634652 h 634652"/>
                  <a:gd name="connsiteX6-31" fmla="*/ 1448844 w 1774521"/>
                  <a:gd name="connsiteY6-32" fmla="*/ 421710 h 634652"/>
                  <a:gd name="connsiteX7-33" fmla="*/ 931102 w 1774521"/>
                  <a:gd name="connsiteY7-34" fmla="*/ 413359 h 634652"/>
                  <a:gd name="connsiteX8-35" fmla="*/ 0 w 1774521"/>
                  <a:gd name="connsiteY8-36" fmla="*/ 212942 h 634652"/>
                  <a:gd name="connsiteX0-37" fmla="*/ 0 w 1774521"/>
                  <a:gd name="connsiteY0-38" fmla="*/ 212942 h 634652"/>
                  <a:gd name="connsiteX1-39" fmla="*/ 818367 w 1774521"/>
                  <a:gd name="connsiteY1-40" fmla="*/ 179540 h 634652"/>
                  <a:gd name="connsiteX2-41" fmla="*/ 1448844 w 1774521"/>
                  <a:gd name="connsiteY2-42" fmla="*/ 196241 h 634652"/>
                  <a:gd name="connsiteX3-43" fmla="*/ 1448844 w 1774521"/>
                  <a:gd name="connsiteY3-44" fmla="*/ 0 h 634652"/>
                  <a:gd name="connsiteX4-45" fmla="*/ 1774521 w 1774521"/>
                  <a:gd name="connsiteY4-46" fmla="*/ 313151 h 634652"/>
                  <a:gd name="connsiteX5-47" fmla="*/ 1448844 w 1774521"/>
                  <a:gd name="connsiteY5-48" fmla="*/ 634652 h 634652"/>
                  <a:gd name="connsiteX6-49" fmla="*/ 1448844 w 1774521"/>
                  <a:gd name="connsiteY6-50" fmla="*/ 421710 h 634652"/>
                  <a:gd name="connsiteX7-51" fmla="*/ 931102 w 1774521"/>
                  <a:gd name="connsiteY7-52" fmla="*/ 413359 h 634652"/>
                  <a:gd name="connsiteX8-53" fmla="*/ 0 w 1774521"/>
                  <a:gd name="connsiteY8-54" fmla="*/ 212942 h 634652"/>
                  <a:gd name="connsiteX0-55" fmla="*/ 0 w 1774521"/>
                  <a:gd name="connsiteY0-56" fmla="*/ 212942 h 634652"/>
                  <a:gd name="connsiteX1-57" fmla="*/ 818367 w 1774521"/>
                  <a:gd name="connsiteY1-58" fmla="*/ 179540 h 634652"/>
                  <a:gd name="connsiteX2-59" fmla="*/ 1448844 w 1774521"/>
                  <a:gd name="connsiteY2-60" fmla="*/ 196241 h 634652"/>
                  <a:gd name="connsiteX3-61" fmla="*/ 1448844 w 1774521"/>
                  <a:gd name="connsiteY3-62" fmla="*/ 0 h 634652"/>
                  <a:gd name="connsiteX4-63" fmla="*/ 1774521 w 1774521"/>
                  <a:gd name="connsiteY4-64" fmla="*/ 313151 h 634652"/>
                  <a:gd name="connsiteX5-65" fmla="*/ 1448844 w 1774521"/>
                  <a:gd name="connsiteY5-66" fmla="*/ 634652 h 634652"/>
                  <a:gd name="connsiteX6-67" fmla="*/ 1448844 w 1774521"/>
                  <a:gd name="connsiteY6-68" fmla="*/ 421710 h 634652"/>
                  <a:gd name="connsiteX7-69" fmla="*/ 931102 w 1774521"/>
                  <a:gd name="connsiteY7-70" fmla="*/ 413359 h 634652"/>
                  <a:gd name="connsiteX8-71" fmla="*/ 0 w 1774521"/>
                  <a:gd name="connsiteY8-72" fmla="*/ 212942 h 634652"/>
                  <a:gd name="connsiteX0-73" fmla="*/ 0 w 1774521"/>
                  <a:gd name="connsiteY0-74" fmla="*/ 212942 h 634652"/>
                  <a:gd name="connsiteX1-75" fmla="*/ 818367 w 1774521"/>
                  <a:gd name="connsiteY1-76" fmla="*/ 179540 h 634652"/>
                  <a:gd name="connsiteX2-77" fmla="*/ 1448844 w 1774521"/>
                  <a:gd name="connsiteY2-78" fmla="*/ 196241 h 634652"/>
                  <a:gd name="connsiteX3-79" fmla="*/ 1448844 w 1774521"/>
                  <a:gd name="connsiteY3-80" fmla="*/ 0 h 634652"/>
                  <a:gd name="connsiteX4-81" fmla="*/ 1774521 w 1774521"/>
                  <a:gd name="connsiteY4-82" fmla="*/ 313151 h 634652"/>
                  <a:gd name="connsiteX5-83" fmla="*/ 1448844 w 1774521"/>
                  <a:gd name="connsiteY5-84" fmla="*/ 634652 h 634652"/>
                  <a:gd name="connsiteX6-85" fmla="*/ 1448844 w 1774521"/>
                  <a:gd name="connsiteY6-86" fmla="*/ 421710 h 634652"/>
                  <a:gd name="connsiteX7-87" fmla="*/ 931102 w 1774521"/>
                  <a:gd name="connsiteY7-88" fmla="*/ 413359 h 634652"/>
                  <a:gd name="connsiteX8-89" fmla="*/ 0 w 1774521"/>
                  <a:gd name="connsiteY8-90" fmla="*/ 212942 h 634652"/>
                  <a:gd name="connsiteX0-91" fmla="*/ 0 w 1774521"/>
                  <a:gd name="connsiteY0-92" fmla="*/ 212942 h 634652"/>
                  <a:gd name="connsiteX1-93" fmla="*/ 818367 w 1774521"/>
                  <a:gd name="connsiteY1-94" fmla="*/ 179540 h 634652"/>
                  <a:gd name="connsiteX2-95" fmla="*/ 1448844 w 1774521"/>
                  <a:gd name="connsiteY2-96" fmla="*/ 196241 h 634652"/>
                  <a:gd name="connsiteX3-97" fmla="*/ 1448844 w 1774521"/>
                  <a:gd name="connsiteY3-98" fmla="*/ 0 h 634652"/>
                  <a:gd name="connsiteX4-99" fmla="*/ 1774521 w 1774521"/>
                  <a:gd name="connsiteY4-100" fmla="*/ 313151 h 634652"/>
                  <a:gd name="connsiteX5-101" fmla="*/ 1448844 w 1774521"/>
                  <a:gd name="connsiteY5-102" fmla="*/ 634652 h 634652"/>
                  <a:gd name="connsiteX6-103" fmla="*/ 1448844 w 1774521"/>
                  <a:gd name="connsiteY6-104" fmla="*/ 421710 h 634652"/>
                  <a:gd name="connsiteX7-105" fmla="*/ 931102 w 1774521"/>
                  <a:gd name="connsiteY7-106" fmla="*/ 413359 h 634652"/>
                  <a:gd name="connsiteX8-107" fmla="*/ 0 w 1774521"/>
                  <a:gd name="connsiteY8-108" fmla="*/ 212942 h 634652"/>
                  <a:gd name="connsiteX0-109" fmla="*/ 0 w 1774521"/>
                  <a:gd name="connsiteY0-110" fmla="*/ 212942 h 634652"/>
                  <a:gd name="connsiteX1-111" fmla="*/ 818367 w 1774521"/>
                  <a:gd name="connsiteY1-112" fmla="*/ 179540 h 634652"/>
                  <a:gd name="connsiteX2-113" fmla="*/ 1448844 w 1774521"/>
                  <a:gd name="connsiteY2-114" fmla="*/ 196241 h 634652"/>
                  <a:gd name="connsiteX3-115" fmla="*/ 1448844 w 1774521"/>
                  <a:gd name="connsiteY3-116" fmla="*/ 0 h 634652"/>
                  <a:gd name="connsiteX4-117" fmla="*/ 1774521 w 1774521"/>
                  <a:gd name="connsiteY4-118" fmla="*/ 313151 h 634652"/>
                  <a:gd name="connsiteX5-119" fmla="*/ 1448844 w 1774521"/>
                  <a:gd name="connsiteY5-120" fmla="*/ 634652 h 634652"/>
                  <a:gd name="connsiteX6-121" fmla="*/ 1448844 w 1774521"/>
                  <a:gd name="connsiteY6-122" fmla="*/ 421710 h 634652"/>
                  <a:gd name="connsiteX7-123" fmla="*/ 931102 w 1774521"/>
                  <a:gd name="connsiteY7-124" fmla="*/ 413359 h 634652"/>
                  <a:gd name="connsiteX8-125" fmla="*/ 0 w 1774521"/>
                  <a:gd name="connsiteY8-126" fmla="*/ 212942 h 63465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774521" h="634652">
                    <a:moveTo>
                      <a:pt x="0" y="212942"/>
                    </a:moveTo>
                    <a:cubicBezTo>
                      <a:pt x="251913" y="80723"/>
                      <a:pt x="662487" y="157272"/>
                      <a:pt x="818367" y="179540"/>
                    </a:cubicBezTo>
                    <a:cubicBezTo>
                      <a:pt x="1032701" y="201809"/>
                      <a:pt x="1238685" y="190674"/>
                      <a:pt x="1448844" y="196241"/>
                    </a:cubicBezTo>
                    <a:lnTo>
                      <a:pt x="1448844" y="0"/>
                    </a:lnTo>
                    <a:lnTo>
                      <a:pt x="1774521" y="313151"/>
                    </a:lnTo>
                    <a:lnTo>
                      <a:pt x="1448844" y="634652"/>
                    </a:lnTo>
                    <a:lnTo>
                      <a:pt x="1448844" y="421710"/>
                    </a:lnTo>
                    <a:lnTo>
                      <a:pt x="931102" y="413359"/>
                    </a:lnTo>
                    <a:cubicBezTo>
                      <a:pt x="620735" y="409183"/>
                      <a:pt x="427277" y="179540"/>
                      <a:pt x="0" y="212942"/>
                    </a:cubicBezTo>
                    <a:close/>
                  </a:path>
                </a:pathLst>
              </a:custGeom>
              <a:solidFill>
                <a:srgbClr val="FEAB8A"/>
              </a:solidFill>
              <a:ln w="9525" cap="flat" cmpd="sng" algn="ctr">
                <a:no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000000"/>
                  </a:solidFill>
                  <a:effectLst/>
                  <a:uLnTx/>
                  <a:uFillTx/>
                  <a:latin typeface="Arial" panose="020B0604020202020204"/>
                  <a:ea typeface="华文楷体" panose="02010600040101010101" charset="-122"/>
                  <a:cs typeface="Arial" panose="020B0604020202020204" pitchFamily="34" charset="0"/>
                </a:endParaRPr>
              </a:p>
            </p:txBody>
          </p:sp>
        </p:grpSp>
        <p:sp>
          <p:nvSpPr>
            <p:cNvPr id="14" name="矩形 13"/>
            <p:cNvSpPr/>
            <p:nvPr/>
          </p:nvSpPr>
          <p:spPr>
            <a:xfrm rot="1274296">
              <a:off x="5945050" y="4201194"/>
              <a:ext cx="557976" cy="25192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4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加密</a:t>
              </a:r>
              <a:endParaRPr kumimoji="0" lang="zh-CN" altLang="en-US" sz="1400" b="0"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sp>
          <p:nvSpPr>
            <p:cNvPr id="15" name="矩形 14"/>
            <p:cNvSpPr/>
            <p:nvPr/>
          </p:nvSpPr>
          <p:spPr>
            <a:xfrm rot="20236538">
              <a:off x="2881625" y="4055836"/>
              <a:ext cx="630597" cy="25192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4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加密</a:t>
              </a:r>
              <a:endParaRPr kumimoji="0" lang="zh-CN" altLang="en-US" sz="1400" b="0"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grpSp>
      <p:sp>
        <p:nvSpPr>
          <p:cNvPr id="24" name="MH_Other_1"/>
          <p:cNvSpPr/>
          <p:nvPr>
            <p:custDataLst>
              <p:tags r:id="rId4"/>
            </p:custDataLst>
          </p:nvPr>
        </p:nvSpPr>
        <p:spPr>
          <a:xfrm>
            <a:off x="4227861" y="3124773"/>
            <a:ext cx="1705478" cy="556486"/>
          </a:xfrm>
          <a:custGeom>
            <a:avLst/>
            <a:gdLst>
              <a:gd name="connsiteX0" fmla="*/ 2305898 w 4611794"/>
              <a:gd name="connsiteY0" fmla="*/ 176915 h 639232"/>
              <a:gd name="connsiteX1" fmla="*/ 2894395 w 4611794"/>
              <a:gd name="connsiteY1" fmla="*/ 267120 h 639232"/>
              <a:gd name="connsiteX2" fmla="*/ 2305898 w 4611794"/>
              <a:gd name="connsiteY2" fmla="*/ 357325 h 639232"/>
              <a:gd name="connsiteX3" fmla="*/ 1717401 w 4611794"/>
              <a:gd name="connsiteY3" fmla="*/ 267120 h 639232"/>
              <a:gd name="connsiteX4" fmla="*/ 2305898 w 4611794"/>
              <a:gd name="connsiteY4" fmla="*/ 176915 h 639232"/>
              <a:gd name="connsiteX5" fmla="*/ 2305896 w 4611794"/>
              <a:gd name="connsiteY5" fmla="*/ 127061 h 639232"/>
              <a:gd name="connsiteX6" fmla="*/ 1004146 w 4611794"/>
              <a:gd name="connsiteY6" fmla="*/ 283089 h 639232"/>
              <a:gd name="connsiteX7" fmla="*/ 2305896 w 4611794"/>
              <a:gd name="connsiteY7" fmla="*/ 439117 h 639232"/>
              <a:gd name="connsiteX8" fmla="*/ 3607646 w 4611794"/>
              <a:gd name="connsiteY8" fmla="*/ 283089 h 639232"/>
              <a:gd name="connsiteX9" fmla="*/ 2305896 w 4611794"/>
              <a:gd name="connsiteY9" fmla="*/ 127061 h 639232"/>
              <a:gd name="connsiteX10" fmla="*/ 2305897 w 4611794"/>
              <a:gd name="connsiteY10" fmla="*/ 85624 h 639232"/>
              <a:gd name="connsiteX11" fmla="*/ 4116441 w 4611794"/>
              <a:gd name="connsiteY11" fmla="*/ 294807 h 639232"/>
              <a:gd name="connsiteX12" fmla="*/ 2305897 w 4611794"/>
              <a:gd name="connsiteY12" fmla="*/ 503990 h 639232"/>
              <a:gd name="connsiteX13" fmla="*/ 495353 w 4611794"/>
              <a:gd name="connsiteY13" fmla="*/ 294807 h 639232"/>
              <a:gd name="connsiteX14" fmla="*/ 2305897 w 4611794"/>
              <a:gd name="connsiteY14" fmla="*/ 85624 h 639232"/>
              <a:gd name="connsiteX15" fmla="*/ 2305897 w 4611794"/>
              <a:gd name="connsiteY15" fmla="*/ 31880 h 639232"/>
              <a:gd name="connsiteX16" fmla="*/ 184559 w 4611794"/>
              <a:gd name="connsiteY16" fmla="*/ 319548 h 639232"/>
              <a:gd name="connsiteX17" fmla="*/ 2305897 w 4611794"/>
              <a:gd name="connsiteY17" fmla="*/ 607216 h 639232"/>
              <a:gd name="connsiteX18" fmla="*/ 4427235 w 4611794"/>
              <a:gd name="connsiteY18" fmla="*/ 319548 h 639232"/>
              <a:gd name="connsiteX19" fmla="*/ 2305897 w 4611794"/>
              <a:gd name="connsiteY19" fmla="*/ 31880 h 639232"/>
              <a:gd name="connsiteX20" fmla="*/ 2305897 w 4611794"/>
              <a:gd name="connsiteY20" fmla="*/ 0 h 639232"/>
              <a:gd name="connsiteX21" fmla="*/ 4611794 w 4611794"/>
              <a:gd name="connsiteY21" fmla="*/ 319616 h 639232"/>
              <a:gd name="connsiteX22" fmla="*/ 2305897 w 4611794"/>
              <a:gd name="connsiteY22" fmla="*/ 639232 h 639232"/>
              <a:gd name="connsiteX23" fmla="*/ 0 w 4611794"/>
              <a:gd name="connsiteY23" fmla="*/ 319616 h 639232"/>
              <a:gd name="connsiteX24" fmla="*/ 2305897 w 4611794"/>
              <a:gd name="connsiteY24" fmla="*/ 0 h 63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11794" h="639232">
                <a:moveTo>
                  <a:pt x="2305898" y="176915"/>
                </a:moveTo>
                <a:cubicBezTo>
                  <a:pt x="2630916" y="176915"/>
                  <a:pt x="2894395" y="217301"/>
                  <a:pt x="2894395" y="267120"/>
                </a:cubicBezTo>
                <a:cubicBezTo>
                  <a:pt x="2894395" y="316939"/>
                  <a:pt x="2630916" y="357325"/>
                  <a:pt x="2305898" y="357325"/>
                </a:cubicBezTo>
                <a:cubicBezTo>
                  <a:pt x="1980880" y="357325"/>
                  <a:pt x="1717401" y="316939"/>
                  <a:pt x="1717401" y="267120"/>
                </a:cubicBezTo>
                <a:cubicBezTo>
                  <a:pt x="1717401" y="217301"/>
                  <a:pt x="1980880" y="176915"/>
                  <a:pt x="2305898" y="176915"/>
                </a:cubicBezTo>
                <a:close/>
                <a:moveTo>
                  <a:pt x="2305896" y="127061"/>
                </a:moveTo>
                <a:cubicBezTo>
                  <a:pt x="1586959" y="127061"/>
                  <a:pt x="1004146" y="196917"/>
                  <a:pt x="1004146" y="283089"/>
                </a:cubicBezTo>
                <a:cubicBezTo>
                  <a:pt x="1004146" y="369261"/>
                  <a:pt x="1586959" y="439117"/>
                  <a:pt x="2305896" y="439117"/>
                </a:cubicBezTo>
                <a:cubicBezTo>
                  <a:pt x="3024833" y="439117"/>
                  <a:pt x="3607646" y="369261"/>
                  <a:pt x="3607646" y="283089"/>
                </a:cubicBezTo>
                <a:cubicBezTo>
                  <a:pt x="3607646" y="196917"/>
                  <a:pt x="3024833" y="127061"/>
                  <a:pt x="2305896" y="127061"/>
                </a:cubicBezTo>
                <a:close/>
                <a:moveTo>
                  <a:pt x="2305897" y="85624"/>
                </a:moveTo>
                <a:cubicBezTo>
                  <a:pt x="3305833" y="85624"/>
                  <a:pt x="4116441" y="179278"/>
                  <a:pt x="4116441" y="294807"/>
                </a:cubicBezTo>
                <a:cubicBezTo>
                  <a:pt x="4116441" y="410336"/>
                  <a:pt x="3305833" y="503990"/>
                  <a:pt x="2305897" y="503990"/>
                </a:cubicBezTo>
                <a:cubicBezTo>
                  <a:pt x="1305961" y="503990"/>
                  <a:pt x="495353" y="410336"/>
                  <a:pt x="495353" y="294807"/>
                </a:cubicBezTo>
                <a:cubicBezTo>
                  <a:pt x="495353" y="179278"/>
                  <a:pt x="1305961" y="85624"/>
                  <a:pt x="2305897" y="85624"/>
                </a:cubicBezTo>
                <a:close/>
                <a:moveTo>
                  <a:pt x="2305897" y="31880"/>
                </a:moveTo>
                <a:cubicBezTo>
                  <a:pt x="1134314" y="31880"/>
                  <a:pt x="184559" y="160673"/>
                  <a:pt x="184559" y="319548"/>
                </a:cubicBezTo>
                <a:cubicBezTo>
                  <a:pt x="184559" y="478423"/>
                  <a:pt x="1134314" y="607216"/>
                  <a:pt x="2305897" y="607216"/>
                </a:cubicBezTo>
                <a:cubicBezTo>
                  <a:pt x="3477480" y="607216"/>
                  <a:pt x="4427235" y="478423"/>
                  <a:pt x="4427235" y="319548"/>
                </a:cubicBezTo>
                <a:cubicBezTo>
                  <a:pt x="4427235" y="160673"/>
                  <a:pt x="3477480" y="31880"/>
                  <a:pt x="2305897" y="31880"/>
                </a:cubicBezTo>
                <a:close/>
                <a:moveTo>
                  <a:pt x="2305897" y="0"/>
                </a:moveTo>
                <a:cubicBezTo>
                  <a:pt x="3579409" y="0"/>
                  <a:pt x="4611794" y="143097"/>
                  <a:pt x="4611794" y="319616"/>
                </a:cubicBezTo>
                <a:cubicBezTo>
                  <a:pt x="4611794" y="496135"/>
                  <a:pt x="3579409" y="639232"/>
                  <a:pt x="2305897" y="639232"/>
                </a:cubicBezTo>
                <a:cubicBezTo>
                  <a:pt x="1032385" y="639232"/>
                  <a:pt x="0" y="496135"/>
                  <a:pt x="0" y="319616"/>
                </a:cubicBezTo>
                <a:cubicBezTo>
                  <a:pt x="0" y="143097"/>
                  <a:pt x="1032385" y="0"/>
                  <a:pt x="2305897"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25" name="TextBox 133"/>
          <p:cNvSpPr txBox="1"/>
          <p:nvPr/>
        </p:nvSpPr>
        <p:spPr>
          <a:xfrm>
            <a:off x="4624940" y="3359355"/>
            <a:ext cx="918779"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rPr>
              <a:t>XX</a:t>
            </a:r>
            <a:endParaRPr kumimoji="0" lang="en-US" sz="1800" b="1" i="0" u="none" strike="noStrike" kern="1200" cap="none" spc="0" normalizeH="0" baseline="0" noProof="0" dirty="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endParaRPr>
          </a:p>
        </p:txBody>
      </p:sp>
      <p:sp>
        <p:nvSpPr>
          <p:cNvPr id="26" name="Freeform 5"/>
          <p:cNvSpPr>
            <a:spLocks noEditPoints="1"/>
          </p:cNvSpPr>
          <p:nvPr/>
        </p:nvSpPr>
        <p:spPr bwMode="auto">
          <a:xfrm>
            <a:off x="4797087" y="2902723"/>
            <a:ext cx="552194" cy="439908"/>
          </a:xfrm>
          <a:custGeom>
            <a:avLst/>
            <a:gdLst>
              <a:gd name="T0" fmla="*/ 276 w 698"/>
              <a:gd name="T1" fmla="*/ 365 h 549"/>
              <a:gd name="T2" fmla="*/ 275 w 698"/>
              <a:gd name="T3" fmla="*/ 299 h 549"/>
              <a:gd name="T4" fmla="*/ 301 w 698"/>
              <a:gd name="T5" fmla="*/ 294 h 549"/>
              <a:gd name="T6" fmla="*/ 229 w 698"/>
              <a:gd name="T7" fmla="*/ 305 h 549"/>
              <a:gd name="T8" fmla="*/ 229 w 698"/>
              <a:gd name="T9" fmla="*/ 360 h 549"/>
              <a:gd name="T10" fmla="*/ 275 w 698"/>
              <a:gd name="T11" fmla="*/ 397 h 549"/>
              <a:gd name="T12" fmla="*/ 469 w 698"/>
              <a:gd name="T13" fmla="*/ 361 h 549"/>
              <a:gd name="T14" fmla="*/ 470 w 698"/>
              <a:gd name="T15" fmla="*/ 305 h 549"/>
              <a:gd name="T16" fmla="*/ 423 w 698"/>
              <a:gd name="T17" fmla="*/ 268 h 549"/>
              <a:gd name="T18" fmla="*/ 424 w 698"/>
              <a:gd name="T19" fmla="*/ 299 h 549"/>
              <a:gd name="T20" fmla="*/ 424 w 698"/>
              <a:gd name="T21" fmla="*/ 365 h 549"/>
              <a:gd name="T22" fmla="*/ 398 w 698"/>
              <a:gd name="T23" fmla="*/ 371 h 549"/>
              <a:gd name="T24" fmla="*/ 287 w 698"/>
              <a:gd name="T25" fmla="*/ 403 h 549"/>
              <a:gd name="T26" fmla="*/ 337 w 698"/>
              <a:gd name="T27" fmla="*/ 452 h 549"/>
              <a:gd name="T28" fmla="*/ 411 w 698"/>
              <a:gd name="T29" fmla="*/ 419 h 549"/>
              <a:gd name="T30" fmla="*/ 387 w 698"/>
              <a:gd name="T31" fmla="*/ 380 h 549"/>
              <a:gd name="T32" fmla="*/ 374 w 698"/>
              <a:gd name="T33" fmla="*/ 415 h 549"/>
              <a:gd name="T34" fmla="*/ 315 w 698"/>
              <a:gd name="T35" fmla="*/ 384 h 549"/>
              <a:gd name="T36" fmla="*/ 287 w 698"/>
              <a:gd name="T37" fmla="*/ 403 h 549"/>
              <a:gd name="T38" fmla="*/ 412 w 698"/>
              <a:gd name="T39" fmla="*/ 259 h 549"/>
              <a:gd name="T40" fmla="*/ 363 w 698"/>
              <a:gd name="T41" fmla="*/ 212 h 549"/>
              <a:gd name="T42" fmla="*/ 287 w 698"/>
              <a:gd name="T43" fmla="*/ 247 h 549"/>
              <a:gd name="T44" fmla="*/ 314 w 698"/>
              <a:gd name="T45" fmla="*/ 285 h 549"/>
              <a:gd name="T46" fmla="*/ 326 w 698"/>
              <a:gd name="T47" fmla="*/ 249 h 549"/>
              <a:gd name="T48" fmla="*/ 382 w 698"/>
              <a:gd name="T49" fmla="*/ 262 h 549"/>
              <a:gd name="T50" fmla="*/ 250 w 698"/>
              <a:gd name="T51" fmla="*/ 114 h 549"/>
              <a:gd name="T52" fmla="*/ 145 w 698"/>
              <a:gd name="T53" fmla="*/ 9 h 549"/>
              <a:gd name="T54" fmla="*/ 259 w 698"/>
              <a:gd name="T55" fmla="*/ 9 h 549"/>
              <a:gd name="T56" fmla="*/ 544 w 698"/>
              <a:gd name="T57" fmla="*/ 114 h 549"/>
              <a:gd name="T58" fmla="*/ 439 w 698"/>
              <a:gd name="T59" fmla="*/ 9 h 549"/>
              <a:gd name="T60" fmla="*/ 553 w 698"/>
              <a:gd name="T61" fmla="*/ 9 h 549"/>
              <a:gd name="T62" fmla="*/ 387 w 698"/>
              <a:gd name="T63" fmla="*/ 137 h 549"/>
              <a:gd name="T64" fmla="*/ 302 w 698"/>
              <a:gd name="T65" fmla="*/ 53 h 549"/>
              <a:gd name="T66" fmla="*/ 396 w 698"/>
              <a:gd name="T67" fmla="*/ 53 h 549"/>
              <a:gd name="T68" fmla="*/ 594 w 698"/>
              <a:gd name="T69" fmla="*/ 268 h 549"/>
              <a:gd name="T70" fmla="*/ 434 w 698"/>
              <a:gd name="T71" fmla="*/ 137 h 549"/>
              <a:gd name="T72" fmla="*/ 501 w 698"/>
              <a:gd name="T73" fmla="*/ 175 h 549"/>
              <a:gd name="T74" fmla="*/ 270 w 698"/>
              <a:gd name="T75" fmla="*/ 248 h 549"/>
              <a:gd name="T76" fmla="*/ 130 w 698"/>
              <a:gd name="T77" fmla="*/ 137 h 549"/>
              <a:gd name="T78" fmla="*/ 553 w 698"/>
              <a:gd name="T79" fmla="*/ 268 h 549"/>
              <a:gd name="T80" fmla="*/ 414 w 698"/>
              <a:gd name="T81" fmla="*/ 439 h 549"/>
              <a:gd name="T82" fmla="*/ 284 w 698"/>
              <a:gd name="T83" fmla="*/ 439 h 549"/>
              <a:gd name="T84" fmla="*/ 145 w 698"/>
              <a:gd name="T85" fmla="*/ 268 h 549"/>
              <a:gd name="T86" fmla="*/ 79 w 698"/>
              <a:gd name="T87" fmla="*/ 549 h 549"/>
              <a:gd name="T88" fmla="*/ 637 w 698"/>
              <a:gd name="T89" fmla="*/ 26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8" h="549">
                <a:moveTo>
                  <a:pt x="302" y="370"/>
                </a:moveTo>
                <a:cubicBezTo>
                  <a:pt x="306" y="366"/>
                  <a:pt x="301" y="365"/>
                  <a:pt x="298" y="365"/>
                </a:cubicBezTo>
                <a:cubicBezTo>
                  <a:pt x="291" y="365"/>
                  <a:pt x="283" y="365"/>
                  <a:pt x="276" y="365"/>
                </a:cubicBezTo>
                <a:cubicBezTo>
                  <a:pt x="269" y="365"/>
                  <a:pt x="266" y="363"/>
                  <a:pt x="266" y="356"/>
                </a:cubicBezTo>
                <a:cubicBezTo>
                  <a:pt x="267" y="340"/>
                  <a:pt x="267" y="324"/>
                  <a:pt x="266" y="308"/>
                </a:cubicBezTo>
                <a:cubicBezTo>
                  <a:pt x="266" y="302"/>
                  <a:pt x="268" y="299"/>
                  <a:pt x="275" y="299"/>
                </a:cubicBezTo>
                <a:cubicBezTo>
                  <a:pt x="282" y="300"/>
                  <a:pt x="290" y="300"/>
                  <a:pt x="298" y="299"/>
                </a:cubicBezTo>
                <a:cubicBezTo>
                  <a:pt x="300" y="299"/>
                  <a:pt x="302" y="300"/>
                  <a:pt x="303" y="298"/>
                </a:cubicBezTo>
                <a:cubicBezTo>
                  <a:pt x="304" y="296"/>
                  <a:pt x="302" y="295"/>
                  <a:pt x="301" y="294"/>
                </a:cubicBezTo>
                <a:cubicBezTo>
                  <a:pt x="293" y="286"/>
                  <a:pt x="285" y="277"/>
                  <a:pt x="276" y="269"/>
                </a:cubicBezTo>
                <a:cubicBezTo>
                  <a:pt x="272" y="265"/>
                  <a:pt x="268" y="266"/>
                  <a:pt x="264" y="270"/>
                </a:cubicBezTo>
                <a:cubicBezTo>
                  <a:pt x="252" y="281"/>
                  <a:pt x="240" y="293"/>
                  <a:pt x="229" y="305"/>
                </a:cubicBezTo>
                <a:cubicBezTo>
                  <a:pt x="223" y="310"/>
                  <a:pt x="224" y="314"/>
                  <a:pt x="229" y="320"/>
                </a:cubicBezTo>
                <a:cubicBezTo>
                  <a:pt x="239" y="331"/>
                  <a:pt x="239" y="334"/>
                  <a:pt x="229" y="346"/>
                </a:cubicBezTo>
                <a:cubicBezTo>
                  <a:pt x="224" y="351"/>
                  <a:pt x="224" y="355"/>
                  <a:pt x="229" y="360"/>
                </a:cubicBezTo>
                <a:cubicBezTo>
                  <a:pt x="240" y="371"/>
                  <a:pt x="252" y="383"/>
                  <a:pt x="263" y="395"/>
                </a:cubicBezTo>
                <a:cubicBezTo>
                  <a:pt x="265" y="397"/>
                  <a:pt x="267" y="398"/>
                  <a:pt x="271" y="398"/>
                </a:cubicBezTo>
                <a:cubicBezTo>
                  <a:pt x="272" y="398"/>
                  <a:pt x="274" y="398"/>
                  <a:pt x="275" y="397"/>
                </a:cubicBezTo>
                <a:cubicBezTo>
                  <a:pt x="284" y="388"/>
                  <a:pt x="293" y="379"/>
                  <a:pt x="302" y="370"/>
                </a:cubicBezTo>
                <a:close/>
                <a:moveTo>
                  <a:pt x="436" y="394"/>
                </a:moveTo>
                <a:cubicBezTo>
                  <a:pt x="447" y="383"/>
                  <a:pt x="458" y="372"/>
                  <a:pt x="469" y="361"/>
                </a:cubicBezTo>
                <a:cubicBezTo>
                  <a:pt x="474" y="356"/>
                  <a:pt x="474" y="351"/>
                  <a:pt x="469" y="345"/>
                </a:cubicBezTo>
                <a:cubicBezTo>
                  <a:pt x="460" y="334"/>
                  <a:pt x="460" y="330"/>
                  <a:pt x="469" y="319"/>
                </a:cubicBezTo>
                <a:cubicBezTo>
                  <a:pt x="474" y="314"/>
                  <a:pt x="474" y="310"/>
                  <a:pt x="470" y="305"/>
                </a:cubicBezTo>
                <a:cubicBezTo>
                  <a:pt x="458" y="293"/>
                  <a:pt x="446" y="282"/>
                  <a:pt x="435" y="270"/>
                </a:cubicBezTo>
                <a:cubicBezTo>
                  <a:pt x="433" y="268"/>
                  <a:pt x="431" y="267"/>
                  <a:pt x="427" y="266"/>
                </a:cubicBezTo>
                <a:cubicBezTo>
                  <a:pt x="426" y="267"/>
                  <a:pt x="424" y="267"/>
                  <a:pt x="423" y="268"/>
                </a:cubicBezTo>
                <a:cubicBezTo>
                  <a:pt x="414" y="277"/>
                  <a:pt x="405" y="286"/>
                  <a:pt x="396" y="295"/>
                </a:cubicBezTo>
                <a:cubicBezTo>
                  <a:pt x="392" y="299"/>
                  <a:pt x="396" y="299"/>
                  <a:pt x="399" y="299"/>
                </a:cubicBezTo>
                <a:cubicBezTo>
                  <a:pt x="408" y="300"/>
                  <a:pt x="416" y="300"/>
                  <a:pt x="424" y="299"/>
                </a:cubicBezTo>
                <a:cubicBezTo>
                  <a:pt x="431" y="299"/>
                  <a:pt x="432" y="302"/>
                  <a:pt x="432" y="308"/>
                </a:cubicBezTo>
                <a:cubicBezTo>
                  <a:pt x="432" y="324"/>
                  <a:pt x="432" y="340"/>
                  <a:pt x="432" y="357"/>
                </a:cubicBezTo>
                <a:cubicBezTo>
                  <a:pt x="432" y="363"/>
                  <a:pt x="430" y="365"/>
                  <a:pt x="424" y="365"/>
                </a:cubicBezTo>
                <a:cubicBezTo>
                  <a:pt x="416" y="365"/>
                  <a:pt x="409" y="365"/>
                  <a:pt x="401" y="365"/>
                </a:cubicBezTo>
                <a:cubicBezTo>
                  <a:pt x="399" y="365"/>
                  <a:pt x="396" y="364"/>
                  <a:pt x="395" y="366"/>
                </a:cubicBezTo>
                <a:cubicBezTo>
                  <a:pt x="394" y="369"/>
                  <a:pt x="397" y="370"/>
                  <a:pt x="398" y="371"/>
                </a:cubicBezTo>
                <a:cubicBezTo>
                  <a:pt x="405" y="379"/>
                  <a:pt x="413" y="386"/>
                  <a:pt x="420" y="394"/>
                </a:cubicBezTo>
                <a:cubicBezTo>
                  <a:pt x="426" y="400"/>
                  <a:pt x="431" y="399"/>
                  <a:pt x="436" y="394"/>
                </a:cubicBezTo>
                <a:close/>
                <a:moveTo>
                  <a:pt x="287" y="403"/>
                </a:moveTo>
                <a:cubicBezTo>
                  <a:pt x="282" y="409"/>
                  <a:pt x="282" y="414"/>
                  <a:pt x="288" y="419"/>
                </a:cubicBezTo>
                <a:cubicBezTo>
                  <a:pt x="299" y="430"/>
                  <a:pt x="310" y="441"/>
                  <a:pt x="321" y="452"/>
                </a:cubicBezTo>
                <a:cubicBezTo>
                  <a:pt x="327" y="458"/>
                  <a:pt x="331" y="457"/>
                  <a:pt x="337" y="452"/>
                </a:cubicBezTo>
                <a:cubicBezTo>
                  <a:pt x="347" y="442"/>
                  <a:pt x="351" y="442"/>
                  <a:pt x="361" y="452"/>
                </a:cubicBezTo>
                <a:cubicBezTo>
                  <a:pt x="367" y="458"/>
                  <a:pt x="372" y="458"/>
                  <a:pt x="377" y="452"/>
                </a:cubicBezTo>
                <a:cubicBezTo>
                  <a:pt x="389" y="441"/>
                  <a:pt x="400" y="430"/>
                  <a:pt x="411" y="419"/>
                </a:cubicBezTo>
                <a:cubicBezTo>
                  <a:pt x="413" y="417"/>
                  <a:pt x="415" y="414"/>
                  <a:pt x="415" y="411"/>
                </a:cubicBezTo>
                <a:cubicBezTo>
                  <a:pt x="415" y="410"/>
                  <a:pt x="414" y="408"/>
                  <a:pt x="413" y="406"/>
                </a:cubicBezTo>
                <a:cubicBezTo>
                  <a:pt x="405" y="398"/>
                  <a:pt x="396" y="389"/>
                  <a:pt x="387" y="380"/>
                </a:cubicBezTo>
                <a:cubicBezTo>
                  <a:pt x="383" y="376"/>
                  <a:pt x="382" y="380"/>
                  <a:pt x="382" y="383"/>
                </a:cubicBezTo>
                <a:cubicBezTo>
                  <a:pt x="382" y="391"/>
                  <a:pt x="382" y="399"/>
                  <a:pt x="382" y="407"/>
                </a:cubicBezTo>
                <a:cubicBezTo>
                  <a:pt x="382" y="412"/>
                  <a:pt x="380" y="415"/>
                  <a:pt x="374" y="415"/>
                </a:cubicBezTo>
                <a:cubicBezTo>
                  <a:pt x="357" y="415"/>
                  <a:pt x="340" y="415"/>
                  <a:pt x="323" y="415"/>
                </a:cubicBezTo>
                <a:cubicBezTo>
                  <a:pt x="318" y="415"/>
                  <a:pt x="315" y="413"/>
                  <a:pt x="315" y="407"/>
                </a:cubicBezTo>
                <a:cubicBezTo>
                  <a:pt x="316" y="400"/>
                  <a:pt x="316" y="392"/>
                  <a:pt x="315" y="384"/>
                </a:cubicBezTo>
                <a:cubicBezTo>
                  <a:pt x="315" y="382"/>
                  <a:pt x="316" y="379"/>
                  <a:pt x="314" y="379"/>
                </a:cubicBezTo>
                <a:cubicBezTo>
                  <a:pt x="312" y="379"/>
                  <a:pt x="311" y="380"/>
                  <a:pt x="309" y="381"/>
                </a:cubicBezTo>
                <a:cubicBezTo>
                  <a:pt x="302" y="389"/>
                  <a:pt x="295" y="396"/>
                  <a:pt x="287" y="403"/>
                </a:cubicBezTo>
                <a:close/>
                <a:moveTo>
                  <a:pt x="382" y="283"/>
                </a:moveTo>
                <a:cubicBezTo>
                  <a:pt x="382" y="287"/>
                  <a:pt x="384" y="288"/>
                  <a:pt x="387" y="285"/>
                </a:cubicBezTo>
                <a:cubicBezTo>
                  <a:pt x="396" y="276"/>
                  <a:pt x="404" y="268"/>
                  <a:pt x="412" y="259"/>
                </a:cubicBezTo>
                <a:cubicBezTo>
                  <a:pt x="416" y="255"/>
                  <a:pt x="416" y="251"/>
                  <a:pt x="412" y="247"/>
                </a:cubicBezTo>
                <a:cubicBezTo>
                  <a:pt x="400" y="235"/>
                  <a:pt x="388" y="224"/>
                  <a:pt x="376" y="212"/>
                </a:cubicBezTo>
                <a:cubicBezTo>
                  <a:pt x="372" y="207"/>
                  <a:pt x="368" y="207"/>
                  <a:pt x="363" y="212"/>
                </a:cubicBezTo>
                <a:cubicBezTo>
                  <a:pt x="351" y="222"/>
                  <a:pt x="348" y="222"/>
                  <a:pt x="336" y="212"/>
                </a:cubicBezTo>
                <a:cubicBezTo>
                  <a:pt x="331" y="208"/>
                  <a:pt x="327" y="207"/>
                  <a:pt x="322" y="211"/>
                </a:cubicBezTo>
                <a:cubicBezTo>
                  <a:pt x="310" y="223"/>
                  <a:pt x="298" y="235"/>
                  <a:pt x="287" y="247"/>
                </a:cubicBezTo>
                <a:cubicBezTo>
                  <a:pt x="282" y="251"/>
                  <a:pt x="282" y="256"/>
                  <a:pt x="287" y="260"/>
                </a:cubicBezTo>
                <a:cubicBezTo>
                  <a:pt x="294" y="268"/>
                  <a:pt x="302" y="275"/>
                  <a:pt x="309" y="282"/>
                </a:cubicBezTo>
                <a:cubicBezTo>
                  <a:pt x="310" y="284"/>
                  <a:pt x="312" y="286"/>
                  <a:pt x="314" y="285"/>
                </a:cubicBezTo>
                <a:cubicBezTo>
                  <a:pt x="316" y="284"/>
                  <a:pt x="315" y="282"/>
                  <a:pt x="315" y="280"/>
                </a:cubicBezTo>
                <a:cubicBezTo>
                  <a:pt x="316" y="273"/>
                  <a:pt x="316" y="266"/>
                  <a:pt x="315" y="259"/>
                </a:cubicBezTo>
                <a:cubicBezTo>
                  <a:pt x="315" y="251"/>
                  <a:pt x="318" y="249"/>
                  <a:pt x="326" y="249"/>
                </a:cubicBezTo>
                <a:cubicBezTo>
                  <a:pt x="333" y="250"/>
                  <a:pt x="341" y="249"/>
                  <a:pt x="348" y="249"/>
                </a:cubicBezTo>
                <a:cubicBezTo>
                  <a:pt x="356" y="249"/>
                  <a:pt x="363" y="249"/>
                  <a:pt x="370" y="249"/>
                </a:cubicBezTo>
                <a:cubicBezTo>
                  <a:pt x="382" y="249"/>
                  <a:pt x="382" y="249"/>
                  <a:pt x="382" y="262"/>
                </a:cubicBezTo>
                <a:cubicBezTo>
                  <a:pt x="382" y="269"/>
                  <a:pt x="382" y="276"/>
                  <a:pt x="382" y="283"/>
                </a:cubicBezTo>
                <a:close/>
                <a:moveTo>
                  <a:pt x="259" y="105"/>
                </a:moveTo>
                <a:cubicBezTo>
                  <a:pt x="259" y="110"/>
                  <a:pt x="255" y="114"/>
                  <a:pt x="250" y="114"/>
                </a:cubicBezTo>
                <a:cubicBezTo>
                  <a:pt x="154" y="114"/>
                  <a:pt x="154" y="114"/>
                  <a:pt x="154" y="114"/>
                </a:cubicBezTo>
                <a:cubicBezTo>
                  <a:pt x="150" y="114"/>
                  <a:pt x="145" y="110"/>
                  <a:pt x="145" y="105"/>
                </a:cubicBezTo>
                <a:cubicBezTo>
                  <a:pt x="145" y="9"/>
                  <a:pt x="145" y="9"/>
                  <a:pt x="145" y="9"/>
                </a:cubicBezTo>
                <a:cubicBezTo>
                  <a:pt x="145" y="4"/>
                  <a:pt x="150" y="0"/>
                  <a:pt x="154" y="0"/>
                </a:cubicBezTo>
                <a:cubicBezTo>
                  <a:pt x="250" y="0"/>
                  <a:pt x="250" y="0"/>
                  <a:pt x="250" y="0"/>
                </a:cubicBezTo>
                <a:cubicBezTo>
                  <a:pt x="255" y="0"/>
                  <a:pt x="259" y="4"/>
                  <a:pt x="259" y="9"/>
                </a:cubicBezTo>
                <a:lnTo>
                  <a:pt x="259" y="105"/>
                </a:lnTo>
                <a:close/>
                <a:moveTo>
                  <a:pt x="553" y="105"/>
                </a:moveTo>
                <a:cubicBezTo>
                  <a:pt x="553" y="110"/>
                  <a:pt x="548" y="114"/>
                  <a:pt x="544" y="114"/>
                </a:cubicBezTo>
                <a:cubicBezTo>
                  <a:pt x="448" y="114"/>
                  <a:pt x="448" y="114"/>
                  <a:pt x="448" y="114"/>
                </a:cubicBezTo>
                <a:cubicBezTo>
                  <a:pt x="443" y="114"/>
                  <a:pt x="439" y="110"/>
                  <a:pt x="439" y="105"/>
                </a:cubicBezTo>
                <a:cubicBezTo>
                  <a:pt x="439" y="9"/>
                  <a:pt x="439" y="9"/>
                  <a:pt x="439" y="9"/>
                </a:cubicBezTo>
                <a:cubicBezTo>
                  <a:pt x="439" y="4"/>
                  <a:pt x="443" y="0"/>
                  <a:pt x="448" y="0"/>
                </a:cubicBezTo>
                <a:cubicBezTo>
                  <a:pt x="544" y="0"/>
                  <a:pt x="544" y="0"/>
                  <a:pt x="544" y="0"/>
                </a:cubicBezTo>
                <a:cubicBezTo>
                  <a:pt x="548" y="0"/>
                  <a:pt x="553" y="4"/>
                  <a:pt x="553" y="9"/>
                </a:cubicBezTo>
                <a:lnTo>
                  <a:pt x="553" y="105"/>
                </a:lnTo>
                <a:close/>
                <a:moveTo>
                  <a:pt x="396" y="128"/>
                </a:moveTo>
                <a:cubicBezTo>
                  <a:pt x="396" y="133"/>
                  <a:pt x="392" y="137"/>
                  <a:pt x="387" y="137"/>
                </a:cubicBezTo>
                <a:cubicBezTo>
                  <a:pt x="311" y="137"/>
                  <a:pt x="311" y="137"/>
                  <a:pt x="311" y="137"/>
                </a:cubicBezTo>
                <a:cubicBezTo>
                  <a:pt x="306" y="137"/>
                  <a:pt x="302" y="133"/>
                  <a:pt x="302" y="128"/>
                </a:cubicBezTo>
                <a:cubicBezTo>
                  <a:pt x="302" y="53"/>
                  <a:pt x="302" y="53"/>
                  <a:pt x="302" y="53"/>
                </a:cubicBezTo>
                <a:cubicBezTo>
                  <a:pt x="302" y="48"/>
                  <a:pt x="306" y="44"/>
                  <a:pt x="311" y="44"/>
                </a:cubicBezTo>
                <a:cubicBezTo>
                  <a:pt x="387" y="44"/>
                  <a:pt x="387" y="44"/>
                  <a:pt x="387" y="44"/>
                </a:cubicBezTo>
                <a:cubicBezTo>
                  <a:pt x="392" y="44"/>
                  <a:pt x="396" y="48"/>
                  <a:pt x="396" y="53"/>
                </a:cubicBezTo>
                <a:lnTo>
                  <a:pt x="396" y="128"/>
                </a:lnTo>
                <a:close/>
                <a:moveTo>
                  <a:pt x="501" y="175"/>
                </a:moveTo>
                <a:cubicBezTo>
                  <a:pt x="594" y="268"/>
                  <a:pt x="594" y="268"/>
                  <a:pt x="594" y="268"/>
                </a:cubicBezTo>
                <a:cubicBezTo>
                  <a:pt x="698" y="268"/>
                  <a:pt x="698" y="268"/>
                  <a:pt x="698" y="268"/>
                </a:cubicBezTo>
                <a:cubicBezTo>
                  <a:pt x="568" y="137"/>
                  <a:pt x="568" y="137"/>
                  <a:pt x="568" y="137"/>
                </a:cubicBezTo>
                <a:cubicBezTo>
                  <a:pt x="434" y="137"/>
                  <a:pt x="434" y="137"/>
                  <a:pt x="434" y="137"/>
                </a:cubicBezTo>
                <a:cubicBezTo>
                  <a:pt x="376" y="196"/>
                  <a:pt x="376" y="196"/>
                  <a:pt x="376" y="196"/>
                </a:cubicBezTo>
                <a:cubicBezTo>
                  <a:pt x="428" y="248"/>
                  <a:pt x="428" y="248"/>
                  <a:pt x="428" y="248"/>
                </a:cubicBezTo>
                <a:lnTo>
                  <a:pt x="501" y="175"/>
                </a:lnTo>
                <a:close/>
                <a:moveTo>
                  <a:pt x="104" y="268"/>
                </a:moveTo>
                <a:cubicBezTo>
                  <a:pt x="197" y="175"/>
                  <a:pt x="197" y="175"/>
                  <a:pt x="197" y="175"/>
                </a:cubicBezTo>
                <a:cubicBezTo>
                  <a:pt x="270" y="248"/>
                  <a:pt x="270" y="248"/>
                  <a:pt x="270" y="248"/>
                </a:cubicBezTo>
                <a:cubicBezTo>
                  <a:pt x="322" y="196"/>
                  <a:pt x="322" y="196"/>
                  <a:pt x="322" y="196"/>
                </a:cubicBezTo>
                <a:cubicBezTo>
                  <a:pt x="264" y="137"/>
                  <a:pt x="264" y="137"/>
                  <a:pt x="264" y="137"/>
                </a:cubicBezTo>
                <a:cubicBezTo>
                  <a:pt x="130" y="137"/>
                  <a:pt x="130" y="137"/>
                  <a:pt x="130" y="137"/>
                </a:cubicBezTo>
                <a:cubicBezTo>
                  <a:pt x="0" y="268"/>
                  <a:pt x="0" y="268"/>
                  <a:pt x="0" y="268"/>
                </a:cubicBezTo>
                <a:lnTo>
                  <a:pt x="104" y="268"/>
                </a:lnTo>
                <a:close/>
                <a:moveTo>
                  <a:pt x="553" y="268"/>
                </a:moveTo>
                <a:cubicBezTo>
                  <a:pt x="553" y="477"/>
                  <a:pt x="553" y="477"/>
                  <a:pt x="553" y="477"/>
                </a:cubicBezTo>
                <a:cubicBezTo>
                  <a:pt x="414" y="477"/>
                  <a:pt x="414" y="477"/>
                  <a:pt x="414" y="477"/>
                </a:cubicBezTo>
                <a:cubicBezTo>
                  <a:pt x="414" y="439"/>
                  <a:pt x="414" y="439"/>
                  <a:pt x="414" y="439"/>
                </a:cubicBezTo>
                <a:cubicBezTo>
                  <a:pt x="376" y="477"/>
                  <a:pt x="376" y="477"/>
                  <a:pt x="376" y="477"/>
                </a:cubicBezTo>
                <a:cubicBezTo>
                  <a:pt x="322" y="477"/>
                  <a:pt x="322" y="477"/>
                  <a:pt x="322" y="477"/>
                </a:cubicBezTo>
                <a:cubicBezTo>
                  <a:pt x="284" y="439"/>
                  <a:pt x="284" y="439"/>
                  <a:pt x="284" y="439"/>
                </a:cubicBezTo>
                <a:cubicBezTo>
                  <a:pt x="284" y="477"/>
                  <a:pt x="284" y="477"/>
                  <a:pt x="284" y="477"/>
                </a:cubicBezTo>
                <a:cubicBezTo>
                  <a:pt x="145" y="477"/>
                  <a:pt x="145" y="477"/>
                  <a:pt x="145" y="477"/>
                </a:cubicBezTo>
                <a:cubicBezTo>
                  <a:pt x="145" y="268"/>
                  <a:pt x="145" y="268"/>
                  <a:pt x="145" y="268"/>
                </a:cubicBezTo>
                <a:cubicBezTo>
                  <a:pt x="61" y="268"/>
                  <a:pt x="61" y="268"/>
                  <a:pt x="61" y="268"/>
                </a:cubicBezTo>
                <a:cubicBezTo>
                  <a:pt x="61" y="532"/>
                  <a:pt x="61" y="532"/>
                  <a:pt x="61" y="532"/>
                </a:cubicBezTo>
                <a:cubicBezTo>
                  <a:pt x="61" y="541"/>
                  <a:pt x="69" y="549"/>
                  <a:pt x="79" y="549"/>
                </a:cubicBezTo>
                <a:cubicBezTo>
                  <a:pt x="619" y="549"/>
                  <a:pt x="619" y="549"/>
                  <a:pt x="619" y="549"/>
                </a:cubicBezTo>
                <a:cubicBezTo>
                  <a:pt x="629" y="549"/>
                  <a:pt x="637" y="541"/>
                  <a:pt x="637" y="532"/>
                </a:cubicBezTo>
                <a:cubicBezTo>
                  <a:pt x="637" y="268"/>
                  <a:pt x="637" y="268"/>
                  <a:pt x="637" y="268"/>
                </a:cubicBezTo>
                <a:lnTo>
                  <a:pt x="553" y="268"/>
                </a:lnTo>
                <a:close/>
              </a:path>
            </a:pathLst>
          </a:custGeom>
          <a:solidFill>
            <a:srgbClr val="FE581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8" name="MH_Other_1"/>
          <p:cNvSpPr/>
          <p:nvPr>
            <p:custDataLst>
              <p:tags r:id="rId5"/>
            </p:custDataLst>
          </p:nvPr>
        </p:nvSpPr>
        <p:spPr>
          <a:xfrm>
            <a:off x="2253838" y="3124773"/>
            <a:ext cx="1705478" cy="556486"/>
          </a:xfrm>
          <a:custGeom>
            <a:avLst/>
            <a:gdLst>
              <a:gd name="connsiteX0" fmla="*/ 2305898 w 4611794"/>
              <a:gd name="connsiteY0" fmla="*/ 176915 h 639232"/>
              <a:gd name="connsiteX1" fmla="*/ 2894395 w 4611794"/>
              <a:gd name="connsiteY1" fmla="*/ 267120 h 639232"/>
              <a:gd name="connsiteX2" fmla="*/ 2305898 w 4611794"/>
              <a:gd name="connsiteY2" fmla="*/ 357325 h 639232"/>
              <a:gd name="connsiteX3" fmla="*/ 1717401 w 4611794"/>
              <a:gd name="connsiteY3" fmla="*/ 267120 h 639232"/>
              <a:gd name="connsiteX4" fmla="*/ 2305898 w 4611794"/>
              <a:gd name="connsiteY4" fmla="*/ 176915 h 639232"/>
              <a:gd name="connsiteX5" fmla="*/ 2305896 w 4611794"/>
              <a:gd name="connsiteY5" fmla="*/ 127061 h 639232"/>
              <a:gd name="connsiteX6" fmla="*/ 1004146 w 4611794"/>
              <a:gd name="connsiteY6" fmla="*/ 283089 h 639232"/>
              <a:gd name="connsiteX7" fmla="*/ 2305896 w 4611794"/>
              <a:gd name="connsiteY7" fmla="*/ 439117 h 639232"/>
              <a:gd name="connsiteX8" fmla="*/ 3607646 w 4611794"/>
              <a:gd name="connsiteY8" fmla="*/ 283089 h 639232"/>
              <a:gd name="connsiteX9" fmla="*/ 2305896 w 4611794"/>
              <a:gd name="connsiteY9" fmla="*/ 127061 h 639232"/>
              <a:gd name="connsiteX10" fmla="*/ 2305897 w 4611794"/>
              <a:gd name="connsiteY10" fmla="*/ 85624 h 639232"/>
              <a:gd name="connsiteX11" fmla="*/ 4116441 w 4611794"/>
              <a:gd name="connsiteY11" fmla="*/ 294807 h 639232"/>
              <a:gd name="connsiteX12" fmla="*/ 2305897 w 4611794"/>
              <a:gd name="connsiteY12" fmla="*/ 503990 h 639232"/>
              <a:gd name="connsiteX13" fmla="*/ 495353 w 4611794"/>
              <a:gd name="connsiteY13" fmla="*/ 294807 h 639232"/>
              <a:gd name="connsiteX14" fmla="*/ 2305897 w 4611794"/>
              <a:gd name="connsiteY14" fmla="*/ 85624 h 639232"/>
              <a:gd name="connsiteX15" fmla="*/ 2305897 w 4611794"/>
              <a:gd name="connsiteY15" fmla="*/ 31880 h 639232"/>
              <a:gd name="connsiteX16" fmla="*/ 184559 w 4611794"/>
              <a:gd name="connsiteY16" fmla="*/ 319548 h 639232"/>
              <a:gd name="connsiteX17" fmla="*/ 2305897 w 4611794"/>
              <a:gd name="connsiteY17" fmla="*/ 607216 h 639232"/>
              <a:gd name="connsiteX18" fmla="*/ 4427235 w 4611794"/>
              <a:gd name="connsiteY18" fmla="*/ 319548 h 639232"/>
              <a:gd name="connsiteX19" fmla="*/ 2305897 w 4611794"/>
              <a:gd name="connsiteY19" fmla="*/ 31880 h 639232"/>
              <a:gd name="connsiteX20" fmla="*/ 2305897 w 4611794"/>
              <a:gd name="connsiteY20" fmla="*/ 0 h 639232"/>
              <a:gd name="connsiteX21" fmla="*/ 4611794 w 4611794"/>
              <a:gd name="connsiteY21" fmla="*/ 319616 h 639232"/>
              <a:gd name="connsiteX22" fmla="*/ 2305897 w 4611794"/>
              <a:gd name="connsiteY22" fmla="*/ 639232 h 639232"/>
              <a:gd name="connsiteX23" fmla="*/ 0 w 4611794"/>
              <a:gd name="connsiteY23" fmla="*/ 319616 h 639232"/>
              <a:gd name="connsiteX24" fmla="*/ 2305897 w 4611794"/>
              <a:gd name="connsiteY24" fmla="*/ 0 h 63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11794" h="639232">
                <a:moveTo>
                  <a:pt x="2305898" y="176915"/>
                </a:moveTo>
                <a:cubicBezTo>
                  <a:pt x="2630916" y="176915"/>
                  <a:pt x="2894395" y="217301"/>
                  <a:pt x="2894395" y="267120"/>
                </a:cubicBezTo>
                <a:cubicBezTo>
                  <a:pt x="2894395" y="316939"/>
                  <a:pt x="2630916" y="357325"/>
                  <a:pt x="2305898" y="357325"/>
                </a:cubicBezTo>
                <a:cubicBezTo>
                  <a:pt x="1980880" y="357325"/>
                  <a:pt x="1717401" y="316939"/>
                  <a:pt x="1717401" y="267120"/>
                </a:cubicBezTo>
                <a:cubicBezTo>
                  <a:pt x="1717401" y="217301"/>
                  <a:pt x="1980880" y="176915"/>
                  <a:pt x="2305898" y="176915"/>
                </a:cubicBezTo>
                <a:close/>
                <a:moveTo>
                  <a:pt x="2305896" y="127061"/>
                </a:moveTo>
                <a:cubicBezTo>
                  <a:pt x="1586959" y="127061"/>
                  <a:pt x="1004146" y="196917"/>
                  <a:pt x="1004146" y="283089"/>
                </a:cubicBezTo>
                <a:cubicBezTo>
                  <a:pt x="1004146" y="369261"/>
                  <a:pt x="1586959" y="439117"/>
                  <a:pt x="2305896" y="439117"/>
                </a:cubicBezTo>
                <a:cubicBezTo>
                  <a:pt x="3024833" y="439117"/>
                  <a:pt x="3607646" y="369261"/>
                  <a:pt x="3607646" y="283089"/>
                </a:cubicBezTo>
                <a:cubicBezTo>
                  <a:pt x="3607646" y="196917"/>
                  <a:pt x="3024833" y="127061"/>
                  <a:pt x="2305896" y="127061"/>
                </a:cubicBezTo>
                <a:close/>
                <a:moveTo>
                  <a:pt x="2305897" y="85624"/>
                </a:moveTo>
                <a:cubicBezTo>
                  <a:pt x="3305833" y="85624"/>
                  <a:pt x="4116441" y="179278"/>
                  <a:pt x="4116441" y="294807"/>
                </a:cubicBezTo>
                <a:cubicBezTo>
                  <a:pt x="4116441" y="410336"/>
                  <a:pt x="3305833" y="503990"/>
                  <a:pt x="2305897" y="503990"/>
                </a:cubicBezTo>
                <a:cubicBezTo>
                  <a:pt x="1305961" y="503990"/>
                  <a:pt x="495353" y="410336"/>
                  <a:pt x="495353" y="294807"/>
                </a:cubicBezTo>
                <a:cubicBezTo>
                  <a:pt x="495353" y="179278"/>
                  <a:pt x="1305961" y="85624"/>
                  <a:pt x="2305897" y="85624"/>
                </a:cubicBezTo>
                <a:close/>
                <a:moveTo>
                  <a:pt x="2305897" y="31880"/>
                </a:moveTo>
                <a:cubicBezTo>
                  <a:pt x="1134314" y="31880"/>
                  <a:pt x="184559" y="160673"/>
                  <a:pt x="184559" y="319548"/>
                </a:cubicBezTo>
                <a:cubicBezTo>
                  <a:pt x="184559" y="478423"/>
                  <a:pt x="1134314" y="607216"/>
                  <a:pt x="2305897" y="607216"/>
                </a:cubicBezTo>
                <a:cubicBezTo>
                  <a:pt x="3477480" y="607216"/>
                  <a:pt x="4427235" y="478423"/>
                  <a:pt x="4427235" y="319548"/>
                </a:cubicBezTo>
                <a:cubicBezTo>
                  <a:pt x="4427235" y="160673"/>
                  <a:pt x="3477480" y="31880"/>
                  <a:pt x="2305897" y="31880"/>
                </a:cubicBezTo>
                <a:close/>
                <a:moveTo>
                  <a:pt x="2305897" y="0"/>
                </a:moveTo>
                <a:cubicBezTo>
                  <a:pt x="3579409" y="0"/>
                  <a:pt x="4611794" y="143097"/>
                  <a:pt x="4611794" y="319616"/>
                </a:cubicBezTo>
                <a:cubicBezTo>
                  <a:pt x="4611794" y="496135"/>
                  <a:pt x="3579409" y="639232"/>
                  <a:pt x="2305897" y="639232"/>
                </a:cubicBezTo>
                <a:cubicBezTo>
                  <a:pt x="1032385" y="639232"/>
                  <a:pt x="0" y="496135"/>
                  <a:pt x="0" y="319616"/>
                </a:cubicBezTo>
                <a:cubicBezTo>
                  <a:pt x="0" y="143097"/>
                  <a:pt x="1032385" y="0"/>
                  <a:pt x="2305897"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grpSp>
        <p:nvGrpSpPr>
          <p:cNvPr id="29" name="Group 84"/>
          <p:cNvGrpSpPr/>
          <p:nvPr/>
        </p:nvGrpSpPr>
        <p:grpSpPr>
          <a:xfrm>
            <a:off x="2762162" y="2806729"/>
            <a:ext cx="750721" cy="521248"/>
            <a:chOff x="4397654" y="4317588"/>
            <a:chExt cx="900016" cy="618340"/>
          </a:xfrm>
          <a:solidFill>
            <a:srgbClr val="FE5817"/>
          </a:solidFill>
        </p:grpSpPr>
        <p:sp>
          <p:nvSpPr>
            <p:cNvPr id="31" name="Freeform 229"/>
            <p:cNvSpPr/>
            <p:nvPr/>
          </p:nvSpPr>
          <p:spPr bwMode="auto">
            <a:xfrm>
              <a:off x="4861129" y="4409610"/>
              <a:ext cx="63966" cy="313098"/>
            </a:xfrm>
            <a:custGeom>
              <a:avLst/>
              <a:gdLst>
                <a:gd name="T0" fmla="*/ 48 w 48"/>
                <a:gd name="T1" fmla="*/ 235 h 235"/>
                <a:gd name="T2" fmla="*/ 42 w 48"/>
                <a:gd name="T3" fmla="*/ 0 h 235"/>
                <a:gd name="T4" fmla="*/ 5 w 48"/>
                <a:gd name="T5" fmla="*/ 0 h 235"/>
                <a:gd name="T6" fmla="*/ 0 w 48"/>
                <a:gd name="T7" fmla="*/ 217 h 235"/>
                <a:gd name="T8" fmla="*/ 22 w 48"/>
                <a:gd name="T9" fmla="*/ 215 h 235"/>
                <a:gd name="T10" fmla="*/ 48 w 48"/>
                <a:gd name="T11" fmla="*/ 235 h 235"/>
              </a:gdLst>
              <a:ahLst/>
              <a:cxnLst>
                <a:cxn ang="0">
                  <a:pos x="T0" y="T1"/>
                </a:cxn>
                <a:cxn ang="0">
                  <a:pos x="T2" y="T3"/>
                </a:cxn>
                <a:cxn ang="0">
                  <a:pos x="T4" y="T5"/>
                </a:cxn>
                <a:cxn ang="0">
                  <a:pos x="T6" y="T7"/>
                </a:cxn>
                <a:cxn ang="0">
                  <a:pos x="T8" y="T9"/>
                </a:cxn>
                <a:cxn ang="0">
                  <a:pos x="T10" y="T11"/>
                </a:cxn>
              </a:cxnLst>
              <a:rect l="0" t="0" r="r" b="b"/>
              <a:pathLst>
                <a:path w="48" h="235">
                  <a:moveTo>
                    <a:pt x="48" y="235"/>
                  </a:moveTo>
                  <a:cubicBezTo>
                    <a:pt x="46" y="155"/>
                    <a:pt x="44" y="77"/>
                    <a:pt x="42" y="0"/>
                  </a:cubicBezTo>
                  <a:cubicBezTo>
                    <a:pt x="29" y="0"/>
                    <a:pt x="17" y="0"/>
                    <a:pt x="5" y="0"/>
                  </a:cubicBezTo>
                  <a:cubicBezTo>
                    <a:pt x="3" y="72"/>
                    <a:pt x="2" y="143"/>
                    <a:pt x="0" y="217"/>
                  </a:cubicBezTo>
                  <a:cubicBezTo>
                    <a:pt x="8" y="204"/>
                    <a:pt x="15" y="209"/>
                    <a:pt x="22" y="215"/>
                  </a:cubicBezTo>
                  <a:cubicBezTo>
                    <a:pt x="29" y="221"/>
                    <a:pt x="38" y="227"/>
                    <a:pt x="48" y="23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32" name="Freeform 230"/>
            <p:cNvSpPr/>
            <p:nvPr/>
          </p:nvSpPr>
          <p:spPr bwMode="auto">
            <a:xfrm>
              <a:off x="4660252" y="4484237"/>
              <a:ext cx="65088" cy="261476"/>
            </a:xfrm>
            <a:custGeom>
              <a:avLst/>
              <a:gdLst>
                <a:gd name="T0" fmla="*/ 49 w 49"/>
                <a:gd name="T1" fmla="*/ 196 h 196"/>
                <a:gd name="T2" fmla="*/ 43 w 49"/>
                <a:gd name="T3" fmla="*/ 0 h 196"/>
                <a:gd name="T4" fmla="*/ 6 w 49"/>
                <a:gd name="T5" fmla="*/ 0 h 196"/>
                <a:gd name="T6" fmla="*/ 0 w 49"/>
                <a:gd name="T7" fmla="*/ 196 h 196"/>
                <a:gd name="T8" fmla="*/ 49 w 49"/>
                <a:gd name="T9" fmla="*/ 196 h 196"/>
              </a:gdLst>
              <a:ahLst/>
              <a:cxnLst>
                <a:cxn ang="0">
                  <a:pos x="T0" y="T1"/>
                </a:cxn>
                <a:cxn ang="0">
                  <a:pos x="T2" y="T3"/>
                </a:cxn>
                <a:cxn ang="0">
                  <a:pos x="T4" y="T5"/>
                </a:cxn>
                <a:cxn ang="0">
                  <a:pos x="T6" y="T7"/>
                </a:cxn>
                <a:cxn ang="0">
                  <a:pos x="T8" y="T9"/>
                </a:cxn>
              </a:cxnLst>
              <a:rect l="0" t="0" r="r" b="b"/>
              <a:pathLst>
                <a:path w="49" h="196">
                  <a:moveTo>
                    <a:pt x="49" y="196"/>
                  </a:moveTo>
                  <a:cubicBezTo>
                    <a:pt x="47" y="130"/>
                    <a:pt x="45" y="65"/>
                    <a:pt x="43" y="0"/>
                  </a:cubicBezTo>
                  <a:cubicBezTo>
                    <a:pt x="30" y="0"/>
                    <a:pt x="18" y="0"/>
                    <a:pt x="6" y="0"/>
                  </a:cubicBezTo>
                  <a:cubicBezTo>
                    <a:pt x="4" y="66"/>
                    <a:pt x="2" y="131"/>
                    <a:pt x="0" y="196"/>
                  </a:cubicBezTo>
                  <a:cubicBezTo>
                    <a:pt x="16" y="196"/>
                    <a:pt x="32" y="196"/>
                    <a:pt x="49"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33" name="Freeform 231"/>
            <p:cNvSpPr/>
            <p:nvPr/>
          </p:nvSpPr>
          <p:spPr bwMode="auto">
            <a:xfrm>
              <a:off x="4767985" y="4485359"/>
              <a:ext cx="63966" cy="268209"/>
            </a:xfrm>
            <a:custGeom>
              <a:avLst/>
              <a:gdLst>
                <a:gd name="T0" fmla="*/ 6 w 48"/>
                <a:gd name="T1" fmla="*/ 0 h 201"/>
                <a:gd name="T2" fmla="*/ 0 w 48"/>
                <a:gd name="T3" fmla="*/ 194 h 201"/>
                <a:gd name="T4" fmla="*/ 46 w 48"/>
                <a:gd name="T5" fmla="*/ 176 h 201"/>
                <a:gd name="T6" fmla="*/ 48 w 48"/>
                <a:gd name="T7" fmla="*/ 169 h 201"/>
                <a:gd name="T8" fmla="*/ 46 w 48"/>
                <a:gd name="T9" fmla="*/ 109 h 201"/>
                <a:gd name="T10" fmla="*/ 44 w 48"/>
                <a:gd name="T11" fmla="*/ 11 h 201"/>
                <a:gd name="T12" fmla="*/ 43 w 48"/>
                <a:gd name="T13" fmla="*/ 0 h 201"/>
                <a:gd name="T14" fmla="*/ 6 w 48"/>
                <a:gd name="T15" fmla="*/ 0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01">
                  <a:moveTo>
                    <a:pt x="6" y="0"/>
                  </a:moveTo>
                  <a:cubicBezTo>
                    <a:pt x="4" y="65"/>
                    <a:pt x="2" y="130"/>
                    <a:pt x="0" y="194"/>
                  </a:cubicBezTo>
                  <a:cubicBezTo>
                    <a:pt x="21" y="201"/>
                    <a:pt x="33" y="187"/>
                    <a:pt x="46" y="176"/>
                  </a:cubicBezTo>
                  <a:cubicBezTo>
                    <a:pt x="48" y="175"/>
                    <a:pt x="48" y="172"/>
                    <a:pt x="48" y="169"/>
                  </a:cubicBezTo>
                  <a:cubicBezTo>
                    <a:pt x="47" y="149"/>
                    <a:pt x="47" y="129"/>
                    <a:pt x="46" y="109"/>
                  </a:cubicBezTo>
                  <a:cubicBezTo>
                    <a:pt x="45" y="76"/>
                    <a:pt x="45" y="44"/>
                    <a:pt x="44" y="11"/>
                  </a:cubicBezTo>
                  <a:cubicBezTo>
                    <a:pt x="44" y="7"/>
                    <a:pt x="43" y="3"/>
                    <a:pt x="43" y="0"/>
                  </a:cubicBezTo>
                  <a:cubicBezTo>
                    <a:pt x="30" y="0"/>
                    <a:pt x="18" y="0"/>
                    <a:pt x="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34" name="Freeform 232"/>
            <p:cNvSpPr/>
            <p:nvPr/>
          </p:nvSpPr>
          <p:spPr bwMode="auto">
            <a:xfrm>
              <a:off x="5136632" y="4347888"/>
              <a:ext cx="105488" cy="115027"/>
            </a:xfrm>
            <a:custGeom>
              <a:avLst/>
              <a:gdLst>
                <a:gd name="T0" fmla="*/ 79 w 79"/>
                <a:gd name="T1" fmla="*/ 44 h 86"/>
                <a:gd name="T2" fmla="*/ 41 w 79"/>
                <a:gd name="T3" fmla="*/ 1 h 86"/>
                <a:gd name="T4" fmla="*/ 0 w 79"/>
                <a:gd name="T5" fmla="*/ 43 h 86"/>
                <a:gd name="T6" fmla="*/ 39 w 79"/>
                <a:gd name="T7" fmla="*/ 86 h 86"/>
                <a:gd name="T8" fmla="*/ 79 w 79"/>
                <a:gd name="T9" fmla="*/ 44 h 86"/>
              </a:gdLst>
              <a:ahLst/>
              <a:cxnLst>
                <a:cxn ang="0">
                  <a:pos x="T0" y="T1"/>
                </a:cxn>
                <a:cxn ang="0">
                  <a:pos x="T2" y="T3"/>
                </a:cxn>
                <a:cxn ang="0">
                  <a:pos x="T4" y="T5"/>
                </a:cxn>
                <a:cxn ang="0">
                  <a:pos x="T6" y="T7"/>
                </a:cxn>
                <a:cxn ang="0">
                  <a:pos x="T8" y="T9"/>
                </a:cxn>
              </a:cxnLst>
              <a:rect l="0" t="0" r="r" b="b"/>
              <a:pathLst>
                <a:path w="79" h="86">
                  <a:moveTo>
                    <a:pt x="79" y="44"/>
                  </a:moveTo>
                  <a:cubicBezTo>
                    <a:pt x="79" y="20"/>
                    <a:pt x="62" y="1"/>
                    <a:pt x="41" y="1"/>
                  </a:cubicBezTo>
                  <a:cubicBezTo>
                    <a:pt x="18" y="0"/>
                    <a:pt x="0" y="19"/>
                    <a:pt x="0" y="43"/>
                  </a:cubicBezTo>
                  <a:cubicBezTo>
                    <a:pt x="0" y="67"/>
                    <a:pt x="18" y="86"/>
                    <a:pt x="39" y="86"/>
                  </a:cubicBezTo>
                  <a:cubicBezTo>
                    <a:pt x="61" y="86"/>
                    <a:pt x="79" y="67"/>
                    <a:pt x="79" y="4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35" name="Freeform 233"/>
            <p:cNvSpPr/>
            <p:nvPr/>
          </p:nvSpPr>
          <p:spPr bwMode="auto">
            <a:xfrm>
              <a:off x="4457693" y="4626758"/>
              <a:ext cx="122321" cy="9539"/>
            </a:xfrm>
            <a:custGeom>
              <a:avLst/>
              <a:gdLst>
                <a:gd name="T0" fmla="*/ 90 w 92"/>
                <a:gd name="T1" fmla="*/ 7 h 7"/>
                <a:gd name="T2" fmla="*/ 92 w 92"/>
                <a:gd name="T3" fmla="*/ 4 h 7"/>
                <a:gd name="T4" fmla="*/ 86 w 92"/>
                <a:gd name="T5" fmla="*/ 0 h 7"/>
                <a:gd name="T6" fmla="*/ 6 w 92"/>
                <a:gd name="T7" fmla="*/ 0 h 7"/>
                <a:gd name="T8" fmla="*/ 2 w 92"/>
                <a:gd name="T9" fmla="*/ 7 h 7"/>
                <a:gd name="T10" fmla="*/ 90 w 92"/>
                <a:gd name="T11" fmla="*/ 7 h 7"/>
              </a:gdLst>
              <a:ahLst/>
              <a:cxnLst>
                <a:cxn ang="0">
                  <a:pos x="T0" y="T1"/>
                </a:cxn>
                <a:cxn ang="0">
                  <a:pos x="T2" y="T3"/>
                </a:cxn>
                <a:cxn ang="0">
                  <a:pos x="T4" y="T5"/>
                </a:cxn>
                <a:cxn ang="0">
                  <a:pos x="T6" y="T7"/>
                </a:cxn>
                <a:cxn ang="0">
                  <a:pos x="T8" y="T9"/>
                </a:cxn>
                <a:cxn ang="0">
                  <a:pos x="T10" y="T11"/>
                </a:cxn>
              </a:cxnLst>
              <a:rect l="0" t="0" r="r" b="b"/>
              <a:pathLst>
                <a:path w="92" h="7">
                  <a:moveTo>
                    <a:pt x="90" y="7"/>
                  </a:moveTo>
                  <a:cubicBezTo>
                    <a:pt x="91" y="6"/>
                    <a:pt x="92" y="5"/>
                    <a:pt x="92" y="4"/>
                  </a:cubicBezTo>
                  <a:cubicBezTo>
                    <a:pt x="90" y="3"/>
                    <a:pt x="88" y="0"/>
                    <a:pt x="86" y="0"/>
                  </a:cubicBezTo>
                  <a:cubicBezTo>
                    <a:pt x="60" y="0"/>
                    <a:pt x="33" y="0"/>
                    <a:pt x="6" y="0"/>
                  </a:cubicBezTo>
                  <a:cubicBezTo>
                    <a:pt x="1" y="0"/>
                    <a:pt x="0" y="2"/>
                    <a:pt x="2" y="7"/>
                  </a:cubicBezTo>
                  <a:cubicBezTo>
                    <a:pt x="32" y="7"/>
                    <a:pt x="61" y="7"/>
                    <a:pt x="90"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36" name="Freeform 234"/>
            <p:cNvSpPr/>
            <p:nvPr/>
          </p:nvSpPr>
          <p:spPr bwMode="auto">
            <a:xfrm>
              <a:off x="4861129" y="4409610"/>
              <a:ext cx="63966" cy="313098"/>
            </a:xfrm>
            <a:custGeom>
              <a:avLst/>
              <a:gdLst>
                <a:gd name="T0" fmla="*/ 48 w 48"/>
                <a:gd name="T1" fmla="*/ 235 h 235"/>
                <a:gd name="T2" fmla="*/ 22 w 48"/>
                <a:gd name="T3" fmla="*/ 215 h 235"/>
                <a:gd name="T4" fmla="*/ 0 w 48"/>
                <a:gd name="T5" fmla="*/ 217 h 235"/>
                <a:gd name="T6" fmla="*/ 5 w 48"/>
                <a:gd name="T7" fmla="*/ 0 h 235"/>
                <a:gd name="T8" fmla="*/ 42 w 48"/>
                <a:gd name="T9" fmla="*/ 0 h 235"/>
                <a:gd name="T10" fmla="*/ 48 w 48"/>
                <a:gd name="T11" fmla="*/ 235 h 235"/>
              </a:gdLst>
              <a:ahLst/>
              <a:cxnLst>
                <a:cxn ang="0">
                  <a:pos x="T0" y="T1"/>
                </a:cxn>
                <a:cxn ang="0">
                  <a:pos x="T2" y="T3"/>
                </a:cxn>
                <a:cxn ang="0">
                  <a:pos x="T4" y="T5"/>
                </a:cxn>
                <a:cxn ang="0">
                  <a:pos x="T6" y="T7"/>
                </a:cxn>
                <a:cxn ang="0">
                  <a:pos x="T8" y="T9"/>
                </a:cxn>
                <a:cxn ang="0">
                  <a:pos x="T10" y="T11"/>
                </a:cxn>
              </a:cxnLst>
              <a:rect l="0" t="0" r="r" b="b"/>
              <a:pathLst>
                <a:path w="48" h="235">
                  <a:moveTo>
                    <a:pt x="48" y="235"/>
                  </a:moveTo>
                  <a:cubicBezTo>
                    <a:pt x="38" y="227"/>
                    <a:pt x="29" y="221"/>
                    <a:pt x="22" y="215"/>
                  </a:cubicBezTo>
                  <a:cubicBezTo>
                    <a:pt x="15" y="209"/>
                    <a:pt x="8" y="204"/>
                    <a:pt x="0" y="217"/>
                  </a:cubicBezTo>
                  <a:cubicBezTo>
                    <a:pt x="2" y="143"/>
                    <a:pt x="3" y="72"/>
                    <a:pt x="5" y="0"/>
                  </a:cubicBezTo>
                  <a:cubicBezTo>
                    <a:pt x="17" y="0"/>
                    <a:pt x="29" y="0"/>
                    <a:pt x="42" y="0"/>
                  </a:cubicBezTo>
                  <a:cubicBezTo>
                    <a:pt x="44" y="77"/>
                    <a:pt x="46" y="155"/>
                    <a:pt x="48" y="23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37" name="Freeform 235"/>
            <p:cNvSpPr/>
            <p:nvPr/>
          </p:nvSpPr>
          <p:spPr bwMode="auto">
            <a:xfrm>
              <a:off x="4660252" y="4484237"/>
              <a:ext cx="65088" cy="261476"/>
            </a:xfrm>
            <a:custGeom>
              <a:avLst/>
              <a:gdLst>
                <a:gd name="T0" fmla="*/ 49 w 49"/>
                <a:gd name="T1" fmla="*/ 196 h 196"/>
                <a:gd name="T2" fmla="*/ 0 w 49"/>
                <a:gd name="T3" fmla="*/ 196 h 196"/>
                <a:gd name="T4" fmla="*/ 6 w 49"/>
                <a:gd name="T5" fmla="*/ 0 h 196"/>
                <a:gd name="T6" fmla="*/ 43 w 49"/>
                <a:gd name="T7" fmla="*/ 0 h 196"/>
                <a:gd name="T8" fmla="*/ 49 w 49"/>
                <a:gd name="T9" fmla="*/ 196 h 196"/>
              </a:gdLst>
              <a:ahLst/>
              <a:cxnLst>
                <a:cxn ang="0">
                  <a:pos x="T0" y="T1"/>
                </a:cxn>
                <a:cxn ang="0">
                  <a:pos x="T2" y="T3"/>
                </a:cxn>
                <a:cxn ang="0">
                  <a:pos x="T4" y="T5"/>
                </a:cxn>
                <a:cxn ang="0">
                  <a:pos x="T6" y="T7"/>
                </a:cxn>
                <a:cxn ang="0">
                  <a:pos x="T8" y="T9"/>
                </a:cxn>
              </a:cxnLst>
              <a:rect l="0" t="0" r="r" b="b"/>
              <a:pathLst>
                <a:path w="49" h="196">
                  <a:moveTo>
                    <a:pt x="49" y="196"/>
                  </a:moveTo>
                  <a:cubicBezTo>
                    <a:pt x="32" y="196"/>
                    <a:pt x="16" y="196"/>
                    <a:pt x="0" y="196"/>
                  </a:cubicBezTo>
                  <a:cubicBezTo>
                    <a:pt x="2" y="131"/>
                    <a:pt x="4" y="66"/>
                    <a:pt x="6" y="0"/>
                  </a:cubicBezTo>
                  <a:cubicBezTo>
                    <a:pt x="18" y="0"/>
                    <a:pt x="30" y="0"/>
                    <a:pt x="43" y="0"/>
                  </a:cubicBezTo>
                  <a:cubicBezTo>
                    <a:pt x="45" y="65"/>
                    <a:pt x="47" y="130"/>
                    <a:pt x="49"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38" name="Freeform 236"/>
            <p:cNvSpPr/>
            <p:nvPr/>
          </p:nvSpPr>
          <p:spPr bwMode="auto">
            <a:xfrm>
              <a:off x="4767985" y="4485359"/>
              <a:ext cx="63966" cy="268209"/>
            </a:xfrm>
            <a:custGeom>
              <a:avLst/>
              <a:gdLst>
                <a:gd name="T0" fmla="*/ 6 w 48"/>
                <a:gd name="T1" fmla="*/ 0 h 201"/>
                <a:gd name="T2" fmla="*/ 43 w 48"/>
                <a:gd name="T3" fmla="*/ 0 h 201"/>
                <a:gd name="T4" fmla="*/ 44 w 48"/>
                <a:gd name="T5" fmla="*/ 11 h 201"/>
                <a:gd name="T6" fmla="*/ 46 w 48"/>
                <a:gd name="T7" fmla="*/ 109 h 201"/>
                <a:gd name="T8" fmla="*/ 48 w 48"/>
                <a:gd name="T9" fmla="*/ 169 h 201"/>
                <a:gd name="T10" fmla="*/ 46 w 48"/>
                <a:gd name="T11" fmla="*/ 176 h 201"/>
                <a:gd name="T12" fmla="*/ 0 w 48"/>
                <a:gd name="T13" fmla="*/ 194 h 201"/>
                <a:gd name="T14" fmla="*/ 6 w 48"/>
                <a:gd name="T15" fmla="*/ 0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01">
                  <a:moveTo>
                    <a:pt x="6" y="0"/>
                  </a:moveTo>
                  <a:cubicBezTo>
                    <a:pt x="18" y="0"/>
                    <a:pt x="30" y="0"/>
                    <a:pt x="43" y="0"/>
                  </a:cubicBezTo>
                  <a:cubicBezTo>
                    <a:pt x="43" y="3"/>
                    <a:pt x="44" y="7"/>
                    <a:pt x="44" y="11"/>
                  </a:cubicBezTo>
                  <a:cubicBezTo>
                    <a:pt x="45" y="44"/>
                    <a:pt x="45" y="76"/>
                    <a:pt x="46" y="109"/>
                  </a:cubicBezTo>
                  <a:cubicBezTo>
                    <a:pt x="47" y="129"/>
                    <a:pt x="47" y="149"/>
                    <a:pt x="48" y="169"/>
                  </a:cubicBezTo>
                  <a:cubicBezTo>
                    <a:pt x="48" y="172"/>
                    <a:pt x="48" y="175"/>
                    <a:pt x="46" y="176"/>
                  </a:cubicBezTo>
                  <a:cubicBezTo>
                    <a:pt x="33" y="187"/>
                    <a:pt x="21" y="201"/>
                    <a:pt x="0" y="194"/>
                  </a:cubicBezTo>
                  <a:cubicBezTo>
                    <a:pt x="2" y="130"/>
                    <a:pt x="4" y="65"/>
                    <a:pt x="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39" name="Freeform 237"/>
            <p:cNvSpPr/>
            <p:nvPr/>
          </p:nvSpPr>
          <p:spPr bwMode="auto">
            <a:xfrm>
              <a:off x="5136632" y="4347888"/>
              <a:ext cx="105488" cy="115027"/>
            </a:xfrm>
            <a:custGeom>
              <a:avLst/>
              <a:gdLst>
                <a:gd name="T0" fmla="*/ 79 w 79"/>
                <a:gd name="T1" fmla="*/ 44 h 86"/>
                <a:gd name="T2" fmla="*/ 39 w 79"/>
                <a:gd name="T3" fmla="*/ 86 h 86"/>
                <a:gd name="T4" fmla="*/ 0 w 79"/>
                <a:gd name="T5" fmla="*/ 43 h 86"/>
                <a:gd name="T6" fmla="*/ 41 w 79"/>
                <a:gd name="T7" fmla="*/ 1 h 86"/>
                <a:gd name="T8" fmla="*/ 79 w 79"/>
                <a:gd name="T9" fmla="*/ 44 h 86"/>
              </a:gdLst>
              <a:ahLst/>
              <a:cxnLst>
                <a:cxn ang="0">
                  <a:pos x="T0" y="T1"/>
                </a:cxn>
                <a:cxn ang="0">
                  <a:pos x="T2" y="T3"/>
                </a:cxn>
                <a:cxn ang="0">
                  <a:pos x="T4" y="T5"/>
                </a:cxn>
                <a:cxn ang="0">
                  <a:pos x="T6" y="T7"/>
                </a:cxn>
                <a:cxn ang="0">
                  <a:pos x="T8" y="T9"/>
                </a:cxn>
              </a:cxnLst>
              <a:rect l="0" t="0" r="r" b="b"/>
              <a:pathLst>
                <a:path w="79" h="86">
                  <a:moveTo>
                    <a:pt x="79" y="44"/>
                  </a:moveTo>
                  <a:cubicBezTo>
                    <a:pt x="79" y="67"/>
                    <a:pt x="61" y="86"/>
                    <a:pt x="39" y="86"/>
                  </a:cubicBezTo>
                  <a:cubicBezTo>
                    <a:pt x="18" y="86"/>
                    <a:pt x="0" y="67"/>
                    <a:pt x="0" y="43"/>
                  </a:cubicBezTo>
                  <a:cubicBezTo>
                    <a:pt x="0" y="19"/>
                    <a:pt x="18" y="0"/>
                    <a:pt x="41" y="1"/>
                  </a:cubicBezTo>
                  <a:cubicBezTo>
                    <a:pt x="62" y="1"/>
                    <a:pt x="79" y="20"/>
                    <a:pt x="79" y="4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0" name="Freeform 238"/>
            <p:cNvSpPr/>
            <p:nvPr/>
          </p:nvSpPr>
          <p:spPr bwMode="auto">
            <a:xfrm>
              <a:off x="4670913" y="4379871"/>
              <a:ext cx="42083" cy="44328"/>
            </a:xfrm>
            <a:custGeom>
              <a:avLst/>
              <a:gdLst>
                <a:gd name="T0" fmla="*/ 32 w 32"/>
                <a:gd name="T1" fmla="*/ 33 h 33"/>
                <a:gd name="T2" fmla="*/ 0 w 32"/>
                <a:gd name="T3" fmla="*/ 33 h 33"/>
                <a:gd name="T4" fmla="*/ 0 w 32"/>
                <a:gd name="T5" fmla="*/ 0 h 33"/>
                <a:gd name="T6" fmla="*/ 32 w 32"/>
                <a:gd name="T7" fmla="*/ 0 h 33"/>
                <a:gd name="T8" fmla="*/ 32 w 32"/>
                <a:gd name="T9" fmla="*/ 33 h 33"/>
              </a:gdLst>
              <a:ahLst/>
              <a:cxnLst>
                <a:cxn ang="0">
                  <a:pos x="T0" y="T1"/>
                </a:cxn>
                <a:cxn ang="0">
                  <a:pos x="T2" y="T3"/>
                </a:cxn>
                <a:cxn ang="0">
                  <a:pos x="T4" y="T5"/>
                </a:cxn>
                <a:cxn ang="0">
                  <a:pos x="T6" y="T7"/>
                </a:cxn>
                <a:cxn ang="0">
                  <a:pos x="T8" y="T9"/>
                </a:cxn>
              </a:cxnLst>
              <a:rect l="0" t="0" r="r" b="b"/>
              <a:pathLst>
                <a:path w="32" h="33">
                  <a:moveTo>
                    <a:pt x="32" y="33"/>
                  </a:moveTo>
                  <a:cubicBezTo>
                    <a:pt x="22" y="33"/>
                    <a:pt x="11" y="33"/>
                    <a:pt x="0" y="33"/>
                  </a:cubicBezTo>
                  <a:cubicBezTo>
                    <a:pt x="0" y="22"/>
                    <a:pt x="0" y="11"/>
                    <a:pt x="0" y="0"/>
                  </a:cubicBezTo>
                  <a:cubicBezTo>
                    <a:pt x="11" y="0"/>
                    <a:pt x="21" y="0"/>
                    <a:pt x="32" y="0"/>
                  </a:cubicBezTo>
                  <a:cubicBezTo>
                    <a:pt x="32" y="10"/>
                    <a:pt x="32" y="21"/>
                    <a:pt x="32"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1" name="Freeform 239"/>
            <p:cNvSpPr/>
            <p:nvPr/>
          </p:nvSpPr>
          <p:spPr bwMode="auto">
            <a:xfrm>
              <a:off x="4775840" y="4374821"/>
              <a:ext cx="47694" cy="42644"/>
            </a:xfrm>
            <a:custGeom>
              <a:avLst/>
              <a:gdLst>
                <a:gd name="T0" fmla="*/ 0 w 36"/>
                <a:gd name="T1" fmla="*/ 32 h 32"/>
                <a:gd name="T2" fmla="*/ 2 w 36"/>
                <a:gd name="T3" fmla="*/ 0 h 32"/>
                <a:gd name="T4" fmla="*/ 34 w 36"/>
                <a:gd name="T5" fmla="*/ 0 h 32"/>
                <a:gd name="T6" fmla="*/ 36 w 36"/>
                <a:gd name="T7" fmla="*/ 32 h 32"/>
                <a:gd name="T8" fmla="*/ 0 w 36"/>
                <a:gd name="T9" fmla="*/ 32 h 32"/>
              </a:gdLst>
              <a:ahLst/>
              <a:cxnLst>
                <a:cxn ang="0">
                  <a:pos x="T0" y="T1"/>
                </a:cxn>
                <a:cxn ang="0">
                  <a:pos x="T2" y="T3"/>
                </a:cxn>
                <a:cxn ang="0">
                  <a:pos x="T4" y="T5"/>
                </a:cxn>
                <a:cxn ang="0">
                  <a:pos x="T6" y="T7"/>
                </a:cxn>
                <a:cxn ang="0">
                  <a:pos x="T8" y="T9"/>
                </a:cxn>
              </a:cxnLst>
              <a:rect l="0" t="0" r="r" b="b"/>
              <a:pathLst>
                <a:path w="36" h="32">
                  <a:moveTo>
                    <a:pt x="0" y="32"/>
                  </a:moveTo>
                  <a:cubicBezTo>
                    <a:pt x="1" y="21"/>
                    <a:pt x="2" y="11"/>
                    <a:pt x="2" y="0"/>
                  </a:cubicBezTo>
                  <a:cubicBezTo>
                    <a:pt x="13" y="0"/>
                    <a:pt x="23" y="0"/>
                    <a:pt x="34" y="0"/>
                  </a:cubicBezTo>
                  <a:cubicBezTo>
                    <a:pt x="35" y="11"/>
                    <a:pt x="35" y="21"/>
                    <a:pt x="36" y="32"/>
                  </a:cubicBezTo>
                  <a:cubicBezTo>
                    <a:pt x="24" y="32"/>
                    <a:pt x="13" y="32"/>
                    <a:pt x="0"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2" name="Freeform 240"/>
            <p:cNvSpPr/>
            <p:nvPr/>
          </p:nvSpPr>
          <p:spPr bwMode="auto">
            <a:xfrm>
              <a:off x="4870668" y="4317588"/>
              <a:ext cx="42083" cy="31983"/>
            </a:xfrm>
            <a:custGeom>
              <a:avLst/>
              <a:gdLst>
                <a:gd name="T0" fmla="*/ 0 w 32"/>
                <a:gd name="T1" fmla="*/ 24 h 24"/>
                <a:gd name="T2" fmla="*/ 0 w 32"/>
                <a:gd name="T3" fmla="*/ 0 h 24"/>
                <a:gd name="T4" fmla="*/ 32 w 32"/>
                <a:gd name="T5" fmla="*/ 0 h 24"/>
                <a:gd name="T6" fmla="*/ 32 w 32"/>
                <a:gd name="T7" fmla="*/ 24 h 24"/>
                <a:gd name="T8" fmla="*/ 0 w 32"/>
                <a:gd name="T9" fmla="*/ 24 h 24"/>
              </a:gdLst>
              <a:ahLst/>
              <a:cxnLst>
                <a:cxn ang="0">
                  <a:pos x="T0" y="T1"/>
                </a:cxn>
                <a:cxn ang="0">
                  <a:pos x="T2" y="T3"/>
                </a:cxn>
                <a:cxn ang="0">
                  <a:pos x="T4" y="T5"/>
                </a:cxn>
                <a:cxn ang="0">
                  <a:pos x="T6" y="T7"/>
                </a:cxn>
                <a:cxn ang="0">
                  <a:pos x="T8" y="T9"/>
                </a:cxn>
              </a:cxnLst>
              <a:rect l="0" t="0" r="r" b="b"/>
              <a:pathLst>
                <a:path w="32" h="24">
                  <a:moveTo>
                    <a:pt x="0" y="24"/>
                  </a:moveTo>
                  <a:cubicBezTo>
                    <a:pt x="0" y="16"/>
                    <a:pt x="0" y="8"/>
                    <a:pt x="0" y="0"/>
                  </a:cubicBezTo>
                  <a:cubicBezTo>
                    <a:pt x="11" y="0"/>
                    <a:pt x="21" y="0"/>
                    <a:pt x="32" y="0"/>
                  </a:cubicBezTo>
                  <a:cubicBezTo>
                    <a:pt x="32" y="8"/>
                    <a:pt x="32" y="16"/>
                    <a:pt x="32" y="24"/>
                  </a:cubicBezTo>
                  <a:cubicBezTo>
                    <a:pt x="22" y="24"/>
                    <a:pt x="11" y="24"/>
                    <a:pt x="0" y="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3" name="Freeform 241"/>
            <p:cNvSpPr/>
            <p:nvPr/>
          </p:nvSpPr>
          <p:spPr bwMode="auto">
            <a:xfrm>
              <a:off x="4870668" y="4360232"/>
              <a:ext cx="42083" cy="14589"/>
            </a:xfrm>
            <a:custGeom>
              <a:avLst/>
              <a:gdLst>
                <a:gd name="T0" fmla="*/ 0 w 32"/>
                <a:gd name="T1" fmla="*/ 11 h 11"/>
                <a:gd name="T2" fmla="*/ 0 w 32"/>
                <a:gd name="T3" fmla="*/ 0 h 11"/>
                <a:gd name="T4" fmla="*/ 32 w 32"/>
                <a:gd name="T5" fmla="*/ 0 h 11"/>
                <a:gd name="T6" fmla="*/ 32 w 32"/>
                <a:gd name="T7" fmla="*/ 11 h 11"/>
                <a:gd name="T8" fmla="*/ 0 w 32"/>
                <a:gd name="T9" fmla="*/ 11 h 11"/>
              </a:gdLst>
              <a:ahLst/>
              <a:cxnLst>
                <a:cxn ang="0">
                  <a:pos x="T0" y="T1"/>
                </a:cxn>
                <a:cxn ang="0">
                  <a:pos x="T2" y="T3"/>
                </a:cxn>
                <a:cxn ang="0">
                  <a:pos x="T4" y="T5"/>
                </a:cxn>
                <a:cxn ang="0">
                  <a:pos x="T6" y="T7"/>
                </a:cxn>
                <a:cxn ang="0">
                  <a:pos x="T8" y="T9"/>
                </a:cxn>
              </a:cxnLst>
              <a:rect l="0" t="0" r="r" b="b"/>
              <a:pathLst>
                <a:path w="32" h="11">
                  <a:moveTo>
                    <a:pt x="0" y="11"/>
                  </a:moveTo>
                  <a:cubicBezTo>
                    <a:pt x="0" y="7"/>
                    <a:pt x="0" y="4"/>
                    <a:pt x="0" y="0"/>
                  </a:cubicBezTo>
                  <a:cubicBezTo>
                    <a:pt x="11" y="0"/>
                    <a:pt x="21" y="0"/>
                    <a:pt x="32" y="0"/>
                  </a:cubicBezTo>
                  <a:cubicBezTo>
                    <a:pt x="32" y="4"/>
                    <a:pt x="32" y="7"/>
                    <a:pt x="32" y="11"/>
                  </a:cubicBezTo>
                  <a:cubicBezTo>
                    <a:pt x="22" y="11"/>
                    <a:pt x="11" y="11"/>
                    <a:pt x="0" y="1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4" name="Freeform 242"/>
            <p:cNvSpPr/>
            <p:nvPr/>
          </p:nvSpPr>
          <p:spPr bwMode="auto">
            <a:xfrm>
              <a:off x="4867862" y="4382676"/>
              <a:ext cx="47694" cy="14589"/>
            </a:xfrm>
            <a:custGeom>
              <a:avLst/>
              <a:gdLst>
                <a:gd name="T0" fmla="*/ 0 w 36"/>
                <a:gd name="T1" fmla="*/ 11 h 11"/>
                <a:gd name="T2" fmla="*/ 0 w 36"/>
                <a:gd name="T3" fmla="*/ 0 h 11"/>
                <a:gd name="T4" fmla="*/ 36 w 36"/>
                <a:gd name="T5" fmla="*/ 0 h 11"/>
                <a:gd name="T6" fmla="*/ 36 w 36"/>
                <a:gd name="T7" fmla="*/ 11 h 11"/>
                <a:gd name="T8" fmla="*/ 0 w 36"/>
                <a:gd name="T9" fmla="*/ 11 h 11"/>
              </a:gdLst>
              <a:ahLst/>
              <a:cxnLst>
                <a:cxn ang="0">
                  <a:pos x="T0" y="T1"/>
                </a:cxn>
                <a:cxn ang="0">
                  <a:pos x="T2" y="T3"/>
                </a:cxn>
                <a:cxn ang="0">
                  <a:pos x="T4" y="T5"/>
                </a:cxn>
                <a:cxn ang="0">
                  <a:pos x="T6" y="T7"/>
                </a:cxn>
                <a:cxn ang="0">
                  <a:pos x="T8" y="T9"/>
                </a:cxn>
              </a:cxnLst>
              <a:rect l="0" t="0" r="r" b="b"/>
              <a:pathLst>
                <a:path w="36" h="11">
                  <a:moveTo>
                    <a:pt x="0" y="11"/>
                  </a:moveTo>
                  <a:cubicBezTo>
                    <a:pt x="0" y="7"/>
                    <a:pt x="0" y="4"/>
                    <a:pt x="0" y="0"/>
                  </a:cubicBezTo>
                  <a:cubicBezTo>
                    <a:pt x="12" y="0"/>
                    <a:pt x="24" y="0"/>
                    <a:pt x="36" y="0"/>
                  </a:cubicBezTo>
                  <a:cubicBezTo>
                    <a:pt x="36" y="4"/>
                    <a:pt x="36" y="7"/>
                    <a:pt x="36" y="11"/>
                  </a:cubicBezTo>
                  <a:cubicBezTo>
                    <a:pt x="24" y="11"/>
                    <a:pt x="13" y="11"/>
                    <a:pt x="0" y="1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5" name="Freeform 243"/>
            <p:cNvSpPr/>
            <p:nvPr/>
          </p:nvSpPr>
          <p:spPr bwMode="auto">
            <a:xfrm>
              <a:off x="4457693" y="4626758"/>
              <a:ext cx="122321" cy="9539"/>
            </a:xfrm>
            <a:custGeom>
              <a:avLst/>
              <a:gdLst>
                <a:gd name="T0" fmla="*/ 90 w 92"/>
                <a:gd name="T1" fmla="*/ 7 h 7"/>
                <a:gd name="T2" fmla="*/ 2 w 92"/>
                <a:gd name="T3" fmla="*/ 7 h 7"/>
                <a:gd name="T4" fmla="*/ 6 w 92"/>
                <a:gd name="T5" fmla="*/ 0 h 7"/>
                <a:gd name="T6" fmla="*/ 86 w 92"/>
                <a:gd name="T7" fmla="*/ 0 h 7"/>
                <a:gd name="T8" fmla="*/ 92 w 92"/>
                <a:gd name="T9" fmla="*/ 4 h 7"/>
                <a:gd name="T10" fmla="*/ 90 w 92"/>
                <a:gd name="T11" fmla="*/ 7 h 7"/>
              </a:gdLst>
              <a:ahLst/>
              <a:cxnLst>
                <a:cxn ang="0">
                  <a:pos x="T0" y="T1"/>
                </a:cxn>
                <a:cxn ang="0">
                  <a:pos x="T2" y="T3"/>
                </a:cxn>
                <a:cxn ang="0">
                  <a:pos x="T4" y="T5"/>
                </a:cxn>
                <a:cxn ang="0">
                  <a:pos x="T6" y="T7"/>
                </a:cxn>
                <a:cxn ang="0">
                  <a:pos x="T8" y="T9"/>
                </a:cxn>
                <a:cxn ang="0">
                  <a:pos x="T10" y="T11"/>
                </a:cxn>
              </a:cxnLst>
              <a:rect l="0" t="0" r="r" b="b"/>
              <a:pathLst>
                <a:path w="92" h="7">
                  <a:moveTo>
                    <a:pt x="90" y="7"/>
                  </a:moveTo>
                  <a:cubicBezTo>
                    <a:pt x="61" y="7"/>
                    <a:pt x="32" y="7"/>
                    <a:pt x="2" y="7"/>
                  </a:cubicBezTo>
                  <a:cubicBezTo>
                    <a:pt x="0" y="2"/>
                    <a:pt x="1" y="0"/>
                    <a:pt x="6" y="0"/>
                  </a:cubicBezTo>
                  <a:cubicBezTo>
                    <a:pt x="33" y="0"/>
                    <a:pt x="60" y="0"/>
                    <a:pt x="86" y="0"/>
                  </a:cubicBezTo>
                  <a:cubicBezTo>
                    <a:pt x="88" y="0"/>
                    <a:pt x="90" y="3"/>
                    <a:pt x="92" y="4"/>
                  </a:cubicBezTo>
                  <a:cubicBezTo>
                    <a:pt x="92" y="5"/>
                    <a:pt x="91" y="6"/>
                    <a:pt x="90"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6" name="Freeform 244"/>
            <p:cNvSpPr/>
            <p:nvPr/>
          </p:nvSpPr>
          <p:spPr bwMode="auto">
            <a:xfrm>
              <a:off x="4776962" y="4428126"/>
              <a:ext cx="46572" cy="14589"/>
            </a:xfrm>
            <a:custGeom>
              <a:avLst/>
              <a:gdLst>
                <a:gd name="T0" fmla="*/ 35 w 35"/>
                <a:gd name="T1" fmla="*/ 11 h 11"/>
                <a:gd name="T2" fmla="*/ 0 w 35"/>
                <a:gd name="T3" fmla="*/ 11 h 11"/>
                <a:gd name="T4" fmla="*/ 0 w 35"/>
                <a:gd name="T5" fmla="*/ 0 h 11"/>
                <a:gd name="T6" fmla="*/ 35 w 35"/>
                <a:gd name="T7" fmla="*/ 0 h 11"/>
                <a:gd name="T8" fmla="*/ 35 w 35"/>
                <a:gd name="T9" fmla="*/ 11 h 11"/>
              </a:gdLst>
              <a:ahLst/>
              <a:cxnLst>
                <a:cxn ang="0">
                  <a:pos x="T0" y="T1"/>
                </a:cxn>
                <a:cxn ang="0">
                  <a:pos x="T2" y="T3"/>
                </a:cxn>
                <a:cxn ang="0">
                  <a:pos x="T4" y="T5"/>
                </a:cxn>
                <a:cxn ang="0">
                  <a:pos x="T6" y="T7"/>
                </a:cxn>
                <a:cxn ang="0">
                  <a:pos x="T8" y="T9"/>
                </a:cxn>
              </a:cxnLst>
              <a:rect l="0" t="0" r="r" b="b"/>
              <a:pathLst>
                <a:path w="35" h="11">
                  <a:moveTo>
                    <a:pt x="35" y="11"/>
                  </a:moveTo>
                  <a:cubicBezTo>
                    <a:pt x="23" y="11"/>
                    <a:pt x="12" y="11"/>
                    <a:pt x="0" y="11"/>
                  </a:cubicBezTo>
                  <a:cubicBezTo>
                    <a:pt x="0" y="8"/>
                    <a:pt x="0" y="4"/>
                    <a:pt x="0" y="0"/>
                  </a:cubicBezTo>
                  <a:cubicBezTo>
                    <a:pt x="12" y="0"/>
                    <a:pt x="23" y="0"/>
                    <a:pt x="35" y="0"/>
                  </a:cubicBezTo>
                  <a:cubicBezTo>
                    <a:pt x="35" y="4"/>
                    <a:pt x="35" y="8"/>
                    <a:pt x="35" y="1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7" name="Freeform 245"/>
            <p:cNvSpPr/>
            <p:nvPr/>
          </p:nvSpPr>
          <p:spPr bwMode="auto">
            <a:xfrm>
              <a:off x="4776962" y="4452254"/>
              <a:ext cx="48255" cy="14589"/>
            </a:xfrm>
            <a:custGeom>
              <a:avLst/>
              <a:gdLst>
                <a:gd name="T0" fmla="*/ 36 w 36"/>
                <a:gd name="T1" fmla="*/ 11 h 11"/>
                <a:gd name="T2" fmla="*/ 0 w 36"/>
                <a:gd name="T3" fmla="*/ 11 h 11"/>
                <a:gd name="T4" fmla="*/ 0 w 36"/>
                <a:gd name="T5" fmla="*/ 0 h 11"/>
                <a:gd name="T6" fmla="*/ 36 w 36"/>
                <a:gd name="T7" fmla="*/ 0 h 11"/>
                <a:gd name="T8" fmla="*/ 36 w 36"/>
                <a:gd name="T9" fmla="*/ 11 h 11"/>
              </a:gdLst>
              <a:ahLst/>
              <a:cxnLst>
                <a:cxn ang="0">
                  <a:pos x="T0" y="T1"/>
                </a:cxn>
                <a:cxn ang="0">
                  <a:pos x="T2" y="T3"/>
                </a:cxn>
                <a:cxn ang="0">
                  <a:pos x="T4" y="T5"/>
                </a:cxn>
                <a:cxn ang="0">
                  <a:pos x="T6" y="T7"/>
                </a:cxn>
                <a:cxn ang="0">
                  <a:pos x="T8" y="T9"/>
                </a:cxn>
              </a:cxnLst>
              <a:rect l="0" t="0" r="r" b="b"/>
              <a:pathLst>
                <a:path w="36" h="11">
                  <a:moveTo>
                    <a:pt x="36" y="11"/>
                  </a:moveTo>
                  <a:cubicBezTo>
                    <a:pt x="23" y="11"/>
                    <a:pt x="12" y="11"/>
                    <a:pt x="0" y="11"/>
                  </a:cubicBezTo>
                  <a:cubicBezTo>
                    <a:pt x="0" y="7"/>
                    <a:pt x="0" y="4"/>
                    <a:pt x="0" y="0"/>
                  </a:cubicBezTo>
                  <a:cubicBezTo>
                    <a:pt x="12" y="0"/>
                    <a:pt x="23" y="0"/>
                    <a:pt x="36" y="0"/>
                  </a:cubicBezTo>
                  <a:cubicBezTo>
                    <a:pt x="36" y="4"/>
                    <a:pt x="36" y="7"/>
                    <a:pt x="36" y="1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8" name="Freeform 246"/>
            <p:cNvSpPr/>
            <p:nvPr/>
          </p:nvSpPr>
          <p:spPr bwMode="auto">
            <a:xfrm>
              <a:off x="4669230" y="4433176"/>
              <a:ext cx="46572" cy="15150"/>
            </a:xfrm>
            <a:custGeom>
              <a:avLst/>
              <a:gdLst>
                <a:gd name="T0" fmla="*/ 35 w 35"/>
                <a:gd name="T1" fmla="*/ 0 h 11"/>
                <a:gd name="T2" fmla="*/ 35 w 35"/>
                <a:gd name="T3" fmla="*/ 11 h 11"/>
                <a:gd name="T4" fmla="*/ 0 w 35"/>
                <a:gd name="T5" fmla="*/ 11 h 11"/>
                <a:gd name="T6" fmla="*/ 0 w 35"/>
                <a:gd name="T7" fmla="*/ 0 h 11"/>
                <a:gd name="T8" fmla="*/ 35 w 35"/>
                <a:gd name="T9" fmla="*/ 0 h 11"/>
              </a:gdLst>
              <a:ahLst/>
              <a:cxnLst>
                <a:cxn ang="0">
                  <a:pos x="T0" y="T1"/>
                </a:cxn>
                <a:cxn ang="0">
                  <a:pos x="T2" y="T3"/>
                </a:cxn>
                <a:cxn ang="0">
                  <a:pos x="T4" y="T5"/>
                </a:cxn>
                <a:cxn ang="0">
                  <a:pos x="T6" y="T7"/>
                </a:cxn>
                <a:cxn ang="0">
                  <a:pos x="T8" y="T9"/>
                </a:cxn>
              </a:cxnLst>
              <a:rect l="0" t="0" r="r" b="b"/>
              <a:pathLst>
                <a:path w="35" h="11">
                  <a:moveTo>
                    <a:pt x="35" y="0"/>
                  </a:moveTo>
                  <a:cubicBezTo>
                    <a:pt x="35" y="4"/>
                    <a:pt x="35" y="7"/>
                    <a:pt x="35" y="11"/>
                  </a:cubicBezTo>
                  <a:cubicBezTo>
                    <a:pt x="24" y="11"/>
                    <a:pt x="12" y="11"/>
                    <a:pt x="0" y="11"/>
                  </a:cubicBezTo>
                  <a:cubicBezTo>
                    <a:pt x="0" y="7"/>
                    <a:pt x="0" y="4"/>
                    <a:pt x="0" y="0"/>
                  </a:cubicBezTo>
                  <a:cubicBezTo>
                    <a:pt x="12" y="0"/>
                    <a:pt x="23" y="0"/>
                    <a:pt x="3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49" name="Freeform 247"/>
            <p:cNvSpPr/>
            <p:nvPr/>
          </p:nvSpPr>
          <p:spPr bwMode="auto">
            <a:xfrm>
              <a:off x="4668108" y="4458987"/>
              <a:ext cx="49377" cy="12906"/>
            </a:xfrm>
            <a:custGeom>
              <a:avLst/>
              <a:gdLst>
                <a:gd name="T0" fmla="*/ 37 w 37"/>
                <a:gd name="T1" fmla="*/ 10 h 10"/>
                <a:gd name="T2" fmla="*/ 0 w 37"/>
                <a:gd name="T3" fmla="*/ 10 h 10"/>
                <a:gd name="T4" fmla="*/ 0 w 37"/>
                <a:gd name="T5" fmla="*/ 0 h 10"/>
                <a:gd name="T6" fmla="*/ 37 w 37"/>
                <a:gd name="T7" fmla="*/ 0 h 10"/>
                <a:gd name="T8" fmla="*/ 37 w 37"/>
                <a:gd name="T9" fmla="*/ 10 h 10"/>
              </a:gdLst>
              <a:ahLst/>
              <a:cxnLst>
                <a:cxn ang="0">
                  <a:pos x="T0" y="T1"/>
                </a:cxn>
                <a:cxn ang="0">
                  <a:pos x="T2" y="T3"/>
                </a:cxn>
                <a:cxn ang="0">
                  <a:pos x="T4" y="T5"/>
                </a:cxn>
                <a:cxn ang="0">
                  <a:pos x="T6" y="T7"/>
                </a:cxn>
                <a:cxn ang="0">
                  <a:pos x="T8" y="T9"/>
                </a:cxn>
              </a:cxnLst>
              <a:rect l="0" t="0" r="r" b="b"/>
              <a:pathLst>
                <a:path w="37" h="10">
                  <a:moveTo>
                    <a:pt x="37" y="10"/>
                  </a:moveTo>
                  <a:cubicBezTo>
                    <a:pt x="24" y="10"/>
                    <a:pt x="12" y="10"/>
                    <a:pt x="0" y="10"/>
                  </a:cubicBezTo>
                  <a:cubicBezTo>
                    <a:pt x="0" y="7"/>
                    <a:pt x="0" y="4"/>
                    <a:pt x="0" y="0"/>
                  </a:cubicBezTo>
                  <a:cubicBezTo>
                    <a:pt x="12" y="0"/>
                    <a:pt x="24" y="0"/>
                    <a:pt x="37" y="0"/>
                  </a:cubicBezTo>
                  <a:cubicBezTo>
                    <a:pt x="37" y="4"/>
                    <a:pt x="37" y="7"/>
                    <a:pt x="37"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50" name="Freeform 248"/>
            <p:cNvSpPr>
              <a:spLocks noEditPoints="1"/>
            </p:cNvSpPr>
            <p:nvPr/>
          </p:nvSpPr>
          <p:spPr bwMode="auto">
            <a:xfrm>
              <a:off x="4397654" y="4625636"/>
              <a:ext cx="900016" cy="310292"/>
            </a:xfrm>
            <a:custGeom>
              <a:avLst/>
              <a:gdLst>
                <a:gd name="T0" fmla="*/ 541 w 676"/>
                <a:gd name="T1" fmla="*/ 1 h 233"/>
                <a:gd name="T2" fmla="*/ 359 w 676"/>
                <a:gd name="T3" fmla="*/ 54 h 233"/>
                <a:gd name="T4" fmla="*/ 30 w 676"/>
                <a:gd name="T5" fmla="*/ 125 h 233"/>
                <a:gd name="T6" fmla="*/ 378 w 676"/>
                <a:gd name="T7" fmla="*/ 186 h 233"/>
                <a:gd name="T8" fmla="*/ 643 w 676"/>
                <a:gd name="T9" fmla="*/ 233 h 233"/>
                <a:gd name="T10" fmla="*/ 658 w 676"/>
                <a:gd name="T11" fmla="*/ 186 h 233"/>
                <a:gd name="T12" fmla="*/ 70 w 676"/>
                <a:gd name="T13" fmla="*/ 210 h 233"/>
                <a:gd name="T14" fmla="*/ 36 w 676"/>
                <a:gd name="T15" fmla="*/ 221 h 233"/>
                <a:gd name="T16" fmla="*/ 28 w 676"/>
                <a:gd name="T17" fmla="*/ 210 h 233"/>
                <a:gd name="T18" fmla="*/ 71 w 676"/>
                <a:gd name="T19" fmla="*/ 210 h 233"/>
                <a:gd name="T20" fmla="*/ 113 w 676"/>
                <a:gd name="T21" fmla="*/ 210 h 233"/>
                <a:gd name="T22" fmla="*/ 155 w 676"/>
                <a:gd name="T23" fmla="*/ 210 h 233"/>
                <a:gd name="T24" fmla="*/ 281 w 676"/>
                <a:gd name="T25" fmla="*/ 145 h 233"/>
                <a:gd name="T26" fmla="*/ 245 w 676"/>
                <a:gd name="T27" fmla="*/ 145 h 233"/>
                <a:gd name="T28" fmla="*/ 244 w 676"/>
                <a:gd name="T29" fmla="*/ 164 h 233"/>
                <a:gd name="T30" fmla="*/ 231 w 676"/>
                <a:gd name="T31" fmla="*/ 145 h 233"/>
                <a:gd name="T32" fmla="*/ 241 w 676"/>
                <a:gd name="T33" fmla="*/ 156 h 233"/>
                <a:gd name="T34" fmla="*/ 214 w 676"/>
                <a:gd name="T35" fmla="*/ 141 h 233"/>
                <a:gd name="T36" fmla="*/ 204 w 676"/>
                <a:gd name="T37" fmla="*/ 176 h 233"/>
                <a:gd name="T38" fmla="*/ 204 w 676"/>
                <a:gd name="T39" fmla="*/ 180 h 233"/>
                <a:gd name="T40" fmla="*/ 204 w 676"/>
                <a:gd name="T41" fmla="*/ 152 h 233"/>
                <a:gd name="T42" fmla="*/ 218 w 676"/>
                <a:gd name="T43" fmla="*/ 145 h 233"/>
                <a:gd name="T44" fmla="*/ 218 w 676"/>
                <a:gd name="T45" fmla="*/ 176 h 233"/>
                <a:gd name="T46" fmla="*/ 227 w 676"/>
                <a:gd name="T47" fmla="*/ 200 h 233"/>
                <a:gd name="T48" fmla="*/ 231 w 676"/>
                <a:gd name="T49" fmla="*/ 141 h 233"/>
                <a:gd name="T50" fmla="*/ 231 w 676"/>
                <a:gd name="T51" fmla="*/ 200 h 233"/>
                <a:gd name="T52" fmla="*/ 241 w 676"/>
                <a:gd name="T53" fmla="*/ 188 h 233"/>
                <a:gd name="T54" fmla="*/ 245 w 676"/>
                <a:gd name="T55" fmla="*/ 191 h 233"/>
                <a:gd name="T56" fmla="*/ 267 w 676"/>
                <a:gd name="T57" fmla="*/ 156 h 233"/>
                <a:gd name="T58" fmla="*/ 267 w 676"/>
                <a:gd name="T59" fmla="*/ 191 h 233"/>
                <a:gd name="T60" fmla="*/ 258 w 676"/>
                <a:gd name="T61" fmla="*/ 176 h 233"/>
                <a:gd name="T62" fmla="*/ 268 w 676"/>
                <a:gd name="T63" fmla="*/ 141 h 233"/>
                <a:gd name="T64" fmla="*/ 271 w 676"/>
                <a:gd name="T65" fmla="*/ 180 h 233"/>
                <a:gd name="T66" fmla="*/ 281 w 676"/>
                <a:gd name="T67" fmla="*/ 141 h 233"/>
                <a:gd name="T68" fmla="*/ 341 w 676"/>
                <a:gd name="T69" fmla="*/ 115 h 233"/>
                <a:gd name="T70" fmla="*/ 376 w 676"/>
                <a:gd name="T71" fmla="*/ 150 h 233"/>
                <a:gd name="T72" fmla="*/ 506 w 676"/>
                <a:gd name="T73" fmla="*/ 106 h 233"/>
                <a:gd name="T74" fmla="*/ 500 w 676"/>
                <a:gd name="T75" fmla="*/ 86 h 233"/>
                <a:gd name="T76" fmla="*/ 465 w 676"/>
                <a:gd name="T77" fmla="*/ 112 h 233"/>
                <a:gd name="T78" fmla="*/ 480 w 676"/>
                <a:gd name="T79" fmla="*/ 148 h 233"/>
                <a:gd name="T80" fmla="*/ 465 w 676"/>
                <a:gd name="T81" fmla="*/ 189 h 233"/>
                <a:gd name="T82" fmla="*/ 480 w 676"/>
                <a:gd name="T83" fmla="*/ 106 h 233"/>
                <a:gd name="T84" fmla="*/ 500 w 676"/>
                <a:gd name="T85" fmla="*/ 127 h 233"/>
                <a:gd name="T86" fmla="*/ 486 w 676"/>
                <a:gd name="T87" fmla="*/ 154 h 233"/>
                <a:gd name="T88" fmla="*/ 500 w 676"/>
                <a:gd name="T89" fmla="*/ 174 h 233"/>
                <a:gd name="T90" fmla="*/ 521 w 676"/>
                <a:gd name="T91" fmla="*/ 133 h 233"/>
                <a:gd name="T92" fmla="*/ 521 w 676"/>
                <a:gd name="T93" fmla="*/ 190 h 233"/>
                <a:gd name="T94" fmla="*/ 541 w 676"/>
                <a:gd name="T95" fmla="*/ 86 h 233"/>
                <a:gd name="T96" fmla="*/ 527 w 676"/>
                <a:gd name="T97" fmla="*/ 112 h 233"/>
                <a:gd name="T98" fmla="*/ 527 w 676"/>
                <a:gd name="T99" fmla="*/ 134 h 233"/>
                <a:gd name="T100" fmla="*/ 527 w 676"/>
                <a:gd name="T101" fmla="*/ 189 h 233"/>
                <a:gd name="T102" fmla="*/ 568 w 676"/>
                <a:gd name="T103" fmla="*/ 112 h 233"/>
                <a:gd name="T104" fmla="*/ 562 w 676"/>
                <a:gd name="T105" fmla="*/ 106 h 233"/>
                <a:gd name="T106" fmla="*/ 562 w 676"/>
                <a:gd name="T107" fmla="*/ 190 h 233"/>
                <a:gd name="T108" fmla="*/ 562 w 676"/>
                <a:gd name="T109" fmla="*/ 154 h 233"/>
                <a:gd name="T110" fmla="*/ 547 w 676"/>
                <a:gd name="T111" fmla="*/ 86 h 233"/>
                <a:gd name="T112" fmla="*/ 582 w 676"/>
                <a:gd name="T113" fmla="*/ 190 h 233"/>
                <a:gd name="T114" fmla="*/ 568 w 676"/>
                <a:gd name="T115" fmla="*/ 134 h 233"/>
                <a:gd name="T116" fmla="*/ 658 w 676"/>
                <a:gd name="T117" fmla="*/ 1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6" h="233">
                  <a:moveTo>
                    <a:pt x="676" y="99"/>
                  </a:moveTo>
                  <a:cubicBezTo>
                    <a:pt x="661" y="99"/>
                    <a:pt x="647" y="99"/>
                    <a:pt x="632" y="99"/>
                  </a:cubicBezTo>
                  <a:cubicBezTo>
                    <a:pt x="632" y="95"/>
                    <a:pt x="632" y="92"/>
                    <a:pt x="632" y="90"/>
                  </a:cubicBezTo>
                  <a:cubicBezTo>
                    <a:pt x="632" y="71"/>
                    <a:pt x="632" y="52"/>
                    <a:pt x="632" y="33"/>
                  </a:cubicBezTo>
                  <a:cubicBezTo>
                    <a:pt x="632" y="30"/>
                    <a:pt x="631" y="26"/>
                    <a:pt x="629" y="25"/>
                  </a:cubicBezTo>
                  <a:cubicBezTo>
                    <a:pt x="619" y="17"/>
                    <a:pt x="607" y="9"/>
                    <a:pt x="596" y="1"/>
                  </a:cubicBezTo>
                  <a:cubicBezTo>
                    <a:pt x="590" y="10"/>
                    <a:pt x="585" y="19"/>
                    <a:pt x="579" y="27"/>
                  </a:cubicBezTo>
                  <a:cubicBezTo>
                    <a:pt x="566" y="18"/>
                    <a:pt x="554" y="10"/>
                    <a:pt x="541" y="1"/>
                  </a:cubicBezTo>
                  <a:cubicBezTo>
                    <a:pt x="536" y="10"/>
                    <a:pt x="530" y="18"/>
                    <a:pt x="524" y="27"/>
                  </a:cubicBezTo>
                  <a:cubicBezTo>
                    <a:pt x="511" y="18"/>
                    <a:pt x="499" y="9"/>
                    <a:pt x="486" y="1"/>
                  </a:cubicBezTo>
                  <a:cubicBezTo>
                    <a:pt x="480" y="10"/>
                    <a:pt x="475" y="18"/>
                    <a:pt x="469" y="27"/>
                  </a:cubicBezTo>
                  <a:cubicBezTo>
                    <a:pt x="456" y="18"/>
                    <a:pt x="444" y="9"/>
                    <a:pt x="431" y="0"/>
                  </a:cubicBezTo>
                  <a:cubicBezTo>
                    <a:pt x="422" y="15"/>
                    <a:pt x="411" y="28"/>
                    <a:pt x="415" y="46"/>
                  </a:cubicBezTo>
                  <a:cubicBezTo>
                    <a:pt x="415" y="50"/>
                    <a:pt x="415" y="53"/>
                    <a:pt x="415" y="56"/>
                  </a:cubicBezTo>
                  <a:cubicBezTo>
                    <a:pt x="415" y="70"/>
                    <a:pt x="415" y="83"/>
                    <a:pt x="415" y="98"/>
                  </a:cubicBezTo>
                  <a:cubicBezTo>
                    <a:pt x="395" y="83"/>
                    <a:pt x="377" y="69"/>
                    <a:pt x="359" y="54"/>
                  </a:cubicBezTo>
                  <a:cubicBezTo>
                    <a:pt x="343" y="66"/>
                    <a:pt x="327" y="78"/>
                    <a:pt x="312" y="91"/>
                  </a:cubicBezTo>
                  <a:cubicBezTo>
                    <a:pt x="306" y="96"/>
                    <a:pt x="300" y="99"/>
                    <a:pt x="291" y="99"/>
                  </a:cubicBezTo>
                  <a:cubicBezTo>
                    <a:pt x="251" y="98"/>
                    <a:pt x="211" y="98"/>
                    <a:pt x="171" y="98"/>
                  </a:cubicBezTo>
                  <a:cubicBezTo>
                    <a:pt x="168" y="98"/>
                    <a:pt x="166" y="98"/>
                    <a:pt x="162" y="98"/>
                  </a:cubicBezTo>
                  <a:cubicBezTo>
                    <a:pt x="162" y="119"/>
                    <a:pt x="162" y="140"/>
                    <a:pt x="162" y="160"/>
                  </a:cubicBezTo>
                  <a:cubicBezTo>
                    <a:pt x="147" y="112"/>
                    <a:pt x="139" y="63"/>
                    <a:pt x="137" y="13"/>
                  </a:cubicBezTo>
                  <a:cubicBezTo>
                    <a:pt x="106" y="13"/>
                    <a:pt x="76" y="13"/>
                    <a:pt x="49" y="13"/>
                  </a:cubicBezTo>
                  <a:cubicBezTo>
                    <a:pt x="43" y="50"/>
                    <a:pt x="38" y="88"/>
                    <a:pt x="30" y="125"/>
                  </a:cubicBezTo>
                  <a:cubicBezTo>
                    <a:pt x="22" y="161"/>
                    <a:pt x="10" y="197"/>
                    <a:pt x="0" y="232"/>
                  </a:cubicBezTo>
                  <a:cubicBezTo>
                    <a:pt x="112" y="232"/>
                    <a:pt x="226" y="232"/>
                    <a:pt x="341" y="232"/>
                  </a:cubicBezTo>
                  <a:cubicBezTo>
                    <a:pt x="341" y="216"/>
                    <a:pt x="341" y="201"/>
                    <a:pt x="341" y="185"/>
                  </a:cubicBezTo>
                  <a:cubicBezTo>
                    <a:pt x="345" y="185"/>
                    <a:pt x="348" y="185"/>
                    <a:pt x="353" y="185"/>
                  </a:cubicBezTo>
                  <a:cubicBezTo>
                    <a:pt x="353" y="201"/>
                    <a:pt x="353" y="217"/>
                    <a:pt x="353" y="232"/>
                  </a:cubicBezTo>
                  <a:cubicBezTo>
                    <a:pt x="357" y="232"/>
                    <a:pt x="361" y="232"/>
                    <a:pt x="365" y="232"/>
                  </a:cubicBezTo>
                  <a:cubicBezTo>
                    <a:pt x="365" y="216"/>
                    <a:pt x="365" y="201"/>
                    <a:pt x="365" y="186"/>
                  </a:cubicBezTo>
                  <a:cubicBezTo>
                    <a:pt x="370" y="186"/>
                    <a:pt x="373" y="186"/>
                    <a:pt x="378" y="186"/>
                  </a:cubicBezTo>
                  <a:cubicBezTo>
                    <a:pt x="378" y="202"/>
                    <a:pt x="378" y="217"/>
                    <a:pt x="378" y="233"/>
                  </a:cubicBezTo>
                  <a:cubicBezTo>
                    <a:pt x="378" y="233"/>
                    <a:pt x="378" y="233"/>
                    <a:pt x="378" y="233"/>
                  </a:cubicBezTo>
                  <a:cubicBezTo>
                    <a:pt x="378" y="233"/>
                    <a:pt x="378" y="233"/>
                    <a:pt x="378" y="233"/>
                  </a:cubicBezTo>
                  <a:cubicBezTo>
                    <a:pt x="543" y="233"/>
                    <a:pt x="543" y="233"/>
                    <a:pt x="543" y="233"/>
                  </a:cubicBezTo>
                  <a:cubicBezTo>
                    <a:pt x="545" y="233"/>
                    <a:pt x="545" y="233"/>
                    <a:pt x="545" y="233"/>
                  </a:cubicBezTo>
                  <a:cubicBezTo>
                    <a:pt x="628" y="233"/>
                    <a:pt x="628" y="233"/>
                    <a:pt x="628" y="233"/>
                  </a:cubicBezTo>
                  <a:cubicBezTo>
                    <a:pt x="628" y="233"/>
                    <a:pt x="628" y="233"/>
                    <a:pt x="628" y="233"/>
                  </a:cubicBezTo>
                  <a:cubicBezTo>
                    <a:pt x="643" y="233"/>
                    <a:pt x="643" y="233"/>
                    <a:pt x="643" y="233"/>
                  </a:cubicBezTo>
                  <a:cubicBezTo>
                    <a:pt x="643" y="211"/>
                    <a:pt x="643" y="211"/>
                    <a:pt x="643" y="211"/>
                  </a:cubicBezTo>
                  <a:cubicBezTo>
                    <a:pt x="643" y="211"/>
                    <a:pt x="643" y="211"/>
                    <a:pt x="643" y="211"/>
                  </a:cubicBezTo>
                  <a:cubicBezTo>
                    <a:pt x="643" y="203"/>
                    <a:pt x="643" y="194"/>
                    <a:pt x="643" y="186"/>
                  </a:cubicBezTo>
                  <a:cubicBezTo>
                    <a:pt x="643" y="186"/>
                    <a:pt x="643" y="186"/>
                    <a:pt x="643" y="186"/>
                  </a:cubicBezTo>
                  <a:cubicBezTo>
                    <a:pt x="643" y="185"/>
                    <a:pt x="643" y="185"/>
                    <a:pt x="643" y="185"/>
                  </a:cubicBezTo>
                  <a:cubicBezTo>
                    <a:pt x="658" y="185"/>
                    <a:pt x="658" y="185"/>
                    <a:pt x="658" y="185"/>
                  </a:cubicBezTo>
                  <a:cubicBezTo>
                    <a:pt x="658" y="186"/>
                    <a:pt x="658" y="186"/>
                    <a:pt x="658" y="186"/>
                  </a:cubicBezTo>
                  <a:cubicBezTo>
                    <a:pt x="658" y="186"/>
                    <a:pt x="658" y="186"/>
                    <a:pt x="658" y="186"/>
                  </a:cubicBezTo>
                  <a:cubicBezTo>
                    <a:pt x="658" y="202"/>
                    <a:pt x="658" y="217"/>
                    <a:pt x="658" y="233"/>
                  </a:cubicBezTo>
                  <a:cubicBezTo>
                    <a:pt x="662" y="233"/>
                    <a:pt x="667" y="233"/>
                    <a:pt x="671" y="233"/>
                  </a:cubicBezTo>
                  <a:cubicBezTo>
                    <a:pt x="671" y="199"/>
                    <a:pt x="671" y="166"/>
                    <a:pt x="672" y="132"/>
                  </a:cubicBezTo>
                  <a:cubicBezTo>
                    <a:pt x="672" y="122"/>
                    <a:pt x="668" y="111"/>
                    <a:pt x="676" y="102"/>
                  </a:cubicBezTo>
                  <a:cubicBezTo>
                    <a:pt x="676" y="102"/>
                    <a:pt x="676" y="100"/>
                    <a:pt x="676" y="99"/>
                  </a:cubicBezTo>
                  <a:close/>
                  <a:moveTo>
                    <a:pt x="81" y="226"/>
                  </a:moveTo>
                  <a:cubicBezTo>
                    <a:pt x="77" y="221"/>
                    <a:pt x="74" y="216"/>
                    <a:pt x="71" y="210"/>
                  </a:cubicBezTo>
                  <a:cubicBezTo>
                    <a:pt x="71" y="210"/>
                    <a:pt x="70" y="210"/>
                    <a:pt x="70" y="210"/>
                  </a:cubicBezTo>
                  <a:cubicBezTo>
                    <a:pt x="70" y="210"/>
                    <a:pt x="70" y="211"/>
                    <a:pt x="70" y="211"/>
                  </a:cubicBezTo>
                  <a:cubicBezTo>
                    <a:pt x="67" y="216"/>
                    <a:pt x="63" y="221"/>
                    <a:pt x="60" y="226"/>
                  </a:cubicBezTo>
                  <a:cubicBezTo>
                    <a:pt x="57" y="221"/>
                    <a:pt x="53" y="216"/>
                    <a:pt x="50" y="210"/>
                  </a:cubicBezTo>
                  <a:cubicBezTo>
                    <a:pt x="50" y="210"/>
                    <a:pt x="49" y="210"/>
                    <a:pt x="49" y="210"/>
                  </a:cubicBezTo>
                  <a:cubicBezTo>
                    <a:pt x="48" y="212"/>
                    <a:pt x="47" y="214"/>
                    <a:pt x="46" y="215"/>
                  </a:cubicBezTo>
                  <a:cubicBezTo>
                    <a:pt x="45" y="217"/>
                    <a:pt x="44" y="219"/>
                    <a:pt x="43" y="220"/>
                  </a:cubicBezTo>
                  <a:cubicBezTo>
                    <a:pt x="41" y="222"/>
                    <a:pt x="40" y="224"/>
                    <a:pt x="39" y="226"/>
                  </a:cubicBezTo>
                  <a:cubicBezTo>
                    <a:pt x="38" y="224"/>
                    <a:pt x="37" y="223"/>
                    <a:pt x="36" y="221"/>
                  </a:cubicBezTo>
                  <a:cubicBezTo>
                    <a:pt x="34" y="218"/>
                    <a:pt x="31" y="215"/>
                    <a:pt x="29" y="211"/>
                  </a:cubicBezTo>
                  <a:cubicBezTo>
                    <a:pt x="29" y="211"/>
                    <a:pt x="29" y="211"/>
                    <a:pt x="29" y="210"/>
                  </a:cubicBezTo>
                  <a:cubicBezTo>
                    <a:pt x="28" y="210"/>
                    <a:pt x="28" y="210"/>
                    <a:pt x="28" y="210"/>
                  </a:cubicBezTo>
                  <a:cubicBezTo>
                    <a:pt x="26" y="213"/>
                    <a:pt x="25" y="216"/>
                    <a:pt x="23" y="218"/>
                  </a:cubicBezTo>
                  <a:cubicBezTo>
                    <a:pt x="21" y="221"/>
                    <a:pt x="20" y="223"/>
                    <a:pt x="18" y="226"/>
                  </a:cubicBezTo>
                  <a:cubicBezTo>
                    <a:pt x="14" y="221"/>
                    <a:pt x="11" y="216"/>
                    <a:pt x="8" y="210"/>
                  </a:cubicBezTo>
                  <a:cubicBezTo>
                    <a:pt x="15" y="210"/>
                    <a:pt x="21" y="210"/>
                    <a:pt x="28" y="210"/>
                  </a:cubicBezTo>
                  <a:cubicBezTo>
                    <a:pt x="28" y="210"/>
                    <a:pt x="28" y="210"/>
                    <a:pt x="28" y="210"/>
                  </a:cubicBezTo>
                  <a:cubicBezTo>
                    <a:pt x="28" y="210"/>
                    <a:pt x="29" y="210"/>
                    <a:pt x="29" y="210"/>
                  </a:cubicBezTo>
                  <a:cubicBezTo>
                    <a:pt x="36" y="210"/>
                    <a:pt x="42" y="210"/>
                    <a:pt x="49" y="210"/>
                  </a:cubicBezTo>
                  <a:cubicBezTo>
                    <a:pt x="49" y="210"/>
                    <a:pt x="49" y="210"/>
                    <a:pt x="50" y="210"/>
                  </a:cubicBezTo>
                  <a:cubicBezTo>
                    <a:pt x="50" y="210"/>
                    <a:pt x="50" y="210"/>
                    <a:pt x="50" y="210"/>
                  </a:cubicBezTo>
                  <a:cubicBezTo>
                    <a:pt x="50" y="210"/>
                    <a:pt x="50" y="210"/>
                    <a:pt x="50" y="210"/>
                  </a:cubicBezTo>
                  <a:cubicBezTo>
                    <a:pt x="56" y="210"/>
                    <a:pt x="63" y="210"/>
                    <a:pt x="70" y="210"/>
                  </a:cubicBezTo>
                  <a:cubicBezTo>
                    <a:pt x="70" y="210"/>
                    <a:pt x="70" y="210"/>
                    <a:pt x="70" y="210"/>
                  </a:cubicBezTo>
                  <a:cubicBezTo>
                    <a:pt x="71" y="210"/>
                    <a:pt x="71" y="210"/>
                    <a:pt x="71" y="210"/>
                  </a:cubicBezTo>
                  <a:cubicBezTo>
                    <a:pt x="77" y="210"/>
                    <a:pt x="84" y="210"/>
                    <a:pt x="91" y="210"/>
                  </a:cubicBezTo>
                  <a:cubicBezTo>
                    <a:pt x="88" y="216"/>
                    <a:pt x="84" y="221"/>
                    <a:pt x="81" y="226"/>
                  </a:cubicBezTo>
                  <a:close/>
                  <a:moveTo>
                    <a:pt x="102" y="227"/>
                  </a:moveTo>
                  <a:cubicBezTo>
                    <a:pt x="98" y="220"/>
                    <a:pt x="95" y="216"/>
                    <a:pt x="92" y="210"/>
                  </a:cubicBezTo>
                  <a:cubicBezTo>
                    <a:pt x="99" y="210"/>
                    <a:pt x="105" y="210"/>
                    <a:pt x="112" y="210"/>
                  </a:cubicBezTo>
                  <a:cubicBezTo>
                    <a:pt x="109" y="216"/>
                    <a:pt x="106" y="221"/>
                    <a:pt x="102" y="227"/>
                  </a:cubicBezTo>
                  <a:close/>
                  <a:moveTo>
                    <a:pt x="123" y="226"/>
                  </a:moveTo>
                  <a:cubicBezTo>
                    <a:pt x="120" y="221"/>
                    <a:pt x="117" y="216"/>
                    <a:pt x="113" y="210"/>
                  </a:cubicBezTo>
                  <a:cubicBezTo>
                    <a:pt x="120" y="210"/>
                    <a:pt x="126" y="210"/>
                    <a:pt x="134" y="210"/>
                  </a:cubicBezTo>
                  <a:cubicBezTo>
                    <a:pt x="130" y="215"/>
                    <a:pt x="127" y="220"/>
                    <a:pt x="123" y="226"/>
                  </a:cubicBezTo>
                  <a:close/>
                  <a:moveTo>
                    <a:pt x="155" y="210"/>
                  </a:moveTo>
                  <a:cubicBezTo>
                    <a:pt x="151" y="216"/>
                    <a:pt x="148" y="221"/>
                    <a:pt x="144" y="226"/>
                  </a:cubicBezTo>
                  <a:cubicBezTo>
                    <a:pt x="141" y="221"/>
                    <a:pt x="138" y="216"/>
                    <a:pt x="134" y="210"/>
                  </a:cubicBezTo>
                  <a:cubicBezTo>
                    <a:pt x="144" y="210"/>
                    <a:pt x="153" y="210"/>
                    <a:pt x="162" y="210"/>
                  </a:cubicBezTo>
                  <a:cubicBezTo>
                    <a:pt x="162" y="213"/>
                    <a:pt x="162" y="216"/>
                    <a:pt x="163" y="222"/>
                  </a:cubicBezTo>
                  <a:cubicBezTo>
                    <a:pt x="160" y="217"/>
                    <a:pt x="157" y="214"/>
                    <a:pt x="155" y="210"/>
                  </a:cubicBezTo>
                  <a:close/>
                  <a:moveTo>
                    <a:pt x="271" y="156"/>
                  </a:moveTo>
                  <a:cubicBezTo>
                    <a:pt x="275" y="156"/>
                    <a:pt x="277" y="156"/>
                    <a:pt x="281" y="156"/>
                  </a:cubicBezTo>
                  <a:cubicBezTo>
                    <a:pt x="281" y="159"/>
                    <a:pt x="281" y="161"/>
                    <a:pt x="281" y="164"/>
                  </a:cubicBezTo>
                  <a:cubicBezTo>
                    <a:pt x="278" y="164"/>
                    <a:pt x="275" y="164"/>
                    <a:pt x="271" y="164"/>
                  </a:cubicBezTo>
                  <a:cubicBezTo>
                    <a:pt x="271" y="162"/>
                    <a:pt x="271" y="159"/>
                    <a:pt x="271" y="156"/>
                  </a:cubicBezTo>
                  <a:close/>
                  <a:moveTo>
                    <a:pt x="271" y="153"/>
                  </a:moveTo>
                  <a:cubicBezTo>
                    <a:pt x="271" y="150"/>
                    <a:pt x="271" y="148"/>
                    <a:pt x="271" y="145"/>
                  </a:cubicBezTo>
                  <a:cubicBezTo>
                    <a:pt x="275" y="145"/>
                    <a:pt x="278" y="145"/>
                    <a:pt x="281" y="145"/>
                  </a:cubicBezTo>
                  <a:cubicBezTo>
                    <a:pt x="281" y="147"/>
                    <a:pt x="281" y="150"/>
                    <a:pt x="281" y="153"/>
                  </a:cubicBezTo>
                  <a:cubicBezTo>
                    <a:pt x="278" y="153"/>
                    <a:pt x="275" y="153"/>
                    <a:pt x="271" y="153"/>
                  </a:cubicBezTo>
                  <a:close/>
                  <a:moveTo>
                    <a:pt x="245" y="133"/>
                  </a:moveTo>
                  <a:cubicBezTo>
                    <a:pt x="247" y="133"/>
                    <a:pt x="250" y="133"/>
                    <a:pt x="254" y="133"/>
                  </a:cubicBezTo>
                  <a:cubicBezTo>
                    <a:pt x="254" y="136"/>
                    <a:pt x="254" y="138"/>
                    <a:pt x="254" y="141"/>
                  </a:cubicBezTo>
                  <a:cubicBezTo>
                    <a:pt x="251" y="141"/>
                    <a:pt x="248" y="141"/>
                    <a:pt x="245" y="141"/>
                  </a:cubicBezTo>
                  <a:cubicBezTo>
                    <a:pt x="245" y="138"/>
                    <a:pt x="245" y="136"/>
                    <a:pt x="245" y="133"/>
                  </a:cubicBezTo>
                  <a:close/>
                  <a:moveTo>
                    <a:pt x="245" y="145"/>
                  </a:moveTo>
                  <a:cubicBezTo>
                    <a:pt x="247" y="145"/>
                    <a:pt x="250" y="145"/>
                    <a:pt x="253" y="145"/>
                  </a:cubicBezTo>
                  <a:cubicBezTo>
                    <a:pt x="253" y="147"/>
                    <a:pt x="253" y="150"/>
                    <a:pt x="253" y="153"/>
                  </a:cubicBezTo>
                  <a:cubicBezTo>
                    <a:pt x="251" y="153"/>
                    <a:pt x="248" y="153"/>
                    <a:pt x="245" y="153"/>
                  </a:cubicBezTo>
                  <a:cubicBezTo>
                    <a:pt x="245" y="150"/>
                    <a:pt x="245" y="147"/>
                    <a:pt x="245" y="145"/>
                  </a:cubicBezTo>
                  <a:close/>
                  <a:moveTo>
                    <a:pt x="244" y="156"/>
                  </a:moveTo>
                  <a:cubicBezTo>
                    <a:pt x="247" y="156"/>
                    <a:pt x="250" y="156"/>
                    <a:pt x="254" y="156"/>
                  </a:cubicBezTo>
                  <a:cubicBezTo>
                    <a:pt x="254" y="159"/>
                    <a:pt x="254" y="161"/>
                    <a:pt x="254" y="164"/>
                  </a:cubicBezTo>
                  <a:cubicBezTo>
                    <a:pt x="251" y="164"/>
                    <a:pt x="248" y="164"/>
                    <a:pt x="244" y="164"/>
                  </a:cubicBezTo>
                  <a:cubicBezTo>
                    <a:pt x="244" y="162"/>
                    <a:pt x="244" y="159"/>
                    <a:pt x="244" y="156"/>
                  </a:cubicBezTo>
                  <a:close/>
                  <a:moveTo>
                    <a:pt x="254" y="168"/>
                  </a:moveTo>
                  <a:cubicBezTo>
                    <a:pt x="254" y="171"/>
                    <a:pt x="254" y="174"/>
                    <a:pt x="254" y="176"/>
                  </a:cubicBezTo>
                  <a:cubicBezTo>
                    <a:pt x="250" y="176"/>
                    <a:pt x="248" y="176"/>
                    <a:pt x="245" y="176"/>
                  </a:cubicBezTo>
                  <a:cubicBezTo>
                    <a:pt x="245" y="174"/>
                    <a:pt x="245" y="171"/>
                    <a:pt x="245" y="168"/>
                  </a:cubicBezTo>
                  <a:cubicBezTo>
                    <a:pt x="247" y="168"/>
                    <a:pt x="250" y="168"/>
                    <a:pt x="254" y="168"/>
                  </a:cubicBezTo>
                  <a:close/>
                  <a:moveTo>
                    <a:pt x="231" y="153"/>
                  </a:moveTo>
                  <a:cubicBezTo>
                    <a:pt x="231" y="150"/>
                    <a:pt x="231" y="148"/>
                    <a:pt x="231" y="145"/>
                  </a:cubicBezTo>
                  <a:cubicBezTo>
                    <a:pt x="234" y="145"/>
                    <a:pt x="237" y="145"/>
                    <a:pt x="241" y="145"/>
                  </a:cubicBezTo>
                  <a:cubicBezTo>
                    <a:pt x="241" y="147"/>
                    <a:pt x="241" y="150"/>
                    <a:pt x="241" y="153"/>
                  </a:cubicBezTo>
                  <a:cubicBezTo>
                    <a:pt x="237" y="153"/>
                    <a:pt x="234" y="153"/>
                    <a:pt x="231" y="153"/>
                  </a:cubicBezTo>
                  <a:close/>
                  <a:moveTo>
                    <a:pt x="241" y="156"/>
                  </a:moveTo>
                  <a:cubicBezTo>
                    <a:pt x="241" y="159"/>
                    <a:pt x="241" y="161"/>
                    <a:pt x="241" y="164"/>
                  </a:cubicBezTo>
                  <a:cubicBezTo>
                    <a:pt x="237" y="164"/>
                    <a:pt x="234" y="164"/>
                    <a:pt x="231" y="164"/>
                  </a:cubicBezTo>
                  <a:cubicBezTo>
                    <a:pt x="231" y="162"/>
                    <a:pt x="231" y="159"/>
                    <a:pt x="231" y="156"/>
                  </a:cubicBezTo>
                  <a:cubicBezTo>
                    <a:pt x="234" y="156"/>
                    <a:pt x="237" y="156"/>
                    <a:pt x="241" y="156"/>
                  </a:cubicBezTo>
                  <a:close/>
                  <a:moveTo>
                    <a:pt x="218" y="133"/>
                  </a:moveTo>
                  <a:cubicBezTo>
                    <a:pt x="221" y="133"/>
                    <a:pt x="223" y="133"/>
                    <a:pt x="227" y="133"/>
                  </a:cubicBezTo>
                  <a:cubicBezTo>
                    <a:pt x="227" y="135"/>
                    <a:pt x="227" y="138"/>
                    <a:pt x="227" y="141"/>
                  </a:cubicBezTo>
                  <a:cubicBezTo>
                    <a:pt x="224" y="141"/>
                    <a:pt x="221" y="141"/>
                    <a:pt x="218" y="141"/>
                  </a:cubicBezTo>
                  <a:cubicBezTo>
                    <a:pt x="218" y="138"/>
                    <a:pt x="218" y="136"/>
                    <a:pt x="218" y="133"/>
                  </a:cubicBezTo>
                  <a:close/>
                  <a:moveTo>
                    <a:pt x="204" y="133"/>
                  </a:moveTo>
                  <a:cubicBezTo>
                    <a:pt x="207" y="133"/>
                    <a:pt x="210" y="133"/>
                    <a:pt x="214" y="133"/>
                  </a:cubicBezTo>
                  <a:cubicBezTo>
                    <a:pt x="214" y="135"/>
                    <a:pt x="214" y="138"/>
                    <a:pt x="214" y="141"/>
                  </a:cubicBezTo>
                  <a:cubicBezTo>
                    <a:pt x="211" y="141"/>
                    <a:pt x="208" y="141"/>
                    <a:pt x="204" y="141"/>
                  </a:cubicBezTo>
                  <a:cubicBezTo>
                    <a:pt x="204" y="138"/>
                    <a:pt x="204" y="136"/>
                    <a:pt x="204" y="133"/>
                  </a:cubicBezTo>
                  <a:close/>
                  <a:moveTo>
                    <a:pt x="204" y="156"/>
                  </a:moveTo>
                  <a:cubicBezTo>
                    <a:pt x="207" y="156"/>
                    <a:pt x="210" y="156"/>
                    <a:pt x="214" y="156"/>
                  </a:cubicBezTo>
                  <a:cubicBezTo>
                    <a:pt x="214" y="159"/>
                    <a:pt x="214" y="161"/>
                    <a:pt x="214" y="164"/>
                  </a:cubicBezTo>
                  <a:cubicBezTo>
                    <a:pt x="211" y="164"/>
                    <a:pt x="208" y="164"/>
                    <a:pt x="204" y="164"/>
                  </a:cubicBezTo>
                  <a:cubicBezTo>
                    <a:pt x="204" y="161"/>
                    <a:pt x="204" y="159"/>
                    <a:pt x="204" y="156"/>
                  </a:cubicBezTo>
                  <a:close/>
                  <a:moveTo>
                    <a:pt x="204" y="176"/>
                  </a:moveTo>
                  <a:cubicBezTo>
                    <a:pt x="204" y="174"/>
                    <a:pt x="204" y="171"/>
                    <a:pt x="204" y="168"/>
                  </a:cubicBezTo>
                  <a:cubicBezTo>
                    <a:pt x="207" y="168"/>
                    <a:pt x="210" y="168"/>
                    <a:pt x="214" y="168"/>
                  </a:cubicBezTo>
                  <a:cubicBezTo>
                    <a:pt x="214" y="171"/>
                    <a:pt x="214" y="173"/>
                    <a:pt x="214" y="176"/>
                  </a:cubicBezTo>
                  <a:cubicBezTo>
                    <a:pt x="211" y="176"/>
                    <a:pt x="207" y="176"/>
                    <a:pt x="204" y="176"/>
                  </a:cubicBezTo>
                  <a:close/>
                  <a:moveTo>
                    <a:pt x="214" y="180"/>
                  </a:moveTo>
                  <a:cubicBezTo>
                    <a:pt x="214" y="182"/>
                    <a:pt x="214" y="185"/>
                    <a:pt x="214" y="188"/>
                  </a:cubicBezTo>
                  <a:cubicBezTo>
                    <a:pt x="211" y="188"/>
                    <a:pt x="207" y="188"/>
                    <a:pt x="204" y="188"/>
                  </a:cubicBezTo>
                  <a:cubicBezTo>
                    <a:pt x="204" y="185"/>
                    <a:pt x="204" y="182"/>
                    <a:pt x="204" y="180"/>
                  </a:cubicBezTo>
                  <a:cubicBezTo>
                    <a:pt x="207" y="180"/>
                    <a:pt x="210" y="180"/>
                    <a:pt x="214" y="180"/>
                  </a:cubicBezTo>
                  <a:close/>
                  <a:moveTo>
                    <a:pt x="214" y="200"/>
                  </a:moveTo>
                  <a:cubicBezTo>
                    <a:pt x="211" y="200"/>
                    <a:pt x="208" y="200"/>
                    <a:pt x="204" y="200"/>
                  </a:cubicBezTo>
                  <a:cubicBezTo>
                    <a:pt x="204" y="197"/>
                    <a:pt x="204" y="194"/>
                    <a:pt x="204" y="191"/>
                  </a:cubicBezTo>
                  <a:cubicBezTo>
                    <a:pt x="207" y="191"/>
                    <a:pt x="210" y="191"/>
                    <a:pt x="214" y="191"/>
                  </a:cubicBezTo>
                  <a:cubicBezTo>
                    <a:pt x="214" y="194"/>
                    <a:pt x="214" y="197"/>
                    <a:pt x="214" y="200"/>
                  </a:cubicBezTo>
                  <a:close/>
                  <a:moveTo>
                    <a:pt x="214" y="152"/>
                  </a:moveTo>
                  <a:cubicBezTo>
                    <a:pt x="211" y="152"/>
                    <a:pt x="208" y="152"/>
                    <a:pt x="204" y="152"/>
                  </a:cubicBezTo>
                  <a:cubicBezTo>
                    <a:pt x="204" y="150"/>
                    <a:pt x="204" y="148"/>
                    <a:pt x="204" y="145"/>
                  </a:cubicBezTo>
                  <a:cubicBezTo>
                    <a:pt x="207" y="145"/>
                    <a:pt x="211" y="145"/>
                    <a:pt x="214" y="145"/>
                  </a:cubicBezTo>
                  <a:cubicBezTo>
                    <a:pt x="214" y="147"/>
                    <a:pt x="214" y="150"/>
                    <a:pt x="214" y="152"/>
                  </a:cubicBezTo>
                  <a:close/>
                  <a:moveTo>
                    <a:pt x="218" y="145"/>
                  </a:moveTo>
                  <a:cubicBezTo>
                    <a:pt x="221" y="145"/>
                    <a:pt x="223" y="145"/>
                    <a:pt x="227" y="145"/>
                  </a:cubicBezTo>
                  <a:cubicBezTo>
                    <a:pt x="227" y="147"/>
                    <a:pt x="227" y="150"/>
                    <a:pt x="227" y="153"/>
                  </a:cubicBezTo>
                  <a:cubicBezTo>
                    <a:pt x="224" y="153"/>
                    <a:pt x="221" y="153"/>
                    <a:pt x="218" y="153"/>
                  </a:cubicBezTo>
                  <a:cubicBezTo>
                    <a:pt x="218" y="150"/>
                    <a:pt x="218" y="147"/>
                    <a:pt x="218" y="145"/>
                  </a:cubicBezTo>
                  <a:close/>
                  <a:moveTo>
                    <a:pt x="218" y="156"/>
                  </a:moveTo>
                  <a:cubicBezTo>
                    <a:pt x="221" y="156"/>
                    <a:pt x="223" y="156"/>
                    <a:pt x="227" y="156"/>
                  </a:cubicBezTo>
                  <a:cubicBezTo>
                    <a:pt x="227" y="158"/>
                    <a:pt x="227" y="161"/>
                    <a:pt x="227" y="164"/>
                  </a:cubicBezTo>
                  <a:cubicBezTo>
                    <a:pt x="223" y="164"/>
                    <a:pt x="221" y="164"/>
                    <a:pt x="218" y="164"/>
                  </a:cubicBezTo>
                  <a:cubicBezTo>
                    <a:pt x="218" y="161"/>
                    <a:pt x="218" y="159"/>
                    <a:pt x="218" y="156"/>
                  </a:cubicBezTo>
                  <a:close/>
                  <a:moveTo>
                    <a:pt x="227" y="168"/>
                  </a:moveTo>
                  <a:cubicBezTo>
                    <a:pt x="227" y="171"/>
                    <a:pt x="227" y="173"/>
                    <a:pt x="227" y="176"/>
                  </a:cubicBezTo>
                  <a:cubicBezTo>
                    <a:pt x="224" y="176"/>
                    <a:pt x="221" y="176"/>
                    <a:pt x="218" y="176"/>
                  </a:cubicBezTo>
                  <a:cubicBezTo>
                    <a:pt x="218" y="174"/>
                    <a:pt x="218" y="171"/>
                    <a:pt x="218" y="168"/>
                  </a:cubicBezTo>
                  <a:cubicBezTo>
                    <a:pt x="221" y="168"/>
                    <a:pt x="224" y="168"/>
                    <a:pt x="227" y="168"/>
                  </a:cubicBezTo>
                  <a:close/>
                  <a:moveTo>
                    <a:pt x="218" y="180"/>
                  </a:moveTo>
                  <a:cubicBezTo>
                    <a:pt x="221" y="180"/>
                    <a:pt x="224" y="180"/>
                    <a:pt x="227" y="180"/>
                  </a:cubicBezTo>
                  <a:cubicBezTo>
                    <a:pt x="227" y="182"/>
                    <a:pt x="227" y="185"/>
                    <a:pt x="227" y="187"/>
                  </a:cubicBezTo>
                  <a:cubicBezTo>
                    <a:pt x="224" y="187"/>
                    <a:pt x="221" y="187"/>
                    <a:pt x="218" y="187"/>
                  </a:cubicBezTo>
                  <a:cubicBezTo>
                    <a:pt x="218" y="185"/>
                    <a:pt x="218" y="182"/>
                    <a:pt x="218" y="180"/>
                  </a:cubicBezTo>
                  <a:close/>
                  <a:moveTo>
                    <a:pt x="227" y="200"/>
                  </a:moveTo>
                  <a:cubicBezTo>
                    <a:pt x="224" y="200"/>
                    <a:pt x="221" y="200"/>
                    <a:pt x="218" y="200"/>
                  </a:cubicBezTo>
                  <a:cubicBezTo>
                    <a:pt x="218" y="197"/>
                    <a:pt x="218" y="194"/>
                    <a:pt x="218" y="191"/>
                  </a:cubicBezTo>
                  <a:cubicBezTo>
                    <a:pt x="221" y="191"/>
                    <a:pt x="224" y="191"/>
                    <a:pt x="227" y="191"/>
                  </a:cubicBezTo>
                  <a:cubicBezTo>
                    <a:pt x="227" y="194"/>
                    <a:pt x="227" y="197"/>
                    <a:pt x="227" y="200"/>
                  </a:cubicBezTo>
                  <a:close/>
                  <a:moveTo>
                    <a:pt x="231" y="133"/>
                  </a:moveTo>
                  <a:cubicBezTo>
                    <a:pt x="234" y="133"/>
                    <a:pt x="237" y="133"/>
                    <a:pt x="241" y="133"/>
                  </a:cubicBezTo>
                  <a:cubicBezTo>
                    <a:pt x="241" y="135"/>
                    <a:pt x="241" y="138"/>
                    <a:pt x="241" y="141"/>
                  </a:cubicBezTo>
                  <a:cubicBezTo>
                    <a:pt x="237" y="141"/>
                    <a:pt x="234" y="141"/>
                    <a:pt x="231" y="141"/>
                  </a:cubicBezTo>
                  <a:cubicBezTo>
                    <a:pt x="231" y="138"/>
                    <a:pt x="231" y="136"/>
                    <a:pt x="231" y="133"/>
                  </a:cubicBezTo>
                  <a:close/>
                  <a:moveTo>
                    <a:pt x="231" y="168"/>
                  </a:moveTo>
                  <a:cubicBezTo>
                    <a:pt x="234" y="168"/>
                    <a:pt x="237" y="168"/>
                    <a:pt x="241" y="168"/>
                  </a:cubicBezTo>
                  <a:cubicBezTo>
                    <a:pt x="241" y="171"/>
                    <a:pt x="241" y="173"/>
                    <a:pt x="241" y="176"/>
                  </a:cubicBezTo>
                  <a:cubicBezTo>
                    <a:pt x="237" y="176"/>
                    <a:pt x="234" y="176"/>
                    <a:pt x="231" y="176"/>
                  </a:cubicBezTo>
                  <a:cubicBezTo>
                    <a:pt x="231" y="173"/>
                    <a:pt x="231" y="171"/>
                    <a:pt x="231" y="168"/>
                  </a:cubicBezTo>
                  <a:close/>
                  <a:moveTo>
                    <a:pt x="241" y="200"/>
                  </a:moveTo>
                  <a:cubicBezTo>
                    <a:pt x="237" y="200"/>
                    <a:pt x="234" y="200"/>
                    <a:pt x="231" y="200"/>
                  </a:cubicBezTo>
                  <a:cubicBezTo>
                    <a:pt x="231" y="197"/>
                    <a:pt x="231" y="194"/>
                    <a:pt x="231" y="191"/>
                  </a:cubicBezTo>
                  <a:cubicBezTo>
                    <a:pt x="234" y="191"/>
                    <a:pt x="237" y="191"/>
                    <a:pt x="241" y="191"/>
                  </a:cubicBezTo>
                  <a:cubicBezTo>
                    <a:pt x="241" y="194"/>
                    <a:pt x="241" y="197"/>
                    <a:pt x="241" y="200"/>
                  </a:cubicBezTo>
                  <a:close/>
                  <a:moveTo>
                    <a:pt x="241" y="188"/>
                  </a:moveTo>
                  <a:cubicBezTo>
                    <a:pt x="237" y="188"/>
                    <a:pt x="234" y="188"/>
                    <a:pt x="231" y="188"/>
                  </a:cubicBezTo>
                  <a:cubicBezTo>
                    <a:pt x="231" y="185"/>
                    <a:pt x="231" y="183"/>
                    <a:pt x="231" y="180"/>
                  </a:cubicBezTo>
                  <a:cubicBezTo>
                    <a:pt x="234" y="180"/>
                    <a:pt x="237" y="180"/>
                    <a:pt x="241" y="180"/>
                  </a:cubicBezTo>
                  <a:cubicBezTo>
                    <a:pt x="241" y="182"/>
                    <a:pt x="241" y="185"/>
                    <a:pt x="241" y="188"/>
                  </a:cubicBezTo>
                  <a:close/>
                  <a:moveTo>
                    <a:pt x="244" y="180"/>
                  </a:moveTo>
                  <a:cubicBezTo>
                    <a:pt x="248" y="180"/>
                    <a:pt x="251" y="180"/>
                    <a:pt x="254" y="180"/>
                  </a:cubicBezTo>
                  <a:cubicBezTo>
                    <a:pt x="254" y="182"/>
                    <a:pt x="254" y="185"/>
                    <a:pt x="254" y="187"/>
                  </a:cubicBezTo>
                  <a:cubicBezTo>
                    <a:pt x="251" y="187"/>
                    <a:pt x="248" y="187"/>
                    <a:pt x="244" y="187"/>
                  </a:cubicBezTo>
                  <a:cubicBezTo>
                    <a:pt x="244" y="185"/>
                    <a:pt x="244" y="182"/>
                    <a:pt x="244" y="180"/>
                  </a:cubicBezTo>
                  <a:close/>
                  <a:moveTo>
                    <a:pt x="254" y="200"/>
                  </a:moveTo>
                  <a:cubicBezTo>
                    <a:pt x="251" y="200"/>
                    <a:pt x="248" y="200"/>
                    <a:pt x="245" y="200"/>
                  </a:cubicBezTo>
                  <a:cubicBezTo>
                    <a:pt x="245" y="197"/>
                    <a:pt x="245" y="194"/>
                    <a:pt x="245" y="191"/>
                  </a:cubicBezTo>
                  <a:cubicBezTo>
                    <a:pt x="247" y="191"/>
                    <a:pt x="250" y="191"/>
                    <a:pt x="254" y="191"/>
                  </a:cubicBezTo>
                  <a:cubicBezTo>
                    <a:pt x="254" y="194"/>
                    <a:pt x="254" y="197"/>
                    <a:pt x="254" y="200"/>
                  </a:cubicBezTo>
                  <a:close/>
                  <a:moveTo>
                    <a:pt x="258" y="145"/>
                  </a:moveTo>
                  <a:cubicBezTo>
                    <a:pt x="261" y="145"/>
                    <a:pt x="264" y="145"/>
                    <a:pt x="267" y="145"/>
                  </a:cubicBezTo>
                  <a:cubicBezTo>
                    <a:pt x="267" y="147"/>
                    <a:pt x="267" y="150"/>
                    <a:pt x="267" y="153"/>
                  </a:cubicBezTo>
                  <a:cubicBezTo>
                    <a:pt x="264" y="153"/>
                    <a:pt x="261" y="153"/>
                    <a:pt x="258" y="153"/>
                  </a:cubicBezTo>
                  <a:cubicBezTo>
                    <a:pt x="258" y="150"/>
                    <a:pt x="258" y="148"/>
                    <a:pt x="258" y="145"/>
                  </a:cubicBezTo>
                  <a:close/>
                  <a:moveTo>
                    <a:pt x="267" y="156"/>
                  </a:moveTo>
                  <a:cubicBezTo>
                    <a:pt x="267" y="159"/>
                    <a:pt x="267" y="162"/>
                    <a:pt x="267" y="165"/>
                  </a:cubicBezTo>
                  <a:cubicBezTo>
                    <a:pt x="264" y="165"/>
                    <a:pt x="261" y="165"/>
                    <a:pt x="258" y="165"/>
                  </a:cubicBezTo>
                  <a:cubicBezTo>
                    <a:pt x="258" y="162"/>
                    <a:pt x="258" y="159"/>
                    <a:pt x="258" y="156"/>
                  </a:cubicBezTo>
                  <a:cubicBezTo>
                    <a:pt x="261" y="156"/>
                    <a:pt x="264" y="156"/>
                    <a:pt x="267" y="156"/>
                  </a:cubicBezTo>
                  <a:close/>
                  <a:moveTo>
                    <a:pt x="267" y="200"/>
                  </a:moveTo>
                  <a:cubicBezTo>
                    <a:pt x="264" y="200"/>
                    <a:pt x="261" y="200"/>
                    <a:pt x="258" y="200"/>
                  </a:cubicBezTo>
                  <a:cubicBezTo>
                    <a:pt x="258" y="197"/>
                    <a:pt x="258" y="194"/>
                    <a:pt x="258" y="191"/>
                  </a:cubicBezTo>
                  <a:cubicBezTo>
                    <a:pt x="261" y="191"/>
                    <a:pt x="264" y="191"/>
                    <a:pt x="267" y="191"/>
                  </a:cubicBezTo>
                  <a:cubicBezTo>
                    <a:pt x="267" y="194"/>
                    <a:pt x="267" y="197"/>
                    <a:pt x="267" y="200"/>
                  </a:cubicBezTo>
                  <a:close/>
                  <a:moveTo>
                    <a:pt x="268" y="188"/>
                  </a:moveTo>
                  <a:cubicBezTo>
                    <a:pt x="264" y="188"/>
                    <a:pt x="261" y="188"/>
                    <a:pt x="258" y="188"/>
                  </a:cubicBezTo>
                  <a:cubicBezTo>
                    <a:pt x="258" y="185"/>
                    <a:pt x="258" y="183"/>
                    <a:pt x="258" y="180"/>
                  </a:cubicBezTo>
                  <a:cubicBezTo>
                    <a:pt x="261" y="180"/>
                    <a:pt x="264" y="180"/>
                    <a:pt x="268" y="180"/>
                  </a:cubicBezTo>
                  <a:cubicBezTo>
                    <a:pt x="268" y="182"/>
                    <a:pt x="268" y="185"/>
                    <a:pt x="268" y="188"/>
                  </a:cubicBezTo>
                  <a:close/>
                  <a:moveTo>
                    <a:pt x="268" y="176"/>
                  </a:moveTo>
                  <a:cubicBezTo>
                    <a:pt x="264" y="176"/>
                    <a:pt x="261" y="176"/>
                    <a:pt x="258" y="176"/>
                  </a:cubicBezTo>
                  <a:cubicBezTo>
                    <a:pt x="258" y="174"/>
                    <a:pt x="258" y="171"/>
                    <a:pt x="258" y="168"/>
                  </a:cubicBezTo>
                  <a:cubicBezTo>
                    <a:pt x="261" y="168"/>
                    <a:pt x="264" y="168"/>
                    <a:pt x="268" y="168"/>
                  </a:cubicBezTo>
                  <a:cubicBezTo>
                    <a:pt x="268" y="171"/>
                    <a:pt x="268" y="173"/>
                    <a:pt x="268" y="176"/>
                  </a:cubicBezTo>
                  <a:close/>
                  <a:moveTo>
                    <a:pt x="268" y="141"/>
                  </a:moveTo>
                  <a:cubicBezTo>
                    <a:pt x="264" y="141"/>
                    <a:pt x="261" y="141"/>
                    <a:pt x="258" y="141"/>
                  </a:cubicBezTo>
                  <a:cubicBezTo>
                    <a:pt x="258" y="138"/>
                    <a:pt x="258" y="136"/>
                    <a:pt x="258" y="133"/>
                  </a:cubicBezTo>
                  <a:cubicBezTo>
                    <a:pt x="261" y="133"/>
                    <a:pt x="264" y="133"/>
                    <a:pt x="268" y="133"/>
                  </a:cubicBezTo>
                  <a:cubicBezTo>
                    <a:pt x="268" y="136"/>
                    <a:pt x="268" y="138"/>
                    <a:pt x="268" y="141"/>
                  </a:cubicBezTo>
                  <a:close/>
                  <a:moveTo>
                    <a:pt x="281" y="200"/>
                  </a:moveTo>
                  <a:cubicBezTo>
                    <a:pt x="277" y="200"/>
                    <a:pt x="274" y="200"/>
                    <a:pt x="271" y="200"/>
                  </a:cubicBezTo>
                  <a:cubicBezTo>
                    <a:pt x="271" y="197"/>
                    <a:pt x="271" y="194"/>
                    <a:pt x="271" y="191"/>
                  </a:cubicBezTo>
                  <a:cubicBezTo>
                    <a:pt x="274" y="191"/>
                    <a:pt x="277" y="191"/>
                    <a:pt x="281" y="191"/>
                  </a:cubicBezTo>
                  <a:cubicBezTo>
                    <a:pt x="281" y="194"/>
                    <a:pt x="281" y="197"/>
                    <a:pt x="281" y="200"/>
                  </a:cubicBezTo>
                  <a:close/>
                  <a:moveTo>
                    <a:pt x="281" y="188"/>
                  </a:moveTo>
                  <a:cubicBezTo>
                    <a:pt x="278" y="188"/>
                    <a:pt x="275" y="188"/>
                    <a:pt x="271" y="188"/>
                  </a:cubicBezTo>
                  <a:cubicBezTo>
                    <a:pt x="271" y="185"/>
                    <a:pt x="271" y="182"/>
                    <a:pt x="271" y="180"/>
                  </a:cubicBezTo>
                  <a:cubicBezTo>
                    <a:pt x="274" y="180"/>
                    <a:pt x="277" y="180"/>
                    <a:pt x="281" y="180"/>
                  </a:cubicBezTo>
                  <a:cubicBezTo>
                    <a:pt x="281" y="182"/>
                    <a:pt x="281" y="185"/>
                    <a:pt x="281" y="188"/>
                  </a:cubicBezTo>
                  <a:close/>
                  <a:moveTo>
                    <a:pt x="281" y="176"/>
                  </a:moveTo>
                  <a:cubicBezTo>
                    <a:pt x="277" y="176"/>
                    <a:pt x="275" y="176"/>
                    <a:pt x="271" y="176"/>
                  </a:cubicBezTo>
                  <a:cubicBezTo>
                    <a:pt x="271" y="174"/>
                    <a:pt x="271" y="171"/>
                    <a:pt x="271" y="168"/>
                  </a:cubicBezTo>
                  <a:cubicBezTo>
                    <a:pt x="274" y="168"/>
                    <a:pt x="277" y="168"/>
                    <a:pt x="281" y="168"/>
                  </a:cubicBezTo>
                  <a:cubicBezTo>
                    <a:pt x="281" y="171"/>
                    <a:pt x="281" y="173"/>
                    <a:pt x="281" y="176"/>
                  </a:cubicBezTo>
                  <a:close/>
                  <a:moveTo>
                    <a:pt x="281" y="141"/>
                  </a:moveTo>
                  <a:cubicBezTo>
                    <a:pt x="278" y="141"/>
                    <a:pt x="275" y="141"/>
                    <a:pt x="271" y="141"/>
                  </a:cubicBezTo>
                  <a:cubicBezTo>
                    <a:pt x="271" y="138"/>
                    <a:pt x="271" y="136"/>
                    <a:pt x="271" y="133"/>
                  </a:cubicBezTo>
                  <a:cubicBezTo>
                    <a:pt x="274" y="133"/>
                    <a:pt x="277" y="133"/>
                    <a:pt x="281" y="133"/>
                  </a:cubicBezTo>
                  <a:cubicBezTo>
                    <a:pt x="281" y="136"/>
                    <a:pt x="281" y="138"/>
                    <a:pt x="281" y="141"/>
                  </a:cubicBezTo>
                  <a:close/>
                  <a:moveTo>
                    <a:pt x="341" y="150"/>
                  </a:moveTo>
                  <a:cubicBezTo>
                    <a:pt x="337" y="150"/>
                    <a:pt x="333" y="150"/>
                    <a:pt x="328" y="150"/>
                  </a:cubicBezTo>
                  <a:cubicBezTo>
                    <a:pt x="328" y="139"/>
                    <a:pt x="328" y="127"/>
                    <a:pt x="328" y="115"/>
                  </a:cubicBezTo>
                  <a:cubicBezTo>
                    <a:pt x="333" y="115"/>
                    <a:pt x="337" y="115"/>
                    <a:pt x="341" y="115"/>
                  </a:cubicBezTo>
                  <a:cubicBezTo>
                    <a:pt x="341" y="127"/>
                    <a:pt x="341" y="138"/>
                    <a:pt x="341" y="150"/>
                  </a:cubicBezTo>
                  <a:close/>
                  <a:moveTo>
                    <a:pt x="365" y="151"/>
                  </a:moveTo>
                  <a:cubicBezTo>
                    <a:pt x="361" y="151"/>
                    <a:pt x="357" y="151"/>
                    <a:pt x="353" y="151"/>
                  </a:cubicBezTo>
                  <a:cubicBezTo>
                    <a:pt x="353" y="139"/>
                    <a:pt x="353" y="127"/>
                    <a:pt x="353" y="115"/>
                  </a:cubicBezTo>
                  <a:cubicBezTo>
                    <a:pt x="357" y="115"/>
                    <a:pt x="360" y="115"/>
                    <a:pt x="365" y="115"/>
                  </a:cubicBezTo>
                  <a:cubicBezTo>
                    <a:pt x="365" y="127"/>
                    <a:pt x="365" y="138"/>
                    <a:pt x="365" y="151"/>
                  </a:cubicBezTo>
                  <a:close/>
                  <a:moveTo>
                    <a:pt x="389" y="150"/>
                  </a:moveTo>
                  <a:cubicBezTo>
                    <a:pt x="385" y="150"/>
                    <a:pt x="381" y="150"/>
                    <a:pt x="376" y="150"/>
                  </a:cubicBezTo>
                  <a:cubicBezTo>
                    <a:pt x="376" y="139"/>
                    <a:pt x="376" y="128"/>
                    <a:pt x="376" y="115"/>
                  </a:cubicBezTo>
                  <a:cubicBezTo>
                    <a:pt x="381" y="115"/>
                    <a:pt x="385" y="115"/>
                    <a:pt x="389" y="115"/>
                  </a:cubicBezTo>
                  <a:cubicBezTo>
                    <a:pt x="389" y="127"/>
                    <a:pt x="389" y="138"/>
                    <a:pt x="389" y="150"/>
                  </a:cubicBezTo>
                  <a:close/>
                  <a:moveTo>
                    <a:pt x="506" y="106"/>
                  </a:moveTo>
                  <a:cubicBezTo>
                    <a:pt x="506" y="102"/>
                    <a:pt x="506" y="97"/>
                    <a:pt x="506" y="92"/>
                  </a:cubicBezTo>
                  <a:cubicBezTo>
                    <a:pt x="511" y="92"/>
                    <a:pt x="515" y="92"/>
                    <a:pt x="521" y="92"/>
                  </a:cubicBezTo>
                  <a:cubicBezTo>
                    <a:pt x="521" y="97"/>
                    <a:pt x="521" y="101"/>
                    <a:pt x="521" y="106"/>
                  </a:cubicBezTo>
                  <a:cubicBezTo>
                    <a:pt x="516" y="106"/>
                    <a:pt x="511" y="106"/>
                    <a:pt x="506" y="106"/>
                  </a:cubicBezTo>
                  <a:close/>
                  <a:moveTo>
                    <a:pt x="521" y="112"/>
                  </a:moveTo>
                  <a:cubicBezTo>
                    <a:pt x="521" y="117"/>
                    <a:pt x="521" y="122"/>
                    <a:pt x="521" y="127"/>
                  </a:cubicBezTo>
                  <a:cubicBezTo>
                    <a:pt x="516" y="127"/>
                    <a:pt x="511" y="127"/>
                    <a:pt x="506" y="127"/>
                  </a:cubicBezTo>
                  <a:cubicBezTo>
                    <a:pt x="506" y="122"/>
                    <a:pt x="506" y="118"/>
                    <a:pt x="506" y="112"/>
                  </a:cubicBezTo>
                  <a:cubicBezTo>
                    <a:pt x="511" y="112"/>
                    <a:pt x="516" y="112"/>
                    <a:pt x="521" y="112"/>
                  </a:cubicBezTo>
                  <a:close/>
                  <a:moveTo>
                    <a:pt x="486" y="71"/>
                  </a:moveTo>
                  <a:cubicBezTo>
                    <a:pt x="491" y="71"/>
                    <a:pt x="495" y="71"/>
                    <a:pt x="500" y="71"/>
                  </a:cubicBezTo>
                  <a:cubicBezTo>
                    <a:pt x="500" y="76"/>
                    <a:pt x="500" y="81"/>
                    <a:pt x="500" y="86"/>
                  </a:cubicBezTo>
                  <a:cubicBezTo>
                    <a:pt x="495" y="86"/>
                    <a:pt x="491" y="86"/>
                    <a:pt x="486" y="86"/>
                  </a:cubicBezTo>
                  <a:cubicBezTo>
                    <a:pt x="486" y="81"/>
                    <a:pt x="486" y="76"/>
                    <a:pt x="486" y="71"/>
                  </a:cubicBezTo>
                  <a:close/>
                  <a:moveTo>
                    <a:pt x="465" y="71"/>
                  </a:moveTo>
                  <a:cubicBezTo>
                    <a:pt x="470" y="71"/>
                    <a:pt x="474" y="71"/>
                    <a:pt x="480" y="71"/>
                  </a:cubicBezTo>
                  <a:cubicBezTo>
                    <a:pt x="480" y="76"/>
                    <a:pt x="480" y="81"/>
                    <a:pt x="480" y="86"/>
                  </a:cubicBezTo>
                  <a:cubicBezTo>
                    <a:pt x="475" y="86"/>
                    <a:pt x="471" y="86"/>
                    <a:pt x="465" y="86"/>
                  </a:cubicBezTo>
                  <a:cubicBezTo>
                    <a:pt x="465" y="81"/>
                    <a:pt x="465" y="77"/>
                    <a:pt x="465" y="71"/>
                  </a:cubicBezTo>
                  <a:close/>
                  <a:moveTo>
                    <a:pt x="465" y="112"/>
                  </a:moveTo>
                  <a:cubicBezTo>
                    <a:pt x="470" y="112"/>
                    <a:pt x="475" y="112"/>
                    <a:pt x="480" y="112"/>
                  </a:cubicBezTo>
                  <a:cubicBezTo>
                    <a:pt x="480" y="117"/>
                    <a:pt x="480" y="122"/>
                    <a:pt x="480" y="127"/>
                  </a:cubicBezTo>
                  <a:cubicBezTo>
                    <a:pt x="475" y="127"/>
                    <a:pt x="471" y="127"/>
                    <a:pt x="465" y="127"/>
                  </a:cubicBezTo>
                  <a:cubicBezTo>
                    <a:pt x="465" y="122"/>
                    <a:pt x="465" y="117"/>
                    <a:pt x="465" y="112"/>
                  </a:cubicBezTo>
                  <a:close/>
                  <a:moveTo>
                    <a:pt x="465" y="148"/>
                  </a:moveTo>
                  <a:cubicBezTo>
                    <a:pt x="465" y="143"/>
                    <a:pt x="465" y="139"/>
                    <a:pt x="465" y="134"/>
                  </a:cubicBezTo>
                  <a:cubicBezTo>
                    <a:pt x="470" y="134"/>
                    <a:pt x="475" y="134"/>
                    <a:pt x="480" y="134"/>
                  </a:cubicBezTo>
                  <a:cubicBezTo>
                    <a:pt x="480" y="138"/>
                    <a:pt x="480" y="143"/>
                    <a:pt x="480" y="148"/>
                  </a:cubicBezTo>
                  <a:cubicBezTo>
                    <a:pt x="475" y="148"/>
                    <a:pt x="470" y="148"/>
                    <a:pt x="465" y="148"/>
                  </a:cubicBezTo>
                  <a:close/>
                  <a:moveTo>
                    <a:pt x="480" y="154"/>
                  </a:moveTo>
                  <a:cubicBezTo>
                    <a:pt x="480" y="159"/>
                    <a:pt x="480" y="163"/>
                    <a:pt x="480" y="168"/>
                  </a:cubicBezTo>
                  <a:cubicBezTo>
                    <a:pt x="475" y="168"/>
                    <a:pt x="470" y="168"/>
                    <a:pt x="465" y="168"/>
                  </a:cubicBezTo>
                  <a:cubicBezTo>
                    <a:pt x="465" y="163"/>
                    <a:pt x="465" y="159"/>
                    <a:pt x="465" y="154"/>
                  </a:cubicBezTo>
                  <a:cubicBezTo>
                    <a:pt x="470" y="154"/>
                    <a:pt x="475" y="154"/>
                    <a:pt x="480" y="154"/>
                  </a:cubicBezTo>
                  <a:close/>
                  <a:moveTo>
                    <a:pt x="480" y="189"/>
                  </a:moveTo>
                  <a:cubicBezTo>
                    <a:pt x="475" y="189"/>
                    <a:pt x="471" y="189"/>
                    <a:pt x="465" y="189"/>
                  </a:cubicBezTo>
                  <a:cubicBezTo>
                    <a:pt x="465" y="184"/>
                    <a:pt x="465" y="180"/>
                    <a:pt x="465" y="175"/>
                  </a:cubicBezTo>
                  <a:cubicBezTo>
                    <a:pt x="470" y="175"/>
                    <a:pt x="475" y="175"/>
                    <a:pt x="480" y="175"/>
                  </a:cubicBezTo>
                  <a:cubicBezTo>
                    <a:pt x="480" y="179"/>
                    <a:pt x="480" y="184"/>
                    <a:pt x="480" y="189"/>
                  </a:cubicBezTo>
                  <a:close/>
                  <a:moveTo>
                    <a:pt x="480" y="106"/>
                  </a:moveTo>
                  <a:cubicBezTo>
                    <a:pt x="475" y="106"/>
                    <a:pt x="471" y="106"/>
                    <a:pt x="465" y="106"/>
                  </a:cubicBezTo>
                  <a:cubicBezTo>
                    <a:pt x="465" y="102"/>
                    <a:pt x="465" y="97"/>
                    <a:pt x="465" y="92"/>
                  </a:cubicBezTo>
                  <a:cubicBezTo>
                    <a:pt x="470" y="92"/>
                    <a:pt x="475" y="92"/>
                    <a:pt x="480" y="92"/>
                  </a:cubicBezTo>
                  <a:cubicBezTo>
                    <a:pt x="480" y="97"/>
                    <a:pt x="480" y="101"/>
                    <a:pt x="480" y="106"/>
                  </a:cubicBezTo>
                  <a:close/>
                  <a:moveTo>
                    <a:pt x="486" y="92"/>
                  </a:moveTo>
                  <a:cubicBezTo>
                    <a:pt x="490" y="92"/>
                    <a:pt x="495" y="92"/>
                    <a:pt x="500" y="92"/>
                  </a:cubicBezTo>
                  <a:cubicBezTo>
                    <a:pt x="500" y="97"/>
                    <a:pt x="500" y="102"/>
                    <a:pt x="500" y="106"/>
                  </a:cubicBezTo>
                  <a:cubicBezTo>
                    <a:pt x="495" y="106"/>
                    <a:pt x="491" y="106"/>
                    <a:pt x="486" y="106"/>
                  </a:cubicBezTo>
                  <a:cubicBezTo>
                    <a:pt x="486" y="102"/>
                    <a:pt x="486" y="97"/>
                    <a:pt x="486" y="92"/>
                  </a:cubicBezTo>
                  <a:close/>
                  <a:moveTo>
                    <a:pt x="486" y="112"/>
                  </a:moveTo>
                  <a:cubicBezTo>
                    <a:pt x="490" y="112"/>
                    <a:pt x="495" y="112"/>
                    <a:pt x="500" y="112"/>
                  </a:cubicBezTo>
                  <a:cubicBezTo>
                    <a:pt x="500" y="117"/>
                    <a:pt x="500" y="122"/>
                    <a:pt x="500" y="127"/>
                  </a:cubicBezTo>
                  <a:cubicBezTo>
                    <a:pt x="495" y="127"/>
                    <a:pt x="491" y="127"/>
                    <a:pt x="486" y="127"/>
                  </a:cubicBezTo>
                  <a:cubicBezTo>
                    <a:pt x="486" y="122"/>
                    <a:pt x="486" y="117"/>
                    <a:pt x="486" y="112"/>
                  </a:cubicBezTo>
                  <a:close/>
                  <a:moveTo>
                    <a:pt x="500" y="133"/>
                  </a:moveTo>
                  <a:cubicBezTo>
                    <a:pt x="500" y="138"/>
                    <a:pt x="500" y="143"/>
                    <a:pt x="500" y="148"/>
                  </a:cubicBezTo>
                  <a:cubicBezTo>
                    <a:pt x="495" y="148"/>
                    <a:pt x="491" y="148"/>
                    <a:pt x="486" y="148"/>
                  </a:cubicBezTo>
                  <a:cubicBezTo>
                    <a:pt x="486" y="143"/>
                    <a:pt x="486" y="139"/>
                    <a:pt x="486" y="133"/>
                  </a:cubicBezTo>
                  <a:cubicBezTo>
                    <a:pt x="491" y="133"/>
                    <a:pt x="495" y="133"/>
                    <a:pt x="500" y="133"/>
                  </a:cubicBezTo>
                  <a:close/>
                  <a:moveTo>
                    <a:pt x="486" y="154"/>
                  </a:moveTo>
                  <a:cubicBezTo>
                    <a:pt x="491" y="154"/>
                    <a:pt x="495" y="154"/>
                    <a:pt x="500" y="154"/>
                  </a:cubicBezTo>
                  <a:cubicBezTo>
                    <a:pt x="500" y="159"/>
                    <a:pt x="500" y="163"/>
                    <a:pt x="500" y="168"/>
                  </a:cubicBezTo>
                  <a:cubicBezTo>
                    <a:pt x="496" y="168"/>
                    <a:pt x="491" y="168"/>
                    <a:pt x="486" y="168"/>
                  </a:cubicBezTo>
                  <a:cubicBezTo>
                    <a:pt x="486" y="164"/>
                    <a:pt x="486" y="159"/>
                    <a:pt x="486" y="154"/>
                  </a:cubicBezTo>
                  <a:close/>
                  <a:moveTo>
                    <a:pt x="500" y="189"/>
                  </a:moveTo>
                  <a:cubicBezTo>
                    <a:pt x="496" y="189"/>
                    <a:pt x="491" y="189"/>
                    <a:pt x="486" y="189"/>
                  </a:cubicBezTo>
                  <a:cubicBezTo>
                    <a:pt x="486" y="185"/>
                    <a:pt x="486" y="180"/>
                    <a:pt x="486" y="174"/>
                  </a:cubicBezTo>
                  <a:cubicBezTo>
                    <a:pt x="491" y="174"/>
                    <a:pt x="495" y="174"/>
                    <a:pt x="500" y="174"/>
                  </a:cubicBezTo>
                  <a:cubicBezTo>
                    <a:pt x="500" y="179"/>
                    <a:pt x="500" y="184"/>
                    <a:pt x="500" y="189"/>
                  </a:cubicBezTo>
                  <a:close/>
                  <a:moveTo>
                    <a:pt x="506" y="71"/>
                  </a:moveTo>
                  <a:cubicBezTo>
                    <a:pt x="511" y="71"/>
                    <a:pt x="515" y="71"/>
                    <a:pt x="521" y="71"/>
                  </a:cubicBezTo>
                  <a:cubicBezTo>
                    <a:pt x="521" y="76"/>
                    <a:pt x="521" y="81"/>
                    <a:pt x="521" y="86"/>
                  </a:cubicBezTo>
                  <a:cubicBezTo>
                    <a:pt x="516" y="86"/>
                    <a:pt x="511" y="86"/>
                    <a:pt x="506" y="86"/>
                  </a:cubicBezTo>
                  <a:cubicBezTo>
                    <a:pt x="506" y="81"/>
                    <a:pt x="506" y="76"/>
                    <a:pt x="506" y="71"/>
                  </a:cubicBezTo>
                  <a:close/>
                  <a:moveTo>
                    <a:pt x="506" y="133"/>
                  </a:moveTo>
                  <a:cubicBezTo>
                    <a:pt x="511" y="133"/>
                    <a:pt x="516" y="133"/>
                    <a:pt x="521" y="133"/>
                  </a:cubicBezTo>
                  <a:cubicBezTo>
                    <a:pt x="521" y="138"/>
                    <a:pt x="521" y="143"/>
                    <a:pt x="521" y="148"/>
                  </a:cubicBezTo>
                  <a:cubicBezTo>
                    <a:pt x="516" y="148"/>
                    <a:pt x="511" y="148"/>
                    <a:pt x="506" y="148"/>
                  </a:cubicBezTo>
                  <a:cubicBezTo>
                    <a:pt x="506" y="143"/>
                    <a:pt x="506" y="138"/>
                    <a:pt x="506" y="133"/>
                  </a:cubicBezTo>
                  <a:close/>
                  <a:moveTo>
                    <a:pt x="521" y="190"/>
                  </a:moveTo>
                  <a:cubicBezTo>
                    <a:pt x="516" y="190"/>
                    <a:pt x="511" y="190"/>
                    <a:pt x="506" y="190"/>
                  </a:cubicBezTo>
                  <a:cubicBezTo>
                    <a:pt x="506" y="185"/>
                    <a:pt x="506" y="180"/>
                    <a:pt x="506" y="175"/>
                  </a:cubicBezTo>
                  <a:cubicBezTo>
                    <a:pt x="511" y="175"/>
                    <a:pt x="516" y="175"/>
                    <a:pt x="521" y="175"/>
                  </a:cubicBezTo>
                  <a:cubicBezTo>
                    <a:pt x="521" y="180"/>
                    <a:pt x="521" y="184"/>
                    <a:pt x="521" y="190"/>
                  </a:cubicBezTo>
                  <a:close/>
                  <a:moveTo>
                    <a:pt x="521" y="168"/>
                  </a:moveTo>
                  <a:cubicBezTo>
                    <a:pt x="516" y="168"/>
                    <a:pt x="511" y="168"/>
                    <a:pt x="506" y="168"/>
                  </a:cubicBezTo>
                  <a:cubicBezTo>
                    <a:pt x="506" y="164"/>
                    <a:pt x="506" y="159"/>
                    <a:pt x="506" y="154"/>
                  </a:cubicBezTo>
                  <a:cubicBezTo>
                    <a:pt x="511" y="154"/>
                    <a:pt x="516" y="154"/>
                    <a:pt x="521" y="154"/>
                  </a:cubicBezTo>
                  <a:cubicBezTo>
                    <a:pt x="521" y="159"/>
                    <a:pt x="521" y="163"/>
                    <a:pt x="521" y="168"/>
                  </a:cubicBezTo>
                  <a:close/>
                  <a:moveTo>
                    <a:pt x="527" y="71"/>
                  </a:moveTo>
                  <a:cubicBezTo>
                    <a:pt x="531" y="71"/>
                    <a:pt x="536" y="71"/>
                    <a:pt x="541" y="71"/>
                  </a:cubicBezTo>
                  <a:cubicBezTo>
                    <a:pt x="541" y="76"/>
                    <a:pt x="541" y="81"/>
                    <a:pt x="541" y="86"/>
                  </a:cubicBezTo>
                  <a:cubicBezTo>
                    <a:pt x="536" y="86"/>
                    <a:pt x="532" y="86"/>
                    <a:pt x="527" y="86"/>
                  </a:cubicBezTo>
                  <a:cubicBezTo>
                    <a:pt x="527" y="81"/>
                    <a:pt x="527" y="76"/>
                    <a:pt x="527" y="71"/>
                  </a:cubicBezTo>
                  <a:close/>
                  <a:moveTo>
                    <a:pt x="527" y="92"/>
                  </a:moveTo>
                  <a:cubicBezTo>
                    <a:pt x="531" y="92"/>
                    <a:pt x="536" y="92"/>
                    <a:pt x="541" y="92"/>
                  </a:cubicBezTo>
                  <a:cubicBezTo>
                    <a:pt x="541" y="97"/>
                    <a:pt x="541" y="101"/>
                    <a:pt x="541" y="106"/>
                  </a:cubicBezTo>
                  <a:cubicBezTo>
                    <a:pt x="536" y="106"/>
                    <a:pt x="532" y="106"/>
                    <a:pt x="527" y="106"/>
                  </a:cubicBezTo>
                  <a:cubicBezTo>
                    <a:pt x="527" y="102"/>
                    <a:pt x="527" y="97"/>
                    <a:pt x="527" y="92"/>
                  </a:cubicBezTo>
                  <a:close/>
                  <a:moveTo>
                    <a:pt x="527" y="112"/>
                  </a:moveTo>
                  <a:cubicBezTo>
                    <a:pt x="531" y="112"/>
                    <a:pt x="536" y="112"/>
                    <a:pt x="541" y="112"/>
                  </a:cubicBezTo>
                  <a:cubicBezTo>
                    <a:pt x="541" y="117"/>
                    <a:pt x="541" y="122"/>
                    <a:pt x="541" y="127"/>
                  </a:cubicBezTo>
                  <a:cubicBezTo>
                    <a:pt x="536" y="127"/>
                    <a:pt x="532" y="127"/>
                    <a:pt x="527" y="127"/>
                  </a:cubicBezTo>
                  <a:cubicBezTo>
                    <a:pt x="527" y="122"/>
                    <a:pt x="527" y="118"/>
                    <a:pt x="527" y="112"/>
                  </a:cubicBezTo>
                  <a:close/>
                  <a:moveTo>
                    <a:pt x="541" y="134"/>
                  </a:moveTo>
                  <a:cubicBezTo>
                    <a:pt x="541" y="139"/>
                    <a:pt x="541" y="143"/>
                    <a:pt x="541" y="148"/>
                  </a:cubicBezTo>
                  <a:cubicBezTo>
                    <a:pt x="536" y="148"/>
                    <a:pt x="532" y="148"/>
                    <a:pt x="527" y="148"/>
                  </a:cubicBezTo>
                  <a:cubicBezTo>
                    <a:pt x="527" y="143"/>
                    <a:pt x="527" y="139"/>
                    <a:pt x="527" y="134"/>
                  </a:cubicBezTo>
                  <a:cubicBezTo>
                    <a:pt x="531" y="134"/>
                    <a:pt x="536" y="134"/>
                    <a:pt x="541" y="134"/>
                  </a:cubicBezTo>
                  <a:close/>
                  <a:moveTo>
                    <a:pt x="527" y="154"/>
                  </a:moveTo>
                  <a:cubicBezTo>
                    <a:pt x="532" y="154"/>
                    <a:pt x="536" y="154"/>
                    <a:pt x="541" y="154"/>
                  </a:cubicBezTo>
                  <a:cubicBezTo>
                    <a:pt x="541" y="159"/>
                    <a:pt x="541" y="163"/>
                    <a:pt x="541" y="168"/>
                  </a:cubicBezTo>
                  <a:cubicBezTo>
                    <a:pt x="536" y="168"/>
                    <a:pt x="532" y="168"/>
                    <a:pt x="527" y="168"/>
                  </a:cubicBezTo>
                  <a:cubicBezTo>
                    <a:pt x="527" y="163"/>
                    <a:pt x="527" y="159"/>
                    <a:pt x="527" y="154"/>
                  </a:cubicBezTo>
                  <a:close/>
                  <a:moveTo>
                    <a:pt x="541" y="189"/>
                  </a:moveTo>
                  <a:cubicBezTo>
                    <a:pt x="537" y="189"/>
                    <a:pt x="532" y="189"/>
                    <a:pt x="527" y="189"/>
                  </a:cubicBezTo>
                  <a:cubicBezTo>
                    <a:pt x="527" y="185"/>
                    <a:pt x="527" y="180"/>
                    <a:pt x="527" y="175"/>
                  </a:cubicBezTo>
                  <a:cubicBezTo>
                    <a:pt x="531" y="175"/>
                    <a:pt x="536" y="175"/>
                    <a:pt x="541" y="175"/>
                  </a:cubicBezTo>
                  <a:cubicBezTo>
                    <a:pt x="541" y="180"/>
                    <a:pt x="541" y="184"/>
                    <a:pt x="541" y="189"/>
                  </a:cubicBezTo>
                  <a:close/>
                  <a:moveTo>
                    <a:pt x="568" y="112"/>
                  </a:moveTo>
                  <a:cubicBezTo>
                    <a:pt x="573" y="112"/>
                    <a:pt x="577" y="112"/>
                    <a:pt x="582" y="112"/>
                  </a:cubicBezTo>
                  <a:cubicBezTo>
                    <a:pt x="582" y="117"/>
                    <a:pt x="582" y="122"/>
                    <a:pt x="582" y="127"/>
                  </a:cubicBezTo>
                  <a:cubicBezTo>
                    <a:pt x="577" y="127"/>
                    <a:pt x="573" y="127"/>
                    <a:pt x="568" y="127"/>
                  </a:cubicBezTo>
                  <a:cubicBezTo>
                    <a:pt x="568" y="122"/>
                    <a:pt x="568" y="118"/>
                    <a:pt x="568" y="112"/>
                  </a:cubicBezTo>
                  <a:close/>
                  <a:moveTo>
                    <a:pt x="568" y="106"/>
                  </a:moveTo>
                  <a:cubicBezTo>
                    <a:pt x="568" y="102"/>
                    <a:pt x="568" y="97"/>
                    <a:pt x="568" y="92"/>
                  </a:cubicBezTo>
                  <a:cubicBezTo>
                    <a:pt x="573" y="92"/>
                    <a:pt x="577" y="92"/>
                    <a:pt x="582" y="92"/>
                  </a:cubicBezTo>
                  <a:cubicBezTo>
                    <a:pt x="582" y="97"/>
                    <a:pt x="582" y="101"/>
                    <a:pt x="582" y="106"/>
                  </a:cubicBezTo>
                  <a:cubicBezTo>
                    <a:pt x="578" y="106"/>
                    <a:pt x="573" y="106"/>
                    <a:pt x="568" y="106"/>
                  </a:cubicBezTo>
                  <a:close/>
                  <a:moveTo>
                    <a:pt x="547" y="92"/>
                  </a:moveTo>
                  <a:cubicBezTo>
                    <a:pt x="552" y="92"/>
                    <a:pt x="557" y="92"/>
                    <a:pt x="562" y="92"/>
                  </a:cubicBezTo>
                  <a:cubicBezTo>
                    <a:pt x="562" y="97"/>
                    <a:pt x="562" y="102"/>
                    <a:pt x="562" y="106"/>
                  </a:cubicBezTo>
                  <a:cubicBezTo>
                    <a:pt x="557" y="106"/>
                    <a:pt x="552" y="106"/>
                    <a:pt x="547" y="106"/>
                  </a:cubicBezTo>
                  <a:cubicBezTo>
                    <a:pt x="547" y="102"/>
                    <a:pt x="547" y="97"/>
                    <a:pt x="547" y="92"/>
                  </a:cubicBezTo>
                  <a:close/>
                  <a:moveTo>
                    <a:pt x="562" y="112"/>
                  </a:moveTo>
                  <a:cubicBezTo>
                    <a:pt x="562" y="117"/>
                    <a:pt x="562" y="122"/>
                    <a:pt x="562" y="127"/>
                  </a:cubicBezTo>
                  <a:cubicBezTo>
                    <a:pt x="557" y="127"/>
                    <a:pt x="552" y="127"/>
                    <a:pt x="547" y="127"/>
                  </a:cubicBezTo>
                  <a:cubicBezTo>
                    <a:pt x="547" y="123"/>
                    <a:pt x="547" y="118"/>
                    <a:pt x="547" y="112"/>
                  </a:cubicBezTo>
                  <a:cubicBezTo>
                    <a:pt x="552" y="112"/>
                    <a:pt x="557" y="112"/>
                    <a:pt x="562" y="112"/>
                  </a:cubicBezTo>
                  <a:close/>
                  <a:moveTo>
                    <a:pt x="562" y="190"/>
                  </a:moveTo>
                  <a:cubicBezTo>
                    <a:pt x="557" y="190"/>
                    <a:pt x="552" y="190"/>
                    <a:pt x="547" y="190"/>
                  </a:cubicBezTo>
                  <a:cubicBezTo>
                    <a:pt x="547" y="185"/>
                    <a:pt x="547" y="180"/>
                    <a:pt x="547" y="174"/>
                  </a:cubicBezTo>
                  <a:cubicBezTo>
                    <a:pt x="552" y="174"/>
                    <a:pt x="557" y="174"/>
                    <a:pt x="562" y="174"/>
                  </a:cubicBezTo>
                  <a:cubicBezTo>
                    <a:pt x="562" y="180"/>
                    <a:pt x="562" y="185"/>
                    <a:pt x="562" y="190"/>
                  </a:cubicBezTo>
                  <a:close/>
                  <a:moveTo>
                    <a:pt x="562" y="168"/>
                  </a:moveTo>
                  <a:cubicBezTo>
                    <a:pt x="557" y="168"/>
                    <a:pt x="552" y="168"/>
                    <a:pt x="547" y="168"/>
                  </a:cubicBezTo>
                  <a:cubicBezTo>
                    <a:pt x="547" y="164"/>
                    <a:pt x="547" y="159"/>
                    <a:pt x="547" y="154"/>
                  </a:cubicBezTo>
                  <a:cubicBezTo>
                    <a:pt x="552" y="154"/>
                    <a:pt x="557" y="154"/>
                    <a:pt x="562" y="154"/>
                  </a:cubicBezTo>
                  <a:cubicBezTo>
                    <a:pt x="562" y="159"/>
                    <a:pt x="562" y="163"/>
                    <a:pt x="562" y="168"/>
                  </a:cubicBezTo>
                  <a:close/>
                  <a:moveTo>
                    <a:pt x="562" y="148"/>
                  </a:moveTo>
                  <a:cubicBezTo>
                    <a:pt x="557" y="148"/>
                    <a:pt x="552" y="148"/>
                    <a:pt x="547" y="148"/>
                  </a:cubicBezTo>
                  <a:cubicBezTo>
                    <a:pt x="547" y="143"/>
                    <a:pt x="547" y="139"/>
                    <a:pt x="547" y="133"/>
                  </a:cubicBezTo>
                  <a:cubicBezTo>
                    <a:pt x="552" y="133"/>
                    <a:pt x="557" y="133"/>
                    <a:pt x="562" y="133"/>
                  </a:cubicBezTo>
                  <a:cubicBezTo>
                    <a:pt x="562" y="138"/>
                    <a:pt x="562" y="143"/>
                    <a:pt x="562" y="148"/>
                  </a:cubicBezTo>
                  <a:close/>
                  <a:moveTo>
                    <a:pt x="562" y="86"/>
                  </a:moveTo>
                  <a:cubicBezTo>
                    <a:pt x="557" y="86"/>
                    <a:pt x="552" y="86"/>
                    <a:pt x="547" y="86"/>
                  </a:cubicBezTo>
                  <a:cubicBezTo>
                    <a:pt x="547" y="81"/>
                    <a:pt x="547" y="76"/>
                    <a:pt x="547" y="71"/>
                  </a:cubicBezTo>
                  <a:cubicBezTo>
                    <a:pt x="552" y="71"/>
                    <a:pt x="557" y="71"/>
                    <a:pt x="562" y="71"/>
                  </a:cubicBezTo>
                  <a:cubicBezTo>
                    <a:pt x="562" y="76"/>
                    <a:pt x="562" y="81"/>
                    <a:pt x="562" y="86"/>
                  </a:cubicBezTo>
                  <a:close/>
                  <a:moveTo>
                    <a:pt x="582" y="190"/>
                  </a:moveTo>
                  <a:cubicBezTo>
                    <a:pt x="577" y="190"/>
                    <a:pt x="573" y="190"/>
                    <a:pt x="568" y="190"/>
                  </a:cubicBezTo>
                  <a:cubicBezTo>
                    <a:pt x="568" y="184"/>
                    <a:pt x="568" y="180"/>
                    <a:pt x="568" y="175"/>
                  </a:cubicBezTo>
                  <a:cubicBezTo>
                    <a:pt x="572" y="175"/>
                    <a:pt x="577" y="175"/>
                    <a:pt x="582" y="175"/>
                  </a:cubicBezTo>
                  <a:cubicBezTo>
                    <a:pt x="582" y="179"/>
                    <a:pt x="582" y="184"/>
                    <a:pt x="582" y="190"/>
                  </a:cubicBezTo>
                  <a:close/>
                  <a:moveTo>
                    <a:pt x="582" y="168"/>
                  </a:moveTo>
                  <a:cubicBezTo>
                    <a:pt x="578" y="168"/>
                    <a:pt x="573" y="168"/>
                    <a:pt x="568" y="168"/>
                  </a:cubicBezTo>
                  <a:cubicBezTo>
                    <a:pt x="568" y="163"/>
                    <a:pt x="568" y="159"/>
                    <a:pt x="568" y="154"/>
                  </a:cubicBezTo>
                  <a:cubicBezTo>
                    <a:pt x="572" y="154"/>
                    <a:pt x="577" y="154"/>
                    <a:pt x="582" y="154"/>
                  </a:cubicBezTo>
                  <a:cubicBezTo>
                    <a:pt x="582" y="159"/>
                    <a:pt x="582" y="163"/>
                    <a:pt x="582" y="168"/>
                  </a:cubicBezTo>
                  <a:close/>
                  <a:moveTo>
                    <a:pt x="582" y="148"/>
                  </a:moveTo>
                  <a:cubicBezTo>
                    <a:pt x="577" y="148"/>
                    <a:pt x="573" y="148"/>
                    <a:pt x="568" y="148"/>
                  </a:cubicBezTo>
                  <a:cubicBezTo>
                    <a:pt x="568" y="143"/>
                    <a:pt x="568" y="139"/>
                    <a:pt x="568" y="134"/>
                  </a:cubicBezTo>
                  <a:cubicBezTo>
                    <a:pt x="573" y="134"/>
                    <a:pt x="577" y="134"/>
                    <a:pt x="582" y="134"/>
                  </a:cubicBezTo>
                  <a:cubicBezTo>
                    <a:pt x="582" y="138"/>
                    <a:pt x="582" y="143"/>
                    <a:pt x="582" y="148"/>
                  </a:cubicBezTo>
                  <a:close/>
                  <a:moveTo>
                    <a:pt x="582" y="86"/>
                  </a:moveTo>
                  <a:cubicBezTo>
                    <a:pt x="578" y="86"/>
                    <a:pt x="573" y="86"/>
                    <a:pt x="568" y="86"/>
                  </a:cubicBezTo>
                  <a:cubicBezTo>
                    <a:pt x="568" y="81"/>
                    <a:pt x="568" y="76"/>
                    <a:pt x="568" y="71"/>
                  </a:cubicBezTo>
                  <a:cubicBezTo>
                    <a:pt x="573" y="71"/>
                    <a:pt x="577" y="71"/>
                    <a:pt x="582" y="71"/>
                  </a:cubicBezTo>
                  <a:cubicBezTo>
                    <a:pt x="582" y="76"/>
                    <a:pt x="582" y="81"/>
                    <a:pt x="582" y="86"/>
                  </a:cubicBezTo>
                  <a:close/>
                  <a:moveTo>
                    <a:pt x="658" y="148"/>
                  </a:moveTo>
                  <a:cubicBezTo>
                    <a:pt x="653" y="148"/>
                    <a:pt x="647" y="148"/>
                    <a:pt x="642" y="148"/>
                  </a:cubicBezTo>
                  <a:cubicBezTo>
                    <a:pt x="642" y="143"/>
                    <a:pt x="642" y="138"/>
                    <a:pt x="642" y="132"/>
                  </a:cubicBezTo>
                  <a:cubicBezTo>
                    <a:pt x="647" y="132"/>
                    <a:pt x="652" y="132"/>
                    <a:pt x="658" y="132"/>
                  </a:cubicBezTo>
                  <a:cubicBezTo>
                    <a:pt x="658" y="137"/>
                    <a:pt x="658" y="142"/>
                    <a:pt x="658" y="1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sp>
        <p:nvSpPr>
          <p:cNvPr id="30" name="TextBox 133"/>
          <p:cNvSpPr txBox="1"/>
          <p:nvPr/>
        </p:nvSpPr>
        <p:spPr>
          <a:xfrm>
            <a:off x="2793125" y="3359355"/>
            <a:ext cx="619540"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rPr>
              <a:t>XXX</a:t>
            </a:r>
            <a:endParaRPr kumimoji="0" lang="zh-CN" altLang="en-US" sz="1800" b="1" i="0" u="none" strike="noStrike" kern="1200" cap="none" spc="0" normalizeH="0" baseline="0" noProof="0" dirty="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endParaRPr>
          </a:p>
        </p:txBody>
      </p:sp>
      <p:sp>
        <p:nvSpPr>
          <p:cNvPr id="75" name="MH_Other_1"/>
          <p:cNvSpPr/>
          <p:nvPr>
            <p:custDataLst>
              <p:tags r:id="rId6"/>
            </p:custDataLst>
          </p:nvPr>
        </p:nvSpPr>
        <p:spPr>
          <a:xfrm>
            <a:off x="8175907" y="3124773"/>
            <a:ext cx="1705478" cy="556486"/>
          </a:xfrm>
          <a:custGeom>
            <a:avLst/>
            <a:gdLst>
              <a:gd name="connsiteX0" fmla="*/ 2305898 w 4611794"/>
              <a:gd name="connsiteY0" fmla="*/ 176915 h 639232"/>
              <a:gd name="connsiteX1" fmla="*/ 2894395 w 4611794"/>
              <a:gd name="connsiteY1" fmla="*/ 267120 h 639232"/>
              <a:gd name="connsiteX2" fmla="*/ 2305898 w 4611794"/>
              <a:gd name="connsiteY2" fmla="*/ 357325 h 639232"/>
              <a:gd name="connsiteX3" fmla="*/ 1717401 w 4611794"/>
              <a:gd name="connsiteY3" fmla="*/ 267120 h 639232"/>
              <a:gd name="connsiteX4" fmla="*/ 2305898 w 4611794"/>
              <a:gd name="connsiteY4" fmla="*/ 176915 h 639232"/>
              <a:gd name="connsiteX5" fmla="*/ 2305896 w 4611794"/>
              <a:gd name="connsiteY5" fmla="*/ 127061 h 639232"/>
              <a:gd name="connsiteX6" fmla="*/ 1004146 w 4611794"/>
              <a:gd name="connsiteY6" fmla="*/ 283089 h 639232"/>
              <a:gd name="connsiteX7" fmla="*/ 2305896 w 4611794"/>
              <a:gd name="connsiteY7" fmla="*/ 439117 h 639232"/>
              <a:gd name="connsiteX8" fmla="*/ 3607646 w 4611794"/>
              <a:gd name="connsiteY8" fmla="*/ 283089 h 639232"/>
              <a:gd name="connsiteX9" fmla="*/ 2305896 w 4611794"/>
              <a:gd name="connsiteY9" fmla="*/ 127061 h 639232"/>
              <a:gd name="connsiteX10" fmla="*/ 2305897 w 4611794"/>
              <a:gd name="connsiteY10" fmla="*/ 85624 h 639232"/>
              <a:gd name="connsiteX11" fmla="*/ 4116441 w 4611794"/>
              <a:gd name="connsiteY11" fmla="*/ 294807 h 639232"/>
              <a:gd name="connsiteX12" fmla="*/ 2305897 w 4611794"/>
              <a:gd name="connsiteY12" fmla="*/ 503990 h 639232"/>
              <a:gd name="connsiteX13" fmla="*/ 495353 w 4611794"/>
              <a:gd name="connsiteY13" fmla="*/ 294807 h 639232"/>
              <a:gd name="connsiteX14" fmla="*/ 2305897 w 4611794"/>
              <a:gd name="connsiteY14" fmla="*/ 85624 h 639232"/>
              <a:gd name="connsiteX15" fmla="*/ 2305897 w 4611794"/>
              <a:gd name="connsiteY15" fmla="*/ 31880 h 639232"/>
              <a:gd name="connsiteX16" fmla="*/ 184559 w 4611794"/>
              <a:gd name="connsiteY16" fmla="*/ 319548 h 639232"/>
              <a:gd name="connsiteX17" fmla="*/ 2305897 w 4611794"/>
              <a:gd name="connsiteY17" fmla="*/ 607216 h 639232"/>
              <a:gd name="connsiteX18" fmla="*/ 4427235 w 4611794"/>
              <a:gd name="connsiteY18" fmla="*/ 319548 h 639232"/>
              <a:gd name="connsiteX19" fmla="*/ 2305897 w 4611794"/>
              <a:gd name="connsiteY19" fmla="*/ 31880 h 639232"/>
              <a:gd name="connsiteX20" fmla="*/ 2305897 w 4611794"/>
              <a:gd name="connsiteY20" fmla="*/ 0 h 639232"/>
              <a:gd name="connsiteX21" fmla="*/ 4611794 w 4611794"/>
              <a:gd name="connsiteY21" fmla="*/ 319616 h 639232"/>
              <a:gd name="connsiteX22" fmla="*/ 2305897 w 4611794"/>
              <a:gd name="connsiteY22" fmla="*/ 639232 h 639232"/>
              <a:gd name="connsiteX23" fmla="*/ 0 w 4611794"/>
              <a:gd name="connsiteY23" fmla="*/ 319616 h 639232"/>
              <a:gd name="connsiteX24" fmla="*/ 2305897 w 4611794"/>
              <a:gd name="connsiteY24" fmla="*/ 0 h 63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11794" h="639232">
                <a:moveTo>
                  <a:pt x="2305898" y="176915"/>
                </a:moveTo>
                <a:cubicBezTo>
                  <a:pt x="2630916" y="176915"/>
                  <a:pt x="2894395" y="217301"/>
                  <a:pt x="2894395" y="267120"/>
                </a:cubicBezTo>
                <a:cubicBezTo>
                  <a:pt x="2894395" y="316939"/>
                  <a:pt x="2630916" y="357325"/>
                  <a:pt x="2305898" y="357325"/>
                </a:cubicBezTo>
                <a:cubicBezTo>
                  <a:pt x="1980880" y="357325"/>
                  <a:pt x="1717401" y="316939"/>
                  <a:pt x="1717401" y="267120"/>
                </a:cubicBezTo>
                <a:cubicBezTo>
                  <a:pt x="1717401" y="217301"/>
                  <a:pt x="1980880" y="176915"/>
                  <a:pt x="2305898" y="176915"/>
                </a:cubicBezTo>
                <a:close/>
                <a:moveTo>
                  <a:pt x="2305896" y="127061"/>
                </a:moveTo>
                <a:cubicBezTo>
                  <a:pt x="1586959" y="127061"/>
                  <a:pt x="1004146" y="196917"/>
                  <a:pt x="1004146" y="283089"/>
                </a:cubicBezTo>
                <a:cubicBezTo>
                  <a:pt x="1004146" y="369261"/>
                  <a:pt x="1586959" y="439117"/>
                  <a:pt x="2305896" y="439117"/>
                </a:cubicBezTo>
                <a:cubicBezTo>
                  <a:pt x="3024833" y="439117"/>
                  <a:pt x="3607646" y="369261"/>
                  <a:pt x="3607646" y="283089"/>
                </a:cubicBezTo>
                <a:cubicBezTo>
                  <a:pt x="3607646" y="196917"/>
                  <a:pt x="3024833" y="127061"/>
                  <a:pt x="2305896" y="127061"/>
                </a:cubicBezTo>
                <a:close/>
                <a:moveTo>
                  <a:pt x="2305897" y="85624"/>
                </a:moveTo>
                <a:cubicBezTo>
                  <a:pt x="3305833" y="85624"/>
                  <a:pt x="4116441" y="179278"/>
                  <a:pt x="4116441" y="294807"/>
                </a:cubicBezTo>
                <a:cubicBezTo>
                  <a:pt x="4116441" y="410336"/>
                  <a:pt x="3305833" y="503990"/>
                  <a:pt x="2305897" y="503990"/>
                </a:cubicBezTo>
                <a:cubicBezTo>
                  <a:pt x="1305961" y="503990"/>
                  <a:pt x="495353" y="410336"/>
                  <a:pt x="495353" y="294807"/>
                </a:cubicBezTo>
                <a:cubicBezTo>
                  <a:pt x="495353" y="179278"/>
                  <a:pt x="1305961" y="85624"/>
                  <a:pt x="2305897" y="85624"/>
                </a:cubicBezTo>
                <a:close/>
                <a:moveTo>
                  <a:pt x="2305897" y="31880"/>
                </a:moveTo>
                <a:cubicBezTo>
                  <a:pt x="1134314" y="31880"/>
                  <a:pt x="184559" y="160673"/>
                  <a:pt x="184559" y="319548"/>
                </a:cubicBezTo>
                <a:cubicBezTo>
                  <a:pt x="184559" y="478423"/>
                  <a:pt x="1134314" y="607216"/>
                  <a:pt x="2305897" y="607216"/>
                </a:cubicBezTo>
                <a:cubicBezTo>
                  <a:pt x="3477480" y="607216"/>
                  <a:pt x="4427235" y="478423"/>
                  <a:pt x="4427235" y="319548"/>
                </a:cubicBezTo>
                <a:cubicBezTo>
                  <a:pt x="4427235" y="160673"/>
                  <a:pt x="3477480" y="31880"/>
                  <a:pt x="2305897" y="31880"/>
                </a:cubicBezTo>
                <a:close/>
                <a:moveTo>
                  <a:pt x="2305897" y="0"/>
                </a:moveTo>
                <a:cubicBezTo>
                  <a:pt x="3579409" y="0"/>
                  <a:pt x="4611794" y="143097"/>
                  <a:pt x="4611794" y="319616"/>
                </a:cubicBezTo>
                <a:cubicBezTo>
                  <a:pt x="4611794" y="496135"/>
                  <a:pt x="3579409" y="639232"/>
                  <a:pt x="2305897" y="639232"/>
                </a:cubicBezTo>
                <a:cubicBezTo>
                  <a:pt x="1032385" y="639232"/>
                  <a:pt x="0" y="496135"/>
                  <a:pt x="0" y="319616"/>
                </a:cubicBezTo>
                <a:cubicBezTo>
                  <a:pt x="0" y="143097"/>
                  <a:pt x="1032385" y="0"/>
                  <a:pt x="2305897"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76" name="TextBox 133"/>
          <p:cNvSpPr txBox="1"/>
          <p:nvPr/>
        </p:nvSpPr>
        <p:spPr>
          <a:xfrm>
            <a:off x="8414173" y="3359355"/>
            <a:ext cx="1228947"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rPr>
              <a:t>XX</a:t>
            </a:r>
            <a:endParaRPr kumimoji="0" lang="zh-CN" altLang="en-US" sz="1800" b="1" i="0" u="none" strike="noStrike" kern="1200" cap="none" spc="0" normalizeH="0" baseline="0" noProof="0" dirty="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endParaRPr>
          </a:p>
        </p:txBody>
      </p:sp>
      <p:sp>
        <p:nvSpPr>
          <p:cNvPr id="90" name="Freeform 11"/>
          <p:cNvSpPr>
            <a:spLocks noEditPoints="1"/>
          </p:cNvSpPr>
          <p:nvPr/>
        </p:nvSpPr>
        <p:spPr bwMode="auto">
          <a:xfrm>
            <a:off x="8719313" y="2884408"/>
            <a:ext cx="618667" cy="423243"/>
          </a:xfrm>
          <a:custGeom>
            <a:avLst/>
            <a:gdLst>
              <a:gd name="T0" fmla="*/ 3364 w 3557"/>
              <a:gd name="T1" fmla="*/ 672 h 2433"/>
              <a:gd name="T2" fmla="*/ 3317 w 3557"/>
              <a:gd name="T3" fmla="*/ 574 h 2433"/>
              <a:gd name="T4" fmla="*/ 2540 w 3557"/>
              <a:gd name="T5" fmla="*/ 546 h 2433"/>
              <a:gd name="T6" fmla="*/ 2446 w 3557"/>
              <a:gd name="T7" fmla="*/ 2173 h 2433"/>
              <a:gd name="T8" fmla="*/ 2449 w 3557"/>
              <a:gd name="T9" fmla="*/ 97 h 2433"/>
              <a:gd name="T10" fmla="*/ 2382 w 3557"/>
              <a:gd name="T11" fmla="*/ 13 h 2433"/>
              <a:gd name="T12" fmla="*/ 1202 w 3557"/>
              <a:gd name="T13" fmla="*/ 4 h 2433"/>
              <a:gd name="T14" fmla="*/ 1117 w 3557"/>
              <a:gd name="T15" fmla="*/ 71 h 2433"/>
              <a:gd name="T16" fmla="*/ 1106 w 3557"/>
              <a:gd name="T17" fmla="*/ 2154 h 2433"/>
              <a:gd name="T18" fmla="*/ 1017 w 3557"/>
              <a:gd name="T19" fmla="*/ 2102 h 2433"/>
              <a:gd name="T20" fmla="*/ 280 w 3557"/>
              <a:gd name="T21" fmla="*/ 558 h 2433"/>
              <a:gd name="T22" fmla="*/ 213 w 3557"/>
              <a:gd name="T23" fmla="*/ 643 h 2433"/>
              <a:gd name="T24" fmla="*/ 216 w 3557"/>
              <a:gd name="T25" fmla="*/ 2173 h 2433"/>
              <a:gd name="T26" fmla="*/ 3557 w 3557"/>
              <a:gd name="T27" fmla="*/ 2173 h 2433"/>
              <a:gd name="T28" fmla="*/ 405 w 3557"/>
              <a:gd name="T29" fmla="*/ 1481 h 2433"/>
              <a:gd name="T30" fmla="*/ 405 w 3557"/>
              <a:gd name="T31" fmla="*/ 1345 h 2433"/>
              <a:gd name="T32" fmla="*/ 586 w 3557"/>
              <a:gd name="T33" fmla="*/ 1040 h 2433"/>
              <a:gd name="T34" fmla="*/ 586 w 3557"/>
              <a:gd name="T35" fmla="*/ 1040 h 2433"/>
              <a:gd name="T36" fmla="*/ 866 w 3557"/>
              <a:gd name="T37" fmla="*/ 1481 h 2433"/>
              <a:gd name="T38" fmla="*/ 687 w 3557"/>
              <a:gd name="T39" fmla="*/ 1165 h 2433"/>
              <a:gd name="T40" fmla="*/ 687 w 3557"/>
              <a:gd name="T41" fmla="*/ 1040 h 2433"/>
              <a:gd name="T42" fmla="*/ 2057 w 3557"/>
              <a:gd name="T43" fmla="*/ 2164 h 2433"/>
              <a:gd name="T44" fmla="*/ 2057 w 3557"/>
              <a:gd name="T45" fmla="*/ 2164 h 2433"/>
              <a:gd name="T46" fmla="*/ 1629 w 3557"/>
              <a:gd name="T47" fmla="*/ 915 h 2433"/>
              <a:gd name="T48" fmla="*/ 1466 w 3557"/>
              <a:gd name="T49" fmla="*/ 811 h 2433"/>
              <a:gd name="T50" fmla="*/ 1362 w 3557"/>
              <a:gd name="T51" fmla="*/ 648 h 2433"/>
              <a:gd name="T52" fmla="*/ 1339 w 3557"/>
              <a:gd name="T53" fmla="*/ 447 h 2433"/>
              <a:gd name="T54" fmla="*/ 1405 w 3557"/>
              <a:gd name="T55" fmla="*/ 262 h 2433"/>
              <a:gd name="T56" fmla="*/ 1541 w 3557"/>
              <a:gd name="T57" fmla="*/ 126 h 2433"/>
              <a:gd name="T58" fmla="*/ 1726 w 3557"/>
              <a:gd name="T59" fmla="*/ 60 h 2433"/>
              <a:gd name="T60" fmla="*/ 1928 w 3557"/>
              <a:gd name="T61" fmla="*/ 83 h 2433"/>
              <a:gd name="T62" fmla="*/ 2091 w 3557"/>
              <a:gd name="T63" fmla="*/ 186 h 2433"/>
              <a:gd name="T64" fmla="*/ 2195 w 3557"/>
              <a:gd name="T65" fmla="*/ 350 h 2433"/>
              <a:gd name="T66" fmla="*/ 2217 w 3557"/>
              <a:gd name="T67" fmla="*/ 551 h 2433"/>
              <a:gd name="T68" fmla="*/ 2151 w 3557"/>
              <a:gd name="T69" fmla="*/ 736 h 2433"/>
              <a:gd name="T70" fmla="*/ 2015 w 3557"/>
              <a:gd name="T71" fmla="*/ 872 h 2433"/>
              <a:gd name="T72" fmla="*/ 1830 w 3557"/>
              <a:gd name="T73" fmla="*/ 938 h 2433"/>
              <a:gd name="T74" fmla="*/ 2741 w 3557"/>
              <a:gd name="T75" fmla="*/ 1481 h 2433"/>
              <a:gd name="T76" fmla="*/ 2741 w 3557"/>
              <a:gd name="T77" fmla="*/ 1345 h 2433"/>
              <a:gd name="T78" fmla="*/ 2921 w 3557"/>
              <a:gd name="T79" fmla="*/ 1040 h 2433"/>
              <a:gd name="T80" fmla="*/ 2921 w 3557"/>
              <a:gd name="T81" fmla="*/ 1040 h 2433"/>
              <a:gd name="T82" fmla="*/ 3201 w 3557"/>
              <a:gd name="T83" fmla="*/ 1481 h 2433"/>
              <a:gd name="T84" fmla="*/ 3021 w 3557"/>
              <a:gd name="T85" fmla="*/ 1165 h 2433"/>
              <a:gd name="T86" fmla="*/ 3021 w 3557"/>
              <a:gd name="T87" fmla="*/ 1040 h 2433"/>
              <a:gd name="T88" fmla="*/ 1888 w 3557"/>
              <a:gd name="T89" fmla="*/ 390 h 2433"/>
              <a:gd name="T90" fmla="*/ 1888 w 3557"/>
              <a:gd name="T91" fmla="*/ 778 h 2433"/>
              <a:gd name="T92" fmla="*/ 1499 w 3557"/>
              <a:gd name="T93" fmla="*/ 390 h 2433"/>
              <a:gd name="T94" fmla="*/ 1888 w 3557"/>
              <a:gd name="T95" fmla="*/ 390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7" h="2433">
                <a:moveTo>
                  <a:pt x="3358" y="2173"/>
                </a:moveTo>
                <a:lnTo>
                  <a:pt x="3362" y="2154"/>
                </a:lnTo>
                <a:lnTo>
                  <a:pt x="3364" y="2133"/>
                </a:lnTo>
                <a:lnTo>
                  <a:pt x="3364" y="672"/>
                </a:lnTo>
                <a:lnTo>
                  <a:pt x="3361" y="643"/>
                </a:lnTo>
                <a:lnTo>
                  <a:pt x="3351" y="617"/>
                </a:lnTo>
                <a:lnTo>
                  <a:pt x="3336" y="593"/>
                </a:lnTo>
                <a:lnTo>
                  <a:pt x="3317" y="574"/>
                </a:lnTo>
                <a:lnTo>
                  <a:pt x="3294" y="558"/>
                </a:lnTo>
                <a:lnTo>
                  <a:pt x="3267" y="550"/>
                </a:lnTo>
                <a:lnTo>
                  <a:pt x="3239" y="546"/>
                </a:lnTo>
                <a:lnTo>
                  <a:pt x="2540" y="546"/>
                </a:lnTo>
                <a:lnTo>
                  <a:pt x="2540" y="2102"/>
                </a:lnTo>
                <a:lnTo>
                  <a:pt x="2537" y="2138"/>
                </a:lnTo>
                <a:lnTo>
                  <a:pt x="2527" y="2173"/>
                </a:lnTo>
                <a:lnTo>
                  <a:pt x="2446" y="2173"/>
                </a:lnTo>
                <a:lnTo>
                  <a:pt x="2450" y="2154"/>
                </a:lnTo>
                <a:lnTo>
                  <a:pt x="2452" y="2133"/>
                </a:lnTo>
                <a:lnTo>
                  <a:pt x="2452" y="126"/>
                </a:lnTo>
                <a:lnTo>
                  <a:pt x="2449" y="97"/>
                </a:lnTo>
                <a:lnTo>
                  <a:pt x="2439" y="71"/>
                </a:lnTo>
                <a:lnTo>
                  <a:pt x="2424" y="47"/>
                </a:lnTo>
                <a:lnTo>
                  <a:pt x="2405" y="27"/>
                </a:lnTo>
                <a:lnTo>
                  <a:pt x="2382" y="13"/>
                </a:lnTo>
                <a:lnTo>
                  <a:pt x="2355" y="4"/>
                </a:lnTo>
                <a:lnTo>
                  <a:pt x="2327" y="0"/>
                </a:lnTo>
                <a:lnTo>
                  <a:pt x="1230" y="0"/>
                </a:lnTo>
                <a:lnTo>
                  <a:pt x="1202" y="4"/>
                </a:lnTo>
                <a:lnTo>
                  <a:pt x="1175" y="13"/>
                </a:lnTo>
                <a:lnTo>
                  <a:pt x="1152" y="27"/>
                </a:lnTo>
                <a:lnTo>
                  <a:pt x="1132" y="47"/>
                </a:lnTo>
                <a:lnTo>
                  <a:pt x="1117" y="71"/>
                </a:lnTo>
                <a:lnTo>
                  <a:pt x="1108" y="97"/>
                </a:lnTo>
                <a:lnTo>
                  <a:pt x="1104" y="126"/>
                </a:lnTo>
                <a:lnTo>
                  <a:pt x="1104" y="2133"/>
                </a:lnTo>
                <a:lnTo>
                  <a:pt x="1106" y="2154"/>
                </a:lnTo>
                <a:lnTo>
                  <a:pt x="1111" y="2173"/>
                </a:lnTo>
                <a:lnTo>
                  <a:pt x="1030" y="2173"/>
                </a:lnTo>
                <a:lnTo>
                  <a:pt x="1020" y="2138"/>
                </a:lnTo>
                <a:lnTo>
                  <a:pt x="1017" y="2102"/>
                </a:lnTo>
                <a:lnTo>
                  <a:pt x="1017" y="546"/>
                </a:lnTo>
                <a:lnTo>
                  <a:pt x="335" y="546"/>
                </a:lnTo>
                <a:lnTo>
                  <a:pt x="306" y="550"/>
                </a:lnTo>
                <a:lnTo>
                  <a:pt x="280" y="558"/>
                </a:lnTo>
                <a:lnTo>
                  <a:pt x="256" y="574"/>
                </a:lnTo>
                <a:lnTo>
                  <a:pt x="237" y="593"/>
                </a:lnTo>
                <a:lnTo>
                  <a:pt x="222" y="617"/>
                </a:lnTo>
                <a:lnTo>
                  <a:pt x="213" y="643"/>
                </a:lnTo>
                <a:lnTo>
                  <a:pt x="210" y="672"/>
                </a:lnTo>
                <a:lnTo>
                  <a:pt x="210" y="2133"/>
                </a:lnTo>
                <a:lnTo>
                  <a:pt x="211" y="2154"/>
                </a:lnTo>
                <a:lnTo>
                  <a:pt x="216" y="2173"/>
                </a:lnTo>
                <a:lnTo>
                  <a:pt x="0" y="2173"/>
                </a:lnTo>
                <a:lnTo>
                  <a:pt x="0" y="2433"/>
                </a:lnTo>
                <a:lnTo>
                  <a:pt x="3557" y="2433"/>
                </a:lnTo>
                <a:lnTo>
                  <a:pt x="3557" y="2173"/>
                </a:lnTo>
                <a:lnTo>
                  <a:pt x="3358" y="2173"/>
                </a:lnTo>
                <a:close/>
                <a:moveTo>
                  <a:pt x="586" y="1660"/>
                </a:moveTo>
                <a:lnTo>
                  <a:pt x="405" y="1660"/>
                </a:lnTo>
                <a:lnTo>
                  <a:pt x="405" y="1481"/>
                </a:lnTo>
                <a:lnTo>
                  <a:pt x="586" y="1481"/>
                </a:lnTo>
                <a:lnTo>
                  <a:pt x="586" y="1660"/>
                </a:lnTo>
                <a:close/>
                <a:moveTo>
                  <a:pt x="586" y="1345"/>
                </a:moveTo>
                <a:lnTo>
                  <a:pt x="405" y="1345"/>
                </a:lnTo>
                <a:lnTo>
                  <a:pt x="405" y="1165"/>
                </a:lnTo>
                <a:lnTo>
                  <a:pt x="586" y="1165"/>
                </a:lnTo>
                <a:lnTo>
                  <a:pt x="586" y="1345"/>
                </a:lnTo>
                <a:close/>
                <a:moveTo>
                  <a:pt x="586" y="1040"/>
                </a:moveTo>
                <a:lnTo>
                  <a:pt x="405" y="1040"/>
                </a:lnTo>
                <a:lnTo>
                  <a:pt x="405" y="860"/>
                </a:lnTo>
                <a:lnTo>
                  <a:pt x="586" y="860"/>
                </a:lnTo>
                <a:lnTo>
                  <a:pt x="586" y="1040"/>
                </a:lnTo>
                <a:close/>
                <a:moveTo>
                  <a:pt x="866" y="1660"/>
                </a:moveTo>
                <a:lnTo>
                  <a:pt x="687" y="1660"/>
                </a:lnTo>
                <a:lnTo>
                  <a:pt x="687" y="1481"/>
                </a:lnTo>
                <a:lnTo>
                  <a:pt x="866" y="1481"/>
                </a:lnTo>
                <a:lnTo>
                  <a:pt x="866" y="1660"/>
                </a:lnTo>
                <a:close/>
                <a:moveTo>
                  <a:pt x="866" y="1345"/>
                </a:moveTo>
                <a:lnTo>
                  <a:pt x="687" y="1345"/>
                </a:lnTo>
                <a:lnTo>
                  <a:pt x="687" y="1165"/>
                </a:lnTo>
                <a:lnTo>
                  <a:pt x="866" y="1165"/>
                </a:lnTo>
                <a:lnTo>
                  <a:pt x="866" y="1345"/>
                </a:lnTo>
                <a:close/>
                <a:moveTo>
                  <a:pt x="866" y="1040"/>
                </a:moveTo>
                <a:lnTo>
                  <a:pt x="687" y="1040"/>
                </a:lnTo>
                <a:lnTo>
                  <a:pt x="687" y="860"/>
                </a:lnTo>
                <a:lnTo>
                  <a:pt x="866" y="860"/>
                </a:lnTo>
                <a:lnTo>
                  <a:pt x="866" y="1040"/>
                </a:lnTo>
                <a:close/>
                <a:moveTo>
                  <a:pt x="2057" y="2164"/>
                </a:moveTo>
                <a:lnTo>
                  <a:pt x="1529" y="2164"/>
                </a:lnTo>
                <a:lnTo>
                  <a:pt x="1529" y="1506"/>
                </a:lnTo>
                <a:lnTo>
                  <a:pt x="2057" y="1506"/>
                </a:lnTo>
                <a:lnTo>
                  <a:pt x="2057" y="2164"/>
                </a:lnTo>
                <a:close/>
                <a:moveTo>
                  <a:pt x="1778" y="941"/>
                </a:moveTo>
                <a:lnTo>
                  <a:pt x="1726" y="938"/>
                </a:lnTo>
                <a:lnTo>
                  <a:pt x="1677" y="929"/>
                </a:lnTo>
                <a:lnTo>
                  <a:pt x="1629" y="915"/>
                </a:lnTo>
                <a:lnTo>
                  <a:pt x="1584" y="897"/>
                </a:lnTo>
                <a:lnTo>
                  <a:pt x="1541" y="872"/>
                </a:lnTo>
                <a:lnTo>
                  <a:pt x="1501" y="844"/>
                </a:lnTo>
                <a:lnTo>
                  <a:pt x="1466" y="811"/>
                </a:lnTo>
                <a:lnTo>
                  <a:pt x="1433" y="776"/>
                </a:lnTo>
                <a:lnTo>
                  <a:pt x="1405" y="736"/>
                </a:lnTo>
                <a:lnTo>
                  <a:pt x="1381" y="694"/>
                </a:lnTo>
                <a:lnTo>
                  <a:pt x="1362" y="648"/>
                </a:lnTo>
                <a:lnTo>
                  <a:pt x="1348" y="601"/>
                </a:lnTo>
                <a:lnTo>
                  <a:pt x="1339" y="551"/>
                </a:lnTo>
                <a:lnTo>
                  <a:pt x="1336" y="499"/>
                </a:lnTo>
                <a:lnTo>
                  <a:pt x="1339" y="447"/>
                </a:lnTo>
                <a:lnTo>
                  <a:pt x="1348" y="397"/>
                </a:lnTo>
                <a:lnTo>
                  <a:pt x="1362" y="350"/>
                </a:lnTo>
                <a:lnTo>
                  <a:pt x="1381" y="304"/>
                </a:lnTo>
                <a:lnTo>
                  <a:pt x="1405" y="262"/>
                </a:lnTo>
                <a:lnTo>
                  <a:pt x="1433" y="222"/>
                </a:lnTo>
                <a:lnTo>
                  <a:pt x="1466" y="186"/>
                </a:lnTo>
                <a:lnTo>
                  <a:pt x="1501" y="154"/>
                </a:lnTo>
                <a:lnTo>
                  <a:pt x="1541" y="126"/>
                </a:lnTo>
                <a:lnTo>
                  <a:pt x="1584" y="102"/>
                </a:lnTo>
                <a:lnTo>
                  <a:pt x="1629" y="83"/>
                </a:lnTo>
                <a:lnTo>
                  <a:pt x="1677" y="68"/>
                </a:lnTo>
                <a:lnTo>
                  <a:pt x="1726" y="60"/>
                </a:lnTo>
                <a:lnTo>
                  <a:pt x="1778" y="57"/>
                </a:lnTo>
                <a:lnTo>
                  <a:pt x="1830" y="60"/>
                </a:lnTo>
                <a:lnTo>
                  <a:pt x="1880" y="68"/>
                </a:lnTo>
                <a:lnTo>
                  <a:pt x="1928" y="83"/>
                </a:lnTo>
                <a:lnTo>
                  <a:pt x="1973" y="102"/>
                </a:lnTo>
                <a:lnTo>
                  <a:pt x="2015" y="126"/>
                </a:lnTo>
                <a:lnTo>
                  <a:pt x="2055" y="154"/>
                </a:lnTo>
                <a:lnTo>
                  <a:pt x="2091" y="186"/>
                </a:lnTo>
                <a:lnTo>
                  <a:pt x="2123" y="222"/>
                </a:lnTo>
                <a:lnTo>
                  <a:pt x="2151" y="262"/>
                </a:lnTo>
                <a:lnTo>
                  <a:pt x="2175" y="304"/>
                </a:lnTo>
                <a:lnTo>
                  <a:pt x="2195" y="350"/>
                </a:lnTo>
                <a:lnTo>
                  <a:pt x="2209" y="397"/>
                </a:lnTo>
                <a:lnTo>
                  <a:pt x="2217" y="447"/>
                </a:lnTo>
                <a:lnTo>
                  <a:pt x="2221" y="499"/>
                </a:lnTo>
                <a:lnTo>
                  <a:pt x="2217" y="551"/>
                </a:lnTo>
                <a:lnTo>
                  <a:pt x="2209" y="601"/>
                </a:lnTo>
                <a:lnTo>
                  <a:pt x="2195" y="648"/>
                </a:lnTo>
                <a:lnTo>
                  <a:pt x="2175" y="694"/>
                </a:lnTo>
                <a:lnTo>
                  <a:pt x="2151" y="736"/>
                </a:lnTo>
                <a:lnTo>
                  <a:pt x="2123" y="776"/>
                </a:lnTo>
                <a:lnTo>
                  <a:pt x="2091" y="811"/>
                </a:lnTo>
                <a:lnTo>
                  <a:pt x="2055" y="844"/>
                </a:lnTo>
                <a:lnTo>
                  <a:pt x="2015" y="872"/>
                </a:lnTo>
                <a:lnTo>
                  <a:pt x="1973" y="897"/>
                </a:lnTo>
                <a:lnTo>
                  <a:pt x="1928" y="915"/>
                </a:lnTo>
                <a:lnTo>
                  <a:pt x="1880" y="929"/>
                </a:lnTo>
                <a:lnTo>
                  <a:pt x="1830" y="938"/>
                </a:lnTo>
                <a:lnTo>
                  <a:pt x="1778" y="941"/>
                </a:lnTo>
                <a:close/>
                <a:moveTo>
                  <a:pt x="2921" y="1660"/>
                </a:moveTo>
                <a:lnTo>
                  <a:pt x="2741" y="1660"/>
                </a:lnTo>
                <a:lnTo>
                  <a:pt x="2741" y="1481"/>
                </a:lnTo>
                <a:lnTo>
                  <a:pt x="2921" y="1481"/>
                </a:lnTo>
                <a:lnTo>
                  <a:pt x="2921" y="1660"/>
                </a:lnTo>
                <a:close/>
                <a:moveTo>
                  <a:pt x="2921" y="1345"/>
                </a:moveTo>
                <a:lnTo>
                  <a:pt x="2741" y="1345"/>
                </a:lnTo>
                <a:lnTo>
                  <a:pt x="2741" y="1165"/>
                </a:lnTo>
                <a:lnTo>
                  <a:pt x="2921" y="1165"/>
                </a:lnTo>
                <a:lnTo>
                  <a:pt x="2921" y="1345"/>
                </a:lnTo>
                <a:close/>
                <a:moveTo>
                  <a:pt x="2921" y="1040"/>
                </a:moveTo>
                <a:lnTo>
                  <a:pt x="2741" y="1040"/>
                </a:lnTo>
                <a:lnTo>
                  <a:pt x="2741" y="860"/>
                </a:lnTo>
                <a:lnTo>
                  <a:pt x="2921" y="860"/>
                </a:lnTo>
                <a:lnTo>
                  <a:pt x="2921" y="1040"/>
                </a:lnTo>
                <a:close/>
                <a:moveTo>
                  <a:pt x="3201" y="1660"/>
                </a:moveTo>
                <a:lnTo>
                  <a:pt x="3021" y="1660"/>
                </a:lnTo>
                <a:lnTo>
                  <a:pt x="3021" y="1481"/>
                </a:lnTo>
                <a:lnTo>
                  <a:pt x="3201" y="1481"/>
                </a:lnTo>
                <a:lnTo>
                  <a:pt x="3201" y="1660"/>
                </a:lnTo>
                <a:close/>
                <a:moveTo>
                  <a:pt x="3201" y="1345"/>
                </a:moveTo>
                <a:lnTo>
                  <a:pt x="3021" y="1345"/>
                </a:lnTo>
                <a:lnTo>
                  <a:pt x="3021" y="1165"/>
                </a:lnTo>
                <a:lnTo>
                  <a:pt x="3201" y="1165"/>
                </a:lnTo>
                <a:lnTo>
                  <a:pt x="3201" y="1345"/>
                </a:lnTo>
                <a:close/>
                <a:moveTo>
                  <a:pt x="3201" y="1040"/>
                </a:moveTo>
                <a:lnTo>
                  <a:pt x="3021" y="1040"/>
                </a:lnTo>
                <a:lnTo>
                  <a:pt x="3021" y="860"/>
                </a:lnTo>
                <a:lnTo>
                  <a:pt x="3201" y="860"/>
                </a:lnTo>
                <a:lnTo>
                  <a:pt x="3201" y="1040"/>
                </a:lnTo>
                <a:close/>
                <a:moveTo>
                  <a:pt x="1888" y="390"/>
                </a:moveTo>
                <a:lnTo>
                  <a:pt x="2057" y="390"/>
                </a:lnTo>
                <a:lnTo>
                  <a:pt x="2057" y="609"/>
                </a:lnTo>
                <a:lnTo>
                  <a:pt x="1888" y="609"/>
                </a:lnTo>
                <a:lnTo>
                  <a:pt x="1888" y="778"/>
                </a:lnTo>
                <a:lnTo>
                  <a:pt x="1668" y="778"/>
                </a:lnTo>
                <a:lnTo>
                  <a:pt x="1668" y="609"/>
                </a:lnTo>
                <a:lnTo>
                  <a:pt x="1499" y="609"/>
                </a:lnTo>
                <a:lnTo>
                  <a:pt x="1499" y="390"/>
                </a:lnTo>
                <a:lnTo>
                  <a:pt x="1668" y="390"/>
                </a:lnTo>
                <a:lnTo>
                  <a:pt x="1668" y="220"/>
                </a:lnTo>
                <a:lnTo>
                  <a:pt x="1888" y="220"/>
                </a:lnTo>
                <a:lnTo>
                  <a:pt x="1888" y="390"/>
                </a:lnTo>
                <a:close/>
                <a:moveTo>
                  <a:pt x="1888" y="390"/>
                </a:moveTo>
                <a:lnTo>
                  <a:pt x="1888" y="390"/>
                </a:lnTo>
                <a:close/>
              </a:path>
            </a:pathLst>
          </a:custGeom>
          <a:solidFill>
            <a:srgbClr val="FE5817"/>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99" name="MH_Other_1"/>
          <p:cNvSpPr/>
          <p:nvPr>
            <p:custDataLst>
              <p:tags r:id="rId7"/>
            </p:custDataLst>
          </p:nvPr>
        </p:nvSpPr>
        <p:spPr>
          <a:xfrm>
            <a:off x="279815" y="3124773"/>
            <a:ext cx="1705478" cy="556486"/>
          </a:xfrm>
          <a:custGeom>
            <a:avLst/>
            <a:gdLst>
              <a:gd name="connsiteX0" fmla="*/ 2305898 w 4611794"/>
              <a:gd name="connsiteY0" fmla="*/ 176915 h 639232"/>
              <a:gd name="connsiteX1" fmla="*/ 2894395 w 4611794"/>
              <a:gd name="connsiteY1" fmla="*/ 267120 h 639232"/>
              <a:gd name="connsiteX2" fmla="*/ 2305898 w 4611794"/>
              <a:gd name="connsiteY2" fmla="*/ 357325 h 639232"/>
              <a:gd name="connsiteX3" fmla="*/ 1717401 w 4611794"/>
              <a:gd name="connsiteY3" fmla="*/ 267120 h 639232"/>
              <a:gd name="connsiteX4" fmla="*/ 2305898 w 4611794"/>
              <a:gd name="connsiteY4" fmla="*/ 176915 h 639232"/>
              <a:gd name="connsiteX5" fmla="*/ 2305896 w 4611794"/>
              <a:gd name="connsiteY5" fmla="*/ 127061 h 639232"/>
              <a:gd name="connsiteX6" fmla="*/ 1004146 w 4611794"/>
              <a:gd name="connsiteY6" fmla="*/ 283089 h 639232"/>
              <a:gd name="connsiteX7" fmla="*/ 2305896 w 4611794"/>
              <a:gd name="connsiteY7" fmla="*/ 439117 h 639232"/>
              <a:gd name="connsiteX8" fmla="*/ 3607646 w 4611794"/>
              <a:gd name="connsiteY8" fmla="*/ 283089 h 639232"/>
              <a:gd name="connsiteX9" fmla="*/ 2305896 w 4611794"/>
              <a:gd name="connsiteY9" fmla="*/ 127061 h 639232"/>
              <a:gd name="connsiteX10" fmla="*/ 2305897 w 4611794"/>
              <a:gd name="connsiteY10" fmla="*/ 85624 h 639232"/>
              <a:gd name="connsiteX11" fmla="*/ 4116441 w 4611794"/>
              <a:gd name="connsiteY11" fmla="*/ 294807 h 639232"/>
              <a:gd name="connsiteX12" fmla="*/ 2305897 w 4611794"/>
              <a:gd name="connsiteY12" fmla="*/ 503990 h 639232"/>
              <a:gd name="connsiteX13" fmla="*/ 495353 w 4611794"/>
              <a:gd name="connsiteY13" fmla="*/ 294807 h 639232"/>
              <a:gd name="connsiteX14" fmla="*/ 2305897 w 4611794"/>
              <a:gd name="connsiteY14" fmla="*/ 85624 h 639232"/>
              <a:gd name="connsiteX15" fmla="*/ 2305897 w 4611794"/>
              <a:gd name="connsiteY15" fmla="*/ 31880 h 639232"/>
              <a:gd name="connsiteX16" fmla="*/ 184559 w 4611794"/>
              <a:gd name="connsiteY16" fmla="*/ 319548 h 639232"/>
              <a:gd name="connsiteX17" fmla="*/ 2305897 w 4611794"/>
              <a:gd name="connsiteY17" fmla="*/ 607216 h 639232"/>
              <a:gd name="connsiteX18" fmla="*/ 4427235 w 4611794"/>
              <a:gd name="connsiteY18" fmla="*/ 319548 h 639232"/>
              <a:gd name="connsiteX19" fmla="*/ 2305897 w 4611794"/>
              <a:gd name="connsiteY19" fmla="*/ 31880 h 639232"/>
              <a:gd name="connsiteX20" fmla="*/ 2305897 w 4611794"/>
              <a:gd name="connsiteY20" fmla="*/ 0 h 639232"/>
              <a:gd name="connsiteX21" fmla="*/ 4611794 w 4611794"/>
              <a:gd name="connsiteY21" fmla="*/ 319616 h 639232"/>
              <a:gd name="connsiteX22" fmla="*/ 2305897 w 4611794"/>
              <a:gd name="connsiteY22" fmla="*/ 639232 h 639232"/>
              <a:gd name="connsiteX23" fmla="*/ 0 w 4611794"/>
              <a:gd name="connsiteY23" fmla="*/ 319616 h 639232"/>
              <a:gd name="connsiteX24" fmla="*/ 2305897 w 4611794"/>
              <a:gd name="connsiteY24" fmla="*/ 0 h 63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11794" h="639232">
                <a:moveTo>
                  <a:pt x="2305898" y="176915"/>
                </a:moveTo>
                <a:cubicBezTo>
                  <a:pt x="2630916" y="176915"/>
                  <a:pt x="2894395" y="217301"/>
                  <a:pt x="2894395" y="267120"/>
                </a:cubicBezTo>
                <a:cubicBezTo>
                  <a:pt x="2894395" y="316939"/>
                  <a:pt x="2630916" y="357325"/>
                  <a:pt x="2305898" y="357325"/>
                </a:cubicBezTo>
                <a:cubicBezTo>
                  <a:pt x="1980880" y="357325"/>
                  <a:pt x="1717401" y="316939"/>
                  <a:pt x="1717401" y="267120"/>
                </a:cubicBezTo>
                <a:cubicBezTo>
                  <a:pt x="1717401" y="217301"/>
                  <a:pt x="1980880" y="176915"/>
                  <a:pt x="2305898" y="176915"/>
                </a:cubicBezTo>
                <a:close/>
                <a:moveTo>
                  <a:pt x="2305896" y="127061"/>
                </a:moveTo>
                <a:cubicBezTo>
                  <a:pt x="1586959" y="127061"/>
                  <a:pt x="1004146" y="196917"/>
                  <a:pt x="1004146" y="283089"/>
                </a:cubicBezTo>
                <a:cubicBezTo>
                  <a:pt x="1004146" y="369261"/>
                  <a:pt x="1586959" y="439117"/>
                  <a:pt x="2305896" y="439117"/>
                </a:cubicBezTo>
                <a:cubicBezTo>
                  <a:pt x="3024833" y="439117"/>
                  <a:pt x="3607646" y="369261"/>
                  <a:pt x="3607646" y="283089"/>
                </a:cubicBezTo>
                <a:cubicBezTo>
                  <a:pt x="3607646" y="196917"/>
                  <a:pt x="3024833" y="127061"/>
                  <a:pt x="2305896" y="127061"/>
                </a:cubicBezTo>
                <a:close/>
                <a:moveTo>
                  <a:pt x="2305897" y="85624"/>
                </a:moveTo>
                <a:cubicBezTo>
                  <a:pt x="3305833" y="85624"/>
                  <a:pt x="4116441" y="179278"/>
                  <a:pt x="4116441" y="294807"/>
                </a:cubicBezTo>
                <a:cubicBezTo>
                  <a:pt x="4116441" y="410336"/>
                  <a:pt x="3305833" y="503990"/>
                  <a:pt x="2305897" y="503990"/>
                </a:cubicBezTo>
                <a:cubicBezTo>
                  <a:pt x="1305961" y="503990"/>
                  <a:pt x="495353" y="410336"/>
                  <a:pt x="495353" y="294807"/>
                </a:cubicBezTo>
                <a:cubicBezTo>
                  <a:pt x="495353" y="179278"/>
                  <a:pt x="1305961" y="85624"/>
                  <a:pt x="2305897" y="85624"/>
                </a:cubicBezTo>
                <a:close/>
                <a:moveTo>
                  <a:pt x="2305897" y="31880"/>
                </a:moveTo>
                <a:cubicBezTo>
                  <a:pt x="1134314" y="31880"/>
                  <a:pt x="184559" y="160673"/>
                  <a:pt x="184559" y="319548"/>
                </a:cubicBezTo>
                <a:cubicBezTo>
                  <a:pt x="184559" y="478423"/>
                  <a:pt x="1134314" y="607216"/>
                  <a:pt x="2305897" y="607216"/>
                </a:cubicBezTo>
                <a:cubicBezTo>
                  <a:pt x="3477480" y="607216"/>
                  <a:pt x="4427235" y="478423"/>
                  <a:pt x="4427235" y="319548"/>
                </a:cubicBezTo>
                <a:cubicBezTo>
                  <a:pt x="4427235" y="160673"/>
                  <a:pt x="3477480" y="31880"/>
                  <a:pt x="2305897" y="31880"/>
                </a:cubicBezTo>
                <a:close/>
                <a:moveTo>
                  <a:pt x="2305897" y="0"/>
                </a:moveTo>
                <a:cubicBezTo>
                  <a:pt x="3579409" y="0"/>
                  <a:pt x="4611794" y="143097"/>
                  <a:pt x="4611794" y="319616"/>
                </a:cubicBezTo>
                <a:cubicBezTo>
                  <a:pt x="4611794" y="496135"/>
                  <a:pt x="3579409" y="639232"/>
                  <a:pt x="2305897" y="639232"/>
                </a:cubicBezTo>
                <a:cubicBezTo>
                  <a:pt x="1032385" y="639232"/>
                  <a:pt x="0" y="496135"/>
                  <a:pt x="0" y="319616"/>
                </a:cubicBezTo>
                <a:cubicBezTo>
                  <a:pt x="0" y="143097"/>
                  <a:pt x="1032385" y="0"/>
                  <a:pt x="2305897"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100" name="TextBox 133"/>
          <p:cNvSpPr txBox="1"/>
          <p:nvPr/>
        </p:nvSpPr>
        <p:spPr>
          <a:xfrm>
            <a:off x="367823" y="3359355"/>
            <a:ext cx="1536922"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rPr>
              <a:t>XX</a:t>
            </a:r>
            <a:endParaRPr kumimoji="0" lang="zh-CN" altLang="en-US" sz="1800" b="1" i="0" u="none" strike="noStrike" kern="1200" cap="none" spc="0" normalizeH="0" baseline="0" noProof="0" dirty="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endParaRPr>
          </a:p>
        </p:txBody>
      </p:sp>
      <p:sp>
        <p:nvSpPr>
          <p:cNvPr id="101" name="Freeform 5"/>
          <p:cNvSpPr>
            <a:spLocks noEditPoints="1"/>
          </p:cNvSpPr>
          <p:nvPr/>
        </p:nvSpPr>
        <p:spPr bwMode="auto">
          <a:xfrm>
            <a:off x="859926" y="2826523"/>
            <a:ext cx="552194" cy="439908"/>
          </a:xfrm>
          <a:custGeom>
            <a:avLst/>
            <a:gdLst>
              <a:gd name="T0" fmla="*/ 276 w 698"/>
              <a:gd name="T1" fmla="*/ 365 h 549"/>
              <a:gd name="T2" fmla="*/ 275 w 698"/>
              <a:gd name="T3" fmla="*/ 299 h 549"/>
              <a:gd name="T4" fmla="*/ 301 w 698"/>
              <a:gd name="T5" fmla="*/ 294 h 549"/>
              <a:gd name="T6" fmla="*/ 229 w 698"/>
              <a:gd name="T7" fmla="*/ 305 h 549"/>
              <a:gd name="T8" fmla="*/ 229 w 698"/>
              <a:gd name="T9" fmla="*/ 360 h 549"/>
              <a:gd name="T10" fmla="*/ 275 w 698"/>
              <a:gd name="T11" fmla="*/ 397 h 549"/>
              <a:gd name="T12" fmla="*/ 469 w 698"/>
              <a:gd name="T13" fmla="*/ 361 h 549"/>
              <a:gd name="T14" fmla="*/ 470 w 698"/>
              <a:gd name="T15" fmla="*/ 305 h 549"/>
              <a:gd name="T16" fmla="*/ 423 w 698"/>
              <a:gd name="T17" fmla="*/ 268 h 549"/>
              <a:gd name="T18" fmla="*/ 424 w 698"/>
              <a:gd name="T19" fmla="*/ 299 h 549"/>
              <a:gd name="T20" fmla="*/ 424 w 698"/>
              <a:gd name="T21" fmla="*/ 365 h 549"/>
              <a:gd name="T22" fmla="*/ 398 w 698"/>
              <a:gd name="T23" fmla="*/ 371 h 549"/>
              <a:gd name="T24" fmla="*/ 287 w 698"/>
              <a:gd name="T25" fmla="*/ 403 h 549"/>
              <a:gd name="T26" fmla="*/ 337 w 698"/>
              <a:gd name="T27" fmla="*/ 452 h 549"/>
              <a:gd name="T28" fmla="*/ 411 w 698"/>
              <a:gd name="T29" fmla="*/ 419 h 549"/>
              <a:gd name="T30" fmla="*/ 387 w 698"/>
              <a:gd name="T31" fmla="*/ 380 h 549"/>
              <a:gd name="T32" fmla="*/ 374 w 698"/>
              <a:gd name="T33" fmla="*/ 415 h 549"/>
              <a:gd name="T34" fmla="*/ 315 w 698"/>
              <a:gd name="T35" fmla="*/ 384 h 549"/>
              <a:gd name="T36" fmla="*/ 287 w 698"/>
              <a:gd name="T37" fmla="*/ 403 h 549"/>
              <a:gd name="T38" fmla="*/ 412 w 698"/>
              <a:gd name="T39" fmla="*/ 259 h 549"/>
              <a:gd name="T40" fmla="*/ 363 w 698"/>
              <a:gd name="T41" fmla="*/ 212 h 549"/>
              <a:gd name="T42" fmla="*/ 287 w 698"/>
              <a:gd name="T43" fmla="*/ 247 h 549"/>
              <a:gd name="T44" fmla="*/ 314 w 698"/>
              <a:gd name="T45" fmla="*/ 285 h 549"/>
              <a:gd name="T46" fmla="*/ 326 w 698"/>
              <a:gd name="T47" fmla="*/ 249 h 549"/>
              <a:gd name="T48" fmla="*/ 382 w 698"/>
              <a:gd name="T49" fmla="*/ 262 h 549"/>
              <a:gd name="T50" fmla="*/ 250 w 698"/>
              <a:gd name="T51" fmla="*/ 114 h 549"/>
              <a:gd name="T52" fmla="*/ 145 w 698"/>
              <a:gd name="T53" fmla="*/ 9 h 549"/>
              <a:gd name="T54" fmla="*/ 259 w 698"/>
              <a:gd name="T55" fmla="*/ 9 h 549"/>
              <a:gd name="T56" fmla="*/ 544 w 698"/>
              <a:gd name="T57" fmla="*/ 114 h 549"/>
              <a:gd name="T58" fmla="*/ 439 w 698"/>
              <a:gd name="T59" fmla="*/ 9 h 549"/>
              <a:gd name="T60" fmla="*/ 553 w 698"/>
              <a:gd name="T61" fmla="*/ 9 h 549"/>
              <a:gd name="T62" fmla="*/ 387 w 698"/>
              <a:gd name="T63" fmla="*/ 137 h 549"/>
              <a:gd name="T64" fmla="*/ 302 w 698"/>
              <a:gd name="T65" fmla="*/ 53 h 549"/>
              <a:gd name="T66" fmla="*/ 396 w 698"/>
              <a:gd name="T67" fmla="*/ 53 h 549"/>
              <a:gd name="T68" fmla="*/ 594 w 698"/>
              <a:gd name="T69" fmla="*/ 268 h 549"/>
              <a:gd name="T70" fmla="*/ 434 w 698"/>
              <a:gd name="T71" fmla="*/ 137 h 549"/>
              <a:gd name="T72" fmla="*/ 501 w 698"/>
              <a:gd name="T73" fmla="*/ 175 h 549"/>
              <a:gd name="T74" fmla="*/ 270 w 698"/>
              <a:gd name="T75" fmla="*/ 248 h 549"/>
              <a:gd name="T76" fmla="*/ 130 w 698"/>
              <a:gd name="T77" fmla="*/ 137 h 549"/>
              <a:gd name="T78" fmla="*/ 553 w 698"/>
              <a:gd name="T79" fmla="*/ 268 h 549"/>
              <a:gd name="T80" fmla="*/ 414 w 698"/>
              <a:gd name="T81" fmla="*/ 439 h 549"/>
              <a:gd name="T82" fmla="*/ 284 w 698"/>
              <a:gd name="T83" fmla="*/ 439 h 549"/>
              <a:gd name="T84" fmla="*/ 145 w 698"/>
              <a:gd name="T85" fmla="*/ 268 h 549"/>
              <a:gd name="T86" fmla="*/ 79 w 698"/>
              <a:gd name="T87" fmla="*/ 549 h 549"/>
              <a:gd name="T88" fmla="*/ 637 w 698"/>
              <a:gd name="T89" fmla="*/ 26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8" h="549">
                <a:moveTo>
                  <a:pt x="302" y="370"/>
                </a:moveTo>
                <a:cubicBezTo>
                  <a:pt x="306" y="366"/>
                  <a:pt x="301" y="365"/>
                  <a:pt x="298" y="365"/>
                </a:cubicBezTo>
                <a:cubicBezTo>
                  <a:pt x="291" y="365"/>
                  <a:pt x="283" y="365"/>
                  <a:pt x="276" y="365"/>
                </a:cubicBezTo>
                <a:cubicBezTo>
                  <a:pt x="269" y="365"/>
                  <a:pt x="266" y="363"/>
                  <a:pt x="266" y="356"/>
                </a:cubicBezTo>
                <a:cubicBezTo>
                  <a:pt x="267" y="340"/>
                  <a:pt x="267" y="324"/>
                  <a:pt x="266" y="308"/>
                </a:cubicBezTo>
                <a:cubicBezTo>
                  <a:pt x="266" y="302"/>
                  <a:pt x="268" y="299"/>
                  <a:pt x="275" y="299"/>
                </a:cubicBezTo>
                <a:cubicBezTo>
                  <a:pt x="282" y="300"/>
                  <a:pt x="290" y="300"/>
                  <a:pt x="298" y="299"/>
                </a:cubicBezTo>
                <a:cubicBezTo>
                  <a:pt x="300" y="299"/>
                  <a:pt x="302" y="300"/>
                  <a:pt x="303" y="298"/>
                </a:cubicBezTo>
                <a:cubicBezTo>
                  <a:pt x="304" y="296"/>
                  <a:pt x="302" y="295"/>
                  <a:pt x="301" y="294"/>
                </a:cubicBezTo>
                <a:cubicBezTo>
                  <a:pt x="293" y="286"/>
                  <a:pt x="285" y="277"/>
                  <a:pt x="276" y="269"/>
                </a:cubicBezTo>
                <a:cubicBezTo>
                  <a:pt x="272" y="265"/>
                  <a:pt x="268" y="266"/>
                  <a:pt x="264" y="270"/>
                </a:cubicBezTo>
                <a:cubicBezTo>
                  <a:pt x="252" y="281"/>
                  <a:pt x="240" y="293"/>
                  <a:pt x="229" y="305"/>
                </a:cubicBezTo>
                <a:cubicBezTo>
                  <a:pt x="223" y="310"/>
                  <a:pt x="224" y="314"/>
                  <a:pt x="229" y="320"/>
                </a:cubicBezTo>
                <a:cubicBezTo>
                  <a:pt x="239" y="331"/>
                  <a:pt x="239" y="334"/>
                  <a:pt x="229" y="346"/>
                </a:cubicBezTo>
                <a:cubicBezTo>
                  <a:pt x="224" y="351"/>
                  <a:pt x="224" y="355"/>
                  <a:pt x="229" y="360"/>
                </a:cubicBezTo>
                <a:cubicBezTo>
                  <a:pt x="240" y="371"/>
                  <a:pt x="252" y="383"/>
                  <a:pt x="263" y="395"/>
                </a:cubicBezTo>
                <a:cubicBezTo>
                  <a:pt x="265" y="397"/>
                  <a:pt x="267" y="398"/>
                  <a:pt x="271" y="398"/>
                </a:cubicBezTo>
                <a:cubicBezTo>
                  <a:pt x="272" y="398"/>
                  <a:pt x="274" y="398"/>
                  <a:pt x="275" y="397"/>
                </a:cubicBezTo>
                <a:cubicBezTo>
                  <a:pt x="284" y="388"/>
                  <a:pt x="293" y="379"/>
                  <a:pt x="302" y="370"/>
                </a:cubicBezTo>
                <a:close/>
                <a:moveTo>
                  <a:pt x="436" y="394"/>
                </a:moveTo>
                <a:cubicBezTo>
                  <a:pt x="447" y="383"/>
                  <a:pt x="458" y="372"/>
                  <a:pt x="469" y="361"/>
                </a:cubicBezTo>
                <a:cubicBezTo>
                  <a:pt x="474" y="356"/>
                  <a:pt x="474" y="351"/>
                  <a:pt x="469" y="345"/>
                </a:cubicBezTo>
                <a:cubicBezTo>
                  <a:pt x="460" y="334"/>
                  <a:pt x="460" y="330"/>
                  <a:pt x="469" y="319"/>
                </a:cubicBezTo>
                <a:cubicBezTo>
                  <a:pt x="474" y="314"/>
                  <a:pt x="474" y="310"/>
                  <a:pt x="470" y="305"/>
                </a:cubicBezTo>
                <a:cubicBezTo>
                  <a:pt x="458" y="293"/>
                  <a:pt x="446" y="282"/>
                  <a:pt x="435" y="270"/>
                </a:cubicBezTo>
                <a:cubicBezTo>
                  <a:pt x="433" y="268"/>
                  <a:pt x="431" y="267"/>
                  <a:pt x="427" y="266"/>
                </a:cubicBezTo>
                <a:cubicBezTo>
                  <a:pt x="426" y="267"/>
                  <a:pt x="424" y="267"/>
                  <a:pt x="423" y="268"/>
                </a:cubicBezTo>
                <a:cubicBezTo>
                  <a:pt x="414" y="277"/>
                  <a:pt x="405" y="286"/>
                  <a:pt x="396" y="295"/>
                </a:cubicBezTo>
                <a:cubicBezTo>
                  <a:pt x="392" y="299"/>
                  <a:pt x="396" y="299"/>
                  <a:pt x="399" y="299"/>
                </a:cubicBezTo>
                <a:cubicBezTo>
                  <a:pt x="408" y="300"/>
                  <a:pt x="416" y="300"/>
                  <a:pt x="424" y="299"/>
                </a:cubicBezTo>
                <a:cubicBezTo>
                  <a:pt x="431" y="299"/>
                  <a:pt x="432" y="302"/>
                  <a:pt x="432" y="308"/>
                </a:cubicBezTo>
                <a:cubicBezTo>
                  <a:pt x="432" y="324"/>
                  <a:pt x="432" y="340"/>
                  <a:pt x="432" y="357"/>
                </a:cubicBezTo>
                <a:cubicBezTo>
                  <a:pt x="432" y="363"/>
                  <a:pt x="430" y="365"/>
                  <a:pt x="424" y="365"/>
                </a:cubicBezTo>
                <a:cubicBezTo>
                  <a:pt x="416" y="365"/>
                  <a:pt x="409" y="365"/>
                  <a:pt x="401" y="365"/>
                </a:cubicBezTo>
                <a:cubicBezTo>
                  <a:pt x="399" y="365"/>
                  <a:pt x="396" y="364"/>
                  <a:pt x="395" y="366"/>
                </a:cubicBezTo>
                <a:cubicBezTo>
                  <a:pt x="394" y="369"/>
                  <a:pt x="397" y="370"/>
                  <a:pt x="398" y="371"/>
                </a:cubicBezTo>
                <a:cubicBezTo>
                  <a:pt x="405" y="379"/>
                  <a:pt x="413" y="386"/>
                  <a:pt x="420" y="394"/>
                </a:cubicBezTo>
                <a:cubicBezTo>
                  <a:pt x="426" y="400"/>
                  <a:pt x="431" y="399"/>
                  <a:pt x="436" y="394"/>
                </a:cubicBezTo>
                <a:close/>
                <a:moveTo>
                  <a:pt x="287" y="403"/>
                </a:moveTo>
                <a:cubicBezTo>
                  <a:pt x="282" y="409"/>
                  <a:pt x="282" y="414"/>
                  <a:pt x="288" y="419"/>
                </a:cubicBezTo>
                <a:cubicBezTo>
                  <a:pt x="299" y="430"/>
                  <a:pt x="310" y="441"/>
                  <a:pt x="321" y="452"/>
                </a:cubicBezTo>
                <a:cubicBezTo>
                  <a:pt x="327" y="458"/>
                  <a:pt x="331" y="457"/>
                  <a:pt x="337" y="452"/>
                </a:cubicBezTo>
                <a:cubicBezTo>
                  <a:pt x="347" y="442"/>
                  <a:pt x="351" y="442"/>
                  <a:pt x="361" y="452"/>
                </a:cubicBezTo>
                <a:cubicBezTo>
                  <a:pt x="367" y="458"/>
                  <a:pt x="372" y="458"/>
                  <a:pt x="377" y="452"/>
                </a:cubicBezTo>
                <a:cubicBezTo>
                  <a:pt x="389" y="441"/>
                  <a:pt x="400" y="430"/>
                  <a:pt x="411" y="419"/>
                </a:cubicBezTo>
                <a:cubicBezTo>
                  <a:pt x="413" y="417"/>
                  <a:pt x="415" y="414"/>
                  <a:pt x="415" y="411"/>
                </a:cubicBezTo>
                <a:cubicBezTo>
                  <a:pt x="415" y="410"/>
                  <a:pt x="414" y="408"/>
                  <a:pt x="413" y="406"/>
                </a:cubicBezTo>
                <a:cubicBezTo>
                  <a:pt x="405" y="398"/>
                  <a:pt x="396" y="389"/>
                  <a:pt x="387" y="380"/>
                </a:cubicBezTo>
                <a:cubicBezTo>
                  <a:pt x="383" y="376"/>
                  <a:pt x="382" y="380"/>
                  <a:pt x="382" y="383"/>
                </a:cubicBezTo>
                <a:cubicBezTo>
                  <a:pt x="382" y="391"/>
                  <a:pt x="382" y="399"/>
                  <a:pt x="382" y="407"/>
                </a:cubicBezTo>
                <a:cubicBezTo>
                  <a:pt x="382" y="412"/>
                  <a:pt x="380" y="415"/>
                  <a:pt x="374" y="415"/>
                </a:cubicBezTo>
                <a:cubicBezTo>
                  <a:pt x="357" y="415"/>
                  <a:pt x="340" y="415"/>
                  <a:pt x="323" y="415"/>
                </a:cubicBezTo>
                <a:cubicBezTo>
                  <a:pt x="318" y="415"/>
                  <a:pt x="315" y="413"/>
                  <a:pt x="315" y="407"/>
                </a:cubicBezTo>
                <a:cubicBezTo>
                  <a:pt x="316" y="400"/>
                  <a:pt x="316" y="392"/>
                  <a:pt x="315" y="384"/>
                </a:cubicBezTo>
                <a:cubicBezTo>
                  <a:pt x="315" y="382"/>
                  <a:pt x="316" y="379"/>
                  <a:pt x="314" y="379"/>
                </a:cubicBezTo>
                <a:cubicBezTo>
                  <a:pt x="312" y="379"/>
                  <a:pt x="311" y="380"/>
                  <a:pt x="309" y="381"/>
                </a:cubicBezTo>
                <a:cubicBezTo>
                  <a:pt x="302" y="389"/>
                  <a:pt x="295" y="396"/>
                  <a:pt x="287" y="403"/>
                </a:cubicBezTo>
                <a:close/>
                <a:moveTo>
                  <a:pt x="382" y="283"/>
                </a:moveTo>
                <a:cubicBezTo>
                  <a:pt x="382" y="287"/>
                  <a:pt x="384" y="288"/>
                  <a:pt x="387" y="285"/>
                </a:cubicBezTo>
                <a:cubicBezTo>
                  <a:pt x="396" y="276"/>
                  <a:pt x="404" y="268"/>
                  <a:pt x="412" y="259"/>
                </a:cubicBezTo>
                <a:cubicBezTo>
                  <a:pt x="416" y="255"/>
                  <a:pt x="416" y="251"/>
                  <a:pt x="412" y="247"/>
                </a:cubicBezTo>
                <a:cubicBezTo>
                  <a:pt x="400" y="235"/>
                  <a:pt x="388" y="224"/>
                  <a:pt x="376" y="212"/>
                </a:cubicBezTo>
                <a:cubicBezTo>
                  <a:pt x="372" y="207"/>
                  <a:pt x="368" y="207"/>
                  <a:pt x="363" y="212"/>
                </a:cubicBezTo>
                <a:cubicBezTo>
                  <a:pt x="351" y="222"/>
                  <a:pt x="348" y="222"/>
                  <a:pt x="336" y="212"/>
                </a:cubicBezTo>
                <a:cubicBezTo>
                  <a:pt x="331" y="208"/>
                  <a:pt x="327" y="207"/>
                  <a:pt x="322" y="211"/>
                </a:cubicBezTo>
                <a:cubicBezTo>
                  <a:pt x="310" y="223"/>
                  <a:pt x="298" y="235"/>
                  <a:pt x="287" y="247"/>
                </a:cubicBezTo>
                <a:cubicBezTo>
                  <a:pt x="282" y="251"/>
                  <a:pt x="282" y="256"/>
                  <a:pt x="287" y="260"/>
                </a:cubicBezTo>
                <a:cubicBezTo>
                  <a:pt x="294" y="268"/>
                  <a:pt x="302" y="275"/>
                  <a:pt x="309" y="282"/>
                </a:cubicBezTo>
                <a:cubicBezTo>
                  <a:pt x="310" y="284"/>
                  <a:pt x="312" y="286"/>
                  <a:pt x="314" y="285"/>
                </a:cubicBezTo>
                <a:cubicBezTo>
                  <a:pt x="316" y="284"/>
                  <a:pt x="315" y="282"/>
                  <a:pt x="315" y="280"/>
                </a:cubicBezTo>
                <a:cubicBezTo>
                  <a:pt x="316" y="273"/>
                  <a:pt x="316" y="266"/>
                  <a:pt x="315" y="259"/>
                </a:cubicBezTo>
                <a:cubicBezTo>
                  <a:pt x="315" y="251"/>
                  <a:pt x="318" y="249"/>
                  <a:pt x="326" y="249"/>
                </a:cubicBezTo>
                <a:cubicBezTo>
                  <a:pt x="333" y="250"/>
                  <a:pt x="341" y="249"/>
                  <a:pt x="348" y="249"/>
                </a:cubicBezTo>
                <a:cubicBezTo>
                  <a:pt x="356" y="249"/>
                  <a:pt x="363" y="249"/>
                  <a:pt x="370" y="249"/>
                </a:cubicBezTo>
                <a:cubicBezTo>
                  <a:pt x="382" y="249"/>
                  <a:pt x="382" y="249"/>
                  <a:pt x="382" y="262"/>
                </a:cubicBezTo>
                <a:cubicBezTo>
                  <a:pt x="382" y="269"/>
                  <a:pt x="382" y="276"/>
                  <a:pt x="382" y="283"/>
                </a:cubicBezTo>
                <a:close/>
                <a:moveTo>
                  <a:pt x="259" y="105"/>
                </a:moveTo>
                <a:cubicBezTo>
                  <a:pt x="259" y="110"/>
                  <a:pt x="255" y="114"/>
                  <a:pt x="250" y="114"/>
                </a:cubicBezTo>
                <a:cubicBezTo>
                  <a:pt x="154" y="114"/>
                  <a:pt x="154" y="114"/>
                  <a:pt x="154" y="114"/>
                </a:cubicBezTo>
                <a:cubicBezTo>
                  <a:pt x="150" y="114"/>
                  <a:pt x="145" y="110"/>
                  <a:pt x="145" y="105"/>
                </a:cubicBezTo>
                <a:cubicBezTo>
                  <a:pt x="145" y="9"/>
                  <a:pt x="145" y="9"/>
                  <a:pt x="145" y="9"/>
                </a:cubicBezTo>
                <a:cubicBezTo>
                  <a:pt x="145" y="4"/>
                  <a:pt x="150" y="0"/>
                  <a:pt x="154" y="0"/>
                </a:cubicBezTo>
                <a:cubicBezTo>
                  <a:pt x="250" y="0"/>
                  <a:pt x="250" y="0"/>
                  <a:pt x="250" y="0"/>
                </a:cubicBezTo>
                <a:cubicBezTo>
                  <a:pt x="255" y="0"/>
                  <a:pt x="259" y="4"/>
                  <a:pt x="259" y="9"/>
                </a:cubicBezTo>
                <a:lnTo>
                  <a:pt x="259" y="105"/>
                </a:lnTo>
                <a:close/>
                <a:moveTo>
                  <a:pt x="553" y="105"/>
                </a:moveTo>
                <a:cubicBezTo>
                  <a:pt x="553" y="110"/>
                  <a:pt x="548" y="114"/>
                  <a:pt x="544" y="114"/>
                </a:cubicBezTo>
                <a:cubicBezTo>
                  <a:pt x="448" y="114"/>
                  <a:pt x="448" y="114"/>
                  <a:pt x="448" y="114"/>
                </a:cubicBezTo>
                <a:cubicBezTo>
                  <a:pt x="443" y="114"/>
                  <a:pt x="439" y="110"/>
                  <a:pt x="439" y="105"/>
                </a:cubicBezTo>
                <a:cubicBezTo>
                  <a:pt x="439" y="9"/>
                  <a:pt x="439" y="9"/>
                  <a:pt x="439" y="9"/>
                </a:cubicBezTo>
                <a:cubicBezTo>
                  <a:pt x="439" y="4"/>
                  <a:pt x="443" y="0"/>
                  <a:pt x="448" y="0"/>
                </a:cubicBezTo>
                <a:cubicBezTo>
                  <a:pt x="544" y="0"/>
                  <a:pt x="544" y="0"/>
                  <a:pt x="544" y="0"/>
                </a:cubicBezTo>
                <a:cubicBezTo>
                  <a:pt x="548" y="0"/>
                  <a:pt x="553" y="4"/>
                  <a:pt x="553" y="9"/>
                </a:cubicBezTo>
                <a:lnTo>
                  <a:pt x="553" y="105"/>
                </a:lnTo>
                <a:close/>
                <a:moveTo>
                  <a:pt x="396" y="128"/>
                </a:moveTo>
                <a:cubicBezTo>
                  <a:pt x="396" y="133"/>
                  <a:pt x="392" y="137"/>
                  <a:pt x="387" y="137"/>
                </a:cubicBezTo>
                <a:cubicBezTo>
                  <a:pt x="311" y="137"/>
                  <a:pt x="311" y="137"/>
                  <a:pt x="311" y="137"/>
                </a:cubicBezTo>
                <a:cubicBezTo>
                  <a:pt x="306" y="137"/>
                  <a:pt x="302" y="133"/>
                  <a:pt x="302" y="128"/>
                </a:cubicBezTo>
                <a:cubicBezTo>
                  <a:pt x="302" y="53"/>
                  <a:pt x="302" y="53"/>
                  <a:pt x="302" y="53"/>
                </a:cubicBezTo>
                <a:cubicBezTo>
                  <a:pt x="302" y="48"/>
                  <a:pt x="306" y="44"/>
                  <a:pt x="311" y="44"/>
                </a:cubicBezTo>
                <a:cubicBezTo>
                  <a:pt x="387" y="44"/>
                  <a:pt x="387" y="44"/>
                  <a:pt x="387" y="44"/>
                </a:cubicBezTo>
                <a:cubicBezTo>
                  <a:pt x="392" y="44"/>
                  <a:pt x="396" y="48"/>
                  <a:pt x="396" y="53"/>
                </a:cubicBezTo>
                <a:lnTo>
                  <a:pt x="396" y="128"/>
                </a:lnTo>
                <a:close/>
                <a:moveTo>
                  <a:pt x="501" y="175"/>
                </a:moveTo>
                <a:cubicBezTo>
                  <a:pt x="594" y="268"/>
                  <a:pt x="594" y="268"/>
                  <a:pt x="594" y="268"/>
                </a:cubicBezTo>
                <a:cubicBezTo>
                  <a:pt x="698" y="268"/>
                  <a:pt x="698" y="268"/>
                  <a:pt x="698" y="268"/>
                </a:cubicBezTo>
                <a:cubicBezTo>
                  <a:pt x="568" y="137"/>
                  <a:pt x="568" y="137"/>
                  <a:pt x="568" y="137"/>
                </a:cubicBezTo>
                <a:cubicBezTo>
                  <a:pt x="434" y="137"/>
                  <a:pt x="434" y="137"/>
                  <a:pt x="434" y="137"/>
                </a:cubicBezTo>
                <a:cubicBezTo>
                  <a:pt x="376" y="196"/>
                  <a:pt x="376" y="196"/>
                  <a:pt x="376" y="196"/>
                </a:cubicBezTo>
                <a:cubicBezTo>
                  <a:pt x="428" y="248"/>
                  <a:pt x="428" y="248"/>
                  <a:pt x="428" y="248"/>
                </a:cubicBezTo>
                <a:lnTo>
                  <a:pt x="501" y="175"/>
                </a:lnTo>
                <a:close/>
                <a:moveTo>
                  <a:pt x="104" y="268"/>
                </a:moveTo>
                <a:cubicBezTo>
                  <a:pt x="197" y="175"/>
                  <a:pt x="197" y="175"/>
                  <a:pt x="197" y="175"/>
                </a:cubicBezTo>
                <a:cubicBezTo>
                  <a:pt x="270" y="248"/>
                  <a:pt x="270" y="248"/>
                  <a:pt x="270" y="248"/>
                </a:cubicBezTo>
                <a:cubicBezTo>
                  <a:pt x="322" y="196"/>
                  <a:pt x="322" y="196"/>
                  <a:pt x="322" y="196"/>
                </a:cubicBezTo>
                <a:cubicBezTo>
                  <a:pt x="264" y="137"/>
                  <a:pt x="264" y="137"/>
                  <a:pt x="264" y="137"/>
                </a:cubicBezTo>
                <a:cubicBezTo>
                  <a:pt x="130" y="137"/>
                  <a:pt x="130" y="137"/>
                  <a:pt x="130" y="137"/>
                </a:cubicBezTo>
                <a:cubicBezTo>
                  <a:pt x="0" y="268"/>
                  <a:pt x="0" y="268"/>
                  <a:pt x="0" y="268"/>
                </a:cubicBezTo>
                <a:lnTo>
                  <a:pt x="104" y="268"/>
                </a:lnTo>
                <a:close/>
                <a:moveTo>
                  <a:pt x="553" y="268"/>
                </a:moveTo>
                <a:cubicBezTo>
                  <a:pt x="553" y="477"/>
                  <a:pt x="553" y="477"/>
                  <a:pt x="553" y="477"/>
                </a:cubicBezTo>
                <a:cubicBezTo>
                  <a:pt x="414" y="477"/>
                  <a:pt x="414" y="477"/>
                  <a:pt x="414" y="477"/>
                </a:cubicBezTo>
                <a:cubicBezTo>
                  <a:pt x="414" y="439"/>
                  <a:pt x="414" y="439"/>
                  <a:pt x="414" y="439"/>
                </a:cubicBezTo>
                <a:cubicBezTo>
                  <a:pt x="376" y="477"/>
                  <a:pt x="376" y="477"/>
                  <a:pt x="376" y="477"/>
                </a:cubicBezTo>
                <a:cubicBezTo>
                  <a:pt x="322" y="477"/>
                  <a:pt x="322" y="477"/>
                  <a:pt x="322" y="477"/>
                </a:cubicBezTo>
                <a:cubicBezTo>
                  <a:pt x="284" y="439"/>
                  <a:pt x="284" y="439"/>
                  <a:pt x="284" y="439"/>
                </a:cubicBezTo>
                <a:cubicBezTo>
                  <a:pt x="284" y="477"/>
                  <a:pt x="284" y="477"/>
                  <a:pt x="284" y="477"/>
                </a:cubicBezTo>
                <a:cubicBezTo>
                  <a:pt x="145" y="477"/>
                  <a:pt x="145" y="477"/>
                  <a:pt x="145" y="477"/>
                </a:cubicBezTo>
                <a:cubicBezTo>
                  <a:pt x="145" y="268"/>
                  <a:pt x="145" y="268"/>
                  <a:pt x="145" y="268"/>
                </a:cubicBezTo>
                <a:cubicBezTo>
                  <a:pt x="61" y="268"/>
                  <a:pt x="61" y="268"/>
                  <a:pt x="61" y="268"/>
                </a:cubicBezTo>
                <a:cubicBezTo>
                  <a:pt x="61" y="532"/>
                  <a:pt x="61" y="532"/>
                  <a:pt x="61" y="532"/>
                </a:cubicBezTo>
                <a:cubicBezTo>
                  <a:pt x="61" y="541"/>
                  <a:pt x="69" y="549"/>
                  <a:pt x="79" y="549"/>
                </a:cubicBezTo>
                <a:cubicBezTo>
                  <a:pt x="619" y="549"/>
                  <a:pt x="619" y="549"/>
                  <a:pt x="619" y="549"/>
                </a:cubicBezTo>
                <a:cubicBezTo>
                  <a:pt x="629" y="549"/>
                  <a:pt x="637" y="541"/>
                  <a:pt x="637" y="532"/>
                </a:cubicBezTo>
                <a:cubicBezTo>
                  <a:pt x="637" y="268"/>
                  <a:pt x="637" y="268"/>
                  <a:pt x="637" y="268"/>
                </a:cubicBezTo>
                <a:lnTo>
                  <a:pt x="553" y="268"/>
                </a:lnTo>
                <a:close/>
              </a:path>
            </a:pathLst>
          </a:custGeom>
          <a:solidFill>
            <a:srgbClr val="FE5817"/>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nvGrpSpPr>
          <p:cNvPr id="123" name="组合 122"/>
          <p:cNvGrpSpPr/>
          <p:nvPr/>
        </p:nvGrpSpPr>
        <p:grpSpPr>
          <a:xfrm>
            <a:off x="2206172" y="903513"/>
            <a:ext cx="1582070" cy="1709058"/>
            <a:chOff x="2088104" y="3811263"/>
            <a:chExt cx="1841640" cy="2041130"/>
          </a:xfrm>
        </p:grpSpPr>
        <p:sp>
          <p:nvSpPr>
            <p:cNvPr id="105" name="Freeform 5"/>
            <p:cNvSpPr/>
            <p:nvPr/>
          </p:nvSpPr>
          <p:spPr bwMode="gray">
            <a:xfrm flipV="1">
              <a:off x="2088104" y="3811263"/>
              <a:ext cx="1841640" cy="2009998"/>
            </a:xfrm>
            <a:custGeom>
              <a:avLst/>
              <a:gdLst>
                <a:gd name="T0" fmla="*/ 108 w 5188"/>
                <a:gd name="T1" fmla="*/ 0 h 2818"/>
                <a:gd name="T2" fmla="*/ 2594 w 5188"/>
                <a:gd name="T3" fmla="*/ 194 h 2818"/>
                <a:gd name="T4" fmla="*/ 2478 w 5188"/>
                <a:gd name="T5" fmla="*/ 2818 h 2818"/>
                <a:gd name="T6" fmla="*/ 0 w 5188"/>
                <a:gd name="T7" fmla="*/ 2612 h 2818"/>
                <a:gd name="T8" fmla="*/ 108 w 5188"/>
                <a:gd name="T9" fmla="*/ 0 h 2818"/>
                <a:gd name="T10" fmla="*/ 0 60000 65536"/>
                <a:gd name="T11" fmla="*/ 0 60000 65536"/>
                <a:gd name="T12" fmla="*/ 0 60000 65536"/>
                <a:gd name="T13" fmla="*/ 0 60000 65536"/>
                <a:gd name="T14" fmla="*/ 0 60000 65536"/>
                <a:gd name="T15" fmla="*/ 0 w 5188"/>
                <a:gd name="T16" fmla="*/ 0 h 2818"/>
                <a:gd name="T17" fmla="*/ 5188 w 5188"/>
                <a:gd name="T18" fmla="*/ 2818 h 2818"/>
              </a:gdLst>
              <a:ahLst/>
              <a:cxnLst>
                <a:cxn ang="T10">
                  <a:pos x="T0" y="T1"/>
                </a:cxn>
                <a:cxn ang="T11">
                  <a:pos x="T2" y="T3"/>
                </a:cxn>
                <a:cxn ang="T12">
                  <a:pos x="T4" y="T5"/>
                </a:cxn>
                <a:cxn ang="T13">
                  <a:pos x="T6" y="T7"/>
                </a:cxn>
                <a:cxn ang="T14">
                  <a:pos x="T8" y="T9"/>
                </a:cxn>
              </a:cxnLst>
              <a:rect l="T15" t="T16" r="T17" b="T18"/>
              <a:pathLst>
                <a:path w="5188" h="2818">
                  <a:moveTo>
                    <a:pt x="216" y="0"/>
                  </a:moveTo>
                  <a:lnTo>
                    <a:pt x="5188" y="194"/>
                  </a:lnTo>
                  <a:lnTo>
                    <a:pt x="4956" y="2818"/>
                  </a:lnTo>
                  <a:lnTo>
                    <a:pt x="0" y="2612"/>
                  </a:lnTo>
                  <a:lnTo>
                    <a:pt x="216" y="0"/>
                  </a:lnTo>
                  <a:close/>
                </a:path>
              </a:pathLst>
            </a:custGeom>
            <a:solidFill>
              <a:srgbClr val="C0C0C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07" name="Freeform 6"/>
            <p:cNvSpPr/>
            <p:nvPr/>
          </p:nvSpPr>
          <p:spPr bwMode="gray">
            <a:xfrm flipV="1">
              <a:off x="2123584" y="3823889"/>
              <a:ext cx="1774785" cy="2028504"/>
            </a:xfrm>
            <a:custGeom>
              <a:avLst/>
              <a:gdLst>
                <a:gd name="T0" fmla="*/ 2486 w 5187"/>
                <a:gd name="T1" fmla="*/ 0 h 2820"/>
                <a:gd name="T2" fmla="*/ 0 w 5187"/>
                <a:gd name="T3" fmla="*/ 195 h 2820"/>
                <a:gd name="T4" fmla="*/ 116 w 5187"/>
                <a:gd name="T5" fmla="*/ 2820 h 2820"/>
                <a:gd name="T6" fmla="*/ 2594 w 5187"/>
                <a:gd name="T7" fmla="*/ 2613 h 2820"/>
                <a:gd name="T8" fmla="*/ 2486 w 5187"/>
                <a:gd name="T9" fmla="*/ 0 h 2820"/>
                <a:gd name="T10" fmla="*/ 0 60000 65536"/>
                <a:gd name="T11" fmla="*/ 0 60000 65536"/>
                <a:gd name="T12" fmla="*/ 0 60000 65536"/>
                <a:gd name="T13" fmla="*/ 0 60000 65536"/>
                <a:gd name="T14" fmla="*/ 0 60000 65536"/>
                <a:gd name="T15" fmla="*/ 0 w 5187"/>
                <a:gd name="T16" fmla="*/ 0 h 2820"/>
                <a:gd name="T17" fmla="*/ 5187 w 5187"/>
                <a:gd name="T18" fmla="*/ 2820 h 2820"/>
              </a:gdLst>
              <a:ahLst/>
              <a:cxnLst>
                <a:cxn ang="T10">
                  <a:pos x="T0" y="T1"/>
                </a:cxn>
                <a:cxn ang="T11">
                  <a:pos x="T2" y="T3"/>
                </a:cxn>
                <a:cxn ang="T12">
                  <a:pos x="T4" y="T5"/>
                </a:cxn>
                <a:cxn ang="T13">
                  <a:pos x="T6" y="T7"/>
                </a:cxn>
                <a:cxn ang="T14">
                  <a:pos x="T8" y="T9"/>
                </a:cxn>
              </a:cxnLst>
              <a:rect l="T15" t="T16" r="T17" b="T18"/>
              <a:pathLst>
                <a:path w="5187" h="2820">
                  <a:moveTo>
                    <a:pt x="4971" y="0"/>
                  </a:moveTo>
                  <a:lnTo>
                    <a:pt x="0" y="195"/>
                  </a:lnTo>
                  <a:lnTo>
                    <a:pt x="231" y="2820"/>
                  </a:lnTo>
                  <a:lnTo>
                    <a:pt x="5187" y="2613"/>
                  </a:lnTo>
                  <a:lnTo>
                    <a:pt x="4971" y="0"/>
                  </a:lnTo>
                  <a:close/>
                </a:path>
              </a:pathLst>
            </a:custGeom>
            <a:solidFill>
              <a:srgbClr val="80808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08" name="Rectangle 7"/>
            <p:cNvSpPr>
              <a:spLocks noChangeArrowheads="1"/>
            </p:cNvSpPr>
            <p:nvPr/>
          </p:nvSpPr>
          <p:spPr bwMode="gray">
            <a:xfrm flipV="1">
              <a:off x="2166004" y="3882779"/>
              <a:ext cx="1694735" cy="1891113"/>
            </a:xfrm>
            <a:prstGeom prst="rect">
              <a:avLst/>
            </a:prstGeom>
            <a:solidFill>
              <a:srgbClr val="FFFFFF"/>
            </a:solidFill>
            <a:ln w="12700">
              <a:solidFill>
                <a:srgbClr val="808080"/>
              </a:solidFill>
              <a:miter lim="800000"/>
            </a:ln>
          </p:spPr>
          <p:txBody>
            <a:bodyPr rot="10800000"/>
            <a:lstStyle/>
            <a:p>
              <a:pPr marL="0" marR="0" lvl="0" indent="0" algn="ctr" defTabSz="914400" rtl="0" eaLnBrk="1" fontAlgn="auto" latinLnBrk="0" hangingPunct="1">
                <a:lnSpc>
                  <a:spcPct val="90000"/>
                </a:lnSpc>
                <a:spcBef>
                  <a:spcPts val="1200"/>
                </a:spcBef>
                <a:spcAft>
                  <a:spcPts val="0"/>
                </a:spcAft>
                <a:buClr>
                  <a:srgbClr val="808080"/>
                </a:buClr>
                <a:buSzTx/>
                <a:buFontTx/>
                <a:buNone/>
                <a:defRPr/>
              </a:pPr>
              <a:r>
                <a:rPr kumimoji="0" lang="en-US" altLang="zh-CN"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rPr>
                <a:t> </a:t>
              </a: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09" name="矩形 108"/>
            <p:cNvSpPr/>
            <p:nvPr/>
          </p:nvSpPr>
          <p:spPr>
            <a:xfrm>
              <a:off x="2218871" y="3971310"/>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0" name="矩形 109"/>
            <p:cNvSpPr/>
            <p:nvPr/>
          </p:nvSpPr>
          <p:spPr>
            <a:xfrm>
              <a:off x="2218871" y="428390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05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05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1" name="矩形 110"/>
            <p:cNvSpPr/>
            <p:nvPr/>
          </p:nvSpPr>
          <p:spPr>
            <a:xfrm>
              <a:off x="2218871" y="459649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2" name="矩形 111"/>
            <p:cNvSpPr/>
            <p:nvPr/>
          </p:nvSpPr>
          <p:spPr>
            <a:xfrm>
              <a:off x="2218871" y="490908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113" name="直接连接符 112"/>
            <p:cNvCxnSpPr/>
            <p:nvPr/>
          </p:nvCxnSpPr>
          <p:spPr>
            <a:xfrm>
              <a:off x="2271371" y="4261082"/>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14" name="直接连接符 113"/>
            <p:cNvCxnSpPr/>
            <p:nvPr/>
          </p:nvCxnSpPr>
          <p:spPr>
            <a:xfrm>
              <a:off x="2271371" y="4573673"/>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a:off x="2271371" y="4886264"/>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18" name="直接连接符 117"/>
            <p:cNvCxnSpPr/>
            <p:nvPr/>
          </p:nvCxnSpPr>
          <p:spPr>
            <a:xfrm>
              <a:off x="2271371" y="5179227"/>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9" name="矩形 118"/>
            <p:cNvSpPr/>
            <p:nvPr/>
          </p:nvSpPr>
          <p:spPr>
            <a:xfrm>
              <a:off x="2218871" y="520796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120" name="直接连接符 119"/>
            <p:cNvCxnSpPr/>
            <p:nvPr/>
          </p:nvCxnSpPr>
          <p:spPr>
            <a:xfrm>
              <a:off x="2271371" y="5439639"/>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21" name="矩形 120"/>
            <p:cNvSpPr/>
            <p:nvPr/>
          </p:nvSpPr>
          <p:spPr>
            <a:xfrm>
              <a:off x="2218871" y="5468374"/>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grpSp>
        <p:nvGrpSpPr>
          <p:cNvPr id="236" name="组合 235"/>
          <p:cNvGrpSpPr/>
          <p:nvPr/>
        </p:nvGrpSpPr>
        <p:grpSpPr>
          <a:xfrm>
            <a:off x="3909645" y="4419600"/>
            <a:ext cx="3145972" cy="1724966"/>
            <a:chOff x="3679371" y="3733800"/>
            <a:chExt cx="3145972" cy="2188030"/>
          </a:xfrm>
        </p:grpSpPr>
        <p:sp>
          <p:nvSpPr>
            <p:cNvPr id="233" name="矩形 232"/>
            <p:cNvSpPr/>
            <p:nvPr/>
          </p:nvSpPr>
          <p:spPr>
            <a:xfrm>
              <a:off x="3679371" y="3733800"/>
              <a:ext cx="3145972" cy="2188030"/>
            </a:xfrm>
            <a:prstGeom prst="rect">
              <a:avLst/>
            </a:prstGeom>
            <a:solidFill>
              <a:schemeClr val="bg1"/>
            </a:solidFill>
            <a:ln w="12700">
              <a:solidFill>
                <a:schemeClr val="bg1">
                  <a:lumMod val="50000"/>
                </a:schemeClr>
              </a:solidFill>
              <a:prstDash val="solid"/>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kumimoji="1"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139" name="组合 138"/>
            <p:cNvGrpSpPr/>
            <p:nvPr/>
          </p:nvGrpSpPr>
          <p:grpSpPr>
            <a:xfrm>
              <a:off x="5134417" y="3811263"/>
              <a:ext cx="1582070" cy="2041130"/>
              <a:chOff x="2088104" y="3811263"/>
              <a:chExt cx="1841640" cy="2041130"/>
            </a:xfrm>
          </p:grpSpPr>
          <p:sp>
            <p:nvSpPr>
              <p:cNvPr id="140" name="Freeform 5"/>
              <p:cNvSpPr/>
              <p:nvPr/>
            </p:nvSpPr>
            <p:spPr bwMode="gray">
              <a:xfrm flipV="1">
                <a:off x="2088104" y="3811263"/>
                <a:ext cx="1841640" cy="2009998"/>
              </a:xfrm>
              <a:custGeom>
                <a:avLst/>
                <a:gdLst>
                  <a:gd name="T0" fmla="*/ 108 w 5188"/>
                  <a:gd name="T1" fmla="*/ 0 h 2818"/>
                  <a:gd name="T2" fmla="*/ 2594 w 5188"/>
                  <a:gd name="T3" fmla="*/ 194 h 2818"/>
                  <a:gd name="T4" fmla="*/ 2478 w 5188"/>
                  <a:gd name="T5" fmla="*/ 2818 h 2818"/>
                  <a:gd name="T6" fmla="*/ 0 w 5188"/>
                  <a:gd name="T7" fmla="*/ 2612 h 2818"/>
                  <a:gd name="T8" fmla="*/ 108 w 5188"/>
                  <a:gd name="T9" fmla="*/ 0 h 2818"/>
                  <a:gd name="T10" fmla="*/ 0 60000 65536"/>
                  <a:gd name="T11" fmla="*/ 0 60000 65536"/>
                  <a:gd name="T12" fmla="*/ 0 60000 65536"/>
                  <a:gd name="T13" fmla="*/ 0 60000 65536"/>
                  <a:gd name="T14" fmla="*/ 0 60000 65536"/>
                  <a:gd name="T15" fmla="*/ 0 w 5188"/>
                  <a:gd name="T16" fmla="*/ 0 h 2818"/>
                  <a:gd name="T17" fmla="*/ 5188 w 5188"/>
                  <a:gd name="T18" fmla="*/ 2818 h 2818"/>
                </a:gdLst>
                <a:ahLst/>
                <a:cxnLst>
                  <a:cxn ang="T10">
                    <a:pos x="T0" y="T1"/>
                  </a:cxn>
                  <a:cxn ang="T11">
                    <a:pos x="T2" y="T3"/>
                  </a:cxn>
                  <a:cxn ang="T12">
                    <a:pos x="T4" y="T5"/>
                  </a:cxn>
                  <a:cxn ang="T13">
                    <a:pos x="T6" y="T7"/>
                  </a:cxn>
                  <a:cxn ang="T14">
                    <a:pos x="T8" y="T9"/>
                  </a:cxn>
                </a:cxnLst>
                <a:rect l="T15" t="T16" r="T17" b="T18"/>
                <a:pathLst>
                  <a:path w="5188" h="2818">
                    <a:moveTo>
                      <a:pt x="216" y="0"/>
                    </a:moveTo>
                    <a:lnTo>
                      <a:pt x="5188" y="194"/>
                    </a:lnTo>
                    <a:lnTo>
                      <a:pt x="4956" y="2818"/>
                    </a:lnTo>
                    <a:lnTo>
                      <a:pt x="0" y="2612"/>
                    </a:lnTo>
                    <a:lnTo>
                      <a:pt x="216" y="0"/>
                    </a:lnTo>
                    <a:close/>
                  </a:path>
                </a:pathLst>
              </a:custGeom>
              <a:solidFill>
                <a:srgbClr val="C0C0C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41" name="Freeform 6"/>
              <p:cNvSpPr/>
              <p:nvPr/>
            </p:nvSpPr>
            <p:spPr bwMode="gray">
              <a:xfrm flipV="1">
                <a:off x="2123584" y="3823889"/>
                <a:ext cx="1774785" cy="2028504"/>
              </a:xfrm>
              <a:custGeom>
                <a:avLst/>
                <a:gdLst>
                  <a:gd name="T0" fmla="*/ 2486 w 5187"/>
                  <a:gd name="T1" fmla="*/ 0 h 2820"/>
                  <a:gd name="T2" fmla="*/ 0 w 5187"/>
                  <a:gd name="T3" fmla="*/ 195 h 2820"/>
                  <a:gd name="T4" fmla="*/ 116 w 5187"/>
                  <a:gd name="T5" fmla="*/ 2820 h 2820"/>
                  <a:gd name="T6" fmla="*/ 2594 w 5187"/>
                  <a:gd name="T7" fmla="*/ 2613 h 2820"/>
                  <a:gd name="T8" fmla="*/ 2486 w 5187"/>
                  <a:gd name="T9" fmla="*/ 0 h 2820"/>
                  <a:gd name="T10" fmla="*/ 0 60000 65536"/>
                  <a:gd name="T11" fmla="*/ 0 60000 65536"/>
                  <a:gd name="T12" fmla="*/ 0 60000 65536"/>
                  <a:gd name="T13" fmla="*/ 0 60000 65536"/>
                  <a:gd name="T14" fmla="*/ 0 60000 65536"/>
                  <a:gd name="T15" fmla="*/ 0 w 5187"/>
                  <a:gd name="T16" fmla="*/ 0 h 2820"/>
                  <a:gd name="T17" fmla="*/ 5187 w 5187"/>
                  <a:gd name="T18" fmla="*/ 2820 h 2820"/>
                </a:gdLst>
                <a:ahLst/>
                <a:cxnLst>
                  <a:cxn ang="T10">
                    <a:pos x="T0" y="T1"/>
                  </a:cxn>
                  <a:cxn ang="T11">
                    <a:pos x="T2" y="T3"/>
                  </a:cxn>
                  <a:cxn ang="T12">
                    <a:pos x="T4" y="T5"/>
                  </a:cxn>
                  <a:cxn ang="T13">
                    <a:pos x="T6" y="T7"/>
                  </a:cxn>
                  <a:cxn ang="T14">
                    <a:pos x="T8" y="T9"/>
                  </a:cxn>
                </a:cxnLst>
                <a:rect l="T15" t="T16" r="T17" b="T18"/>
                <a:pathLst>
                  <a:path w="5187" h="2820">
                    <a:moveTo>
                      <a:pt x="4971" y="0"/>
                    </a:moveTo>
                    <a:lnTo>
                      <a:pt x="0" y="195"/>
                    </a:lnTo>
                    <a:lnTo>
                      <a:pt x="231" y="2820"/>
                    </a:lnTo>
                    <a:lnTo>
                      <a:pt x="5187" y="2613"/>
                    </a:lnTo>
                    <a:lnTo>
                      <a:pt x="4971" y="0"/>
                    </a:lnTo>
                    <a:close/>
                  </a:path>
                </a:pathLst>
              </a:custGeom>
              <a:solidFill>
                <a:srgbClr val="80808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42" name="Rectangle 7"/>
              <p:cNvSpPr>
                <a:spLocks noChangeArrowheads="1"/>
              </p:cNvSpPr>
              <p:nvPr/>
            </p:nvSpPr>
            <p:spPr bwMode="gray">
              <a:xfrm flipV="1">
                <a:off x="2166004" y="3882779"/>
                <a:ext cx="1694735" cy="1891113"/>
              </a:xfrm>
              <a:prstGeom prst="rect">
                <a:avLst/>
              </a:prstGeom>
              <a:solidFill>
                <a:srgbClr val="FFFFFF"/>
              </a:solidFill>
              <a:ln w="12700">
                <a:solidFill>
                  <a:srgbClr val="808080"/>
                </a:solidFill>
                <a:miter lim="800000"/>
              </a:ln>
            </p:spPr>
            <p:txBody>
              <a:bodyPr rot="10800000"/>
              <a:lstStyle/>
              <a:p>
                <a:pPr marL="0" marR="0" lvl="0" indent="0" algn="ctr" defTabSz="914400" rtl="0" eaLnBrk="1" fontAlgn="auto" latinLnBrk="0" hangingPunct="1">
                  <a:lnSpc>
                    <a:spcPct val="90000"/>
                  </a:lnSpc>
                  <a:spcBef>
                    <a:spcPts val="1200"/>
                  </a:spcBef>
                  <a:spcAft>
                    <a:spcPts val="0"/>
                  </a:spcAft>
                  <a:buClr>
                    <a:srgbClr val="808080"/>
                  </a:buClr>
                  <a:buSzTx/>
                  <a:buFontTx/>
                  <a:buNone/>
                  <a:defRPr/>
                </a:pPr>
                <a:r>
                  <a:rPr kumimoji="0" lang="en-US" altLang="zh-CN"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rPr>
                  <a:t> </a:t>
                </a: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43" name="矩形 142"/>
              <p:cNvSpPr/>
              <p:nvPr/>
            </p:nvSpPr>
            <p:spPr>
              <a:xfrm>
                <a:off x="2218871" y="3971310"/>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44" name="矩形 143"/>
              <p:cNvSpPr/>
              <p:nvPr/>
            </p:nvSpPr>
            <p:spPr>
              <a:xfrm>
                <a:off x="2218871" y="428390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45" name="矩形 144"/>
              <p:cNvSpPr/>
              <p:nvPr/>
            </p:nvSpPr>
            <p:spPr>
              <a:xfrm>
                <a:off x="2218871" y="459649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46" name="矩形 145"/>
              <p:cNvSpPr/>
              <p:nvPr/>
            </p:nvSpPr>
            <p:spPr>
              <a:xfrm>
                <a:off x="2218871" y="490908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147" name="直接连接符 146"/>
              <p:cNvCxnSpPr/>
              <p:nvPr/>
            </p:nvCxnSpPr>
            <p:spPr>
              <a:xfrm>
                <a:off x="2271371" y="4261082"/>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48" name="直接连接符 147"/>
              <p:cNvCxnSpPr/>
              <p:nvPr/>
            </p:nvCxnSpPr>
            <p:spPr>
              <a:xfrm>
                <a:off x="2271371" y="4573673"/>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49" name="直接连接符 148"/>
              <p:cNvCxnSpPr/>
              <p:nvPr/>
            </p:nvCxnSpPr>
            <p:spPr>
              <a:xfrm>
                <a:off x="2271371" y="4886264"/>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50" name="直接连接符 149"/>
              <p:cNvCxnSpPr/>
              <p:nvPr/>
            </p:nvCxnSpPr>
            <p:spPr>
              <a:xfrm>
                <a:off x="2271371" y="5179227"/>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51" name="矩形 150"/>
              <p:cNvSpPr/>
              <p:nvPr/>
            </p:nvSpPr>
            <p:spPr>
              <a:xfrm>
                <a:off x="2218871" y="520796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152" name="直接连接符 151"/>
              <p:cNvCxnSpPr/>
              <p:nvPr/>
            </p:nvCxnSpPr>
            <p:spPr>
              <a:xfrm>
                <a:off x="2271371" y="5439639"/>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53" name="矩形 152"/>
              <p:cNvSpPr/>
              <p:nvPr/>
            </p:nvSpPr>
            <p:spPr>
              <a:xfrm>
                <a:off x="2218871" y="5468374"/>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grpSp>
          <p:nvGrpSpPr>
            <p:cNvPr id="124" name="组合 123"/>
            <p:cNvGrpSpPr/>
            <p:nvPr/>
          </p:nvGrpSpPr>
          <p:grpSpPr>
            <a:xfrm>
              <a:off x="3775391" y="3811263"/>
              <a:ext cx="1582070" cy="2041130"/>
              <a:chOff x="2088104" y="3811263"/>
              <a:chExt cx="1841640" cy="2041130"/>
            </a:xfrm>
          </p:grpSpPr>
          <p:sp>
            <p:nvSpPr>
              <p:cNvPr id="125" name="Freeform 5"/>
              <p:cNvSpPr/>
              <p:nvPr/>
            </p:nvSpPr>
            <p:spPr bwMode="gray">
              <a:xfrm flipV="1">
                <a:off x="2088104" y="3811263"/>
                <a:ext cx="1841640" cy="2009998"/>
              </a:xfrm>
              <a:custGeom>
                <a:avLst/>
                <a:gdLst>
                  <a:gd name="T0" fmla="*/ 108 w 5188"/>
                  <a:gd name="T1" fmla="*/ 0 h 2818"/>
                  <a:gd name="T2" fmla="*/ 2594 w 5188"/>
                  <a:gd name="T3" fmla="*/ 194 h 2818"/>
                  <a:gd name="T4" fmla="*/ 2478 w 5188"/>
                  <a:gd name="T5" fmla="*/ 2818 h 2818"/>
                  <a:gd name="T6" fmla="*/ 0 w 5188"/>
                  <a:gd name="T7" fmla="*/ 2612 h 2818"/>
                  <a:gd name="T8" fmla="*/ 108 w 5188"/>
                  <a:gd name="T9" fmla="*/ 0 h 2818"/>
                  <a:gd name="T10" fmla="*/ 0 60000 65536"/>
                  <a:gd name="T11" fmla="*/ 0 60000 65536"/>
                  <a:gd name="T12" fmla="*/ 0 60000 65536"/>
                  <a:gd name="T13" fmla="*/ 0 60000 65536"/>
                  <a:gd name="T14" fmla="*/ 0 60000 65536"/>
                  <a:gd name="T15" fmla="*/ 0 w 5188"/>
                  <a:gd name="T16" fmla="*/ 0 h 2818"/>
                  <a:gd name="T17" fmla="*/ 5188 w 5188"/>
                  <a:gd name="T18" fmla="*/ 2818 h 2818"/>
                </a:gdLst>
                <a:ahLst/>
                <a:cxnLst>
                  <a:cxn ang="T10">
                    <a:pos x="T0" y="T1"/>
                  </a:cxn>
                  <a:cxn ang="T11">
                    <a:pos x="T2" y="T3"/>
                  </a:cxn>
                  <a:cxn ang="T12">
                    <a:pos x="T4" y="T5"/>
                  </a:cxn>
                  <a:cxn ang="T13">
                    <a:pos x="T6" y="T7"/>
                  </a:cxn>
                  <a:cxn ang="T14">
                    <a:pos x="T8" y="T9"/>
                  </a:cxn>
                </a:cxnLst>
                <a:rect l="T15" t="T16" r="T17" b="T18"/>
                <a:pathLst>
                  <a:path w="5188" h="2818">
                    <a:moveTo>
                      <a:pt x="216" y="0"/>
                    </a:moveTo>
                    <a:lnTo>
                      <a:pt x="5188" y="194"/>
                    </a:lnTo>
                    <a:lnTo>
                      <a:pt x="4956" y="2818"/>
                    </a:lnTo>
                    <a:lnTo>
                      <a:pt x="0" y="2612"/>
                    </a:lnTo>
                    <a:lnTo>
                      <a:pt x="216" y="0"/>
                    </a:lnTo>
                    <a:close/>
                  </a:path>
                </a:pathLst>
              </a:custGeom>
              <a:solidFill>
                <a:srgbClr val="C0C0C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26" name="Freeform 6"/>
              <p:cNvSpPr/>
              <p:nvPr/>
            </p:nvSpPr>
            <p:spPr bwMode="gray">
              <a:xfrm flipV="1">
                <a:off x="2123584" y="3823889"/>
                <a:ext cx="1774785" cy="2028504"/>
              </a:xfrm>
              <a:custGeom>
                <a:avLst/>
                <a:gdLst>
                  <a:gd name="T0" fmla="*/ 2486 w 5187"/>
                  <a:gd name="T1" fmla="*/ 0 h 2820"/>
                  <a:gd name="T2" fmla="*/ 0 w 5187"/>
                  <a:gd name="T3" fmla="*/ 195 h 2820"/>
                  <a:gd name="T4" fmla="*/ 116 w 5187"/>
                  <a:gd name="T5" fmla="*/ 2820 h 2820"/>
                  <a:gd name="T6" fmla="*/ 2594 w 5187"/>
                  <a:gd name="T7" fmla="*/ 2613 h 2820"/>
                  <a:gd name="T8" fmla="*/ 2486 w 5187"/>
                  <a:gd name="T9" fmla="*/ 0 h 2820"/>
                  <a:gd name="T10" fmla="*/ 0 60000 65536"/>
                  <a:gd name="T11" fmla="*/ 0 60000 65536"/>
                  <a:gd name="T12" fmla="*/ 0 60000 65536"/>
                  <a:gd name="T13" fmla="*/ 0 60000 65536"/>
                  <a:gd name="T14" fmla="*/ 0 60000 65536"/>
                  <a:gd name="T15" fmla="*/ 0 w 5187"/>
                  <a:gd name="T16" fmla="*/ 0 h 2820"/>
                  <a:gd name="T17" fmla="*/ 5187 w 5187"/>
                  <a:gd name="T18" fmla="*/ 2820 h 2820"/>
                </a:gdLst>
                <a:ahLst/>
                <a:cxnLst>
                  <a:cxn ang="T10">
                    <a:pos x="T0" y="T1"/>
                  </a:cxn>
                  <a:cxn ang="T11">
                    <a:pos x="T2" y="T3"/>
                  </a:cxn>
                  <a:cxn ang="T12">
                    <a:pos x="T4" y="T5"/>
                  </a:cxn>
                  <a:cxn ang="T13">
                    <a:pos x="T6" y="T7"/>
                  </a:cxn>
                  <a:cxn ang="T14">
                    <a:pos x="T8" y="T9"/>
                  </a:cxn>
                </a:cxnLst>
                <a:rect l="T15" t="T16" r="T17" b="T18"/>
                <a:pathLst>
                  <a:path w="5187" h="2820">
                    <a:moveTo>
                      <a:pt x="4971" y="0"/>
                    </a:moveTo>
                    <a:lnTo>
                      <a:pt x="0" y="195"/>
                    </a:lnTo>
                    <a:lnTo>
                      <a:pt x="231" y="2820"/>
                    </a:lnTo>
                    <a:lnTo>
                      <a:pt x="5187" y="2613"/>
                    </a:lnTo>
                    <a:lnTo>
                      <a:pt x="4971" y="0"/>
                    </a:lnTo>
                    <a:close/>
                  </a:path>
                </a:pathLst>
              </a:custGeom>
              <a:solidFill>
                <a:srgbClr val="80808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27" name="Rectangle 7"/>
              <p:cNvSpPr>
                <a:spLocks noChangeArrowheads="1"/>
              </p:cNvSpPr>
              <p:nvPr/>
            </p:nvSpPr>
            <p:spPr bwMode="gray">
              <a:xfrm flipV="1">
                <a:off x="2166004" y="3882779"/>
                <a:ext cx="1694735" cy="1891113"/>
              </a:xfrm>
              <a:prstGeom prst="rect">
                <a:avLst/>
              </a:prstGeom>
              <a:solidFill>
                <a:srgbClr val="FFFFFF"/>
              </a:solidFill>
              <a:ln w="12700">
                <a:solidFill>
                  <a:srgbClr val="808080"/>
                </a:solidFill>
                <a:miter lim="800000"/>
              </a:ln>
            </p:spPr>
            <p:txBody>
              <a:bodyPr rot="10800000"/>
              <a:lstStyle/>
              <a:p>
                <a:pPr marL="0" marR="0" lvl="0" indent="0" algn="ctr" defTabSz="914400" rtl="0" eaLnBrk="1" fontAlgn="auto" latinLnBrk="0" hangingPunct="1">
                  <a:lnSpc>
                    <a:spcPct val="90000"/>
                  </a:lnSpc>
                  <a:spcBef>
                    <a:spcPts val="1200"/>
                  </a:spcBef>
                  <a:spcAft>
                    <a:spcPts val="0"/>
                  </a:spcAft>
                  <a:buClr>
                    <a:srgbClr val="808080"/>
                  </a:buClr>
                  <a:buSzTx/>
                  <a:buFontTx/>
                  <a:buNone/>
                  <a:defRPr/>
                </a:pPr>
                <a:r>
                  <a:rPr kumimoji="0" lang="en-US" altLang="zh-CN"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rPr>
                  <a:t> </a:t>
                </a: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28" name="矩形 127"/>
              <p:cNvSpPr/>
              <p:nvPr/>
            </p:nvSpPr>
            <p:spPr>
              <a:xfrm>
                <a:off x="2218871" y="3971310"/>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9" name="矩形 128"/>
              <p:cNvSpPr/>
              <p:nvPr/>
            </p:nvSpPr>
            <p:spPr>
              <a:xfrm>
                <a:off x="2218871" y="428390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30" name="矩形 129"/>
              <p:cNvSpPr/>
              <p:nvPr/>
            </p:nvSpPr>
            <p:spPr>
              <a:xfrm>
                <a:off x="2218871" y="459649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31" name="矩形 130"/>
              <p:cNvSpPr/>
              <p:nvPr/>
            </p:nvSpPr>
            <p:spPr>
              <a:xfrm>
                <a:off x="2218871" y="490908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132" name="直接连接符 131"/>
              <p:cNvCxnSpPr/>
              <p:nvPr/>
            </p:nvCxnSpPr>
            <p:spPr>
              <a:xfrm>
                <a:off x="2271371" y="4261082"/>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33" name="直接连接符 132"/>
              <p:cNvCxnSpPr/>
              <p:nvPr/>
            </p:nvCxnSpPr>
            <p:spPr>
              <a:xfrm>
                <a:off x="2271371" y="4573673"/>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34" name="直接连接符 133"/>
              <p:cNvCxnSpPr/>
              <p:nvPr/>
            </p:nvCxnSpPr>
            <p:spPr>
              <a:xfrm>
                <a:off x="2271371" y="4886264"/>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35" name="直接连接符 134"/>
              <p:cNvCxnSpPr/>
              <p:nvPr/>
            </p:nvCxnSpPr>
            <p:spPr>
              <a:xfrm>
                <a:off x="2271371" y="5179227"/>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36" name="矩形 135"/>
              <p:cNvSpPr/>
              <p:nvPr/>
            </p:nvSpPr>
            <p:spPr>
              <a:xfrm>
                <a:off x="2218871" y="520796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137" name="直接连接符 136"/>
              <p:cNvCxnSpPr/>
              <p:nvPr/>
            </p:nvCxnSpPr>
            <p:spPr>
              <a:xfrm>
                <a:off x="2271371" y="5439639"/>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38" name="矩形 137"/>
              <p:cNvSpPr/>
              <p:nvPr/>
            </p:nvSpPr>
            <p:spPr>
              <a:xfrm>
                <a:off x="2218871" y="5468374"/>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grpSp>
      <p:grpSp>
        <p:nvGrpSpPr>
          <p:cNvPr id="284" name="组合 283"/>
          <p:cNvGrpSpPr/>
          <p:nvPr/>
        </p:nvGrpSpPr>
        <p:grpSpPr>
          <a:xfrm>
            <a:off x="5273710" y="863464"/>
            <a:ext cx="3145972" cy="1743245"/>
            <a:chOff x="6444343" y="3156857"/>
            <a:chExt cx="3145972" cy="1981200"/>
          </a:xfrm>
        </p:grpSpPr>
        <p:sp>
          <p:nvSpPr>
            <p:cNvPr id="234" name="矩形 233"/>
            <p:cNvSpPr/>
            <p:nvPr/>
          </p:nvSpPr>
          <p:spPr>
            <a:xfrm>
              <a:off x="6444343" y="3156857"/>
              <a:ext cx="3145972" cy="1981200"/>
            </a:xfrm>
            <a:prstGeom prst="rect">
              <a:avLst/>
            </a:prstGeom>
            <a:solidFill>
              <a:schemeClr val="bg1"/>
            </a:solidFill>
            <a:ln w="12700">
              <a:solidFill>
                <a:schemeClr val="bg1">
                  <a:lumMod val="50000"/>
                </a:schemeClr>
              </a:solidFill>
              <a:prstDash val="solid"/>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kumimoji="1"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217" name="组合 216"/>
            <p:cNvGrpSpPr/>
            <p:nvPr/>
          </p:nvGrpSpPr>
          <p:grpSpPr>
            <a:xfrm>
              <a:off x="7910273" y="3226998"/>
              <a:ext cx="1582070" cy="1848186"/>
              <a:chOff x="2088104" y="3811263"/>
              <a:chExt cx="1841640" cy="2041130"/>
            </a:xfrm>
          </p:grpSpPr>
          <p:sp>
            <p:nvSpPr>
              <p:cNvPr id="218" name="Freeform 5"/>
              <p:cNvSpPr/>
              <p:nvPr/>
            </p:nvSpPr>
            <p:spPr bwMode="gray">
              <a:xfrm flipV="1">
                <a:off x="2088104" y="3811263"/>
                <a:ext cx="1841640" cy="2009998"/>
              </a:xfrm>
              <a:custGeom>
                <a:avLst/>
                <a:gdLst>
                  <a:gd name="T0" fmla="*/ 108 w 5188"/>
                  <a:gd name="T1" fmla="*/ 0 h 2818"/>
                  <a:gd name="T2" fmla="*/ 2594 w 5188"/>
                  <a:gd name="T3" fmla="*/ 194 h 2818"/>
                  <a:gd name="T4" fmla="*/ 2478 w 5188"/>
                  <a:gd name="T5" fmla="*/ 2818 h 2818"/>
                  <a:gd name="T6" fmla="*/ 0 w 5188"/>
                  <a:gd name="T7" fmla="*/ 2612 h 2818"/>
                  <a:gd name="T8" fmla="*/ 108 w 5188"/>
                  <a:gd name="T9" fmla="*/ 0 h 2818"/>
                  <a:gd name="T10" fmla="*/ 0 60000 65536"/>
                  <a:gd name="T11" fmla="*/ 0 60000 65536"/>
                  <a:gd name="T12" fmla="*/ 0 60000 65536"/>
                  <a:gd name="T13" fmla="*/ 0 60000 65536"/>
                  <a:gd name="T14" fmla="*/ 0 60000 65536"/>
                  <a:gd name="T15" fmla="*/ 0 w 5188"/>
                  <a:gd name="T16" fmla="*/ 0 h 2818"/>
                  <a:gd name="T17" fmla="*/ 5188 w 5188"/>
                  <a:gd name="T18" fmla="*/ 2818 h 2818"/>
                </a:gdLst>
                <a:ahLst/>
                <a:cxnLst>
                  <a:cxn ang="T10">
                    <a:pos x="T0" y="T1"/>
                  </a:cxn>
                  <a:cxn ang="T11">
                    <a:pos x="T2" y="T3"/>
                  </a:cxn>
                  <a:cxn ang="T12">
                    <a:pos x="T4" y="T5"/>
                  </a:cxn>
                  <a:cxn ang="T13">
                    <a:pos x="T6" y="T7"/>
                  </a:cxn>
                  <a:cxn ang="T14">
                    <a:pos x="T8" y="T9"/>
                  </a:cxn>
                </a:cxnLst>
                <a:rect l="T15" t="T16" r="T17" b="T18"/>
                <a:pathLst>
                  <a:path w="5188" h="2818">
                    <a:moveTo>
                      <a:pt x="216" y="0"/>
                    </a:moveTo>
                    <a:lnTo>
                      <a:pt x="5188" y="194"/>
                    </a:lnTo>
                    <a:lnTo>
                      <a:pt x="4956" y="2818"/>
                    </a:lnTo>
                    <a:lnTo>
                      <a:pt x="0" y="2612"/>
                    </a:lnTo>
                    <a:lnTo>
                      <a:pt x="216" y="0"/>
                    </a:lnTo>
                    <a:close/>
                  </a:path>
                </a:pathLst>
              </a:custGeom>
              <a:solidFill>
                <a:srgbClr val="C0C0C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19" name="Freeform 6"/>
              <p:cNvSpPr/>
              <p:nvPr/>
            </p:nvSpPr>
            <p:spPr bwMode="gray">
              <a:xfrm flipV="1">
                <a:off x="2123584" y="3823889"/>
                <a:ext cx="1774785" cy="2028504"/>
              </a:xfrm>
              <a:custGeom>
                <a:avLst/>
                <a:gdLst>
                  <a:gd name="T0" fmla="*/ 2486 w 5187"/>
                  <a:gd name="T1" fmla="*/ 0 h 2820"/>
                  <a:gd name="T2" fmla="*/ 0 w 5187"/>
                  <a:gd name="T3" fmla="*/ 195 h 2820"/>
                  <a:gd name="T4" fmla="*/ 116 w 5187"/>
                  <a:gd name="T5" fmla="*/ 2820 h 2820"/>
                  <a:gd name="T6" fmla="*/ 2594 w 5187"/>
                  <a:gd name="T7" fmla="*/ 2613 h 2820"/>
                  <a:gd name="T8" fmla="*/ 2486 w 5187"/>
                  <a:gd name="T9" fmla="*/ 0 h 2820"/>
                  <a:gd name="T10" fmla="*/ 0 60000 65536"/>
                  <a:gd name="T11" fmla="*/ 0 60000 65536"/>
                  <a:gd name="T12" fmla="*/ 0 60000 65536"/>
                  <a:gd name="T13" fmla="*/ 0 60000 65536"/>
                  <a:gd name="T14" fmla="*/ 0 60000 65536"/>
                  <a:gd name="T15" fmla="*/ 0 w 5187"/>
                  <a:gd name="T16" fmla="*/ 0 h 2820"/>
                  <a:gd name="T17" fmla="*/ 5187 w 5187"/>
                  <a:gd name="T18" fmla="*/ 2820 h 2820"/>
                </a:gdLst>
                <a:ahLst/>
                <a:cxnLst>
                  <a:cxn ang="T10">
                    <a:pos x="T0" y="T1"/>
                  </a:cxn>
                  <a:cxn ang="T11">
                    <a:pos x="T2" y="T3"/>
                  </a:cxn>
                  <a:cxn ang="T12">
                    <a:pos x="T4" y="T5"/>
                  </a:cxn>
                  <a:cxn ang="T13">
                    <a:pos x="T6" y="T7"/>
                  </a:cxn>
                  <a:cxn ang="T14">
                    <a:pos x="T8" y="T9"/>
                  </a:cxn>
                </a:cxnLst>
                <a:rect l="T15" t="T16" r="T17" b="T18"/>
                <a:pathLst>
                  <a:path w="5187" h="2820">
                    <a:moveTo>
                      <a:pt x="4971" y="0"/>
                    </a:moveTo>
                    <a:lnTo>
                      <a:pt x="0" y="195"/>
                    </a:lnTo>
                    <a:lnTo>
                      <a:pt x="231" y="2820"/>
                    </a:lnTo>
                    <a:lnTo>
                      <a:pt x="5187" y="2613"/>
                    </a:lnTo>
                    <a:lnTo>
                      <a:pt x="4971" y="0"/>
                    </a:lnTo>
                    <a:close/>
                  </a:path>
                </a:pathLst>
              </a:custGeom>
              <a:solidFill>
                <a:srgbClr val="80808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20" name="Rectangle 7"/>
              <p:cNvSpPr>
                <a:spLocks noChangeArrowheads="1"/>
              </p:cNvSpPr>
              <p:nvPr/>
            </p:nvSpPr>
            <p:spPr bwMode="gray">
              <a:xfrm flipV="1">
                <a:off x="2166004" y="3882779"/>
                <a:ext cx="1694735" cy="1891113"/>
              </a:xfrm>
              <a:prstGeom prst="rect">
                <a:avLst/>
              </a:prstGeom>
              <a:solidFill>
                <a:srgbClr val="FFFFFF"/>
              </a:solidFill>
              <a:ln w="12700">
                <a:solidFill>
                  <a:srgbClr val="808080"/>
                </a:solidFill>
                <a:miter lim="800000"/>
              </a:ln>
            </p:spPr>
            <p:txBody>
              <a:bodyPr rot="10800000"/>
              <a:lstStyle/>
              <a:p>
                <a:pPr marL="0" marR="0" lvl="0" indent="0" algn="ctr" defTabSz="914400" rtl="0" eaLnBrk="1" fontAlgn="auto" latinLnBrk="0" hangingPunct="1">
                  <a:lnSpc>
                    <a:spcPct val="90000"/>
                  </a:lnSpc>
                  <a:spcBef>
                    <a:spcPts val="1200"/>
                  </a:spcBef>
                  <a:spcAft>
                    <a:spcPts val="0"/>
                  </a:spcAft>
                  <a:buClr>
                    <a:srgbClr val="808080"/>
                  </a:buClr>
                  <a:buSzTx/>
                  <a:buFontTx/>
                  <a:buNone/>
                  <a:defRPr/>
                </a:pPr>
                <a:r>
                  <a:rPr kumimoji="0" lang="en-US" altLang="zh-CN"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rPr>
                  <a:t> </a:t>
                </a: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21" name="矩形 220"/>
              <p:cNvSpPr/>
              <p:nvPr/>
            </p:nvSpPr>
            <p:spPr>
              <a:xfrm>
                <a:off x="2218871" y="3971310"/>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2" name="矩形 221"/>
              <p:cNvSpPr/>
              <p:nvPr/>
            </p:nvSpPr>
            <p:spPr>
              <a:xfrm>
                <a:off x="2218871" y="428390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3" name="矩形 222"/>
              <p:cNvSpPr/>
              <p:nvPr/>
            </p:nvSpPr>
            <p:spPr>
              <a:xfrm>
                <a:off x="2218871" y="459649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24" name="矩形 223"/>
              <p:cNvSpPr/>
              <p:nvPr/>
            </p:nvSpPr>
            <p:spPr>
              <a:xfrm>
                <a:off x="2218871" y="490908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225" name="直接连接符 224"/>
              <p:cNvCxnSpPr/>
              <p:nvPr/>
            </p:nvCxnSpPr>
            <p:spPr>
              <a:xfrm>
                <a:off x="2271371" y="4261082"/>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26" name="直接连接符 225"/>
              <p:cNvCxnSpPr/>
              <p:nvPr/>
            </p:nvCxnSpPr>
            <p:spPr>
              <a:xfrm>
                <a:off x="2271371" y="4573673"/>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27" name="直接连接符 226"/>
              <p:cNvCxnSpPr/>
              <p:nvPr/>
            </p:nvCxnSpPr>
            <p:spPr>
              <a:xfrm>
                <a:off x="2271371" y="4886264"/>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28" name="直接连接符 227"/>
              <p:cNvCxnSpPr/>
              <p:nvPr/>
            </p:nvCxnSpPr>
            <p:spPr>
              <a:xfrm>
                <a:off x="2271371" y="5179227"/>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29" name="矩形 228"/>
              <p:cNvSpPr/>
              <p:nvPr/>
            </p:nvSpPr>
            <p:spPr>
              <a:xfrm>
                <a:off x="2218871" y="520796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230" name="直接连接符 229"/>
              <p:cNvCxnSpPr/>
              <p:nvPr/>
            </p:nvCxnSpPr>
            <p:spPr>
              <a:xfrm>
                <a:off x="2271371" y="5439639"/>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31" name="矩形 230"/>
              <p:cNvSpPr/>
              <p:nvPr/>
            </p:nvSpPr>
            <p:spPr>
              <a:xfrm>
                <a:off x="2218871" y="5468374"/>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grpSp>
          <p:nvGrpSpPr>
            <p:cNvPr id="170" name="组合 169"/>
            <p:cNvGrpSpPr/>
            <p:nvPr/>
          </p:nvGrpSpPr>
          <p:grpSpPr>
            <a:xfrm>
              <a:off x="6518590" y="3226998"/>
              <a:ext cx="1582070" cy="1848186"/>
              <a:chOff x="2088104" y="3811263"/>
              <a:chExt cx="1841640" cy="2041130"/>
            </a:xfrm>
          </p:grpSpPr>
          <p:sp>
            <p:nvSpPr>
              <p:cNvPr id="171" name="Freeform 5"/>
              <p:cNvSpPr/>
              <p:nvPr/>
            </p:nvSpPr>
            <p:spPr bwMode="gray">
              <a:xfrm flipV="1">
                <a:off x="2088104" y="3811263"/>
                <a:ext cx="1841640" cy="2009998"/>
              </a:xfrm>
              <a:custGeom>
                <a:avLst/>
                <a:gdLst>
                  <a:gd name="T0" fmla="*/ 108 w 5188"/>
                  <a:gd name="T1" fmla="*/ 0 h 2818"/>
                  <a:gd name="T2" fmla="*/ 2594 w 5188"/>
                  <a:gd name="T3" fmla="*/ 194 h 2818"/>
                  <a:gd name="T4" fmla="*/ 2478 w 5188"/>
                  <a:gd name="T5" fmla="*/ 2818 h 2818"/>
                  <a:gd name="T6" fmla="*/ 0 w 5188"/>
                  <a:gd name="T7" fmla="*/ 2612 h 2818"/>
                  <a:gd name="T8" fmla="*/ 108 w 5188"/>
                  <a:gd name="T9" fmla="*/ 0 h 2818"/>
                  <a:gd name="T10" fmla="*/ 0 60000 65536"/>
                  <a:gd name="T11" fmla="*/ 0 60000 65536"/>
                  <a:gd name="T12" fmla="*/ 0 60000 65536"/>
                  <a:gd name="T13" fmla="*/ 0 60000 65536"/>
                  <a:gd name="T14" fmla="*/ 0 60000 65536"/>
                  <a:gd name="T15" fmla="*/ 0 w 5188"/>
                  <a:gd name="T16" fmla="*/ 0 h 2818"/>
                  <a:gd name="T17" fmla="*/ 5188 w 5188"/>
                  <a:gd name="T18" fmla="*/ 2818 h 2818"/>
                </a:gdLst>
                <a:ahLst/>
                <a:cxnLst>
                  <a:cxn ang="T10">
                    <a:pos x="T0" y="T1"/>
                  </a:cxn>
                  <a:cxn ang="T11">
                    <a:pos x="T2" y="T3"/>
                  </a:cxn>
                  <a:cxn ang="T12">
                    <a:pos x="T4" y="T5"/>
                  </a:cxn>
                  <a:cxn ang="T13">
                    <a:pos x="T6" y="T7"/>
                  </a:cxn>
                  <a:cxn ang="T14">
                    <a:pos x="T8" y="T9"/>
                  </a:cxn>
                </a:cxnLst>
                <a:rect l="T15" t="T16" r="T17" b="T18"/>
                <a:pathLst>
                  <a:path w="5188" h="2818">
                    <a:moveTo>
                      <a:pt x="216" y="0"/>
                    </a:moveTo>
                    <a:lnTo>
                      <a:pt x="5188" y="194"/>
                    </a:lnTo>
                    <a:lnTo>
                      <a:pt x="4956" y="2818"/>
                    </a:lnTo>
                    <a:lnTo>
                      <a:pt x="0" y="2612"/>
                    </a:lnTo>
                    <a:lnTo>
                      <a:pt x="216" y="0"/>
                    </a:lnTo>
                    <a:close/>
                  </a:path>
                </a:pathLst>
              </a:custGeom>
              <a:solidFill>
                <a:srgbClr val="C0C0C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72" name="Freeform 6"/>
              <p:cNvSpPr/>
              <p:nvPr/>
            </p:nvSpPr>
            <p:spPr bwMode="gray">
              <a:xfrm flipV="1">
                <a:off x="2123584" y="3823889"/>
                <a:ext cx="1774785" cy="2028504"/>
              </a:xfrm>
              <a:custGeom>
                <a:avLst/>
                <a:gdLst>
                  <a:gd name="T0" fmla="*/ 2486 w 5187"/>
                  <a:gd name="T1" fmla="*/ 0 h 2820"/>
                  <a:gd name="T2" fmla="*/ 0 w 5187"/>
                  <a:gd name="T3" fmla="*/ 195 h 2820"/>
                  <a:gd name="T4" fmla="*/ 116 w 5187"/>
                  <a:gd name="T5" fmla="*/ 2820 h 2820"/>
                  <a:gd name="T6" fmla="*/ 2594 w 5187"/>
                  <a:gd name="T7" fmla="*/ 2613 h 2820"/>
                  <a:gd name="T8" fmla="*/ 2486 w 5187"/>
                  <a:gd name="T9" fmla="*/ 0 h 2820"/>
                  <a:gd name="T10" fmla="*/ 0 60000 65536"/>
                  <a:gd name="T11" fmla="*/ 0 60000 65536"/>
                  <a:gd name="T12" fmla="*/ 0 60000 65536"/>
                  <a:gd name="T13" fmla="*/ 0 60000 65536"/>
                  <a:gd name="T14" fmla="*/ 0 60000 65536"/>
                  <a:gd name="T15" fmla="*/ 0 w 5187"/>
                  <a:gd name="T16" fmla="*/ 0 h 2820"/>
                  <a:gd name="T17" fmla="*/ 5187 w 5187"/>
                  <a:gd name="T18" fmla="*/ 2820 h 2820"/>
                </a:gdLst>
                <a:ahLst/>
                <a:cxnLst>
                  <a:cxn ang="T10">
                    <a:pos x="T0" y="T1"/>
                  </a:cxn>
                  <a:cxn ang="T11">
                    <a:pos x="T2" y="T3"/>
                  </a:cxn>
                  <a:cxn ang="T12">
                    <a:pos x="T4" y="T5"/>
                  </a:cxn>
                  <a:cxn ang="T13">
                    <a:pos x="T6" y="T7"/>
                  </a:cxn>
                  <a:cxn ang="T14">
                    <a:pos x="T8" y="T9"/>
                  </a:cxn>
                </a:cxnLst>
                <a:rect l="T15" t="T16" r="T17" b="T18"/>
                <a:pathLst>
                  <a:path w="5187" h="2820">
                    <a:moveTo>
                      <a:pt x="4971" y="0"/>
                    </a:moveTo>
                    <a:lnTo>
                      <a:pt x="0" y="195"/>
                    </a:lnTo>
                    <a:lnTo>
                      <a:pt x="231" y="2820"/>
                    </a:lnTo>
                    <a:lnTo>
                      <a:pt x="5187" y="2613"/>
                    </a:lnTo>
                    <a:lnTo>
                      <a:pt x="4971" y="0"/>
                    </a:lnTo>
                    <a:close/>
                  </a:path>
                </a:pathLst>
              </a:custGeom>
              <a:solidFill>
                <a:srgbClr val="80808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73" name="Rectangle 7"/>
              <p:cNvSpPr>
                <a:spLocks noChangeArrowheads="1"/>
              </p:cNvSpPr>
              <p:nvPr/>
            </p:nvSpPr>
            <p:spPr bwMode="gray">
              <a:xfrm flipV="1">
                <a:off x="2166004" y="3882779"/>
                <a:ext cx="1694735" cy="1891113"/>
              </a:xfrm>
              <a:prstGeom prst="rect">
                <a:avLst/>
              </a:prstGeom>
              <a:solidFill>
                <a:srgbClr val="FFFFFF"/>
              </a:solidFill>
              <a:ln w="12700">
                <a:solidFill>
                  <a:srgbClr val="808080"/>
                </a:solidFill>
                <a:miter lim="800000"/>
              </a:ln>
            </p:spPr>
            <p:txBody>
              <a:bodyPr rot="10800000"/>
              <a:lstStyle/>
              <a:p>
                <a:pPr marL="0" marR="0" lvl="0" indent="0" algn="ctr" defTabSz="914400" rtl="0" eaLnBrk="1" fontAlgn="auto" latinLnBrk="0" hangingPunct="1">
                  <a:lnSpc>
                    <a:spcPct val="90000"/>
                  </a:lnSpc>
                  <a:spcBef>
                    <a:spcPts val="1200"/>
                  </a:spcBef>
                  <a:spcAft>
                    <a:spcPts val="0"/>
                  </a:spcAft>
                  <a:buClr>
                    <a:srgbClr val="808080"/>
                  </a:buClr>
                  <a:buSzTx/>
                  <a:buFontTx/>
                  <a:buNone/>
                  <a:defRPr/>
                </a:pPr>
                <a:r>
                  <a:rPr kumimoji="0" lang="en-US" altLang="zh-CN"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rPr>
                  <a:t> </a:t>
                </a: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174" name="矩形 173"/>
              <p:cNvSpPr/>
              <p:nvPr/>
            </p:nvSpPr>
            <p:spPr>
              <a:xfrm>
                <a:off x="2218871" y="3971310"/>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75" name="矩形 174"/>
              <p:cNvSpPr/>
              <p:nvPr/>
            </p:nvSpPr>
            <p:spPr>
              <a:xfrm>
                <a:off x="2218871" y="428390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76" name="矩形 175"/>
              <p:cNvSpPr/>
              <p:nvPr/>
            </p:nvSpPr>
            <p:spPr>
              <a:xfrm>
                <a:off x="2218871" y="459649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77" name="矩形 176"/>
              <p:cNvSpPr/>
              <p:nvPr/>
            </p:nvSpPr>
            <p:spPr>
              <a:xfrm>
                <a:off x="2218871" y="490908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178" name="直接连接符 177"/>
              <p:cNvCxnSpPr/>
              <p:nvPr/>
            </p:nvCxnSpPr>
            <p:spPr>
              <a:xfrm>
                <a:off x="2271371" y="4261082"/>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79" name="直接连接符 178"/>
              <p:cNvCxnSpPr/>
              <p:nvPr/>
            </p:nvCxnSpPr>
            <p:spPr>
              <a:xfrm>
                <a:off x="2271371" y="4573673"/>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80" name="直接连接符 179"/>
              <p:cNvCxnSpPr/>
              <p:nvPr/>
            </p:nvCxnSpPr>
            <p:spPr>
              <a:xfrm>
                <a:off x="2271371" y="4886264"/>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81" name="直接连接符 180"/>
              <p:cNvCxnSpPr/>
              <p:nvPr/>
            </p:nvCxnSpPr>
            <p:spPr>
              <a:xfrm>
                <a:off x="2271371" y="5179227"/>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82" name="矩形 181"/>
              <p:cNvSpPr/>
              <p:nvPr/>
            </p:nvSpPr>
            <p:spPr>
              <a:xfrm>
                <a:off x="2218871" y="520796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183" name="直接连接符 182"/>
              <p:cNvCxnSpPr/>
              <p:nvPr/>
            </p:nvCxnSpPr>
            <p:spPr>
              <a:xfrm>
                <a:off x="2271371" y="5439639"/>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84" name="矩形 183"/>
              <p:cNvSpPr/>
              <p:nvPr/>
            </p:nvSpPr>
            <p:spPr>
              <a:xfrm>
                <a:off x="2218871" y="5468374"/>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grpSp>
      <p:grpSp>
        <p:nvGrpSpPr>
          <p:cNvPr id="285" name="组合 284"/>
          <p:cNvGrpSpPr/>
          <p:nvPr/>
        </p:nvGrpSpPr>
        <p:grpSpPr>
          <a:xfrm>
            <a:off x="7777424" y="4419600"/>
            <a:ext cx="3145972" cy="1724966"/>
            <a:chOff x="9949543" y="3156857"/>
            <a:chExt cx="3145972" cy="1981200"/>
          </a:xfrm>
        </p:grpSpPr>
        <p:sp>
          <p:nvSpPr>
            <p:cNvPr id="267" name="矩形 266"/>
            <p:cNvSpPr/>
            <p:nvPr/>
          </p:nvSpPr>
          <p:spPr>
            <a:xfrm>
              <a:off x="9949543" y="3156857"/>
              <a:ext cx="3145972" cy="1981200"/>
            </a:xfrm>
            <a:prstGeom prst="rect">
              <a:avLst/>
            </a:prstGeom>
            <a:solidFill>
              <a:schemeClr val="bg1"/>
            </a:solidFill>
            <a:ln w="12700">
              <a:solidFill>
                <a:schemeClr val="bg1">
                  <a:lumMod val="50000"/>
                </a:schemeClr>
              </a:solidFill>
              <a:prstDash val="solid"/>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kumimoji="1" lang="zh-CN" altLang="en-US"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nvGrpSpPr>
            <p:cNvPr id="252" name="组合 251"/>
            <p:cNvGrpSpPr/>
            <p:nvPr/>
          </p:nvGrpSpPr>
          <p:grpSpPr>
            <a:xfrm>
              <a:off x="11400965" y="3226998"/>
              <a:ext cx="1582070" cy="1848186"/>
              <a:chOff x="2088104" y="3811263"/>
              <a:chExt cx="1841640" cy="2041130"/>
            </a:xfrm>
          </p:grpSpPr>
          <p:sp>
            <p:nvSpPr>
              <p:cNvPr id="253" name="Freeform 5"/>
              <p:cNvSpPr/>
              <p:nvPr/>
            </p:nvSpPr>
            <p:spPr bwMode="gray">
              <a:xfrm flipV="1">
                <a:off x="2088104" y="3811263"/>
                <a:ext cx="1841640" cy="2009998"/>
              </a:xfrm>
              <a:custGeom>
                <a:avLst/>
                <a:gdLst>
                  <a:gd name="T0" fmla="*/ 108 w 5188"/>
                  <a:gd name="T1" fmla="*/ 0 h 2818"/>
                  <a:gd name="T2" fmla="*/ 2594 w 5188"/>
                  <a:gd name="T3" fmla="*/ 194 h 2818"/>
                  <a:gd name="T4" fmla="*/ 2478 w 5188"/>
                  <a:gd name="T5" fmla="*/ 2818 h 2818"/>
                  <a:gd name="T6" fmla="*/ 0 w 5188"/>
                  <a:gd name="T7" fmla="*/ 2612 h 2818"/>
                  <a:gd name="T8" fmla="*/ 108 w 5188"/>
                  <a:gd name="T9" fmla="*/ 0 h 2818"/>
                  <a:gd name="T10" fmla="*/ 0 60000 65536"/>
                  <a:gd name="T11" fmla="*/ 0 60000 65536"/>
                  <a:gd name="T12" fmla="*/ 0 60000 65536"/>
                  <a:gd name="T13" fmla="*/ 0 60000 65536"/>
                  <a:gd name="T14" fmla="*/ 0 60000 65536"/>
                  <a:gd name="T15" fmla="*/ 0 w 5188"/>
                  <a:gd name="T16" fmla="*/ 0 h 2818"/>
                  <a:gd name="T17" fmla="*/ 5188 w 5188"/>
                  <a:gd name="T18" fmla="*/ 2818 h 2818"/>
                </a:gdLst>
                <a:ahLst/>
                <a:cxnLst>
                  <a:cxn ang="T10">
                    <a:pos x="T0" y="T1"/>
                  </a:cxn>
                  <a:cxn ang="T11">
                    <a:pos x="T2" y="T3"/>
                  </a:cxn>
                  <a:cxn ang="T12">
                    <a:pos x="T4" y="T5"/>
                  </a:cxn>
                  <a:cxn ang="T13">
                    <a:pos x="T6" y="T7"/>
                  </a:cxn>
                  <a:cxn ang="T14">
                    <a:pos x="T8" y="T9"/>
                  </a:cxn>
                </a:cxnLst>
                <a:rect l="T15" t="T16" r="T17" b="T18"/>
                <a:pathLst>
                  <a:path w="5188" h="2818">
                    <a:moveTo>
                      <a:pt x="216" y="0"/>
                    </a:moveTo>
                    <a:lnTo>
                      <a:pt x="5188" y="194"/>
                    </a:lnTo>
                    <a:lnTo>
                      <a:pt x="4956" y="2818"/>
                    </a:lnTo>
                    <a:lnTo>
                      <a:pt x="0" y="2612"/>
                    </a:lnTo>
                    <a:lnTo>
                      <a:pt x="216" y="0"/>
                    </a:lnTo>
                    <a:close/>
                  </a:path>
                </a:pathLst>
              </a:custGeom>
              <a:solidFill>
                <a:srgbClr val="C0C0C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54" name="Freeform 6"/>
              <p:cNvSpPr/>
              <p:nvPr/>
            </p:nvSpPr>
            <p:spPr bwMode="gray">
              <a:xfrm flipV="1">
                <a:off x="2123584" y="3823889"/>
                <a:ext cx="1774785" cy="2028504"/>
              </a:xfrm>
              <a:custGeom>
                <a:avLst/>
                <a:gdLst>
                  <a:gd name="T0" fmla="*/ 2486 w 5187"/>
                  <a:gd name="T1" fmla="*/ 0 h 2820"/>
                  <a:gd name="T2" fmla="*/ 0 w 5187"/>
                  <a:gd name="T3" fmla="*/ 195 h 2820"/>
                  <a:gd name="T4" fmla="*/ 116 w 5187"/>
                  <a:gd name="T5" fmla="*/ 2820 h 2820"/>
                  <a:gd name="T6" fmla="*/ 2594 w 5187"/>
                  <a:gd name="T7" fmla="*/ 2613 h 2820"/>
                  <a:gd name="T8" fmla="*/ 2486 w 5187"/>
                  <a:gd name="T9" fmla="*/ 0 h 2820"/>
                  <a:gd name="T10" fmla="*/ 0 60000 65536"/>
                  <a:gd name="T11" fmla="*/ 0 60000 65536"/>
                  <a:gd name="T12" fmla="*/ 0 60000 65536"/>
                  <a:gd name="T13" fmla="*/ 0 60000 65536"/>
                  <a:gd name="T14" fmla="*/ 0 60000 65536"/>
                  <a:gd name="T15" fmla="*/ 0 w 5187"/>
                  <a:gd name="T16" fmla="*/ 0 h 2820"/>
                  <a:gd name="T17" fmla="*/ 5187 w 5187"/>
                  <a:gd name="T18" fmla="*/ 2820 h 2820"/>
                </a:gdLst>
                <a:ahLst/>
                <a:cxnLst>
                  <a:cxn ang="T10">
                    <a:pos x="T0" y="T1"/>
                  </a:cxn>
                  <a:cxn ang="T11">
                    <a:pos x="T2" y="T3"/>
                  </a:cxn>
                  <a:cxn ang="T12">
                    <a:pos x="T4" y="T5"/>
                  </a:cxn>
                  <a:cxn ang="T13">
                    <a:pos x="T6" y="T7"/>
                  </a:cxn>
                  <a:cxn ang="T14">
                    <a:pos x="T8" y="T9"/>
                  </a:cxn>
                </a:cxnLst>
                <a:rect l="T15" t="T16" r="T17" b="T18"/>
                <a:pathLst>
                  <a:path w="5187" h="2820">
                    <a:moveTo>
                      <a:pt x="4971" y="0"/>
                    </a:moveTo>
                    <a:lnTo>
                      <a:pt x="0" y="195"/>
                    </a:lnTo>
                    <a:lnTo>
                      <a:pt x="231" y="2820"/>
                    </a:lnTo>
                    <a:lnTo>
                      <a:pt x="5187" y="2613"/>
                    </a:lnTo>
                    <a:lnTo>
                      <a:pt x="4971" y="0"/>
                    </a:lnTo>
                    <a:close/>
                  </a:path>
                </a:pathLst>
              </a:custGeom>
              <a:solidFill>
                <a:srgbClr val="80808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55" name="Rectangle 7"/>
              <p:cNvSpPr>
                <a:spLocks noChangeArrowheads="1"/>
              </p:cNvSpPr>
              <p:nvPr/>
            </p:nvSpPr>
            <p:spPr bwMode="gray">
              <a:xfrm flipV="1">
                <a:off x="2166004" y="3882779"/>
                <a:ext cx="1694735" cy="1891113"/>
              </a:xfrm>
              <a:prstGeom prst="rect">
                <a:avLst/>
              </a:prstGeom>
              <a:solidFill>
                <a:srgbClr val="FFFFFF"/>
              </a:solidFill>
              <a:ln w="12700">
                <a:solidFill>
                  <a:srgbClr val="808080"/>
                </a:solidFill>
                <a:miter lim="800000"/>
              </a:ln>
            </p:spPr>
            <p:txBody>
              <a:bodyPr rot="10800000"/>
              <a:lstStyle/>
              <a:p>
                <a:pPr marL="0" marR="0" lvl="0" indent="0" algn="ctr" defTabSz="914400" rtl="0" eaLnBrk="1" fontAlgn="auto" latinLnBrk="0" hangingPunct="1">
                  <a:lnSpc>
                    <a:spcPct val="90000"/>
                  </a:lnSpc>
                  <a:spcBef>
                    <a:spcPts val="1200"/>
                  </a:spcBef>
                  <a:spcAft>
                    <a:spcPts val="0"/>
                  </a:spcAft>
                  <a:buClr>
                    <a:srgbClr val="808080"/>
                  </a:buClr>
                  <a:buSzTx/>
                  <a:buFontTx/>
                  <a:buNone/>
                  <a:defRPr/>
                </a:pPr>
                <a:r>
                  <a:rPr kumimoji="0" lang="en-US" altLang="zh-CN"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rPr>
                  <a:t> </a:t>
                </a: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56" name="矩形 255"/>
              <p:cNvSpPr/>
              <p:nvPr/>
            </p:nvSpPr>
            <p:spPr>
              <a:xfrm>
                <a:off x="2218871" y="3971310"/>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57" name="矩形 256"/>
              <p:cNvSpPr/>
              <p:nvPr/>
            </p:nvSpPr>
            <p:spPr>
              <a:xfrm>
                <a:off x="2218871" y="428390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58" name="矩形 257"/>
              <p:cNvSpPr/>
              <p:nvPr/>
            </p:nvSpPr>
            <p:spPr>
              <a:xfrm>
                <a:off x="2218871" y="459649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59" name="矩形 258"/>
              <p:cNvSpPr/>
              <p:nvPr/>
            </p:nvSpPr>
            <p:spPr>
              <a:xfrm>
                <a:off x="2218871" y="490908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260" name="直接连接符 259"/>
              <p:cNvCxnSpPr/>
              <p:nvPr/>
            </p:nvCxnSpPr>
            <p:spPr>
              <a:xfrm>
                <a:off x="2271371" y="4261082"/>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61" name="直接连接符 260"/>
              <p:cNvCxnSpPr/>
              <p:nvPr/>
            </p:nvCxnSpPr>
            <p:spPr>
              <a:xfrm>
                <a:off x="2271371" y="4573673"/>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62" name="直接连接符 261"/>
              <p:cNvCxnSpPr/>
              <p:nvPr/>
            </p:nvCxnSpPr>
            <p:spPr>
              <a:xfrm>
                <a:off x="2271371" y="4886264"/>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63" name="直接连接符 262"/>
              <p:cNvCxnSpPr/>
              <p:nvPr/>
            </p:nvCxnSpPr>
            <p:spPr>
              <a:xfrm>
                <a:off x="2271371" y="5179227"/>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64" name="矩形 263"/>
              <p:cNvSpPr/>
              <p:nvPr/>
            </p:nvSpPr>
            <p:spPr>
              <a:xfrm>
                <a:off x="2218871" y="520796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265" name="直接连接符 264"/>
              <p:cNvCxnSpPr/>
              <p:nvPr/>
            </p:nvCxnSpPr>
            <p:spPr>
              <a:xfrm>
                <a:off x="2271371" y="5439639"/>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66" name="矩形 265"/>
              <p:cNvSpPr/>
              <p:nvPr/>
            </p:nvSpPr>
            <p:spPr>
              <a:xfrm>
                <a:off x="2218871" y="5468374"/>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grpSp>
          <p:nvGrpSpPr>
            <p:cNvPr id="237" name="组合 236"/>
            <p:cNvGrpSpPr/>
            <p:nvPr/>
          </p:nvGrpSpPr>
          <p:grpSpPr>
            <a:xfrm>
              <a:off x="10067333" y="3226998"/>
              <a:ext cx="1582070" cy="1848186"/>
              <a:chOff x="2088104" y="3811263"/>
              <a:chExt cx="1841640" cy="2041130"/>
            </a:xfrm>
          </p:grpSpPr>
          <p:sp>
            <p:nvSpPr>
              <p:cNvPr id="238" name="Freeform 5"/>
              <p:cNvSpPr/>
              <p:nvPr/>
            </p:nvSpPr>
            <p:spPr bwMode="gray">
              <a:xfrm flipV="1">
                <a:off x="2088104" y="3811263"/>
                <a:ext cx="1841640" cy="2009998"/>
              </a:xfrm>
              <a:custGeom>
                <a:avLst/>
                <a:gdLst>
                  <a:gd name="T0" fmla="*/ 108 w 5188"/>
                  <a:gd name="T1" fmla="*/ 0 h 2818"/>
                  <a:gd name="T2" fmla="*/ 2594 w 5188"/>
                  <a:gd name="T3" fmla="*/ 194 h 2818"/>
                  <a:gd name="T4" fmla="*/ 2478 w 5188"/>
                  <a:gd name="T5" fmla="*/ 2818 h 2818"/>
                  <a:gd name="T6" fmla="*/ 0 w 5188"/>
                  <a:gd name="T7" fmla="*/ 2612 h 2818"/>
                  <a:gd name="T8" fmla="*/ 108 w 5188"/>
                  <a:gd name="T9" fmla="*/ 0 h 2818"/>
                  <a:gd name="T10" fmla="*/ 0 60000 65536"/>
                  <a:gd name="T11" fmla="*/ 0 60000 65536"/>
                  <a:gd name="T12" fmla="*/ 0 60000 65536"/>
                  <a:gd name="T13" fmla="*/ 0 60000 65536"/>
                  <a:gd name="T14" fmla="*/ 0 60000 65536"/>
                  <a:gd name="T15" fmla="*/ 0 w 5188"/>
                  <a:gd name="T16" fmla="*/ 0 h 2818"/>
                  <a:gd name="T17" fmla="*/ 5188 w 5188"/>
                  <a:gd name="T18" fmla="*/ 2818 h 2818"/>
                </a:gdLst>
                <a:ahLst/>
                <a:cxnLst>
                  <a:cxn ang="T10">
                    <a:pos x="T0" y="T1"/>
                  </a:cxn>
                  <a:cxn ang="T11">
                    <a:pos x="T2" y="T3"/>
                  </a:cxn>
                  <a:cxn ang="T12">
                    <a:pos x="T4" y="T5"/>
                  </a:cxn>
                  <a:cxn ang="T13">
                    <a:pos x="T6" y="T7"/>
                  </a:cxn>
                  <a:cxn ang="T14">
                    <a:pos x="T8" y="T9"/>
                  </a:cxn>
                </a:cxnLst>
                <a:rect l="T15" t="T16" r="T17" b="T18"/>
                <a:pathLst>
                  <a:path w="5188" h="2818">
                    <a:moveTo>
                      <a:pt x="216" y="0"/>
                    </a:moveTo>
                    <a:lnTo>
                      <a:pt x="5188" y="194"/>
                    </a:lnTo>
                    <a:lnTo>
                      <a:pt x="4956" y="2818"/>
                    </a:lnTo>
                    <a:lnTo>
                      <a:pt x="0" y="2612"/>
                    </a:lnTo>
                    <a:lnTo>
                      <a:pt x="216" y="0"/>
                    </a:lnTo>
                    <a:close/>
                  </a:path>
                </a:pathLst>
              </a:custGeom>
              <a:solidFill>
                <a:srgbClr val="C0C0C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39" name="Freeform 6"/>
              <p:cNvSpPr/>
              <p:nvPr/>
            </p:nvSpPr>
            <p:spPr bwMode="gray">
              <a:xfrm flipV="1">
                <a:off x="2123584" y="3823889"/>
                <a:ext cx="1774785" cy="2028504"/>
              </a:xfrm>
              <a:custGeom>
                <a:avLst/>
                <a:gdLst>
                  <a:gd name="T0" fmla="*/ 2486 w 5187"/>
                  <a:gd name="T1" fmla="*/ 0 h 2820"/>
                  <a:gd name="T2" fmla="*/ 0 w 5187"/>
                  <a:gd name="T3" fmla="*/ 195 h 2820"/>
                  <a:gd name="T4" fmla="*/ 116 w 5187"/>
                  <a:gd name="T5" fmla="*/ 2820 h 2820"/>
                  <a:gd name="T6" fmla="*/ 2594 w 5187"/>
                  <a:gd name="T7" fmla="*/ 2613 h 2820"/>
                  <a:gd name="T8" fmla="*/ 2486 w 5187"/>
                  <a:gd name="T9" fmla="*/ 0 h 2820"/>
                  <a:gd name="T10" fmla="*/ 0 60000 65536"/>
                  <a:gd name="T11" fmla="*/ 0 60000 65536"/>
                  <a:gd name="T12" fmla="*/ 0 60000 65536"/>
                  <a:gd name="T13" fmla="*/ 0 60000 65536"/>
                  <a:gd name="T14" fmla="*/ 0 60000 65536"/>
                  <a:gd name="T15" fmla="*/ 0 w 5187"/>
                  <a:gd name="T16" fmla="*/ 0 h 2820"/>
                  <a:gd name="T17" fmla="*/ 5187 w 5187"/>
                  <a:gd name="T18" fmla="*/ 2820 h 2820"/>
                </a:gdLst>
                <a:ahLst/>
                <a:cxnLst>
                  <a:cxn ang="T10">
                    <a:pos x="T0" y="T1"/>
                  </a:cxn>
                  <a:cxn ang="T11">
                    <a:pos x="T2" y="T3"/>
                  </a:cxn>
                  <a:cxn ang="T12">
                    <a:pos x="T4" y="T5"/>
                  </a:cxn>
                  <a:cxn ang="T13">
                    <a:pos x="T6" y="T7"/>
                  </a:cxn>
                  <a:cxn ang="T14">
                    <a:pos x="T8" y="T9"/>
                  </a:cxn>
                </a:cxnLst>
                <a:rect l="T15" t="T16" r="T17" b="T18"/>
                <a:pathLst>
                  <a:path w="5187" h="2820">
                    <a:moveTo>
                      <a:pt x="4971" y="0"/>
                    </a:moveTo>
                    <a:lnTo>
                      <a:pt x="0" y="195"/>
                    </a:lnTo>
                    <a:lnTo>
                      <a:pt x="231" y="2820"/>
                    </a:lnTo>
                    <a:lnTo>
                      <a:pt x="5187" y="2613"/>
                    </a:lnTo>
                    <a:lnTo>
                      <a:pt x="4971" y="0"/>
                    </a:lnTo>
                    <a:close/>
                  </a:path>
                </a:pathLst>
              </a:custGeom>
              <a:solidFill>
                <a:srgbClr val="80808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40" name="Rectangle 7"/>
              <p:cNvSpPr>
                <a:spLocks noChangeArrowheads="1"/>
              </p:cNvSpPr>
              <p:nvPr/>
            </p:nvSpPr>
            <p:spPr bwMode="gray">
              <a:xfrm flipV="1">
                <a:off x="2166004" y="3882779"/>
                <a:ext cx="1694735" cy="1891113"/>
              </a:xfrm>
              <a:prstGeom prst="rect">
                <a:avLst/>
              </a:prstGeom>
              <a:solidFill>
                <a:srgbClr val="FFFFFF"/>
              </a:solidFill>
              <a:ln w="12700">
                <a:solidFill>
                  <a:srgbClr val="808080"/>
                </a:solidFill>
                <a:miter lim="800000"/>
              </a:ln>
            </p:spPr>
            <p:txBody>
              <a:bodyPr rot="10800000"/>
              <a:lstStyle/>
              <a:p>
                <a:pPr marL="0" marR="0" lvl="0" indent="0" algn="ctr" defTabSz="914400" rtl="0" eaLnBrk="1" fontAlgn="auto" latinLnBrk="0" hangingPunct="1">
                  <a:lnSpc>
                    <a:spcPct val="90000"/>
                  </a:lnSpc>
                  <a:spcBef>
                    <a:spcPts val="1200"/>
                  </a:spcBef>
                  <a:spcAft>
                    <a:spcPts val="0"/>
                  </a:spcAft>
                  <a:buClr>
                    <a:srgbClr val="808080"/>
                  </a:buClr>
                  <a:buSzTx/>
                  <a:buFontTx/>
                  <a:buNone/>
                  <a:defRPr/>
                </a:pPr>
                <a:r>
                  <a:rPr kumimoji="0" lang="en-US" altLang="zh-CN"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rPr>
                  <a:t> </a:t>
                </a: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41" name="矩形 240"/>
              <p:cNvSpPr/>
              <p:nvPr/>
            </p:nvSpPr>
            <p:spPr>
              <a:xfrm>
                <a:off x="2218871" y="3971310"/>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42" name="矩形 241"/>
              <p:cNvSpPr/>
              <p:nvPr/>
            </p:nvSpPr>
            <p:spPr>
              <a:xfrm>
                <a:off x="2218871" y="428390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43" name="矩形 242"/>
              <p:cNvSpPr/>
              <p:nvPr/>
            </p:nvSpPr>
            <p:spPr>
              <a:xfrm>
                <a:off x="2218871" y="459649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44" name="矩形 243"/>
              <p:cNvSpPr/>
              <p:nvPr/>
            </p:nvSpPr>
            <p:spPr>
              <a:xfrm>
                <a:off x="2218871" y="490908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245" name="直接连接符 244"/>
              <p:cNvCxnSpPr/>
              <p:nvPr/>
            </p:nvCxnSpPr>
            <p:spPr>
              <a:xfrm>
                <a:off x="2271371" y="4261082"/>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46" name="直接连接符 245"/>
              <p:cNvCxnSpPr/>
              <p:nvPr/>
            </p:nvCxnSpPr>
            <p:spPr>
              <a:xfrm>
                <a:off x="2271371" y="4573673"/>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47" name="直接连接符 246"/>
              <p:cNvCxnSpPr/>
              <p:nvPr/>
            </p:nvCxnSpPr>
            <p:spPr>
              <a:xfrm>
                <a:off x="2271371" y="4886264"/>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48" name="直接连接符 247"/>
              <p:cNvCxnSpPr/>
              <p:nvPr/>
            </p:nvCxnSpPr>
            <p:spPr>
              <a:xfrm>
                <a:off x="2271371" y="5179227"/>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49" name="矩形 248"/>
              <p:cNvSpPr/>
              <p:nvPr/>
            </p:nvSpPr>
            <p:spPr>
              <a:xfrm>
                <a:off x="2218871" y="520796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250" name="直接连接符 249"/>
              <p:cNvCxnSpPr/>
              <p:nvPr/>
            </p:nvCxnSpPr>
            <p:spPr>
              <a:xfrm>
                <a:off x="2271371" y="5439639"/>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51" name="矩形 250"/>
              <p:cNvSpPr/>
              <p:nvPr/>
            </p:nvSpPr>
            <p:spPr>
              <a:xfrm>
                <a:off x="2218871" y="5468374"/>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grpSp>
      <p:grpSp>
        <p:nvGrpSpPr>
          <p:cNvPr id="269" name="组合 268"/>
          <p:cNvGrpSpPr/>
          <p:nvPr/>
        </p:nvGrpSpPr>
        <p:grpSpPr>
          <a:xfrm>
            <a:off x="10118399" y="903513"/>
            <a:ext cx="1582070" cy="1709058"/>
            <a:chOff x="2088104" y="3811263"/>
            <a:chExt cx="1841640" cy="2041130"/>
          </a:xfrm>
        </p:grpSpPr>
        <p:sp>
          <p:nvSpPr>
            <p:cNvPr id="270" name="Freeform 5"/>
            <p:cNvSpPr/>
            <p:nvPr/>
          </p:nvSpPr>
          <p:spPr bwMode="gray">
            <a:xfrm flipV="1">
              <a:off x="2088104" y="3811263"/>
              <a:ext cx="1841640" cy="2009998"/>
            </a:xfrm>
            <a:custGeom>
              <a:avLst/>
              <a:gdLst>
                <a:gd name="T0" fmla="*/ 108 w 5188"/>
                <a:gd name="T1" fmla="*/ 0 h 2818"/>
                <a:gd name="T2" fmla="*/ 2594 w 5188"/>
                <a:gd name="T3" fmla="*/ 194 h 2818"/>
                <a:gd name="T4" fmla="*/ 2478 w 5188"/>
                <a:gd name="T5" fmla="*/ 2818 h 2818"/>
                <a:gd name="T6" fmla="*/ 0 w 5188"/>
                <a:gd name="T7" fmla="*/ 2612 h 2818"/>
                <a:gd name="T8" fmla="*/ 108 w 5188"/>
                <a:gd name="T9" fmla="*/ 0 h 2818"/>
                <a:gd name="T10" fmla="*/ 0 60000 65536"/>
                <a:gd name="T11" fmla="*/ 0 60000 65536"/>
                <a:gd name="T12" fmla="*/ 0 60000 65536"/>
                <a:gd name="T13" fmla="*/ 0 60000 65536"/>
                <a:gd name="T14" fmla="*/ 0 60000 65536"/>
                <a:gd name="T15" fmla="*/ 0 w 5188"/>
                <a:gd name="T16" fmla="*/ 0 h 2818"/>
                <a:gd name="T17" fmla="*/ 5188 w 5188"/>
                <a:gd name="T18" fmla="*/ 2818 h 2818"/>
              </a:gdLst>
              <a:ahLst/>
              <a:cxnLst>
                <a:cxn ang="T10">
                  <a:pos x="T0" y="T1"/>
                </a:cxn>
                <a:cxn ang="T11">
                  <a:pos x="T2" y="T3"/>
                </a:cxn>
                <a:cxn ang="T12">
                  <a:pos x="T4" y="T5"/>
                </a:cxn>
                <a:cxn ang="T13">
                  <a:pos x="T6" y="T7"/>
                </a:cxn>
                <a:cxn ang="T14">
                  <a:pos x="T8" y="T9"/>
                </a:cxn>
              </a:cxnLst>
              <a:rect l="T15" t="T16" r="T17" b="T18"/>
              <a:pathLst>
                <a:path w="5188" h="2818">
                  <a:moveTo>
                    <a:pt x="216" y="0"/>
                  </a:moveTo>
                  <a:lnTo>
                    <a:pt x="5188" y="194"/>
                  </a:lnTo>
                  <a:lnTo>
                    <a:pt x="4956" y="2818"/>
                  </a:lnTo>
                  <a:lnTo>
                    <a:pt x="0" y="2612"/>
                  </a:lnTo>
                  <a:lnTo>
                    <a:pt x="216" y="0"/>
                  </a:lnTo>
                  <a:close/>
                </a:path>
              </a:pathLst>
            </a:custGeom>
            <a:solidFill>
              <a:srgbClr val="C0C0C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71" name="Freeform 6"/>
            <p:cNvSpPr/>
            <p:nvPr/>
          </p:nvSpPr>
          <p:spPr bwMode="gray">
            <a:xfrm flipV="1">
              <a:off x="2123584" y="3823889"/>
              <a:ext cx="1774785" cy="2028504"/>
            </a:xfrm>
            <a:custGeom>
              <a:avLst/>
              <a:gdLst>
                <a:gd name="T0" fmla="*/ 2486 w 5187"/>
                <a:gd name="T1" fmla="*/ 0 h 2820"/>
                <a:gd name="T2" fmla="*/ 0 w 5187"/>
                <a:gd name="T3" fmla="*/ 195 h 2820"/>
                <a:gd name="T4" fmla="*/ 116 w 5187"/>
                <a:gd name="T5" fmla="*/ 2820 h 2820"/>
                <a:gd name="T6" fmla="*/ 2594 w 5187"/>
                <a:gd name="T7" fmla="*/ 2613 h 2820"/>
                <a:gd name="T8" fmla="*/ 2486 w 5187"/>
                <a:gd name="T9" fmla="*/ 0 h 2820"/>
                <a:gd name="T10" fmla="*/ 0 60000 65536"/>
                <a:gd name="T11" fmla="*/ 0 60000 65536"/>
                <a:gd name="T12" fmla="*/ 0 60000 65536"/>
                <a:gd name="T13" fmla="*/ 0 60000 65536"/>
                <a:gd name="T14" fmla="*/ 0 60000 65536"/>
                <a:gd name="T15" fmla="*/ 0 w 5187"/>
                <a:gd name="T16" fmla="*/ 0 h 2820"/>
                <a:gd name="T17" fmla="*/ 5187 w 5187"/>
                <a:gd name="T18" fmla="*/ 2820 h 2820"/>
              </a:gdLst>
              <a:ahLst/>
              <a:cxnLst>
                <a:cxn ang="T10">
                  <a:pos x="T0" y="T1"/>
                </a:cxn>
                <a:cxn ang="T11">
                  <a:pos x="T2" y="T3"/>
                </a:cxn>
                <a:cxn ang="T12">
                  <a:pos x="T4" y="T5"/>
                </a:cxn>
                <a:cxn ang="T13">
                  <a:pos x="T6" y="T7"/>
                </a:cxn>
                <a:cxn ang="T14">
                  <a:pos x="T8" y="T9"/>
                </a:cxn>
              </a:cxnLst>
              <a:rect l="T15" t="T16" r="T17" b="T18"/>
              <a:pathLst>
                <a:path w="5187" h="2820">
                  <a:moveTo>
                    <a:pt x="4971" y="0"/>
                  </a:moveTo>
                  <a:lnTo>
                    <a:pt x="0" y="195"/>
                  </a:lnTo>
                  <a:lnTo>
                    <a:pt x="231" y="2820"/>
                  </a:lnTo>
                  <a:lnTo>
                    <a:pt x="5187" y="2613"/>
                  </a:lnTo>
                  <a:lnTo>
                    <a:pt x="4971" y="0"/>
                  </a:lnTo>
                  <a:close/>
                </a:path>
              </a:pathLst>
            </a:custGeom>
            <a:solidFill>
              <a:srgbClr val="808080"/>
            </a:solidFill>
            <a:ln w="12700">
              <a:noFill/>
              <a:round/>
            </a:ln>
            <a:extLst>
              <a:ext uri="{91240B29-F687-4F45-9708-019B960494DF}">
                <a14:hiddenLine xmlns:a14="http://schemas.microsoft.com/office/drawing/2010/main" w="12700">
                  <a:solidFill>
                    <a:schemeClr val="bg2"/>
                  </a:solidFill>
                  <a:round/>
                </a14:hiddenLine>
              </a:ext>
            </a:extLst>
          </p:spPr>
          <p:txBody>
            <a:bodyPr rot="10800000"/>
            <a:lstStyle/>
            <a:p>
              <a:pPr marL="0" marR="0" lvl="0" indent="0" algn="ctr" defTabSz="914400" rtl="0" eaLnBrk="1" fontAlgn="auto" latinLnBrk="0" hangingPunct="1">
                <a:lnSpc>
                  <a:spcPct val="90000"/>
                </a:lnSpc>
                <a:spcBef>
                  <a:spcPts val="1200"/>
                </a:spcBef>
                <a:spcAft>
                  <a:spcPts val="0"/>
                </a:spcAft>
                <a:buClrTx/>
                <a:buSzTx/>
                <a:buFontTx/>
                <a:buNone/>
                <a:defRPr/>
              </a:pPr>
              <a:endParaRPr kumimoji="0" lang="zh-CN" altLang="en-US" sz="16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72" name="Rectangle 7"/>
            <p:cNvSpPr>
              <a:spLocks noChangeArrowheads="1"/>
            </p:cNvSpPr>
            <p:nvPr/>
          </p:nvSpPr>
          <p:spPr bwMode="gray">
            <a:xfrm flipV="1">
              <a:off x="2166004" y="3882779"/>
              <a:ext cx="1694735" cy="1891113"/>
            </a:xfrm>
            <a:prstGeom prst="rect">
              <a:avLst/>
            </a:prstGeom>
            <a:solidFill>
              <a:srgbClr val="FFFFFF"/>
            </a:solidFill>
            <a:ln w="12700">
              <a:solidFill>
                <a:srgbClr val="808080"/>
              </a:solidFill>
              <a:miter lim="800000"/>
            </a:ln>
          </p:spPr>
          <p:txBody>
            <a:bodyPr rot="10800000"/>
            <a:lstStyle/>
            <a:p>
              <a:pPr marL="0" marR="0" lvl="0" indent="0" algn="ctr" defTabSz="914400" rtl="0" eaLnBrk="1" fontAlgn="auto" latinLnBrk="0" hangingPunct="1">
                <a:lnSpc>
                  <a:spcPct val="90000"/>
                </a:lnSpc>
                <a:spcBef>
                  <a:spcPts val="1200"/>
                </a:spcBef>
                <a:spcAft>
                  <a:spcPts val="0"/>
                </a:spcAft>
                <a:buClr>
                  <a:srgbClr val="808080"/>
                </a:buClr>
                <a:buSzTx/>
                <a:buFontTx/>
                <a:buNone/>
                <a:defRPr/>
              </a:pPr>
              <a:r>
                <a:rPr kumimoji="0" lang="en-US" altLang="zh-CN"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rPr>
                <a:t> </a:t>
              </a:r>
              <a:endParaRPr kumimoji="0" lang="zh-CN" altLang="en-US" sz="1800" b="0" i="0" u="none" strike="noStrike" kern="0" cap="none" spc="0" normalizeH="0" baseline="0" noProof="0" smtClean="0">
                <a:ln>
                  <a:noFill/>
                </a:ln>
                <a:solidFill>
                  <a:srgbClr val="000000"/>
                </a:solidFill>
                <a:effectLst/>
                <a:uLnTx/>
                <a:uFillTx/>
                <a:latin typeface="Arial" panose="020B0604020202020204"/>
                <a:ea typeface="黑体" panose="02010600030101010101" pitchFamily="49" charset="-122"/>
                <a:cs typeface="Arial" panose="020B0604020202020204"/>
                <a:sym typeface="Arial" panose="020B0604020202020204"/>
              </a:endParaRPr>
            </a:p>
          </p:txBody>
        </p:sp>
        <p:sp>
          <p:nvSpPr>
            <p:cNvPr id="273" name="矩形 272"/>
            <p:cNvSpPr/>
            <p:nvPr/>
          </p:nvSpPr>
          <p:spPr>
            <a:xfrm>
              <a:off x="2218871" y="3971310"/>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74" name="矩形 273"/>
            <p:cNvSpPr/>
            <p:nvPr/>
          </p:nvSpPr>
          <p:spPr>
            <a:xfrm>
              <a:off x="2218871" y="4283901"/>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75" name="矩形 274"/>
            <p:cNvSpPr/>
            <p:nvPr/>
          </p:nvSpPr>
          <p:spPr>
            <a:xfrm>
              <a:off x="2218871" y="4596492"/>
              <a:ext cx="1586690" cy="2669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a:solidFill>
                    <a:schemeClr val="accent1">
                      <a:lumMod val="7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2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277" name="直接连接符 276"/>
            <p:cNvCxnSpPr/>
            <p:nvPr/>
          </p:nvCxnSpPr>
          <p:spPr>
            <a:xfrm>
              <a:off x="2271371" y="4297148"/>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78" name="直接连接符 277"/>
            <p:cNvCxnSpPr/>
            <p:nvPr/>
          </p:nvCxnSpPr>
          <p:spPr>
            <a:xfrm>
              <a:off x="2271371" y="4573673"/>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79" name="直接连接符 278"/>
            <p:cNvCxnSpPr/>
            <p:nvPr/>
          </p:nvCxnSpPr>
          <p:spPr>
            <a:xfrm>
              <a:off x="2271371" y="4886264"/>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80" name="直接连接符 279"/>
            <p:cNvCxnSpPr/>
            <p:nvPr/>
          </p:nvCxnSpPr>
          <p:spPr>
            <a:xfrm>
              <a:off x="2271371" y="5179227"/>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82" name="直接连接符 281"/>
            <p:cNvCxnSpPr/>
            <p:nvPr/>
          </p:nvCxnSpPr>
          <p:spPr>
            <a:xfrm>
              <a:off x="2271371" y="5439639"/>
              <a:ext cx="1497171"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grpSp>
      <p:sp>
        <p:nvSpPr>
          <p:cNvPr id="287" name="MH_Other_1"/>
          <p:cNvSpPr/>
          <p:nvPr>
            <p:custDataLst>
              <p:tags r:id="rId8"/>
            </p:custDataLst>
          </p:nvPr>
        </p:nvSpPr>
        <p:spPr>
          <a:xfrm>
            <a:off x="6201884" y="3124773"/>
            <a:ext cx="1705478" cy="556486"/>
          </a:xfrm>
          <a:custGeom>
            <a:avLst/>
            <a:gdLst>
              <a:gd name="connsiteX0" fmla="*/ 2305898 w 4611794"/>
              <a:gd name="connsiteY0" fmla="*/ 176915 h 639232"/>
              <a:gd name="connsiteX1" fmla="*/ 2894395 w 4611794"/>
              <a:gd name="connsiteY1" fmla="*/ 267120 h 639232"/>
              <a:gd name="connsiteX2" fmla="*/ 2305898 w 4611794"/>
              <a:gd name="connsiteY2" fmla="*/ 357325 h 639232"/>
              <a:gd name="connsiteX3" fmla="*/ 1717401 w 4611794"/>
              <a:gd name="connsiteY3" fmla="*/ 267120 h 639232"/>
              <a:gd name="connsiteX4" fmla="*/ 2305898 w 4611794"/>
              <a:gd name="connsiteY4" fmla="*/ 176915 h 639232"/>
              <a:gd name="connsiteX5" fmla="*/ 2305896 w 4611794"/>
              <a:gd name="connsiteY5" fmla="*/ 127061 h 639232"/>
              <a:gd name="connsiteX6" fmla="*/ 1004146 w 4611794"/>
              <a:gd name="connsiteY6" fmla="*/ 283089 h 639232"/>
              <a:gd name="connsiteX7" fmla="*/ 2305896 w 4611794"/>
              <a:gd name="connsiteY7" fmla="*/ 439117 h 639232"/>
              <a:gd name="connsiteX8" fmla="*/ 3607646 w 4611794"/>
              <a:gd name="connsiteY8" fmla="*/ 283089 h 639232"/>
              <a:gd name="connsiteX9" fmla="*/ 2305896 w 4611794"/>
              <a:gd name="connsiteY9" fmla="*/ 127061 h 639232"/>
              <a:gd name="connsiteX10" fmla="*/ 2305897 w 4611794"/>
              <a:gd name="connsiteY10" fmla="*/ 85624 h 639232"/>
              <a:gd name="connsiteX11" fmla="*/ 4116441 w 4611794"/>
              <a:gd name="connsiteY11" fmla="*/ 294807 h 639232"/>
              <a:gd name="connsiteX12" fmla="*/ 2305897 w 4611794"/>
              <a:gd name="connsiteY12" fmla="*/ 503990 h 639232"/>
              <a:gd name="connsiteX13" fmla="*/ 495353 w 4611794"/>
              <a:gd name="connsiteY13" fmla="*/ 294807 h 639232"/>
              <a:gd name="connsiteX14" fmla="*/ 2305897 w 4611794"/>
              <a:gd name="connsiteY14" fmla="*/ 85624 h 639232"/>
              <a:gd name="connsiteX15" fmla="*/ 2305897 w 4611794"/>
              <a:gd name="connsiteY15" fmla="*/ 31880 h 639232"/>
              <a:gd name="connsiteX16" fmla="*/ 184559 w 4611794"/>
              <a:gd name="connsiteY16" fmla="*/ 319548 h 639232"/>
              <a:gd name="connsiteX17" fmla="*/ 2305897 w 4611794"/>
              <a:gd name="connsiteY17" fmla="*/ 607216 h 639232"/>
              <a:gd name="connsiteX18" fmla="*/ 4427235 w 4611794"/>
              <a:gd name="connsiteY18" fmla="*/ 319548 h 639232"/>
              <a:gd name="connsiteX19" fmla="*/ 2305897 w 4611794"/>
              <a:gd name="connsiteY19" fmla="*/ 31880 h 639232"/>
              <a:gd name="connsiteX20" fmla="*/ 2305897 w 4611794"/>
              <a:gd name="connsiteY20" fmla="*/ 0 h 639232"/>
              <a:gd name="connsiteX21" fmla="*/ 4611794 w 4611794"/>
              <a:gd name="connsiteY21" fmla="*/ 319616 h 639232"/>
              <a:gd name="connsiteX22" fmla="*/ 2305897 w 4611794"/>
              <a:gd name="connsiteY22" fmla="*/ 639232 h 639232"/>
              <a:gd name="connsiteX23" fmla="*/ 0 w 4611794"/>
              <a:gd name="connsiteY23" fmla="*/ 319616 h 639232"/>
              <a:gd name="connsiteX24" fmla="*/ 2305897 w 4611794"/>
              <a:gd name="connsiteY24" fmla="*/ 0 h 63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11794" h="639232">
                <a:moveTo>
                  <a:pt x="2305898" y="176915"/>
                </a:moveTo>
                <a:cubicBezTo>
                  <a:pt x="2630916" y="176915"/>
                  <a:pt x="2894395" y="217301"/>
                  <a:pt x="2894395" y="267120"/>
                </a:cubicBezTo>
                <a:cubicBezTo>
                  <a:pt x="2894395" y="316939"/>
                  <a:pt x="2630916" y="357325"/>
                  <a:pt x="2305898" y="357325"/>
                </a:cubicBezTo>
                <a:cubicBezTo>
                  <a:pt x="1980880" y="357325"/>
                  <a:pt x="1717401" y="316939"/>
                  <a:pt x="1717401" y="267120"/>
                </a:cubicBezTo>
                <a:cubicBezTo>
                  <a:pt x="1717401" y="217301"/>
                  <a:pt x="1980880" y="176915"/>
                  <a:pt x="2305898" y="176915"/>
                </a:cubicBezTo>
                <a:close/>
                <a:moveTo>
                  <a:pt x="2305896" y="127061"/>
                </a:moveTo>
                <a:cubicBezTo>
                  <a:pt x="1586959" y="127061"/>
                  <a:pt x="1004146" y="196917"/>
                  <a:pt x="1004146" y="283089"/>
                </a:cubicBezTo>
                <a:cubicBezTo>
                  <a:pt x="1004146" y="369261"/>
                  <a:pt x="1586959" y="439117"/>
                  <a:pt x="2305896" y="439117"/>
                </a:cubicBezTo>
                <a:cubicBezTo>
                  <a:pt x="3024833" y="439117"/>
                  <a:pt x="3607646" y="369261"/>
                  <a:pt x="3607646" y="283089"/>
                </a:cubicBezTo>
                <a:cubicBezTo>
                  <a:pt x="3607646" y="196917"/>
                  <a:pt x="3024833" y="127061"/>
                  <a:pt x="2305896" y="127061"/>
                </a:cubicBezTo>
                <a:close/>
                <a:moveTo>
                  <a:pt x="2305897" y="85624"/>
                </a:moveTo>
                <a:cubicBezTo>
                  <a:pt x="3305833" y="85624"/>
                  <a:pt x="4116441" y="179278"/>
                  <a:pt x="4116441" y="294807"/>
                </a:cubicBezTo>
                <a:cubicBezTo>
                  <a:pt x="4116441" y="410336"/>
                  <a:pt x="3305833" y="503990"/>
                  <a:pt x="2305897" y="503990"/>
                </a:cubicBezTo>
                <a:cubicBezTo>
                  <a:pt x="1305961" y="503990"/>
                  <a:pt x="495353" y="410336"/>
                  <a:pt x="495353" y="294807"/>
                </a:cubicBezTo>
                <a:cubicBezTo>
                  <a:pt x="495353" y="179278"/>
                  <a:pt x="1305961" y="85624"/>
                  <a:pt x="2305897" y="85624"/>
                </a:cubicBezTo>
                <a:close/>
                <a:moveTo>
                  <a:pt x="2305897" y="31880"/>
                </a:moveTo>
                <a:cubicBezTo>
                  <a:pt x="1134314" y="31880"/>
                  <a:pt x="184559" y="160673"/>
                  <a:pt x="184559" y="319548"/>
                </a:cubicBezTo>
                <a:cubicBezTo>
                  <a:pt x="184559" y="478423"/>
                  <a:pt x="1134314" y="607216"/>
                  <a:pt x="2305897" y="607216"/>
                </a:cubicBezTo>
                <a:cubicBezTo>
                  <a:pt x="3477480" y="607216"/>
                  <a:pt x="4427235" y="478423"/>
                  <a:pt x="4427235" y="319548"/>
                </a:cubicBezTo>
                <a:cubicBezTo>
                  <a:pt x="4427235" y="160673"/>
                  <a:pt x="3477480" y="31880"/>
                  <a:pt x="2305897" y="31880"/>
                </a:cubicBezTo>
                <a:close/>
                <a:moveTo>
                  <a:pt x="2305897" y="0"/>
                </a:moveTo>
                <a:cubicBezTo>
                  <a:pt x="3579409" y="0"/>
                  <a:pt x="4611794" y="143097"/>
                  <a:pt x="4611794" y="319616"/>
                </a:cubicBezTo>
                <a:cubicBezTo>
                  <a:pt x="4611794" y="496135"/>
                  <a:pt x="3579409" y="639232"/>
                  <a:pt x="2305897" y="639232"/>
                </a:cubicBezTo>
                <a:cubicBezTo>
                  <a:pt x="1032385" y="639232"/>
                  <a:pt x="0" y="496135"/>
                  <a:pt x="0" y="319616"/>
                </a:cubicBezTo>
                <a:cubicBezTo>
                  <a:pt x="0" y="143097"/>
                  <a:pt x="1032385" y="0"/>
                  <a:pt x="2305897"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288" name="TextBox 133"/>
          <p:cNvSpPr txBox="1"/>
          <p:nvPr/>
        </p:nvSpPr>
        <p:spPr>
          <a:xfrm>
            <a:off x="6440150" y="3359355"/>
            <a:ext cx="1228947"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rPr>
              <a:t>XX</a:t>
            </a:r>
            <a:endParaRPr kumimoji="0" lang="en-US" altLang="zh-CN" sz="1800" b="1" i="0" u="none" strike="noStrike" kern="1200" cap="none" spc="0" normalizeH="0" baseline="0" noProof="0" dirty="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endParaRPr>
          </a:p>
        </p:txBody>
      </p:sp>
      <p:grpSp>
        <p:nvGrpSpPr>
          <p:cNvPr id="290" name="Group 41"/>
          <p:cNvGrpSpPr/>
          <p:nvPr/>
        </p:nvGrpSpPr>
        <p:grpSpPr>
          <a:xfrm>
            <a:off x="6822633" y="2828736"/>
            <a:ext cx="487499" cy="498942"/>
            <a:chOff x="8490446" y="2863292"/>
            <a:chExt cx="533400" cy="489065"/>
          </a:xfrm>
          <a:solidFill>
            <a:srgbClr val="FE5817"/>
          </a:solidFill>
        </p:grpSpPr>
        <p:sp>
          <p:nvSpPr>
            <p:cNvPr id="291" name="Freeform 17"/>
            <p:cNvSpPr>
              <a:spLocks noEditPoints="1"/>
            </p:cNvSpPr>
            <p:nvPr/>
          </p:nvSpPr>
          <p:spPr bwMode="auto">
            <a:xfrm>
              <a:off x="8838552" y="2863292"/>
              <a:ext cx="185294" cy="489065"/>
            </a:xfrm>
            <a:custGeom>
              <a:avLst/>
              <a:gdLst/>
              <a:ahLst/>
              <a:cxnLst>
                <a:cxn ang="0">
                  <a:pos x="0" y="0"/>
                </a:cxn>
                <a:cxn ang="0">
                  <a:pos x="26" y="77"/>
                </a:cxn>
                <a:cxn ang="0">
                  <a:pos x="19" y="37"/>
                </a:cxn>
                <a:cxn ang="0">
                  <a:pos x="15" y="36"/>
                </a:cxn>
                <a:cxn ang="0">
                  <a:pos x="14" y="36"/>
                </a:cxn>
                <a:cxn ang="0">
                  <a:pos x="13" y="39"/>
                </a:cxn>
                <a:cxn ang="0">
                  <a:pos x="14" y="37"/>
                </a:cxn>
                <a:cxn ang="0">
                  <a:pos x="16" y="38"/>
                </a:cxn>
                <a:cxn ang="0">
                  <a:pos x="16" y="40"/>
                </a:cxn>
                <a:cxn ang="0">
                  <a:pos x="16" y="41"/>
                </a:cxn>
                <a:cxn ang="0">
                  <a:pos x="15" y="42"/>
                </a:cxn>
                <a:cxn ang="0">
                  <a:pos x="15" y="43"/>
                </a:cxn>
                <a:cxn ang="0">
                  <a:pos x="14" y="44"/>
                </a:cxn>
                <a:cxn ang="0">
                  <a:pos x="13" y="46"/>
                </a:cxn>
                <a:cxn ang="0">
                  <a:pos x="13" y="45"/>
                </a:cxn>
                <a:cxn ang="0">
                  <a:pos x="12" y="44"/>
                </a:cxn>
                <a:cxn ang="0">
                  <a:pos x="12" y="43"/>
                </a:cxn>
                <a:cxn ang="0">
                  <a:pos x="12" y="42"/>
                </a:cxn>
                <a:cxn ang="0">
                  <a:pos x="12" y="40"/>
                </a:cxn>
                <a:cxn ang="0">
                  <a:pos x="12" y="39"/>
                </a:cxn>
                <a:cxn ang="0">
                  <a:pos x="12" y="37"/>
                </a:cxn>
                <a:cxn ang="0">
                  <a:pos x="10" y="38"/>
                </a:cxn>
                <a:cxn ang="0">
                  <a:pos x="12" y="36"/>
                </a:cxn>
                <a:cxn ang="0">
                  <a:pos x="12" y="36"/>
                </a:cxn>
                <a:cxn ang="0">
                  <a:pos x="11" y="37"/>
                </a:cxn>
                <a:cxn ang="0">
                  <a:pos x="3" y="34"/>
                </a:cxn>
                <a:cxn ang="0">
                  <a:pos x="11" y="34"/>
                </a:cxn>
                <a:cxn ang="0">
                  <a:pos x="12" y="34"/>
                </a:cxn>
                <a:cxn ang="0">
                  <a:pos x="10" y="32"/>
                </a:cxn>
                <a:cxn ang="0">
                  <a:pos x="15" y="32"/>
                </a:cxn>
                <a:cxn ang="0">
                  <a:pos x="14" y="34"/>
                </a:cxn>
                <a:cxn ang="0">
                  <a:pos x="15" y="34"/>
                </a:cxn>
                <a:cxn ang="0">
                  <a:pos x="23" y="34"/>
                </a:cxn>
                <a:cxn ang="0">
                  <a:pos x="13" y="26"/>
                </a:cxn>
                <a:cxn ang="0">
                  <a:pos x="13" y="4"/>
                </a:cxn>
                <a:cxn ang="0">
                  <a:pos x="13" y="26"/>
                </a:cxn>
              </a:cxnLst>
              <a:rect l="0" t="0" r="r" b="b"/>
              <a:pathLst>
                <a:path w="26" h="77">
                  <a:moveTo>
                    <a:pt x="26" y="0"/>
                  </a:moveTo>
                  <a:cubicBezTo>
                    <a:pt x="0" y="0"/>
                    <a:pt x="0" y="0"/>
                    <a:pt x="0" y="0"/>
                  </a:cubicBezTo>
                  <a:cubicBezTo>
                    <a:pt x="0" y="77"/>
                    <a:pt x="0" y="77"/>
                    <a:pt x="0" y="77"/>
                  </a:cubicBezTo>
                  <a:cubicBezTo>
                    <a:pt x="26" y="77"/>
                    <a:pt x="26" y="77"/>
                    <a:pt x="26" y="77"/>
                  </a:cubicBezTo>
                  <a:lnTo>
                    <a:pt x="26" y="0"/>
                  </a:lnTo>
                  <a:close/>
                  <a:moveTo>
                    <a:pt x="19" y="37"/>
                  </a:moveTo>
                  <a:cubicBezTo>
                    <a:pt x="19" y="37"/>
                    <a:pt x="17" y="38"/>
                    <a:pt x="15" y="37"/>
                  </a:cubicBezTo>
                  <a:cubicBezTo>
                    <a:pt x="15" y="36"/>
                    <a:pt x="15" y="36"/>
                    <a:pt x="15" y="36"/>
                  </a:cubicBezTo>
                  <a:cubicBezTo>
                    <a:pt x="14" y="36"/>
                    <a:pt x="14" y="36"/>
                    <a:pt x="14" y="36"/>
                  </a:cubicBezTo>
                  <a:cubicBezTo>
                    <a:pt x="14" y="36"/>
                    <a:pt x="14" y="36"/>
                    <a:pt x="14" y="36"/>
                  </a:cubicBezTo>
                  <a:cubicBezTo>
                    <a:pt x="13" y="36"/>
                    <a:pt x="13" y="36"/>
                    <a:pt x="13" y="36"/>
                  </a:cubicBezTo>
                  <a:cubicBezTo>
                    <a:pt x="13" y="39"/>
                    <a:pt x="13" y="39"/>
                    <a:pt x="13" y="39"/>
                  </a:cubicBezTo>
                  <a:cubicBezTo>
                    <a:pt x="15" y="39"/>
                    <a:pt x="16" y="38"/>
                    <a:pt x="16" y="38"/>
                  </a:cubicBezTo>
                  <a:cubicBezTo>
                    <a:pt x="16" y="38"/>
                    <a:pt x="15" y="37"/>
                    <a:pt x="14" y="37"/>
                  </a:cubicBezTo>
                  <a:cubicBezTo>
                    <a:pt x="14" y="37"/>
                    <a:pt x="14" y="37"/>
                    <a:pt x="14" y="37"/>
                  </a:cubicBezTo>
                  <a:cubicBezTo>
                    <a:pt x="15" y="37"/>
                    <a:pt x="16" y="38"/>
                    <a:pt x="16" y="38"/>
                  </a:cubicBezTo>
                  <a:cubicBezTo>
                    <a:pt x="16" y="38"/>
                    <a:pt x="15" y="39"/>
                    <a:pt x="14" y="39"/>
                  </a:cubicBezTo>
                  <a:cubicBezTo>
                    <a:pt x="15" y="39"/>
                    <a:pt x="16" y="39"/>
                    <a:pt x="16" y="40"/>
                  </a:cubicBezTo>
                  <a:cubicBezTo>
                    <a:pt x="16" y="40"/>
                    <a:pt x="15" y="40"/>
                    <a:pt x="14" y="40"/>
                  </a:cubicBezTo>
                  <a:cubicBezTo>
                    <a:pt x="15" y="41"/>
                    <a:pt x="16" y="41"/>
                    <a:pt x="16" y="41"/>
                  </a:cubicBezTo>
                  <a:cubicBezTo>
                    <a:pt x="16" y="41"/>
                    <a:pt x="15" y="42"/>
                    <a:pt x="14" y="42"/>
                  </a:cubicBezTo>
                  <a:cubicBezTo>
                    <a:pt x="15" y="42"/>
                    <a:pt x="15" y="42"/>
                    <a:pt x="15" y="42"/>
                  </a:cubicBezTo>
                  <a:cubicBezTo>
                    <a:pt x="15" y="43"/>
                    <a:pt x="15" y="43"/>
                    <a:pt x="14" y="43"/>
                  </a:cubicBezTo>
                  <a:cubicBezTo>
                    <a:pt x="14" y="43"/>
                    <a:pt x="15" y="43"/>
                    <a:pt x="15" y="43"/>
                  </a:cubicBezTo>
                  <a:cubicBezTo>
                    <a:pt x="15" y="44"/>
                    <a:pt x="14" y="44"/>
                    <a:pt x="14" y="44"/>
                  </a:cubicBezTo>
                  <a:cubicBezTo>
                    <a:pt x="14" y="44"/>
                    <a:pt x="14" y="44"/>
                    <a:pt x="14" y="44"/>
                  </a:cubicBezTo>
                  <a:cubicBezTo>
                    <a:pt x="14" y="44"/>
                    <a:pt x="14" y="45"/>
                    <a:pt x="13" y="45"/>
                  </a:cubicBezTo>
                  <a:cubicBezTo>
                    <a:pt x="13" y="46"/>
                    <a:pt x="13" y="46"/>
                    <a:pt x="13" y="46"/>
                  </a:cubicBezTo>
                  <a:cubicBezTo>
                    <a:pt x="13" y="46"/>
                    <a:pt x="13" y="46"/>
                    <a:pt x="13" y="46"/>
                  </a:cubicBezTo>
                  <a:cubicBezTo>
                    <a:pt x="13" y="45"/>
                    <a:pt x="13" y="45"/>
                    <a:pt x="13" y="45"/>
                  </a:cubicBezTo>
                  <a:cubicBezTo>
                    <a:pt x="12" y="45"/>
                    <a:pt x="11" y="44"/>
                    <a:pt x="11" y="44"/>
                  </a:cubicBezTo>
                  <a:cubicBezTo>
                    <a:pt x="11" y="44"/>
                    <a:pt x="12" y="44"/>
                    <a:pt x="12" y="44"/>
                  </a:cubicBezTo>
                  <a:cubicBezTo>
                    <a:pt x="12" y="44"/>
                    <a:pt x="11" y="44"/>
                    <a:pt x="11" y="43"/>
                  </a:cubicBezTo>
                  <a:cubicBezTo>
                    <a:pt x="11" y="43"/>
                    <a:pt x="11" y="43"/>
                    <a:pt x="12" y="43"/>
                  </a:cubicBezTo>
                  <a:cubicBezTo>
                    <a:pt x="11" y="43"/>
                    <a:pt x="11" y="43"/>
                    <a:pt x="11" y="42"/>
                  </a:cubicBezTo>
                  <a:cubicBezTo>
                    <a:pt x="11" y="42"/>
                    <a:pt x="11" y="42"/>
                    <a:pt x="12" y="42"/>
                  </a:cubicBezTo>
                  <a:cubicBezTo>
                    <a:pt x="11" y="42"/>
                    <a:pt x="10" y="41"/>
                    <a:pt x="10" y="41"/>
                  </a:cubicBezTo>
                  <a:cubicBezTo>
                    <a:pt x="10" y="41"/>
                    <a:pt x="11" y="40"/>
                    <a:pt x="12" y="40"/>
                  </a:cubicBezTo>
                  <a:cubicBezTo>
                    <a:pt x="11" y="40"/>
                    <a:pt x="10" y="40"/>
                    <a:pt x="10" y="40"/>
                  </a:cubicBezTo>
                  <a:cubicBezTo>
                    <a:pt x="10" y="39"/>
                    <a:pt x="11" y="39"/>
                    <a:pt x="12" y="39"/>
                  </a:cubicBezTo>
                  <a:cubicBezTo>
                    <a:pt x="10" y="39"/>
                    <a:pt x="10" y="38"/>
                    <a:pt x="10" y="38"/>
                  </a:cubicBezTo>
                  <a:cubicBezTo>
                    <a:pt x="10" y="38"/>
                    <a:pt x="11" y="37"/>
                    <a:pt x="12" y="37"/>
                  </a:cubicBezTo>
                  <a:cubicBezTo>
                    <a:pt x="12" y="37"/>
                    <a:pt x="12" y="37"/>
                    <a:pt x="12" y="37"/>
                  </a:cubicBezTo>
                  <a:cubicBezTo>
                    <a:pt x="11" y="37"/>
                    <a:pt x="10" y="38"/>
                    <a:pt x="10" y="38"/>
                  </a:cubicBezTo>
                  <a:cubicBezTo>
                    <a:pt x="10" y="38"/>
                    <a:pt x="11" y="39"/>
                    <a:pt x="12" y="39"/>
                  </a:cubicBezTo>
                  <a:cubicBezTo>
                    <a:pt x="12" y="36"/>
                    <a:pt x="12" y="36"/>
                    <a:pt x="12" y="36"/>
                  </a:cubicBezTo>
                  <a:cubicBezTo>
                    <a:pt x="12" y="36"/>
                    <a:pt x="12" y="36"/>
                    <a:pt x="12" y="36"/>
                  </a:cubicBezTo>
                  <a:cubicBezTo>
                    <a:pt x="12" y="36"/>
                    <a:pt x="12" y="36"/>
                    <a:pt x="12" y="36"/>
                  </a:cubicBezTo>
                  <a:cubicBezTo>
                    <a:pt x="11" y="36"/>
                    <a:pt x="11" y="36"/>
                    <a:pt x="11" y="36"/>
                  </a:cubicBezTo>
                  <a:cubicBezTo>
                    <a:pt x="11" y="37"/>
                    <a:pt x="11" y="37"/>
                    <a:pt x="11" y="37"/>
                  </a:cubicBezTo>
                  <a:cubicBezTo>
                    <a:pt x="9" y="38"/>
                    <a:pt x="7" y="37"/>
                    <a:pt x="7" y="37"/>
                  </a:cubicBezTo>
                  <a:cubicBezTo>
                    <a:pt x="3" y="37"/>
                    <a:pt x="3" y="34"/>
                    <a:pt x="3" y="34"/>
                  </a:cubicBezTo>
                  <a:cubicBezTo>
                    <a:pt x="4" y="35"/>
                    <a:pt x="6" y="34"/>
                    <a:pt x="6" y="34"/>
                  </a:cubicBezTo>
                  <a:cubicBezTo>
                    <a:pt x="8" y="31"/>
                    <a:pt x="11" y="34"/>
                    <a:pt x="11" y="34"/>
                  </a:cubicBezTo>
                  <a:cubicBezTo>
                    <a:pt x="11" y="34"/>
                    <a:pt x="11" y="34"/>
                    <a:pt x="11" y="34"/>
                  </a:cubicBezTo>
                  <a:cubicBezTo>
                    <a:pt x="12" y="34"/>
                    <a:pt x="12" y="34"/>
                    <a:pt x="12" y="34"/>
                  </a:cubicBezTo>
                  <a:cubicBezTo>
                    <a:pt x="12" y="34"/>
                    <a:pt x="12" y="34"/>
                    <a:pt x="12" y="34"/>
                  </a:cubicBezTo>
                  <a:cubicBezTo>
                    <a:pt x="11" y="33"/>
                    <a:pt x="10" y="33"/>
                    <a:pt x="10" y="32"/>
                  </a:cubicBezTo>
                  <a:cubicBezTo>
                    <a:pt x="10" y="30"/>
                    <a:pt x="12" y="29"/>
                    <a:pt x="13" y="29"/>
                  </a:cubicBezTo>
                  <a:cubicBezTo>
                    <a:pt x="14" y="29"/>
                    <a:pt x="15" y="30"/>
                    <a:pt x="15" y="32"/>
                  </a:cubicBezTo>
                  <a:cubicBezTo>
                    <a:pt x="15" y="33"/>
                    <a:pt x="15" y="34"/>
                    <a:pt x="14" y="34"/>
                  </a:cubicBezTo>
                  <a:cubicBezTo>
                    <a:pt x="14" y="34"/>
                    <a:pt x="14" y="34"/>
                    <a:pt x="14" y="34"/>
                  </a:cubicBezTo>
                  <a:cubicBezTo>
                    <a:pt x="15" y="34"/>
                    <a:pt x="15" y="34"/>
                    <a:pt x="15" y="34"/>
                  </a:cubicBezTo>
                  <a:cubicBezTo>
                    <a:pt x="15" y="34"/>
                    <a:pt x="15" y="34"/>
                    <a:pt x="15" y="34"/>
                  </a:cubicBezTo>
                  <a:cubicBezTo>
                    <a:pt x="15" y="34"/>
                    <a:pt x="17" y="31"/>
                    <a:pt x="20" y="34"/>
                  </a:cubicBezTo>
                  <a:cubicBezTo>
                    <a:pt x="20" y="34"/>
                    <a:pt x="22" y="35"/>
                    <a:pt x="23" y="34"/>
                  </a:cubicBezTo>
                  <a:cubicBezTo>
                    <a:pt x="23" y="34"/>
                    <a:pt x="23" y="37"/>
                    <a:pt x="19" y="37"/>
                  </a:cubicBezTo>
                  <a:close/>
                  <a:moveTo>
                    <a:pt x="13" y="26"/>
                  </a:moveTo>
                  <a:cubicBezTo>
                    <a:pt x="7" y="26"/>
                    <a:pt x="2" y="21"/>
                    <a:pt x="2" y="15"/>
                  </a:cubicBezTo>
                  <a:cubicBezTo>
                    <a:pt x="2" y="9"/>
                    <a:pt x="7" y="4"/>
                    <a:pt x="13" y="4"/>
                  </a:cubicBezTo>
                  <a:cubicBezTo>
                    <a:pt x="19" y="4"/>
                    <a:pt x="24" y="9"/>
                    <a:pt x="24" y="15"/>
                  </a:cubicBezTo>
                  <a:cubicBezTo>
                    <a:pt x="24" y="21"/>
                    <a:pt x="19" y="26"/>
                    <a:pt x="13" y="26"/>
                  </a:cubicBezTo>
                  <a:close/>
                </a:path>
              </a:pathLst>
            </a:custGeom>
            <a:grpFill/>
            <a:ln w="9525">
              <a:noFill/>
              <a:round/>
            </a:ln>
            <a:extLst>
              <a:ext uri="{91240B29-F687-4F45-9708-019B960494DF}">
                <a14:hiddenLine xmlns:a14="http://schemas.microsoft.com/office/drawing/2010/main" w="9525">
                  <a:solidFill>
                    <a:schemeClr val="hlink"/>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endParaRPr>
            </a:p>
          </p:txBody>
        </p:sp>
        <p:sp>
          <p:nvSpPr>
            <p:cNvPr id="292" name="Freeform 41"/>
            <p:cNvSpPr>
              <a:spLocks noEditPoints="1"/>
            </p:cNvSpPr>
            <p:nvPr/>
          </p:nvSpPr>
          <p:spPr bwMode="auto">
            <a:xfrm>
              <a:off x="8490446" y="3060306"/>
              <a:ext cx="334151" cy="292051"/>
            </a:xfrm>
            <a:custGeom>
              <a:avLst/>
              <a:gdLst/>
              <a:ahLst/>
              <a:cxnLst>
                <a:cxn ang="0">
                  <a:pos x="431" y="0"/>
                </a:cxn>
                <a:cxn ang="0">
                  <a:pos x="0" y="0"/>
                </a:cxn>
                <a:cxn ang="0">
                  <a:pos x="0" y="421"/>
                </a:cxn>
                <a:cxn ang="0">
                  <a:pos x="431" y="421"/>
                </a:cxn>
                <a:cxn ang="0">
                  <a:pos x="431" y="0"/>
                </a:cxn>
                <a:cxn ang="0">
                  <a:pos x="37" y="55"/>
                </a:cxn>
                <a:cxn ang="0">
                  <a:pos x="128" y="55"/>
                </a:cxn>
                <a:cxn ang="0">
                  <a:pos x="128" y="128"/>
                </a:cxn>
                <a:cxn ang="0">
                  <a:pos x="37" y="128"/>
                </a:cxn>
                <a:cxn ang="0">
                  <a:pos x="37" y="55"/>
                </a:cxn>
                <a:cxn ang="0">
                  <a:pos x="128" y="338"/>
                </a:cxn>
                <a:cxn ang="0">
                  <a:pos x="46" y="338"/>
                </a:cxn>
                <a:cxn ang="0">
                  <a:pos x="46" y="265"/>
                </a:cxn>
                <a:cxn ang="0">
                  <a:pos x="128" y="265"/>
                </a:cxn>
                <a:cxn ang="0">
                  <a:pos x="128" y="338"/>
                </a:cxn>
                <a:cxn ang="0">
                  <a:pos x="128" y="238"/>
                </a:cxn>
                <a:cxn ang="0">
                  <a:pos x="46" y="238"/>
                </a:cxn>
                <a:cxn ang="0">
                  <a:pos x="46" y="165"/>
                </a:cxn>
                <a:cxn ang="0">
                  <a:pos x="128" y="165"/>
                </a:cxn>
                <a:cxn ang="0">
                  <a:pos x="128" y="238"/>
                </a:cxn>
                <a:cxn ang="0">
                  <a:pos x="165" y="55"/>
                </a:cxn>
                <a:cxn ang="0">
                  <a:pos x="257" y="55"/>
                </a:cxn>
                <a:cxn ang="0">
                  <a:pos x="257" y="128"/>
                </a:cxn>
                <a:cxn ang="0">
                  <a:pos x="165" y="128"/>
                </a:cxn>
                <a:cxn ang="0">
                  <a:pos x="165" y="55"/>
                </a:cxn>
                <a:cxn ang="0">
                  <a:pos x="257" y="338"/>
                </a:cxn>
                <a:cxn ang="0">
                  <a:pos x="174" y="338"/>
                </a:cxn>
                <a:cxn ang="0">
                  <a:pos x="174" y="265"/>
                </a:cxn>
                <a:cxn ang="0">
                  <a:pos x="257" y="265"/>
                </a:cxn>
                <a:cxn ang="0">
                  <a:pos x="257" y="338"/>
                </a:cxn>
                <a:cxn ang="0">
                  <a:pos x="257" y="238"/>
                </a:cxn>
                <a:cxn ang="0">
                  <a:pos x="174" y="238"/>
                </a:cxn>
                <a:cxn ang="0">
                  <a:pos x="174" y="165"/>
                </a:cxn>
                <a:cxn ang="0">
                  <a:pos x="257" y="165"/>
                </a:cxn>
                <a:cxn ang="0">
                  <a:pos x="257" y="238"/>
                </a:cxn>
                <a:cxn ang="0">
                  <a:pos x="293" y="55"/>
                </a:cxn>
                <a:cxn ang="0">
                  <a:pos x="376" y="55"/>
                </a:cxn>
                <a:cxn ang="0">
                  <a:pos x="376" y="128"/>
                </a:cxn>
                <a:cxn ang="0">
                  <a:pos x="293" y="128"/>
                </a:cxn>
                <a:cxn ang="0">
                  <a:pos x="293" y="55"/>
                </a:cxn>
                <a:cxn ang="0">
                  <a:pos x="376" y="338"/>
                </a:cxn>
                <a:cxn ang="0">
                  <a:pos x="293" y="338"/>
                </a:cxn>
                <a:cxn ang="0">
                  <a:pos x="293" y="265"/>
                </a:cxn>
                <a:cxn ang="0">
                  <a:pos x="376" y="265"/>
                </a:cxn>
                <a:cxn ang="0">
                  <a:pos x="376" y="338"/>
                </a:cxn>
                <a:cxn ang="0">
                  <a:pos x="376" y="238"/>
                </a:cxn>
                <a:cxn ang="0">
                  <a:pos x="293" y="238"/>
                </a:cxn>
                <a:cxn ang="0">
                  <a:pos x="293" y="165"/>
                </a:cxn>
                <a:cxn ang="0">
                  <a:pos x="376" y="165"/>
                </a:cxn>
                <a:cxn ang="0">
                  <a:pos x="376" y="238"/>
                </a:cxn>
              </a:cxnLst>
              <a:rect l="0" t="0" r="r" b="b"/>
              <a:pathLst>
                <a:path w="431" h="421">
                  <a:moveTo>
                    <a:pt x="431" y="0"/>
                  </a:moveTo>
                  <a:lnTo>
                    <a:pt x="0" y="0"/>
                  </a:lnTo>
                  <a:lnTo>
                    <a:pt x="0" y="421"/>
                  </a:lnTo>
                  <a:lnTo>
                    <a:pt x="431" y="421"/>
                  </a:lnTo>
                  <a:lnTo>
                    <a:pt x="431" y="0"/>
                  </a:lnTo>
                  <a:close/>
                  <a:moveTo>
                    <a:pt x="37" y="55"/>
                  </a:moveTo>
                  <a:lnTo>
                    <a:pt x="128" y="55"/>
                  </a:lnTo>
                  <a:lnTo>
                    <a:pt x="128" y="128"/>
                  </a:lnTo>
                  <a:lnTo>
                    <a:pt x="37" y="128"/>
                  </a:lnTo>
                  <a:lnTo>
                    <a:pt x="37" y="55"/>
                  </a:lnTo>
                  <a:close/>
                  <a:moveTo>
                    <a:pt x="128" y="338"/>
                  </a:moveTo>
                  <a:lnTo>
                    <a:pt x="46" y="338"/>
                  </a:lnTo>
                  <a:lnTo>
                    <a:pt x="46" y="265"/>
                  </a:lnTo>
                  <a:lnTo>
                    <a:pt x="128" y="265"/>
                  </a:lnTo>
                  <a:lnTo>
                    <a:pt x="128" y="338"/>
                  </a:lnTo>
                  <a:close/>
                  <a:moveTo>
                    <a:pt x="128" y="238"/>
                  </a:moveTo>
                  <a:lnTo>
                    <a:pt x="46" y="238"/>
                  </a:lnTo>
                  <a:lnTo>
                    <a:pt x="46" y="165"/>
                  </a:lnTo>
                  <a:lnTo>
                    <a:pt x="128" y="165"/>
                  </a:lnTo>
                  <a:lnTo>
                    <a:pt x="128" y="238"/>
                  </a:lnTo>
                  <a:close/>
                  <a:moveTo>
                    <a:pt x="165" y="55"/>
                  </a:moveTo>
                  <a:lnTo>
                    <a:pt x="257" y="55"/>
                  </a:lnTo>
                  <a:lnTo>
                    <a:pt x="257" y="128"/>
                  </a:lnTo>
                  <a:lnTo>
                    <a:pt x="165" y="128"/>
                  </a:lnTo>
                  <a:lnTo>
                    <a:pt x="165" y="55"/>
                  </a:lnTo>
                  <a:close/>
                  <a:moveTo>
                    <a:pt x="257" y="338"/>
                  </a:moveTo>
                  <a:lnTo>
                    <a:pt x="174" y="338"/>
                  </a:lnTo>
                  <a:lnTo>
                    <a:pt x="174" y="265"/>
                  </a:lnTo>
                  <a:lnTo>
                    <a:pt x="257" y="265"/>
                  </a:lnTo>
                  <a:lnTo>
                    <a:pt x="257" y="338"/>
                  </a:lnTo>
                  <a:close/>
                  <a:moveTo>
                    <a:pt x="257" y="238"/>
                  </a:moveTo>
                  <a:lnTo>
                    <a:pt x="174" y="238"/>
                  </a:lnTo>
                  <a:lnTo>
                    <a:pt x="174" y="165"/>
                  </a:lnTo>
                  <a:lnTo>
                    <a:pt x="257" y="165"/>
                  </a:lnTo>
                  <a:lnTo>
                    <a:pt x="257" y="238"/>
                  </a:lnTo>
                  <a:close/>
                  <a:moveTo>
                    <a:pt x="293" y="55"/>
                  </a:moveTo>
                  <a:lnTo>
                    <a:pt x="376" y="55"/>
                  </a:lnTo>
                  <a:lnTo>
                    <a:pt x="376" y="128"/>
                  </a:lnTo>
                  <a:lnTo>
                    <a:pt x="293" y="128"/>
                  </a:lnTo>
                  <a:lnTo>
                    <a:pt x="293" y="55"/>
                  </a:lnTo>
                  <a:close/>
                  <a:moveTo>
                    <a:pt x="376" y="338"/>
                  </a:moveTo>
                  <a:lnTo>
                    <a:pt x="293" y="338"/>
                  </a:lnTo>
                  <a:lnTo>
                    <a:pt x="293" y="265"/>
                  </a:lnTo>
                  <a:lnTo>
                    <a:pt x="376" y="265"/>
                  </a:lnTo>
                  <a:lnTo>
                    <a:pt x="376" y="338"/>
                  </a:lnTo>
                  <a:close/>
                  <a:moveTo>
                    <a:pt x="376" y="238"/>
                  </a:moveTo>
                  <a:lnTo>
                    <a:pt x="293" y="238"/>
                  </a:lnTo>
                  <a:lnTo>
                    <a:pt x="293" y="165"/>
                  </a:lnTo>
                  <a:lnTo>
                    <a:pt x="376" y="165"/>
                  </a:lnTo>
                  <a:lnTo>
                    <a:pt x="376" y="238"/>
                  </a:lnTo>
                  <a:close/>
                </a:path>
              </a:pathLst>
            </a:custGeom>
            <a:grpFill/>
            <a:ln w="9525">
              <a:noFill/>
              <a:round/>
            </a:ln>
            <a:extLst>
              <a:ext uri="{91240B29-F687-4F45-9708-019B960494DF}">
                <a14:hiddenLine xmlns:a14="http://schemas.microsoft.com/office/drawing/2010/main" w="9525">
                  <a:solidFill>
                    <a:schemeClr val="hlink"/>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Arial" panose="020B0604020202020204" pitchFamily="34" charset="0"/>
              </a:endParaRPr>
            </a:p>
          </p:txBody>
        </p:sp>
      </p:grpSp>
      <p:sp>
        <p:nvSpPr>
          <p:cNvPr id="95" name="MH_Other_1"/>
          <p:cNvSpPr/>
          <p:nvPr>
            <p:custDataLst>
              <p:tags r:id="rId9"/>
            </p:custDataLst>
          </p:nvPr>
        </p:nvSpPr>
        <p:spPr>
          <a:xfrm>
            <a:off x="10149928" y="3124773"/>
            <a:ext cx="1705478" cy="556486"/>
          </a:xfrm>
          <a:custGeom>
            <a:avLst/>
            <a:gdLst>
              <a:gd name="connsiteX0" fmla="*/ 2305898 w 4611794"/>
              <a:gd name="connsiteY0" fmla="*/ 176915 h 639232"/>
              <a:gd name="connsiteX1" fmla="*/ 2894395 w 4611794"/>
              <a:gd name="connsiteY1" fmla="*/ 267120 h 639232"/>
              <a:gd name="connsiteX2" fmla="*/ 2305898 w 4611794"/>
              <a:gd name="connsiteY2" fmla="*/ 357325 h 639232"/>
              <a:gd name="connsiteX3" fmla="*/ 1717401 w 4611794"/>
              <a:gd name="connsiteY3" fmla="*/ 267120 h 639232"/>
              <a:gd name="connsiteX4" fmla="*/ 2305898 w 4611794"/>
              <a:gd name="connsiteY4" fmla="*/ 176915 h 639232"/>
              <a:gd name="connsiteX5" fmla="*/ 2305896 w 4611794"/>
              <a:gd name="connsiteY5" fmla="*/ 127061 h 639232"/>
              <a:gd name="connsiteX6" fmla="*/ 1004146 w 4611794"/>
              <a:gd name="connsiteY6" fmla="*/ 283089 h 639232"/>
              <a:gd name="connsiteX7" fmla="*/ 2305896 w 4611794"/>
              <a:gd name="connsiteY7" fmla="*/ 439117 h 639232"/>
              <a:gd name="connsiteX8" fmla="*/ 3607646 w 4611794"/>
              <a:gd name="connsiteY8" fmla="*/ 283089 h 639232"/>
              <a:gd name="connsiteX9" fmla="*/ 2305896 w 4611794"/>
              <a:gd name="connsiteY9" fmla="*/ 127061 h 639232"/>
              <a:gd name="connsiteX10" fmla="*/ 2305897 w 4611794"/>
              <a:gd name="connsiteY10" fmla="*/ 85624 h 639232"/>
              <a:gd name="connsiteX11" fmla="*/ 4116441 w 4611794"/>
              <a:gd name="connsiteY11" fmla="*/ 294807 h 639232"/>
              <a:gd name="connsiteX12" fmla="*/ 2305897 w 4611794"/>
              <a:gd name="connsiteY12" fmla="*/ 503990 h 639232"/>
              <a:gd name="connsiteX13" fmla="*/ 495353 w 4611794"/>
              <a:gd name="connsiteY13" fmla="*/ 294807 h 639232"/>
              <a:gd name="connsiteX14" fmla="*/ 2305897 w 4611794"/>
              <a:gd name="connsiteY14" fmla="*/ 85624 h 639232"/>
              <a:gd name="connsiteX15" fmla="*/ 2305897 w 4611794"/>
              <a:gd name="connsiteY15" fmla="*/ 31880 h 639232"/>
              <a:gd name="connsiteX16" fmla="*/ 184559 w 4611794"/>
              <a:gd name="connsiteY16" fmla="*/ 319548 h 639232"/>
              <a:gd name="connsiteX17" fmla="*/ 2305897 w 4611794"/>
              <a:gd name="connsiteY17" fmla="*/ 607216 h 639232"/>
              <a:gd name="connsiteX18" fmla="*/ 4427235 w 4611794"/>
              <a:gd name="connsiteY18" fmla="*/ 319548 h 639232"/>
              <a:gd name="connsiteX19" fmla="*/ 2305897 w 4611794"/>
              <a:gd name="connsiteY19" fmla="*/ 31880 h 639232"/>
              <a:gd name="connsiteX20" fmla="*/ 2305897 w 4611794"/>
              <a:gd name="connsiteY20" fmla="*/ 0 h 639232"/>
              <a:gd name="connsiteX21" fmla="*/ 4611794 w 4611794"/>
              <a:gd name="connsiteY21" fmla="*/ 319616 h 639232"/>
              <a:gd name="connsiteX22" fmla="*/ 2305897 w 4611794"/>
              <a:gd name="connsiteY22" fmla="*/ 639232 h 639232"/>
              <a:gd name="connsiteX23" fmla="*/ 0 w 4611794"/>
              <a:gd name="connsiteY23" fmla="*/ 319616 h 639232"/>
              <a:gd name="connsiteX24" fmla="*/ 2305897 w 4611794"/>
              <a:gd name="connsiteY24" fmla="*/ 0 h 63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11794" h="639232">
                <a:moveTo>
                  <a:pt x="2305898" y="176915"/>
                </a:moveTo>
                <a:cubicBezTo>
                  <a:pt x="2630916" y="176915"/>
                  <a:pt x="2894395" y="217301"/>
                  <a:pt x="2894395" y="267120"/>
                </a:cubicBezTo>
                <a:cubicBezTo>
                  <a:pt x="2894395" y="316939"/>
                  <a:pt x="2630916" y="357325"/>
                  <a:pt x="2305898" y="357325"/>
                </a:cubicBezTo>
                <a:cubicBezTo>
                  <a:pt x="1980880" y="357325"/>
                  <a:pt x="1717401" y="316939"/>
                  <a:pt x="1717401" y="267120"/>
                </a:cubicBezTo>
                <a:cubicBezTo>
                  <a:pt x="1717401" y="217301"/>
                  <a:pt x="1980880" y="176915"/>
                  <a:pt x="2305898" y="176915"/>
                </a:cubicBezTo>
                <a:close/>
                <a:moveTo>
                  <a:pt x="2305896" y="127061"/>
                </a:moveTo>
                <a:cubicBezTo>
                  <a:pt x="1586959" y="127061"/>
                  <a:pt x="1004146" y="196917"/>
                  <a:pt x="1004146" y="283089"/>
                </a:cubicBezTo>
                <a:cubicBezTo>
                  <a:pt x="1004146" y="369261"/>
                  <a:pt x="1586959" y="439117"/>
                  <a:pt x="2305896" y="439117"/>
                </a:cubicBezTo>
                <a:cubicBezTo>
                  <a:pt x="3024833" y="439117"/>
                  <a:pt x="3607646" y="369261"/>
                  <a:pt x="3607646" y="283089"/>
                </a:cubicBezTo>
                <a:cubicBezTo>
                  <a:pt x="3607646" y="196917"/>
                  <a:pt x="3024833" y="127061"/>
                  <a:pt x="2305896" y="127061"/>
                </a:cubicBezTo>
                <a:close/>
                <a:moveTo>
                  <a:pt x="2305897" y="85624"/>
                </a:moveTo>
                <a:cubicBezTo>
                  <a:pt x="3305833" y="85624"/>
                  <a:pt x="4116441" y="179278"/>
                  <a:pt x="4116441" y="294807"/>
                </a:cubicBezTo>
                <a:cubicBezTo>
                  <a:pt x="4116441" y="410336"/>
                  <a:pt x="3305833" y="503990"/>
                  <a:pt x="2305897" y="503990"/>
                </a:cubicBezTo>
                <a:cubicBezTo>
                  <a:pt x="1305961" y="503990"/>
                  <a:pt x="495353" y="410336"/>
                  <a:pt x="495353" y="294807"/>
                </a:cubicBezTo>
                <a:cubicBezTo>
                  <a:pt x="495353" y="179278"/>
                  <a:pt x="1305961" y="85624"/>
                  <a:pt x="2305897" y="85624"/>
                </a:cubicBezTo>
                <a:close/>
                <a:moveTo>
                  <a:pt x="2305897" y="31880"/>
                </a:moveTo>
                <a:cubicBezTo>
                  <a:pt x="1134314" y="31880"/>
                  <a:pt x="184559" y="160673"/>
                  <a:pt x="184559" y="319548"/>
                </a:cubicBezTo>
                <a:cubicBezTo>
                  <a:pt x="184559" y="478423"/>
                  <a:pt x="1134314" y="607216"/>
                  <a:pt x="2305897" y="607216"/>
                </a:cubicBezTo>
                <a:cubicBezTo>
                  <a:pt x="3477480" y="607216"/>
                  <a:pt x="4427235" y="478423"/>
                  <a:pt x="4427235" y="319548"/>
                </a:cubicBezTo>
                <a:cubicBezTo>
                  <a:pt x="4427235" y="160673"/>
                  <a:pt x="3477480" y="31880"/>
                  <a:pt x="2305897" y="31880"/>
                </a:cubicBezTo>
                <a:close/>
                <a:moveTo>
                  <a:pt x="2305897" y="0"/>
                </a:moveTo>
                <a:cubicBezTo>
                  <a:pt x="3579409" y="0"/>
                  <a:pt x="4611794" y="143097"/>
                  <a:pt x="4611794" y="319616"/>
                </a:cubicBezTo>
                <a:cubicBezTo>
                  <a:pt x="4611794" y="496135"/>
                  <a:pt x="3579409" y="639232"/>
                  <a:pt x="2305897" y="639232"/>
                </a:cubicBezTo>
                <a:cubicBezTo>
                  <a:pt x="1032385" y="639232"/>
                  <a:pt x="0" y="496135"/>
                  <a:pt x="0" y="319616"/>
                </a:cubicBezTo>
                <a:cubicBezTo>
                  <a:pt x="0" y="143097"/>
                  <a:pt x="1032385" y="0"/>
                  <a:pt x="2305897"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Arial" panose="020B0604020202020204"/>
              <a:ea typeface="华文楷体" panose="02010600040101010101" charset="-122"/>
              <a:cs typeface="+mn-cs"/>
            </a:endParaRPr>
          </a:p>
        </p:txBody>
      </p:sp>
      <p:sp>
        <p:nvSpPr>
          <p:cNvPr id="96" name="TextBox 133"/>
          <p:cNvSpPr txBox="1"/>
          <p:nvPr/>
        </p:nvSpPr>
        <p:spPr>
          <a:xfrm>
            <a:off x="10388194" y="3359355"/>
            <a:ext cx="1228947"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rPr>
              <a:t>XX</a:t>
            </a:r>
            <a:endParaRPr kumimoji="0" lang="zh-CN" altLang="en-US" sz="1800" b="1" i="0" u="none" strike="noStrike" kern="1200" cap="none" spc="0" normalizeH="0" baseline="0" noProof="0" dirty="0">
              <a:ln>
                <a:noFill/>
              </a:ln>
              <a:solidFill>
                <a:prstClr val="black"/>
              </a:solidFill>
              <a:effectLst>
                <a:glow rad="101600">
                  <a:prstClr val="white">
                    <a:alpha val="75000"/>
                  </a:prstClr>
                </a:glow>
              </a:effectLst>
              <a:uLnTx/>
              <a:uFillTx/>
              <a:latin typeface="Arial" panose="020B0604020202020204"/>
              <a:ea typeface="华文楷体" panose="02010600040101010101" charset="-122"/>
              <a:cs typeface="+mn-cs"/>
            </a:endParaRPr>
          </a:p>
        </p:txBody>
      </p:sp>
      <p:sp>
        <p:nvSpPr>
          <p:cNvPr id="293" name="Freeform 182"/>
          <p:cNvSpPr>
            <a:spLocks noEditPoints="1"/>
          </p:cNvSpPr>
          <p:nvPr/>
        </p:nvSpPr>
        <p:spPr bwMode="auto">
          <a:xfrm>
            <a:off x="10812751" y="2882689"/>
            <a:ext cx="355991" cy="444989"/>
          </a:xfrm>
          <a:custGeom>
            <a:avLst/>
            <a:gdLst>
              <a:gd name="T0" fmla="*/ 177 w 208"/>
              <a:gd name="T1" fmla="*/ 156 h 260"/>
              <a:gd name="T2" fmla="*/ 176 w 208"/>
              <a:gd name="T3" fmla="*/ 152 h 260"/>
              <a:gd name="T4" fmla="*/ 170 w 208"/>
              <a:gd name="T5" fmla="*/ 146 h 260"/>
              <a:gd name="T6" fmla="*/ 167 w 208"/>
              <a:gd name="T7" fmla="*/ 146 h 260"/>
              <a:gd name="T8" fmla="*/ 159 w 208"/>
              <a:gd name="T9" fmla="*/ 148 h 260"/>
              <a:gd name="T10" fmla="*/ 156 w 208"/>
              <a:gd name="T11" fmla="*/ 156 h 260"/>
              <a:gd name="T12" fmla="*/ 31 w 208"/>
              <a:gd name="T13" fmla="*/ 260 h 260"/>
              <a:gd name="T14" fmla="*/ 26 w 208"/>
              <a:gd name="T15" fmla="*/ 224 h 260"/>
              <a:gd name="T16" fmla="*/ 20 w 208"/>
              <a:gd name="T17" fmla="*/ 223 h 260"/>
              <a:gd name="T18" fmla="*/ 11 w 208"/>
              <a:gd name="T19" fmla="*/ 219 h 260"/>
              <a:gd name="T20" fmla="*/ 4 w 208"/>
              <a:gd name="T21" fmla="*/ 212 h 260"/>
              <a:gd name="T22" fmla="*/ 0 w 208"/>
              <a:gd name="T23" fmla="*/ 203 h 260"/>
              <a:gd name="T24" fmla="*/ 0 w 208"/>
              <a:gd name="T25" fmla="*/ 151 h 260"/>
              <a:gd name="T26" fmla="*/ 0 w 208"/>
              <a:gd name="T27" fmla="*/ 115 h 260"/>
              <a:gd name="T28" fmla="*/ 0 w 208"/>
              <a:gd name="T29" fmla="*/ 115 h 260"/>
              <a:gd name="T30" fmla="*/ 9 w 208"/>
              <a:gd name="T31" fmla="*/ 99 h 260"/>
              <a:gd name="T32" fmla="*/ 21 w 208"/>
              <a:gd name="T33" fmla="*/ 94 h 260"/>
              <a:gd name="T34" fmla="*/ 117 w 208"/>
              <a:gd name="T35" fmla="*/ 94 h 260"/>
              <a:gd name="T36" fmla="*/ 39 w 208"/>
              <a:gd name="T37" fmla="*/ 221 h 260"/>
              <a:gd name="T38" fmla="*/ 56 w 208"/>
              <a:gd name="T39" fmla="*/ 221 h 260"/>
              <a:gd name="T40" fmla="*/ 73 w 208"/>
              <a:gd name="T41" fmla="*/ 219 h 260"/>
              <a:gd name="T42" fmla="*/ 92 w 208"/>
              <a:gd name="T43" fmla="*/ 211 h 260"/>
              <a:gd name="T44" fmla="*/ 113 w 208"/>
              <a:gd name="T45" fmla="*/ 197 h 260"/>
              <a:gd name="T46" fmla="*/ 131 w 208"/>
              <a:gd name="T47" fmla="*/ 173 h 260"/>
              <a:gd name="T48" fmla="*/ 146 w 208"/>
              <a:gd name="T49" fmla="*/ 139 h 260"/>
              <a:gd name="T50" fmla="*/ 154 w 208"/>
              <a:gd name="T51" fmla="*/ 94 h 260"/>
              <a:gd name="T52" fmla="*/ 182 w 208"/>
              <a:gd name="T53" fmla="*/ 94 h 260"/>
              <a:gd name="T54" fmla="*/ 191 w 208"/>
              <a:gd name="T55" fmla="*/ 95 h 260"/>
              <a:gd name="T56" fmla="*/ 200 w 208"/>
              <a:gd name="T57" fmla="*/ 102 h 260"/>
              <a:gd name="T58" fmla="*/ 206 w 208"/>
              <a:gd name="T59" fmla="*/ 109 h 260"/>
              <a:gd name="T60" fmla="*/ 208 w 208"/>
              <a:gd name="T61" fmla="*/ 120 h 260"/>
              <a:gd name="T62" fmla="*/ 177 w 208"/>
              <a:gd name="T63" fmla="*/ 260 h 260"/>
              <a:gd name="T64" fmla="*/ 47 w 208"/>
              <a:gd name="T65" fmla="*/ 146 h 260"/>
              <a:gd name="T66" fmla="*/ 31 w 208"/>
              <a:gd name="T67" fmla="*/ 177 h 260"/>
              <a:gd name="T68" fmla="*/ 103 w 208"/>
              <a:gd name="T69" fmla="*/ 82 h 260"/>
              <a:gd name="T70" fmla="*/ 94 w 208"/>
              <a:gd name="T71" fmla="*/ 81 h 260"/>
              <a:gd name="T72" fmla="*/ 79 w 208"/>
              <a:gd name="T73" fmla="*/ 76 h 260"/>
              <a:gd name="T74" fmla="*/ 69 w 208"/>
              <a:gd name="T75" fmla="*/ 64 h 260"/>
              <a:gd name="T76" fmla="*/ 63 w 208"/>
              <a:gd name="T77" fmla="*/ 50 h 260"/>
              <a:gd name="T78" fmla="*/ 61 w 208"/>
              <a:gd name="T79" fmla="*/ 41 h 260"/>
              <a:gd name="T80" fmla="*/ 65 w 208"/>
              <a:gd name="T81" fmla="*/ 25 h 260"/>
              <a:gd name="T82" fmla="*/ 73 w 208"/>
              <a:gd name="T83" fmla="*/ 12 h 260"/>
              <a:gd name="T84" fmla="*/ 87 w 208"/>
              <a:gd name="T85" fmla="*/ 3 h 260"/>
              <a:gd name="T86" fmla="*/ 103 w 208"/>
              <a:gd name="T87" fmla="*/ 0 h 260"/>
              <a:gd name="T88" fmla="*/ 111 w 208"/>
              <a:gd name="T89" fmla="*/ 0 h 260"/>
              <a:gd name="T90" fmla="*/ 126 w 208"/>
              <a:gd name="T91" fmla="*/ 7 h 260"/>
              <a:gd name="T92" fmla="*/ 137 w 208"/>
              <a:gd name="T93" fmla="*/ 19 h 260"/>
              <a:gd name="T94" fmla="*/ 143 w 208"/>
              <a:gd name="T95" fmla="*/ 33 h 260"/>
              <a:gd name="T96" fmla="*/ 144 w 208"/>
              <a:gd name="T97" fmla="*/ 41 h 260"/>
              <a:gd name="T98" fmla="*/ 141 w 208"/>
              <a:gd name="T99" fmla="*/ 57 h 260"/>
              <a:gd name="T100" fmla="*/ 131 w 208"/>
              <a:gd name="T101" fmla="*/ 70 h 260"/>
              <a:gd name="T102" fmla="*/ 118 w 208"/>
              <a:gd name="T103" fmla="*/ 80 h 260"/>
              <a:gd name="T104" fmla="*/ 103 w 208"/>
              <a:gd name="T105" fmla="*/ 8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260">
                <a:moveTo>
                  <a:pt x="177" y="260"/>
                </a:moveTo>
                <a:lnTo>
                  <a:pt x="177" y="156"/>
                </a:lnTo>
                <a:lnTo>
                  <a:pt x="177" y="156"/>
                </a:lnTo>
                <a:lnTo>
                  <a:pt x="176" y="152"/>
                </a:lnTo>
                <a:lnTo>
                  <a:pt x="173" y="148"/>
                </a:lnTo>
                <a:lnTo>
                  <a:pt x="170" y="146"/>
                </a:lnTo>
                <a:lnTo>
                  <a:pt x="167" y="146"/>
                </a:lnTo>
                <a:lnTo>
                  <a:pt x="167" y="146"/>
                </a:lnTo>
                <a:lnTo>
                  <a:pt x="161" y="146"/>
                </a:lnTo>
                <a:lnTo>
                  <a:pt x="159" y="148"/>
                </a:lnTo>
                <a:lnTo>
                  <a:pt x="156" y="152"/>
                </a:lnTo>
                <a:lnTo>
                  <a:pt x="156" y="156"/>
                </a:lnTo>
                <a:lnTo>
                  <a:pt x="156" y="260"/>
                </a:lnTo>
                <a:lnTo>
                  <a:pt x="31" y="260"/>
                </a:lnTo>
                <a:lnTo>
                  <a:pt x="31" y="224"/>
                </a:lnTo>
                <a:lnTo>
                  <a:pt x="26" y="224"/>
                </a:lnTo>
                <a:lnTo>
                  <a:pt x="26" y="224"/>
                </a:lnTo>
                <a:lnTo>
                  <a:pt x="20" y="223"/>
                </a:lnTo>
                <a:lnTo>
                  <a:pt x="16" y="221"/>
                </a:lnTo>
                <a:lnTo>
                  <a:pt x="11" y="219"/>
                </a:lnTo>
                <a:lnTo>
                  <a:pt x="7" y="216"/>
                </a:lnTo>
                <a:lnTo>
                  <a:pt x="4" y="212"/>
                </a:lnTo>
                <a:lnTo>
                  <a:pt x="1" y="207"/>
                </a:lnTo>
                <a:lnTo>
                  <a:pt x="0" y="203"/>
                </a:lnTo>
                <a:lnTo>
                  <a:pt x="0" y="198"/>
                </a:lnTo>
                <a:lnTo>
                  <a:pt x="0" y="151"/>
                </a:lnTo>
                <a:lnTo>
                  <a:pt x="0" y="120"/>
                </a:lnTo>
                <a:lnTo>
                  <a:pt x="0" y="115"/>
                </a:lnTo>
                <a:lnTo>
                  <a:pt x="0" y="115"/>
                </a:lnTo>
                <a:lnTo>
                  <a:pt x="0" y="115"/>
                </a:lnTo>
                <a:lnTo>
                  <a:pt x="3" y="106"/>
                </a:lnTo>
                <a:lnTo>
                  <a:pt x="9" y="99"/>
                </a:lnTo>
                <a:lnTo>
                  <a:pt x="17" y="95"/>
                </a:lnTo>
                <a:lnTo>
                  <a:pt x="21" y="94"/>
                </a:lnTo>
                <a:lnTo>
                  <a:pt x="26" y="94"/>
                </a:lnTo>
                <a:lnTo>
                  <a:pt x="117" y="94"/>
                </a:lnTo>
                <a:lnTo>
                  <a:pt x="39" y="221"/>
                </a:lnTo>
                <a:lnTo>
                  <a:pt x="39" y="221"/>
                </a:lnTo>
                <a:lnTo>
                  <a:pt x="44" y="223"/>
                </a:lnTo>
                <a:lnTo>
                  <a:pt x="56" y="221"/>
                </a:lnTo>
                <a:lnTo>
                  <a:pt x="64" y="221"/>
                </a:lnTo>
                <a:lnTo>
                  <a:pt x="73" y="219"/>
                </a:lnTo>
                <a:lnTo>
                  <a:pt x="82" y="216"/>
                </a:lnTo>
                <a:lnTo>
                  <a:pt x="92" y="211"/>
                </a:lnTo>
                <a:lnTo>
                  <a:pt x="103" y="204"/>
                </a:lnTo>
                <a:lnTo>
                  <a:pt x="113" y="197"/>
                </a:lnTo>
                <a:lnTo>
                  <a:pt x="122" y="186"/>
                </a:lnTo>
                <a:lnTo>
                  <a:pt x="131" y="173"/>
                </a:lnTo>
                <a:lnTo>
                  <a:pt x="139" y="158"/>
                </a:lnTo>
                <a:lnTo>
                  <a:pt x="146" y="139"/>
                </a:lnTo>
                <a:lnTo>
                  <a:pt x="150" y="119"/>
                </a:lnTo>
                <a:lnTo>
                  <a:pt x="154" y="94"/>
                </a:lnTo>
                <a:lnTo>
                  <a:pt x="182" y="94"/>
                </a:lnTo>
                <a:lnTo>
                  <a:pt x="182" y="94"/>
                </a:lnTo>
                <a:lnTo>
                  <a:pt x="187" y="94"/>
                </a:lnTo>
                <a:lnTo>
                  <a:pt x="191" y="95"/>
                </a:lnTo>
                <a:lnTo>
                  <a:pt x="196" y="98"/>
                </a:lnTo>
                <a:lnTo>
                  <a:pt x="200" y="102"/>
                </a:lnTo>
                <a:lnTo>
                  <a:pt x="203" y="104"/>
                </a:lnTo>
                <a:lnTo>
                  <a:pt x="206" y="109"/>
                </a:lnTo>
                <a:lnTo>
                  <a:pt x="207" y="115"/>
                </a:lnTo>
                <a:lnTo>
                  <a:pt x="208" y="120"/>
                </a:lnTo>
                <a:lnTo>
                  <a:pt x="208" y="260"/>
                </a:lnTo>
                <a:lnTo>
                  <a:pt x="177" y="260"/>
                </a:lnTo>
                <a:close/>
                <a:moveTo>
                  <a:pt x="47" y="177"/>
                </a:moveTo>
                <a:lnTo>
                  <a:pt x="47" y="146"/>
                </a:lnTo>
                <a:lnTo>
                  <a:pt x="31" y="146"/>
                </a:lnTo>
                <a:lnTo>
                  <a:pt x="31" y="177"/>
                </a:lnTo>
                <a:lnTo>
                  <a:pt x="47" y="177"/>
                </a:lnTo>
                <a:close/>
                <a:moveTo>
                  <a:pt x="103" y="82"/>
                </a:moveTo>
                <a:lnTo>
                  <a:pt x="103" y="82"/>
                </a:lnTo>
                <a:lnTo>
                  <a:pt x="94" y="81"/>
                </a:lnTo>
                <a:lnTo>
                  <a:pt x="87" y="80"/>
                </a:lnTo>
                <a:lnTo>
                  <a:pt x="79" y="76"/>
                </a:lnTo>
                <a:lnTo>
                  <a:pt x="73" y="70"/>
                </a:lnTo>
                <a:lnTo>
                  <a:pt x="69" y="64"/>
                </a:lnTo>
                <a:lnTo>
                  <a:pt x="65" y="57"/>
                </a:lnTo>
                <a:lnTo>
                  <a:pt x="63" y="50"/>
                </a:lnTo>
                <a:lnTo>
                  <a:pt x="61" y="41"/>
                </a:lnTo>
                <a:lnTo>
                  <a:pt x="61" y="41"/>
                </a:lnTo>
                <a:lnTo>
                  <a:pt x="63" y="33"/>
                </a:lnTo>
                <a:lnTo>
                  <a:pt x="65" y="25"/>
                </a:lnTo>
                <a:lnTo>
                  <a:pt x="69" y="19"/>
                </a:lnTo>
                <a:lnTo>
                  <a:pt x="73" y="12"/>
                </a:lnTo>
                <a:lnTo>
                  <a:pt x="79" y="7"/>
                </a:lnTo>
                <a:lnTo>
                  <a:pt x="87" y="3"/>
                </a:lnTo>
                <a:lnTo>
                  <a:pt x="94" y="0"/>
                </a:lnTo>
                <a:lnTo>
                  <a:pt x="103" y="0"/>
                </a:lnTo>
                <a:lnTo>
                  <a:pt x="103" y="0"/>
                </a:lnTo>
                <a:lnTo>
                  <a:pt x="111" y="0"/>
                </a:lnTo>
                <a:lnTo>
                  <a:pt x="118" y="3"/>
                </a:lnTo>
                <a:lnTo>
                  <a:pt x="126" y="7"/>
                </a:lnTo>
                <a:lnTo>
                  <a:pt x="131" y="12"/>
                </a:lnTo>
                <a:lnTo>
                  <a:pt x="137" y="19"/>
                </a:lnTo>
                <a:lnTo>
                  <a:pt x="141" y="25"/>
                </a:lnTo>
                <a:lnTo>
                  <a:pt x="143" y="33"/>
                </a:lnTo>
                <a:lnTo>
                  <a:pt x="144" y="41"/>
                </a:lnTo>
                <a:lnTo>
                  <a:pt x="144" y="41"/>
                </a:lnTo>
                <a:lnTo>
                  <a:pt x="143" y="50"/>
                </a:lnTo>
                <a:lnTo>
                  <a:pt x="141" y="57"/>
                </a:lnTo>
                <a:lnTo>
                  <a:pt x="137" y="64"/>
                </a:lnTo>
                <a:lnTo>
                  <a:pt x="131" y="70"/>
                </a:lnTo>
                <a:lnTo>
                  <a:pt x="126" y="76"/>
                </a:lnTo>
                <a:lnTo>
                  <a:pt x="118" y="80"/>
                </a:lnTo>
                <a:lnTo>
                  <a:pt x="111" y="81"/>
                </a:lnTo>
                <a:lnTo>
                  <a:pt x="103" y="82"/>
                </a:lnTo>
                <a:lnTo>
                  <a:pt x="103" y="82"/>
                </a:lnTo>
                <a:close/>
              </a:path>
            </a:pathLst>
          </a:custGeom>
          <a:solidFill>
            <a:srgbClr val="FE5817"/>
          </a:solidFill>
          <a:ln>
            <a:noFill/>
          </a:ln>
        </p:spPr>
        <p:txBody>
          <a:bodyPr vert="horz" wrap="square" lIns="63305" tIns="31652" rIns="63305" bIns="31652"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45"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7" name="任意多边形 296"/>
          <p:cNvSpPr/>
          <p:nvPr/>
        </p:nvSpPr>
        <p:spPr>
          <a:xfrm>
            <a:off x="5105400" y="3701142"/>
            <a:ext cx="0" cy="718457"/>
          </a:xfrm>
          <a:custGeom>
            <a:avLst/>
            <a:gdLst>
              <a:gd name="connsiteX0" fmla="*/ 0 w 0"/>
              <a:gd name="connsiteY0" fmla="*/ 0 h 718457"/>
              <a:gd name="connsiteX1" fmla="*/ 0 w 0"/>
              <a:gd name="connsiteY1" fmla="*/ 718457 h 718457"/>
            </a:gdLst>
            <a:ahLst/>
            <a:cxnLst>
              <a:cxn ang="0">
                <a:pos x="connsiteX0" y="connsiteY0"/>
              </a:cxn>
              <a:cxn ang="0">
                <a:pos x="connsiteX1" y="connsiteY1"/>
              </a:cxn>
            </a:cxnLst>
            <a:rect l="l" t="t" r="r" b="b"/>
            <a:pathLst>
              <a:path h="718457">
                <a:moveTo>
                  <a:pt x="0" y="0"/>
                </a:moveTo>
                <a:lnTo>
                  <a:pt x="0" y="718457"/>
                </a:lnTo>
              </a:path>
            </a:pathLst>
          </a:custGeom>
          <a:noFill/>
          <a:ln w="12700">
            <a:solidFill>
              <a:schemeClr val="bg1">
                <a:lumMod val="50000"/>
              </a:schemeClr>
            </a:solidFill>
            <a:prstDash val="solid"/>
            <a:headEnd type="ova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8" name="任意多边形 297"/>
          <p:cNvSpPr/>
          <p:nvPr/>
        </p:nvSpPr>
        <p:spPr>
          <a:xfrm>
            <a:off x="9056915" y="3701142"/>
            <a:ext cx="0" cy="718457"/>
          </a:xfrm>
          <a:custGeom>
            <a:avLst/>
            <a:gdLst>
              <a:gd name="connsiteX0" fmla="*/ 0 w 0"/>
              <a:gd name="connsiteY0" fmla="*/ 0 h 718457"/>
              <a:gd name="connsiteX1" fmla="*/ 0 w 0"/>
              <a:gd name="connsiteY1" fmla="*/ 718457 h 718457"/>
            </a:gdLst>
            <a:ahLst/>
            <a:cxnLst>
              <a:cxn ang="0">
                <a:pos x="connsiteX0" y="connsiteY0"/>
              </a:cxn>
              <a:cxn ang="0">
                <a:pos x="connsiteX1" y="connsiteY1"/>
              </a:cxn>
            </a:cxnLst>
            <a:rect l="l" t="t" r="r" b="b"/>
            <a:pathLst>
              <a:path h="718457">
                <a:moveTo>
                  <a:pt x="0" y="0"/>
                </a:moveTo>
                <a:lnTo>
                  <a:pt x="0" y="718457"/>
                </a:lnTo>
              </a:path>
            </a:pathLst>
          </a:custGeom>
          <a:noFill/>
          <a:ln w="12700">
            <a:solidFill>
              <a:schemeClr val="bg1">
                <a:lumMod val="50000"/>
              </a:schemeClr>
            </a:solidFill>
            <a:prstDash val="solid"/>
            <a:headEnd type="ova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299" name="任意多边形 298"/>
          <p:cNvSpPr/>
          <p:nvPr/>
        </p:nvSpPr>
        <p:spPr>
          <a:xfrm>
            <a:off x="6999514" y="2601685"/>
            <a:ext cx="0" cy="217714"/>
          </a:xfrm>
          <a:custGeom>
            <a:avLst/>
            <a:gdLst>
              <a:gd name="connsiteX0" fmla="*/ 0 w 0"/>
              <a:gd name="connsiteY0" fmla="*/ 217714 h 217714"/>
              <a:gd name="connsiteX1" fmla="*/ 0 w 0"/>
              <a:gd name="connsiteY1" fmla="*/ 0 h 217714"/>
            </a:gdLst>
            <a:ahLst/>
            <a:cxnLst>
              <a:cxn ang="0">
                <a:pos x="connsiteX0" y="connsiteY0"/>
              </a:cxn>
              <a:cxn ang="0">
                <a:pos x="connsiteX1" y="connsiteY1"/>
              </a:cxn>
            </a:cxnLst>
            <a:rect l="l" t="t" r="r" b="b"/>
            <a:pathLst>
              <a:path h="217714">
                <a:moveTo>
                  <a:pt x="0" y="217714"/>
                </a:moveTo>
                <a:lnTo>
                  <a:pt x="0" y="0"/>
                </a:lnTo>
              </a:path>
            </a:pathLst>
          </a:custGeom>
          <a:noFill/>
          <a:ln w="12700">
            <a:solidFill>
              <a:schemeClr val="bg1">
                <a:lumMod val="50000"/>
              </a:schemeClr>
            </a:solidFill>
            <a:prstDash val="solid"/>
            <a:headEnd type="ova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0" name="任意多边形 299"/>
          <p:cNvSpPr/>
          <p:nvPr/>
        </p:nvSpPr>
        <p:spPr>
          <a:xfrm>
            <a:off x="3058885" y="2558143"/>
            <a:ext cx="0" cy="217714"/>
          </a:xfrm>
          <a:custGeom>
            <a:avLst/>
            <a:gdLst>
              <a:gd name="connsiteX0" fmla="*/ 0 w 0"/>
              <a:gd name="connsiteY0" fmla="*/ 217714 h 217714"/>
              <a:gd name="connsiteX1" fmla="*/ 0 w 0"/>
              <a:gd name="connsiteY1" fmla="*/ 0 h 217714"/>
            </a:gdLst>
            <a:ahLst/>
            <a:cxnLst>
              <a:cxn ang="0">
                <a:pos x="connsiteX0" y="connsiteY0"/>
              </a:cxn>
              <a:cxn ang="0">
                <a:pos x="connsiteX1" y="connsiteY1"/>
              </a:cxn>
            </a:cxnLst>
            <a:rect l="l" t="t" r="r" b="b"/>
            <a:pathLst>
              <a:path h="217714">
                <a:moveTo>
                  <a:pt x="0" y="217714"/>
                </a:moveTo>
                <a:lnTo>
                  <a:pt x="0" y="0"/>
                </a:lnTo>
              </a:path>
            </a:pathLst>
          </a:custGeom>
          <a:noFill/>
          <a:ln w="12700">
            <a:solidFill>
              <a:schemeClr val="bg1">
                <a:lumMod val="50000"/>
              </a:schemeClr>
            </a:solidFill>
            <a:prstDash val="solid"/>
            <a:headEnd type="ova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301" name="任意多边形 300"/>
          <p:cNvSpPr/>
          <p:nvPr/>
        </p:nvSpPr>
        <p:spPr>
          <a:xfrm>
            <a:off x="10961913" y="2558143"/>
            <a:ext cx="0" cy="217714"/>
          </a:xfrm>
          <a:custGeom>
            <a:avLst/>
            <a:gdLst>
              <a:gd name="connsiteX0" fmla="*/ 0 w 0"/>
              <a:gd name="connsiteY0" fmla="*/ 217714 h 217714"/>
              <a:gd name="connsiteX1" fmla="*/ 0 w 0"/>
              <a:gd name="connsiteY1" fmla="*/ 0 h 217714"/>
            </a:gdLst>
            <a:ahLst/>
            <a:cxnLst>
              <a:cxn ang="0">
                <a:pos x="connsiteX0" y="connsiteY0"/>
              </a:cxn>
              <a:cxn ang="0">
                <a:pos x="connsiteX1" y="connsiteY1"/>
              </a:cxn>
            </a:cxnLst>
            <a:rect l="l" t="t" r="r" b="b"/>
            <a:pathLst>
              <a:path h="217714">
                <a:moveTo>
                  <a:pt x="0" y="217714"/>
                </a:moveTo>
                <a:lnTo>
                  <a:pt x="0" y="0"/>
                </a:lnTo>
              </a:path>
            </a:pathLst>
          </a:custGeom>
          <a:noFill/>
          <a:ln w="12700">
            <a:solidFill>
              <a:schemeClr val="bg1">
                <a:lumMod val="50000"/>
              </a:schemeClr>
            </a:solidFill>
            <a:prstDash val="solid"/>
            <a:headEnd type="ova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189"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流程</a:t>
            </a:r>
            <a:endParaRPr lang="zh-CN" altLang="en-US" sz="2400" dirty="0">
              <a:latin typeface="+mj-ea"/>
            </a:endParaRPr>
          </a:p>
        </p:txBody>
      </p:sp>
      <p:pic>
        <p:nvPicPr>
          <p:cNvPr id="186" name="图片 18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矩形 78"/>
          <p:cNvSpPr/>
          <p:nvPr/>
        </p:nvSpPr>
        <p:spPr>
          <a:xfrm rot="20369570">
            <a:off x="930723" y="3318786"/>
            <a:ext cx="8658267" cy="170162"/>
          </a:xfrm>
          <a:prstGeom prst="rect">
            <a:avLst/>
          </a:prstGeom>
          <a:solidFill>
            <a:schemeClr val="bg1">
              <a:lumMod val="75000"/>
            </a:schemeClr>
          </a:solidFill>
          <a:ln w="6350">
            <a:noFill/>
            <a:miter lim="800000"/>
          </a:ln>
          <a:effectLst/>
        </p:spPr>
        <p:txBody>
          <a:bodyPr vert="horz" wrap="square" lIns="0" tIns="0" rIns="0" bIns="0" numCol="1" rtlCol="0" anchor="ctr" anchorCtr="0" compatLnSpc="1">
            <a:noAutofit/>
          </a:bodyPr>
          <a:lstStyle/>
          <a:p>
            <a:pPr marL="0" marR="0" lvl="0" indent="0" algn="ctr" defTabSz="914400" rtl="0" eaLnBrk="1" fontAlgn="base" latinLnBrk="0" hangingPunct="1">
              <a:lnSpc>
                <a:spcPct val="100000"/>
              </a:lnSpc>
              <a:spcBef>
                <a:spcPts val="0"/>
              </a:spcBef>
              <a:spcAft>
                <a:spcPts val="0"/>
              </a:spcAft>
              <a:buClrTx/>
              <a:buSzTx/>
              <a:buFontTx/>
              <a:buNone/>
              <a:defRPr/>
            </a:pPr>
            <a:endParaRPr kumimoji="0" lang="zh-CN" altLang="en-US" sz="2000" b="1" i="0" u="none" strike="noStrike" kern="0" cap="none" spc="0" normalizeH="0" baseline="0" noProof="0" dirty="0">
              <a:ln>
                <a:noFill/>
              </a:ln>
              <a:solidFill>
                <a:srgbClr val="FFFFFF"/>
              </a:solidFill>
              <a:effectLst/>
              <a:uLnTx/>
              <a:uFillTx/>
              <a:latin typeface="Arial" panose="020B0604020202020204"/>
              <a:ea typeface="华文楷体" panose="02010600040101010101" charset="-122"/>
              <a:cs typeface="+mn-ea"/>
              <a:sym typeface="+mn-lt"/>
            </a:endParaRPr>
          </a:p>
        </p:txBody>
      </p:sp>
      <p:graphicFrame>
        <p:nvGraphicFramePr>
          <p:cNvPr id="14" name="对象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161" name="think-cell Slide" r:id="rId2" imgW="12700" imgH="12700" progId="TCLayout.ActiveDocument.1">
                  <p:embed/>
                </p:oleObj>
              </mc:Choice>
              <mc:Fallback>
                <p:oleObj name="think-cell Slide" r:id="rId2" imgW="12700" imgH="12700" progId="TCLayout.ActiveDocument.1">
                  <p:embed/>
                  <p:pic>
                    <p:nvPicPr>
                      <p:cNvPr id="0" name="对象 13"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78" name="任意多边形 77"/>
          <p:cNvSpPr/>
          <p:nvPr/>
        </p:nvSpPr>
        <p:spPr>
          <a:xfrm>
            <a:off x="1206766" y="4677968"/>
            <a:ext cx="10136712" cy="451076"/>
          </a:xfrm>
          <a:custGeom>
            <a:avLst/>
            <a:gdLst>
              <a:gd name="connsiteX0" fmla="*/ 9913688 w 10136712"/>
              <a:gd name="connsiteY0" fmla="*/ 0 h 451076"/>
              <a:gd name="connsiteX1" fmla="*/ 10136712 w 10136712"/>
              <a:gd name="connsiteY1" fmla="*/ 225538 h 451076"/>
              <a:gd name="connsiteX2" fmla="*/ 9913688 w 10136712"/>
              <a:gd name="connsiteY2" fmla="*/ 451076 h 451076"/>
              <a:gd name="connsiteX3" fmla="*/ 9913688 w 10136712"/>
              <a:gd name="connsiteY3" fmla="*/ 327606 h 451076"/>
              <a:gd name="connsiteX4" fmla="*/ 0 w 10136712"/>
              <a:gd name="connsiteY4" fmla="*/ 327606 h 451076"/>
              <a:gd name="connsiteX5" fmla="*/ 0 w 10136712"/>
              <a:gd name="connsiteY5" fmla="*/ 138033 h 451076"/>
              <a:gd name="connsiteX6" fmla="*/ 9913688 w 10136712"/>
              <a:gd name="connsiteY6" fmla="*/ 138033 h 45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36712" h="451076">
                <a:moveTo>
                  <a:pt x="9913688" y="0"/>
                </a:moveTo>
                <a:lnTo>
                  <a:pt x="10136712" y="225538"/>
                </a:lnTo>
                <a:lnTo>
                  <a:pt x="9913688" y="451076"/>
                </a:lnTo>
                <a:lnTo>
                  <a:pt x="9913688" y="327606"/>
                </a:lnTo>
                <a:lnTo>
                  <a:pt x="0" y="327606"/>
                </a:lnTo>
                <a:lnTo>
                  <a:pt x="0" y="138033"/>
                </a:lnTo>
                <a:lnTo>
                  <a:pt x="9913688" y="138033"/>
                </a:lnTo>
                <a:close/>
              </a:path>
            </a:pathLst>
          </a:custGeom>
          <a:solidFill>
            <a:schemeClr val="bg1">
              <a:lumMod val="75000"/>
            </a:schemeClr>
          </a:solidFill>
          <a:ln w="6350">
            <a:noFill/>
            <a:miter lim="800000"/>
          </a:ln>
          <a:effectLst/>
        </p:spPr>
        <p:txBody>
          <a:bodyPr vert="horz" wrap="square" lIns="0" tIns="0" rIns="0" bIns="0" numCol="1" rtlCol="0" anchor="ctr" anchorCtr="0" compatLnSpc="1">
            <a:noAutofit/>
          </a:bodyPr>
          <a:lstStyle/>
          <a:p>
            <a:pPr marL="0" marR="0" lvl="0" indent="0" algn="ctr" defTabSz="914400" rtl="0" eaLnBrk="1" fontAlgn="base" latinLnBrk="0" hangingPunct="1">
              <a:lnSpc>
                <a:spcPct val="100000"/>
              </a:lnSpc>
              <a:spcBef>
                <a:spcPts val="0"/>
              </a:spcBef>
              <a:spcAft>
                <a:spcPts val="0"/>
              </a:spcAft>
              <a:buClrTx/>
              <a:buSzTx/>
              <a:buFontTx/>
              <a:buNone/>
              <a:defRPr/>
            </a:pPr>
            <a:endParaRPr kumimoji="0" lang="zh-CN" altLang="en-US" sz="2000" b="1" i="0" u="none" strike="noStrike" kern="0" cap="none" spc="0" normalizeH="0" baseline="0" noProof="0" dirty="0">
              <a:ln>
                <a:noFill/>
              </a:ln>
              <a:solidFill>
                <a:srgbClr val="FFFFFF"/>
              </a:solidFill>
              <a:effectLst/>
              <a:uLnTx/>
              <a:uFillTx/>
              <a:latin typeface="Arial" panose="020B0604020202020204"/>
              <a:ea typeface="华文楷体" panose="02010600040101010101" charset="-122"/>
              <a:cs typeface="+mn-ea"/>
              <a:sym typeface="+mn-lt"/>
            </a:endParaRPr>
          </a:p>
        </p:txBody>
      </p:sp>
      <p:sp>
        <p:nvSpPr>
          <p:cNvPr id="4" name="矩形 3"/>
          <p:cNvSpPr/>
          <p:nvPr/>
        </p:nvSpPr>
        <p:spPr>
          <a:xfrm>
            <a:off x="2085008" y="1774492"/>
            <a:ext cx="7259444" cy="189571"/>
          </a:xfrm>
          <a:prstGeom prst="rect">
            <a:avLst/>
          </a:prstGeom>
          <a:solidFill>
            <a:schemeClr val="bg1">
              <a:lumMod val="75000"/>
            </a:schemeClr>
          </a:solidFill>
          <a:ln w="6350">
            <a:noFill/>
            <a:miter lim="800000"/>
          </a:ln>
          <a:effectLst/>
        </p:spPr>
        <p:txBody>
          <a:bodyPr vert="horz" wrap="square" lIns="0" tIns="0" rIns="0" bIns="0" numCol="1" rtlCol="0" anchor="ctr" anchorCtr="0" compatLnSpc="1">
            <a:noAutofit/>
          </a:bodyPr>
          <a:lstStyle/>
          <a:p>
            <a:pPr marL="0" marR="0" lvl="0" indent="0" algn="ctr" defTabSz="914400" rtl="0" eaLnBrk="1" fontAlgn="base" latinLnBrk="0" hangingPunct="1">
              <a:lnSpc>
                <a:spcPct val="100000"/>
              </a:lnSpc>
              <a:spcBef>
                <a:spcPts val="0"/>
              </a:spcBef>
              <a:spcAft>
                <a:spcPts val="0"/>
              </a:spcAft>
              <a:buClrTx/>
              <a:buSzTx/>
              <a:buFontTx/>
              <a:buNone/>
              <a:defRPr/>
            </a:pPr>
            <a:endParaRPr kumimoji="0" lang="zh-CN" altLang="en-US" sz="2000" b="1" i="0" u="none" strike="noStrike" kern="0" cap="none" spc="0" normalizeH="0" baseline="0" noProof="0" dirty="0">
              <a:ln>
                <a:noFill/>
              </a:ln>
              <a:solidFill>
                <a:srgbClr val="FFFFFF"/>
              </a:solidFill>
              <a:effectLst/>
              <a:uLnTx/>
              <a:uFillTx/>
              <a:latin typeface="Arial" panose="020B0604020202020204"/>
              <a:ea typeface="华文楷体" panose="02010600040101010101" charset="-122"/>
              <a:cs typeface="+mn-ea"/>
              <a:sym typeface="+mn-lt"/>
            </a:endParaRPr>
          </a:p>
        </p:txBody>
      </p:sp>
      <p:sp>
        <p:nvSpPr>
          <p:cNvPr id="21" name="AutoShape 4"/>
          <p:cNvSpPr>
            <a:spLocks noChangeArrowheads="1"/>
          </p:cNvSpPr>
          <p:nvPr/>
        </p:nvSpPr>
        <p:spPr bwMode="auto">
          <a:xfrm>
            <a:off x="6780538" y="1196380"/>
            <a:ext cx="1684568" cy="1334948"/>
          </a:xfrm>
          <a:prstGeom prst="hexagon">
            <a:avLst>
              <a:gd name="adj" fmla="val 27042"/>
              <a:gd name="vf" fmla="val 115470"/>
            </a:avLst>
          </a:prstGeom>
          <a:solidFill>
            <a:schemeClr val="bg1"/>
          </a:solidFill>
          <a:ln w="38100">
            <a:solidFill>
              <a:srgbClr val="FE5817"/>
            </a:solidFill>
            <a:miter lim="800000"/>
          </a:ln>
          <a:effectLst>
            <a:reflection stA="26000" endPos="13000" dist="38100" dir="5400000" sy="-100000" algn="bl" rotWithShape="0"/>
          </a:effectLst>
        </p:spPr>
        <p:txBody>
          <a:bodyPr lIns="0" tIns="0" rIns="0" bIns="1116000" anchor="t"/>
          <a:lstStyle/>
          <a:p>
            <a:pPr algn="ctr"/>
            <a:r>
              <a:rPr lang="en-US" altLang="zh-CN" sz="2000" b="1" dirty="0">
                <a:solidFill>
                  <a:prstClr val="black">
                    <a:lumMod val="85000"/>
                    <a:lumOff val="15000"/>
                  </a:prstClr>
                </a:solidFill>
                <a:latin typeface="Arial" panose="020B0604020202020204"/>
                <a:ea typeface="华文楷体" panose="02010600040101010101" charset="-122"/>
                <a:cs typeface="+mn-ea"/>
                <a:sym typeface="+mn-lt"/>
              </a:rPr>
              <a:t>XXX</a:t>
            </a:r>
            <a:endParaRPr lang="en-US" sz="2000" b="1" dirty="0">
              <a:solidFill>
                <a:prstClr val="black">
                  <a:lumMod val="85000"/>
                  <a:lumOff val="15000"/>
                </a:prstClr>
              </a:solidFill>
              <a:latin typeface="Arial" panose="020B0604020202020204"/>
              <a:ea typeface="华文楷体" panose="02010600040101010101" charset="-122"/>
              <a:cs typeface="+mn-ea"/>
              <a:sym typeface="+mn-lt"/>
            </a:endParaRPr>
          </a:p>
        </p:txBody>
      </p:sp>
      <p:sp>
        <p:nvSpPr>
          <p:cNvPr id="22" name="AutoShape 4"/>
          <p:cNvSpPr>
            <a:spLocks noChangeArrowheads="1"/>
          </p:cNvSpPr>
          <p:nvPr/>
        </p:nvSpPr>
        <p:spPr bwMode="auto">
          <a:xfrm>
            <a:off x="1630921" y="4178482"/>
            <a:ext cx="1684568" cy="1334948"/>
          </a:xfrm>
          <a:prstGeom prst="hexagon">
            <a:avLst>
              <a:gd name="adj" fmla="val 27042"/>
              <a:gd name="vf" fmla="val 115470"/>
            </a:avLst>
          </a:prstGeom>
          <a:solidFill>
            <a:schemeClr val="bg1"/>
          </a:solidFill>
          <a:ln w="38100">
            <a:solidFill>
              <a:srgbClr val="FE5817"/>
            </a:solidFill>
            <a:miter lim="800000"/>
          </a:ln>
          <a:effectLst>
            <a:reflection stA="26000" endPos="13000" dist="38100" dir="5400000" sy="-100000" algn="bl" rotWithShape="0"/>
          </a:effectLst>
        </p:spPr>
        <p:txBody>
          <a:bodyPr lIns="0" tIns="0" rIns="0" bIns="1116000" anchor="t"/>
          <a:lstStyle/>
          <a:p>
            <a:pPr algn="ctr"/>
            <a:r>
              <a:rPr lang="en-US" altLang="zh-CN" sz="2000" b="1" dirty="0">
                <a:solidFill>
                  <a:prstClr val="black">
                    <a:lumMod val="85000"/>
                    <a:lumOff val="15000"/>
                  </a:prstClr>
                </a:solidFill>
                <a:latin typeface="Arial" panose="020B0604020202020204"/>
                <a:ea typeface="华文楷体" panose="02010600040101010101" charset="-122"/>
                <a:cs typeface="+mn-ea"/>
                <a:sym typeface="+mn-lt"/>
              </a:rPr>
              <a:t>XXX</a:t>
            </a:r>
            <a:endParaRPr lang="en-US" sz="2000" b="1" dirty="0">
              <a:solidFill>
                <a:prstClr val="black">
                  <a:lumMod val="85000"/>
                  <a:lumOff val="15000"/>
                </a:prstClr>
              </a:solidFill>
              <a:latin typeface="Arial" panose="020B0604020202020204"/>
              <a:ea typeface="华文楷体" panose="02010600040101010101" charset="-122"/>
              <a:cs typeface="+mn-ea"/>
              <a:sym typeface="+mn-lt"/>
            </a:endParaRPr>
          </a:p>
        </p:txBody>
      </p:sp>
      <p:sp>
        <p:nvSpPr>
          <p:cNvPr id="23" name="AutoShape 4"/>
          <p:cNvSpPr>
            <a:spLocks noChangeArrowheads="1"/>
          </p:cNvSpPr>
          <p:nvPr/>
        </p:nvSpPr>
        <p:spPr bwMode="auto">
          <a:xfrm>
            <a:off x="3521630" y="4178482"/>
            <a:ext cx="1684568" cy="1334948"/>
          </a:xfrm>
          <a:prstGeom prst="hexagon">
            <a:avLst>
              <a:gd name="adj" fmla="val 27042"/>
              <a:gd name="vf" fmla="val 115470"/>
            </a:avLst>
          </a:prstGeom>
          <a:solidFill>
            <a:schemeClr val="bg1"/>
          </a:solidFill>
          <a:ln w="38100">
            <a:solidFill>
              <a:srgbClr val="FE5817"/>
            </a:solidFill>
            <a:miter lim="800000"/>
          </a:ln>
          <a:effectLst>
            <a:reflection stA="26000" endPos="13000" dist="38100" dir="5400000" sy="-100000" algn="bl" rotWithShape="0"/>
          </a:effectLst>
        </p:spPr>
        <p:txBody>
          <a:bodyPr lIns="0" tIns="0" rIns="0" bIns="1116000" anchor="t"/>
          <a:lstStyle/>
          <a:p>
            <a:pPr algn="ctr"/>
            <a:r>
              <a:rPr lang="en-US" altLang="zh-CN" sz="2000" b="1" dirty="0">
                <a:solidFill>
                  <a:prstClr val="black">
                    <a:lumMod val="85000"/>
                    <a:lumOff val="15000"/>
                  </a:prstClr>
                </a:solidFill>
                <a:latin typeface="Arial" panose="020B0604020202020204"/>
                <a:ea typeface="华文楷体" panose="02010600040101010101" charset="-122"/>
                <a:cs typeface="+mn-ea"/>
                <a:sym typeface="+mn-lt"/>
              </a:rPr>
              <a:t>XXX</a:t>
            </a:r>
            <a:endParaRPr lang="en-US" sz="2000" b="1" dirty="0">
              <a:solidFill>
                <a:prstClr val="black">
                  <a:lumMod val="85000"/>
                  <a:lumOff val="15000"/>
                </a:prstClr>
              </a:solidFill>
              <a:latin typeface="Arial" panose="020B0604020202020204"/>
              <a:ea typeface="华文楷体" panose="02010600040101010101" charset="-122"/>
              <a:cs typeface="+mn-ea"/>
              <a:sym typeface="+mn-lt"/>
            </a:endParaRPr>
          </a:p>
        </p:txBody>
      </p:sp>
      <p:sp>
        <p:nvSpPr>
          <p:cNvPr id="24" name="AutoShape 4"/>
          <p:cNvSpPr>
            <a:spLocks noChangeArrowheads="1"/>
          </p:cNvSpPr>
          <p:nvPr/>
        </p:nvSpPr>
        <p:spPr bwMode="auto">
          <a:xfrm>
            <a:off x="5412340" y="4178482"/>
            <a:ext cx="1684568" cy="1334948"/>
          </a:xfrm>
          <a:prstGeom prst="hexagon">
            <a:avLst>
              <a:gd name="adj" fmla="val 27042"/>
              <a:gd name="vf" fmla="val 115470"/>
            </a:avLst>
          </a:prstGeom>
          <a:solidFill>
            <a:schemeClr val="bg1"/>
          </a:solidFill>
          <a:ln w="38100">
            <a:solidFill>
              <a:srgbClr val="FE5817"/>
            </a:solidFill>
            <a:miter lim="800000"/>
          </a:ln>
          <a:effectLst>
            <a:reflection stA="26000" endPos="13000" dist="38100" dir="5400000" sy="-100000" algn="bl" rotWithShape="0"/>
          </a:effectLst>
        </p:spPr>
        <p:txBody>
          <a:bodyPr lIns="0" tIns="0" rIns="0" bIns="1116000" anchor="t"/>
          <a:lstStyle/>
          <a:p>
            <a:pPr algn="ctr"/>
            <a:r>
              <a:rPr lang="en-US" altLang="zh-CN" sz="2000" b="1" dirty="0">
                <a:solidFill>
                  <a:prstClr val="black">
                    <a:lumMod val="85000"/>
                    <a:lumOff val="15000"/>
                  </a:prstClr>
                </a:solidFill>
                <a:latin typeface="Arial" panose="020B0604020202020204"/>
                <a:ea typeface="华文楷体" panose="02010600040101010101" charset="-122"/>
                <a:cs typeface="+mn-ea"/>
                <a:sym typeface="+mn-lt"/>
              </a:rPr>
              <a:t>XXX</a:t>
            </a:r>
            <a:endParaRPr lang="en-US" sz="2000" b="1" dirty="0">
              <a:solidFill>
                <a:prstClr val="black">
                  <a:lumMod val="85000"/>
                  <a:lumOff val="15000"/>
                </a:prstClr>
              </a:solidFill>
              <a:latin typeface="Arial" panose="020B0604020202020204"/>
              <a:ea typeface="华文楷体" panose="02010600040101010101" charset="-122"/>
              <a:cs typeface="+mn-ea"/>
              <a:sym typeface="+mn-lt"/>
            </a:endParaRPr>
          </a:p>
        </p:txBody>
      </p:sp>
      <p:sp>
        <p:nvSpPr>
          <p:cNvPr id="25" name="AutoShape 4"/>
          <p:cNvSpPr>
            <a:spLocks noChangeArrowheads="1"/>
          </p:cNvSpPr>
          <p:nvPr/>
        </p:nvSpPr>
        <p:spPr bwMode="auto">
          <a:xfrm>
            <a:off x="9193759" y="4207209"/>
            <a:ext cx="1684568" cy="1334948"/>
          </a:xfrm>
          <a:prstGeom prst="hexagon">
            <a:avLst>
              <a:gd name="adj" fmla="val 27042"/>
              <a:gd name="vf" fmla="val 115470"/>
            </a:avLst>
          </a:prstGeom>
          <a:solidFill>
            <a:schemeClr val="bg1"/>
          </a:solidFill>
          <a:ln w="38100">
            <a:solidFill>
              <a:srgbClr val="FE5817"/>
            </a:solidFill>
            <a:miter lim="800000"/>
          </a:ln>
          <a:effectLst>
            <a:reflection stA="26000" endPos="13000" dist="38100" dir="5400000" sy="-100000" algn="bl" rotWithShape="0"/>
          </a:effectLst>
        </p:spPr>
        <p:txBody>
          <a:bodyPr lIns="0" tIns="0" rIns="0" bIns="1116000" anchor="t"/>
          <a:lstStyle/>
          <a:p>
            <a:pPr algn="ctr"/>
            <a:r>
              <a:rPr lang="en-US" altLang="zh-CN" sz="2000" b="1" dirty="0">
                <a:solidFill>
                  <a:prstClr val="black">
                    <a:lumMod val="85000"/>
                    <a:lumOff val="15000"/>
                  </a:prstClr>
                </a:solidFill>
                <a:latin typeface="Arial" panose="020B0604020202020204"/>
                <a:ea typeface="华文楷体" panose="02010600040101010101" charset="-122"/>
                <a:cs typeface="+mn-ea"/>
                <a:sym typeface="+mn-lt"/>
              </a:rPr>
              <a:t>XXX</a:t>
            </a:r>
            <a:endParaRPr lang="en-US" sz="2000" b="1" dirty="0">
              <a:solidFill>
                <a:prstClr val="black">
                  <a:lumMod val="85000"/>
                  <a:lumOff val="15000"/>
                </a:prstClr>
              </a:solidFill>
              <a:latin typeface="Arial" panose="020B0604020202020204"/>
              <a:ea typeface="华文楷体" panose="02010600040101010101" charset="-122"/>
              <a:cs typeface="+mn-ea"/>
              <a:sym typeface="+mn-lt"/>
            </a:endParaRPr>
          </a:p>
        </p:txBody>
      </p:sp>
      <p:sp>
        <p:nvSpPr>
          <p:cNvPr id="30" name="AutoShape 4"/>
          <p:cNvSpPr>
            <a:spLocks noChangeArrowheads="1"/>
          </p:cNvSpPr>
          <p:nvPr/>
        </p:nvSpPr>
        <p:spPr bwMode="auto">
          <a:xfrm>
            <a:off x="7303050" y="4178482"/>
            <a:ext cx="1684568" cy="1334948"/>
          </a:xfrm>
          <a:prstGeom prst="hexagon">
            <a:avLst>
              <a:gd name="adj" fmla="val 27042"/>
              <a:gd name="vf" fmla="val 115470"/>
            </a:avLst>
          </a:prstGeom>
          <a:solidFill>
            <a:schemeClr val="bg1"/>
          </a:solidFill>
          <a:ln w="38100">
            <a:solidFill>
              <a:srgbClr val="FE5817"/>
            </a:solidFill>
            <a:miter lim="800000"/>
          </a:ln>
          <a:effectLst>
            <a:reflection stA="26000" endPos="13000" dist="38100" dir="5400000" sy="-100000" algn="bl" rotWithShape="0"/>
          </a:effectLst>
        </p:spPr>
        <p:txBody>
          <a:bodyPr lIns="0" tIns="0" rIns="0" bIns="1116000" anchor="t"/>
          <a:lstStyle/>
          <a:p>
            <a:pPr algn="ctr"/>
            <a:r>
              <a:rPr lang="en-US" altLang="zh-CN" sz="2000" b="1" dirty="0">
                <a:solidFill>
                  <a:prstClr val="black">
                    <a:lumMod val="85000"/>
                    <a:lumOff val="15000"/>
                  </a:prstClr>
                </a:solidFill>
                <a:latin typeface="Arial" panose="020B0604020202020204"/>
                <a:ea typeface="华文楷体" panose="02010600040101010101" charset="-122"/>
                <a:cs typeface="+mn-ea"/>
                <a:sym typeface="+mn-lt"/>
              </a:rPr>
              <a:t>XXX</a:t>
            </a:r>
            <a:endParaRPr lang="en-US" sz="2000" b="1" dirty="0">
              <a:solidFill>
                <a:prstClr val="black">
                  <a:lumMod val="85000"/>
                  <a:lumOff val="15000"/>
                </a:prstClr>
              </a:solidFill>
              <a:latin typeface="Arial" panose="020B0604020202020204"/>
              <a:ea typeface="华文楷体" panose="02010600040101010101" charset="-122"/>
              <a:cs typeface="+mn-ea"/>
              <a:sym typeface="+mn-lt"/>
            </a:endParaRPr>
          </a:p>
        </p:txBody>
      </p:sp>
      <p:sp>
        <p:nvSpPr>
          <p:cNvPr id="36" name="AutoShape 4"/>
          <p:cNvSpPr>
            <a:spLocks noChangeArrowheads="1"/>
          </p:cNvSpPr>
          <p:nvPr/>
        </p:nvSpPr>
        <p:spPr bwMode="auto">
          <a:xfrm>
            <a:off x="2447131" y="1191103"/>
            <a:ext cx="1684570" cy="1334948"/>
          </a:xfrm>
          <a:prstGeom prst="hexagon">
            <a:avLst>
              <a:gd name="adj" fmla="val 27042"/>
              <a:gd name="vf" fmla="val 115470"/>
            </a:avLst>
          </a:prstGeom>
          <a:solidFill>
            <a:schemeClr val="bg1"/>
          </a:solidFill>
          <a:ln w="38100">
            <a:solidFill>
              <a:srgbClr val="FE5817"/>
            </a:solidFill>
            <a:miter lim="800000"/>
          </a:ln>
          <a:effectLst>
            <a:reflection stA="26000" endPos="13000" dist="38100" dir="5400000" sy="-100000" algn="bl" rotWithShape="0"/>
          </a:effectLst>
        </p:spPr>
        <p:txBody>
          <a:bodyPr lIns="0" tIns="0" rIns="0" bIns="1116000" anchor="t"/>
          <a:lstStyle/>
          <a:p>
            <a:pPr algn="ctr"/>
            <a:r>
              <a:rPr lang="en-US" altLang="zh-CN" sz="2000" b="1" dirty="0">
                <a:solidFill>
                  <a:prstClr val="black">
                    <a:lumMod val="85000"/>
                    <a:lumOff val="15000"/>
                  </a:prstClr>
                </a:solidFill>
                <a:latin typeface="Arial" panose="020B0604020202020204"/>
                <a:ea typeface="华文楷体" panose="02010600040101010101" charset="-122"/>
                <a:cs typeface="+mn-ea"/>
                <a:sym typeface="+mn-lt"/>
              </a:rPr>
              <a:t>XXX</a:t>
            </a:r>
            <a:endParaRPr lang="en-US" sz="2000" b="1" dirty="0">
              <a:solidFill>
                <a:prstClr val="black">
                  <a:lumMod val="85000"/>
                  <a:lumOff val="15000"/>
                </a:prstClr>
              </a:solidFill>
              <a:latin typeface="Arial" panose="020B0604020202020204"/>
              <a:ea typeface="华文楷体" panose="02010600040101010101" charset="-122"/>
              <a:cs typeface="+mn-ea"/>
              <a:sym typeface="+mn-lt"/>
            </a:endParaRPr>
          </a:p>
        </p:txBody>
      </p:sp>
      <p:sp>
        <p:nvSpPr>
          <p:cNvPr id="38" name="AutoShape 4"/>
          <p:cNvSpPr>
            <a:spLocks noChangeArrowheads="1"/>
          </p:cNvSpPr>
          <p:nvPr/>
        </p:nvSpPr>
        <p:spPr bwMode="auto">
          <a:xfrm>
            <a:off x="4613834" y="1198363"/>
            <a:ext cx="1684570" cy="1334948"/>
          </a:xfrm>
          <a:prstGeom prst="hexagon">
            <a:avLst>
              <a:gd name="adj" fmla="val 27042"/>
              <a:gd name="vf" fmla="val 115470"/>
            </a:avLst>
          </a:prstGeom>
          <a:solidFill>
            <a:schemeClr val="bg1"/>
          </a:solidFill>
          <a:ln w="38100">
            <a:solidFill>
              <a:srgbClr val="FE5817"/>
            </a:solidFill>
            <a:miter lim="800000"/>
          </a:ln>
          <a:effectLst>
            <a:reflection stA="26000" endPos="13000" dist="38100" dir="5400000" sy="-100000" algn="bl" rotWithShape="0"/>
          </a:effectLst>
        </p:spPr>
        <p:txBody>
          <a:bodyPr lIns="0" tIns="0" rIns="0" bIns="1116000" anchor="t"/>
          <a:lstStyle/>
          <a:p>
            <a:pPr algn="ctr"/>
            <a:r>
              <a:rPr lang="en-US" altLang="zh-CN" sz="2000" b="1" dirty="0">
                <a:solidFill>
                  <a:prstClr val="black">
                    <a:lumMod val="85000"/>
                    <a:lumOff val="15000"/>
                  </a:prstClr>
                </a:solidFill>
                <a:latin typeface="Arial" panose="020B0604020202020204"/>
                <a:ea typeface="华文楷体" panose="02010600040101010101" charset="-122"/>
                <a:cs typeface="+mn-ea"/>
                <a:sym typeface="+mn-lt"/>
              </a:rPr>
              <a:t>XXX</a:t>
            </a:r>
            <a:endParaRPr lang="en-US" sz="2000" b="1" dirty="0">
              <a:solidFill>
                <a:prstClr val="black">
                  <a:lumMod val="85000"/>
                  <a:lumOff val="15000"/>
                </a:prstClr>
              </a:solidFill>
              <a:latin typeface="Arial" panose="020B0604020202020204"/>
              <a:ea typeface="华文楷体" panose="02010600040101010101" charset="-122"/>
              <a:cs typeface="+mn-ea"/>
              <a:sym typeface="+mn-lt"/>
            </a:endParaRPr>
          </a:p>
        </p:txBody>
      </p:sp>
      <p:cxnSp>
        <p:nvCxnSpPr>
          <p:cNvPr id="9" name="直接连接符 8"/>
          <p:cNvCxnSpPr/>
          <p:nvPr/>
        </p:nvCxnSpPr>
        <p:spPr>
          <a:xfrm>
            <a:off x="2564780" y="5898996"/>
            <a:ext cx="6713035"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6" name="Right Arrow 23"/>
          <p:cNvSpPr/>
          <p:nvPr/>
        </p:nvSpPr>
        <p:spPr bwMode="gray">
          <a:xfrm>
            <a:off x="5132902" y="5731726"/>
            <a:ext cx="1591284" cy="309292"/>
          </a:xfrm>
          <a:prstGeom prst="roundRect">
            <a:avLst/>
          </a:prstGeom>
          <a:solidFill>
            <a:schemeClr val="bg1"/>
          </a:solidFill>
          <a:ln w="6350">
            <a:noFill/>
            <a:miter lim="800000"/>
          </a:ln>
          <a:effectLst/>
        </p:spPr>
        <p:txBody>
          <a:bodyPr vert="horz" wrap="square" lIns="0" tIns="0" rIns="0" bIns="0" numCol="1" rtlCol="0" anchor="ctr" anchorCtr="0" compatLnSpc="1">
            <a:noAutofit/>
          </a:bodyPr>
          <a:lstStyle/>
          <a:p>
            <a:pPr marL="0" marR="0" lvl="0" indent="0" algn="ctr" defTabSz="914400" rtl="0" eaLnBrk="1" fontAlgn="base" latinLnBrk="0" hangingPunct="1">
              <a:lnSpc>
                <a:spcPct val="100000"/>
              </a:lnSpc>
              <a:spcBef>
                <a:spcPts val="0"/>
              </a:spcBef>
              <a:spcAft>
                <a:spcPts val="0"/>
              </a:spcAft>
              <a:buClrTx/>
              <a:buSzTx/>
              <a:buFontTx/>
              <a:buNone/>
              <a:defRPr/>
            </a:pPr>
            <a:r>
              <a:rPr kumimoji="0" lang="en-US" altLang="zh-CN" sz="2000" b="1" i="0" u="none" strike="noStrike" kern="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ea"/>
                <a:sym typeface="+mn-lt"/>
              </a:rPr>
              <a:t>XXX</a:t>
            </a:r>
            <a:endParaRPr kumimoji="0" lang="en-IE" sz="2000" b="1" i="0" u="none" strike="noStrike" kern="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ea"/>
              <a:sym typeface="+mn-lt"/>
            </a:endParaRPr>
          </a:p>
        </p:txBody>
      </p:sp>
      <p:sp>
        <p:nvSpPr>
          <p:cNvPr id="40" name="presentation-board-with-graph_66912"/>
          <p:cNvSpPr>
            <a:spLocks noChangeAspect="1"/>
          </p:cNvSpPr>
          <p:nvPr/>
        </p:nvSpPr>
        <p:spPr bwMode="auto">
          <a:xfrm>
            <a:off x="4132186" y="4928840"/>
            <a:ext cx="491768" cy="546410"/>
          </a:xfrm>
          <a:custGeom>
            <a:avLst/>
            <a:gdLst>
              <a:gd name="connsiteX0" fmla="*/ 181977 w 519599"/>
              <a:gd name="connsiteY0" fmla="*/ 238441 h 577333"/>
              <a:gd name="connsiteX1" fmla="*/ 191202 w 519599"/>
              <a:gd name="connsiteY1" fmla="*/ 238441 h 577333"/>
              <a:gd name="connsiteX2" fmla="*/ 191202 w 519599"/>
              <a:gd name="connsiteY2" fmla="*/ 247652 h 577333"/>
              <a:gd name="connsiteX3" fmla="*/ 29753 w 519599"/>
              <a:gd name="connsiteY3" fmla="*/ 424517 h 577333"/>
              <a:gd name="connsiteX4" fmla="*/ 4844 w 519599"/>
              <a:gd name="connsiteY4" fmla="*/ 424517 h 577333"/>
              <a:gd name="connsiteX5" fmla="*/ 4844 w 519599"/>
              <a:gd name="connsiteY5" fmla="*/ 399645 h 577333"/>
              <a:gd name="connsiteX6" fmla="*/ 181977 w 519599"/>
              <a:gd name="connsiteY6" fmla="*/ 238441 h 577333"/>
              <a:gd name="connsiteX7" fmla="*/ 256642 w 519599"/>
              <a:gd name="connsiteY7" fmla="*/ 167622 h 577333"/>
              <a:gd name="connsiteX8" fmla="*/ 282442 w 519599"/>
              <a:gd name="connsiteY8" fmla="*/ 193392 h 577333"/>
              <a:gd name="connsiteX9" fmla="*/ 282442 w 519599"/>
              <a:gd name="connsiteY9" fmla="*/ 291869 h 577333"/>
              <a:gd name="connsiteX10" fmla="*/ 256642 w 519599"/>
              <a:gd name="connsiteY10" fmla="*/ 317639 h 577333"/>
              <a:gd name="connsiteX11" fmla="*/ 229921 w 519599"/>
              <a:gd name="connsiteY11" fmla="*/ 291869 h 577333"/>
              <a:gd name="connsiteX12" fmla="*/ 229921 w 519599"/>
              <a:gd name="connsiteY12" fmla="*/ 193392 h 577333"/>
              <a:gd name="connsiteX13" fmla="*/ 256642 w 519599"/>
              <a:gd name="connsiteY13" fmla="*/ 167622 h 577333"/>
              <a:gd name="connsiteX14" fmla="*/ 427300 w 519599"/>
              <a:gd name="connsiteY14" fmla="*/ 127973 h 577333"/>
              <a:gd name="connsiteX15" fmla="*/ 453172 w 519599"/>
              <a:gd name="connsiteY15" fmla="*/ 153753 h 577333"/>
              <a:gd name="connsiteX16" fmla="*/ 453172 w 519599"/>
              <a:gd name="connsiteY16" fmla="*/ 291859 h 577333"/>
              <a:gd name="connsiteX17" fmla="*/ 427300 w 519599"/>
              <a:gd name="connsiteY17" fmla="*/ 317639 h 577333"/>
              <a:gd name="connsiteX18" fmla="*/ 400503 w 519599"/>
              <a:gd name="connsiteY18" fmla="*/ 291859 h 577333"/>
              <a:gd name="connsiteX19" fmla="*/ 400503 w 519599"/>
              <a:gd name="connsiteY19" fmla="*/ 153753 h 577333"/>
              <a:gd name="connsiteX20" fmla="*/ 427300 w 519599"/>
              <a:gd name="connsiteY20" fmla="*/ 127973 h 577333"/>
              <a:gd name="connsiteX21" fmla="*/ 341530 w 519599"/>
              <a:gd name="connsiteY21" fmla="*/ 75452 h 577333"/>
              <a:gd name="connsiteX22" fmla="*/ 368251 w 519599"/>
              <a:gd name="connsiteY22" fmla="*/ 101236 h 577333"/>
              <a:gd name="connsiteX23" fmla="*/ 368251 w 519599"/>
              <a:gd name="connsiteY23" fmla="*/ 291855 h 577333"/>
              <a:gd name="connsiteX24" fmla="*/ 341530 w 519599"/>
              <a:gd name="connsiteY24" fmla="*/ 317639 h 577333"/>
              <a:gd name="connsiteX25" fmla="*/ 315730 w 519599"/>
              <a:gd name="connsiteY25" fmla="*/ 291855 h 577333"/>
              <a:gd name="connsiteX26" fmla="*/ 315730 w 519599"/>
              <a:gd name="connsiteY26" fmla="*/ 101236 h 577333"/>
              <a:gd name="connsiteX27" fmla="*/ 341530 w 519599"/>
              <a:gd name="connsiteY27" fmla="*/ 75452 h 577333"/>
              <a:gd name="connsiteX28" fmla="*/ 33424 w 519599"/>
              <a:gd name="connsiteY28" fmla="*/ 0 h 577333"/>
              <a:gd name="connsiteX29" fmla="*/ 492846 w 519599"/>
              <a:gd name="connsiteY29" fmla="*/ 0 h 577333"/>
              <a:gd name="connsiteX30" fmla="*/ 519599 w 519599"/>
              <a:gd name="connsiteY30" fmla="*/ 25782 h 577333"/>
              <a:gd name="connsiteX31" fmla="*/ 505761 w 519599"/>
              <a:gd name="connsiteY31" fmla="*/ 48802 h 577333"/>
              <a:gd name="connsiteX32" fmla="*/ 505761 w 519599"/>
              <a:gd name="connsiteY32" fmla="*/ 354502 h 577333"/>
              <a:gd name="connsiteX33" fmla="*/ 492846 w 519599"/>
              <a:gd name="connsiteY33" fmla="*/ 367394 h 577333"/>
              <a:gd name="connsiteX34" fmla="*/ 385832 w 519599"/>
              <a:gd name="connsiteY34" fmla="*/ 367394 h 577333"/>
              <a:gd name="connsiteX35" fmla="*/ 432881 w 519599"/>
              <a:gd name="connsiteY35" fmla="*/ 544184 h 577333"/>
              <a:gd name="connsiteX36" fmla="*/ 414430 w 519599"/>
              <a:gd name="connsiteY36" fmla="*/ 576412 h 577333"/>
              <a:gd name="connsiteX37" fmla="*/ 407973 w 519599"/>
              <a:gd name="connsiteY37" fmla="*/ 577333 h 577333"/>
              <a:gd name="connsiteX38" fmla="*/ 382142 w 519599"/>
              <a:gd name="connsiteY38" fmla="*/ 557075 h 577333"/>
              <a:gd name="connsiteX39" fmla="*/ 335093 w 519599"/>
              <a:gd name="connsiteY39" fmla="*/ 380284 h 577333"/>
              <a:gd name="connsiteX40" fmla="*/ 191177 w 519599"/>
              <a:gd name="connsiteY40" fmla="*/ 380284 h 577333"/>
              <a:gd name="connsiteX41" fmla="*/ 144128 w 519599"/>
              <a:gd name="connsiteY41" fmla="*/ 557075 h 577333"/>
              <a:gd name="connsiteX42" fmla="*/ 111840 w 519599"/>
              <a:gd name="connsiteY42" fmla="*/ 576412 h 577333"/>
              <a:gd name="connsiteX43" fmla="*/ 93389 w 519599"/>
              <a:gd name="connsiteY43" fmla="*/ 544184 h 577333"/>
              <a:gd name="connsiteX44" fmla="*/ 140438 w 519599"/>
              <a:gd name="connsiteY44" fmla="*/ 367394 h 577333"/>
              <a:gd name="connsiteX45" fmla="*/ 117375 w 519599"/>
              <a:gd name="connsiteY45" fmla="*/ 367394 h 577333"/>
              <a:gd name="connsiteX46" fmla="*/ 141361 w 519599"/>
              <a:gd name="connsiteY46" fmla="*/ 340691 h 577333"/>
              <a:gd name="connsiteX47" fmla="*/ 479930 w 519599"/>
              <a:gd name="connsiteY47" fmla="*/ 340691 h 577333"/>
              <a:gd name="connsiteX48" fmla="*/ 479930 w 519599"/>
              <a:gd name="connsiteY48" fmla="*/ 52485 h 577333"/>
              <a:gd name="connsiteX49" fmla="*/ 46340 w 519599"/>
              <a:gd name="connsiteY49" fmla="*/ 52485 h 577333"/>
              <a:gd name="connsiteX50" fmla="*/ 46340 w 519599"/>
              <a:gd name="connsiteY50" fmla="*/ 326879 h 577333"/>
              <a:gd name="connsiteX51" fmla="*/ 19586 w 519599"/>
              <a:gd name="connsiteY51" fmla="*/ 350819 h 577333"/>
              <a:gd name="connsiteX52" fmla="*/ 19586 w 519599"/>
              <a:gd name="connsiteY52" fmla="*/ 48802 h 577333"/>
              <a:gd name="connsiteX53" fmla="*/ 6671 w 519599"/>
              <a:gd name="connsiteY53" fmla="*/ 25782 h 577333"/>
              <a:gd name="connsiteX54" fmla="*/ 33424 w 519599"/>
              <a:gd name="connsiteY54" fmla="*/ 0 h 57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19599" h="577333">
                <a:moveTo>
                  <a:pt x="181977" y="238441"/>
                </a:moveTo>
                <a:cubicBezTo>
                  <a:pt x="184744" y="235677"/>
                  <a:pt x="188435" y="235677"/>
                  <a:pt x="191202" y="238441"/>
                </a:cubicBezTo>
                <a:cubicBezTo>
                  <a:pt x="193970" y="241204"/>
                  <a:pt x="193970" y="244889"/>
                  <a:pt x="191202" y="247652"/>
                </a:cubicBezTo>
                <a:cubicBezTo>
                  <a:pt x="191202" y="247652"/>
                  <a:pt x="30676" y="423596"/>
                  <a:pt x="29753" y="424517"/>
                </a:cubicBezTo>
                <a:cubicBezTo>
                  <a:pt x="22373" y="430965"/>
                  <a:pt x="12224" y="430965"/>
                  <a:pt x="4844" y="424517"/>
                </a:cubicBezTo>
                <a:cubicBezTo>
                  <a:pt x="-1614" y="417147"/>
                  <a:pt x="-1614" y="407015"/>
                  <a:pt x="4844" y="399645"/>
                </a:cubicBezTo>
                <a:cubicBezTo>
                  <a:pt x="5767" y="398724"/>
                  <a:pt x="181977" y="238441"/>
                  <a:pt x="181977" y="238441"/>
                </a:cubicBezTo>
                <a:close/>
                <a:moveTo>
                  <a:pt x="256642" y="167622"/>
                </a:moveTo>
                <a:cubicBezTo>
                  <a:pt x="270464" y="167622"/>
                  <a:pt x="282442" y="178666"/>
                  <a:pt x="282442" y="193392"/>
                </a:cubicBezTo>
                <a:lnTo>
                  <a:pt x="282442" y="291869"/>
                </a:lnTo>
                <a:cubicBezTo>
                  <a:pt x="282442" y="306595"/>
                  <a:pt x="270464" y="317639"/>
                  <a:pt x="256642" y="317639"/>
                </a:cubicBezTo>
                <a:cubicBezTo>
                  <a:pt x="241899" y="317639"/>
                  <a:pt x="229921" y="306595"/>
                  <a:pt x="229921" y="291869"/>
                </a:cubicBezTo>
                <a:lnTo>
                  <a:pt x="229921" y="193392"/>
                </a:lnTo>
                <a:cubicBezTo>
                  <a:pt x="229921" y="178666"/>
                  <a:pt x="241899" y="167622"/>
                  <a:pt x="256642" y="167622"/>
                </a:cubicBezTo>
                <a:close/>
                <a:moveTo>
                  <a:pt x="427300" y="127973"/>
                </a:moveTo>
                <a:cubicBezTo>
                  <a:pt x="442084" y="127973"/>
                  <a:pt x="453172" y="139942"/>
                  <a:pt x="453172" y="153753"/>
                </a:cubicBezTo>
                <a:lnTo>
                  <a:pt x="453172" y="291859"/>
                </a:lnTo>
                <a:cubicBezTo>
                  <a:pt x="453172" y="306590"/>
                  <a:pt x="442084" y="317639"/>
                  <a:pt x="427300" y="317639"/>
                </a:cubicBezTo>
                <a:cubicBezTo>
                  <a:pt x="412515" y="317639"/>
                  <a:pt x="400503" y="306590"/>
                  <a:pt x="400503" y="291859"/>
                </a:cubicBezTo>
                <a:lnTo>
                  <a:pt x="400503" y="153753"/>
                </a:lnTo>
                <a:cubicBezTo>
                  <a:pt x="400503" y="139942"/>
                  <a:pt x="412515" y="127973"/>
                  <a:pt x="427300" y="127973"/>
                </a:cubicBezTo>
                <a:close/>
                <a:moveTo>
                  <a:pt x="341530" y="75452"/>
                </a:moveTo>
                <a:cubicBezTo>
                  <a:pt x="356273" y="75452"/>
                  <a:pt x="368251" y="87423"/>
                  <a:pt x="368251" y="101236"/>
                </a:cubicBezTo>
                <a:lnTo>
                  <a:pt x="368251" y="291855"/>
                </a:lnTo>
                <a:cubicBezTo>
                  <a:pt x="368251" y="306589"/>
                  <a:pt x="356273" y="317639"/>
                  <a:pt x="341530" y="317639"/>
                </a:cubicBezTo>
                <a:cubicBezTo>
                  <a:pt x="327708" y="317639"/>
                  <a:pt x="315730" y="306589"/>
                  <a:pt x="315730" y="291855"/>
                </a:cubicBezTo>
                <a:lnTo>
                  <a:pt x="315730" y="101236"/>
                </a:lnTo>
                <a:cubicBezTo>
                  <a:pt x="315730" y="87423"/>
                  <a:pt x="327708" y="75452"/>
                  <a:pt x="341530" y="75452"/>
                </a:cubicBezTo>
                <a:close/>
                <a:moveTo>
                  <a:pt x="33424" y="0"/>
                </a:moveTo>
                <a:lnTo>
                  <a:pt x="492846" y="0"/>
                </a:lnTo>
                <a:cubicBezTo>
                  <a:pt x="507606" y="0"/>
                  <a:pt x="519599" y="11970"/>
                  <a:pt x="519599" y="25782"/>
                </a:cubicBezTo>
                <a:cubicBezTo>
                  <a:pt x="519599" y="35911"/>
                  <a:pt x="514064" y="44198"/>
                  <a:pt x="505761" y="48802"/>
                </a:cubicBezTo>
                <a:lnTo>
                  <a:pt x="505761" y="354502"/>
                </a:lnTo>
                <a:cubicBezTo>
                  <a:pt x="505761" y="360948"/>
                  <a:pt x="500226" y="367394"/>
                  <a:pt x="492846" y="367394"/>
                </a:cubicBezTo>
                <a:lnTo>
                  <a:pt x="385832" y="367394"/>
                </a:lnTo>
                <a:lnTo>
                  <a:pt x="432881" y="544184"/>
                </a:lnTo>
                <a:cubicBezTo>
                  <a:pt x="436571" y="557996"/>
                  <a:pt x="428268" y="572729"/>
                  <a:pt x="414430" y="576412"/>
                </a:cubicBezTo>
                <a:cubicBezTo>
                  <a:pt x="411663" y="576412"/>
                  <a:pt x="409818" y="577333"/>
                  <a:pt x="407973" y="577333"/>
                </a:cubicBezTo>
                <a:cubicBezTo>
                  <a:pt x="395980" y="577333"/>
                  <a:pt x="384909" y="569046"/>
                  <a:pt x="382142" y="557075"/>
                </a:cubicBezTo>
                <a:lnTo>
                  <a:pt x="335093" y="380284"/>
                </a:lnTo>
                <a:lnTo>
                  <a:pt x="191177" y="380284"/>
                </a:lnTo>
                <a:lnTo>
                  <a:pt x="144128" y="557075"/>
                </a:lnTo>
                <a:cubicBezTo>
                  <a:pt x="140438" y="571808"/>
                  <a:pt x="125678" y="580095"/>
                  <a:pt x="111840" y="576412"/>
                </a:cubicBezTo>
                <a:cubicBezTo>
                  <a:pt x="98002" y="572729"/>
                  <a:pt x="89699" y="557996"/>
                  <a:pt x="93389" y="544184"/>
                </a:cubicBezTo>
                <a:lnTo>
                  <a:pt x="140438" y="367394"/>
                </a:lnTo>
                <a:lnTo>
                  <a:pt x="117375" y="367394"/>
                </a:lnTo>
                <a:cubicBezTo>
                  <a:pt x="124755" y="359106"/>
                  <a:pt x="132135" y="350819"/>
                  <a:pt x="141361" y="340691"/>
                </a:cubicBezTo>
                <a:lnTo>
                  <a:pt x="479930" y="340691"/>
                </a:lnTo>
                <a:lnTo>
                  <a:pt x="479930" y="52485"/>
                </a:lnTo>
                <a:lnTo>
                  <a:pt x="46340" y="52485"/>
                </a:lnTo>
                <a:lnTo>
                  <a:pt x="46340" y="326879"/>
                </a:lnTo>
                <a:cubicBezTo>
                  <a:pt x="35270" y="337008"/>
                  <a:pt x="26967" y="344374"/>
                  <a:pt x="19586" y="350819"/>
                </a:cubicBezTo>
                <a:lnTo>
                  <a:pt x="19586" y="48802"/>
                </a:lnTo>
                <a:cubicBezTo>
                  <a:pt x="12206" y="44198"/>
                  <a:pt x="6671" y="35911"/>
                  <a:pt x="6671" y="25782"/>
                </a:cubicBezTo>
                <a:cubicBezTo>
                  <a:pt x="6671" y="11970"/>
                  <a:pt x="18664" y="0"/>
                  <a:pt x="33424" y="0"/>
                </a:cubicBezTo>
                <a:close/>
              </a:path>
            </a:pathLst>
          </a:custGeom>
          <a:solidFill>
            <a:schemeClr val="accent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42" name="Freeform 236"/>
          <p:cNvSpPr/>
          <p:nvPr/>
        </p:nvSpPr>
        <p:spPr bwMode="auto">
          <a:xfrm>
            <a:off x="9774322" y="4892299"/>
            <a:ext cx="536885" cy="538911"/>
          </a:xfrm>
          <a:custGeom>
            <a:avLst/>
            <a:gdLst>
              <a:gd name="T0" fmla="*/ 108 w 211"/>
              <a:gd name="T1" fmla="*/ 167 h 212"/>
              <a:gd name="T2" fmla="*/ 60 w 211"/>
              <a:gd name="T3" fmla="*/ 65 h 212"/>
              <a:gd name="T4" fmla="*/ 105 w 211"/>
              <a:gd name="T5" fmla="*/ 45 h 212"/>
              <a:gd name="T6" fmla="*/ 165 w 211"/>
              <a:gd name="T7" fmla="*/ 115 h 212"/>
              <a:gd name="T8" fmla="*/ 191 w 211"/>
              <a:gd name="T9" fmla="*/ 122 h 212"/>
              <a:gd name="T10" fmla="*/ 211 w 211"/>
              <a:gd name="T11" fmla="*/ 112 h 212"/>
              <a:gd name="T12" fmla="*/ 209 w 211"/>
              <a:gd name="T13" fmla="*/ 92 h 212"/>
              <a:gd name="T14" fmla="*/ 187 w 211"/>
              <a:gd name="T15" fmla="*/ 77 h 212"/>
              <a:gd name="T16" fmla="*/ 199 w 211"/>
              <a:gd name="T17" fmla="*/ 58 h 212"/>
              <a:gd name="T18" fmla="*/ 188 w 211"/>
              <a:gd name="T19" fmla="*/ 42 h 212"/>
              <a:gd name="T20" fmla="*/ 162 w 211"/>
              <a:gd name="T21" fmla="*/ 40 h 212"/>
              <a:gd name="T22" fmla="*/ 163 w 211"/>
              <a:gd name="T23" fmla="*/ 18 h 212"/>
              <a:gd name="T24" fmla="*/ 145 w 211"/>
              <a:gd name="T25" fmla="*/ 9 h 212"/>
              <a:gd name="T26" fmla="*/ 121 w 211"/>
              <a:gd name="T27" fmla="*/ 20 h 212"/>
              <a:gd name="T28" fmla="*/ 111 w 211"/>
              <a:gd name="T29" fmla="*/ 1 h 212"/>
              <a:gd name="T30" fmla="*/ 91 w 211"/>
              <a:gd name="T31" fmla="*/ 2 h 212"/>
              <a:gd name="T32" fmla="*/ 76 w 211"/>
              <a:gd name="T33" fmla="*/ 24 h 212"/>
              <a:gd name="T34" fmla="*/ 58 w 211"/>
              <a:gd name="T35" fmla="*/ 12 h 212"/>
              <a:gd name="T36" fmla="*/ 41 w 211"/>
              <a:gd name="T37" fmla="*/ 23 h 212"/>
              <a:gd name="T38" fmla="*/ 41 w 211"/>
              <a:gd name="T39" fmla="*/ 48 h 212"/>
              <a:gd name="T40" fmla="*/ 19 w 211"/>
              <a:gd name="T41" fmla="*/ 43 h 212"/>
              <a:gd name="T42" fmla="*/ 10 w 211"/>
              <a:gd name="T43" fmla="*/ 61 h 212"/>
              <a:gd name="T44" fmla="*/ 23 w 211"/>
              <a:gd name="T45" fmla="*/ 77 h 212"/>
              <a:gd name="T46" fmla="*/ 0 w 211"/>
              <a:gd name="T47" fmla="*/ 95 h 212"/>
              <a:gd name="T48" fmla="*/ 1 w 211"/>
              <a:gd name="T49" fmla="*/ 115 h 212"/>
              <a:gd name="T50" fmla="*/ 20 w 211"/>
              <a:gd name="T51" fmla="*/ 122 h 212"/>
              <a:gd name="T52" fmla="*/ 8 w 211"/>
              <a:gd name="T53" fmla="*/ 149 h 212"/>
              <a:gd name="T54" fmla="*/ 19 w 211"/>
              <a:gd name="T55" fmla="*/ 166 h 212"/>
              <a:gd name="T56" fmla="*/ 39 w 211"/>
              <a:gd name="T57" fmla="*/ 163 h 212"/>
              <a:gd name="T58" fmla="*/ 42 w 211"/>
              <a:gd name="T59" fmla="*/ 192 h 212"/>
              <a:gd name="T60" fmla="*/ 60 w 211"/>
              <a:gd name="T61" fmla="*/ 201 h 212"/>
              <a:gd name="T62" fmla="*/ 76 w 211"/>
              <a:gd name="T63" fmla="*/ 189 h 212"/>
              <a:gd name="T64" fmla="*/ 94 w 211"/>
              <a:gd name="T65" fmla="*/ 212 h 212"/>
              <a:gd name="T66" fmla="*/ 114 w 211"/>
              <a:gd name="T67" fmla="*/ 211 h 212"/>
              <a:gd name="T68" fmla="*/ 121 w 211"/>
              <a:gd name="T69" fmla="*/ 192 h 212"/>
              <a:gd name="T70" fmla="*/ 116 w 211"/>
              <a:gd name="T71" fmla="*/ 167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 h="212">
                <a:moveTo>
                  <a:pt x="116" y="167"/>
                </a:moveTo>
                <a:cubicBezTo>
                  <a:pt x="113" y="167"/>
                  <a:pt x="111" y="167"/>
                  <a:pt x="108" y="167"/>
                </a:cubicBezTo>
                <a:cubicBezTo>
                  <a:pt x="75" y="169"/>
                  <a:pt x="46" y="143"/>
                  <a:pt x="45" y="109"/>
                </a:cubicBezTo>
                <a:cubicBezTo>
                  <a:pt x="44" y="93"/>
                  <a:pt x="49" y="77"/>
                  <a:pt x="60" y="65"/>
                </a:cubicBezTo>
                <a:cubicBezTo>
                  <a:pt x="71" y="53"/>
                  <a:pt x="86" y="46"/>
                  <a:pt x="102" y="45"/>
                </a:cubicBezTo>
                <a:cubicBezTo>
                  <a:pt x="103" y="45"/>
                  <a:pt x="104" y="45"/>
                  <a:pt x="105" y="45"/>
                </a:cubicBezTo>
                <a:cubicBezTo>
                  <a:pt x="137" y="45"/>
                  <a:pt x="164" y="70"/>
                  <a:pt x="166" y="103"/>
                </a:cubicBezTo>
                <a:cubicBezTo>
                  <a:pt x="166" y="107"/>
                  <a:pt x="166" y="111"/>
                  <a:pt x="165" y="115"/>
                </a:cubicBezTo>
                <a:cubicBezTo>
                  <a:pt x="187" y="136"/>
                  <a:pt x="187" y="136"/>
                  <a:pt x="187" y="136"/>
                </a:cubicBezTo>
                <a:cubicBezTo>
                  <a:pt x="188" y="132"/>
                  <a:pt x="190" y="127"/>
                  <a:pt x="191" y="122"/>
                </a:cubicBezTo>
                <a:cubicBezTo>
                  <a:pt x="211" y="118"/>
                  <a:pt x="211" y="118"/>
                  <a:pt x="211" y="118"/>
                </a:cubicBezTo>
                <a:cubicBezTo>
                  <a:pt x="211" y="112"/>
                  <a:pt x="211" y="112"/>
                  <a:pt x="211" y="112"/>
                </a:cubicBezTo>
                <a:cubicBezTo>
                  <a:pt x="210" y="97"/>
                  <a:pt x="210" y="97"/>
                  <a:pt x="210" y="97"/>
                </a:cubicBezTo>
                <a:cubicBezTo>
                  <a:pt x="209" y="92"/>
                  <a:pt x="209" y="92"/>
                  <a:pt x="209" y="92"/>
                </a:cubicBezTo>
                <a:cubicBezTo>
                  <a:pt x="190" y="90"/>
                  <a:pt x="190" y="90"/>
                  <a:pt x="190" y="90"/>
                </a:cubicBezTo>
                <a:cubicBezTo>
                  <a:pt x="190" y="85"/>
                  <a:pt x="188" y="81"/>
                  <a:pt x="187" y="77"/>
                </a:cubicBezTo>
                <a:cubicBezTo>
                  <a:pt x="202" y="63"/>
                  <a:pt x="202" y="63"/>
                  <a:pt x="202" y="63"/>
                </a:cubicBezTo>
                <a:cubicBezTo>
                  <a:pt x="199" y="58"/>
                  <a:pt x="199" y="58"/>
                  <a:pt x="199" y="58"/>
                </a:cubicBezTo>
                <a:cubicBezTo>
                  <a:pt x="191" y="46"/>
                  <a:pt x="191" y="46"/>
                  <a:pt x="191" y="46"/>
                </a:cubicBezTo>
                <a:cubicBezTo>
                  <a:pt x="188" y="42"/>
                  <a:pt x="188" y="42"/>
                  <a:pt x="188" y="42"/>
                </a:cubicBezTo>
                <a:cubicBezTo>
                  <a:pt x="171" y="49"/>
                  <a:pt x="171" y="49"/>
                  <a:pt x="171" y="49"/>
                </a:cubicBezTo>
                <a:cubicBezTo>
                  <a:pt x="168" y="46"/>
                  <a:pt x="165" y="43"/>
                  <a:pt x="162" y="40"/>
                </a:cubicBezTo>
                <a:cubicBezTo>
                  <a:pt x="168" y="20"/>
                  <a:pt x="168" y="20"/>
                  <a:pt x="168" y="20"/>
                </a:cubicBezTo>
                <a:cubicBezTo>
                  <a:pt x="163" y="18"/>
                  <a:pt x="163" y="18"/>
                  <a:pt x="163" y="18"/>
                </a:cubicBezTo>
                <a:cubicBezTo>
                  <a:pt x="150" y="11"/>
                  <a:pt x="150" y="11"/>
                  <a:pt x="150" y="11"/>
                </a:cubicBezTo>
                <a:cubicBezTo>
                  <a:pt x="145" y="9"/>
                  <a:pt x="145" y="9"/>
                  <a:pt x="145" y="9"/>
                </a:cubicBezTo>
                <a:cubicBezTo>
                  <a:pt x="134" y="23"/>
                  <a:pt x="134" y="23"/>
                  <a:pt x="134" y="23"/>
                </a:cubicBezTo>
                <a:cubicBezTo>
                  <a:pt x="130" y="22"/>
                  <a:pt x="125" y="21"/>
                  <a:pt x="121" y="20"/>
                </a:cubicBezTo>
                <a:cubicBezTo>
                  <a:pt x="117" y="0"/>
                  <a:pt x="117" y="0"/>
                  <a:pt x="117" y="0"/>
                </a:cubicBezTo>
                <a:cubicBezTo>
                  <a:pt x="111" y="1"/>
                  <a:pt x="111" y="1"/>
                  <a:pt x="111" y="1"/>
                </a:cubicBezTo>
                <a:cubicBezTo>
                  <a:pt x="97" y="1"/>
                  <a:pt x="97" y="1"/>
                  <a:pt x="97" y="1"/>
                </a:cubicBezTo>
                <a:cubicBezTo>
                  <a:pt x="91" y="2"/>
                  <a:pt x="91" y="2"/>
                  <a:pt x="91" y="2"/>
                </a:cubicBezTo>
                <a:cubicBezTo>
                  <a:pt x="89" y="20"/>
                  <a:pt x="89" y="20"/>
                  <a:pt x="89" y="20"/>
                </a:cubicBezTo>
                <a:cubicBezTo>
                  <a:pt x="84" y="21"/>
                  <a:pt x="80" y="22"/>
                  <a:pt x="76" y="24"/>
                </a:cubicBezTo>
                <a:cubicBezTo>
                  <a:pt x="62" y="9"/>
                  <a:pt x="62" y="9"/>
                  <a:pt x="62" y="9"/>
                </a:cubicBezTo>
                <a:cubicBezTo>
                  <a:pt x="58" y="12"/>
                  <a:pt x="58" y="12"/>
                  <a:pt x="58" y="12"/>
                </a:cubicBezTo>
                <a:cubicBezTo>
                  <a:pt x="45" y="20"/>
                  <a:pt x="45" y="20"/>
                  <a:pt x="45" y="20"/>
                </a:cubicBezTo>
                <a:cubicBezTo>
                  <a:pt x="41" y="23"/>
                  <a:pt x="41" y="23"/>
                  <a:pt x="41" y="23"/>
                </a:cubicBezTo>
                <a:cubicBezTo>
                  <a:pt x="48" y="40"/>
                  <a:pt x="48" y="40"/>
                  <a:pt x="48" y="40"/>
                </a:cubicBezTo>
                <a:cubicBezTo>
                  <a:pt x="46" y="42"/>
                  <a:pt x="43" y="45"/>
                  <a:pt x="41" y="48"/>
                </a:cubicBezTo>
                <a:cubicBezTo>
                  <a:pt x="40" y="48"/>
                  <a:pt x="39" y="49"/>
                  <a:pt x="39" y="50"/>
                </a:cubicBezTo>
                <a:cubicBezTo>
                  <a:pt x="19" y="43"/>
                  <a:pt x="19" y="43"/>
                  <a:pt x="19" y="43"/>
                </a:cubicBezTo>
                <a:cubicBezTo>
                  <a:pt x="17" y="48"/>
                  <a:pt x="17" y="48"/>
                  <a:pt x="17" y="48"/>
                </a:cubicBezTo>
                <a:cubicBezTo>
                  <a:pt x="10" y="61"/>
                  <a:pt x="10" y="61"/>
                  <a:pt x="10" y="61"/>
                </a:cubicBezTo>
                <a:cubicBezTo>
                  <a:pt x="8" y="66"/>
                  <a:pt x="8" y="66"/>
                  <a:pt x="8" y="66"/>
                </a:cubicBezTo>
                <a:cubicBezTo>
                  <a:pt x="23" y="77"/>
                  <a:pt x="23" y="77"/>
                  <a:pt x="23" y="77"/>
                </a:cubicBezTo>
                <a:cubicBezTo>
                  <a:pt x="22" y="82"/>
                  <a:pt x="21" y="86"/>
                  <a:pt x="20" y="90"/>
                </a:cubicBezTo>
                <a:cubicBezTo>
                  <a:pt x="0" y="95"/>
                  <a:pt x="0" y="95"/>
                  <a:pt x="0" y="95"/>
                </a:cubicBezTo>
                <a:cubicBezTo>
                  <a:pt x="0" y="100"/>
                  <a:pt x="0" y="100"/>
                  <a:pt x="0" y="100"/>
                </a:cubicBezTo>
                <a:cubicBezTo>
                  <a:pt x="1" y="115"/>
                  <a:pt x="1" y="115"/>
                  <a:pt x="1" y="115"/>
                </a:cubicBezTo>
                <a:cubicBezTo>
                  <a:pt x="1" y="120"/>
                  <a:pt x="1" y="120"/>
                  <a:pt x="1" y="120"/>
                </a:cubicBezTo>
                <a:cubicBezTo>
                  <a:pt x="20" y="122"/>
                  <a:pt x="20" y="122"/>
                  <a:pt x="20" y="122"/>
                </a:cubicBezTo>
                <a:cubicBezTo>
                  <a:pt x="21" y="127"/>
                  <a:pt x="22" y="131"/>
                  <a:pt x="23" y="135"/>
                </a:cubicBezTo>
                <a:cubicBezTo>
                  <a:pt x="8" y="149"/>
                  <a:pt x="8" y="149"/>
                  <a:pt x="8" y="149"/>
                </a:cubicBezTo>
                <a:cubicBezTo>
                  <a:pt x="11" y="154"/>
                  <a:pt x="11" y="154"/>
                  <a:pt x="11" y="154"/>
                </a:cubicBezTo>
                <a:cubicBezTo>
                  <a:pt x="19" y="166"/>
                  <a:pt x="19" y="166"/>
                  <a:pt x="19" y="166"/>
                </a:cubicBezTo>
                <a:cubicBezTo>
                  <a:pt x="22" y="171"/>
                  <a:pt x="22" y="171"/>
                  <a:pt x="22" y="171"/>
                </a:cubicBezTo>
                <a:cubicBezTo>
                  <a:pt x="39" y="163"/>
                  <a:pt x="39" y="163"/>
                  <a:pt x="39" y="163"/>
                </a:cubicBezTo>
                <a:cubicBezTo>
                  <a:pt x="42" y="166"/>
                  <a:pt x="45" y="170"/>
                  <a:pt x="49" y="173"/>
                </a:cubicBezTo>
                <a:cubicBezTo>
                  <a:pt x="42" y="192"/>
                  <a:pt x="42" y="192"/>
                  <a:pt x="42" y="192"/>
                </a:cubicBezTo>
                <a:cubicBezTo>
                  <a:pt x="47" y="194"/>
                  <a:pt x="47" y="194"/>
                  <a:pt x="47" y="194"/>
                </a:cubicBezTo>
                <a:cubicBezTo>
                  <a:pt x="60" y="201"/>
                  <a:pt x="60" y="201"/>
                  <a:pt x="60" y="201"/>
                </a:cubicBezTo>
                <a:cubicBezTo>
                  <a:pt x="65" y="204"/>
                  <a:pt x="65" y="204"/>
                  <a:pt x="65" y="204"/>
                </a:cubicBezTo>
                <a:cubicBezTo>
                  <a:pt x="76" y="189"/>
                  <a:pt x="76" y="189"/>
                  <a:pt x="76" y="189"/>
                </a:cubicBezTo>
                <a:cubicBezTo>
                  <a:pt x="81" y="190"/>
                  <a:pt x="85" y="191"/>
                  <a:pt x="90" y="192"/>
                </a:cubicBezTo>
                <a:cubicBezTo>
                  <a:pt x="94" y="212"/>
                  <a:pt x="94" y="212"/>
                  <a:pt x="94" y="212"/>
                </a:cubicBezTo>
                <a:cubicBezTo>
                  <a:pt x="99" y="211"/>
                  <a:pt x="99" y="211"/>
                  <a:pt x="99" y="211"/>
                </a:cubicBezTo>
                <a:cubicBezTo>
                  <a:pt x="114" y="211"/>
                  <a:pt x="114" y="211"/>
                  <a:pt x="114" y="211"/>
                </a:cubicBezTo>
                <a:cubicBezTo>
                  <a:pt x="120" y="210"/>
                  <a:pt x="120" y="210"/>
                  <a:pt x="120" y="210"/>
                </a:cubicBezTo>
                <a:cubicBezTo>
                  <a:pt x="121" y="192"/>
                  <a:pt x="121" y="192"/>
                  <a:pt x="121" y="192"/>
                </a:cubicBezTo>
                <a:cubicBezTo>
                  <a:pt x="127" y="191"/>
                  <a:pt x="132" y="190"/>
                  <a:pt x="136" y="188"/>
                </a:cubicBezTo>
                <a:lnTo>
                  <a:pt x="116" y="167"/>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43" name="Freeform 237"/>
          <p:cNvSpPr/>
          <p:nvPr/>
        </p:nvSpPr>
        <p:spPr bwMode="auto">
          <a:xfrm>
            <a:off x="9926272" y="5042221"/>
            <a:ext cx="401144" cy="401144"/>
          </a:xfrm>
          <a:custGeom>
            <a:avLst/>
            <a:gdLst>
              <a:gd name="T0" fmla="*/ 158 w 158"/>
              <a:gd name="T1" fmla="*/ 131 h 158"/>
              <a:gd name="T2" fmla="*/ 154 w 158"/>
              <a:gd name="T3" fmla="*/ 121 h 158"/>
              <a:gd name="T4" fmla="*/ 86 w 158"/>
              <a:gd name="T5" fmla="*/ 55 h 158"/>
              <a:gd name="T6" fmla="*/ 75 w 158"/>
              <a:gd name="T7" fmla="*/ 16 h 158"/>
              <a:gd name="T8" fmla="*/ 29 w 158"/>
              <a:gd name="T9" fmla="*/ 7 h 158"/>
              <a:gd name="T10" fmla="*/ 53 w 158"/>
              <a:gd name="T11" fmla="*/ 30 h 158"/>
              <a:gd name="T12" fmla="*/ 53 w 158"/>
              <a:gd name="T13" fmla="*/ 37 h 158"/>
              <a:gd name="T14" fmla="*/ 37 w 158"/>
              <a:gd name="T15" fmla="*/ 53 h 158"/>
              <a:gd name="T16" fmla="*/ 29 w 158"/>
              <a:gd name="T17" fmla="*/ 53 h 158"/>
              <a:gd name="T18" fmla="*/ 6 w 158"/>
              <a:gd name="T19" fmla="*/ 30 h 158"/>
              <a:gd name="T20" fmla="*/ 15 w 158"/>
              <a:gd name="T21" fmla="*/ 75 h 158"/>
              <a:gd name="T22" fmla="*/ 55 w 158"/>
              <a:gd name="T23" fmla="*/ 86 h 158"/>
              <a:gd name="T24" fmla="*/ 121 w 158"/>
              <a:gd name="T25" fmla="*/ 155 h 158"/>
              <a:gd name="T26" fmla="*/ 131 w 158"/>
              <a:gd name="T27" fmla="*/ 158 h 158"/>
              <a:gd name="T28" fmla="*/ 158 w 158"/>
              <a:gd name="T29"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8" h="158">
                <a:moveTo>
                  <a:pt x="158" y="131"/>
                </a:moveTo>
                <a:cubicBezTo>
                  <a:pt x="158" y="128"/>
                  <a:pt x="156" y="123"/>
                  <a:pt x="154" y="121"/>
                </a:cubicBezTo>
                <a:cubicBezTo>
                  <a:pt x="132" y="99"/>
                  <a:pt x="109" y="77"/>
                  <a:pt x="86" y="55"/>
                </a:cubicBezTo>
                <a:cubicBezTo>
                  <a:pt x="89" y="42"/>
                  <a:pt x="86" y="26"/>
                  <a:pt x="75" y="16"/>
                </a:cubicBezTo>
                <a:cubicBezTo>
                  <a:pt x="63" y="3"/>
                  <a:pt x="45" y="0"/>
                  <a:pt x="29" y="7"/>
                </a:cubicBezTo>
                <a:cubicBezTo>
                  <a:pt x="53" y="30"/>
                  <a:pt x="53" y="30"/>
                  <a:pt x="53" y="30"/>
                </a:cubicBezTo>
                <a:cubicBezTo>
                  <a:pt x="55" y="32"/>
                  <a:pt x="55" y="35"/>
                  <a:pt x="53" y="37"/>
                </a:cubicBezTo>
                <a:cubicBezTo>
                  <a:pt x="37" y="53"/>
                  <a:pt x="37" y="53"/>
                  <a:pt x="37" y="53"/>
                </a:cubicBezTo>
                <a:cubicBezTo>
                  <a:pt x="35" y="55"/>
                  <a:pt x="31" y="55"/>
                  <a:pt x="29" y="53"/>
                </a:cubicBezTo>
                <a:cubicBezTo>
                  <a:pt x="6" y="30"/>
                  <a:pt x="6" y="30"/>
                  <a:pt x="6" y="30"/>
                </a:cubicBezTo>
                <a:cubicBezTo>
                  <a:pt x="0" y="45"/>
                  <a:pt x="3" y="63"/>
                  <a:pt x="15" y="75"/>
                </a:cubicBezTo>
                <a:cubicBezTo>
                  <a:pt x="26" y="86"/>
                  <a:pt x="41" y="90"/>
                  <a:pt x="55" y="86"/>
                </a:cubicBezTo>
                <a:cubicBezTo>
                  <a:pt x="77" y="109"/>
                  <a:pt x="99" y="132"/>
                  <a:pt x="121" y="155"/>
                </a:cubicBezTo>
                <a:cubicBezTo>
                  <a:pt x="123" y="157"/>
                  <a:pt x="127" y="158"/>
                  <a:pt x="131" y="158"/>
                </a:cubicBezTo>
                <a:cubicBezTo>
                  <a:pt x="144" y="156"/>
                  <a:pt x="155" y="144"/>
                  <a:pt x="158" y="131"/>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45" name="Freeform 24"/>
          <p:cNvSpPr>
            <a:spLocks noEditPoints="1"/>
          </p:cNvSpPr>
          <p:nvPr/>
        </p:nvSpPr>
        <p:spPr bwMode="auto">
          <a:xfrm>
            <a:off x="6357574" y="5078953"/>
            <a:ext cx="114264" cy="264885"/>
          </a:xfrm>
          <a:custGeom>
            <a:avLst/>
            <a:gdLst>
              <a:gd name="T0" fmla="*/ 68 w 264"/>
              <a:gd name="T1" fmla="*/ 0 h 612"/>
              <a:gd name="T2" fmla="*/ 53 w 264"/>
              <a:gd name="T3" fmla="*/ 0 h 612"/>
              <a:gd name="T4" fmla="*/ 30 w 264"/>
              <a:gd name="T5" fmla="*/ 10 h 612"/>
              <a:gd name="T6" fmla="*/ 10 w 264"/>
              <a:gd name="T7" fmla="*/ 29 h 612"/>
              <a:gd name="T8" fmla="*/ 0 w 264"/>
              <a:gd name="T9" fmla="*/ 53 h 612"/>
              <a:gd name="T10" fmla="*/ 0 w 264"/>
              <a:gd name="T11" fmla="*/ 544 h 612"/>
              <a:gd name="T12" fmla="*/ 0 w 264"/>
              <a:gd name="T13" fmla="*/ 559 h 612"/>
              <a:gd name="T14" fmla="*/ 10 w 264"/>
              <a:gd name="T15" fmla="*/ 583 h 612"/>
              <a:gd name="T16" fmla="*/ 30 w 264"/>
              <a:gd name="T17" fmla="*/ 602 h 612"/>
              <a:gd name="T18" fmla="*/ 53 w 264"/>
              <a:gd name="T19" fmla="*/ 610 h 612"/>
              <a:gd name="T20" fmla="*/ 196 w 264"/>
              <a:gd name="T21" fmla="*/ 612 h 612"/>
              <a:gd name="T22" fmla="*/ 210 w 264"/>
              <a:gd name="T23" fmla="*/ 610 h 612"/>
              <a:gd name="T24" fmla="*/ 234 w 264"/>
              <a:gd name="T25" fmla="*/ 602 h 612"/>
              <a:gd name="T26" fmla="*/ 253 w 264"/>
              <a:gd name="T27" fmla="*/ 583 h 612"/>
              <a:gd name="T28" fmla="*/ 264 w 264"/>
              <a:gd name="T29" fmla="*/ 559 h 612"/>
              <a:gd name="T30" fmla="*/ 264 w 264"/>
              <a:gd name="T31" fmla="*/ 66 h 612"/>
              <a:gd name="T32" fmla="*/ 264 w 264"/>
              <a:gd name="T33" fmla="*/ 53 h 612"/>
              <a:gd name="T34" fmla="*/ 253 w 264"/>
              <a:gd name="T35" fmla="*/ 29 h 612"/>
              <a:gd name="T36" fmla="*/ 234 w 264"/>
              <a:gd name="T37" fmla="*/ 10 h 612"/>
              <a:gd name="T38" fmla="*/ 210 w 264"/>
              <a:gd name="T39" fmla="*/ 0 h 612"/>
              <a:gd name="T40" fmla="*/ 196 w 264"/>
              <a:gd name="T41" fmla="*/ 0 h 612"/>
              <a:gd name="T42" fmla="*/ 104 w 264"/>
              <a:gd name="T43" fmla="*/ 208 h 612"/>
              <a:gd name="T44" fmla="*/ 98 w 264"/>
              <a:gd name="T45" fmla="*/ 221 h 612"/>
              <a:gd name="T46" fmla="*/ 83 w 264"/>
              <a:gd name="T47" fmla="*/ 227 h 612"/>
              <a:gd name="T48" fmla="*/ 74 w 264"/>
              <a:gd name="T49" fmla="*/ 225 h 612"/>
              <a:gd name="T50" fmla="*/ 64 w 264"/>
              <a:gd name="T51" fmla="*/ 215 h 612"/>
              <a:gd name="T52" fmla="*/ 62 w 264"/>
              <a:gd name="T53" fmla="*/ 76 h 612"/>
              <a:gd name="T54" fmla="*/ 64 w 264"/>
              <a:gd name="T55" fmla="*/ 70 h 612"/>
              <a:gd name="T56" fmla="*/ 74 w 264"/>
              <a:gd name="T57" fmla="*/ 59 h 612"/>
              <a:gd name="T58" fmla="*/ 83 w 264"/>
              <a:gd name="T59" fmla="*/ 57 h 612"/>
              <a:gd name="T60" fmla="*/ 98 w 264"/>
              <a:gd name="T61" fmla="*/ 63 h 612"/>
              <a:gd name="T62" fmla="*/ 104 w 264"/>
              <a:gd name="T63" fmla="*/ 76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4" h="612">
                <a:moveTo>
                  <a:pt x="196" y="0"/>
                </a:moveTo>
                <a:lnTo>
                  <a:pt x="68" y="0"/>
                </a:lnTo>
                <a:lnTo>
                  <a:pt x="68" y="0"/>
                </a:lnTo>
                <a:lnTo>
                  <a:pt x="53" y="0"/>
                </a:lnTo>
                <a:lnTo>
                  <a:pt x="40" y="4"/>
                </a:lnTo>
                <a:lnTo>
                  <a:pt x="30" y="10"/>
                </a:lnTo>
                <a:lnTo>
                  <a:pt x="19" y="19"/>
                </a:lnTo>
                <a:lnTo>
                  <a:pt x="10" y="29"/>
                </a:lnTo>
                <a:lnTo>
                  <a:pt x="4" y="40"/>
                </a:lnTo>
                <a:lnTo>
                  <a:pt x="0" y="53"/>
                </a:lnTo>
                <a:lnTo>
                  <a:pt x="0" y="66"/>
                </a:lnTo>
                <a:lnTo>
                  <a:pt x="0" y="544"/>
                </a:lnTo>
                <a:lnTo>
                  <a:pt x="0" y="544"/>
                </a:lnTo>
                <a:lnTo>
                  <a:pt x="0" y="559"/>
                </a:lnTo>
                <a:lnTo>
                  <a:pt x="4" y="572"/>
                </a:lnTo>
                <a:lnTo>
                  <a:pt x="10" y="583"/>
                </a:lnTo>
                <a:lnTo>
                  <a:pt x="19" y="593"/>
                </a:lnTo>
                <a:lnTo>
                  <a:pt x="30" y="602"/>
                </a:lnTo>
                <a:lnTo>
                  <a:pt x="40" y="608"/>
                </a:lnTo>
                <a:lnTo>
                  <a:pt x="53" y="610"/>
                </a:lnTo>
                <a:lnTo>
                  <a:pt x="68" y="612"/>
                </a:lnTo>
                <a:lnTo>
                  <a:pt x="196" y="612"/>
                </a:lnTo>
                <a:lnTo>
                  <a:pt x="196" y="612"/>
                </a:lnTo>
                <a:lnTo>
                  <a:pt x="210" y="610"/>
                </a:lnTo>
                <a:lnTo>
                  <a:pt x="223" y="608"/>
                </a:lnTo>
                <a:lnTo>
                  <a:pt x="234" y="602"/>
                </a:lnTo>
                <a:lnTo>
                  <a:pt x="244" y="593"/>
                </a:lnTo>
                <a:lnTo>
                  <a:pt x="253" y="583"/>
                </a:lnTo>
                <a:lnTo>
                  <a:pt x="259" y="572"/>
                </a:lnTo>
                <a:lnTo>
                  <a:pt x="264" y="559"/>
                </a:lnTo>
                <a:lnTo>
                  <a:pt x="264" y="544"/>
                </a:lnTo>
                <a:lnTo>
                  <a:pt x="264" y="66"/>
                </a:lnTo>
                <a:lnTo>
                  <a:pt x="264" y="66"/>
                </a:lnTo>
                <a:lnTo>
                  <a:pt x="264" y="53"/>
                </a:lnTo>
                <a:lnTo>
                  <a:pt x="259" y="40"/>
                </a:lnTo>
                <a:lnTo>
                  <a:pt x="253" y="29"/>
                </a:lnTo>
                <a:lnTo>
                  <a:pt x="244" y="19"/>
                </a:lnTo>
                <a:lnTo>
                  <a:pt x="234" y="10"/>
                </a:lnTo>
                <a:lnTo>
                  <a:pt x="223" y="4"/>
                </a:lnTo>
                <a:lnTo>
                  <a:pt x="210" y="0"/>
                </a:lnTo>
                <a:lnTo>
                  <a:pt x="196" y="0"/>
                </a:lnTo>
                <a:lnTo>
                  <a:pt x="196" y="0"/>
                </a:lnTo>
                <a:close/>
                <a:moveTo>
                  <a:pt x="104" y="208"/>
                </a:moveTo>
                <a:lnTo>
                  <a:pt x="104" y="208"/>
                </a:lnTo>
                <a:lnTo>
                  <a:pt x="102" y="215"/>
                </a:lnTo>
                <a:lnTo>
                  <a:pt x="98" y="221"/>
                </a:lnTo>
                <a:lnTo>
                  <a:pt x="91" y="225"/>
                </a:lnTo>
                <a:lnTo>
                  <a:pt x="83" y="227"/>
                </a:lnTo>
                <a:lnTo>
                  <a:pt x="83" y="227"/>
                </a:lnTo>
                <a:lnTo>
                  <a:pt x="74" y="225"/>
                </a:lnTo>
                <a:lnTo>
                  <a:pt x="68" y="221"/>
                </a:lnTo>
                <a:lnTo>
                  <a:pt x="64" y="215"/>
                </a:lnTo>
                <a:lnTo>
                  <a:pt x="62" y="208"/>
                </a:lnTo>
                <a:lnTo>
                  <a:pt x="62" y="76"/>
                </a:lnTo>
                <a:lnTo>
                  <a:pt x="62" y="76"/>
                </a:lnTo>
                <a:lnTo>
                  <a:pt x="64" y="70"/>
                </a:lnTo>
                <a:lnTo>
                  <a:pt x="68" y="63"/>
                </a:lnTo>
                <a:lnTo>
                  <a:pt x="74" y="59"/>
                </a:lnTo>
                <a:lnTo>
                  <a:pt x="83" y="57"/>
                </a:lnTo>
                <a:lnTo>
                  <a:pt x="83" y="57"/>
                </a:lnTo>
                <a:lnTo>
                  <a:pt x="91" y="59"/>
                </a:lnTo>
                <a:lnTo>
                  <a:pt x="98" y="63"/>
                </a:lnTo>
                <a:lnTo>
                  <a:pt x="102" y="70"/>
                </a:lnTo>
                <a:lnTo>
                  <a:pt x="104" y="76"/>
                </a:lnTo>
                <a:lnTo>
                  <a:pt x="104" y="208"/>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46" name="Freeform 25"/>
          <p:cNvSpPr/>
          <p:nvPr/>
        </p:nvSpPr>
        <p:spPr bwMode="auto">
          <a:xfrm>
            <a:off x="6013051" y="5389283"/>
            <a:ext cx="524143" cy="20343"/>
          </a:xfrm>
          <a:custGeom>
            <a:avLst/>
            <a:gdLst>
              <a:gd name="T0" fmla="*/ 21 w 1211"/>
              <a:gd name="T1" fmla="*/ 47 h 47"/>
              <a:gd name="T2" fmla="*/ 21 w 1211"/>
              <a:gd name="T3" fmla="*/ 47 h 47"/>
              <a:gd name="T4" fmla="*/ 13 w 1211"/>
              <a:gd name="T5" fmla="*/ 44 h 47"/>
              <a:gd name="T6" fmla="*/ 6 w 1211"/>
              <a:gd name="T7" fmla="*/ 40 h 47"/>
              <a:gd name="T8" fmla="*/ 2 w 1211"/>
              <a:gd name="T9" fmla="*/ 32 h 47"/>
              <a:gd name="T10" fmla="*/ 0 w 1211"/>
              <a:gd name="T11" fmla="*/ 23 h 47"/>
              <a:gd name="T12" fmla="*/ 0 w 1211"/>
              <a:gd name="T13" fmla="*/ 23 h 47"/>
              <a:gd name="T14" fmla="*/ 0 w 1211"/>
              <a:gd name="T15" fmla="*/ 23 h 47"/>
              <a:gd name="T16" fmla="*/ 2 w 1211"/>
              <a:gd name="T17" fmla="*/ 15 h 47"/>
              <a:gd name="T18" fmla="*/ 6 w 1211"/>
              <a:gd name="T19" fmla="*/ 8 h 47"/>
              <a:gd name="T20" fmla="*/ 13 w 1211"/>
              <a:gd name="T21" fmla="*/ 2 h 47"/>
              <a:gd name="T22" fmla="*/ 21 w 1211"/>
              <a:gd name="T23" fmla="*/ 0 h 47"/>
              <a:gd name="T24" fmla="*/ 21 w 1211"/>
              <a:gd name="T25" fmla="*/ 0 h 47"/>
              <a:gd name="T26" fmla="*/ 1187 w 1211"/>
              <a:gd name="T27" fmla="*/ 0 h 47"/>
              <a:gd name="T28" fmla="*/ 1187 w 1211"/>
              <a:gd name="T29" fmla="*/ 0 h 47"/>
              <a:gd name="T30" fmla="*/ 1196 w 1211"/>
              <a:gd name="T31" fmla="*/ 2 h 47"/>
              <a:gd name="T32" fmla="*/ 1204 w 1211"/>
              <a:gd name="T33" fmla="*/ 8 h 47"/>
              <a:gd name="T34" fmla="*/ 1209 w 1211"/>
              <a:gd name="T35" fmla="*/ 15 h 47"/>
              <a:gd name="T36" fmla="*/ 1211 w 1211"/>
              <a:gd name="T37" fmla="*/ 23 h 47"/>
              <a:gd name="T38" fmla="*/ 1211 w 1211"/>
              <a:gd name="T39" fmla="*/ 23 h 47"/>
              <a:gd name="T40" fmla="*/ 1211 w 1211"/>
              <a:gd name="T41" fmla="*/ 23 h 47"/>
              <a:gd name="T42" fmla="*/ 1209 w 1211"/>
              <a:gd name="T43" fmla="*/ 32 h 47"/>
              <a:gd name="T44" fmla="*/ 1204 w 1211"/>
              <a:gd name="T45" fmla="*/ 40 h 47"/>
              <a:gd name="T46" fmla="*/ 1196 w 1211"/>
              <a:gd name="T47" fmla="*/ 44 h 47"/>
              <a:gd name="T48" fmla="*/ 1187 w 1211"/>
              <a:gd name="T49" fmla="*/ 47 h 47"/>
              <a:gd name="T50" fmla="*/ 1187 w 1211"/>
              <a:gd name="T51" fmla="*/ 47 h 47"/>
              <a:gd name="T52" fmla="*/ 21 w 1211"/>
              <a:gd name="T53" fmla="*/ 47 h 47"/>
              <a:gd name="T54" fmla="*/ 21 w 1211"/>
              <a:gd name="T5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1" h="47">
                <a:moveTo>
                  <a:pt x="21" y="47"/>
                </a:moveTo>
                <a:lnTo>
                  <a:pt x="21" y="47"/>
                </a:lnTo>
                <a:lnTo>
                  <a:pt x="13" y="44"/>
                </a:lnTo>
                <a:lnTo>
                  <a:pt x="6" y="40"/>
                </a:lnTo>
                <a:lnTo>
                  <a:pt x="2" y="32"/>
                </a:lnTo>
                <a:lnTo>
                  <a:pt x="0" y="23"/>
                </a:lnTo>
                <a:lnTo>
                  <a:pt x="0" y="23"/>
                </a:lnTo>
                <a:lnTo>
                  <a:pt x="0" y="23"/>
                </a:lnTo>
                <a:lnTo>
                  <a:pt x="2" y="15"/>
                </a:lnTo>
                <a:lnTo>
                  <a:pt x="6" y="8"/>
                </a:lnTo>
                <a:lnTo>
                  <a:pt x="13" y="2"/>
                </a:lnTo>
                <a:lnTo>
                  <a:pt x="21" y="0"/>
                </a:lnTo>
                <a:lnTo>
                  <a:pt x="21" y="0"/>
                </a:lnTo>
                <a:lnTo>
                  <a:pt x="1187" y="0"/>
                </a:lnTo>
                <a:lnTo>
                  <a:pt x="1187" y="0"/>
                </a:lnTo>
                <a:lnTo>
                  <a:pt x="1196" y="2"/>
                </a:lnTo>
                <a:lnTo>
                  <a:pt x="1204" y="8"/>
                </a:lnTo>
                <a:lnTo>
                  <a:pt x="1209" y="15"/>
                </a:lnTo>
                <a:lnTo>
                  <a:pt x="1211" y="23"/>
                </a:lnTo>
                <a:lnTo>
                  <a:pt x="1211" y="23"/>
                </a:lnTo>
                <a:lnTo>
                  <a:pt x="1211" y="23"/>
                </a:lnTo>
                <a:lnTo>
                  <a:pt x="1209" y="32"/>
                </a:lnTo>
                <a:lnTo>
                  <a:pt x="1204" y="40"/>
                </a:lnTo>
                <a:lnTo>
                  <a:pt x="1196" y="44"/>
                </a:lnTo>
                <a:lnTo>
                  <a:pt x="1187" y="47"/>
                </a:lnTo>
                <a:lnTo>
                  <a:pt x="1187" y="47"/>
                </a:lnTo>
                <a:lnTo>
                  <a:pt x="21" y="47"/>
                </a:lnTo>
                <a:lnTo>
                  <a:pt x="21" y="47"/>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47" name="Freeform 26"/>
          <p:cNvSpPr>
            <a:spLocks noEditPoints="1"/>
          </p:cNvSpPr>
          <p:nvPr/>
        </p:nvSpPr>
        <p:spPr bwMode="auto">
          <a:xfrm>
            <a:off x="6065422" y="5013597"/>
            <a:ext cx="260557" cy="337598"/>
          </a:xfrm>
          <a:custGeom>
            <a:avLst/>
            <a:gdLst>
              <a:gd name="T0" fmla="*/ 266 w 602"/>
              <a:gd name="T1" fmla="*/ 719 h 780"/>
              <a:gd name="T2" fmla="*/ 256 w 602"/>
              <a:gd name="T3" fmla="*/ 753 h 780"/>
              <a:gd name="T4" fmla="*/ 228 w 602"/>
              <a:gd name="T5" fmla="*/ 776 h 780"/>
              <a:gd name="T6" fmla="*/ 62 w 602"/>
              <a:gd name="T7" fmla="*/ 780 h 780"/>
              <a:gd name="T8" fmla="*/ 39 w 602"/>
              <a:gd name="T9" fmla="*/ 776 h 780"/>
              <a:gd name="T10" fmla="*/ 11 w 602"/>
              <a:gd name="T11" fmla="*/ 753 h 780"/>
              <a:gd name="T12" fmla="*/ 0 w 602"/>
              <a:gd name="T13" fmla="*/ 719 h 780"/>
              <a:gd name="T14" fmla="*/ 2 w 602"/>
              <a:gd name="T15" fmla="*/ 410 h 780"/>
              <a:gd name="T16" fmla="*/ 19 w 602"/>
              <a:gd name="T17" fmla="*/ 380 h 780"/>
              <a:gd name="T18" fmla="*/ 49 w 602"/>
              <a:gd name="T19" fmla="*/ 363 h 780"/>
              <a:gd name="T20" fmla="*/ 205 w 602"/>
              <a:gd name="T21" fmla="*/ 361 h 780"/>
              <a:gd name="T22" fmla="*/ 239 w 602"/>
              <a:gd name="T23" fmla="*/ 372 h 780"/>
              <a:gd name="T24" fmla="*/ 262 w 602"/>
              <a:gd name="T25" fmla="*/ 400 h 780"/>
              <a:gd name="T26" fmla="*/ 266 w 602"/>
              <a:gd name="T27" fmla="*/ 423 h 780"/>
              <a:gd name="T28" fmla="*/ 98 w 602"/>
              <a:gd name="T29" fmla="*/ 434 h 780"/>
              <a:gd name="T30" fmla="*/ 79 w 602"/>
              <a:gd name="T31" fmla="*/ 421 h 780"/>
              <a:gd name="T32" fmla="*/ 64 w 602"/>
              <a:gd name="T33" fmla="*/ 427 h 780"/>
              <a:gd name="T34" fmla="*/ 58 w 602"/>
              <a:gd name="T35" fmla="*/ 572 h 780"/>
              <a:gd name="T36" fmla="*/ 64 w 602"/>
              <a:gd name="T37" fmla="*/ 585 h 780"/>
              <a:gd name="T38" fmla="*/ 79 w 602"/>
              <a:gd name="T39" fmla="*/ 591 h 780"/>
              <a:gd name="T40" fmla="*/ 98 w 602"/>
              <a:gd name="T41" fmla="*/ 578 h 780"/>
              <a:gd name="T42" fmla="*/ 602 w 602"/>
              <a:gd name="T43" fmla="*/ 59 h 780"/>
              <a:gd name="T44" fmla="*/ 600 w 602"/>
              <a:gd name="T45" fmla="*/ 732 h 780"/>
              <a:gd name="T46" fmla="*/ 585 w 602"/>
              <a:gd name="T47" fmla="*/ 761 h 780"/>
              <a:gd name="T48" fmla="*/ 554 w 602"/>
              <a:gd name="T49" fmla="*/ 778 h 780"/>
              <a:gd name="T50" fmla="*/ 398 w 602"/>
              <a:gd name="T51" fmla="*/ 780 h 780"/>
              <a:gd name="T52" fmla="*/ 364 w 602"/>
              <a:gd name="T53" fmla="*/ 770 h 780"/>
              <a:gd name="T54" fmla="*/ 343 w 602"/>
              <a:gd name="T55" fmla="*/ 742 h 780"/>
              <a:gd name="T56" fmla="*/ 339 w 602"/>
              <a:gd name="T57" fmla="*/ 59 h 780"/>
              <a:gd name="T58" fmla="*/ 343 w 602"/>
              <a:gd name="T59" fmla="*/ 36 h 780"/>
              <a:gd name="T60" fmla="*/ 364 w 602"/>
              <a:gd name="T61" fmla="*/ 10 h 780"/>
              <a:gd name="T62" fmla="*/ 398 w 602"/>
              <a:gd name="T63" fmla="*/ 0 h 780"/>
              <a:gd name="T64" fmla="*/ 554 w 602"/>
              <a:gd name="T65" fmla="*/ 0 h 780"/>
              <a:gd name="T66" fmla="*/ 585 w 602"/>
              <a:gd name="T67" fmla="*/ 17 h 780"/>
              <a:gd name="T68" fmla="*/ 600 w 602"/>
              <a:gd name="T69" fmla="*/ 49 h 780"/>
              <a:gd name="T70" fmla="*/ 441 w 602"/>
              <a:gd name="T71" fmla="*/ 76 h 780"/>
              <a:gd name="T72" fmla="*/ 434 w 602"/>
              <a:gd name="T73" fmla="*/ 63 h 780"/>
              <a:gd name="T74" fmla="*/ 419 w 602"/>
              <a:gd name="T75" fmla="*/ 57 h 780"/>
              <a:gd name="T76" fmla="*/ 400 w 602"/>
              <a:gd name="T77" fmla="*/ 70 h 780"/>
              <a:gd name="T78" fmla="*/ 398 w 602"/>
              <a:gd name="T79" fmla="*/ 242 h 780"/>
              <a:gd name="T80" fmla="*/ 411 w 602"/>
              <a:gd name="T81" fmla="*/ 259 h 780"/>
              <a:gd name="T82" fmla="*/ 428 w 602"/>
              <a:gd name="T83" fmla="*/ 259 h 780"/>
              <a:gd name="T84" fmla="*/ 441 w 602"/>
              <a:gd name="T85" fmla="*/ 242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2" h="780">
                <a:moveTo>
                  <a:pt x="266" y="423"/>
                </a:moveTo>
                <a:lnTo>
                  <a:pt x="266" y="719"/>
                </a:lnTo>
                <a:lnTo>
                  <a:pt x="266" y="719"/>
                </a:lnTo>
                <a:lnTo>
                  <a:pt x="264" y="732"/>
                </a:lnTo>
                <a:lnTo>
                  <a:pt x="262" y="742"/>
                </a:lnTo>
                <a:lnTo>
                  <a:pt x="256" y="753"/>
                </a:lnTo>
                <a:lnTo>
                  <a:pt x="247" y="761"/>
                </a:lnTo>
                <a:lnTo>
                  <a:pt x="239" y="770"/>
                </a:lnTo>
                <a:lnTo>
                  <a:pt x="228" y="776"/>
                </a:lnTo>
                <a:lnTo>
                  <a:pt x="217" y="778"/>
                </a:lnTo>
                <a:lnTo>
                  <a:pt x="205" y="780"/>
                </a:lnTo>
                <a:lnTo>
                  <a:pt x="62" y="780"/>
                </a:lnTo>
                <a:lnTo>
                  <a:pt x="62" y="780"/>
                </a:lnTo>
                <a:lnTo>
                  <a:pt x="49" y="778"/>
                </a:lnTo>
                <a:lnTo>
                  <a:pt x="39" y="776"/>
                </a:lnTo>
                <a:lnTo>
                  <a:pt x="28" y="770"/>
                </a:lnTo>
                <a:lnTo>
                  <a:pt x="19" y="761"/>
                </a:lnTo>
                <a:lnTo>
                  <a:pt x="11" y="753"/>
                </a:lnTo>
                <a:lnTo>
                  <a:pt x="5" y="742"/>
                </a:lnTo>
                <a:lnTo>
                  <a:pt x="2" y="732"/>
                </a:lnTo>
                <a:lnTo>
                  <a:pt x="0" y="719"/>
                </a:lnTo>
                <a:lnTo>
                  <a:pt x="0" y="423"/>
                </a:lnTo>
                <a:lnTo>
                  <a:pt x="0" y="423"/>
                </a:lnTo>
                <a:lnTo>
                  <a:pt x="2" y="410"/>
                </a:lnTo>
                <a:lnTo>
                  <a:pt x="5" y="400"/>
                </a:lnTo>
                <a:lnTo>
                  <a:pt x="11" y="389"/>
                </a:lnTo>
                <a:lnTo>
                  <a:pt x="19" y="380"/>
                </a:lnTo>
                <a:lnTo>
                  <a:pt x="28" y="372"/>
                </a:lnTo>
                <a:lnTo>
                  <a:pt x="39" y="366"/>
                </a:lnTo>
                <a:lnTo>
                  <a:pt x="49" y="363"/>
                </a:lnTo>
                <a:lnTo>
                  <a:pt x="62" y="361"/>
                </a:lnTo>
                <a:lnTo>
                  <a:pt x="205" y="361"/>
                </a:lnTo>
                <a:lnTo>
                  <a:pt x="205" y="361"/>
                </a:lnTo>
                <a:lnTo>
                  <a:pt x="217" y="363"/>
                </a:lnTo>
                <a:lnTo>
                  <a:pt x="228" y="366"/>
                </a:lnTo>
                <a:lnTo>
                  <a:pt x="239" y="372"/>
                </a:lnTo>
                <a:lnTo>
                  <a:pt x="247" y="380"/>
                </a:lnTo>
                <a:lnTo>
                  <a:pt x="256" y="389"/>
                </a:lnTo>
                <a:lnTo>
                  <a:pt x="262" y="400"/>
                </a:lnTo>
                <a:lnTo>
                  <a:pt x="264" y="410"/>
                </a:lnTo>
                <a:lnTo>
                  <a:pt x="266" y="423"/>
                </a:lnTo>
                <a:lnTo>
                  <a:pt x="266" y="423"/>
                </a:lnTo>
                <a:close/>
                <a:moveTo>
                  <a:pt x="100" y="440"/>
                </a:moveTo>
                <a:lnTo>
                  <a:pt x="100" y="440"/>
                </a:lnTo>
                <a:lnTo>
                  <a:pt x="98" y="434"/>
                </a:lnTo>
                <a:lnTo>
                  <a:pt x="94" y="427"/>
                </a:lnTo>
                <a:lnTo>
                  <a:pt x="88" y="423"/>
                </a:lnTo>
                <a:lnTo>
                  <a:pt x="79" y="421"/>
                </a:lnTo>
                <a:lnTo>
                  <a:pt x="79" y="421"/>
                </a:lnTo>
                <a:lnTo>
                  <a:pt x="71" y="423"/>
                </a:lnTo>
                <a:lnTo>
                  <a:pt x="64" y="427"/>
                </a:lnTo>
                <a:lnTo>
                  <a:pt x="60" y="434"/>
                </a:lnTo>
                <a:lnTo>
                  <a:pt x="58" y="440"/>
                </a:lnTo>
                <a:lnTo>
                  <a:pt x="58" y="572"/>
                </a:lnTo>
                <a:lnTo>
                  <a:pt x="58" y="572"/>
                </a:lnTo>
                <a:lnTo>
                  <a:pt x="60" y="578"/>
                </a:lnTo>
                <a:lnTo>
                  <a:pt x="64" y="585"/>
                </a:lnTo>
                <a:lnTo>
                  <a:pt x="71" y="589"/>
                </a:lnTo>
                <a:lnTo>
                  <a:pt x="79" y="591"/>
                </a:lnTo>
                <a:lnTo>
                  <a:pt x="79" y="591"/>
                </a:lnTo>
                <a:lnTo>
                  <a:pt x="88" y="589"/>
                </a:lnTo>
                <a:lnTo>
                  <a:pt x="94" y="585"/>
                </a:lnTo>
                <a:lnTo>
                  <a:pt x="98" y="578"/>
                </a:lnTo>
                <a:lnTo>
                  <a:pt x="100" y="572"/>
                </a:lnTo>
                <a:lnTo>
                  <a:pt x="100" y="440"/>
                </a:lnTo>
                <a:close/>
                <a:moveTo>
                  <a:pt x="602" y="59"/>
                </a:moveTo>
                <a:lnTo>
                  <a:pt x="602" y="719"/>
                </a:lnTo>
                <a:lnTo>
                  <a:pt x="602" y="719"/>
                </a:lnTo>
                <a:lnTo>
                  <a:pt x="600" y="732"/>
                </a:lnTo>
                <a:lnTo>
                  <a:pt x="598" y="742"/>
                </a:lnTo>
                <a:lnTo>
                  <a:pt x="592" y="753"/>
                </a:lnTo>
                <a:lnTo>
                  <a:pt x="585" y="761"/>
                </a:lnTo>
                <a:lnTo>
                  <a:pt x="575" y="770"/>
                </a:lnTo>
                <a:lnTo>
                  <a:pt x="566" y="776"/>
                </a:lnTo>
                <a:lnTo>
                  <a:pt x="554" y="778"/>
                </a:lnTo>
                <a:lnTo>
                  <a:pt x="543" y="780"/>
                </a:lnTo>
                <a:lnTo>
                  <a:pt x="398" y="780"/>
                </a:lnTo>
                <a:lnTo>
                  <a:pt x="398" y="780"/>
                </a:lnTo>
                <a:lnTo>
                  <a:pt x="385" y="778"/>
                </a:lnTo>
                <a:lnTo>
                  <a:pt x="375" y="776"/>
                </a:lnTo>
                <a:lnTo>
                  <a:pt x="364" y="770"/>
                </a:lnTo>
                <a:lnTo>
                  <a:pt x="356" y="761"/>
                </a:lnTo>
                <a:lnTo>
                  <a:pt x="347" y="753"/>
                </a:lnTo>
                <a:lnTo>
                  <a:pt x="343" y="742"/>
                </a:lnTo>
                <a:lnTo>
                  <a:pt x="339" y="732"/>
                </a:lnTo>
                <a:lnTo>
                  <a:pt x="339" y="719"/>
                </a:lnTo>
                <a:lnTo>
                  <a:pt x="339" y="59"/>
                </a:lnTo>
                <a:lnTo>
                  <a:pt x="339" y="59"/>
                </a:lnTo>
                <a:lnTo>
                  <a:pt x="339" y="49"/>
                </a:lnTo>
                <a:lnTo>
                  <a:pt x="343" y="36"/>
                </a:lnTo>
                <a:lnTo>
                  <a:pt x="347" y="25"/>
                </a:lnTo>
                <a:lnTo>
                  <a:pt x="356" y="17"/>
                </a:lnTo>
                <a:lnTo>
                  <a:pt x="364" y="10"/>
                </a:lnTo>
                <a:lnTo>
                  <a:pt x="375" y="4"/>
                </a:lnTo>
                <a:lnTo>
                  <a:pt x="385" y="0"/>
                </a:lnTo>
                <a:lnTo>
                  <a:pt x="398" y="0"/>
                </a:lnTo>
                <a:lnTo>
                  <a:pt x="543" y="0"/>
                </a:lnTo>
                <a:lnTo>
                  <a:pt x="543" y="0"/>
                </a:lnTo>
                <a:lnTo>
                  <a:pt x="554" y="0"/>
                </a:lnTo>
                <a:lnTo>
                  <a:pt x="566" y="4"/>
                </a:lnTo>
                <a:lnTo>
                  <a:pt x="575" y="10"/>
                </a:lnTo>
                <a:lnTo>
                  <a:pt x="585" y="17"/>
                </a:lnTo>
                <a:lnTo>
                  <a:pt x="592" y="25"/>
                </a:lnTo>
                <a:lnTo>
                  <a:pt x="598" y="36"/>
                </a:lnTo>
                <a:lnTo>
                  <a:pt x="600" y="49"/>
                </a:lnTo>
                <a:lnTo>
                  <a:pt x="602" y="59"/>
                </a:lnTo>
                <a:lnTo>
                  <a:pt x="602" y="59"/>
                </a:lnTo>
                <a:close/>
                <a:moveTo>
                  <a:pt x="441" y="76"/>
                </a:moveTo>
                <a:lnTo>
                  <a:pt x="441" y="76"/>
                </a:lnTo>
                <a:lnTo>
                  <a:pt x="439" y="70"/>
                </a:lnTo>
                <a:lnTo>
                  <a:pt x="434" y="63"/>
                </a:lnTo>
                <a:lnTo>
                  <a:pt x="428" y="59"/>
                </a:lnTo>
                <a:lnTo>
                  <a:pt x="419" y="57"/>
                </a:lnTo>
                <a:lnTo>
                  <a:pt x="419" y="57"/>
                </a:lnTo>
                <a:lnTo>
                  <a:pt x="411" y="59"/>
                </a:lnTo>
                <a:lnTo>
                  <a:pt x="405" y="63"/>
                </a:lnTo>
                <a:lnTo>
                  <a:pt x="400" y="70"/>
                </a:lnTo>
                <a:lnTo>
                  <a:pt x="398" y="76"/>
                </a:lnTo>
                <a:lnTo>
                  <a:pt x="398" y="242"/>
                </a:lnTo>
                <a:lnTo>
                  <a:pt x="398" y="242"/>
                </a:lnTo>
                <a:lnTo>
                  <a:pt x="400" y="249"/>
                </a:lnTo>
                <a:lnTo>
                  <a:pt x="405" y="255"/>
                </a:lnTo>
                <a:lnTo>
                  <a:pt x="411" y="259"/>
                </a:lnTo>
                <a:lnTo>
                  <a:pt x="419" y="261"/>
                </a:lnTo>
                <a:lnTo>
                  <a:pt x="419" y="261"/>
                </a:lnTo>
                <a:lnTo>
                  <a:pt x="428" y="259"/>
                </a:lnTo>
                <a:lnTo>
                  <a:pt x="434" y="255"/>
                </a:lnTo>
                <a:lnTo>
                  <a:pt x="439" y="249"/>
                </a:lnTo>
                <a:lnTo>
                  <a:pt x="441" y="242"/>
                </a:lnTo>
                <a:lnTo>
                  <a:pt x="441" y="76"/>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49" name="Oval 211"/>
          <p:cNvSpPr>
            <a:spLocks noChangeArrowheads="1"/>
          </p:cNvSpPr>
          <p:nvPr/>
        </p:nvSpPr>
        <p:spPr bwMode="auto">
          <a:xfrm>
            <a:off x="8262423" y="5081948"/>
            <a:ext cx="64209" cy="76037"/>
          </a:xfrm>
          <a:prstGeom prst="ellipse">
            <a:avLst/>
          </a:pr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0" name="Freeform 212"/>
          <p:cNvSpPr/>
          <p:nvPr/>
        </p:nvSpPr>
        <p:spPr bwMode="auto">
          <a:xfrm>
            <a:off x="8179626" y="5164743"/>
            <a:ext cx="194317" cy="329496"/>
          </a:xfrm>
          <a:custGeom>
            <a:avLst/>
            <a:gdLst>
              <a:gd name="T0" fmla="*/ 53 w 58"/>
              <a:gd name="T1" fmla="*/ 7 h 98"/>
              <a:gd name="T2" fmla="*/ 48 w 58"/>
              <a:gd name="T3" fmla="*/ 1 h 98"/>
              <a:gd name="T4" fmla="*/ 47 w 58"/>
              <a:gd name="T5" fmla="*/ 1 h 98"/>
              <a:gd name="T6" fmla="*/ 43 w 58"/>
              <a:gd name="T7" fmla="*/ 1 h 98"/>
              <a:gd name="T8" fmla="*/ 43 w 58"/>
              <a:gd name="T9" fmla="*/ 1 h 98"/>
              <a:gd name="T10" fmla="*/ 47 w 58"/>
              <a:gd name="T11" fmla="*/ 4 h 98"/>
              <a:gd name="T12" fmla="*/ 42 w 58"/>
              <a:gd name="T13" fmla="*/ 7 h 98"/>
              <a:gd name="T14" fmla="*/ 44 w 58"/>
              <a:gd name="T15" fmla="*/ 11 h 98"/>
              <a:gd name="T16" fmla="*/ 38 w 58"/>
              <a:gd name="T17" fmla="*/ 25 h 98"/>
              <a:gd name="T18" fmla="*/ 37 w 58"/>
              <a:gd name="T19" fmla="*/ 5 h 98"/>
              <a:gd name="T20" fmla="*/ 38 w 58"/>
              <a:gd name="T21" fmla="*/ 4 h 98"/>
              <a:gd name="T22" fmla="*/ 37 w 58"/>
              <a:gd name="T23" fmla="*/ 0 h 98"/>
              <a:gd name="T24" fmla="*/ 33 w 58"/>
              <a:gd name="T25" fmla="*/ 0 h 98"/>
              <a:gd name="T26" fmla="*/ 32 w 58"/>
              <a:gd name="T27" fmla="*/ 4 h 98"/>
              <a:gd name="T28" fmla="*/ 33 w 58"/>
              <a:gd name="T29" fmla="*/ 5 h 98"/>
              <a:gd name="T30" fmla="*/ 32 w 58"/>
              <a:gd name="T31" fmla="*/ 25 h 98"/>
              <a:gd name="T32" fmla="*/ 25 w 58"/>
              <a:gd name="T33" fmla="*/ 11 h 98"/>
              <a:gd name="T34" fmla="*/ 28 w 58"/>
              <a:gd name="T35" fmla="*/ 7 h 98"/>
              <a:gd name="T36" fmla="*/ 23 w 58"/>
              <a:gd name="T37" fmla="*/ 4 h 98"/>
              <a:gd name="T38" fmla="*/ 27 w 58"/>
              <a:gd name="T39" fmla="*/ 1 h 98"/>
              <a:gd name="T40" fmla="*/ 27 w 58"/>
              <a:gd name="T41" fmla="*/ 1 h 98"/>
              <a:gd name="T42" fmla="*/ 22 w 58"/>
              <a:gd name="T43" fmla="*/ 1 h 98"/>
              <a:gd name="T44" fmla="*/ 22 w 58"/>
              <a:gd name="T45" fmla="*/ 1 h 98"/>
              <a:gd name="T46" fmla="*/ 17 w 58"/>
              <a:gd name="T47" fmla="*/ 5 h 98"/>
              <a:gd name="T48" fmla="*/ 0 w 58"/>
              <a:gd name="T49" fmla="*/ 45 h 98"/>
              <a:gd name="T50" fmla="*/ 12 w 58"/>
              <a:gd name="T51" fmla="*/ 51 h 98"/>
              <a:gd name="T52" fmla="*/ 19 w 58"/>
              <a:gd name="T53" fmla="*/ 36 h 98"/>
              <a:gd name="T54" fmla="*/ 18 w 58"/>
              <a:gd name="T55" fmla="*/ 52 h 98"/>
              <a:gd name="T56" fmla="*/ 18 w 58"/>
              <a:gd name="T57" fmla="*/ 52 h 98"/>
              <a:gd name="T58" fmla="*/ 20 w 58"/>
              <a:gd name="T59" fmla="*/ 52 h 98"/>
              <a:gd name="T60" fmla="*/ 21 w 58"/>
              <a:gd name="T61" fmla="*/ 98 h 98"/>
              <a:gd name="T62" fmla="*/ 34 w 58"/>
              <a:gd name="T63" fmla="*/ 98 h 98"/>
              <a:gd name="T64" fmla="*/ 34 w 58"/>
              <a:gd name="T65" fmla="*/ 52 h 98"/>
              <a:gd name="T66" fmla="*/ 35 w 58"/>
              <a:gd name="T67" fmla="*/ 52 h 98"/>
              <a:gd name="T68" fmla="*/ 37 w 58"/>
              <a:gd name="T69" fmla="*/ 98 h 98"/>
              <a:gd name="T70" fmla="*/ 50 w 58"/>
              <a:gd name="T71" fmla="*/ 98 h 98"/>
              <a:gd name="T72" fmla="*/ 50 w 58"/>
              <a:gd name="T73" fmla="*/ 52 h 98"/>
              <a:gd name="T74" fmla="*/ 51 w 58"/>
              <a:gd name="T75" fmla="*/ 52 h 98"/>
              <a:gd name="T76" fmla="*/ 51 w 58"/>
              <a:gd name="T77" fmla="*/ 52 h 98"/>
              <a:gd name="T78" fmla="*/ 51 w 58"/>
              <a:gd name="T79" fmla="*/ 52 h 98"/>
              <a:gd name="T80" fmla="*/ 58 w 58"/>
              <a:gd name="T81" fmla="*/ 51 h 98"/>
              <a:gd name="T82" fmla="*/ 53 w 58"/>
              <a:gd name="T83" fmla="*/ 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 h="98">
                <a:moveTo>
                  <a:pt x="53" y="7"/>
                </a:moveTo>
                <a:cubicBezTo>
                  <a:pt x="53" y="4"/>
                  <a:pt x="50" y="2"/>
                  <a:pt x="48" y="1"/>
                </a:cubicBezTo>
                <a:cubicBezTo>
                  <a:pt x="48" y="1"/>
                  <a:pt x="48" y="1"/>
                  <a:pt x="47" y="1"/>
                </a:cubicBezTo>
                <a:cubicBezTo>
                  <a:pt x="46" y="1"/>
                  <a:pt x="44" y="1"/>
                  <a:pt x="43" y="1"/>
                </a:cubicBezTo>
                <a:cubicBezTo>
                  <a:pt x="43" y="1"/>
                  <a:pt x="43" y="1"/>
                  <a:pt x="43" y="1"/>
                </a:cubicBezTo>
                <a:cubicBezTo>
                  <a:pt x="47" y="4"/>
                  <a:pt x="47" y="4"/>
                  <a:pt x="47" y="4"/>
                </a:cubicBezTo>
                <a:cubicBezTo>
                  <a:pt x="42" y="7"/>
                  <a:pt x="42" y="7"/>
                  <a:pt x="42" y="7"/>
                </a:cubicBezTo>
                <a:cubicBezTo>
                  <a:pt x="44" y="11"/>
                  <a:pt x="44" y="11"/>
                  <a:pt x="44" y="11"/>
                </a:cubicBezTo>
                <a:cubicBezTo>
                  <a:pt x="38" y="25"/>
                  <a:pt x="38" y="25"/>
                  <a:pt x="38" y="25"/>
                </a:cubicBezTo>
                <a:cubicBezTo>
                  <a:pt x="37" y="5"/>
                  <a:pt x="37" y="5"/>
                  <a:pt x="37" y="5"/>
                </a:cubicBezTo>
                <a:cubicBezTo>
                  <a:pt x="38" y="4"/>
                  <a:pt x="38" y="4"/>
                  <a:pt x="38" y="4"/>
                </a:cubicBezTo>
                <a:cubicBezTo>
                  <a:pt x="37" y="0"/>
                  <a:pt x="37" y="0"/>
                  <a:pt x="37" y="0"/>
                </a:cubicBezTo>
                <a:cubicBezTo>
                  <a:pt x="33" y="0"/>
                  <a:pt x="33" y="0"/>
                  <a:pt x="33" y="0"/>
                </a:cubicBezTo>
                <a:cubicBezTo>
                  <a:pt x="32" y="4"/>
                  <a:pt x="32" y="4"/>
                  <a:pt x="32" y="4"/>
                </a:cubicBezTo>
                <a:cubicBezTo>
                  <a:pt x="33" y="5"/>
                  <a:pt x="33" y="5"/>
                  <a:pt x="33" y="5"/>
                </a:cubicBezTo>
                <a:cubicBezTo>
                  <a:pt x="32" y="25"/>
                  <a:pt x="32" y="25"/>
                  <a:pt x="32" y="25"/>
                </a:cubicBezTo>
                <a:cubicBezTo>
                  <a:pt x="25" y="11"/>
                  <a:pt x="25" y="11"/>
                  <a:pt x="25" y="11"/>
                </a:cubicBezTo>
                <a:cubicBezTo>
                  <a:pt x="28" y="7"/>
                  <a:pt x="28" y="7"/>
                  <a:pt x="28" y="7"/>
                </a:cubicBezTo>
                <a:cubicBezTo>
                  <a:pt x="23" y="4"/>
                  <a:pt x="23" y="4"/>
                  <a:pt x="23" y="4"/>
                </a:cubicBezTo>
                <a:cubicBezTo>
                  <a:pt x="27" y="1"/>
                  <a:pt x="27" y="1"/>
                  <a:pt x="27" y="1"/>
                </a:cubicBezTo>
                <a:cubicBezTo>
                  <a:pt x="27" y="1"/>
                  <a:pt x="27" y="1"/>
                  <a:pt x="27" y="1"/>
                </a:cubicBezTo>
                <a:cubicBezTo>
                  <a:pt x="25" y="1"/>
                  <a:pt x="24" y="1"/>
                  <a:pt x="22" y="1"/>
                </a:cubicBezTo>
                <a:cubicBezTo>
                  <a:pt x="22" y="1"/>
                  <a:pt x="22" y="1"/>
                  <a:pt x="22" y="1"/>
                </a:cubicBezTo>
                <a:cubicBezTo>
                  <a:pt x="20" y="1"/>
                  <a:pt x="18" y="3"/>
                  <a:pt x="17" y="5"/>
                </a:cubicBezTo>
                <a:cubicBezTo>
                  <a:pt x="13" y="20"/>
                  <a:pt x="7" y="32"/>
                  <a:pt x="0" y="45"/>
                </a:cubicBezTo>
                <a:cubicBezTo>
                  <a:pt x="4" y="47"/>
                  <a:pt x="8" y="49"/>
                  <a:pt x="12" y="51"/>
                </a:cubicBezTo>
                <a:cubicBezTo>
                  <a:pt x="14" y="46"/>
                  <a:pt x="16" y="41"/>
                  <a:pt x="19" y="36"/>
                </a:cubicBezTo>
                <a:cubicBezTo>
                  <a:pt x="18" y="41"/>
                  <a:pt x="18" y="46"/>
                  <a:pt x="18" y="52"/>
                </a:cubicBezTo>
                <a:cubicBezTo>
                  <a:pt x="18" y="52"/>
                  <a:pt x="18" y="52"/>
                  <a:pt x="18" y="52"/>
                </a:cubicBezTo>
                <a:cubicBezTo>
                  <a:pt x="19" y="52"/>
                  <a:pt x="19" y="52"/>
                  <a:pt x="20" y="52"/>
                </a:cubicBezTo>
                <a:cubicBezTo>
                  <a:pt x="21" y="98"/>
                  <a:pt x="21" y="98"/>
                  <a:pt x="21" y="98"/>
                </a:cubicBezTo>
                <a:cubicBezTo>
                  <a:pt x="34" y="98"/>
                  <a:pt x="34" y="98"/>
                  <a:pt x="34" y="98"/>
                </a:cubicBezTo>
                <a:cubicBezTo>
                  <a:pt x="34" y="84"/>
                  <a:pt x="34" y="61"/>
                  <a:pt x="34" y="52"/>
                </a:cubicBezTo>
                <a:cubicBezTo>
                  <a:pt x="35" y="52"/>
                  <a:pt x="35" y="52"/>
                  <a:pt x="35" y="52"/>
                </a:cubicBezTo>
                <a:cubicBezTo>
                  <a:pt x="37" y="98"/>
                  <a:pt x="37" y="98"/>
                  <a:pt x="37" y="98"/>
                </a:cubicBezTo>
                <a:cubicBezTo>
                  <a:pt x="50" y="98"/>
                  <a:pt x="50" y="98"/>
                  <a:pt x="50" y="98"/>
                </a:cubicBezTo>
                <a:cubicBezTo>
                  <a:pt x="50" y="84"/>
                  <a:pt x="50" y="61"/>
                  <a:pt x="50" y="52"/>
                </a:cubicBezTo>
                <a:cubicBezTo>
                  <a:pt x="50" y="52"/>
                  <a:pt x="51" y="52"/>
                  <a:pt x="51" y="52"/>
                </a:cubicBezTo>
                <a:cubicBezTo>
                  <a:pt x="51" y="52"/>
                  <a:pt x="51" y="52"/>
                  <a:pt x="51" y="52"/>
                </a:cubicBezTo>
                <a:cubicBezTo>
                  <a:pt x="51" y="52"/>
                  <a:pt x="51" y="52"/>
                  <a:pt x="51" y="52"/>
                </a:cubicBezTo>
                <a:cubicBezTo>
                  <a:pt x="53" y="52"/>
                  <a:pt x="56" y="52"/>
                  <a:pt x="58" y="51"/>
                </a:cubicBezTo>
                <a:lnTo>
                  <a:pt x="53" y="7"/>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1" name="Oval 213"/>
          <p:cNvSpPr>
            <a:spLocks noChangeArrowheads="1"/>
          </p:cNvSpPr>
          <p:nvPr/>
        </p:nvSpPr>
        <p:spPr bwMode="auto">
          <a:xfrm>
            <a:off x="7924479" y="5081948"/>
            <a:ext cx="64209" cy="76037"/>
          </a:xfrm>
          <a:prstGeom prst="ellipse">
            <a:avLst/>
          </a:pr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2" name="Freeform 214"/>
          <p:cNvSpPr>
            <a:spLocks noEditPoints="1"/>
          </p:cNvSpPr>
          <p:nvPr/>
        </p:nvSpPr>
        <p:spPr bwMode="auto">
          <a:xfrm>
            <a:off x="7836614" y="5075189"/>
            <a:ext cx="248389" cy="419051"/>
          </a:xfrm>
          <a:custGeom>
            <a:avLst/>
            <a:gdLst>
              <a:gd name="T0" fmla="*/ 71 w 74"/>
              <a:gd name="T1" fmla="*/ 23 h 125"/>
              <a:gd name="T2" fmla="*/ 71 w 74"/>
              <a:gd name="T3" fmla="*/ 23 h 125"/>
              <a:gd name="T4" fmla="*/ 71 w 74"/>
              <a:gd name="T5" fmla="*/ 22 h 125"/>
              <a:gd name="T6" fmla="*/ 71 w 74"/>
              <a:gd name="T7" fmla="*/ 17 h 125"/>
              <a:gd name="T8" fmla="*/ 70 w 74"/>
              <a:gd name="T9" fmla="*/ 0 h 125"/>
              <a:gd name="T10" fmla="*/ 58 w 74"/>
              <a:gd name="T11" fmla="*/ 12 h 125"/>
              <a:gd name="T12" fmla="*/ 58 w 74"/>
              <a:gd name="T13" fmla="*/ 20 h 125"/>
              <a:gd name="T14" fmla="*/ 47 w 74"/>
              <a:gd name="T15" fmla="*/ 31 h 125"/>
              <a:gd name="T16" fmla="*/ 45 w 74"/>
              <a:gd name="T17" fmla="*/ 38 h 125"/>
              <a:gd name="T18" fmla="*/ 37 w 74"/>
              <a:gd name="T19" fmla="*/ 32 h 125"/>
              <a:gd name="T20" fmla="*/ 37 w 74"/>
              <a:gd name="T21" fmla="*/ 27 h 125"/>
              <a:gd name="T22" fmla="*/ 32 w 74"/>
              <a:gd name="T23" fmla="*/ 31 h 125"/>
              <a:gd name="T24" fmla="*/ 32 w 74"/>
              <a:gd name="T25" fmla="*/ 52 h 125"/>
              <a:gd name="T26" fmla="*/ 28 w 74"/>
              <a:gd name="T27" fmla="*/ 34 h 125"/>
              <a:gd name="T28" fmla="*/ 27 w 74"/>
              <a:gd name="T29" fmla="*/ 28 h 125"/>
              <a:gd name="T30" fmla="*/ 22 w 74"/>
              <a:gd name="T31" fmla="*/ 28 h 125"/>
              <a:gd name="T32" fmla="*/ 18 w 74"/>
              <a:gd name="T33" fmla="*/ 30 h 125"/>
              <a:gd name="T34" fmla="*/ 2 w 74"/>
              <a:gd name="T35" fmla="*/ 48 h 125"/>
              <a:gd name="T36" fmla="*/ 1 w 74"/>
              <a:gd name="T37" fmla="*/ 55 h 125"/>
              <a:gd name="T38" fmla="*/ 1 w 74"/>
              <a:gd name="T39" fmla="*/ 55 h 125"/>
              <a:gd name="T40" fmla="*/ 1 w 74"/>
              <a:gd name="T41" fmla="*/ 55 h 125"/>
              <a:gd name="T42" fmla="*/ 2 w 74"/>
              <a:gd name="T43" fmla="*/ 57 h 125"/>
              <a:gd name="T44" fmla="*/ 6 w 74"/>
              <a:gd name="T45" fmla="*/ 65 h 125"/>
              <a:gd name="T46" fmla="*/ 19 w 74"/>
              <a:gd name="T47" fmla="*/ 72 h 125"/>
              <a:gd name="T48" fmla="*/ 19 w 74"/>
              <a:gd name="T49" fmla="*/ 79 h 125"/>
              <a:gd name="T50" fmla="*/ 21 w 74"/>
              <a:gd name="T51" fmla="*/ 125 h 125"/>
              <a:gd name="T52" fmla="*/ 34 w 74"/>
              <a:gd name="T53" fmla="*/ 79 h 125"/>
              <a:gd name="T54" fmla="*/ 37 w 74"/>
              <a:gd name="T55" fmla="*/ 125 h 125"/>
              <a:gd name="T56" fmla="*/ 50 w 74"/>
              <a:gd name="T57" fmla="*/ 79 h 125"/>
              <a:gd name="T58" fmla="*/ 52 w 74"/>
              <a:gd name="T59" fmla="*/ 79 h 125"/>
              <a:gd name="T60" fmla="*/ 67 w 74"/>
              <a:gd name="T61" fmla="*/ 29 h 125"/>
              <a:gd name="T62" fmla="*/ 67 w 74"/>
              <a:gd name="T63" fmla="*/ 29 h 125"/>
              <a:gd name="T64" fmla="*/ 19 w 74"/>
              <a:gd name="T65" fmla="*/ 62 h 125"/>
              <a:gd name="T66" fmla="*/ 15 w 74"/>
              <a:gd name="T67" fmla="*/ 54 h 125"/>
              <a:gd name="T68" fmla="*/ 20 w 74"/>
              <a:gd name="T69" fmla="*/ 4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 h="125">
                <a:moveTo>
                  <a:pt x="71" y="23"/>
                </a:moveTo>
                <a:cubicBezTo>
                  <a:pt x="71" y="23"/>
                  <a:pt x="71" y="23"/>
                  <a:pt x="71" y="23"/>
                </a:cubicBezTo>
                <a:cubicBezTo>
                  <a:pt x="71" y="23"/>
                  <a:pt x="71" y="23"/>
                  <a:pt x="71" y="23"/>
                </a:cubicBezTo>
                <a:cubicBezTo>
                  <a:pt x="71" y="23"/>
                  <a:pt x="71" y="23"/>
                  <a:pt x="71" y="23"/>
                </a:cubicBezTo>
                <a:cubicBezTo>
                  <a:pt x="71" y="22"/>
                  <a:pt x="71" y="22"/>
                  <a:pt x="71" y="22"/>
                </a:cubicBezTo>
                <a:cubicBezTo>
                  <a:pt x="71" y="22"/>
                  <a:pt x="71" y="22"/>
                  <a:pt x="71" y="22"/>
                </a:cubicBezTo>
                <a:cubicBezTo>
                  <a:pt x="71" y="20"/>
                  <a:pt x="71" y="20"/>
                  <a:pt x="71" y="20"/>
                </a:cubicBezTo>
                <a:cubicBezTo>
                  <a:pt x="71" y="17"/>
                  <a:pt x="71" y="17"/>
                  <a:pt x="71" y="17"/>
                </a:cubicBezTo>
                <a:cubicBezTo>
                  <a:pt x="70" y="11"/>
                  <a:pt x="70" y="11"/>
                  <a:pt x="70" y="11"/>
                </a:cubicBezTo>
                <a:cubicBezTo>
                  <a:pt x="70" y="0"/>
                  <a:pt x="70" y="0"/>
                  <a:pt x="70" y="0"/>
                </a:cubicBezTo>
                <a:cubicBezTo>
                  <a:pt x="66" y="0"/>
                  <a:pt x="61" y="0"/>
                  <a:pt x="57" y="0"/>
                </a:cubicBezTo>
                <a:cubicBezTo>
                  <a:pt x="58" y="12"/>
                  <a:pt x="58" y="12"/>
                  <a:pt x="58" y="12"/>
                </a:cubicBezTo>
                <a:cubicBezTo>
                  <a:pt x="58" y="18"/>
                  <a:pt x="58" y="18"/>
                  <a:pt x="58" y="18"/>
                </a:cubicBezTo>
                <a:cubicBezTo>
                  <a:pt x="58" y="20"/>
                  <a:pt x="58" y="20"/>
                  <a:pt x="58" y="20"/>
                </a:cubicBezTo>
                <a:cubicBezTo>
                  <a:pt x="42" y="27"/>
                  <a:pt x="42" y="27"/>
                  <a:pt x="42" y="27"/>
                </a:cubicBezTo>
                <a:cubicBezTo>
                  <a:pt x="47" y="31"/>
                  <a:pt x="47" y="31"/>
                  <a:pt x="47" y="31"/>
                </a:cubicBezTo>
                <a:cubicBezTo>
                  <a:pt x="42" y="34"/>
                  <a:pt x="42" y="34"/>
                  <a:pt x="42" y="34"/>
                </a:cubicBezTo>
                <a:cubicBezTo>
                  <a:pt x="45" y="38"/>
                  <a:pt x="45" y="38"/>
                  <a:pt x="45" y="38"/>
                </a:cubicBezTo>
                <a:cubicBezTo>
                  <a:pt x="38" y="52"/>
                  <a:pt x="38" y="52"/>
                  <a:pt x="38" y="52"/>
                </a:cubicBezTo>
                <a:cubicBezTo>
                  <a:pt x="37" y="32"/>
                  <a:pt x="37" y="32"/>
                  <a:pt x="37" y="32"/>
                </a:cubicBezTo>
                <a:cubicBezTo>
                  <a:pt x="38" y="31"/>
                  <a:pt x="38" y="31"/>
                  <a:pt x="38" y="31"/>
                </a:cubicBezTo>
                <a:cubicBezTo>
                  <a:pt x="37" y="27"/>
                  <a:pt x="37" y="27"/>
                  <a:pt x="37" y="27"/>
                </a:cubicBezTo>
                <a:cubicBezTo>
                  <a:pt x="33" y="27"/>
                  <a:pt x="33" y="27"/>
                  <a:pt x="33" y="27"/>
                </a:cubicBezTo>
                <a:cubicBezTo>
                  <a:pt x="32" y="31"/>
                  <a:pt x="32" y="31"/>
                  <a:pt x="32" y="31"/>
                </a:cubicBezTo>
                <a:cubicBezTo>
                  <a:pt x="33" y="32"/>
                  <a:pt x="33" y="32"/>
                  <a:pt x="33" y="32"/>
                </a:cubicBezTo>
                <a:cubicBezTo>
                  <a:pt x="32" y="52"/>
                  <a:pt x="32" y="52"/>
                  <a:pt x="32" y="52"/>
                </a:cubicBezTo>
                <a:cubicBezTo>
                  <a:pt x="26" y="38"/>
                  <a:pt x="26" y="38"/>
                  <a:pt x="26" y="38"/>
                </a:cubicBezTo>
                <a:cubicBezTo>
                  <a:pt x="28" y="34"/>
                  <a:pt x="28" y="34"/>
                  <a:pt x="28" y="34"/>
                </a:cubicBezTo>
                <a:cubicBezTo>
                  <a:pt x="23" y="31"/>
                  <a:pt x="23" y="31"/>
                  <a:pt x="23" y="31"/>
                </a:cubicBezTo>
                <a:cubicBezTo>
                  <a:pt x="27" y="28"/>
                  <a:pt x="27" y="28"/>
                  <a:pt x="27" y="28"/>
                </a:cubicBezTo>
                <a:cubicBezTo>
                  <a:pt x="27" y="28"/>
                  <a:pt x="27" y="28"/>
                  <a:pt x="27" y="28"/>
                </a:cubicBezTo>
                <a:cubicBezTo>
                  <a:pt x="26" y="28"/>
                  <a:pt x="24" y="28"/>
                  <a:pt x="22" y="28"/>
                </a:cubicBezTo>
                <a:cubicBezTo>
                  <a:pt x="22" y="28"/>
                  <a:pt x="22" y="28"/>
                  <a:pt x="22" y="28"/>
                </a:cubicBezTo>
                <a:cubicBezTo>
                  <a:pt x="21" y="28"/>
                  <a:pt x="19" y="29"/>
                  <a:pt x="18" y="30"/>
                </a:cubicBezTo>
                <a:cubicBezTo>
                  <a:pt x="2" y="48"/>
                  <a:pt x="2" y="48"/>
                  <a:pt x="2" y="48"/>
                </a:cubicBezTo>
                <a:cubicBezTo>
                  <a:pt x="2" y="48"/>
                  <a:pt x="2" y="48"/>
                  <a:pt x="2" y="48"/>
                </a:cubicBezTo>
                <a:cubicBezTo>
                  <a:pt x="2" y="48"/>
                  <a:pt x="2" y="48"/>
                  <a:pt x="2" y="48"/>
                </a:cubicBezTo>
                <a:cubicBezTo>
                  <a:pt x="0" y="62"/>
                  <a:pt x="1" y="52"/>
                  <a:pt x="1" y="55"/>
                </a:cubicBezTo>
                <a:cubicBezTo>
                  <a:pt x="1" y="55"/>
                  <a:pt x="1" y="55"/>
                  <a:pt x="1" y="55"/>
                </a:cubicBezTo>
                <a:cubicBezTo>
                  <a:pt x="1" y="55"/>
                  <a:pt x="1" y="55"/>
                  <a:pt x="1" y="55"/>
                </a:cubicBezTo>
                <a:cubicBezTo>
                  <a:pt x="1" y="55"/>
                  <a:pt x="1" y="55"/>
                  <a:pt x="1" y="55"/>
                </a:cubicBezTo>
                <a:cubicBezTo>
                  <a:pt x="1" y="55"/>
                  <a:pt x="1" y="55"/>
                  <a:pt x="1" y="55"/>
                </a:cubicBezTo>
                <a:cubicBezTo>
                  <a:pt x="2" y="56"/>
                  <a:pt x="2" y="56"/>
                  <a:pt x="2" y="56"/>
                </a:cubicBezTo>
                <a:cubicBezTo>
                  <a:pt x="2" y="57"/>
                  <a:pt x="2" y="57"/>
                  <a:pt x="2" y="57"/>
                </a:cubicBezTo>
                <a:cubicBezTo>
                  <a:pt x="4" y="60"/>
                  <a:pt x="4" y="60"/>
                  <a:pt x="4" y="60"/>
                </a:cubicBezTo>
                <a:cubicBezTo>
                  <a:pt x="6" y="65"/>
                  <a:pt x="6" y="65"/>
                  <a:pt x="6" y="65"/>
                </a:cubicBezTo>
                <a:cubicBezTo>
                  <a:pt x="12" y="76"/>
                  <a:pt x="12" y="76"/>
                  <a:pt x="12" y="76"/>
                </a:cubicBezTo>
                <a:cubicBezTo>
                  <a:pt x="14" y="74"/>
                  <a:pt x="16" y="73"/>
                  <a:pt x="19" y="72"/>
                </a:cubicBezTo>
                <a:cubicBezTo>
                  <a:pt x="19" y="74"/>
                  <a:pt x="19" y="76"/>
                  <a:pt x="19" y="79"/>
                </a:cubicBezTo>
                <a:cubicBezTo>
                  <a:pt x="19" y="79"/>
                  <a:pt x="19" y="79"/>
                  <a:pt x="19" y="79"/>
                </a:cubicBezTo>
                <a:cubicBezTo>
                  <a:pt x="19" y="79"/>
                  <a:pt x="20" y="79"/>
                  <a:pt x="20" y="79"/>
                </a:cubicBezTo>
                <a:cubicBezTo>
                  <a:pt x="21" y="125"/>
                  <a:pt x="21" y="125"/>
                  <a:pt x="21" y="125"/>
                </a:cubicBezTo>
                <a:cubicBezTo>
                  <a:pt x="34" y="125"/>
                  <a:pt x="34" y="125"/>
                  <a:pt x="34" y="125"/>
                </a:cubicBezTo>
                <a:cubicBezTo>
                  <a:pt x="35" y="111"/>
                  <a:pt x="35" y="88"/>
                  <a:pt x="34" y="79"/>
                </a:cubicBezTo>
                <a:cubicBezTo>
                  <a:pt x="35" y="79"/>
                  <a:pt x="35" y="79"/>
                  <a:pt x="36" y="79"/>
                </a:cubicBezTo>
                <a:cubicBezTo>
                  <a:pt x="37" y="125"/>
                  <a:pt x="37" y="125"/>
                  <a:pt x="37" y="125"/>
                </a:cubicBezTo>
                <a:cubicBezTo>
                  <a:pt x="50" y="125"/>
                  <a:pt x="50" y="125"/>
                  <a:pt x="50" y="125"/>
                </a:cubicBezTo>
                <a:cubicBezTo>
                  <a:pt x="51" y="111"/>
                  <a:pt x="50" y="88"/>
                  <a:pt x="50" y="79"/>
                </a:cubicBezTo>
                <a:cubicBezTo>
                  <a:pt x="51" y="79"/>
                  <a:pt x="51" y="79"/>
                  <a:pt x="52" y="79"/>
                </a:cubicBezTo>
                <a:cubicBezTo>
                  <a:pt x="52" y="79"/>
                  <a:pt x="52" y="79"/>
                  <a:pt x="52" y="79"/>
                </a:cubicBezTo>
                <a:cubicBezTo>
                  <a:pt x="52" y="64"/>
                  <a:pt x="51" y="50"/>
                  <a:pt x="50" y="36"/>
                </a:cubicBezTo>
                <a:cubicBezTo>
                  <a:pt x="67" y="29"/>
                  <a:pt x="67" y="29"/>
                  <a:pt x="67" y="29"/>
                </a:cubicBezTo>
                <a:cubicBezTo>
                  <a:pt x="67" y="29"/>
                  <a:pt x="67" y="29"/>
                  <a:pt x="67" y="29"/>
                </a:cubicBezTo>
                <a:cubicBezTo>
                  <a:pt x="67" y="29"/>
                  <a:pt x="67" y="29"/>
                  <a:pt x="67" y="29"/>
                </a:cubicBezTo>
                <a:cubicBezTo>
                  <a:pt x="74" y="17"/>
                  <a:pt x="69" y="26"/>
                  <a:pt x="71" y="23"/>
                </a:cubicBezTo>
                <a:close/>
                <a:moveTo>
                  <a:pt x="19" y="62"/>
                </a:moveTo>
                <a:cubicBezTo>
                  <a:pt x="18" y="59"/>
                  <a:pt x="18" y="59"/>
                  <a:pt x="18" y="59"/>
                </a:cubicBezTo>
                <a:cubicBezTo>
                  <a:pt x="15" y="54"/>
                  <a:pt x="15" y="54"/>
                  <a:pt x="15" y="54"/>
                </a:cubicBezTo>
                <a:cubicBezTo>
                  <a:pt x="14" y="52"/>
                  <a:pt x="14" y="52"/>
                  <a:pt x="14" y="52"/>
                </a:cubicBezTo>
                <a:cubicBezTo>
                  <a:pt x="20" y="45"/>
                  <a:pt x="20" y="45"/>
                  <a:pt x="20" y="45"/>
                </a:cubicBezTo>
                <a:cubicBezTo>
                  <a:pt x="19" y="51"/>
                  <a:pt x="19" y="56"/>
                  <a:pt x="19" y="62"/>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3" name="Freeform 215"/>
          <p:cNvSpPr/>
          <p:nvPr/>
        </p:nvSpPr>
        <p:spPr bwMode="auto">
          <a:xfrm>
            <a:off x="7968412" y="4779487"/>
            <a:ext cx="266976" cy="258528"/>
          </a:xfrm>
          <a:custGeom>
            <a:avLst/>
            <a:gdLst>
              <a:gd name="T0" fmla="*/ 29 w 80"/>
              <a:gd name="T1" fmla="*/ 57 h 77"/>
              <a:gd name="T2" fmla="*/ 29 w 80"/>
              <a:gd name="T3" fmla="*/ 57 h 77"/>
              <a:gd name="T4" fmla="*/ 28 w 80"/>
              <a:gd name="T5" fmla="*/ 57 h 77"/>
              <a:gd name="T6" fmla="*/ 18 w 80"/>
              <a:gd name="T7" fmla="*/ 61 h 77"/>
              <a:gd name="T8" fmla="*/ 21 w 80"/>
              <a:gd name="T9" fmla="*/ 53 h 77"/>
              <a:gd name="T10" fmla="*/ 19 w 80"/>
              <a:gd name="T11" fmla="*/ 52 h 77"/>
              <a:gd name="T12" fmla="*/ 7 w 80"/>
              <a:gd name="T13" fmla="*/ 33 h 77"/>
              <a:gd name="T14" fmla="*/ 43 w 80"/>
              <a:gd name="T15" fmla="*/ 7 h 77"/>
              <a:gd name="T16" fmla="*/ 70 w 80"/>
              <a:gd name="T17" fmla="*/ 16 h 77"/>
              <a:gd name="T18" fmla="*/ 75 w 80"/>
              <a:gd name="T19" fmla="*/ 16 h 77"/>
              <a:gd name="T20" fmla="*/ 80 w 80"/>
              <a:gd name="T21" fmla="*/ 16 h 77"/>
              <a:gd name="T22" fmla="*/ 43 w 80"/>
              <a:gd name="T23" fmla="*/ 0 h 77"/>
              <a:gd name="T24" fmla="*/ 0 w 80"/>
              <a:gd name="T25" fmla="*/ 33 h 77"/>
              <a:gd name="T26" fmla="*/ 12 w 80"/>
              <a:gd name="T27" fmla="*/ 56 h 77"/>
              <a:gd name="T28" fmla="*/ 5 w 80"/>
              <a:gd name="T29" fmla="*/ 77 h 77"/>
              <a:gd name="T30" fmla="*/ 13 w 80"/>
              <a:gd name="T31" fmla="*/ 72 h 77"/>
              <a:gd name="T32" fmla="*/ 28 w 80"/>
              <a:gd name="T33" fmla="*/ 64 h 77"/>
              <a:gd name="T34" fmla="*/ 38 w 80"/>
              <a:gd name="T35" fmla="*/ 66 h 77"/>
              <a:gd name="T36" fmla="*/ 34 w 80"/>
              <a:gd name="T37" fmla="*/ 58 h 77"/>
              <a:gd name="T38" fmla="*/ 29 w 80"/>
              <a:gd name="T39"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77">
                <a:moveTo>
                  <a:pt x="29" y="57"/>
                </a:moveTo>
                <a:cubicBezTo>
                  <a:pt x="29" y="57"/>
                  <a:pt x="29" y="57"/>
                  <a:pt x="29" y="57"/>
                </a:cubicBezTo>
                <a:cubicBezTo>
                  <a:pt x="28" y="57"/>
                  <a:pt x="28" y="57"/>
                  <a:pt x="28" y="57"/>
                </a:cubicBezTo>
                <a:cubicBezTo>
                  <a:pt x="28" y="57"/>
                  <a:pt x="26" y="57"/>
                  <a:pt x="18" y="61"/>
                </a:cubicBezTo>
                <a:cubicBezTo>
                  <a:pt x="21" y="53"/>
                  <a:pt x="21" y="53"/>
                  <a:pt x="21" y="53"/>
                </a:cubicBezTo>
                <a:cubicBezTo>
                  <a:pt x="19" y="52"/>
                  <a:pt x="19" y="52"/>
                  <a:pt x="19" y="52"/>
                </a:cubicBezTo>
                <a:cubicBezTo>
                  <a:pt x="11" y="47"/>
                  <a:pt x="7" y="40"/>
                  <a:pt x="7" y="33"/>
                </a:cubicBezTo>
                <a:cubicBezTo>
                  <a:pt x="7" y="19"/>
                  <a:pt x="23" y="7"/>
                  <a:pt x="43" y="7"/>
                </a:cubicBezTo>
                <a:cubicBezTo>
                  <a:pt x="54" y="7"/>
                  <a:pt x="64" y="11"/>
                  <a:pt x="70" y="16"/>
                </a:cubicBezTo>
                <a:cubicBezTo>
                  <a:pt x="72" y="16"/>
                  <a:pt x="74" y="16"/>
                  <a:pt x="75" y="16"/>
                </a:cubicBezTo>
                <a:cubicBezTo>
                  <a:pt x="77" y="16"/>
                  <a:pt x="79" y="16"/>
                  <a:pt x="80" y="16"/>
                </a:cubicBezTo>
                <a:cubicBezTo>
                  <a:pt x="73" y="7"/>
                  <a:pt x="59" y="0"/>
                  <a:pt x="43" y="0"/>
                </a:cubicBezTo>
                <a:cubicBezTo>
                  <a:pt x="19" y="0"/>
                  <a:pt x="0" y="15"/>
                  <a:pt x="0" y="33"/>
                </a:cubicBezTo>
                <a:cubicBezTo>
                  <a:pt x="0" y="42"/>
                  <a:pt x="4" y="50"/>
                  <a:pt x="12" y="56"/>
                </a:cubicBezTo>
                <a:cubicBezTo>
                  <a:pt x="5" y="77"/>
                  <a:pt x="5" y="77"/>
                  <a:pt x="5" y="77"/>
                </a:cubicBezTo>
                <a:cubicBezTo>
                  <a:pt x="13" y="72"/>
                  <a:pt x="13" y="72"/>
                  <a:pt x="13" y="72"/>
                </a:cubicBezTo>
                <a:cubicBezTo>
                  <a:pt x="19" y="69"/>
                  <a:pt x="26" y="65"/>
                  <a:pt x="28" y="64"/>
                </a:cubicBezTo>
                <a:cubicBezTo>
                  <a:pt x="31" y="65"/>
                  <a:pt x="35" y="66"/>
                  <a:pt x="38" y="66"/>
                </a:cubicBezTo>
                <a:cubicBezTo>
                  <a:pt x="36" y="64"/>
                  <a:pt x="35" y="61"/>
                  <a:pt x="34" y="58"/>
                </a:cubicBezTo>
                <a:cubicBezTo>
                  <a:pt x="32" y="58"/>
                  <a:pt x="31" y="57"/>
                  <a:pt x="29" y="57"/>
                </a:cubicBez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4" name="Freeform 216"/>
          <p:cNvSpPr>
            <a:spLocks noEditPoints="1"/>
          </p:cNvSpPr>
          <p:nvPr/>
        </p:nvSpPr>
        <p:spPr bwMode="auto">
          <a:xfrm>
            <a:off x="8088382" y="4847077"/>
            <a:ext cx="265287" cy="217974"/>
          </a:xfrm>
          <a:custGeom>
            <a:avLst/>
            <a:gdLst>
              <a:gd name="T0" fmla="*/ 79 w 79"/>
              <a:gd name="T1" fmla="*/ 29 h 65"/>
              <a:gd name="T2" fmla="*/ 39 w 79"/>
              <a:gd name="T3" fmla="*/ 0 h 65"/>
              <a:gd name="T4" fmla="*/ 0 w 79"/>
              <a:gd name="T5" fmla="*/ 29 h 65"/>
              <a:gd name="T6" fmla="*/ 39 w 79"/>
              <a:gd name="T7" fmla="*/ 59 h 65"/>
              <a:gd name="T8" fmla="*/ 54 w 79"/>
              <a:gd name="T9" fmla="*/ 56 h 65"/>
              <a:gd name="T10" fmla="*/ 71 w 79"/>
              <a:gd name="T11" fmla="*/ 65 h 65"/>
              <a:gd name="T12" fmla="*/ 66 w 79"/>
              <a:gd name="T13" fmla="*/ 51 h 65"/>
              <a:gd name="T14" fmla="*/ 79 w 79"/>
              <a:gd name="T15" fmla="*/ 29 h 65"/>
              <a:gd name="T16" fmla="*/ 61 w 79"/>
              <a:gd name="T17" fmla="*/ 39 h 65"/>
              <a:gd name="T18" fmla="*/ 20 w 79"/>
              <a:gd name="T19" fmla="*/ 39 h 65"/>
              <a:gd name="T20" fmla="*/ 20 w 79"/>
              <a:gd name="T21" fmla="*/ 35 h 65"/>
              <a:gd name="T22" fmla="*/ 61 w 79"/>
              <a:gd name="T23" fmla="*/ 35 h 65"/>
              <a:gd name="T24" fmla="*/ 61 w 79"/>
              <a:gd name="T25" fmla="*/ 39 h 65"/>
              <a:gd name="T26" fmla="*/ 61 w 79"/>
              <a:gd name="T27" fmla="*/ 31 h 65"/>
              <a:gd name="T28" fmla="*/ 20 w 79"/>
              <a:gd name="T29" fmla="*/ 31 h 65"/>
              <a:gd name="T30" fmla="*/ 20 w 79"/>
              <a:gd name="T31" fmla="*/ 27 h 65"/>
              <a:gd name="T32" fmla="*/ 61 w 79"/>
              <a:gd name="T33" fmla="*/ 27 h 65"/>
              <a:gd name="T34" fmla="*/ 61 w 79"/>
              <a:gd name="T35" fmla="*/ 31 h 65"/>
              <a:gd name="T36" fmla="*/ 61 w 79"/>
              <a:gd name="T37" fmla="*/ 23 h 65"/>
              <a:gd name="T38" fmla="*/ 20 w 79"/>
              <a:gd name="T39" fmla="*/ 23 h 65"/>
              <a:gd name="T40" fmla="*/ 20 w 79"/>
              <a:gd name="T41" fmla="*/ 19 h 65"/>
              <a:gd name="T42" fmla="*/ 61 w 79"/>
              <a:gd name="T43" fmla="*/ 19 h 65"/>
              <a:gd name="T44" fmla="*/ 61 w 79"/>
              <a:gd name="T45" fmla="*/ 2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 h="65">
                <a:moveTo>
                  <a:pt x="79" y="29"/>
                </a:moveTo>
                <a:cubicBezTo>
                  <a:pt x="79" y="13"/>
                  <a:pt x="61" y="0"/>
                  <a:pt x="39" y="0"/>
                </a:cubicBezTo>
                <a:cubicBezTo>
                  <a:pt x="17" y="0"/>
                  <a:pt x="0" y="13"/>
                  <a:pt x="0" y="29"/>
                </a:cubicBezTo>
                <a:cubicBezTo>
                  <a:pt x="0" y="45"/>
                  <a:pt x="17" y="59"/>
                  <a:pt x="39" y="59"/>
                </a:cubicBezTo>
                <a:cubicBezTo>
                  <a:pt x="45" y="59"/>
                  <a:pt x="50" y="58"/>
                  <a:pt x="54" y="56"/>
                </a:cubicBezTo>
                <a:cubicBezTo>
                  <a:pt x="56" y="56"/>
                  <a:pt x="71" y="65"/>
                  <a:pt x="71" y="65"/>
                </a:cubicBezTo>
                <a:cubicBezTo>
                  <a:pt x="66" y="51"/>
                  <a:pt x="66" y="51"/>
                  <a:pt x="66" y="51"/>
                </a:cubicBezTo>
                <a:cubicBezTo>
                  <a:pt x="74" y="45"/>
                  <a:pt x="79" y="38"/>
                  <a:pt x="79" y="29"/>
                </a:cubicBezTo>
                <a:close/>
                <a:moveTo>
                  <a:pt x="61" y="39"/>
                </a:moveTo>
                <a:cubicBezTo>
                  <a:pt x="20" y="39"/>
                  <a:pt x="20" y="39"/>
                  <a:pt x="20" y="39"/>
                </a:cubicBezTo>
                <a:cubicBezTo>
                  <a:pt x="20" y="35"/>
                  <a:pt x="20" y="35"/>
                  <a:pt x="20" y="35"/>
                </a:cubicBezTo>
                <a:cubicBezTo>
                  <a:pt x="61" y="35"/>
                  <a:pt x="61" y="35"/>
                  <a:pt x="61" y="35"/>
                </a:cubicBezTo>
                <a:lnTo>
                  <a:pt x="61" y="39"/>
                </a:lnTo>
                <a:close/>
                <a:moveTo>
                  <a:pt x="61" y="31"/>
                </a:moveTo>
                <a:cubicBezTo>
                  <a:pt x="20" y="31"/>
                  <a:pt x="20" y="31"/>
                  <a:pt x="20" y="31"/>
                </a:cubicBezTo>
                <a:cubicBezTo>
                  <a:pt x="20" y="27"/>
                  <a:pt x="20" y="27"/>
                  <a:pt x="20" y="27"/>
                </a:cubicBezTo>
                <a:cubicBezTo>
                  <a:pt x="61" y="27"/>
                  <a:pt x="61" y="27"/>
                  <a:pt x="61" y="27"/>
                </a:cubicBezTo>
                <a:lnTo>
                  <a:pt x="61" y="31"/>
                </a:lnTo>
                <a:close/>
                <a:moveTo>
                  <a:pt x="61" y="23"/>
                </a:moveTo>
                <a:cubicBezTo>
                  <a:pt x="20" y="23"/>
                  <a:pt x="20" y="23"/>
                  <a:pt x="20" y="23"/>
                </a:cubicBezTo>
                <a:cubicBezTo>
                  <a:pt x="20" y="19"/>
                  <a:pt x="20" y="19"/>
                  <a:pt x="20" y="19"/>
                </a:cubicBezTo>
                <a:cubicBezTo>
                  <a:pt x="61" y="19"/>
                  <a:pt x="61" y="19"/>
                  <a:pt x="61" y="19"/>
                </a:cubicBezTo>
                <a:lnTo>
                  <a:pt x="61" y="23"/>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5" name="Freeform 167"/>
          <p:cNvSpPr>
            <a:spLocks noEditPoints="1"/>
          </p:cNvSpPr>
          <p:nvPr/>
        </p:nvSpPr>
        <p:spPr bwMode="auto">
          <a:xfrm>
            <a:off x="5212665" y="1980596"/>
            <a:ext cx="500189" cy="465637"/>
          </a:xfrm>
          <a:custGeom>
            <a:avLst/>
            <a:gdLst>
              <a:gd name="T0" fmla="*/ 118 w 126"/>
              <a:gd name="T1" fmla="*/ 0 h 117"/>
              <a:gd name="T2" fmla="*/ 126 w 126"/>
              <a:gd name="T3" fmla="*/ 78 h 117"/>
              <a:gd name="T4" fmla="*/ 113 w 126"/>
              <a:gd name="T5" fmla="*/ 86 h 117"/>
              <a:gd name="T6" fmla="*/ 116 w 126"/>
              <a:gd name="T7" fmla="*/ 77 h 117"/>
              <a:gd name="T8" fmla="*/ 10 w 126"/>
              <a:gd name="T9" fmla="*/ 8 h 117"/>
              <a:gd name="T10" fmla="*/ 48 w 126"/>
              <a:gd name="T11" fmla="*/ 77 h 117"/>
              <a:gd name="T12" fmla="*/ 55 w 126"/>
              <a:gd name="T13" fmla="*/ 86 h 117"/>
              <a:gd name="T14" fmla="*/ 0 w 126"/>
              <a:gd name="T15" fmla="*/ 78 h 117"/>
              <a:gd name="T16" fmla="*/ 8 w 126"/>
              <a:gd name="T17" fmla="*/ 0 h 117"/>
              <a:gd name="T18" fmla="*/ 86 w 126"/>
              <a:gd name="T19" fmla="*/ 48 h 117"/>
              <a:gd name="T20" fmla="*/ 111 w 126"/>
              <a:gd name="T21" fmla="*/ 46 h 117"/>
              <a:gd name="T22" fmla="*/ 86 w 126"/>
              <a:gd name="T23" fmla="*/ 39 h 117"/>
              <a:gd name="T24" fmla="*/ 111 w 126"/>
              <a:gd name="T25" fmla="*/ 41 h 117"/>
              <a:gd name="T26" fmla="*/ 86 w 126"/>
              <a:gd name="T27" fmla="*/ 39 h 117"/>
              <a:gd name="T28" fmla="*/ 99 w 126"/>
              <a:gd name="T29" fmla="*/ 32 h 117"/>
              <a:gd name="T30" fmla="*/ 111 w 126"/>
              <a:gd name="T31" fmla="*/ 30 h 117"/>
              <a:gd name="T32" fmla="*/ 99 w 126"/>
              <a:gd name="T33" fmla="*/ 23 h 117"/>
              <a:gd name="T34" fmla="*/ 111 w 126"/>
              <a:gd name="T35" fmla="*/ 25 h 117"/>
              <a:gd name="T36" fmla="*/ 99 w 126"/>
              <a:gd name="T37" fmla="*/ 23 h 117"/>
              <a:gd name="T38" fmla="*/ 99 w 126"/>
              <a:gd name="T39" fmla="*/ 18 h 117"/>
              <a:gd name="T40" fmla="*/ 111 w 126"/>
              <a:gd name="T41" fmla="*/ 16 h 117"/>
              <a:gd name="T42" fmla="*/ 73 w 126"/>
              <a:gd name="T43" fmla="*/ 16 h 117"/>
              <a:gd name="T44" fmla="*/ 95 w 126"/>
              <a:gd name="T45" fmla="*/ 34 h 117"/>
              <a:gd name="T46" fmla="*/ 73 w 126"/>
              <a:gd name="T47" fmla="*/ 16 h 117"/>
              <a:gd name="T48" fmla="*/ 37 w 126"/>
              <a:gd name="T49" fmla="*/ 57 h 117"/>
              <a:gd name="T50" fmla="*/ 31 w 126"/>
              <a:gd name="T51" fmla="*/ 40 h 117"/>
              <a:gd name="T52" fmla="*/ 17 w 126"/>
              <a:gd name="T53" fmla="*/ 39 h 117"/>
              <a:gd name="T54" fmla="*/ 31 w 126"/>
              <a:gd name="T55" fmla="*/ 34 h 117"/>
              <a:gd name="T56" fmla="*/ 42 w 126"/>
              <a:gd name="T57" fmla="*/ 38 h 117"/>
              <a:gd name="T58" fmla="*/ 43 w 126"/>
              <a:gd name="T59" fmla="*/ 39 h 117"/>
              <a:gd name="T60" fmla="*/ 51 w 126"/>
              <a:gd name="T61" fmla="*/ 42 h 117"/>
              <a:gd name="T62" fmla="*/ 53 w 126"/>
              <a:gd name="T63" fmla="*/ 28 h 117"/>
              <a:gd name="T64" fmla="*/ 58 w 126"/>
              <a:gd name="T65" fmla="*/ 31 h 117"/>
              <a:gd name="T66" fmla="*/ 67 w 126"/>
              <a:gd name="T67" fmla="*/ 22 h 117"/>
              <a:gd name="T68" fmla="*/ 55 w 126"/>
              <a:gd name="T69" fmla="*/ 19 h 117"/>
              <a:gd name="T70" fmla="*/ 50 w 126"/>
              <a:gd name="T71" fmla="*/ 24 h 117"/>
              <a:gd name="T72" fmla="*/ 49 w 126"/>
              <a:gd name="T73" fmla="*/ 26 h 117"/>
              <a:gd name="T74" fmla="*/ 45 w 126"/>
              <a:gd name="T75" fmla="*/ 35 h 117"/>
              <a:gd name="T76" fmla="*/ 41 w 126"/>
              <a:gd name="T77" fmla="*/ 31 h 117"/>
              <a:gd name="T78" fmla="*/ 31 w 126"/>
              <a:gd name="T79" fmla="*/ 29 h 117"/>
              <a:gd name="T80" fmla="*/ 22 w 126"/>
              <a:gd name="T81" fmla="*/ 57 h 117"/>
              <a:gd name="T82" fmla="*/ 28 w 126"/>
              <a:gd name="T83" fmla="*/ 44 h 117"/>
              <a:gd name="T84" fmla="*/ 22 w 126"/>
              <a:gd name="T85" fmla="*/ 57 h 117"/>
              <a:gd name="T86" fmla="*/ 63 w 126"/>
              <a:gd name="T87" fmla="*/ 57 h 117"/>
              <a:gd name="T88" fmla="*/ 57 w 126"/>
              <a:gd name="T89" fmla="*/ 32 h 117"/>
              <a:gd name="T90" fmla="*/ 48 w 126"/>
              <a:gd name="T91" fmla="*/ 57 h 117"/>
              <a:gd name="T92" fmla="*/ 54 w 126"/>
              <a:gd name="T93" fmla="*/ 46 h 117"/>
              <a:gd name="T94" fmla="*/ 48 w 126"/>
              <a:gd name="T95" fmla="*/ 57 h 117"/>
              <a:gd name="T96" fmla="*/ 45 w 126"/>
              <a:gd name="T97" fmla="*/ 57 h 117"/>
              <a:gd name="T98" fmla="*/ 39 w 126"/>
              <a:gd name="T99" fmla="*/ 43 h 117"/>
              <a:gd name="T100" fmla="*/ 82 w 126"/>
              <a:gd name="T101" fmla="*/ 67 h 117"/>
              <a:gd name="T102" fmla="*/ 73 w 126"/>
              <a:gd name="T103" fmla="*/ 41 h 117"/>
              <a:gd name="T104" fmla="*/ 61 w 126"/>
              <a:gd name="T105" fmla="*/ 71 h 117"/>
              <a:gd name="T106" fmla="*/ 66 w 126"/>
              <a:gd name="T107" fmla="*/ 93 h 117"/>
              <a:gd name="T108" fmla="*/ 73 w 126"/>
              <a:gd name="T109" fmla="*/ 117 h 117"/>
              <a:gd name="T110" fmla="*/ 101 w 126"/>
              <a:gd name="T111" fmla="*/ 110 h 117"/>
              <a:gd name="T112" fmla="*/ 98 w 126"/>
              <a:gd name="T113" fmla="*/ 66 h 117"/>
              <a:gd name="T114" fmla="*/ 97 w 126"/>
              <a:gd name="T115" fmla="*/ 61 h 117"/>
              <a:gd name="T116" fmla="*/ 89 w 126"/>
              <a:gd name="T117" fmla="*/ 63 h 117"/>
              <a:gd name="T118" fmla="*/ 83 w 126"/>
              <a:gd name="T119" fmla="*/ 58 h 117"/>
              <a:gd name="T120" fmla="*/ 3 w 126"/>
              <a:gd name="T121" fmla="*/ 31 h 117"/>
              <a:gd name="T122" fmla="*/ 6 w 126"/>
              <a:gd name="T123" fmla="*/ 53 h 117"/>
              <a:gd name="T124" fmla="*/ 3 w 126"/>
              <a:gd name="T125" fmla="*/ 3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 h="117">
                <a:moveTo>
                  <a:pt x="8" y="0"/>
                </a:moveTo>
                <a:cubicBezTo>
                  <a:pt x="118" y="0"/>
                  <a:pt x="118" y="0"/>
                  <a:pt x="118" y="0"/>
                </a:cubicBezTo>
                <a:cubicBezTo>
                  <a:pt x="123" y="0"/>
                  <a:pt x="126" y="4"/>
                  <a:pt x="126" y="8"/>
                </a:cubicBezTo>
                <a:cubicBezTo>
                  <a:pt x="126" y="78"/>
                  <a:pt x="126" y="78"/>
                  <a:pt x="126" y="78"/>
                </a:cubicBezTo>
                <a:cubicBezTo>
                  <a:pt x="126" y="82"/>
                  <a:pt x="123" y="86"/>
                  <a:pt x="118" y="86"/>
                </a:cubicBezTo>
                <a:cubicBezTo>
                  <a:pt x="113" y="86"/>
                  <a:pt x="113" y="86"/>
                  <a:pt x="113" y="86"/>
                </a:cubicBezTo>
                <a:cubicBezTo>
                  <a:pt x="113" y="83"/>
                  <a:pt x="114" y="80"/>
                  <a:pt x="114" y="77"/>
                </a:cubicBezTo>
                <a:cubicBezTo>
                  <a:pt x="116" y="77"/>
                  <a:pt x="116" y="77"/>
                  <a:pt x="116" y="77"/>
                </a:cubicBezTo>
                <a:cubicBezTo>
                  <a:pt x="116" y="8"/>
                  <a:pt x="116" y="8"/>
                  <a:pt x="116" y="8"/>
                </a:cubicBezTo>
                <a:cubicBezTo>
                  <a:pt x="10" y="8"/>
                  <a:pt x="10" y="8"/>
                  <a:pt x="10" y="8"/>
                </a:cubicBezTo>
                <a:cubicBezTo>
                  <a:pt x="10" y="77"/>
                  <a:pt x="10" y="77"/>
                  <a:pt x="10" y="77"/>
                </a:cubicBezTo>
                <a:cubicBezTo>
                  <a:pt x="48" y="77"/>
                  <a:pt x="48" y="77"/>
                  <a:pt x="48" y="77"/>
                </a:cubicBezTo>
                <a:cubicBezTo>
                  <a:pt x="51" y="81"/>
                  <a:pt x="51" y="81"/>
                  <a:pt x="51" y="81"/>
                </a:cubicBezTo>
                <a:cubicBezTo>
                  <a:pt x="52" y="82"/>
                  <a:pt x="54" y="84"/>
                  <a:pt x="55" y="86"/>
                </a:cubicBezTo>
                <a:cubicBezTo>
                  <a:pt x="8" y="86"/>
                  <a:pt x="8" y="86"/>
                  <a:pt x="8" y="86"/>
                </a:cubicBezTo>
                <a:cubicBezTo>
                  <a:pt x="3" y="86"/>
                  <a:pt x="0" y="82"/>
                  <a:pt x="0" y="78"/>
                </a:cubicBezTo>
                <a:cubicBezTo>
                  <a:pt x="0" y="8"/>
                  <a:pt x="0" y="8"/>
                  <a:pt x="0" y="8"/>
                </a:cubicBezTo>
                <a:cubicBezTo>
                  <a:pt x="0" y="4"/>
                  <a:pt x="3" y="0"/>
                  <a:pt x="8" y="0"/>
                </a:cubicBezTo>
                <a:close/>
                <a:moveTo>
                  <a:pt x="86" y="46"/>
                </a:moveTo>
                <a:cubicBezTo>
                  <a:pt x="86" y="48"/>
                  <a:pt x="86" y="48"/>
                  <a:pt x="86" y="48"/>
                </a:cubicBezTo>
                <a:cubicBezTo>
                  <a:pt x="111" y="48"/>
                  <a:pt x="111" y="48"/>
                  <a:pt x="111" y="48"/>
                </a:cubicBezTo>
                <a:cubicBezTo>
                  <a:pt x="111" y="46"/>
                  <a:pt x="111" y="46"/>
                  <a:pt x="111" y="46"/>
                </a:cubicBezTo>
                <a:cubicBezTo>
                  <a:pt x="86" y="46"/>
                  <a:pt x="86" y="46"/>
                  <a:pt x="86" y="46"/>
                </a:cubicBezTo>
                <a:close/>
                <a:moveTo>
                  <a:pt x="86" y="39"/>
                </a:moveTo>
                <a:cubicBezTo>
                  <a:pt x="86" y="41"/>
                  <a:pt x="86" y="41"/>
                  <a:pt x="86" y="41"/>
                </a:cubicBezTo>
                <a:cubicBezTo>
                  <a:pt x="111" y="41"/>
                  <a:pt x="111" y="41"/>
                  <a:pt x="111" y="41"/>
                </a:cubicBezTo>
                <a:cubicBezTo>
                  <a:pt x="111" y="39"/>
                  <a:pt x="111" y="39"/>
                  <a:pt x="111" y="39"/>
                </a:cubicBezTo>
                <a:cubicBezTo>
                  <a:pt x="86" y="39"/>
                  <a:pt x="86" y="39"/>
                  <a:pt x="86" y="39"/>
                </a:cubicBezTo>
                <a:close/>
                <a:moveTo>
                  <a:pt x="99" y="30"/>
                </a:moveTo>
                <a:cubicBezTo>
                  <a:pt x="99" y="32"/>
                  <a:pt x="99" y="32"/>
                  <a:pt x="99" y="32"/>
                </a:cubicBezTo>
                <a:cubicBezTo>
                  <a:pt x="111" y="32"/>
                  <a:pt x="111" y="32"/>
                  <a:pt x="111" y="32"/>
                </a:cubicBezTo>
                <a:cubicBezTo>
                  <a:pt x="111" y="30"/>
                  <a:pt x="111" y="30"/>
                  <a:pt x="111" y="30"/>
                </a:cubicBezTo>
                <a:cubicBezTo>
                  <a:pt x="99" y="30"/>
                  <a:pt x="99" y="30"/>
                  <a:pt x="99" y="30"/>
                </a:cubicBezTo>
                <a:close/>
                <a:moveTo>
                  <a:pt x="99" y="23"/>
                </a:moveTo>
                <a:cubicBezTo>
                  <a:pt x="99" y="25"/>
                  <a:pt x="99" y="25"/>
                  <a:pt x="99" y="25"/>
                </a:cubicBezTo>
                <a:cubicBezTo>
                  <a:pt x="111" y="25"/>
                  <a:pt x="111" y="25"/>
                  <a:pt x="111" y="25"/>
                </a:cubicBezTo>
                <a:cubicBezTo>
                  <a:pt x="111" y="23"/>
                  <a:pt x="111" y="23"/>
                  <a:pt x="111" y="23"/>
                </a:cubicBezTo>
                <a:cubicBezTo>
                  <a:pt x="99" y="23"/>
                  <a:pt x="99" y="23"/>
                  <a:pt x="99" y="23"/>
                </a:cubicBezTo>
                <a:close/>
                <a:moveTo>
                  <a:pt x="99" y="16"/>
                </a:moveTo>
                <a:cubicBezTo>
                  <a:pt x="99" y="18"/>
                  <a:pt x="99" y="18"/>
                  <a:pt x="99" y="18"/>
                </a:cubicBezTo>
                <a:cubicBezTo>
                  <a:pt x="111" y="18"/>
                  <a:pt x="111" y="18"/>
                  <a:pt x="111" y="18"/>
                </a:cubicBezTo>
                <a:cubicBezTo>
                  <a:pt x="111" y="16"/>
                  <a:pt x="111" y="16"/>
                  <a:pt x="111" y="16"/>
                </a:cubicBezTo>
                <a:cubicBezTo>
                  <a:pt x="99" y="16"/>
                  <a:pt x="99" y="16"/>
                  <a:pt x="99" y="16"/>
                </a:cubicBezTo>
                <a:close/>
                <a:moveTo>
                  <a:pt x="73" y="16"/>
                </a:moveTo>
                <a:cubicBezTo>
                  <a:pt x="73" y="34"/>
                  <a:pt x="73" y="34"/>
                  <a:pt x="73" y="34"/>
                </a:cubicBezTo>
                <a:cubicBezTo>
                  <a:pt x="95" y="34"/>
                  <a:pt x="95" y="34"/>
                  <a:pt x="95" y="34"/>
                </a:cubicBezTo>
                <a:cubicBezTo>
                  <a:pt x="95" y="16"/>
                  <a:pt x="95" y="16"/>
                  <a:pt x="95" y="16"/>
                </a:cubicBezTo>
                <a:cubicBezTo>
                  <a:pt x="73" y="16"/>
                  <a:pt x="73" y="16"/>
                  <a:pt x="73" y="16"/>
                </a:cubicBezTo>
                <a:close/>
                <a:moveTo>
                  <a:pt x="31" y="57"/>
                </a:moveTo>
                <a:cubicBezTo>
                  <a:pt x="37" y="57"/>
                  <a:pt x="37" y="57"/>
                  <a:pt x="37" y="57"/>
                </a:cubicBezTo>
                <a:cubicBezTo>
                  <a:pt x="37" y="40"/>
                  <a:pt x="37" y="40"/>
                  <a:pt x="37" y="40"/>
                </a:cubicBezTo>
                <a:cubicBezTo>
                  <a:pt x="31" y="40"/>
                  <a:pt x="31" y="40"/>
                  <a:pt x="31" y="40"/>
                </a:cubicBezTo>
                <a:cubicBezTo>
                  <a:pt x="31" y="57"/>
                  <a:pt x="31" y="57"/>
                  <a:pt x="31" y="57"/>
                </a:cubicBezTo>
                <a:close/>
                <a:moveTo>
                  <a:pt x="17" y="39"/>
                </a:moveTo>
                <a:cubicBezTo>
                  <a:pt x="19" y="43"/>
                  <a:pt x="19" y="43"/>
                  <a:pt x="19" y="43"/>
                </a:cubicBezTo>
                <a:cubicBezTo>
                  <a:pt x="31" y="34"/>
                  <a:pt x="31" y="34"/>
                  <a:pt x="31" y="34"/>
                </a:cubicBezTo>
                <a:cubicBezTo>
                  <a:pt x="38" y="34"/>
                  <a:pt x="38" y="34"/>
                  <a:pt x="38" y="34"/>
                </a:cubicBezTo>
                <a:cubicBezTo>
                  <a:pt x="42" y="38"/>
                  <a:pt x="42" y="38"/>
                  <a:pt x="42" y="38"/>
                </a:cubicBezTo>
                <a:cubicBezTo>
                  <a:pt x="42" y="39"/>
                  <a:pt x="42" y="39"/>
                  <a:pt x="42" y="39"/>
                </a:cubicBezTo>
                <a:cubicBezTo>
                  <a:pt x="43" y="39"/>
                  <a:pt x="43" y="39"/>
                  <a:pt x="43" y="39"/>
                </a:cubicBezTo>
                <a:cubicBezTo>
                  <a:pt x="48" y="41"/>
                  <a:pt x="48" y="41"/>
                  <a:pt x="48" y="41"/>
                </a:cubicBezTo>
                <a:cubicBezTo>
                  <a:pt x="51" y="42"/>
                  <a:pt x="51" y="42"/>
                  <a:pt x="51" y="42"/>
                </a:cubicBezTo>
                <a:cubicBezTo>
                  <a:pt x="51" y="39"/>
                  <a:pt x="51" y="39"/>
                  <a:pt x="51" y="39"/>
                </a:cubicBezTo>
                <a:cubicBezTo>
                  <a:pt x="53" y="28"/>
                  <a:pt x="53" y="28"/>
                  <a:pt x="53" y="28"/>
                </a:cubicBezTo>
                <a:cubicBezTo>
                  <a:pt x="57" y="27"/>
                  <a:pt x="57" y="27"/>
                  <a:pt x="57" y="27"/>
                </a:cubicBezTo>
                <a:cubicBezTo>
                  <a:pt x="58" y="31"/>
                  <a:pt x="58" y="31"/>
                  <a:pt x="58" y="31"/>
                </a:cubicBezTo>
                <a:cubicBezTo>
                  <a:pt x="62" y="26"/>
                  <a:pt x="62" y="26"/>
                  <a:pt x="62" y="26"/>
                </a:cubicBezTo>
                <a:cubicBezTo>
                  <a:pt x="67" y="22"/>
                  <a:pt x="67" y="22"/>
                  <a:pt x="67" y="22"/>
                </a:cubicBezTo>
                <a:cubicBezTo>
                  <a:pt x="61" y="21"/>
                  <a:pt x="61" y="21"/>
                  <a:pt x="61" y="21"/>
                </a:cubicBezTo>
                <a:cubicBezTo>
                  <a:pt x="55" y="19"/>
                  <a:pt x="55" y="19"/>
                  <a:pt x="55" y="19"/>
                </a:cubicBezTo>
                <a:cubicBezTo>
                  <a:pt x="56" y="23"/>
                  <a:pt x="56" y="23"/>
                  <a:pt x="56" y="23"/>
                </a:cubicBezTo>
                <a:cubicBezTo>
                  <a:pt x="50" y="24"/>
                  <a:pt x="50" y="24"/>
                  <a:pt x="50" y="24"/>
                </a:cubicBezTo>
                <a:cubicBezTo>
                  <a:pt x="49" y="25"/>
                  <a:pt x="49" y="25"/>
                  <a:pt x="49" y="25"/>
                </a:cubicBezTo>
                <a:cubicBezTo>
                  <a:pt x="49" y="26"/>
                  <a:pt x="49" y="26"/>
                  <a:pt x="49" y="26"/>
                </a:cubicBezTo>
                <a:cubicBezTo>
                  <a:pt x="47" y="36"/>
                  <a:pt x="47" y="36"/>
                  <a:pt x="47" y="36"/>
                </a:cubicBezTo>
                <a:cubicBezTo>
                  <a:pt x="45" y="35"/>
                  <a:pt x="45" y="35"/>
                  <a:pt x="45" y="35"/>
                </a:cubicBezTo>
                <a:cubicBezTo>
                  <a:pt x="41" y="31"/>
                  <a:pt x="41" y="31"/>
                  <a:pt x="41" y="31"/>
                </a:cubicBezTo>
                <a:cubicBezTo>
                  <a:pt x="41" y="31"/>
                  <a:pt x="41" y="31"/>
                  <a:pt x="41" y="31"/>
                </a:cubicBezTo>
                <a:cubicBezTo>
                  <a:pt x="40" y="30"/>
                  <a:pt x="40" y="30"/>
                  <a:pt x="40" y="30"/>
                </a:cubicBezTo>
                <a:cubicBezTo>
                  <a:pt x="31" y="29"/>
                  <a:pt x="31" y="29"/>
                  <a:pt x="31" y="29"/>
                </a:cubicBezTo>
                <a:cubicBezTo>
                  <a:pt x="17" y="39"/>
                  <a:pt x="17" y="39"/>
                  <a:pt x="17" y="39"/>
                </a:cubicBezTo>
                <a:close/>
                <a:moveTo>
                  <a:pt x="22" y="57"/>
                </a:moveTo>
                <a:cubicBezTo>
                  <a:pt x="28" y="57"/>
                  <a:pt x="28" y="57"/>
                  <a:pt x="28" y="57"/>
                </a:cubicBezTo>
                <a:cubicBezTo>
                  <a:pt x="28" y="44"/>
                  <a:pt x="28" y="44"/>
                  <a:pt x="28" y="44"/>
                </a:cubicBezTo>
                <a:cubicBezTo>
                  <a:pt x="22" y="44"/>
                  <a:pt x="22" y="44"/>
                  <a:pt x="22" y="44"/>
                </a:cubicBezTo>
                <a:cubicBezTo>
                  <a:pt x="22" y="57"/>
                  <a:pt x="22" y="57"/>
                  <a:pt x="22" y="57"/>
                </a:cubicBezTo>
                <a:close/>
                <a:moveTo>
                  <a:pt x="57" y="57"/>
                </a:moveTo>
                <a:cubicBezTo>
                  <a:pt x="63" y="57"/>
                  <a:pt x="63" y="57"/>
                  <a:pt x="63" y="57"/>
                </a:cubicBezTo>
                <a:cubicBezTo>
                  <a:pt x="63" y="32"/>
                  <a:pt x="63" y="32"/>
                  <a:pt x="63" y="32"/>
                </a:cubicBezTo>
                <a:cubicBezTo>
                  <a:pt x="57" y="32"/>
                  <a:pt x="57" y="32"/>
                  <a:pt x="57" y="32"/>
                </a:cubicBezTo>
                <a:cubicBezTo>
                  <a:pt x="57" y="57"/>
                  <a:pt x="57" y="57"/>
                  <a:pt x="57" y="57"/>
                </a:cubicBezTo>
                <a:close/>
                <a:moveTo>
                  <a:pt x="48" y="57"/>
                </a:moveTo>
                <a:cubicBezTo>
                  <a:pt x="54" y="57"/>
                  <a:pt x="54" y="57"/>
                  <a:pt x="54" y="57"/>
                </a:cubicBezTo>
                <a:cubicBezTo>
                  <a:pt x="54" y="46"/>
                  <a:pt x="54" y="46"/>
                  <a:pt x="54" y="46"/>
                </a:cubicBezTo>
                <a:cubicBezTo>
                  <a:pt x="48" y="46"/>
                  <a:pt x="48" y="46"/>
                  <a:pt x="48" y="46"/>
                </a:cubicBezTo>
                <a:cubicBezTo>
                  <a:pt x="48" y="57"/>
                  <a:pt x="48" y="57"/>
                  <a:pt x="48" y="57"/>
                </a:cubicBezTo>
                <a:close/>
                <a:moveTo>
                  <a:pt x="39" y="57"/>
                </a:moveTo>
                <a:cubicBezTo>
                  <a:pt x="45" y="57"/>
                  <a:pt x="45" y="57"/>
                  <a:pt x="45" y="57"/>
                </a:cubicBezTo>
                <a:cubicBezTo>
                  <a:pt x="45" y="43"/>
                  <a:pt x="45" y="43"/>
                  <a:pt x="45" y="43"/>
                </a:cubicBezTo>
                <a:cubicBezTo>
                  <a:pt x="39" y="43"/>
                  <a:pt x="39" y="43"/>
                  <a:pt x="39" y="43"/>
                </a:cubicBezTo>
                <a:cubicBezTo>
                  <a:pt x="39" y="57"/>
                  <a:pt x="39" y="57"/>
                  <a:pt x="39" y="57"/>
                </a:cubicBezTo>
                <a:close/>
                <a:moveTo>
                  <a:pt x="82" y="67"/>
                </a:moveTo>
                <a:cubicBezTo>
                  <a:pt x="82" y="59"/>
                  <a:pt x="81" y="50"/>
                  <a:pt x="80" y="42"/>
                </a:cubicBezTo>
                <a:cubicBezTo>
                  <a:pt x="78" y="41"/>
                  <a:pt x="75" y="41"/>
                  <a:pt x="73" y="41"/>
                </a:cubicBezTo>
                <a:cubicBezTo>
                  <a:pt x="72" y="55"/>
                  <a:pt x="73" y="68"/>
                  <a:pt x="72" y="82"/>
                </a:cubicBezTo>
                <a:cubicBezTo>
                  <a:pt x="70" y="77"/>
                  <a:pt x="68" y="73"/>
                  <a:pt x="61" y="71"/>
                </a:cubicBezTo>
                <a:cubicBezTo>
                  <a:pt x="60" y="73"/>
                  <a:pt x="59" y="73"/>
                  <a:pt x="58" y="75"/>
                </a:cubicBezTo>
                <a:cubicBezTo>
                  <a:pt x="62" y="80"/>
                  <a:pt x="65" y="87"/>
                  <a:pt x="66" y="93"/>
                </a:cubicBezTo>
                <a:cubicBezTo>
                  <a:pt x="68" y="107"/>
                  <a:pt x="68" y="107"/>
                  <a:pt x="68" y="107"/>
                </a:cubicBezTo>
                <a:cubicBezTo>
                  <a:pt x="69" y="110"/>
                  <a:pt x="71" y="114"/>
                  <a:pt x="73" y="117"/>
                </a:cubicBezTo>
                <a:cubicBezTo>
                  <a:pt x="82" y="116"/>
                  <a:pt x="89" y="116"/>
                  <a:pt x="99" y="116"/>
                </a:cubicBezTo>
                <a:cubicBezTo>
                  <a:pt x="99" y="114"/>
                  <a:pt x="100" y="112"/>
                  <a:pt x="101" y="110"/>
                </a:cubicBezTo>
                <a:cubicBezTo>
                  <a:pt x="103" y="99"/>
                  <a:pt x="105" y="78"/>
                  <a:pt x="105" y="67"/>
                </a:cubicBezTo>
                <a:cubicBezTo>
                  <a:pt x="102" y="67"/>
                  <a:pt x="101" y="66"/>
                  <a:pt x="98" y="66"/>
                </a:cubicBezTo>
                <a:cubicBezTo>
                  <a:pt x="98" y="67"/>
                  <a:pt x="97" y="72"/>
                  <a:pt x="97" y="73"/>
                </a:cubicBezTo>
                <a:cubicBezTo>
                  <a:pt x="97" y="69"/>
                  <a:pt x="97" y="65"/>
                  <a:pt x="97" y="61"/>
                </a:cubicBezTo>
                <a:cubicBezTo>
                  <a:pt x="94" y="61"/>
                  <a:pt x="92" y="61"/>
                  <a:pt x="90" y="60"/>
                </a:cubicBezTo>
                <a:cubicBezTo>
                  <a:pt x="90" y="61"/>
                  <a:pt x="90" y="62"/>
                  <a:pt x="89" y="63"/>
                </a:cubicBezTo>
                <a:cubicBezTo>
                  <a:pt x="89" y="62"/>
                  <a:pt x="89" y="60"/>
                  <a:pt x="89" y="58"/>
                </a:cubicBezTo>
                <a:cubicBezTo>
                  <a:pt x="87" y="58"/>
                  <a:pt x="85" y="58"/>
                  <a:pt x="83" y="58"/>
                </a:cubicBezTo>
                <a:cubicBezTo>
                  <a:pt x="83" y="61"/>
                  <a:pt x="83" y="64"/>
                  <a:pt x="82" y="67"/>
                </a:cubicBezTo>
                <a:close/>
                <a:moveTo>
                  <a:pt x="3" y="31"/>
                </a:moveTo>
                <a:cubicBezTo>
                  <a:pt x="3" y="53"/>
                  <a:pt x="3" y="53"/>
                  <a:pt x="3" y="53"/>
                </a:cubicBezTo>
                <a:cubicBezTo>
                  <a:pt x="6" y="53"/>
                  <a:pt x="6" y="53"/>
                  <a:pt x="6" y="53"/>
                </a:cubicBezTo>
                <a:cubicBezTo>
                  <a:pt x="6" y="31"/>
                  <a:pt x="6" y="31"/>
                  <a:pt x="6" y="31"/>
                </a:cubicBezTo>
                <a:lnTo>
                  <a:pt x="3" y="31"/>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7" name="Freeform 107"/>
          <p:cNvSpPr/>
          <p:nvPr/>
        </p:nvSpPr>
        <p:spPr bwMode="auto">
          <a:xfrm>
            <a:off x="7446718" y="1882723"/>
            <a:ext cx="63246" cy="66120"/>
          </a:xfrm>
          <a:custGeom>
            <a:avLst/>
            <a:gdLst>
              <a:gd name="T0" fmla="*/ 189 w 409"/>
              <a:gd name="T1" fmla="*/ 0 h 407"/>
              <a:gd name="T2" fmla="*/ 219 w 409"/>
              <a:gd name="T3" fmla="*/ 0 h 407"/>
              <a:gd name="T4" fmla="*/ 250 w 409"/>
              <a:gd name="T5" fmla="*/ 5 h 407"/>
              <a:gd name="T6" fmla="*/ 278 w 409"/>
              <a:gd name="T7" fmla="*/ 13 h 407"/>
              <a:gd name="T8" fmla="*/ 306 w 409"/>
              <a:gd name="T9" fmla="*/ 27 h 407"/>
              <a:gd name="T10" fmla="*/ 332 w 409"/>
              <a:gd name="T11" fmla="*/ 45 h 407"/>
              <a:gd name="T12" fmla="*/ 354 w 409"/>
              <a:gd name="T13" fmla="*/ 65 h 407"/>
              <a:gd name="T14" fmla="*/ 373 w 409"/>
              <a:gd name="T15" fmla="*/ 89 h 407"/>
              <a:gd name="T16" fmla="*/ 389 w 409"/>
              <a:gd name="T17" fmla="*/ 115 h 407"/>
              <a:gd name="T18" fmla="*/ 399 w 409"/>
              <a:gd name="T19" fmla="*/ 142 h 407"/>
              <a:gd name="T20" fmla="*/ 407 w 409"/>
              <a:gd name="T21" fmla="*/ 173 h 407"/>
              <a:gd name="T22" fmla="*/ 409 w 409"/>
              <a:gd name="T23" fmla="*/ 204 h 407"/>
              <a:gd name="T24" fmla="*/ 407 w 409"/>
              <a:gd name="T25" fmla="*/ 234 h 407"/>
              <a:gd name="T26" fmla="*/ 399 w 409"/>
              <a:gd name="T27" fmla="*/ 264 h 407"/>
              <a:gd name="T28" fmla="*/ 389 w 409"/>
              <a:gd name="T29" fmla="*/ 292 h 407"/>
              <a:gd name="T30" fmla="*/ 373 w 409"/>
              <a:gd name="T31" fmla="*/ 318 h 407"/>
              <a:gd name="T32" fmla="*/ 354 w 409"/>
              <a:gd name="T33" fmla="*/ 341 h 407"/>
              <a:gd name="T34" fmla="*/ 332 w 409"/>
              <a:gd name="T35" fmla="*/ 362 h 407"/>
              <a:gd name="T36" fmla="*/ 306 w 409"/>
              <a:gd name="T37" fmla="*/ 380 h 407"/>
              <a:gd name="T38" fmla="*/ 278 w 409"/>
              <a:gd name="T39" fmla="*/ 393 h 407"/>
              <a:gd name="T40" fmla="*/ 250 w 409"/>
              <a:gd name="T41" fmla="*/ 402 h 407"/>
              <a:gd name="T42" fmla="*/ 219 w 409"/>
              <a:gd name="T43" fmla="*/ 407 h 407"/>
              <a:gd name="T44" fmla="*/ 189 w 409"/>
              <a:gd name="T45" fmla="*/ 407 h 407"/>
              <a:gd name="T46" fmla="*/ 159 w 409"/>
              <a:gd name="T47" fmla="*/ 402 h 407"/>
              <a:gd name="T48" fmla="*/ 130 w 409"/>
              <a:gd name="T49" fmla="*/ 393 h 407"/>
              <a:gd name="T50" fmla="*/ 102 w 409"/>
              <a:gd name="T51" fmla="*/ 380 h 407"/>
              <a:gd name="T52" fmla="*/ 77 w 409"/>
              <a:gd name="T53" fmla="*/ 362 h 407"/>
              <a:gd name="T54" fmla="*/ 55 w 409"/>
              <a:gd name="T55" fmla="*/ 341 h 407"/>
              <a:gd name="T56" fmla="*/ 36 w 409"/>
              <a:gd name="T57" fmla="*/ 318 h 407"/>
              <a:gd name="T58" fmla="*/ 21 w 409"/>
              <a:gd name="T59" fmla="*/ 292 h 407"/>
              <a:gd name="T60" fmla="*/ 9 w 409"/>
              <a:gd name="T61" fmla="*/ 264 h 407"/>
              <a:gd name="T62" fmla="*/ 2 w 409"/>
              <a:gd name="T63" fmla="*/ 234 h 407"/>
              <a:gd name="T64" fmla="*/ 0 w 409"/>
              <a:gd name="T65" fmla="*/ 204 h 407"/>
              <a:gd name="T66" fmla="*/ 2 w 409"/>
              <a:gd name="T67" fmla="*/ 173 h 407"/>
              <a:gd name="T68" fmla="*/ 9 w 409"/>
              <a:gd name="T69" fmla="*/ 142 h 407"/>
              <a:gd name="T70" fmla="*/ 21 w 409"/>
              <a:gd name="T71" fmla="*/ 115 h 407"/>
              <a:gd name="T72" fmla="*/ 36 w 409"/>
              <a:gd name="T73" fmla="*/ 89 h 407"/>
              <a:gd name="T74" fmla="*/ 55 w 409"/>
              <a:gd name="T75" fmla="*/ 65 h 407"/>
              <a:gd name="T76" fmla="*/ 77 w 409"/>
              <a:gd name="T77" fmla="*/ 45 h 407"/>
              <a:gd name="T78" fmla="*/ 102 w 409"/>
              <a:gd name="T79" fmla="*/ 27 h 407"/>
              <a:gd name="T80" fmla="*/ 130 w 409"/>
              <a:gd name="T81" fmla="*/ 13 h 407"/>
              <a:gd name="T82" fmla="*/ 159 w 409"/>
              <a:gd name="T83" fmla="*/ 5 h 407"/>
              <a:gd name="T84" fmla="*/ 189 w 409"/>
              <a:gd name="T85"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9" h="407">
                <a:moveTo>
                  <a:pt x="189" y="0"/>
                </a:moveTo>
                <a:lnTo>
                  <a:pt x="219" y="0"/>
                </a:lnTo>
                <a:lnTo>
                  <a:pt x="250" y="5"/>
                </a:lnTo>
                <a:lnTo>
                  <a:pt x="278" y="13"/>
                </a:lnTo>
                <a:lnTo>
                  <a:pt x="306" y="27"/>
                </a:lnTo>
                <a:lnTo>
                  <a:pt x="332" y="45"/>
                </a:lnTo>
                <a:lnTo>
                  <a:pt x="354" y="65"/>
                </a:lnTo>
                <a:lnTo>
                  <a:pt x="373" y="89"/>
                </a:lnTo>
                <a:lnTo>
                  <a:pt x="389" y="115"/>
                </a:lnTo>
                <a:lnTo>
                  <a:pt x="399" y="142"/>
                </a:lnTo>
                <a:lnTo>
                  <a:pt x="407" y="173"/>
                </a:lnTo>
                <a:lnTo>
                  <a:pt x="409" y="204"/>
                </a:lnTo>
                <a:lnTo>
                  <a:pt x="407" y="234"/>
                </a:lnTo>
                <a:lnTo>
                  <a:pt x="399" y="264"/>
                </a:lnTo>
                <a:lnTo>
                  <a:pt x="389" y="292"/>
                </a:lnTo>
                <a:lnTo>
                  <a:pt x="373" y="318"/>
                </a:lnTo>
                <a:lnTo>
                  <a:pt x="354" y="341"/>
                </a:lnTo>
                <a:lnTo>
                  <a:pt x="332" y="362"/>
                </a:lnTo>
                <a:lnTo>
                  <a:pt x="306" y="380"/>
                </a:lnTo>
                <a:lnTo>
                  <a:pt x="278" y="393"/>
                </a:lnTo>
                <a:lnTo>
                  <a:pt x="250" y="402"/>
                </a:lnTo>
                <a:lnTo>
                  <a:pt x="219" y="407"/>
                </a:lnTo>
                <a:lnTo>
                  <a:pt x="189" y="407"/>
                </a:lnTo>
                <a:lnTo>
                  <a:pt x="159" y="402"/>
                </a:lnTo>
                <a:lnTo>
                  <a:pt x="130" y="393"/>
                </a:lnTo>
                <a:lnTo>
                  <a:pt x="102" y="380"/>
                </a:lnTo>
                <a:lnTo>
                  <a:pt x="77" y="362"/>
                </a:lnTo>
                <a:lnTo>
                  <a:pt x="55" y="341"/>
                </a:lnTo>
                <a:lnTo>
                  <a:pt x="36" y="318"/>
                </a:lnTo>
                <a:lnTo>
                  <a:pt x="21" y="292"/>
                </a:lnTo>
                <a:lnTo>
                  <a:pt x="9" y="264"/>
                </a:lnTo>
                <a:lnTo>
                  <a:pt x="2" y="234"/>
                </a:lnTo>
                <a:lnTo>
                  <a:pt x="0" y="204"/>
                </a:lnTo>
                <a:lnTo>
                  <a:pt x="2" y="173"/>
                </a:lnTo>
                <a:lnTo>
                  <a:pt x="9" y="142"/>
                </a:lnTo>
                <a:lnTo>
                  <a:pt x="21" y="115"/>
                </a:lnTo>
                <a:lnTo>
                  <a:pt x="36" y="89"/>
                </a:lnTo>
                <a:lnTo>
                  <a:pt x="55" y="65"/>
                </a:lnTo>
                <a:lnTo>
                  <a:pt x="77" y="45"/>
                </a:lnTo>
                <a:lnTo>
                  <a:pt x="102" y="27"/>
                </a:lnTo>
                <a:lnTo>
                  <a:pt x="130" y="13"/>
                </a:lnTo>
                <a:lnTo>
                  <a:pt x="159" y="5"/>
                </a:lnTo>
                <a:lnTo>
                  <a:pt x="189" y="0"/>
                </a:lnTo>
                <a:close/>
              </a:path>
            </a:pathLst>
          </a:custGeom>
          <a:solidFill>
            <a:schemeClr val="accent1"/>
          </a:solidFill>
          <a:ln w="0">
            <a:noFill/>
            <a:prstDash val="solid"/>
            <a:round/>
          </a:ln>
          <a:extLst>
            <a:ext uri="{91240B29-F687-4F45-9708-019B960494DF}">
              <a14:hiddenLine xmlns:a14="http://schemas.microsoft.com/office/drawing/2010/main" w="0">
                <a:solidFill>
                  <a:srgbClr val="333333"/>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8" name="Freeform 108"/>
          <p:cNvSpPr/>
          <p:nvPr/>
        </p:nvSpPr>
        <p:spPr bwMode="auto">
          <a:xfrm>
            <a:off x="7380598" y="1980467"/>
            <a:ext cx="66120" cy="66120"/>
          </a:xfrm>
          <a:custGeom>
            <a:avLst/>
            <a:gdLst>
              <a:gd name="T0" fmla="*/ 203 w 408"/>
              <a:gd name="T1" fmla="*/ 0 h 408"/>
              <a:gd name="T2" fmla="*/ 240 w 408"/>
              <a:gd name="T3" fmla="*/ 4 h 408"/>
              <a:gd name="T4" fmla="*/ 275 w 408"/>
              <a:gd name="T5" fmla="*/ 14 h 408"/>
              <a:gd name="T6" fmla="*/ 307 w 408"/>
              <a:gd name="T7" fmla="*/ 28 h 408"/>
              <a:gd name="T8" fmla="*/ 335 w 408"/>
              <a:gd name="T9" fmla="*/ 48 h 408"/>
              <a:gd name="T10" fmla="*/ 360 w 408"/>
              <a:gd name="T11" fmla="*/ 73 h 408"/>
              <a:gd name="T12" fmla="*/ 380 w 408"/>
              <a:gd name="T13" fmla="*/ 101 h 408"/>
              <a:gd name="T14" fmla="*/ 395 w 408"/>
              <a:gd name="T15" fmla="*/ 134 h 408"/>
              <a:gd name="T16" fmla="*/ 405 w 408"/>
              <a:gd name="T17" fmla="*/ 167 h 408"/>
              <a:gd name="T18" fmla="*/ 408 w 408"/>
              <a:gd name="T19" fmla="*/ 204 h 408"/>
              <a:gd name="T20" fmla="*/ 406 w 408"/>
              <a:gd name="T21" fmla="*/ 236 h 408"/>
              <a:gd name="T22" fmla="*/ 399 w 408"/>
              <a:gd name="T23" fmla="*/ 265 h 408"/>
              <a:gd name="T24" fmla="*/ 388 w 408"/>
              <a:gd name="T25" fmla="*/ 293 h 408"/>
              <a:gd name="T26" fmla="*/ 373 w 408"/>
              <a:gd name="T27" fmla="*/ 319 h 408"/>
              <a:gd name="T28" fmla="*/ 354 w 408"/>
              <a:gd name="T29" fmla="*/ 343 h 408"/>
              <a:gd name="T30" fmla="*/ 332 w 408"/>
              <a:gd name="T31" fmla="*/ 364 h 408"/>
              <a:gd name="T32" fmla="*/ 306 w 408"/>
              <a:gd name="T33" fmla="*/ 381 h 408"/>
              <a:gd name="T34" fmla="*/ 278 w 408"/>
              <a:gd name="T35" fmla="*/ 395 h 408"/>
              <a:gd name="T36" fmla="*/ 249 w 408"/>
              <a:gd name="T37" fmla="*/ 403 h 408"/>
              <a:gd name="T38" fmla="*/ 219 w 408"/>
              <a:gd name="T39" fmla="*/ 408 h 408"/>
              <a:gd name="T40" fmla="*/ 189 w 408"/>
              <a:gd name="T41" fmla="*/ 408 h 408"/>
              <a:gd name="T42" fmla="*/ 159 w 408"/>
              <a:gd name="T43" fmla="*/ 403 h 408"/>
              <a:gd name="T44" fmla="*/ 130 w 408"/>
              <a:gd name="T45" fmla="*/ 395 h 408"/>
              <a:gd name="T46" fmla="*/ 102 w 408"/>
              <a:gd name="T47" fmla="*/ 381 h 408"/>
              <a:gd name="T48" fmla="*/ 76 w 408"/>
              <a:gd name="T49" fmla="*/ 364 h 408"/>
              <a:gd name="T50" fmla="*/ 54 w 408"/>
              <a:gd name="T51" fmla="*/ 343 h 408"/>
              <a:gd name="T52" fmla="*/ 35 w 408"/>
              <a:gd name="T53" fmla="*/ 319 h 408"/>
              <a:gd name="T54" fmla="*/ 20 w 408"/>
              <a:gd name="T55" fmla="*/ 293 h 408"/>
              <a:gd name="T56" fmla="*/ 8 w 408"/>
              <a:gd name="T57" fmla="*/ 265 h 408"/>
              <a:gd name="T58" fmla="*/ 2 w 408"/>
              <a:gd name="T59" fmla="*/ 236 h 408"/>
              <a:gd name="T60" fmla="*/ 0 w 408"/>
              <a:gd name="T61" fmla="*/ 204 h 408"/>
              <a:gd name="T62" fmla="*/ 3 w 408"/>
              <a:gd name="T63" fmla="*/ 167 h 408"/>
              <a:gd name="T64" fmla="*/ 13 w 408"/>
              <a:gd name="T65" fmla="*/ 134 h 408"/>
              <a:gd name="T66" fmla="*/ 27 w 408"/>
              <a:gd name="T67" fmla="*/ 101 h 408"/>
              <a:gd name="T68" fmla="*/ 47 w 408"/>
              <a:gd name="T69" fmla="*/ 73 h 408"/>
              <a:gd name="T70" fmla="*/ 73 w 408"/>
              <a:gd name="T71" fmla="*/ 48 h 408"/>
              <a:gd name="T72" fmla="*/ 101 w 408"/>
              <a:gd name="T73" fmla="*/ 28 h 408"/>
              <a:gd name="T74" fmla="*/ 133 w 408"/>
              <a:gd name="T75" fmla="*/ 14 h 408"/>
              <a:gd name="T76" fmla="*/ 168 w 408"/>
              <a:gd name="T77" fmla="*/ 4 h 408"/>
              <a:gd name="T78" fmla="*/ 203 w 408"/>
              <a:gd name="T7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8" h="408">
                <a:moveTo>
                  <a:pt x="203" y="0"/>
                </a:moveTo>
                <a:lnTo>
                  <a:pt x="240" y="4"/>
                </a:lnTo>
                <a:lnTo>
                  <a:pt x="275" y="14"/>
                </a:lnTo>
                <a:lnTo>
                  <a:pt x="307" y="28"/>
                </a:lnTo>
                <a:lnTo>
                  <a:pt x="335" y="48"/>
                </a:lnTo>
                <a:lnTo>
                  <a:pt x="360" y="73"/>
                </a:lnTo>
                <a:lnTo>
                  <a:pt x="380" y="101"/>
                </a:lnTo>
                <a:lnTo>
                  <a:pt x="395" y="134"/>
                </a:lnTo>
                <a:lnTo>
                  <a:pt x="405" y="167"/>
                </a:lnTo>
                <a:lnTo>
                  <a:pt x="408" y="204"/>
                </a:lnTo>
                <a:lnTo>
                  <a:pt x="406" y="236"/>
                </a:lnTo>
                <a:lnTo>
                  <a:pt x="399" y="265"/>
                </a:lnTo>
                <a:lnTo>
                  <a:pt x="388" y="293"/>
                </a:lnTo>
                <a:lnTo>
                  <a:pt x="373" y="319"/>
                </a:lnTo>
                <a:lnTo>
                  <a:pt x="354" y="343"/>
                </a:lnTo>
                <a:lnTo>
                  <a:pt x="332" y="364"/>
                </a:lnTo>
                <a:lnTo>
                  <a:pt x="306" y="381"/>
                </a:lnTo>
                <a:lnTo>
                  <a:pt x="278" y="395"/>
                </a:lnTo>
                <a:lnTo>
                  <a:pt x="249" y="403"/>
                </a:lnTo>
                <a:lnTo>
                  <a:pt x="219" y="408"/>
                </a:lnTo>
                <a:lnTo>
                  <a:pt x="189" y="408"/>
                </a:lnTo>
                <a:lnTo>
                  <a:pt x="159" y="403"/>
                </a:lnTo>
                <a:lnTo>
                  <a:pt x="130" y="395"/>
                </a:lnTo>
                <a:lnTo>
                  <a:pt x="102" y="381"/>
                </a:lnTo>
                <a:lnTo>
                  <a:pt x="76" y="364"/>
                </a:lnTo>
                <a:lnTo>
                  <a:pt x="54" y="343"/>
                </a:lnTo>
                <a:lnTo>
                  <a:pt x="35" y="319"/>
                </a:lnTo>
                <a:lnTo>
                  <a:pt x="20" y="293"/>
                </a:lnTo>
                <a:lnTo>
                  <a:pt x="8" y="265"/>
                </a:lnTo>
                <a:lnTo>
                  <a:pt x="2" y="236"/>
                </a:lnTo>
                <a:lnTo>
                  <a:pt x="0" y="204"/>
                </a:lnTo>
                <a:lnTo>
                  <a:pt x="3" y="167"/>
                </a:lnTo>
                <a:lnTo>
                  <a:pt x="13" y="134"/>
                </a:lnTo>
                <a:lnTo>
                  <a:pt x="27" y="101"/>
                </a:lnTo>
                <a:lnTo>
                  <a:pt x="47" y="73"/>
                </a:lnTo>
                <a:lnTo>
                  <a:pt x="73" y="48"/>
                </a:lnTo>
                <a:lnTo>
                  <a:pt x="101" y="28"/>
                </a:lnTo>
                <a:lnTo>
                  <a:pt x="133" y="14"/>
                </a:lnTo>
                <a:lnTo>
                  <a:pt x="168" y="4"/>
                </a:lnTo>
                <a:lnTo>
                  <a:pt x="203" y="0"/>
                </a:lnTo>
                <a:close/>
              </a:path>
            </a:pathLst>
          </a:custGeom>
          <a:solidFill>
            <a:schemeClr val="accent1"/>
          </a:solidFill>
          <a:ln w="0">
            <a:noFill/>
            <a:prstDash val="solid"/>
            <a:round/>
          </a:ln>
          <a:extLst>
            <a:ext uri="{91240B29-F687-4F45-9708-019B960494DF}">
              <a14:hiddenLine xmlns:a14="http://schemas.microsoft.com/office/drawing/2010/main" w="0">
                <a:solidFill>
                  <a:srgbClr val="333333"/>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59" name="Freeform 109"/>
          <p:cNvSpPr/>
          <p:nvPr/>
        </p:nvSpPr>
        <p:spPr bwMode="auto">
          <a:xfrm>
            <a:off x="7478342" y="2046588"/>
            <a:ext cx="66120" cy="66120"/>
          </a:xfrm>
          <a:custGeom>
            <a:avLst/>
            <a:gdLst>
              <a:gd name="T0" fmla="*/ 190 w 409"/>
              <a:gd name="T1" fmla="*/ 0 h 407"/>
              <a:gd name="T2" fmla="*/ 219 w 409"/>
              <a:gd name="T3" fmla="*/ 0 h 407"/>
              <a:gd name="T4" fmla="*/ 250 w 409"/>
              <a:gd name="T5" fmla="*/ 5 h 407"/>
              <a:gd name="T6" fmla="*/ 278 w 409"/>
              <a:gd name="T7" fmla="*/ 13 h 407"/>
              <a:gd name="T8" fmla="*/ 307 w 409"/>
              <a:gd name="T9" fmla="*/ 27 h 407"/>
              <a:gd name="T10" fmla="*/ 332 w 409"/>
              <a:gd name="T11" fmla="*/ 45 h 407"/>
              <a:gd name="T12" fmla="*/ 354 w 409"/>
              <a:gd name="T13" fmla="*/ 65 h 407"/>
              <a:gd name="T14" fmla="*/ 373 w 409"/>
              <a:gd name="T15" fmla="*/ 89 h 407"/>
              <a:gd name="T16" fmla="*/ 388 w 409"/>
              <a:gd name="T17" fmla="*/ 115 h 407"/>
              <a:gd name="T18" fmla="*/ 400 w 409"/>
              <a:gd name="T19" fmla="*/ 143 h 407"/>
              <a:gd name="T20" fmla="*/ 406 w 409"/>
              <a:gd name="T21" fmla="*/ 173 h 407"/>
              <a:gd name="T22" fmla="*/ 409 w 409"/>
              <a:gd name="T23" fmla="*/ 204 h 407"/>
              <a:gd name="T24" fmla="*/ 406 w 409"/>
              <a:gd name="T25" fmla="*/ 234 h 407"/>
              <a:gd name="T26" fmla="*/ 400 w 409"/>
              <a:gd name="T27" fmla="*/ 264 h 407"/>
              <a:gd name="T28" fmla="*/ 388 w 409"/>
              <a:gd name="T29" fmla="*/ 292 h 407"/>
              <a:gd name="T30" fmla="*/ 373 w 409"/>
              <a:gd name="T31" fmla="*/ 318 h 407"/>
              <a:gd name="T32" fmla="*/ 354 w 409"/>
              <a:gd name="T33" fmla="*/ 342 h 407"/>
              <a:gd name="T34" fmla="*/ 332 w 409"/>
              <a:gd name="T35" fmla="*/ 363 h 407"/>
              <a:gd name="T36" fmla="*/ 307 w 409"/>
              <a:gd name="T37" fmla="*/ 380 h 407"/>
              <a:gd name="T38" fmla="*/ 278 w 409"/>
              <a:gd name="T39" fmla="*/ 393 h 407"/>
              <a:gd name="T40" fmla="*/ 250 w 409"/>
              <a:gd name="T41" fmla="*/ 403 h 407"/>
              <a:gd name="T42" fmla="*/ 219 w 409"/>
              <a:gd name="T43" fmla="*/ 407 h 407"/>
              <a:gd name="T44" fmla="*/ 190 w 409"/>
              <a:gd name="T45" fmla="*/ 407 h 407"/>
              <a:gd name="T46" fmla="*/ 159 w 409"/>
              <a:gd name="T47" fmla="*/ 403 h 407"/>
              <a:gd name="T48" fmla="*/ 130 w 409"/>
              <a:gd name="T49" fmla="*/ 393 h 407"/>
              <a:gd name="T50" fmla="*/ 102 w 409"/>
              <a:gd name="T51" fmla="*/ 380 h 407"/>
              <a:gd name="T52" fmla="*/ 77 w 409"/>
              <a:gd name="T53" fmla="*/ 363 h 407"/>
              <a:gd name="T54" fmla="*/ 54 w 409"/>
              <a:gd name="T55" fmla="*/ 342 h 407"/>
              <a:gd name="T56" fmla="*/ 36 w 409"/>
              <a:gd name="T57" fmla="*/ 318 h 407"/>
              <a:gd name="T58" fmla="*/ 20 w 409"/>
              <a:gd name="T59" fmla="*/ 292 h 407"/>
              <a:gd name="T60" fmla="*/ 10 w 409"/>
              <a:gd name="T61" fmla="*/ 264 h 407"/>
              <a:gd name="T62" fmla="*/ 2 w 409"/>
              <a:gd name="T63" fmla="*/ 234 h 407"/>
              <a:gd name="T64" fmla="*/ 0 w 409"/>
              <a:gd name="T65" fmla="*/ 204 h 407"/>
              <a:gd name="T66" fmla="*/ 2 w 409"/>
              <a:gd name="T67" fmla="*/ 173 h 407"/>
              <a:gd name="T68" fmla="*/ 10 w 409"/>
              <a:gd name="T69" fmla="*/ 143 h 407"/>
              <a:gd name="T70" fmla="*/ 20 w 409"/>
              <a:gd name="T71" fmla="*/ 115 h 407"/>
              <a:gd name="T72" fmla="*/ 36 w 409"/>
              <a:gd name="T73" fmla="*/ 89 h 407"/>
              <a:gd name="T74" fmla="*/ 54 w 409"/>
              <a:gd name="T75" fmla="*/ 65 h 407"/>
              <a:gd name="T76" fmla="*/ 77 w 409"/>
              <a:gd name="T77" fmla="*/ 45 h 407"/>
              <a:gd name="T78" fmla="*/ 102 w 409"/>
              <a:gd name="T79" fmla="*/ 27 h 407"/>
              <a:gd name="T80" fmla="*/ 130 w 409"/>
              <a:gd name="T81" fmla="*/ 13 h 407"/>
              <a:gd name="T82" fmla="*/ 159 w 409"/>
              <a:gd name="T83" fmla="*/ 5 h 407"/>
              <a:gd name="T84" fmla="*/ 190 w 409"/>
              <a:gd name="T85"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9" h="407">
                <a:moveTo>
                  <a:pt x="190" y="0"/>
                </a:moveTo>
                <a:lnTo>
                  <a:pt x="219" y="0"/>
                </a:lnTo>
                <a:lnTo>
                  <a:pt x="250" y="5"/>
                </a:lnTo>
                <a:lnTo>
                  <a:pt x="278" y="13"/>
                </a:lnTo>
                <a:lnTo>
                  <a:pt x="307" y="27"/>
                </a:lnTo>
                <a:lnTo>
                  <a:pt x="332" y="45"/>
                </a:lnTo>
                <a:lnTo>
                  <a:pt x="354" y="65"/>
                </a:lnTo>
                <a:lnTo>
                  <a:pt x="373" y="89"/>
                </a:lnTo>
                <a:lnTo>
                  <a:pt x="388" y="115"/>
                </a:lnTo>
                <a:lnTo>
                  <a:pt x="400" y="143"/>
                </a:lnTo>
                <a:lnTo>
                  <a:pt x="406" y="173"/>
                </a:lnTo>
                <a:lnTo>
                  <a:pt x="409" y="204"/>
                </a:lnTo>
                <a:lnTo>
                  <a:pt x="406" y="234"/>
                </a:lnTo>
                <a:lnTo>
                  <a:pt x="400" y="264"/>
                </a:lnTo>
                <a:lnTo>
                  <a:pt x="388" y="292"/>
                </a:lnTo>
                <a:lnTo>
                  <a:pt x="373" y="318"/>
                </a:lnTo>
                <a:lnTo>
                  <a:pt x="354" y="342"/>
                </a:lnTo>
                <a:lnTo>
                  <a:pt x="332" y="363"/>
                </a:lnTo>
                <a:lnTo>
                  <a:pt x="307" y="380"/>
                </a:lnTo>
                <a:lnTo>
                  <a:pt x="278" y="393"/>
                </a:lnTo>
                <a:lnTo>
                  <a:pt x="250" y="403"/>
                </a:lnTo>
                <a:lnTo>
                  <a:pt x="219" y="407"/>
                </a:lnTo>
                <a:lnTo>
                  <a:pt x="190" y="407"/>
                </a:lnTo>
                <a:lnTo>
                  <a:pt x="159" y="403"/>
                </a:lnTo>
                <a:lnTo>
                  <a:pt x="130" y="393"/>
                </a:lnTo>
                <a:lnTo>
                  <a:pt x="102" y="380"/>
                </a:lnTo>
                <a:lnTo>
                  <a:pt x="77" y="363"/>
                </a:lnTo>
                <a:lnTo>
                  <a:pt x="54" y="342"/>
                </a:lnTo>
                <a:lnTo>
                  <a:pt x="36" y="318"/>
                </a:lnTo>
                <a:lnTo>
                  <a:pt x="20" y="292"/>
                </a:lnTo>
                <a:lnTo>
                  <a:pt x="10" y="264"/>
                </a:lnTo>
                <a:lnTo>
                  <a:pt x="2" y="234"/>
                </a:lnTo>
                <a:lnTo>
                  <a:pt x="0" y="204"/>
                </a:lnTo>
                <a:lnTo>
                  <a:pt x="2" y="173"/>
                </a:lnTo>
                <a:lnTo>
                  <a:pt x="10" y="143"/>
                </a:lnTo>
                <a:lnTo>
                  <a:pt x="20" y="115"/>
                </a:lnTo>
                <a:lnTo>
                  <a:pt x="36" y="89"/>
                </a:lnTo>
                <a:lnTo>
                  <a:pt x="54" y="65"/>
                </a:lnTo>
                <a:lnTo>
                  <a:pt x="77" y="45"/>
                </a:lnTo>
                <a:lnTo>
                  <a:pt x="102" y="27"/>
                </a:lnTo>
                <a:lnTo>
                  <a:pt x="130" y="13"/>
                </a:lnTo>
                <a:lnTo>
                  <a:pt x="159" y="5"/>
                </a:lnTo>
                <a:lnTo>
                  <a:pt x="190" y="0"/>
                </a:lnTo>
                <a:close/>
              </a:path>
            </a:pathLst>
          </a:custGeom>
          <a:solidFill>
            <a:schemeClr val="accent1"/>
          </a:solidFill>
          <a:ln w="0">
            <a:noFill/>
            <a:prstDash val="solid"/>
            <a:round/>
          </a:ln>
          <a:extLst>
            <a:ext uri="{91240B29-F687-4F45-9708-019B960494DF}">
              <a14:hiddenLine xmlns:a14="http://schemas.microsoft.com/office/drawing/2010/main" w="0">
                <a:solidFill>
                  <a:srgbClr val="333333"/>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0" name="Freeform 110"/>
          <p:cNvSpPr/>
          <p:nvPr/>
        </p:nvSpPr>
        <p:spPr bwMode="auto">
          <a:xfrm>
            <a:off x="7673829" y="2046588"/>
            <a:ext cx="66120" cy="66120"/>
          </a:xfrm>
          <a:custGeom>
            <a:avLst/>
            <a:gdLst>
              <a:gd name="T0" fmla="*/ 204 w 408"/>
              <a:gd name="T1" fmla="*/ 0 h 409"/>
              <a:gd name="T2" fmla="*/ 240 w 408"/>
              <a:gd name="T3" fmla="*/ 4 h 409"/>
              <a:gd name="T4" fmla="*/ 275 w 408"/>
              <a:gd name="T5" fmla="*/ 13 h 409"/>
              <a:gd name="T6" fmla="*/ 306 w 408"/>
              <a:gd name="T7" fmla="*/ 29 h 409"/>
              <a:gd name="T8" fmla="*/ 335 w 408"/>
              <a:gd name="T9" fmla="*/ 49 h 409"/>
              <a:gd name="T10" fmla="*/ 360 w 408"/>
              <a:gd name="T11" fmla="*/ 73 h 409"/>
              <a:gd name="T12" fmla="*/ 380 w 408"/>
              <a:gd name="T13" fmla="*/ 101 h 409"/>
              <a:gd name="T14" fmla="*/ 395 w 408"/>
              <a:gd name="T15" fmla="*/ 133 h 409"/>
              <a:gd name="T16" fmla="*/ 404 w 408"/>
              <a:gd name="T17" fmla="*/ 168 h 409"/>
              <a:gd name="T18" fmla="*/ 408 w 408"/>
              <a:gd name="T19" fmla="*/ 205 h 409"/>
              <a:gd name="T20" fmla="*/ 404 w 408"/>
              <a:gd name="T21" fmla="*/ 241 h 409"/>
              <a:gd name="T22" fmla="*/ 395 w 408"/>
              <a:gd name="T23" fmla="*/ 275 h 409"/>
              <a:gd name="T24" fmla="*/ 380 w 408"/>
              <a:gd name="T25" fmla="*/ 308 h 409"/>
              <a:gd name="T26" fmla="*/ 360 w 408"/>
              <a:gd name="T27" fmla="*/ 336 h 409"/>
              <a:gd name="T28" fmla="*/ 335 w 408"/>
              <a:gd name="T29" fmla="*/ 360 h 409"/>
              <a:gd name="T30" fmla="*/ 306 w 408"/>
              <a:gd name="T31" fmla="*/ 380 h 409"/>
              <a:gd name="T32" fmla="*/ 275 w 408"/>
              <a:gd name="T33" fmla="*/ 396 h 409"/>
              <a:gd name="T34" fmla="*/ 240 w 408"/>
              <a:gd name="T35" fmla="*/ 406 h 409"/>
              <a:gd name="T36" fmla="*/ 204 w 408"/>
              <a:gd name="T37" fmla="*/ 409 h 409"/>
              <a:gd name="T38" fmla="*/ 167 w 408"/>
              <a:gd name="T39" fmla="*/ 406 h 409"/>
              <a:gd name="T40" fmla="*/ 133 w 408"/>
              <a:gd name="T41" fmla="*/ 396 h 409"/>
              <a:gd name="T42" fmla="*/ 101 w 408"/>
              <a:gd name="T43" fmla="*/ 380 h 409"/>
              <a:gd name="T44" fmla="*/ 72 w 408"/>
              <a:gd name="T45" fmla="*/ 360 h 409"/>
              <a:gd name="T46" fmla="*/ 47 w 408"/>
              <a:gd name="T47" fmla="*/ 336 h 409"/>
              <a:gd name="T48" fmla="*/ 27 w 408"/>
              <a:gd name="T49" fmla="*/ 308 h 409"/>
              <a:gd name="T50" fmla="*/ 12 w 408"/>
              <a:gd name="T51" fmla="*/ 275 h 409"/>
              <a:gd name="T52" fmla="*/ 3 w 408"/>
              <a:gd name="T53" fmla="*/ 241 h 409"/>
              <a:gd name="T54" fmla="*/ 0 w 408"/>
              <a:gd name="T55" fmla="*/ 205 h 409"/>
              <a:gd name="T56" fmla="*/ 3 w 408"/>
              <a:gd name="T57" fmla="*/ 168 h 409"/>
              <a:gd name="T58" fmla="*/ 12 w 408"/>
              <a:gd name="T59" fmla="*/ 133 h 409"/>
              <a:gd name="T60" fmla="*/ 27 w 408"/>
              <a:gd name="T61" fmla="*/ 101 h 409"/>
              <a:gd name="T62" fmla="*/ 47 w 408"/>
              <a:gd name="T63" fmla="*/ 73 h 409"/>
              <a:gd name="T64" fmla="*/ 72 w 408"/>
              <a:gd name="T65" fmla="*/ 49 h 409"/>
              <a:gd name="T66" fmla="*/ 101 w 408"/>
              <a:gd name="T67" fmla="*/ 29 h 409"/>
              <a:gd name="T68" fmla="*/ 133 w 408"/>
              <a:gd name="T69" fmla="*/ 13 h 409"/>
              <a:gd name="T70" fmla="*/ 167 w 408"/>
              <a:gd name="T71" fmla="*/ 4 h 409"/>
              <a:gd name="T72" fmla="*/ 204 w 408"/>
              <a:gd name="T7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8" h="409">
                <a:moveTo>
                  <a:pt x="204" y="0"/>
                </a:moveTo>
                <a:lnTo>
                  <a:pt x="240" y="4"/>
                </a:lnTo>
                <a:lnTo>
                  <a:pt x="275" y="13"/>
                </a:lnTo>
                <a:lnTo>
                  <a:pt x="306" y="29"/>
                </a:lnTo>
                <a:lnTo>
                  <a:pt x="335" y="49"/>
                </a:lnTo>
                <a:lnTo>
                  <a:pt x="360" y="73"/>
                </a:lnTo>
                <a:lnTo>
                  <a:pt x="380" y="101"/>
                </a:lnTo>
                <a:lnTo>
                  <a:pt x="395" y="133"/>
                </a:lnTo>
                <a:lnTo>
                  <a:pt x="404" y="168"/>
                </a:lnTo>
                <a:lnTo>
                  <a:pt x="408" y="205"/>
                </a:lnTo>
                <a:lnTo>
                  <a:pt x="404" y="241"/>
                </a:lnTo>
                <a:lnTo>
                  <a:pt x="395" y="275"/>
                </a:lnTo>
                <a:lnTo>
                  <a:pt x="380" y="308"/>
                </a:lnTo>
                <a:lnTo>
                  <a:pt x="360" y="336"/>
                </a:lnTo>
                <a:lnTo>
                  <a:pt x="335" y="360"/>
                </a:lnTo>
                <a:lnTo>
                  <a:pt x="306" y="380"/>
                </a:lnTo>
                <a:lnTo>
                  <a:pt x="275" y="396"/>
                </a:lnTo>
                <a:lnTo>
                  <a:pt x="240" y="406"/>
                </a:lnTo>
                <a:lnTo>
                  <a:pt x="204" y="409"/>
                </a:lnTo>
                <a:lnTo>
                  <a:pt x="167" y="406"/>
                </a:lnTo>
                <a:lnTo>
                  <a:pt x="133" y="396"/>
                </a:lnTo>
                <a:lnTo>
                  <a:pt x="101" y="380"/>
                </a:lnTo>
                <a:lnTo>
                  <a:pt x="72" y="360"/>
                </a:lnTo>
                <a:lnTo>
                  <a:pt x="47" y="336"/>
                </a:lnTo>
                <a:lnTo>
                  <a:pt x="27" y="308"/>
                </a:lnTo>
                <a:lnTo>
                  <a:pt x="12" y="275"/>
                </a:lnTo>
                <a:lnTo>
                  <a:pt x="3" y="241"/>
                </a:lnTo>
                <a:lnTo>
                  <a:pt x="0" y="205"/>
                </a:lnTo>
                <a:lnTo>
                  <a:pt x="3" y="168"/>
                </a:lnTo>
                <a:lnTo>
                  <a:pt x="12" y="133"/>
                </a:lnTo>
                <a:lnTo>
                  <a:pt x="27" y="101"/>
                </a:lnTo>
                <a:lnTo>
                  <a:pt x="47" y="73"/>
                </a:lnTo>
                <a:lnTo>
                  <a:pt x="72" y="49"/>
                </a:lnTo>
                <a:lnTo>
                  <a:pt x="101" y="29"/>
                </a:lnTo>
                <a:lnTo>
                  <a:pt x="133" y="13"/>
                </a:lnTo>
                <a:lnTo>
                  <a:pt x="167" y="4"/>
                </a:lnTo>
                <a:lnTo>
                  <a:pt x="204" y="0"/>
                </a:lnTo>
                <a:close/>
              </a:path>
            </a:pathLst>
          </a:custGeom>
          <a:solidFill>
            <a:schemeClr val="accent1"/>
          </a:solidFill>
          <a:ln w="0">
            <a:noFill/>
            <a:prstDash val="solid"/>
            <a:round/>
          </a:ln>
          <a:extLst>
            <a:ext uri="{91240B29-F687-4F45-9708-019B960494DF}">
              <a14:hiddenLine xmlns:a14="http://schemas.microsoft.com/office/drawing/2010/main" w="0">
                <a:solidFill>
                  <a:srgbClr val="333333"/>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1" name="Freeform 111"/>
          <p:cNvSpPr/>
          <p:nvPr/>
        </p:nvSpPr>
        <p:spPr bwMode="auto">
          <a:xfrm>
            <a:off x="7673829" y="2144332"/>
            <a:ext cx="66120" cy="66120"/>
          </a:xfrm>
          <a:custGeom>
            <a:avLst/>
            <a:gdLst>
              <a:gd name="T0" fmla="*/ 204 w 408"/>
              <a:gd name="T1" fmla="*/ 0 h 408"/>
              <a:gd name="T2" fmla="*/ 240 w 408"/>
              <a:gd name="T3" fmla="*/ 4 h 408"/>
              <a:gd name="T4" fmla="*/ 275 w 408"/>
              <a:gd name="T5" fmla="*/ 14 h 408"/>
              <a:gd name="T6" fmla="*/ 306 w 408"/>
              <a:gd name="T7" fmla="*/ 28 h 408"/>
              <a:gd name="T8" fmla="*/ 335 w 408"/>
              <a:gd name="T9" fmla="*/ 48 h 408"/>
              <a:gd name="T10" fmla="*/ 360 w 408"/>
              <a:gd name="T11" fmla="*/ 73 h 408"/>
              <a:gd name="T12" fmla="*/ 380 w 408"/>
              <a:gd name="T13" fmla="*/ 101 h 408"/>
              <a:gd name="T14" fmla="*/ 395 w 408"/>
              <a:gd name="T15" fmla="*/ 134 h 408"/>
              <a:gd name="T16" fmla="*/ 404 w 408"/>
              <a:gd name="T17" fmla="*/ 167 h 408"/>
              <a:gd name="T18" fmla="*/ 408 w 408"/>
              <a:gd name="T19" fmla="*/ 204 h 408"/>
              <a:gd name="T20" fmla="*/ 404 w 408"/>
              <a:gd name="T21" fmla="*/ 241 h 408"/>
              <a:gd name="T22" fmla="*/ 395 w 408"/>
              <a:gd name="T23" fmla="*/ 276 h 408"/>
              <a:gd name="T24" fmla="*/ 380 w 408"/>
              <a:gd name="T25" fmla="*/ 307 h 408"/>
              <a:gd name="T26" fmla="*/ 360 w 408"/>
              <a:gd name="T27" fmla="*/ 336 h 408"/>
              <a:gd name="T28" fmla="*/ 335 w 408"/>
              <a:gd name="T29" fmla="*/ 360 h 408"/>
              <a:gd name="T30" fmla="*/ 306 w 408"/>
              <a:gd name="T31" fmla="*/ 381 h 408"/>
              <a:gd name="T32" fmla="*/ 275 w 408"/>
              <a:gd name="T33" fmla="*/ 396 h 408"/>
              <a:gd name="T34" fmla="*/ 240 w 408"/>
              <a:gd name="T35" fmla="*/ 405 h 408"/>
              <a:gd name="T36" fmla="*/ 204 w 408"/>
              <a:gd name="T37" fmla="*/ 408 h 408"/>
              <a:gd name="T38" fmla="*/ 167 w 408"/>
              <a:gd name="T39" fmla="*/ 405 h 408"/>
              <a:gd name="T40" fmla="*/ 133 w 408"/>
              <a:gd name="T41" fmla="*/ 396 h 408"/>
              <a:gd name="T42" fmla="*/ 101 w 408"/>
              <a:gd name="T43" fmla="*/ 381 h 408"/>
              <a:gd name="T44" fmla="*/ 72 w 408"/>
              <a:gd name="T45" fmla="*/ 360 h 408"/>
              <a:gd name="T46" fmla="*/ 47 w 408"/>
              <a:gd name="T47" fmla="*/ 336 h 408"/>
              <a:gd name="T48" fmla="*/ 27 w 408"/>
              <a:gd name="T49" fmla="*/ 307 h 408"/>
              <a:gd name="T50" fmla="*/ 12 w 408"/>
              <a:gd name="T51" fmla="*/ 276 h 408"/>
              <a:gd name="T52" fmla="*/ 3 w 408"/>
              <a:gd name="T53" fmla="*/ 241 h 408"/>
              <a:gd name="T54" fmla="*/ 0 w 408"/>
              <a:gd name="T55" fmla="*/ 204 h 408"/>
              <a:gd name="T56" fmla="*/ 3 w 408"/>
              <a:gd name="T57" fmla="*/ 167 h 408"/>
              <a:gd name="T58" fmla="*/ 12 w 408"/>
              <a:gd name="T59" fmla="*/ 134 h 408"/>
              <a:gd name="T60" fmla="*/ 27 w 408"/>
              <a:gd name="T61" fmla="*/ 101 h 408"/>
              <a:gd name="T62" fmla="*/ 47 w 408"/>
              <a:gd name="T63" fmla="*/ 73 h 408"/>
              <a:gd name="T64" fmla="*/ 72 w 408"/>
              <a:gd name="T65" fmla="*/ 48 h 408"/>
              <a:gd name="T66" fmla="*/ 101 w 408"/>
              <a:gd name="T67" fmla="*/ 28 h 408"/>
              <a:gd name="T68" fmla="*/ 133 w 408"/>
              <a:gd name="T69" fmla="*/ 14 h 408"/>
              <a:gd name="T70" fmla="*/ 167 w 408"/>
              <a:gd name="T71" fmla="*/ 4 h 408"/>
              <a:gd name="T72" fmla="*/ 204 w 408"/>
              <a:gd name="T7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8" h="408">
                <a:moveTo>
                  <a:pt x="204" y="0"/>
                </a:moveTo>
                <a:lnTo>
                  <a:pt x="240" y="4"/>
                </a:lnTo>
                <a:lnTo>
                  <a:pt x="275" y="14"/>
                </a:lnTo>
                <a:lnTo>
                  <a:pt x="306" y="28"/>
                </a:lnTo>
                <a:lnTo>
                  <a:pt x="335" y="48"/>
                </a:lnTo>
                <a:lnTo>
                  <a:pt x="360" y="73"/>
                </a:lnTo>
                <a:lnTo>
                  <a:pt x="380" y="101"/>
                </a:lnTo>
                <a:lnTo>
                  <a:pt x="395" y="134"/>
                </a:lnTo>
                <a:lnTo>
                  <a:pt x="404" y="167"/>
                </a:lnTo>
                <a:lnTo>
                  <a:pt x="408" y="204"/>
                </a:lnTo>
                <a:lnTo>
                  <a:pt x="404" y="241"/>
                </a:lnTo>
                <a:lnTo>
                  <a:pt x="395" y="276"/>
                </a:lnTo>
                <a:lnTo>
                  <a:pt x="380" y="307"/>
                </a:lnTo>
                <a:lnTo>
                  <a:pt x="360" y="336"/>
                </a:lnTo>
                <a:lnTo>
                  <a:pt x="335" y="360"/>
                </a:lnTo>
                <a:lnTo>
                  <a:pt x="306" y="381"/>
                </a:lnTo>
                <a:lnTo>
                  <a:pt x="275" y="396"/>
                </a:lnTo>
                <a:lnTo>
                  <a:pt x="240" y="405"/>
                </a:lnTo>
                <a:lnTo>
                  <a:pt x="204" y="408"/>
                </a:lnTo>
                <a:lnTo>
                  <a:pt x="167" y="405"/>
                </a:lnTo>
                <a:lnTo>
                  <a:pt x="133" y="396"/>
                </a:lnTo>
                <a:lnTo>
                  <a:pt x="101" y="381"/>
                </a:lnTo>
                <a:lnTo>
                  <a:pt x="72" y="360"/>
                </a:lnTo>
                <a:lnTo>
                  <a:pt x="47" y="336"/>
                </a:lnTo>
                <a:lnTo>
                  <a:pt x="27" y="307"/>
                </a:lnTo>
                <a:lnTo>
                  <a:pt x="12" y="276"/>
                </a:lnTo>
                <a:lnTo>
                  <a:pt x="3" y="241"/>
                </a:lnTo>
                <a:lnTo>
                  <a:pt x="0" y="204"/>
                </a:lnTo>
                <a:lnTo>
                  <a:pt x="3" y="167"/>
                </a:lnTo>
                <a:lnTo>
                  <a:pt x="12" y="134"/>
                </a:lnTo>
                <a:lnTo>
                  <a:pt x="27" y="101"/>
                </a:lnTo>
                <a:lnTo>
                  <a:pt x="47" y="73"/>
                </a:lnTo>
                <a:lnTo>
                  <a:pt x="72" y="48"/>
                </a:lnTo>
                <a:lnTo>
                  <a:pt x="101" y="28"/>
                </a:lnTo>
                <a:lnTo>
                  <a:pt x="133" y="14"/>
                </a:lnTo>
                <a:lnTo>
                  <a:pt x="167" y="4"/>
                </a:lnTo>
                <a:lnTo>
                  <a:pt x="204" y="0"/>
                </a:lnTo>
                <a:close/>
              </a:path>
            </a:pathLst>
          </a:custGeom>
          <a:solidFill>
            <a:schemeClr val="accent1"/>
          </a:solidFill>
          <a:ln w="0">
            <a:noFill/>
            <a:prstDash val="solid"/>
            <a:round/>
          </a:ln>
          <a:extLst>
            <a:ext uri="{91240B29-F687-4F45-9708-019B960494DF}">
              <a14:hiddenLine xmlns:a14="http://schemas.microsoft.com/office/drawing/2010/main" w="0">
                <a:solidFill>
                  <a:srgbClr val="333333"/>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2" name="Freeform 112"/>
          <p:cNvSpPr/>
          <p:nvPr/>
        </p:nvSpPr>
        <p:spPr bwMode="auto">
          <a:xfrm>
            <a:off x="7771572" y="2144332"/>
            <a:ext cx="66120" cy="66120"/>
          </a:xfrm>
          <a:custGeom>
            <a:avLst/>
            <a:gdLst>
              <a:gd name="T0" fmla="*/ 190 w 409"/>
              <a:gd name="T1" fmla="*/ 0 h 406"/>
              <a:gd name="T2" fmla="*/ 219 w 409"/>
              <a:gd name="T3" fmla="*/ 0 h 406"/>
              <a:gd name="T4" fmla="*/ 250 w 409"/>
              <a:gd name="T5" fmla="*/ 4 h 406"/>
              <a:gd name="T6" fmla="*/ 278 w 409"/>
              <a:gd name="T7" fmla="*/ 14 h 406"/>
              <a:gd name="T8" fmla="*/ 307 w 409"/>
              <a:gd name="T9" fmla="*/ 26 h 406"/>
              <a:gd name="T10" fmla="*/ 332 w 409"/>
              <a:gd name="T11" fmla="*/ 44 h 406"/>
              <a:gd name="T12" fmla="*/ 354 w 409"/>
              <a:gd name="T13" fmla="*/ 65 h 406"/>
              <a:gd name="T14" fmla="*/ 373 w 409"/>
              <a:gd name="T15" fmla="*/ 88 h 406"/>
              <a:gd name="T16" fmla="*/ 388 w 409"/>
              <a:gd name="T17" fmla="*/ 115 h 406"/>
              <a:gd name="T18" fmla="*/ 399 w 409"/>
              <a:gd name="T19" fmla="*/ 143 h 406"/>
              <a:gd name="T20" fmla="*/ 407 w 409"/>
              <a:gd name="T21" fmla="*/ 173 h 406"/>
              <a:gd name="T22" fmla="*/ 409 w 409"/>
              <a:gd name="T23" fmla="*/ 203 h 406"/>
              <a:gd name="T24" fmla="*/ 407 w 409"/>
              <a:gd name="T25" fmla="*/ 234 h 406"/>
              <a:gd name="T26" fmla="*/ 399 w 409"/>
              <a:gd name="T27" fmla="*/ 264 h 406"/>
              <a:gd name="T28" fmla="*/ 388 w 409"/>
              <a:gd name="T29" fmla="*/ 292 h 406"/>
              <a:gd name="T30" fmla="*/ 373 w 409"/>
              <a:gd name="T31" fmla="*/ 318 h 406"/>
              <a:gd name="T32" fmla="*/ 354 w 409"/>
              <a:gd name="T33" fmla="*/ 342 h 406"/>
              <a:gd name="T34" fmla="*/ 332 w 409"/>
              <a:gd name="T35" fmla="*/ 363 h 406"/>
              <a:gd name="T36" fmla="*/ 307 w 409"/>
              <a:gd name="T37" fmla="*/ 380 h 406"/>
              <a:gd name="T38" fmla="*/ 278 w 409"/>
              <a:gd name="T39" fmla="*/ 394 h 406"/>
              <a:gd name="T40" fmla="*/ 250 w 409"/>
              <a:gd name="T41" fmla="*/ 402 h 406"/>
              <a:gd name="T42" fmla="*/ 219 w 409"/>
              <a:gd name="T43" fmla="*/ 406 h 406"/>
              <a:gd name="T44" fmla="*/ 190 w 409"/>
              <a:gd name="T45" fmla="*/ 406 h 406"/>
              <a:gd name="T46" fmla="*/ 159 w 409"/>
              <a:gd name="T47" fmla="*/ 402 h 406"/>
              <a:gd name="T48" fmla="*/ 131 w 409"/>
              <a:gd name="T49" fmla="*/ 394 h 406"/>
              <a:gd name="T50" fmla="*/ 102 w 409"/>
              <a:gd name="T51" fmla="*/ 380 h 406"/>
              <a:gd name="T52" fmla="*/ 77 w 409"/>
              <a:gd name="T53" fmla="*/ 363 h 406"/>
              <a:gd name="T54" fmla="*/ 55 w 409"/>
              <a:gd name="T55" fmla="*/ 342 h 406"/>
              <a:gd name="T56" fmla="*/ 36 w 409"/>
              <a:gd name="T57" fmla="*/ 318 h 406"/>
              <a:gd name="T58" fmla="*/ 20 w 409"/>
              <a:gd name="T59" fmla="*/ 292 h 406"/>
              <a:gd name="T60" fmla="*/ 9 w 409"/>
              <a:gd name="T61" fmla="*/ 264 h 406"/>
              <a:gd name="T62" fmla="*/ 2 w 409"/>
              <a:gd name="T63" fmla="*/ 234 h 406"/>
              <a:gd name="T64" fmla="*/ 0 w 409"/>
              <a:gd name="T65" fmla="*/ 203 h 406"/>
              <a:gd name="T66" fmla="*/ 2 w 409"/>
              <a:gd name="T67" fmla="*/ 173 h 406"/>
              <a:gd name="T68" fmla="*/ 9 w 409"/>
              <a:gd name="T69" fmla="*/ 143 h 406"/>
              <a:gd name="T70" fmla="*/ 20 w 409"/>
              <a:gd name="T71" fmla="*/ 115 h 406"/>
              <a:gd name="T72" fmla="*/ 36 w 409"/>
              <a:gd name="T73" fmla="*/ 88 h 406"/>
              <a:gd name="T74" fmla="*/ 55 w 409"/>
              <a:gd name="T75" fmla="*/ 65 h 406"/>
              <a:gd name="T76" fmla="*/ 77 w 409"/>
              <a:gd name="T77" fmla="*/ 44 h 406"/>
              <a:gd name="T78" fmla="*/ 102 w 409"/>
              <a:gd name="T79" fmla="*/ 26 h 406"/>
              <a:gd name="T80" fmla="*/ 131 w 409"/>
              <a:gd name="T81" fmla="*/ 14 h 406"/>
              <a:gd name="T82" fmla="*/ 159 w 409"/>
              <a:gd name="T83" fmla="*/ 4 h 406"/>
              <a:gd name="T84" fmla="*/ 190 w 409"/>
              <a:gd name="T85"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9" h="406">
                <a:moveTo>
                  <a:pt x="190" y="0"/>
                </a:moveTo>
                <a:lnTo>
                  <a:pt x="219" y="0"/>
                </a:lnTo>
                <a:lnTo>
                  <a:pt x="250" y="4"/>
                </a:lnTo>
                <a:lnTo>
                  <a:pt x="278" y="14"/>
                </a:lnTo>
                <a:lnTo>
                  <a:pt x="307" y="26"/>
                </a:lnTo>
                <a:lnTo>
                  <a:pt x="332" y="44"/>
                </a:lnTo>
                <a:lnTo>
                  <a:pt x="354" y="65"/>
                </a:lnTo>
                <a:lnTo>
                  <a:pt x="373" y="88"/>
                </a:lnTo>
                <a:lnTo>
                  <a:pt x="388" y="115"/>
                </a:lnTo>
                <a:lnTo>
                  <a:pt x="399" y="143"/>
                </a:lnTo>
                <a:lnTo>
                  <a:pt x="407" y="173"/>
                </a:lnTo>
                <a:lnTo>
                  <a:pt x="409" y="203"/>
                </a:lnTo>
                <a:lnTo>
                  <a:pt x="407" y="234"/>
                </a:lnTo>
                <a:lnTo>
                  <a:pt x="399" y="264"/>
                </a:lnTo>
                <a:lnTo>
                  <a:pt x="388" y="292"/>
                </a:lnTo>
                <a:lnTo>
                  <a:pt x="373" y="318"/>
                </a:lnTo>
                <a:lnTo>
                  <a:pt x="354" y="342"/>
                </a:lnTo>
                <a:lnTo>
                  <a:pt x="332" y="363"/>
                </a:lnTo>
                <a:lnTo>
                  <a:pt x="307" y="380"/>
                </a:lnTo>
                <a:lnTo>
                  <a:pt x="278" y="394"/>
                </a:lnTo>
                <a:lnTo>
                  <a:pt x="250" y="402"/>
                </a:lnTo>
                <a:lnTo>
                  <a:pt x="219" y="406"/>
                </a:lnTo>
                <a:lnTo>
                  <a:pt x="190" y="406"/>
                </a:lnTo>
                <a:lnTo>
                  <a:pt x="159" y="402"/>
                </a:lnTo>
                <a:lnTo>
                  <a:pt x="131" y="394"/>
                </a:lnTo>
                <a:lnTo>
                  <a:pt x="102" y="380"/>
                </a:lnTo>
                <a:lnTo>
                  <a:pt x="77" y="363"/>
                </a:lnTo>
                <a:lnTo>
                  <a:pt x="55" y="342"/>
                </a:lnTo>
                <a:lnTo>
                  <a:pt x="36" y="318"/>
                </a:lnTo>
                <a:lnTo>
                  <a:pt x="20" y="292"/>
                </a:lnTo>
                <a:lnTo>
                  <a:pt x="9" y="264"/>
                </a:lnTo>
                <a:lnTo>
                  <a:pt x="2" y="234"/>
                </a:lnTo>
                <a:lnTo>
                  <a:pt x="0" y="203"/>
                </a:lnTo>
                <a:lnTo>
                  <a:pt x="2" y="173"/>
                </a:lnTo>
                <a:lnTo>
                  <a:pt x="9" y="143"/>
                </a:lnTo>
                <a:lnTo>
                  <a:pt x="20" y="115"/>
                </a:lnTo>
                <a:lnTo>
                  <a:pt x="36" y="88"/>
                </a:lnTo>
                <a:lnTo>
                  <a:pt x="55" y="65"/>
                </a:lnTo>
                <a:lnTo>
                  <a:pt x="77" y="44"/>
                </a:lnTo>
                <a:lnTo>
                  <a:pt x="102" y="26"/>
                </a:lnTo>
                <a:lnTo>
                  <a:pt x="131" y="14"/>
                </a:lnTo>
                <a:lnTo>
                  <a:pt x="159" y="4"/>
                </a:lnTo>
                <a:lnTo>
                  <a:pt x="190" y="0"/>
                </a:lnTo>
                <a:close/>
              </a:path>
            </a:pathLst>
          </a:custGeom>
          <a:solidFill>
            <a:schemeClr val="accent1"/>
          </a:solidFill>
          <a:ln w="0">
            <a:noFill/>
            <a:prstDash val="solid"/>
            <a:round/>
          </a:ln>
          <a:extLst>
            <a:ext uri="{91240B29-F687-4F45-9708-019B960494DF}">
              <a14:hiddenLine xmlns:a14="http://schemas.microsoft.com/office/drawing/2010/main" w="0">
                <a:solidFill>
                  <a:srgbClr val="333333"/>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3" name="Freeform 113"/>
          <p:cNvSpPr/>
          <p:nvPr/>
        </p:nvSpPr>
        <p:spPr bwMode="auto">
          <a:xfrm>
            <a:off x="7771572" y="2046588"/>
            <a:ext cx="66120" cy="66120"/>
          </a:xfrm>
          <a:custGeom>
            <a:avLst/>
            <a:gdLst>
              <a:gd name="T0" fmla="*/ 190 w 409"/>
              <a:gd name="T1" fmla="*/ 0 h 407"/>
              <a:gd name="T2" fmla="*/ 219 w 409"/>
              <a:gd name="T3" fmla="*/ 0 h 407"/>
              <a:gd name="T4" fmla="*/ 250 w 409"/>
              <a:gd name="T5" fmla="*/ 5 h 407"/>
              <a:gd name="T6" fmla="*/ 278 w 409"/>
              <a:gd name="T7" fmla="*/ 13 h 407"/>
              <a:gd name="T8" fmla="*/ 307 w 409"/>
              <a:gd name="T9" fmla="*/ 27 h 407"/>
              <a:gd name="T10" fmla="*/ 332 w 409"/>
              <a:gd name="T11" fmla="*/ 45 h 407"/>
              <a:gd name="T12" fmla="*/ 354 w 409"/>
              <a:gd name="T13" fmla="*/ 65 h 407"/>
              <a:gd name="T14" fmla="*/ 373 w 409"/>
              <a:gd name="T15" fmla="*/ 89 h 407"/>
              <a:gd name="T16" fmla="*/ 388 w 409"/>
              <a:gd name="T17" fmla="*/ 115 h 407"/>
              <a:gd name="T18" fmla="*/ 399 w 409"/>
              <a:gd name="T19" fmla="*/ 143 h 407"/>
              <a:gd name="T20" fmla="*/ 407 w 409"/>
              <a:gd name="T21" fmla="*/ 173 h 407"/>
              <a:gd name="T22" fmla="*/ 409 w 409"/>
              <a:gd name="T23" fmla="*/ 204 h 407"/>
              <a:gd name="T24" fmla="*/ 407 w 409"/>
              <a:gd name="T25" fmla="*/ 234 h 407"/>
              <a:gd name="T26" fmla="*/ 399 w 409"/>
              <a:gd name="T27" fmla="*/ 264 h 407"/>
              <a:gd name="T28" fmla="*/ 388 w 409"/>
              <a:gd name="T29" fmla="*/ 292 h 407"/>
              <a:gd name="T30" fmla="*/ 373 w 409"/>
              <a:gd name="T31" fmla="*/ 318 h 407"/>
              <a:gd name="T32" fmla="*/ 354 w 409"/>
              <a:gd name="T33" fmla="*/ 342 h 407"/>
              <a:gd name="T34" fmla="*/ 332 w 409"/>
              <a:gd name="T35" fmla="*/ 363 h 407"/>
              <a:gd name="T36" fmla="*/ 307 w 409"/>
              <a:gd name="T37" fmla="*/ 380 h 407"/>
              <a:gd name="T38" fmla="*/ 278 w 409"/>
              <a:gd name="T39" fmla="*/ 393 h 407"/>
              <a:gd name="T40" fmla="*/ 250 w 409"/>
              <a:gd name="T41" fmla="*/ 403 h 407"/>
              <a:gd name="T42" fmla="*/ 219 w 409"/>
              <a:gd name="T43" fmla="*/ 407 h 407"/>
              <a:gd name="T44" fmla="*/ 190 w 409"/>
              <a:gd name="T45" fmla="*/ 407 h 407"/>
              <a:gd name="T46" fmla="*/ 159 w 409"/>
              <a:gd name="T47" fmla="*/ 403 h 407"/>
              <a:gd name="T48" fmla="*/ 131 w 409"/>
              <a:gd name="T49" fmla="*/ 393 h 407"/>
              <a:gd name="T50" fmla="*/ 102 w 409"/>
              <a:gd name="T51" fmla="*/ 380 h 407"/>
              <a:gd name="T52" fmla="*/ 77 w 409"/>
              <a:gd name="T53" fmla="*/ 363 h 407"/>
              <a:gd name="T54" fmla="*/ 55 w 409"/>
              <a:gd name="T55" fmla="*/ 342 h 407"/>
              <a:gd name="T56" fmla="*/ 36 w 409"/>
              <a:gd name="T57" fmla="*/ 318 h 407"/>
              <a:gd name="T58" fmla="*/ 20 w 409"/>
              <a:gd name="T59" fmla="*/ 292 h 407"/>
              <a:gd name="T60" fmla="*/ 9 w 409"/>
              <a:gd name="T61" fmla="*/ 264 h 407"/>
              <a:gd name="T62" fmla="*/ 2 w 409"/>
              <a:gd name="T63" fmla="*/ 234 h 407"/>
              <a:gd name="T64" fmla="*/ 0 w 409"/>
              <a:gd name="T65" fmla="*/ 204 h 407"/>
              <a:gd name="T66" fmla="*/ 2 w 409"/>
              <a:gd name="T67" fmla="*/ 173 h 407"/>
              <a:gd name="T68" fmla="*/ 9 w 409"/>
              <a:gd name="T69" fmla="*/ 143 h 407"/>
              <a:gd name="T70" fmla="*/ 20 w 409"/>
              <a:gd name="T71" fmla="*/ 115 h 407"/>
              <a:gd name="T72" fmla="*/ 36 w 409"/>
              <a:gd name="T73" fmla="*/ 89 h 407"/>
              <a:gd name="T74" fmla="*/ 55 w 409"/>
              <a:gd name="T75" fmla="*/ 65 h 407"/>
              <a:gd name="T76" fmla="*/ 77 w 409"/>
              <a:gd name="T77" fmla="*/ 45 h 407"/>
              <a:gd name="T78" fmla="*/ 102 w 409"/>
              <a:gd name="T79" fmla="*/ 27 h 407"/>
              <a:gd name="T80" fmla="*/ 131 w 409"/>
              <a:gd name="T81" fmla="*/ 13 h 407"/>
              <a:gd name="T82" fmla="*/ 159 w 409"/>
              <a:gd name="T83" fmla="*/ 5 h 407"/>
              <a:gd name="T84" fmla="*/ 190 w 409"/>
              <a:gd name="T85"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9" h="407">
                <a:moveTo>
                  <a:pt x="190" y="0"/>
                </a:moveTo>
                <a:lnTo>
                  <a:pt x="219" y="0"/>
                </a:lnTo>
                <a:lnTo>
                  <a:pt x="250" y="5"/>
                </a:lnTo>
                <a:lnTo>
                  <a:pt x="278" y="13"/>
                </a:lnTo>
                <a:lnTo>
                  <a:pt x="307" y="27"/>
                </a:lnTo>
                <a:lnTo>
                  <a:pt x="332" y="45"/>
                </a:lnTo>
                <a:lnTo>
                  <a:pt x="354" y="65"/>
                </a:lnTo>
                <a:lnTo>
                  <a:pt x="373" y="89"/>
                </a:lnTo>
                <a:lnTo>
                  <a:pt x="388" y="115"/>
                </a:lnTo>
                <a:lnTo>
                  <a:pt x="399" y="143"/>
                </a:lnTo>
                <a:lnTo>
                  <a:pt x="407" y="173"/>
                </a:lnTo>
                <a:lnTo>
                  <a:pt x="409" y="204"/>
                </a:lnTo>
                <a:lnTo>
                  <a:pt x="407" y="234"/>
                </a:lnTo>
                <a:lnTo>
                  <a:pt x="399" y="264"/>
                </a:lnTo>
                <a:lnTo>
                  <a:pt x="388" y="292"/>
                </a:lnTo>
                <a:lnTo>
                  <a:pt x="373" y="318"/>
                </a:lnTo>
                <a:lnTo>
                  <a:pt x="354" y="342"/>
                </a:lnTo>
                <a:lnTo>
                  <a:pt x="332" y="363"/>
                </a:lnTo>
                <a:lnTo>
                  <a:pt x="307" y="380"/>
                </a:lnTo>
                <a:lnTo>
                  <a:pt x="278" y="393"/>
                </a:lnTo>
                <a:lnTo>
                  <a:pt x="250" y="403"/>
                </a:lnTo>
                <a:lnTo>
                  <a:pt x="219" y="407"/>
                </a:lnTo>
                <a:lnTo>
                  <a:pt x="190" y="407"/>
                </a:lnTo>
                <a:lnTo>
                  <a:pt x="159" y="403"/>
                </a:lnTo>
                <a:lnTo>
                  <a:pt x="131" y="393"/>
                </a:lnTo>
                <a:lnTo>
                  <a:pt x="102" y="380"/>
                </a:lnTo>
                <a:lnTo>
                  <a:pt x="77" y="363"/>
                </a:lnTo>
                <a:lnTo>
                  <a:pt x="55" y="342"/>
                </a:lnTo>
                <a:lnTo>
                  <a:pt x="36" y="318"/>
                </a:lnTo>
                <a:lnTo>
                  <a:pt x="20" y="292"/>
                </a:lnTo>
                <a:lnTo>
                  <a:pt x="9" y="264"/>
                </a:lnTo>
                <a:lnTo>
                  <a:pt x="2" y="234"/>
                </a:lnTo>
                <a:lnTo>
                  <a:pt x="0" y="204"/>
                </a:lnTo>
                <a:lnTo>
                  <a:pt x="2" y="173"/>
                </a:lnTo>
                <a:lnTo>
                  <a:pt x="9" y="143"/>
                </a:lnTo>
                <a:lnTo>
                  <a:pt x="20" y="115"/>
                </a:lnTo>
                <a:lnTo>
                  <a:pt x="36" y="89"/>
                </a:lnTo>
                <a:lnTo>
                  <a:pt x="55" y="65"/>
                </a:lnTo>
                <a:lnTo>
                  <a:pt x="77" y="45"/>
                </a:lnTo>
                <a:lnTo>
                  <a:pt x="102" y="27"/>
                </a:lnTo>
                <a:lnTo>
                  <a:pt x="131" y="13"/>
                </a:lnTo>
                <a:lnTo>
                  <a:pt x="159" y="5"/>
                </a:lnTo>
                <a:lnTo>
                  <a:pt x="190" y="0"/>
                </a:lnTo>
                <a:close/>
              </a:path>
            </a:pathLst>
          </a:custGeom>
          <a:solidFill>
            <a:schemeClr val="accent1"/>
          </a:solidFill>
          <a:ln w="0">
            <a:noFill/>
            <a:prstDash val="solid"/>
            <a:round/>
          </a:ln>
          <a:extLst>
            <a:ext uri="{91240B29-F687-4F45-9708-019B960494DF}">
              <a14:hiddenLine xmlns:a14="http://schemas.microsoft.com/office/drawing/2010/main" w="0">
                <a:solidFill>
                  <a:srgbClr val="333333"/>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4" name="Freeform 114"/>
          <p:cNvSpPr/>
          <p:nvPr/>
        </p:nvSpPr>
        <p:spPr bwMode="auto">
          <a:xfrm>
            <a:off x="7412220" y="2273698"/>
            <a:ext cx="66120" cy="66120"/>
          </a:xfrm>
          <a:custGeom>
            <a:avLst/>
            <a:gdLst>
              <a:gd name="T0" fmla="*/ 205 w 409"/>
              <a:gd name="T1" fmla="*/ 0 h 407"/>
              <a:gd name="T2" fmla="*/ 242 w 409"/>
              <a:gd name="T3" fmla="*/ 3 h 407"/>
              <a:gd name="T4" fmla="*/ 276 w 409"/>
              <a:gd name="T5" fmla="*/ 13 h 407"/>
              <a:gd name="T6" fmla="*/ 308 w 409"/>
              <a:gd name="T7" fmla="*/ 27 h 407"/>
              <a:gd name="T8" fmla="*/ 337 w 409"/>
              <a:gd name="T9" fmla="*/ 47 h 407"/>
              <a:gd name="T10" fmla="*/ 361 w 409"/>
              <a:gd name="T11" fmla="*/ 73 h 407"/>
              <a:gd name="T12" fmla="*/ 382 w 409"/>
              <a:gd name="T13" fmla="*/ 101 h 407"/>
              <a:gd name="T14" fmla="*/ 397 w 409"/>
              <a:gd name="T15" fmla="*/ 133 h 407"/>
              <a:gd name="T16" fmla="*/ 406 w 409"/>
              <a:gd name="T17" fmla="*/ 167 h 407"/>
              <a:gd name="T18" fmla="*/ 409 w 409"/>
              <a:gd name="T19" fmla="*/ 203 h 407"/>
              <a:gd name="T20" fmla="*/ 407 w 409"/>
              <a:gd name="T21" fmla="*/ 235 h 407"/>
              <a:gd name="T22" fmla="*/ 400 w 409"/>
              <a:gd name="T23" fmla="*/ 264 h 407"/>
              <a:gd name="T24" fmla="*/ 389 w 409"/>
              <a:gd name="T25" fmla="*/ 293 h 407"/>
              <a:gd name="T26" fmla="*/ 373 w 409"/>
              <a:gd name="T27" fmla="*/ 318 h 407"/>
              <a:gd name="T28" fmla="*/ 355 w 409"/>
              <a:gd name="T29" fmla="*/ 342 h 407"/>
              <a:gd name="T30" fmla="*/ 332 w 409"/>
              <a:gd name="T31" fmla="*/ 363 h 407"/>
              <a:gd name="T32" fmla="*/ 307 w 409"/>
              <a:gd name="T33" fmla="*/ 380 h 407"/>
              <a:gd name="T34" fmla="*/ 280 w 409"/>
              <a:gd name="T35" fmla="*/ 394 h 407"/>
              <a:gd name="T36" fmla="*/ 250 w 409"/>
              <a:gd name="T37" fmla="*/ 402 h 407"/>
              <a:gd name="T38" fmla="*/ 221 w 409"/>
              <a:gd name="T39" fmla="*/ 407 h 407"/>
              <a:gd name="T40" fmla="*/ 190 w 409"/>
              <a:gd name="T41" fmla="*/ 407 h 407"/>
              <a:gd name="T42" fmla="*/ 161 w 409"/>
              <a:gd name="T43" fmla="*/ 402 h 407"/>
              <a:gd name="T44" fmla="*/ 131 w 409"/>
              <a:gd name="T45" fmla="*/ 394 h 407"/>
              <a:gd name="T46" fmla="*/ 103 w 409"/>
              <a:gd name="T47" fmla="*/ 380 h 407"/>
              <a:gd name="T48" fmla="*/ 77 w 409"/>
              <a:gd name="T49" fmla="*/ 363 h 407"/>
              <a:gd name="T50" fmla="*/ 55 w 409"/>
              <a:gd name="T51" fmla="*/ 342 h 407"/>
              <a:gd name="T52" fmla="*/ 36 w 409"/>
              <a:gd name="T53" fmla="*/ 318 h 407"/>
              <a:gd name="T54" fmla="*/ 21 w 409"/>
              <a:gd name="T55" fmla="*/ 293 h 407"/>
              <a:gd name="T56" fmla="*/ 10 w 409"/>
              <a:gd name="T57" fmla="*/ 264 h 407"/>
              <a:gd name="T58" fmla="*/ 4 w 409"/>
              <a:gd name="T59" fmla="*/ 235 h 407"/>
              <a:gd name="T60" fmla="*/ 0 w 409"/>
              <a:gd name="T61" fmla="*/ 203 h 407"/>
              <a:gd name="T62" fmla="*/ 5 w 409"/>
              <a:gd name="T63" fmla="*/ 167 h 407"/>
              <a:gd name="T64" fmla="*/ 14 w 409"/>
              <a:gd name="T65" fmla="*/ 133 h 407"/>
              <a:gd name="T66" fmla="*/ 29 w 409"/>
              <a:gd name="T67" fmla="*/ 101 h 407"/>
              <a:gd name="T68" fmla="*/ 49 w 409"/>
              <a:gd name="T69" fmla="*/ 73 h 407"/>
              <a:gd name="T70" fmla="*/ 73 w 409"/>
              <a:gd name="T71" fmla="*/ 47 h 407"/>
              <a:gd name="T72" fmla="*/ 102 w 409"/>
              <a:gd name="T73" fmla="*/ 27 h 407"/>
              <a:gd name="T74" fmla="*/ 134 w 409"/>
              <a:gd name="T75" fmla="*/ 13 h 407"/>
              <a:gd name="T76" fmla="*/ 168 w 409"/>
              <a:gd name="T77" fmla="*/ 3 h 407"/>
              <a:gd name="T78" fmla="*/ 205 w 409"/>
              <a:gd name="T79"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9" h="407">
                <a:moveTo>
                  <a:pt x="205" y="0"/>
                </a:moveTo>
                <a:lnTo>
                  <a:pt x="242" y="3"/>
                </a:lnTo>
                <a:lnTo>
                  <a:pt x="276" y="13"/>
                </a:lnTo>
                <a:lnTo>
                  <a:pt x="308" y="27"/>
                </a:lnTo>
                <a:lnTo>
                  <a:pt x="337" y="47"/>
                </a:lnTo>
                <a:lnTo>
                  <a:pt x="361" y="73"/>
                </a:lnTo>
                <a:lnTo>
                  <a:pt x="382" y="101"/>
                </a:lnTo>
                <a:lnTo>
                  <a:pt x="397" y="133"/>
                </a:lnTo>
                <a:lnTo>
                  <a:pt x="406" y="167"/>
                </a:lnTo>
                <a:lnTo>
                  <a:pt x="409" y="203"/>
                </a:lnTo>
                <a:lnTo>
                  <a:pt x="407" y="235"/>
                </a:lnTo>
                <a:lnTo>
                  <a:pt x="400" y="264"/>
                </a:lnTo>
                <a:lnTo>
                  <a:pt x="389" y="293"/>
                </a:lnTo>
                <a:lnTo>
                  <a:pt x="373" y="318"/>
                </a:lnTo>
                <a:lnTo>
                  <a:pt x="355" y="342"/>
                </a:lnTo>
                <a:lnTo>
                  <a:pt x="332" y="363"/>
                </a:lnTo>
                <a:lnTo>
                  <a:pt x="307" y="380"/>
                </a:lnTo>
                <a:lnTo>
                  <a:pt x="280" y="394"/>
                </a:lnTo>
                <a:lnTo>
                  <a:pt x="250" y="402"/>
                </a:lnTo>
                <a:lnTo>
                  <a:pt x="221" y="407"/>
                </a:lnTo>
                <a:lnTo>
                  <a:pt x="190" y="407"/>
                </a:lnTo>
                <a:lnTo>
                  <a:pt x="161" y="402"/>
                </a:lnTo>
                <a:lnTo>
                  <a:pt x="131" y="394"/>
                </a:lnTo>
                <a:lnTo>
                  <a:pt x="103" y="380"/>
                </a:lnTo>
                <a:lnTo>
                  <a:pt x="77" y="363"/>
                </a:lnTo>
                <a:lnTo>
                  <a:pt x="55" y="342"/>
                </a:lnTo>
                <a:lnTo>
                  <a:pt x="36" y="318"/>
                </a:lnTo>
                <a:lnTo>
                  <a:pt x="21" y="293"/>
                </a:lnTo>
                <a:lnTo>
                  <a:pt x="10" y="264"/>
                </a:lnTo>
                <a:lnTo>
                  <a:pt x="4" y="235"/>
                </a:lnTo>
                <a:lnTo>
                  <a:pt x="0" y="203"/>
                </a:lnTo>
                <a:lnTo>
                  <a:pt x="5" y="167"/>
                </a:lnTo>
                <a:lnTo>
                  <a:pt x="14" y="133"/>
                </a:lnTo>
                <a:lnTo>
                  <a:pt x="29" y="101"/>
                </a:lnTo>
                <a:lnTo>
                  <a:pt x="49" y="73"/>
                </a:lnTo>
                <a:lnTo>
                  <a:pt x="73" y="47"/>
                </a:lnTo>
                <a:lnTo>
                  <a:pt x="102" y="27"/>
                </a:lnTo>
                <a:lnTo>
                  <a:pt x="134" y="13"/>
                </a:lnTo>
                <a:lnTo>
                  <a:pt x="168" y="3"/>
                </a:lnTo>
                <a:lnTo>
                  <a:pt x="205" y="0"/>
                </a:lnTo>
                <a:close/>
              </a:path>
            </a:pathLst>
          </a:custGeom>
          <a:solidFill>
            <a:schemeClr val="accent1"/>
          </a:solidFill>
          <a:ln w="0">
            <a:noFill/>
            <a:prstDash val="solid"/>
            <a:round/>
          </a:ln>
          <a:extLst>
            <a:ext uri="{91240B29-F687-4F45-9708-019B960494DF}">
              <a14:hiddenLine xmlns:a14="http://schemas.microsoft.com/office/drawing/2010/main" w="0">
                <a:solidFill>
                  <a:srgbClr val="333333"/>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5" name="Freeform 115"/>
          <p:cNvSpPr/>
          <p:nvPr/>
        </p:nvSpPr>
        <p:spPr bwMode="auto">
          <a:xfrm>
            <a:off x="7446718" y="2144332"/>
            <a:ext cx="97744" cy="97744"/>
          </a:xfrm>
          <a:custGeom>
            <a:avLst/>
            <a:gdLst>
              <a:gd name="T0" fmla="*/ 306 w 613"/>
              <a:gd name="T1" fmla="*/ 0 h 613"/>
              <a:gd name="T2" fmla="*/ 352 w 613"/>
              <a:gd name="T3" fmla="*/ 4 h 613"/>
              <a:gd name="T4" fmla="*/ 395 w 613"/>
              <a:gd name="T5" fmla="*/ 14 h 613"/>
              <a:gd name="T6" fmla="*/ 435 w 613"/>
              <a:gd name="T7" fmla="*/ 28 h 613"/>
              <a:gd name="T8" fmla="*/ 473 w 613"/>
              <a:gd name="T9" fmla="*/ 49 h 613"/>
              <a:gd name="T10" fmla="*/ 508 w 613"/>
              <a:gd name="T11" fmla="*/ 76 h 613"/>
              <a:gd name="T12" fmla="*/ 537 w 613"/>
              <a:gd name="T13" fmla="*/ 105 h 613"/>
              <a:gd name="T14" fmla="*/ 564 w 613"/>
              <a:gd name="T15" fmla="*/ 140 h 613"/>
              <a:gd name="T16" fmla="*/ 585 w 613"/>
              <a:gd name="T17" fmla="*/ 178 h 613"/>
              <a:gd name="T18" fmla="*/ 599 w 613"/>
              <a:gd name="T19" fmla="*/ 218 h 613"/>
              <a:gd name="T20" fmla="*/ 609 w 613"/>
              <a:gd name="T21" fmla="*/ 261 h 613"/>
              <a:gd name="T22" fmla="*/ 613 w 613"/>
              <a:gd name="T23" fmla="*/ 306 h 613"/>
              <a:gd name="T24" fmla="*/ 609 w 613"/>
              <a:gd name="T25" fmla="*/ 352 h 613"/>
              <a:gd name="T26" fmla="*/ 599 w 613"/>
              <a:gd name="T27" fmla="*/ 395 h 613"/>
              <a:gd name="T28" fmla="*/ 585 w 613"/>
              <a:gd name="T29" fmla="*/ 436 h 613"/>
              <a:gd name="T30" fmla="*/ 564 w 613"/>
              <a:gd name="T31" fmla="*/ 473 h 613"/>
              <a:gd name="T32" fmla="*/ 537 w 613"/>
              <a:gd name="T33" fmla="*/ 507 h 613"/>
              <a:gd name="T34" fmla="*/ 508 w 613"/>
              <a:gd name="T35" fmla="*/ 537 h 613"/>
              <a:gd name="T36" fmla="*/ 473 w 613"/>
              <a:gd name="T37" fmla="*/ 563 h 613"/>
              <a:gd name="T38" fmla="*/ 435 w 613"/>
              <a:gd name="T39" fmla="*/ 584 h 613"/>
              <a:gd name="T40" fmla="*/ 395 w 613"/>
              <a:gd name="T41" fmla="*/ 599 h 613"/>
              <a:gd name="T42" fmla="*/ 352 w 613"/>
              <a:gd name="T43" fmla="*/ 610 h 613"/>
              <a:gd name="T44" fmla="*/ 306 w 613"/>
              <a:gd name="T45" fmla="*/ 613 h 613"/>
              <a:gd name="T46" fmla="*/ 261 w 613"/>
              <a:gd name="T47" fmla="*/ 610 h 613"/>
              <a:gd name="T48" fmla="*/ 218 w 613"/>
              <a:gd name="T49" fmla="*/ 599 h 613"/>
              <a:gd name="T50" fmla="*/ 177 w 613"/>
              <a:gd name="T51" fmla="*/ 584 h 613"/>
              <a:gd name="T52" fmla="*/ 140 w 613"/>
              <a:gd name="T53" fmla="*/ 563 h 613"/>
              <a:gd name="T54" fmla="*/ 105 w 613"/>
              <a:gd name="T55" fmla="*/ 537 h 613"/>
              <a:gd name="T56" fmla="*/ 76 w 613"/>
              <a:gd name="T57" fmla="*/ 507 h 613"/>
              <a:gd name="T58" fmla="*/ 49 w 613"/>
              <a:gd name="T59" fmla="*/ 473 h 613"/>
              <a:gd name="T60" fmla="*/ 28 w 613"/>
              <a:gd name="T61" fmla="*/ 436 h 613"/>
              <a:gd name="T62" fmla="*/ 14 w 613"/>
              <a:gd name="T63" fmla="*/ 395 h 613"/>
              <a:gd name="T64" fmla="*/ 3 w 613"/>
              <a:gd name="T65" fmla="*/ 352 h 613"/>
              <a:gd name="T66" fmla="*/ 0 w 613"/>
              <a:gd name="T67" fmla="*/ 306 h 613"/>
              <a:gd name="T68" fmla="*/ 3 w 613"/>
              <a:gd name="T69" fmla="*/ 261 h 613"/>
              <a:gd name="T70" fmla="*/ 14 w 613"/>
              <a:gd name="T71" fmla="*/ 218 h 613"/>
              <a:gd name="T72" fmla="*/ 28 w 613"/>
              <a:gd name="T73" fmla="*/ 178 h 613"/>
              <a:gd name="T74" fmla="*/ 49 w 613"/>
              <a:gd name="T75" fmla="*/ 140 h 613"/>
              <a:gd name="T76" fmla="*/ 76 w 613"/>
              <a:gd name="T77" fmla="*/ 105 h 613"/>
              <a:gd name="T78" fmla="*/ 105 w 613"/>
              <a:gd name="T79" fmla="*/ 76 h 613"/>
              <a:gd name="T80" fmla="*/ 140 w 613"/>
              <a:gd name="T81" fmla="*/ 49 h 613"/>
              <a:gd name="T82" fmla="*/ 177 w 613"/>
              <a:gd name="T83" fmla="*/ 28 h 613"/>
              <a:gd name="T84" fmla="*/ 218 w 613"/>
              <a:gd name="T85" fmla="*/ 14 h 613"/>
              <a:gd name="T86" fmla="*/ 261 w 613"/>
              <a:gd name="T87" fmla="*/ 4 h 613"/>
              <a:gd name="T88" fmla="*/ 306 w 613"/>
              <a:gd name="T89" fmla="*/ 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3" h="613">
                <a:moveTo>
                  <a:pt x="306" y="0"/>
                </a:moveTo>
                <a:lnTo>
                  <a:pt x="352" y="4"/>
                </a:lnTo>
                <a:lnTo>
                  <a:pt x="395" y="14"/>
                </a:lnTo>
                <a:lnTo>
                  <a:pt x="435" y="28"/>
                </a:lnTo>
                <a:lnTo>
                  <a:pt x="473" y="49"/>
                </a:lnTo>
                <a:lnTo>
                  <a:pt x="508" y="76"/>
                </a:lnTo>
                <a:lnTo>
                  <a:pt x="537" y="105"/>
                </a:lnTo>
                <a:lnTo>
                  <a:pt x="564" y="140"/>
                </a:lnTo>
                <a:lnTo>
                  <a:pt x="585" y="178"/>
                </a:lnTo>
                <a:lnTo>
                  <a:pt x="599" y="218"/>
                </a:lnTo>
                <a:lnTo>
                  <a:pt x="609" y="261"/>
                </a:lnTo>
                <a:lnTo>
                  <a:pt x="613" y="306"/>
                </a:lnTo>
                <a:lnTo>
                  <a:pt x="609" y="352"/>
                </a:lnTo>
                <a:lnTo>
                  <a:pt x="599" y="395"/>
                </a:lnTo>
                <a:lnTo>
                  <a:pt x="585" y="436"/>
                </a:lnTo>
                <a:lnTo>
                  <a:pt x="564" y="473"/>
                </a:lnTo>
                <a:lnTo>
                  <a:pt x="537" y="507"/>
                </a:lnTo>
                <a:lnTo>
                  <a:pt x="508" y="537"/>
                </a:lnTo>
                <a:lnTo>
                  <a:pt x="473" y="563"/>
                </a:lnTo>
                <a:lnTo>
                  <a:pt x="435" y="584"/>
                </a:lnTo>
                <a:lnTo>
                  <a:pt x="395" y="599"/>
                </a:lnTo>
                <a:lnTo>
                  <a:pt x="352" y="610"/>
                </a:lnTo>
                <a:lnTo>
                  <a:pt x="306" y="613"/>
                </a:lnTo>
                <a:lnTo>
                  <a:pt x="261" y="610"/>
                </a:lnTo>
                <a:lnTo>
                  <a:pt x="218" y="599"/>
                </a:lnTo>
                <a:lnTo>
                  <a:pt x="177" y="584"/>
                </a:lnTo>
                <a:lnTo>
                  <a:pt x="140" y="563"/>
                </a:lnTo>
                <a:lnTo>
                  <a:pt x="105" y="537"/>
                </a:lnTo>
                <a:lnTo>
                  <a:pt x="76" y="507"/>
                </a:lnTo>
                <a:lnTo>
                  <a:pt x="49" y="473"/>
                </a:lnTo>
                <a:lnTo>
                  <a:pt x="28" y="436"/>
                </a:lnTo>
                <a:lnTo>
                  <a:pt x="14" y="395"/>
                </a:lnTo>
                <a:lnTo>
                  <a:pt x="3" y="352"/>
                </a:lnTo>
                <a:lnTo>
                  <a:pt x="0" y="306"/>
                </a:lnTo>
                <a:lnTo>
                  <a:pt x="3" y="261"/>
                </a:lnTo>
                <a:lnTo>
                  <a:pt x="14" y="218"/>
                </a:lnTo>
                <a:lnTo>
                  <a:pt x="28" y="178"/>
                </a:lnTo>
                <a:lnTo>
                  <a:pt x="49" y="140"/>
                </a:lnTo>
                <a:lnTo>
                  <a:pt x="76" y="105"/>
                </a:lnTo>
                <a:lnTo>
                  <a:pt x="105" y="76"/>
                </a:lnTo>
                <a:lnTo>
                  <a:pt x="140" y="49"/>
                </a:lnTo>
                <a:lnTo>
                  <a:pt x="177" y="28"/>
                </a:lnTo>
                <a:lnTo>
                  <a:pt x="218" y="14"/>
                </a:lnTo>
                <a:lnTo>
                  <a:pt x="261" y="4"/>
                </a:lnTo>
                <a:lnTo>
                  <a:pt x="306" y="0"/>
                </a:lnTo>
                <a:close/>
              </a:path>
            </a:pathLst>
          </a:custGeom>
          <a:solidFill>
            <a:schemeClr val="accent1"/>
          </a:solidFill>
          <a:ln w="0">
            <a:noFill/>
            <a:prstDash val="solid"/>
            <a:round/>
          </a:ln>
          <a:extLst>
            <a:ext uri="{91240B29-F687-4F45-9708-019B960494DF}">
              <a14:hiddenLine xmlns:a14="http://schemas.microsoft.com/office/drawing/2010/main" w="0">
                <a:solidFill>
                  <a:srgbClr val="333333"/>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6" name="Freeform 116"/>
          <p:cNvSpPr/>
          <p:nvPr/>
        </p:nvSpPr>
        <p:spPr bwMode="auto">
          <a:xfrm>
            <a:off x="7576085" y="1851101"/>
            <a:ext cx="163863" cy="554838"/>
          </a:xfrm>
          <a:custGeom>
            <a:avLst/>
            <a:gdLst>
              <a:gd name="T0" fmla="*/ 0 w 1022"/>
              <a:gd name="T1" fmla="*/ 0 h 3469"/>
              <a:gd name="T2" fmla="*/ 1022 w 1022"/>
              <a:gd name="T3" fmla="*/ 613 h 3469"/>
              <a:gd name="T4" fmla="*/ 1022 w 1022"/>
              <a:gd name="T5" fmla="*/ 1020 h 3469"/>
              <a:gd name="T6" fmla="*/ 818 w 1022"/>
              <a:gd name="T7" fmla="*/ 1020 h 3469"/>
              <a:gd name="T8" fmla="*/ 818 w 1022"/>
              <a:gd name="T9" fmla="*/ 735 h 3469"/>
              <a:gd name="T10" fmla="*/ 205 w 1022"/>
              <a:gd name="T11" fmla="*/ 367 h 3469"/>
              <a:gd name="T12" fmla="*/ 205 w 1022"/>
              <a:gd name="T13" fmla="*/ 3101 h 3469"/>
              <a:gd name="T14" fmla="*/ 818 w 1022"/>
              <a:gd name="T15" fmla="*/ 2734 h 3469"/>
              <a:gd name="T16" fmla="*/ 818 w 1022"/>
              <a:gd name="T17" fmla="*/ 2449 h 3469"/>
              <a:gd name="T18" fmla="*/ 1022 w 1022"/>
              <a:gd name="T19" fmla="*/ 2449 h 3469"/>
              <a:gd name="T20" fmla="*/ 1022 w 1022"/>
              <a:gd name="T21" fmla="*/ 2856 h 3469"/>
              <a:gd name="T22" fmla="*/ 0 w 1022"/>
              <a:gd name="T23" fmla="*/ 3469 h 3469"/>
              <a:gd name="T24" fmla="*/ 0 w 1022"/>
              <a:gd name="T25" fmla="*/ 0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2" h="3469">
                <a:moveTo>
                  <a:pt x="0" y="0"/>
                </a:moveTo>
                <a:lnTo>
                  <a:pt x="1022" y="613"/>
                </a:lnTo>
                <a:lnTo>
                  <a:pt x="1022" y="1020"/>
                </a:lnTo>
                <a:lnTo>
                  <a:pt x="818" y="1020"/>
                </a:lnTo>
                <a:lnTo>
                  <a:pt x="818" y="735"/>
                </a:lnTo>
                <a:lnTo>
                  <a:pt x="205" y="367"/>
                </a:lnTo>
                <a:lnTo>
                  <a:pt x="205" y="3101"/>
                </a:lnTo>
                <a:lnTo>
                  <a:pt x="818" y="2734"/>
                </a:lnTo>
                <a:lnTo>
                  <a:pt x="818" y="2449"/>
                </a:lnTo>
                <a:lnTo>
                  <a:pt x="1022" y="2449"/>
                </a:lnTo>
                <a:lnTo>
                  <a:pt x="1022" y="2856"/>
                </a:lnTo>
                <a:lnTo>
                  <a:pt x="0" y="3469"/>
                </a:lnTo>
                <a:lnTo>
                  <a:pt x="0" y="0"/>
                </a:lnTo>
                <a:close/>
              </a:path>
            </a:pathLst>
          </a:custGeom>
          <a:solidFill>
            <a:schemeClr val="accent1"/>
          </a:solidFill>
          <a:ln w="0">
            <a:noFill/>
            <a:prstDash val="solid"/>
            <a:round/>
          </a:ln>
          <a:extLst>
            <a:ext uri="{91240B29-F687-4F45-9708-019B960494DF}">
              <a14:hiddenLine xmlns:a14="http://schemas.microsoft.com/office/drawing/2010/main" w="0">
                <a:solidFill>
                  <a:srgbClr val="333333"/>
                </a:solidFill>
                <a:prstDash val="solid"/>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8" name="Freeform 12"/>
          <p:cNvSpPr>
            <a:spLocks noEditPoints="1"/>
          </p:cNvSpPr>
          <p:nvPr/>
        </p:nvSpPr>
        <p:spPr bwMode="auto">
          <a:xfrm>
            <a:off x="2241479" y="5024700"/>
            <a:ext cx="428121" cy="111546"/>
          </a:xfrm>
          <a:custGeom>
            <a:avLst/>
            <a:gdLst>
              <a:gd name="T0" fmla="*/ 115 w 948"/>
              <a:gd name="T1" fmla="*/ 0 h 247"/>
              <a:gd name="T2" fmla="*/ 91 w 948"/>
              <a:gd name="T3" fmla="*/ 2 h 247"/>
              <a:gd name="T4" fmla="*/ 51 w 948"/>
              <a:gd name="T5" fmla="*/ 17 h 247"/>
              <a:gd name="T6" fmla="*/ 19 w 948"/>
              <a:gd name="T7" fmla="*/ 45 h 247"/>
              <a:gd name="T8" fmla="*/ 2 w 948"/>
              <a:gd name="T9" fmla="*/ 83 h 247"/>
              <a:gd name="T10" fmla="*/ 0 w 948"/>
              <a:gd name="T11" fmla="*/ 143 h 247"/>
              <a:gd name="T12" fmla="*/ 2 w 948"/>
              <a:gd name="T13" fmla="*/ 164 h 247"/>
              <a:gd name="T14" fmla="*/ 19 w 948"/>
              <a:gd name="T15" fmla="*/ 200 h 247"/>
              <a:gd name="T16" fmla="*/ 51 w 948"/>
              <a:gd name="T17" fmla="*/ 228 h 247"/>
              <a:gd name="T18" fmla="*/ 91 w 948"/>
              <a:gd name="T19" fmla="*/ 245 h 247"/>
              <a:gd name="T20" fmla="*/ 833 w 948"/>
              <a:gd name="T21" fmla="*/ 247 h 247"/>
              <a:gd name="T22" fmla="*/ 857 w 948"/>
              <a:gd name="T23" fmla="*/ 245 h 247"/>
              <a:gd name="T24" fmla="*/ 897 w 948"/>
              <a:gd name="T25" fmla="*/ 228 h 247"/>
              <a:gd name="T26" fmla="*/ 929 w 948"/>
              <a:gd name="T27" fmla="*/ 200 h 247"/>
              <a:gd name="T28" fmla="*/ 946 w 948"/>
              <a:gd name="T29" fmla="*/ 164 h 247"/>
              <a:gd name="T30" fmla="*/ 948 w 948"/>
              <a:gd name="T31" fmla="*/ 102 h 247"/>
              <a:gd name="T32" fmla="*/ 946 w 948"/>
              <a:gd name="T33" fmla="*/ 83 h 247"/>
              <a:gd name="T34" fmla="*/ 929 w 948"/>
              <a:gd name="T35" fmla="*/ 45 h 247"/>
              <a:gd name="T36" fmla="*/ 897 w 948"/>
              <a:gd name="T37" fmla="*/ 17 h 247"/>
              <a:gd name="T38" fmla="*/ 857 w 948"/>
              <a:gd name="T39" fmla="*/ 2 h 247"/>
              <a:gd name="T40" fmla="*/ 833 w 948"/>
              <a:gd name="T41" fmla="*/ 0 h 247"/>
              <a:gd name="T42" fmla="*/ 145 w 948"/>
              <a:gd name="T43" fmla="*/ 164 h 247"/>
              <a:gd name="T44" fmla="*/ 130 w 948"/>
              <a:gd name="T45" fmla="*/ 160 h 247"/>
              <a:gd name="T46" fmla="*/ 117 w 948"/>
              <a:gd name="T47" fmla="*/ 151 h 247"/>
              <a:gd name="T48" fmla="*/ 106 w 948"/>
              <a:gd name="T49" fmla="*/ 139 h 247"/>
              <a:gd name="T50" fmla="*/ 104 w 948"/>
              <a:gd name="T51" fmla="*/ 124 h 247"/>
              <a:gd name="T52" fmla="*/ 104 w 948"/>
              <a:gd name="T53" fmla="*/ 115 h 247"/>
              <a:gd name="T54" fmla="*/ 110 w 948"/>
              <a:gd name="T55" fmla="*/ 100 h 247"/>
              <a:gd name="T56" fmla="*/ 121 w 948"/>
              <a:gd name="T57" fmla="*/ 90 h 247"/>
              <a:gd name="T58" fmla="*/ 136 w 948"/>
              <a:gd name="T59" fmla="*/ 83 h 247"/>
              <a:gd name="T60" fmla="*/ 145 w 948"/>
              <a:gd name="T61" fmla="*/ 83 h 247"/>
              <a:gd name="T62" fmla="*/ 160 w 948"/>
              <a:gd name="T63" fmla="*/ 85 h 247"/>
              <a:gd name="T64" fmla="*/ 172 w 948"/>
              <a:gd name="T65" fmla="*/ 94 h 247"/>
              <a:gd name="T66" fmla="*/ 181 w 948"/>
              <a:gd name="T67" fmla="*/ 107 h 247"/>
              <a:gd name="T68" fmla="*/ 185 w 948"/>
              <a:gd name="T69" fmla="*/ 124 h 247"/>
              <a:gd name="T70" fmla="*/ 183 w 948"/>
              <a:gd name="T71" fmla="*/ 130 h 247"/>
              <a:gd name="T72" fmla="*/ 179 w 948"/>
              <a:gd name="T73" fmla="*/ 145 h 247"/>
              <a:gd name="T74" fmla="*/ 166 w 948"/>
              <a:gd name="T75" fmla="*/ 156 h 247"/>
              <a:gd name="T76" fmla="*/ 153 w 948"/>
              <a:gd name="T77" fmla="*/ 162 h 247"/>
              <a:gd name="T78" fmla="*/ 145 w 948"/>
              <a:gd name="T79" fmla="*/ 16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8" h="247">
                <a:moveTo>
                  <a:pt x="833" y="0"/>
                </a:moveTo>
                <a:lnTo>
                  <a:pt x="115" y="0"/>
                </a:lnTo>
                <a:lnTo>
                  <a:pt x="115" y="0"/>
                </a:lnTo>
                <a:lnTo>
                  <a:pt x="91" y="2"/>
                </a:lnTo>
                <a:lnTo>
                  <a:pt x="70" y="9"/>
                </a:lnTo>
                <a:lnTo>
                  <a:pt x="51" y="17"/>
                </a:lnTo>
                <a:lnTo>
                  <a:pt x="34" y="30"/>
                </a:lnTo>
                <a:lnTo>
                  <a:pt x="19" y="45"/>
                </a:lnTo>
                <a:lnTo>
                  <a:pt x="8" y="62"/>
                </a:lnTo>
                <a:lnTo>
                  <a:pt x="2" y="83"/>
                </a:lnTo>
                <a:lnTo>
                  <a:pt x="0" y="102"/>
                </a:lnTo>
                <a:lnTo>
                  <a:pt x="0" y="143"/>
                </a:lnTo>
                <a:lnTo>
                  <a:pt x="0" y="143"/>
                </a:lnTo>
                <a:lnTo>
                  <a:pt x="2" y="164"/>
                </a:lnTo>
                <a:lnTo>
                  <a:pt x="8" y="183"/>
                </a:lnTo>
                <a:lnTo>
                  <a:pt x="19" y="200"/>
                </a:lnTo>
                <a:lnTo>
                  <a:pt x="34" y="215"/>
                </a:lnTo>
                <a:lnTo>
                  <a:pt x="51" y="228"/>
                </a:lnTo>
                <a:lnTo>
                  <a:pt x="70" y="239"/>
                </a:lnTo>
                <a:lnTo>
                  <a:pt x="91" y="245"/>
                </a:lnTo>
                <a:lnTo>
                  <a:pt x="115" y="247"/>
                </a:lnTo>
                <a:lnTo>
                  <a:pt x="833" y="247"/>
                </a:lnTo>
                <a:lnTo>
                  <a:pt x="833" y="247"/>
                </a:lnTo>
                <a:lnTo>
                  <a:pt x="857" y="245"/>
                </a:lnTo>
                <a:lnTo>
                  <a:pt x="878" y="239"/>
                </a:lnTo>
                <a:lnTo>
                  <a:pt x="897" y="228"/>
                </a:lnTo>
                <a:lnTo>
                  <a:pt x="914" y="215"/>
                </a:lnTo>
                <a:lnTo>
                  <a:pt x="929" y="200"/>
                </a:lnTo>
                <a:lnTo>
                  <a:pt x="940" y="183"/>
                </a:lnTo>
                <a:lnTo>
                  <a:pt x="946" y="164"/>
                </a:lnTo>
                <a:lnTo>
                  <a:pt x="948" y="143"/>
                </a:lnTo>
                <a:lnTo>
                  <a:pt x="948" y="102"/>
                </a:lnTo>
                <a:lnTo>
                  <a:pt x="948" y="102"/>
                </a:lnTo>
                <a:lnTo>
                  <a:pt x="946" y="83"/>
                </a:lnTo>
                <a:lnTo>
                  <a:pt x="940" y="62"/>
                </a:lnTo>
                <a:lnTo>
                  <a:pt x="929" y="45"/>
                </a:lnTo>
                <a:lnTo>
                  <a:pt x="914" y="30"/>
                </a:lnTo>
                <a:lnTo>
                  <a:pt x="897" y="17"/>
                </a:lnTo>
                <a:lnTo>
                  <a:pt x="878" y="9"/>
                </a:lnTo>
                <a:lnTo>
                  <a:pt x="857" y="2"/>
                </a:lnTo>
                <a:lnTo>
                  <a:pt x="833" y="0"/>
                </a:lnTo>
                <a:lnTo>
                  <a:pt x="833" y="0"/>
                </a:lnTo>
                <a:close/>
                <a:moveTo>
                  <a:pt x="145" y="164"/>
                </a:moveTo>
                <a:lnTo>
                  <a:pt x="145" y="164"/>
                </a:lnTo>
                <a:lnTo>
                  <a:pt x="136" y="162"/>
                </a:lnTo>
                <a:lnTo>
                  <a:pt x="130" y="160"/>
                </a:lnTo>
                <a:lnTo>
                  <a:pt x="121" y="156"/>
                </a:lnTo>
                <a:lnTo>
                  <a:pt x="117" y="151"/>
                </a:lnTo>
                <a:lnTo>
                  <a:pt x="110" y="145"/>
                </a:lnTo>
                <a:lnTo>
                  <a:pt x="106" y="139"/>
                </a:lnTo>
                <a:lnTo>
                  <a:pt x="104" y="130"/>
                </a:lnTo>
                <a:lnTo>
                  <a:pt x="104" y="124"/>
                </a:lnTo>
                <a:lnTo>
                  <a:pt x="104" y="124"/>
                </a:lnTo>
                <a:lnTo>
                  <a:pt x="104" y="115"/>
                </a:lnTo>
                <a:lnTo>
                  <a:pt x="106" y="107"/>
                </a:lnTo>
                <a:lnTo>
                  <a:pt x="110" y="100"/>
                </a:lnTo>
                <a:lnTo>
                  <a:pt x="117" y="94"/>
                </a:lnTo>
                <a:lnTo>
                  <a:pt x="121" y="90"/>
                </a:lnTo>
                <a:lnTo>
                  <a:pt x="130" y="85"/>
                </a:lnTo>
                <a:lnTo>
                  <a:pt x="136" y="83"/>
                </a:lnTo>
                <a:lnTo>
                  <a:pt x="145" y="83"/>
                </a:lnTo>
                <a:lnTo>
                  <a:pt x="145" y="83"/>
                </a:lnTo>
                <a:lnTo>
                  <a:pt x="153" y="83"/>
                </a:lnTo>
                <a:lnTo>
                  <a:pt x="160" y="85"/>
                </a:lnTo>
                <a:lnTo>
                  <a:pt x="166" y="90"/>
                </a:lnTo>
                <a:lnTo>
                  <a:pt x="172" y="94"/>
                </a:lnTo>
                <a:lnTo>
                  <a:pt x="179" y="100"/>
                </a:lnTo>
                <a:lnTo>
                  <a:pt x="181" y="107"/>
                </a:lnTo>
                <a:lnTo>
                  <a:pt x="183" y="115"/>
                </a:lnTo>
                <a:lnTo>
                  <a:pt x="185" y="124"/>
                </a:lnTo>
                <a:lnTo>
                  <a:pt x="185" y="124"/>
                </a:lnTo>
                <a:lnTo>
                  <a:pt x="183" y="130"/>
                </a:lnTo>
                <a:lnTo>
                  <a:pt x="181" y="139"/>
                </a:lnTo>
                <a:lnTo>
                  <a:pt x="179" y="145"/>
                </a:lnTo>
                <a:lnTo>
                  <a:pt x="172" y="151"/>
                </a:lnTo>
                <a:lnTo>
                  <a:pt x="166" y="156"/>
                </a:lnTo>
                <a:lnTo>
                  <a:pt x="160" y="160"/>
                </a:lnTo>
                <a:lnTo>
                  <a:pt x="153" y="162"/>
                </a:lnTo>
                <a:lnTo>
                  <a:pt x="145" y="164"/>
                </a:lnTo>
                <a:lnTo>
                  <a:pt x="145" y="164"/>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9" name="Freeform 13"/>
          <p:cNvSpPr>
            <a:spLocks noEditPoints="1"/>
          </p:cNvSpPr>
          <p:nvPr/>
        </p:nvSpPr>
        <p:spPr bwMode="auto">
          <a:xfrm>
            <a:off x="2241479" y="5288437"/>
            <a:ext cx="403283" cy="111546"/>
          </a:xfrm>
          <a:custGeom>
            <a:avLst/>
            <a:gdLst>
              <a:gd name="T0" fmla="*/ 842 w 893"/>
              <a:gd name="T1" fmla="*/ 173 h 247"/>
              <a:gd name="T2" fmla="*/ 780 w 893"/>
              <a:gd name="T3" fmla="*/ 181 h 247"/>
              <a:gd name="T4" fmla="*/ 759 w 893"/>
              <a:gd name="T5" fmla="*/ 179 h 247"/>
              <a:gd name="T6" fmla="*/ 733 w 893"/>
              <a:gd name="T7" fmla="*/ 175 h 247"/>
              <a:gd name="T8" fmla="*/ 684 w 893"/>
              <a:gd name="T9" fmla="*/ 162 h 247"/>
              <a:gd name="T10" fmla="*/ 639 w 893"/>
              <a:gd name="T11" fmla="*/ 139 h 247"/>
              <a:gd name="T12" fmla="*/ 601 w 893"/>
              <a:gd name="T13" fmla="*/ 107 h 247"/>
              <a:gd name="T14" fmla="*/ 582 w 893"/>
              <a:gd name="T15" fmla="*/ 88 h 247"/>
              <a:gd name="T16" fmla="*/ 554 w 893"/>
              <a:gd name="T17" fmla="*/ 47 h 247"/>
              <a:gd name="T18" fmla="*/ 535 w 893"/>
              <a:gd name="T19" fmla="*/ 0 h 247"/>
              <a:gd name="T20" fmla="*/ 115 w 893"/>
              <a:gd name="T21" fmla="*/ 0 h 247"/>
              <a:gd name="T22" fmla="*/ 70 w 893"/>
              <a:gd name="T23" fmla="*/ 9 h 247"/>
              <a:gd name="T24" fmla="*/ 34 w 893"/>
              <a:gd name="T25" fmla="*/ 32 h 247"/>
              <a:gd name="T26" fmla="*/ 8 w 893"/>
              <a:gd name="T27" fmla="*/ 64 h 247"/>
              <a:gd name="T28" fmla="*/ 0 w 893"/>
              <a:gd name="T29" fmla="*/ 105 h 247"/>
              <a:gd name="T30" fmla="*/ 0 w 893"/>
              <a:gd name="T31" fmla="*/ 143 h 247"/>
              <a:gd name="T32" fmla="*/ 8 w 893"/>
              <a:gd name="T33" fmla="*/ 183 h 247"/>
              <a:gd name="T34" fmla="*/ 34 w 893"/>
              <a:gd name="T35" fmla="*/ 218 h 247"/>
              <a:gd name="T36" fmla="*/ 70 w 893"/>
              <a:gd name="T37" fmla="*/ 239 h 247"/>
              <a:gd name="T38" fmla="*/ 115 w 893"/>
              <a:gd name="T39" fmla="*/ 247 h 247"/>
              <a:gd name="T40" fmla="*/ 833 w 893"/>
              <a:gd name="T41" fmla="*/ 247 h 247"/>
              <a:gd name="T42" fmla="*/ 865 w 893"/>
              <a:gd name="T43" fmla="*/ 243 h 247"/>
              <a:gd name="T44" fmla="*/ 893 w 893"/>
              <a:gd name="T45" fmla="*/ 232 h 247"/>
              <a:gd name="T46" fmla="*/ 145 w 893"/>
              <a:gd name="T47" fmla="*/ 164 h 247"/>
              <a:gd name="T48" fmla="*/ 136 w 893"/>
              <a:gd name="T49" fmla="*/ 164 h 247"/>
              <a:gd name="T50" fmla="*/ 121 w 893"/>
              <a:gd name="T51" fmla="*/ 158 h 247"/>
              <a:gd name="T52" fmla="*/ 110 w 893"/>
              <a:gd name="T53" fmla="*/ 147 h 247"/>
              <a:gd name="T54" fmla="*/ 104 w 893"/>
              <a:gd name="T55" fmla="*/ 132 h 247"/>
              <a:gd name="T56" fmla="*/ 104 w 893"/>
              <a:gd name="T57" fmla="*/ 124 h 247"/>
              <a:gd name="T58" fmla="*/ 106 w 893"/>
              <a:gd name="T59" fmla="*/ 109 h 247"/>
              <a:gd name="T60" fmla="*/ 117 w 893"/>
              <a:gd name="T61" fmla="*/ 96 h 247"/>
              <a:gd name="T62" fmla="*/ 130 w 893"/>
              <a:gd name="T63" fmla="*/ 88 h 247"/>
              <a:gd name="T64" fmla="*/ 145 w 893"/>
              <a:gd name="T65" fmla="*/ 83 h 247"/>
              <a:gd name="T66" fmla="*/ 153 w 893"/>
              <a:gd name="T67" fmla="*/ 85 h 247"/>
              <a:gd name="T68" fmla="*/ 166 w 893"/>
              <a:gd name="T69" fmla="*/ 92 h 247"/>
              <a:gd name="T70" fmla="*/ 179 w 893"/>
              <a:gd name="T71" fmla="*/ 102 h 247"/>
              <a:gd name="T72" fmla="*/ 183 w 893"/>
              <a:gd name="T73" fmla="*/ 115 h 247"/>
              <a:gd name="T74" fmla="*/ 185 w 893"/>
              <a:gd name="T75" fmla="*/ 124 h 247"/>
              <a:gd name="T76" fmla="*/ 181 w 893"/>
              <a:gd name="T77" fmla="*/ 141 h 247"/>
              <a:gd name="T78" fmla="*/ 172 w 893"/>
              <a:gd name="T79" fmla="*/ 154 h 247"/>
              <a:gd name="T80" fmla="*/ 160 w 893"/>
              <a:gd name="T81" fmla="*/ 162 h 247"/>
              <a:gd name="T82" fmla="*/ 145 w 893"/>
              <a:gd name="T83" fmla="*/ 16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93" h="247">
                <a:moveTo>
                  <a:pt x="842" y="173"/>
                </a:moveTo>
                <a:lnTo>
                  <a:pt x="842" y="173"/>
                </a:lnTo>
                <a:lnTo>
                  <a:pt x="812" y="179"/>
                </a:lnTo>
                <a:lnTo>
                  <a:pt x="780" y="181"/>
                </a:lnTo>
                <a:lnTo>
                  <a:pt x="780" y="181"/>
                </a:lnTo>
                <a:lnTo>
                  <a:pt x="759" y="179"/>
                </a:lnTo>
                <a:lnTo>
                  <a:pt x="759" y="179"/>
                </a:lnTo>
                <a:lnTo>
                  <a:pt x="733" y="175"/>
                </a:lnTo>
                <a:lnTo>
                  <a:pt x="708" y="171"/>
                </a:lnTo>
                <a:lnTo>
                  <a:pt x="684" y="162"/>
                </a:lnTo>
                <a:lnTo>
                  <a:pt x="661" y="151"/>
                </a:lnTo>
                <a:lnTo>
                  <a:pt x="639" y="139"/>
                </a:lnTo>
                <a:lnTo>
                  <a:pt x="620" y="124"/>
                </a:lnTo>
                <a:lnTo>
                  <a:pt x="601" y="107"/>
                </a:lnTo>
                <a:lnTo>
                  <a:pt x="582" y="88"/>
                </a:lnTo>
                <a:lnTo>
                  <a:pt x="582" y="88"/>
                </a:lnTo>
                <a:lnTo>
                  <a:pt x="567" y="68"/>
                </a:lnTo>
                <a:lnTo>
                  <a:pt x="554" y="47"/>
                </a:lnTo>
                <a:lnTo>
                  <a:pt x="543" y="24"/>
                </a:lnTo>
                <a:lnTo>
                  <a:pt x="535" y="0"/>
                </a:lnTo>
                <a:lnTo>
                  <a:pt x="115" y="0"/>
                </a:lnTo>
                <a:lnTo>
                  <a:pt x="115" y="0"/>
                </a:lnTo>
                <a:lnTo>
                  <a:pt x="91" y="2"/>
                </a:lnTo>
                <a:lnTo>
                  <a:pt x="70" y="9"/>
                </a:lnTo>
                <a:lnTo>
                  <a:pt x="51" y="19"/>
                </a:lnTo>
                <a:lnTo>
                  <a:pt x="34" y="32"/>
                </a:lnTo>
                <a:lnTo>
                  <a:pt x="19" y="47"/>
                </a:lnTo>
                <a:lnTo>
                  <a:pt x="8" y="64"/>
                </a:lnTo>
                <a:lnTo>
                  <a:pt x="2" y="83"/>
                </a:lnTo>
                <a:lnTo>
                  <a:pt x="0" y="105"/>
                </a:lnTo>
                <a:lnTo>
                  <a:pt x="0" y="143"/>
                </a:lnTo>
                <a:lnTo>
                  <a:pt x="0" y="143"/>
                </a:lnTo>
                <a:lnTo>
                  <a:pt x="2" y="164"/>
                </a:lnTo>
                <a:lnTo>
                  <a:pt x="8" y="183"/>
                </a:lnTo>
                <a:lnTo>
                  <a:pt x="19" y="203"/>
                </a:lnTo>
                <a:lnTo>
                  <a:pt x="34" y="218"/>
                </a:lnTo>
                <a:lnTo>
                  <a:pt x="51" y="230"/>
                </a:lnTo>
                <a:lnTo>
                  <a:pt x="70" y="239"/>
                </a:lnTo>
                <a:lnTo>
                  <a:pt x="91" y="245"/>
                </a:lnTo>
                <a:lnTo>
                  <a:pt x="115" y="247"/>
                </a:lnTo>
                <a:lnTo>
                  <a:pt x="833" y="247"/>
                </a:lnTo>
                <a:lnTo>
                  <a:pt x="833" y="247"/>
                </a:lnTo>
                <a:lnTo>
                  <a:pt x="848" y="247"/>
                </a:lnTo>
                <a:lnTo>
                  <a:pt x="865" y="243"/>
                </a:lnTo>
                <a:lnTo>
                  <a:pt x="878" y="239"/>
                </a:lnTo>
                <a:lnTo>
                  <a:pt x="893" y="232"/>
                </a:lnTo>
                <a:lnTo>
                  <a:pt x="842" y="173"/>
                </a:lnTo>
                <a:close/>
                <a:moveTo>
                  <a:pt x="145" y="164"/>
                </a:moveTo>
                <a:lnTo>
                  <a:pt x="145" y="164"/>
                </a:lnTo>
                <a:lnTo>
                  <a:pt x="136" y="164"/>
                </a:lnTo>
                <a:lnTo>
                  <a:pt x="130" y="162"/>
                </a:lnTo>
                <a:lnTo>
                  <a:pt x="121" y="158"/>
                </a:lnTo>
                <a:lnTo>
                  <a:pt x="117" y="154"/>
                </a:lnTo>
                <a:lnTo>
                  <a:pt x="110" y="147"/>
                </a:lnTo>
                <a:lnTo>
                  <a:pt x="106" y="141"/>
                </a:lnTo>
                <a:lnTo>
                  <a:pt x="104" y="132"/>
                </a:lnTo>
                <a:lnTo>
                  <a:pt x="104" y="124"/>
                </a:lnTo>
                <a:lnTo>
                  <a:pt x="104" y="124"/>
                </a:lnTo>
                <a:lnTo>
                  <a:pt x="104" y="115"/>
                </a:lnTo>
                <a:lnTo>
                  <a:pt x="106" y="109"/>
                </a:lnTo>
                <a:lnTo>
                  <a:pt x="110" y="102"/>
                </a:lnTo>
                <a:lnTo>
                  <a:pt x="117" y="96"/>
                </a:lnTo>
                <a:lnTo>
                  <a:pt x="121" y="92"/>
                </a:lnTo>
                <a:lnTo>
                  <a:pt x="130" y="88"/>
                </a:lnTo>
                <a:lnTo>
                  <a:pt x="136" y="85"/>
                </a:lnTo>
                <a:lnTo>
                  <a:pt x="145" y="83"/>
                </a:lnTo>
                <a:lnTo>
                  <a:pt x="145" y="83"/>
                </a:lnTo>
                <a:lnTo>
                  <a:pt x="153" y="85"/>
                </a:lnTo>
                <a:lnTo>
                  <a:pt x="160" y="88"/>
                </a:lnTo>
                <a:lnTo>
                  <a:pt x="166" y="92"/>
                </a:lnTo>
                <a:lnTo>
                  <a:pt x="172" y="96"/>
                </a:lnTo>
                <a:lnTo>
                  <a:pt x="179" y="102"/>
                </a:lnTo>
                <a:lnTo>
                  <a:pt x="181" y="109"/>
                </a:lnTo>
                <a:lnTo>
                  <a:pt x="183" y="115"/>
                </a:lnTo>
                <a:lnTo>
                  <a:pt x="185" y="124"/>
                </a:lnTo>
                <a:lnTo>
                  <a:pt x="185" y="124"/>
                </a:lnTo>
                <a:lnTo>
                  <a:pt x="183" y="132"/>
                </a:lnTo>
                <a:lnTo>
                  <a:pt x="181" y="141"/>
                </a:lnTo>
                <a:lnTo>
                  <a:pt x="179" y="147"/>
                </a:lnTo>
                <a:lnTo>
                  <a:pt x="172" y="154"/>
                </a:lnTo>
                <a:lnTo>
                  <a:pt x="166" y="158"/>
                </a:lnTo>
                <a:lnTo>
                  <a:pt x="160" y="162"/>
                </a:lnTo>
                <a:lnTo>
                  <a:pt x="153" y="164"/>
                </a:lnTo>
                <a:lnTo>
                  <a:pt x="145" y="164"/>
                </a:lnTo>
                <a:lnTo>
                  <a:pt x="145" y="164"/>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70" name="Freeform 14"/>
          <p:cNvSpPr>
            <a:spLocks noEditPoints="1"/>
          </p:cNvSpPr>
          <p:nvPr/>
        </p:nvSpPr>
        <p:spPr bwMode="auto">
          <a:xfrm>
            <a:off x="2241479" y="5156568"/>
            <a:ext cx="287672" cy="111546"/>
          </a:xfrm>
          <a:custGeom>
            <a:avLst/>
            <a:gdLst>
              <a:gd name="T0" fmla="*/ 524 w 637"/>
              <a:gd name="T1" fmla="*/ 192 h 247"/>
              <a:gd name="T2" fmla="*/ 535 w 637"/>
              <a:gd name="T3" fmla="*/ 134 h 247"/>
              <a:gd name="T4" fmla="*/ 558 w 637"/>
              <a:gd name="T5" fmla="*/ 81 h 247"/>
              <a:gd name="T6" fmla="*/ 592 w 637"/>
              <a:gd name="T7" fmla="*/ 36 h 247"/>
              <a:gd name="T8" fmla="*/ 637 w 637"/>
              <a:gd name="T9" fmla="*/ 0 h 247"/>
              <a:gd name="T10" fmla="*/ 115 w 637"/>
              <a:gd name="T11" fmla="*/ 0 h 247"/>
              <a:gd name="T12" fmla="*/ 70 w 637"/>
              <a:gd name="T13" fmla="*/ 9 h 247"/>
              <a:gd name="T14" fmla="*/ 34 w 637"/>
              <a:gd name="T15" fmla="*/ 30 h 247"/>
              <a:gd name="T16" fmla="*/ 8 w 637"/>
              <a:gd name="T17" fmla="*/ 64 h 247"/>
              <a:gd name="T18" fmla="*/ 0 w 637"/>
              <a:gd name="T19" fmla="*/ 105 h 247"/>
              <a:gd name="T20" fmla="*/ 0 w 637"/>
              <a:gd name="T21" fmla="*/ 143 h 247"/>
              <a:gd name="T22" fmla="*/ 8 w 637"/>
              <a:gd name="T23" fmla="*/ 183 h 247"/>
              <a:gd name="T24" fmla="*/ 34 w 637"/>
              <a:gd name="T25" fmla="*/ 218 h 247"/>
              <a:gd name="T26" fmla="*/ 70 w 637"/>
              <a:gd name="T27" fmla="*/ 239 h 247"/>
              <a:gd name="T28" fmla="*/ 115 w 637"/>
              <a:gd name="T29" fmla="*/ 247 h 247"/>
              <a:gd name="T30" fmla="*/ 524 w 637"/>
              <a:gd name="T31" fmla="*/ 247 h 247"/>
              <a:gd name="T32" fmla="*/ 524 w 637"/>
              <a:gd name="T33" fmla="*/ 192 h 247"/>
              <a:gd name="T34" fmla="*/ 145 w 637"/>
              <a:gd name="T35" fmla="*/ 164 h 247"/>
              <a:gd name="T36" fmla="*/ 136 w 637"/>
              <a:gd name="T37" fmla="*/ 162 h 247"/>
              <a:gd name="T38" fmla="*/ 121 w 637"/>
              <a:gd name="T39" fmla="*/ 158 h 247"/>
              <a:gd name="T40" fmla="*/ 110 w 637"/>
              <a:gd name="T41" fmla="*/ 145 h 247"/>
              <a:gd name="T42" fmla="*/ 104 w 637"/>
              <a:gd name="T43" fmla="*/ 132 h 247"/>
              <a:gd name="T44" fmla="*/ 104 w 637"/>
              <a:gd name="T45" fmla="*/ 124 h 247"/>
              <a:gd name="T46" fmla="*/ 106 w 637"/>
              <a:gd name="T47" fmla="*/ 109 h 247"/>
              <a:gd name="T48" fmla="*/ 117 w 637"/>
              <a:gd name="T49" fmla="*/ 96 h 247"/>
              <a:gd name="T50" fmla="*/ 130 w 637"/>
              <a:gd name="T51" fmla="*/ 87 h 247"/>
              <a:gd name="T52" fmla="*/ 145 w 637"/>
              <a:gd name="T53" fmla="*/ 83 h 247"/>
              <a:gd name="T54" fmla="*/ 153 w 637"/>
              <a:gd name="T55" fmla="*/ 83 h 247"/>
              <a:gd name="T56" fmla="*/ 166 w 637"/>
              <a:gd name="T57" fmla="*/ 90 h 247"/>
              <a:gd name="T58" fmla="*/ 179 w 637"/>
              <a:gd name="T59" fmla="*/ 100 h 247"/>
              <a:gd name="T60" fmla="*/ 183 w 637"/>
              <a:gd name="T61" fmla="*/ 115 h 247"/>
              <a:gd name="T62" fmla="*/ 185 w 637"/>
              <a:gd name="T63" fmla="*/ 124 h 247"/>
              <a:gd name="T64" fmla="*/ 181 w 637"/>
              <a:gd name="T65" fmla="*/ 139 h 247"/>
              <a:gd name="T66" fmla="*/ 172 w 637"/>
              <a:gd name="T67" fmla="*/ 151 h 247"/>
              <a:gd name="T68" fmla="*/ 160 w 637"/>
              <a:gd name="T69" fmla="*/ 160 h 247"/>
              <a:gd name="T70" fmla="*/ 145 w 637"/>
              <a:gd name="T71" fmla="*/ 16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7" h="247">
                <a:moveTo>
                  <a:pt x="524" y="192"/>
                </a:moveTo>
                <a:lnTo>
                  <a:pt x="524" y="192"/>
                </a:lnTo>
                <a:lnTo>
                  <a:pt x="528" y="162"/>
                </a:lnTo>
                <a:lnTo>
                  <a:pt x="535" y="134"/>
                </a:lnTo>
                <a:lnTo>
                  <a:pt x="545" y="107"/>
                </a:lnTo>
                <a:lnTo>
                  <a:pt x="558" y="81"/>
                </a:lnTo>
                <a:lnTo>
                  <a:pt x="575" y="58"/>
                </a:lnTo>
                <a:lnTo>
                  <a:pt x="592" y="36"/>
                </a:lnTo>
                <a:lnTo>
                  <a:pt x="614" y="17"/>
                </a:lnTo>
                <a:lnTo>
                  <a:pt x="637" y="0"/>
                </a:lnTo>
                <a:lnTo>
                  <a:pt x="115" y="0"/>
                </a:lnTo>
                <a:lnTo>
                  <a:pt x="115" y="0"/>
                </a:lnTo>
                <a:lnTo>
                  <a:pt x="91" y="2"/>
                </a:lnTo>
                <a:lnTo>
                  <a:pt x="70" y="9"/>
                </a:lnTo>
                <a:lnTo>
                  <a:pt x="51" y="17"/>
                </a:lnTo>
                <a:lnTo>
                  <a:pt x="34" y="30"/>
                </a:lnTo>
                <a:lnTo>
                  <a:pt x="19" y="45"/>
                </a:lnTo>
                <a:lnTo>
                  <a:pt x="8" y="64"/>
                </a:lnTo>
                <a:lnTo>
                  <a:pt x="2" y="83"/>
                </a:lnTo>
                <a:lnTo>
                  <a:pt x="0" y="105"/>
                </a:lnTo>
                <a:lnTo>
                  <a:pt x="0" y="143"/>
                </a:lnTo>
                <a:lnTo>
                  <a:pt x="0" y="143"/>
                </a:lnTo>
                <a:lnTo>
                  <a:pt x="2" y="164"/>
                </a:lnTo>
                <a:lnTo>
                  <a:pt x="8" y="183"/>
                </a:lnTo>
                <a:lnTo>
                  <a:pt x="19" y="200"/>
                </a:lnTo>
                <a:lnTo>
                  <a:pt x="34" y="218"/>
                </a:lnTo>
                <a:lnTo>
                  <a:pt x="51" y="228"/>
                </a:lnTo>
                <a:lnTo>
                  <a:pt x="70" y="239"/>
                </a:lnTo>
                <a:lnTo>
                  <a:pt x="91" y="245"/>
                </a:lnTo>
                <a:lnTo>
                  <a:pt x="115" y="247"/>
                </a:lnTo>
                <a:lnTo>
                  <a:pt x="524" y="247"/>
                </a:lnTo>
                <a:lnTo>
                  <a:pt x="524" y="247"/>
                </a:lnTo>
                <a:lnTo>
                  <a:pt x="522" y="220"/>
                </a:lnTo>
                <a:lnTo>
                  <a:pt x="524" y="192"/>
                </a:lnTo>
                <a:lnTo>
                  <a:pt x="524" y="192"/>
                </a:lnTo>
                <a:close/>
                <a:moveTo>
                  <a:pt x="145" y="164"/>
                </a:moveTo>
                <a:lnTo>
                  <a:pt x="145" y="164"/>
                </a:lnTo>
                <a:lnTo>
                  <a:pt x="136" y="162"/>
                </a:lnTo>
                <a:lnTo>
                  <a:pt x="130" y="160"/>
                </a:lnTo>
                <a:lnTo>
                  <a:pt x="121" y="158"/>
                </a:lnTo>
                <a:lnTo>
                  <a:pt x="117" y="151"/>
                </a:lnTo>
                <a:lnTo>
                  <a:pt x="110" y="145"/>
                </a:lnTo>
                <a:lnTo>
                  <a:pt x="106" y="139"/>
                </a:lnTo>
                <a:lnTo>
                  <a:pt x="104" y="132"/>
                </a:lnTo>
                <a:lnTo>
                  <a:pt x="104" y="124"/>
                </a:lnTo>
                <a:lnTo>
                  <a:pt x="104" y="124"/>
                </a:lnTo>
                <a:lnTo>
                  <a:pt x="104" y="115"/>
                </a:lnTo>
                <a:lnTo>
                  <a:pt x="106" y="109"/>
                </a:lnTo>
                <a:lnTo>
                  <a:pt x="110" y="100"/>
                </a:lnTo>
                <a:lnTo>
                  <a:pt x="117" y="96"/>
                </a:lnTo>
                <a:lnTo>
                  <a:pt x="121" y="90"/>
                </a:lnTo>
                <a:lnTo>
                  <a:pt x="130" y="87"/>
                </a:lnTo>
                <a:lnTo>
                  <a:pt x="136" y="83"/>
                </a:lnTo>
                <a:lnTo>
                  <a:pt x="145" y="83"/>
                </a:lnTo>
                <a:lnTo>
                  <a:pt x="145" y="83"/>
                </a:lnTo>
                <a:lnTo>
                  <a:pt x="153" y="83"/>
                </a:lnTo>
                <a:lnTo>
                  <a:pt x="160" y="87"/>
                </a:lnTo>
                <a:lnTo>
                  <a:pt x="166" y="90"/>
                </a:lnTo>
                <a:lnTo>
                  <a:pt x="172" y="96"/>
                </a:lnTo>
                <a:lnTo>
                  <a:pt x="179" y="100"/>
                </a:lnTo>
                <a:lnTo>
                  <a:pt x="181" y="109"/>
                </a:lnTo>
                <a:lnTo>
                  <a:pt x="183" y="115"/>
                </a:lnTo>
                <a:lnTo>
                  <a:pt x="185" y="124"/>
                </a:lnTo>
                <a:lnTo>
                  <a:pt x="185" y="124"/>
                </a:lnTo>
                <a:lnTo>
                  <a:pt x="183" y="132"/>
                </a:lnTo>
                <a:lnTo>
                  <a:pt x="181" y="139"/>
                </a:lnTo>
                <a:lnTo>
                  <a:pt x="179" y="145"/>
                </a:lnTo>
                <a:lnTo>
                  <a:pt x="172" y="151"/>
                </a:lnTo>
                <a:lnTo>
                  <a:pt x="166" y="158"/>
                </a:lnTo>
                <a:lnTo>
                  <a:pt x="160" y="160"/>
                </a:lnTo>
                <a:lnTo>
                  <a:pt x="153" y="162"/>
                </a:lnTo>
                <a:lnTo>
                  <a:pt x="145" y="164"/>
                </a:lnTo>
                <a:lnTo>
                  <a:pt x="145" y="164"/>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71" name="Freeform 15"/>
          <p:cNvSpPr>
            <a:spLocks noEditPoints="1"/>
          </p:cNvSpPr>
          <p:nvPr/>
        </p:nvSpPr>
        <p:spPr bwMode="auto">
          <a:xfrm>
            <a:off x="2494378" y="5153859"/>
            <a:ext cx="230318" cy="248382"/>
          </a:xfrm>
          <a:custGeom>
            <a:avLst/>
            <a:gdLst>
              <a:gd name="T0" fmla="*/ 448 w 510"/>
              <a:gd name="T1" fmla="*/ 550 h 550"/>
              <a:gd name="T2" fmla="*/ 484 w 510"/>
              <a:gd name="T3" fmla="*/ 533 h 550"/>
              <a:gd name="T4" fmla="*/ 501 w 510"/>
              <a:gd name="T5" fmla="*/ 509 h 550"/>
              <a:gd name="T6" fmla="*/ 510 w 510"/>
              <a:gd name="T7" fmla="*/ 481 h 550"/>
              <a:gd name="T8" fmla="*/ 501 w 510"/>
              <a:gd name="T9" fmla="*/ 439 h 550"/>
              <a:gd name="T10" fmla="*/ 410 w 510"/>
              <a:gd name="T11" fmla="*/ 332 h 550"/>
              <a:gd name="T12" fmla="*/ 438 w 510"/>
              <a:gd name="T13" fmla="*/ 264 h 550"/>
              <a:gd name="T14" fmla="*/ 442 w 510"/>
              <a:gd name="T15" fmla="*/ 217 h 550"/>
              <a:gd name="T16" fmla="*/ 431 w 510"/>
              <a:gd name="T17" fmla="*/ 153 h 550"/>
              <a:gd name="T18" fmla="*/ 403 w 510"/>
              <a:gd name="T19" fmla="*/ 96 h 550"/>
              <a:gd name="T20" fmla="*/ 376 w 510"/>
              <a:gd name="T21" fmla="*/ 61 h 550"/>
              <a:gd name="T22" fmla="*/ 322 w 510"/>
              <a:gd name="T23" fmla="*/ 25 h 550"/>
              <a:gd name="T24" fmla="*/ 263 w 510"/>
              <a:gd name="T25" fmla="*/ 4 h 550"/>
              <a:gd name="T26" fmla="*/ 220 w 510"/>
              <a:gd name="T27" fmla="*/ 0 h 550"/>
              <a:gd name="T28" fmla="*/ 180 w 510"/>
              <a:gd name="T29" fmla="*/ 4 h 550"/>
              <a:gd name="T30" fmla="*/ 122 w 510"/>
              <a:gd name="T31" fmla="*/ 23 h 550"/>
              <a:gd name="T32" fmla="*/ 73 w 510"/>
              <a:gd name="T33" fmla="*/ 57 h 550"/>
              <a:gd name="T34" fmla="*/ 35 w 510"/>
              <a:gd name="T35" fmla="*/ 104 h 550"/>
              <a:gd name="T36" fmla="*/ 9 w 510"/>
              <a:gd name="T37" fmla="*/ 160 h 550"/>
              <a:gd name="T38" fmla="*/ 3 w 510"/>
              <a:gd name="T39" fmla="*/ 200 h 550"/>
              <a:gd name="T40" fmla="*/ 7 w 510"/>
              <a:gd name="T41" fmla="*/ 266 h 550"/>
              <a:gd name="T42" fmla="*/ 28 w 510"/>
              <a:gd name="T43" fmla="*/ 326 h 550"/>
              <a:gd name="T44" fmla="*/ 52 w 510"/>
              <a:gd name="T45" fmla="*/ 362 h 550"/>
              <a:gd name="T46" fmla="*/ 101 w 510"/>
              <a:gd name="T47" fmla="*/ 405 h 550"/>
              <a:gd name="T48" fmla="*/ 160 w 510"/>
              <a:gd name="T49" fmla="*/ 430 h 550"/>
              <a:gd name="T50" fmla="*/ 203 w 510"/>
              <a:gd name="T51" fmla="*/ 439 h 550"/>
              <a:gd name="T52" fmla="*/ 239 w 510"/>
              <a:gd name="T53" fmla="*/ 439 h 550"/>
              <a:gd name="T54" fmla="*/ 295 w 510"/>
              <a:gd name="T55" fmla="*/ 426 h 550"/>
              <a:gd name="T56" fmla="*/ 388 w 510"/>
              <a:gd name="T57" fmla="*/ 535 h 550"/>
              <a:gd name="T58" fmla="*/ 429 w 510"/>
              <a:gd name="T59" fmla="*/ 550 h 550"/>
              <a:gd name="T60" fmla="*/ 435 w 510"/>
              <a:gd name="T61" fmla="*/ 550 h 550"/>
              <a:gd name="T62" fmla="*/ 235 w 510"/>
              <a:gd name="T63" fmla="*/ 72 h 550"/>
              <a:gd name="T64" fmla="*/ 265 w 510"/>
              <a:gd name="T65" fmla="*/ 76 h 550"/>
              <a:gd name="T66" fmla="*/ 303 w 510"/>
              <a:gd name="T67" fmla="*/ 96 h 550"/>
              <a:gd name="T68" fmla="*/ 335 w 510"/>
              <a:gd name="T69" fmla="*/ 123 h 550"/>
              <a:gd name="T70" fmla="*/ 359 w 510"/>
              <a:gd name="T71" fmla="*/ 160 h 550"/>
              <a:gd name="T72" fmla="*/ 369 w 510"/>
              <a:gd name="T73" fmla="*/ 202 h 550"/>
              <a:gd name="T74" fmla="*/ 369 w 510"/>
              <a:gd name="T75" fmla="*/ 232 h 550"/>
              <a:gd name="T76" fmla="*/ 361 w 510"/>
              <a:gd name="T77" fmla="*/ 273 h 550"/>
              <a:gd name="T78" fmla="*/ 322 w 510"/>
              <a:gd name="T79" fmla="*/ 328 h 550"/>
              <a:gd name="T80" fmla="*/ 263 w 510"/>
              <a:gd name="T81" fmla="*/ 362 h 550"/>
              <a:gd name="T82" fmla="*/ 222 w 510"/>
              <a:gd name="T83" fmla="*/ 368 h 550"/>
              <a:gd name="T84" fmla="*/ 209 w 510"/>
              <a:gd name="T85" fmla="*/ 368 h 550"/>
              <a:gd name="T86" fmla="*/ 165 w 510"/>
              <a:gd name="T87" fmla="*/ 358 h 550"/>
              <a:gd name="T88" fmla="*/ 128 w 510"/>
              <a:gd name="T89" fmla="*/ 334 h 550"/>
              <a:gd name="T90" fmla="*/ 98 w 510"/>
              <a:gd name="T91" fmla="*/ 305 h 550"/>
              <a:gd name="T92" fmla="*/ 79 w 510"/>
              <a:gd name="T93" fmla="*/ 266 h 550"/>
              <a:gd name="T94" fmla="*/ 73 w 510"/>
              <a:gd name="T95" fmla="*/ 221 h 550"/>
              <a:gd name="T96" fmla="*/ 75 w 510"/>
              <a:gd name="T97" fmla="*/ 192 h 550"/>
              <a:gd name="T98" fmla="*/ 88 w 510"/>
              <a:gd name="T99" fmla="*/ 153 h 550"/>
              <a:gd name="T100" fmla="*/ 143 w 510"/>
              <a:gd name="T101" fmla="*/ 93 h 550"/>
              <a:gd name="T102" fmla="*/ 192 w 510"/>
              <a:gd name="T103" fmla="*/ 74 h 550"/>
              <a:gd name="T104" fmla="*/ 220 w 510"/>
              <a:gd name="T105" fmla="*/ 7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0" h="550">
                <a:moveTo>
                  <a:pt x="435" y="550"/>
                </a:moveTo>
                <a:lnTo>
                  <a:pt x="435" y="550"/>
                </a:lnTo>
                <a:lnTo>
                  <a:pt x="448" y="550"/>
                </a:lnTo>
                <a:lnTo>
                  <a:pt x="461" y="545"/>
                </a:lnTo>
                <a:lnTo>
                  <a:pt x="474" y="541"/>
                </a:lnTo>
                <a:lnTo>
                  <a:pt x="484" y="533"/>
                </a:lnTo>
                <a:lnTo>
                  <a:pt x="484" y="533"/>
                </a:lnTo>
                <a:lnTo>
                  <a:pt x="495" y="522"/>
                </a:lnTo>
                <a:lnTo>
                  <a:pt x="501" y="509"/>
                </a:lnTo>
                <a:lnTo>
                  <a:pt x="508" y="496"/>
                </a:lnTo>
                <a:lnTo>
                  <a:pt x="510" y="481"/>
                </a:lnTo>
                <a:lnTo>
                  <a:pt x="510" y="481"/>
                </a:lnTo>
                <a:lnTo>
                  <a:pt x="510" y="467"/>
                </a:lnTo>
                <a:lnTo>
                  <a:pt x="508" y="454"/>
                </a:lnTo>
                <a:lnTo>
                  <a:pt x="501" y="439"/>
                </a:lnTo>
                <a:lnTo>
                  <a:pt x="493" y="428"/>
                </a:lnTo>
                <a:lnTo>
                  <a:pt x="410" y="332"/>
                </a:lnTo>
                <a:lnTo>
                  <a:pt x="410" y="332"/>
                </a:lnTo>
                <a:lnTo>
                  <a:pt x="420" y="311"/>
                </a:lnTo>
                <a:lnTo>
                  <a:pt x="431" y="287"/>
                </a:lnTo>
                <a:lnTo>
                  <a:pt x="438" y="264"/>
                </a:lnTo>
                <a:lnTo>
                  <a:pt x="440" y="238"/>
                </a:lnTo>
                <a:lnTo>
                  <a:pt x="440" y="238"/>
                </a:lnTo>
                <a:lnTo>
                  <a:pt x="442" y="217"/>
                </a:lnTo>
                <a:lnTo>
                  <a:pt x="440" y="196"/>
                </a:lnTo>
                <a:lnTo>
                  <a:pt x="435" y="174"/>
                </a:lnTo>
                <a:lnTo>
                  <a:pt x="431" y="153"/>
                </a:lnTo>
                <a:lnTo>
                  <a:pt x="423" y="134"/>
                </a:lnTo>
                <a:lnTo>
                  <a:pt x="414" y="115"/>
                </a:lnTo>
                <a:lnTo>
                  <a:pt x="403" y="96"/>
                </a:lnTo>
                <a:lnTo>
                  <a:pt x="391" y="79"/>
                </a:lnTo>
                <a:lnTo>
                  <a:pt x="391" y="79"/>
                </a:lnTo>
                <a:lnTo>
                  <a:pt x="376" y="61"/>
                </a:lnTo>
                <a:lnTo>
                  <a:pt x="359" y="49"/>
                </a:lnTo>
                <a:lnTo>
                  <a:pt x="342" y="36"/>
                </a:lnTo>
                <a:lnTo>
                  <a:pt x="322" y="25"/>
                </a:lnTo>
                <a:lnTo>
                  <a:pt x="303" y="15"/>
                </a:lnTo>
                <a:lnTo>
                  <a:pt x="282" y="8"/>
                </a:lnTo>
                <a:lnTo>
                  <a:pt x="263" y="4"/>
                </a:lnTo>
                <a:lnTo>
                  <a:pt x="239" y="0"/>
                </a:lnTo>
                <a:lnTo>
                  <a:pt x="239" y="0"/>
                </a:lnTo>
                <a:lnTo>
                  <a:pt x="220" y="0"/>
                </a:lnTo>
                <a:lnTo>
                  <a:pt x="220" y="0"/>
                </a:lnTo>
                <a:lnTo>
                  <a:pt x="201" y="2"/>
                </a:lnTo>
                <a:lnTo>
                  <a:pt x="180" y="4"/>
                </a:lnTo>
                <a:lnTo>
                  <a:pt x="160" y="8"/>
                </a:lnTo>
                <a:lnTo>
                  <a:pt x="141" y="15"/>
                </a:lnTo>
                <a:lnTo>
                  <a:pt x="122" y="23"/>
                </a:lnTo>
                <a:lnTo>
                  <a:pt x="105" y="34"/>
                </a:lnTo>
                <a:lnTo>
                  <a:pt x="88" y="44"/>
                </a:lnTo>
                <a:lnTo>
                  <a:pt x="73" y="57"/>
                </a:lnTo>
                <a:lnTo>
                  <a:pt x="58" y="72"/>
                </a:lnTo>
                <a:lnTo>
                  <a:pt x="45" y="87"/>
                </a:lnTo>
                <a:lnTo>
                  <a:pt x="35" y="104"/>
                </a:lnTo>
                <a:lnTo>
                  <a:pt x="24" y="121"/>
                </a:lnTo>
                <a:lnTo>
                  <a:pt x="15" y="140"/>
                </a:lnTo>
                <a:lnTo>
                  <a:pt x="9" y="160"/>
                </a:lnTo>
                <a:lnTo>
                  <a:pt x="5" y="179"/>
                </a:lnTo>
                <a:lnTo>
                  <a:pt x="3" y="200"/>
                </a:lnTo>
                <a:lnTo>
                  <a:pt x="3" y="200"/>
                </a:lnTo>
                <a:lnTo>
                  <a:pt x="0" y="221"/>
                </a:lnTo>
                <a:lnTo>
                  <a:pt x="3" y="245"/>
                </a:lnTo>
                <a:lnTo>
                  <a:pt x="7" y="266"/>
                </a:lnTo>
                <a:lnTo>
                  <a:pt x="11" y="285"/>
                </a:lnTo>
                <a:lnTo>
                  <a:pt x="20" y="307"/>
                </a:lnTo>
                <a:lnTo>
                  <a:pt x="28" y="326"/>
                </a:lnTo>
                <a:lnTo>
                  <a:pt x="39" y="343"/>
                </a:lnTo>
                <a:lnTo>
                  <a:pt x="52" y="362"/>
                </a:lnTo>
                <a:lnTo>
                  <a:pt x="52" y="362"/>
                </a:lnTo>
                <a:lnTo>
                  <a:pt x="66" y="377"/>
                </a:lnTo>
                <a:lnTo>
                  <a:pt x="84" y="392"/>
                </a:lnTo>
                <a:lnTo>
                  <a:pt x="101" y="405"/>
                </a:lnTo>
                <a:lnTo>
                  <a:pt x="120" y="415"/>
                </a:lnTo>
                <a:lnTo>
                  <a:pt x="139" y="424"/>
                </a:lnTo>
                <a:lnTo>
                  <a:pt x="160" y="430"/>
                </a:lnTo>
                <a:lnTo>
                  <a:pt x="180" y="437"/>
                </a:lnTo>
                <a:lnTo>
                  <a:pt x="203" y="439"/>
                </a:lnTo>
                <a:lnTo>
                  <a:pt x="203" y="439"/>
                </a:lnTo>
                <a:lnTo>
                  <a:pt x="220" y="439"/>
                </a:lnTo>
                <a:lnTo>
                  <a:pt x="220" y="439"/>
                </a:lnTo>
                <a:lnTo>
                  <a:pt x="239" y="439"/>
                </a:lnTo>
                <a:lnTo>
                  <a:pt x="258" y="437"/>
                </a:lnTo>
                <a:lnTo>
                  <a:pt x="275" y="432"/>
                </a:lnTo>
                <a:lnTo>
                  <a:pt x="295" y="426"/>
                </a:lnTo>
                <a:lnTo>
                  <a:pt x="378" y="524"/>
                </a:lnTo>
                <a:lnTo>
                  <a:pt x="378" y="524"/>
                </a:lnTo>
                <a:lnTo>
                  <a:pt x="388" y="535"/>
                </a:lnTo>
                <a:lnTo>
                  <a:pt x="401" y="541"/>
                </a:lnTo>
                <a:lnTo>
                  <a:pt x="414" y="548"/>
                </a:lnTo>
                <a:lnTo>
                  <a:pt x="429" y="550"/>
                </a:lnTo>
                <a:lnTo>
                  <a:pt x="429" y="550"/>
                </a:lnTo>
                <a:lnTo>
                  <a:pt x="435" y="550"/>
                </a:lnTo>
                <a:lnTo>
                  <a:pt x="435" y="550"/>
                </a:lnTo>
                <a:close/>
                <a:moveTo>
                  <a:pt x="220" y="70"/>
                </a:moveTo>
                <a:lnTo>
                  <a:pt x="220" y="70"/>
                </a:lnTo>
                <a:lnTo>
                  <a:pt x="235" y="72"/>
                </a:lnTo>
                <a:lnTo>
                  <a:pt x="235" y="72"/>
                </a:lnTo>
                <a:lnTo>
                  <a:pt x="250" y="74"/>
                </a:lnTo>
                <a:lnTo>
                  <a:pt x="265" y="76"/>
                </a:lnTo>
                <a:lnTo>
                  <a:pt x="278" y="83"/>
                </a:lnTo>
                <a:lnTo>
                  <a:pt x="290" y="87"/>
                </a:lnTo>
                <a:lnTo>
                  <a:pt x="303" y="96"/>
                </a:lnTo>
                <a:lnTo>
                  <a:pt x="314" y="104"/>
                </a:lnTo>
                <a:lnTo>
                  <a:pt x="324" y="113"/>
                </a:lnTo>
                <a:lnTo>
                  <a:pt x="335" y="123"/>
                </a:lnTo>
                <a:lnTo>
                  <a:pt x="344" y="136"/>
                </a:lnTo>
                <a:lnTo>
                  <a:pt x="352" y="147"/>
                </a:lnTo>
                <a:lnTo>
                  <a:pt x="359" y="160"/>
                </a:lnTo>
                <a:lnTo>
                  <a:pt x="363" y="174"/>
                </a:lnTo>
                <a:lnTo>
                  <a:pt x="367" y="187"/>
                </a:lnTo>
                <a:lnTo>
                  <a:pt x="369" y="202"/>
                </a:lnTo>
                <a:lnTo>
                  <a:pt x="369" y="217"/>
                </a:lnTo>
                <a:lnTo>
                  <a:pt x="369" y="232"/>
                </a:lnTo>
                <a:lnTo>
                  <a:pt x="369" y="232"/>
                </a:lnTo>
                <a:lnTo>
                  <a:pt x="367" y="247"/>
                </a:lnTo>
                <a:lnTo>
                  <a:pt x="365" y="260"/>
                </a:lnTo>
                <a:lnTo>
                  <a:pt x="361" y="273"/>
                </a:lnTo>
                <a:lnTo>
                  <a:pt x="354" y="285"/>
                </a:lnTo>
                <a:lnTo>
                  <a:pt x="339" y="309"/>
                </a:lnTo>
                <a:lnTo>
                  <a:pt x="322" y="328"/>
                </a:lnTo>
                <a:lnTo>
                  <a:pt x="299" y="345"/>
                </a:lnTo>
                <a:lnTo>
                  <a:pt x="275" y="358"/>
                </a:lnTo>
                <a:lnTo>
                  <a:pt x="263" y="362"/>
                </a:lnTo>
                <a:lnTo>
                  <a:pt x="250" y="366"/>
                </a:lnTo>
                <a:lnTo>
                  <a:pt x="235" y="368"/>
                </a:lnTo>
                <a:lnTo>
                  <a:pt x="222" y="368"/>
                </a:lnTo>
                <a:lnTo>
                  <a:pt x="222" y="368"/>
                </a:lnTo>
                <a:lnTo>
                  <a:pt x="209" y="368"/>
                </a:lnTo>
                <a:lnTo>
                  <a:pt x="209" y="368"/>
                </a:lnTo>
                <a:lnTo>
                  <a:pt x="192" y="366"/>
                </a:lnTo>
                <a:lnTo>
                  <a:pt x="180" y="362"/>
                </a:lnTo>
                <a:lnTo>
                  <a:pt x="165" y="358"/>
                </a:lnTo>
                <a:lnTo>
                  <a:pt x="152" y="351"/>
                </a:lnTo>
                <a:lnTo>
                  <a:pt x="139" y="343"/>
                </a:lnTo>
                <a:lnTo>
                  <a:pt x="128" y="334"/>
                </a:lnTo>
                <a:lnTo>
                  <a:pt x="118" y="326"/>
                </a:lnTo>
                <a:lnTo>
                  <a:pt x="107" y="315"/>
                </a:lnTo>
                <a:lnTo>
                  <a:pt x="98" y="305"/>
                </a:lnTo>
                <a:lnTo>
                  <a:pt x="92" y="292"/>
                </a:lnTo>
                <a:lnTo>
                  <a:pt x="86" y="279"/>
                </a:lnTo>
                <a:lnTo>
                  <a:pt x="79" y="266"/>
                </a:lnTo>
                <a:lnTo>
                  <a:pt x="75" y="251"/>
                </a:lnTo>
                <a:lnTo>
                  <a:pt x="73" y="236"/>
                </a:lnTo>
                <a:lnTo>
                  <a:pt x="73" y="221"/>
                </a:lnTo>
                <a:lnTo>
                  <a:pt x="73" y="206"/>
                </a:lnTo>
                <a:lnTo>
                  <a:pt x="73" y="206"/>
                </a:lnTo>
                <a:lnTo>
                  <a:pt x="75" y="192"/>
                </a:lnTo>
                <a:lnTo>
                  <a:pt x="79" y="179"/>
                </a:lnTo>
                <a:lnTo>
                  <a:pt x="84" y="166"/>
                </a:lnTo>
                <a:lnTo>
                  <a:pt x="88" y="153"/>
                </a:lnTo>
                <a:lnTo>
                  <a:pt x="103" y="130"/>
                </a:lnTo>
                <a:lnTo>
                  <a:pt x="122" y="111"/>
                </a:lnTo>
                <a:lnTo>
                  <a:pt x="143" y="93"/>
                </a:lnTo>
                <a:lnTo>
                  <a:pt x="167" y="81"/>
                </a:lnTo>
                <a:lnTo>
                  <a:pt x="180" y="76"/>
                </a:lnTo>
                <a:lnTo>
                  <a:pt x="192" y="74"/>
                </a:lnTo>
                <a:lnTo>
                  <a:pt x="207" y="72"/>
                </a:lnTo>
                <a:lnTo>
                  <a:pt x="220" y="70"/>
                </a:lnTo>
                <a:lnTo>
                  <a:pt x="220" y="70"/>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73" name="Freeform 16"/>
          <p:cNvSpPr/>
          <p:nvPr/>
        </p:nvSpPr>
        <p:spPr bwMode="auto">
          <a:xfrm>
            <a:off x="3178047" y="2038750"/>
            <a:ext cx="208186" cy="136338"/>
          </a:xfrm>
          <a:custGeom>
            <a:avLst/>
            <a:gdLst>
              <a:gd name="T0" fmla="*/ 481 w 481"/>
              <a:gd name="T1" fmla="*/ 257 h 315"/>
              <a:gd name="T2" fmla="*/ 481 w 481"/>
              <a:gd name="T3" fmla="*/ 257 h 315"/>
              <a:gd name="T4" fmla="*/ 479 w 481"/>
              <a:gd name="T5" fmla="*/ 270 h 315"/>
              <a:gd name="T6" fmla="*/ 477 w 481"/>
              <a:gd name="T7" fmla="*/ 281 h 315"/>
              <a:gd name="T8" fmla="*/ 470 w 481"/>
              <a:gd name="T9" fmla="*/ 289 h 315"/>
              <a:gd name="T10" fmla="*/ 464 w 481"/>
              <a:gd name="T11" fmla="*/ 298 h 315"/>
              <a:gd name="T12" fmla="*/ 455 w 481"/>
              <a:gd name="T13" fmla="*/ 304 h 315"/>
              <a:gd name="T14" fmla="*/ 447 w 481"/>
              <a:gd name="T15" fmla="*/ 311 h 315"/>
              <a:gd name="T16" fmla="*/ 436 w 481"/>
              <a:gd name="T17" fmla="*/ 313 h 315"/>
              <a:gd name="T18" fmla="*/ 423 w 481"/>
              <a:gd name="T19" fmla="*/ 315 h 315"/>
              <a:gd name="T20" fmla="*/ 55 w 481"/>
              <a:gd name="T21" fmla="*/ 315 h 315"/>
              <a:gd name="T22" fmla="*/ 55 w 481"/>
              <a:gd name="T23" fmla="*/ 315 h 315"/>
              <a:gd name="T24" fmla="*/ 45 w 481"/>
              <a:gd name="T25" fmla="*/ 313 h 315"/>
              <a:gd name="T26" fmla="*/ 34 w 481"/>
              <a:gd name="T27" fmla="*/ 311 h 315"/>
              <a:gd name="T28" fmla="*/ 23 w 481"/>
              <a:gd name="T29" fmla="*/ 304 h 315"/>
              <a:gd name="T30" fmla="*/ 15 w 481"/>
              <a:gd name="T31" fmla="*/ 298 h 315"/>
              <a:gd name="T32" fmla="*/ 8 w 481"/>
              <a:gd name="T33" fmla="*/ 289 h 315"/>
              <a:gd name="T34" fmla="*/ 4 w 481"/>
              <a:gd name="T35" fmla="*/ 281 h 315"/>
              <a:gd name="T36" fmla="*/ 0 w 481"/>
              <a:gd name="T37" fmla="*/ 270 h 315"/>
              <a:gd name="T38" fmla="*/ 0 w 481"/>
              <a:gd name="T39" fmla="*/ 257 h 315"/>
              <a:gd name="T40" fmla="*/ 0 w 481"/>
              <a:gd name="T41" fmla="*/ 57 h 315"/>
              <a:gd name="T42" fmla="*/ 0 w 481"/>
              <a:gd name="T43" fmla="*/ 57 h 315"/>
              <a:gd name="T44" fmla="*/ 0 w 481"/>
              <a:gd name="T45" fmla="*/ 45 h 315"/>
              <a:gd name="T46" fmla="*/ 4 w 481"/>
              <a:gd name="T47" fmla="*/ 36 h 315"/>
              <a:gd name="T48" fmla="*/ 8 w 481"/>
              <a:gd name="T49" fmla="*/ 25 h 315"/>
              <a:gd name="T50" fmla="*/ 15 w 481"/>
              <a:gd name="T51" fmla="*/ 17 h 315"/>
              <a:gd name="T52" fmla="*/ 23 w 481"/>
              <a:gd name="T53" fmla="*/ 11 h 315"/>
              <a:gd name="T54" fmla="*/ 34 w 481"/>
              <a:gd name="T55" fmla="*/ 4 h 315"/>
              <a:gd name="T56" fmla="*/ 45 w 481"/>
              <a:gd name="T57" fmla="*/ 2 h 315"/>
              <a:gd name="T58" fmla="*/ 55 w 481"/>
              <a:gd name="T59" fmla="*/ 0 h 315"/>
              <a:gd name="T60" fmla="*/ 423 w 481"/>
              <a:gd name="T61" fmla="*/ 0 h 315"/>
              <a:gd name="T62" fmla="*/ 423 w 481"/>
              <a:gd name="T63" fmla="*/ 0 h 315"/>
              <a:gd name="T64" fmla="*/ 436 w 481"/>
              <a:gd name="T65" fmla="*/ 2 h 315"/>
              <a:gd name="T66" fmla="*/ 447 w 481"/>
              <a:gd name="T67" fmla="*/ 4 h 315"/>
              <a:gd name="T68" fmla="*/ 455 w 481"/>
              <a:gd name="T69" fmla="*/ 11 h 315"/>
              <a:gd name="T70" fmla="*/ 464 w 481"/>
              <a:gd name="T71" fmla="*/ 17 h 315"/>
              <a:gd name="T72" fmla="*/ 470 w 481"/>
              <a:gd name="T73" fmla="*/ 25 h 315"/>
              <a:gd name="T74" fmla="*/ 477 w 481"/>
              <a:gd name="T75" fmla="*/ 36 h 315"/>
              <a:gd name="T76" fmla="*/ 479 w 481"/>
              <a:gd name="T77" fmla="*/ 45 h 315"/>
              <a:gd name="T78" fmla="*/ 481 w 481"/>
              <a:gd name="T79" fmla="*/ 57 h 315"/>
              <a:gd name="T80" fmla="*/ 481 w 481"/>
              <a:gd name="T81" fmla="*/ 257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1" h="315">
                <a:moveTo>
                  <a:pt x="481" y="257"/>
                </a:moveTo>
                <a:lnTo>
                  <a:pt x="481" y="257"/>
                </a:lnTo>
                <a:lnTo>
                  <a:pt x="479" y="270"/>
                </a:lnTo>
                <a:lnTo>
                  <a:pt x="477" y="281"/>
                </a:lnTo>
                <a:lnTo>
                  <a:pt x="470" y="289"/>
                </a:lnTo>
                <a:lnTo>
                  <a:pt x="464" y="298"/>
                </a:lnTo>
                <a:lnTo>
                  <a:pt x="455" y="304"/>
                </a:lnTo>
                <a:lnTo>
                  <a:pt x="447" y="311"/>
                </a:lnTo>
                <a:lnTo>
                  <a:pt x="436" y="313"/>
                </a:lnTo>
                <a:lnTo>
                  <a:pt x="423" y="315"/>
                </a:lnTo>
                <a:lnTo>
                  <a:pt x="55" y="315"/>
                </a:lnTo>
                <a:lnTo>
                  <a:pt x="55" y="315"/>
                </a:lnTo>
                <a:lnTo>
                  <a:pt x="45" y="313"/>
                </a:lnTo>
                <a:lnTo>
                  <a:pt x="34" y="311"/>
                </a:lnTo>
                <a:lnTo>
                  <a:pt x="23" y="304"/>
                </a:lnTo>
                <a:lnTo>
                  <a:pt x="15" y="298"/>
                </a:lnTo>
                <a:lnTo>
                  <a:pt x="8" y="289"/>
                </a:lnTo>
                <a:lnTo>
                  <a:pt x="4" y="281"/>
                </a:lnTo>
                <a:lnTo>
                  <a:pt x="0" y="270"/>
                </a:lnTo>
                <a:lnTo>
                  <a:pt x="0" y="257"/>
                </a:lnTo>
                <a:lnTo>
                  <a:pt x="0" y="57"/>
                </a:lnTo>
                <a:lnTo>
                  <a:pt x="0" y="57"/>
                </a:lnTo>
                <a:lnTo>
                  <a:pt x="0" y="45"/>
                </a:lnTo>
                <a:lnTo>
                  <a:pt x="4" y="36"/>
                </a:lnTo>
                <a:lnTo>
                  <a:pt x="8" y="25"/>
                </a:lnTo>
                <a:lnTo>
                  <a:pt x="15" y="17"/>
                </a:lnTo>
                <a:lnTo>
                  <a:pt x="23" y="11"/>
                </a:lnTo>
                <a:lnTo>
                  <a:pt x="34" y="4"/>
                </a:lnTo>
                <a:lnTo>
                  <a:pt x="45" y="2"/>
                </a:lnTo>
                <a:lnTo>
                  <a:pt x="55" y="0"/>
                </a:lnTo>
                <a:lnTo>
                  <a:pt x="423" y="0"/>
                </a:lnTo>
                <a:lnTo>
                  <a:pt x="423" y="0"/>
                </a:lnTo>
                <a:lnTo>
                  <a:pt x="436" y="2"/>
                </a:lnTo>
                <a:lnTo>
                  <a:pt x="447" y="4"/>
                </a:lnTo>
                <a:lnTo>
                  <a:pt x="455" y="11"/>
                </a:lnTo>
                <a:lnTo>
                  <a:pt x="464" y="17"/>
                </a:lnTo>
                <a:lnTo>
                  <a:pt x="470" y="25"/>
                </a:lnTo>
                <a:lnTo>
                  <a:pt x="477" y="36"/>
                </a:lnTo>
                <a:lnTo>
                  <a:pt x="479" y="45"/>
                </a:lnTo>
                <a:lnTo>
                  <a:pt x="481" y="57"/>
                </a:lnTo>
                <a:lnTo>
                  <a:pt x="481" y="257"/>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74" name="Freeform 17"/>
          <p:cNvSpPr/>
          <p:nvPr/>
        </p:nvSpPr>
        <p:spPr bwMode="auto">
          <a:xfrm>
            <a:off x="3103602" y="2207117"/>
            <a:ext cx="357075" cy="72714"/>
          </a:xfrm>
          <a:custGeom>
            <a:avLst/>
            <a:gdLst>
              <a:gd name="T0" fmla="*/ 793 w 825"/>
              <a:gd name="T1" fmla="*/ 168 h 168"/>
              <a:gd name="T2" fmla="*/ 780 w 825"/>
              <a:gd name="T3" fmla="*/ 166 h 168"/>
              <a:gd name="T4" fmla="*/ 763 w 825"/>
              <a:gd name="T5" fmla="*/ 149 h 168"/>
              <a:gd name="T6" fmla="*/ 761 w 825"/>
              <a:gd name="T7" fmla="*/ 136 h 168"/>
              <a:gd name="T8" fmla="*/ 761 w 825"/>
              <a:gd name="T9" fmla="*/ 115 h 168"/>
              <a:gd name="T10" fmla="*/ 757 w 825"/>
              <a:gd name="T11" fmla="*/ 96 h 168"/>
              <a:gd name="T12" fmla="*/ 746 w 825"/>
              <a:gd name="T13" fmla="*/ 79 h 168"/>
              <a:gd name="T14" fmla="*/ 732 w 825"/>
              <a:gd name="T15" fmla="*/ 68 h 168"/>
              <a:gd name="T16" fmla="*/ 712 w 825"/>
              <a:gd name="T17" fmla="*/ 64 h 168"/>
              <a:gd name="T18" fmla="*/ 444 w 825"/>
              <a:gd name="T19" fmla="*/ 126 h 168"/>
              <a:gd name="T20" fmla="*/ 442 w 825"/>
              <a:gd name="T21" fmla="*/ 132 h 168"/>
              <a:gd name="T22" fmla="*/ 434 w 825"/>
              <a:gd name="T23" fmla="*/ 149 h 168"/>
              <a:gd name="T24" fmla="*/ 419 w 825"/>
              <a:gd name="T25" fmla="*/ 158 h 168"/>
              <a:gd name="T26" fmla="*/ 412 w 825"/>
              <a:gd name="T27" fmla="*/ 158 h 168"/>
              <a:gd name="T28" fmla="*/ 400 w 825"/>
              <a:gd name="T29" fmla="*/ 156 h 168"/>
              <a:gd name="T30" fmla="*/ 383 w 825"/>
              <a:gd name="T31" fmla="*/ 139 h 168"/>
              <a:gd name="T32" fmla="*/ 380 w 825"/>
              <a:gd name="T33" fmla="*/ 126 h 168"/>
              <a:gd name="T34" fmla="*/ 112 w 825"/>
              <a:gd name="T35" fmla="*/ 64 h 168"/>
              <a:gd name="T36" fmla="*/ 102 w 825"/>
              <a:gd name="T37" fmla="*/ 66 h 168"/>
              <a:gd name="T38" fmla="*/ 85 w 825"/>
              <a:gd name="T39" fmla="*/ 73 h 168"/>
              <a:gd name="T40" fmla="*/ 72 w 825"/>
              <a:gd name="T41" fmla="*/ 87 h 168"/>
              <a:gd name="T42" fmla="*/ 63 w 825"/>
              <a:gd name="T43" fmla="*/ 105 h 168"/>
              <a:gd name="T44" fmla="*/ 63 w 825"/>
              <a:gd name="T45" fmla="*/ 136 h 168"/>
              <a:gd name="T46" fmla="*/ 61 w 825"/>
              <a:gd name="T47" fmla="*/ 143 h 168"/>
              <a:gd name="T48" fmla="*/ 53 w 825"/>
              <a:gd name="T49" fmla="*/ 160 h 168"/>
              <a:gd name="T50" fmla="*/ 38 w 825"/>
              <a:gd name="T51" fmla="*/ 168 h 168"/>
              <a:gd name="T52" fmla="*/ 31 w 825"/>
              <a:gd name="T53" fmla="*/ 168 h 168"/>
              <a:gd name="T54" fmla="*/ 19 w 825"/>
              <a:gd name="T55" fmla="*/ 166 h 168"/>
              <a:gd name="T56" fmla="*/ 2 w 825"/>
              <a:gd name="T57" fmla="*/ 149 h 168"/>
              <a:gd name="T58" fmla="*/ 0 w 825"/>
              <a:gd name="T59" fmla="*/ 136 h 168"/>
              <a:gd name="T60" fmla="*/ 0 w 825"/>
              <a:gd name="T61" fmla="*/ 115 h 168"/>
              <a:gd name="T62" fmla="*/ 8 w 825"/>
              <a:gd name="T63" fmla="*/ 70 h 168"/>
              <a:gd name="T64" fmla="*/ 34 w 825"/>
              <a:gd name="T65" fmla="*/ 34 h 168"/>
              <a:gd name="T66" fmla="*/ 68 w 825"/>
              <a:gd name="T67" fmla="*/ 11 h 168"/>
              <a:gd name="T68" fmla="*/ 112 w 825"/>
              <a:gd name="T69" fmla="*/ 0 h 168"/>
              <a:gd name="T70" fmla="*/ 712 w 825"/>
              <a:gd name="T71" fmla="*/ 0 h 168"/>
              <a:gd name="T72" fmla="*/ 755 w 825"/>
              <a:gd name="T73" fmla="*/ 11 h 168"/>
              <a:gd name="T74" fmla="*/ 791 w 825"/>
              <a:gd name="T75" fmla="*/ 34 h 168"/>
              <a:gd name="T76" fmla="*/ 815 w 825"/>
              <a:gd name="T77" fmla="*/ 70 h 168"/>
              <a:gd name="T78" fmla="*/ 825 w 825"/>
              <a:gd name="T79" fmla="*/ 115 h 168"/>
              <a:gd name="T80" fmla="*/ 825 w 825"/>
              <a:gd name="T81" fmla="*/ 136 h 168"/>
              <a:gd name="T82" fmla="*/ 823 w 825"/>
              <a:gd name="T83" fmla="*/ 149 h 168"/>
              <a:gd name="T84" fmla="*/ 806 w 825"/>
              <a:gd name="T85" fmla="*/ 166 h 168"/>
              <a:gd name="T86" fmla="*/ 793 w 825"/>
              <a:gd name="T8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5" h="168">
                <a:moveTo>
                  <a:pt x="793" y="168"/>
                </a:moveTo>
                <a:lnTo>
                  <a:pt x="793" y="168"/>
                </a:lnTo>
                <a:lnTo>
                  <a:pt x="787" y="168"/>
                </a:lnTo>
                <a:lnTo>
                  <a:pt x="780" y="166"/>
                </a:lnTo>
                <a:lnTo>
                  <a:pt x="770" y="160"/>
                </a:lnTo>
                <a:lnTo>
                  <a:pt x="763" y="149"/>
                </a:lnTo>
                <a:lnTo>
                  <a:pt x="761" y="143"/>
                </a:lnTo>
                <a:lnTo>
                  <a:pt x="761" y="136"/>
                </a:lnTo>
                <a:lnTo>
                  <a:pt x="761" y="115"/>
                </a:lnTo>
                <a:lnTo>
                  <a:pt x="761" y="115"/>
                </a:lnTo>
                <a:lnTo>
                  <a:pt x="759" y="105"/>
                </a:lnTo>
                <a:lnTo>
                  <a:pt x="757" y="96"/>
                </a:lnTo>
                <a:lnTo>
                  <a:pt x="753" y="87"/>
                </a:lnTo>
                <a:lnTo>
                  <a:pt x="746" y="79"/>
                </a:lnTo>
                <a:lnTo>
                  <a:pt x="738" y="73"/>
                </a:lnTo>
                <a:lnTo>
                  <a:pt x="732" y="68"/>
                </a:lnTo>
                <a:lnTo>
                  <a:pt x="721" y="66"/>
                </a:lnTo>
                <a:lnTo>
                  <a:pt x="712" y="64"/>
                </a:lnTo>
                <a:lnTo>
                  <a:pt x="444" y="64"/>
                </a:lnTo>
                <a:lnTo>
                  <a:pt x="444" y="126"/>
                </a:lnTo>
                <a:lnTo>
                  <a:pt x="444" y="126"/>
                </a:lnTo>
                <a:lnTo>
                  <a:pt x="442" y="132"/>
                </a:lnTo>
                <a:lnTo>
                  <a:pt x="442" y="139"/>
                </a:lnTo>
                <a:lnTo>
                  <a:pt x="434" y="149"/>
                </a:lnTo>
                <a:lnTo>
                  <a:pt x="425" y="156"/>
                </a:lnTo>
                <a:lnTo>
                  <a:pt x="419" y="158"/>
                </a:lnTo>
                <a:lnTo>
                  <a:pt x="412" y="158"/>
                </a:lnTo>
                <a:lnTo>
                  <a:pt x="412" y="158"/>
                </a:lnTo>
                <a:lnTo>
                  <a:pt x="406" y="158"/>
                </a:lnTo>
                <a:lnTo>
                  <a:pt x="400" y="156"/>
                </a:lnTo>
                <a:lnTo>
                  <a:pt x="389" y="149"/>
                </a:lnTo>
                <a:lnTo>
                  <a:pt x="383" y="139"/>
                </a:lnTo>
                <a:lnTo>
                  <a:pt x="380" y="132"/>
                </a:lnTo>
                <a:lnTo>
                  <a:pt x="380" y="126"/>
                </a:lnTo>
                <a:lnTo>
                  <a:pt x="380" y="64"/>
                </a:lnTo>
                <a:lnTo>
                  <a:pt x="112" y="64"/>
                </a:lnTo>
                <a:lnTo>
                  <a:pt x="112" y="64"/>
                </a:lnTo>
                <a:lnTo>
                  <a:pt x="102" y="66"/>
                </a:lnTo>
                <a:lnTo>
                  <a:pt x="93" y="68"/>
                </a:lnTo>
                <a:lnTo>
                  <a:pt x="85" y="73"/>
                </a:lnTo>
                <a:lnTo>
                  <a:pt x="78" y="79"/>
                </a:lnTo>
                <a:lnTo>
                  <a:pt x="72" y="87"/>
                </a:lnTo>
                <a:lnTo>
                  <a:pt x="68" y="94"/>
                </a:lnTo>
                <a:lnTo>
                  <a:pt x="63" y="105"/>
                </a:lnTo>
                <a:lnTo>
                  <a:pt x="63" y="115"/>
                </a:lnTo>
                <a:lnTo>
                  <a:pt x="63" y="136"/>
                </a:lnTo>
                <a:lnTo>
                  <a:pt x="63" y="136"/>
                </a:lnTo>
                <a:lnTo>
                  <a:pt x="61" y="143"/>
                </a:lnTo>
                <a:lnTo>
                  <a:pt x="61" y="149"/>
                </a:lnTo>
                <a:lnTo>
                  <a:pt x="53" y="160"/>
                </a:lnTo>
                <a:lnTo>
                  <a:pt x="44" y="166"/>
                </a:lnTo>
                <a:lnTo>
                  <a:pt x="38" y="168"/>
                </a:lnTo>
                <a:lnTo>
                  <a:pt x="31" y="168"/>
                </a:lnTo>
                <a:lnTo>
                  <a:pt x="31" y="168"/>
                </a:lnTo>
                <a:lnTo>
                  <a:pt x="25" y="168"/>
                </a:lnTo>
                <a:lnTo>
                  <a:pt x="19" y="166"/>
                </a:lnTo>
                <a:lnTo>
                  <a:pt x="8" y="160"/>
                </a:lnTo>
                <a:lnTo>
                  <a:pt x="2" y="149"/>
                </a:lnTo>
                <a:lnTo>
                  <a:pt x="0" y="143"/>
                </a:lnTo>
                <a:lnTo>
                  <a:pt x="0" y="136"/>
                </a:lnTo>
                <a:lnTo>
                  <a:pt x="0" y="115"/>
                </a:lnTo>
                <a:lnTo>
                  <a:pt x="0" y="115"/>
                </a:lnTo>
                <a:lnTo>
                  <a:pt x="2" y="92"/>
                </a:lnTo>
                <a:lnTo>
                  <a:pt x="8" y="70"/>
                </a:lnTo>
                <a:lnTo>
                  <a:pt x="19" y="51"/>
                </a:lnTo>
                <a:lnTo>
                  <a:pt x="34" y="34"/>
                </a:lnTo>
                <a:lnTo>
                  <a:pt x="49" y="22"/>
                </a:lnTo>
                <a:lnTo>
                  <a:pt x="68" y="11"/>
                </a:lnTo>
                <a:lnTo>
                  <a:pt x="89" y="5"/>
                </a:lnTo>
                <a:lnTo>
                  <a:pt x="112" y="0"/>
                </a:lnTo>
                <a:lnTo>
                  <a:pt x="712" y="0"/>
                </a:lnTo>
                <a:lnTo>
                  <a:pt x="712" y="0"/>
                </a:lnTo>
                <a:lnTo>
                  <a:pt x="734" y="2"/>
                </a:lnTo>
                <a:lnTo>
                  <a:pt x="755" y="11"/>
                </a:lnTo>
                <a:lnTo>
                  <a:pt x="774" y="22"/>
                </a:lnTo>
                <a:lnTo>
                  <a:pt x="791" y="34"/>
                </a:lnTo>
                <a:lnTo>
                  <a:pt x="806" y="51"/>
                </a:lnTo>
                <a:lnTo>
                  <a:pt x="815" y="70"/>
                </a:lnTo>
                <a:lnTo>
                  <a:pt x="823" y="92"/>
                </a:lnTo>
                <a:lnTo>
                  <a:pt x="825" y="115"/>
                </a:lnTo>
                <a:lnTo>
                  <a:pt x="825" y="136"/>
                </a:lnTo>
                <a:lnTo>
                  <a:pt x="825" y="136"/>
                </a:lnTo>
                <a:lnTo>
                  <a:pt x="823" y="143"/>
                </a:lnTo>
                <a:lnTo>
                  <a:pt x="823" y="149"/>
                </a:lnTo>
                <a:lnTo>
                  <a:pt x="815" y="160"/>
                </a:lnTo>
                <a:lnTo>
                  <a:pt x="806" y="166"/>
                </a:lnTo>
                <a:lnTo>
                  <a:pt x="800" y="168"/>
                </a:lnTo>
                <a:lnTo>
                  <a:pt x="793" y="168"/>
                </a:lnTo>
                <a:lnTo>
                  <a:pt x="793" y="168"/>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75" name="Freeform 18"/>
          <p:cNvSpPr/>
          <p:nvPr/>
        </p:nvSpPr>
        <p:spPr bwMode="auto">
          <a:xfrm>
            <a:off x="3390561" y="2303202"/>
            <a:ext cx="120756" cy="120324"/>
          </a:xfrm>
          <a:custGeom>
            <a:avLst/>
            <a:gdLst>
              <a:gd name="T0" fmla="*/ 279 w 279"/>
              <a:gd name="T1" fmla="*/ 229 h 278"/>
              <a:gd name="T2" fmla="*/ 279 w 279"/>
              <a:gd name="T3" fmla="*/ 229 h 278"/>
              <a:gd name="T4" fmla="*/ 277 w 279"/>
              <a:gd name="T5" fmla="*/ 238 h 278"/>
              <a:gd name="T6" fmla="*/ 275 w 279"/>
              <a:gd name="T7" fmla="*/ 248 h 278"/>
              <a:gd name="T8" fmla="*/ 271 w 279"/>
              <a:gd name="T9" fmla="*/ 257 h 278"/>
              <a:gd name="T10" fmla="*/ 264 w 279"/>
              <a:gd name="T11" fmla="*/ 263 h 278"/>
              <a:gd name="T12" fmla="*/ 256 w 279"/>
              <a:gd name="T13" fmla="*/ 270 h 278"/>
              <a:gd name="T14" fmla="*/ 247 w 279"/>
              <a:gd name="T15" fmla="*/ 274 h 278"/>
              <a:gd name="T16" fmla="*/ 239 w 279"/>
              <a:gd name="T17" fmla="*/ 278 h 278"/>
              <a:gd name="T18" fmla="*/ 228 w 279"/>
              <a:gd name="T19" fmla="*/ 278 h 278"/>
              <a:gd name="T20" fmla="*/ 52 w 279"/>
              <a:gd name="T21" fmla="*/ 278 h 278"/>
              <a:gd name="T22" fmla="*/ 52 w 279"/>
              <a:gd name="T23" fmla="*/ 278 h 278"/>
              <a:gd name="T24" fmla="*/ 41 w 279"/>
              <a:gd name="T25" fmla="*/ 278 h 278"/>
              <a:gd name="T26" fmla="*/ 30 w 279"/>
              <a:gd name="T27" fmla="*/ 274 h 278"/>
              <a:gd name="T28" fmla="*/ 22 w 279"/>
              <a:gd name="T29" fmla="*/ 270 h 278"/>
              <a:gd name="T30" fmla="*/ 15 w 279"/>
              <a:gd name="T31" fmla="*/ 263 h 278"/>
              <a:gd name="T32" fmla="*/ 9 w 279"/>
              <a:gd name="T33" fmla="*/ 257 h 278"/>
              <a:gd name="T34" fmla="*/ 5 w 279"/>
              <a:gd name="T35" fmla="*/ 248 h 278"/>
              <a:gd name="T36" fmla="*/ 3 w 279"/>
              <a:gd name="T37" fmla="*/ 238 h 278"/>
              <a:gd name="T38" fmla="*/ 0 w 279"/>
              <a:gd name="T39" fmla="*/ 229 h 278"/>
              <a:gd name="T40" fmla="*/ 0 w 279"/>
              <a:gd name="T41" fmla="*/ 51 h 278"/>
              <a:gd name="T42" fmla="*/ 0 w 279"/>
              <a:gd name="T43" fmla="*/ 51 h 278"/>
              <a:gd name="T44" fmla="*/ 3 w 279"/>
              <a:gd name="T45" fmla="*/ 40 h 278"/>
              <a:gd name="T46" fmla="*/ 5 w 279"/>
              <a:gd name="T47" fmla="*/ 31 h 278"/>
              <a:gd name="T48" fmla="*/ 9 w 279"/>
              <a:gd name="T49" fmla="*/ 23 h 278"/>
              <a:gd name="T50" fmla="*/ 15 w 279"/>
              <a:gd name="T51" fmla="*/ 14 h 278"/>
              <a:gd name="T52" fmla="*/ 22 w 279"/>
              <a:gd name="T53" fmla="*/ 8 h 278"/>
              <a:gd name="T54" fmla="*/ 30 w 279"/>
              <a:gd name="T55" fmla="*/ 4 h 278"/>
              <a:gd name="T56" fmla="*/ 41 w 279"/>
              <a:gd name="T57" fmla="*/ 2 h 278"/>
              <a:gd name="T58" fmla="*/ 52 w 279"/>
              <a:gd name="T59" fmla="*/ 0 h 278"/>
              <a:gd name="T60" fmla="*/ 228 w 279"/>
              <a:gd name="T61" fmla="*/ 0 h 278"/>
              <a:gd name="T62" fmla="*/ 228 w 279"/>
              <a:gd name="T63" fmla="*/ 0 h 278"/>
              <a:gd name="T64" fmla="*/ 239 w 279"/>
              <a:gd name="T65" fmla="*/ 2 h 278"/>
              <a:gd name="T66" fmla="*/ 247 w 279"/>
              <a:gd name="T67" fmla="*/ 4 h 278"/>
              <a:gd name="T68" fmla="*/ 256 w 279"/>
              <a:gd name="T69" fmla="*/ 8 h 278"/>
              <a:gd name="T70" fmla="*/ 264 w 279"/>
              <a:gd name="T71" fmla="*/ 14 h 278"/>
              <a:gd name="T72" fmla="*/ 271 w 279"/>
              <a:gd name="T73" fmla="*/ 23 h 278"/>
              <a:gd name="T74" fmla="*/ 275 w 279"/>
              <a:gd name="T75" fmla="*/ 31 h 278"/>
              <a:gd name="T76" fmla="*/ 277 w 279"/>
              <a:gd name="T77" fmla="*/ 40 h 278"/>
              <a:gd name="T78" fmla="*/ 279 w 279"/>
              <a:gd name="T79" fmla="*/ 51 h 278"/>
              <a:gd name="T80" fmla="*/ 279 w 279"/>
              <a:gd name="T81" fmla="*/ 22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9" h="278">
                <a:moveTo>
                  <a:pt x="279" y="229"/>
                </a:moveTo>
                <a:lnTo>
                  <a:pt x="279" y="229"/>
                </a:lnTo>
                <a:lnTo>
                  <a:pt x="277" y="238"/>
                </a:lnTo>
                <a:lnTo>
                  <a:pt x="275" y="248"/>
                </a:lnTo>
                <a:lnTo>
                  <a:pt x="271" y="257"/>
                </a:lnTo>
                <a:lnTo>
                  <a:pt x="264" y="263"/>
                </a:lnTo>
                <a:lnTo>
                  <a:pt x="256" y="270"/>
                </a:lnTo>
                <a:lnTo>
                  <a:pt x="247" y="274"/>
                </a:lnTo>
                <a:lnTo>
                  <a:pt x="239" y="278"/>
                </a:lnTo>
                <a:lnTo>
                  <a:pt x="228" y="278"/>
                </a:lnTo>
                <a:lnTo>
                  <a:pt x="52" y="278"/>
                </a:lnTo>
                <a:lnTo>
                  <a:pt x="52" y="278"/>
                </a:lnTo>
                <a:lnTo>
                  <a:pt x="41" y="278"/>
                </a:lnTo>
                <a:lnTo>
                  <a:pt x="30" y="274"/>
                </a:lnTo>
                <a:lnTo>
                  <a:pt x="22" y="270"/>
                </a:lnTo>
                <a:lnTo>
                  <a:pt x="15" y="263"/>
                </a:lnTo>
                <a:lnTo>
                  <a:pt x="9" y="257"/>
                </a:lnTo>
                <a:lnTo>
                  <a:pt x="5" y="248"/>
                </a:lnTo>
                <a:lnTo>
                  <a:pt x="3" y="238"/>
                </a:lnTo>
                <a:lnTo>
                  <a:pt x="0" y="229"/>
                </a:lnTo>
                <a:lnTo>
                  <a:pt x="0" y="51"/>
                </a:lnTo>
                <a:lnTo>
                  <a:pt x="0" y="51"/>
                </a:lnTo>
                <a:lnTo>
                  <a:pt x="3" y="40"/>
                </a:lnTo>
                <a:lnTo>
                  <a:pt x="5" y="31"/>
                </a:lnTo>
                <a:lnTo>
                  <a:pt x="9" y="23"/>
                </a:lnTo>
                <a:lnTo>
                  <a:pt x="15" y="14"/>
                </a:lnTo>
                <a:lnTo>
                  <a:pt x="22" y="8"/>
                </a:lnTo>
                <a:lnTo>
                  <a:pt x="30" y="4"/>
                </a:lnTo>
                <a:lnTo>
                  <a:pt x="41" y="2"/>
                </a:lnTo>
                <a:lnTo>
                  <a:pt x="52" y="0"/>
                </a:lnTo>
                <a:lnTo>
                  <a:pt x="228" y="0"/>
                </a:lnTo>
                <a:lnTo>
                  <a:pt x="228" y="0"/>
                </a:lnTo>
                <a:lnTo>
                  <a:pt x="239" y="2"/>
                </a:lnTo>
                <a:lnTo>
                  <a:pt x="247" y="4"/>
                </a:lnTo>
                <a:lnTo>
                  <a:pt x="256" y="8"/>
                </a:lnTo>
                <a:lnTo>
                  <a:pt x="264" y="14"/>
                </a:lnTo>
                <a:lnTo>
                  <a:pt x="271" y="23"/>
                </a:lnTo>
                <a:lnTo>
                  <a:pt x="275" y="31"/>
                </a:lnTo>
                <a:lnTo>
                  <a:pt x="277" y="40"/>
                </a:lnTo>
                <a:lnTo>
                  <a:pt x="279" y="51"/>
                </a:lnTo>
                <a:lnTo>
                  <a:pt x="279" y="229"/>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76" name="Freeform 19"/>
          <p:cNvSpPr/>
          <p:nvPr/>
        </p:nvSpPr>
        <p:spPr bwMode="auto">
          <a:xfrm>
            <a:off x="3052962" y="2303202"/>
            <a:ext cx="120324" cy="120324"/>
          </a:xfrm>
          <a:custGeom>
            <a:avLst/>
            <a:gdLst>
              <a:gd name="T0" fmla="*/ 278 w 278"/>
              <a:gd name="T1" fmla="*/ 229 h 278"/>
              <a:gd name="T2" fmla="*/ 278 w 278"/>
              <a:gd name="T3" fmla="*/ 229 h 278"/>
              <a:gd name="T4" fmla="*/ 276 w 278"/>
              <a:gd name="T5" fmla="*/ 238 h 278"/>
              <a:gd name="T6" fmla="*/ 274 w 278"/>
              <a:gd name="T7" fmla="*/ 248 h 278"/>
              <a:gd name="T8" fmla="*/ 268 w 278"/>
              <a:gd name="T9" fmla="*/ 257 h 278"/>
              <a:gd name="T10" fmla="*/ 263 w 278"/>
              <a:gd name="T11" fmla="*/ 263 h 278"/>
              <a:gd name="T12" fmla="*/ 255 w 278"/>
              <a:gd name="T13" fmla="*/ 270 h 278"/>
              <a:gd name="T14" fmla="*/ 246 w 278"/>
              <a:gd name="T15" fmla="*/ 274 h 278"/>
              <a:gd name="T16" fmla="*/ 238 w 278"/>
              <a:gd name="T17" fmla="*/ 276 h 278"/>
              <a:gd name="T18" fmla="*/ 227 w 278"/>
              <a:gd name="T19" fmla="*/ 278 h 278"/>
              <a:gd name="T20" fmla="*/ 48 w 278"/>
              <a:gd name="T21" fmla="*/ 278 h 278"/>
              <a:gd name="T22" fmla="*/ 48 w 278"/>
              <a:gd name="T23" fmla="*/ 278 h 278"/>
              <a:gd name="T24" fmla="*/ 40 w 278"/>
              <a:gd name="T25" fmla="*/ 276 h 278"/>
              <a:gd name="T26" fmla="*/ 29 w 278"/>
              <a:gd name="T27" fmla="*/ 274 h 278"/>
              <a:gd name="T28" fmla="*/ 21 w 278"/>
              <a:gd name="T29" fmla="*/ 270 h 278"/>
              <a:gd name="T30" fmla="*/ 14 w 278"/>
              <a:gd name="T31" fmla="*/ 263 h 278"/>
              <a:gd name="T32" fmla="*/ 8 w 278"/>
              <a:gd name="T33" fmla="*/ 257 h 278"/>
              <a:gd name="T34" fmla="*/ 4 w 278"/>
              <a:gd name="T35" fmla="*/ 248 h 278"/>
              <a:gd name="T36" fmla="*/ 0 w 278"/>
              <a:gd name="T37" fmla="*/ 238 h 278"/>
              <a:gd name="T38" fmla="*/ 0 w 278"/>
              <a:gd name="T39" fmla="*/ 229 h 278"/>
              <a:gd name="T40" fmla="*/ 0 w 278"/>
              <a:gd name="T41" fmla="*/ 51 h 278"/>
              <a:gd name="T42" fmla="*/ 0 w 278"/>
              <a:gd name="T43" fmla="*/ 51 h 278"/>
              <a:gd name="T44" fmla="*/ 0 w 278"/>
              <a:gd name="T45" fmla="*/ 40 h 278"/>
              <a:gd name="T46" fmla="*/ 4 w 278"/>
              <a:gd name="T47" fmla="*/ 31 h 278"/>
              <a:gd name="T48" fmla="*/ 8 w 278"/>
              <a:gd name="T49" fmla="*/ 23 h 278"/>
              <a:gd name="T50" fmla="*/ 14 w 278"/>
              <a:gd name="T51" fmla="*/ 14 h 278"/>
              <a:gd name="T52" fmla="*/ 21 w 278"/>
              <a:gd name="T53" fmla="*/ 8 h 278"/>
              <a:gd name="T54" fmla="*/ 29 w 278"/>
              <a:gd name="T55" fmla="*/ 4 h 278"/>
              <a:gd name="T56" fmla="*/ 40 w 278"/>
              <a:gd name="T57" fmla="*/ 2 h 278"/>
              <a:gd name="T58" fmla="*/ 48 w 278"/>
              <a:gd name="T59" fmla="*/ 0 h 278"/>
              <a:gd name="T60" fmla="*/ 227 w 278"/>
              <a:gd name="T61" fmla="*/ 0 h 278"/>
              <a:gd name="T62" fmla="*/ 227 w 278"/>
              <a:gd name="T63" fmla="*/ 0 h 278"/>
              <a:gd name="T64" fmla="*/ 238 w 278"/>
              <a:gd name="T65" fmla="*/ 2 h 278"/>
              <a:gd name="T66" fmla="*/ 246 w 278"/>
              <a:gd name="T67" fmla="*/ 4 h 278"/>
              <a:gd name="T68" fmla="*/ 255 w 278"/>
              <a:gd name="T69" fmla="*/ 8 h 278"/>
              <a:gd name="T70" fmla="*/ 263 w 278"/>
              <a:gd name="T71" fmla="*/ 14 h 278"/>
              <a:gd name="T72" fmla="*/ 268 w 278"/>
              <a:gd name="T73" fmla="*/ 23 h 278"/>
              <a:gd name="T74" fmla="*/ 274 w 278"/>
              <a:gd name="T75" fmla="*/ 31 h 278"/>
              <a:gd name="T76" fmla="*/ 276 w 278"/>
              <a:gd name="T77" fmla="*/ 40 h 278"/>
              <a:gd name="T78" fmla="*/ 278 w 278"/>
              <a:gd name="T79" fmla="*/ 51 h 278"/>
              <a:gd name="T80" fmla="*/ 278 w 278"/>
              <a:gd name="T81" fmla="*/ 22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8" h="278">
                <a:moveTo>
                  <a:pt x="278" y="229"/>
                </a:moveTo>
                <a:lnTo>
                  <a:pt x="278" y="229"/>
                </a:lnTo>
                <a:lnTo>
                  <a:pt x="276" y="238"/>
                </a:lnTo>
                <a:lnTo>
                  <a:pt x="274" y="248"/>
                </a:lnTo>
                <a:lnTo>
                  <a:pt x="268" y="257"/>
                </a:lnTo>
                <a:lnTo>
                  <a:pt x="263" y="263"/>
                </a:lnTo>
                <a:lnTo>
                  <a:pt x="255" y="270"/>
                </a:lnTo>
                <a:lnTo>
                  <a:pt x="246" y="274"/>
                </a:lnTo>
                <a:lnTo>
                  <a:pt x="238" y="276"/>
                </a:lnTo>
                <a:lnTo>
                  <a:pt x="227" y="278"/>
                </a:lnTo>
                <a:lnTo>
                  <a:pt x="48" y="278"/>
                </a:lnTo>
                <a:lnTo>
                  <a:pt x="48" y="278"/>
                </a:lnTo>
                <a:lnTo>
                  <a:pt x="40" y="276"/>
                </a:lnTo>
                <a:lnTo>
                  <a:pt x="29" y="274"/>
                </a:lnTo>
                <a:lnTo>
                  <a:pt x="21" y="270"/>
                </a:lnTo>
                <a:lnTo>
                  <a:pt x="14" y="263"/>
                </a:lnTo>
                <a:lnTo>
                  <a:pt x="8" y="257"/>
                </a:lnTo>
                <a:lnTo>
                  <a:pt x="4" y="248"/>
                </a:lnTo>
                <a:lnTo>
                  <a:pt x="0" y="238"/>
                </a:lnTo>
                <a:lnTo>
                  <a:pt x="0" y="229"/>
                </a:lnTo>
                <a:lnTo>
                  <a:pt x="0" y="51"/>
                </a:lnTo>
                <a:lnTo>
                  <a:pt x="0" y="51"/>
                </a:lnTo>
                <a:lnTo>
                  <a:pt x="0" y="40"/>
                </a:lnTo>
                <a:lnTo>
                  <a:pt x="4" y="31"/>
                </a:lnTo>
                <a:lnTo>
                  <a:pt x="8" y="23"/>
                </a:lnTo>
                <a:lnTo>
                  <a:pt x="14" y="14"/>
                </a:lnTo>
                <a:lnTo>
                  <a:pt x="21" y="8"/>
                </a:lnTo>
                <a:lnTo>
                  <a:pt x="29" y="4"/>
                </a:lnTo>
                <a:lnTo>
                  <a:pt x="40" y="2"/>
                </a:lnTo>
                <a:lnTo>
                  <a:pt x="48" y="0"/>
                </a:lnTo>
                <a:lnTo>
                  <a:pt x="227" y="0"/>
                </a:lnTo>
                <a:lnTo>
                  <a:pt x="227" y="0"/>
                </a:lnTo>
                <a:lnTo>
                  <a:pt x="238" y="2"/>
                </a:lnTo>
                <a:lnTo>
                  <a:pt x="246" y="4"/>
                </a:lnTo>
                <a:lnTo>
                  <a:pt x="255" y="8"/>
                </a:lnTo>
                <a:lnTo>
                  <a:pt x="263" y="14"/>
                </a:lnTo>
                <a:lnTo>
                  <a:pt x="268" y="23"/>
                </a:lnTo>
                <a:lnTo>
                  <a:pt x="274" y="31"/>
                </a:lnTo>
                <a:lnTo>
                  <a:pt x="276" y="40"/>
                </a:lnTo>
                <a:lnTo>
                  <a:pt x="278" y="51"/>
                </a:lnTo>
                <a:lnTo>
                  <a:pt x="278" y="229"/>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77" name="Freeform 20"/>
          <p:cNvSpPr/>
          <p:nvPr/>
        </p:nvSpPr>
        <p:spPr bwMode="auto">
          <a:xfrm>
            <a:off x="3224791" y="2303202"/>
            <a:ext cx="120756" cy="120324"/>
          </a:xfrm>
          <a:custGeom>
            <a:avLst/>
            <a:gdLst>
              <a:gd name="T0" fmla="*/ 279 w 279"/>
              <a:gd name="T1" fmla="*/ 229 h 278"/>
              <a:gd name="T2" fmla="*/ 279 w 279"/>
              <a:gd name="T3" fmla="*/ 229 h 278"/>
              <a:gd name="T4" fmla="*/ 277 w 279"/>
              <a:gd name="T5" fmla="*/ 238 h 278"/>
              <a:gd name="T6" fmla="*/ 275 w 279"/>
              <a:gd name="T7" fmla="*/ 248 h 278"/>
              <a:gd name="T8" fmla="*/ 271 w 279"/>
              <a:gd name="T9" fmla="*/ 257 h 278"/>
              <a:gd name="T10" fmla="*/ 264 w 279"/>
              <a:gd name="T11" fmla="*/ 263 h 278"/>
              <a:gd name="T12" fmla="*/ 256 w 279"/>
              <a:gd name="T13" fmla="*/ 270 h 278"/>
              <a:gd name="T14" fmla="*/ 247 w 279"/>
              <a:gd name="T15" fmla="*/ 274 h 278"/>
              <a:gd name="T16" fmla="*/ 239 w 279"/>
              <a:gd name="T17" fmla="*/ 276 h 278"/>
              <a:gd name="T18" fmla="*/ 228 w 279"/>
              <a:gd name="T19" fmla="*/ 278 h 278"/>
              <a:gd name="T20" fmla="*/ 52 w 279"/>
              <a:gd name="T21" fmla="*/ 278 h 278"/>
              <a:gd name="T22" fmla="*/ 52 w 279"/>
              <a:gd name="T23" fmla="*/ 278 h 278"/>
              <a:gd name="T24" fmla="*/ 41 w 279"/>
              <a:gd name="T25" fmla="*/ 276 h 278"/>
              <a:gd name="T26" fmla="*/ 32 w 279"/>
              <a:gd name="T27" fmla="*/ 274 h 278"/>
              <a:gd name="T28" fmla="*/ 24 w 279"/>
              <a:gd name="T29" fmla="*/ 270 h 278"/>
              <a:gd name="T30" fmla="*/ 15 w 279"/>
              <a:gd name="T31" fmla="*/ 263 h 278"/>
              <a:gd name="T32" fmla="*/ 9 w 279"/>
              <a:gd name="T33" fmla="*/ 257 h 278"/>
              <a:gd name="T34" fmla="*/ 5 w 279"/>
              <a:gd name="T35" fmla="*/ 248 h 278"/>
              <a:gd name="T36" fmla="*/ 3 w 279"/>
              <a:gd name="T37" fmla="*/ 238 h 278"/>
              <a:gd name="T38" fmla="*/ 0 w 279"/>
              <a:gd name="T39" fmla="*/ 229 h 278"/>
              <a:gd name="T40" fmla="*/ 0 w 279"/>
              <a:gd name="T41" fmla="*/ 51 h 278"/>
              <a:gd name="T42" fmla="*/ 0 w 279"/>
              <a:gd name="T43" fmla="*/ 51 h 278"/>
              <a:gd name="T44" fmla="*/ 3 w 279"/>
              <a:gd name="T45" fmla="*/ 40 h 278"/>
              <a:gd name="T46" fmla="*/ 5 w 279"/>
              <a:gd name="T47" fmla="*/ 31 h 278"/>
              <a:gd name="T48" fmla="*/ 9 w 279"/>
              <a:gd name="T49" fmla="*/ 23 h 278"/>
              <a:gd name="T50" fmla="*/ 15 w 279"/>
              <a:gd name="T51" fmla="*/ 14 h 278"/>
              <a:gd name="T52" fmla="*/ 24 w 279"/>
              <a:gd name="T53" fmla="*/ 8 h 278"/>
              <a:gd name="T54" fmla="*/ 32 w 279"/>
              <a:gd name="T55" fmla="*/ 4 h 278"/>
              <a:gd name="T56" fmla="*/ 41 w 279"/>
              <a:gd name="T57" fmla="*/ 2 h 278"/>
              <a:gd name="T58" fmla="*/ 52 w 279"/>
              <a:gd name="T59" fmla="*/ 0 h 278"/>
              <a:gd name="T60" fmla="*/ 228 w 279"/>
              <a:gd name="T61" fmla="*/ 0 h 278"/>
              <a:gd name="T62" fmla="*/ 228 w 279"/>
              <a:gd name="T63" fmla="*/ 0 h 278"/>
              <a:gd name="T64" fmla="*/ 239 w 279"/>
              <a:gd name="T65" fmla="*/ 2 h 278"/>
              <a:gd name="T66" fmla="*/ 247 w 279"/>
              <a:gd name="T67" fmla="*/ 4 h 278"/>
              <a:gd name="T68" fmla="*/ 256 w 279"/>
              <a:gd name="T69" fmla="*/ 8 h 278"/>
              <a:gd name="T70" fmla="*/ 264 w 279"/>
              <a:gd name="T71" fmla="*/ 14 h 278"/>
              <a:gd name="T72" fmla="*/ 271 w 279"/>
              <a:gd name="T73" fmla="*/ 23 h 278"/>
              <a:gd name="T74" fmla="*/ 275 w 279"/>
              <a:gd name="T75" fmla="*/ 31 h 278"/>
              <a:gd name="T76" fmla="*/ 277 w 279"/>
              <a:gd name="T77" fmla="*/ 40 h 278"/>
              <a:gd name="T78" fmla="*/ 279 w 279"/>
              <a:gd name="T79" fmla="*/ 51 h 278"/>
              <a:gd name="T80" fmla="*/ 279 w 279"/>
              <a:gd name="T81" fmla="*/ 22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9" h="278">
                <a:moveTo>
                  <a:pt x="279" y="229"/>
                </a:moveTo>
                <a:lnTo>
                  <a:pt x="279" y="229"/>
                </a:lnTo>
                <a:lnTo>
                  <a:pt x="277" y="238"/>
                </a:lnTo>
                <a:lnTo>
                  <a:pt x="275" y="248"/>
                </a:lnTo>
                <a:lnTo>
                  <a:pt x="271" y="257"/>
                </a:lnTo>
                <a:lnTo>
                  <a:pt x="264" y="263"/>
                </a:lnTo>
                <a:lnTo>
                  <a:pt x="256" y="270"/>
                </a:lnTo>
                <a:lnTo>
                  <a:pt x="247" y="274"/>
                </a:lnTo>
                <a:lnTo>
                  <a:pt x="239" y="276"/>
                </a:lnTo>
                <a:lnTo>
                  <a:pt x="228" y="278"/>
                </a:lnTo>
                <a:lnTo>
                  <a:pt x="52" y="278"/>
                </a:lnTo>
                <a:lnTo>
                  <a:pt x="52" y="278"/>
                </a:lnTo>
                <a:lnTo>
                  <a:pt x="41" y="276"/>
                </a:lnTo>
                <a:lnTo>
                  <a:pt x="32" y="274"/>
                </a:lnTo>
                <a:lnTo>
                  <a:pt x="24" y="270"/>
                </a:lnTo>
                <a:lnTo>
                  <a:pt x="15" y="263"/>
                </a:lnTo>
                <a:lnTo>
                  <a:pt x="9" y="257"/>
                </a:lnTo>
                <a:lnTo>
                  <a:pt x="5" y="248"/>
                </a:lnTo>
                <a:lnTo>
                  <a:pt x="3" y="238"/>
                </a:lnTo>
                <a:lnTo>
                  <a:pt x="0" y="229"/>
                </a:lnTo>
                <a:lnTo>
                  <a:pt x="0" y="51"/>
                </a:lnTo>
                <a:lnTo>
                  <a:pt x="0" y="51"/>
                </a:lnTo>
                <a:lnTo>
                  <a:pt x="3" y="40"/>
                </a:lnTo>
                <a:lnTo>
                  <a:pt x="5" y="31"/>
                </a:lnTo>
                <a:lnTo>
                  <a:pt x="9" y="23"/>
                </a:lnTo>
                <a:lnTo>
                  <a:pt x="15" y="14"/>
                </a:lnTo>
                <a:lnTo>
                  <a:pt x="24" y="8"/>
                </a:lnTo>
                <a:lnTo>
                  <a:pt x="32" y="4"/>
                </a:lnTo>
                <a:lnTo>
                  <a:pt x="41" y="2"/>
                </a:lnTo>
                <a:lnTo>
                  <a:pt x="52" y="0"/>
                </a:lnTo>
                <a:lnTo>
                  <a:pt x="228" y="0"/>
                </a:lnTo>
                <a:lnTo>
                  <a:pt x="228" y="0"/>
                </a:lnTo>
                <a:lnTo>
                  <a:pt x="239" y="2"/>
                </a:lnTo>
                <a:lnTo>
                  <a:pt x="247" y="4"/>
                </a:lnTo>
                <a:lnTo>
                  <a:pt x="256" y="8"/>
                </a:lnTo>
                <a:lnTo>
                  <a:pt x="264" y="14"/>
                </a:lnTo>
                <a:lnTo>
                  <a:pt x="271" y="23"/>
                </a:lnTo>
                <a:lnTo>
                  <a:pt x="275" y="31"/>
                </a:lnTo>
                <a:lnTo>
                  <a:pt x="277" y="40"/>
                </a:lnTo>
                <a:lnTo>
                  <a:pt x="279" y="51"/>
                </a:lnTo>
                <a:lnTo>
                  <a:pt x="279" y="229"/>
                </a:lnTo>
                <a:close/>
              </a:path>
            </a:pathLst>
          </a:custGeom>
          <a:solidFill>
            <a:schemeClr val="accent1"/>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ea"/>
              <a:sym typeface="+mn-lt"/>
            </a:endParaRPr>
          </a:p>
        </p:txBody>
      </p:sp>
      <p:sp>
        <p:nvSpPr>
          <p:cNvPr id="6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流程</a:t>
            </a:r>
            <a:endParaRPr lang="zh-CN" altLang="en-US" sz="2400" dirty="0">
              <a:latin typeface="+mj-ea"/>
            </a:endParaRPr>
          </a:p>
        </p:txBody>
      </p:sp>
      <p:pic>
        <p:nvPicPr>
          <p:cNvPr id="56" name="图片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185" name="think-cell Slide" r:id="rId2" imgW="12700" imgH="12700" progId="TCLayout.ActiveDocument.1">
                  <p:embed/>
                </p:oleObj>
              </mc:Choice>
              <mc:Fallback>
                <p:oleObj name="think-cell Slide" r:id="rId2" imgW="12700" imgH="12700" progId="TCLayout.ActiveDocument.1">
                  <p:embed/>
                  <p:pic>
                    <p:nvPicPr>
                      <p:cNvPr id="0" name="对象 1"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52" name="燕尾形箭头 2"/>
          <p:cNvSpPr/>
          <p:nvPr/>
        </p:nvSpPr>
        <p:spPr>
          <a:xfrm rot="20831738">
            <a:off x="3012196" y="3960693"/>
            <a:ext cx="2007662" cy="964212"/>
          </a:xfrm>
          <a:custGeom>
            <a:avLst/>
            <a:gdLst>
              <a:gd name="connsiteX0" fmla="*/ 0 w 1834247"/>
              <a:gd name="connsiteY0" fmla="*/ 235244 h 940976"/>
              <a:gd name="connsiteX1" fmla="*/ 1199832 w 1834247"/>
              <a:gd name="connsiteY1" fmla="*/ 235244 h 940976"/>
              <a:gd name="connsiteX2" fmla="*/ 1199832 w 1834247"/>
              <a:gd name="connsiteY2" fmla="*/ 0 h 940976"/>
              <a:gd name="connsiteX3" fmla="*/ 1834247 w 1834247"/>
              <a:gd name="connsiteY3" fmla="*/ 470488 h 940976"/>
              <a:gd name="connsiteX4" fmla="*/ 1199832 w 1834247"/>
              <a:gd name="connsiteY4" fmla="*/ 940976 h 940976"/>
              <a:gd name="connsiteX5" fmla="*/ 1199832 w 1834247"/>
              <a:gd name="connsiteY5" fmla="*/ 705732 h 940976"/>
              <a:gd name="connsiteX6" fmla="*/ 0 w 1834247"/>
              <a:gd name="connsiteY6" fmla="*/ 705732 h 940976"/>
              <a:gd name="connsiteX7" fmla="*/ 317208 w 1834247"/>
              <a:gd name="connsiteY7" fmla="*/ 470488 h 940976"/>
              <a:gd name="connsiteX8" fmla="*/ 0 w 1834247"/>
              <a:gd name="connsiteY8" fmla="*/ 235244 h 940976"/>
              <a:gd name="connsiteX0-1" fmla="*/ 0 w 1834247"/>
              <a:gd name="connsiteY0-2" fmla="*/ 235244 h 962875"/>
              <a:gd name="connsiteX1-3" fmla="*/ 1199832 w 1834247"/>
              <a:gd name="connsiteY1-4" fmla="*/ 235244 h 962875"/>
              <a:gd name="connsiteX2-5" fmla="*/ 1199832 w 1834247"/>
              <a:gd name="connsiteY2-6" fmla="*/ 0 h 962875"/>
              <a:gd name="connsiteX3-7" fmla="*/ 1834247 w 1834247"/>
              <a:gd name="connsiteY3-8" fmla="*/ 470488 h 962875"/>
              <a:gd name="connsiteX4-9" fmla="*/ 1220513 w 1834247"/>
              <a:gd name="connsiteY4-10" fmla="*/ 962875 h 962875"/>
              <a:gd name="connsiteX5-11" fmla="*/ 1199832 w 1834247"/>
              <a:gd name="connsiteY5-12" fmla="*/ 705732 h 962875"/>
              <a:gd name="connsiteX6-13" fmla="*/ 0 w 1834247"/>
              <a:gd name="connsiteY6-14" fmla="*/ 705732 h 962875"/>
              <a:gd name="connsiteX7-15" fmla="*/ 317208 w 1834247"/>
              <a:gd name="connsiteY7-16" fmla="*/ 470488 h 962875"/>
              <a:gd name="connsiteX8-17" fmla="*/ 0 w 1834247"/>
              <a:gd name="connsiteY8-18" fmla="*/ 235244 h 962875"/>
              <a:gd name="connsiteX0-19" fmla="*/ 0 w 1834247"/>
              <a:gd name="connsiteY0-20" fmla="*/ 235244 h 962875"/>
              <a:gd name="connsiteX1-21" fmla="*/ 1199832 w 1834247"/>
              <a:gd name="connsiteY1-22" fmla="*/ 235244 h 962875"/>
              <a:gd name="connsiteX2-23" fmla="*/ 1199832 w 1834247"/>
              <a:gd name="connsiteY2-24" fmla="*/ 0 h 962875"/>
              <a:gd name="connsiteX3-25" fmla="*/ 1834247 w 1834247"/>
              <a:gd name="connsiteY3-26" fmla="*/ 470488 h 962875"/>
              <a:gd name="connsiteX4-27" fmla="*/ 1220513 w 1834247"/>
              <a:gd name="connsiteY4-28" fmla="*/ 962875 h 962875"/>
              <a:gd name="connsiteX5-29" fmla="*/ 1199832 w 1834247"/>
              <a:gd name="connsiteY5-30" fmla="*/ 705732 h 962875"/>
              <a:gd name="connsiteX6-31" fmla="*/ 0 w 1834247"/>
              <a:gd name="connsiteY6-32" fmla="*/ 705732 h 962875"/>
              <a:gd name="connsiteX7-33" fmla="*/ 317208 w 1834247"/>
              <a:gd name="connsiteY7-34" fmla="*/ 470488 h 962875"/>
              <a:gd name="connsiteX8-35" fmla="*/ 0 w 1834247"/>
              <a:gd name="connsiteY8-36" fmla="*/ 235244 h 962875"/>
              <a:gd name="connsiteX0-37" fmla="*/ 0 w 1834247"/>
              <a:gd name="connsiteY0-38" fmla="*/ 235244 h 962875"/>
              <a:gd name="connsiteX1-39" fmla="*/ 1199832 w 1834247"/>
              <a:gd name="connsiteY1-40" fmla="*/ 235244 h 962875"/>
              <a:gd name="connsiteX2-41" fmla="*/ 1199832 w 1834247"/>
              <a:gd name="connsiteY2-42" fmla="*/ 0 h 962875"/>
              <a:gd name="connsiteX3-43" fmla="*/ 1834247 w 1834247"/>
              <a:gd name="connsiteY3-44" fmla="*/ 470488 h 962875"/>
              <a:gd name="connsiteX4-45" fmla="*/ 1220513 w 1834247"/>
              <a:gd name="connsiteY4-46" fmla="*/ 962875 h 962875"/>
              <a:gd name="connsiteX5-47" fmla="*/ 1199832 w 1834247"/>
              <a:gd name="connsiteY5-48" fmla="*/ 705732 h 962875"/>
              <a:gd name="connsiteX6-49" fmla="*/ 0 w 1834247"/>
              <a:gd name="connsiteY6-50" fmla="*/ 705732 h 962875"/>
              <a:gd name="connsiteX7-51" fmla="*/ 317208 w 1834247"/>
              <a:gd name="connsiteY7-52" fmla="*/ 470488 h 962875"/>
              <a:gd name="connsiteX8-53" fmla="*/ 0 w 1834247"/>
              <a:gd name="connsiteY8-54" fmla="*/ 235244 h 962875"/>
              <a:gd name="connsiteX0-55" fmla="*/ 0 w 1834247"/>
              <a:gd name="connsiteY0-56" fmla="*/ 235244 h 962875"/>
              <a:gd name="connsiteX1-57" fmla="*/ 1199832 w 1834247"/>
              <a:gd name="connsiteY1-58" fmla="*/ 235244 h 962875"/>
              <a:gd name="connsiteX2-59" fmla="*/ 1199832 w 1834247"/>
              <a:gd name="connsiteY2-60" fmla="*/ 0 h 962875"/>
              <a:gd name="connsiteX3-61" fmla="*/ 1834247 w 1834247"/>
              <a:gd name="connsiteY3-62" fmla="*/ 470488 h 962875"/>
              <a:gd name="connsiteX4-63" fmla="*/ 1220513 w 1834247"/>
              <a:gd name="connsiteY4-64" fmla="*/ 962875 h 962875"/>
              <a:gd name="connsiteX5-65" fmla="*/ 1199832 w 1834247"/>
              <a:gd name="connsiteY5-66" fmla="*/ 705732 h 962875"/>
              <a:gd name="connsiteX6-67" fmla="*/ 0 w 1834247"/>
              <a:gd name="connsiteY6-68" fmla="*/ 705732 h 962875"/>
              <a:gd name="connsiteX7-69" fmla="*/ 317208 w 1834247"/>
              <a:gd name="connsiteY7-70" fmla="*/ 470488 h 962875"/>
              <a:gd name="connsiteX8-71" fmla="*/ 0 w 1834247"/>
              <a:gd name="connsiteY8-72" fmla="*/ 235244 h 962875"/>
              <a:gd name="connsiteX0-73" fmla="*/ 0 w 1834247"/>
              <a:gd name="connsiteY0-74" fmla="*/ 235244 h 962875"/>
              <a:gd name="connsiteX1-75" fmla="*/ 1199832 w 1834247"/>
              <a:gd name="connsiteY1-76" fmla="*/ 235244 h 962875"/>
              <a:gd name="connsiteX2-77" fmla="*/ 1199832 w 1834247"/>
              <a:gd name="connsiteY2-78" fmla="*/ 0 h 962875"/>
              <a:gd name="connsiteX3-79" fmla="*/ 1834247 w 1834247"/>
              <a:gd name="connsiteY3-80" fmla="*/ 470488 h 962875"/>
              <a:gd name="connsiteX4-81" fmla="*/ 1220513 w 1834247"/>
              <a:gd name="connsiteY4-82" fmla="*/ 962875 h 962875"/>
              <a:gd name="connsiteX5-83" fmla="*/ 1199832 w 1834247"/>
              <a:gd name="connsiteY5-84" fmla="*/ 705732 h 962875"/>
              <a:gd name="connsiteX6-85" fmla="*/ 0 w 1834247"/>
              <a:gd name="connsiteY6-86" fmla="*/ 705732 h 962875"/>
              <a:gd name="connsiteX7-87" fmla="*/ 317208 w 1834247"/>
              <a:gd name="connsiteY7-88" fmla="*/ 470488 h 962875"/>
              <a:gd name="connsiteX8-89" fmla="*/ 0 w 1834247"/>
              <a:gd name="connsiteY8-90" fmla="*/ 235244 h 962875"/>
              <a:gd name="connsiteX0-91" fmla="*/ 0 w 1834247"/>
              <a:gd name="connsiteY0-92" fmla="*/ 235244 h 962875"/>
              <a:gd name="connsiteX1-93" fmla="*/ 1219176 w 1834247"/>
              <a:gd name="connsiteY1-94" fmla="*/ 229407 h 962875"/>
              <a:gd name="connsiteX2-95" fmla="*/ 1199832 w 1834247"/>
              <a:gd name="connsiteY2-96" fmla="*/ 0 h 962875"/>
              <a:gd name="connsiteX3-97" fmla="*/ 1834247 w 1834247"/>
              <a:gd name="connsiteY3-98" fmla="*/ 470488 h 962875"/>
              <a:gd name="connsiteX4-99" fmla="*/ 1220513 w 1834247"/>
              <a:gd name="connsiteY4-100" fmla="*/ 962875 h 962875"/>
              <a:gd name="connsiteX5-101" fmla="*/ 1199832 w 1834247"/>
              <a:gd name="connsiteY5-102" fmla="*/ 705732 h 962875"/>
              <a:gd name="connsiteX6-103" fmla="*/ 0 w 1834247"/>
              <a:gd name="connsiteY6-104" fmla="*/ 705732 h 962875"/>
              <a:gd name="connsiteX7-105" fmla="*/ 317208 w 1834247"/>
              <a:gd name="connsiteY7-106" fmla="*/ 470488 h 962875"/>
              <a:gd name="connsiteX8-107" fmla="*/ 0 w 1834247"/>
              <a:gd name="connsiteY8-108" fmla="*/ 235244 h 962875"/>
              <a:gd name="connsiteX0-109" fmla="*/ 0 w 1872865"/>
              <a:gd name="connsiteY0-110" fmla="*/ 95641 h 962875"/>
              <a:gd name="connsiteX1-111" fmla="*/ 1257794 w 1872865"/>
              <a:gd name="connsiteY1-112" fmla="*/ 229407 h 962875"/>
              <a:gd name="connsiteX2-113" fmla="*/ 1238450 w 1872865"/>
              <a:gd name="connsiteY2-114" fmla="*/ 0 h 962875"/>
              <a:gd name="connsiteX3-115" fmla="*/ 1872865 w 1872865"/>
              <a:gd name="connsiteY3-116" fmla="*/ 470488 h 962875"/>
              <a:gd name="connsiteX4-117" fmla="*/ 1259131 w 1872865"/>
              <a:gd name="connsiteY4-118" fmla="*/ 962875 h 962875"/>
              <a:gd name="connsiteX5-119" fmla="*/ 1238450 w 1872865"/>
              <a:gd name="connsiteY5-120" fmla="*/ 705732 h 962875"/>
              <a:gd name="connsiteX6-121" fmla="*/ 38618 w 1872865"/>
              <a:gd name="connsiteY6-122" fmla="*/ 705732 h 962875"/>
              <a:gd name="connsiteX7-123" fmla="*/ 355826 w 1872865"/>
              <a:gd name="connsiteY7-124" fmla="*/ 470488 h 962875"/>
              <a:gd name="connsiteX8-125" fmla="*/ 0 w 1872865"/>
              <a:gd name="connsiteY8-126" fmla="*/ 95641 h 962875"/>
              <a:gd name="connsiteX0-127" fmla="*/ 0 w 1872865"/>
              <a:gd name="connsiteY0-128" fmla="*/ 95641 h 962875"/>
              <a:gd name="connsiteX1-129" fmla="*/ 1257794 w 1872865"/>
              <a:gd name="connsiteY1-130" fmla="*/ 229407 h 962875"/>
              <a:gd name="connsiteX2-131" fmla="*/ 1238450 w 1872865"/>
              <a:gd name="connsiteY2-132" fmla="*/ 0 h 962875"/>
              <a:gd name="connsiteX3-133" fmla="*/ 1872865 w 1872865"/>
              <a:gd name="connsiteY3-134" fmla="*/ 470488 h 962875"/>
              <a:gd name="connsiteX4-135" fmla="*/ 1259131 w 1872865"/>
              <a:gd name="connsiteY4-136" fmla="*/ 962875 h 962875"/>
              <a:gd name="connsiteX5-137" fmla="*/ 1238450 w 1872865"/>
              <a:gd name="connsiteY5-138" fmla="*/ 705732 h 962875"/>
              <a:gd name="connsiteX6-139" fmla="*/ 38618 w 1872865"/>
              <a:gd name="connsiteY6-140" fmla="*/ 705732 h 962875"/>
              <a:gd name="connsiteX7-141" fmla="*/ 355826 w 1872865"/>
              <a:gd name="connsiteY7-142" fmla="*/ 470488 h 962875"/>
              <a:gd name="connsiteX8-143" fmla="*/ 0 w 1872865"/>
              <a:gd name="connsiteY8-144" fmla="*/ 95641 h 962875"/>
              <a:gd name="connsiteX0-145" fmla="*/ 0 w 1872865"/>
              <a:gd name="connsiteY0-146" fmla="*/ 95641 h 962875"/>
              <a:gd name="connsiteX1-147" fmla="*/ 1257794 w 1872865"/>
              <a:gd name="connsiteY1-148" fmla="*/ 229407 h 962875"/>
              <a:gd name="connsiteX2-149" fmla="*/ 1238450 w 1872865"/>
              <a:gd name="connsiteY2-150" fmla="*/ 0 h 962875"/>
              <a:gd name="connsiteX3-151" fmla="*/ 1872865 w 1872865"/>
              <a:gd name="connsiteY3-152" fmla="*/ 470488 h 962875"/>
              <a:gd name="connsiteX4-153" fmla="*/ 1259131 w 1872865"/>
              <a:gd name="connsiteY4-154" fmla="*/ 962875 h 962875"/>
              <a:gd name="connsiteX5-155" fmla="*/ 1238450 w 1872865"/>
              <a:gd name="connsiteY5-156" fmla="*/ 705732 h 962875"/>
              <a:gd name="connsiteX6-157" fmla="*/ 38618 w 1872865"/>
              <a:gd name="connsiteY6-158" fmla="*/ 705732 h 962875"/>
              <a:gd name="connsiteX7-159" fmla="*/ 355826 w 1872865"/>
              <a:gd name="connsiteY7-160" fmla="*/ 470488 h 962875"/>
              <a:gd name="connsiteX8-161" fmla="*/ 0 w 1872865"/>
              <a:gd name="connsiteY8-162" fmla="*/ 95641 h 962875"/>
              <a:gd name="connsiteX0-163" fmla="*/ 0 w 1872865"/>
              <a:gd name="connsiteY0-164" fmla="*/ 95641 h 962875"/>
              <a:gd name="connsiteX1-165" fmla="*/ 1257794 w 1872865"/>
              <a:gd name="connsiteY1-166" fmla="*/ 229407 h 962875"/>
              <a:gd name="connsiteX2-167" fmla="*/ 1238450 w 1872865"/>
              <a:gd name="connsiteY2-168" fmla="*/ 0 h 962875"/>
              <a:gd name="connsiteX3-169" fmla="*/ 1872865 w 1872865"/>
              <a:gd name="connsiteY3-170" fmla="*/ 470488 h 962875"/>
              <a:gd name="connsiteX4-171" fmla="*/ 1259131 w 1872865"/>
              <a:gd name="connsiteY4-172" fmla="*/ 962875 h 962875"/>
              <a:gd name="connsiteX5-173" fmla="*/ 1238450 w 1872865"/>
              <a:gd name="connsiteY5-174" fmla="*/ 705732 h 962875"/>
              <a:gd name="connsiteX6-175" fmla="*/ 38618 w 1872865"/>
              <a:gd name="connsiteY6-176" fmla="*/ 705732 h 962875"/>
              <a:gd name="connsiteX7-177" fmla="*/ 251511 w 1872865"/>
              <a:gd name="connsiteY7-178" fmla="*/ 392927 h 962875"/>
              <a:gd name="connsiteX8-179" fmla="*/ 0 w 1872865"/>
              <a:gd name="connsiteY8-180" fmla="*/ 95641 h 962875"/>
              <a:gd name="connsiteX0-181" fmla="*/ 128044 w 2000909"/>
              <a:gd name="connsiteY0-182" fmla="*/ 95641 h 962875"/>
              <a:gd name="connsiteX1-183" fmla="*/ 1385838 w 2000909"/>
              <a:gd name="connsiteY1-184" fmla="*/ 229407 h 962875"/>
              <a:gd name="connsiteX2-185" fmla="*/ 1366494 w 2000909"/>
              <a:gd name="connsiteY2-186" fmla="*/ 0 h 962875"/>
              <a:gd name="connsiteX3-187" fmla="*/ 2000909 w 2000909"/>
              <a:gd name="connsiteY3-188" fmla="*/ 470488 h 962875"/>
              <a:gd name="connsiteX4-189" fmla="*/ 1387175 w 2000909"/>
              <a:gd name="connsiteY4-190" fmla="*/ 962875 h 962875"/>
              <a:gd name="connsiteX5-191" fmla="*/ 1366494 w 2000909"/>
              <a:gd name="connsiteY5-192" fmla="*/ 705732 h 962875"/>
              <a:gd name="connsiteX6-193" fmla="*/ 0 w 2000909"/>
              <a:gd name="connsiteY6-194" fmla="*/ 573117 h 962875"/>
              <a:gd name="connsiteX7-195" fmla="*/ 379555 w 2000909"/>
              <a:gd name="connsiteY7-196" fmla="*/ 392927 h 962875"/>
              <a:gd name="connsiteX8-197" fmla="*/ 128044 w 2000909"/>
              <a:gd name="connsiteY8-198" fmla="*/ 95641 h 962875"/>
              <a:gd name="connsiteX0-199" fmla="*/ 128044 w 2000909"/>
              <a:gd name="connsiteY0-200" fmla="*/ 95641 h 962875"/>
              <a:gd name="connsiteX1-201" fmla="*/ 1385838 w 2000909"/>
              <a:gd name="connsiteY1-202" fmla="*/ 229407 h 962875"/>
              <a:gd name="connsiteX2-203" fmla="*/ 1366494 w 2000909"/>
              <a:gd name="connsiteY2-204" fmla="*/ 0 h 962875"/>
              <a:gd name="connsiteX3-205" fmla="*/ 2000909 w 2000909"/>
              <a:gd name="connsiteY3-206" fmla="*/ 470488 h 962875"/>
              <a:gd name="connsiteX4-207" fmla="*/ 1387175 w 2000909"/>
              <a:gd name="connsiteY4-208" fmla="*/ 962875 h 962875"/>
              <a:gd name="connsiteX5-209" fmla="*/ 1366494 w 2000909"/>
              <a:gd name="connsiteY5-210" fmla="*/ 705732 h 962875"/>
              <a:gd name="connsiteX6-211" fmla="*/ 0 w 2000909"/>
              <a:gd name="connsiteY6-212" fmla="*/ 573117 h 962875"/>
              <a:gd name="connsiteX7-213" fmla="*/ 379555 w 2000909"/>
              <a:gd name="connsiteY7-214" fmla="*/ 392927 h 962875"/>
              <a:gd name="connsiteX8-215" fmla="*/ 128044 w 2000909"/>
              <a:gd name="connsiteY8-216" fmla="*/ 95641 h 962875"/>
              <a:gd name="connsiteX0-217" fmla="*/ 128044 w 2000909"/>
              <a:gd name="connsiteY0-218" fmla="*/ 95641 h 962875"/>
              <a:gd name="connsiteX1-219" fmla="*/ 1385838 w 2000909"/>
              <a:gd name="connsiteY1-220" fmla="*/ 229407 h 962875"/>
              <a:gd name="connsiteX2-221" fmla="*/ 1366494 w 2000909"/>
              <a:gd name="connsiteY2-222" fmla="*/ 0 h 962875"/>
              <a:gd name="connsiteX3-223" fmla="*/ 2000909 w 2000909"/>
              <a:gd name="connsiteY3-224" fmla="*/ 470488 h 962875"/>
              <a:gd name="connsiteX4-225" fmla="*/ 1387175 w 2000909"/>
              <a:gd name="connsiteY4-226" fmla="*/ 962875 h 962875"/>
              <a:gd name="connsiteX5-227" fmla="*/ 1366494 w 2000909"/>
              <a:gd name="connsiteY5-228" fmla="*/ 705732 h 962875"/>
              <a:gd name="connsiteX6-229" fmla="*/ 0 w 2000909"/>
              <a:gd name="connsiteY6-230" fmla="*/ 573117 h 962875"/>
              <a:gd name="connsiteX7-231" fmla="*/ 379555 w 2000909"/>
              <a:gd name="connsiteY7-232" fmla="*/ 392927 h 962875"/>
              <a:gd name="connsiteX8-233" fmla="*/ 128044 w 2000909"/>
              <a:gd name="connsiteY8-234" fmla="*/ 95641 h 962875"/>
              <a:gd name="connsiteX0-235" fmla="*/ 128044 w 2000909"/>
              <a:gd name="connsiteY0-236" fmla="*/ 95641 h 964212"/>
              <a:gd name="connsiteX1-237" fmla="*/ 1385838 w 2000909"/>
              <a:gd name="connsiteY1-238" fmla="*/ 229407 h 964212"/>
              <a:gd name="connsiteX2-239" fmla="*/ 1366494 w 2000909"/>
              <a:gd name="connsiteY2-240" fmla="*/ 0 h 964212"/>
              <a:gd name="connsiteX3-241" fmla="*/ 2000909 w 2000909"/>
              <a:gd name="connsiteY3-242" fmla="*/ 470488 h 964212"/>
              <a:gd name="connsiteX4-243" fmla="*/ 1359438 w 2000909"/>
              <a:gd name="connsiteY4-244" fmla="*/ 964212 h 964212"/>
              <a:gd name="connsiteX5-245" fmla="*/ 1366494 w 2000909"/>
              <a:gd name="connsiteY5-246" fmla="*/ 705732 h 964212"/>
              <a:gd name="connsiteX6-247" fmla="*/ 0 w 2000909"/>
              <a:gd name="connsiteY6-248" fmla="*/ 573117 h 964212"/>
              <a:gd name="connsiteX7-249" fmla="*/ 379555 w 2000909"/>
              <a:gd name="connsiteY7-250" fmla="*/ 392927 h 964212"/>
              <a:gd name="connsiteX8-251" fmla="*/ 128044 w 2000909"/>
              <a:gd name="connsiteY8-252" fmla="*/ 95641 h 964212"/>
              <a:gd name="connsiteX0-253" fmla="*/ 128044 w 2000909"/>
              <a:gd name="connsiteY0-254" fmla="*/ 95641 h 964212"/>
              <a:gd name="connsiteX1-255" fmla="*/ 1385838 w 2000909"/>
              <a:gd name="connsiteY1-256" fmla="*/ 229407 h 964212"/>
              <a:gd name="connsiteX2-257" fmla="*/ 1366494 w 2000909"/>
              <a:gd name="connsiteY2-258" fmla="*/ 0 h 964212"/>
              <a:gd name="connsiteX3-259" fmla="*/ 2000909 w 2000909"/>
              <a:gd name="connsiteY3-260" fmla="*/ 470488 h 964212"/>
              <a:gd name="connsiteX4-261" fmla="*/ 1359438 w 2000909"/>
              <a:gd name="connsiteY4-262" fmla="*/ 964212 h 964212"/>
              <a:gd name="connsiteX5-263" fmla="*/ 1291182 w 2000909"/>
              <a:gd name="connsiteY5-264" fmla="*/ 805850 h 964212"/>
              <a:gd name="connsiteX6-265" fmla="*/ 0 w 2000909"/>
              <a:gd name="connsiteY6-266" fmla="*/ 573117 h 964212"/>
              <a:gd name="connsiteX7-267" fmla="*/ 379555 w 2000909"/>
              <a:gd name="connsiteY7-268" fmla="*/ 392927 h 964212"/>
              <a:gd name="connsiteX8-269" fmla="*/ 128044 w 2000909"/>
              <a:gd name="connsiteY8-270" fmla="*/ 95641 h 964212"/>
              <a:gd name="connsiteX0-271" fmla="*/ 128044 w 2000909"/>
              <a:gd name="connsiteY0-272" fmla="*/ 95641 h 964212"/>
              <a:gd name="connsiteX1-273" fmla="*/ 1385838 w 2000909"/>
              <a:gd name="connsiteY1-274" fmla="*/ 229407 h 964212"/>
              <a:gd name="connsiteX2-275" fmla="*/ 1366494 w 2000909"/>
              <a:gd name="connsiteY2-276" fmla="*/ 0 h 964212"/>
              <a:gd name="connsiteX3-277" fmla="*/ 2000909 w 2000909"/>
              <a:gd name="connsiteY3-278" fmla="*/ 470488 h 964212"/>
              <a:gd name="connsiteX4-279" fmla="*/ 1359438 w 2000909"/>
              <a:gd name="connsiteY4-280" fmla="*/ 964212 h 964212"/>
              <a:gd name="connsiteX5-281" fmla="*/ 1389424 w 2000909"/>
              <a:gd name="connsiteY5-282" fmla="*/ 723434 h 964212"/>
              <a:gd name="connsiteX6-283" fmla="*/ 0 w 2000909"/>
              <a:gd name="connsiteY6-284" fmla="*/ 573117 h 964212"/>
              <a:gd name="connsiteX7-285" fmla="*/ 379555 w 2000909"/>
              <a:gd name="connsiteY7-286" fmla="*/ 392927 h 964212"/>
              <a:gd name="connsiteX8-287" fmla="*/ 128044 w 2000909"/>
              <a:gd name="connsiteY8-288" fmla="*/ 95641 h 964212"/>
              <a:gd name="connsiteX0-289" fmla="*/ 128044 w 2000909"/>
              <a:gd name="connsiteY0-290" fmla="*/ 95641 h 964212"/>
              <a:gd name="connsiteX1-291" fmla="*/ 1385838 w 2000909"/>
              <a:gd name="connsiteY1-292" fmla="*/ 229407 h 964212"/>
              <a:gd name="connsiteX2-293" fmla="*/ 1366494 w 2000909"/>
              <a:gd name="connsiteY2-294" fmla="*/ 0 h 964212"/>
              <a:gd name="connsiteX3-295" fmla="*/ 2000909 w 2000909"/>
              <a:gd name="connsiteY3-296" fmla="*/ 470488 h 964212"/>
              <a:gd name="connsiteX4-297" fmla="*/ 1359438 w 2000909"/>
              <a:gd name="connsiteY4-298" fmla="*/ 964212 h 964212"/>
              <a:gd name="connsiteX5-299" fmla="*/ 1389424 w 2000909"/>
              <a:gd name="connsiteY5-300" fmla="*/ 723434 h 964212"/>
              <a:gd name="connsiteX6-301" fmla="*/ 0 w 2000909"/>
              <a:gd name="connsiteY6-302" fmla="*/ 573117 h 964212"/>
              <a:gd name="connsiteX7-303" fmla="*/ 379555 w 2000909"/>
              <a:gd name="connsiteY7-304" fmla="*/ 392927 h 964212"/>
              <a:gd name="connsiteX8-305" fmla="*/ 128044 w 2000909"/>
              <a:gd name="connsiteY8-306" fmla="*/ 95641 h 964212"/>
              <a:gd name="connsiteX0-307" fmla="*/ 128044 w 2007662"/>
              <a:gd name="connsiteY0-308" fmla="*/ 95641 h 964212"/>
              <a:gd name="connsiteX1-309" fmla="*/ 1385838 w 2007662"/>
              <a:gd name="connsiteY1-310" fmla="*/ 229407 h 964212"/>
              <a:gd name="connsiteX2-311" fmla="*/ 1366494 w 2007662"/>
              <a:gd name="connsiteY2-312" fmla="*/ 0 h 964212"/>
              <a:gd name="connsiteX3-313" fmla="*/ 2007662 w 2007662"/>
              <a:gd name="connsiteY3-314" fmla="*/ 457897 h 964212"/>
              <a:gd name="connsiteX4-315" fmla="*/ 1359438 w 2007662"/>
              <a:gd name="connsiteY4-316" fmla="*/ 964212 h 964212"/>
              <a:gd name="connsiteX5-317" fmla="*/ 1389424 w 2007662"/>
              <a:gd name="connsiteY5-318" fmla="*/ 723434 h 964212"/>
              <a:gd name="connsiteX6-319" fmla="*/ 0 w 2007662"/>
              <a:gd name="connsiteY6-320" fmla="*/ 573117 h 964212"/>
              <a:gd name="connsiteX7-321" fmla="*/ 379555 w 2007662"/>
              <a:gd name="connsiteY7-322" fmla="*/ 392927 h 964212"/>
              <a:gd name="connsiteX8-323" fmla="*/ 128044 w 2007662"/>
              <a:gd name="connsiteY8-324" fmla="*/ 95641 h 964212"/>
              <a:gd name="connsiteX0-325" fmla="*/ 128044 w 2007662"/>
              <a:gd name="connsiteY0-326" fmla="*/ 95641 h 964212"/>
              <a:gd name="connsiteX1-327" fmla="*/ 1385838 w 2007662"/>
              <a:gd name="connsiteY1-328" fmla="*/ 229407 h 964212"/>
              <a:gd name="connsiteX2-329" fmla="*/ 1366494 w 2007662"/>
              <a:gd name="connsiteY2-330" fmla="*/ 0 h 964212"/>
              <a:gd name="connsiteX3-331" fmla="*/ 2007662 w 2007662"/>
              <a:gd name="connsiteY3-332" fmla="*/ 457897 h 964212"/>
              <a:gd name="connsiteX4-333" fmla="*/ 1359438 w 2007662"/>
              <a:gd name="connsiteY4-334" fmla="*/ 964212 h 964212"/>
              <a:gd name="connsiteX5-335" fmla="*/ 1389424 w 2007662"/>
              <a:gd name="connsiteY5-336" fmla="*/ 723434 h 964212"/>
              <a:gd name="connsiteX6-337" fmla="*/ 0 w 2007662"/>
              <a:gd name="connsiteY6-338" fmla="*/ 573117 h 964212"/>
              <a:gd name="connsiteX7-339" fmla="*/ 379555 w 2007662"/>
              <a:gd name="connsiteY7-340" fmla="*/ 392927 h 964212"/>
              <a:gd name="connsiteX8-341" fmla="*/ 128044 w 2007662"/>
              <a:gd name="connsiteY8-342" fmla="*/ 95641 h 964212"/>
              <a:gd name="connsiteX0-343" fmla="*/ 128044 w 2007662"/>
              <a:gd name="connsiteY0-344" fmla="*/ 95641 h 964212"/>
              <a:gd name="connsiteX1-345" fmla="*/ 1385838 w 2007662"/>
              <a:gd name="connsiteY1-346" fmla="*/ 229407 h 964212"/>
              <a:gd name="connsiteX2-347" fmla="*/ 1366494 w 2007662"/>
              <a:gd name="connsiteY2-348" fmla="*/ 0 h 964212"/>
              <a:gd name="connsiteX3-349" fmla="*/ 2007662 w 2007662"/>
              <a:gd name="connsiteY3-350" fmla="*/ 457897 h 964212"/>
              <a:gd name="connsiteX4-351" fmla="*/ 1359438 w 2007662"/>
              <a:gd name="connsiteY4-352" fmla="*/ 964212 h 964212"/>
              <a:gd name="connsiteX5-353" fmla="*/ 1389424 w 2007662"/>
              <a:gd name="connsiteY5-354" fmla="*/ 723434 h 964212"/>
              <a:gd name="connsiteX6-355" fmla="*/ 0 w 2007662"/>
              <a:gd name="connsiteY6-356" fmla="*/ 573117 h 964212"/>
              <a:gd name="connsiteX7-357" fmla="*/ 370856 w 2007662"/>
              <a:gd name="connsiteY7-358" fmla="*/ 399070 h 964212"/>
              <a:gd name="connsiteX8-359" fmla="*/ 128044 w 2007662"/>
              <a:gd name="connsiteY8-360" fmla="*/ 95641 h 96421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2007662" h="964212">
                <a:moveTo>
                  <a:pt x="128044" y="95641"/>
                </a:moveTo>
                <a:cubicBezTo>
                  <a:pt x="560932" y="185365"/>
                  <a:pt x="1016023" y="243763"/>
                  <a:pt x="1385838" y="229407"/>
                </a:cubicBezTo>
                <a:lnTo>
                  <a:pt x="1366494" y="0"/>
                </a:lnTo>
                <a:cubicBezTo>
                  <a:pt x="1581858" y="169725"/>
                  <a:pt x="1796190" y="301068"/>
                  <a:pt x="2007662" y="457897"/>
                </a:cubicBezTo>
                <a:cubicBezTo>
                  <a:pt x="1789032" y="641510"/>
                  <a:pt x="1575513" y="795440"/>
                  <a:pt x="1359438" y="964212"/>
                </a:cubicBezTo>
                <a:lnTo>
                  <a:pt x="1389424" y="723434"/>
                </a:lnTo>
                <a:cubicBezTo>
                  <a:pt x="1027902" y="745843"/>
                  <a:pt x="485604" y="682106"/>
                  <a:pt x="0" y="573117"/>
                </a:cubicBezTo>
                <a:lnTo>
                  <a:pt x="370856" y="399070"/>
                </a:lnTo>
                <a:lnTo>
                  <a:pt x="128044" y="95641"/>
                </a:lnTo>
                <a:close/>
              </a:path>
            </a:pathLst>
          </a:cu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chemeClr val="bg1"/>
              </a:solidFill>
            </a:endParaRPr>
          </a:p>
        </p:txBody>
      </p:sp>
      <p:sp>
        <p:nvSpPr>
          <p:cNvPr id="53" name="燕尾形箭头 2"/>
          <p:cNvSpPr/>
          <p:nvPr/>
        </p:nvSpPr>
        <p:spPr>
          <a:xfrm rot="20013309">
            <a:off x="4697771" y="3457895"/>
            <a:ext cx="1980391" cy="964212"/>
          </a:xfrm>
          <a:custGeom>
            <a:avLst/>
            <a:gdLst>
              <a:gd name="connsiteX0" fmla="*/ 0 w 1834247"/>
              <a:gd name="connsiteY0" fmla="*/ 235244 h 940976"/>
              <a:gd name="connsiteX1" fmla="*/ 1199832 w 1834247"/>
              <a:gd name="connsiteY1" fmla="*/ 235244 h 940976"/>
              <a:gd name="connsiteX2" fmla="*/ 1199832 w 1834247"/>
              <a:gd name="connsiteY2" fmla="*/ 0 h 940976"/>
              <a:gd name="connsiteX3" fmla="*/ 1834247 w 1834247"/>
              <a:gd name="connsiteY3" fmla="*/ 470488 h 940976"/>
              <a:gd name="connsiteX4" fmla="*/ 1199832 w 1834247"/>
              <a:gd name="connsiteY4" fmla="*/ 940976 h 940976"/>
              <a:gd name="connsiteX5" fmla="*/ 1199832 w 1834247"/>
              <a:gd name="connsiteY5" fmla="*/ 705732 h 940976"/>
              <a:gd name="connsiteX6" fmla="*/ 0 w 1834247"/>
              <a:gd name="connsiteY6" fmla="*/ 705732 h 940976"/>
              <a:gd name="connsiteX7" fmla="*/ 317208 w 1834247"/>
              <a:gd name="connsiteY7" fmla="*/ 470488 h 940976"/>
              <a:gd name="connsiteX8" fmla="*/ 0 w 1834247"/>
              <a:gd name="connsiteY8" fmla="*/ 235244 h 940976"/>
              <a:gd name="connsiteX0-1" fmla="*/ 0 w 1834247"/>
              <a:gd name="connsiteY0-2" fmla="*/ 235244 h 962875"/>
              <a:gd name="connsiteX1-3" fmla="*/ 1199832 w 1834247"/>
              <a:gd name="connsiteY1-4" fmla="*/ 235244 h 962875"/>
              <a:gd name="connsiteX2-5" fmla="*/ 1199832 w 1834247"/>
              <a:gd name="connsiteY2-6" fmla="*/ 0 h 962875"/>
              <a:gd name="connsiteX3-7" fmla="*/ 1834247 w 1834247"/>
              <a:gd name="connsiteY3-8" fmla="*/ 470488 h 962875"/>
              <a:gd name="connsiteX4-9" fmla="*/ 1220513 w 1834247"/>
              <a:gd name="connsiteY4-10" fmla="*/ 962875 h 962875"/>
              <a:gd name="connsiteX5-11" fmla="*/ 1199832 w 1834247"/>
              <a:gd name="connsiteY5-12" fmla="*/ 705732 h 962875"/>
              <a:gd name="connsiteX6-13" fmla="*/ 0 w 1834247"/>
              <a:gd name="connsiteY6-14" fmla="*/ 705732 h 962875"/>
              <a:gd name="connsiteX7-15" fmla="*/ 317208 w 1834247"/>
              <a:gd name="connsiteY7-16" fmla="*/ 470488 h 962875"/>
              <a:gd name="connsiteX8-17" fmla="*/ 0 w 1834247"/>
              <a:gd name="connsiteY8-18" fmla="*/ 235244 h 962875"/>
              <a:gd name="connsiteX0-19" fmla="*/ 0 w 1834247"/>
              <a:gd name="connsiteY0-20" fmla="*/ 235244 h 962875"/>
              <a:gd name="connsiteX1-21" fmla="*/ 1199832 w 1834247"/>
              <a:gd name="connsiteY1-22" fmla="*/ 235244 h 962875"/>
              <a:gd name="connsiteX2-23" fmla="*/ 1199832 w 1834247"/>
              <a:gd name="connsiteY2-24" fmla="*/ 0 h 962875"/>
              <a:gd name="connsiteX3-25" fmla="*/ 1834247 w 1834247"/>
              <a:gd name="connsiteY3-26" fmla="*/ 470488 h 962875"/>
              <a:gd name="connsiteX4-27" fmla="*/ 1220513 w 1834247"/>
              <a:gd name="connsiteY4-28" fmla="*/ 962875 h 962875"/>
              <a:gd name="connsiteX5-29" fmla="*/ 1199832 w 1834247"/>
              <a:gd name="connsiteY5-30" fmla="*/ 705732 h 962875"/>
              <a:gd name="connsiteX6-31" fmla="*/ 0 w 1834247"/>
              <a:gd name="connsiteY6-32" fmla="*/ 705732 h 962875"/>
              <a:gd name="connsiteX7-33" fmla="*/ 317208 w 1834247"/>
              <a:gd name="connsiteY7-34" fmla="*/ 470488 h 962875"/>
              <a:gd name="connsiteX8-35" fmla="*/ 0 w 1834247"/>
              <a:gd name="connsiteY8-36" fmla="*/ 235244 h 962875"/>
              <a:gd name="connsiteX0-37" fmla="*/ 0 w 1834247"/>
              <a:gd name="connsiteY0-38" fmla="*/ 235244 h 962875"/>
              <a:gd name="connsiteX1-39" fmla="*/ 1199832 w 1834247"/>
              <a:gd name="connsiteY1-40" fmla="*/ 235244 h 962875"/>
              <a:gd name="connsiteX2-41" fmla="*/ 1199832 w 1834247"/>
              <a:gd name="connsiteY2-42" fmla="*/ 0 h 962875"/>
              <a:gd name="connsiteX3-43" fmla="*/ 1834247 w 1834247"/>
              <a:gd name="connsiteY3-44" fmla="*/ 470488 h 962875"/>
              <a:gd name="connsiteX4-45" fmla="*/ 1220513 w 1834247"/>
              <a:gd name="connsiteY4-46" fmla="*/ 962875 h 962875"/>
              <a:gd name="connsiteX5-47" fmla="*/ 1199832 w 1834247"/>
              <a:gd name="connsiteY5-48" fmla="*/ 705732 h 962875"/>
              <a:gd name="connsiteX6-49" fmla="*/ 0 w 1834247"/>
              <a:gd name="connsiteY6-50" fmla="*/ 705732 h 962875"/>
              <a:gd name="connsiteX7-51" fmla="*/ 317208 w 1834247"/>
              <a:gd name="connsiteY7-52" fmla="*/ 470488 h 962875"/>
              <a:gd name="connsiteX8-53" fmla="*/ 0 w 1834247"/>
              <a:gd name="connsiteY8-54" fmla="*/ 235244 h 962875"/>
              <a:gd name="connsiteX0-55" fmla="*/ 0 w 1834247"/>
              <a:gd name="connsiteY0-56" fmla="*/ 235244 h 962875"/>
              <a:gd name="connsiteX1-57" fmla="*/ 1199832 w 1834247"/>
              <a:gd name="connsiteY1-58" fmla="*/ 235244 h 962875"/>
              <a:gd name="connsiteX2-59" fmla="*/ 1199832 w 1834247"/>
              <a:gd name="connsiteY2-60" fmla="*/ 0 h 962875"/>
              <a:gd name="connsiteX3-61" fmla="*/ 1834247 w 1834247"/>
              <a:gd name="connsiteY3-62" fmla="*/ 470488 h 962875"/>
              <a:gd name="connsiteX4-63" fmla="*/ 1220513 w 1834247"/>
              <a:gd name="connsiteY4-64" fmla="*/ 962875 h 962875"/>
              <a:gd name="connsiteX5-65" fmla="*/ 1199832 w 1834247"/>
              <a:gd name="connsiteY5-66" fmla="*/ 705732 h 962875"/>
              <a:gd name="connsiteX6-67" fmla="*/ 0 w 1834247"/>
              <a:gd name="connsiteY6-68" fmla="*/ 705732 h 962875"/>
              <a:gd name="connsiteX7-69" fmla="*/ 317208 w 1834247"/>
              <a:gd name="connsiteY7-70" fmla="*/ 470488 h 962875"/>
              <a:gd name="connsiteX8-71" fmla="*/ 0 w 1834247"/>
              <a:gd name="connsiteY8-72" fmla="*/ 235244 h 962875"/>
              <a:gd name="connsiteX0-73" fmla="*/ 0 w 1834247"/>
              <a:gd name="connsiteY0-74" fmla="*/ 235244 h 962875"/>
              <a:gd name="connsiteX1-75" fmla="*/ 1199832 w 1834247"/>
              <a:gd name="connsiteY1-76" fmla="*/ 235244 h 962875"/>
              <a:gd name="connsiteX2-77" fmla="*/ 1199832 w 1834247"/>
              <a:gd name="connsiteY2-78" fmla="*/ 0 h 962875"/>
              <a:gd name="connsiteX3-79" fmla="*/ 1834247 w 1834247"/>
              <a:gd name="connsiteY3-80" fmla="*/ 470488 h 962875"/>
              <a:gd name="connsiteX4-81" fmla="*/ 1220513 w 1834247"/>
              <a:gd name="connsiteY4-82" fmla="*/ 962875 h 962875"/>
              <a:gd name="connsiteX5-83" fmla="*/ 1199832 w 1834247"/>
              <a:gd name="connsiteY5-84" fmla="*/ 705732 h 962875"/>
              <a:gd name="connsiteX6-85" fmla="*/ 0 w 1834247"/>
              <a:gd name="connsiteY6-86" fmla="*/ 705732 h 962875"/>
              <a:gd name="connsiteX7-87" fmla="*/ 317208 w 1834247"/>
              <a:gd name="connsiteY7-88" fmla="*/ 470488 h 962875"/>
              <a:gd name="connsiteX8-89" fmla="*/ 0 w 1834247"/>
              <a:gd name="connsiteY8-90" fmla="*/ 235244 h 962875"/>
              <a:gd name="connsiteX0-91" fmla="*/ 0 w 1834247"/>
              <a:gd name="connsiteY0-92" fmla="*/ 235244 h 962875"/>
              <a:gd name="connsiteX1-93" fmla="*/ 1219176 w 1834247"/>
              <a:gd name="connsiteY1-94" fmla="*/ 229407 h 962875"/>
              <a:gd name="connsiteX2-95" fmla="*/ 1199832 w 1834247"/>
              <a:gd name="connsiteY2-96" fmla="*/ 0 h 962875"/>
              <a:gd name="connsiteX3-97" fmla="*/ 1834247 w 1834247"/>
              <a:gd name="connsiteY3-98" fmla="*/ 470488 h 962875"/>
              <a:gd name="connsiteX4-99" fmla="*/ 1220513 w 1834247"/>
              <a:gd name="connsiteY4-100" fmla="*/ 962875 h 962875"/>
              <a:gd name="connsiteX5-101" fmla="*/ 1199832 w 1834247"/>
              <a:gd name="connsiteY5-102" fmla="*/ 705732 h 962875"/>
              <a:gd name="connsiteX6-103" fmla="*/ 0 w 1834247"/>
              <a:gd name="connsiteY6-104" fmla="*/ 705732 h 962875"/>
              <a:gd name="connsiteX7-105" fmla="*/ 317208 w 1834247"/>
              <a:gd name="connsiteY7-106" fmla="*/ 470488 h 962875"/>
              <a:gd name="connsiteX8-107" fmla="*/ 0 w 1834247"/>
              <a:gd name="connsiteY8-108" fmla="*/ 235244 h 962875"/>
              <a:gd name="connsiteX0-109" fmla="*/ 0 w 1872865"/>
              <a:gd name="connsiteY0-110" fmla="*/ 95641 h 962875"/>
              <a:gd name="connsiteX1-111" fmla="*/ 1257794 w 1872865"/>
              <a:gd name="connsiteY1-112" fmla="*/ 229407 h 962875"/>
              <a:gd name="connsiteX2-113" fmla="*/ 1238450 w 1872865"/>
              <a:gd name="connsiteY2-114" fmla="*/ 0 h 962875"/>
              <a:gd name="connsiteX3-115" fmla="*/ 1872865 w 1872865"/>
              <a:gd name="connsiteY3-116" fmla="*/ 470488 h 962875"/>
              <a:gd name="connsiteX4-117" fmla="*/ 1259131 w 1872865"/>
              <a:gd name="connsiteY4-118" fmla="*/ 962875 h 962875"/>
              <a:gd name="connsiteX5-119" fmla="*/ 1238450 w 1872865"/>
              <a:gd name="connsiteY5-120" fmla="*/ 705732 h 962875"/>
              <a:gd name="connsiteX6-121" fmla="*/ 38618 w 1872865"/>
              <a:gd name="connsiteY6-122" fmla="*/ 705732 h 962875"/>
              <a:gd name="connsiteX7-123" fmla="*/ 355826 w 1872865"/>
              <a:gd name="connsiteY7-124" fmla="*/ 470488 h 962875"/>
              <a:gd name="connsiteX8-125" fmla="*/ 0 w 1872865"/>
              <a:gd name="connsiteY8-126" fmla="*/ 95641 h 962875"/>
              <a:gd name="connsiteX0-127" fmla="*/ 0 w 1872865"/>
              <a:gd name="connsiteY0-128" fmla="*/ 95641 h 962875"/>
              <a:gd name="connsiteX1-129" fmla="*/ 1257794 w 1872865"/>
              <a:gd name="connsiteY1-130" fmla="*/ 229407 h 962875"/>
              <a:gd name="connsiteX2-131" fmla="*/ 1238450 w 1872865"/>
              <a:gd name="connsiteY2-132" fmla="*/ 0 h 962875"/>
              <a:gd name="connsiteX3-133" fmla="*/ 1872865 w 1872865"/>
              <a:gd name="connsiteY3-134" fmla="*/ 470488 h 962875"/>
              <a:gd name="connsiteX4-135" fmla="*/ 1259131 w 1872865"/>
              <a:gd name="connsiteY4-136" fmla="*/ 962875 h 962875"/>
              <a:gd name="connsiteX5-137" fmla="*/ 1238450 w 1872865"/>
              <a:gd name="connsiteY5-138" fmla="*/ 705732 h 962875"/>
              <a:gd name="connsiteX6-139" fmla="*/ 38618 w 1872865"/>
              <a:gd name="connsiteY6-140" fmla="*/ 705732 h 962875"/>
              <a:gd name="connsiteX7-141" fmla="*/ 355826 w 1872865"/>
              <a:gd name="connsiteY7-142" fmla="*/ 470488 h 962875"/>
              <a:gd name="connsiteX8-143" fmla="*/ 0 w 1872865"/>
              <a:gd name="connsiteY8-144" fmla="*/ 95641 h 962875"/>
              <a:gd name="connsiteX0-145" fmla="*/ 0 w 1872865"/>
              <a:gd name="connsiteY0-146" fmla="*/ 95641 h 962875"/>
              <a:gd name="connsiteX1-147" fmla="*/ 1257794 w 1872865"/>
              <a:gd name="connsiteY1-148" fmla="*/ 229407 h 962875"/>
              <a:gd name="connsiteX2-149" fmla="*/ 1238450 w 1872865"/>
              <a:gd name="connsiteY2-150" fmla="*/ 0 h 962875"/>
              <a:gd name="connsiteX3-151" fmla="*/ 1872865 w 1872865"/>
              <a:gd name="connsiteY3-152" fmla="*/ 470488 h 962875"/>
              <a:gd name="connsiteX4-153" fmla="*/ 1259131 w 1872865"/>
              <a:gd name="connsiteY4-154" fmla="*/ 962875 h 962875"/>
              <a:gd name="connsiteX5-155" fmla="*/ 1238450 w 1872865"/>
              <a:gd name="connsiteY5-156" fmla="*/ 705732 h 962875"/>
              <a:gd name="connsiteX6-157" fmla="*/ 38618 w 1872865"/>
              <a:gd name="connsiteY6-158" fmla="*/ 705732 h 962875"/>
              <a:gd name="connsiteX7-159" fmla="*/ 355826 w 1872865"/>
              <a:gd name="connsiteY7-160" fmla="*/ 470488 h 962875"/>
              <a:gd name="connsiteX8-161" fmla="*/ 0 w 1872865"/>
              <a:gd name="connsiteY8-162" fmla="*/ 95641 h 962875"/>
              <a:gd name="connsiteX0-163" fmla="*/ 0 w 1872865"/>
              <a:gd name="connsiteY0-164" fmla="*/ 95641 h 962875"/>
              <a:gd name="connsiteX1-165" fmla="*/ 1257794 w 1872865"/>
              <a:gd name="connsiteY1-166" fmla="*/ 229407 h 962875"/>
              <a:gd name="connsiteX2-167" fmla="*/ 1238450 w 1872865"/>
              <a:gd name="connsiteY2-168" fmla="*/ 0 h 962875"/>
              <a:gd name="connsiteX3-169" fmla="*/ 1872865 w 1872865"/>
              <a:gd name="connsiteY3-170" fmla="*/ 470488 h 962875"/>
              <a:gd name="connsiteX4-171" fmla="*/ 1259131 w 1872865"/>
              <a:gd name="connsiteY4-172" fmla="*/ 962875 h 962875"/>
              <a:gd name="connsiteX5-173" fmla="*/ 1238450 w 1872865"/>
              <a:gd name="connsiteY5-174" fmla="*/ 705732 h 962875"/>
              <a:gd name="connsiteX6-175" fmla="*/ 38618 w 1872865"/>
              <a:gd name="connsiteY6-176" fmla="*/ 705732 h 962875"/>
              <a:gd name="connsiteX7-177" fmla="*/ 251511 w 1872865"/>
              <a:gd name="connsiteY7-178" fmla="*/ 392927 h 962875"/>
              <a:gd name="connsiteX8-179" fmla="*/ 0 w 1872865"/>
              <a:gd name="connsiteY8-180" fmla="*/ 95641 h 962875"/>
              <a:gd name="connsiteX0-181" fmla="*/ 128044 w 2000909"/>
              <a:gd name="connsiteY0-182" fmla="*/ 95641 h 962875"/>
              <a:gd name="connsiteX1-183" fmla="*/ 1385838 w 2000909"/>
              <a:gd name="connsiteY1-184" fmla="*/ 229407 h 962875"/>
              <a:gd name="connsiteX2-185" fmla="*/ 1366494 w 2000909"/>
              <a:gd name="connsiteY2-186" fmla="*/ 0 h 962875"/>
              <a:gd name="connsiteX3-187" fmla="*/ 2000909 w 2000909"/>
              <a:gd name="connsiteY3-188" fmla="*/ 470488 h 962875"/>
              <a:gd name="connsiteX4-189" fmla="*/ 1387175 w 2000909"/>
              <a:gd name="connsiteY4-190" fmla="*/ 962875 h 962875"/>
              <a:gd name="connsiteX5-191" fmla="*/ 1366494 w 2000909"/>
              <a:gd name="connsiteY5-192" fmla="*/ 705732 h 962875"/>
              <a:gd name="connsiteX6-193" fmla="*/ 0 w 2000909"/>
              <a:gd name="connsiteY6-194" fmla="*/ 573117 h 962875"/>
              <a:gd name="connsiteX7-195" fmla="*/ 379555 w 2000909"/>
              <a:gd name="connsiteY7-196" fmla="*/ 392927 h 962875"/>
              <a:gd name="connsiteX8-197" fmla="*/ 128044 w 2000909"/>
              <a:gd name="connsiteY8-198" fmla="*/ 95641 h 962875"/>
              <a:gd name="connsiteX0-199" fmla="*/ 128044 w 2000909"/>
              <a:gd name="connsiteY0-200" fmla="*/ 95641 h 962875"/>
              <a:gd name="connsiteX1-201" fmla="*/ 1385838 w 2000909"/>
              <a:gd name="connsiteY1-202" fmla="*/ 229407 h 962875"/>
              <a:gd name="connsiteX2-203" fmla="*/ 1366494 w 2000909"/>
              <a:gd name="connsiteY2-204" fmla="*/ 0 h 962875"/>
              <a:gd name="connsiteX3-205" fmla="*/ 2000909 w 2000909"/>
              <a:gd name="connsiteY3-206" fmla="*/ 470488 h 962875"/>
              <a:gd name="connsiteX4-207" fmla="*/ 1387175 w 2000909"/>
              <a:gd name="connsiteY4-208" fmla="*/ 962875 h 962875"/>
              <a:gd name="connsiteX5-209" fmla="*/ 1366494 w 2000909"/>
              <a:gd name="connsiteY5-210" fmla="*/ 705732 h 962875"/>
              <a:gd name="connsiteX6-211" fmla="*/ 0 w 2000909"/>
              <a:gd name="connsiteY6-212" fmla="*/ 573117 h 962875"/>
              <a:gd name="connsiteX7-213" fmla="*/ 379555 w 2000909"/>
              <a:gd name="connsiteY7-214" fmla="*/ 392927 h 962875"/>
              <a:gd name="connsiteX8-215" fmla="*/ 128044 w 2000909"/>
              <a:gd name="connsiteY8-216" fmla="*/ 95641 h 962875"/>
              <a:gd name="connsiteX0-217" fmla="*/ 128044 w 2000909"/>
              <a:gd name="connsiteY0-218" fmla="*/ 95641 h 962875"/>
              <a:gd name="connsiteX1-219" fmla="*/ 1385838 w 2000909"/>
              <a:gd name="connsiteY1-220" fmla="*/ 229407 h 962875"/>
              <a:gd name="connsiteX2-221" fmla="*/ 1366494 w 2000909"/>
              <a:gd name="connsiteY2-222" fmla="*/ 0 h 962875"/>
              <a:gd name="connsiteX3-223" fmla="*/ 2000909 w 2000909"/>
              <a:gd name="connsiteY3-224" fmla="*/ 470488 h 962875"/>
              <a:gd name="connsiteX4-225" fmla="*/ 1387175 w 2000909"/>
              <a:gd name="connsiteY4-226" fmla="*/ 962875 h 962875"/>
              <a:gd name="connsiteX5-227" fmla="*/ 1366494 w 2000909"/>
              <a:gd name="connsiteY5-228" fmla="*/ 705732 h 962875"/>
              <a:gd name="connsiteX6-229" fmla="*/ 0 w 2000909"/>
              <a:gd name="connsiteY6-230" fmla="*/ 573117 h 962875"/>
              <a:gd name="connsiteX7-231" fmla="*/ 379555 w 2000909"/>
              <a:gd name="connsiteY7-232" fmla="*/ 392927 h 962875"/>
              <a:gd name="connsiteX8-233" fmla="*/ 128044 w 2000909"/>
              <a:gd name="connsiteY8-234" fmla="*/ 95641 h 962875"/>
              <a:gd name="connsiteX0-235" fmla="*/ 128044 w 2000909"/>
              <a:gd name="connsiteY0-236" fmla="*/ 95641 h 964212"/>
              <a:gd name="connsiteX1-237" fmla="*/ 1385838 w 2000909"/>
              <a:gd name="connsiteY1-238" fmla="*/ 229407 h 964212"/>
              <a:gd name="connsiteX2-239" fmla="*/ 1366494 w 2000909"/>
              <a:gd name="connsiteY2-240" fmla="*/ 0 h 964212"/>
              <a:gd name="connsiteX3-241" fmla="*/ 2000909 w 2000909"/>
              <a:gd name="connsiteY3-242" fmla="*/ 470488 h 964212"/>
              <a:gd name="connsiteX4-243" fmla="*/ 1359438 w 2000909"/>
              <a:gd name="connsiteY4-244" fmla="*/ 964212 h 964212"/>
              <a:gd name="connsiteX5-245" fmla="*/ 1366494 w 2000909"/>
              <a:gd name="connsiteY5-246" fmla="*/ 705732 h 964212"/>
              <a:gd name="connsiteX6-247" fmla="*/ 0 w 2000909"/>
              <a:gd name="connsiteY6-248" fmla="*/ 573117 h 964212"/>
              <a:gd name="connsiteX7-249" fmla="*/ 379555 w 2000909"/>
              <a:gd name="connsiteY7-250" fmla="*/ 392927 h 964212"/>
              <a:gd name="connsiteX8-251" fmla="*/ 128044 w 2000909"/>
              <a:gd name="connsiteY8-252" fmla="*/ 95641 h 964212"/>
              <a:gd name="connsiteX0-253" fmla="*/ 128044 w 2000909"/>
              <a:gd name="connsiteY0-254" fmla="*/ 95641 h 964212"/>
              <a:gd name="connsiteX1-255" fmla="*/ 1385838 w 2000909"/>
              <a:gd name="connsiteY1-256" fmla="*/ 229407 h 964212"/>
              <a:gd name="connsiteX2-257" fmla="*/ 1366494 w 2000909"/>
              <a:gd name="connsiteY2-258" fmla="*/ 0 h 964212"/>
              <a:gd name="connsiteX3-259" fmla="*/ 2000909 w 2000909"/>
              <a:gd name="connsiteY3-260" fmla="*/ 470488 h 964212"/>
              <a:gd name="connsiteX4-261" fmla="*/ 1359438 w 2000909"/>
              <a:gd name="connsiteY4-262" fmla="*/ 964212 h 964212"/>
              <a:gd name="connsiteX5-263" fmla="*/ 1291182 w 2000909"/>
              <a:gd name="connsiteY5-264" fmla="*/ 805850 h 964212"/>
              <a:gd name="connsiteX6-265" fmla="*/ 0 w 2000909"/>
              <a:gd name="connsiteY6-266" fmla="*/ 573117 h 964212"/>
              <a:gd name="connsiteX7-267" fmla="*/ 379555 w 2000909"/>
              <a:gd name="connsiteY7-268" fmla="*/ 392927 h 964212"/>
              <a:gd name="connsiteX8-269" fmla="*/ 128044 w 2000909"/>
              <a:gd name="connsiteY8-270" fmla="*/ 95641 h 964212"/>
              <a:gd name="connsiteX0-271" fmla="*/ 128044 w 2000909"/>
              <a:gd name="connsiteY0-272" fmla="*/ 95641 h 964212"/>
              <a:gd name="connsiteX1-273" fmla="*/ 1385838 w 2000909"/>
              <a:gd name="connsiteY1-274" fmla="*/ 229407 h 964212"/>
              <a:gd name="connsiteX2-275" fmla="*/ 1366494 w 2000909"/>
              <a:gd name="connsiteY2-276" fmla="*/ 0 h 964212"/>
              <a:gd name="connsiteX3-277" fmla="*/ 2000909 w 2000909"/>
              <a:gd name="connsiteY3-278" fmla="*/ 470488 h 964212"/>
              <a:gd name="connsiteX4-279" fmla="*/ 1359438 w 2000909"/>
              <a:gd name="connsiteY4-280" fmla="*/ 964212 h 964212"/>
              <a:gd name="connsiteX5-281" fmla="*/ 1389424 w 2000909"/>
              <a:gd name="connsiteY5-282" fmla="*/ 723434 h 964212"/>
              <a:gd name="connsiteX6-283" fmla="*/ 0 w 2000909"/>
              <a:gd name="connsiteY6-284" fmla="*/ 573117 h 964212"/>
              <a:gd name="connsiteX7-285" fmla="*/ 379555 w 2000909"/>
              <a:gd name="connsiteY7-286" fmla="*/ 392927 h 964212"/>
              <a:gd name="connsiteX8-287" fmla="*/ 128044 w 2000909"/>
              <a:gd name="connsiteY8-288" fmla="*/ 95641 h 964212"/>
              <a:gd name="connsiteX0-289" fmla="*/ 128044 w 2000909"/>
              <a:gd name="connsiteY0-290" fmla="*/ 95641 h 964212"/>
              <a:gd name="connsiteX1-291" fmla="*/ 1385838 w 2000909"/>
              <a:gd name="connsiteY1-292" fmla="*/ 229407 h 964212"/>
              <a:gd name="connsiteX2-293" fmla="*/ 1366494 w 2000909"/>
              <a:gd name="connsiteY2-294" fmla="*/ 0 h 964212"/>
              <a:gd name="connsiteX3-295" fmla="*/ 2000909 w 2000909"/>
              <a:gd name="connsiteY3-296" fmla="*/ 470488 h 964212"/>
              <a:gd name="connsiteX4-297" fmla="*/ 1359438 w 2000909"/>
              <a:gd name="connsiteY4-298" fmla="*/ 964212 h 964212"/>
              <a:gd name="connsiteX5-299" fmla="*/ 1389424 w 2000909"/>
              <a:gd name="connsiteY5-300" fmla="*/ 723434 h 964212"/>
              <a:gd name="connsiteX6-301" fmla="*/ 0 w 2000909"/>
              <a:gd name="connsiteY6-302" fmla="*/ 573117 h 964212"/>
              <a:gd name="connsiteX7-303" fmla="*/ 379555 w 2000909"/>
              <a:gd name="connsiteY7-304" fmla="*/ 392927 h 964212"/>
              <a:gd name="connsiteX8-305" fmla="*/ 128044 w 2000909"/>
              <a:gd name="connsiteY8-306" fmla="*/ 95641 h 964212"/>
              <a:gd name="connsiteX0-307" fmla="*/ 128044 w 2007662"/>
              <a:gd name="connsiteY0-308" fmla="*/ 95641 h 964212"/>
              <a:gd name="connsiteX1-309" fmla="*/ 1385838 w 2007662"/>
              <a:gd name="connsiteY1-310" fmla="*/ 229407 h 964212"/>
              <a:gd name="connsiteX2-311" fmla="*/ 1366494 w 2007662"/>
              <a:gd name="connsiteY2-312" fmla="*/ 0 h 964212"/>
              <a:gd name="connsiteX3-313" fmla="*/ 2007662 w 2007662"/>
              <a:gd name="connsiteY3-314" fmla="*/ 457897 h 964212"/>
              <a:gd name="connsiteX4-315" fmla="*/ 1359438 w 2007662"/>
              <a:gd name="connsiteY4-316" fmla="*/ 964212 h 964212"/>
              <a:gd name="connsiteX5-317" fmla="*/ 1389424 w 2007662"/>
              <a:gd name="connsiteY5-318" fmla="*/ 723434 h 964212"/>
              <a:gd name="connsiteX6-319" fmla="*/ 0 w 2007662"/>
              <a:gd name="connsiteY6-320" fmla="*/ 573117 h 964212"/>
              <a:gd name="connsiteX7-321" fmla="*/ 379555 w 2007662"/>
              <a:gd name="connsiteY7-322" fmla="*/ 392927 h 964212"/>
              <a:gd name="connsiteX8-323" fmla="*/ 128044 w 2007662"/>
              <a:gd name="connsiteY8-324" fmla="*/ 95641 h 964212"/>
              <a:gd name="connsiteX0-325" fmla="*/ 128044 w 2007662"/>
              <a:gd name="connsiteY0-326" fmla="*/ 95641 h 964212"/>
              <a:gd name="connsiteX1-327" fmla="*/ 1385838 w 2007662"/>
              <a:gd name="connsiteY1-328" fmla="*/ 229407 h 964212"/>
              <a:gd name="connsiteX2-329" fmla="*/ 1366494 w 2007662"/>
              <a:gd name="connsiteY2-330" fmla="*/ 0 h 964212"/>
              <a:gd name="connsiteX3-331" fmla="*/ 2007662 w 2007662"/>
              <a:gd name="connsiteY3-332" fmla="*/ 457897 h 964212"/>
              <a:gd name="connsiteX4-333" fmla="*/ 1359438 w 2007662"/>
              <a:gd name="connsiteY4-334" fmla="*/ 964212 h 964212"/>
              <a:gd name="connsiteX5-335" fmla="*/ 1389424 w 2007662"/>
              <a:gd name="connsiteY5-336" fmla="*/ 723434 h 964212"/>
              <a:gd name="connsiteX6-337" fmla="*/ 0 w 2007662"/>
              <a:gd name="connsiteY6-338" fmla="*/ 573117 h 964212"/>
              <a:gd name="connsiteX7-339" fmla="*/ 379555 w 2007662"/>
              <a:gd name="connsiteY7-340" fmla="*/ 392927 h 964212"/>
              <a:gd name="connsiteX8-341" fmla="*/ 128044 w 2007662"/>
              <a:gd name="connsiteY8-342" fmla="*/ 95641 h 964212"/>
              <a:gd name="connsiteX0-343" fmla="*/ 128044 w 2007662"/>
              <a:gd name="connsiteY0-344" fmla="*/ 95641 h 964212"/>
              <a:gd name="connsiteX1-345" fmla="*/ 1385838 w 2007662"/>
              <a:gd name="connsiteY1-346" fmla="*/ 229407 h 964212"/>
              <a:gd name="connsiteX2-347" fmla="*/ 1366494 w 2007662"/>
              <a:gd name="connsiteY2-348" fmla="*/ 0 h 964212"/>
              <a:gd name="connsiteX3-349" fmla="*/ 2007662 w 2007662"/>
              <a:gd name="connsiteY3-350" fmla="*/ 457897 h 964212"/>
              <a:gd name="connsiteX4-351" fmla="*/ 1359438 w 2007662"/>
              <a:gd name="connsiteY4-352" fmla="*/ 964212 h 964212"/>
              <a:gd name="connsiteX5-353" fmla="*/ 1389424 w 2007662"/>
              <a:gd name="connsiteY5-354" fmla="*/ 723434 h 964212"/>
              <a:gd name="connsiteX6-355" fmla="*/ 0 w 2007662"/>
              <a:gd name="connsiteY6-356" fmla="*/ 573117 h 964212"/>
              <a:gd name="connsiteX7-357" fmla="*/ 370856 w 2007662"/>
              <a:gd name="connsiteY7-358" fmla="*/ 399070 h 964212"/>
              <a:gd name="connsiteX8-359" fmla="*/ 128044 w 2007662"/>
              <a:gd name="connsiteY8-360" fmla="*/ 95641 h 964212"/>
              <a:gd name="connsiteX0-361" fmla="*/ 128044 w 2007662"/>
              <a:gd name="connsiteY0-362" fmla="*/ 95641 h 964212"/>
              <a:gd name="connsiteX1-363" fmla="*/ 1386208 w 2007662"/>
              <a:gd name="connsiteY1-364" fmla="*/ 236133 h 964212"/>
              <a:gd name="connsiteX2-365" fmla="*/ 1366494 w 2007662"/>
              <a:gd name="connsiteY2-366" fmla="*/ 0 h 964212"/>
              <a:gd name="connsiteX3-367" fmla="*/ 2007662 w 2007662"/>
              <a:gd name="connsiteY3-368" fmla="*/ 457897 h 964212"/>
              <a:gd name="connsiteX4-369" fmla="*/ 1359438 w 2007662"/>
              <a:gd name="connsiteY4-370" fmla="*/ 964212 h 964212"/>
              <a:gd name="connsiteX5-371" fmla="*/ 1389424 w 2007662"/>
              <a:gd name="connsiteY5-372" fmla="*/ 723434 h 964212"/>
              <a:gd name="connsiteX6-373" fmla="*/ 0 w 2007662"/>
              <a:gd name="connsiteY6-374" fmla="*/ 573117 h 964212"/>
              <a:gd name="connsiteX7-375" fmla="*/ 370856 w 2007662"/>
              <a:gd name="connsiteY7-376" fmla="*/ 399070 h 964212"/>
              <a:gd name="connsiteX8-377" fmla="*/ 128044 w 2007662"/>
              <a:gd name="connsiteY8-378" fmla="*/ 95641 h 964212"/>
              <a:gd name="connsiteX0-379" fmla="*/ 128044 w 2007662"/>
              <a:gd name="connsiteY0-380" fmla="*/ 95641 h 964212"/>
              <a:gd name="connsiteX1-381" fmla="*/ 1390497 w 2007662"/>
              <a:gd name="connsiteY1-382" fmla="*/ 252760 h 964212"/>
              <a:gd name="connsiteX2-383" fmla="*/ 1366494 w 2007662"/>
              <a:gd name="connsiteY2-384" fmla="*/ 0 h 964212"/>
              <a:gd name="connsiteX3-385" fmla="*/ 2007662 w 2007662"/>
              <a:gd name="connsiteY3-386" fmla="*/ 457897 h 964212"/>
              <a:gd name="connsiteX4-387" fmla="*/ 1359438 w 2007662"/>
              <a:gd name="connsiteY4-388" fmla="*/ 964212 h 964212"/>
              <a:gd name="connsiteX5-389" fmla="*/ 1389424 w 2007662"/>
              <a:gd name="connsiteY5-390" fmla="*/ 723434 h 964212"/>
              <a:gd name="connsiteX6-391" fmla="*/ 0 w 2007662"/>
              <a:gd name="connsiteY6-392" fmla="*/ 573117 h 964212"/>
              <a:gd name="connsiteX7-393" fmla="*/ 370856 w 2007662"/>
              <a:gd name="connsiteY7-394" fmla="*/ 399070 h 964212"/>
              <a:gd name="connsiteX8-395" fmla="*/ 128044 w 2007662"/>
              <a:gd name="connsiteY8-396" fmla="*/ 95641 h 964212"/>
              <a:gd name="connsiteX0-397" fmla="*/ 111416 w 2007662"/>
              <a:gd name="connsiteY0-398" fmla="*/ 99931 h 964212"/>
              <a:gd name="connsiteX1-399" fmla="*/ 1390497 w 2007662"/>
              <a:gd name="connsiteY1-400" fmla="*/ 252760 h 964212"/>
              <a:gd name="connsiteX2-401" fmla="*/ 1366494 w 2007662"/>
              <a:gd name="connsiteY2-402" fmla="*/ 0 h 964212"/>
              <a:gd name="connsiteX3-403" fmla="*/ 2007662 w 2007662"/>
              <a:gd name="connsiteY3-404" fmla="*/ 457897 h 964212"/>
              <a:gd name="connsiteX4-405" fmla="*/ 1359438 w 2007662"/>
              <a:gd name="connsiteY4-406" fmla="*/ 964212 h 964212"/>
              <a:gd name="connsiteX5-407" fmla="*/ 1389424 w 2007662"/>
              <a:gd name="connsiteY5-408" fmla="*/ 723434 h 964212"/>
              <a:gd name="connsiteX6-409" fmla="*/ 0 w 2007662"/>
              <a:gd name="connsiteY6-410" fmla="*/ 573117 h 964212"/>
              <a:gd name="connsiteX7-411" fmla="*/ 370856 w 2007662"/>
              <a:gd name="connsiteY7-412" fmla="*/ 399070 h 964212"/>
              <a:gd name="connsiteX8-413" fmla="*/ 111416 w 2007662"/>
              <a:gd name="connsiteY8-414" fmla="*/ 99931 h 964212"/>
              <a:gd name="connsiteX0-415" fmla="*/ 111416 w 2007662"/>
              <a:gd name="connsiteY0-416" fmla="*/ 99931 h 964212"/>
              <a:gd name="connsiteX1-417" fmla="*/ 1390497 w 2007662"/>
              <a:gd name="connsiteY1-418" fmla="*/ 252760 h 964212"/>
              <a:gd name="connsiteX2-419" fmla="*/ 1366494 w 2007662"/>
              <a:gd name="connsiteY2-420" fmla="*/ 0 h 964212"/>
              <a:gd name="connsiteX3-421" fmla="*/ 2007662 w 2007662"/>
              <a:gd name="connsiteY3-422" fmla="*/ 457897 h 964212"/>
              <a:gd name="connsiteX4-423" fmla="*/ 1359438 w 2007662"/>
              <a:gd name="connsiteY4-424" fmla="*/ 964212 h 964212"/>
              <a:gd name="connsiteX5-425" fmla="*/ 1389424 w 2007662"/>
              <a:gd name="connsiteY5-426" fmla="*/ 723434 h 964212"/>
              <a:gd name="connsiteX6-427" fmla="*/ 0 w 2007662"/>
              <a:gd name="connsiteY6-428" fmla="*/ 573117 h 964212"/>
              <a:gd name="connsiteX7-429" fmla="*/ 388966 w 2007662"/>
              <a:gd name="connsiteY7-430" fmla="*/ 421681 h 964212"/>
              <a:gd name="connsiteX8-431" fmla="*/ 111416 w 2007662"/>
              <a:gd name="connsiteY8-432" fmla="*/ 99931 h 964212"/>
              <a:gd name="connsiteX0-433" fmla="*/ 111416 w 2007662"/>
              <a:gd name="connsiteY0-434" fmla="*/ 99931 h 964212"/>
              <a:gd name="connsiteX1-435" fmla="*/ 1390497 w 2007662"/>
              <a:gd name="connsiteY1-436" fmla="*/ 252760 h 964212"/>
              <a:gd name="connsiteX2-437" fmla="*/ 1366494 w 2007662"/>
              <a:gd name="connsiteY2-438" fmla="*/ 0 h 964212"/>
              <a:gd name="connsiteX3-439" fmla="*/ 2007662 w 2007662"/>
              <a:gd name="connsiteY3-440" fmla="*/ 457897 h 964212"/>
              <a:gd name="connsiteX4-441" fmla="*/ 1359438 w 2007662"/>
              <a:gd name="connsiteY4-442" fmla="*/ 964212 h 964212"/>
              <a:gd name="connsiteX5-443" fmla="*/ 1389424 w 2007662"/>
              <a:gd name="connsiteY5-444" fmla="*/ 723434 h 964212"/>
              <a:gd name="connsiteX6-445" fmla="*/ 0 w 2007662"/>
              <a:gd name="connsiteY6-446" fmla="*/ 573117 h 964212"/>
              <a:gd name="connsiteX7-447" fmla="*/ 388966 w 2007662"/>
              <a:gd name="connsiteY7-448" fmla="*/ 421681 h 964212"/>
              <a:gd name="connsiteX8-449" fmla="*/ 111416 w 2007662"/>
              <a:gd name="connsiteY8-450" fmla="*/ 99931 h 964212"/>
              <a:gd name="connsiteX0-451" fmla="*/ 0 w 1896246"/>
              <a:gd name="connsiteY0-452" fmla="*/ 99931 h 964212"/>
              <a:gd name="connsiteX1-453" fmla="*/ 1279081 w 1896246"/>
              <a:gd name="connsiteY1-454" fmla="*/ 252760 h 964212"/>
              <a:gd name="connsiteX2-455" fmla="*/ 1255078 w 1896246"/>
              <a:gd name="connsiteY2-456" fmla="*/ 0 h 964212"/>
              <a:gd name="connsiteX3-457" fmla="*/ 1896246 w 1896246"/>
              <a:gd name="connsiteY3-458" fmla="*/ 457897 h 964212"/>
              <a:gd name="connsiteX4-459" fmla="*/ 1248022 w 1896246"/>
              <a:gd name="connsiteY4-460" fmla="*/ 964212 h 964212"/>
              <a:gd name="connsiteX5-461" fmla="*/ 1278008 w 1896246"/>
              <a:gd name="connsiteY5-462" fmla="*/ 723434 h 964212"/>
              <a:gd name="connsiteX6-463" fmla="*/ 165367 w 1896246"/>
              <a:gd name="connsiteY6-464" fmla="*/ 699516 h 964212"/>
              <a:gd name="connsiteX7-465" fmla="*/ 277550 w 1896246"/>
              <a:gd name="connsiteY7-466" fmla="*/ 421681 h 964212"/>
              <a:gd name="connsiteX8-467" fmla="*/ 0 w 1896246"/>
              <a:gd name="connsiteY8-468" fmla="*/ 99931 h 964212"/>
              <a:gd name="connsiteX0-469" fmla="*/ 83404 w 1979650"/>
              <a:gd name="connsiteY0-470" fmla="*/ 99931 h 964212"/>
              <a:gd name="connsiteX1-471" fmla="*/ 1362485 w 1979650"/>
              <a:gd name="connsiteY1-472" fmla="*/ 252760 h 964212"/>
              <a:gd name="connsiteX2-473" fmla="*/ 1338482 w 1979650"/>
              <a:gd name="connsiteY2-474" fmla="*/ 0 h 964212"/>
              <a:gd name="connsiteX3-475" fmla="*/ 1979650 w 1979650"/>
              <a:gd name="connsiteY3-476" fmla="*/ 457897 h 964212"/>
              <a:gd name="connsiteX4-477" fmla="*/ 1331426 w 1979650"/>
              <a:gd name="connsiteY4-478" fmla="*/ 964212 h 964212"/>
              <a:gd name="connsiteX5-479" fmla="*/ 1361412 w 1979650"/>
              <a:gd name="connsiteY5-480" fmla="*/ 723434 h 964212"/>
              <a:gd name="connsiteX6-481" fmla="*/ 0 w 1979650"/>
              <a:gd name="connsiteY6-482" fmla="*/ 591808 h 964212"/>
              <a:gd name="connsiteX7-483" fmla="*/ 360954 w 1979650"/>
              <a:gd name="connsiteY7-484" fmla="*/ 421681 h 964212"/>
              <a:gd name="connsiteX8-485" fmla="*/ 83404 w 1979650"/>
              <a:gd name="connsiteY8-486" fmla="*/ 99931 h 964212"/>
              <a:gd name="connsiteX0-487" fmla="*/ 83404 w 1979650"/>
              <a:gd name="connsiteY0-488" fmla="*/ 99931 h 964212"/>
              <a:gd name="connsiteX1-489" fmla="*/ 1362485 w 1979650"/>
              <a:gd name="connsiteY1-490" fmla="*/ 252760 h 964212"/>
              <a:gd name="connsiteX2-491" fmla="*/ 1338482 w 1979650"/>
              <a:gd name="connsiteY2-492" fmla="*/ 0 h 964212"/>
              <a:gd name="connsiteX3-493" fmla="*/ 1979650 w 1979650"/>
              <a:gd name="connsiteY3-494" fmla="*/ 457897 h 964212"/>
              <a:gd name="connsiteX4-495" fmla="*/ 1331426 w 1979650"/>
              <a:gd name="connsiteY4-496" fmla="*/ 964212 h 964212"/>
              <a:gd name="connsiteX5-497" fmla="*/ 1361412 w 1979650"/>
              <a:gd name="connsiteY5-498" fmla="*/ 723434 h 964212"/>
              <a:gd name="connsiteX6-499" fmla="*/ 0 w 1979650"/>
              <a:gd name="connsiteY6-500" fmla="*/ 591808 h 964212"/>
              <a:gd name="connsiteX7-501" fmla="*/ 360954 w 1979650"/>
              <a:gd name="connsiteY7-502" fmla="*/ 421681 h 964212"/>
              <a:gd name="connsiteX8-503" fmla="*/ 83404 w 1979650"/>
              <a:gd name="connsiteY8-504" fmla="*/ 99931 h 964212"/>
              <a:gd name="connsiteX0-505" fmla="*/ 83404 w 1980391"/>
              <a:gd name="connsiteY0-506" fmla="*/ 99931 h 964212"/>
              <a:gd name="connsiteX1-507" fmla="*/ 1362485 w 1980391"/>
              <a:gd name="connsiteY1-508" fmla="*/ 252760 h 964212"/>
              <a:gd name="connsiteX2-509" fmla="*/ 1338482 w 1980391"/>
              <a:gd name="connsiteY2-510" fmla="*/ 0 h 964212"/>
              <a:gd name="connsiteX3-511" fmla="*/ 1980391 w 1980391"/>
              <a:gd name="connsiteY3-512" fmla="*/ 471347 h 964212"/>
              <a:gd name="connsiteX4-513" fmla="*/ 1331426 w 1980391"/>
              <a:gd name="connsiteY4-514" fmla="*/ 964212 h 964212"/>
              <a:gd name="connsiteX5-515" fmla="*/ 1361412 w 1980391"/>
              <a:gd name="connsiteY5-516" fmla="*/ 723434 h 964212"/>
              <a:gd name="connsiteX6-517" fmla="*/ 0 w 1980391"/>
              <a:gd name="connsiteY6-518" fmla="*/ 591808 h 964212"/>
              <a:gd name="connsiteX7-519" fmla="*/ 360954 w 1980391"/>
              <a:gd name="connsiteY7-520" fmla="*/ 421681 h 964212"/>
              <a:gd name="connsiteX8-521" fmla="*/ 83404 w 1980391"/>
              <a:gd name="connsiteY8-522" fmla="*/ 99931 h 96421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980391" h="964212">
                <a:moveTo>
                  <a:pt x="83404" y="99931"/>
                </a:moveTo>
                <a:cubicBezTo>
                  <a:pt x="516292" y="189655"/>
                  <a:pt x="992670" y="267116"/>
                  <a:pt x="1362485" y="252760"/>
                </a:cubicBezTo>
                <a:lnTo>
                  <a:pt x="1338482" y="0"/>
                </a:lnTo>
                <a:cubicBezTo>
                  <a:pt x="1553846" y="169725"/>
                  <a:pt x="1768919" y="314518"/>
                  <a:pt x="1980391" y="471347"/>
                </a:cubicBezTo>
                <a:cubicBezTo>
                  <a:pt x="1761761" y="654960"/>
                  <a:pt x="1547501" y="795440"/>
                  <a:pt x="1331426" y="964212"/>
                </a:cubicBezTo>
                <a:lnTo>
                  <a:pt x="1361412" y="723434"/>
                </a:lnTo>
                <a:cubicBezTo>
                  <a:pt x="999890" y="745843"/>
                  <a:pt x="511393" y="679139"/>
                  <a:pt x="0" y="591808"/>
                </a:cubicBezTo>
                <a:lnTo>
                  <a:pt x="360954" y="421681"/>
                </a:lnTo>
                <a:lnTo>
                  <a:pt x="83404" y="99931"/>
                </a:lnTo>
                <a:close/>
              </a:path>
            </a:pathLst>
          </a:custGeom>
          <a:solidFill>
            <a:srgbClr val="FF97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chemeClr val="bg1"/>
              </a:solidFill>
            </a:endParaRPr>
          </a:p>
        </p:txBody>
      </p:sp>
      <p:sp>
        <p:nvSpPr>
          <p:cNvPr id="54" name="燕尾形箭头 2"/>
          <p:cNvSpPr/>
          <p:nvPr/>
        </p:nvSpPr>
        <p:spPr>
          <a:xfrm rot="19297072">
            <a:off x="6238124" y="2620087"/>
            <a:ext cx="1955552" cy="964212"/>
          </a:xfrm>
          <a:custGeom>
            <a:avLst/>
            <a:gdLst>
              <a:gd name="connsiteX0" fmla="*/ 0 w 1834247"/>
              <a:gd name="connsiteY0" fmla="*/ 235244 h 940976"/>
              <a:gd name="connsiteX1" fmla="*/ 1199832 w 1834247"/>
              <a:gd name="connsiteY1" fmla="*/ 235244 h 940976"/>
              <a:gd name="connsiteX2" fmla="*/ 1199832 w 1834247"/>
              <a:gd name="connsiteY2" fmla="*/ 0 h 940976"/>
              <a:gd name="connsiteX3" fmla="*/ 1834247 w 1834247"/>
              <a:gd name="connsiteY3" fmla="*/ 470488 h 940976"/>
              <a:gd name="connsiteX4" fmla="*/ 1199832 w 1834247"/>
              <a:gd name="connsiteY4" fmla="*/ 940976 h 940976"/>
              <a:gd name="connsiteX5" fmla="*/ 1199832 w 1834247"/>
              <a:gd name="connsiteY5" fmla="*/ 705732 h 940976"/>
              <a:gd name="connsiteX6" fmla="*/ 0 w 1834247"/>
              <a:gd name="connsiteY6" fmla="*/ 705732 h 940976"/>
              <a:gd name="connsiteX7" fmla="*/ 317208 w 1834247"/>
              <a:gd name="connsiteY7" fmla="*/ 470488 h 940976"/>
              <a:gd name="connsiteX8" fmla="*/ 0 w 1834247"/>
              <a:gd name="connsiteY8" fmla="*/ 235244 h 940976"/>
              <a:gd name="connsiteX0-1" fmla="*/ 0 w 1834247"/>
              <a:gd name="connsiteY0-2" fmla="*/ 235244 h 962875"/>
              <a:gd name="connsiteX1-3" fmla="*/ 1199832 w 1834247"/>
              <a:gd name="connsiteY1-4" fmla="*/ 235244 h 962875"/>
              <a:gd name="connsiteX2-5" fmla="*/ 1199832 w 1834247"/>
              <a:gd name="connsiteY2-6" fmla="*/ 0 h 962875"/>
              <a:gd name="connsiteX3-7" fmla="*/ 1834247 w 1834247"/>
              <a:gd name="connsiteY3-8" fmla="*/ 470488 h 962875"/>
              <a:gd name="connsiteX4-9" fmla="*/ 1220513 w 1834247"/>
              <a:gd name="connsiteY4-10" fmla="*/ 962875 h 962875"/>
              <a:gd name="connsiteX5-11" fmla="*/ 1199832 w 1834247"/>
              <a:gd name="connsiteY5-12" fmla="*/ 705732 h 962875"/>
              <a:gd name="connsiteX6-13" fmla="*/ 0 w 1834247"/>
              <a:gd name="connsiteY6-14" fmla="*/ 705732 h 962875"/>
              <a:gd name="connsiteX7-15" fmla="*/ 317208 w 1834247"/>
              <a:gd name="connsiteY7-16" fmla="*/ 470488 h 962875"/>
              <a:gd name="connsiteX8-17" fmla="*/ 0 w 1834247"/>
              <a:gd name="connsiteY8-18" fmla="*/ 235244 h 962875"/>
              <a:gd name="connsiteX0-19" fmla="*/ 0 w 1834247"/>
              <a:gd name="connsiteY0-20" fmla="*/ 235244 h 962875"/>
              <a:gd name="connsiteX1-21" fmla="*/ 1199832 w 1834247"/>
              <a:gd name="connsiteY1-22" fmla="*/ 235244 h 962875"/>
              <a:gd name="connsiteX2-23" fmla="*/ 1199832 w 1834247"/>
              <a:gd name="connsiteY2-24" fmla="*/ 0 h 962875"/>
              <a:gd name="connsiteX3-25" fmla="*/ 1834247 w 1834247"/>
              <a:gd name="connsiteY3-26" fmla="*/ 470488 h 962875"/>
              <a:gd name="connsiteX4-27" fmla="*/ 1220513 w 1834247"/>
              <a:gd name="connsiteY4-28" fmla="*/ 962875 h 962875"/>
              <a:gd name="connsiteX5-29" fmla="*/ 1199832 w 1834247"/>
              <a:gd name="connsiteY5-30" fmla="*/ 705732 h 962875"/>
              <a:gd name="connsiteX6-31" fmla="*/ 0 w 1834247"/>
              <a:gd name="connsiteY6-32" fmla="*/ 705732 h 962875"/>
              <a:gd name="connsiteX7-33" fmla="*/ 317208 w 1834247"/>
              <a:gd name="connsiteY7-34" fmla="*/ 470488 h 962875"/>
              <a:gd name="connsiteX8-35" fmla="*/ 0 w 1834247"/>
              <a:gd name="connsiteY8-36" fmla="*/ 235244 h 962875"/>
              <a:gd name="connsiteX0-37" fmla="*/ 0 w 1834247"/>
              <a:gd name="connsiteY0-38" fmla="*/ 235244 h 962875"/>
              <a:gd name="connsiteX1-39" fmla="*/ 1199832 w 1834247"/>
              <a:gd name="connsiteY1-40" fmla="*/ 235244 h 962875"/>
              <a:gd name="connsiteX2-41" fmla="*/ 1199832 w 1834247"/>
              <a:gd name="connsiteY2-42" fmla="*/ 0 h 962875"/>
              <a:gd name="connsiteX3-43" fmla="*/ 1834247 w 1834247"/>
              <a:gd name="connsiteY3-44" fmla="*/ 470488 h 962875"/>
              <a:gd name="connsiteX4-45" fmla="*/ 1220513 w 1834247"/>
              <a:gd name="connsiteY4-46" fmla="*/ 962875 h 962875"/>
              <a:gd name="connsiteX5-47" fmla="*/ 1199832 w 1834247"/>
              <a:gd name="connsiteY5-48" fmla="*/ 705732 h 962875"/>
              <a:gd name="connsiteX6-49" fmla="*/ 0 w 1834247"/>
              <a:gd name="connsiteY6-50" fmla="*/ 705732 h 962875"/>
              <a:gd name="connsiteX7-51" fmla="*/ 317208 w 1834247"/>
              <a:gd name="connsiteY7-52" fmla="*/ 470488 h 962875"/>
              <a:gd name="connsiteX8-53" fmla="*/ 0 w 1834247"/>
              <a:gd name="connsiteY8-54" fmla="*/ 235244 h 962875"/>
              <a:gd name="connsiteX0-55" fmla="*/ 0 w 1834247"/>
              <a:gd name="connsiteY0-56" fmla="*/ 235244 h 962875"/>
              <a:gd name="connsiteX1-57" fmla="*/ 1199832 w 1834247"/>
              <a:gd name="connsiteY1-58" fmla="*/ 235244 h 962875"/>
              <a:gd name="connsiteX2-59" fmla="*/ 1199832 w 1834247"/>
              <a:gd name="connsiteY2-60" fmla="*/ 0 h 962875"/>
              <a:gd name="connsiteX3-61" fmla="*/ 1834247 w 1834247"/>
              <a:gd name="connsiteY3-62" fmla="*/ 470488 h 962875"/>
              <a:gd name="connsiteX4-63" fmla="*/ 1220513 w 1834247"/>
              <a:gd name="connsiteY4-64" fmla="*/ 962875 h 962875"/>
              <a:gd name="connsiteX5-65" fmla="*/ 1199832 w 1834247"/>
              <a:gd name="connsiteY5-66" fmla="*/ 705732 h 962875"/>
              <a:gd name="connsiteX6-67" fmla="*/ 0 w 1834247"/>
              <a:gd name="connsiteY6-68" fmla="*/ 705732 h 962875"/>
              <a:gd name="connsiteX7-69" fmla="*/ 317208 w 1834247"/>
              <a:gd name="connsiteY7-70" fmla="*/ 470488 h 962875"/>
              <a:gd name="connsiteX8-71" fmla="*/ 0 w 1834247"/>
              <a:gd name="connsiteY8-72" fmla="*/ 235244 h 962875"/>
              <a:gd name="connsiteX0-73" fmla="*/ 0 w 1834247"/>
              <a:gd name="connsiteY0-74" fmla="*/ 235244 h 962875"/>
              <a:gd name="connsiteX1-75" fmla="*/ 1199832 w 1834247"/>
              <a:gd name="connsiteY1-76" fmla="*/ 235244 h 962875"/>
              <a:gd name="connsiteX2-77" fmla="*/ 1199832 w 1834247"/>
              <a:gd name="connsiteY2-78" fmla="*/ 0 h 962875"/>
              <a:gd name="connsiteX3-79" fmla="*/ 1834247 w 1834247"/>
              <a:gd name="connsiteY3-80" fmla="*/ 470488 h 962875"/>
              <a:gd name="connsiteX4-81" fmla="*/ 1220513 w 1834247"/>
              <a:gd name="connsiteY4-82" fmla="*/ 962875 h 962875"/>
              <a:gd name="connsiteX5-83" fmla="*/ 1199832 w 1834247"/>
              <a:gd name="connsiteY5-84" fmla="*/ 705732 h 962875"/>
              <a:gd name="connsiteX6-85" fmla="*/ 0 w 1834247"/>
              <a:gd name="connsiteY6-86" fmla="*/ 705732 h 962875"/>
              <a:gd name="connsiteX7-87" fmla="*/ 317208 w 1834247"/>
              <a:gd name="connsiteY7-88" fmla="*/ 470488 h 962875"/>
              <a:gd name="connsiteX8-89" fmla="*/ 0 w 1834247"/>
              <a:gd name="connsiteY8-90" fmla="*/ 235244 h 962875"/>
              <a:gd name="connsiteX0-91" fmla="*/ 0 w 1834247"/>
              <a:gd name="connsiteY0-92" fmla="*/ 235244 h 962875"/>
              <a:gd name="connsiteX1-93" fmla="*/ 1219176 w 1834247"/>
              <a:gd name="connsiteY1-94" fmla="*/ 229407 h 962875"/>
              <a:gd name="connsiteX2-95" fmla="*/ 1199832 w 1834247"/>
              <a:gd name="connsiteY2-96" fmla="*/ 0 h 962875"/>
              <a:gd name="connsiteX3-97" fmla="*/ 1834247 w 1834247"/>
              <a:gd name="connsiteY3-98" fmla="*/ 470488 h 962875"/>
              <a:gd name="connsiteX4-99" fmla="*/ 1220513 w 1834247"/>
              <a:gd name="connsiteY4-100" fmla="*/ 962875 h 962875"/>
              <a:gd name="connsiteX5-101" fmla="*/ 1199832 w 1834247"/>
              <a:gd name="connsiteY5-102" fmla="*/ 705732 h 962875"/>
              <a:gd name="connsiteX6-103" fmla="*/ 0 w 1834247"/>
              <a:gd name="connsiteY6-104" fmla="*/ 705732 h 962875"/>
              <a:gd name="connsiteX7-105" fmla="*/ 317208 w 1834247"/>
              <a:gd name="connsiteY7-106" fmla="*/ 470488 h 962875"/>
              <a:gd name="connsiteX8-107" fmla="*/ 0 w 1834247"/>
              <a:gd name="connsiteY8-108" fmla="*/ 235244 h 962875"/>
              <a:gd name="connsiteX0-109" fmla="*/ 0 w 1872865"/>
              <a:gd name="connsiteY0-110" fmla="*/ 95641 h 962875"/>
              <a:gd name="connsiteX1-111" fmla="*/ 1257794 w 1872865"/>
              <a:gd name="connsiteY1-112" fmla="*/ 229407 h 962875"/>
              <a:gd name="connsiteX2-113" fmla="*/ 1238450 w 1872865"/>
              <a:gd name="connsiteY2-114" fmla="*/ 0 h 962875"/>
              <a:gd name="connsiteX3-115" fmla="*/ 1872865 w 1872865"/>
              <a:gd name="connsiteY3-116" fmla="*/ 470488 h 962875"/>
              <a:gd name="connsiteX4-117" fmla="*/ 1259131 w 1872865"/>
              <a:gd name="connsiteY4-118" fmla="*/ 962875 h 962875"/>
              <a:gd name="connsiteX5-119" fmla="*/ 1238450 w 1872865"/>
              <a:gd name="connsiteY5-120" fmla="*/ 705732 h 962875"/>
              <a:gd name="connsiteX6-121" fmla="*/ 38618 w 1872865"/>
              <a:gd name="connsiteY6-122" fmla="*/ 705732 h 962875"/>
              <a:gd name="connsiteX7-123" fmla="*/ 355826 w 1872865"/>
              <a:gd name="connsiteY7-124" fmla="*/ 470488 h 962875"/>
              <a:gd name="connsiteX8-125" fmla="*/ 0 w 1872865"/>
              <a:gd name="connsiteY8-126" fmla="*/ 95641 h 962875"/>
              <a:gd name="connsiteX0-127" fmla="*/ 0 w 1872865"/>
              <a:gd name="connsiteY0-128" fmla="*/ 95641 h 962875"/>
              <a:gd name="connsiteX1-129" fmla="*/ 1257794 w 1872865"/>
              <a:gd name="connsiteY1-130" fmla="*/ 229407 h 962875"/>
              <a:gd name="connsiteX2-131" fmla="*/ 1238450 w 1872865"/>
              <a:gd name="connsiteY2-132" fmla="*/ 0 h 962875"/>
              <a:gd name="connsiteX3-133" fmla="*/ 1872865 w 1872865"/>
              <a:gd name="connsiteY3-134" fmla="*/ 470488 h 962875"/>
              <a:gd name="connsiteX4-135" fmla="*/ 1259131 w 1872865"/>
              <a:gd name="connsiteY4-136" fmla="*/ 962875 h 962875"/>
              <a:gd name="connsiteX5-137" fmla="*/ 1238450 w 1872865"/>
              <a:gd name="connsiteY5-138" fmla="*/ 705732 h 962875"/>
              <a:gd name="connsiteX6-139" fmla="*/ 38618 w 1872865"/>
              <a:gd name="connsiteY6-140" fmla="*/ 705732 h 962875"/>
              <a:gd name="connsiteX7-141" fmla="*/ 355826 w 1872865"/>
              <a:gd name="connsiteY7-142" fmla="*/ 470488 h 962875"/>
              <a:gd name="connsiteX8-143" fmla="*/ 0 w 1872865"/>
              <a:gd name="connsiteY8-144" fmla="*/ 95641 h 962875"/>
              <a:gd name="connsiteX0-145" fmla="*/ 0 w 1872865"/>
              <a:gd name="connsiteY0-146" fmla="*/ 95641 h 962875"/>
              <a:gd name="connsiteX1-147" fmla="*/ 1257794 w 1872865"/>
              <a:gd name="connsiteY1-148" fmla="*/ 229407 h 962875"/>
              <a:gd name="connsiteX2-149" fmla="*/ 1238450 w 1872865"/>
              <a:gd name="connsiteY2-150" fmla="*/ 0 h 962875"/>
              <a:gd name="connsiteX3-151" fmla="*/ 1872865 w 1872865"/>
              <a:gd name="connsiteY3-152" fmla="*/ 470488 h 962875"/>
              <a:gd name="connsiteX4-153" fmla="*/ 1259131 w 1872865"/>
              <a:gd name="connsiteY4-154" fmla="*/ 962875 h 962875"/>
              <a:gd name="connsiteX5-155" fmla="*/ 1238450 w 1872865"/>
              <a:gd name="connsiteY5-156" fmla="*/ 705732 h 962875"/>
              <a:gd name="connsiteX6-157" fmla="*/ 38618 w 1872865"/>
              <a:gd name="connsiteY6-158" fmla="*/ 705732 h 962875"/>
              <a:gd name="connsiteX7-159" fmla="*/ 355826 w 1872865"/>
              <a:gd name="connsiteY7-160" fmla="*/ 470488 h 962875"/>
              <a:gd name="connsiteX8-161" fmla="*/ 0 w 1872865"/>
              <a:gd name="connsiteY8-162" fmla="*/ 95641 h 962875"/>
              <a:gd name="connsiteX0-163" fmla="*/ 0 w 1872865"/>
              <a:gd name="connsiteY0-164" fmla="*/ 95641 h 962875"/>
              <a:gd name="connsiteX1-165" fmla="*/ 1257794 w 1872865"/>
              <a:gd name="connsiteY1-166" fmla="*/ 229407 h 962875"/>
              <a:gd name="connsiteX2-167" fmla="*/ 1238450 w 1872865"/>
              <a:gd name="connsiteY2-168" fmla="*/ 0 h 962875"/>
              <a:gd name="connsiteX3-169" fmla="*/ 1872865 w 1872865"/>
              <a:gd name="connsiteY3-170" fmla="*/ 470488 h 962875"/>
              <a:gd name="connsiteX4-171" fmla="*/ 1259131 w 1872865"/>
              <a:gd name="connsiteY4-172" fmla="*/ 962875 h 962875"/>
              <a:gd name="connsiteX5-173" fmla="*/ 1238450 w 1872865"/>
              <a:gd name="connsiteY5-174" fmla="*/ 705732 h 962875"/>
              <a:gd name="connsiteX6-175" fmla="*/ 38618 w 1872865"/>
              <a:gd name="connsiteY6-176" fmla="*/ 705732 h 962875"/>
              <a:gd name="connsiteX7-177" fmla="*/ 251511 w 1872865"/>
              <a:gd name="connsiteY7-178" fmla="*/ 392927 h 962875"/>
              <a:gd name="connsiteX8-179" fmla="*/ 0 w 1872865"/>
              <a:gd name="connsiteY8-180" fmla="*/ 95641 h 962875"/>
              <a:gd name="connsiteX0-181" fmla="*/ 128044 w 2000909"/>
              <a:gd name="connsiteY0-182" fmla="*/ 95641 h 962875"/>
              <a:gd name="connsiteX1-183" fmla="*/ 1385838 w 2000909"/>
              <a:gd name="connsiteY1-184" fmla="*/ 229407 h 962875"/>
              <a:gd name="connsiteX2-185" fmla="*/ 1366494 w 2000909"/>
              <a:gd name="connsiteY2-186" fmla="*/ 0 h 962875"/>
              <a:gd name="connsiteX3-187" fmla="*/ 2000909 w 2000909"/>
              <a:gd name="connsiteY3-188" fmla="*/ 470488 h 962875"/>
              <a:gd name="connsiteX4-189" fmla="*/ 1387175 w 2000909"/>
              <a:gd name="connsiteY4-190" fmla="*/ 962875 h 962875"/>
              <a:gd name="connsiteX5-191" fmla="*/ 1366494 w 2000909"/>
              <a:gd name="connsiteY5-192" fmla="*/ 705732 h 962875"/>
              <a:gd name="connsiteX6-193" fmla="*/ 0 w 2000909"/>
              <a:gd name="connsiteY6-194" fmla="*/ 573117 h 962875"/>
              <a:gd name="connsiteX7-195" fmla="*/ 379555 w 2000909"/>
              <a:gd name="connsiteY7-196" fmla="*/ 392927 h 962875"/>
              <a:gd name="connsiteX8-197" fmla="*/ 128044 w 2000909"/>
              <a:gd name="connsiteY8-198" fmla="*/ 95641 h 962875"/>
              <a:gd name="connsiteX0-199" fmla="*/ 128044 w 2000909"/>
              <a:gd name="connsiteY0-200" fmla="*/ 95641 h 962875"/>
              <a:gd name="connsiteX1-201" fmla="*/ 1385838 w 2000909"/>
              <a:gd name="connsiteY1-202" fmla="*/ 229407 h 962875"/>
              <a:gd name="connsiteX2-203" fmla="*/ 1366494 w 2000909"/>
              <a:gd name="connsiteY2-204" fmla="*/ 0 h 962875"/>
              <a:gd name="connsiteX3-205" fmla="*/ 2000909 w 2000909"/>
              <a:gd name="connsiteY3-206" fmla="*/ 470488 h 962875"/>
              <a:gd name="connsiteX4-207" fmla="*/ 1387175 w 2000909"/>
              <a:gd name="connsiteY4-208" fmla="*/ 962875 h 962875"/>
              <a:gd name="connsiteX5-209" fmla="*/ 1366494 w 2000909"/>
              <a:gd name="connsiteY5-210" fmla="*/ 705732 h 962875"/>
              <a:gd name="connsiteX6-211" fmla="*/ 0 w 2000909"/>
              <a:gd name="connsiteY6-212" fmla="*/ 573117 h 962875"/>
              <a:gd name="connsiteX7-213" fmla="*/ 379555 w 2000909"/>
              <a:gd name="connsiteY7-214" fmla="*/ 392927 h 962875"/>
              <a:gd name="connsiteX8-215" fmla="*/ 128044 w 2000909"/>
              <a:gd name="connsiteY8-216" fmla="*/ 95641 h 962875"/>
              <a:gd name="connsiteX0-217" fmla="*/ 128044 w 2000909"/>
              <a:gd name="connsiteY0-218" fmla="*/ 95641 h 962875"/>
              <a:gd name="connsiteX1-219" fmla="*/ 1385838 w 2000909"/>
              <a:gd name="connsiteY1-220" fmla="*/ 229407 h 962875"/>
              <a:gd name="connsiteX2-221" fmla="*/ 1366494 w 2000909"/>
              <a:gd name="connsiteY2-222" fmla="*/ 0 h 962875"/>
              <a:gd name="connsiteX3-223" fmla="*/ 2000909 w 2000909"/>
              <a:gd name="connsiteY3-224" fmla="*/ 470488 h 962875"/>
              <a:gd name="connsiteX4-225" fmla="*/ 1387175 w 2000909"/>
              <a:gd name="connsiteY4-226" fmla="*/ 962875 h 962875"/>
              <a:gd name="connsiteX5-227" fmla="*/ 1366494 w 2000909"/>
              <a:gd name="connsiteY5-228" fmla="*/ 705732 h 962875"/>
              <a:gd name="connsiteX6-229" fmla="*/ 0 w 2000909"/>
              <a:gd name="connsiteY6-230" fmla="*/ 573117 h 962875"/>
              <a:gd name="connsiteX7-231" fmla="*/ 379555 w 2000909"/>
              <a:gd name="connsiteY7-232" fmla="*/ 392927 h 962875"/>
              <a:gd name="connsiteX8-233" fmla="*/ 128044 w 2000909"/>
              <a:gd name="connsiteY8-234" fmla="*/ 95641 h 962875"/>
              <a:gd name="connsiteX0-235" fmla="*/ 128044 w 2000909"/>
              <a:gd name="connsiteY0-236" fmla="*/ 95641 h 964212"/>
              <a:gd name="connsiteX1-237" fmla="*/ 1385838 w 2000909"/>
              <a:gd name="connsiteY1-238" fmla="*/ 229407 h 964212"/>
              <a:gd name="connsiteX2-239" fmla="*/ 1366494 w 2000909"/>
              <a:gd name="connsiteY2-240" fmla="*/ 0 h 964212"/>
              <a:gd name="connsiteX3-241" fmla="*/ 2000909 w 2000909"/>
              <a:gd name="connsiteY3-242" fmla="*/ 470488 h 964212"/>
              <a:gd name="connsiteX4-243" fmla="*/ 1359438 w 2000909"/>
              <a:gd name="connsiteY4-244" fmla="*/ 964212 h 964212"/>
              <a:gd name="connsiteX5-245" fmla="*/ 1366494 w 2000909"/>
              <a:gd name="connsiteY5-246" fmla="*/ 705732 h 964212"/>
              <a:gd name="connsiteX6-247" fmla="*/ 0 w 2000909"/>
              <a:gd name="connsiteY6-248" fmla="*/ 573117 h 964212"/>
              <a:gd name="connsiteX7-249" fmla="*/ 379555 w 2000909"/>
              <a:gd name="connsiteY7-250" fmla="*/ 392927 h 964212"/>
              <a:gd name="connsiteX8-251" fmla="*/ 128044 w 2000909"/>
              <a:gd name="connsiteY8-252" fmla="*/ 95641 h 964212"/>
              <a:gd name="connsiteX0-253" fmla="*/ 128044 w 2000909"/>
              <a:gd name="connsiteY0-254" fmla="*/ 95641 h 964212"/>
              <a:gd name="connsiteX1-255" fmla="*/ 1385838 w 2000909"/>
              <a:gd name="connsiteY1-256" fmla="*/ 229407 h 964212"/>
              <a:gd name="connsiteX2-257" fmla="*/ 1366494 w 2000909"/>
              <a:gd name="connsiteY2-258" fmla="*/ 0 h 964212"/>
              <a:gd name="connsiteX3-259" fmla="*/ 2000909 w 2000909"/>
              <a:gd name="connsiteY3-260" fmla="*/ 470488 h 964212"/>
              <a:gd name="connsiteX4-261" fmla="*/ 1359438 w 2000909"/>
              <a:gd name="connsiteY4-262" fmla="*/ 964212 h 964212"/>
              <a:gd name="connsiteX5-263" fmla="*/ 1291182 w 2000909"/>
              <a:gd name="connsiteY5-264" fmla="*/ 805850 h 964212"/>
              <a:gd name="connsiteX6-265" fmla="*/ 0 w 2000909"/>
              <a:gd name="connsiteY6-266" fmla="*/ 573117 h 964212"/>
              <a:gd name="connsiteX7-267" fmla="*/ 379555 w 2000909"/>
              <a:gd name="connsiteY7-268" fmla="*/ 392927 h 964212"/>
              <a:gd name="connsiteX8-269" fmla="*/ 128044 w 2000909"/>
              <a:gd name="connsiteY8-270" fmla="*/ 95641 h 964212"/>
              <a:gd name="connsiteX0-271" fmla="*/ 128044 w 2000909"/>
              <a:gd name="connsiteY0-272" fmla="*/ 95641 h 964212"/>
              <a:gd name="connsiteX1-273" fmla="*/ 1385838 w 2000909"/>
              <a:gd name="connsiteY1-274" fmla="*/ 229407 h 964212"/>
              <a:gd name="connsiteX2-275" fmla="*/ 1366494 w 2000909"/>
              <a:gd name="connsiteY2-276" fmla="*/ 0 h 964212"/>
              <a:gd name="connsiteX3-277" fmla="*/ 2000909 w 2000909"/>
              <a:gd name="connsiteY3-278" fmla="*/ 470488 h 964212"/>
              <a:gd name="connsiteX4-279" fmla="*/ 1359438 w 2000909"/>
              <a:gd name="connsiteY4-280" fmla="*/ 964212 h 964212"/>
              <a:gd name="connsiteX5-281" fmla="*/ 1389424 w 2000909"/>
              <a:gd name="connsiteY5-282" fmla="*/ 723434 h 964212"/>
              <a:gd name="connsiteX6-283" fmla="*/ 0 w 2000909"/>
              <a:gd name="connsiteY6-284" fmla="*/ 573117 h 964212"/>
              <a:gd name="connsiteX7-285" fmla="*/ 379555 w 2000909"/>
              <a:gd name="connsiteY7-286" fmla="*/ 392927 h 964212"/>
              <a:gd name="connsiteX8-287" fmla="*/ 128044 w 2000909"/>
              <a:gd name="connsiteY8-288" fmla="*/ 95641 h 964212"/>
              <a:gd name="connsiteX0-289" fmla="*/ 128044 w 2000909"/>
              <a:gd name="connsiteY0-290" fmla="*/ 95641 h 964212"/>
              <a:gd name="connsiteX1-291" fmla="*/ 1385838 w 2000909"/>
              <a:gd name="connsiteY1-292" fmla="*/ 229407 h 964212"/>
              <a:gd name="connsiteX2-293" fmla="*/ 1366494 w 2000909"/>
              <a:gd name="connsiteY2-294" fmla="*/ 0 h 964212"/>
              <a:gd name="connsiteX3-295" fmla="*/ 2000909 w 2000909"/>
              <a:gd name="connsiteY3-296" fmla="*/ 470488 h 964212"/>
              <a:gd name="connsiteX4-297" fmla="*/ 1359438 w 2000909"/>
              <a:gd name="connsiteY4-298" fmla="*/ 964212 h 964212"/>
              <a:gd name="connsiteX5-299" fmla="*/ 1389424 w 2000909"/>
              <a:gd name="connsiteY5-300" fmla="*/ 723434 h 964212"/>
              <a:gd name="connsiteX6-301" fmla="*/ 0 w 2000909"/>
              <a:gd name="connsiteY6-302" fmla="*/ 573117 h 964212"/>
              <a:gd name="connsiteX7-303" fmla="*/ 379555 w 2000909"/>
              <a:gd name="connsiteY7-304" fmla="*/ 392927 h 964212"/>
              <a:gd name="connsiteX8-305" fmla="*/ 128044 w 2000909"/>
              <a:gd name="connsiteY8-306" fmla="*/ 95641 h 964212"/>
              <a:gd name="connsiteX0-307" fmla="*/ 128044 w 2007662"/>
              <a:gd name="connsiteY0-308" fmla="*/ 95641 h 964212"/>
              <a:gd name="connsiteX1-309" fmla="*/ 1385838 w 2007662"/>
              <a:gd name="connsiteY1-310" fmla="*/ 229407 h 964212"/>
              <a:gd name="connsiteX2-311" fmla="*/ 1366494 w 2007662"/>
              <a:gd name="connsiteY2-312" fmla="*/ 0 h 964212"/>
              <a:gd name="connsiteX3-313" fmla="*/ 2007662 w 2007662"/>
              <a:gd name="connsiteY3-314" fmla="*/ 457897 h 964212"/>
              <a:gd name="connsiteX4-315" fmla="*/ 1359438 w 2007662"/>
              <a:gd name="connsiteY4-316" fmla="*/ 964212 h 964212"/>
              <a:gd name="connsiteX5-317" fmla="*/ 1389424 w 2007662"/>
              <a:gd name="connsiteY5-318" fmla="*/ 723434 h 964212"/>
              <a:gd name="connsiteX6-319" fmla="*/ 0 w 2007662"/>
              <a:gd name="connsiteY6-320" fmla="*/ 573117 h 964212"/>
              <a:gd name="connsiteX7-321" fmla="*/ 379555 w 2007662"/>
              <a:gd name="connsiteY7-322" fmla="*/ 392927 h 964212"/>
              <a:gd name="connsiteX8-323" fmla="*/ 128044 w 2007662"/>
              <a:gd name="connsiteY8-324" fmla="*/ 95641 h 964212"/>
              <a:gd name="connsiteX0-325" fmla="*/ 128044 w 2007662"/>
              <a:gd name="connsiteY0-326" fmla="*/ 95641 h 964212"/>
              <a:gd name="connsiteX1-327" fmla="*/ 1385838 w 2007662"/>
              <a:gd name="connsiteY1-328" fmla="*/ 229407 h 964212"/>
              <a:gd name="connsiteX2-329" fmla="*/ 1366494 w 2007662"/>
              <a:gd name="connsiteY2-330" fmla="*/ 0 h 964212"/>
              <a:gd name="connsiteX3-331" fmla="*/ 2007662 w 2007662"/>
              <a:gd name="connsiteY3-332" fmla="*/ 457897 h 964212"/>
              <a:gd name="connsiteX4-333" fmla="*/ 1359438 w 2007662"/>
              <a:gd name="connsiteY4-334" fmla="*/ 964212 h 964212"/>
              <a:gd name="connsiteX5-335" fmla="*/ 1389424 w 2007662"/>
              <a:gd name="connsiteY5-336" fmla="*/ 723434 h 964212"/>
              <a:gd name="connsiteX6-337" fmla="*/ 0 w 2007662"/>
              <a:gd name="connsiteY6-338" fmla="*/ 573117 h 964212"/>
              <a:gd name="connsiteX7-339" fmla="*/ 379555 w 2007662"/>
              <a:gd name="connsiteY7-340" fmla="*/ 392927 h 964212"/>
              <a:gd name="connsiteX8-341" fmla="*/ 128044 w 2007662"/>
              <a:gd name="connsiteY8-342" fmla="*/ 95641 h 964212"/>
              <a:gd name="connsiteX0-343" fmla="*/ 128044 w 2007662"/>
              <a:gd name="connsiteY0-344" fmla="*/ 95641 h 964212"/>
              <a:gd name="connsiteX1-345" fmla="*/ 1385838 w 2007662"/>
              <a:gd name="connsiteY1-346" fmla="*/ 229407 h 964212"/>
              <a:gd name="connsiteX2-347" fmla="*/ 1366494 w 2007662"/>
              <a:gd name="connsiteY2-348" fmla="*/ 0 h 964212"/>
              <a:gd name="connsiteX3-349" fmla="*/ 2007662 w 2007662"/>
              <a:gd name="connsiteY3-350" fmla="*/ 457897 h 964212"/>
              <a:gd name="connsiteX4-351" fmla="*/ 1359438 w 2007662"/>
              <a:gd name="connsiteY4-352" fmla="*/ 964212 h 964212"/>
              <a:gd name="connsiteX5-353" fmla="*/ 1389424 w 2007662"/>
              <a:gd name="connsiteY5-354" fmla="*/ 723434 h 964212"/>
              <a:gd name="connsiteX6-355" fmla="*/ 0 w 2007662"/>
              <a:gd name="connsiteY6-356" fmla="*/ 573117 h 964212"/>
              <a:gd name="connsiteX7-357" fmla="*/ 370856 w 2007662"/>
              <a:gd name="connsiteY7-358" fmla="*/ 399070 h 964212"/>
              <a:gd name="connsiteX8-359" fmla="*/ 128044 w 2007662"/>
              <a:gd name="connsiteY8-360" fmla="*/ 95641 h 964212"/>
              <a:gd name="connsiteX0-361" fmla="*/ 128044 w 2007662"/>
              <a:gd name="connsiteY0-362" fmla="*/ 95641 h 964212"/>
              <a:gd name="connsiteX1-363" fmla="*/ 1386208 w 2007662"/>
              <a:gd name="connsiteY1-364" fmla="*/ 236133 h 964212"/>
              <a:gd name="connsiteX2-365" fmla="*/ 1366494 w 2007662"/>
              <a:gd name="connsiteY2-366" fmla="*/ 0 h 964212"/>
              <a:gd name="connsiteX3-367" fmla="*/ 2007662 w 2007662"/>
              <a:gd name="connsiteY3-368" fmla="*/ 457897 h 964212"/>
              <a:gd name="connsiteX4-369" fmla="*/ 1359438 w 2007662"/>
              <a:gd name="connsiteY4-370" fmla="*/ 964212 h 964212"/>
              <a:gd name="connsiteX5-371" fmla="*/ 1389424 w 2007662"/>
              <a:gd name="connsiteY5-372" fmla="*/ 723434 h 964212"/>
              <a:gd name="connsiteX6-373" fmla="*/ 0 w 2007662"/>
              <a:gd name="connsiteY6-374" fmla="*/ 573117 h 964212"/>
              <a:gd name="connsiteX7-375" fmla="*/ 370856 w 2007662"/>
              <a:gd name="connsiteY7-376" fmla="*/ 399070 h 964212"/>
              <a:gd name="connsiteX8-377" fmla="*/ 128044 w 2007662"/>
              <a:gd name="connsiteY8-378" fmla="*/ 95641 h 964212"/>
              <a:gd name="connsiteX0-379" fmla="*/ 128044 w 2007662"/>
              <a:gd name="connsiteY0-380" fmla="*/ 95641 h 964212"/>
              <a:gd name="connsiteX1-381" fmla="*/ 1390497 w 2007662"/>
              <a:gd name="connsiteY1-382" fmla="*/ 252760 h 964212"/>
              <a:gd name="connsiteX2-383" fmla="*/ 1366494 w 2007662"/>
              <a:gd name="connsiteY2-384" fmla="*/ 0 h 964212"/>
              <a:gd name="connsiteX3-385" fmla="*/ 2007662 w 2007662"/>
              <a:gd name="connsiteY3-386" fmla="*/ 457897 h 964212"/>
              <a:gd name="connsiteX4-387" fmla="*/ 1359438 w 2007662"/>
              <a:gd name="connsiteY4-388" fmla="*/ 964212 h 964212"/>
              <a:gd name="connsiteX5-389" fmla="*/ 1389424 w 2007662"/>
              <a:gd name="connsiteY5-390" fmla="*/ 723434 h 964212"/>
              <a:gd name="connsiteX6-391" fmla="*/ 0 w 2007662"/>
              <a:gd name="connsiteY6-392" fmla="*/ 573117 h 964212"/>
              <a:gd name="connsiteX7-393" fmla="*/ 370856 w 2007662"/>
              <a:gd name="connsiteY7-394" fmla="*/ 399070 h 964212"/>
              <a:gd name="connsiteX8-395" fmla="*/ 128044 w 2007662"/>
              <a:gd name="connsiteY8-396" fmla="*/ 95641 h 964212"/>
              <a:gd name="connsiteX0-397" fmla="*/ 111416 w 2007662"/>
              <a:gd name="connsiteY0-398" fmla="*/ 99931 h 964212"/>
              <a:gd name="connsiteX1-399" fmla="*/ 1390497 w 2007662"/>
              <a:gd name="connsiteY1-400" fmla="*/ 252760 h 964212"/>
              <a:gd name="connsiteX2-401" fmla="*/ 1366494 w 2007662"/>
              <a:gd name="connsiteY2-402" fmla="*/ 0 h 964212"/>
              <a:gd name="connsiteX3-403" fmla="*/ 2007662 w 2007662"/>
              <a:gd name="connsiteY3-404" fmla="*/ 457897 h 964212"/>
              <a:gd name="connsiteX4-405" fmla="*/ 1359438 w 2007662"/>
              <a:gd name="connsiteY4-406" fmla="*/ 964212 h 964212"/>
              <a:gd name="connsiteX5-407" fmla="*/ 1389424 w 2007662"/>
              <a:gd name="connsiteY5-408" fmla="*/ 723434 h 964212"/>
              <a:gd name="connsiteX6-409" fmla="*/ 0 w 2007662"/>
              <a:gd name="connsiteY6-410" fmla="*/ 573117 h 964212"/>
              <a:gd name="connsiteX7-411" fmla="*/ 370856 w 2007662"/>
              <a:gd name="connsiteY7-412" fmla="*/ 399070 h 964212"/>
              <a:gd name="connsiteX8-413" fmla="*/ 111416 w 2007662"/>
              <a:gd name="connsiteY8-414" fmla="*/ 99931 h 964212"/>
              <a:gd name="connsiteX0-415" fmla="*/ 111416 w 2007662"/>
              <a:gd name="connsiteY0-416" fmla="*/ 99931 h 964212"/>
              <a:gd name="connsiteX1-417" fmla="*/ 1390497 w 2007662"/>
              <a:gd name="connsiteY1-418" fmla="*/ 252760 h 964212"/>
              <a:gd name="connsiteX2-419" fmla="*/ 1366494 w 2007662"/>
              <a:gd name="connsiteY2-420" fmla="*/ 0 h 964212"/>
              <a:gd name="connsiteX3-421" fmla="*/ 2007662 w 2007662"/>
              <a:gd name="connsiteY3-422" fmla="*/ 457897 h 964212"/>
              <a:gd name="connsiteX4-423" fmla="*/ 1359438 w 2007662"/>
              <a:gd name="connsiteY4-424" fmla="*/ 964212 h 964212"/>
              <a:gd name="connsiteX5-425" fmla="*/ 1389424 w 2007662"/>
              <a:gd name="connsiteY5-426" fmla="*/ 723434 h 964212"/>
              <a:gd name="connsiteX6-427" fmla="*/ 0 w 2007662"/>
              <a:gd name="connsiteY6-428" fmla="*/ 573117 h 964212"/>
              <a:gd name="connsiteX7-429" fmla="*/ 388966 w 2007662"/>
              <a:gd name="connsiteY7-430" fmla="*/ 421681 h 964212"/>
              <a:gd name="connsiteX8-431" fmla="*/ 111416 w 2007662"/>
              <a:gd name="connsiteY8-432" fmla="*/ 99931 h 964212"/>
              <a:gd name="connsiteX0-433" fmla="*/ 111416 w 2007662"/>
              <a:gd name="connsiteY0-434" fmla="*/ 99931 h 964212"/>
              <a:gd name="connsiteX1-435" fmla="*/ 1390497 w 2007662"/>
              <a:gd name="connsiteY1-436" fmla="*/ 252760 h 964212"/>
              <a:gd name="connsiteX2-437" fmla="*/ 1366494 w 2007662"/>
              <a:gd name="connsiteY2-438" fmla="*/ 0 h 964212"/>
              <a:gd name="connsiteX3-439" fmla="*/ 2007662 w 2007662"/>
              <a:gd name="connsiteY3-440" fmla="*/ 457897 h 964212"/>
              <a:gd name="connsiteX4-441" fmla="*/ 1359438 w 2007662"/>
              <a:gd name="connsiteY4-442" fmla="*/ 964212 h 964212"/>
              <a:gd name="connsiteX5-443" fmla="*/ 1389424 w 2007662"/>
              <a:gd name="connsiteY5-444" fmla="*/ 723434 h 964212"/>
              <a:gd name="connsiteX6-445" fmla="*/ 0 w 2007662"/>
              <a:gd name="connsiteY6-446" fmla="*/ 573117 h 964212"/>
              <a:gd name="connsiteX7-447" fmla="*/ 388966 w 2007662"/>
              <a:gd name="connsiteY7-448" fmla="*/ 421681 h 964212"/>
              <a:gd name="connsiteX8-449" fmla="*/ 111416 w 2007662"/>
              <a:gd name="connsiteY8-450" fmla="*/ 99931 h 964212"/>
              <a:gd name="connsiteX0-451" fmla="*/ 0 w 1896246"/>
              <a:gd name="connsiteY0-452" fmla="*/ 99931 h 964212"/>
              <a:gd name="connsiteX1-453" fmla="*/ 1279081 w 1896246"/>
              <a:gd name="connsiteY1-454" fmla="*/ 252760 h 964212"/>
              <a:gd name="connsiteX2-455" fmla="*/ 1255078 w 1896246"/>
              <a:gd name="connsiteY2-456" fmla="*/ 0 h 964212"/>
              <a:gd name="connsiteX3-457" fmla="*/ 1896246 w 1896246"/>
              <a:gd name="connsiteY3-458" fmla="*/ 457897 h 964212"/>
              <a:gd name="connsiteX4-459" fmla="*/ 1248022 w 1896246"/>
              <a:gd name="connsiteY4-460" fmla="*/ 964212 h 964212"/>
              <a:gd name="connsiteX5-461" fmla="*/ 1278008 w 1896246"/>
              <a:gd name="connsiteY5-462" fmla="*/ 723434 h 964212"/>
              <a:gd name="connsiteX6-463" fmla="*/ 165367 w 1896246"/>
              <a:gd name="connsiteY6-464" fmla="*/ 699516 h 964212"/>
              <a:gd name="connsiteX7-465" fmla="*/ 277550 w 1896246"/>
              <a:gd name="connsiteY7-466" fmla="*/ 421681 h 964212"/>
              <a:gd name="connsiteX8-467" fmla="*/ 0 w 1896246"/>
              <a:gd name="connsiteY8-468" fmla="*/ 99931 h 964212"/>
              <a:gd name="connsiteX0-469" fmla="*/ 83404 w 1979650"/>
              <a:gd name="connsiteY0-470" fmla="*/ 99931 h 964212"/>
              <a:gd name="connsiteX1-471" fmla="*/ 1362485 w 1979650"/>
              <a:gd name="connsiteY1-472" fmla="*/ 252760 h 964212"/>
              <a:gd name="connsiteX2-473" fmla="*/ 1338482 w 1979650"/>
              <a:gd name="connsiteY2-474" fmla="*/ 0 h 964212"/>
              <a:gd name="connsiteX3-475" fmla="*/ 1979650 w 1979650"/>
              <a:gd name="connsiteY3-476" fmla="*/ 457897 h 964212"/>
              <a:gd name="connsiteX4-477" fmla="*/ 1331426 w 1979650"/>
              <a:gd name="connsiteY4-478" fmla="*/ 964212 h 964212"/>
              <a:gd name="connsiteX5-479" fmla="*/ 1361412 w 1979650"/>
              <a:gd name="connsiteY5-480" fmla="*/ 723434 h 964212"/>
              <a:gd name="connsiteX6-481" fmla="*/ 0 w 1979650"/>
              <a:gd name="connsiteY6-482" fmla="*/ 591808 h 964212"/>
              <a:gd name="connsiteX7-483" fmla="*/ 360954 w 1979650"/>
              <a:gd name="connsiteY7-484" fmla="*/ 421681 h 964212"/>
              <a:gd name="connsiteX8-485" fmla="*/ 83404 w 1979650"/>
              <a:gd name="connsiteY8-486" fmla="*/ 99931 h 964212"/>
              <a:gd name="connsiteX0-487" fmla="*/ 83404 w 1979650"/>
              <a:gd name="connsiteY0-488" fmla="*/ 99931 h 964212"/>
              <a:gd name="connsiteX1-489" fmla="*/ 1362485 w 1979650"/>
              <a:gd name="connsiteY1-490" fmla="*/ 252760 h 964212"/>
              <a:gd name="connsiteX2-491" fmla="*/ 1338482 w 1979650"/>
              <a:gd name="connsiteY2-492" fmla="*/ 0 h 964212"/>
              <a:gd name="connsiteX3-493" fmla="*/ 1979650 w 1979650"/>
              <a:gd name="connsiteY3-494" fmla="*/ 457897 h 964212"/>
              <a:gd name="connsiteX4-495" fmla="*/ 1331426 w 1979650"/>
              <a:gd name="connsiteY4-496" fmla="*/ 964212 h 964212"/>
              <a:gd name="connsiteX5-497" fmla="*/ 1361412 w 1979650"/>
              <a:gd name="connsiteY5-498" fmla="*/ 723434 h 964212"/>
              <a:gd name="connsiteX6-499" fmla="*/ 0 w 1979650"/>
              <a:gd name="connsiteY6-500" fmla="*/ 591808 h 964212"/>
              <a:gd name="connsiteX7-501" fmla="*/ 360954 w 1979650"/>
              <a:gd name="connsiteY7-502" fmla="*/ 421681 h 964212"/>
              <a:gd name="connsiteX8-503" fmla="*/ 83404 w 1979650"/>
              <a:gd name="connsiteY8-504" fmla="*/ 99931 h 964212"/>
              <a:gd name="connsiteX0-505" fmla="*/ 83404 w 1980391"/>
              <a:gd name="connsiteY0-506" fmla="*/ 99931 h 964212"/>
              <a:gd name="connsiteX1-507" fmla="*/ 1362485 w 1980391"/>
              <a:gd name="connsiteY1-508" fmla="*/ 252760 h 964212"/>
              <a:gd name="connsiteX2-509" fmla="*/ 1338482 w 1980391"/>
              <a:gd name="connsiteY2-510" fmla="*/ 0 h 964212"/>
              <a:gd name="connsiteX3-511" fmla="*/ 1980391 w 1980391"/>
              <a:gd name="connsiteY3-512" fmla="*/ 471347 h 964212"/>
              <a:gd name="connsiteX4-513" fmla="*/ 1331426 w 1980391"/>
              <a:gd name="connsiteY4-514" fmla="*/ 964212 h 964212"/>
              <a:gd name="connsiteX5-515" fmla="*/ 1361412 w 1980391"/>
              <a:gd name="connsiteY5-516" fmla="*/ 723434 h 964212"/>
              <a:gd name="connsiteX6-517" fmla="*/ 0 w 1980391"/>
              <a:gd name="connsiteY6-518" fmla="*/ 591808 h 964212"/>
              <a:gd name="connsiteX7-519" fmla="*/ 360954 w 1980391"/>
              <a:gd name="connsiteY7-520" fmla="*/ 421681 h 964212"/>
              <a:gd name="connsiteX8-521" fmla="*/ 83404 w 1980391"/>
              <a:gd name="connsiteY8-522" fmla="*/ 99931 h 964212"/>
              <a:gd name="connsiteX0-523" fmla="*/ 89789 w 1980391"/>
              <a:gd name="connsiteY0-524" fmla="*/ 124770 h 964212"/>
              <a:gd name="connsiteX1-525" fmla="*/ 1362485 w 1980391"/>
              <a:gd name="connsiteY1-526" fmla="*/ 252760 h 964212"/>
              <a:gd name="connsiteX2-527" fmla="*/ 1338482 w 1980391"/>
              <a:gd name="connsiteY2-528" fmla="*/ 0 h 964212"/>
              <a:gd name="connsiteX3-529" fmla="*/ 1980391 w 1980391"/>
              <a:gd name="connsiteY3-530" fmla="*/ 471347 h 964212"/>
              <a:gd name="connsiteX4-531" fmla="*/ 1331426 w 1980391"/>
              <a:gd name="connsiteY4-532" fmla="*/ 964212 h 964212"/>
              <a:gd name="connsiteX5-533" fmla="*/ 1361412 w 1980391"/>
              <a:gd name="connsiteY5-534" fmla="*/ 723434 h 964212"/>
              <a:gd name="connsiteX6-535" fmla="*/ 0 w 1980391"/>
              <a:gd name="connsiteY6-536" fmla="*/ 591808 h 964212"/>
              <a:gd name="connsiteX7-537" fmla="*/ 360954 w 1980391"/>
              <a:gd name="connsiteY7-538" fmla="*/ 421681 h 964212"/>
              <a:gd name="connsiteX8-539" fmla="*/ 89789 w 1980391"/>
              <a:gd name="connsiteY8-540" fmla="*/ 124770 h 964212"/>
              <a:gd name="connsiteX0-541" fmla="*/ 72635 w 1963237"/>
              <a:gd name="connsiteY0-542" fmla="*/ 124770 h 964212"/>
              <a:gd name="connsiteX1-543" fmla="*/ 1345331 w 1963237"/>
              <a:gd name="connsiteY1-544" fmla="*/ 252760 h 964212"/>
              <a:gd name="connsiteX2-545" fmla="*/ 1321328 w 1963237"/>
              <a:gd name="connsiteY2-546" fmla="*/ 0 h 964212"/>
              <a:gd name="connsiteX3-547" fmla="*/ 1963237 w 1963237"/>
              <a:gd name="connsiteY3-548" fmla="*/ 471347 h 964212"/>
              <a:gd name="connsiteX4-549" fmla="*/ 1314272 w 1963237"/>
              <a:gd name="connsiteY4-550" fmla="*/ 964212 h 964212"/>
              <a:gd name="connsiteX5-551" fmla="*/ 1344258 w 1963237"/>
              <a:gd name="connsiteY5-552" fmla="*/ 723434 h 964212"/>
              <a:gd name="connsiteX6-553" fmla="*/ 0 w 1963237"/>
              <a:gd name="connsiteY6-554" fmla="*/ 591052 h 964212"/>
              <a:gd name="connsiteX7-555" fmla="*/ 343800 w 1963237"/>
              <a:gd name="connsiteY7-556" fmla="*/ 421681 h 964212"/>
              <a:gd name="connsiteX8-557" fmla="*/ 72635 w 1963237"/>
              <a:gd name="connsiteY8-558" fmla="*/ 124770 h 964212"/>
              <a:gd name="connsiteX0-559" fmla="*/ 72635 w 1955552"/>
              <a:gd name="connsiteY0-560" fmla="*/ 124770 h 964212"/>
              <a:gd name="connsiteX1-561" fmla="*/ 1345331 w 1955552"/>
              <a:gd name="connsiteY1-562" fmla="*/ 252760 h 964212"/>
              <a:gd name="connsiteX2-563" fmla="*/ 1321328 w 1955552"/>
              <a:gd name="connsiteY2-564" fmla="*/ 0 h 964212"/>
              <a:gd name="connsiteX3-565" fmla="*/ 1955552 w 1955552"/>
              <a:gd name="connsiteY3-566" fmla="*/ 476976 h 964212"/>
              <a:gd name="connsiteX4-567" fmla="*/ 1314272 w 1955552"/>
              <a:gd name="connsiteY4-568" fmla="*/ 964212 h 964212"/>
              <a:gd name="connsiteX5-569" fmla="*/ 1344258 w 1955552"/>
              <a:gd name="connsiteY5-570" fmla="*/ 723434 h 964212"/>
              <a:gd name="connsiteX6-571" fmla="*/ 0 w 1955552"/>
              <a:gd name="connsiteY6-572" fmla="*/ 591052 h 964212"/>
              <a:gd name="connsiteX7-573" fmla="*/ 343800 w 1955552"/>
              <a:gd name="connsiteY7-574" fmla="*/ 421681 h 964212"/>
              <a:gd name="connsiteX8-575" fmla="*/ 72635 w 1955552"/>
              <a:gd name="connsiteY8-576" fmla="*/ 124770 h 96421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955552" h="964212">
                <a:moveTo>
                  <a:pt x="72635" y="124770"/>
                </a:moveTo>
                <a:cubicBezTo>
                  <a:pt x="505523" y="214494"/>
                  <a:pt x="975516" y="267116"/>
                  <a:pt x="1345331" y="252760"/>
                </a:cubicBezTo>
                <a:lnTo>
                  <a:pt x="1321328" y="0"/>
                </a:lnTo>
                <a:cubicBezTo>
                  <a:pt x="1536692" y="169725"/>
                  <a:pt x="1744080" y="320147"/>
                  <a:pt x="1955552" y="476976"/>
                </a:cubicBezTo>
                <a:cubicBezTo>
                  <a:pt x="1736922" y="660589"/>
                  <a:pt x="1530347" y="795440"/>
                  <a:pt x="1314272" y="964212"/>
                </a:cubicBezTo>
                <a:lnTo>
                  <a:pt x="1344258" y="723434"/>
                </a:lnTo>
                <a:cubicBezTo>
                  <a:pt x="982736" y="745843"/>
                  <a:pt x="511393" y="678383"/>
                  <a:pt x="0" y="591052"/>
                </a:cubicBezTo>
                <a:lnTo>
                  <a:pt x="343800" y="421681"/>
                </a:lnTo>
                <a:lnTo>
                  <a:pt x="72635" y="124770"/>
                </a:lnTo>
                <a:close/>
              </a:path>
            </a:pathLst>
          </a:cu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chemeClr val="bg1"/>
              </a:solidFill>
            </a:endParaRPr>
          </a:p>
        </p:txBody>
      </p:sp>
      <p:sp>
        <p:nvSpPr>
          <p:cNvPr id="55" name="燕尾形箭头 2"/>
          <p:cNvSpPr/>
          <p:nvPr/>
        </p:nvSpPr>
        <p:spPr>
          <a:xfrm rot="18364682">
            <a:off x="7527350" y="1477253"/>
            <a:ext cx="1965642" cy="964212"/>
          </a:xfrm>
          <a:custGeom>
            <a:avLst/>
            <a:gdLst>
              <a:gd name="connsiteX0" fmla="*/ 0 w 1834247"/>
              <a:gd name="connsiteY0" fmla="*/ 235244 h 940976"/>
              <a:gd name="connsiteX1" fmla="*/ 1199832 w 1834247"/>
              <a:gd name="connsiteY1" fmla="*/ 235244 h 940976"/>
              <a:gd name="connsiteX2" fmla="*/ 1199832 w 1834247"/>
              <a:gd name="connsiteY2" fmla="*/ 0 h 940976"/>
              <a:gd name="connsiteX3" fmla="*/ 1834247 w 1834247"/>
              <a:gd name="connsiteY3" fmla="*/ 470488 h 940976"/>
              <a:gd name="connsiteX4" fmla="*/ 1199832 w 1834247"/>
              <a:gd name="connsiteY4" fmla="*/ 940976 h 940976"/>
              <a:gd name="connsiteX5" fmla="*/ 1199832 w 1834247"/>
              <a:gd name="connsiteY5" fmla="*/ 705732 h 940976"/>
              <a:gd name="connsiteX6" fmla="*/ 0 w 1834247"/>
              <a:gd name="connsiteY6" fmla="*/ 705732 h 940976"/>
              <a:gd name="connsiteX7" fmla="*/ 317208 w 1834247"/>
              <a:gd name="connsiteY7" fmla="*/ 470488 h 940976"/>
              <a:gd name="connsiteX8" fmla="*/ 0 w 1834247"/>
              <a:gd name="connsiteY8" fmla="*/ 235244 h 940976"/>
              <a:gd name="connsiteX0-1" fmla="*/ 0 w 1834247"/>
              <a:gd name="connsiteY0-2" fmla="*/ 235244 h 962875"/>
              <a:gd name="connsiteX1-3" fmla="*/ 1199832 w 1834247"/>
              <a:gd name="connsiteY1-4" fmla="*/ 235244 h 962875"/>
              <a:gd name="connsiteX2-5" fmla="*/ 1199832 w 1834247"/>
              <a:gd name="connsiteY2-6" fmla="*/ 0 h 962875"/>
              <a:gd name="connsiteX3-7" fmla="*/ 1834247 w 1834247"/>
              <a:gd name="connsiteY3-8" fmla="*/ 470488 h 962875"/>
              <a:gd name="connsiteX4-9" fmla="*/ 1220513 w 1834247"/>
              <a:gd name="connsiteY4-10" fmla="*/ 962875 h 962875"/>
              <a:gd name="connsiteX5-11" fmla="*/ 1199832 w 1834247"/>
              <a:gd name="connsiteY5-12" fmla="*/ 705732 h 962875"/>
              <a:gd name="connsiteX6-13" fmla="*/ 0 w 1834247"/>
              <a:gd name="connsiteY6-14" fmla="*/ 705732 h 962875"/>
              <a:gd name="connsiteX7-15" fmla="*/ 317208 w 1834247"/>
              <a:gd name="connsiteY7-16" fmla="*/ 470488 h 962875"/>
              <a:gd name="connsiteX8-17" fmla="*/ 0 w 1834247"/>
              <a:gd name="connsiteY8-18" fmla="*/ 235244 h 962875"/>
              <a:gd name="connsiteX0-19" fmla="*/ 0 w 1834247"/>
              <a:gd name="connsiteY0-20" fmla="*/ 235244 h 962875"/>
              <a:gd name="connsiteX1-21" fmla="*/ 1199832 w 1834247"/>
              <a:gd name="connsiteY1-22" fmla="*/ 235244 h 962875"/>
              <a:gd name="connsiteX2-23" fmla="*/ 1199832 w 1834247"/>
              <a:gd name="connsiteY2-24" fmla="*/ 0 h 962875"/>
              <a:gd name="connsiteX3-25" fmla="*/ 1834247 w 1834247"/>
              <a:gd name="connsiteY3-26" fmla="*/ 470488 h 962875"/>
              <a:gd name="connsiteX4-27" fmla="*/ 1220513 w 1834247"/>
              <a:gd name="connsiteY4-28" fmla="*/ 962875 h 962875"/>
              <a:gd name="connsiteX5-29" fmla="*/ 1199832 w 1834247"/>
              <a:gd name="connsiteY5-30" fmla="*/ 705732 h 962875"/>
              <a:gd name="connsiteX6-31" fmla="*/ 0 w 1834247"/>
              <a:gd name="connsiteY6-32" fmla="*/ 705732 h 962875"/>
              <a:gd name="connsiteX7-33" fmla="*/ 317208 w 1834247"/>
              <a:gd name="connsiteY7-34" fmla="*/ 470488 h 962875"/>
              <a:gd name="connsiteX8-35" fmla="*/ 0 w 1834247"/>
              <a:gd name="connsiteY8-36" fmla="*/ 235244 h 962875"/>
              <a:gd name="connsiteX0-37" fmla="*/ 0 w 1834247"/>
              <a:gd name="connsiteY0-38" fmla="*/ 235244 h 962875"/>
              <a:gd name="connsiteX1-39" fmla="*/ 1199832 w 1834247"/>
              <a:gd name="connsiteY1-40" fmla="*/ 235244 h 962875"/>
              <a:gd name="connsiteX2-41" fmla="*/ 1199832 w 1834247"/>
              <a:gd name="connsiteY2-42" fmla="*/ 0 h 962875"/>
              <a:gd name="connsiteX3-43" fmla="*/ 1834247 w 1834247"/>
              <a:gd name="connsiteY3-44" fmla="*/ 470488 h 962875"/>
              <a:gd name="connsiteX4-45" fmla="*/ 1220513 w 1834247"/>
              <a:gd name="connsiteY4-46" fmla="*/ 962875 h 962875"/>
              <a:gd name="connsiteX5-47" fmla="*/ 1199832 w 1834247"/>
              <a:gd name="connsiteY5-48" fmla="*/ 705732 h 962875"/>
              <a:gd name="connsiteX6-49" fmla="*/ 0 w 1834247"/>
              <a:gd name="connsiteY6-50" fmla="*/ 705732 h 962875"/>
              <a:gd name="connsiteX7-51" fmla="*/ 317208 w 1834247"/>
              <a:gd name="connsiteY7-52" fmla="*/ 470488 h 962875"/>
              <a:gd name="connsiteX8-53" fmla="*/ 0 w 1834247"/>
              <a:gd name="connsiteY8-54" fmla="*/ 235244 h 962875"/>
              <a:gd name="connsiteX0-55" fmla="*/ 0 w 1834247"/>
              <a:gd name="connsiteY0-56" fmla="*/ 235244 h 962875"/>
              <a:gd name="connsiteX1-57" fmla="*/ 1199832 w 1834247"/>
              <a:gd name="connsiteY1-58" fmla="*/ 235244 h 962875"/>
              <a:gd name="connsiteX2-59" fmla="*/ 1199832 w 1834247"/>
              <a:gd name="connsiteY2-60" fmla="*/ 0 h 962875"/>
              <a:gd name="connsiteX3-61" fmla="*/ 1834247 w 1834247"/>
              <a:gd name="connsiteY3-62" fmla="*/ 470488 h 962875"/>
              <a:gd name="connsiteX4-63" fmla="*/ 1220513 w 1834247"/>
              <a:gd name="connsiteY4-64" fmla="*/ 962875 h 962875"/>
              <a:gd name="connsiteX5-65" fmla="*/ 1199832 w 1834247"/>
              <a:gd name="connsiteY5-66" fmla="*/ 705732 h 962875"/>
              <a:gd name="connsiteX6-67" fmla="*/ 0 w 1834247"/>
              <a:gd name="connsiteY6-68" fmla="*/ 705732 h 962875"/>
              <a:gd name="connsiteX7-69" fmla="*/ 317208 w 1834247"/>
              <a:gd name="connsiteY7-70" fmla="*/ 470488 h 962875"/>
              <a:gd name="connsiteX8-71" fmla="*/ 0 w 1834247"/>
              <a:gd name="connsiteY8-72" fmla="*/ 235244 h 962875"/>
              <a:gd name="connsiteX0-73" fmla="*/ 0 w 1834247"/>
              <a:gd name="connsiteY0-74" fmla="*/ 235244 h 962875"/>
              <a:gd name="connsiteX1-75" fmla="*/ 1199832 w 1834247"/>
              <a:gd name="connsiteY1-76" fmla="*/ 235244 h 962875"/>
              <a:gd name="connsiteX2-77" fmla="*/ 1199832 w 1834247"/>
              <a:gd name="connsiteY2-78" fmla="*/ 0 h 962875"/>
              <a:gd name="connsiteX3-79" fmla="*/ 1834247 w 1834247"/>
              <a:gd name="connsiteY3-80" fmla="*/ 470488 h 962875"/>
              <a:gd name="connsiteX4-81" fmla="*/ 1220513 w 1834247"/>
              <a:gd name="connsiteY4-82" fmla="*/ 962875 h 962875"/>
              <a:gd name="connsiteX5-83" fmla="*/ 1199832 w 1834247"/>
              <a:gd name="connsiteY5-84" fmla="*/ 705732 h 962875"/>
              <a:gd name="connsiteX6-85" fmla="*/ 0 w 1834247"/>
              <a:gd name="connsiteY6-86" fmla="*/ 705732 h 962875"/>
              <a:gd name="connsiteX7-87" fmla="*/ 317208 w 1834247"/>
              <a:gd name="connsiteY7-88" fmla="*/ 470488 h 962875"/>
              <a:gd name="connsiteX8-89" fmla="*/ 0 w 1834247"/>
              <a:gd name="connsiteY8-90" fmla="*/ 235244 h 962875"/>
              <a:gd name="connsiteX0-91" fmla="*/ 0 w 1834247"/>
              <a:gd name="connsiteY0-92" fmla="*/ 235244 h 962875"/>
              <a:gd name="connsiteX1-93" fmla="*/ 1219176 w 1834247"/>
              <a:gd name="connsiteY1-94" fmla="*/ 229407 h 962875"/>
              <a:gd name="connsiteX2-95" fmla="*/ 1199832 w 1834247"/>
              <a:gd name="connsiteY2-96" fmla="*/ 0 h 962875"/>
              <a:gd name="connsiteX3-97" fmla="*/ 1834247 w 1834247"/>
              <a:gd name="connsiteY3-98" fmla="*/ 470488 h 962875"/>
              <a:gd name="connsiteX4-99" fmla="*/ 1220513 w 1834247"/>
              <a:gd name="connsiteY4-100" fmla="*/ 962875 h 962875"/>
              <a:gd name="connsiteX5-101" fmla="*/ 1199832 w 1834247"/>
              <a:gd name="connsiteY5-102" fmla="*/ 705732 h 962875"/>
              <a:gd name="connsiteX6-103" fmla="*/ 0 w 1834247"/>
              <a:gd name="connsiteY6-104" fmla="*/ 705732 h 962875"/>
              <a:gd name="connsiteX7-105" fmla="*/ 317208 w 1834247"/>
              <a:gd name="connsiteY7-106" fmla="*/ 470488 h 962875"/>
              <a:gd name="connsiteX8-107" fmla="*/ 0 w 1834247"/>
              <a:gd name="connsiteY8-108" fmla="*/ 235244 h 962875"/>
              <a:gd name="connsiteX0-109" fmla="*/ 0 w 1872865"/>
              <a:gd name="connsiteY0-110" fmla="*/ 95641 h 962875"/>
              <a:gd name="connsiteX1-111" fmla="*/ 1257794 w 1872865"/>
              <a:gd name="connsiteY1-112" fmla="*/ 229407 h 962875"/>
              <a:gd name="connsiteX2-113" fmla="*/ 1238450 w 1872865"/>
              <a:gd name="connsiteY2-114" fmla="*/ 0 h 962875"/>
              <a:gd name="connsiteX3-115" fmla="*/ 1872865 w 1872865"/>
              <a:gd name="connsiteY3-116" fmla="*/ 470488 h 962875"/>
              <a:gd name="connsiteX4-117" fmla="*/ 1259131 w 1872865"/>
              <a:gd name="connsiteY4-118" fmla="*/ 962875 h 962875"/>
              <a:gd name="connsiteX5-119" fmla="*/ 1238450 w 1872865"/>
              <a:gd name="connsiteY5-120" fmla="*/ 705732 h 962875"/>
              <a:gd name="connsiteX6-121" fmla="*/ 38618 w 1872865"/>
              <a:gd name="connsiteY6-122" fmla="*/ 705732 h 962875"/>
              <a:gd name="connsiteX7-123" fmla="*/ 355826 w 1872865"/>
              <a:gd name="connsiteY7-124" fmla="*/ 470488 h 962875"/>
              <a:gd name="connsiteX8-125" fmla="*/ 0 w 1872865"/>
              <a:gd name="connsiteY8-126" fmla="*/ 95641 h 962875"/>
              <a:gd name="connsiteX0-127" fmla="*/ 0 w 1872865"/>
              <a:gd name="connsiteY0-128" fmla="*/ 95641 h 962875"/>
              <a:gd name="connsiteX1-129" fmla="*/ 1257794 w 1872865"/>
              <a:gd name="connsiteY1-130" fmla="*/ 229407 h 962875"/>
              <a:gd name="connsiteX2-131" fmla="*/ 1238450 w 1872865"/>
              <a:gd name="connsiteY2-132" fmla="*/ 0 h 962875"/>
              <a:gd name="connsiteX3-133" fmla="*/ 1872865 w 1872865"/>
              <a:gd name="connsiteY3-134" fmla="*/ 470488 h 962875"/>
              <a:gd name="connsiteX4-135" fmla="*/ 1259131 w 1872865"/>
              <a:gd name="connsiteY4-136" fmla="*/ 962875 h 962875"/>
              <a:gd name="connsiteX5-137" fmla="*/ 1238450 w 1872865"/>
              <a:gd name="connsiteY5-138" fmla="*/ 705732 h 962875"/>
              <a:gd name="connsiteX6-139" fmla="*/ 38618 w 1872865"/>
              <a:gd name="connsiteY6-140" fmla="*/ 705732 h 962875"/>
              <a:gd name="connsiteX7-141" fmla="*/ 355826 w 1872865"/>
              <a:gd name="connsiteY7-142" fmla="*/ 470488 h 962875"/>
              <a:gd name="connsiteX8-143" fmla="*/ 0 w 1872865"/>
              <a:gd name="connsiteY8-144" fmla="*/ 95641 h 962875"/>
              <a:gd name="connsiteX0-145" fmla="*/ 0 w 1872865"/>
              <a:gd name="connsiteY0-146" fmla="*/ 95641 h 962875"/>
              <a:gd name="connsiteX1-147" fmla="*/ 1257794 w 1872865"/>
              <a:gd name="connsiteY1-148" fmla="*/ 229407 h 962875"/>
              <a:gd name="connsiteX2-149" fmla="*/ 1238450 w 1872865"/>
              <a:gd name="connsiteY2-150" fmla="*/ 0 h 962875"/>
              <a:gd name="connsiteX3-151" fmla="*/ 1872865 w 1872865"/>
              <a:gd name="connsiteY3-152" fmla="*/ 470488 h 962875"/>
              <a:gd name="connsiteX4-153" fmla="*/ 1259131 w 1872865"/>
              <a:gd name="connsiteY4-154" fmla="*/ 962875 h 962875"/>
              <a:gd name="connsiteX5-155" fmla="*/ 1238450 w 1872865"/>
              <a:gd name="connsiteY5-156" fmla="*/ 705732 h 962875"/>
              <a:gd name="connsiteX6-157" fmla="*/ 38618 w 1872865"/>
              <a:gd name="connsiteY6-158" fmla="*/ 705732 h 962875"/>
              <a:gd name="connsiteX7-159" fmla="*/ 355826 w 1872865"/>
              <a:gd name="connsiteY7-160" fmla="*/ 470488 h 962875"/>
              <a:gd name="connsiteX8-161" fmla="*/ 0 w 1872865"/>
              <a:gd name="connsiteY8-162" fmla="*/ 95641 h 962875"/>
              <a:gd name="connsiteX0-163" fmla="*/ 0 w 1872865"/>
              <a:gd name="connsiteY0-164" fmla="*/ 95641 h 962875"/>
              <a:gd name="connsiteX1-165" fmla="*/ 1257794 w 1872865"/>
              <a:gd name="connsiteY1-166" fmla="*/ 229407 h 962875"/>
              <a:gd name="connsiteX2-167" fmla="*/ 1238450 w 1872865"/>
              <a:gd name="connsiteY2-168" fmla="*/ 0 h 962875"/>
              <a:gd name="connsiteX3-169" fmla="*/ 1872865 w 1872865"/>
              <a:gd name="connsiteY3-170" fmla="*/ 470488 h 962875"/>
              <a:gd name="connsiteX4-171" fmla="*/ 1259131 w 1872865"/>
              <a:gd name="connsiteY4-172" fmla="*/ 962875 h 962875"/>
              <a:gd name="connsiteX5-173" fmla="*/ 1238450 w 1872865"/>
              <a:gd name="connsiteY5-174" fmla="*/ 705732 h 962875"/>
              <a:gd name="connsiteX6-175" fmla="*/ 38618 w 1872865"/>
              <a:gd name="connsiteY6-176" fmla="*/ 705732 h 962875"/>
              <a:gd name="connsiteX7-177" fmla="*/ 251511 w 1872865"/>
              <a:gd name="connsiteY7-178" fmla="*/ 392927 h 962875"/>
              <a:gd name="connsiteX8-179" fmla="*/ 0 w 1872865"/>
              <a:gd name="connsiteY8-180" fmla="*/ 95641 h 962875"/>
              <a:gd name="connsiteX0-181" fmla="*/ 128044 w 2000909"/>
              <a:gd name="connsiteY0-182" fmla="*/ 95641 h 962875"/>
              <a:gd name="connsiteX1-183" fmla="*/ 1385838 w 2000909"/>
              <a:gd name="connsiteY1-184" fmla="*/ 229407 h 962875"/>
              <a:gd name="connsiteX2-185" fmla="*/ 1366494 w 2000909"/>
              <a:gd name="connsiteY2-186" fmla="*/ 0 h 962875"/>
              <a:gd name="connsiteX3-187" fmla="*/ 2000909 w 2000909"/>
              <a:gd name="connsiteY3-188" fmla="*/ 470488 h 962875"/>
              <a:gd name="connsiteX4-189" fmla="*/ 1387175 w 2000909"/>
              <a:gd name="connsiteY4-190" fmla="*/ 962875 h 962875"/>
              <a:gd name="connsiteX5-191" fmla="*/ 1366494 w 2000909"/>
              <a:gd name="connsiteY5-192" fmla="*/ 705732 h 962875"/>
              <a:gd name="connsiteX6-193" fmla="*/ 0 w 2000909"/>
              <a:gd name="connsiteY6-194" fmla="*/ 573117 h 962875"/>
              <a:gd name="connsiteX7-195" fmla="*/ 379555 w 2000909"/>
              <a:gd name="connsiteY7-196" fmla="*/ 392927 h 962875"/>
              <a:gd name="connsiteX8-197" fmla="*/ 128044 w 2000909"/>
              <a:gd name="connsiteY8-198" fmla="*/ 95641 h 962875"/>
              <a:gd name="connsiteX0-199" fmla="*/ 128044 w 2000909"/>
              <a:gd name="connsiteY0-200" fmla="*/ 95641 h 962875"/>
              <a:gd name="connsiteX1-201" fmla="*/ 1385838 w 2000909"/>
              <a:gd name="connsiteY1-202" fmla="*/ 229407 h 962875"/>
              <a:gd name="connsiteX2-203" fmla="*/ 1366494 w 2000909"/>
              <a:gd name="connsiteY2-204" fmla="*/ 0 h 962875"/>
              <a:gd name="connsiteX3-205" fmla="*/ 2000909 w 2000909"/>
              <a:gd name="connsiteY3-206" fmla="*/ 470488 h 962875"/>
              <a:gd name="connsiteX4-207" fmla="*/ 1387175 w 2000909"/>
              <a:gd name="connsiteY4-208" fmla="*/ 962875 h 962875"/>
              <a:gd name="connsiteX5-209" fmla="*/ 1366494 w 2000909"/>
              <a:gd name="connsiteY5-210" fmla="*/ 705732 h 962875"/>
              <a:gd name="connsiteX6-211" fmla="*/ 0 w 2000909"/>
              <a:gd name="connsiteY6-212" fmla="*/ 573117 h 962875"/>
              <a:gd name="connsiteX7-213" fmla="*/ 379555 w 2000909"/>
              <a:gd name="connsiteY7-214" fmla="*/ 392927 h 962875"/>
              <a:gd name="connsiteX8-215" fmla="*/ 128044 w 2000909"/>
              <a:gd name="connsiteY8-216" fmla="*/ 95641 h 962875"/>
              <a:gd name="connsiteX0-217" fmla="*/ 128044 w 2000909"/>
              <a:gd name="connsiteY0-218" fmla="*/ 95641 h 962875"/>
              <a:gd name="connsiteX1-219" fmla="*/ 1385838 w 2000909"/>
              <a:gd name="connsiteY1-220" fmla="*/ 229407 h 962875"/>
              <a:gd name="connsiteX2-221" fmla="*/ 1366494 w 2000909"/>
              <a:gd name="connsiteY2-222" fmla="*/ 0 h 962875"/>
              <a:gd name="connsiteX3-223" fmla="*/ 2000909 w 2000909"/>
              <a:gd name="connsiteY3-224" fmla="*/ 470488 h 962875"/>
              <a:gd name="connsiteX4-225" fmla="*/ 1387175 w 2000909"/>
              <a:gd name="connsiteY4-226" fmla="*/ 962875 h 962875"/>
              <a:gd name="connsiteX5-227" fmla="*/ 1366494 w 2000909"/>
              <a:gd name="connsiteY5-228" fmla="*/ 705732 h 962875"/>
              <a:gd name="connsiteX6-229" fmla="*/ 0 w 2000909"/>
              <a:gd name="connsiteY6-230" fmla="*/ 573117 h 962875"/>
              <a:gd name="connsiteX7-231" fmla="*/ 379555 w 2000909"/>
              <a:gd name="connsiteY7-232" fmla="*/ 392927 h 962875"/>
              <a:gd name="connsiteX8-233" fmla="*/ 128044 w 2000909"/>
              <a:gd name="connsiteY8-234" fmla="*/ 95641 h 962875"/>
              <a:gd name="connsiteX0-235" fmla="*/ 128044 w 2000909"/>
              <a:gd name="connsiteY0-236" fmla="*/ 95641 h 964212"/>
              <a:gd name="connsiteX1-237" fmla="*/ 1385838 w 2000909"/>
              <a:gd name="connsiteY1-238" fmla="*/ 229407 h 964212"/>
              <a:gd name="connsiteX2-239" fmla="*/ 1366494 w 2000909"/>
              <a:gd name="connsiteY2-240" fmla="*/ 0 h 964212"/>
              <a:gd name="connsiteX3-241" fmla="*/ 2000909 w 2000909"/>
              <a:gd name="connsiteY3-242" fmla="*/ 470488 h 964212"/>
              <a:gd name="connsiteX4-243" fmla="*/ 1359438 w 2000909"/>
              <a:gd name="connsiteY4-244" fmla="*/ 964212 h 964212"/>
              <a:gd name="connsiteX5-245" fmla="*/ 1366494 w 2000909"/>
              <a:gd name="connsiteY5-246" fmla="*/ 705732 h 964212"/>
              <a:gd name="connsiteX6-247" fmla="*/ 0 w 2000909"/>
              <a:gd name="connsiteY6-248" fmla="*/ 573117 h 964212"/>
              <a:gd name="connsiteX7-249" fmla="*/ 379555 w 2000909"/>
              <a:gd name="connsiteY7-250" fmla="*/ 392927 h 964212"/>
              <a:gd name="connsiteX8-251" fmla="*/ 128044 w 2000909"/>
              <a:gd name="connsiteY8-252" fmla="*/ 95641 h 964212"/>
              <a:gd name="connsiteX0-253" fmla="*/ 128044 w 2000909"/>
              <a:gd name="connsiteY0-254" fmla="*/ 95641 h 964212"/>
              <a:gd name="connsiteX1-255" fmla="*/ 1385838 w 2000909"/>
              <a:gd name="connsiteY1-256" fmla="*/ 229407 h 964212"/>
              <a:gd name="connsiteX2-257" fmla="*/ 1366494 w 2000909"/>
              <a:gd name="connsiteY2-258" fmla="*/ 0 h 964212"/>
              <a:gd name="connsiteX3-259" fmla="*/ 2000909 w 2000909"/>
              <a:gd name="connsiteY3-260" fmla="*/ 470488 h 964212"/>
              <a:gd name="connsiteX4-261" fmla="*/ 1359438 w 2000909"/>
              <a:gd name="connsiteY4-262" fmla="*/ 964212 h 964212"/>
              <a:gd name="connsiteX5-263" fmla="*/ 1291182 w 2000909"/>
              <a:gd name="connsiteY5-264" fmla="*/ 805850 h 964212"/>
              <a:gd name="connsiteX6-265" fmla="*/ 0 w 2000909"/>
              <a:gd name="connsiteY6-266" fmla="*/ 573117 h 964212"/>
              <a:gd name="connsiteX7-267" fmla="*/ 379555 w 2000909"/>
              <a:gd name="connsiteY7-268" fmla="*/ 392927 h 964212"/>
              <a:gd name="connsiteX8-269" fmla="*/ 128044 w 2000909"/>
              <a:gd name="connsiteY8-270" fmla="*/ 95641 h 964212"/>
              <a:gd name="connsiteX0-271" fmla="*/ 128044 w 2000909"/>
              <a:gd name="connsiteY0-272" fmla="*/ 95641 h 964212"/>
              <a:gd name="connsiteX1-273" fmla="*/ 1385838 w 2000909"/>
              <a:gd name="connsiteY1-274" fmla="*/ 229407 h 964212"/>
              <a:gd name="connsiteX2-275" fmla="*/ 1366494 w 2000909"/>
              <a:gd name="connsiteY2-276" fmla="*/ 0 h 964212"/>
              <a:gd name="connsiteX3-277" fmla="*/ 2000909 w 2000909"/>
              <a:gd name="connsiteY3-278" fmla="*/ 470488 h 964212"/>
              <a:gd name="connsiteX4-279" fmla="*/ 1359438 w 2000909"/>
              <a:gd name="connsiteY4-280" fmla="*/ 964212 h 964212"/>
              <a:gd name="connsiteX5-281" fmla="*/ 1389424 w 2000909"/>
              <a:gd name="connsiteY5-282" fmla="*/ 723434 h 964212"/>
              <a:gd name="connsiteX6-283" fmla="*/ 0 w 2000909"/>
              <a:gd name="connsiteY6-284" fmla="*/ 573117 h 964212"/>
              <a:gd name="connsiteX7-285" fmla="*/ 379555 w 2000909"/>
              <a:gd name="connsiteY7-286" fmla="*/ 392927 h 964212"/>
              <a:gd name="connsiteX8-287" fmla="*/ 128044 w 2000909"/>
              <a:gd name="connsiteY8-288" fmla="*/ 95641 h 964212"/>
              <a:gd name="connsiteX0-289" fmla="*/ 128044 w 2000909"/>
              <a:gd name="connsiteY0-290" fmla="*/ 95641 h 964212"/>
              <a:gd name="connsiteX1-291" fmla="*/ 1385838 w 2000909"/>
              <a:gd name="connsiteY1-292" fmla="*/ 229407 h 964212"/>
              <a:gd name="connsiteX2-293" fmla="*/ 1366494 w 2000909"/>
              <a:gd name="connsiteY2-294" fmla="*/ 0 h 964212"/>
              <a:gd name="connsiteX3-295" fmla="*/ 2000909 w 2000909"/>
              <a:gd name="connsiteY3-296" fmla="*/ 470488 h 964212"/>
              <a:gd name="connsiteX4-297" fmla="*/ 1359438 w 2000909"/>
              <a:gd name="connsiteY4-298" fmla="*/ 964212 h 964212"/>
              <a:gd name="connsiteX5-299" fmla="*/ 1389424 w 2000909"/>
              <a:gd name="connsiteY5-300" fmla="*/ 723434 h 964212"/>
              <a:gd name="connsiteX6-301" fmla="*/ 0 w 2000909"/>
              <a:gd name="connsiteY6-302" fmla="*/ 573117 h 964212"/>
              <a:gd name="connsiteX7-303" fmla="*/ 379555 w 2000909"/>
              <a:gd name="connsiteY7-304" fmla="*/ 392927 h 964212"/>
              <a:gd name="connsiteX8-305" fmla="*/ 128044 w 2000909"/>
              <a:gd name="connsiteY8-306" fmla="*/ 95641 h 964212"/>
              <a:gd name="connsiteX0-307" fmla="*/ 128044 w 2007662"/>
              <a:gd name="connsiteY0-308" fmla="*/ 95641 h 964212"/>
              <a:gd name="connsiteX1-309" fmla="*/ 1385838 w 2007662"/>
              <a:gd name="connsiteY1-310" fmla="*/ 229407 h 964212"/>
              <a:gd name="connsiteX2-311" fmla="*/ 1366494 w 2007662"/>
              <a:gd name="connsiteY2-312" fmla="*/ 0 h 964212"/>
              <a:gd name="connsiteX3-313" fmla="*/ 2007662 w 2007662"/>
              <a:gd name="connsiteY3-314" fmla="*/ 457897 h 964212"/>
              <a:gd name="connsiteX4-315" fmla="*/ 1359438 w 2007662"/>
              <a:gd name="connsiteY4-316" fmla="*/ 964212 h 964212"/>
              <a:gd name="connsiteX5-317" fmla="*/ 1389424 w 2007662"/>
              <a:gd name="connsiteY5-318" fmla="*/ 723434 h 964212"/>
              <a:gd name="connsiteX6-319" fmla="*/ 0 w 2007662"/>
              <a:gd name="connsiteY6-320" fmla="*/ 573117 h 964212"/>
              <a:gd name="connsiteX7-321" fmla="*/ 379555 w 2007662"/>
              <a:gd name="connsiteY7-322" fmla="*/ 392927 h 964212"/>
              <a:gd name="connsiteX8-323" fmla="*/ 128044 w 2007662"/>
              <a:gd name="connsiteY8-324" fmla="*/ 95641 h 964212"/>
              <a:gd name="connsiteX0-325" fmla="*/ 128044 w 2007662"/>
              <a:gd name="connsiteY0-326" fmla="*/ 95641 h 964212"/>
              <a:gd name="connsiteX1-327" fmla="*/ 1385838 w 2007662"/>
              <a:gd name="connsiteY1-328" fmla="*/ 229407 h 964212"/>
              <a:gd name="connsiteX2-329" fmla="*/ 1366494 w 2007662"/>
              <a:gd name="connsiteY2-330" fmla="*/ 0 h 964212"/>
              <a:gd name="connsiteX3-331" fmla="*/ 2007662 w 2007662"/>
              <a:gd name="connsiteY3-332" fmla="*/ 457897 h 964212"/>
              <a:gd name="connsiteX4-333" fmla="*/ 1359438 w 2007662"/>
              <a:gd name="connsiteY4-334" fmla="*/ 964212 h 964212"/>
              <a:gd name="connsiteX5-335" fmla="*/ 1389424 w 2007662"/>
              <a:gd name="connsiteY5-336" fmla="*/ 723434 h 964212"/>
              <a:gd name="connsiteX6-337" fmla="*/ 0 w 2007662"/>
              <a:gd name="connsiteY6-338" fmla="*/ 573117 h 964212"/>
              <a:gd name="connsiteX7-339" fmla="*/ 379555 w 2007662"/>
              <a:gd name="connsiteY7-340" fmla="*/ 392927 h 964212"/>
              <a:gd name="connsiteX8-341" fmla="*/ 128044 w 2007662"/>
              <a:gd name="connsiteY8-342" fmla="*/ 95641 h 964212"/>
              <a:gd name="connsiteX0-343" fmla="*/ 128044 w 2007662"/>
              <a:gd name="connsiteY0-344" fmla="*/ 95641 h 964212"/>
              <a:gd name="connsiteX1-345" fmla="*/ 1385838 w 2007662"/>
              <a:gd name="connsiteY1-346" fmla="*/ 229407 h 964212"/>
              <a:gd name="connsiteX2-347" fmla="*/ 1366494 w 2007662"/>
              <a:gd name="connsiteY2-348" fmla="*/ 0 h 964212"/>
              <a:gd name="connsiteX3-349" fmla="*/ 2007662 w 2007662"/>
              <a:gd name="connsiteY3-350" fmla="*/ 457897 h 964212"/>
              <a:gd name="connsiteX4-351" fmla="*/ 1359438 w 2007662"/>
              <a:gd name="connsiteY4-352" fmla="*/ 964212 h 964212"/>
              <a:gd name="connsiteX5-353" fmla="*/ 1389424 w 2007662"/>
              <a:gd name="connsiteY5-354" fmla="*/ 723434 h 964212"/>
              <a:gd name="connsiteX6-355" fmla="*/ 0 w 2007662"/>
              <a:gd name="connsiteY6-356" fmla="*/ 573117 h 964212"/>
              <a:gd name="connsiteX7-357" fmla="*/ 370856 w 2007662"/>
              <a:gd name="connsiteY7-358" fmla="*/ 399070 h 964212"/>
              <a:gd name="connsiteX8-359" fmla="*/ 128044 w 2007662"/>
              <a:gd name="connsiteY8-360" fmla="*/ 95641 h 964212"/>
              <a:gd name="connsiteX0-361" fmla="*/ 128044 w 2007662"/>
              <a:gd name="connsiteY0-362" fmla="*/ 95641 h 964212"/>
              <a:gd name="connsiteX1-363" fmla="*/ 1386208 w 2007662"/>
              <a:gd name="connsiteY1-364" fmla="*/ 236133 h 964212"/>
              <a:gd name="connsiteX2-365" fmla="*/ 1366494 w 2007662"/>
              <a:gd name="connsiteY2-366" fmla="*/ 0 h 964212"/>
              <a:gd name="connsiteX3-367" fmla="*/ 2007662 w 2007662"/>
              <a:gd name="connsiteY3-368" fmla="*/ 457897 h 964212"/>
              <a:gd name="connsiteX4-369" fmla="*/ 1359438 w 2007662"/>
              <a:gd name="connsiteY4-370" fmla="*/ 964212 h 964212"/>
              <a:gd name="connsiteX5-371" fmla="*/ 1389424 w 2007662"/>
              <a:gd name="connsiteY5-372" fmla="*/ 723434 h 964212"/>
              <a:gd name="connsiteX6-373" fmla="*/ 0 w 2007662"/>
              <a:gd name="connsiteY6-374" fmla="*/ 573117 h 964212"/>
              <a:gd name="connsiteX7-375" fmla="*/ 370856 w 2007662"/>
              <a:gd name="connsiteY7-376" fmla="*/ 399070 h 964212"/>
              <a:gd name="connsiteX8-377" fmla="*/ 128044 w 2007662"/>
              <a:gd name="connsiteY8-378" fmla="*/ 95641 h 964212"/>
              <a:gd name="connsiteX0-379" fmla="*/ 128044 w 2007662"/>
              <a:gd name="connsiteY0-380" fmla="*/ 95641 h 964212"/>
              <a:gd name="connsiteX1-381" fmla="*/ 1390497 w 2007662"/>
              <a:gd name="connsiteY1-382" fmla="*/ 252760 h 964212"/>
              <a:gd name="connsiteX2-383" fmla="*/ 1366494 w 2007662"/>
              <a:gd name="connsiteY2-384" fmla="*/ 0 h 964212"/>
              <a:gd name="connsiteX3-385" fmla="*/ 2007662 w 2007662"/>
              <a:gd name="connsiteY3-386" fmla="*/ 457897 h 964212"/>
              <a:gd name="connsiteX4-387" fmla="*/ 1359438 w 2007662"/>
              <a:gd name="connsiteY4-388" fmla="*/ 964212 h 964212"/>
              <a:gd name="connsiteX5-389" fmla="*/ 1389424 w 2007662"/>
              <a:gd name="connsiteY5-390" fmla="*/ 723434 h 964212"/>
              <a:gd name="connsiteX6-391" fmla="*/ 0 w 2007662"/>
              <a:gd name="connsiteY6-392" fmla="*/ 573117 h 964212"/>
              <a:gd name="connsiteX7-393" fmla="*/ 370856 w 2007662"/>
              <a:gd name="connsiteY7-394" fmla="*/ 399070 h 964212"/>
              <a:gd name="connsiteX8-395" fmla="*/ 128044 w 2007662"/>
              <a:gd name="connsiteY8-396" fmla="*/ 95641 h 964212"/>
              <a:gd name="connsiteX0-397" fmla="*/ 111416 w 2007662"/>
              <a:gd name="connsiteY0-398" fmla="*/ 99931 h 964212"/>
              <a:gd name="connsiteX1-399" fmla="*/ 1390497 w 2007662"/>
              <a:gd name="connsiteY1-400" fmla="*/ 252760 h 964212"/>
              <a:gd name="connsiteX2-401" fmla="*/ 1366494 w 2007662"/>
              <a:gd name="connsiteY2-402" fmla="*/ 0 h 964212"/>
              <a:gd name="connsiteX3-403" fmla="*/ 2007662 w 2007662"/>
              <a:gd name="connsiteY3-404" fmla="*/ 457897 h 964212"/>
              <a:gd name="connsiteX4-405" fmla="*/ 1359438 w 2007662"/>
              <a:gd name="connsiteY4-406" fmla="*/ 964212 h 964212"/>
              <a:gd name="connsiteX5-407" fmla="*/ 1389424 w 2007662"/>
              <a:gd name="connsiteY5-408" fmla="*/ 723434 h 964212"/>
              <a:gd name="connsiteX6-409" fmla="*/ 0 w 2007662"/>
              <a:gd name="connsiteY6-410" fmla="*/ 573117 h 964212"/>
              <a:gd name="connsiteX7-411" fmla="*/ 370856 w 2007662"/>
              <a:gd name="connsiteY7-412" fmla="*/ 399070 h 964212"/>
              <a:gd name="connsiteX8-413" fmla="*/ 111416 w 2007662"/>
              <a:gd name="connsiteY8-414" fmla="*/ 99931 h 964212"/>
              <a:gd name="connsiteX0-415" fmla="*/ 111416 w 2007662"/>
              <a:gd name="connsiteY0-416" fmla="*/ 99931 h 964212"/>
              <a:gd name="connsiteX1-417" fmla="*/ 1390497 w 2007662"/>
              <a:gd name="connsiteY1-418" fmla="*/ 252760 h 964212"/>
              <a:gd name="connsiteX2-419" fmla="*/ 1366494 w 2007662"/>
              <a:gd name="connsiteY2-420" fmla="*/ 0 h 964212"/>
              <a:gd name="connsiteX3-421" fmla="*/ 2007662 w 2007662"/>
              <a:gd name="connsiteY3-422" fmla="*/ 457897 h 964212"/>
              <a:gd name="connsiteX4-423" fmla="*/ 1359438 w 2007662"/>
              <a:gd name="connsiteY4-424" fmla="*/ 964212 h 964212"/>
              <a:gd name="connsiteX5-425" fmla="*/ 1389424 w 2007662"/>
              <a:gd name="connsiteY5-426" fmla="*/ 723434 h 964212"/>
              <a:gd name="connsiteX6-427" fmla="*/ 0 w 2007662"/>
              <a:gd name="connsiteY6-428" fmla="*/ 573117 h 964212"/>
              <a:gd name="connsiteX7-429" fmla="*/ 388966 w 2007662"/>
              <a:gd name="connsiteY7-430" fmla="*/ 421681 h 964212"/>
              <a:gd name="connsiteX8-431" fmla="*/ 111416 w 2007662"/>
              <a:gd name="connsiteY8-432" fmla="*/ 99931 h 964212"/>
              <a:gd name="connsiteX0-433" fmla="*/ 111416 w 2007662"/>
              <a:gd name="connsiteY0-434" fmla="*/ 99931 h 964212"/>
              <a:gd name="connsiteX1-435" fmla="*/ 1390497 w 2007662"/>
              <a:gd name="connsiteY1-436" fmla="*/ 252760 h 964212"/>
              <a:gd name="connsiteX2-437" fmla="*/ 1366494 w 2007662"/>
              <a:gd name="connsiteY2-438" fmla="*/ 0 h 964212"/>
              <a:gd name="connsiteX3-439" fmla="*/ 2007662 w 2007662"/>
              <a:gd name="connsiteY3-440" fmla="*/ 457897 h 964212"/>
              <a:gd name="connsiteX4-441" fmla="*/ 1359438 w 2007662"/>
              <a:gd name="connsiteY4-442" fmla="*/ 964212 h 964212"/>
              <a:gd name="connsiteX5-443" fmla="*/ 1389424 w 2007662"/>
              <a:gd name="connsiteY5-444" fmla="*/ 723434 h 964212"/>
              <a:gd name="connsiteX6-445" fmla="*/ 0 w 2007662"/>
              <a:gd name="connsiteY6-446" fmla="*/ 573117 h 964212"/>
              <a:gd name="connsiteX7-447" fmla="*/ 388966 w 2007662"/>
              <a:gd name="connsiteY7-448" fmla="*/ 421681 h 964212"/>
              <a:gd name="connsiteX8-449" fmla="*/ 111416 w 2007662"/>
              <a:gd name="connsiteY8-450" fmla="*/ 99931 h 964212"/>
              <a:gd name="connsiteX0-451" fmla="*/ 0 w 1896246"/>
              <a:gd name="connsiteY0-452" fmla="*/ 99931 h 964212"/>
              <a:gd name="connsiteX1-453" fmla="*/ 1279081 w 1896246"/>
              <a:gd name="connsiteY1-454" fmla="*/ 252760 h 964212"/>
              <a:gd name="connsiteX2-455" fmla="*/ 1255078 w 1896246"/>
              <a:gd name="connsiteY2-456" fmla="*/ 0 h 964212"/>
              <a:gd name="connsiteX3-457" fmla="*/ 1896246 w 1896246"/>
              <a:gd name="connsiteY3-458" fmla="*/ 457897 h 964212"/>
              <a:gd name="connsiteX4-459" fmla="*/ 1248022 w 1896246"/>
              <a:gd name="connsiteY4-460" fmla="*/ 964212 h 964212"/>
              <a:gd name="connsiteX5-461" fmla="*/ 1278008 w 1896246"/>
              <a:gd name="connsiteY5-462" fmla="*/ 723434 h 964212"/>
              <a:gd name="connsiteX6-463" fmla="*/ 165367 w 1896246"/>
              <a:gd name="connsiteY6-464" fmla="*/ 699516 h 964212"/>
              <a:gd name="connsiteX7-465" fmla="*/ 277550 w 1896246"/>
              <a:gd name="connsiteY7-466" fmla="*/ 421681 h 964212"/>
              <a:gd name="connsiteX8-467" fmla="*/ 0 w 1896246"/>
              <a:gd name="connsiteY8-468" fmla="*/ 99931 h 964212"/>
              <a:gd name="connsiteX0-469" fmla="*/ 83404 w 1979650"/>
              <a:gd name="connsiteY0-470" fmla="*/ 99931 h 964212"/>
              <a:gd name="connsiteX1-471" fmla="*/ 1362485 w 1979650"/>
              <a:gd name="connsiteY1-472" fmla="*/ 252760 h 964212"/>
              <a:gd name="connsiteX2-473" fmla="*/ 1338482 w 1979650"/>
              <a:gd name="connsiteY2-474" fmla="*/ 0 h 964212"/>
              <a:gd name="connsiteX3-475" fmla="*/ 1979650 w 1979650"/>
              <a:gd name="connsiteY3-476" fmla="*/ 457897 h 964212"/>
              <a:gd name="connsiteX4-477" fmla="*/ 1331426 w 1979650"/>
              <a:gd name="connsiteY4-478" fmla="*/ 964212 h 964212"/>
              <a:gd name="connsiteX5-479" fmla="*/ 1361412 w 1979650"/>
              <a:gd name="connsiteY5-480" fmla="*/ 723434 h 964212"/>
              <a:gd name="connsiteX6-481" fmla="*/ 0 w 1979650"/>
              <a:gd name="connsiteY6-482" fmla="*/ 591808 h 964212"/>
              <a:gd name="connsiteX7-483" fmla="*/ 360954 w 1979650"/>
              <a:gd name="connsiteY7-484" fmla="*/ 421681 h 964212"/>
              <a:gd name="connsiteX8-485" fmla="*/ 83404 w 1979650"/>
              <a:gd name="connsiteY8-486" fmla="*/ 99931 h 964212"/>
              <a:gd name="connsiteX0-487" fmla="*/ 83404 w 1979650"/>
              <a:gd name="connsiteY0-488" fmla="*/ 99931 h 964212"/>
              <a:gd name="connsiteX1-489" fmla="*/ 1362485 w 1979650"/>
              <a:gd name="connsiteY1-490" fmla="*/ 252760 h 964212"/>
              <a:gd name="connsiteX2-491" fmla="*/ 1338482 w 1979650"/>
              <a:gd name="connsiteY2-492" fmla="*/ 0 h 964212"/>
              <a:gd name="connsiteX3-493" fmla="*/ 1979650 w 1979650"/>
              <a:gd name="connsiteY3-494" fmla="*/ 457897 h 964212"/>
              <a:gd name="connsiteX4-495" fmla="*/ 1331426 w 1979650"/>
              <a:gd name="connsiteY4-496" fmla="*/ 964212 h 964212"/>
              <a:gd name="connsiteX5-497" fmla="*/ 1361412 w 1979650"/>
              <a:gd name="connsiteY5-498" fmla="*/ 723434 h 964212"/>
              <a:gd name="connsiteX6-499" fmla="*/ 0 w 1979650"/>
              <a:gd name="connsiteY6-500" fmla="*/ 591808 h 964212"/>
              <a:gd name="connsiteX7-501" fmla="*/ 360954 w 1979650"/>
              <a:gd name="connsiteY7-502" fmla="*/ 421681 h 964212"/>
              <a:gd name="connsiteX8-503" fmla="*/ 83404 w 1979650"/>
              <a:gd name="connsiteY8-504" fmla="*/ 99931 h 964212"/>
              <a:gd name="connsiteX0-505" fmla="*/ 83404 w 1980391"/>
              <a:gd name="connsiteY0-506" fmla="*/ 99931 h 964212"/>
              <a:gd name="connsiteX1-507" fmla="*/ 1362485 w 1980391"/>
              <a:gd name="connsiteY1-508" fmla="*/ 252760 h 964212"/>
              <a:gd name="connsiteX2-509" fmla="*/ 1338482 w 1980391"/>
              <a:gd name="connsiteY2-510" fmla="*/ 0 h 964212"/>
              <a:gd name="connsiteX3-511" fmla="*/ 1980391 w 1980391"/>
              <a:gd name="connsiteY3-512" fmla="*/ 471347 h 964212"/>
              <a:gd name="connsiteX4-513" fmla="*/ 1331426 w 1980391"/>
              <a:gd name="connsiteY4-514" fmla="*/ 964212 h 964212"/>
              <a:gd name="connsiteX5-515" fmla="*/ 1361412 w 1980391"/>
              <a:gd name="connsiteY5-516" fmla="*/ 723434 h 964212"/>
              <a:gd name="connsiteX6-517" fmla="*/ 0 w 1980391"/>
              <a:gd name="connsiteY6-518" fmla="*/ 591808 h 964212"/>
              <a:gd name="connsiteX7-519" fmla="*/ 360954 w 1980391"/>
              <a:gd name="connsiteY7-520" fmla="*/ 421681 h 964212"/>
              <a:gd name="connsiteX8-521" fmla="*/ 83404 w 1980391"/>
              <a:gd name="connsiteY8-522" fmla="*/ 99931 h 964212"/>
              <a:gd name="connsiteX0-523" fmla="*/ 89789 w 1980391"/>
              <a:gd name="connsiteY0-524" fmla="*/ 124770 h 964212"/>
              <a:gd name="connsiteX1-525" fmla="*/ 1362485 w 1980391"/>
              <a:gd name="connsiteY1-526" fmla="*/ 252760 h 964212"/>
              <a:gd name="connsiteX2-527" fmla="*/ 1338482 w 1980391"/>
              <a:gd name="connsiteY2-528" fmla="*/ 0 h 964212"/>
              <a:gd name="connsiteX3-529" fmla="*/ 1980391 w 1980391"/>
              <a:gd name="connsiteY3-530" fmla="*/ 471347 h 964212"/>
              <a:gd name="connsiteX4-531" fmla="*/ 1331426 w 1980391"/>
              <a:gd name="connsiteY4-532" fmla="*/ 964212 h 964212"/>
              <a:gd name="connsiteX5-533" fmla="*/ 1361412 w 1980391"/>
              <a:gd name="connsiteY5-534" fmla="*/ 723434 h 964212"/>
              <a:gd name="connsiteX6-535" fmla="*/ 0 w 1980391"/>
              <a:gd name="connsiteY6-536" fmla="*/ 591808 h 964212"/>
              <a:gd name="connsiteX7-537" fmla="*/ 360954 w 1980391"/>
              <a:gd name="connsiteY7-538" fmla="*/ 421681 h 964212"/>
              <a:gd name="connsiteX8-539" fmla="*/ 89789 w 1980391"/>
              <a:gd name="connsiteY8-540" fmla="*/ 124770 h 964212"/>
              <a:gd name="connsiteX0-541" fmla="*/ 72635 w 1963237"/>
              <a:gd name="connsiteY0-542" fmla="*/ 124770 h 964212"/>
              <a:gd name="connsiteX1-543" fmla="*/ 1345331 w 1963237"/>
              <a:gd name="connsiteY1-544" fmla="*/ 252760 h 964212"/>
              <a:gd name="connsiteX2-545" fmla="*/ 1321328 w 1963237"/>
              <a:gd name="connsiteY2-546" fmla="*/ 0 h 964212"/>
              <a:gd name="connsiteX3-547" fmla="*/ 1963237 w 1963237"/>
              <a:gd name="connsiteY3-548" fmla="*/ 471347 h 964212"/>
              <a:gd name="connsiteX4-549" fmla="*/ 1314272 w 1963237"/>
              <a:gd name="connsiteY4-550" fmla="*/ 964212 h 964212"/>
              <a:gd name="connsiteX5-551" fmla="*/ 1344258 w 1963237"/>
              <a:gd name="connsiteY5-552" fmla="*/ 723434 h 964212"/>
              <a:gd name="connsiteX6-553" fmla="*/ 0 w 1963237"/>
              <a:gd name="connsiteY6-554" fmla="*/ 591052 h 964212"/>
              <a:gd name="connsiteX7-555" fmla="*/ 343800 w 1963237"/>
              <a:gd name="connsiteY7-556" fmla="*/ 421681 h 964212"/>
              <a:gd name="connsiteX8-557" fmla="*/ 72635 w 1963237"/>
              <a:gd name="connsiteY8-558" fmla="*/ 124770 h 964212"/>
              <a:gd name="connsiteX0-559" fmla="*/ 72635 w 1955552"/>
              <a:gd name="connsiteY0-560" fmla="*/ 124770 h 964212"/>
              <a:gd name="connsiteX1-561" fmla="*/ 1345331 w 1955552"/>
              <a:gd name="connsiteY1-562" fmla="*/ 252760 h 964212"/>
              <a:gd name="connsiteX2-563" fmla="*/ 1321328 w 1955552"/>
              <a:gd name="connsiteY2-564" fmla="*/ 0 h 964212"/>
              <a:gd name="connsiteX3-565" fmla="*/ 1955552 w 1955552"/>
              <a:gd name="connsiteY3-566" fmla="*/ 476976 h 964212"/>
              <a:gd name="connsiteX4-567" fmla="*/ 1314272 w 1955552"/>
              <a:gd name="connsiteY4-568" fmla="*/ 964212 h 964212"/>
              <a:gd name="connsiteX5-569" fmla="*/ 1344258 w 1955552"/>
              <a:gd name="connsiteY5-570" fmla="*/ 723434 h 964212"/>
              <a:gd name="connsiteX6-571" fmla="*/ 0 w 1955552"/>
              <a:gd name="connsiteY6-572" fmla="*/ 591052 h 964212"/>
              <a:gd name="connsiteX7-573" fmla="*/ 343800 w 1955552"/>
              <a:gd name="connsiteY7-574" fmla="*/ 421681 h 964212"/>
              <a:gd name="connsiteX8-575" fmla="*/ 72635 w 1955552"/>
              <a:gd name="connsiteY8-576" fmla="*/ 124770 h 964212"/>
              <a:gd name="connsiteX0-577" fmla="*/ 69185 w 1955552"/>
              <a:gd name="connsiteY0-578" fmla="*/ 75168 h 964212"/>
              <a:gd name="connsiteX1-579" fmla="*/ 1345331 w 1955552"/>
              <a:gd name="connsiteY1-580" fmla="*/ 252760 h 964212"/>
              <a:gd name="connsiteX2-581" fmla="*/ 1321328 w 1955552"/>
              <a:gd name="connsiteY2-582" fmla="*/ 0 h 964212"/>
              <a:gd name="connsiteX3-583" fmla="*/ 1955552 w 1955552"/>
              <a:gd name="connsiteY3-584" fmla="*/ 476976 h 964212"/>
              <a:gd name="connsiteX4-585" fmla="*/ 1314272 w 1955552"/>
              <a:gd name="connsiteY4-586" fmla="*/ 964212 h 964212"/>
              <a:gd name="connsiteX5-587" fmla="*/ 1344258 w 1955552"/>
              <a:gd name="connsiteY5-588" fmla="*/ 723434 h 964212"/>
              <a:gd name="connsiteX6-589" fmla="*/ 0 w 1955552"/>
              <a:gd name="connsiteY6-590" fmla="*/ 591052 h 964212"/>
              <a:gd name="connsiteX7-591" fmla="*/ 343800 w 1955552"/>
              <a:gd name="connsiteY7-592" fmla="*/ 421681 h 964212"/>
              <a:gd name="connsiteX8-593" fmla="*/ 69185 w 1955552"/>
              <a:gd name="connsiteY8-594" fmla="*/ 75168 h 964212"/>
              <a:gd name="connsiteX0-595" fmla="*/ 69185 w 1955552"/>
              <a:gd name="connsiteY0-596" fmla="*/ 75168 h 964212"/>
              <a:gd name="connsiteX1-597" fmla="*/ 1345331 w 1955552"/>
              <a:gd name="connsiteY1-598" fmla="*/ 252760 h 964212"/>
              <a:gd name="connsiteX2-599" fmla="*/ 1321328 w 1955552"/>
              <a:gd name="connsiteY2-600" fmla="*/ 0 h 964212"/>
              <a:gd name="connsiteX3-601" fmla="*/ 1955552 w 1955552"/>
              <a:gd name="connsiteY3-602" fmla="*/ 476976 h 964212"/>
              <a:gd name="connsiteX4-603" fmla="*/ 1314272 w 1955552"/>
              <a:gd name="connsiteY4-604" fmla="*/ 964212 h 964212"/>
              <a:gd name="connsiteX5-605" fmla="*/ 1344258 w 1955552"/>
              <a:gd name="connsiteY5-606" fmla="*/ 723434 h 964212"/>
              <a:gd name="connsiteX6-607" fmla="*/ 0 w 1955552"/>
              <a:gd name="connsiteY6-608" fmla="*/ 591052 h 964212"/>
              <a:gd name="connsiteX7-609" fmla="*/ 340940 w 1955552"/>
              <a:gd name="connsiteY7-610" fmla="*/ 387127 h 964212"/>
              <a:gd name="connsiteX8-611" fmla="*/ 69185 w 1955552"/>
              <a:gd name="connsiteY8-612" fmla="*/ 75168 h 964212"/>
              <a:gd name="connsiteX0-613" fmla="*/ 79275 w 1965642"/>
              <a:gd name="connsiteY0-614" fmla="*/ 75168 h 964212"/>
              <a:gd name="connsiteX1-615" fmla="*/ 1355421 w 1965642"/>
              <a:gd name="connsiteY1-616" fmla="*/ 252760 h 964212"/>
              <a:gd name="connsiteX2-617" fmla="*/ 1331418 w 1965642"/>
              <a:gd name="connsiteY2-618" fmla="*/ 0 h 964212"/>
              <a:gd name="connsiteX3-619" fmla="*/ 1965642 w 1965642"/>
              <a:gd name="connsiteY3-620" fmla="*/ 476976 h 964212"/>
              <a:gd name="connsiteX4-621" fmla="*/ 1324362 w 1965642"/>
              <a:gd name="connsiteY4-622" fmla="*/ 964212 h 964212"/>
              <a:gd name="connsiteX5-623" fmla="*/ 1354348 w 1965642"/>
              <a:gd name="connsiteY5-624" fmla="*/ 723434 h 964212"/>
              <a:gd name="connsiteX6-625" fmla="*/ 0 w 1965642"/>
              <a:gd name="connsiteY6-626" fmla="*/ 564318 h 964212"/>
              <a:gd name="connsiteX7-627" fmla="*/ 351030 w 1965642"/>
              <a:gd name="connsiteY7-628" fmla="*/ 387127 h 964212"/>
              <a:gd name="connsiteX8-629" fmla="*/ 79275 w 1965642"/>
              <a:gd name="connsiteY8-630" fmla="*/ 75168 h 964212"/>
              <a:gd name="connsiteX0-631" fmla="*/ 79275 w 1965642"/>
              <a:gd name="connsiteY0-632" fmla="*/ 75168 h 964212"/>
              <a:gd name="connsiteX1-633" fmla="*/ 1355421 w 1965642"/>
              <a:gd name="connsiteY1-634" fmla="*/ 252760 h 964212"/>
              <a:gd name="connsiteX2-635" fmla="*/ 1331418 w 1965642"/>
              <a:gd name="connsiteY2-636" fmla="*/ 0 h 964212"/>
              <a:gd name="connsiteX3-637" fmla="*/ 1965642 w 1965642"/>
              <a:gd name="connsiteY3-638" fmla="*/ 476976 h 964212"/>
              <a:gd name="connsiteX4-639" fmla="*/ 1324362 w 1965642"/>
              <a:gd name="connsiteY4-640" fmla="*/ 964212 h 964212"/>
              <a:gd name="connsiteX5-641" fmla="*/ 1354348 w 1965642"/>
              <a:gd name="connsiteY5-642" fmla="*/ 723434 h 964212"/>
              <a:gd name="connsiteX6-643" fmla="*/ 0 w 1965642"/>
              <a:gd name="connsiteY6-644" fmla="*/ 564318 h 964212"/>
              <a:gd name="connsiteX7-645" fmla="*/ 351030 w 1965642"/>
              <a:gd name="connsiteY7-646" fmla="*/ 387127 h 964212"/>
              <a:gd name="connsiteX8-647" fmla="*/ 79275 w 1965642"/>
              <a:gd name="connsiteY8-648" fmla="*/ 75168 h 96421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965642" h="964212">
                <a:moveTo>
                  <a:pt x="79275" y="75168"/>
                </a:moveTo>
                <a:cubicBezTo>
                  <a:pt x="512163" y="164892"/>
                  <a:pt x="985606" y="267116"/>
                  <a:pt x="1355421" y="252760"/>
                </a:cubicBezTo>
                <a:lnTo>
                  <a:pt x="1331418" y="0"/>
                </a:lnTo>
                <a:cubicBezTo>
                  <a:pt x="1546782" y="169725"/>
                  <a:pt x="1754170" y="320147"/>
                  <a:pt x="1965642" y="476976"/>
                </a:cubicBezTo>
                <a:cubicBezTo>
                  <a:pt x="1747012" y="660589"/>
                  <a:pt x="1540437" y="795440"/>
                  <a:pt x="1324362" y="964212"/>
                </a:cubicBezTo>
                <a:lnTo>
                  <a:pt x="1354348" y="723434"/>
                </a:lnTo>
                <a:cubicBezTo>
                  <a:pt x="992826" y="745843"/>
                  <a:pt x="477429" y="669558"/>
                  <a:pt x="0" y="564318"/>
                </a:cubicBezTo>
                <a:lnTo>
                  <a:pt x="351030" y="387127"/>
                </a:lnTo>
                <a:lnTo>
                  <a:pt x="79275" y="75168"/>
                </a:lnTo>
                <a:close/>
              </a:path>
            </a:pathLst>
          </a:custGeom>
          <a:solidFill>
            <a:srgbClr val="FF97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chemeClr val="bg1"/>
              </a:solidFill>
            </a:endParaRPr>
          </a:p>
        </p:txBody>
      </p:sp>
      <p:sp>
        <p:nvSpPr>
          <p:cNvPr id="56" name="TextBox 8"/>
          <p:cNvSpPr txBox="1"/>
          <p:nvPr/>
        </p:nvSpPr>
        <p:spPr>
          <a:xfrm rot="21071342">
            <a:off x="3254516" y="4149979"/>
            <a:ext cx="1368152" cy="523220"/>
          </a:xfrm>
          <a:prstGeom prst="rect">
            <a:avLst/>
          </a:prstGeom>
          <a:solidFill>
            <a:srgbClr val="FE5817"/>
          </a:solidFill>
        </p:spPr>
        <p:txBody>
          <a:bodyPr wrap="square" rtlCol="0">
            <a:spAutoFit/>
          </a:bodyPr>
          <a:lstStyle>
            <a:defPPr>
              <a:defRPr lang="zh-CN"/>
            </a:defPPr>
            <a:lvl1pPr algn="ctr">
              <a:defRPr sz="4400">
                <a:solidFill>
                  <a:srgbClr val="DC3348"/>
                </a:solidFill>
                <a:latin typeface="Impact" panose="020B0806030902050204" pitchFamily="34" charset="0"/>
              </a:defRPr>
            </a:lvl1pPr>
          </a:lstStyle>
          <a:p>
            <a:pPr algn="r"/>
            <a:r>
              <a:rPr lang="en-US" altLang="zh-CN" sz="1600" dirty="0">
                <a:solidFill>
                  <a:schemeClr val="bg1"/>
                </a:solidFill>
                <a:latin typeface="Arial" panose="020B0604020202020204" pitchFamily="34" charset="0"/>
                <a:cs typeface="Arial" panose="020B0604020202020204" pitchFamily="34" charset="0"/>
              </a:rPr>
              <a:t>STEP</a:t>
            </a:r>
            <a:r>
              <a:rPr lang="en-US" altLang="zh-CN" sz="2800" dirty="0">
                <a:solidFill>
                  <a:schemeClr val="bg1"/>
                </a:solidFill>
              </a:rPr>
              <a:t> 01</a:t>
            </a:r>
            <a:endParaRPr lang="zh-CN" altLang="en-US" sz="2800" dirty="0">
              <a:solidFill>
                <a:schemeClr val="bg1"/>
              </a:solidFill>
            </a:endParaRPr>
          </a:p>
        </p:txBody>
      </p:sp>
      <p:sp>
        <p:nvSpPr>
          <p:cNvPr id="57" name="TextBox 12"/>
          <p:cNvSpPr txBox="1"/>
          <p:nvPr/>
        </p:nvSpPr>
        <p:spPr>
          <a:xfrm rot="20511496">
            <a:off x="4892622" y="3647740"/>
            <a:ext cx="1368152" cy="523220"/>
          </a:xfrm>
          <a:prstGeom prst="rect">
            <a:avLst/>
          </a:prstGeom>
          <a:noFill/>
        </p:spPr>
        <p:txBody>
          <a:bodyPr wrap="square" rtlCol="0">
            <a:spAutoFit/>
          </a:bodyPr>
          <a:lstStyle>
            <a:defPPr>
              <a:defRPr lang="zh-CN"/>
            </a:defPPr>
            <a:lvl1pPr algn="ctr">
              <a:defRPr sz="4400">
                <a:solidFill>
                  <a:srgbClr val="DC3348"/>
                </a:solidFill>
                <a:latin typeface="Impact" panose="020B0806030902050204" pitchFamily="34" charset="0"/>
              </a:defRPr>
            </a:lvl1pPr>
          </a:lstStyle>
          <a:p>
            <a:pPr algn="r"/>
            <a:r>
              <a:rPr lang="en-US" altLang="zh-CN" sz="1600" dirty="0">
                <a:solidFill>
                  <a:schemeClr val="bg1"/>
                </a:solidFill>
                <a:latin typeface="Arial" panose="020B0604020202020204" pitchFamily="34" charset="0"/>
                <a:cs typeface="Arial" panose="020B0604020202020204" pitchFamily="34" charset="0"/>
              </a:rPr>
              <a:t>STEP</a:t>
            </a:r>
            <a:r>
              <a:rPr lang="en-US" altLang="zh-CN" sz="2800" dirty="0">
                <a:solidFill>
                  <a:schemeClr val="bg1"/>
                </a:solidFill>
              </a:rPr>
              <a:t> 02</a:t>
            </a:r>
            <a:endParaRPr lang="zh-CN" altLang="en-US" sz="2800" dirty="0">
              <a:solidFill>
                <a:schemeClr val="bg1"/>
              </a:solidFill>
            </a:endParaRPr>
          </a:p>
        </p:txBody>
      </p:sp>
      <p:sp>
        <p:nvSpPr>
          <p:cNvPr id="58" name="TextBox 13"/>
          <p:cNvSpPr txBox="1"/>
          <p:nvPr/>
        </p:nvSpPr>
        <p:spPr>
          <a:xfrm rot="19719261">
            <a:off x="6459051" y="2820536"/>
            <a:ext cx="1368152" cy="523220"/>
          </a:xfrm>
          <a:prstGeom prst="rect">
            <a:avLst/>
          </a:prstGeom>
          <a:noFill/>
        </p:spPr>
        <p:txBody>
          <a:bodyPr wrap="square" rtlCol="0">
            <a:spAutoFit/>
          </a:bodyPr>
          <a:lstStyle>
            <a:defPPr>
              <a:defRPr lang="zh-CN"/>
            </a:defPPr>
            <a:lvl1pPr algn="ctr">
              <a:defRPr sz="4400">
                <a:solidFill>
                  <a:srgbClr val="DC3348"/>
                </a:solidFill>
                <a:latin typeface="Impact" panose="020B0806030902050204" pitchFamily="34" charset="0"/>
              </a:defRPr>
            </a:lvl1pPr>
          </a:lstStyle>
          <a:p>
            <a:pPr algn="r"/>
            <a:r>
              <a:rPr lang="en-US" altLang="zh-CN" sz="1600" dirty="0">
                <a:solidFill>
                  <a:schemeClr val="bg1"/>
                </a:solidFill>
                <a:latin typeface="Arial" panose="020B0604020202020204" pitchFamily="34" charset="0"/>
                <a:cs typeface="Arial" panose="020B0604020202020204" pitchFamily="34" charset="0"/>
              </a:rPr>
              <a:t>STEP</a:t>
            </a:r>
            <a:r>
              <a:rPr lang="en-US" altLang="zh-CN" sz="2800" dirty="0">
                <a:solidFill>
                  <a:schemeClr val="bg1"/>
                </a:solidFill>
              </a:rPr>
              <a:t> 03</a:t>
            </a:r>
            <a:endParaRPr lang="zh-CN" altLang="en-US" sz="2800" dirty="0">
              <a:solidFill>
                <a:schemeClr val="bg1"/>
              </a:solidFill>
            </a:endParaRPr>
          </a:p>
        </p:txBody>
      </p:sp>
      <p:sp>
        <p:nvSpPr>
          <p:cNvPr id="59" name="TextBox 14"/>
          <p:cNvSpPr txBox="1"/>
          <p:nvPr/>
        </p:nvSpPr>
        <p:spPr>
          <a:xfrm rot="18797254">
            <a:off x="7685427" y="1757444"/>
            <a:ext cx="1368152" cy="523220"/>
          </a:xfrm>
          <a:prstGeom prst="rect">
            <a:avLst/>
          </a:prstGeom>
          <a:noFill/>
        </p:spPr>
        <p:txBody>
          <a:bodyPr wrap="square" rtlCol="0">
            <a:spAutoFit/>
          </a:bodyPr>
          <a:lstStyle>
            <a:defPPr>
              <a:defRPr lang="zh-CN"/>
            </a:defPPr>
            <a:lvl1pPr algn="ctr">
              <a:defRPr sz="4400">
                <a:solidFill>
                  <a:srgbClr val="DC3348"/>
                </a:solidFill>
                <a:latin typeface="Impact" panose="020B0806030902050204" pitchFamily="34" charset="0"/>
              </a:defRPr>
            </a:lvl1pPr>
          </a:lstStyle>
          <a:p>
            <a:pPr algn="r"/>
            <a:r>
              <a:rPr lang="en-US" altLang="zh-CN" sz="1600" dirty="0">
                <a:solidFill>
                  <a:schemeClr val="bg1"/>
                </a:solidFill>
                <a:latin typeface="Arial" panose="020B0604020202020204" pitchFamily="34" charset="0"/>
                <a:cs typeface="Arial" panose="020B0604020202020204" pitchFamily="34" charset="0"/>
              </a:rPr>
              <a:t>STEP</a:t>
            </a:r>
            <a:r>
              <a:rPr lang="en-US" altLang="zh-CN" sz="2800" dirty="0">
                <a:solidFill>
                  <a:schemeClr val="bg1"/>
                </a:solidFill>
              </a:rPr>
              <a:t> 04</a:t>
            </a:r>
            <a:endParaRPr lang="zh-CN" altLang="en-US" sz="2800" dirty="0">
              <a:solidFill>
                <a:schemeClr val="bg1"/>
              </a:solidFill>
            </a:endParaRPr>
          </a:p>
        </p:txBody>
      </p:sp>
      <p:grpSp>
        <p:nvGrpSpPr>
          <p:cNvPr id="60" name="组合 59"/>
          <p:cNvGrpSpPr/>
          <p:nvPr/>
        </p:nvGrpSpPr>
        <p:grpSpPr>
          <a:xfrm>
            <a:off x="7312662" y="4741953"/>
            <a:ext cx="466460" cy="436062"/>
            <a:chOff x="7696974" y="3183492"/>
            <a:chExt cx="466460" cy="436062"/>
          </a:xfrm>
          <a:solidFill>
            <a:srgbClr val="FE5817"/>
          </a:solidFill>
          <a:effectLst>
            <a:reflection blurRad="6350" stA="32000" endPos="35000" dir="5400000" sy="-100000" algn="bl" rotWithShape="0"/>
          </a:effectLst>
        </p:grpSpPr>
        <p:sp>
          <p:nvSpPr>
            <p:cNvPr id="61" name="Freeform 7"/>
            <p:cNvSpPr/>
            <p:nvPr/>
          </p:nvSpPr>
          <p:spPr bwMode="auto">
            <a:xfrm>
              <a:off x="7767205" y="3183492"/>
              <a:ext cx="354300" cy="274635"/>
            </a:xfrm>
            <a:custGeom>
              <a:avLst/>
              <a:gdLst>
                <a:gd name="T0" fmla="*/ 82 w 338"/>
                <a:gd name="T1" fmla="*/ 170 h 262"/>
                <a:gd name="T2" fmla="*/ 144 w 338"/>
                <a:gd name="T3" fmla="*/ 231 h 262"/>
                <a:gd name="T4" fmla="*/ 151 w 338"/>
                <a:gd name="T5" fmla="*/ 238 h 262"/>
                <a:gd name="T6" fmla="*/ 158 w 338"/>
                <a:gd name="T7" fmla="*/ 231 h 262"/>
                <a:gd name="T8" fmla="*/ 290 w 338"/>
                <a:gd name="T9" fmla="*/ 71 h 262"/>
                <a:gd name="T10" fmla="*/ 324 w 338"/>
                <a:gd name="T11" fmla="*/ 97 h 262"/>
                <a:gd name="T12" fmla="*/ 338 w 338"/>
                <a:gd name="T13" fmla="*/ 0 h 262"/>
                <a:gd name="T14" fmla="*/ 246 w 338"/>
                <a:gd name="T15" fmla="*/ 30 h 262"/>
                <a:gd name="T16" fmla="*/ 276 w 338"/>
                <a:gd name="T17" fmla="*/ 56 h 262"/>
                <a:gd name="T18" fmla="*/ 151 w 338"/>
                <a:gd name="T19" fmla="*/ 210 h 262"/>
                <a:gd name="T20" fmla="*/ 87 w 338"/>
                <a:gd name="T21" fmla="*/ 149 h 262"/>
                <a:gd name="T22" fmla="*/ 80 w 338"/>
                <a:gd name="T23" fmla="*/ 139 h 262"/>
                <a:gd name="T24" fmla="*/ 73 w 338"/>
                <a:gd name="T25" fmla="*/ 149 h 262"/>
                <a:gd name="T26" fmla="*/ 0 w 338"/>
                <a:gd name="T27" fmla="*/ 250 h 262"/>
                <a:gd name="T28" fmla="*/ 14 w 338"/>
                <a:gd name="T29" fmla="*/ 262 h 262"/>
                <a:gd name="T30" fmla="*/ 82 w 338"/>
                <a:gd name="T31" fmla="*/ 17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8" h="262">
                  <a:moveTo>
                    <a:pt x="82" y="170"/>
                  </a:moveTo>
                  <a:lnTo>
                    <a:pt x="144" y="231"/>
                  </a:lnTo>
                  <a:lnTo>
                    <a:pt x="151" y="238"/>
                  </a:lnTo>
                  <a:lnTo>
                    <a:pt x="158" y="231"/>
                  </a:lnTo>
                  <a:lnTo>
                    <a:pt x="290" y="71"/>
                  </a:lnTo>
                  <a:lnTo>
                    <a:pt x="324" y="97"/>
                  </a:lnTo>
                  <a:lnTo>
                    <a:pt x="338" y="0"/>
                  </a:lnTo>
                  <a:lnTo>
                    <a:pt x="246" y="30"/>
                  </a:lnTo>
                  <a:lnTo>
                    <a:pt x="276" y="56"/>
                  </a:lnTo>
                  <a:lnTo>
                    <a:pt x="151" y="210"/>
                  </a:lnTo>
                  <a:lnTo>
                    <a:pt x="87" y="149"/>
                  </a:lnTo>
                  <a:lnTo>
                    <a:pt x="80" y="139"/>
                  </a:lnTo>
                  <a:lnTo>
                    <a:pt x="73" y="149"/>
                  </a:lnTo>
                  <a:lnTo>
                    <a:pt x="0" y="250"/>
                  </a:lnTo>
                  <a:lnTo>
                    <a:pt x="14" y="262"/>
                  </a:lnTo>
                  <a:lnTo>
                    <a:pt x="82" y="1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chemeClr val="bg1"/>
                </a:solidFill>
              </a:endParaRPr>
            </a:p>
          </p:txBody>
        </p:sp>
        <p:sp>
          <p:nvSpPr>
            <p:cNvPr id="62" name="Freeform 8"/>
            <p:cNvSpPr/>
            <p:nvPr/>
          </p:nvSpPr>
          <p:spPr bwMode="auto">
            <a:xfrm>
              <a:off x="7696974" y="3410957"/>
              <a:ext cx="466460" cy="208597"/>
            </a:xfrm>
            <a:custGeom>
              <a:avLst/>
              <a:gdLst>
                <a:gd name="T0" fmla="*/ 414 w 445"/>
                <a:gd name="T1" fmla="*/ 173 h 199"/>
                <a:gd name="T2" fmla="*/ 414 w 445"/>
                <a:gd name="T3" fmla="*/ 0 h 199"/>
                <a:gd name="T4" fmla="*/ 317 w 445"/>
                <a:gd name="T5" fmla="*/ 0 h 199"/>
                <a:gd name="T6" fmla="*/ 317 w 445"/>
                <a:gd name="T7" fmla="*/ 173 h 199"/>
                <a:gd name="T8" fmla="*/ 270 w 445"/>
                <a:gd name="T9" fmla="*/ 173 h 199"/>
                <a:gd name="T10" fmla="*/ 270 w 445"/>
                <a:gd name="T11" fmla="*/ 43 h 199"/>
                <a:gd name="T12" fmla="*/ 173 w 445"/>
                <a:gd name="T13" fmla="*/ 43 h 199"/>
                <a:gd name="T14" fmla="*/ 173 w 445"/>
                <a:gd name="T15" fmla="*/ 173 h 199"/>
                <a:gd name="T16" fmla="*/ 128 w 445"/>
                <a:gd name="T17" fmla="*/ 173 h 199"/>
                <a:gd name="T18" fmla="*/ 128 w 445"/>
                <a:gd name="T19" fmla="*/ 73 h 199"/>
                <a:gd name="T20" fmla="*/ 29 w 445"/>
                <a:gd name="T21" fmla="*/ 73 h 199"/>
                <a:gd name="T22" fmla="*/ 29 w 445"/>
                <a:gd name="T23" fmla="*/ 173 h 199"/>
                <a:gd name="T24" fmla="*/ 0 w 445"/>
                <a:gd name="T25" fmla="*/ 173 h 199"/>
                <a:gd name="T26" fmla="*/ 0 w 445"/>
                <a:gd name="T27" fmla="*/ 199 h 199"/>
                <a:gd name="T28" fmla="*/ 445 w 445"/>
                <a:gd name="T29" fmla="*/ 199 h 199"/>
                <a:gd name="T30" fmla="*/ 445 w 445"/>
                <a:gd name="T31" fmla="*/ 173 h 199"/>
                <a:gd name="T32" fmla="*/ 414 w 445"/>
                <a:gd name="T33" fmla="*/ 17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199">
                  <a:moveTo>
                    <a:pt x="414" y="173"/>
                  </a:moveTo>
                  <a:lnTo>
                    <a:pt x="414" y="0"/>
                  </a:lnTo>
                  <a:lnTo>
                    <a:pt x="317" y="0"/>
                  </a:lnTo>
                  <a:lnTo>
                    <a:pt x="317" y="173"/>
                  </a:lnTo>
                  <a:lnTo>
                    <a:pt x="270" y="173"/>
                  </a:lnTo>
                  <a:lnTo>
                    <a:pt x="270" y="43"/>
                  </a:lnTo>
                  <a:lnTo>
                    <a:pt x="173" y="43"/>
                  </a:lnTo>
                  <a:lnTo>
                    <a:pt x="173" y="173"/>
                  </a:lnTo>
                  <a:lnTo>
                    <a:pt x="128" y="173"/>
                  </a:lnTo>
                  <a:lnTo>
                    <a:pt x="128" y="73"/>
                  </a:lnTo>
                  <a:lnTo>
                    <a:pt x="29" y="73"/>
                  </a:lnTo>
                  <a:lnTo>
                    <a:pt x="29" y="173"/>
                  </a:lnTo>
                  <a:lnTo>
                    <a:pt x="0" y="173"/>
                  </a:lnTo>
                  <a:lnTo>
                    <a:pt x="0" y="199"/>
                  </a:lnTo>
                  <a:lnTo>
                    <a:pt x="445" y="199"/>
                  </a:lnTo>
                  <a:lnTo>
                    <a:pt x="445" y="173"/>
                  </a:lnTo>
                  <a:lnTo>
                    <a:pt x="414" y="17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chemeClr val="bg1"/>
                </a:solidFill>
              </a:endParaRPr>
            </a:p>
          </p:txBody>
        </p:sp>
      </p:grpSp>
      <p:grpSp>
        <p:nvGrpSpPr>
          <p:cNvPr id="63" name="组合 62"/>
          <p:cNvGrpSpPr/>
          <p:nvPr/>
        </p:nvGrpSpPr>
        <p:grpSpPr>
          <a:xfrm>
            <a:off x="9745996" y="3496917"/>
            <a:ext cx="462908" cy="492726"/>
            <a:chOff x="6093779" y="2581011"/>
            <a:chExt cx="570786" cy="607555"/>
          </a:xfrm>
          <a:solidFill>
            <a:srgbClr val="FE5817"/>
          </a:solidFill>
          <a:effectLst>
            <a:reflection blurRad="6350" stA="15000" endPos="55000" dir="5400000" sy="-100000" algn="bl" rotWithShape="0"/>
          </a:effectLst>
        </p:grpSpPr>
        <p:sp>
          <p:nvSpPr>
            <p:cNvPr id="64" name="Freeform 13"/>
            <p:cNvSpPr>
              <a:spLocks noEditPoints="1"/>
            </p:cNvSpPr>
            <p:nvPr/>
          </p:nvSpPr>
          <p:spPr bwMode="auto">
            <a:xfrm>
              <a:off x="6093779" y="2581011"/>
              <a:ext cx="487620" cy="607555"/>
            </a:xfrm>
            <a:custGeom>
              <a:avLst/>
              <a:gdLst>
                <a:gd name="T0" fmla="*/ 228 w 236"/>
                <a:gd name="T1" fmla="*/ 243 h 294"/>
                <a:gd name="T2" fmla="*/ 184 w 236"/>
                <a:gd name="T3" fmla="*/ 182 h 294"/>
                <a:gd name="T4" fmla="*/ 180 w 236"/>
                <a:gd name="T5" fmla="*/ 176 h 294"/>
                <a:gd name="T6" fmla="*/ 172 w 236"/>
                <a:gd name="T7" fmla="*/ 184 h 294"/>
                <a:gd name="T8" fmla="*/ 156 w 236"/>
                <a:gd name="T9" fmla="*/ 197 h 294"/>
                <a:gd name="T10" fmla="*/ 209 w 236"/>
                <a:gd name="T11" fmla="*/ 268 h 294"/>
                <a:gd name="T12" fmla="*/ 231 w 236"/>
                <a:gd name="T13" fmla="*/ 265 h 294"/>
                <a:gd name="T14" fmla="*/ 228 w 236"/>
                <a:gd name="T15" fmla="*/ 243 h 294"/>
                <a:gd name="T16" fmla="*/ 174 w 236"/>
                <a:gd name="T17" fmla="*/ 156 h 294"/>
                <a:gd name="T18" fmla="*/ 174 w 236"/>
                <a:gd name="T19" fmla="*/ 156 h 294"/>
                <a:gd name="T20" fmla="*/ 134 w 236"/>
                <a:gd name="T21" fmla="*/ 56 h 294"/>
                <a:gd name="T22" fmla="*/ 138 w 236"/>
                <a:gd name="T23" fmla="*/ 40 h 294"/>
                <a:gd name="T24" fmla="*/ 97 w 236"/>
                <a:gd name="T25" fmla="*/ 0 h 294"/>
                <a:gd name="T26" fmla="*/ 57 w 236"/>
                <a:gd name="T27" fmla="*/ 40 h 294"/>
                <a:gd name="T28" fmla="*/ 93 w 236"/>
                <a:gd name="T29" fmla="*/ 80 h 294"/>
                <a:gd name="T30" fmla="*/ 26 w 236"/>
                <a:gd name="T31" fmla="*/ 84 h 294"/>
                <a:gd name="T32" fmla="*/ 5 w 236"/>
                <a:gd name="T33" fmla="*/ 89 h 294"/>
                <a:gd name="T34" fmla="*/ 10 w 236"/>
                <a:gd name="T35" fmla="*/ 110 h 294"/>
                <a:gd name="T36" fmla="*/ 76 w 236"/>
                <a:gd name="T37" fmla="*/ 122 h 294"/>
                <a:gd name="T38" fmla="*/ 103 w 236"/>
                <a:gd name="T39" fmla="*/ 111 h 294"/>
                <a:gd name="T40" fmla="*/ 125 w 236"/>
                <a:gd name="T41" fmla="*/ 171 h 294"/>
                <a:gd name="T42" fmla="*/ 77 w 236"/>
                <a:gd name="T43" fmla="*/ 275 h 294"/>
                <a:gd name="T44" fmla="*/ 90 w 236"/>
                <a:gd name="T45" fmla="*/ 293 h 294"/>
                <a:gd name="T46" fmla="*/ 108 w 236"/>
                <a:gd name="T47" fmla="*/ 280 h 294"/>
                <a:gd name="T48" fmla="*/ 167 w 236"/>
                <a:gd name="T49" fmla="*/ 177 h 294"/>
                <a:gd name="T50" fmla="*/ 174 w 236"/>
                <a:gd name="T51" fmla="*/ 156 h 294"/>
                <a:gd name="T52" fmla="*/ 191 w 236"/>
                <a:gd name="T53" fmla="*/ 124 h 294"/>
                <a:gd name="T54" fmla="*/ 191 w 236"/>
                <a:gd name="T55" fmla="*/ 124 h 294"/>
                <a:gd name="T56" fmla="*/ 213 w 236"/>
                <a:gd name="T57" fmla="*/ 121 h 294"/>
                <a:gd name="T58" fmla="*/ 211 w 236"/>
                <a:gd name="T59" fmla="*/ 100 h 294"/>
                <a:gd name="T60" fmla="*/ 149 w 236"/>
                <a:gd name="T61" fmla="*/ 66 h 294"/>
                <a:gd name="T62" fmla="*/ 148 w 236"/>
                <a:gd name="T63" fmla="*/ 65 h 294"/>
                <a:gd name="T64" fmla="*/ 164 w 236"/>
                <a:gd name="T65" fmla="*/ 106 h 294"/>
                <a:gd name="T66" fmla="*/ 191 w 236"/>
                <a:gd name="T67" fmla="*/ 12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294">
                  <a:moveTo>
                    <a:pt x="228" y="243"/>
                  </a:moveTo>
                  <a:cubicBezTo>
                    <a:pt x="209" y="228"/>
                    <a:pt x="195" y="208"/>
                    <a:pt x="184" y="182"/>
                  </a:cubicBezTo>
                  <a:cubicBezTo>
                    <a:pt x="183" y="180"/>
                    <a:pt x="181" y="178"/>
                    <a:pt x="180" y="176"/>
                  </a:cubicBezTo>
                  <a:cubicBezTo>
                    <a:pt x="178" y="179"/>
                    <a:pt x="175" y="182"/>
                    <a:pt x="172" y="184"/>
                  </a:cubicBezTo>
                  <a:cubicBezTo>
                    <a:pt x="166" y="189"/>
                    <a:pt x="161" y="193"/>
                    <a:pt x="156" y="197"/>
                  </a:cubicBezTo>
                  <a:cubicBezTo>
                    <a:pt x="169" y="226"/>
                    <a:pt x="186" y="250"/>
                    <a:pt x="209" y="268"/>
                  </a:cubicBezTo>
                  <a:cubicBezTo>
                    <a:pt x="215" y="273"/>
                    <a:pt x="225" y="272"/>
                    <a:pt x="231" y="265"/>
                  </a:cubicBezTo>
                  <a:cubicBezTo>
                    <a:pt x="236" y="259"/>
                    <a:pt x="235" y="249"/>
                    <a:pt x="228" y="243"/>
                  </a:cubicBezTo>
                  <a:close/>
                  <a:moveTo>
                    <a:pt x="174" y="156"/>
                  </a:moveTo>
                  <a:cubicBezTo>
                    <a:pt x="174" y="156"/>
                    <a:pt x="174" y="156"/>
                    <a:pt x="174" y="156"/>
                  </a:cubicBezTo>
                  <a:cubicBezTo>
                    <a:pt x="134" y="56"/>
                    <a:pt x="134" y="56"/>
                    <a:pt x="134" y="56"/>
                  </a:cubicBezTo>
                  <a:cubicBezTo>
                    <a:pt x="136" y="51"/>
                    <a:pt x="138" y="46"/>
                    <a:pt x="138" y="40"/>
                  </a:cubicBezTo>
                  <a:cubicBezTo>
                    <a:pt x="138" y="18"/>
                    <a:pt x="120" y="0"/>
                    <a:pt x="97" y="0"/>
                  </a:cubicBezTo>
                  <a:cubicBezTo>
                    <a:pt x="75" y="0"/>
                    <a:pt x="57" y="18"/>
                    <a:pt x="57" y="40"/>
                  </a:cubicBezTo>
                  <a:cubicBezTo>
                    <a:pt x="57" y="61"/>
                    <a:pt x="73" y="78"/>
                    <a:pt x="93" y="80"/>
                  </a:cubicBezTo>
                  <a:cubicBezTo>
                    <a:pt x="73" y="95"/>
                    <a:pt x="48" y="97"/>
                    <a:pt x="26" y="84"/>
                  </a:cubicBezTo>
                  <a:cubicBezTo>
                    <a:pt x="19" y="79"/>
                    <a:pt x="9" y="82"/>
                    <a:pt x="5" y="89"/>
                  </a:cubicBezTo>
                  <a:cubicBezTo>
                    <a:pt x="0" y="96"/>
                    <a:pt x="3" y="106"/>
                    <a:pt x="10" y="110"/>
                  </a:cubicBezTo>
                  <a:cubicBezTo>
                    <a:pt x="30" y="123"/>
                    <a:pt x="54" y="127"/>
                    <a:pt x="76" y="122"/>
                  </a:cubicBezTo>
                  <a:cubicBezTo>
                    <a:pt x="86" y="120"/>
                    <a:pt x="94" y="116"/>
                    <a:pt x="103" y="111"/>
                  </a:cubicBezTo>
                  <a:cubicBezTo>
                    <a:pt x="125" y="171"/>
                    <a:pt x="125" y="171"/>
                    <a:pt x="125" y="171"/>
                  </a:cubicBezTo>
                  <a:cubicBezTo>
                    <a:pt x="100" y="195"/>
                    <a:pt x="86" y="221"/>
                    <a:pt x="77" y="275"/>
                  </a:cubicBezTo>
                  <a:cubicBezTo>
                    <a:pt x="75" y="283"/>
                    <a:pt x="81" y="291"/>
                    <a:pt x="90" y="293"/>
                  </a:cubicBezTo>
                  <a:cubicBezTo>
                    <a:pt x="98" y="294"/>
                    <a:pt x="106" y="289"/>
                    <a:pt x="108" y="280"/>
                  </a:cubicBezTo>
                  <a:cubicBezTo>
                    <a:pt x="118" y="219"/>
                    <a:pt x="133" y="203"/>
                    <a:pt x="167" y="177"/>
                  </a:cubicBezTo>
                  <a:cubicBezTo>
                    <a:pt x="173" y="172"/>
                    <a:pt x="177" y="163"/>
                    <a:pt x="174" y="156"/>
                  </a:cubicBezTo>
                  <a:close/>
                  <a:moveTo>
                    <a:pt x="191" y="124"/>
                  </a:moveTo>
                  <a:cubicBezTo>
                    <a:pt x="191" y="124"/>
                    <a:pt x="191" y="124"/>
                    <a:pt x="191" y="124"/>
                  </a:cubicBezTo>
                  <a:cubicBezTo>
                    <a:pt x="198" y="130"/>
                    <a:pt x="208" y="128"/>
                    <a:pt x="213" y="121"/>
                  </a:cubicBezTo>
                  <a:cubicBezTo>
                    <a:pt x="219" y="115"/>
                    <a:pt x="217" y="105"/>
                    <a:pt x="211" y="100"/>
                  </a:cubicBezTo>
                  <a:cubicBezTo>
                    <a:pt x="207" y="97"/>
                    <a:pt x="174" y="72"/>
                    <a:pt x="149" y="66"/>
                  </a:cubicBezTo>
                  <a:cubicBezTo>
                    <a:pt x="148" y="65"/>
                    <a:pt x="148" y="65"/>
                    <a:pt x="148" y="65"/>
                  </a:cubicBezTo>
                  <a:cubicBezTo>
                    <a:pt x="152" y="75"/>
                    <a:pt x="158" y="91"/>
                    <a:pt x="164" y="106"/>
                  </a:cubicBezTo>
                  <a:cubicBezTo>
                    <a:pt x="176" y="113"/>
                    <a:pt x="186" y="120"/>
                    <a:pt x="191" y="124"/>
                  </a:cubicBezTo>
                  <a:close/>
                </a:path>
              </a:pathLst>
            </a:custGeom>
            <a:grpFill/>
            <a:ln>
              <a:noFill/>
            </a:ln>
          </p:spPr>
          <p:txBody>
            <a:bodyPr vert="horz" wrap="square" lIns="91440" tIns="45720" rIns="91440" bIns="45720" numCol="1" anchor="t" anchorCtr="0" compatLnSpc="1"/>
            <a:lstStyle/>
            <a:p>
              <a:endParaRPr lang="zh-CN" altLang="en-US">
                <a:solidFill>
                  <a:schemeClr val="bg1"/>
                </a:solidFill>
              </a:endParaRPr>
            </a:p>
          </p:txBody>
        </p:sp>
        <p:sp>
          <p:nvSpPr>
            <p:cNvPr id="65" name="Freeform 14"/>
            <p:cNvSpPr>
              <a:spLocks noEditPoints="1"/>
            </p:cNvSpPr>
            <p:nvPr/>
          </p:nvSpPr>
          <p:spPr bwMode="auto">
            <a:xfrm>
              <a:off x="6391428" y="2599396"/>
              <a:ext cx="273137" cy="485868"/>
            </a:xfrm>
            <a:custGeom>
              <a:avLst/>
              <a:gdLst>
                <a:gd name="T0" fmla="*/ 102 w 132"/>
                <a:gd name="T1" fmla="*/ 160 h 235"/>
                <a:gd name="T2" fmla="*/ 50 w 132"/>
                <a:gd name="T3" fmla="*/ 160 h 235"/>
                <a:gd name="T4" fmla="*/ 54 w 132"/>
                <a:gd name="T5" fmla="*/ 167 h 235"/>
                <a:gd name="T6" fmla="*/ 58 w 132"/>
                <a:gd name="T7" fmla="*/ 176 h 235"/>
                <a:gd name="T8" fmla="*/ 102 w 132"/>
                <a:gd name="T9" fmla="*/ 176 h 235"/>
                <a:gd name="T10" fmla="*/ 102 w 132"/>
                <a:gd name="T11" fmla="*/ 160 h 235"/>
                <a:gd name="T12" fmla="*/ 84 w 132"/>
                <a:gd name="T13" fmla="*/ 46 h 235"/>
                <a:gd name="T14" fmla="*/ 21 w 132"/>
                <a:gd name="T15" fmla="*/ 46 h 235"/>
                <a:gd name="T16" fmla="*/ 35 w 132"/>
                <a:gd name="T17" fmla="*/ 52 h 235"/>
                <a:gd name="T18" fmla="*/ 84 w 132"/>
                <a:gd name="T19" fmla="*/ 52 h 235"/>
                <a:gd name="T20" fmla="*/ 84 w 132"/>
                <a:gd name="T21" fmla="*/ 46 h 235"/>
                <a:gd name="T22" fmla="*/ 118 w 132"/>
                <a:gd name="T23" fmla="*/ 135 h 235"/>
                <a:gd name="T24" fmla="*/ 42 w 132"/>
                <a:gd name="T25" fmla="*/ 135 h 235"/>
                <a:gd name="T26" fmla="*/ 45 w 132"/>
                <a:gd name="T27" fmla="*/ 141 h 235"/>
                <a:gd name="T28" fmla="*/ 46 w 132"/>
                <a:gd name="T29" fmla="*/ 144 h 235"/>
                <a:gd name="T30" fmla="*/ 118 w 132"/>
                <a:gd name="T31" fmla="*/ 144 h 235"/>
                <a:gd name="T32" fmla="*/ 118 w 132"/>
                <a:gd name="T33" fmla="*/ 135 h 235"/>
                <a:gd name="T34" fmla="*/ 75 w 132"/>
                <a:gd name="T35" fmla="*/ 203 h 235"/>
                <a:gd name="T36" fmla="*/ 126 w 132"/>
                <a:gd name="T37" fmla="*/ 203 h 235"/>
                <a:gd name="T38" fmla="*/ 126 w 132"/>
                <a:gd name="T39" fmla="*/ 197 h 235"/>
                <a:gd name="T40" fmla="*/ 70 w 132"/>
                <a:gd name="T41" fmla="*/ 197 h 235"/>
                <a:gd name="T42" fmla="*/ 75 w 132"/>
                <a:gd name="T43" fmla="*/ 203 h 235"/>
                <a:gd name="T44" fmla="*/ 103 w 132"/>
                <a:gd name="T45" fmla="*/ 235 h 235"/>
                <a:gd name="T46" fmla="*/ 122 w 132"/>
                <a:gd name="T47" fmla="*/ 235 h 235"/>
                <a:gd name="T48" fmla="*/ 122 w 132"/>
                <a:gd name="T49" fmla="*/ 229 h 235"/>
                <a:gd name="T50" fmla="*/ 100 w 132"/>
                <a:gd name="T51" fmla="*/ 229 h 235"/>
                <a:gd name="T52" fmla="*/ 103 w 132"/>
                <a:gd name="T53" fmla="*/ 235 h 235"/>
                <a:gd name="T54" fmla="*/ 80 w 132"/>
                <a:gd name="T55" fmla="*/ 18 h 235"/>
                <a:gd name="T56" fmla="*/ 8 w 132"/>
                <a:gd name="T57" fmla="*/ 18 h 235"/>
                <a:gd name="T58" fmla="*/ 9 w 132"/>
                <a:gd name="T59" fmla="*/ 27 h 235"/>
                <a:gd name="T60" fmla="*/ 80 w 132"/>
                <a:gd name="T61" fmla="*/ 27 h 235"/>
                <a:gd name="T62" fmla="*/ 80 w 132"/>
                <a:gd name="T63" fmla="*/ 18 h 235"/>
                <a:gd name="T64" fmla="*/ 87 w 132"/>
                <a:gd name="T65" fmla="*/ 94 h 235"/>
                <a:gd name="T66" fmla="*/ 88 w 132"/>
                <a:gd name="T67" fmla="*/ 99 h 235"/>
                <a:gd name="T68" fmla="*/ 88 w 132"/>
                <a:gd name="T69" fmla="*/ 100 h 235"/>
                <a:gd name="T70" fmla="*/ 132 w 132"/>
                <a:gd name="T71" fmla="*/ 100 h 235"/>
                <a:gd name="T72" fmla="*/ 132 w 132"/>
                <a:gd name="T73" fmla="*/ 94 h 235"/>
                <a:gd name="T74" fmla="*/ 87 w 132"/>
                <a:gd name="T75" fmla="*/ 94 h 235"/>
                <a:gd name="T76" fmla="*/ 27 w 132"/>
                <a:gd name="T77" fmla="*/ 0 h 235"/>
                <a:gd name="T78" fmla="*/ 0 w 132"/>
                <a:gd name="T79" fmla="*/ 0 h 235"/>
                <a:gd name="T80" fmla="*/ 4 w 132"/>
                <a:gd name="T81" fmla="*/ 7 h 235"/>
                <a:gd name="T82" fmla="*/ 27 w 132"/>
                <a:gd name="T83" fmla="*/ 7 h 235"/>
                <a:gd name="T84" fmla="*/ 27 w 132"/>
                <a:gd name="T85"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 h="235">
                  <a:moveTo>
                    <a:pt x="102" y="160"/>
                  </a:moveTo>
                  <a:cubicBezTo>
                    <a:pt x="50" y="160"/>
                    <a:pt x="50" y="160"/>
                    <a:pt x="50" y="160"/>
                  </a:cubicBezTo>
                  <a:cubicBezTo>
                    <a:pt x="52" y="162"/>
                    <a:pt x="53" y="165"/>
                    <a:pt x="54" y="167"/>
                  </a:cubicBezTo>
                  <a:cubicBezTo>
                    <a:pt x="55" y="170"/>
                    <a:pt x="57" y="173"/>
                    <a:pt x="58" y="176"/>
                  </a:cubicBezTo>
                  <a:cubicBezTo>
                    <a:pt x="102" y="176"/>
                    <a:pt x="102" y="176"/>
                    <a:pt x="102" y="176"/>
                  </a:cubicBezTo>
                  <a:lnTo>
                    <a:pt x="102" y="160"/>
                  </a:lnTo>
                  <a:close/>
                  <a:moveTo>
                    <a:pt x="84" y="46"/>
                  </a:moveTo>
                  <a:cubicBezTo>
                    <a:pt x="21" y="46"/>
                    <a:pt x="21" y="46"/>
                    <a:pt x="21" y="46"/>
                  </a:cubicBezTo>
                  <a:cubicBezTo>
                    <a:pt x="26" y="47"/>
                    <a:pt x="30" y="50"/>
                    <a:pt x="35" y="52"/>
                  </a:cubicBezTo>
                  <a:cubicBezTo>
                    <a:pt x="84" y="52"/>
                    <a:pt x="84" y="52"/>
                    <a:pt x="84" y="52"/>
                  </a:cubicBezTo>
                  <a:lnTo>
                    <a:pt x="84" y="46"/>
                  </a:lnTo>
                  <a:close/>
                  <a:moveTo>
                    <a:pt x="118" y="135"/>
                  </a:moveTo>
                  <a:cubicBezTo>
                    <a:pt x="42" y="135"/>
                    <a:pt x="42" y="135"/>
                    <a:pt x="42" y="135"/>
                  </a:cubicBezTo>
                  <a:cubicBezTo>
                    <a:pt x="43" y="138"/>
                    <a:pt x="45" y="141"/>
                    <a:pt x="45" y="141"/>
                  </a:cubicBezTo>
                  <a:cubicBezTo>
                    <a:pt x="45" y="142"/>
                    <a:pt x="45" y="143"/>
                    <a:pt x="46" y="144"/>
                  </a:cubicBezTo>
                  <a:cubicBezTo>
                    <a:pt x="118" y="144"/>
                    <a:pt x="118" y="144"/>
                    <a:pt x="118" y="144"/>
                  </a:cubicBezTo>
                  <a:lnTo>
                    <a:pt x="118" y="135"/>
                  </a:lnTo>
                  <a:close/>
                  <a:moveTo>
                    <a:pt x="75" y="203"/>
                  </a:moveTo>
                  <a:cubicBezTo>
                    <a:pt x="126" y="203"/>
                    <a:pt x="126" y="203"/>
                    <a:pt x="126" y="203"/>
                  </a:cubicBezTo>
                  <a:cubicBezTo>
                    <a:pt x="126" y="197"/>
                    <a:pt x="126" y="197"/>
                    <a:pt x="126" y="197"/>
                  </a:cubicBezTo>
                  <a:cubicBezTo>
                    <a:pt x="70" y="197"/>
                    <a:pt x="70" y="197"/>
                    <a:pt x="70" y="197"/>
                  </a:cubicBezTo>
                  <a:cubicBezTo>
                    <a:pt x="72" y="199"/>
                    <a:pt x="73" y="201"/>
                    <a:pt x="75" y="203"/>
                  </a:cubicBezTo>
                  <a:close/>
                  <a:moveTo>
                    <a:pt x="103" y="235"/>
                  </a:moveTo>
                  <a:cubicBezTo>
                    <a:pt x="122" y="235"/>
                    <a:pt x="122" y="235"/>
                    <a:pt x="122" y="235"/>
                  </a:cubicBezTo>
                  <a:cubicBezTo>
                    <a:pt x="122" y="229"/>
                    <a:pt x="122" y="229"/>
                    <a:pt x="122" y="229"/>
                  </a:cubicBezTo>
                  <a:cubicBezTo>
                    <a:pt x="100" y="229"/>
                    <a:pt x="100" y="229"/>
                    <a:pt x="100" y="229"/>
                  </a:cubicBezTo>
                  <a:cubicBezTo>
                    <a:pt x="101" y="231"/>
                    <a:pt x="103" y="233"/>
                    <a:pt x="103" y="235"/>
                  </a:cubicBezTo>
                  <a:close/>
                  <a:moveTo>
                    <a:pt x="80" y="18"/>
                  </a:moveTo>
                  <a:cubicBezTo>
                    <a:pt x="8" y="18"/>
                    <a:pt x="8" y="18"/>
                    <a:pt x="8" y="18"/>
                  </a:cubicBezTo>
                  <a:cubicBezTo>
                    <a:pt x="8" y="21"/>
                    <a:pt x="9" y="24"/>
                    <a:pt x="9" y="27"/>
                  </a:cubicBezTo>
                  <a:cubicBezTo>
                    <a:pt x="80" y="27"/>
                    <a:pt x="80" y="27"/>
                    <a:pt x="80" y="27"/>
                  </a:cubicBezTo>
                  <a:lnTo>
                    <a:pt x="80" y="18"/>
                  </a:lnTo>
                  <a:close/>
                  <a:moveTo>
                    <a:pt x="87" y="94"/>
                  </a:moveTo>
                  <a:cubicBezTo>
                    <a:pt x="87" y="96"/>
                    <a:pt x="88" y="97"/>
                    <a:pt x="88" y="99"/>
                  </a:cubicBezTo>
                  <a:cubicBezTo>
                    <a:pt x="88" y="99"/>
                    <a:pt x="88" y="100"/>
                    <a:pt x="88" y="100"/>
                  </a:cubicBezTo>
                  <a:cubicBezTo>
                    <a:pt x="132" y="100"/>
                    <a:pt x="132" y="100"/>
                    <a:pt x="132" y="100"/>
                  </a:cubicBezTo>
                  <a:cubicBezTo>
                    <a:pt x="132" y="94"/>
                    <a:pt x="132" y="94"/>
                    <a:pt x="132" y="94"/>
                  </a:cubicBezTo>
                  <a:lnTo>
                    <a:pt x="87" y="94"/>
                  </a:lnTo>
                  <a:close/>
                  <a:moveTo>
                    <a:pt x="27" y="0"/>
                  </a:moveTo>
                  <a:cubicBezTo>
                    <a:pt x="0" y="0"/>
                    <a:pt x="0" y="0"/>
                    <a:pt x="0" y="0"/>
                  </a:cubicBezTo>
                  <a:cubicBezTo>
                    <a:pt x="1" y="2"/>
                    <a:pt x="3" y="4"/>
                    <a:pt x="4" y="7"/>
                  </a:cubicBezTo>
                  <a:cubicBezTo>
                    <a:pt x="27" y="7"/>
                    <a:pt x="27" y="7"/>
                    <a:pt x="27" y="7"/>
                  </a:cubicBezTo>
                  <a:lnTo>
                    <a:pt x="27" y="0"/>
                  </a:lnTo>
                  <a:close/>
                </a:path>
              </a:pathLst>
            </a:custGeom>
            <a:grpFill/>
            <a:ln>
              <a:noFill/>
            </a:ln>
          </p:spPr>
          <p:txBody>
            <a:bodyPr vert="horz" wrap="square" lIns="91440" tIns="45720" rIns="91440" bIns="45720" numCol="1" anchor="t" anchorCtr="0" compatLnSpc="1"/>
            <a:lstStyle/>
            <a:p>
              <a:endParaRPr lang="zh-CN" altLang="en-US">
                <a:solidFill>
                  <a:schemeClr val="bg1"/>
                </a:solidFill>
              </a:endParaRPr>
            </a:p>
          </p:txBody>
        </p:sp>
      </p:grpSp>
      <p:grpSp>
        <p:nvGrpSpPr>
          <p:cNvPr id="66" name="组合 65"/>
          <p:cNvGrpSpPr/>
          <p:nvPr/>
        </p:nvGrpSpPr>
        <p:grpSpPr>
          <a:xfrm>
            <a:off x="2586874" y="3508727"/>
            <a:ext cx="435969" cy="436844"/>
            <a:chOff x="7175720" y="1625834"/>
            <a:chExt cx="435969" cy="436844"/>
          </a:xfrm>
          <a:solidFill>
            <a:srgbClr val="FE5817"/>
          </a:solidFill>
          <a:effectLst>
            <a:reflection blurRad="6350" stA="15000" endPos="55000" dir="5400000" sy="-100000" algn="bl" rotWithShape="0"/>
          </a:effectLst>
        </p:grpSpPr>
        <p:sp>
          <p:nvSpPr>
            <p:cNvPr id="67" name="Freeform 7"/>
            <p:cNvSpPr/>
            <p:nvPr/>
          </p:nvSpPr>
          <p:spPr bwMode="auto">
            <a:xfrm>
              <a:off x="7175720" y="1628460"/>
              <a:ext cx="167209" cy="217109"/>
            </a:xfrm>
            <a:custGeom>
              <a:avLst/>
              <a:gdLst>
                <a:gd name="T0" fmla="*/ 15 w 81"/>
                <a:gd name="T1" fmla="*/ 0 h 105"/>
                <a:gd name="T2" fmla="*/ 12 w 81"/>
                <a:gd name="T3" fmla="*/ 1 h 105"/>
                <a:gd name="T4" fmla="*/ 12 w 81"/>
                <a:gd name="T5" fmla="*/ 6 h 105"/>
                <a:gd name="T6" fmla="*/ 33 w 81"/>
                <a:gd name="T7" fmla="*/ 27 h 105"/>
                <a:gd name="T8" fmla="*/ 30 w 81"/>
                <a:gd name="T9" fmla="*/ 30 h 105"/>
                <a:gd name="T10" fmla="*/ 0 w 81"/>
                <a:gd name="T11" fmla="*/ 105 h 105"/>
                <a:gd name="T12" fmla="*/ 27 w 81"/>
                <a:gd name="T13" fmla="*/ 105 h 105"/>
                <a:gd name="T14" fmla="*/ 49 w 81"/>
                <a:gd name="T15" fmla="*/ 49 h 105"/>
                <a:gd name="T16" fmla="*/ 52 w 81"/>
                <a:gd name="T17" fmla="*/ 46 h 105"/>
                <a:gd name="T18" fmla="*/ 75 w 81"/>
                <a:gd name="T19" fmla="*/ 68 h 105"/>
                <a:gd name="T20" fmla="*/ 77 w 81"/>
                <a:gd name="T21" fmla="*/ 69 h 105"/>
                <a:gd name="T22" fmla="*/ 80 w 81"/>
                <a:gd name="T23" fmla="*/ 68 h 105"/>
                <a:gd name="T24" fmla="*/ 81 w 81"/>
                <a:gd name="T25" fmla="*/ 66 h 105"/>
                <a:gd name="T26" fmla="*/ 81 w 81"/>
                <a:gd name="T27" fmla="*/ 5 h 105"/>
                <a:gd name="T28" fmla="*/ 81 w 81"/>
                <a:gd name="T29" fmla="*/ 5 h 105"/>
                <a:gd name="T30" fmla="*/ 81 w 81"/>
                <a:gd name="T31" fmla="*/ 0 h 105"/>
                <a:gd name="T32" fmla="*/ 15 w 81"/>
                <a:gd name="T33" fmla="*/ 0 h 105"/>
                <a:gd name="T34" fmla="*/ 15 w 81"/>
                <a:gd name="T3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 h="105">
                  <a:moveTo>
                    <a:pt x="15" y="0"/>
                  </a:moveTo>
                  <a:cubicBezTo>
                    <a:pt x="14" y="0"/>
                    <a:pt x="13" y="0"/>
                    <a:pt x="12" y="1"/>
                  </a:cubicBezTo>
                  <a:cubicBezTo>
                    <a:pt x="11" y="2"/>
                    <a:pt x="11" y="4"/>
                    <a:pt x="12" y="6"/>
                  </a:cubicBezTo>
                  <a:cubicBezTo>
                    <a:pt x="33" y="27"/>
                    <a:pt x="33" y="27"/>
                    <a:pt x="33" y="27"/>
                  </a:cubicBezTo>
                  <a:cubicBezTo>
                    <a:pt x="30" y="30"/>
                    <a:pt x="30" y="30"/>
                    <a:pt x="30" y="30"/>
                  </a:cubicBezTo>
                  <a:cubicBezTo>
                    <a:pt x="11" y="51"/>
                    <a:pt x="0" y="77"/>
                    <a:pt x="0" y="105"/>
                  </a:cubicBezTo>
                  <a:cubicBezTo>
                    <a:pt x="27" y="105"/>
                    <a:pt x="27" y="105"/>
                    <a:pt x="27" y="105"/>
                  </a:cubicBezTo>
                  <a:cubicBezTo>
                    <a:pt x="27" y="84"/>
                    <a:pt x="35" y="65"/>
                    <a:pt x="49" y="49"/>
                  </a:cubicBezTo>
                  <a:cubicBezTo>
                    <a:pt x="52" y="46"/>
                    <a:pt x="52" y="46"/>
                    <a:pt x="52" y="46"/>
                  </a:cubicBezTo>
                  <a:cubicBezTo>
                    <a:pt x="75" y="68"/>
                    <a:pt x="75" y="68"/>
                    <a:pt x="75" y="68"/>
                  </a:cubicBezTo>
                  <a:cubicBezTo>
                    <a:pt x="75" y="69"/>
                    <a:pt x="76" y="69"/>
                    <a:pt x="77" y="69"/>
                  </a:cubicBezTo>
                  <a:cubicBezTo>
                    <a:pt x="78" y="69"/>
                    <a:pt x="79" y="69"/>
                    <a:pt x="80" y="68"/>
                  </a:cubicBezTo>
                  <a:cubicBezTo>
                    <a:pt x="81" y="67"/>
                    <a:pt x="81" y="66"/>
                    <a:pt x="81" y="66"/>
                  </a:cubicBezTo>
                  <a:cubicBezTo>
                    <a:pt x="81" y="5"/>
                    <a:pt x="81" y="5"/>
                    <a:pt x="81" y="5"/>
                  </a:cubicBezTo>
                  <a:cubicBezTo>
                    <a:pt x="81" y="5"/>
                    <a:pt x="81" y="5"/>
                    <a:pt x="81" y="5"/>
                  </a:cubicBezTo>
                  <a:cubicBezTo>
                    <a:pt x="81" y="0"/>
                    <a:pt x="81" y="0"/>
                    <a:pt x="81" y="0"/>
                  </a:cubicBezTo>
                  <a:cubicBezTo>
                    <a:pt x="15" y="0"/>
                    <a:pt x="15" y="0"/>
                    <a:pt x="15" y="0"/>
                  </a:cubicBezTo>
                  <a:cubicBezTo>
                    <a:pt x="15" y="0"/>
                    <a:pt x="15" y="0"/>
                    <a:pt x="15" y="0"/>
                  </a:cubicBezTo>
                </a:path>
              </a:pathLst>
            </a:custGeom>
            <a:grpFill/>
            <a:ln>
              <a:noFill/>
            </a:ln>
          </p:spPr>
          <p:txBody>
            <a:bodyPr vert="horz" wrap="square" lIns="91440" tIns="45720" rIns="91440" bIns="45720" numCol="1" anchor="t" anchorCtr="0" compatLnSpc="1"/>
            <a:lstStyle/>
            <a:p>
              <a:endParaRPr lang="zh-CN" altLang="en-US">
                <a:solidFill>
                  <a:schemeClr val="bg1"/>
                </a:solidFill>
              </a:endParaRPr>
            </a:p>
          </p:txBody>
        </p:sp>
        <p:sp>
          <p:nvSpPr>
            <p:cNvPr id="68" name="Freeform 8"/>
            <p:cNvSpPr>
              <a:spLocks noEditPoints="1"/>
            </p:cNvSpPr>
            <p:nvPr/>
          </p:nvSpPr>
          <p:spPr bwMode="auto">
            <a:xfrm>
              <a:off x="7175720" y="1625834"/>
              <a:ext cx="435969" cy="436844"/>
            </a:xfrm>
            <a:custGeom>
              <a:avLst/>
              <a:gdLst>
                <a:gd name="T0" fmla="*/ 6 w 211"/>
                <a:gd name="T1" fmla="*/ 130 h 211"/>
                <a:gd name="T2" fmla="*/ 6 w 211"/>
                <a:gd name="T3" fmla="*/ 130 h 211"/>
                <a:gd name="T4" fmla="*/ 0 w 211"/>
                <a:gd name="T5" fmla="*/ 130 h 211"/>
                <a:gd name="T6" fmla="*/ 0 w 211"/>
                <a:gd name="T7" fmla="*/ 196 h 211"/>
                <a:gd name="T8" fmla="*/ 1 w 211"/>
                <a:gd name="T9" fmla="*/ 199 h 211"/>
                <a:gd name="T10" fmla="*/ 4 w 211"/>
                <a:gd name="T11" fmla="*/ 200 h 211"/>
                <a:gd name="T12" fmla="*/ 6 w 211"/>
                <a:gd name="T13" fmla="*/ 199 h 211"/>
                <a:gd name="T14" fmla="*/ 28 w 211"/>
                <a:gd name="T15" fmla="*/ 178 h 211"/>
                <a:gd name="T16" fmla="*/ 31 w 211"/>
                <a:gd name="T17" fmla="*/ 181 h 211"/>
                <a:gd name="T18" fmla="*/ 106 w 211"/>
                <a:gd name="T19" fmla="*/ 211 h 211"/>
                <a:gd name="T20" fmla="*/ 106 w 211"/>
                <a:gd name="T21" fmla="*/ 184 h 211"/>
                <a:gd name="T22" fmla="*/ 50 w 211"/>
                <a:gd name="T23" fmla="*/ 162 h 211"/>
                <a:gd name="T24" fmla="*/ 47 w 211"/>
                <a:gd name="T25" fmla="*/ 159 h 211"/>
                <a:gd name="T26" fmla="*/ 69 w 211"/>
                <a:gd name="T27" fmla="*/ 136 h 211"/>
                <a:gd name="T28" fmla="*/ 69 w 211"/>
                <a:gd name="T29" fmla="*/ 131 h 211"/>
                <a:gd name="T30" fmla="*/ 67 w 211"/>
                <a:gd name="T31" fmla="*/ 130 h 211"/>
                <a:gd name="T32" fmla="*/ 66 w 211"/>
                <a:gd name="T33" fmla="*/ 130 h 211"/>
                <a:gd name="T34" fmla="*/ 6 w 211"/>
                <a:gd name="T35" fmla="*/ 130 h 211"/>
                <a:gd name="T36" fmla="*/ 211 w 211"/>
                <a:gd name="T37" fmla="*/ 105 h 211"/>
                <a:gd name="T38" fmla="*/ 184 w 211"/>
                <a:gd name="T39" fmla="*/ 105 h 211"/>
                <a:gd name="T40" fmla="*/ 161 w 211"/>
                <a:gd name="T41" fmla="*/ 161 h 211"/>
                <a:gd name="T42" fmla="*/ 158 w 211"/>
                <a:gd name="T43" fmla="*/ 164 h 211"/>
                <a:gd name="T44" fmla="*/ 136 w 211"/>
                <a:gd name="T45" fmla="*/ 142 h 211"/>
                <a:gd name="T46" fmla="*/ 134 w 211"/>
                <a:gd name="T47" fmla="*/ 141 h 211"/>
                <a:gd name="T48" fmla="*/ 131 w 211"/>
                <a:gd name="T49" fmla="*/ 142 h 211"/>
                <a:gd name="T50" fmla="*/ 130 w 211"/>
                <a:gd name="T51" fmla="*/ 145 h 211"/>
                <a:gd name="T52" fmla="*/ 130 w 211"/>
                <a:gd name="T53" fmla="*/ 197 h 211"/>
                <a:gd name="T54" fmla="*/ 130 w 211"/>
                <a:gd name="T55" fmla="*/ 197 h 211"/>
                <a:gd name="T56" fmla="*/ 130 w 211"/>
                <a:gd name="T57" fmla="*/ 211 h 211"/>
                <a:gd name="T58" fmla="*/ 196 w 211"/>
                <a:gd name="T59" fmla="*/ 211 h 211"/>
                <a:gd name="T60" fmla="*/ 196 w 211"/>
                <a:gd name="T61" fmla="*/ 211 h 211"/>
                <a:gd name="T62" fmla="*/ 199 w 211"/>
                <a:gd name="T63" fmla="*/ 210 h 211"/>
                <a:gd name="T64" fmla="*/ 199 w 211"/>
                <a:gd name="T65" fmla="*/ 204 h 211"/>
                <a:gd name="T66" fmla="*/ 177 w 211"/>
                <a:gd name="T67" fmla="*/ 183 h 211"/>
                <a:gd name="T68" fmla="*/ 180 w 211"/>
                <a:gd name="T69" fmla="*/ 180 h 211"/>
                <a:gd name="T70" fmla="*/ 211 w 211"/>
                <a:gd name="T71" fmla="*/ 105 h 211"/>
                <a:gd name="T72" fmla="*/ 105 w 211"/>
                <a:gd name="T73" fmla="*/ 0 h 211"/>
                <a:gd name="T74" fmla="*/ 105 w 211"/>
                <a:gd name="T75" fmla="*/ 27 h 211"/>
                <a:gd name="T76" fmla="*/ 160 w 211"/>
                <a:gd name="T77" fmla="*/ 49 h 211"/>
                <a:gd name="T78" fmla="*/ 164 w 211"/>
                <a:gd name="T79" fmla="*/ 53 h 211"/>
                <a:gd name="T80" fmla="*/ 142 w 211"/>
                <a:gd name="T81" fmla="*/ 75 h 211"/>
                <a:gd name="T82" fmla="*/ 142 w 211"/>
                <a:gd name="T83" fmla="*/ 80 h 211"/>
                <a:gd name="T84" fmla="*/ 144 w 211"/>
                <a:gd name="T85" fmla="*/ 81 h 211"/>
                <a:gd name="T86" fmla="*/ 144 w 211"/>
                <a:gd name="T87" fmla="*/ 81 h 211"/>
                <a:gd name="T88" fmla="*/ 197 w 211"/>
                <a:gd name="T89" fmla="*/ 81 h 211"/>
                <a:gd name="T90" fmla="*/ 210 w 211"/>
                <a:gd name="T91" fmla="*/ 81 h 211"/>
                <a:gd name="T92" fmla="*/ 210 w 211"/>
                <a:gd name="T93" fmla="*/ 15 h 211"/>
                <a:gd name="T94" fmla="*/ 209 w 211"/>
                <a:gd name="T95" fmla="*/ 12 h 211"/>
                <a:gd name="T96" fmla="*/ 207 w 211"/>
                <a:gd name="T97" fmla="*/ 11 h 211"/>
                <a:gd name="T98" fmla="*/ 204 w 211"/>
                <a:gd name="T99" fmla="*/ 12 h 211"/>
                <a:gd name="T100" fmla="*/ 183 w 211"/>
                <a:gd name="T101" fmla="*/ 34 h 211"/>
                <a:gd name="T102" fmla="*/ 180 w 211"/>
                <a:gd name="T103" fmla="*/ 31 h 211"/>
                <a:gd name="T104" fmla="*/ 105 w 211"/>
                <a:gd name="T10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211">
                  <a:moveTo>
                    <a:pt x="6" y="130"/>
                  </a:moveTo>
                  <a:cubicBezTo>
                    <a:pt x="6" y="130"/>
                    <a:pt x="6" y="130"/>
                    <a:pt x="6" y="130"/>
                  </a:cubicBezTo>
                  <a:cubicBezTo>
                    <a:pt x="0" y="130"/>
                    <a:pt x="0" y="130"/>
                    <a:pt x="0" y="130"/>
                  </a:cubicBezTo>
                  <a:cubicBezTo>
                    <a:pt x="0" y="196"/>
                    <a:pt x="0" y="196"/>
                    <a:pt x="0" y="196"/>
                  </a:cubicBezTo>
                  <a:cubicBezTo>
                    <a:pt x="0" y="197"/>
                    <a:pt x="0" y="198"/>
                    <a:pt x="1" y="199"/>
                  </a:cubicBezTo>
                  <a:cubicBezTo>
                    <a:pt x="2" y="200"/>
                    <a:pt x="3" y="200"/>
                    <a:pt x="4" y="200"/>
                  </a:cubicBezTo>
                  <a:cubicBezTo>
                    <a:pt x="5" y="200"/>
                    <a:pt x="6" y="200"/>
                    <a:pt x="6" y="199"/>
                  </a:cubicBezTo>
                  <a:cubicBezTo>
                    <a:pt x="28" y="178"/>
                    <a:pt x="28" y="178"/>
                    <a:pt x="28" y="178"/>
                  </a:cubicBezTo>
                  <a:cubicBezTo>
                    <a:pt x="31" y="181"/>
                    <a:pt x="31" y="181"/>
                    <a:pt x="31" y="181"/>
                  </a:cubicBezTo>
                  <a:cubicBezTo>
                    <a:pt x="51" y="200"/>
                    <a:pt x="78" y="211"/>
                    <a:pt x="106" y="211"/>
                  </a:cubicBezTo>
                  <a:cubicBezTo>
                    <a:pt x="106" y="184"/>
                    <a:pt x="106" y="184"/>
                    <a:pt x="106" y="184"/>
                  </a:cubicBezTo>
                  <a:cubicBezTo>
                    <a:pt x="85" y="184"/>
                    <a:pt x="65" y="176"/>
                    <a:pt x="50" y="162"/>
                  </a:cubicBezTo>
                  <a:cubicBezTo>
                    <a:pt x="47" y="159"/>
                    <a:pt x="47" y="159"/>
                    <a:pt x="47" y="159"/>
                  </a:cubicBezTo>
                  <a:cubicBezTo>
                    <a:pt x="69" y="136"/>
                    <a:pt x="69" y="136"/>
                    <a:pt x="69" y="136"/>
                  </a:cubicBezTo>
                  <a:cubicBezTo>
                    <a:pt x="70" y="135"/>
                    <a:pt x="70" y="133"/>
                    <a:pt x="69" y="131"/>
                  </a:cubicBezTo>
                  <a:cubicBezTo>
                    <a:pt x="68" y="130"/>
                    <a:pt x="67" y="130"/>
                    <a:pt x="67" y="130"/>
                  </a:cubicBezTo>
                  <a:cubicBezTo>
                    <a:pt x="66" y="130"/>
                    <a:pt x="66" y="130"/>
                    <a:pt x="66" y="130"/>
                  </a:cubicBezTo>
                  <a:cubicBezTo>
                    <a:pt x="6" y="130"/>
                    <a:pt x="6" y="130"/>
                    <a:pt x="6" y="130"/>
                  </a:cubicBezTo>
                  <a:moveTo>
                    <a:pt x="211" y="105"/>
                  </a:moveTo>
                  <a:cubicBezTo>
                    <a:pt x="184" y="105"/>
                    <a:pt x="184" y="105"/>
                    <a:pt x="184" y="105"/>
                  </a:cubicBezTo>
                  <a:cubicBezTo>
                    <a:pt x="184" y="126"/>
                    <a:pt x="176" y="146"/>
                    <a:pt x="161" y="161"/>
                  </a:cubicBezTo>
                  <a:cubicBezTo>
                    <a:pt x="158" y="164"/>
                    <a:pt x="158" y="164"/>
                    <a:pt x="158" y="164"/>
                  </a:cubicBezTo>
                  <a:cubicBezTo>
                    <a:pt x="136" y="142"/>
                    <a:pt x="136" y="142"/>
                    <a:pt x="136" y="142"/>
                  </a:cubicBezTo>
                  <a:cubicBezTo>
                    <a:pt x="135" y="141"/>
                    <a:pt x="134" y="141"/>
                    <a:pt x="134" y="141"/>
                  </a:cubicBezTo>
                  <a:cubicBezTo>
                    <a:pt x="133" y="141"/>
                    <a:pt x="132" y="141"/>
                    <a:pt x="131" y="142"/>
                  </a:cubicBezTo>
                  <a:cubicBezTo>
                    <a:pt x="130" y="143"/>
                    <a:pt x="130" y="144"/>
                    <a:pt x="130" y="145"/>
                  </a:cubicBezTo>
                  <a:cubicBezTo>
                    <a:pt x="130" y="197"/>
                    <a:pt x="130" y="197"/>
                    <a:pt x="130" y="197"/>
                  </a:cubicBezTo>
                  <a:cubicBezTo>
                    <a:pt x="130" y="197"/>
                    <a:pt x="130" y="197"/>
                    <a:pt x="130" y="197"/>
                  </a:cubicBezTo>
                  <a:cubicBezTo>
                    <a:pt x="130" y="211"/>
                    <a:pt x="130" y="211"/>
                    <a:pt x="130" y="211"/>
                  </a:cubicBezTo>
                  <a:cubicBezTo>
                    <a:pt x="196" y="211"/>
                    <a:pt x="196" y="211"/>
                    <a:pt x="196" y="211"/>
                  </a:cubicBezTo>
                  <a:cubicBezTo>
                    <a:pt x="196" y="211"/>
                    <a:pt x="196" y="211"/>
                    <a:pt x="196" y="211"/>
                  </a:cubicBezTo>
                  <a:cubicBezTo>
                    <a:pt x="197" y="211"/>
                    <a:pt x="198" y="210"/>
                    <a:pt x="199" y="210"/>
                  </a:cubicBezTo>
                  <a:cubicBezTo>
                    <a:pt x="200" y="208"/>
                    <a:pt x="200" y="206"/>
                    <a:pt x="199" y="204"/>
                  </a:cubicBezTo>
                  <a:cubicBezTo>
                    <a:pt x="177" y="183"/>
                    <a:pt x="177" y="183"/>
                    <a:pt x="177" y="183"/>
                  </a:cubicBezTo>
                  <a:cubicBezTo>
                    <a:pt x="180" y="180"/>
                    <a:pt x="180" y="180"/>
                    <a:pt x="180" y="180"/>
                  </a:cubicBezTo>
                  <a:cubicBezTo>
                    <a:pt x="200" y="160"/>
                    <a:pt x="211" y="133"/>
                    <a:pt x="211" y="105"/>
                  </a:cubicBezTo>
                  <a:moveTo>
                    <a:pt x="105" y="0"/>
                  </a:moveTo>
                  <a:cubicBezTo>
                    <a:pt x="105" y="27"/>
                    <a:pt x="105" y="27"/>
                    <a:pt x="105" y="27"/>
                  </a:cubicBezTo>
                  <a:cubicBezTo>
                    <a:pt x="126" y="27"/>
                    <a:pt x="145" y="35"/>
                    <a:pt x="160" y="49"/>
                  </a:cubicBezTo>
                  <a:cubicBezTo>
                    <a:pt x="164" y="53"/>
                    <a:pt x="164" y="53"/>
                    <a:pt x="164" y="53"/>
                  </a:cubicBezTo>
                  <a:cubicBezTo>
                    <a:pt x="142" y="75"/>
                    <a:pt x="142" y="75"/>
                    <a:pt x="142" y="75"/>
                  </a:cubicBezTo>
                  <a:cubicBezTo>
                    <a:pt x="140" y="76"/>
                    <a:pt x="140" y="79"/>
                    <a:pt x="142" y="80"/>
                  </a:cubicBezTo>
                  <a:cubicBezTo>
                    <a:pt x="142" y="81"/>
                    <a:pt x="143" y="81"/>
                    <a:pt x="144" y="81"/>
                  </a:cubicBezTo>
                  <a:cubicBezTo>
                    <a:pt x="144" y="81"/>
                    <a:pt x="144" y="81"/>
                    <a:pt x="144" y="81"/>
                  </a:cubicBezTo>
                  <a:cubicBezTo>
                    <a:pt x="197" y="81"/>
                    <a:pt x="197" y="81"/>
                    <a:pt x="197" y="81"/>
                  </a:cubicBezTo>
                  <a:cubicBezTo>
                    <a:pt x="210" y="81"/>
                    <a:pt x="210" y="81"/>
                    <a:pt x="210" y="81"/>
                  </a:cubicBezTo>
                  <a:cubicBezTo>
                    <a:pt x="210" y="15"/>
                    <a:pt x="210" y="15"/>
                    <a:pt x="210" y="15"/>
                  </a:cubicBezTo>
                  <a:cubicBezTo>
                    <a:pt x="210" y="14"/>
                    <a:pt x="210" y="13"/>
                    <a:pt x="209" y="12"/>
                  </a:cubicBezTo>
                  <a:cubicBezTo>
                    <a:pt x="209" y="12"/>
                    <a:pt x="208" y="11"/>
                    <a:pt x="207" y="11"/>
                  </a:cubicBezTo>
                  <a:cubicBezTo>
                    <a:pt x="206" y="11"/>
                    <a:pt x="205" y="12"/>
                    <a:pt x="204" y="12"/>
                  </a:cubicBezTo>
                  <a:cubicBezTo>
                    <a:pt x="183" y="34"/>
                    <a:pt x="183" y="34"/>
                    <a:pt x="183" y="34"/>
                  </a:cubicBezTo>
                  <a:cubicBezTo>
                    <a:pt x="180" y="31"/>
                    <a:pt x="180" y="31"/>
                    <a:pt x="180" y="31"/>
                  </a:cubicBezTo>
                  <a:cubicBezTo>
                    <a:pt x="159" y="11"/>
                    <a:pt x="133" y="0"/>
                    <a:pt x="105" y="0"/>
                  </a:cubicBezTo>
                </a:path>
              </a:pathLst>
            </a:custGeom>
            <a:grpFill/>
            <a:ln>
              <a:noFill/>
            </a:ln>
          </p:spPr>
          <p:txBody>
            <a:bodyPr vert="horz" wrap="square" lIns="91440" tIns="45720" rIns="91440" bIns="45720" numCol="1" anchor="t" anchorCtr="0" compatLnSpc="1"/>
            <a:lstStyle/>
            <a:p>
              <a:endParaRPr lang="zh-CN" altLang="en-US">
                <a:solidFill>
                  <a:schemeClr val="bg1"/>
                </a:solidFill>
              </a:endParaRPr>
            </a:p>
          </p:txBody>
        </p:sp>
      </p:grpSp>
      <p:grpSp>
        <p:nvGrpSpPr>
          <p:cNvPr id="69" name="组合 68"/>
          <p:cNvGrpSpPr/>
          <p:nvPr/>
        </p:nvGrpSpPr>
        <p:grpSpPr>
          <a:xfrm>
            <a:off x="5216019" y="1545128"/>
            <a:ext cx="435969" cy="405329"/>
            <a:chOff x="6261499" y="2133521"/>
            <a:chExt cx="435969" cy="405329"/>
          </a:xfrm>
          <a:solidFill>
            <a:srgbClr val="FE5817"/>
          </a:solidFill>
          <a:effectLst>
            <a:reflection blurRad="6350" stA="15000" endPos="55000" dir="5400000" sy="-100000" algn="bl" rotWithShape="0"/>
          </a:effectLst>
        </p:grpSpPr>
        <p:sp>
          <p:nvSpPr>
            <p:cNvPr id="70" name="Freeform 11"/>
            <p:cNvSpPr>
              <a:spLocks noEditPoints="1"/>
            </p:cNvSpPr>
            <p:nvPr/>
          </p:nvSpPr>
          <p:spPr bwMode="auto">
            <a:xfrm>
              <a:off x="6302645" y="2179045"/>
              <a:ext cx="353678" cy="359805"/>
            </a:xfrm>
            <a:custGeom>
              <a:avLst/>
              <a:gdLst>
                <a:gd name="T0" fmla="*/ 171 w 171"/>
                <a:gd name="T1" fmla="*/ 85 h 174"/>
                <a:gd name="T2" fmla="*/ 152 w 171"/>
                <a:gd name="T3" fmla="*/ 32 h 174"/>
                <a:gd name="T4" fmla="*/ 157 w 171"/>
                <a:gd name="T5" fmla="*/ 27 h 174"/>
                <a:gd name="T6" fmla="*/ 141 w 171"/>
                <a:gd name="T7" fmla="*/ 11 h 174"/>
                <a:gd name="T8" fmla="*/ 136 w 171"/>
                <a:gd name="T9" fmla="*/ 17 h 174"/>
                <a:gd name="T10" fmla="*/ 85 w 171"/>
                <a:gd name="T11" fmla="*/ 0 h 174"/>
                <a:gd name="T12" fmla="*/ 34 w 171"/>
                <a:gd name="T13" fmla="*/ 17 h 174"/>
                <a:gd name="T14" fmla="*/ 29 w 171"/>
                <a:gd name="T15" fmla="*/ 12 h 174"/>
                <a:gd name="T16" fmla="*/ 14 w 171"/>
                <a:gd name="T17" fmla="*/ 27 h 174"/>
                <a:gd name="T18" fmla="*/ 19 w 171"/>
                <a:gd name="T19" fmla="*/ 32 h 174"/>
                <a:gd name="T20" fmla="*/ 0 w 171"/>
                <a:gd name="T21" fmla="*/ 85 h 174"/>
                <a:gd name="T22" fmla="*/ 25 w 171"/>
                <a:gd name="T23" fmla="*/ 146 h 174"/>
                <a:gd name="T24" fmla="*/ 27 w 171"/>
                <a:gd name="T25" fmla="*/ 148 h 174"/>
                <a:gd name="T26" fmla="*/ 21 w 171"/>
                <a:gd name="T27" fmla="*/ 155 h 174"/>
                <a:gd name="T28" fmla="*/ 21 w 171"/>
                <a:gd name="T29" fmla="*/ 170 h 174"/>
                <a:gd name="T30" fmla="*/ 36 w 171"/>
                <a:gd name="T31" fmla="*/ 170 h 174"/>
                <a:gd name="T32" fmla="*/ 45 w 171"/>
                <a:gd name="T33" fmla="*/ 161 h 174"/>
                <a:gd name="T34" fmla="*/ 45 w 171"/>
                <a:gd name="T35" fmla="*/ 161 h 174"/>
                <a:gd name="T36" fmla="*/ 85 w 171"/>
                <a:gd name="T37" fmla="*/ 171 h 174"/>
                <a:gd name="T38" fmla="*/ 128 w 171"/>
                <a:gd name="T39" fmla="*/ 159 h 174"/>
                <a:gd name="T40" fmla="*/ 129 w 171"/>
                <a:gd name="T41" fmla="*/ 161 h 174"/>
                <a:gd name="T42" fmla="*/ 138 w 171"/>
                <a:gd name="T43" fmla="*/ 170 h 174"/>
                <a:gd name="T44" fmla="*/ 154 w 171"/>
                <a:gd name="T45" fmla="*/ 170 h 174"/>
                <a:gd name="T46" fmla="*/ 154 w 171"/>
                <a:gd name="T47" fmla="*/ 155 h 174"/>
                <a:gd name="T48" fmla="*/ 145 w 171"/>
                <a:gd name="T49" fmla="*/ 146 h 174"/>
                <a:gd name="T50" fmla="*/ 146 w 171"/>
                <a:gd name="T51" fmla="*/ 146 h 174"/>
                <a:gd name="T52" fmla="*/ 171 w 171"/>
                <a:gd name="T53" fmla="*/ 85 h 174"/>
                <a:gd name="T54" fmla="*/ 134 w 171"/>
                <a:gd name="T55" fmla="*/ 133 h 174"/>
                <a:gd name="T56" fmla="*/ 85 w 171"/>
                <a:gd name="T57" fmla="*/ 153 h 174"/>
                <a:gd name="T58" fmla="*/ 37 w 171"/>
                <a:gd name="T59" fmla="*/ 133 h 174"/>
                <a:gd name="T60" fmla="*/ 17 w 171"/>
                <a:gd name="T61" fmla="*/ 85 h 174"/>
                <a:gd name="T62" fmla="*/ 85 w 171"/>
                <a:gd name="T63" fmla="*/ 17 h 174"/>
                <a:gd name="T64" fmla="*/ 154 w 171"/>
                <a:gd name="T65" fmla="*/ 85 h 174"/>
                <a:gd name="T66" fmla="*/ 134 w 171"/>
                <a:gd name="T67" fmla="*/ 13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1" h="174">
                  <a:moveTo>
                    <a:pt x="171" y="85"/>
                  </a:moveTo>
                  <a:cubicBezTo>
                    <a:pt x="171" y="65"/>
                    <a:pt x="164" y="46"/>
                    <a:pt x="152" y="32"/>
                  </a:cubicBezTo>
                  <a:cubicBezTo>
                    <a:pt x="157" y="27"/>
                    <a:pt x="157" y="27"/>
                    <a:pt x="157" y="27"/>
                  </a:cubicBezTo>
                  <a:cubicBezTo>
                    <a:pt x="141" y="11"/>
                    <a:pt x="141" y="11"/>
                    <a:pt x="141" y="11"/>
                  </a:cubicBezTo>
                  <a:cubicBezTo>
                    <a:pt x="136" y="17"/>
                    <a:pt x="136" y="17"/>
                    <a:pt x="136" y="17"/>
                  </a:cubicBezTo>
                  <a:cubicBezTo>
                    <a:pt x="122" y="6"/>
                    <a:pt x="104" y="0"/>
                    <a:pt x="85" y="0"/>
                  </a:cubicBezTo>
                  <a:cubicBezTo>
                    <a:pt x="66" y="0"/>
                    <a:pt x="49" y="6"/>
                    <a:pt x="34" y="17"/>
                  </a:cubicBezTo>
                  <a:cubicBezTo>
                    <a:pt x="29" y="12"/>
                    <a:pt x="29" y="12"/>
                    <a:pt x="29" y="12"/>
                  </a:cubicBezTo>
                  <a:cubicBezTo>
                    <a:pt x="14" y="27"/>
                    <a:pt x="14" y="27"/>
                    <a:pt x="14" y="27"/>
                  </a:cubicBezTo>
                  <a:cubicBezTo>
                    <a:pt x="19" y="32"/>
                    <a:pt x="19" y="32"/>
                    <a:pt x="19" y="32"/>
                  </a:cubicBezTo>
                  <a:cubicBezTo>
                    <a:pt x="7" y="47"/>
                    <a:pt x="0" y="65"/>
                    <a:pt x="0" y="85"/>
                  </a:cubicBezTo>
                  <a:cubicBezTo>
                    <a:pt x="0" y="108"/>
                    <a:pt x="9" y="130"/>
                    <a:pt x="25" y="146"/>
                  </a:cubicBezTo>
                  <a:cubicBezTo>
                    <a:pt x="26" y="147"/>
                    <a:pt x="27" y="147"/>
                    <a:pt x="27" y="148"/>
                  </a:cubicBezTo>
                  <a:cubicBezTo>
                    <a:pt x="21" y="155"/>
                    <a:pt x="21" y="155"/>
                    <a:pt x="21" y="155"/>
                  </a:cubicBezTo>
                  <a:cubicBezTo>
                    <a:pt x="17" y="159"/>
                    <a:pt x="17" y="166"/>
                    <a:pt x="21" y="170"/>
                  </a:cubicBezTo>
                  <a:cubicBezTo>
                    <a:pt x="25" y="174"/>
                    <a:pt x="32" y="174"/>
                    <a:pt x="36" y="170"/>
                  </a:cubicBezTo>
                  <a:cubicBezTo>
                    <a:pt x="45" y="161"/>
                    <a:pt x="45" y="161"/>
                    <a:pt x="45" y="161"/>
                  </a:cubicBezTo>
                  <a:cubicBezTo>
                    <a:pt x="45" y="161"/>
                    <a:pt x="45" y="161"/>
                    <a:pt x="45" y="161"/>
                  </a:cubicBezTo>
                  <a:cubicBezTo>
                    <a:pt x="58" y="167"/>
                    <a:pt x="71" y="171"/>
                    <a:pt x="85" y="171"/>
                  </a:cubicBezTo>
                  <a:cubicBezTo>
                    <a:pt x="101" y="171"/>
                    <a:pt x="115" y="167"/>
                    <a:pt x="128" y="159"/>
                  </a:cubicBezTo>
                  <a:cubicBezTo>
                    <a:pt x="128" y="160"/>
                    <a:pt x="129" y="161"/>
                    <a:pt x="129" y="161"/>
                  </a:cubicBezTo>
                  <a:cubicBezTo>
                    <a:pt x="138" y="170"/>
                    <a:pt x="138" y="170"/>
                    <a:pt x="138" y="170"/>
                  </a:cubicBezTo>
                  <a:cubicBezTo>
                    <a:pt x="143" y="174"/>
                    <a:pt x="150" y="174"/>
                    <a:pt x="154" y="170"/>
                  </a:cubicBezTo>
                  <a:cubicBezTo>
                    <a:pt x="158" y="166"/>
                    <a:pt x="158" y="159"/>
                    <a:pt x="154" y="155"/>
                  </a:cubicBezTo>
                  <a:cubicBezTo>
                    <a:pt x="145" y="146"/>
                    <a:pt x="145" y="146"/>
                    <a:pt x="145" y="146"/>
                  </a:cubicBezTo>
                  <a:cubicBezTo>
                    <a:pt x="146" y="146"/>
                    <a:pt x="146" y="146"/>
                    <a:pt x="146" y="146"/>
                  </a:cubicBezTo>
                  <a:cubicBezTo>
                    <a:pt x="162" y="130"/>
                    <a:pt x="171" y="108"/>
                    <a:pt x="171" y="85"/>
                  </a:cubicBezTo>
                  <a:close/>
                  <a:moveTo>
                    <a:pt x="134" y="133"/>
                  </a:moveTo>
                  <a:cubicBezTo>
                    <a:pt x="121" y="146"/>
                    <a:pt x="104" y="153"/>
                    <a:pt x="85" y="153"/>
                  </a:cubicBezTo>
                  <a:cubicBezTo>
                    <a:pt x="67" y="153"/>
                    <a:pt x="50" y="146"/>
                    <a:pt x="37" y="133"/>
                  </a:cubicBezTo>
                  <a:cubicBezTo>
                    <a:pt x="24" y="121"/>
                    <a:pt x="17" y="103"/>
                    <a:pt x="17" y="85"/>
                  </a:cubicBezTo>
                  <a:cubicBezTo>
                    <a:pt x="17" y="48"/>
                    <a:pt x="48" y="17"/>
                    <a:pt x="85" y="17"/>
                  </a:cubicBezTo>
                  <a:cubicBezTo>
                    <a:pt x="123" y="17"/>
                    <a:pt x="154" y="48"/>
                    <a:pt x="154" y="85"/>
                  </a:cubicBezTo>
                  <a:cubicBezTo>
                    <a:pt x="154" y="103"/>
                    <a:pt x="146" y="121"/>
                    <a:pt x="134" y="133"/>
                  </a:cubicBezTo>
                  <a:close/>
                </a:path>
              </a:pathLst>
            </a:custGeom>
            <a:grpFill/>
            <a:ln>
              <a:noFill/>
            </a:ln>
          </p:spPr>
          <p:txBody>
            <a:bodyPr vert="horz" wrap="square" lIns="91440" tIns="45720" rIns="91440" bIns="45720" numCol="1" anchor="t" anchorCtr="0" compatLnSpc="1"/>
            <a:lstStyle/>
            <a:p>
              <a:endParaRPr lang="zh-CN" altLang="en-US">
                <a:solidFill>
                  <a:schemeClr val="bg1"/>
                </a:solidFill>
              </a:endParaRPr>
            </a:p>
          </p:txBody>
        </p:sp>
        <p:sp>
          <p:nvSpPr>
            <p:cNvPr id="71" name="Freeform 12"/>
            <p:cNvSpPr>
              <a:spLocks noEditPoints="1"/>
            </p:cNvSpPr>
            <p:nvPr/>
          </p:nvSpPr>
          <p:spPr bwMode="auto">
            <a:xfrm>
              <a:off x="6261499" y="2133521"/>
              <a:ext cx="435969" cy="264382"/>
            </a:xfrm>
            <a:custGeom>
              <a:avLst/>
              <a:gdLst>
                <a:gd name="T0" fmla="*/ 147 w 211"/>
                <a:gd name="T1" fmla="*/ 88 h 128"/>
                <a:gd name="T2" fmla="*/ 110 w 211"/>
                <a:gd name="T3" fmla="*/ 100 h 128"/>
                <a:gd name="T4" fmla="*/ 110 w 211"/>
                <a:gd name="T5" fmla="*/ 53 h 128"/>
                <a:gd name="T6" fmla="*/ 105 w 211"/>
                <a:gd name="T7" fmla="*/ 49 h 128"/>
                <a:gd name="T8" fmla="*/ 101 w 211"/>
                <a:gd name="T9" fmla="*/ 53 h 128"/>
                <a:gd name="T10" fmla="*/ 101 w 211"/>
                <a:gd name="T11" fmla="*/ 103 h 128"/>
                <a:gd name="T12" fmla="*/ 94 w 211"/>
                <a:gd name="T13" fmla="*/ 105 h 128"/>
                <a:gd name="T14" fmla="*/ 92 w 211"/>
                <a:gd name="T15" fmla="*/ 111 h 128"/>
                <a:gd name="T16" fmla="*/ 97 w 211"/>
                <a:gd name="T17" fmla="*/ 114 h 128"/>
                <a:gd name="T18" fmla="*/ 101 w 211"/>
                <a:gd name="T19" fmla="*/ 112 h 128"/>
                <a:gd name="T20" fmla="*/ 101 w 211"/>
                <a:gd name="T21" fmla="*/ 124 h 128"/>
                <a:gd name="T22" fmla="*/ 105 w 211"/>
                <a:gd name="T23" fmla="*/ 128 h 128"/>
                <a:gd name="T24" fmla="*/ 110 w 211"/>
                <a:gd name="T25" fmla="*/ 124 h 128"/>
                <a:gd name="T26" fmla="*/ 110 w 211"/>
                <a:gd name="T27" fmla="*/ 109 h 128"/>
                <a:gd name="T28" fmla="*/ 150 w 211"/>
                <a:gd name="T29" fmla="*/ 96 h 128"/>
                <a:gd name="T30" fmla="*/ 153 w 211"/>
                <a:gd name="T31" fmla="*/ 91 h 128"/>
                <a:gd name="T32" fmla="*/ 147 w 211"/>
                <a:gd name="T33" fmla="*/ 88 h 128"/>
                <a:gd name="T34" fmla="*/ 196 w 211"/>
                <a:gd name="T35" fmla="*/ 14 h 128"/>
                <a:gd name="T36" fmla="*/ 142 w 211"/>
                <a:gd name="T37" fmla="*/ 14 h 128"/>
                <a:gd name="T38" fmla="*/ 196 w 211"/>
                <a:gd name="T39" fmla="*/ 68 h 128"/>
                <a:gd name="T40" fmla="*/ 196 w 211"/>
                <a:gd name="T41" fmla="*/ 14 h 128"/>
                <a:gd name="T42" fmla="*/ 14 w 211"/>
                <a:gd name="T43" fmla="*/ 14 h 128"/>
                <a:gd name="T44" fmla="*/ 14 w 211"/>
                <a:gd name="T45" fmla="*/ 68 h 128"/>
                <a:gd name="T46" fmla="*/ 68 w 211"/>
                <a:gd name="T47" fmla="*/ 14 h 128"/>
                <a:gd name="T48" fmla="*/ 14 w 211"/>
                <a:gd name="T49" fmla="*/ 1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1" h="128">
                  <a:moveTo>
                    <a:pt x="147" y="88"/>
                  </a:moveTo>
                  <a:cubicBezTo>
                    <a:pt x="110" y="100"/>
                    <a:pt x="110" y="100"/>
                    <a:pt x="110" y="100"/>
                  </a:cubicBezTo>
                  <a:cubicBezTo>
                    <a:pt x="110" y="53"/>
                    <a:pt x="110" y="53"/>
                    <a:pt x="110" y="53"/>
                  </a:cubicBezTo>
                  <a:cubicBezTo>
                    <a:pt x="110" y="50"/>
                    <a:pt x="108" y="49"/>
                    <a:pt x="105" y="49"/>
                  </a:cubicBezTo>
                  <a:cubicBezTo>
                    <a:pt x="103" y="49"/>
                    <a:pt x="101" y="50"/>
                    <a:pt x="101" y="53"/>
                  </a:cubicBezTo>
                  <a:cubicBezTo>
                    <a:pt x="101" y="103"/>
                    <a:pt x="101" y="103"/>
                    <a:pt x="101" y="103"/>
                  </a:cubicBezTo>
                  <a:cubicBezTo>
                    <a:pt x="94" y="105"/>
                    <a:pt x="94" y="105"/>
                    <a:pt x="94" y="105"/>
                  </a:cubicBezTo>
                  <a:cubicBezTo>
                    <a:pt x="92" y="106"/>
                    <a:pt x="91" y="109"/>
                    <a:pt x="92" y="111"/>
                  </a:cubicBezTo>
                  <a:cubicBezTo>
                    <a:pt x="92" y="113"/>
                    <a:pt x="95" y="114"/>
                    <a:pt x="97" y="114"/>
                  </a:cubicBezTo>
                  <a:cubicBezTo>
                    <a:pt x="101" y="112"/>
                    <a:pt x="101" y="112"/>
                    <a:pt x="101" y="112"/>
                  </a:cubicBezTo>
                  <a:cubicBezTo>
                    <a:pt x="101" y="124"/>
                    <a:pt x="101" y="124"/>
                    <a:pt x="101" y="124"/>
                  </a:cubicBezTo>
                  <a:cubicBezTo>
                    <a:pt x="101" y="126"/>
                    <a:pt x="103" y="128"/>
                    <a:pt x="105" y="128"/>
                  </a:cubicBezTo>
                  <a:cubicBezTo>
                    <a:pt x="108" y="128"/>
                    <a:pt x="110" y="126"/>
                    <a:pt x="110" y="124"/>
                  </a:cubicBezTo>
                  <a:cubicBezTo>
                    <a:pt x="110" y="109"/>
                    <a:pt x="110" y="109"/>
                    <a:pt x="110" y="109"/>
                  </a:cubicBezTo>
                  <a:cubicBezTo>
                    <a:pt x="150" y="96"/>
                    <a:pt x="150" y="96"/>
                    <a:pt x="150" y="96"/>
                  </a:cubicBezTo>
                  <a:cubicBezTo>
                    <a:pt x="152" y="96"/>
                    <a:pt x="153" y="93"/>
                    <a:pt x="153" y="91"/>
                  </a:cubicBezTo>
                  <a:cubicBezTo>
                    <a:pt x="152" y="88"/>
                    <a:pt x="149" y="87"/>
                    <a:pt x="147" y="88"/>
                  </a:cubicBezTo>
                  <a:close/>
                  <a:moveTo>
                    <a:pt x="196" y="14"/>
                  </a:moveTo>
                  <a:cubicBezTo>
                    <a:pt x="181" y="0"/>
                    <a:pt x="157" y="0"/>
                    <a:pt x="142" y="14"/>
                  </a:cubicBezTo>
                  <a:cubicBezTo>
                    <a:pt x="196" y="68"/>
                    <a:pt x="196" y="68"/>
                    <a:pt x="196" y="68"/>
                  </a:cubicBezTo>
                  <a:cubicBezTo>
                    <a:pt x="211" y="53"/>
                    <a:pt x="211" y="29"/>
                    <a:pt x="196" y="14"/>
                  </a:cubicBezTo>
                  <a:close/>
                  <a:moveTo>
                    <a:pt x="14" y="14"/>
                  </a:moveTo>
                  <a:cubicBezTo>
                    <a:pt x="0" y="29"/>
                    <a:pt x="0" y="53"/>
                    <a:pt x="14" y="68"/>
                  </a:cubicBezTo>
                  <a:cubicBezTo>
                    <a:pt x="68" y="14"/>
                    <a:pt x="68" y="14"/>
                    <a:pt x="68" y="14"/>
                  </a:cubicBezTo>
                  <a:cubicBezTo>
                    <a:pt x="53" y="0"/>
                    <a:pt x="29" y="0"/>
                    <a:pt x="14" y="14"/>
                  </a:cubicBezTo>
                  <a:close/>
                </a:path>
              </a:pathLst>
            </a:custGeom>
            <a:grpFill/>
            <a:ln>
              <a:noFill/>
            </a:ln>
          </p:spPr>
          <p:txBody>
            <a:bodyPr vert="horz" wrap="square" lIns="91440" tIns="45720" rIns="91440" bIns="45720" numCol="1" anchor="t" anchorCtr="0" compatLnSpc="1"/>
            <a:lstStyle/>
            <a:p>
              <a:endParaRPr lang="zh-CN" altLang="en-US">
                <a:solidFill>
                  <a:schemeClr val="bg1"/>
                </a:solidFill>
              </a:endParaRPr>
            </a:p>
          </p:txBody>
        </p:sp>
      </p:grpSp>
      <p:sp>
        <p:nvSpPr>
          <p:cNvPr id="72" name="išľíďè"/>
          <p:cNvSpPr/>
          <p:nvPr/>
        </p:nvSpPr>
        <p:spPr bwMode="auto">
          <a:xfrm>
            <a:off x="571059" y="4400429"/>
            <a:ext cx="247363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lvl="0" algn="ctr"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73" name="iSlíďè"/>
          <p:cNvSpPr txBox="1"/>
          <p:nvPr/>
        </p:nvSpPr>
        <p:spPr bwMode="auto">
          <a:xfrm>
            <a:off x="965295" y="4066057"/>
            <a:ext cx="161462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ctr" defTabSz="913765" rtl="0" eaLnBrk="1" fontAlgn="auto" latinLnBrk="0" hangingPunct="1">
              <a:spcBef>
                <a:spcPct val="0"/>
              </a:spcBef>
              <a:spcAft>
                <a:spcPts val="0"/>
              </a:spcAft>
              <a:buClrTx/>
              <a:buSzTx/>
              <a:buFontTx/>
              <a:buNone/>
              <a:defRPr/>
            </a:pPr>
            <a:r>
              <a:rPr kumimoji="0" lang="zh-CN" altLang="en-US" sz="1800" b="1" i="0" u="none" strike="noStrike" kern="1200" cap="none" spc="0" normalizeH="0" baseline="0" noProof="0" dirty="0">
                <a:ln>
                  <a:noFill/>
                </a:ln>
                <a:solidFill>
                  <a:schemeClr val="bg2">
                    <a:lumMod val="10000"/>
                  </a:schemeClr>
                </a:solidFill>
                <a:effectLst/>
                <a:uLnTx/>
                <a:uFillTx/>
              </a:rPr>
              <a:t>标题文本预设</a:t>
            </a:r>
            <a:endParaRPr kumimoji="0" lang="zh-CN" altLang="en-US" sz="1800" b="1" i="0" u="none" strike="noStrike" kern="1200" cap="none" spc="0" normalizeH="0" baseline="0" noProof="0" dirty="0">
              <a:ln>
                <a:noFill/>
              </a:ln>
              <a:solidFill>
                <a:schemeClr val="bg2">
                  <a:lumMod val="10000"/>
                </a:schemeClr>
              </a:solidFill>
              <a:effectLst/>
              <a:uLnTx/>
              <a:uFillTx/>
            </a:endParaRPr>
          </a:p>
        </p:txBody>
      </p:sp>
      <p:sp>
        <p:nvSpPr>
          <p:cNvPr id="74" name="išľíďè"/>
          <p:cNvSpPr/>
          <p:nvPr/>
        </p:nvSpPr>
        <p:spPr bwMode="auto">
          <a:xfrm>
            <a:off x="6722006" y="5710160"/>
            <a:ext cx="2773302"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lvl="0" algn="ctr"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75" name="iSlíďè"/>
          <p:cNvSpPr txBox="1"/>
          <p:nvPr/>
        </p:nvSpPr>
        <p:spPr bwMode="auto">
          <a:xfrm>
            <a:off x="7281428" y="5375788"/>
            <a:ext cx="1550729"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ctr" defTabSz="913765" rtl="0" eaLnBrk="1" fontAlgn="auto" latinLnBrk="0" hangingPunct="1">
              <a:spcBef>
                <a:spcPct val="0"/>
              </a:spcBef>
              <a:spcAft>
                <a:spcPts val="0"/>
              </a:spcAft>
              <a:buClrTx/>
              <a:buSzTx/>
              <a:buFontTx/>
              <a:buNone/>
              <a:defRPr/>
            </a:pPr>
            <a:r>
              <a:rPr kumimoji="0" lang="zh-CN" altLang="en-US" sz="1800" b="1" i="0" u="none" strike="noStrike" kern="1200" cap="none" spc="0" normalizeH="0" baseline="0" noProof="0" dirty="0">
                <a:ln>
                  <a:noFill/>
                </a:ln>
                <a:solidFill>
                  <a:schemeClr val="bg2">
                    <a:lumMod val="10000"/>
                  </a:schemeClr>
                </a:solidFill>
                <a:effectLst/>
                <a:uLnTx/>
                <a:uFillTx/>
              </a:rPr>
              <a:t>标题文本预设</a:t>
            </a:r>
            <a:endParaRPr kumimoji="0" lang="zh-CN" altLang="en-US" sz="1800" b="1" i="0" u="none" strike="noStrike" kern="1200" cap="none" spc="0" normalizeH="0" baseline="0" noProof="0" dirty="0">
              <a:ln>
                <a:noFill/>
              </a:ln>
              <a:solidFill>
                <a:schemeClr val="bg2">
                  <a:lumMod val="10000"/>
                </a:schemeClr>
              </a:solidFill>
              <a:effectLst/>
              <a:uLnTx/>
              <a:uFillTx/>
            </a:endParaRPr>
          </a:p>
        </p:txBody>
      </p:sp>
      <p:sp>
        <p:nvSpPr>
          <p:cNvPr id="76" name="išľíďè"/>
          <p:cNvSpPr/>
          <p:nvPr/>
        </p:nvSpPr>
        <p:spPr bwMode="auto">
          <a:xfrm>
            <a:off x="9110434" y="4601880"/>
            <a:ext cx="2773302"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lvl="0" algn="ctr"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77" name="iSlíďè"/>
          <p:cNvSpPr txBox="1"/>
          <p:nvPr/>
        </p:nvSpPr>
        <p:spPr bwMode="auto">
          <a:xfrm>
            <a:off x="9669856" y="4267508"/>
            <a:ext cx="1553316"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ctr" defTabSz="913765" rtl="0" eaLnBrk="1" fontAlgn="auto" latinLnBrk="0" hangingPunct="1">
              <a:spcBef>
                <a:spcPct val="0"/>
              </a:spcBef>
              <a:spcAft>
                <a:spcPts val="0"/>
              </a:spcAft>
              <a:buClrTx/>
              <a:buSzTx/>
              <a:buFontTx/>
              <a:buNone/>
              <a:defRPr/>
            </a:pPr>
            <a:r>
              <a:rPr kumimoji="0" lang="zh-CN" altLang="en-US" sz="1800" b="1" i="0" u="none" strike="noStrike" kern="1200" cap="none" spc="0" normalizeH="0" baseline="0" noProof="0" dirty="0">
                <a:ln>
                  <a:noFill/>
                </a:ln>
                <a:solidFill>
                  <a:schemeClr val="bg2">
                    <a:lumMod val="10000"/>
                  </a:schemeClr>
                </a:solidFill>
                <a:effectLst/>
                <a:uLnTx/>
                <a:uFillTx/>
              </a:rPr>
              <a:t>标题文本预设</a:t>
            </a:r>
            <a:endParaRPr kumimoji="0" lang="zh-CN" altLang="en-US" sz="1800" b="1" i="0" u="none" strike="noStrike" kern="1200" cap="none" spc="0" normalizeH="0" baseline="0" noProof="0" dirty="0">
              <a:ln>
                <a:noFill/>
              </a:ln>
              <a:solidFill>
                <a:schemeClr val="bg2">
                  <a:lumMod val="10000"/>
                </a:schemeClr>
              </a:solidFill>
              <a:effectLst/>
              <a:uLnTx/>
              <a:uFillTx/>
            </a:endParaRPr>
          </a:p>
        </p:txBody>
      </p:sp>
      <p:sp>
        <p:nvSpPr>
          <p:cNvPr id="78" name="išľíďè"/>
          <p:cNvSpPr/>
          <p:nvPr/>
        </p:nvSpPr>
        <p:spPr bwMode="auto">
          <a:xfrm>
            <a:off x="3268269" y="2488507"/>
            <a:ext cx="2773302"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lvl="0" algn="ctr" defTabSz="913765">
              <a:lnSpc>
                <a:spcPct val="120000"/>
              </a:lnSpc>
              <a:spcBef>
                <a:spcPct val="0"/>
              </a:spcBef>
              <a:defRPr/>
            </a:pPr>
            <a:r>
              <a:rPr lang="zh-CN" altLang="en-US" sz="1400" dirty="0">
                <a:solidFill>
                  <a:schemeClr val="bg2">
                    <a:lumMod val="10000"/>
                  </a:schemeClr>
                </a:solidFill>
              </a:rPr>
              <a:t>输入替换内容输入替换内容输入替换内容输入替换内容输入替换内容</a:t>
            </a:r>
            <a:endParaRPr lang="zh-CN" altLang="en-US" sz="1400" dirty="0">
              <a:solidFill>
                <a:schemeClr val="bg2">
                  <a:lumMod val="10000"/>
                </a:schemeClr>
              </a:solidFill>
            </a:endParaRPr>
          </a:p>
        </p:txBody>
      </p:sp>
      <p:sp>
        <p:nvSpPr>
          <p:cNvPr id="79" name="iSlíďè"/>
          <p:cNvSpPr txBox="1"/>
          <p:nvPr/>
        </p:nvSpPr>
        <p:spPr bwMode="auto">
          <a:xfrm>
            <a:off x="3827691" y="2154135"/>
            <a:ext cx="1593395"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ctr" defTabSz="913765" rtl="0" eaLnBrk="1" fontAlgn="auto" latinLnBrk="0" hangingPunct="1">
              <a:spcBef>
                <a:spcPct val="0"/>
              </a:spcBef>
              <a:spcAft>
                <a:spcPts val="0"/>
              </a:spcAft>
              <a:buClrTx/>
              <a:buSzTx/>
              <a:buFontTx/>
              <a:buNone/>
              <a:defRPr/>
            </a:pPr>
            <a:r>
              <a:rPr kumimoji="0" lang="zh-CN" altLang="en-US" sz="1800" b="1" i="0" u="none" strike="noStrike" kern="1200" cap="none" spc="0" normalizeH="0" baseline="0" noProof="0" dirty="0">
                <a:ln>
                  <a:noFill/>
                </a:ln>
                <a:solidFill>
                  <a:schemeClr val="bg2">
                    <a:lumMod val="10000"/>
                  </a:schemeClr>
                </a:solidFill>
                <a:effectLst/>
                <a:uLnTx/>
                <a:uFillTx/>
              </a:rPr>
              <a:t>标题文本预设</a:t>
            </a:r>
            <a:endParaRPr kumimoji="0" lang="zh-CN" altLang="en-US" sz="1800" b="1" i="0" u="none" strike="noStrike" kern="1200" cap="none" spc="0" normalizeH="0" baseline="0" noProof="0" dirty="0">
              <a:ln>
                <a:noFill/>
              </a:ln>
              <a:solidFill>
                <a:schemeClr val="bg2">
                  <a:lumMod val="10000"/>
                </a:schemeClr>
              </a:solidFill>
              <a:effectLst/>
              <a:uLnTx/>
              <a:uFillTx/>
            </a:endParaRPr>
          </a:p>
        </p:txBody>
      </p:sp>
      <p:sp>
        <p:nvSpPr>
          <p:cNvPr id="80" name="任意多边形 79"/>
          <p:cNvSpPr/>
          <p:nvPr/>
        </p:nvSpPr>
        <p:spPr>
          <a:xfrm>
            <a:off x="4826855" y="4636674"/>
            <a:ext cx="3222171" cy="664029"/>
          </a:xfrm>
          <a:custGeom>
            <a:avLst/>
            <a:gdLst>
              <a:gd name="connsiteX0" fmla="*/ 0 w 3145971"/>
              <a:gd name="connsiteY0" fmla="*/ 0 h 892629"/>
              <a:gd name="connsiteX1" fmla="*/ 3145971 w 3145971"/>
              <a:gd name="connsiteY1" fmla="*/ 0 h 892629"/>
              <a:gd name="connsiteX2" fmla="*/ 3145971 w 3145971"/>
              <a:gd name="connsiteY2" fmla="*/ 892629 h 892629"/>
            </a:gdLst>
            <a:ahLst/>
            <a:cxnLst>
              <a:cxn ang="0">
                <a:pos x="connsiteX0" y="connsiteY0"/>
              </a:cxn>
              <a:cxn ang="0">
                <a:pos x="connsiteX1" y="connsiteY1"/>
              </a:cxn>
              <a:cxn ang="0">
                <a:pos x="connsiteX2" y="connsiteY2"/>
              </a:cxn>
            </a:cxnLst>
            <a:rect l="l" t="t" r="r" b="b"/>
            <a:pathLst>
              <a:path w="3145971" h="892629">
                <a:moveTo>
                  <a:pt x="0" y="0"/>
                </a:moveTo>
                <a:lnTo>
                  <a:pt x="3145971" y="0"/>
                </a:lnTo>
                <a:lnTo>
                  <a:pt x="3145971" y="892629"/>
                </a:lnTo>
              </a:path>
            </a:pathLst>
          </a:custGeom>
          <a:noFill/>
          <a:ln w="9525" cap="rnd" cmpd="sng" algn="ctr">
            <a:solidFill>
              <a:schemeClr val="accent1">
                <a:lumMod val="50000"/>
              </a:schemeClr>
            </a:solidFill>
            <a:prstDash val="solid"/>
            <a:round/>
            <a:headEnd type="none" w="med" len="med"/>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任意多边形 80"/>
          <p:cNvSpPr/>
          <p:nvPr/>
        </p:nvSpPr>
        <p:spPr>
          <a:xfrm>
            <a:off x="7478487" y="3374573"/>
            <a:ext cx="2911607" cy="598714"/>
          </a:xfrm>
          <a:custGeom>
            <a:avLst/>
            <a:gdLst>
              <a:gd name="connsiteX0" fmla="*/ 0 w 3145971"/>
              <a:gd name="connsiteY0" fmla="*/ 0 h 892629"/>
              <a:gd name="connsiteX1" fmla="*/ 3145971 w 3145971"/>
              <a:gd name="connsiteY1" fmla="*/ 0 h 892629"/>
              <a:gd name="connsiteX2" fmla="*/ 3145971 w 3145971"/>
              <a:gd name="connsiteY2" fmla="*/ 892629 h 892629"/>
            </a:gdLst>
            <a:ahLst/>
            <a:cxnLst>
              <a:cxn ang="0">
                <a:pos x="connsiteX0" y="connsiteY0"/>
              </a:cxn>
              <a:cxn ang="0">
                <a:pos x="connsiteX1" y="connsiteY1"/>
              </a:cxn>
              <a:cxn ang="0">
                <a:pos x="connsiteX2" y="connsiteY2"/>
              </a:cxn>
            </a:cxnLst>
            <a:rect l="l" t="t" r="r" b="b"/>
            <a:pathLst>
              <a:path w="3145971" h="892629">
                <a:moveTo>
                  <a:pt x="0" y="0"/>
                </a:moveTo>
                <a:lnTo>
                  <a:pt x="3145971" y="0"/>
                </a:lnTo>
                <a:lnTo>
                  <a:pt x="3145971" y="892629"/>
                </a:lnTo>
              </a:path>
            </a:pathLst>
          </a:custGeom>
          <a:noFill/>
          <a:ln w="9525" cap="rnd" cmpd="sng" algn="ctr">
            <a:solidFill>
              <a:schemeClr val="accent1">
                <a:lumMod val="50000"/>
              </a:schemeClr>
            </a:solidFill>
            <a:prstDash val="solid"/>
            <a:round/>
            <a:headEnd type="none" w="med" len="med"/>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任意多边形 81"/>
          <p:cNvSpPr/>
          <p:nvPr/>
        </p:nvSpPr>
        <p:spPr>
          <a:xfrm flipH="1">
            <a:off x="4953000" y="1393372"/>
            <a:ext cx="3222171" cy="598714"/>
          </a:xfrm>
          <a:custGeom>
            <a:avLst/>
            <a:gdLst>
              <a:gd name="connsiteX0" fmla="*/ 0 w 3145971"/>
              <a:gd name="connsiteY0" fmla="*/ 0 h 892629"/>
              <a:gd name="connsiteX1" fmla="*/ 3145971 w 3145971"/>
              <a:gd name="connsiteY1" fmla="*/ 0 h 892629"/>
              <a:gd name="connsiteX2" fmla="*/ 3145971 w 3145971"/>
              <a:gd name="connsiteY2" fmla="*/ 892629 h 892629"/>
            </a:gdLst>
            <a:ahLst/>
            <a:cxnLst>
              <a:cxn ang="0">
                <a:pos x="connsiteX0" y="connsiteY0"/>
              </a:cxn>
              <a:cxn ang="0">
                <a:pos x="connsiteX1" y="connsiteY1"/>
              </a:cxn>
              <a:cxn ang="0">
                <a:pos x="connsiteX2" y="connsiteY2"/>
              </a:cxn>
            </a:cxnLst>
            <a:rect l="l" t="t" r="r" b="b"/>
            <a:pathLst>
              <a:path w="3145971" h="892629">
                <a:moveTo>
                  <a:pt x="0" y="0"/>
                </a:moveTo>
                <a:lnTo>
                  <a:pt x="3145971" y="0"/>
                </a:lnTo>
                <a:lnTo>
                  <a:pt x="3145971" y="892629"/>
                </a:lnTo>
              </a:path>
            </a:pathLst>
          </a:custGeom>
          <a:noFill/>
          <a:ln w="9525" cap="rnd" cmpd="sng" algn="ctr">
            <a:solidFill>
              <a:schemeClr val="accent1">
                <a:lumMod val="50000"/>
              </a:schemeClr>
            </a:solidFill>
            <a:prstDash val="solid"/>
            <a:round/>
            <a:headEnd type="none" w="med" len="med"/>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任意多边形 82"/>
          <p:cNvSpPr/>
          <p:nvPr/>
        </p:nvSpPr>
        <p:spPr>
          <a:xfrm flipH="1">
            <a:off x="2308412" y="3346396"/>
            <a:ext cx="3222171" cy="598714"/>
          </a:xfrm>
          <a:custGeom>
            <a:avLst/>
            <a:gdLst>
              <a:gd name="connsiteX0" fmla="*/ 0 w 3145971"/>
              <a:gd name="connsiteY0" fmla="*/ 0 h 892629"/>
              <a:gd name="connsiteX1" fmla="*/ 3145971 w 3145971"/>
              <a:gd name="connsiteY1" fmla="*/ 0 h 892629"/>
              <a:gd name="connsiteX2" fmla="*/ 3145971 w 3145971"/>
              <a:gd name="connsiteY2" fmla="*/ 892629 h 892629"/>
            </a:gdLst>
            <a:ahLst/>
            <a:cxnLst>
              <a:cxn ang="0">
                <a:pos x="connsiteX0" y="connsiteY0"/>
              </a:cxn>
              <a:cxn ang="0">
                <a:pos x="connsiteX1" y="connsiteY1"/>
              </a:cxn>
              <a:cxn ang="0">
                <a:pos x="connsiteX2" y="connsiteY2"/>
              </a:cxn>
            </a:cxnLst>
            <a:rect l="l" t="t" r="r" b="b"/>
            <a:pathLst>
              <a:path w="3145971" h="892629">
                <a:moveTo>
                  <a:pt x="0" y="0"/>
                </a:moveTo>
                <a:lnTo>
                  <a:pt x="3145971" y="0"/>
                </a:lnTo>
                <a:lnTo>
                  <a:pt x="3145971" y="892629"/>
                </a:lnTo>
              </a:path>
            </a:pathLst>
          </a:custGeom>
          <a:noFill/>
          <a:ln w="9525" cap="rnd" cmpd="sng" algn="ctr">
            <a:solidFill>
              <a:schemeClr val="accent1">
                <a:lumMod val="50000"/>
              </a:schemeClr>
            </a:solidFill>
            <a:prstDash val="solid"/>
            <a:round/>
            <a:headEnd type="none" w="med" len="med"/>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流程</a:t>
            </a:r>
            <a:endParaRPr lang="zh-CN" altLang="en-US" sz="2400" dirty="0">
              <a:latin typeface="+mj-ea"/>
            </a:endParaRPr>
          </a:p>
        </p:txBody>
      </p:sp>
      <p:pic>
        <p:nvPicPr>
          <p:cNvPr id="41" name="图片 4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0" name="对象 11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87" name="think-cell Slide" r:id="rId2" imgW="12700" imgH="12700" progId="TCLayout.ActiveDocument.1">
                  <p:embed/>
                </p:oleObj>
              </mc:Choice>
              <mc:Fallback>
                <p:oleObj name="think-cell Slide" r:id="rId2" imgW="12700" imgH="12700" progId="TCLayout.ActiveDocument.1">
                  <p:embed/>
                  <p:pic>
                    <p:nvPicPr>
                      <p:cNvPr id="0" name="对象 119" hidden="1"/>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5" name="组合 4"/>
          <p:cNvGrpSpPr/>
          <p:nvPr/>
        </p:nvGrpSpPr>
        <p:grpSpPr>
          <a:xfrm>
            <a:off x="0" y="2715192"/>
            <a:ext cx="8478982" cy="233850"/>
            <a:chOff x="294776" y="2493520"/>
            <a:chExt cx="7359382" cy="233850"/>
          </a:xfrm>
        </p:grpSpPr>
        <p:sp>
          <p:nvSpPr>
            <p:cNvPr id="48" name="Rectangle 51"/>
            <p:cNvSpPr/>
            <p:nvPr/>
          </p:nvSpPr>
          <p:spPr>
            <a:xfrm>
              <a:off x="294776" y="2493520"/>
              <a:ext cx="7359382" cy="206339"/>
            </a:xfrm>
            <a:prstGeom prst="rect">
              <a:avLst/>
            </a:prstGeom>
            <a:solidFill>
              <a:srgbClr val="575757">
                <a:lumMod val="75000"/>
              </a:srgb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en-US" sz="1400" b="0" i="0" u="none" strike="noStrike" kern="0" cap="none" spc="0" normalizeH="0" noProof="0" dirty="0" err="1" smtClean="0">
                <a:ln>
                  <a:noFill/>
                </a:ln>
                <a:solidFill>
                  <a:srgbClr val="FFFFFF"/>
                </a:solidFill>
                <a:effectLst/>
                <a:uLnTx/>
                <a:uFillTx/>
                <a:cs typeface="+mn-cs"/>
              </a:endParaRPr>
            </a:p>
          </p:txBody>
        </p:sp>
        <p:sp>
          <p:nvSpPr>
            <p:cNvPr id="49" name="Rectangle 9"/>
            <p:cNvSpPr/>
            <p:nvPr/>
          </p:nvSpPr>
          <p:spPr>
            <a:xfrm>
              <a:off x="294776" y="2521031"/>
              <a:ext cx="7359382" cy="206339"/>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en-US" sz="1400" b="0" i="0" u="none" strike="noStrike" kern="0" cap="none" spc="0" normalizeH="0" noProof="0" dirty="0" err="1" smtClean="0">
                <a:ln>
                  <a:noFill/>
                </a:ln>
                <a:solidFill>
                  <a:srgbClr val="FFFFFF"/>
                </a:solidFill>
                <a:effectLst/>
                <a:uLnTx/>
                <a:uFillTx/>
                <a:cs typeface="+mn-cs"/>
              </a:endParaRPr>
            </a:p>
          </p:txBody>
        </p:sp>
      </p:grpSp>
      <p:sp>
        <p:nvSpPr>
          <p:cNvPr id="50" name="Rectangle 123"/>
          <p:cNvSpPr/>
          <p:nvPr/>
        </p:nvSpPr>
        <p:spPr>
          <a:xfrm>
            <a:off x="2857621" y="3381531"/>
            <a:ext cx="2449995" cy="354593"/>
          </a:xfrm>
          <a:prstGeom prst="rect">
            <a:avLst/>
          </a:prstGeom>
        </p:spPr>
        <p:txBody>
          <a:bodyPr wrap="square" lIns="0" tIns="0" rIns="0" bIns="0" anchor="ctr">
            <a:noAutofit/>
          </a:bodyPr>
          <a:lstStyle/>
          <a:p>
            <a:pPr algn="ctr"/>
            <a:r>
              <a:rPr lang="en-US" altLang="zh-TW" b="1" kern="0" smtClean="0">
                <a:solidFill>
                  <a:schemeClr val="accent1">
                    <a:lumMod val="50000"/>
                  </a:schemeClr>
                </a:solidFill>
              </a:rPr>
              <a:t>XXX</a:t>
            </a:r>
            <a:endParaRPr lang="zh-CN" altLang="en-US" b="1" kern="0" dirty="0" smtClean="0">
              <a:solidFill>
                <a:schemeClr val="accent1">
                  <a:lumMod val="50000"/>
                </a:schemeClr>
              </a:solidFill>
            </a:endParaRPr>
          </a:p>
        </p:txBody>
      </p:sp>
      <p:sp>
        <p:nvSpPr>
          <p:cNvPr id="53" name="Rectangle 126"/>
          <p:cNvSpPr/>
          <p:nvPr/>
        </p:nvSpPr>
        <p:spPr>
          <a:xfrm>
            <a:off x="5691883" y="3381531"/>
            <a:ext cx="2267074" cy="354593"/>
          </a:xfrm>
          <a:prstGeom prst="rect">
            <a:avLst/>
          </a:prstGeom>
        </p:spPr>
        <p:txBody>
          <a:bodyPr wrap="square" lIns="0" tIns="0" rIns="0" bIns="0" anchor="ctr">
            <a:noAutofit/>
          </a:bodyPr>
          <a:lstStyle/>
          <a:p>
            <a:pPr algn="ctr"/>
            <a:r>
              <a:rPr lang="en-US" altLang="zh-TW" b="1" kern="0" smtClean="0">
                <a:solidFill>
                  <a:schemeClr val="accent1">
                    <a:lumMod val="50000"/>
                  </a:schemeClr>
                </a:solidFill>
              </a:rPr>
              <a:t>XXXX</a:t>
            </a:r>
            <a:endParaRPr lang="zh-CN" altLang="en-US" b="1" kern="0" dirty="0" smtClean="0">
              <a:solidFill>
                <a:schemeClr val="accent1">
                  <a:lumMod val="50000"/>
                </a:schemeClr>
              </a:solidFill>
            </a:endParaRPr>
          </a:p>
        </p:txBody>
      </p:sp>
      <p:sp>
        <p:nvSpPr>
          <p:cNvPr id="93" name="内容占位符 2"/>
          <p:cNvSpPr txBox="1"/>
          <p:nvPr/>
        </p:nvSpPr>
        <p:spPr>
          <a:xfrm>
            <a:off x="2840842" y="3801022"/>
            <a:ext cx="2542815" cy="2466975"/>
          </a:xfrm>
          <a:prstGeom prst="rect">
            <a:avLst/>
          </a:prstGeom>
        </p:spPr>
        <p:txBody>
          <a:bodyPr wrap="square" lIns="0" tIns="0" rIns="0" bIns="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lnSpc>
                <a:spcPct val="100000"/>
              </a:lnSpc>
              <a:spcBef>
                <a:spcPts val="300"/>
              </a:spcBef>
              <a:spcAft>
                <a:spcPts val="0"/>
              </a:spcAft>
            </a:pPr>
            <a:r>
              <a:rPr lang="zh-TW" altLang="en-US" sz="1700" b="1" kern="0" dirty="0" smtClean="0">
                <a:solidFill>
                  <a:srgbClr val="FE5817"/>
                </a:solidFill>
              </a:rPr>
              <a:t>智能语音报告生成：</a:t>
            </a:r>
            <a:r>
              <a:rPr lang="en-US" altLang="zh-CN" sz="1700" dirty="0" smtClean="0"/>
              <a:t>XXX</a:t>
            </a:r>
            <a:endParaRPr lang="en-US" altLang="zh-CN" sz="1700" dirty="0" smtClean="0"/>
          </a:p>
          <a:p>
            <a:pPr lvl="1">
              <a:lnSpc>
                <a:spcPct val="100000"/>
              </a:lnSpc>
              <a:spcBef>
                <a:spcPts val="300"/>
              </a:spcBef>
              <a:spcAft>
                <a:spcPts val="0"/>
              </a:spcAft>
            </a:pPr>
            <a:r>
              <a:rPr lang="zh-TW" altLang="en-US" sz="1700" b="1" dirty="0" smtClean="0">
                <a:solidFill>
                  <a:srgbClr val="FE5817"/>
                </a:solidFill>
              </a:rPr>
              <a:t>智能病患诊疗管理：</a:t>
            </a:r>
            <a:r>
              <a:rPr lang="en-US" altLang="zh-TW" sz="1700" dirty="0" smtClean="0"/>
              <a:t>XXX</a:t>
            </a:r>
            <a:endParaRPr lang="en-US" altLang="zh-CN" sz="1700" dirty="0" smtClean="0"/>
          </a:p>
        </p:txBody>
      </p:sp>
      <p:sp>
        <p:nvSpPr>
          <p:cNvPr id="94" name="内容占位符 2"/>
          <p:cNvSpPr txBox="1"/>
          <p:nvPr/>
        </p:nvSpPr>
        <p:spPr>
          <a:xfrm>
            <a:off x="2232792" y="4943261"/>
            <a:ext cx="1654317" cy="1954636"/>
          </a:xfrm>
          <a:prstGeom prst="rect">
            <a:avLst/>
          </a:prstGeom>
        </p:spPr>
        <p:txBody>
          <a:bodyPr wrap="square" lIns="0" tIns="0" rIns="0" bIns="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lnSpc>
                <a:spcPct val="100000"/>
              </a:lnSpc>
              <a:spcBef>
                <a:spcPts val="300"/>
              </a:spcBef>
              <a:spcAft>
                <a:spcPts val="0"/>
              </a:spcAft>
            </a:pPr>
            <a:endParaRPr lang="zh-CN" altLang="en-US" sz="1600" dirty="0" smtClean="0"/>
          </a:p>
        </p:txBody>
      </p:sp>
      <p:sp>
        <p:nvSpPr>
          <p:cNvPr id="95" name="内容占位符 2"/>
          <p:cNvSpPr txBox="1"/>
          <p:nvPr/>
        </p:nvSpPr>
        <p:spPr>
          <a:xfrm>
            <a:off x="5691883" y="3801022"/>
            <a:ext cx="2267074" cy="2466975"/>
          </a:xfrm>
          <a:prstGeom prst="rect">
            <a:avLst/>
          </a:prstGeom>
        </p:spPr>
        <p:txBody>
          <a:bodyPr wrap="square" lIns="0" tIns="0" rIns="0" bIns="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lnSpc>
                <a:spcPct val="100000"/>
              </a:lnSpc>
              <a:spcBef>
                <a:spcPts val="300"/>
              </a:spcBef>
              <a:spcAft>
                <a:spcPts val="0"/>
              </a:spcAft>
            </a:pPr>
            <a:r>
              <a:rPr lang="zh-TW" altLang="en-US" sz="1700" b="1" dirty="0">
                <a:solidFill>
                  <a:srgbClr val="FE5817"/>
                </a:solidFill>
              </a:rPr>
              <a:t>智能慢病</a:t>
            </a:r>
            <a:r>
              <a:rPr lang="zh-TW" altLang="en-US" sz="1700" b="1" dirty="0" smtClean="0">
                <a:solidFill>
                  <a:srgbClr val="FE5817"/>
                </a:solidFill>
              </a:rPr>
              <a:t>患者追踪：</a:t>
            </a:r>
            <a:r>
              <a:rPr lang="en-US" altLang="zh-TW" sz="1700" dirty="0" smtClean="0"/>
              <a:t>XXXX</a:t>
            </a:r>
            <a:endParaRPr lang="zh-CN" altLang="en-US" sz="1700" dirty="0"/>
          </a:p>
        </p:txBody>
      </p:sp>
      <p:sp>
        <p:nvSpPr>
          <p:cNvPr id="55" name="AutoShape 31"/>
          <p:cNvSpPr/>
          <p:nvPr/>
        </p:nvSpPr>
        <p:spPr bwMode="auto">
          <a:xfrm>
            <a:off x="925734" y="1806865"/>
            <a:ext cx="1257670" cy="1451992"/>
          </a:xfrm>
          <a:custGeom>
            <a:avLst/>
            <a:gdLst>
              <a:gd name="T0" fmla="*/ 2147483646 w 19679"/>
              <a:gd name="T1" fmla="*/ 2147483646 h 21600"/>
              <a:gd name="T2" fmla="*/ 2147483646 w 19679"/>
              <a:gd name="T3" fmla="*/ 2147483646 h 21600"/>
              <a:gd name="T4" fmla="*/ 2147483646 w 19679"/>
              <a:gd name="T5" fmla="*/ 2147483646 h 21600"/>
              <a:gd name="T6" fmla="*/ 2147483646 w 19679"/>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21600">
                <a:moveTo>
                  <a:pt x="9839" y="0"/>
                </a:moveTo>
                <a:cubicBezTo>
                  <a:pt x="7321" y="0"/>
                  <a:pt x="4803" y="937"/>
                  <a:pt x="2882" y="2813"/>
                </a:cubicBezTo>
                <a:cubicBezTo>
                  <a:pt x="-961" y="6566"/>
                  <a:pt x="-961" y="12653"/>
                  <a:pt x="2882" y="16406"/>
                </a:cubicBezTo>
                <a:cubicBezTo>
                  <a:pt x="4480" y="17967"/>
                  <a:pt x="6493" y="18867"/>
                  <a:pt x="8574" y="19129"/>
                </a:cubicBezTo>
                <a:lnTo>
                  <a:pt x="9839" y="21600"/>
                </a:lnTo>
                <a:lnTo>
                  <a:pt x="11104" y="19129"/>
                </a:lnTo>
                <a:cubicBezTo>
                  <a:pt x="13185" y="18867"/>
                  <a:pt x="15198" y="17967"/>
                  <a:pt x="16796" y="16406"/>
                </a:cubicBezTo>
                <a:cubicBezTo>
                  <a:pt x="20639" y="12653"/>
                  <a:pt x="20639" y="6566"/>
                  <a:pt x="16796" y="2813"/>
                </a:cubicBezTo>
                <a:cubicBezTo>
                  <a:pt x="14875" y="937"/>
                  <a:pt x="12357" y="0"/>
                  <a:pt x="9839" y="0"/>
                </a:cubicBezTo>
                <a:close/>
              </a:path>
            </a:pathLst>
          </a:custGeom>
          <a:solidFill>
            <a:srgbClr val="FE5817"/>
          </a:solidFill>
          <a:ln>
            <a:noFill/>
          </a:ln>
          <a:effectLst/>
        </p:spPr>
        <p:txBody>
          <a:bodyPr lIns="50800" tIns="50800" rIns="50800" bIns="50800"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noProof="0" smtClean="0">
              <a:ln>
                <a:noFill/>
              </a:ln>
              <a:solidFill>
                <a:srgbClr val="575757"/>
              </a:solidFill>
              <a:effectLst/>
              <a:uLnTx/>
              <a:uFillTx/>
            </a:endParaRPr>
          </a:p>
        </p:txBody>
      </p:sp>
      <p:sp>
        <p:nvSpPr>
          <p:cNvPr id="56" name="Oval 32"/>
          <p:cNvSpPr/>
          <p:nvPr/>
        </p:nvSpPr>
        <p:spPr bwMode="auto">
          <a:xfrm>
            <a:off x="1074088" y="1959230"/>
            <a:ext cx="960960" cy="987125"/>
          </a:xfrm>
          <a:prstGeom prst="ellipse">
            <a:avLst/>
          </a:prstGeom>
          <a:solidFill>
            <a:srgbClr val="FFFFFF"/>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altLang="en-US" sz="1400" b="0" i="0" u="none" strike="noStrike" kern="0" cap="none" spc="0" normalizeH="0" noProof="0" smtClean="0">
              <a:ln>
                <a:noFill/>
              </a:ln>
              <a:solidFill>
                <a:srgbClr val="FFFFFF"/>
              </a:solidFill>
              <a:effectLst/>
              <a:uLnTx/>
              <a:uFillTx/>
              <a:sym typeface="Helvetica Light" charset="0"/>
            </a:endParaRPr>
          </a:p>
        </p:txBody>
      </p:sp>
      <p:sp>
        <p:nvSpPr>
          <p:cNvPr id="46" name="圆角矩形 45"/>
          <p:cNvSpPr/>
          <p:nvPr/>
        </p:nvSpPr>
        <p:spPr>
          <a:xfrm>
            <a:off x="8616280" y="4021279"/>
            <a:ext cx="3240360" cy="2216033"/>
          </a:xfrm>
          <a:prstGeom prst="roundRect">
            <a:avLst>
              <a:gd name="adj" fmla="val 6114"/>
            </a:avLst>
          </a:prstGeom>
          <a:noFill/>
          <a:ln w="19050">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1" indent="-285750" latinLnBrk="1">
              <a:spcAft>
                <a:spcPts val="600"/>
              </a:spcAft>
              <a:buFont typeface="Arial" panose="020B0604020202020204" pitchFamily="34" charset="0"/>
              <a:buChar char="•"/>
              <a:tabLst>
                <a:tab pos="355600" algn="l"/>
              </a:tabLst>
            </a:pPr>
            <a:r>
              <a:rPr lang="en-US" altLang="zh-CN" smtClean="0">
                <a:solidFill>
                  <a:prstClr val="black"/>
                </a:solidFill>
                <a:latin typeface="Arial" panose="020B0604020202020204" pitchFamily="34" charset="0"/>
                <a:cs typeface="+mn-ea"/>
                <a:sym typeface="Arial" panose="020B0604020202020204" pitchFamily="34" charset="0"/>
              </a:rPr>
              <a:t>XXX</a:t>
            </a:r>
            <a:r>
              <a:rPr lang="en-US" altLang="zh-CN" b="1" smtClean="0">
                <a:solidFill>
                  <a:srgbClr val="F05A23"/>
                </a:solidFill>
                <a:latin typeface="Arial" panose="020B0604020202020204" pitchFamily="34" charset="0"/>
                <a:cs typeface="+mn-ea"/>
                <a:sym typeface="Arial" panose="020B0604020202020204" pitchFamily="34" charset="0"/>
              </a:rPr>
              <a:t>XX-XX%</a:t>
            </a:r>
            <a:r>
              <a:rPr lang="en-US" altLang="zh-CN" smtClean="0">
                <a:solidFill>
                  <a:prstClr val="black"/>
                </a:solidFill>
                <a:latin typeface="Arial" panose="020B0604020202020204" pitchFamily="34" charset="0"/>
                <a:cs typeface="+mn-ea"/>
                <a:sym typeface="Arial" panose="020B0604020202020204" pitchFamily="34" charset="0"/>
              </a:rPr>
              <a:t>XXXX</a:t>
            </a:r>
            <a:endParaRPr lang="en-US" altLang="zh-TW" dirty="0" smtClean="0">
              <a:solidFill>
                <a:prstClr val="black"/>
              </a:solidFill>
              <a:latin typeface="Arial" panose="020B0604020202020204" pitchFamily="34" charset="0"/>
              <a:cs typeface="+mn-ea"/>
              <a:sym typeface="Arial" panose="020B0604020202020204" pitchFamily="34" charset="0"/>
            </a:endParaRPr>
          </a:p>
          <a:p>
            <a:pPr marL="285750" lvl="1" indent="-285750" latinLnBrk="1">
              <a:spcAft>
                <a:spcPts val="600"/>
              </a:spcAft>
              <a:buFont typeface="Arial" panose="020B0604020202020204" pitchFamily="34" charset="0"/>
              <a:buChar char="•"/>
              <a:tabLst>
                <a:tab pos="355600" algn="l"/>
              </a:tabLst>
            </a:pPr>
            <a:r>
              <a:rPr lang="en-US" altLang="zh-TW" smtClean="0">
                <a:solidFill>
                  <a:prstClr val="black"/>
                </a:solidFill>
                <a:latin typeface="Arial" panose="020B0604020202020204" pitchFamily="34" charset="0"/>
                <a:cs typeface="+mn-ea"/>
                <a:sym typeface="Arial" panose="020B0604020202020204" pitchFamily="34" charset="0"/>
              </a:rPr>
              <a:t>XXXX</a:t>
            </a:r>
            <a:endParaRPr lang="en-US" altLang="zh-TW" dirty="0" smtClean="0">
              <a:solidFill>
                <a:prstClr val="black"/>
              </a:solidFill>
              <a:latin typeface="Arial" panose="020B0604020202020204" pitchFamily="34" charset="0"/>
              <a:cs typeface="+mn-ea"/>
              <a:sym typeface="Arial" panose="020B0604020202020204" pitchFamily="34" charset="0"/>
            </a:endParaRPr>
          </a:p>
          <a:p>
            <a:pPr marL="285750" lvl="1" indent="-285750" latinLnBrk="1">
              <a:spcAft>
                <a:spcPts val="600"/>
              </a:spcAft>
              <a:buFont typeface="Arial" panose="020B0604020202020204" pitchFamily="34" charset="0"/>
              <a:buChar char="•"/>
              <a:tabLst>
                <a:tab pos="355600" algn="l"/>
              </a:tabLst>
            </a:pPr>
            <a:r>
              <a:rPr lang="en-US" altLang="zh-TW" smtClean="0">
                <a:solidFill>
                  <a:prstClr val="black"/>
                </a:solidFill>
                <a:latin typeface="Arial" panose="020B0604020202020204" pitchFamily="34" charset="0"/>
                <a:cs typeface="+mn-ea"/>
                <a:sym typeface="Arial" panose="020B0604020202020204" pitchFamily="34" charset="0"/>
              </a:rPr>
              <a:t>XXX</a:t>
            </a:r>
            <a:endParaRPr lang="en-US" altLang="zh-TW" dirty="0" smtClean="0">
              <a:solidFill>
                <a:prstClr val="black"/>
              </a:solidFill>
              <a:latin typeface="Arial" panose="020B0604020202020204" pitchFamily="34" charset="0"/>
              <a:cs typeface="+mn-ea"/>
              <a:sym typeface="Arial" panose="020B0604020202020204" pitchFamily="34" charset="0"/>
            </a:endParaRPr>
          </a:p>
        </p:txBody>
      </p:sp>
      <p:sp>
        <p:nvSpPr>
          <p:cNvPr id="47" name="矩形 46"/>
          <p:cNvSpPr/>
          <p:nvPr/>
        </p:nvSpPr>
        <p:spPr>
          <a:xfrm>
            <a:off x="8832304" y="3822198"/>
            <a:ext cx="1224136" cy="390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smtClean="0">
                <a:solidFill>
                  <a:schemeClr val="tx1"/>
                </a:solidFill>
                <a:latin typeface="Arial" panose="020B0604020202020204" pitchFamily="34" charset="0"/>
                <a:ea typeface="华文楷体" panose="02010600040101010101" charset="-122"/>
                <a:cs typeface="Arial" panose="020B0604020202020204" pitchFamily="34" charset="0"/>
              </a:rPr>
              <a:t>XXXX</a:t>
            </a:r>
            <a:endParaRPr lang="zh-CN" altLang="en-US" sz="2000" b="1" dirty="0">
              <a:solidFill>
                <a:schemeClr val="tx1"/>
              </a:solidFill>
              <a:latin typeface="Arial" panose="020B0604020202020204" pitchFamily="34" charset="0"/>
              <a:ea typeface="华文楷体" panose="02010600040101010101" charset="-122"/>
              <a:cs typeface="Arial" panose="020B0604020202020204" pitchFamily="34" charset="0"/>
            </a:endParaRPr>
          </a:p>
        </p:txBody>
      </p:sp>
      <p:sp>
        <p:nvSpPr>
          <p:cNvPr id="54" name="圆角矩形 53"/>
          <p:cNvSpPr/>
          <p:nvPr/>
        </p:nvSpPr>
        <p:spPr>
          <a:xfrm>
            <a:off x="8616280" y="1346844"/>
            <a:ext cx="3240360" cy="2415114"/>
          </a:xfrm>
          <a:prstGeom prst="roundRect">
            <a:avLst>
              <a:gd name="adj" fmla="val 6114"/>
            </a:avLst>
          </a:prstGeom>
          <a:noFill/>
          <a:ln w="19050">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lvl="1" indent="-174625">
              <a:spcAft>
                <a:spcPts val="600"/>
              </a:spcAft>
              <a:buFont typeface="Arial" panose="020B0604020202020204" pitchFamily="34" charset="0"/>
              <a:buChar char="•"/>
            </a:pPr>
            <a:r>
              <a:rPr lang="en-US" altLang="zh-TW" b="1" smtClean="0">
                <a:solidFill>
                  <a:srgbClr val="F05A23"/>
                </a:solidFill>
                <a:latin typeface="Arial" panose="020B0604020202020204" pitchFamily="34" charset="0"/>
                <a:ea typeface="华文楷体" panose="02010600040101010101" charset="-122"/>
                <a:cs typeface="Arial" panose="020B0604020202020204" pitchFamily="34" charset="0"/>
              </a:rPr>
              <a:t>XXXX, </a:t>
            </a:r>
            <a:r>
              <a:rPr lang="en-US" altLang="zh-TW" smtClean="0">
                <a:solidFill>
                  <a:schemeClr val="tx1"/>
                </a:solidFill>
                <a:latin typeface="Arial" panose="020B0604020202020204" pitchFamily="34" charset="0"/>
                <a:ea typeface="华文楷体" panose="02010600040101010101" charset="-122"/>
                <a:cs typeface="Arial" panose="020B0604020202020204" pitchFamily="34" charset="0"/>
              </a:rPr>
              <a:t>XXXX</a:t>
            </a:r>
            <a:endParaRPr lang="en-US" altLang="zh-TW" dirty="0" smtClean="0">
              <a:solidFill>
                <a:schemeClr val="tx1"/>
              </a:solidFill>
              <a:latin typeface="Arial" panose="020B0604020202020204" pitchFamily="34" charset="0"/>
              <a:ea typeface="华文楷体" panose="02010600040101010101" charset="-122"/>
              <a:cs typeface="Arial" panose="020B0604020202020204" pitchFamily="34" charset="0"/>
            </a:endParaRPr>
          </a:p>
          <a:p>
            <a:pPr marL="174625" lvl="1" indent="-174625">
              <a:spcAft>
                <a:spcPts val="600"/>
              </a:spcAft>
              <a:buFont typeface="Arial" panose="020B0604020202020204" pitchFamily="34" charset="0"/>
              <a:buChar char="•"/>
            </a:pPr>
            <a:r>
              <a:rPr lang="zh-TW" altLang="en-US" b="1" dirty="0" smtClean="0">
                <a:solidFill>
                  <a:srgbClr val="F05A23"/>
                </a:solidFill>
                <a:latin typeface="Arial" panose="020B0604020202020204" pitchFamily="34" charset="0"/>
                <a:ea typeface="华文楷体" panose="02010600040101010101" charset="-122"/>
                <a:cs typeface="Arial" panose="020B0604020202020204" pitchFamily="34" charset="0"/>
              </a:rPr>
              <a:t>医生手工报告</a:t>
            </a:r>
            <a:r>
              <a:rPr lang="en-US" altLang="zh-TW" smtClean="0">
                <a:solidFill>
                  <a:schemeClr val="tx1"/>
                </a:solidFill>
                <a:latin typeface="Arial" panose="020B0604020202020204" pitchFamily="34" charset="0"/>
                <a:ea typeface="华文楷体" panose="02010600040101010101" charset="-122"/>
                <a:cs typeface="Arial" panose="020B0604020202020204" pitchFamily="34" charset="0"/>
              </a:rPr>
              <a:t>, XXXX</a:t>
            </a:r>
            <a:endParaRPr lang="en-US" altLang="zh-TW" dirty="0" smtClean="0">
              <a:solidFill>
                <a:schemeClr val="tx1"/>
              </a:solidFill>
              <a:latin typeface="Arial" panose="020B0604020202020204" pitchFamily="34" charset="0"/>
              <a:ea typeface="华文楷体" panose="02010600040101010101" charset="-122"/>
              <a:cs typeface="Arial" panose="020B0604020202020204" pitchFamily="34" charset="0"/>
            </a:endParaRPr>
          </a:p>
          <a:p>
            <a:pPr marL="174625" lvl="1" indent="-174625">
              <a:spcAft>
                <a:spcPts val="600"/>
              </a:spcAft>
              <a:buFont typeface="Arial" panose="020B0604020202020204" pitchFamily="34" charset="0"/>
              <a:buChar char="•"/>
            </a:pPr>
            <a:r>
              <a:rPr lang="zh-TW" altLang="en-US" dirty="0" smtClean="0">
                <a:solidFill>
                  <a:schemeClr val="tx1"/>
                </a:solidFill>
                <a:latin typeface="Arial" panose="020B0604020202020204" pitchFamily="34" charset="0"/>
                <a:ea typeface="华文楷体" panose="02010600040101010101" charset="-122"/>
                <a:cs typeface="Arial" panose="020B0604020202020204" pitchFamily="34" charset="0"/>
              </a:rPr>
              <a:t>病患众多</a:t>
            </a:r>
            <a:r>
              <a:rPr lang="en-US" altLang="zh-TW" smtClean="0">
                <a:solidFill>
                  <a:schemeClr val="tx1"/>
                </a:solidFill>
                <a:latin typeface="Arial" panose="020B0604020202020204" pitchFamily="34" charset="0"/>
                <a:ea typeface="华文楷体" panose="02010600040101010101" charset="-122"/>
                <a:cs typeface="Arial" panose="020B0604020202020204" pitchFamily="34" charset="0"/>
              </a:rPr>
              <a:t>, </a:t>
            </a:r>
            <a:r>
              <a:rPr lang="en-US" altLang="zh-TW" b="1" smtClean="0">
                <a:solidFill>
                  <a:srgbClr val="F05A23"/>
                </a:solidFill>
                <a:latin typeface="Arial" panose="020B0604020202020204" pitchFamily="34" charset="0"/>
                <a:ea typeface="华文楷体" panose="02010600040101010101" charset="-122"/>
                <a:cs typeface="Arial" panose="020B0604020202020204" pitchFamily="34" charset="0"/>
              </a:rPr>
              <a:t>XXXX</a:t>
            </a:r>
            <a:endParaRPr lang="en-US" altLang="zh-TW" b="1" dirty="0" smtClean="0">
              <a:solidFill>
                <a:srgbClr val="F05A23"/>
              </a:solidFill>
              <a:latin typeface="Arial" panose="020B0604020202020204" pitchFamily="34" charset="0"/>
              <a:ea typeface="华文楷体" panose="02010600040101010101" charset="-122"/>
              <a:cs typeface="Arial" panose="020B0604020202020204" pitchFamily="34" charset="0"/>
            </a:endParaRPr>
          </a:p>
          <a:p>
            <a:pPr marL="174625" lvl="1" indent="-174625">
              <a:spcAft>
                <a:spcPts val="600"/>
              </a:spcAft>
              <a:buFont typeface="Arial" panose="020B0604020202020204" pitchFamily="34" charset="0"/>
              <a:buChar char="•"/>
            </a:pPr>
            <a:r>
              <a:rPr lang="en-US" altLang="zh-TW" b="1" smtClean="0">
                <a:solidFill>
                  <a:srgbClr val="F05A23"/>
                </a:solidFill>
                <a:latin typeface="Arial" panose="020B0604020202020204" pitchFamily="34" charset="0"/>
                <a:ea typeface="华文楷体" panose="02010600040101010101" charset="-122"/>
                <a:cs typeface="Arial" panose="020B0604020202020204" pitchFamily="34" charset="0"/>
              </a:rPr>
              <a:t>XXX, </a:t>
            </a:r>
            <a:r>
              <a:rPr lang="en-US" altLang="zh-TW" smtClean="0">
                <a:solidFill>
                  <a:schemeClr val="tx1"/>
                </a:solidFill>
                <a:latin typeface="Arial" panose="020B0604020202020204" pitchFamily="34" charset="0"/>
                <a:ea typeface="华文楷体" panose="02010600040101010101" charset="-122"/>
                <a:cs typeface="Arial" panose="020B0604020202020204" pitchFamily="34" charset="0"/>
              </a:rPr>
              <a:t>XXX</a:t>
            </a:r>
            <a:endParaRPr lang="zh-CN" altLang="en-US" dirty="0">
              <a:solidFill>
                <a:schemeClr val="tx1"/>
              </a:solidFill>
              <a:latin typeface="Arial" panose="020B0604020202020204" pitchFamily="34" charset="0"/>
              <a:ea typeface="华文楷体" panose="02010600040101010101" charset="-122"/>
              <a:cs typeface="Arial" panose="020B0604020202020204" pitchFamily="34" charset="0"/>
            </a:endParaRPr>
          </a:p>
        </p:txBody>
      </p:sp>
      <p:sp>
        <p:nvSpPr>
          <p:cNvPr id="57" name="矩形 56"/>
          <p:cNvSpPr/>
          <p:nvPr/>
        </p:nvSpPr>
        <p:spPr>
          <a:xfrm>
            <a:off x="8825973" y="1079785"/>
            <a:ext cx="1224136" cy="390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smtClean="0">
                <a:solidFill>
                  <a:schemeClr val="tx1"/>
                </a:solidFill>
                <a:latin typeface="Arial" panose="020B0604020202020204" pitchFamily="34" charset="0"/>
                <a:ea typeface="华文楷体" panose="02010600040101010101" charset="-122"/>
                <a:cs typeface="Arial" panose="020B0604020202020204" pitchFamily="34" charset="0"/>
              </a:rPr>
              <a:t>XXXX</a:t>
            </a:r>
            <a:endParaRPr lang="zh-CN" altLang="en-US" sz="2000" b="1" dirty="0">
              <a:solidFill>
                <a:schemeClr val="tx1"/>
              </a:solidFill>
              <a:latin typeface="Arial" panose="020B0604020202020204" pitchFamily="34" charset="0"/>
              <a:ea typeface="华文楷体" panose="02010600040101010101" charset="-122"/>
              <a:cs typeface="Arial" panose="020B0604020202020204" pitchFamily="34" charset="0"/>
            </a:endParaRPr>
          </a:p>
        </p:txBody>
      </p:sp>
      <p:sp>
        <p:nvSpPr>
          <p:cNvPr id="66" name="Rectangle 125"/>
          <p:cNvSpPr/>
          <p:nvPr/>
        </p:nvSpPr>
        <p:spPr>
          <a:xfrm>
            <a:off x="329571" y="3381531"/>
            <a:ext cx="2449995" cy="354593"/>
          </a:xfrm>
          <a:prstGeom prst="rect">
            <a:avLst/>
          </a:prstGeom>
        </p:spPr>
        <p:txBody>
          <a:bodyPr wrap="square" lIns="0" tIns="0" rIns="0" bIns="0" anchor="ctr">
            <a:noAutofit/>
          </a:bodyPr>
          <a:lstStyle/>
          <a:p>
            <a:pPr algn="ctr"/>
            <a:r>
              <a:rPr lang="en-US" altLang="zh-TW" b="1" kern="0" smtClean="0">
                <a:solidFill>
                  <a:schemeClr val="accent1">
                    <a:lumMod val="50000"/>
                  </a:schemeClr>
                </a:solidFill>
              </a:rPr>
              <a:t>XXXX</a:t>
            </a:r>
            <a:endParaRPr lang="zh-CN" altLang="en-US" b="1" kern="0" dirty="0" smtClean="0">
              <a:solidFill>
                <a:schemeClr val="accent1">
                  <a:lumMod val="50000"/>
                </a:schemeClr>
              </a:solidFill>
            </a:endParaRPr>
          </a:p>
        </p:txBody>
      </p:sp>
      <p:sp>
        <p:nvSpPr>
          <p:cNvPr id="67" name="内容占位符 2"/>
          <p:cNvSpPr txBox="1"/>
          <p:nvPr/>
        </p:nvSpPr>
        <p:spPr>
          <a:xfrm>
            <a:off x="329572" y="3801022"/>
            <a:ext cx="2321162" cy="2466975"/>
          </a:xfrm>
          <a:prstGeom prst="rect">
            <a:avLst/>
          </a:prstGeom>
        </p:spPr>
        <p:txBody>
          <a:bodyPr wrap="square" lIns="0" tIns="0" rIns="0" bIns="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1">
              <a:lnSpc>
                <a:spcPct val="100000"/>
              </a:lnSpc>
              <a:spcBef>
                <a:spcPts val="300"/>
              </a:spcBef>
              <a:spcAft>
                <a:spcPts val="0"/>
              </a:spcAft>
            </a:pPr>
            <a:r>
              <a:rPr lang="zh-TW" altLang="en-US" sz="1700" b="1" dirty="0" smtClean="0">
                <a:solidFill>
                  <a:srgbClr val="FE5817"/>
                </a:solidFill>
              </a:rPr>
              <a:t>智能预诊</a:t>
            </a:r>
            <a:r>
              <a:rPr lang="en-US" altLang="zh-TW" sz="1700" b="1" dirty="0" smtClean="0">
                <a:solidFill>
                  <a:srgbClr val="FE5817"/>
                </a:solidFill>
              </a:rPr>
              <a:t>/</a:t>
            </a:r>
            <a:r>
              <a:rPr lang="zh-TW" altLang="en-US" sz="1700" b="1" dirty="0" smtClean="0">
                <a:solidFill>
                  <a:srgbClr val="FE5817"/>
                </a:solidFill>
              </a:rPr>
              <a:t>资料收集：</a:t>
            </a:r>
            <a:r>
              <a:rPr lang="en-US" altLang="zh-TW" sz="1700" dirty="0" smtClean="0"/>
              <a:t>XXXX</a:t>
            </a:r>
            <a:endParaRPr lang="en-US" altLang="zh-TW" sz="1700" dirty="0" smtClean="0"/>
          </a:p>
          <a:p>
            <a:pPr lvl="1">
              <a:lnSpc>
                <a:spcPct val="100000"/>
              </a:lnSpc>
              <a:spcBef>
                <a:spcPts val="300"/>
              </a:spcBef>
              <a:spcAft>
                <a:spcPts val="0"/>
              </a:spcAft>
            </a:pPr>
            <a:r>
              <a:rPr lang="zh-TW" altLang="en-US" sz="1700" b="1" dirty="0" smtClean="0">
                <a:solidFill>
                  <a:srgbClr val="FE5817"/>
                </a:solidFill>
              </a:rPr>
              <a:t>智能预诊、分流：</a:t>
            </a:r>
            <a:r>
              <a:rPr lang="en-US" altLang="zh-TW" sz="1700" dirty="0" smtClean="0"/>
              <a:t>XXX</a:t>
            </a:r>
            <a:endParaRPr lang="zh-CN" altLang="en-US" sz="1700" dirty="0"/>
          </a:p>
        </p:txBody>
      </p:sp>
      <p:sp>
        <p:nvSpPr>
          <p:cNvPr id="76" name="AutoShape 31"/>
          <p:cNvSpPr/>
          <p:nvPr/>
        </p:nvSpPr>
        <p:spPr bwMode="auto">
          <a:xfrm>
            <a:off x="3515428" y="1806865"/>
            <a:ext cx="1257670" cy="1451992"/>
          </a:xfrm>
          <a:custGeom>
            <a:avLst/>
            <a:gdLst>
              <a:gd name="T0" fmla="*/ 2147483646 w 19679"/>
              <a:gd name="T1" fmla="*/ 2147483646 h 21600"/>
              <a:gd name="T2" fmla="*/ 2147483646 w 19679"/>
              <a:gd name="T3" fmla="*/ 2147483646 h 21600"/>
              <a:gd name="T4" fmla="*/ 2147483646 w 19679"/>
              <a:gd name="T5" fmla="*/ 2147483646 h 21600"/>
              <a:gd name="T6" fmla="*/ 2147483646 w 19679"/>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21600">
                <a:moveTo>
                  <a:pt x="9839" y="0"/>
                </a:moveTo>
                <a:cubicBezTo>
                  <a:pt x="7321" y="0"/>
                  <a:pt x="4803" y="937"/>
                  <a:pt x="2882" y="2813"/>
                </a:cubicBezTo>
                <a:cubicBezTo>
                  <a:pt x="-961" y="6566"/>
                  <a:pt x="-961" y="12653"/>
                  <a:pt x="2882" y="16406"/>
                </a:cubicBezTo>
                <a:cubicBezTo>
                  <a:pt x="4480" y="17967"/>
                  <a:pt x="6493" y="18867"/>
                  <a:pt x="8574" y="19129"/>
                </a:cubicBezTo>
                <a:lnTo>
                  <a:pt x="9839" y="21600"/>
                </a:lnTo>
                <a:lnTo>
                  <a:pt x="11104" y="19129"/>
                </a:lnTo>
                <a:cubicBezTo>
                  <a:pt x="13185" y="18867"/>
                  <a:pt x="15198" y="17967"/>
                  <a:pt x="16796" y="16406"/>
                </a:cubicBezTo>
                <a:cubicBezTo>
                  <a:pt x="20639" y="12653"/>
                  <a:pt x="20639" y="6566"/>
                  <a:pt x="16796" y="2813"/>
                </a:cubicBezTo>
                <a:cubicBezTo>
                  <a:pt x="14875" y="937"/>
                  <a:pt x="12357" y="0"/>
                  <a:pt x="9839" y="0"/>
                </a:cubicBezTo>
                <a:close/>
              </a:path>
            </a:pathLst>
          </a:custGeom>
          <a:solidFill>
            <a:srgbClr val="FE5817"/>
          </a:solidFill>
          <a:ln>
            <a:noFill/>
          </a:ln>
          <a:effectLst/>
        </p:spPr>
        <p:txBody>
          <a:bodyPr lIns="50800" tIns="50800" rIns="50800" bIns="50800" anchor="ctr"/>
          <a:lstStyle/>
          <a:p>
            <a:endParaRPr lang="en-US" sz="1400" kern="0">
              <a:solidFill>
                <a:srgbClr val="575757"/>
              </a:solidFill>
            </a:endParaRPr>
          </a:p>
        </p:txBody>
      </p:sp>
      <p:sp>
        <p:nvSpPr>
          <p:cNvPr id="77" name="Oval 32"/>
          <p:cNvSpPr/>
          <p:nvPr/>
        </p:nvSpPr>
        <p:spPr bwMode="auto">
          <a:xfrm>
            <a:off x="3663782" y="1959230"/>
            <a:ext cx="960960" cy="987125"/>
          </a:xfrm>
          <a:prstGeom prst="ellipse">
            <a:avLst/>
          </a:prstGeom>
          <a:solidFill>
            <a:srgbClr val="FFFFFF"/>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altLang="en-US" sz="1400" b="0" i="0" u="none" strike="noStrike" kern="0" cap="none" spc="0" normalizeH="0" noProof="0" smtClean="0">
              <a:ln>
                <a:noFill/>
              </a:ln>
              <a:solidFill>
                <a:srgbClr val="FFFFFF"/>
              </a:solidFill>
              <a:effectLst/>
              <a:uLnTx/>
              <a:uFillTx/>
              <a:sym typeface="Helvetica Light" charset="0"/>
            </a:endParaRPr>
          </a:p>
        </p:txBody>
      </p:sp>
      <p:sp>
        <p:nvSpPr>
          <p:cNvPr id="85" name="AutoShape 31"/>
          <p:cNvSpPr/>
          <p:nvPr/>
        </p:nvSpPr>
        <p:spPr bwMode="auto">
          <a:xfrm>
            <a:off x="6105125" y="1806865"/>
            <a:ext cx="1257670" cy="1451992"/>
          </a:xfrm>
          <a:custGeom>
            <a:avLst/>
            <a:gdLst>
              <a:gd name="T0" fmla="*/ 2147483646 w 19679"/>
              <a:gd name="T1" fmla="*/ 2147483646 h 21600"/>
              <a:gd name="T2" fmla="*/ 2147483646 w 19679"/>
              <a:gd name="T3" fmla="*/ 2147483646 h 21600"/>
              <a:gd name="T4" fmla="*/ 2147483646 w 19679"/>
              <a:gd name="T5" fmla="*/ 2147483646 h 21600"/>
              <a:gd name="T6" fmla="*/ 2147483646 w 19679"/>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21600">
                <a:moveTo>
                  <a:pt x="9839" y="0"/>
                </a:moveTo>
                <a:cubicBezTo>
                  <a:pt x="7321" y="0"/>
                  <a:pt x="4803" y="937"/>
                  <a:pt x="2882" y="2813"/>
                </a:cubicBezTo>
                <a:cubicBezTo>
                  <a:pt x="-961" y="6566"/>
                  <a:pt x="-961" y="12653"/>
                  <a:pt x="2882" y="16406"/>
                </a:cubicBezTo>
                <a:cubicBezTo>
                  <a:pt x="4480" y="17967"/>
                  <a:pt x="6493" y="18867"/>
                  <a:pt x="8574" y="19129"/>
                </a:cubicBezTo>
                <a:lnTo>
                  <a:pt x="9839" y="21600"/>
                </a:lnTo>
                <a:lnTo>
                  <a:pt x="11104" y="19129"/>
                </a:lnTo>
                <a:cubicBezTo>
                  <a:pt x="13185" y="18867"/>
                  <a:pt x="15198" y="17967"/>
                  <a:pt x="16796" y="16406"/>
                </a:cubicBezTo>
                <a:cubicBezTo>
                  <a:pt x="20639" y="12653"/>
                  <a:pt x="20639" y="6566"/>
                  <a:pt x="16796" y="2813"/>
                </a:cubicBezTo>
                <a:cubicBezTo>
                  <a:pt x="14875" y="937"/>
                  <a:pt x="12357" y="0"/>
                  <a:pt x="9839" y="0"/>
                </a:cubicBezTo>
                <a:close/>
              </a:path>
            </a:pathLst>
          </a:custGeom>
          <a:solidFill>
            <a:srgbClr val="FE5817"/>
          </a:solidFill>
          <a:ln>
            <a:noFill/>
          </a:ln>
          <a:effectLst/>
        </p:spPr>
        <p:txBody>
          <a:bodyPr lIns="50800" tIns="50800" rIns="50800" bIns="50800" anchor="ctr"/>
          <a:lstStyle/>
          <a:p>
            <a:endParaRPr lang="en-US" sz="1400" kern="0">
              <a:solidFill>
                <a:srgbClr val="575757"/>
              </a:solidFill>
            </a:endParaRPr>
          </a:p>
        </p:txBody>
      </p:sp>
      <p:sp>
        <p:nvSpPr>
          <p:cNvPr id="86" name="Oval 32"/>
          <p:cNvSpPr/>
          <p:nvPr/>
        </p:nvSpPr>
        <p:spPr bwMode="auto">
          <a:xfrm>
            <a:off x="6253479" y="1959230"/>
            <a:ext cx="960960" cy="987125"/>
          </a:xfrm>
          <a:prstGeom prst="ellipse">
            <a:avLst/>
          </a:prstGeom>
          <a:solidFill>
            <a:srgbClr val="FFFFFF"/>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altLang="en-US" sz="1400" b="0" i="0" u="none" strike="noStrike" kern="0" cap="none" spc="0" normalizeH="0" noProof="0" smtClean="0">
              <a:ln>
                <a:noFill/>
              </a:ln>
              <a:solidFill>
                <a:srgbClr val="FFFFFF"/>
              </a:solidFill>
              <a:effectLst/>
              <a:uLnTx/>
              <a:uFillTx/>
              <a:sym typeface="Helvetica Light" charset="0"/>
            </a:endParaRPr>
          </a:p>
        </p:txBody>
      </p:sp>
      <p:cxnSp>
        <p:nvCxnSpPr>
          <p:cNvPr id="7" name="直接连接符 6"/>
          <p:cNvCxnSpPr/>
          <p:nvPr/>
        </p:nvCxnSpPr>
        <p:spPr>
          <a:xfrm>
            <a:off x="329571" y="1295682"/>
            <a:ext cx="2449995" cy="0"/>
          </a:xfrm>
          <a:prstGeom prst="line">
            <a:avLst/>
          </a:prstGeom>
          <a:ln>
            <a:solidFill>
              <a:srgbClr val="FE581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2919266" y="1295682"/>
            <a:ext cx="2449995" cy="0"/>
          </a:xfrm>
          <a:prstGeom prst="line">
            <a:avLst/>
          </a:prstGeom>
          <a:ln>
            <a:solidFill>
              <a:srgbClr val="FE581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5508962" y="1295682"/>
            <a:ext cx="2449995" cy="0"/>
          </a:xfrm>
          <a:prstGeom prst="line">
            <a:avLst/>
          </a:prstGeom>
          <a:ln>
            <a:solidFill>
              <a:srgbClr val="FE5817"/>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 name="Rectangle 124"/>
          <p:cNvSpPr/>
          <p:nvPr/>
        </p:nvSpPr>
        <p:spPr>
          <a:xfrm>
            <a:off x="1117597" y="1125865"/>
            <a:ext cx="873944" cy="354593"/>
          </a:xfrm>
          <a:prstGeom prst="rect">
            <a:avLst/>
          </a:prstGeom>
          <a:solidFill>
            <a:schemeClr val="bg1"/>
          </a:solidFill>
        </p:spPr>
        <p:txBody>
          <a:bodyPr wrap="square" lIns="0" tIns="0" rIns="0" bIns="0" anchor="ctr">
            <a:noAutofit/>
          </a:bodyPr>
          <a:lstStyle/>
          <a:p>
            <a:pPr algn="ctr"/>
            <a:r>
              <a:rPr lang="zh-TW" altLang="en-US" sz="2000" b="1" kern="0" dirty="0" smtClean="0">
                <a:solidFill>
                  <a:schemeClr val="accent1">
                    <a:lumMod val="50000"/>
                  </a:schemeClr>
                </a:solidFill>
              </a:rPr>
              <a:t>诊疗前</a:t>
            </a:r>
            <a:endParaRPr lang="en-US" altLang="zh-TW" sz="2000" b="1" kern="0" dirty="0" smtClean="0">
              <a:solidFill>
                <a:schemeClr val="accent1">
                  <a:lumMod val="50000"/>
                </a:schemeClr>
              </a:solidFill>
            </a:endParaRPr>
          </a:p>
        </p:txBody>
      </p:sp>
      <p:sp>
        <p:nvSpPr>
          <p:cNvPr id="64" name="Rectangle 124"/>
          <p:cNvSpPr/>
          <p:nvPr/>
        </p:nvSpPr>
        <p:spPr>
          <a:xfrm>
            <a:off x="3707292" y="1125865"/>
            <a:ext cx="873944" cy="354593"/>
          </a:xfrm>
          <a:prstGeom prst="rect">
            <a:avLst/>
          </a:prstGeom>
          <a:solidFill>
            <a:schemeClr val="bg1"/>
          </a:solidFill>
        </p:spPr>
        <p:txBody>
          <a:bodyPr wrap="square" lIns="0" tIns="0" rIns="0" bIns="0" anchor="ctr">
            <a:noAutofit/>
          </a:bodyPr>
          <a:lstStyle/>
          <a:p>
            <a:pPr algn="ctr"/>
            <a:r>
              <a:rPr lang="zh-TW" altLang="en-US" sz="2000" b="1" kern="0" dirty="0" smtClean="0">
                <a:solidFill>
                  <a:schemeClr val="accent1">
                    <a:lumMod val="50000"/>
                  </a:schemeClr>
                </a:solidFill>
              </a:rPr>
              <a:t>诊疗中</a:t>
            </a:r>
            <a:endParaRPr lang="en-US" altLang="zh-TW" sz="2000" b="1" kern="0" dirty="0" smtClean="0">
              <a:solidFill>
                <a:schemeClr val="accent1">
                  <a:lumMod val="50000"/>
                </a:schemeClr>
              </a:solidFill>
            </a:endParaRPr>
          </a:p>
        </p:txBody>
      </p:sp>
      <p:sp>
        <p:nvSpPr>
          <p:cNvPr id="65" name="Rectangle 124"/>
          <p:cNvSpPr/>
          <p:nvPr/>
        </p:nvSpPr>
        <p:spPr>
          <a:xfrm>
            <a:off x="6296988" y="1125865"/>
            <a:ext cx="873944" cy="354593"/>
          </a:xfrm>
          <a:prstGeom prst="rect">
            <a:avLst/>
          </a:prstGeom>
          <a:solidFill>
            <a:schemeClr val="bg1"/>
          </a:solidFill>
        </p:spPr>
        <p:txBody>
          <a:bodyPr wrap="square" lIns="0" tIns="0" rIns="0" bIns="0" anchor="ctr">
            <a:noAutofit/>
          </a:bodyPr>
          <a:lstStyle/>
          <a:p>
            <a:pPr algn="ctr"/>
            <a:r>
              <a:rPr lang="zh-TW" altLang="en-US" sz="2000" b="1" kern="0" dirty="0" smtClean="0">
                <a:solidFill>
                  <a:schemeClr val="accent1">
                    <a:lumMod val="50000"/>
                  </a:schemeClr>
                </a:solidFill>
              </a:rPr>
              <a:t>诊疗後</a:t>
            </a:r>
            <a:endParaRPr lang="en-US" altLang="zh-TW" sz="2000" b="1" kern="0" dirty="0" smtClean="0">
              <a:solidFill>
                <a:schemeClr val="accent1">
                  <a:lumMod val="50000"/>
                </a:schemeClr>
              </a:solidFill>
            </a:endParaRPr>
          </a:p>
        </p:txBody>
      </p:sp>
      <p:grpSp>
        <p:nvGrpSpPr>
          <p:cNvPr id="10" name="组合 9"/>
          <p:cNvGrpSpPr/>
          <p:nvPr/>
        </p:nvGrpSpPr>
        <p:grpSpPr>
          <a:xfrm>
            <a:off x="2769887" y="1550020"/>
            <a:ext cx="2767884" cy="947853"/>
            <a:chOff x="2854712" y="1304692"/>
            <a:chExt cx="2598234" cy="4795025"/>
          </a:xfrm>
        </p:grpSpPr>
        <p:cxnSp>
          <p:nvCxnSpPr>
            <p:cNvPr id="9" name="直接连接符 8"/>
            <p:cNvCxnSpPr/>
            <p:nvPr/>
          </p:nvCxnSpPr>
          <p:spPr>
            <a:xfrm>
              <a:off x="5452946" y="1304692"/>
              <a:ext cx="0" cy="4795025"/>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2854712" y="1304692"/>
              <a:ext cx="0" cy="4795025"/>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01" name="组合 100"/>
          <p:cNvGrpSpPr/>
          <p:nvPr/>
        </p:nvGrpSpPr>
        <p:grpSpPr>
          <a:xfrm>
            <a:off x="2769887" y="3155795"/>
            <a:ext cx="2767884" cy="2910468"/>
            <a:chOff x="2854712" y="1304692"/>
            <a:chExt cx="2598234" cy="4795025"/>
          </a:xfrm>
        </p:grpSpPr>
        <p:cxnSp>
          <p:nvCxnSpPr>
            <p:cNvPr id="102" name="直接连接符 101"/>
            <p:cNvCxnSpPr/>
            <p:nvPr/>
          </p:nvCxnSpPr>
          <p:spPr>
            <a:xfrm>
              <a:off x="5452946" y="1304692"/>
              <a:ext cx="0" cy="4795025"/>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直接连接符 103"/>
            <p:cNvCxnSpPr/>
            <p:nvPr/>
          </p:nvCxnSpPr>
          <p:spPr>
            <a:xfrm>
              <a:off x="2854712" y="1304692"/>
              <a:ext cx="0" cy="4795025"/>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05" name="Group 356"/>
          <p:cNvGrpSpPr/>
          <p:nvPr/>
        </p:nvGrpSpPr>
        <p:grpSpPr>
          <a:xfrm>
            <a:off x="1275504" y="2161933"/>
            <a:ext cx="509464" cy="609943"/>
            <a:chOff x="-1576388" y="679450"/>
            <a:chExt cx="1601788" cy="1917700"/>
          </a:xfrm>
          <a:solidFill>
            <a:srgbClr val="FE5817"/>
          </a:solidFill>
        </p:grpSpPr>
        <p:sp>
          <p:nvSpPr>
            <p:cNvPr id="106" name="Freeform 49"/>
            <p:cNvSpPr/>
            <p:nvPr/>
          </p:nvSpPr>
          <p:spPr bwMode="auto">
            <a:xfrm>
              <a:off x="-1452563" y="1065213"/>
              <a:ext cx="82550" cy="338138"/>
            </a:xfrm>
            <a:custGeom>
              <a:avLst/>
              <a:gdLst>
                <a:gd name="T0" fmla="*/ 17 w 22"/>
                <a:gd name="T1" fmla="*/ 57 h 90"/>
                <a:gd name="T2" fmla="*/ 12 w 22"/>
                <a:gd name="T3" fmla="*/ 15 h 90"/>
                <a:gd name="T4" fmla="*/ 15 w 22"/>
                <a:gd name="T5" fmla="*/ 7 h 90"/>
                <a:gd name="T6" fmla="*/ 17 w 22"/>
                <a:gd name="T7" fmla="*/ 3 h 90"/>
                <a:gd name="T8" fmla="*/ 13 w 22"/>
                <a:gd name="T9" fmla="*/ 1 h 90"/>
                <a:gd name="T10" fmla="*/ 9 w 22"/>
                <a:gd name="T11" fmla="*/ 2 h 90"/>
                <a:gd name="T12" fmla="*/ 5 w 22"/>
                <a:gd name="T13" fmla="*/ 4 h 90"/>
                <a:gd name="T14" fmla="*/ 2 w 22"/>
                <a:gd name="T15" fmla="*/ 10 h 90"/>
                <a:gd name="T16" fmla="*/ 6 w 22"/>
                <a:gd name="T17" fmla="*/ 20 h 90"/>
                <a:gd name="T18" fmla="*/ 9 w 22"/>
                <a:gd name="T19" fmla="*/ 46 h 90"/>
                <a:gd name="T20" fmla="*/ 7 w 22"/>
                <a:gd name="T21" fmla="*/ 86 h 90"/>
                <a:gd name="T22" fmla="*/ 9 w 22"/>
                <a:gd name="T23" fmla="*/ 90 h 90"/>
                <a:gd name="T24" fmla="*/ 12 w 22"/>
                <a:gd name="T25" fmla="*/ 90 h 90"/>
                <a:gd name="T26" fmla="*/ 19 w 22"/>
                <a:gd name="T27" fmla="*/ 88 h 90"/>
                <a:gd name="T28" fmla="*/ 20 w 22"/>
                <a:gd name="T29" fmla="*/ 87 h 90"/>
                <a:gd name="T30" fmla="*/ 21 w 22"/>
                <a:gd name="T31" fmla="*/ 83 h 90"/>
                <a:gd name="T32" fmla="*/ 17 w 22"/>
                <a:gd name="T33" fmla="*/ 5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90">
                  <a:moveTo>
                    <a:pt x="17" y="57"/>
                  </a:moveTo>
                  <a:cubicBezTo>
                    <a:pt x="15" y="43"/>
                    <a:pt x="13" y="29"/>
                    <a:pt x="12" y="15"/>
                  </a:cubicBezTo>
                  <a:cubicBezTo>
                    <a:pt x="11" y="12"/>
                    <a:pt x="11" y="9"/>
                    <a:pt x="15" y="7"/>
                  </a:cubicBezTo>
                  <a:cubicBezTo>
                    <a:pt x="16" y="6"/>
                    <a:pt x="17" y="4"/>
                    <a:pt x="17" y="3"/>
                  </a:cubicBezTo>
                  <a:cubicBezTo>
                    <a:pt x="16" y="2"/>
                    <a:pt x="14" y="1"/>
                    <a:pt x="13" y="1"/>
                  </a:cubicBezTo>
                  <a:cubicBezTo>
                    <a:pt x="12" y="0"/>
                    <a:pt x="11" y="2"/>
                    <a:pt x="9" y="2"/>
                  </a:cubicBezTo>
                  <a:cubicBezTo>
                    <a:pt x="8" y="3"/>
                    <a:pt x="7" y="4"/>
                    <a:pt x="5" y="4"/>
                  </a:cubicBezTo>
                  <a:cubicBezTo>
                    <a:pt x="1" y="5"/>
                    <a:pt x="0" y="6"/>
                    <a:pt x="2" y="10"/>
                  </a:cubicBezTo>
                  <a:cubicBezTo>
                    <a:pt x="4" y="13"/>
                    <a:pt x="5" y="17"/>
                    <a:pt x="6" y="20"/>
                  </a:cubicBezTo>
                  <a:cubicBezTo>
                    <a:pt x="7" y="29"/>
                    <a:pt x="9" y="37"/>
                    <a:pt x="9" y="46"/>
                  </a:cubicBezTo>
                  <a:cubicBezTo>
                    <a:pt x="10" y="55"/>
                    <a:pt x="12" y="77"/>
                    <a:pt x="7" y="86"/>
                  </a:cubicBezTo>
                  <a:cubicBezTo>
                    <a:pt x="6" y="87"/>
                    <a:pt x="8" y="89"/>
                    <a:pt x="9" y="90"/>
                  </a:cubicBezTo>
                  <a:cubicBezTo>
                    <a:pt x="9" y="90"/>
                    <a:pt x="11" y="90"/>
                    <a:pt x="12" y="90"/>
                  </a:cubicBezTo>
                  <a:cubicBezTo>
                    <a:pt x="14" y="88"/>
                    <a:pt x="16" y="86"/>
                    <a:pt x="19" y="88"/>
                  </a:cubicBezTo>
                  <a:cubicBezTo>
                    <a:pt x="19" y="88"/>
                    <a:pt x="19" y="88"/>
                    <a:pt x="20" y="87"/>
                  </a:cubicBezTo>
                  <a:cubicBezTo>
                    <a:pt x="22" y="87"/>
                    <a:pt x="22" y="85"/>
                    <a:pt x="21" y="83"/>
                  </a:cubicBezTo>
                  <a:cubicBezTo>
                    <a:pt x="20" y="79"/>
                    <a:pt x="18" y="61"/>
                    <a:pt x="1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07" name="Freeform 50"/>
            <p:cNvSpPr/>
            <p:nvPr/>
          </p:nvSpPr>
          <p:spPr bwMode="auto">
            <a:xfrm>
              <a:off x="-998538" y="1065213"/>
              <a:ext cx="79375" cy="338138"/>
            </a:xfrm>
            <a:custGeom>
              <a:avLst/>
              <a:gdLst>
                <a:gd name="T0" fmla="*/ 17 w 21"/>
                <a:gd name="T1" fmla="*/ 4 h 90"/>
                <a:gd name="T2" fmla="*/ 13 w 21"/>
                <a:gd name="T3" fmla="*/ 2 h 90"/>
                <a:gd name="T4" fmla="*/ 9 w 21"/>
                <a:gd name="T5" fmla="*/ 1 h 90"/>
                <a:gd name="T6" fmla="*/ 5 w 21"/>
                <a:gd name="T7" fmla="*/ 3 h 90"/>
                <a:gd name="T8" fmla="*/ 7 w 21"/>
                <a:gd name="T9" fmla="*/ 7 h 90"/>
                <a:gd name="T10" fmla="*/ 10 w 21"/>
                <a:gd name="T11" fmla="*/ 15 h 90"/>
                <a:gd name="T12" fmla="*/ 5 w 21"/>
                <a:gd name="T13" fmla="*/ 57 h 90"/>
                <a:gd name="T14" fmla="*/ 2 w 21"/>
                <a:gd name="T15" fmla="*/ 83 h 90"/>
                <a:gd name="T16" fmla="*/ 3 w 21"/>
                <a:gd name="T17" fmla="*/ 87 h 90"/>
                <a:gd name="T18" fmla="*/ 4 w 21"/>
                <a:gd name="T19" fmla="*/ 88 h 90"/>
                <a:gd name="T20" fmla="*/ 11 w 21"/>
                <a:gd name="T21" fmla="*/ 90 h 90"/>
                <a:gd name="T22" fmla="*/ 14 w 21"/>
                <a:gd name="T23" fmla="*/ 90 h 90"/>
                <a:gd name="T24" fmla="*/ 16 w 21"/>
                <a:gd name="T25" fmla="*/ 86 h 90"/>
                <a:gd name="T26" fmla="*/ 13 w 21"/>
                <a:gd name="T27" fmla="*/ 46 h 90"/>
                <a:gd name="T28" fmla="*/ 16 w 21"/>
                <a:gd name="T29" fmla="*/ 20 h 90"/>
                <a:gd name="T30" fmla="*/ 20 w 21"/>
                <a:gd name="T31" fmla="*/ 10 h 90"/>
                <a:gd name="T32" fmla="*/ 17 w 21"/>
                <a:gd name="T33" fmla="*/ 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90">
                  <a:moveTo>
                    <a:pt x="17" y="4"/>
                  </a:moveTo>
                  <a:cubicBezTo>
                    <a:pt x="15" y="4"/>
                    <a:pt x="14" y="3"/>
                    <a:pt x="13" y="2"/>
                  </a:cubicBezTo>
                  <a:cubicBezTo>
                    <a:pt x="11" y="2"/>
                    <a:pt x="10" y="0"/>
                    <a:pt x="9" y="1"/>
                  </a:cubicBezTo>
                  <a:cubicBezTo>
                    <a:pt x="8" y="1"/>
                    <a:pt x="6" y="2"/>
                    <a:pt x="5" y="3"/>
                  </a:cubicBezTo>
                  <a:cubicBezTo>
                    <a:pt x="5" y="4"/>
                    <a:pt x="6" y="6"/>
                    <a:pt x="7" y="7"/>
                  </a:cubicBezTo>
                  <a:cubicBezTo>
                    <a:pt x="11" y="9"/>
                    <a:pt x="11" y="12"/>
                    <a:pt x="10" y="15"/>
                  </a:cubicBezTo>
                  <a:cubicBezTo>
                    <a:pt x="9" y="29"/>
                    <a:pt x="7" y="43"/>
                    <a:pt x="5" y="57"/>
                  </a:cubicBezTo>
                  <a:cubicBezTo>
                    <a:pt x="4" y="61"/>
                    <a:pt x="3" y="79"/>
                    <a:pt x="2" y="83"/>
                  </a:cubicBezTo>
                  <a:cubicBezTo>
                    <a:pt x="1" y="85"/>
                    <a:pt x="0" y="87"/>
                    <a:pt x="3" y="87"/>
                  </a:cubicBezTo>
                  <a:cubicBezTo>
                    <a:pt x="3" y="88"/>
                    <a:pt x="4" y="88"/>
                    <a:pt x="4" y="88"/>
                  </a:cubicBezTo>
                  <a:cubicBezTo>
                    <a:pt x="7" y="86"/>
                    <a:pt x="9" y="88"/>
                    <a:pt x="11" y="90"/>
                  </a:cubicBezTo>
                  <a:cubicBezTo>
                    <a:pt x="12" y="90"/>
                    <a:pt x="14" y="90"/>
                    <a:pt x="14" y="90"/>
                  </a:cubicBezTo>
                  <a:cubicBezTo>
                    <a:pt x="15" y="89"/>
                    <a:pt x="16" y="87"/>
                    <a:pt x="16" y="86"/>
                  </a:cubicBezTo>
                  <a:cubicBezTo>
                    <a:pt x="10" y="77"/>
                    <a:pt x="12" y="55"/>
                    <a:pt x="13" y="46"/>
                  </a:cubicBezTo>
                  <a:cubicBezTo>
                    <a:pt x="13" y="37"/>
                    <a:pt x="15" y="29"/>
                    <a:pt x="16" y="20"/>
                  </a:cubicBezTo>
                  <a:cubicBezTo>
                    <a:pt x="17" y="17"/>
                    <a:pt x="18" y="13"/>
                    <a:pt x="20" y="10"/>
                  </a:cubicBezTo>
                  <a:cubicBezTo>
                    <a:pt x="21" y="6"/>
                    <a:pt x="21" y="5"/>
                    <a:pt x="17"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08" name="Freeform 51"/>
            <p:cNvSpPr/>
            <p:nvPr/>
          </p:nvSpPr>
          <p:spPr bwMode="auto">
            <a:xfrm>
              <a:off x="-481013" y="1092200"/>
              <a:ext cx="195263" cy="176213"/>
            </a:xfrm>
            <a:custGeom>
              <a:avLst/>
              <a:gdLst>
                <a:gd name="T0" fmla="*/ 13 w 52"/>
                <a:gd name="T1" fmla="*/ 0 h 47"/>
                <a:gd name="T2" fmla="*/ 13 w 52"/>
                <a:gd name="T3" fmla="*/ 0 h 47"/>
                <a:gd name="T4" fmla="*/ 0 w 52"/>
                <a:gd name="T5" fmla="*/ 5 h 47"/>
                <a:gd name="T6" fmla="*/ 26 w 52"/>
                <a:gd name="T7" fmla="*/ 47 h 47"/>
                <a:gd name="T8" fmla="*/ 52 w 52"/>
                <a:gd name="T9" fmla="*/ 5 h 47"/>
                <a:gd name="T10" fmla="*/ 39 w 52"/>
                <a:gd name="T11" fmla="*/ 0 h 47"/>
                <a:gd name="T12" fmla="*/ 26 w 52"/>
                <a:gd name="T13" fmla="*/ 14 h 47"/>
                <a:gd name="T14" fmla="*/ 13 w 52"/>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7">
                  <a:moveTo>
                    <a:pt x="13" y="0"/>
                  </a:moveTo>
                  <a:cubicBezTo>
                    <a:pt x="13" y="0"/>
                    <a:pt x="13" y="0"/>
                    <a:pt x="13" y="0"/>
                  </a:cubicBezTo>
                  <a:cubicBezTo>
                    <a:pt x="8" y="1"/>
                    <a:pt x="4" y="3"/>
                    <a:pt x="0" y="5"/>
                  </a:cubicBezTo>
                  <a:cubicBezTo>
                    <a:pt x="1" y="26"/>
                    <a:pt x="14" y="47"/>
                    <a:pt x="26" y="47"/>
                  </a:cubicBezTo>
                  <a:cubicBezTo>
                    <a:pt x="38" y="47"/>
                    <a:pt x="50" y="27"/>
                    <a:pt x="52" y="5"/>
                  </a:cubicBezTo>
                  <a:cubicBezTo>
                    <a:pt x="48" y="3"/>
                    <a:pt x="43" y="1"/>
                    <a:pt x="39" y="0"/>
                  </a:cubicBezTo>
                  <a:cubicBezTo>
                    <a:pt x="26" y="14"/>
                    <a:pt x="26" y="14"/>
                    <a:pt x="26" y="14"/>
                  </a:cubicBezTo>
                  <a:lnTo>
                    <a:pt x="1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09" name="Freeform 52"/>
            <p:cNvSpPr>
              <a:spLocks noEditPoints="1"/>
            </p:cNvSpPr>
            <p:nvPr/>
          </p:nvSpPr>
          <p:spPr bwMode="auto">
            <a:xfrm>
              <a:off x="-1576388" y="679450"/>
              <a:ext cx="1601788" cy="1917700"/>
            </a:xfrm>
            <a:custGeom>
              <a:avLst/>
              <a:gdLst>
                <a:gd name="T0" fmla="*/ 327 w 427"/>
                <a:gd name="T1" fmla="*/ 231 h 511"/>
                <a:gd name="T2" fmla="*/ 313 w 427"/>
                <a:gd name="T3" fmla="*/ 164 h 511"/>
                <a:gd name="T4" fmla="*/ 209 w 427"/>
                <a:gd name="T5" fmla="*/ 9 h 511"/>
                <a:gd name="T6" fmla="*/ 199 w 427"/>
                <a:gd name="T7" fmla="*/ 208 h 511"/>
                <a:gd name="T8" fmla="*/ 264 w 427"/>
                <a:gd name="T9" fmla="*/ 272 h 511"/>
                <a:gd name="T10" fmla="*/ 319 w 427"/>
                <a:gd name="T11" fmla="*/ 319 h 511"/>
                <a:gd name="T12" fmla="*/ 371 w 427"/>
                <a:gd name="T13" fmla="*/ 272 h 511"/>
                <a:gd name="T14" fmla="*/ 352 w 427"/>
                <a:gd name="T15" fmla="*/ 119 h 511"/>
                <a:gd name="T16" fmla="*/ 167 w 427"/>
                <a:gd name="T17" fmla="*/ 48 h 511"/>
                <a:gd name="T18" fmla="*/ 146 w 427"/>
                <a:gd name="T19" fmla="*/ 17 h 511"/>
                <a:gd name="T20" fmla="*/ 115 w 427"/>
                <a:gd name="T21" fmla="*/ 33 h 511"/>
                <a:gd name="T22" fmla="*/ 116 w 427"/>
                <a:gd name="T23" fmla="*/ 16 h 511"/>
                <a:gd name="T24" fmla="*/ 128 w 427"/>
                <a:gd name="T25" fmla="*/ 84 h 511"/>
                <a:gd name="T26" fmla="*/ 144 w 427"/>
                <a:gd name="T27" fmla="*/ 75 h 511"/>
                <a:gd name="T28" fmla="*/ 117 w 427"/>
                <a:gd name="T29" fmla="*/ 85 h 511"/>
                <a:gd name="T30" fmla="*/ 148 w 427"/>
                <a:gd name="T31" fmla="*/ 65 h 511"/>
                <a:gd name="T32" fmla="*/ 133 w 427"/>
                <a:gd name="T33" fmla="*/ 55 h 511"/>
                <a:gd name="T34" fmla="*/ 140 w 427"/>
                <a:gd name="T35" fmla="*/ 55 h 511"/>
                <a:gd name="T36" fmla="*/ 127 w 427"/>
                <a:gd name="T37" fmla="*/ 49 h 511"/>
                <a:gd name="T38" fmla="*/ 139 w 427"/>
                <a:gd name="T39" fmla="*/ 118 h 511"/>
                <a:gd name="T40" fmla="*/ 97 w 427"/>
                <a:gd name="T41" fmla="*/ 191 h 511"/>
                <a:gd name="T42" fmla="*/ 105 w 427"/>
                <a:gd name="T43" fmla="*/ 177 h 511"/>
                <a:gd name="T44" fmla="*/ 90 w 427"/>
                <a:gd name="T45" fmla="*/ 180 h 511"/>
                <a:gd name="T46" fmla="*/ 95 w 427"/>
                <a:gd name="T47" fmla="*/ 199 h 511"/>
                <a:gd name="T48" fmla="*/ 124 w 427"/>
                <a:gd name="T49" fmla="*/ 199 h 511"/>
                <a:gd name="T50" fmla="*/ 113 w 427"/>
                <a:gd name="T51" fmla="*/ 153 h 511"/>
                <a:gd name="T52" fmla="*/ 83 w 427"/>
                <a:gd name="T53" fmla="*/ 190 h 511"/>
                <a:gd name="T54" fmla="*/ 101 w 427"/>
                <a:gd name="T55" fmla="*/ 14 h 511"/>
                <a:gd name="T56" fmla="*/ 100 w 427"/>
                <a:gd name="T57" fmla="*/ 19 h 511"/>
                <a:gd name="T58" fmla="*/ 101 w 427"/>
                <a:gd name="T59" fmla="*/ 25 h 511"/>
                <a:gd name="T60" fmla="*/ 65 w 427"/>
                <a:gd name="T61" fmla="*/ 17 h 511"/>
                <a:gd name="T62" fmla="*/ 53 w 427"/>
                <a:gd name="T63" fmla="*/ 30 h 511"/>
                <a:gd name="T64" fmla="*/ 33 w 427"/>
                <a:gd name="T65" fmla="*/ 99 h 511"/>
                <a:gd name="T66" fmla="*/ 46 w 427"/>
                <a:gd name="T67" fmla="*/ 87 h 511"/>
                <a:gd name="T68" fmla="*/ 67 w 427"/>
                <a:gd name="T69" fmla="*/ 47 h 511"/>
                <a:gd name="T70" fmla="*/ 63 w 427"/>
                <a:gd name="T71" fmla="*/ 90 h 511"/>
                <a:gd name="T72" fmla="*/ 81 w 427"/>
                <a:gd name="T73" fmla="*/ 126 h 511"/>
                <a:gd name="T74" fmla="*/ 113 w 427"/>
                <a:gd name="T75" fmla="*/ 119 h 511"/>
                <a:gd name="T76" fmla="*/ 100 w 427"/>
                <a:gd name="T77" fmla="*/ 127 h 511"/>
                <a:gd name="T78" fmla="*/ 102 w 427"/>
                <a:gd name="T79" fmla="*/ 132 h 511"/>
                <a:gd name="T80" fmla="*/ 110 w 427"/>
                <a:gd name="T81" fmla="*/ 140 h 511"/>
                <a:gd name="T82" fmla="*/ 108 w 427"/>
                <a:gd name="T83" fmla="*/ 146 h 511"/>
                <a:gd name="T84" fmla="*/ 114 w 427"/>
                <a:gd name="T85" fmla="*/ 148 h 511"/>
                <a:gd name="T86" fmla="*/ 118 w 427"/>
                <a:gd name="T87" fmla="*/ 131 h 511"/>
                <a:gd name="T88" fmla="*/ 144 w 427"/>
                <a:gd name="T89" fmla="*/ 121 h 511"/>
                <a:gd name="T90" fmla="*/ 150 w 427"/>
                <a:gd name="T91" fmla="*/ 72 h 511"/>
                <a:gd name="T92" fmla="*/ 153 w 427"/>
                <a:gd name="T93" fmla="*/ 34 h 511"/>
                <a:gd name="T94" fmla="*/ 165 w 427"/>
                <a:gd name="T95" fmla="*/ 103 h 511"/>
                <a:gd name="T96" fmla="*/ 199 w 427"/>
                <a:gd name="T97" fmla="*/ 199 h 511"/>
                <a:gd name="T98" fmla="*/ 71 w 427"/>
                <a:gd name="T99" fmla="*/ 69 h 511"/>
                <a:gd name="T100" fmla="*/ 76 w 427"/>
                <a:gd name="T101" fmla="*/ 56 h 511"/>
                <a:gd name="T102" fmla="*/ 91 w 427"/>
                <a:gd name="T103" fmla="*/ 36 h 511"/>
                <a:gd name="T104" fmla="*/ 70 w 427"/>
                <a:gd name="T105" fmla="*/ 75 h 511"/>
                <a:gd name="T106" fmla="*/ 70 w 427"/>
                <a:gd name="T107" fmla="*/ 86 h 511"/>
                <a:gd name="T108" fmla="*/ 87 w 427"/>
                <a:gd name="T109" fmla="*/ 90 h 511"/>
                <a:gd name="T110" fmla="*/ 69 w 427"/>
                <a:gd name="T111" fmla="*/ 92 h 511"/>
                <a:gd name="T112" fmla="*/ 81 w 427"/>
                <a:gd name="T113" fmla="*/ 12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7" h="511">
                  <a:moveTo>
                    <a:pt x="352" y="119"/>
                  </a:moveTo>
                  <a:cubicBezTo>
                    <a:pt x="351" y="119"/>
                    <a:pt x="351" y="119"/>
                    <a:pt x="351" y="118"/>
                  </a:cubicBezTo>
                  <a:cubicBezTo>
                    <a:pt x="349" y="140"/>
                    <a:pt x="337" y="162"/>
                    <a:pt x="321" y="164"/>
                  </a:cubicBezTo>
                  <a:cubicBezTo>
                    <a:pt x="319" y="175"/>
                    <a:pt x="323" y="179"/>
                    <a:pt x="327" y="184"/>
                  </a:cubicBezTo>
                  <a:cubicBezTo>
                    <a:pt x="335" y="193"/>
                    <a:pt x="340" y="202"/>
                    <a:pt x="326" y="226"/>
                  </a:cubicBezTo>
                  <a:cubicBezTo>
                    <a:pt x="327" y="227"/>
                    <a:pt x="327" y="229"/>
                    <a:pt x="327" y="231"/>
                  </a:cubicBezTo>
                  <a:cubicBezTo>
                    <a:pt x="327" y="236"/>
                    <a:pt x="323" y="241"/>
                    <a:pt x="318" y="241"/>
                  </a:cubicBezTo>
                  <a:cubicBezTo>
                    <a:pt x="313" y="241"/>
                    <a:pt x="308" y="236"/>
                    <a:pt x="308" y="231"/>
                  </a:cubicBezTo>
                  <a:cubicBezTo>
                    <a:pt x="308" y="226"/>
                    <a:pt x="313" y="221"/>
                    <a:pt x="318" y="221"/>
                  </a:cubicBezTo>
                  <a:cubicBezTo>
                    <a:pt x="318" y="221"/>
                    <a:pt x="319" y="221"/>
                    <a:pt x="319" y="222"/>
                  </a:cubicBezTo>
                  <a:cubicBezTo>
                    <a:pt x="332" y="201"/>
                    <a:pt x="327" y="196"/>
                    <a:pt x="321" y="190"/>
                  </a:cubicBezTo>
                  <a:cubicBezTo>
                    <a:pt x="317" y="184"/>
                    <a:pt x="311" y="178"/>
                    <a:pt x="313" y="164"/>
                  </a:cubicBezTo>
                  <a:cubicBezTo>
                    <a:pt x="298" y="160"/>
                    <a:pt x="287" y="140"/>
                    <a:pt x="285" y="119"/>
                  </a:cubicBezTo>
                  <a:cubicBezTo>
                    <a:pt x="284" y="119"/>
                    <a:pt x="283" y="120"/>
                    <a:pt x="282" y="120"/>
                  </a:cubicBezTo>
                  <a:cubicBezTo>
                    <a:pt x="277" y="124"/>
                    <a:pt x="271" y="127"/>
                    <a:pt x="266" y="131"/>
                  </a:cubicBezTo>
                  <a:cubicBezTo>
                    <a:pt x="246" y="126"/>
                    <a:pt x="237" y="115"/>
                    <a:pt x="220" y="92"/>
                  </a:cubicBezTo>
                  <a:cubicBezTo>
                    <a:pt x="216" y="88"/>
                    <a:pt x="213" y="83"/>
                    <a:pt x="209" y="77"/>
                  </a:cubicBezTo>
                  <a:cubicBezTo>
                    <a:pt x="209" y="9"/>
                    <a:pt x="209" y="9"/>
                    <a:pt x="209" y="9"/>
                  </a:cubicBezTo>
                  <a:cubicBezTo>
                    <a:pt x="209" y="4"/>
                    <a:pt x="204" y="0"/>
                    <a:pt x="199" y="0"/>
                  </a:cubicBezTo>
                  <a:cubicBezTo>
                    <a:pt x="10" y="0"/>
                    <a:pt x="10" y="0"/>
                    <a:pt x="10" y="0"/>
                  </a:cubicBezTo>
                  <a:cubicBezTo>
                    <a:pt x="4" y="0"/>
                    <a:pt x="0" y="4"/>
                    <a:pt x="0" y="9"/>
                  </a:cubicBezTo>
                  <a:cubicBezTo>
                    <a:pt x="0" y="199"/>
                    <a:pt x="0" y="199"/>
                    <a:pt x="0" y="199"/>
                  </a:cubicBezTo>
                  <a:cubicBezTo>
                    <a:pt x="0" y="204"/>
                    <a:pt x="4" y="208"/>
                    <a:pt x="10" y="208"/>
                  </a:cubicBezTo>
                  <a:cubicBezTo>
                    <a:pt x="199" y="208"/>
                    <a:pt x="199" y="208"/>
                    <a:pt x="199" y="208"/>
                  </a:cubicBezTo>
                  <a:cubicBezTo>
                    <a:pt x="204" y="208"/>
                    <a:pt x="209" y="204"/>
                    <a:pt x="209" y="199"/>
                  </a:cubicBezTo>
                  <a:cubicBezTo>
                    <a:pt x="209" y="141"/>
                    <a:pt x="209" y="141"/>
                    <a:pt x="209" y="141"/>
                  </a:cubicBezTo>
                  <a:cubicBezTo>
                    <a:pt x="222" y="156"/>
                    <a:pt x="238" y="166"/>
                    <a:pt x="264" y="171"/>
                  </a:cubicBezTo>
                  <a:cubicBezTo>
                    <a:pt x="264" y="200"/>
                    <a:pt x="264" y="200"/>
                    <a:pt x="264" y="200"/>
                  </a:cubicBezTo>
                  <a:cubicBezTo>
                    <a:pt x="264" y="200"/>
                    <a:pt x="264" y="200"/>
                    <a:pt x="264" y="199"/>
                  </a:cubicBezTo>
                  <a:cubicBezTo>
                    <a:pt x="264" y="199"/>
                    <a:pt x="264" y="253"/>
                    <a:pt x="264" y="272"/>
                  </a:cubicBezTo>
                  <a:cubicBezTo>
                    <a:pt x="264" y="289"/>
                    <a:pt x="268" y="292"/>
                    <a:pt x="268" y="292"/>
                  </a:cubicBezTo>
                  <a:cubicBezTo>
                    <a:pt x="268" y="487"/>
                    <a:pt x="268" y="487"/>
                    <a:pt x="268" y="487"/>
                  </a:cubicBezTo>
                  <a:cubicBezTo>
                    <a:pt x="268" y="500"/>
                    <a:pt x="278" y="511"/>
                    <a:pt x="292" y="511"/>
                  </a:cubicBezTo>
                  <a:cubicBezTo>
                    <a:pt x="305" y="511"/>
                    <a:pt x="316" y="500"/>
                    <a:pt x="316" y="487"/>
                  </a:cubicBezTo>
                  <a:cubicBezTo>
                    <a:pt x="316" y="319"/>
                    <a:pt x="316" y="319"/>
                    <a:pt x="316" y="319"/>
                  </a:cubicBezTo>
                  <a:cubicBezTo>
                    <a:pt x="317" y="319"/>
                    <a:pt x="318" y="319"/>
                    <a:pt x="319" y="319"/>
                  </a:cubicBezTo>
                  <a:cubicBezTo>
                    <a:pt x="319" y="319"/>
                    <a:pt x="319" y="319"/>
                    <a:pt x="319" y="319"/>
                  </a:cubicBezTo>
                  <a:cubicBezTo>
                    <a:pt x="319" y="487"/>
                    <a:pt x="319" y="487"/>
                    <a:pt x="319" y="487"/>
                  </a:cubicBezTo>
                  <a:cubicBezTo>
                    <a:pt x="319" y="500"/>
                    <a:pt x="330" y="511"/>
                    <a:pt x="344" y="511"/>
                  </a:cubicBezTo>
                  <a:cubicBezTo>
                    <a:pt x="357" y="511"/>
                    <a:pt x="368" y="500"/>
                    <a:pt x="368" y="487"/>
                  </a:cubicBezTo>
                  <a:cubicBezTo>
                    <a:pt x="368" y="292"/>
                    <a:pt x="368" y="292"/>
                    <a:pt x="368" y="292"/>
                  </a:cubicBezTo>
                  <a:cubicBezTo>
                    <a:pt x="368" y="292"/>
                    <a:pt x="371" y="285"/>
                    <a:pt x="371" y="272"/>
                  </a:cubicBezTo>
                  <a:cubicBezTo>
                    <a:pt x="371" y="260"/>
                    <a:pt x="371" y="198"/>
                    <a:pt x="371" y="198"/>
                  </a:cubicBezTo>
                  <a:cubicBezTo>
                    <a:pt x="378" y="214"/>
                    <a:pt x="380" y="236"/>
                    <a:pt x="377" y="266"/>
                  </a:cubicBezTo>
                  <a:cubicBezTo>
                    <a:pt x="376" y="277"/>
                    <a:pt x="384" y="287"/>
                    <a:pt x="395" y="289"/>
                  </a:cubicBezTo>
                  <a:cubicBezTo>
                    <a:pt x="396" y="289"/>
                    <a:pt x="397" y="289"/>
                    <a:pt x="397" y="289"/>
                  </a:cubicBezTo>
                  <a:cubicBezTo>
                    <a:pt x="408" y="289"/>
                    <a:pt x="417" y="281"/>
                    <a:pt x="418" y="270"/>
                  </a:cubicBezTo>
                  <a:cubicBezTo>
                    <a:pt x="427" y="178"/>
                    <a:pt x="391" y="143"/>
                    <a:pt x="352" y="119"/>
                  </a:cubicBezTo>
                  <a:close/>
                  <a:moveTo>
                    <a:pt x="199" y="9"/>
                  </a:moveTo>
                  <a:cubicBezTo>
                    <a:pt x="199" y="67"/>
                    <a:pt x="199" y="67"/>
                    <a:pt x="199" y="67"/>
                  </a:cubicBezTo>
                  <a:cubicBezTo>
                    <a:pt x="192" y="63"/>
                    <a:pt x="183" y="63"/>
                    <a:pt x="176" y="68"/>
                  </a:cubicBezTo>
                  <a:cubicBezTo>
                    <a:pt x="172" y="71"/>
                    <a:pt x="170" y="75"/>
                    <a:pt x="169" y="79"/>
                  </a:cubicBezTo>
                  <a:cubicBezTo>
                    <a:pt x="169" y="78"/>
                    <a:pt x="169" y="76"/>
                    <a:pt x="169" y="74"/>
                  </a:cubicBezTo>
                  <a:cubicBezTo>
                    <a:pt x="167" y="66"/>
                    <a:pt x="167" y="57"/>
                    <a:pt x="167" y="48"/>
                  </a:cubicBezTo>
                  <a:cubicBezTo>
                    <a:pt x="167" y="45"/>
                    <a:pt x="167" y="41"/>
                    <a:pt x="168" y="38"/>
                  </a:cubicBezTo>
                  <a:cubicBezTo>
                    <a:pt x="169" y="34"/>
                    <a:pt x="168" y="32"/>
                    <a:pt x="164" y="32"/>
                  </a:cubicBezTo>
                  <a:cubicBezTo>
                    <a:pt x="163" y="32"/>
                    <a:pt x="161" y="32"/>
                    <a:pt x="160" y="31"/>
                  </a:cubicBezTo>
                  <a:cubicBezTo>
                    <a:pt x="159" y="31"/>
                    <a:pt x="157" y="30"/>
                    <a:pt x="156" y="30"/>
                  </a:cubicBezTo>
                  <a:cubicBezTo>
                    <a:pt x="157" y="26"/>
                    <a:pt x="157" y="23"/>
                    <a:pt x="156" y="21"/>
                  </a:cubicBezTo>
                  <a:cubicBezTo>
                    <a:pt x="153" y="17"/>
                    <a:pt x="149" y="17"/>
                    <a:pt x="146" y="17"/>
                  </a:cubicBezTo>
                  <a:cubicBezTo>
                    <a:pt x="146" y="17"/>
                    <a:pt x="145" y="17"/>
                    <a:pt x="145" y="17"/>
                  </a:cubicBezTo>
                  <a:cubicBezTo>
                    <a:pt x="145" y="17"/>
                    <a:pt x="145" y="17"/>
                    <a:pt x="145" y="17"/>
                  </a:cubicBezTo>
                  <a:cubicBezTo>
                    <a:pt x="143" y="17"/>
                    <a:pt x="129" y="21"/>
                    <a:pt x="125" y="28"/>
                  </a:cubicBezTo>
                  <a:cubicBezTo>
                    <a:pt x="125" y="29"/>
                    <a:pt x="125" y="31"/>
                    <a:pt x="125" y="32"/>
                  </a:cubicBezTo>
                  <a:cubicBezTo>
                    <a:pt x="124" y="32"/>
                    <a:pt x="123" y="32"/>
                    <a:pt x="122" y="32"/>
                  </a:cubicBezTo>
                  <a:cubicBezTo>
                    <a:pt x="120" y="32"/>
                    <a:pt x="117" y="32"/>
                    <a:pt x="115" y="33"/>
                  </a:cubicBezTo>
                  <a:cubicBezTo>
                    <a:pt x="115" y="31"/>
                    <a:pt x="115" y="31"/>
                    <a:pt x="115" y="31"/>
                  </a:cubicBezTo>
                  <a:cubicBezTo>
                    <a:pt x="115" y="29"/>
                    <a:pt x="114" y="27"/>
                    <a:pt x="113" y="26"/>
                  </a:cubicBezTo>
                  <a:cubicBezTo>
                    <a:pt x="113" y="26"/>
                    <a:pt x="114" y="25"/>
                    <a:pt x="114" y="24"/>
                  </a:cubicBezTo>
                  <a:cubicBezTo>
                    <a:pt x="114" y="22"/>
                    <a:pt x="114" y="22"/>
                    <a:pt x="114" y="22"/>
                  </a:cubicBezTo>
                  <a:cubicBezTo>
                    <a:pt x="114" y="21"/>
                    <a:pt x="113" y="21"/>
                    <a:pt x="113" y="21"/>
                  </a:cubicBezTo>
                  <a:cubicBezTo>
                    <a:pt x="115" y="19"/>
                    <a:pt x="116" y="18"/>
                    <a:pt x="116" y="16"/>
                  </a:cubicBezTo>
                  <a:cubicBezTo>
                    <a:pt x="116" y="15"/>
                    <a:pt x="116" y="15"/>
                    <a:pt x="116" y="15"/>
                  </a:cubicBezTo>
                  <a:cubicBezTo>
                    <a:pt x="116" y="14"/>
                    <a:pt x="116" y="10"/>
                    <a:pt x="113" y="9"/>
                  </a:cubicBezTo>
                  <a:lnTo>
                    <a:pt x="199" y="9"/>
                  </a:lnTo>
                  <a:close/>
                  <a:moveTo>
                    <a:pt x="149" y="83"/>
                  </a:moveTo>
                  <a:cubicBezTo>
                    <a:pt x="148" y="84"/>
                    <a:pt x="146" y="86"/>
                    <a:pt x="143" y="86"/>
                  </a:cubicBezTo>
                  <a:cubicBezTo>
                    <a:pt x="138" y="87"/>
                    <a:pt x="133" y="86"/>
                    <a:pt x="128" y="84"/>
                  </a:cubicBezTo>
                  <a:cubicBezTo>
                    <a:pt x="118" y="80"/>
                    <a:pt x="112" y="74"/>
                    <a:pt x="113" y="70"/>
                  </a:cubicBezTo>
                  <a:cubicBezTo>
                    <a:pt x="114" y="69"/>
                    <a:pt x="115" y="68"/>
                    <a:pt x="116" y="68"/>
                  </a:cubicBezTo>
                  <a:cubicBezTo>
                    <a:pt x="119" y="69"/>
                    <a:pt x="122" y="71"/>
                    <a:pt x="126" y="72"/>
                  </a:cubicBezTo>
                  <a:cubicBezTo>
                    <a:pt x="131" y="74"/>
                    <a:pt x="135" y="75"/>
                    <a:pt x="140" y="75"/>
                  </a:cubicBezTo>
                  <a:cubicBezTo>
                    <a:pt x="141" y="75"/>
                    <a:pt x="142" y="75"/>
                    <a:pt x="143" y="75"/>
                  </a:cubicBezTo>
                  <a:cubicBezTo>
                    <a:pt x="143" y="75"/>
                    <a:pt x="144" y="75"/>
                    <a:pt x="144" y="75"/>
                  </a:cubicBezTo>
                  <a:cubicBezTo>
                    <a:pt x="148" y="77"/>
                    <a:pt x="150" y="81"/>
                    <a:pt x="149" y="83"/>
                  </a:cubicBezTo>
                  <a:close/>
                  <a:moveTo>
                    <a:pt x="149" y="100"/>
                  </a:moveTo>
                  <a:cubicBezTo>
                    <a:pt x="148" y="102"/>
                    <a:pt x="146" y="103"/>
                    <a:pt x="143" y="104"/>
                  </a:cubicBezTo>
                  <a:cubicBezTo>
                    <a:pt x="138" y="104"/>
                    <a:pt x="133" y="103"/>
                    <a:pt x="128" y="102"/>
                  </a:cubicBezTo>
                  <a:cubicBezTo>
                    <a:pt x="118" y="98"/>
                    <a:pt x="112" y="91"/>
                    <a:pt x="113" y="88"/>
                  </a:cubicBezTo>
                  <a:cubicBezTo>
                    <a:pt x="114" y="86"/>
                    <a:pt x="115" y="86"/>
                    <a:pt x="117" y="85"/>
                  </a:cubicBezTo>
                  <a:cubicBezTo>
                    <a:pt x="119" y="87"/>
                    <a:pt x="123" y="88"/>
                    <a:pt x="126" y="90"/>
                  </a:cubicBezTo>
                  <a:cubicBezTo>
                    <a:pt x="131" y="91"/>
                    <a:pt x="136" y="92"/>
                    <a:pt x="140" y="92"/>
                  </a:cubicBezTo>
                  <a:cubicBezTo>
                    <a:pt x="141" y="92"/>
                    <a:pt x="142" y="92"/>
                    <a:pt x="143" y="92"/>
                  </a:cubicBezTo>
                  <a:cubicBezTo>
                    <a:pt x="144" y="92"/>
                    <a:pt x="144" y="92"/>
                    <a:pt x="144" y="92"/>
                  </a:cubicBezTo>
                  <a:cubicBezTo>
                    <a:pt x="148" y="95"/>
                    <a:pt x="150" y="98"/>
                    <a:pt x="149" y="100"/>
                  </a:cubicBezTo>
                  <a:close/>
                  <a:moveTo>
                    <a:pt x="148" y="65"/>
                  </a:moveTo>
                  <a:cubicBezTo>
                    <a:pt x="148" y="67"/>
                    <a:pt x="146" y="68"/>
                    <a:pt x="142" y="69"/>
                  </a:cubicBezTo>
                  <a:cubicBezTo>
                    <a:pt x="138" y="69"/>
                    <a:pt x="133" y="69"/>
                    <a:pt x="128" y="67"/>
                  </a:cubicBezTo>
                  <a:cubicBezTo>
                    <a:pt x="118" y="63"/>
                    <a:pt x="112" y="56"/>
                    <a:pt x="113" y="53"/>
                  </a:cubicBezTo>
                  <a:cubicBezTo>
                    <a:pt x="114" y="51"/>
                    <a:pt x="115" y="50"/>
                    <a:pt x="118" y="50"/>
                  </a:cubicBezTo>
                  <a:cubicBezTo>
                    <a:pt x="120" y="51"/>
                    <a:pt x="122" y="52"/>
                    <a:pt x="125" y="53"/>
                  </a:cubicBezTo>
                  <a:cubicBezTo>
                    <a:pt x="128" y="54"/>
                    <a:pt x="130" y="55"/>
                    <a:pt x="133" y="55"/>
                  </a:cubicBezTo>
                  <a:cubicBezTo>
                    <a:pt x="133" y="56"/>
                    <a:pt x="133" y="56"/>
                    <a:pt x="133" y="56"/>
                  </a:cubicBezTo>
                  <a:cubicBezTo>
                    <a:pt x="134" y="57"/>
                    <a:pt x="135" y="57"/>
                    <a:pt x="135" y="57"/>
                  </a:cubicBezTo>
                  <a:cubicBezTo>
                    <a:pt x="135" y="57"/>
                    <a:pt x="135" y="57"/>
                    <a:pt x="135" y="57"/>
                  </a:cubicBezTo>
                  <a:cubicBezTo>
                    <a:pt x="136" y="57"/>
                    <a:pt x="137" y="57"/>
                    <a:pt x="137" y="56"/>
                  </a:cubicBezTo>
                  <a:cubicBezTo>
                    <a:pt x="138" y="55"/>
                    <a:pt x="138" y="55"/>
                    <a:pt x="138" y="55"/>
                  </a:cubicBezTo>
                  <a:cubicBezTo>
                    <a:pt x="139" y="55"/>
                    <a:pt x="139" y="55"/>
                    <a:pt x="140" y="55"/>
                  </a:cubicBezTo>
                  <a:cubicBezTo>
                    <a:pt x="147" y="58"/>
                    <a:pt x="149" y="63"/>
                    <a:pt x="148" y="65"/>
                  </a:cubicBezTo>
                  <a:close/>
                  <a:moveTo>
                    <a:pt x="116" y="39"/>
                  </a:moveTo>
                  <a:cubicBezTo>
                    <a:pt x="116" y="37"/>
                    <a:pt x="119" y="36"/>
                    <a:pt x="122" y="36"/>
                  </a:cubicBezTo>
                  <a:cubicBezTo>
                    <a:pt x="123" y="36"/>
                    <a:pt x="124" y="37"/>
                    <a:pt x="125" y="37"/>
                  </a:cubicBezTo>
                  <a:cubicBezTo>
                    <a:pt x="126" y="41"/>
                    <a:pt x="128" y="46"/>
                    <a:pt x="130" y="50"/>
                  </a:cubicBezTo>
                  <a:cubicBezTo>
                    <a:pt x="129" y="50"/>
                    <a:pt x="128" y="50"/>
                    <a:pt x="127" y="49"/>
                  </a:cubicBezTo>
                  <a:cubicBezTo>
                    <a:pt x="123" y="48"/>
                    <a:pt x="120" y="46"/>
                    <a:pt x="118" y="44"/>
                  </a:cubicBezTo>
                  <a:cubicBezTo>
                    <a:pt x="116" y="42"/>
                    <a:pt x="115" y="40"/>
                    <a:pt x="116" y="39"/>
                  </a:cubicBezTo>
                  <a:close/>
                  <a:moveTo>
                    <a:pt x="113" y="99"/>
                  </a:moveTo>
                  <a:cubicBezTo>
                    <a:pt x="116" y="102"/>
                    <a:pt x="121" y="105"/>
                    <a:pt x="126" y="107"/>
                  </a:cubicBezTo>
                  <a:cubicBezTo>
                    <a:pt x="130" y="108"/>
                    <a:pt x="133" y="109"/>
                    <a:pt x="136" y="110"/>
                  </a:cubicBezTo>
                  <a:cubicBezTo>
                    <a:pt x="139" y="113"/>
                    <a:pt x="140" y="116"/>
                    <a:pt x="139" y="118"/>
                  </a:cubicBezTo>
                  <a:cubicBezTo>
                    <a:pt x="138" y="120"/>
                    <a:pt x="135" y="121"/>
                    <a:pt x="132" y="120"/>
                  </a:cubicBezTo>
                  <a:cubicBezTo>
                    <a:pt x="128" y="120"/>
                    <a:pt x="123" y="118"/>
                    <a:pt x="118" y="115"/>
                  </a:cubicBezTo>
                  <a:cubicBezTo>
                    <a:pt x="115" y="113"/>
                    <a:pt x="112" y="111"/>
                    <a:pt x="110" y="109"/>
                  </a:cubicBezTo>
                  <a:cubicBezTo>
                    <a:pt x="112" y="105"/>
                    <a:pt x="113" y="102"/>
                    <a:pt x="113" y="99"/>
                  </a:cubicBezTo>
                  <a:close/>
                  <a:moveTo>
                    <a:pt x="91" y="187"/>
                  </a:moveTo>
                  <a:cubicBezTo>
                    <a:pt x="92" y="187"/>
                    <a:pt x="95" y="189"/>
                    <a:pt x="97" y="191"/>
                  </a:cubicBezTo>
                  <a:cubicBezTo>
                    <a:pt x="95" y="192"/>
                    <a:pt x="94" y="194"/>
                    <a:pt x="94" y="194"/>
                  </a:cubicBezTo>
                  <a:cubicBezTo>
                    <a:pt x="92" y="193"/>
                    <a:pt x="90" y="191"/>
                    <a:pt x="88" y="190"/>
                  </a:cubicBezTo>
                  <a:cubicBezTo>
                    <a:pt x="89" y="189"/>
                    <a:pt x="89" y="187"/>
                    <a:pt x="91" y="187"/>
                  </a:cubicBezTo>
                  <a:close/>
                  <a:moveTo>
                    <a:pt x="91" y="169"/>
                  </a:moveTo>
                  <a:cubicBezTo>
                    <a:pt x="94" y="167"/>
                    <a:pt x="96" y="166"/>
                    <a:pt x="98" y="170"/>
                  </a:cubicBezTo>
                  <a:cubicBezTo>
                    <a:pt x="100" y="173"/>
                    <a:pt x="102" y="175"/>
                    <a:pt x="105" y="177"/>
                  </a:cubicBezTo>
                  <a:cubicBezTo>
                    <a:pt x="105" y="178"/>
                    <a:pt x="108" y="178"/>
                    <a:pt x="109" y="178"/>
                  </a:cubicBezTo>
                  <a:cubicBezTo>
                    <a:pt x="111" y="175"/>
                    <a:pt x="113" y="173"/>
                    <a:pt x="115" y="170"/>
                  </a:cubicBezTo>
                  <a:cubicBezTo>
                    <a:pt x="117" y="169"/>
                    <a:pt x="119" y="167"/>
                    <a:pt x="120" y="168"/>
                  </a:cubicBezTo>
                  <a:cubicBezTo>
                    <a:pt x="122" y="169"/>
                    <a:pt x="124" y="171"/>
                    <a:pt x="124" y="172"/>
                  </a:cubicBezTo>
                  <a:cubicBezTo>
                    <a:pt x="124" y="175"/>
                    <a:pt x="124" y="179"/>
                    <a:pt x="122" y="181"/>
                  </a:cubicBezTo>
                  <a:cubicBezTo>
                    <a:pt x="114" y="190"/>
                    <a:pt x="95" y="186"/>
                    <a:pt x="90" y="180"/>
                  </a:cubicBezTo>
                  <a:cubicBezTo>
                    <a:pt x="87" y="176"/>
                    <a:pt x="88" y="171"/>
                    <a:pt x="91" y="169"/>
                  </a:cubicBezTo>
                  <a:close/>
                  <a:moveTo>
                    <a:pt x="95" y="199"/>
                  </a:moveTo>
                  <a:cubicBezTo>
                    <a:pt x="96" y="198"/>
                    <a:pt x="98" y="197"/>
                    <a:pt x="99" y="196"/>
                  </a:cubicBezTo>
                  <a:cubicBezTo>
                    <a:pt x="104" y="193"/>
                    <a:pt x="109" y="193"/>
                    <a:pt x="114" y="196"/>
                  </a:cubicBezTo>
                  <a:cubicBezTo>
                    <a:pt x="115" y="197"/>
                    <a:pt x="117" y="198"/>
                    <a:pt x="118" y="199"/>
                  </a:cubicBezTo>
                  <a:cubicBezTo>
                    <a:pt x="95" y="199"/>
                    <a:pt x="95" y="199"/>
                    <a:pt x="95" y="199"/>
                  </a:cubicBezTo>
                  <a:close/>
                  <a:moveTo>
                    <a:pt x="117" y="192"/>
                  </a:moveTo>
                  <a:cubicBezTo>
                    <a:pt x="119" y="190"/>
                    <a:pt x="120" y="188"/>
                    <a:pt x="122" y="187"/>
                  </a:cubicBezTo>
                  <a:cubicBezTo>
                    <a:pt x="124" y="187"/>
                    <a:pt x="124" y="188"/>
                    <a:pt x="127" y="190"/>
                  </a:cubicBezTo>
                  <a:cubicBezTo>
                    <a:pt x="124" y="192"/>
                    <a:pt x="122" y="193"/>
                    <a:pt x="120" y="194"/>
                  </a:cubicBezTo>
                  <a:cubicBezTo>
                    <a:pt x="120" y="194"/>
                    <a:pt x="118" y="192"/>
                    <a:pt x="117" y="192"/>
                  </a:cubicBezTo>
                  <a:close/>
                  <a:moveTo>
                    <a:pt x="124" y="199"/>
                  </a:moveTo>
                  <a:cubicBezTo>
                    <a:pt x="127" y="197"/>
                    <a:pt x="129" y="195"/>
                    <a:pt x="131" y="190"/>
                  </a:cubicBezTo>
                  <a:cubicBezTo>
                    <a:pt x="131" y="187"/>
                    <a:pt x="132" y="180"/>
                    <a:pt x="136" y="179"/>
                  </a:cubicBezTo>
                  <a:cubicBezTo>
                    <a:pt x="142" y="173"/>
                    <a:pt x="152" y="165"/>
                    <a:pt x="149" y="158"/>
                  </a:cubicBezTo>
                  <a:cubicBezTo>
                    <a:pt x="149" y="155"/>
                    <a:pt x="148" y="151"/>
                    <a:pt x="146" y="148"/>
                  </a:cubicBezTo>
                  <a:cubicBezTo>
                    <a:pt x="140" y="139"/>
                    <a:pt x="129" y="138"/>
                    <a:pt x="121" y="145"/>
                  </a:cubicBezTo>
                  <a:cubicBezTo>
                    <a:pt x="118" y="147"/>
                    <a:pt x="116" y="150"/>
                    <a:pt x="113" y="153"/>
                  </a:cubicBezTo>
                  <a:cubicBezTo>
                    <a:pt x="108" y="158"/>
                    <a:pt x="105" y="158"/>
                    <a:pt x="100" y="153"/>
                  </a:cubicBezTo>
                  <a:cubicBezTo>
                    <a:pt x="98" y="150"/>
                    <a:pt x="95" y="147"/>
                    <a:pt x="92" y="145"/>
                  </a:cubicBezTo>
                  <a:cubicBezTo>
                    <a:pt x="84" y="138"/>
                    <a:pt x="73" y="139"/>
                    <a:pt x="67" y="149"/>
                  </a:cubicBezTo>
                  <a:cubicBezTo>
                    <a:pt x="62" y="157"/>
                    <a:pt x="63" y="163"/>
                    <a:pt x="69" y="169"/>
                  </a:cubicBezTo>
                  <a:cubicBezTo>
                    <a:pt x="71" y="172"/>
                    <a:pt x="72" y="174"/>
                    <a:pt x="74" y="177"/>
                  </a:cubicBezTo>
                  <a:cubicBezTo>
                    <a:pt x="81" y="181"/>
                    <a:pt x="82" y="186"/>
                    <a:pt x="83" y="190"/>
                  </a:cubicBezTo>
                  <a:cubicBezTo>
                    <a:pt x="84" y="195"/>
                    <a:pt x="86" y="197"/>
                    <a:pt x="89" y="199"/>
                  </a:cubicBezTo>
                  <a:cubicBezTo>
                    <a:pt x="10" y="199"/>
                    <a:pt x="10" y="199"/>
                    <a:pt x="10" y="199"/>
                  </a:cubicBezTo>
                  <a:cubicBezTo>
                    <a:pt x="10" y="9"/>
                    <a:pt x="10" y="9"/>
                    <a:pt x="10" y="9"/>
                  </a:cubicBezTo>
                  <a:cubicBezTo>
                    <a:pt x="100" y="9"/>
                    <a:pt x="100" y="9"/>
                    <a:pt x="100" y="9"/>
                  </a:cubicBezTo>
                  <a:cubicBezTo>
                    <a:pt x="100" y="9"/>
                    <a:pt x="99" y="10"/>
                    <a:pt x="99" y="11"/>
                  </a:cubicBezTo>
                  <a:cubicBezTo>
                    <a:pt x="99" y="12"/>
                    <a:pt x="100" y="13"/>
                    <a:pt x="101" y="14"/>
                  </a:cubicBezTo>
                  <a:cubicBezTo>
                    <a:pt x="101" y="14"/>
                    <a:pt x="110" y="14"/>
                    <a:pt x="110" y="14"/>
                  </a:cubicBezTo>
                  <a:cubicBezTo>
                    <a:pt x="110" y="14"/>
                    <a:pt x="110" y="14"/>
                    <a:pt x="110" y="14"/>
                  </a:cubicBezTo>
                  <a:cubicBezTo>
                    <a:pt x="110" y="16"/>
                    <a:pt x="110" y="16"/>
                    <a:pt x="110" y="16"/>
                  </a:cubicBezTo>
                  <a:cubicBezTo>
                    <a:pt x="110" y="16"/>
                    <a:pt x="110" y="16"/>
                    <a:pt x="110" y="16"/>
                  </a:cubicBezTo>
                  <a:cubicBezTo>
                    <a:pt x="103" y="16"/>
                    <a:pt x="103" y="16"/>
                    <a:pt x="103" y="16"/>
                  </a:cubicBezTo>
                  <a:cubicBezTo>
                    <a:pt x="101" y="16"/>
                    <a:pt x="100" y="17"/>
                    <a:pt x="100" y="19"/>
                  </a:cubicBezTo>
                  <a:cubicBezTo>
                    <a:pt x="100" y="20"/>
                    <a:pt x="101" y="22"/>
                    <a:pt x="103" y="22"/>
                  </a:cubicBezTo>
                  <a:cubicBezTo>
                    <a:pt x="108" y="22"/>
                    <a:pt x="108" y="22"/>
                    <a:pt x="108" y="22"/>
                  </a:cubicBezTo>
                  <a:cubicBezTo>
                    <a:pt x="108" y="22"/>
                    <a:pt x="108" y="22"/>
                    <a:pt x="108" y="22"/>
                  </a:cubicBezTo>
                  <a:cubicBezTo>
                    <a:pt x="108" y="24"/>
                    <a:pt x="108" y="24"/>
                    <a:pt x="108" y="24"/>
                  </a:cubicBezTo>
                  <a:cubicBezTo>
                    <a:pt x="104" y="24"/>
                    <a:pt x="104" y="24"/>
                    <a:pt x="104" y="24"/>
                  </a:cubicBezTo>
                  <a:cubicBezTo>
                    <a:pt x="103" y="24"/>
                    <a:pt x="102" y="24"/>
                    <a:pt x="101" y="25"/>
                  </a:cubicBezTo>
                  <a:cubicBezTo>
                    <a:pt x="99" y="26"/>
                    <a:pt x="97" y="29"/>
                    <a:pt x="97" y="31"/>
                  </a:cubicBezTo>
                  <a:cubicBezTo>
                    <a:pt x="97" y="33"/>
                    <a:pt x="97" y="33"/>
                    <a:pt x="97" y="33"/>
                  </a:cubicBezTo>
                  <a:cubicBezTo>
                    <a:pt x="96" y="32"/>
                    <a:pt x="93" y="32"/>
                    <a:pt x="91" y="32"/>
                  </a:cubicBezTo>
                  <a:cubicBezTo>
                    <a:pt x="89" y="32"/>
                    <a:pt x="87" y="32"/>
                    <a:pt x="85" y="33"/>
                  </a:cubicBezTo>
                  <a:cubicBezTo>
                    <a:pt x="85" y="31"/>
                    <a:pt x="85" y="29"/>
                    <a:pt x="85" y="28"/>
                  </a:cubicBezTo>
                  <a:cubicBezTo>
                    <a:pt x="81" y="21"/>
                    <a:pt x="67" y="17"/>
                    <a:pt x="65" y="17"/>
                  </a:cubicBezTo>
                  <a:cubicBezTo>
                    <a:pt x="65" y="17"/>
                    <a:pt x="65" y="17"/>
                    <a:pt x="65" y="17"/>
                  </a:cubicBezTo>
                  <a:cubicBezTo>
                    <a:pt x="65" y="17"/>
                    <a:pt x="64" y="17"/>
                    <a:pt x="63" y="17"/>
                  </a:cubicBezTo>
                  <a:cubicBezTo>
                    <a:pt x="61" y="17"/>
                    <a:pt x="56" y="17"/>
                    <a:pt x="54" y="21"/>
                  </a:cubicBezTo>
                  <a:cubicBezTo>
                    <a:pt x="52" y="23"/>
                    <a:pt x="52" y="26"/>
                    <a:pt x="54" y="30"/>
                  </a:cubicBezTo>
                  <a:cubicBezTo>
                    <a:pt x="54" y="31"/>
                    <a:pt x="54" y="31"/>
                    <a:pt x="54" y="31"/>
                  </a:cubicBezTo>
                  <a:cubicBezTo>
                    <a:pt x="54" y="31"/>
                    <a:pt x="53" y="30"/>
                    <a:pt x="53" y="30"/>
                  </a:cubicBezTo>
                  <a:cubicBezTo>
                    <a:pt x="52" y="30"/>
                    <a:pt x="50" y="31"/>
                    <a:pt x="49" y="31"/>
                  </a:cubicBezTo>
                  <a:cubicBezTo>
                    <a:pt x="48" y="32"/>
                    <a:pt x="46" y="32"/>
                    <a:pt x="45" y="32"/>
                  </a:cubicBezTo>
                  <a:cubicBezTo>
                    <a:pt x="41" y="32"/>
                    <a:pt x="40" y="34"/>
                    <a:pt x="41" y="38"/>
                  </a:cubicBezTo>
                  <a:cubicBezTo>
                    <a:pt x="42" y="41"/>
                    <a:pt x="42" y="45"/>
                    <a:pt x="42" y="48"/>
                  </a:cubicBezTo>
                  <a:cubicBezTo>
                    <a:pt x="42" y="57"/>
                    <a:pt x="41" y="66"/>
                    <a:pt x="40" y="74"/>
                  </a:cubicBezTo>
                  <a:cubicBezTo>
                    <a:pt x="39" y="83"/>
                    <a:pt x="40" y="91"/>
                    <a:pt x="33" y="99"/>
                  </a:cubicBezTo>
                  <a:cubicBezTo>
                    <a:pt x="32" y="100"/>
                    <a:pt x="33" y="102"/>
                    <a:pt x="34" y="103"/>
                  </a:cubicBezTo>
                  <a:cubicBezTo>
                    <a:pt x="34" y="104"/>
                    <a:pt x="36" y="104"/>
                    <a:pt x="37" y="104"/>
                  </a:cubicBezTo>
                  <a:cubicBezTo>
                    <a:pt x="39" y="102"/>
                    <a:pt x="41" y="101"/>
                    <a:pt x="44" y="103"/>
                  </a:cubicBezTo>
                  <a:cubicBezTo>
                    <a:pt x="44" y="103"/>
                    <a:pt x="45" y="103"/>
                    <a:pt x="45" y="103"/>
                  </a:cubicBezTo>
                  <a:cubicBezTo>
                    <a:pt x="48" y="103"/>
                    <a:pt x="48" y="101"/>
                    <a:pt x="47" y="99"/>
                  </a:cubicBezTo>
                  <a:cubicBezTo>
                    <a:pt x="47" y="95"/>
                    <a:pt x="46" y="91"/>
                    <a:pt x="46" y="87"/>
                  </a:cubicBezTo>
                  <a:cubicBezTo>
                    <a:pt x="47" y="73"/>
                    <a:pt x="48" y="59"/>
                    <a:pt x="49" y="45"/>
                  </a:cubicBezTo>
                  <a:cubicBezTo>
                    <a:pt x="49" y="41"/>
                    <a:pt x="50" y="38"/>
                    <a:pt x="54" y="37"/>
                  </a:cubicBezTo>
                  <a:cubicBezTo>
                    <a:pt x="55" y="36"/>
                    <a:pt x="56" y="34"/>
                    <a:pt x="56" y="33"/>
                  </a:cubicBezTo>
                  <a:cubicBezTo>
                    <a:pt x="56" y="33"/>
                    <a:pt x="56" y="33"/>
                    <a:pt x="56" y="33"/>
                  </a:cubicBezTo>
                  <a:cubicBezTo>
                    <a:pt x="62" y="40"/>
                    <a:pt x="62" y="40"/>
                    <a:pt x="62" y="40"/>
                  </a:cubicBezTo>
                  <a:cubicBezTo>
                    <a:pt x="67" y="47"/>
                    <a:pt x="67" y="47"/>
                    <a:pt x="67" y="47"/>
                  </a:cubicBezTo>
                  <a:cubicBezTo>
                    <a:pt x="67" y="48"/>
                    <a:pt x="67" y="49"/>
                    <a:pt x="67" y="50"/>
                  </a:cubicBezTo>
                  <a:cubicBezTo>
                    <a:pt x="67" y="50"/>
                    <a:pt x="67" y="50"/>
                    <a:pt x="68" y="51"/>
                  </a:cubicBezTo>
                  <a:cubicBezTo>
                    <a:pt x="60" y="56"/>
                    <a:pt x="57" y="62"/>
                    <a:pt x="59" y="68"/>
                  </a:cubicBezTo>
                  <a:cubicBezTo>
                    <a:pt x="59" y="69"/>
                    <a:pt x="61" y="71"/>
                    <a:pt x="63" y="72"/>
                  </a:cubicBezTo>
                  <a:cubicBezTo>
                    <a:pt x="59" y="76"/>
                    <a:pt x="57" y="81"/>
                    <a:pt x="59" y="85"/>
                  </a:cubicBezTo>
                  <a:cubicBezTo>
                    <a:pt x="59" y="87"/>
                    <a:pt x="61" y="88"/>
                    <a:pt x="63" y="90"/>
                  </a:cubicBezTo>
                  <a:cubicBezTo>
                    <a:pt x="59" y="94"/>
                    <a:pt x="57" y="98"/>
                    <a:pt x="59" y="102"/>
                  </a:cubicBezTo>
                  <a:cubicBezTo>
                    <a:pt x="60" y="106"/>
                    <a:pt x="64" y="109"/>
                    <a:pt x="70" y="110"/>
                  </a:cubicBezTo>
                  <a:cubicBezTo>
                    <a:pt x="70" y="110"/>
                    <a:pt x="70" y="110"/>
                    <a:pt x="70" y="110"/>
                  </a:cubicBezTo>
                  <a:cubicBezTo>
                    <a:pt x="67" y="114"/>
                    <a:pt x="67" y="118"/>
                    <a:pt x="69" y="121"/>
                  </a:cubicBezTo>
                  <a:cubicBezTo>
                    <a:pt x="71" y="125"/>
                    <a:pt x="75" y="126"/>
                    <a:pt x="80" y="126"/>
                  </a:cubicBezTo>
                  <a:cubicBezTo>
                    <a:pt x="80" y="126"/>
                    <a:pt x="81" y="126"/>
                    <a:pt x="81" y="126"/>
                  </a:cubicBezTo>
                  <a:cubicBezTo>
                    <a:pt x="87" y="126"/>
                    <a:pt x="92" y="124"/>
                    <a:pt x="98" y="121"/>
                  </a:cubicBezTo>
                  <a:cubicBezTo>
                    <a:pt x="99" y="120"/>
                    <a:pt x="100" y="119"/>
                    <a:pt x="101" y="118"/>
                  </a:cubicBezTo>
                  <a:cubicBezTo>
                    <a:pt x="101" y="118"/>
                    <a:pt x="101" y="118"/>
                    <a:pt x="101" y="118"/>
                  </a:cubicBezTo>
                  <a:cubicBezTo>
                    <a:pt x="112" y="118"/>
                    <a:pt x="112" y="118"/>
                    <a:pt x="112" y="118"/>
                  </a:cubicBezTo>
                  <a:cubicBezTo>
                    <a:pt x="112" y="118"/>
                    <a:pt x="112" y="118"/>
                    <a:pt x="112" y="118"/>
                  </a:cubicBezTo>
                  <a:cubicBezTo>
                    <a:pt x="112" y="118"/>
                    <a:pt x="113" y="119"/>
                    <a:pt x="113" y="119"/>
                  </a:cubicBezTo>
                  <a:cubicBezTo>
                    <a:pt x="113" y="119"/>
                    <a:pt x="113" y="120"/>
                    <a:pt x="113" y="120"/>
                  </a:cubicBezTo>
                  <a:cubicBezTo>
                    <a:pt x="113" y="121"/>
                    <a:pt x="113" y="121"/>
                    <a:pt x="113" y="121"/>
                  </a:cubicBezTo>
                  <a:cubicBezTo>
                    <a:pt x="113" y="122"/>
                    <a:pt x="112" y="123"/>
                    <a:pt x="112" y="123"/>
                  </a:cubicBezTo>
                  <a:cubicBezTo>
                    <a:pt x="101" y="123"/>
                    <a:pt x="101" y="123"/>
                    <a:pt x="101" y="123"/>
                  </a:cubicBezTo>
                  <a:cubicBezTo>
                    <a:pt x="100" y="123"/>
                    <a:pt x="99" y="124"/>
                    <a:pt x="99" y="125"/>
                  </a:cubicBezTo>
                  <a:cubicBezTo>
                    <a:pt x="99" y="126"/>
                    <a:pt x="99" y="127"/>
                    <a:pt x="100" y="127"/>
                  </a:cubicBezTo>
                  <a:cubicBezTo>
                    <a:pt x="100" y="128"/>
                    <a:pt x="101" y="129"/>
                    <a:pt x="102" y="129"/>
                  </a:cubicBezTo>
                  <a:cubicBezTo>
                    <a:pt x="111" y="129"/>
                    <a:pt x="111" y="129"/>
                    <a:pt x="111" y="129"/>
                  </a:cubicBezTo>
                  <a:cubicBezTo>
                    <a:pt x="112" y="129"/>
                    <a:pt x="112" y="130"/>
                    <a:pt x="112" y="130"/>
                  </a:cubicBezTo>
                  <a:cubicBezTo>
                    <a:pt x="112" y="131"/>
                    <a:pt x="112" y="131"/>
                    <a:pt x="112" y="131"/>
                  </a:cubicBezTo>
                  <a:cubicBezTo>
                    <a:pt x="112" y="132"/>
                    <a:pt x="112" y="132"/>
                    <a:pt x="111" y="132"/>
                  </a:cubicBezTo>
                  <a:cubicBezTo>
                    <a:pt x="102" y="132"/>
                    <a:pt x="102" y="132"/>
                    <a:pt x="102" y="132"/>
                  </a:cubicBezTo>
                  <a:cubicBezTo>
                    <a:pt x="100" y="132"/>
                    <a:pt x="99" y="134"/>
                    <a:pt x="99" y="135"/>
                  </a:cubicBezTo>
                  <a:cubicBezTo>
                    <a:pt x="99" y="136"/>
                    <a:pt x="100" y="137"/>
                    <a:pt x="101" y="138"/>
                  </a:cubicBezTo>
                  <a:cubicBezTo>
                    <a:pt x="101" y="138"/>
                    <a:pt x="102" y="139"/>
                    <a:pt x="103" y="139"/>
                  </a:cubicBezTo>
                  <a:cubicBezTo>
                    <a:pt x="110" y="139"/>
                    <a:pt x="110" y="139"/>
                    <a:pt x="110" y="139"/>
                  </a:cubicBezTo>
                  <a:cubicBezTo>
                    <a:pt x="110" y="139"/>
                    <a:pt x="110" y="139"/>
                    <a:pt x="110" y="139"/>
                  </a:cubicBezTo>
                  <a:cubicBezTo>
                    <a:pt x="110" y="140"/>
                    <a:pt x="110" y="140"/>
                    <a:pt x="110" y="140"/>
                  </a:cubicBezTo>
                  <a:cubicBezTo>
                    <a:pt x="110" y="140"/>
                    <a:pt x="110" y="140"/>
                    <a:pt x="110" y="140"/>
                  </a:cubicBezTo>
                  <a:cubicBezTo>
                    <a:pt x="103" y="140"/>
                    <a:pt x="103" y="140"/>
                    <a:pt x="103" y="140"/>
                  </a:cubicBezTo>
                  <a:cubicBezTo>
                    <a:pt x="101" y="140"/>
                    <a:pt x="100" y="141"/>
                    <a:pt x="100" y="143"/>
                  </a:cubicBezTo>
                  <a:cubicBezTo>
                    <a:pt x="100" y="144"/>
                    <a:pt x="101" y="146"/>
                    <a:pt x="103" y="146"/>
                  </a:cubicBezTo>
                  <a:cubicBezTo>
                    <a:pt x="108" y="146"/>
                    <a:pt x="108" y="146"/>
                    <a:pt x="108" y="146"/>
                  </a:cubicBezTo>
                  <a:cubicBezTo>
                    <a:pt x="108" y="146"/>
                    <a:pt x="108" y="146"/>
                    <a:pt x="108" y="146"/>
                  </a:cubicBezTo>
                  <a:cubicBezTo>
                    <a:pt x="108" y="148"/>
                    <a:pt x="108" y="148"/>
                    <a:pt x="108" y="148"/>
                  </a:cubicBezTo>
                  <a:cubicBezTo>
                    <a:pt x="104" y="148"/>
                    <a:pt x="104" y="148"/>
                    <a:pt x="104" y="148"/>
                  </a:cubicBezTo>
                  <a:cubicBezTo>
                    <a:pt x="103" y="148"/>
                    <a:pt x="101" y="149"/>
                    <a:pt x="101" y="150"/>
                  </a:cubicBezTo>
                  <a:cubicBezTo>
                    <a:pt x="101" y="152"/>
                    <a:pt x="103" y="153"/>
                    <a:pt x="104" y="153"/>
                  </a:cubicBezTo>
                  <a:cubicBezTo>
                    <a:pt x="109" y="153"/>
                    <a:pt x="109" y="153"/>
                    <a:pt x="109" y="153"/>
                  </a:cubicBezTo>
                  <a:cubicBezTo>
                    <a:pt x="112" y="153"/>
                    <a:pt x="114" y="151"/>
                    <a:pt x="114" y="148"/>
                  </a:cubicBezTo>
                  <a:cubicBezTo>
                    <a:pt x="114" y="146"/>
                    <a:pt x="114" y="146"/>
                    <a:pt x="114" y="146"/>
                  </a:cubicBezTo>
                  <a:cubicBezTo>
                    <a:pt x="114" y="145"/>
                    <a:pt x="114" y="145"/>
                    <a:pt x="113" y="145"/>
                  </a:cubicBezTo>
                  <a:cubicBezTo>
                    <a:pt x="115" y="144"/>
                    <a:pt x="116" y="142"/>
                    <a:pt x="116" y="140"/>
                  </a:cubicBezTo>
                  <a:cubicBezTo>
                    <a:pt x="116" y="139"/>
                    <a:pt x="116" y="139"/>
                    <a:pt x="116" y="139"/>
                  </a:cubicBezTo>
                  <a:cubicBezTo>
                    <a:pt x="116" y="138"/>
                    <a:pt x="116" y="137"/>
                    <a:pt x="115" y="136"/>
                  </a:cubicBezTo>
                  <a:cubicBezTo>
                    <a:pt x="117" y="135"/>
                    <a:pt x="118" y="133"/>
                    <a:pt x="118" y="131"/>
                  </a:cubicBezTo>
                  <a:cubicBezTo>
                    <a:pt x="118" y="130"/>
                    <a:pt x="118" y="130"/>
                    <a:pt x="118" y="130"/>
                  </a:cubicBezTo>
                  <a:cubicBezTo>
                    <a:pt x="118" y="129"/>
                    <a:pt x="117" y="127"/>
                    <a:pt x="116" y="126"/>
                  </a:cubicBezTo>
                  <a:cubicBezTo>
                    <a:pt x="117" y="125"/>
                    <a:pt x="118" y="124"/>
                    <a:pt x="119" y="122"/>
                  </a:cubicBezTo>
                  <a:cubicBezTo>
                    <a:pt x="123" y="125"/>
                    <a:pt x="127" y="126"/>
                    <a:pt x="132" y="126"/>
                  </a:cubicBezTo>
                  <a:cubicBezTo>
                    <a:pt x="132" y="126"/>
                    <a:pt x="133" y="126"/>
                    <a:pt x="133" y="126"/>
                  </a:cubicBezTo>
                  <a:cubicBezTo>
                    <a:pt x="138" y="126"/>
                    <a:pt x="142" y="125"/>
                    <a:pt x="144" y="121"/>
                  </a:cubicBezTo>
                  <a:cubicBezTo>
                    <a:pt x="146" y="118"/>
                    <a:pt x="146" y="114"/>
                    <a:pt x="143" y="110"/>
                  </a:cubicBezTo>
                  <a:cubicBezTo>
                    <a:pt x="143" y="110"/>
                    <a:pt x="143" y="110"/>
                    <a:pt x="143" y="110"/>
                  </a:cubicBezTo>
                  <a:cubicBezTo>
                    <a:pt x="149" y="109"/>
                    <a:pt x="153" y="106"/>
                    <a:pt x="154" y="102"/>
                  </a:cubicBezTo>
                  <a:cubicBezTo>
                    <a:pt x="156" y="98"/>
                    <a:pt x="154" y="94"/>
                    <a:pt x="150" y="90"/>
                  </a:cubicBezTo>
                  <a:cubicBezTo>
                    <a:pt x="152" y="88"/>
                    <a:pt x="154" y="87"/>
                    <a:pt x="154" y="85"/>
                  </a:cubicBezTo>
                  <a:cubicBezTo>
                    <a:pt x="156" y="81"/>
                    <a:pt x="154" y="76"/>
                    <a:pt x="150" y="72"/>
                  </a:cubicBezTo>
                  <a:cubicBezTo>
                    <a:pt x="152" y="71"/>
                    <a:pt x="153" y="69"/>
                    <a:pt x="154" y="68"/>
                  </a:cubicBezTo>
                  <a:cubicBezTo>
                    <a:pt x="156" y="62"/>
                    <a:pt x="153" y="56"/>
                    <a:pt x="145" y="51"/>
                  </a:cubicBezTo>
                  <a:cubicBezTo>
                    <a:pt x="146" y="50"/>
                    <a:pt x="146" y="50"/>
                    <a:pt x="146" y="50"/>
                  </a:cubicBezTo>
                  <a:cubicBezTo>
                    <a:pt x="147" y="48"/>
                    <a:pt x="146" y="46"/>
                    <a:pt x="145" y="44"/>
                  </a:cubicBezTo>
                  <a:cubicBezTo>
                    <a:pt x="148" y="40"/>
                    <a:pt x="148" y="40"/>
                    <a:pt x="148" y="40"/>
                  </a:cubicBezTo>
                  <a:cubicBezTo>
                    <a:pt x="153" y="34"/>
                    <a:pt x="153" y="34"/>
                    <a:pt x="153" y="34"/>
                  </a:cubicBezTo>
                  <a:cubicBezTo>
                    <a:pt x="153" y="35"/>
                    <a:pt x="154" y="36"/>
                    <a:pt x="155" y="37"/>
                  </a:cubicBezTo>
                  <a:cubicBezTo>
                    <a:pt x="159" y="38"/>
                    <a:pt x="160" y="41"/>
                    <a:pt x="160" y="45"/>
                  </a:cubicBezTo>
                  <a:cubicBezTo>
                    <a:pt x="161" y="59"/>
                    <a:pt x="162" y="73"/>
                    <a:pt x="163" y="87"/>
                  </a:cubicBezTo>
                  <a:cubicBezTo>
                    <a:pt x="163" y="91"/>
                    <a:pt x="162" y="95"/>
                    <a:pt x="162" y="99"/>
                  </a:cubicBezTo>
                  <a:cubicBezTo>
                    <a:pt x="161" y="101"/>
                    <a:pt x="161" y="103"/>
                    <a:pt x="164" y="103"/>
                  </a:cubicBezTo>
                  <a:cubicBezTo>
                    <a:pt x="164" y="103"/>
                    <a:pt x="165" y="103"/>
                    <a:pt x="165" y="103"/>
                  </a:cubicBezTo>
                  <a:cubicBezTo>
                    <a:pt x="168" y="101"/>
                    <a:pt x="170" y="102"/>
                    <a:pt x="172" y="104"/>
                  </a:cubicBezTo>
                  <a:cubicBezTo>
                    <a:pt x="173" y="104"/>
                    <a:pt x="175" y="104"/>
                    <a:pt x="175" y="103"/>
                  </a:cubicBezTo>
                  <a:cubicBezTo>
                    <a:pt x="176" y="102"/>
                    <a:pt x="176" y="101"/>
                    <a:pt x="176" y="100"/>
                  </a:cubicBezTo>
                  <a:cubicBezTo>
                    <a:pt x="181" y="106"/>
                    <a:pt x="185" y="111"/>
                    <a:pt x="188" y="116"/>
                  </a:cubicBezTo>
                  <a:cubicBezTo>
                    <a:pt x="192" y="121"/>
                    <a:pt x="196" y="126"/>
                    <a:pt x="199" y="130"/>
                  </a:cubicBezTo>
                  <a:cubicBezTo>
                    <a:pt x="199" y="199"/>
                    <a:pt x="199" y="199"/>
                    <a:pt x="199" y="199"/>
                  </a:cubicBezTo>
                  <a:cubicBezTo>
                    <a:pt x="124" y="199"/>
                    <a:pt x="124" y="199"/>
                    <a:pt x="124" y="199"/>
                  </a:cubicBezTo>
                  <a:close/>
                  <a:moveTo>
                    <a:pt x="88" y="53"/>
                  </a:moveTo>
                  <a:cubicBezTo>
                    <a:pt x="91" y="52"/>
                    <a:pt x="93" y="51"/>
                    <a:pt x="95" y="50"/>
                  </a:cubicBezTo>
                  <a:cubicBezTo>
                    <a:pt x="98" y="50"/>
                    <a:pt x="99" y="51"/>
                    <a:pt x="100" y="53"/>
                  </a:cubicBezTo>
                  <a:cubicBezTo>
                    <a:pt x="101" y="56"/>
                    <a:pt x="95" y="63"/>
                    <a:pt x="85" y="67"/>
                  </a:cubicBezTo>
                  <a:cubicBezTo>
                    <a:pt x="80" y="69"/>
                    <a:pt x="75" y="69"/>
                    <a:pt x="71" y="69"/>
                  </a:cubicBezTo>
                  <a:cubicBezTo>
                    <a:pt x="67" y="68"/>
                    <a:pt x="65" y="67"/>
                    <a:pt x="64" y="65"/>
                  </a:cubicBezTo>
                  <a:cubicBezTo>
                    <a:pt x="64" y="63"/>
                    <a:pt x="66" y="59"/>
                    <a:pt x="72" y="55"/>
                  </a:cubicBezTo>
                  <a:cubicBezTo>
                    <a:pt x="73" y="56"/>
                    <a:pt x="73" y="56"/>
                    <a:pt x="73" y="56"/>
                  </a:cubicBezTo>
                  <a:cubicBezTo>
                    <a:pt x="73" y="57"/>
                    <a:pt x="74" y="57"/>
                    <a:pt x="74" y="57"/>
                  </a:cubicBezTo>
                  <a:cubicBezTo>
                    <a:pt x="74" y="57"/>
                    <a:pt x="74" y="57"/>
                    <a:pt x="75" y="57"/>
                  </a:cubicBezTo>
                  <a:cubicBezTo>
                    <a:pt x="75" y="57"/>
                    <a:pt x="76" y="57"/>
                    <a:pt x="76" y="56"/>
                  </a:cubicBezTo>
                  <a:cubicBezTo>
                    <a:pt x="77" y="56"/>
                    <a:pt x="77" y="56"/>
                    <a:pt x="77" y="55"/>
                  </a:cubicBezTo>
                  <a:cubicBezTo>
                    <a:pt x="77" y="55"/>
                    <a:pt x="78" y="55"/>
                    <a:pt x="78" y="55"/>
                  </a:cubicBezTo>
                  <a:cubicBezTo>
                    <a:pt x="81" y="55"/>
                    <a:pt x="84" y="55"/>
                    <a:pt x="88" y="53"/>
                  </a:cubicBezTo>
                  <a:close/>
                  <a:moveTo>
                    <a:pt x="79" y="51"/>
                  </a:moveTo>
                  <a:cubicBezTo>
                    <a:pt x="81" y="47"/>
                    <a:pt x="83" y="42"/>
                    <a:pt x="85" y="37"/>
                  </a:cubicBezTo>
                  <a:cubicBezTo>
                    <a:pt x="87" y="37"/>
                    <a:pt x="89" y="36"/>
                    <a:pt x="91" y="36"/>
                  </a:cubicBezTo>
                  <a:cubicBezTo>
                    <a:pt x="94" y="36"/>
                    <a:pt x="97" y="37"/>
                    <a:pt x="97" y="39"/>
                  </a:cubicBezTo>
                  <a:cubicBezTo>
                    <a:pt x="98" y="40"/>
                    <a:pt x="97" y="42"/>
                    <a:pt x="95" y="44"/>
                  </a:cubicBezTo>
                  <a:cubicBezTo>
                    <a:pt x="93" y="46"/>
                    <a:pt x="90" y="48"/>
                    <a:pt x="86" y="49"/>
                  </a:cubicBezTo>
                  <a:cubicBezTo>
                    <a:pt x="84" y="50"/>
                    <a:pt x="82" y="51"/>
                    <a:pt x="79" y="51"/>
                  </a:cubicBezTo>
                  <a:close/>
                  <a:moveTo>
                    <a:pt x="69" y="75"/>
                  </a:moveTo>
                  <a:cubicBezTo>
                    <a:pt x="69" y="75"/>
                    <a:pt x="70" y="75"/>
                    <a:pt x="70" y="75"/>
                  </a:cubicBezTo>
                  <a:cubicBezTo>
                    <a:pt x="71" y="75"/>
                    <a:pt x="72" y="75"/>
                    <a:pt x="73" y="75"/>
                  </a:cubicBezTo>
                  <a:cubicBezTo>
                    <a:pt x="78" y="75"/>
                    <a:pt x="82" y="74"/>
                    <a:pt x="87" y="72"/>
                  </a:cubicBezTo>
                  <a:cubicBezTo>
                    <a:pt x="91" y="71"/>
                    <a:pt x="94" y="69"/>
                    <a:pt x="97" y="68"/>
                  </a:cubicBezTo>
                  <a:cubicBezTo>
                    <a:pt x="98" y="68"/>
                    <a:pt x="99" y="69"/>
                    <a:pt x="100" y="70"/>
                  </a:cubicBezTo>
                  <a:cubicBezTo>
                    <a:pt x="101" y="74"/>
                    <a:pt x="95" y="80"/>
                    <a:pt x="85" y="84"/>
                  </a:cubicBezTo>
                  <a:cubicBezTo>
                    <a:pt x="80" y="86"/>
                    <a:pt x="75" y="87"/>
                    <a:pt x="70" y="86"/>
                  </a:cubicBezTo>
                  <a:cubicBezTo>
                    <a:pt x="67" y="86"/>
                    <a:pt x="65" y="84"/>
                    <a:pt x="64" y="83"/>
                  </a:cubicBezTo>
                  <a:cubicBezTo>
                    <a:pt x="63" y="81"/>
                    <a:pt x="65" y="77"/>
                    <a:pt x="69" y="75"/>
                  </a:cubicBezTo>
                  <a:close/>
                  <a:moveTo>
                    <a:pt x="69" y="92"/>
                  </a:moveTo>
                  <a:cubicBezTo>
                    <a:pt x="69" y="92"/>
                    <a:pt x="69" y="92"/>
                    <a:pt x="70" y="92"/>
                  </a:cubicBezTo>
                  <a:cubicBezTo>
                    <a:pt x="71" y="92"/>
                    <a:pt x="72" y="92"/>
                    <a:pt x="73" y="92"/>
                  </a:cubicBezTo>
                  <a:cubicBezTo>
                    <a:pt x="77" y="92"/>
                    <a:pt x="82" y="91"/>
                    <a:pt x="87" y="90"/>
                  </a:cubicBezTo>
                  <a:cubicBezTo>
                    <a:pt x="90" y="88"/>
                    <a:pt x="94" y="87"/>
                    <a:pt x="96" y="85"/>
                  </a:cubicBezTo>
                  <a:cubicBezTo>
                    <a:pt x="98" y="86"/>
                    <a:pt x="99" y="86"/>
                    <a:pt x="100" y="88"/>
                  </a:cubicBezTo>
                  <a:cubicBezTo>
                    <a:pt x="101" y="91"/>
                    <a:pt x="95" y="98"/>
                    <a:pt x="85" y="102"/>
                  </a:cubicBezTo>
                  <a:cubicBezTo>
                    <a:pt x="80" y="103"/>
                    <a:pt x="75" y="104"/>
                    <a:pt x="70" y="104"/>
                  </a:cubicBezTo>
                  <a:cubicBezTo>
                    <a:pt x="67" y="103"/>
                    <a:pt x="65" y="102"/>
                    <a:pt x="64" y="100"/>
                  </a:cubicBezTo>
                  <a:cubicBezTo>
                    <a:pt x="63" y="98"/>
                    <a:pt x="65" y="95"/>
                    <a:pt x="69" y="92"/>
                  </a:cubicBezTo>
                  <a:close/>
                  <a:moveTo>
                    <a:pt x="77" y="110"/>
                  </a:moveTo>
                  <a:cubicBezTo>
                    <a:pt x="80" y="109"/>
                    <a:pt x="83" y="108"/>
                    <a:pt x="87" y="107"/>
                  </a:cubicBezTo>
                  <a:cubicBezTo>
                    <a:pt x="92" y="105"/>
                    <a:pt x="97" y="102"/>
                    <a:pt x="100" y="99"/>
                  </a:cubicBezTo>
                  <a:cubicBezTo>
                    <a:pt x="100" y="102"/>
                    <a:pt x="101" y="105"/>
                    <a:pt x="103" y="109"/>
                  </a:cubicBezTo>
                  <a:cubicBezTo>
                    <a:pt x="101" y="111"/>
                    <a:pt x="98" y="113"/>
                    <a:pt x="95" y="115"/>
                  </a:cubicBezTo>
                  <a:cubicBezTo>
                    <a:pt x="90" y="118"/>
                    <a:pt x="85" y="120"/>
                    <a:pt x="81" y="120"/>
                  </a:cubicBezTo>
                  <a:cubicBezTo>
                    <a:pt x="78" y="120"/>
                    <a:pt x="75" y="120"/>
                    <a:pt x="74" y="118"/>
                  </a:cubicBezTo>
                  <a:cubicBezTo>
                    <a:pt x="73" y="116"/>
                    <a:pt x="74" y="113"/>
                    <a:pt x="77"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14" name="Freeform 53"/>
            <p:cNvSpPr>
              <a:spLocks noEditPoints="1"/>
            </p:cNvSpPr>
            <p:nvPr/>
          </p:nvSpPr>
          <p:spPr bwMode="auto">
            <a:xfrm>
              <a:off x="-569913" y="679450"/>
              <a:ext cx="371475" cy="404813"/>
            </a:xfrm>
            <a:custGeom>
              <a:avLst/>
              <a:gdLst>
                <a:gd name="T0" fmla="*/ 50 w 99"/>
                <a:gd name="T1" fmla="*/ 108 h 108"/>
                <a:gd name="T2" fmla="*/ 99 w 99"/>
                <a:gd name="T3" fmla="*/ 58 h 108"/>
                <a:gd name="T4" fmla="*/ 89 w 99"/>
                <a:gd name="T5" fmla="*/ 28 h 108"/>
                <a:gd name="T6" fmla="*/ 73 w 99"/>
                <a:gd name="T7" fmla="*/ 28 h 108"/>
                <a:gd name="T8" fmla="*/ 73 w 99"/>
                <a:gd name="T9" fmla="*/ 20 h 108"/>
                <a:gd name="T10" fmla="*/ 82 w 99"/>
                <a:gd name="T11" fmla="*/ 20 h 108"/>
                <a:gd name="T12" fmla="*/ 72 w 99"/>
                <a:gd name="T13" fmla="*/ 14 h 108"/>
                <a:gd name="T14" fmla="*/ 50 w 99"/>
                <a:gd name="T15" fmla="*/ 0 h 108"/>
                <a:gd name="T16" fmla="*/ 28 w 99"/>
                <a:gd name="T17" fmla="*/ 14 h 108"/>
                <a:gd name="T18" fmla="*/ 18 w 99"/>
                <a:gd name="T19" fmla="*/ 20 h 108"/>
                <a:gd name="T20" fmla="*/ 28 w 99"/>
                <a:gd name="T21" fmla="*/ 20 h 108"/>
                <a:gd name="T22" fmla="*/ 28 w 99"/>
                <a:gd name="T23" fmla="*/ 28 h 108"/>
                <a:gd name="T24" fmla="*/ 11 w 99"/>
                <a:gd name="T25" fmla="*/ 28 h 108"/>
                <a:gd name="T26" fmla="*/ 0 w 99"/>
                <a:gd name="T27" fmla="*/ 58 h 108"/>
                <a:gd name="T28" fmla="*/ 50 w 99"/>
                <a:gd name="T29" fmla="*/ 108 h 108"/>
                <a:gd name="T30" fmla="*/ 50 w 99"/>
                <a:gd name="T31" fmla="*/ 10 h 108"/>
                <a:gd name="T32" fmla="*/ 63 w 99"/>
                <a:gd name="T33" fmla="*/ 23 h 108"/>
                <a:gd name="T34" fmla="*/ 50 w 99"/>
                <a:gd name="T35" fmla="*/ 37 h 108"/>
                <a:gd name="T36" fmla="*/ 36 w 99"/>
                <a:gd name="T37" fmla="*/ 23 h 108"/>
                <a:gd name="T38" fmla="*/ 50 w 99"/>
                <a:gd name="T39" fmla="*/ 1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108">
                  <a:moveTo>
                    <a:pt x="50" y="108"/>
                  </a:moveTo>
                  <a:cubicBezTo>
                    <a:pt x="77" y="108"/>
                    <a:pt x="99" y="85"/>
                    <a:pt x="99" y="58"/>
                  </a:cubicBezTo>
                  <a:cubicBezTo>
                    <a:pt x="99" y="47"/>
                    <a:pt x="95" y="36"/>
                    <a:pt x="89" y="28"/>
                  </a:cubicBezTo>
                  <a:cubicBezTo>
                    <a:pt x="73" y="28"/>
                    <a:pt x="73" y="28"/>
                    <a:pt x="73" y="28"/>
                  </a:cubicBezTo>
                  <a:cubicBezTo>
                    <a:pt x="73" y="20"/>
                    <a:pt x="73" y="20"/>
                    <a:pt x="73" y="20"/>
                  </a:cubicBezTo>
                  <a:cubicBezTo>
                    <a:pt x="82" y="20"/>
                    <a:pt x="82" y="20"/>
                    <a:pt x="82" y="20"/>
                  </a:cubicBezTo>
                  <a:cubicBezTo>
                    <a:pt x="79" y="18"/>
                    <a:pt x="75" y="15"/>
                    <a:pt x="72" y="14"/>
                  </a:cubicBezTo>
                  <a:cubicBezTo>
                    <a:pt x="68" y="5"/>
                    <a:pt x="59" y="0"/>
                    <a:pt x="50" y="0"/>
                  </a:cubicBezTo>
                  <a:cubicBezTo>
                    <a:pt x="40" y="0"/>
                    <a:pt x="32" y="5"/>
                    <a:pt x="28" y="14"/>
                  </a:cubicBezTo>
                  <a:cubicBezTo>
                    <a:pt x="24" y="15"/>
                    <a:pt x="21" y="18"/>
                    <a:pt x="18" y="20"/>
                  </a:cubicBezTo>
                  <a:cubicBezTo>
                    <a:pt x="28" y="20"/>
                    <a:pt x="28" y="20"/>
                    <a:pt x="28" y="20"/>
                  </a:cubicBezTo>
                  <a:cubicBezTo>
                    <a:pt x="28" y="28"/>
                    <a:pt x="28" y="28"/>
                    <a:pt x="28" y="28"/>
                  </a:cubicBezTo>
                  <a:cubicBezTo>
                    <a:pt x="11" y="28"/>
                    <a:pt x="11" y="28"/>
                    <a:pt x="11" y="28"/>
                  </a:cubicBezTo>
                  <a:cubicBezTo>
                    <a:pt x="4" y="36"/>
                    <a:pt x="0" y="47"/>
                    <a:pt x="0" y="58"/>
                  </a:cubicBezTo>
                  <a:cubicBezTo>
                    <a:pt x="0" y="85"/>
                    <a:pt x="22" y="108"/>
                    <a:pt x="50" y="108"/>
                  </a:cubicBezTo>
                  <a:close/>
                  <a:moveTo>
                    <a:pt x="50" y="10"/>
                  </a:moveTo>
                  <a:cubicBezTo>
                    <a:pt x="57" y="10"/>
                    <a:pt x="63" y="16"/>
                    <a:pt x="63" y="23"/>
                  </a:cubicBezTo>
                  <a:cubicBezTo>
                    <a:pt x="63" y="31"/>
                    <a:pt x="57" y="37"/>
                    <a:pt x="50" y="37"/>
                  </a:cubicBezTo>
                  <a:cubicBezTo>
                    <a:pt x="42" y="37"/>
                    <a:pt x="36" y="31"/>
                    <a:pt x="36" y="23"/>
                  </a:cubicBezTo>
                  <a:cubicBezTo>
                    <a:pt x="36" y="16"/>
                    <a:pt x="42" y="10"/>
                    <a:pt x="5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115" name="Group 369"/>
          <p:cNvGrpSpPr/>
          <p:nvPr/>
        </p:nvGrpSpPr>
        <p:grpSpPr>
          <a:xfrm>
            <a:off x="3866610" y="2171678"/>
            <a:ext cx="560176" cy="571522"/>
            <a:chOff x="9283701" y="3905251"/>
            <a:chExt cx="627062" cy="639763"/>
          </a:xfrm>
          <a:solidFill>
            <a:srgbClr val="FE5817"/>
          </a:solidFill>
        </p:grpSpPr>
        <p:sp>
          <p:nvSpPr>
            <p:cNvPr id="119" name="Freeform 63"/>
            <p:cNvSpPr/>
            <p:nvPr/>
          </p:nvSpPr>
          <p:spPr bwMode="auto">
            <a:xfrm>
              <a:off x="9464675" y="4175126"/>
              <a:ext cx="182562" cy="79375"/>
            </a:xfrm>
            <a:custGeom>
              <a:avLst/>
              <a:gdLst>
                <a:gd name="T0" fmla="*/ 94 w 113"/>
                <a:gd name="T1" fmla="*/ 18 h 49"/>
                <a:gd name="T2" fmla="*/ 26 w 113"/>
                <a:gd name="T3" fmla="*/ 6 h 49"/>
                <a:gd name="T4" fmla="*/ 6 w 113"/>
                <a:gd name="T5" fmla="*/ 6 h 49"/>
                <a:gd name="T6" fmla="*/ 6 w 113"/>
                <a:gd name="T7" fmla="*/ 26 h 49"/>
                <a:gd name="T8" fmla="*/ 71 w 113"/>
                <a:gd name="T9" fmla="*/ 49 h 49"/>
                <a:gd name="T10" fmla="*/ 100 w 113"/>
                <a:gd name="T11" fmla="*/ 46 h 49"/>
                <a:gd name="T12" fmla="*/ 111 w 113"/>
                <a:gd name="T13" fmla="*/ 29 h 49"/>
                <a:gd name="T14" fmla="*/ 94 w 113"/>
                <a:gd name="T15" fmla="*/ 18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49">
                  <a:moveTo>
                    <a:pt x="94" y="18"/>
                  </a:moveTo>
                  <a:cubicBezTo>
                    <a:pt x="49" y="28"/>
                    <a:pt x="27" y="7"/>
                    <a:pt x="26" y="6"/>
                  </a:cubicBezTo>
                  <a:cubicBezTo>
                    <a:pt x="21" y="0"/>
                    <a:pt x="11" y="0"/>
                    <a:pt x="6" y="6"/>
                  </a:cubicBezTo>
                  <a:cubicBezTo>
                    <a:pt x="0" y="11"/>
                    <a:pt x="0" y="20"/>
                    <a:pt x="6" y="26"/>
                  </a:cubicBezTo>
                  <a:cubicBezTo>
                    <a:pt x="7" y="27"/>
                    <a:pt x="29" y="49"/>
                    <a:pt x="71" y="49"/>
                  </a:cubicBezTo>
                  <a:cubicBezTo>
                    <a:pt x="80" y="49"/>
                    <a:pt x="89" y="48"/>
                    <a:pt x="100" y="46"/>
                  </a:cubicBezTo>
                  <a:cubicBezTo>
                    <a:pt x="108" y="44"/>
                    <a:pt x="113" y="37"/>
                    <a:pt x="111" y="29"/>
                  </a:cubicBezTo>
                  <a:cubicBezTo>
                    <a:pt x="109" y="21"/>
                    <a:pt x="102" y="16"/>
                    <a:pt x="94"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21" name="Oval 64"/>
            <p:cNvSpPr>
              <a:spLocks noChangeArrowheads="1"/>
            </p:cNvSpPr>
            <p:nvPr/>
          </p:nvSpPr>
          <p:spPr bwMode="auto">
            <a:xfrm>
              <a:off x="9351963" y="4090988"/>
              <a:ext cx="104775" cy="10477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23" name="Freeform 65"/>
            <p:cNvSpPr/>
            <p:nvPr/>
          </p:nvSpPr>
          <p:spPr bwMode="auto">
            <a:xfrm>
              <a:off x="9283701" y="4152901"/>
              <a:ext cx="627062" cy="392113"/>
            </a:xfrm>
            <a:custGeom>
              <a:avLst/>
              <a:gdLst>
                <a:gd name="T0" fmla="*/ 376 w 390"/>
                <a:gd name="T1" fmla="*/ 127 h 244"/>
                <a:gd name="T2" fmla="*/ 315 w 390"/>
                <a:gd name="T3" fmla="*/ 103 h 244"/>
                <a:gd name="T4" fmla="*/ 309 w 390"/>
                <a:gd name="T5" fmla="*/ 101 h 244"/>
                <a:gd name="T6" fmla="*/ 293 w 390"/>
                <a:gd name="T7" fmla="*/ 101 h 244"/>
                <a:gd name="T8" fmla="*/ 293 w 390"/>
                <a:gd name="T9" fmla="*/ 98 h 244"/>
                <a:gd name="T10" fmla="*/ 292 w 390"/>
                <a:gd name="T11" fmla="*/ 93 h 244"/>
                <a:gd name="T12" fmla="*/ 349 w 390"/>
                <a:gd name="T13" fmla="*/ 109 h 244"/>
                <a:gd name="T14" fmla="*/ 354 w 390"/>
                <a:gd name="T15" fmla="*/ 110 h 244"/>
                <a:gd name="T16" fmla="*/ 371 w 390"/>
                <a:gd name="T17" fmla="*/ 97 h 244"/>
                <a:gd name="T18" fmla="*/ 358 w 390"/>
                <a:gd name="T19" fmla="*/ 76 h 244"/>
                <a:gd name="T20" fmla="*/ 283 w 390"/>
                <a:gd name="T21" fmla="*/ 55 h 244"/>
                <a:gd name="T22" fmla="*/ 278 w 390"/>
                <a:gd name="T23" fmla="*/ 54 h 244"/>
                <a:gd name="T24" fmla="*/ 227 w 390"/>
                <a:gd name="T25" fmla="*/ 55 h 244"/>
                <a:gd name="T26" fmla="*/ 213 w 390"/>
                <a:gd name="T27" fmla="*/ 66 h 244"/>
                <a:gd name="T28" fmla="*/ 187 w 390"/>
                <a:gd name="T29" fmla="*/ 69 h 244"/>
                <a:gd name="T30" fmla="*/ 116 w 390"/>
                <a:gd name="T31" fmla="*/ 46 h 244"/>
                <a:gd name="T32" fmla="*/ 108 w 390"/>
                <a:gd name="T33" fmla="*/ 33 h 244"/>
                <a:gd name="T34" fmla="*/ 113 w 390"/>
                <a:gd name="T35" fmla="*/ 18 h 244"/>
                <a:gd name="T36" fmla="*/ 128 w 390"/>
                <a:gd name="T37" fmla="*/ 11 h 244"/>
                <a:gd name="T38" fmla="*/ 140 w 390"/>
                <a:gd name="T39" fmla="*/ 15 h 244"/>
                <a:gd name="T40" fmla="*/ 170 w 390"/>
                <a:gd name="T41" fmla="*/ 28 h 244"/>
                <a:gd name="T42" fmla="*/ 138 w 390"/>
                <a:gd name="T43" fmla="*/ 7 h 244"/>
                <a:gd name="T44" fmla="*/ 105 w 390"/>
                <a:gd name="T45" fmla="*/ 13 h 244"/>
                <a:gd name="T46" fmla="*/ 100 w 390"/>
                <a:gd name="T47" fmla="*/ 18 h 244"/>
                <a:gd name="T48" fmla="*/ 97 w 390"/>
                <a:gd name="T49" fmla="*/ 25 h 244"/>
                <a:gd name="T50" fmla="*/ 97 w 390"/>
                <a:gd name="T51" fmla="*/ 25 h 244"/>
                <a:gd name="T52" fmla="*/ 106 w 390"/>
                <a:gd name="T53" fmla="*/ 58 h 244"/>
                <a:gd name="T54" fmla="*/ 166 w 390"/>
                <a:gd name="T55" fmla="*/ 96 h 244"/>
                <a:gd name="T56" fmla="*/ 168 w 390"/>
                <a:gd name="T57" fmla="*/ 98 h 244"/>
                <a:gd name="T58" fmla="*/ 168 w 390"/>
                <a:gd name="T59" fmla="*/ 98 h 244"/>
                <a:gd name="T60" fmla="*/ 168 w 390"/>
                <a:gd name="T61" fmla="*/ 101 h 244"/>
                <a:gd name="T62" fmla="*/ 151 w 390"/>
                <a:gd name="T63" fmla="*/ 101 h 244"/>
                <a:gd name="T64" fmla="*/ 71 w 390"/>
                <a:gd name="T65" fmla="*/ 46 h 244"/>
                <a:gd name="T66" fmla="*/ 72 w 390"/>
                <a:gd name="T67" fmla="*/ 44 h 244"/>
                <a:gd name="T68" fmla="*/ 69 w 390"/>
                <a:gd name="T69" fmla="*/ 30 h 244"/>
                <a:gd name="T70" fmla="*/ 41 w 390"/>
                <a:gd name="T71" fmla="*/ 13 h 244"/>
                <a:gd name="T72" fmla="*/ 28 w 390"/>
                <a:gd name="T73" fmla="*/ 16 h 244"/>
                <a:gd name="T74" fmla="*/ 5 w 390"/>
                <a:gd name="T75" fmla="*/ 22 h 244"/>
                <a:gd name="T76" fmla="*/ 10 w 390"/>
                <a:gd name="T77" fmla="*/ 47 h 244"/>
                <a:gd name="T78" fmla="*/ 135 w 390"/>
                <a:gd name="T79" fmla="*/ 134 h 244"/>
                <a:gd name="T80" fmla="*/ 145 w 390"/>
                <a:gd name="T81" fmla="*/ 137 h 244"/>
                <a:gd name="T82" fmla="*/ 169 w 390"/>
                <a:gd name="T83" fmla="*/ 137 h 244"/>
                <a:gd name="T84" fmla="*/ 179 w 390"/>
                <a:gd name="T85" fmla="*/ 144 h 244"/>
                <a:gd name="T86" fmla="*/ 201 w 390"/>
                <a:gd name="T87" fmla="*/ 144 h 244"/>
                <a:gd name="T88" fmla="*/ 201 w 390"/>
                <a:gd name="T89" fmla="*/ 227 h 244"/>
                <a:gd name="T90" fmla="*/ 190 w 390"/>
                <a:gd name="T91" fmla="*/ 227 h 244"/>
                <a:gd name="T92" fmla="*/ 181 w 390"/>
                <a:gd name="T93" fmla="*/ 235 h 244"/>
                <a:gd name="T94" fmla="*/ 190 w 390"/>
                <a:gd name="T95" fmla="*/ 244 h 244"/>
                <a:gd name="T96" fmla="*/ 272 w 390"/>
                <a:gd name="T97" fmla="*/ 244 h 244"/>
                <a:gd name="T98" fmla="*/ 281 w 390"/>
                <a:gd name="T99" fmla="*/ 235 h 244"/>
                <a:gd name="T100" fmla="*/ 272 w 390"/>
                <a:gd name="T101" fmla="*/ 227 h 244"/>
                <a:gd name="T102" fmla="*/ 260 w 390"/>
                <a:gd name="T103" fmla="*/ 227 h 244"/>
                <a:gd name="T104" fmla="*/ 260 w 390"/>
                <a:gd name="T105" fmla="*/ 144 h 244"/>
                <a:gd name="T106" fmla="*/ 283 w 390"/>
                <a:gd name="T107" fmla="*/ 144 h 244"/>
                <a:gd name="T108" fmla="*/ 293 w 390"/>
                <a:gd name="T109" fmla="*/ 137 h 244"/>
                <a:gd name="T110" fmla="*/ 305 w 390"/>
                <a:gd name="T111" fmla="*/ 137 h 244"/>
                <a:gd name="T112" fmla="*/ 363 w 390"/>
                <a:gd name="T113" fmla="*/ 160 h 244"/>
                <a:gd name="T114" fmla="*/ 370 w 390"/>
                <a:gd name="T115" fmla="*/ 161 h 244"/>
                <a:gd name="T116" fmla="*/ 386 w 390"/>
                <a:gd name="T117" fmla="*/ 150 h 244"/>
                <a:gd name="T118" fmla="*/ 376 w 390"/>
                <a:gd name="T119" fmla="*/ 12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0" h="244">
                  <a:moveTo>
                    <a:pt x="376" y="127"/>
                  </a:moveTo>
                  <a:cubicBezTo>
                    <a:pt x="315" y="103"/>
                    <a:pt x="315" y="103"/>
                    <a:pt x="315" y="103"/>
                  </a:cubicBezTo>
                  <a:cubicBezTo>
                    <a:pt x="313" y="102"/>
                    <a:pt x="311" y="101"/>
                    <a:pt x="309" y="101"/>
                  </a:cubicBezTo>
                  <a:cubicBezTo>
                    <a:pt x="293" y="101"/>
                    <a:pt x="293" y="101"/>
                    <a:pt x="293" y="101"/>
                  </a:cubicBezTo>
                  <a:cubicBezTo>
                    <a:pt x="293" y="98"/>
                    <a:pt x="293" y="98"/>
                    <a:pt x="293" y="98"/>
                  </a:cubicBezTo>
                  <a:cubicBezTo>
                    <a:pt x="293" y="96"/>
                    <a:pt x="293" y="95"/>
                    <a:pt x="292" y="93"/>
                  </a:cubicBezTo>
                  <a:cubicBezTo>
                    <a:pt x="349" y="109"/>
                    <a:pt x="349" y="109"/>
                    <a:pt x="349" y="109"/>
                  </a:cubicBezTo>
                  <a:cubicBezTo>
                    <a:pt x="351" y="109"/>
                    <a:pt x="352" y="110"/>
                    <a:pt x="354" y="110"/>
                  </a:cubicBezTo>
                  <a:cubicBezTo>
                    <a:pt x="362" y="110"/>
                    <a:pt x="368" y="104"/>
                    <a:pt x="371" y="97"/>
                  </a:cubicBezTo>
                  <a:cubicBezTo>
                    <a:pt x="373" y="88"/>
                    <a:pt x="368" y="78"/>
                    <a:pt x="358" y="76"/>
                  </a:cubicBezTo>
                  <a:cubicBezTo>
                    <a:pt x="283" y="55"/>
                    <a:pt x="283" y="55"/>
                    <a:pt x="283" y="55"/>
                  </a:cubicBezTo>
                  <a:cubicBezTo>
                    <a:pt x="281" y="55"/>
                    <a:pt x="280" y="54"/>
                    <a:pt x="278" y="54"/>
                  </a:cubicBezTo>
                  <a:cubicBezTo>
                    <a:pt x="227" y="55"/>
                    <a:pt x="227" y="55"/>
                    <a:pt x="227" y="55"/>
                  </a:cubicBezTo>
                  <a:cubicBezTo>
                    <a:pt x="224" y="60"/>
                    <a:pt x="219" y="65"/>
                    <a:pt x="213" y="66"/>
                  </a:cubicBezTo>
                  <a:cubicBezTo>
                    <a:pt x="204" y="68"/>
                    <a:pt x="196" y="69"/>
                    <a:pt x="187" y="69"/>
                  </a:cubicBezTo>
                  <a:cubicBezTo>
                    <a:pt x="145" y="69"/>
                    <a:pt x="117" y="47"/>
                    <a:pt x="116" y="46"/>
                  </a:cubicBezTo>
                  <a:cubicBezTo>
                    <a:pt x="112" y="43"/>
                    <a:pt x="109" y="38"/>
                    <a:pt x="108" y="33"/>
                  </a:cubicBezTo>
                  <a:cubicBezTo>
                    <a:pt x="108" y="27"/>
                    <a:pt x="109" y="22"/>
                    <a:pt x="113" y="18"/>
                  </a:cubicBezTo>
                  <a:cubicBezTo>
                    <a:pt x="116" y="13"/>
                    <a:pt x="122" y="11"/>
                    <a:pt x="128" y="11"/>
                  </a:cubicBezTo>
                  <a:cubicBezTo>
                    <a:pt x="132" y="11"/>
                    <a:pt x="137" y="12"/>
                    <a:pt x="140" y="15"/>
                  </a:cubicBezTo>
                  <a:cubicBezTo>
                    <a:pt x="141" y="15"/>
                    <a:pt x="152" y="24"/>
                    <a:pt x="170" y="28"/>
                  </a:cubicBezTo>
                  <a:cubicBezTo>
                    <a:pt x="138" y="7"/>
                    <a:pt x="138" y="7"/>
                    <a:pt x="138" y="7"/>
                  </a:cubicBezTo>
                  <a:cubicBezTo>
                    <a:pt x="127" y="0"/>
                    <a:pt x="113" y="5"/>
                    <a:pt x="105" y="13"/>
                  </a:cubicBezTo>
                  <a:cubicBezTo>
                    <a:pt x="105" y="13"/>
                    <a:pt x="102" y="15"/>
                    <a:pt x="100" y="18"/>
                  </a:cubicBezTo>
                  <a:cubicBezTo>
                    <a:pt x="98" y="21"/>
                    <a:pt x="97" y="25"/>
                    <a:pt x="97" y="25"/>
                  </a:cubicBezTo>
                  <a:cubicBezTo>
                    <a:pt x="97" y="25"/>
                    <a:pt x="97" y="25"/>
                    <a:pt x="97" y="25"/>
                  </a:cubicBezTo>
                  <a:cubicBezTo>
                    <a:pt x="93" y="36"/>
                    <a:pt x="94" y="50"/>
                    <a:pt x="106" y="58"/>
                  </a:cubicBezTo>
                  <a:cubicBezTo>
                    <a:pt x="166" y="96"/>
                    <a:pt x="166" y="96"/>
                    <a:pt x="166" y="96"/>
                  </a:cubicBezTo>
                  <a:cubicBezTo>
                    <a:pt x="167" y="97"/>
                    <a:pt x="167" y="97"/>
                    <a:pt x="168" y="98"/>
                  </a:cubicBezTo>
                  <a:cubicBezTo>
                    <a:pt x="168" y="98"/>
                    <a:pt x="168" y="98"/>
                    <a:pt x="168" y="98"/>
                  </a:cubicBezTo>
                  <a:cubicBezTo>
                    <a:pt x="168" y="101"/>
                    <a:pt x="168" y="101"/>
                    <a:pt x="168" y="101"/>
                  </a:cubicBezTo>
                  <a:cubicBezTo>
                    <a:pt x="151" y="101"/>
                    <a:pt x="151" y="101"/>
                    <a:pt x="151" y="101"/>
                  </a:cubicBezTo>
                  <a:cubicBezTo>
                    <a:pt x="71" y="46"/>
                    <a:pt x="71" y="46"/>
                    <a:pt x="71" y="46"/>
                  </a:cubicBezTo>
                  <a:cubicBezTo>
                    <a:pt x="71" y="45"/>
                    <a:pt x="71" y="45"/>
                    <a:pt x="72" y="44"/>
                  </a:cubicBezTo>
                  <a:cubicBezTo>
                    <a:pt x="75" y="40"/>
                    <a:pt x="73" y="33"/>
                    <a:pt x="69" y="30"/>
                  </a:cubicBezTo>
                  <a:cubicBezTo>
                    <a:pt x="41" y="13"/>
                    <a:pt x="41" y="13"/>
                    <a:pt x="41" y="13"/>
                  </a:cubicBezTo>
                  <a:cubicBezTo>
                    <a:pt x="37" y="10"/>
                    <a:pt x="31" y="12"/>
                    <a:pt x="28" y="16"/>
                  </a:cubicBezTo>
                  <a:cubicBezTo>
                    <a:pt x="20" y="12"/>
                    <a:pt x="10" y="15"/>
                    <a:pt x="5" y="22"/>
                  </a:cubicBezTo>
                  <a:cubicBezTo>
                    <a:pt x="0" y="30"/>
                    <a:pt x="2" y="41"/>
                    <a:pt x="10" y="47"/>
                  </a:cubicBezTo>
                  <a:cubicBezTo>
                    <a:pt x="135" y="134"/>
                    <a:pt x="135" y="134"/>
                    <a:pt x="135" y="134"/>
                  </a:cubicBezTo>
                  <a:cubicBezTo>
                    <a:pt x="138" y="136"/>
                    <a:pt x="142" y="137"/>
                    <a:pt x="145" y="137"/>
                  </a:cubicBezTo>
                  <a:cubicBezTo>
                    <a:pt x="169" y="137"/>
                    <a:pt x="169" y="137"/>
                    <a:pt x="169" y="137"/>
                  </a:cubicBezTo>
                  <a:cubicBezTo>
                    <a:pt x="170" y="141"/>
                    <a:pt x="174" y="144"/>
                    <a:pt x="179" y="144"/>
                  </a:cubicBezTo>
                  <a:cubicBezTo>
                    <a:pt x="201" y="144"/>
                    <a:pt x="201" y="144"/>
                    <a:pt x="201" y="144"/>
                  </a:cubicBezTo>
                  <a:cubicBezTo>
                    <a:pt x="201" y="227"/>
                    <a:pt x="201" y="227"/>
                    <a:pt x="201" y="227"/>
                  </a:cubicBezTo>
                  <a:cubicBezTo>
                    <a:pt x="190" y="227"/>
                    <a:pt x="190" y="227"/>
                    <a:pt x="190" y="227"/>
                  </a:cubicBezTo>
                  <a:cubicBezTo>
                    <a:pt x="185" y="227"/>
                    <a:pt x="181" y="231"/>
                    <a:pt x="181" y="235"/>
                  </a:cubicBezTo>
                  <a:cubicBezTo>
                    <a:pt x="181" y="240"/>
                    <a:pt x="185" y="244"/>
                    <a:pt x="190" y="244"/>
                  </a:cubicBezTo>
                  <a:cubicBezTo>
                    <a:pt x="272" y="244"/>
                    <a:pt x="272" y="244"/>
                    <a:pt x="272" y="244"/>
                  </a:cubicBezTo>
                  <a:cubicBezTo>
                    <a:pt x="277" y="244"/>
                    <a:pt x="281" y="240"/>
                    <a:pt x="281" y="235"/>
                  </a:cubicBezTo>
                  <a:cubicBezTo>
                    <a:pt x="281" y="231"/>
                    <a:pt x="277" y="227"/>
                    <a:pt x="272" y="227"/>
                  </a:cubicBezTo>
                  <a:cubicBezTo>
                    <a:pt x="260" y="227"/>
                    <a:pt x="260" y="227"/>
                    <a:pt x="260" y="227"/>
                  </a:cubicBezTo>
                  <a:cubicBezTo>
                    <a:pt x="260" y="144"/>
                    <a:pt x="260" y="144"/>
                    <a:pt x="260" y="144"/>
                  </a:cubicBezTo>
                  <a:cubicBezTo>
                    <a:pt x="283" y="144"/>
                    <a:pt x="283" y="144"/>
                    <a:pt x="283" y="144"/>
                  </a:cubicBezTo>
                  <a:cubicBezTo>
                    <a:pt x="287" y="144"/>
                    <a:pt x="291" y="141"/>
                    <a:pt x="293" y="137"/>
                  </a:cubicBezTo>
                  <a:cubicBezTo>
                    <a:pt x="305" y="137"/>
                    <a:pt x="305" y="137"/>
                    <a:pt x="305" y="137"/>
                  </a:cubicBezTo>
                  <a:cubicBezTo>
                    <a:pt x="363" y="160"/>
                    <a:pt x="363" y="160"/>
                    <a:pt x="363" y="160"/>
                  </a:cubicBezTo>
                  <a:cubicBezTo>
                    <a:pt x="365" y="161"/>
                    <a:pt x="367" y="161"/>
                    <a:pt x="370" y="161"/>
                  </a:cubicBezTo>
                  <a:cubicBezTo>
                    <a:pt x="377" y="161"/>
                    <a:pt x="383" y="157"/>
                    <a:pt x="386" y="150"/>
                  </a:cubicBezTo>
                  <a:cubicBezTo>
                    <a:pt x="390" y="141"/>
                    <a:pt x="385" y="131"/>
                    <a:pt x="376" y="1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27" name="Freeform 66"/>
            <p:cNvSpPr/>
            <p:nvPr/>
          </p:nvSpPr>
          <p:spPr bwMode="auto">
            <a:xfrm>
              <a:off x="9499600" y="4025901"/>
              <a:ext cx="295275" cy="211138"/>
            </a:xfrm>
            <a:custGeom>
              <a:avLst/>
              <a:gdLst>
                <a:gd name="T0" fmla="*/ 0 w 184"/>
                <a:gd name="T1" fmla="*/ 66 h 131"/>
                <a:gd name="T2" fmla="*/ 14 w 184"/>
                <a:gd name="T3" fmla="*/ 80 h 131"/>
                <a:gd name="T4" fmla="*/ 75 w 184"/>
                <a:gd name="T5" fmla="*/ 61 h 131"/>
                <a:gd name="T6" fmla="*/ 75 w 184"/>
                <a:gd name="T7" fmla="*/ 83 h 131"/>
                <a:gd name="T8" fmla="*/ 70 w 184"/>
                <a:gd name="T9" fmla="*/ 106 h 131"/>
                <a:gd name="T10" fmla="*/ 73 w 184"/>
                <a:gd name="T11" fmla="*/ 105 h 131"/>
                <a:gd name="T12" fmla="*/ 77 w 184"/>
                <a:gd name="T13" fmla="*/ 105 h 131"/>
                <a:gd name="T14" fmla="*/ 96 w 184"/>
                <a:gd name="T15" fmla="*/ 120 h 131"/>
                <a:gd name="T16" fmla="*/ 96 w 184"/>
                <a:gd name="T17" fmla="*/ 128 h 131"/>
                <a:gd name="T18" fmla="*/ 145 w 184"/>
                <a:gd name="T19" fmla="*/ 128 h 131"/>
                <a:gd name="T20" fmla="*/ 151 w 184"/>
                <a:gd name="T21" fmla="*/ 129 h 131"/>
                <a:gd name="T22" fmla="*/ 158 w 184"/>
                <a:gd name="T23" fmla="*/ 131 h 131"/>
                <a:gd name="T24" fmla="*/ 148 w 184"/>
                <a:gd name="T25" fmla="*/ 83 h 131"/>
                <a:gd name="T26" fmla="*/ 148 w 184"/>
                <a:gd name="T27" fmla="*/ 57 h 131"/>
                <a:gd name="T28" fmla="*/ 156 w 184"/>
                <a:gd name="T29" fmla="*/ 107 h 131"/>
                <a:gd name="T30" fmla="*/ 170 w 184"/>
                <a:gd name="T31" fmla="*/ 121 h 131"/>
                <a:gd name="T32" fmla="*/ 170 w 184"/>
                <a:gd name="T33" fmla="*/ 121 h 131"/>
                <a:gd name="T34" fmla="*/ 183 w 184"/>
                <a:gd name="T35" fmla="*/ 108 h 131"/>
                <a:gd name="T36" fmla="*/ 120 w 184"/>
                <a:gd name="T37" fmla="*/ 0 h 131"/>
                <a:gd name="T38" fmla="*/ 120 w 184"/>
                <a:gd name="T39" fmla="*/ 0 h 131"/>
                <a:gd name="T40" fmla="*/ 111 w 184"/>
                <a:gd name="T41" fmla="*/ 9 h 131"/>
                <a:gd name="T42" fmla="*/ 103 w 184"/>
                <a:gd name="T43" fmla="*/ 0 h 131"/>
                <a:gd name="T44" fmla="*/ 68 w 184"/>
                <a:gd name="T45" fmla="*/ 27 h 131"/>
                <a:gd name="T46" fmla="*/ 13 w 184"/>
                <a:gd name="T47" fmla="*/ 52 h 131"/>
                <a:gd name="T48" fmla="*/ 0 w 184"/>
                <a:gd name="T49" fmla="*/ 6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131">
                  <a:moveTo>
                    <a:pt x="0" y="66"/>
                  </a:moveTo>
                  <a:cubicBezTo>
                    <a:pt x="0" y="73"/>
                    <a:pt x="6" y="80"/>
                    <a:pt x="14" y="80"/>
                  </a:cubicBezTo>
                  <a:cubicBezTo>
                    <a:pt x="46" y="80"/>
                    <a:pt x="64" y="71"/>
                    <a:pt x="75" y="61"/>
                  </a:cubicBezTo>
                  <a:cubicBezTo>
                    <a:pt x="75" y="83"/>
                    <a:pt x="75" y="83"/>
                    <a:pt x="75" y="83"/>
                  </a:cubicBezTo>
                  <a:cubicBezTo>
                    <a:pt x="74" y="88"/>
                    <a:pt x="72" y="96"/>
                    <a:pt x="70" y="106"/>
                  </a:cubicBezTo>
                  <a:cubicBezTo>
                    <a:pt x="71" y="106"/>
                    <a:pt x="72" y="106"/>
                    <a:pt x="73" y="105"/>
                  </a:cubicBezTo>
                  <a:cubicBezTo>
                    <a:pt x="74" y="105"/>
                    <a:pt x="75" y="105"/>
                    <a:pt x="77" y="105"/>
                  </a:cubicBezTo>
                  <a:cubicBezTo>
                    <a:pt x="86" y="105"/>
                    <a:pt x="94" y="112"/>
                    <a:pt x="96" y="120"/>
                  </a:cubicBezTo>
                  <a:cubicBezTo>
                    <a:pt x="97" y="123"/>
                    <a:pt x="97" y="126"/>
                    <a:pt x="96" y="128"/>
                  </a:cubicBezTo>
                  <a:cubicBezTo>
                    <a:pt x="145" y="128"/>
                    <a:pt x="145" y="128"/>
                    <a:pt x="145" y="128"/>
                  </a:cubicBezTo>
                  <a:cubicBezTo>
                    <a:pt x="147" y="128"/>
                    <a:pt x="149" y="128"/>
                    <a:pt x="151" y="129"/>
                  </a:cubicBezTo>
                  <a:cubicBezTo>
                    <a:pt x="158" y="131"/>
                    <a:pt x="158" y="131"/>
                    <a:pt x="158" y="131"/>
                  </a:cubicBezTo>
                  <a:cubicBezTo>
                    <a:pt x="154" y="111"/>
                    <a:pt x="150" y="91"/>
                    <a:pt x="148" y="83"/>
                  </a:cubicBezTo>
                  <a:cubicBezTo>
                    <a:pt x="148" y="57"/>
                    <a:pt x="148" y="57"/>
                    <a:pt x="148" y="57"/>
                  </a:cubicBezTo>
                  <a:cubicBezTo>
                    <a:pt x="153" y="68"/>
                    <a:pt x="156" y="83"/>
                    <a:pt x="156" y="107"/>
                  </a:cubicBezTo>
                  <a:cubicBezTo>
                    <a:pt x="156" y="115"/>
                    <a:pt x="162" y="121"/>
                    <a:pt x="170" y="121"/>
                  </a:cubicBezTo>
                  <a:cubicBezTo>
                    <a:pt x="170" y="121"/>
                    <a:pt x="170" y="121"/>
                    <a:pt x="170" y="121"/>
                  </a:cubicBezTo>
                  <a:cubicBezTo>
                    <a:pt x="177" y="121"/>
                    <a:pt x="183" y="115"/>
                    <a:pt x="183" y="108"/>
                  </a:cubicBezTo>
                  <a:cubicBezTo>
                    <a:pt x="184" y="42"/>
                    <a:pt x="150" y="7"/>
                    <a:pt x="120" y="0"/>
                  </a:cubicBezTo>
                  <a:cubicBezTo>
                    <a:pt x="120" y="0"/>
                    <a:pt x="120" y="0"/>
                    <a:pt x="120" y="0"/>
                  </a:cubicBezTo>
                  <a:cubicBezTo>
                    <a:pt x="111" y="9"/>
                    <a:pt x="111" y="9"/>
                    <a:pt x="111" y="9"/>
                  </a:cubicBezTo>
                  <a:cubicBezTo>
                    <a:pt x="103" y="0"/>
                    <a:pt x="103" y="0"/>
                    <a:pt x="103" y="0"/>
                  </a:cubicBezTo>
                  <a:cubicBezTo>
                    <a:pt x="98" y="1"/>
                    <a:pt x="79" y="9"/>
                    <a:pt x="68" y="27"/>
                  </a:cubicBezTo>
                  <a:cubicBezTo>
                    <a:pt x="58" y="41"/>
                    <a:pt x="50" y="52"/>
                    <a:pt x="13" y="52"/>
                  </a:cubicBezTo>
                  <a:cubicBezTo>
                    <a:pt x="6" y="52"/>
                    <a:pt x="0" y="58"/>
                    <a:pt x="0"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29" name="Freeform 67"/>
            <p:cNvSpPr>
              <a:spLocks noEditPoints="1"/>
            </p:cNvSpPr>
            <p:nvPr/>
          </p:nvSpPr>
          <p:spPr bwMode="auto">
            <a:xfrm>
              <a:off x="9626600" y="3905251"/>
              <a:ext cx="106362" cy="115888"/>
            </a:xfrm>
            <a:custGeom>
              <a:avLst/>
              <a:gdLst>
                <a:gd name="T0" fmla="*/ 33 w 66"/>
                <a:gd name="T1" fmla="*/ 72 h 72"/>
                <a:gd name="T2" fmla="*/ 66 w 66"/>
                <a:gd name="T3" fmla="*/ 39 h 72"/>
                <a:gd name="T4" fmla="*/ 59 w 66"/>
                <a:gd name="T5" fmla="*/ 19 h 72"/>
                <a:gd name="T6" fmla="*/ 48 w 66"/>
                <a:gd name="T7" fmla="*/ 19 h 72"/>
                <a:gd name="T8" fmla="*/ 48 w 66"/>
                <a:gd name="T9" fmla="*/ 14 h 72"/>
                <a:gd name="T10" fmla="*/ 54 w 66"/>
                <a:gd name="T11" fmla="*/ 14 h 72"/>
                <a:gd name="T12" fmla="*/ 48 w 66"/>
                <a:gd name="T13" fmla="*/ 9 h 72"/>
                <a:gd name="T14" fmla="*/ 33 w 66"/>
                <a:gd name="T15" fmla="*/ 0 h 72"/>
                <a:gd name="T16" fmla="*/ 18 w 66"/>
                <a:gd name="T17" fmla="*/ 9 h 72"/>
                <a:gd name="T18" fmla="*/ 12 w 66"/>
                <a:gd name="T19" fmla="*/ 14 h 72"/>
                <a:gd name="T20" fmla="*/ 18 w 66"/>
                <a:gd name="T21" fmla="*/ 14 h 72"/>
                <a:gd name="T22" fmla="*/ 18 w 66"/>
                <a:gd name="T23" fmla="*/ 19 h 72"/>
                <a:gd name="T24" fmla="*/ 7 w 66"/>
                <a:gd name="T25" fmla="*/ 19 h 72"/>
                <a:gd name="T26" fmla="*/ 0 w 66"/>
                <a:gd name="T27" fmla="*/ 39 h 72"/>
                <a:gd name="T28" fmla="*/ 33 w 66"/>
                <a:gd name="T29" fmla="*/ 72 h 72"/>
                <a:gd name="T30" fmla="*/ 33 w 66"/>
                <a:gd name="T31" fmla="*/ 7 h 72"/>
                <a:gd name="T32" fmla="*/ 42 w 66"/>
                <a:gd name="T33" fmla="*/ 16 h 72"/>
                <a:gd name="T34" fmla="*/ 33 w 66"/>
                <a:gd name="T35" fmla="*/ 25 h 72"/>
                <a:gd name="T36" fmla="*/ 24 w 66"/>
                <a:gd name="T37" fmla="*/ 16 h 72"/>
                <a:gd name="T38" fmla="*/ 33 w 66"/>
                <a:gd name="T39"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72">
                  <a:moveTo>
                    <a:pt x="33" y="72"/>
                  </a:moveTo>
                  <a:cubicBezTo>
                    <a:pt x="51" y="72"/>
                    <a:pt x="66" y="58"/>
                    <a:pt x="66" y="39"/>
                  </a:cubicBezTo>
                  <a:cubicBezTo>
                    <a:pt x="66" y="31"/>
                    <a:pt x="64" y="24"/>
                    <a:pt x="59" y="19"/>
                  </a:cubicBezTo>
                  <a:cubicBezTo>
                    <a:pt x="48" y="19"/>
                    <a:pt x="48" y="19"/>
                    <a:pt x="48" y="19"/>
                  </a:cubicBezTo>
                  <a:cubicBezTo>
                    <a:pt x="48" y="14"/>
                    <a:pt x="48" y="14"/>
                    <a:pt x="48" y="14"/>
                  </a:cubicBezTo>
                  <a:cubicBezTo>
                    <a:pt x="54" y="14"/>
                    <a:pt x="54" y="14"/>
                    <a:pt x="54" y="14"/>
                  </a:cubicBezTo>
                  <a:cubicBezTo>
                    <a:pt x="52" y="12"/>
                    <a:pt x="50" y="11"/>
                    <a:pt x="48" y="9"/>
                  </a:cubicBezTo>
                  <a:cubicBezTo>
                    <a:pt x="45" y="4"/>
                    <a:pt x="39" y="0"/>
                    <a:pt x="33" y="0"/>
                  </a:cubicBezTo>
                  <a:cubicBezTo>
                    <a:pt x="26" y="0"/>
                    <a:pt x="21" y="4"/>
                    <a:pt x="18" y="9"/>
                  </a:cubicBezTo>
                  <a:cubicBezTo>
                    <a:pt x="16" y="11"/>
                    <a:pt x="14" y="12"/>
                    <a:pt x="12" y="14"/>
                  </a:cubicBezTo>
                  <a:cubicBezTo>
                    <a:pt x="18" y="14"/>
                    <a:pt x="18" y="14"/>
                    <a:pt x="18" y="14"/>
                  </a:cubicBezTo>
                  <a:cubicBezTo>
                    <a:pt x="18" y="19"/>
                    <a:pt x="18" y="19"/>
                    <a:pt x="18" y="19"/>
                  </a:cubicBezTo>
                  <a:cubicBezTo>
                    <a:pt x="7" y="19"/>
                    <a:pt x="7" y="19"/>
                    <a:pt x="7" y="19"/>
                  </a:cubicBezTo>
                  <a:cubicBezTo>
                    <a:pt x="2" y="24"/>
                    <a:pt x="0" y="31"/>
                    <a:pt x="0" y="39"/>
                  </a:cubicBezTo>
                  <a:cubicBezTo>
                    <a:pt x="0" y="58"/>
                    <a:pt x="15" y="72"/>
                    <a:pt x="33" y="72"/>
                  </a:cubicBezTo>
                  <a:close/>
                  <a:moveTo>
                    <a:pt x="33" y="7"/>
                  </a:moveTo>
                  <a:cubicBezTo>
                    <a:pt x="38" y="7"/>
                    <a:pt x="42" y="11"/>
                    <a:pt x="42" y="16"/>
                  </a:cubicBezTo>
                  <a:cubicBezTo>
                    <a:pt x="42" y="21"/>
                    <a:pt x="38" y="25"/>
                    <a:pt x="33" y="25"/>
                  </a:cubicBezTo>
                  <a:cubicBezTo>
                    <a:pt x="28" y="25"/>
                    <a:pt x="24" y="21"/>
                    <a:pt x="24" y="16"/>
                  </a:cubicBezTo>
                  <a:cubicBezTo>
                    <a:pt x="24" y="11"/>
                    <a:pt x="28" y="7"/>
                    <a:pt x="33"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0" name="Freeform 68"/>
            <p:cNvSpPr>
              <a:spLocks noEditPoints="1"/>
            </p:cNvSpPr>
            <p:nvPr/>
          </p:nvSpPr>
          <p:spPr bwMode="auto">
            <a:xfrm>
              <a:off x="9312275" y="3933826"/>
              <a:ext cx="215900" cy="149225"/>
            </a:xfrm>
            <a:custGeom>
              <a:avLst/>
              <a:gdLst>
                <a:gd name="T0" fmla="*/ 134 w 134"/>
                <a:gd name="T1" fmla="*/ 76 h 93"/>
                <a:gd name="T2" fmla="*/ 125 w 134"/>
                <a:gd name="T3" fmla="*/ 76 h 93"/>
                <a:gd name="T4" fmla="*/ 125 w 134"/>
                <a:gd name="T5" fmla="*/ 0 h 93"/>
                <a:gd name="T6" fmla="*/ 8 w 134"/>
                <a:gd name="T7" fmla="*/ 0 h 93"/>
                <a:gd name="T8" fmla="*/ 8 w 134"/>
                <a:gd name="T9" fmla="*/ 76 h 93"/>
                <a:gd name="T10" fmla="*/ 0 w 134"/>
                <a:gd name="T11" fmla="*/ 76 h 93"/>
                <a:gd name="T12" fmla="*/ 0 w 134"/>
                <a:gd name="T13" fmla="*/ 93 h 93"/>
                <a:gd name="T14" fmla="*/ 134 w 134"/>
                <a:gd name="T15" fmla="*/ 93 h 93"/>
                <a:gd name="T16" fmla="*/ 134 w 134"/>
                <a:gd name="T17" fmla="*/ 76 h 93"/>
                <a:gd name="T18" fmla="*/ 116 w 134"/>
                <a:gd name="T19" fmla="*/ 10 h 93"/>
                <a:gd name="T20" fmla="*/ 116 w 134"/>
                <a:gd name="T21" fmla="*/ 43 h 93"/>
                <a:gd name="T22" fmla="*/ 84 w 134"/>
                <a:gd name="T23" fmla="*/ 43 h 93"/>
                <a:gd name="T24" fmla="*/ 82 w 134"/>
                <a:gd name="T25" fmla="*/ 45 h 93"/>
                <a:gd name="T26" fmla="*/ 77 w 134"/>
                <a:gd name="T27" fmla="*/ 61 h 93"/>
                <a:gd name="T28" fmla="*/ 73 w 134"/>
                <a:gd name="T29" fmla="*/ 45 h 93"/>
                <a:gd name="T30" fmla="*/ 71 w 134"/>
                <a:gd name="T31" fmla="*/ 43 h 93"/>
                <a:gd name="T32" fmla="*/ 65 w 134"/>
                <a:gd name="T33" fmla="*/ 43 h 93"/>
                <a:gd name="T34" fmla="*/ 55 w 134"/>
                <a:gd name="T35" fmla="*/ 16 h 93"/>
                <a:gd name="T36" fmla="*/ 52 w 134"/>
                <a:gd name="T37" fmla="*/ 16 h 93"/>
                <a:gd name="T38" fmla="*/ 43 w 134"/>
                <a:gd name="T39" fmla="*/ 43 h 93"/>
                <a:gd name="T40" fmla="*/ 18 w 134"/>
                <a:gd name="T41" fmla="*/ 43 h 93"/>
                <a:gd name="T42" fmla="*/ 18 w 134"/>
                <a:gd name="T43" fmla="*/ 10 h 93"/>
                <a:gd name="T44" fmla="*/ 116 w 134"/>
                <a:gd name="T45" fmla="*/ 10 h 93"/>
                <a:gd name="T46" fmla="*/ 18 w 134"/>
                <a:gd name="T47" fmla="*/ 73 h 93"/>
                <a:gd name="T48" fmla="*/ 18 w 134"/>
                <a:gd name="T49" fmla="*/ 47 h 93"/>
                <a:gd name="T50" fmla="*/ 44 w 134"/>
                <a:gd name="T51" fmla="*/ 47 h 93"/>
                <a:gd name="T52" fmla="*/ 46 w 134"/>
                <a:gd name="T53" fmla="*/ 46 h 93"/>
                <a:gd name="T54" fmla="*/ 54 w 134"/>
                <a:gd name="T55" fmla="*/ 22 h 93"/>
                <a:gd name="T56" fmla="*/ 62 w 134"/>
                <a:gd name="T57" fmla="*/ 46 h 93"/>
                <a:gd name="T58" fmla="*/ 63 w 134"/>
                <a:gd name="T59" fmla="*/ 47 h 93"/>
                <a:gd name="T60" fmla="*/ 70 w 134"/>
                <a:gd name="T61" fmla="*/ 47 h 93"/>
                <a:gd name="T62" fmla="*/ 76 w 134"/>
                <a:gd name="T63" fmla="*/ 67 h 93"/>
                <a:gd name="T64" fmla="*/ 77 w 134"/>
                <a:gd name="T65" fmla="*/ 68 h 93"/>
                <a:gd name="T66" fmla="*/ 79 w 134"/>
                <a:gd name="T67" fmla="*/ 67 h 93"/>
                <a:gd name="T68" fmla="*/ 85 w 134"/>
                <a:gd name="T69" fmla="*/ 47 h 93"/>
                <a:gd name="T70" fmla="*/ 116 w 134"/>
                <a:gd name="T71" fmla="*/ 47 h 93"/>
                <a:gd name="T72" fmla="*/ 116 w 134"/>
                <a:gd name="T73" fmla="*/ 73 h 93"/>
                <a:gd name="T74" fmla="*/ 18 w 134"/>
                <a:gd name="T75" fmla="*/ 7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93">
                  <a:moveTo>
                    <a:pt x="134" y="76"/>
                  </a:moveTo>
                  <a:cubicBezTo>
                    <a:pt x="125" y="76"/>
                    <a:pt x="125" y="76"/>
                    <a:pt x="125" y="76"/>
                  </a:cubicBezTo>
                  <a:cubicBezTo>
                    <a:pt x="125" y="0"/>
                    <a:pt x="125" y="0"/>
                    <a:pt x="125" y="0"/>
                  </a:cubicBezTo>
                  <a:cubicBezTo>
                    <a:pt x="8" y="0"/>
                    <a:pt x="8" y="0"/>
                    <a:pt x="8" y="0"/>
                  </a:cubicBezTo>
                  <a:cubicBezTo>
                    <a:pt x="8" y="76"/>
                    <a:pt x="8" y="76"/>
                    <a:pt x="8" y="76"/>
                  </a:cubicBezTo>
                  <a:cubicBezTo>
                    <a:pt x="0" y="76"/>
                    <a:pt x="0" y="76"/>
                    <a:pt x="0" y="76"/>
                  </a:cubicBezTo>
                  <a:cubicBezTo>
                    <a:pt x="0" y="93"/>
                    <a:pt x="0" y="93"/>
                    <a:pt x="0" y="93"/>
                  </a:cubicBezTo>
                  <a:cubicBezTo>
                    <a:pt x="134" y="93"/>
                    <a:pt x="134" y="93"/>
                    <a:pt x="134" y="93"/>
                  </a:cubicBezTo>
                  <a:lnTo>
                    <a:pt x="134" y="76"/>
                  </a:lnTo>
                  <a:close/>
                  <a:moveTo>
                    <a:pt x="116" y="10"/>
                  </a:moveTo>
                  <a:cubicBezTo>
                    <a:pt x="116" y="43"/>
                    <a:pt x="116" y="43"/>
                    <a:pt x="116" y="43"/>
                  </a:cubicBezTo>
                  <a:cubicBezTo>
                    <a:pt x="84" y="43"/>
                    <a:pt x="84" y="43"/>
                    <a:pt x="84" y="43"/>
                  </a:cubicBezTo>
                  <a:cubicBezTo>
                    <a:pt x="83" y="43"/>
                    <a:pt x="82" y="44"/>
                    <a:pt x="82" y="45"/>
                  </a:cubicBezTo>
                  <a:cubicBezTo>
                    <a:pt x="77" y="61"/>
                    <a:pt x="77" y="61"/>
                    <a:pt x="77" y="61"/>
                  </a:cubicBezTo>
                  <a:cubicBezTo>
                    <a:pt x="73" y="45"/>
                    <a:pt x="73" y="45"/>
                    <a:pt x="73" y="45"/>
                  </a:cubicBezTo>
                  <a:cubicBezTo>
                    <a:pt x="72" y="44"/>
                    <a:pt x="72" y="43"/>
                    <a:pt x="71" y="43"/>
                  </a:cubicBezTo>
                  <a:cubicBezTo>
                    <a:pt x="65" y="43"/>
                    <a:pt x="65" y="43"/>
                    <a:pt x="65" y="43"/>
                  </a:cubicBezTo>
                  <a:cubicBezTo>
                    <a:pt x="55" y="16"/>
                    <a:pt x="55" y="16"/>
                    <a:pt x="55" y="16"/>
                  </a:cubicBezTo>
                  <a:cubicBezTo>
                    <a:pt x="55" y="14"/>
                    <a:pt x="53" y="14"/>
                    <a:pt x="52" y="16"/>
                  </a:cubicBezTo>
                  <a:cubicBezTo>
                    <a:pt x="43" y="43"/>
                    <a:pt x="43" y="43"/>
                    <a:pt x="43" y="43"/>
                  </a:cubicBezTo>
                  <a:cubicBezTo>
                    <a:pt x="18" y="43"/>
                    <a:pt x="18" y="43"/>
                    <a:pt x="18" y="43"/>
                  </a:cubicBezTo>
                  <a:cubicBezTo>
                    <a:pt x="18" y="10"/>
                    <a:pt x="18" y="10"/>
                    <a:pt x="18" y="10"/>
                  </a:cubicBezTo>
                  <a:lnTo>
                    <a:pt x="116" y="10"/>
                  </a:lnTo>
                  <a:close/>
                  <a:moveTo>
                    <a:pt x="18" y="73"/>
                  </a:moveTo>
                  <a:cubicBezTo>
                    <a:pt x="18" y="47"/>
                    <a:pt x="18" y="47"/>
                    <a:pt x="18" y="47"/>
                  </a:cubicBezTo>
                  <a:cubicBezTo>
                    <a:pt x="44" y="47"/>
                    <a:pt x="44" y="47"/>
                    <a:pt x="44" y="47"/>
                  </a:cubicBezTo>
                  <a:cubicBezTo>
                    <a:pt x="45" y="47"/>
                    <a:pt x="45" y="46"/>
                    <a:pt x="46" y="46"/>
                  </a:cubicBezTo>
                  <a:cubicBezTo>
                    <a:pt x="54" y="22"/>
                    <a:pt x="54" y="22"/>
                    <a:pt x="54" y="22"/>
                  </a:cubicBezTo>
                  <a:cubicBezTo>
                    <a:pt x="62" y="46"/>
                    <a:pt x="62" y="46"/>
                    <a:pt x="62" y="46"/>
                  </a:cubicBezTo>
                  <a:cubicBezTo>
                    <a:pt x="62" y="46"/>
                    <a:pt x="63" y="47"/>
                    <a:pt x="63" y="47"/>
                  </a:cubicBezTo>
                  <a:cubicBezTo>
                    <a:pt x="70" y="47"/>
                    <a:pt x="70" y="47"/>
                    <a:pt x="70" y="47"/>
                  </a:cubicBezTo>
                  <a:cubicBezTo>
                    <a:pt x="76" y="67"/>
                    <a:pt x="76" y="67"/>
                    <a:pt x="76" y="67"/>
                  </a:cubicBezTo>
                  <a:cubicBezTo>
                    <a:pt x="76" y="68"/>
                    <a:pt x="77" y="68"/>
                    <a:pt x="77" y="68"/>
                  </a:cubicBezTo>
                  <a:cubicBezTo>
                    <a:pt x="78" y="68"/>
                    <a:pt x="79" y="68"/>
                    <a:pt x="79" y="67"/>
                  </a:cubicBezTo>
                  <a:cubicBezTo>
                    <a:pt x="85" y="47"/>
                    <a:pt x="85" y="47"/>
                    <a:pt x="85" y="47"/>
                  </a:cubicBezTo>
                  <a:cubicBezTo>
                    <a:pt x="116" y="47"/>
                    <a:pt x="116" y="47"/>
                    <a:pt x="116" y="47"/>
                  </a:cubicBezTo>
                  <a:cubicBezTo>
                    <a:pt x="116" y="73"/>
                    <a:pt x="116" y="73"/>
                    <a:pt x="116" y="73"/>
                  </a:cubicBezTo>
                  <a:cubicBezTo>
                    <a:pt x="18" y="73"/>
                    <a:pt x="18" y="73"/>
                    <a:pt x="18"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131" name="Group 436"/>
          <p:cNvGrpSpPr/>
          <p:nvPr/>
        </p:nvGrpSpPr>
        <p:grpSpPr>
          <a:xfrm>
            <a:off x="6493447" y="2167137"/>
            <a:ext cx="554124" cy="493396"/>
            <a:chOff x="2432050" y="4645025"/>
            <a:chExt cx="539751" cy="449263"/>
          </a:xfrm>
          <a:solidFill>
            <a:srgbClr val="FE5817"/>
          </a:solidFill>
        </p:grpSpPr>
        <p:sp>
          <p:nvSpPr>
            <p:cNvPr id="132" name="Freeform 35"/>
            <p:cNvSpPr/>
            <p:nvPr/>
          </p:nvSpPr>
          <p:spPr bwMode="auto">
            <a:xfrm>
              <a:off x="2768600" y="5049838"/>
              <a:ext cx="203200" cy="44450"/>
            </a:xfrm>
            <a:custGeom>
              <a:avLst/>
              <a:gdLst>
                <a:gd name="T0" fmla="*/ 0 w 1278"/>
                <a:gd name="T1" fmla="*/ 0 h 283"/>
                <a:gd name="T2" fmla="*/ 1153 w 1278"/>
                <a:gd name="T3" fmla="*/ 0 h 283"/>
                <a:gd name="T4" fmla="*/ 1179 w 1278"/>
                <a:gd name="T5" fmla="*/ 2 h 283"/>
                <a:gd name="T6" fmla="*/ 1203 w 1278"/>
                <a:gd name="T7" fmla="*/ 8 h 283"/>
                <a:gd name="T8" fmla="*/ 1222 w 1278"/>
                <a:gd name="T9" fmla="*/ 19 h 283"/>
                <a:gd name="T10" fmla="*/ 1240 w 1278"/>
                <a:gd name="T11" fmla="*/ 34 h 283"/>
                <a:gd name="T12" fmla="*/ 1253 w 1278"/>
                <a:gd name="T13" fmla="*/ 51 h 283"/>
                <a:gd name="T14" fmla="*/ 1263 w 1278"/>
                <a:gd name="T15" fmla="*/ 66 h 283"/>
                <a:gd name="T16" fmla="*/ 1271 w 1278"/>
                <a:gd name="T17" fmla="*/ 80 h 283"/>
                <a:gd name="T18" fmla="*/ 1274 w 1278"/>
                <a:gd name="T19" fmla="*/ 92 h 283"/>
                <a:gd name="T20" fmla="*/ 1277 w 1278"/>
                <a:gd name="T21" fmla="*/ 114 h 283"/>
                <a:gd name="T22" fmla="*/ 1278 w 1278"/>
                <a:gd name="T23" fmla="*/ 131 h 283"/>
                <a:gd name="T24" fmla="*/ 1278 w 1278"/>
                <a:gd name="T25" fmla="*/ 200 h 283"/>
                <a:gd name="T26" fmla="*/ 1271 w 1278"/>
                <a:gd name="T27" fmla="*/ 220 h 283"/>
                <a:gd name="T28" fmla="*/ 1263 w 1278"/>
                <a:gd name="T29" fmla="*/ 235 h 283"/>
                <a:gd name="T30" fmla="*/ 1251 w 1278"/>
                <a:gd name="T31" fmla="*/ 248 h 283"/>
                <a:gd name="T32" fmla="*/ 1233 w 1278"/>
                <a:gd name="T33" fmla="*/ 262 h 283"/>
                <a:gd name="T34" fmla="*/ 1211 w 1278"/>
                <a:gd name="T35" fmla="*/ 274 h 283"/>
                <a:gd name="T36" fmla="*/ 1186 w 1278"/>
                <a:gd name="T37" fmla="*/ 280 h 283"/>
                <a:gd name="T38" fmla="*/ 1160 w 1278"/>
                <a:gd name="T39" fmla="*/ 283 h 283"/>
                <a:gd name="T40" fmla="*/ 0 w 1278"/>
                <a:gd name="T41" fmla="*/ 283 h 283"/>
                <a:gd name="T42" fmla="*/ 0 w 1278"/>
                <a:gd name="T43"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8" h="283">
                  <a:moveTo>
                    <a:pt x="0" y="0"/>
                  </a:moveTo>
                  <a:lnTo>
                    <a:pt x="1153" y="0"/>
                  </a:lnTo>
                  <a:lnTo>
                    <a:pt x="1179" y="2"/>
                  </a:lnTo>
                  <a:lnTo>
                    <a:pt x="1203" y="8"/>
                  </a:lnTo>
                  <a:lnTo>
                    <a:pt x="1222" y="19"/>
                  </a:lnTo>
                  <a:lnTo>
                    <a:pt x="1240" y="34"/>
                  </a:lnTo>
                  <a:lnTo>
                    <a:pt x="1253" y="51"/>
                  </a:lnTo>
                  <a:lnTo>
                    <a:pt x="1263" y="66"/>
                  </a:lnTo>
                  <a:lnTo>
                    <a:pt x="1271" y="80"/>
                  </a:lnTo>
                  <a:lnTo>
                    <a:pt x="1274" y="92"/>
                  </a:lnTo>
                  <a:lnTo>
                    <a:pt x="1277" y="114"/>
                  </a:lnTo>
                  <a:lnTo>
                    <a:pt x="1278" y="131"/>
                  </a:lnTo>
                  <a:lnTo>
                    <a:pt x="1278" y="200"/>
                  </a:lnTo>
                  <a:lnTo>
                    <a:pt x="1271" y="220"/>
                  </a:lnTo>
                  <a:lnTo>
                    <a:pt x="1263" y="235"/>
                  </a:lnTo>
                  <a:lnTo>
                    <a:pt x="1251" y="248"/>
                  </a:lnTo>
                  <a:lnTo>
                    <a:pt x="1233" y="262"/>
                  </a:lnTo>
                  <a:lnTo>
                    <a:pt x="1211" y="274"/>
                  </a:lnTo>
                  <a:lnTo>
                    <a:pt x="1186" y="280"/>
                  </a:lnTo>
                  <a:lnTo>
                    <a:pt x="1160" y="283"/>
                  </a:lnTo>
                  <a:lnTo>
                    <a:pt x="0" y="283"/>
                  </a:lnTo>
                  <a:lnTo>
                    <a:pt x="0"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sp>
          <p:nvSpPr>
            <p:cNvPr id="133" name="Freeform 36"/>
            <p:cNvSpPr/>
            <p:nvPr/>
          </p:nvSpPr>
          <p:spPr bwMode="auto">
            <a:xfrm>
              <a:off x="2881313" y="4949825"/>
              <a:ext cx="90488" cy="90488"/>
            </a:xfrm>
            <a:custGeom>
              <a:avLst/>
              <a:gdLst>
                <a:gd name="T0" fmla="*/ 283 w 567"/>
                <a:gd name="T1" fmla="*/ 0 h 573"/>
                <a:gd name="T2" fmla="*/ 322 w 567"/>
                <a:gd name="T3" fmla="*/ 2 h 573"/>
                <a:gd name="T4" fmla="*/ 358 w 567"/>
                <a:gd name="T5" fmla="*/ 10 h 573"/>
                <a:gd name="T6" fmla="*/ 392 w 567"/>
                <a:gd name="T7" fmla="*/ 21 h 573"/>
                <a:gd name="T8" fmla="*/ 425 w 567"/>
                <a:gd name="T9" fmla="*/ 37 h 573"/>
                <a:gd name="T10" fmla="*/ 456 w 567"/>
                <a:gd name="T11" fmla="*/ 58 h 573"/>
                <a:gd name="T12" fmla="*/ 483 w 567"/>
                <a:gd name="T13" fmla="*/ 84 h 573"/>
                <a:gd name="T14" fmla="*/ 509 w 567"/>
                <a:gd name="T15" fmla="*/ 112 h 573"/>
                <a:gd name="T16" fmla="*/ 530 w 567"/>
                <a:gd name="T17" fmla="*/ 142 h 573"/>
                <a:gd name="T18" fmla="*/ 546 w 567"/>
                <a:gd name="T19" fmla="*/ 175 h 573"/>
                <a:gd name="T20" fmla="*/ 558 w 567"/>
                <a:gd name="T21" fmla="*/ 210 h 573"/>
                <a:gd name="T22" fmla="*/ 564 w 567"/>
                <a:gd name="T23" fmla="*/ 248 h 573"/>
                <a:gd name="T24" fmla="*/ 567 w 567"/>
                <a:gd name="T25" fmla="*/ 287 h 573"/>
                <a:gd name="T26" fmla="*/ 564 w 567"/>
                <a:gd name="T27" fmla="*/ 326 h 573"/>
                <a:gd name="T28" fmla="*/ 558 w 567"/>
                <a:gd name="T29" fmla="*/ 363 h 573"/>
                <a:gd name="T30" fmla="*/ 546 w 567"/>
                <a:gd name="T31" fmla="*/ 398 h 573"/>
                <a:gd name="T32" fmla="*/ 530 w 567"/>
                <a:gd name="T33" fmla="*/ 431 h 573"/>
                <a:gd name="T34" fmla="*/ 509 w 567"/>
                <a:gd name="T35" fmla="*/ 462 h 573"/>
                <a:gd name="T36" fmla="*/ 483 w 567"/>
                <a:gd name="T37" fmla="*/ 491 h 573"/>
                <a:gd name="T38" fmla="*/ 456 w 567"/>
                <a:gd name="T39" fmla="*/ 515 h 573"/>
                <a:gd name="T40" fmla="*/ 425 w 567"/>
                <a:gd name="T41" fmla="*/ 537 h 573"/>
                <a:gd name="T42" fmla="*/ 392 w 567"/>
                <a:gd name="T43" fmla="*/ 552 h 573"/>
                <a:gd name="T44" fmla="*/ 358 w 567"/>
                <a:gd name="T45" fmla="*/ 564 h 573"/>
                <a:gd name="T46" fmla="*/ 322 w 567"/>
                <a:gd name="T47" fmla="*/ 571 h 573"/>
                <a:gd name="T48" fmla="*/ 283 w 567"/>
                <a:gd name="T49" fmla="*/ 573 h 573"/>
                <a:gd name="T50" fmla="*/ 245 w 567"/>
                <a:gd name="T51" fmla="*/ 571 h 573"/>
                <a:gd name="T52" fmla="*/ 209 w 567"/>
                <a:gd name="T53" fmla="*/ 564 h 573"/>
                <a:gd name="T54" fmla="*/ 174 w 567"/>
                <a:gd name="T55" fmla="*/ 552 h 573"/>
                <a:gd name="T56" fmla="*/ 142 w 567"/>
                <a:gd name="T57" fmla="*/ 537 h 573"/>
                <a:gd name="T58" fmla="*/ 111 w 567"/>
                <a:gd name="T59" fmla="*/ 515 h 573"/>
                <a:gd name="T60" fmla="*/ 84 w 567"/>
                <a:gd name="T61" fmla="*/ 491 h 573"/>
                <a:gd name="T62" fmla="*/ 58 w 567"/>
                <a:gd name="T63" fmla="*/ 462 h 573"/>
                <a:gd name="T64" fmla="*/ 37 w 567"/>
                <a:gd name="T65" fmla="*/ 431 h 573"/>
                <a:gd name="T66" fmla="*/ 21 w 567"/>
                <a:gd name="T67" fmla="*/ 398 h 573"/>
                <a:gd name="T68" fmla="*/ 9 w 567"/>
                <a:gd name="T69" fmla="*/ 363 h 573"/>
                <a:gd name="T70" fmla="*/ 2 w 567"/>
                <a:gd name="T71" fmla="*/ 326 h 573"/>
                <a:gd name="T72" fmla="*/ 0 w 567"/>
                <a:gd name="T73" fmla="*/ 287 h 573"/>
                <a:gd name="T74" fmla="*/ 2 w 567"/>
                <a:gd name="T75" fmla="*/ 248 h 573"/>
                <a:gd name="T76" fmla="*/ 9 w 567"/>
                <a:gd name="T77" fmla="*/ 210 h 573"/>
                <a:gd name="T78" fmla="*/ 21 w 567"/>
                <a:gd name="T79" fmla="*/ 175 h 573"/>
                <a:gd name="T80" fmla="*/ 37 w 567"/>
                <a:gd name="T81" fmla="*/ 142 h 573"/>
                <a:gd name="T82" fmla="*/ 58 w 567"/>
                <a:gd name="T83" fmla="*/ 112 h 573"/>
                <a:gd name="T84" fmla="*/ 84 w 567"/>
                <a:gd name="T85" fmla="*/ 84 h 573"/>
                <a:gd name="T86" fmla="*/ 111 w 567"/>
                <a:gd name="T87" fmla="*/ 58 h 573"/>
                <a:gd name="T88" fmla="*/ 142 w 567"/>
                <a:gd name="T89" fmla="*/ 37 h 573"/>
                <a:gd name="T90" fmla="*/ 174 w 567"/>
                <a:gd name="T91" fmla="*/ 21 h 573"/>
                <a:gd name="T92" fmla="*/ 209 w 567"/>
                <a:gd name="T93" fmla="*/ 10 h 573"/>
                <a:gd name="T94" fmla="*/ 245 w 567"/>
                <a:gd name="T95" fmla="*/ 2 h 573"/>
                <a:gd name="T96" fmla="*/ 283 w 567"/>
                <a:gd name="T97"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7" h="573">
                  <a:moveTo>
                    <a:pt x="283" y="0"/>
                  </a:moveTo>
                  <a:lnTo>
                    <a:pt x="322" y="2"/>
                  </a:lnTo>
                  <a:lnTo>
                    <a:pt x="358" y="10"/>
                  </a:lnTo>
                  <a:lnTo>
                    <a:pt x="392" y="21"/>
                  </a:lnTo>
                  <a:lnTo>
                    <a:pt x="425" y="37"/>
                  </a:lnTo>
                  <a:lnTo>
                    <a:pt x="456" y="58"/>
                  </a:lnTo>
                  <a:lnTo>
                    <a:pt x="483" y="84"/>
                  </a:lnTo>
                  <a:lnTo>
                    <a:pt x="509" y="112"/>
                  </a:lnTo>
                  <a:lnTo>
                    <a:pt x="530" y="142"/>
                  </a:lnTo>
                  <a:lnTo>
                    <a:pt x="546" y="175"/>
                  </a:lnTo>
                  <a:lnTo>
                    <a:pt x="558" y="210"/>
                  </a:lnTo>
                  <a:lnTo>
                    <a:pt x="564" y="248"/>
                  </a:lnTo>
                  <a:lnTo>
                    <a:pt x="567" y="287"/>
                  </a:lnTo>
                  <a:lnTo>
                    <a:pt x="564" y="326"/>
                  </a:lnTo>
                  <a:lnTo>
                    <a:pt x="558" y="363"/>
                  </a:lnTo>
                  <a:lnTo>
                    <a:pt x="546" y="398"/>
                  </a:lnTo>
                  <a:lnTo>
                    <a:pt x="530" y="431"/>
                  </a:lnTo>
                  <a:lnTo>
                    <a:pt x="509" y="462"/>
                  </a:lnTo>
                  <a:lnTo>
                    <a:pt x="483" y="491"/>
                  </a:lnTo>
                  <a:lnTo>
                    <a:pt x="456" y="515"/>
                  </a:lnTo>
                  <a:lnTo>
                    <a:pt x="425" y="537"/>
                  </a:lnTo>
                  <a:lnTo>
                    <a:pt x="392" y="552"/>
                  </a:lnTo>
                  <a:lnTo>
                    <a:pt x="358" y="564"/>
                  </a:lnTo>
                  <a:lnTo>
                    <a:pt x="322" y="571"/>
                  </a:lnTo>
                  <a:lnTo>
                    <a:pt x="283" y="573"/>
                  </a:lnTo>
                  <a:lnTo>
                    <a:pt x="245" y="571"/>
                  </a:lnTo>
                  <a:lnTo>
                    <a:pt x="209" y="564"/>
                  </a:lnTo>
                  <a:lnTo>
                    <a:pt x="174" y="552"/>
                  </a:lnTo>
                  <a:lnTo>
                    <a:pt x="142" y="537"/>
                  </a:lnTo>
                  <a:lnTo>
                    <a:pt x="111" y="515"/>
                  </a:lnTo>
                  <a:lnTo>
                    <a:pt x="84" y="491"/>
                  </a:lnTo>
                  <a:lnTo>
                    <a:pt x="58" y="462"/>
                  </a:lnTo>
                  <a:lnTo>
                    <a:pt x="37" y="431"/>
                  </a:lnTo>
                  <a:lnTo>
                    <a:pt x="21" y="398"/>
                  </a:lnTo>
                  <a:lnTo>
                    <a:pt x="9" y="363"/>
                  </a:lnTo>
                  <a:lnTo>
                    <a:pt x="2" y="326"/>
                  </a:lnTo>
                  <a:lnTo>
                    <a:pt x="0" y="287"/>
                  </a:lnTo>
                  <a:lnTo>
                    <a:pt x="2" y="248"/>
                  </a:lnTo>
                  <a:lnTo>
                    <a:pt x="9" y="210"/>
                  </a:lnTo>
                  <a:lnTo>
                    <a:pt x="21" y="175"/>
                  </a:lnTo>
                  <a:lnTo>
                    <a:pt x="37" y="142"/>
                  </a:lnTo>
                  <a:lnTo>
                    <a:pt x="58" y="112"/>
                  </a:lnTo>
                  <a:lnTo>
                    <a:pt x="84" y="84"/>
                  </a:lnTo>
                  <a:lnTo>
                    <a:pt x="111" y="58"/>
                  </a:lnTo>
                  <a:lnTo>
                    <a:pt x="142" y="37"/>
                  </a:lnTo>
                  <a:lnTo>
                    <a:pt x="174" y="21"/>
                  </a:lnTo>
                  <a:lnTo>
                    <a:pt x="209" y="10"/>
                  </a:lnTo>
                  <a:lnTo>
                    <a:pt x="245" y="2"/>
                  </a:lnTo>
                  <a:lnTo>
                    <a:pt x="283"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sp>
          <p:nvSpPr>
            <p:cNvPr id="134" name="Freeform 37"/>
            <p:cNvSpPr/>
            <p:nvPr/>
          </p:nvSpPr>
          <p:spPr bwMode="auto">
            <a:xfrm>
              <a:off x="2768600" y="4960938"/>
              <a:ext cx="104775" cy="77788"/>
            </a:xfrm>
            <a:custGeom>
              <a:avLst/>
              <a:gdLst>
                <a:gd name="T0" fmla="*/ 394 w 663"/>
                <a:gd name="T1" fmla="*/ 0 h 484"/>
                <a:gd name="T2" fmla="*/ 439 w 663"/>
                <a:gd name="T3" fmla="*/ 3 h 484"/>
                <a:gd name="T4" fmla="*/ 481 w 663"/>
                <a:gd name="T5" fmla="*/ 10 h 484"/>
                <a:gd name="T6" fmla="*/ 519 w 663"/>
                <a:gd name="T7" fmla="*/ 21 h 484"/>
                <a:gd name="T8" fmla="*/ 555 w 663"/>
                <a:gd name="T9" fmla="*/ 38 h 484"/>
                <a:gd name="T10" fmla="*/ 587 w 663"/>
                <a:gd name="T11" fmla="*/ 59 h 484"/>
                <a:gd name="T12" fmla="*/ 610 w 663"/>
                <a:gd name="T13" fmla="*/ 80 h 484"/>
                <a:gd name="T14" fmla="*/ 630 w 663"/>
                <a:gd name="T15" fmla="*/ 104 h 484"/>
                <a:gd name="T16" fmla="*/ 644 w 663"/>
                <a:gd name="T17" fmla="*/ 130 h 484"/>
                <a:gd name="T18" fmla="*/ 654 w 663"/>
                <a:gd name="T19" fmla="*/ 160 h 484"/>
                <a:gd name="T20" fmla="*/ 661 w 663"/>
                <a:gd name="T21" fmla="*/ 193 h 484"/>
                <a:gd name="T22" fmla="*/ 663 w 663"/>
                <a:gd name="T23" fmla="*/ 228 h 484"/>
                <a:gd name="T24" fmla="*/ 661 w 663"/>
                <a:gd name="T25" fmla="*/ 264 h 484"/>
                <a:gd name="T26" fmla="*/ 654 w 663"/>
                <a:gd name="T27" fmla="*/ 297 h 484"/>
                <a:gd name="T28" fmla="*/ 643 w 663"/>
                <a:gd name="T29" fmla="*/ 329 h 484"/>
                <a:gd name="T30" fmla="*/ 628 w 663"/>
                <a:gd name="T31" fmla="*/ 359 h 484"/>
                <a:gd name="T32" fmla="*/ 608 w 663"/>
                <a:gd name="T33" fmla="*/ 386 h 484"/>
                <a:gd name="T34" fmla="*/ 583 w 663"/>
                <a:gd name="T35" fmla="*/ 412 h 484"/>
                <a:gd name="T36" fmla="*/ 556 w 663"/>
                <a:gd name="T37" fmla="*/ 433 h 484"/>
                <a:gd name="T38" fmla="*/ 528 w 663"/>
                <a:gd name="T39" fmla="*/ 452 h 484"/>
                <a:gd name="T40" fmla="*/ 497 w 663"/>
                <a:gd name="T41" fmla="*/ 465 h 484"/>
                <a:gd name="T42" fmla="*/ 464 w 663"/>
                <a:gd name="T43" fmla="*/ 475 h 484"/>
                <a:gd name="T44" fmla="*/ 430 w 663"/>
                <a:gd name="T45" fmla="*/ 482 h 484"/>
                <a:gd name="T46" fmla="*/ 394 w 663"/>
                <a:gd name="T47" fmla="*/ 484 h 484"/>
                <a:gd name="T48" fmla="*/ 0 w 663"/>
                <a:gd name="T49" fmla="*/ 484 h 484"/>
                <a:gd name="T50" fmla="*/ 0 w 663"/>
                <a:gd name="T51" fmla="*/ 49 h 484"/>
                <a:gd name="T52" fmla="*/ 394 w 663"/>
                <a:gd name="T53"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484">
                  <a:moveTo>
                    <a:pt x="394" y="0"/>
                  </a:moveTo>
                  <a:lnTo>
                    <a:pt x="439" y="3"/>
                  </a:lnTo>
                  <a:lnTo>
                    <a:pt x="481" y="10"/>
                  </a:lnTo>
                  <a:lnTo>
                    <a:pt x="519" y="21"/>
                  </a:lnTo>
                  <a:lnTo>
                    <a:pt x="555" y="38"/>
                  </a:lnTo>
                  <a:lnTo>
                    <a:pt x="587" y="59"/>
                  </a:lnTo>
                  <a:lnTo>
                    <a:pt x="610" y="80"/>
                  </a:lnTo>
                  <a:lnTo>
                    <a:pt x="630" y="104"/>
                  </a:lnTo>
                  <a:lnTo>
                    <a:pt x="644" y="130"/>
                  </a:lnTo>
                  <a:lnTo>
                    <a:pt x="654" y="160"/>
                  </a:lnTo>
                  <a:lnTo>
                    <a:pt x="661" y="193"/>
                  </a:lnTo>
                  <a:lnTo>
                    <a:pt x="663" y="228"/>
                  </a:lnTo>
                  <a:lnTo>
                    <a:pt x="661" y="264"/>
                  </a:lnTo>
                  <a:lnTo>
                    <a:pt x="654" y="297"/>
                  </a:lnTo>
                  <a:lnTo>
                    <a:pt x="643" y="329"/>
                  </a:lnTo>
                  <a:lnTo>
                    <a:pt x="628" y="359"/>
                  </a:lnTo>
                  <a:lnTo>
                    <a:pt x="608" y="386"/>
                  </a:lnTo>
                  <a:lnTo>
                    <a:pt x="583" y="412"/>
                  </a:lnTo>
                  <a:lnTo>
                    <a:pt x="556" y="433"/>
                  </a:lnTo>
                  <a:lnTo>
                    <a:pt x="528" y="452"/>
                  </a:lnTo>
                  <a:lnTo>
                    <a:pt x="497" y="465"/>
                  </a:lnTo>
                  <a:lnTo>
                    <a:pt x="464" y="475"/>
                  </a:lnTo>
                  <a:lnTo>
                    <a:pt x="430" y="482"/>
                  </a:lnTo>
                  <a:lnTo>
                    <a:pt x="394" y="484"/>
                  </a:lnTo>
                  <a:lnTo>
                    <a:pt x="0" y="484"/>
                  </a:lnTo>
                  <a:lnTo>
                    <a:pt x="0" y="49"/>
                  </a:lnTo>
                  <a:lnTo>
                    <a:pt x="394"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sp>
          <p:nvSpPr>
            <p:cNvPr id="135" name="Freeform 38"/>
            <p:cNvSpPr/>
            <p:nvPr/>
          </p:nvSpPr>
          <p:spPr bwMode="auto">
            <a:xfrm>
              <a:off x="2578100" y="4645025"/>
              <a:ext cx="100013" cy="100013"/>
            </a:xfrm>
            <a:custGeom>
              <a:avLst/>
              <a:gdLst>
                <a:gd name="T0" fmla="*/ 318 w 629"/>
                <a:gd name="T1" fmla="*/ 0 h 636"/>
                <a:gd name="T2" fmla="*/ 318 w 629"/>
                <a:gd name="T3" fmla="*/ 0 h 636"/>
                <a:gd name="T4" fmla="*/ 360 w 629"/>
                <a:gd name="T5" fmla="*/ 3 h 636"/>
                <a:gd name="T6" fmla="*/ 400 w 629"/>
                <a:gd name="T7" fmla="*/ 10 h 636"/>
                <a:gd name="T8" fmla="*/ 438 w 629"/>
                <a:gd name="T9" fmla="*/ 24 h 636"/>
                <a:gd name="T10" fmla="*/ 475 w 629"/>
                <a:gd name="T11" fmla="*/ 42 h 636"/>
                <a:gd name="T12" fmla="*/ 508 w 629"/>
                <a:gd name="T13" fmla="*/ 65 h 636"/>
                <a:gd name="T14" fmla="*/ 539 w 629"/>
                <a:gd name="T15" fmla="*/ 94 h 636"/>
                <a:gd name="T16" fmla="*/ 566 w 629"/>
                <a:gd name="T17" fmla="*/ 126 h 636"/>
                <a:gd name="T18" fmla="*/ 589 w 629"/>
                <a:gd name="T19" fmla="*/ 160 h 636"/>
                <a:gd name="T20" fmla="*/ 606 w 629"/>
                <a:gd name="T21" fmla="*/ 197 h 636"/>
                <a:gd name="T22" fmla="*/ 619 w 629"/>
                <a:gd name="T23" fmla="*/ 235 h 636"/>
                <a:gd name="T24" fmla="*/ 626 w 629"/>
                <a:gd name="T25" fmla="*/ 275 h 636"/>
                <a:gd name="T26" fmla="*/ 629 w 629"/>
                <a:gd name="T27" fmla="*/ 318 h 636"/>
                <a:gd name="T28" fmla="*/ 626 w 629"/>
                <a:gd name="T29" fmla="*/ 361 h 636"/>
                <a:gd name="T30" fmla="*/ 619 w 629"/>
                <a:gd name="T31" fmla="*/ 401 h 636"/>
                <a:gd name="T32" fmla="*/ 606 w 629"/>
                <a:gd name="T33" fmla="*/ 440 h 636"/>
                <a:gd name="T34" fmla="*/ 589 w 629"/>
                <a:gd name="T35" fmla="*/ 476 h 636"/>
                <a:gd name="T36" fmla="*/ 566 w 629"/>
                <a:gd name="T37" fmla="*/ 510 h 636"/>
                <a:gd name="T38" fmla="*/ 539 w 629"/>
                <a:gd name="T39" fmla="*/ 542 h 636"/>
                <a:gd name="T40" fmla="*/ 508 w 629"/>
                <a:gd name="T41" fmla="*/ 571 h 636"/>
                <a:gd name="T42" fmla="*/ 475 w 629"/>
                <a:gd name="T43" fmla="*/ 594 h 636"/>
                <a:gd name="T44" fmla="*/ 438 w 629"/>
                <a:gd name="T45" fmla="*/ 612 h 636"/>
                <a:gd name="T46" fmla="*/ 400 w 629"/>
                <a:gd name="T47" fmla="*/ 625 h 636"/>
                <a:gd name="T48" fmla="*/ 360 w 629"/>
                <a:gd name="T49" fmla="*/ 633 h 636"/>
                <a:gd name="T50" fmla="*/ 318 w 629"/>
                <a:gd name="T51" fmla="*/ 636 h 636"/>
                <a:gd name="T52" fmla="*/ 276 w 629"/>
                <a:gd name="T53" fmla="*/ 633 h 636"/>
                <a:gd name="T54" fmla="*/ 234 w 629"/>
                <a:gd name="T55" fmla="*/ 625 h 636"/>
                <a:gd name="T56" fmla="*/ 196 w 629"/>
                <a:gd name="T57" fmla="*/ 612 h 636"/>
                <a:gd name="T58" fmla="*/ 160 w 629"/>
                <a:gd name="T59" fmla="*/ 594 h 636"/>
                <a:gd name="T60" fmla="*/ 125 w 629"/>
                <a:gd name="T61" fmla="*/ 571 h 636"/>
                <a:gd name="T62" fmla="*/ 93 w 629"/>
                <a:gd name="T63" fmla="*/ 542 h 636"/>
                <a:gd name="T64" fmla="*/ 65 w 629"/>
                <a:gd name="T65" fmla="*/ 510 h 636"/>
                <a:gd name="T66" fmla="*/ 42 w 629"/>
                <a:gd name="T67" fmla="*/ 476 h 636"/>
                <a:gd name="T68" fmla="*/ 23 w 629"/>
                <a:gd name="T69" fmla="*/ 440 h 636"/>
                <a:gd name="T70" fmla="*/ 11 w 629"/>
                <a:gd name="T71" fmla="*/ 401 h 636"/>
                <a:gd name="T72" fmla="*/ 3 w 629"/>
                <a:gd name="T73" fmla="*/ 361 h 636"/>
                <a:gd name="T74" fmla="*/ 0 w 629"/>
                <a:gd name="T75" fmla="*/ 318 h 636"/>
                <a:gd name="T76" fmla="*/ 3 w 629"/>
                <a:gd name="T77" fmla="*/ 275 h 636"/>
                <a:gd name="T78" fmla="*/ 11 w 629"/>
                <a:gd name="T79" fmla="*/ 235 h 636"/>
                <a:gd name="T80" fmla="*/ 23 w 629"/>
                <a:gd name="T81" fmla="*/ 197 h 636"/>
                <a:gd name="T82" fmla="*/ 42 w 629"/>
                <a:gd name="T83" fmla="*/ 160 h 636"/>
                <a:gd name="T84" fmla="*/ 65 w 629"/>
                <a:gd name="T85" fmla="*/ 126 h 636"/>
                <a:gd name="T86" fmla="*/ 93 w 629"/>
                <a:gd name="T87" fmla="*/ 94 h 636"/>
                <a:gd name="T88" fmla="*/ 125 w 629"/>
                <a:gd name="T89" fmla="*/ 65 h 636"/>
                <a:gd name="T90" fmla="*/ 160 w 629"/>
                <a:gd name="T91" fmla="*/ 42 h 636"/>
                <a:gd name="T92" fmla="*/ 196 w 629"/>
                <a:gd name="T93" fmla="*/ 24 h 636"/>
                <a:gd name="T94" fmla="*/ 234 w 629"/>
                <a:gd name="T95" fmla="*/ 10 h 636"/>
                <a:gd name="T96" fmla="*/ 276 w 629"/>
                <a:gd name="T97" fmla="*/ 3 h 636"/>
                <a:gd name="T98" fmla="*/ 318 w 629"/>
                <a:gd name="T99"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9" h="636">
                  <a:moveTo>
                    <a:pt x="318" y="0"/>
                  </a:moveTo>
                  <a:lnTo>
                    <a:pt x="318" y="0"/>
                  </a:lnTo>
                  <a:lnTo>
                    <a:pt x="360" y="3"/>
                  </a:lnTo>
                  <a:lnTo>
                    <a:pt x="400" y="10"/>
                  </a:lnTo>
                  <a:lnTo>
                    <a:pt x="438" y="24"/>
                  </a:lnTo>
                  <a:lnTo>
                    <a:pt x="475" y="42"/>
                  </a:lnTo>
                  <a:lnTo>
                    <a:pt x="508" y="65"/>
                  </a:lnTo>
                  <a:lnTo>
                    <a:pt x="539" y="94"/>
                  </a:lnTo>
                  <a:lnTo>
                    <a:pt x="566" y="126"/>
                  </a:lnTo>
                  <a:lnTo>
                    <a:pt x="589" y="160"/>
                  </a:lnTo>
                  <a:lnTo>
                    <a:pt x="606" y="197"/>
                  </a:lnTo>
                  <a:lnTo>
                    <a:pt x="619" y="235"/>
                  </a:lnTo>
                  <a:lnTo>
                    <a:pt x="626" y="275"/>
                  </a:lnTo>
                  <a:lnTo>
                    <a:pt x="629" y="318"/>
                  </a:lnTo>
                  <a:lnTo>
                    <a:pt x="626" y="361"/>
                  </a:lnTo>
                  <a:lnTo>
                    <a:pt x="619" y="401"/>
                  </a:lnTo>
                  <a:lnTo>
                    <a:pt x="606" y="440"/>
                  </a:lnTo>
                  <a:lnTo>
                    <a:pt x="589" y="476"/>
                  </a:lnTo>
                  <a:lnTo>
                    <a:pt x="566" y="510"/>
                  </a:lnTo>
                  <a:lnTo>
                    <a:pt x="539" y="542"/>
                  </a:lnTo>
                  <a:lnTo>
                    <a:pt x="508" y="571"/>
                  </a:lnTo>
                  <a:lnTo>
                    <a:pt x="475" y="594"/>
                  </a:lnTo>
                  <a:lnTo>
                    <a:pt x="438" y="612"/>
                  </a:lnTo>
                  <a:lnTo>
                    <a:pt x="400" y="625"/>
                  </a:lnTo>
                  <a:lnTo>
                    <a:pt x="360" y="633"/>
                  </a:lnTo>
                  <a:lnTo>
                    <a:pt x="318" y="636"/>
                  </a:lnTo>
                  <a:lnTo>
                    <a:pt x="276" y="633"/>
                  </a:lnTo>
                  <a:lnTo>
                    <a:pt x="234" y="625"/>
                  </a:lnTo>
                  <a:lnTo>
                    <a:pt x="196" y="612"/>
                  </a:lnTo>
                  <a:lnTo>
                    <a:pt x="160" y="594"/>
                  </a:lnTo>
                  <a:lnTo>
                    <a:pt x="125" y="571"/>
                  </a:lnTo>
                  <a:lnTo>
                    <a:pt x="93" y="542"/>
                  </a:lnTo>
                  <a:lnTo>
                    <a:pt x="65" y="510"/>
                  </a:lnTo>
                  <a:lnTo>
                    <a:pt x="42" y="476"/>
                  </a:lnTo>
                  <a:lnTo>
                    <a:pt x="23" y="440"/>
                  </a:lnTo>
                  <a:lnTo>
                    <a:pt x="11" y="401"/>
                  </a:lnTo>
                  <a:lnTo>
                    <a:pt x="3" y="361"/>
                  </a:lnTo>
                  <a:lnTo>
                    <a:pt x="0" y="318"/>
                  </a:lnTo>
                  <a:lnTo>
                    <a:pt x="3" y="275"/>
                  </a:lnTo>
                  <a:lnTo>
                    <a:pt x="11" y="235"/>
                  </a:lnTo>
                  <a:lnTo>
                    <a:pt x="23" y="197"/>
                  </a:lnTo>
                  <a:lnTo>
                    <a:pt x="42" y="160"/>
                  </a:lnTo>
                  <a:lnTo>
                    <a:pt x="65" y="126"/>
                  </a:lnTo>
                  <a:lnTo>
                    <a:pt x="93" y="94"/>
                  </a:lnTo>
                  <a:lnTo>
                    <a:pt x="125" y="65"/>
                  </a:lnTo>
                  <a:lnTo>
                    <a:pt x="160" y="42"/>
                  </a:lnTo>
                  <a:lnTo>
                    <a:pt x="196" y="24"/>
                  </a:lnTo>
                  <a:lnTo>
                    <a:pt x="234" y="10"/>
                  </a:lnTo>
                  <a:lnTo>
                    <a:pt x="276" y="3"/>
                  </a:lnTo>
                  <a:lnTo>
                    <a:pt x="318"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sp>
          <p:nvSpPr>
            <p:cNvPr id="136" name="Freeform 39"/>
            <p:cNvSpPr/>
            <p:nvPr/>
          </p:nvSpPr>
          <p:spPr bwMode="auto">
            <a:xfrm>
              <a:off x="2554288" y="4854575"/>
              <a:ext cx="82550" cy="104775"/>
            </a:xfrm>
            <a:custGeom>
              <a:avLst/>
              <a:gdLst>
                <a:gd name="T0" fmla="*/ 0 w 518"/>
                <a:gd name="T1" fmla="*/ 0 h 662"/>
                <a:gd name="T2" fmla="*/ 145 w 518"/>
                <a:gd name="T3" fmla="*/ 331 h 662"/>
                <a:gd name="T4" fmla="*/ 145 w 518"/>
                <a:gd name="T5" fmla="*/ 339 h 662"/>
                <a:gd name="T6" fmla="*/ 159 w 518"/>
                <a:gd name="T7" fmla="*/ 368 h 662"/>
                <a:gd name="T8" fmla="*/ 174 w 518"/>
                <a:gd name="T9" fmla="*/ 395 h 662"/>
                <a:gd name="T10" fmla="*/ 194 w 518"/>
                <a:gd name="T11" fmla="*/ 419 h 662"/>
                <a:gd name="T12" fmla="*/ 216 w 518"/>
                <a:gd name="T13" fmla="*/ 440 h 662"/>
                <a:gd name="T14" fmla="*/ 241 w 518"/>
                <a:gd name="T15" fmla="*/ 456 h 662"/>
                <a:gd name="T16" fmla="*/ 270 w 518"/>
                <a:gd name="T17" fmla="*/ 469 h 662"/>
                <a:gd name="T18" fmla="*/ 518 w 518"/>
                <a:gd name="T19" fmla="*/ 566 h 662"/>
                <a:gd name="T20" fmla="*/ 429 w 518"/>
                <a:gd name="T21" fmla="*/ 662 h 662"/>
                <a:gd name="T22" fmla="*/ 0 w 518"/>
                <a:gd name="T23" fmla="*/ 662 h 662"/>
                <a:gd name="T24" fmla="*/ 0 w 518"/>
                <a:gd name="T25"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8" h="662">
                  <a:moveTo>
                    <a:pt x="0" y="0"/>
                  </a:moveTo>
                  <a:lnTo>
                    <a:pt x="145" y="331"/>
                  </a:lnTo>
                  <a:lnTo>
                    <a:pt x="145" y="339"/>
                  </a:lnTo>
                  <a:lnTo>
                    <a:pt x="159" y="368"/>
                  </a:lnTo>
                  <a:lnTo>
                    <a:pt x="174" y="395"/>
                  </a:lnTo>
                  <a:lnTo>
                    <a:pt x="194" y="419"/>
                  </a:lnTo>
                  <a:lnTo>
                    <a:pt x="216" y="440"/>
                  </a:lnTo>
                  <a:lnTo>
                    <a:pt x="241" y="456"/>
                  </a:lnTo>
                  <a:lnTo>
                    <a:pt x="270" y="469"/>
                  </a:lnTo>
                  <a:lnTo>
                    <a:pt x="518" y="566"/>
                  </a:lnTo>
                  <a:lnTo>
                    <a:pt x="429" y="662"/>
                  </a:lnTo>
                  <a:lnTo>
                    <a:pt x="0" y="662"/>
                  </a:lnTo>
                  <a:lnTo>
                    <a:pt x="0"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sp>
          <p:nvSpPr>
            <p:cNvPr id="137" name="Freeform 40"/>
            <p:cNvSpPr/>
            <p:nvPr/>
          </p:nvSpPr>
          <p:spPr bwMode="auto">
            <a:xfrm>
              <a:off x="2554288" y="4757738"/>
              <a:ext cx="217488" cy="185738"/>
            </a:xfrm>
            <a:custGeom>
              <a:avLst/>
              <a:gdLst>
                <a:gd name="T0" fmla="*/ 679 w 1367"/>
                <a:gd name="T1" fmla="*/ 0 h 1170"/>
                <a:gd name="T2" fmla="*/ 760 w 1367"/>
                <a:gd name="T3" fmla="*/ 8 h 1170"/>
                <a:gd name="T4" fmla="*/ 830 w 1367"/>
                <a:gd name="T5" fmla="*/ 33 h 1170"/>
                <a:gd name="T6" fmla="*/ 886 w 1367"/>
                <a:gd name="T7" fmla="*/ 75 h 1170"/>
                <a:gd name="T8" fmla="*/ 899 w 1367"/>
                <a:gd name="T9" fmla="*/ 88 h 1170"/>
                <a:gd name="T10" fmla="*/ 924 w 1367"/>
                <a:gd name="T11" fmla="*/ 116 h 1170"/>
                <a:gd name="T12" fmla="*/ 966 w 1367"/>
                <a:gd name="T13" fmla="*/ 162 h 1170"/>
                <a:gd name="T14" fmla="*/ 1067 w 1367"/>
                <a:gd name="T15" fmla="*/ 272 h 1170"/>
                <a:gd name="T16" fmla="*/ 1147 w 1367"/>
                <a:gd name="T17" fmla="*/ 358 h 1170"/>
                <a:gd name="T18" fmla="*/ 1187 w 1367"/>
                <a:gd name="T19" fmla="*/ 404 h 1170"/>
                <a:gd name="T20" fmla="*/ 1211 w 1367"/>
                <a:gd name="T21" fmla="*/ 433 h 1170"/>
                <a:gd name="T22" fmla="*/ 1238 w 1367"/>
                <a:gd name="T23" fmla="*/ 460 h 1170"/>
                <a:gd name="T24" fmla="*/ 1259 w 1367"/>
                <a:gd name="T25" fmla="*/ 504 h 1170"/>
                <a:gd name="T26" fmla="*/ 1367 w 1367"/>
                <a:gd name="T27" fmla="*/ 969 h 1170"/>
                <a:gd name="T28" fmla="*/ 1364 w 1367"/>
                <a:gd name="T29" fmla="*/ 1016 h 1170"/>
                <a:gd name="T30" fmla="*/ 1344 w 1367"/>
                <a:gd name="T31" fmla="*/ 1059 h 1170"/>
                <a:gd name="T32" fmla="*/ 1310 w 1367"/>
                <a:gd name="T33" fmla="*/ 1090 h 1170"/>
                <a:gd name="T34" fmla="*/ 1262 w 1367"/>
                <a:gd name="T35" fmla="*/ 1106 h 1170"/>
                <a:gd name="T36" fmla="*/ 1214 w 1367"/>
                <a:gd name="T37" fmla="*/ 1103 h 1170"/>
                <a:gd name="T38" fmla="*/ 1169 w 1367"/>
                <a:gd name="T39" fmla="*/ 1080 h 1170"/>
                <a:gd name="T40" fmla="*/ 1137 w 1367"/>
                <a:gd name="T41" fmla="*/ 1043 h 1170"/>
                <a:gd name="T42" fmla="*/ 1039 w 1367"/>
                <a:gd name="T43" fmla="*/ 573 h 1170"/>
                <a:gd name="T44" fmla="*/ 858 w 1367"/>
                <a:gd name="T45" fmla="*/ 808 h 1170"/>
                <a:gd name="T46" fmla="*/ 396 w 1367"/>
                <a:gd name="T47" fmla="*/ 400 h 1170"/>
                <a:gd name="T48" fmla="*/ 444 w 1367"/>
                <a:gd name="T49" fmla="*/ 765 h 1170"/>
                <a:gd name="T50" fmla="*/ 915 w 1367"/>
                <a:gd name="T51" fmla="*/ 944 h 1170"/>
                <a:gd name="T52" fmla="*/ 948 w 1367"/>
                <a:gd name="T53" fmla="*/ 978 h 1170"/>
                <a:gd name="T54" fmla="*/ 967 w 1367"/>
                <a:gd name="T55" fmla="*/ 1032 h 1170"/>
                <a:gd name="T56" fmla="*/ 958 w 1367"/>
                <a:gd name="T57" fmla="*/ 1097 h 1170"/>
                <a:gd name="T58" fmla="*/ 934 w 1367"/>
                <a:gd name="T59" fmla="*/ 1137 h 1170"/>
                <a:gd name="T60" fmla="*/ 893 w 1367"/>
                <a:gd name="T61" fmla="*/ 1163 h 1170"/>
                <a:gd name="T62" fmla="*/ 845 w 1367"/>
                <a:gd name="T63" fmla="*/ 1170 h 1170"/>
                <a:gd name="T64" fmla="*/ 797 w 1367"/>
                <a:gd name="T65" fmla="*/ 1159 h 1170"/>
                <a:gd name="T66" fmla="*/ 293 w 1367"/>
                <a:gd name="T67" fmla="*/ 972 h 1170"/>
                <a:gd name="T68" fmla="*/ 260 w 1367"/>
                <a:gd name="T69" fmla="*/ 948 h 1170"/>
                <a:gd name="T70" fmla="*/ 237 w 1367"/>
                <a:gd name="T71" fmla="*/ 911 h 1170"/>
                <a:gd name="T72" fmla="*/ 5 w 1367"/>
                <a:gd name="T73" fmla="*/ 327 h 1170"/>
                <a:gd name="T74" fmla="*/ 0 w 1367"/>
                <a:gd name="T75" fmla="*/ 250 h 1170"/>
                <a:gd name="T76" fmla="*/ 16 w 1367"/>
                <a:gd name="T77" fmla="*/ 169 h 1170"/>
                <a:gd name="T78" fmla="*/ 49 w 1367"/>
                <a:gd name="T79" fmla="*/ 97 h 1170"/>
                <a:gd name="T80" fmla="*/ 93 w 1367"/>
                <a:gd name="T81" fmla="*/ 49 h 1170"/>
                <a:gd name="T82" fmla="*/ 148 w 1367"/>
                <a:gd name="T83" fmla="*/ 17 h 1170"/>
                <a:gd name="T84" fmla="*/ 218 w 1367"/>
                <a:gd name="T85" fmla="*/ 1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7" h="1170">
                  <a:moveTo>
                    <a:pt x="258" y="0"/>
                  </a:moveTo>
                  <a:lnTo>
                    <a:pt x="679" y="0"/>
                  </a:lnTo>
                  <a:lnTo>
                    <a:pt x="721" y="2"/>
                  </a:lnTo>
                  <a:lnTo>
                    <a:pt x="760" y="8"/>
                  </a:lnTo>
                  <a:lnTo>
                    <a:pt x="797" y="18"/>
                  </a:lnTo>
                  <a:lnTo>
                    <a:pt x="830" y="33"/>
                  </a:lnTo>
                  <a:lnTo>
                    <a:pt x="859" y="52"/>
                  </a:lnTo>
                  <a:lnTo>
                    <a:pt x="886" y="75"/>
                  </a:lnTo>
                  <a:lnTo>
                    <a:pt x="890" y="79"/>
                  </a:lnTo>
                  <a:lnTo>
                    <a:pt x="899" y="88"/>
                  </a:lnTo>
                  <a:lnTo>
                    <a:pt x="910" y="101"/>
                  </a:lnTo>
                  <a:lnTo>
                    <a:pt x="924" y="116"/>
                  </a:lnTo>
                  <a:lnTo>
                    <a:pt x="943" y="137"/>
                  </a:lnTo>
                  <a:lnTo>
                    <a:pt x="966" y="162"/>
                  </a:lnTo>
                  <a:lnTo>
                    <a:pt x="1015" y="215"/>
                  </a:lnTo>
                  <a:lnTo>
                    <a:pt x="1067" y="272"/>
                  </a:lnTo>
                  <a:lnTo>
                    <a:pt x="1121" y="331"/>
                  </a:lnTo>
                  <a:lnTo>
                    <a:pt x="1147" y="358"/>
                  </a:lnTo>
                  <a:lnTo>
                    <a:pt x="1169" y="383"/>
                  </a:lnTo>
                  <a:lnTo>
                    <a:pt x="1187" y="404"/>
                  </a:lnTo>
                  <a:lnTo>
                    <a:pt x="1201" y="420"/>
                  </a:lnTo>
                  <a:lnTo>
                    <a:pt x="1211" y="433"/>
                  </a:lnTo>
                  <a:lnTo>
                    <a:pt x="1218" y="441"/>
                  </a:lnTo>
                  <a:lnTo>
                    <a:pt x="1238" y="460"/>
                  </a:lnTo>
                  <a:lnTo>
                    <a:pt x="1252" y="481"/>
                  </a:lnTo>
                  <a:lnTo>
                    <a:pt x="1259" y="504"/>
                  </a:lnTo>
                  <a:lnTo>
                    <a:pt x="1362" y="946"/>
                  </a:lnTo>
                  <a:lnTo>
                    <a:pt x="1367" y="969"/>
                  </a:lnTo>
                  <a:lnTo>
                    <a:pt x="1367" y="993"/>
                  </a:lnTo>
                  <a:lnTo>
                    <a:pt x="1364" y="1016"/>
                  </a:lnTo>
                  <a:lnTo>
                    <a:pt x="1356" y="1038"/>
                  </a:lnTo>
                  <a:lnTo>
                    <a:pt x="1344" y="1059"/>
                  </a:lnTo>
                  <a:lnTo>
                    <a:pt x="1328" y="1076"/>
                  </a:lnTo>
                  <a:lnTo>
                    <a:pt x="1310" y="1090"/>
                  </a:lnTo>
                  <a:lnTo>
                    <a:pt x="1287" y="1100"/>
                  </a:lnTo>
                  <a:lnTo>
                    <a:pt x="1262" y="1106"/>
                  </a:lnTo>
                  <a:lnTo>
                    <a:pt x="1239" y="1107"/>
                  </a:lnTo>
                  <a:lnTo>
                    <a:pt x="1214" y="1103"/>
                  </a:lnTo>
                  <a:lnTo>
                    <a:pt x="1190" y="1094"/>
                  </a:lnTo>
                  <a:lnTo>
                    <a:pt x="1169" y="1080"/>
                  </a:lnTo>
                  <a:lnTo>
                    <a:pt x="1150" y="1063"/>
                  </a:lnTo>
                  <a:lnTo>
                    <a:pt x="1137" y="1043"/>
                  </a:lnTo>
                  <a:lnTo>
                    <a:pt x="1128" y="1021"/>
                  </a:lnTo>
                  <a:lnTo>
                    <a:pt x="1039" y="573"/>
                  </a:lnTo>
                  <a:lnTo>
                    <a:pt x="858" y="461"/>
                  </a:lnTo>
                  <a:lnTo>
                    <a:pt x="858" y="808"/>
                  </a:lnTo>
                  <a:lnTo>
                    <a:pt x="513" y="683"/>
                  </a:lnTo>
                  <a:lnTo>
                    <a:pt x="396" y="400"/>
                  </a:lnTo>
                  <a:lnTo>
                    <a:pt x="306" y="435"/>
                  </a:lnTo>
                  <a:lnTo>
                    <a:pt x="444" y="765"/>
                  </a:lnTo>
                  <a:lnTo>
                    <a:pt x="893" y="931"/>
                  </a:lnTo>
                  <a:lnTo>
                    <a:pt x="915" y="944"/>
                  </a:lnTo>
                  <a:lnTo>
                    <a:pt x="934" y="959"/>
                  </a:lnTo>
                  <a:lnTo>
                    <a:pt x="948" y="978"/>
                  </a:lnTo>
                  <a:lnTo>
                    <a:pt x="958" y="1000"/>
                  </a:lnTo>
                  <a:lnTo>
                    <a:pt x="967" y="1032"/>
                  </a:lnTo>
                  <a:lnTo>
                    <a:pt x="967" y="1065"/>
                  </a:lnTo>
                  <a:lnTo>
                    <a:pt x="958" y="1097"/>
                  </a:lnTo>
                  <a:lnTo>
                    <a:pt x="948" y="1119"/>
                  </a:lnTo>
                  <a:lnTo>
                    <a:pt x="934" y="1137"/>
                  </a:lnTo>
                  <a:lnTo>
                    <a:pt x="915" y="1152"/>
                  </a:lnTo>
                  <a:lnTo>
                    <a:pt x="893" y="1163"/>
                  </a:lnTo>
                  <a:lnTo>
                    <a:pt x="869" y="1169"/>
                  </a:lnTo>
                  <a:lnTo>
                    <a:pt x="845" y="1170"/>
                  </a:lnTo>
                  <a:lnTo>
                    <a:pt x="820" y="1167"/>
                  </a:lnTo>
                  <a:lnTo>
                    <a:pt x="797" y="1159"/>
                  </a:lnTo>
                  <a:lnTo>
                    <a:pt x="313" y="980"/>
                  </a:lnTo>
                  <a:lnTo>
                    <a:pt x="293" y="972"/>
                  </a:lnTo>
                  <a:lnTo>
                    <a:pt x="274" y="962"/>
                  </a:lnTo>
                  <a:lnTo>
                    <a:pt x="260" y="948"/>
                  </a:lnTo>
                  <a:lnTo>
                    <a:pt x="247" y="931"/>
                  </a:lnTo>
                  <a:lnTo>
                    <a:pt x="237" y="911"/>
                  </a:lnTo>
                  <a:lnTo>
                    <a:pt x="16" y="366"/>
                  </a:lnTo>
                  <a:lnTo>
                    <a:pt x="5" y="327"/>
                  </a:lnTo>
                  <a:lnTo>
                    <a:pt x="0" y="289"/>
                  </a:lnTo>
                  <a:lnTo>
                    <a:pt x="0" y="250"/>
                  </a:lnTo>
                  <a:lnTo>
                    <a:pt x="5" y="210"/>
                  </a:lnTo>
                  <a:lnTo>
                    <a:pt x="16" y="169"/>
                  </a:lnTo>
                  <a:lnTo>
                    <a:pt x="34" y="127"/>
                  </a:lnTo>
                  <a:lnTo>
                    <a:pt x="49" y="97"/>
                  </a:lnTo>
                  <a:lnTo>
                    <a:pt x="70" y="71"/>
                  </a:lnTo>
                  <a:lnTo>
                    <a:pt x="93" y="49"/>
                  </a:lnTo>
                  <a:lnTo>
                    <a:pt x="119" y="32"/>
                  </a:lnTo>
                  <a:lnTo>
                    <a:pt x="148" y="17"/>
                  </a:lnTo>
                  <a:lnTo>
                    <a:pt x="181" y="7"/>
                  </a:lnTo>
                  <a:lnTo>
                    <a:pt x="218" y="1"/>
                  </a:lnTo>
                  <a:lnTo>
                    <a:pt x="258"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sp>
          <p:nvSpPr>
            <p:cNvPr id="138" name="Freeform 41"/>
            <p:cNvSpPr/>
            <p:nvPr/>
          </p:nvSpPr>
          <p:spPr bwMode="auto">
            <a:xfrm>
              <a:off x="2432050" y="4970463"/>
              <a:ext cx="325438" cy="123825"/>
            </a:xfrm>
            <a:custGeom>
              <a:avLst/>
              <a:gdLst>
                <a:gd name="T0" fmla="*/ 138 w 2051"/>
                <a:gd name="T1" fmla="*/ 0 h 781"/>
                <a:gd name="T2" fmla="*/ 2051 w 2051"/>
                <a:gd name="T3" fmla="*/ 0 h 781"/>
                <a:gd name="T4" fmla="*/ 2051 w 2051"/>
                <a:gd name="T5" fmla="*/ 781 h 781"/>
                <a:gd name="T6" fmla="*/ 0 w 2051"/>
                <a:gd name="T7" fmla="*/ 781 h 781"/>
                <a:gd name="T8" fmla="*/ 0 w 2051"/>
                <a:gd name="T9" fmla="*/ 125 h 781"/>
                <a:gd name="T10" fmla="*/ 3 w 2051"/>
                <a:gd name="T11" fmla="*/ 99 h 781"/>
                <a:gd name="T12" fmla="*/ 10 w 2051"/>
                <a:gd name="T13" fmla="*/ 74 h 781"/>
                <a:gd name="T14" fmla="*/ 24 w 2051"/>
                <a:gd name="T15" fmla="*/ 54 h 781"/>
                <a:gd name="T16" fmla="*/ 41 w 2051"/>
                <a:gd name="T17" fmla="*/ 35 h 781"/>
                <a:gd name="T18" fmla="*/ 63 w 2051"/>
                <a:gd name="T19" fmla="*/ 20 h 781"/>
                <a:gd name="T20" fmla="*/ 87 w 2051"/>
                <a:gd name="T21" fmla="*/ 9 h 781"/>
                <a:gd name="T22" fmla="*/ 111 w 2051"/>
                <a:gd name="T23" fmla="*/ 3 h 781"/>
                <a:gd name="T24" fmla="*/ 138 w 2051"/>
                <a:gd name="T25"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1" h="781">
                  <a:moveTo>
                    <a:pt x="138" y="0"/>
                  </a:moveTo>
                  <a:lnTo>
                    <a:pt x="2051" y="0"/>
                  </a:lnTo>
                  <a:lnTo>
                    <a:pt x="2051" y="781"/>
                  </a:lnTo>
                  <a:lnTo>
                    <a:pt x="0" y="781"/>
                  </a:lnTo>
                  <a:lnTo>
                    <a:pt x="0" y="125"/>
                  </a:lnTo>
                  <a:lnTo>
                    <a:pt x="3" y="99"/>
                  </a:lnTo>
                  <a:lnTo>
                    <a:pt x="10" y="74"/>
                  </a:lnTo>
                  <a:lnTo>
                    <a:pt x="24" y="54"/>
                  </a:lnTo>
                  <a:lnTo>
                    <a:pt x="41" y="35"/>
                  </a:lnTo>
                  <a:lnTo>
                    <a:pt x="63" y="20"/>
                  </a:lnTo>
                  <a:lnTo>
                    <a:pt x="87" y="9"/>
                  </a:lnTo>
                  <a:lnTo>
                    <a:pt x="111" y="3"/>
                  </a:lnTo>
                  <a:lnTo>
                    <a:pt x="138"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14:hiddenLine>
              </a:ext>
            </a:extLst>
          </p:spPr>
          <p:txBody>
            <a:bodyPr vert="horz" wrap="square" lIns="91440" tIns="45720" rIns="91440" bIns="45720" numCol="1" anchor="t" anchorCtr="0" compatLnSpc="1"/>
            <a:lstStyle/>
            <a:p>
              <a:endParaRPr lang="en-US" dirty="0"/>
            </a:p>
          </p:txBody>
        </p:sp>
      </p:grpSp>
      <p:sp>
        <p:nvSpPr>
          <p:cNvPr id="63"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流程</a:t>
            </a:r>
            <a:endParaRPr lang="zh-CN" altLang="en-US" sz="2400" dirty="0">
              <a:latin typeface="+mj-ea"/>
            </a:endParaRPr>
          </a:p>
        </p:txBody>
      </p:sp>
      <p:pic>
        <p:nvPicPr>
          <p:cNvPr id="62" name="图片 6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对象 16"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26802" name="think-cell Slide" r:id="rId2" imgW="12700" imgH="12700" progId="TCLayout.ActiveDocument.1">
                  <p:embed/>
                </p:oleObj>
              </mc:Choice>
              <mc:Fallback>
                <p:oleObj name="think-cell Slide" r:id="rId2" imgW="12700" imgH="12700" progId="TCLayout.ActiveDocument.1">
                  <p:embed/>
                  <p:pic>
                    <p:nvPicPr>
                      <p:cNvPr id="0" name="对象 16" hidden="1"/>
                      <p:cNvPicPr/>
                      <p:nvPr/>
                    </p:nvPicPr>
                    <p:blipFill>
                      <a:blip r:embed="rId3"/>
                      <a:stretch>
                        <a:fillRect/>
                      </a:stretch>
                    </p:blipFill>
                    <p:spPr>
                      <a:xfrm>
                        <a:off x="2118" y="2118"/>
                        <a:ext cx="2116" cy="2116"/>
                      </a:xfrm>
                      <a:prstGeom prst="rect">
                        <a:avLst/>
                      </a:prstGeom>
                    </p:spPr>
                  </p:pic>
                </p:oleObj>
              </mc:Fallback>
            </mc:AlternateContent>
          </a:graphicData>
        </a:graphic>
      </p:graphicFrame>
      <p:sp>
        <p:nvSpPr>
          <p:cNvPr id="32" name="Freeform 191"/>
          <p:cNvSpPr/>
          <p:nvPr/>
        </p:nvSpPr>
        <p:spPr>
          <a:xfrm>
            <a:off x="1042931" y="4804592"/>
            <a:ext cx="10135516" cy="1599531"/>
          </a:xfrm>
          <a:custGeom>
            <a:avLst/>
            <a:gdLst>
              <a:gd name="connsiteX0" fmla="*/ 3501069 w 4575719"/>
              <a:gd name="connsiteY0" fmla="*/ 0 h 1589534"/>
              <a:gd name="connsiteX1" fmla="*/ 3567023 w 4575719"/>
              <a:gd name="connsiteY1" fmla="*/ 15075 h 1589534"/>
              <a:gd name="connsiteX2" fmla="*/ 4575719 w 4575719"/>
              <a:gd name="connsiteY2" fmla="*/ 728805 h 1589534"/>
              <a:gd name="connsiteX3" fmla="*/ 2287860 w 4575719"/>
              <a:gd name="connsiteY3" fmla="*/ 1589534 h 1589534"/>
              <a:gd name="connsiteX4" fmla="*/ 0 w 4575719"/>
              <a:gd name="connsiteY4" fmla="*/ 728805 h 1589534"/>
              <a:gd name="connsiteX5" fmla="*/ 1008696 w 4575719"/>
              <a:gd name="connsiteY5" fmla="*/ 15075 h 1589534"/>
              <a:gd name="connsiteX6" fmla="*/ 1021094 w 4575719"/>
              <a:gd name="connsiteY6" fmla="*/ 12241 h 1589534"/>
              <a:gd name="connsiteX7" fmla="*/ 812725 w 4575719"/>
              <a:gd name="connsiteY7" fmla="*/ 72570 h 1589534"/>
              <a:gd name="connsiteX8" fmla="*/ 706732 w 4575719"/>
              <a:gd name="connsiteY8" fmla="*/ 117649 h 1589534"/>
              <a:gd name="connsiteX9" fmla="*/ 683760 w 4575719"/>
              <a:gd name="connsiteY9" fmla="*/ 125409 h 1589534"/>
              <a:gd name="connsiteX10" fmla="*/ 638641 w 4575719"/>
              <a:gd name="connsiteY10" fmla="*/ 146608 h 1589534"/>
              <a:gd name="connsiteX11" fmla="*/ 558960 w 4575719"/>
              <a:gd name="connsiteY11" fmla="*/ 180497 h 1589534"/>
              <a:gd name="connsiteX12" fmla="*/ 490143 w 4575719"/>
              <a:gd name="connsiteY12" fmla="*/ 224988 h 1589534"/>
              <a:gd name="connsiteX13" fmla="*/ 449939 w 4575719"/>
              <a:gd name="connsiteY13" fmla="*/ 249057 h 1589534"/>
              <a:gd name="connsiteX14" fmla="*/ 436877 w 4575719"/>
              <a:gd name="connsiteY14" fmla="*/ 259424 h 1589534"/>
              <a:gd name="connsiteX15" fmla="*/ 367353 w 4575719"/>
              <a:gd name="connsiteY15" fmla="*/ 304371 h 1589534"/>
              <a:gd name="connsiteX16" fmla="*/ 204039 w 4575719"/>
              <a:gd name="connsiteY16" fmla="*/ 588229 h 1589534"/>
              <a:gd name="connsiteX17" fmla="*/ 2282221 w 4575719"/>
              <a:gd name="connsiteY17" fmla="*/ 1317482 h 1589534"/>
              <a:gd name="connsiteX18" fmla="*/ 4360403 w 4575719"/>
              <a:gd name="connsiteY18" fmla="*/ 588229 h 1589534"/>
              <a:gd name="connsiteX19" fmla="*/ 4318182 w 4575719"/>
              <a:gd name="connsiteY19" fmla="*/ 441259 h 1589534"/>
              <a:gd name="connsiteX20" fmla="*/ 4278802 w 4575719"/>
              <a:gd name="connsiteY20" fmla="*/ 396742 h 1589534"/>
              <a:gd name="connsiteX21" fmla="*/ 4274636 w 4575719"/>
              <a:gd name="connsiteY21" fmla="*/ 388750 h 1589534"/>
              <a:gd name="connsiteX22" fmla="*/ 4211559 w 4575719"/>
              <a:gd name="connsiteY22" fmla="*/ 317138 h 1589534"/>
              <a:gd name="connsiteX23" fmla="*/ 4200897 w 4575719"/>
              <a:gd name="connsiteY23" fmla="*/ 308676 h 1589534"/>
              <a:gd name="connsiteX24" fmla="*/ 4197089 w 4575719"/>
              <a:gd name="connsiteY24" fmla="*/ 304371 h 1589534"/>
              <a:gd name="connsiteX25" fmla="*/ 4188378 w 4575719"/>
              <a:gd name="connsiteY25" fmla="*/ 298739 h 1589534"/>
              <a:gd name="connsiteX26" fmla="*/ 4125782 w 4575719"/>
              <a:gd name="connsiteY26" fmla="*/ 249057 h 1589534"/>
              <a:gd name="connsiteX27" fmla="*/ 3891960 w 4575719"/>
              <a:gd name="connsiteY27" fmla="*/ 125409 h 1589534"/>
              <a:gd name="connsiteX28" fmla="*/ 3814157 w 4575719"/>
              <a:gd name="connsiteY28" fmla="*/ 99125 h 1589534"/>
              <a:gd name="connsiteX29" fmla="*/ 3751718 w 4575719"/>
              <a:gd name="connsiteY29" fmla="*/ 72570 h 1589534"/>
              <a:gd name="connsiteX30" fmla="*/ 3638624 w 4575719"/>
              <a:gd name="connsiteY30" fmla="*/ 39826 h 1589534"/>
              <a:gd name="connsiteX31" fmla="*/ 3584846 w 4575719"/>
              <a:gd name="connsiteY31" fmla="*/ 21658 h 1589534"/>
              <a:gd name="connsiteX32" fmla="*/ 3524255 w 4575719"/>
              <a:gd name="connsiteY32" fmla="*/ 6713 h 1589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75719" h="1589534">
                <a:moveTo>
                  <a:pt x="3501069" y="0"/>
                </a:moveTo>
                <a:lnTo>
                  <a:pt x="3567023" y="15075"/>
                </a:lnTo>
                <a:cubicBezTo>
                  <a:pt x="4175598" y="169754"/>
                  <a:pt x="4575719" y="431700"/>
                  <a:pt x="4575719" y="728805"/>
                </a:cubicBezTo>
                <a:cubicBezTo>
                  <a:pt x="4575719" y="1204174"/>
                  <a:pt x="3551409" y="1589534"/>
                  <a:pt x="2287860" y="1589534"/>
                </a:cubicBezTo>
                <a:cubicBezTo>
                  <a:pt x="1024310" y="1589534"/>
                  <a:pt x="0" y="1204174"/>
                  <a:pt x="0" y="728805"/>
                </a:cubicBezTo>
                <a:cubicBezTo>
                  <a:pt x="0" y="431700"/>
                  <a:pt x="400121" y="169754"/>
                  <a:pt x="1008696" y="15075"/>
                </a:cubicBezTo>
                <a:lnTo>
                  <a:pt x="1021094" y="12241"/>
                </a:lnTo>
                <a:lnTo>
                  <a:pt x="812725" y="72570"/>
                </a:lnTo>
                <a:lnTo>
                  <a:pt x="706732" y="117649"/>
                </a:lnTo>
                <a:lnTo>
                  <a:pt x="683760" y="125409"/>
                </a:lnTo>
                <a:lnTo>
                  <a:pt x="638641" y="146608"/>
                </a:lnTo>
                <a:lnTo>
                  <a:pt x="558960" y="180497"/>
                </a:lnTo>
                <a:lnTo>
                  <a:pt x="490143" y="224988"/>
                </a:lnTo>
                <a:lnTo>
                  <a:pt x="449939" y="249057"/>
                </a:lnTo>
                <a:lnTo>
                  <a:pt x="436877" y="259424"/>
                </a:lnTo>
                <a:lnTo>
                  <a:pt x="367353" y="304371"/>
                </a:lnTo>
                <a:cubicBezTo>
                  <a:pt x="262191" y="391618"/>
                  <a:pt x="204039" y="487540"/>
                  <a:pt x="204039" y="588229"/>
                </a:cubicBezTo>
                <a:cubicBezTo>
                  <a:pt x="204039" y="990984"/>
                  <a:pt x="1134473" y="1317482"/>
                  <a:pt x="2282221" y="1317482"/>
                </a:cubicBezTo>
                <a:cubicBezTo>
                  <a:pt x="3429969" y="1317482"/>
                  <a:pt x="4360403" y="990984"/>
                  <a:pt x="4360403" y="588229"/>
                </a:cubicBezTo>
                <a:cubicBezTo>
                  <a:pt x="4360403" y="537885"/>
                  <a:pt x="4345865" y="488732"/>
                  <a:pt x="4318182" y="441259"/>
                </a:cubicBezTo>
                <a:lnTo>
                  <a:pt x="4278802" y="396742"/>
                </a:lnTo>
                <a:lnTo>
                  <a:pt x="4274636" y="388750"/>
                </a:lnTo>
                <a:cubicBezTo>
                  <a:pt x="4257556" y="364344"/>
                  <a:pt x="4236449" y="340447"/>
                  <a:pt x="4211559" y="317138"/>
                </a:cubicBezTo>
                <a:lnTo>
                  <a:pt x="4200897" y="308676"/>
                </a:lnTo>
                <a:lnTo>
                  <a:pt x="4197089" y="304371"/>
                </a:lnTo>
                <a:lnTo>
                  <a:pt x="4188378" y="298739"/>
                </a:lnTo>
                <a:lnTo>
                  <a:pt x="4125782" y="249057"/>
                </a:lnTo>
                <a:cubicBezTo>
                  <a:pt x="4061354" y="204953"/>
                  <a:pt x="3982765" y="163523"/>
                  <a:pt x="3891960" y="125409"/>
                </a:cubicBezTo>
                <a:lnTo>
                  <a:pt x="3814157" y="99125"/>
                </a:lnTo>
                <a:lnTo>
                  <a:pt x="3751718" y="72570"/>
                </a:lnTo>
                <a:lnTo>
                  <a:pt x="3638624" y="39826"/>
                </a:lnTo>
                <a:lnTo>
                  <a:pt x="3584846" y="21658"/>
                </a:lnTo>
                <a:lnTo>
                  <a:pt x="3524255" y="6713"/>
                </a:lnTo>
                <a:close/>
              </a:path>
            </a:pathLst>
          </a:custGeom>
          <a:gradFill>
            <a:gsLst>
              <a:gs pos="100000">
                <a:schemeClr val="accent1">
                  <a:lumMod val="50000"/>
                </a:schemeClr>
              </a:gs>
              <a:gs pos="56000">
                <a:schemeClr val="accent1"/>
              </a:gs>
            </a:gsLst>
            <a:lin ang="3600000" scaled="0"/>
          </a:gradFill>
          <a:ln w="28575"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4800" dirty="0">
              <a:solidFill>
                <a:schemeClr val="bg1"/>
              </a:solidFill>
              <a:effectLst>
                <a:outerShdw blurRad="38100" dist="38100" dir="2700000" algn="tl">
                  <a:srgbClr val="000000">
                    <a:alpha val="43137"/>
                  </a:srgbClr>
                </a:outerShdw>
              </a:effectLst>
            </a:endParaRPr>
          </a:p>
        </p:txBody>
      </p:sp>
      <p:sp>
        <p:nvSpPr>
          <p:cNvPr id="33" name="Freeform 192"/>
          <p:cNvSpPr/>
          <p:nvPr/>
        </p:nvSpPr>
        <p:spPr>
          <a:xfrm>
            <a:off x="1575965" y="4848316"/>
            <a:ext cx="9021641" cy="1211597"/>
          </a:xfrm>
          <a:custGeom>
            <a:avLst/>
            <a:gdLst>
              <a:gd name="connsiteX0" fmla="*/ 859464 w 3515674"/>
              <a:gd name="connsiteY0" fmla="*/ 0 h 1019209"/>
              <a:gd name="connsiteX1" fmla="*/ 732422 w 3515674"/>
              <a:gd name="connsiteY1" fmla="*/ 32457 h 1019209"/>
              <a:gd name="connsiteX2" fmla="*/ 296382 w 3515674"/>
              <a:gd name="connsiteY2" fmla="*/ 358418 h 1019209"/>
              <a:gd name="connsiteX3" fmla="*/ 1785115 w 3515674"/>
              <a:gd name="connsiteY3" fmla="*/ 819397 h 1019209"/>
              <a:gd name="connsiteX4" fmla="*/ 3273848 w 3515674"/>
              <a:gd name="connsiteY4" fmla="*/ 358418 h 1019209"/>
              <a:gd name="connsiteX5" fmla="*/ 3019596 w 3515674"/>
              <a:gd name="connsiteY5" fmla="*/ 100680 h 1019209"/>
              <a:gd name="connsiteX6" fmla="*/ 2891156 w 3515674"/>
              <a:gd name="connsiteY6" fmla="*/ 52478 h 1019209"/>
              <a:gd name="connsiteX7" fmla="*/ 2908211 w 3515674"/>
              <a:gd name="connsiteY7" fmla="*/ 56356 h 1019209"/>
              <a:gd name="connsiteX8" fmla="*/ 3515674 w 3515674"/>
              <a:gd name="connsiteY8" fmla="*/ 470933 h 1019209"/>
              <a:gd name="connsiteX9" fmla="*/ 1757837 w 3515674"/>
              <a:gd name="connsiteY9" fmla="*/ 1019209 h 1019209"/>
              <a:gd name="connsiteX10" fmla="*/ 0 w 3515674"/>
              <a:gd name="connsiteY10" fmla="*/ 470933 h 1019209"/>
              <a:gd name="connsiteX11" fmla="*/ 846335 w 3515674"/>
              <a:gd name="connsiteY11" fmla="*/ 2033 h 101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5674" h="1019209">
                <a:moveTo>
                  <a:pt x="859464" y="0"/>
                </a:moveTo>
                <a:lnTo>
                  <a:pt x="732422" y="32457"/>
                </a:lnTo>
                <a:cubicBezTo>
                  <a:pt x="463014" y="115877"/>
                  <a:pt x="296382" y="231122"/>
                  <a:pt x="296382" y="358418"/>
                </a:cubicBezTo>
                <a:cubicBezTo>
                  <a:pt x="296382" y="613010"/>
                  <a:pt x="962910" y="819397"/>
                  <a:pt x="1785115" y="819397"/>
                </a:cubicBezTo>
                <a:cubicBezTo>
                  <a:pt x="2607320" y="819397"/>
                  <a:pt x="3273848" y="613010"/>
                  <a:pt x="3273848" y="358418"/>
                </a:cubicBezTo>
                <a:cubicBezTo>
                  <a:pt x="3273848" y="262946"/>
                  <a:pt x="3180117" y="174253"/>
                  <a:pt x="3019596" y="100680"/>
                </a:cubicBezTo>
                <a:lnTo>
                  <a:pt x="2891156" y="52478"/>
                </a:lnTo>
                <a:lnTo>
                  <a:pt x="2908211" y="56356"/>
                </a:lnTo>
                <a:cubicBezTo>
                  <a:pt x="3280301" y="156888"/>
                  <a:pt x="3515674" y="305337"/>
                  <a:pt x="3515674" y="470933"/>
                </a:cubicBezTo>
                <a:cubicBezTo>
                  <a:pt x="3515674" y="773738"/>
                  <a:pt x="2728664" y="1019209"/>
                  <a:pt x="1757837" y="1019209"/>
                </a:cubicBezTo>
                <a:cubicBezTo>
                  <a:pt x="787011" y="1019209"/>
                  <a:pt x="0" y="773738"/>
                  <a:pt x="0" y="470933"/>
                </a:cubicBezTo>
                <a:cubicBezTo>
                  <a:pt x="0" y="272218"/>
                  <a:pt x="338937" y="98194"/>
                  <a:pt x="846335" y="2033"/>
                </a:cubicBezTo>
                <a:close/>
              </a:path>
            </a:pathLst>
          </a:custGeom>
          <a:gradFill>
            <a:gsLst>
              <a:gs pos="100000">
                <a:schemeClr val="bg1">
                  <a:lumMod val="95000"/>
                </a:schemeClr>
              </a:gs>
              <a:gs pos="56000">
                <a:schemeClr val="bg1">
                  <a:lumMod val="75000"/>
                </a:schemeClr>
              </a:gs>
            </a:gsLst>
            <a:lin ang="3600000" scaled="0"/>
          </a:gradFill>
          <a:ln w="28575"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4800">
              <a:solidFill>
                <a:schemeClr val="bg1"/>
              </a:solidFill>
              <a:effectLst>
                <a:outerShdw blurRad="38100" dist="38100" dir="2700000" algn="tl">
                  <a:srgbClr val="000000">
                    <a:alpha val="43137"/>
                  </a:srgbClr>
                </a:outerShdw>
              </a:effectLst>
            </a:endParaRPr>
          </a:p>
        </p:txBody>
      </p:sp>
      <p:sp>
        <p:nvSpPr>
          <p:cNvPr id="36" name="右箭头 35"/>
          <p:cNvSpPr/>
          <p:nvPr/>
        </p:nvSpPr>
        <p:spPr>
          <a:xfrm>
            <a:off x="574714" y="1127049"/>
            <a:ext cx="11042573" cy="240019"/>
          </a:xfrm>
          <a:prstGeom prst="rightArrow">
            <a:avLst>
              <a:gd name="adj1" fmla="val 50000"/>
              <a:gd name="adj2" fmla="val 61888"/>
            </a:avLst>
          </a:prstGeom>
          <a:solidFill>
            <a:schemeClr val="bg2">
              <a:lumMod val="7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zh-CN" altLang="en-US" sz="2400"/>
          </a:p>
        </p:txBody>
      </p:sp>
      <p:sp>
        <p:nvSpPr>
          <p:cNvPr id="37" name="圆角矩形 36"/>
          <p:cNvSpPr/>
          <p:nvPr/>
        </p:nvSpPr>
        <p:spPr>
          <a:xfrm>
            <a:off x="992625" y="1015974"/>
            <a:ext cx="2438399" cy="462172"/>
          </a:xfrm>
          <a:prstGeom prst="roundRect">
            <a:avLst/>
          </a:prstGeom>
          <a:solidFill>
            <a:srgbClr val="FE581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1661" tIns="131661" rIns="131661" bIns="131661" numCol="1" spcCol="1270" anchor="ctr" anchorCtr="0">
            <a:noAutofit/>
          </a:bodyPr>
          <a:lstStyle/>
          <a:p>
            <a:pPr algn="ctr" defTabSz="1066800">
              <a:lnSpc>
                <a:spcPct val="90000"/>
              </a:lnSpc>
              <a:spcBef>
                <a:spcPct val="0"/>
              </a:spcBef>
              <a:spcAft>
                <a:spcPct val="35000"/>
              </a:spcAft>
            </a:pPr>
            <a:r>
              <a:rPr lang="en-US" altLang="zh-CN" sz="2135" b="1" dirty="0" smtClean="0"/>
              <a:t>XX</a:t>
            </a:r>
            <a:endParaRPr lang="zh-CN" altLang="en-US" sz="2135" b="1" dirty="0"/>
          </a:p>
        </p:txBody>
      </p:sp>
      <p:sp>
        <p:nvSpPr>
          <p:cNvPr id="38" name="圆角矩形 37"/>
          <p:cNvSpPr/>
          <p:nvPr/>
        </p:nvSpPr>
        <p:spPr>
          <a:xfrm>
            <a:off x="3725395" y="1015974"/>
            <a:ext cx="3930647" cy="462172"/>
          </a:xfrm>
          <a:prstGeom prst="roundRect">
            <a:avLst/>
          </a:prstGeom>
          <a:solidFill>
            <a:srgbClr val="FE5817"/>
          </a:solidFill>
          <a:ln>
            <a:solidFill>
              <a:srgbClr val="FE581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1661" tIns="131661" rIns="131661" bIns="131661" numCol="1" spcCol="1270" anchor="ctr" anchorCtr="0">
            <a:noAutofit/>
          </a:bodyPr>
          <a:lstStyle/>
          <a:p>
            <a:pPr algn="ctr" defTabSz="1066800">
              <a:lnSpc>
                <a:spcPct val="90000"/>
              </a:lnSpc>
              <a:spcBef>
                <a:spcPct val="0"/>
              </a:spcBef>
              <a:spcAft>
                <a:spcPct val="35000"/>
              </a:spcAft>
            </a:pPr>
            <a:r>
              <a:rPr lang="en-US" altLang="zh-CN" sz="2135" b="1" dirty="0" smtClean="0"/>
              <a:t>XX</a:t>
            </a:r>
            <a:endParaRPr lang="zh-CN" altLang="en-US" sz="2135" b="1" dirty="0"/>
          </a:p>
        </p:txBody>
      </p:sp>
      <p:sp>
        <p:nvSpPr>
          <p:cNvPr id="39" name="圆角矩形 38"/>
          <p:cNvSpPr/>
          <p:nvPr/>
        </p:nvSpPr>
        <p:spPr>
          <a:xfrm>
            <a:off x="8059909" y="1015974"/>
            <a:ext cx="3139468" cy="462172"/>
          </a:xfrm>
          <a:prstGeom prst="roundRect">
            <a:avLst/>
          </a:prstGeom>
          <a:solidFill>
            <a:srgbClr val="FE581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1661" tIns="131661" rIns="131661" bIns="131661" numCol="1" spcCol="1270" anchor="ctr" anchorCtr="0">
            <a:noAutofit/>
          </a:bodyPr>
          <a:lstStyle/>
          <a:p>
            <a:pPr algn="ctr" defTabSz="1066800">
              <a:lnSpc>
                <a:spcPct val="90000"/>
              </a:lnSpc>
              <a:spcBef>
                <a:spcPct val="0"/>
              </a:spcBef>
              <a:spcAft>
                <a:spcPct val="35000"/>
              </a:spcAft>
            </a:pPr>
            <a:r>
              <a:rPr lang="en-US" altLang="zh-CN" sz="2135" b="1" dirty="0" smtClean="0"/>
              <a:t>XX</a:t>
            </a:r>
            <a:endParaRPr lang="zh-CN" altLang="en-US" sz="2135" b="1" dirty="0"/>
          </a:p>
        </p:txBody>
      </p:sp>
      <p:cxnSp>
        <p:nvCxnSpPr>
          <p:cNvPr id="15" name="直接连接符 14"/>
          <p:cNvCxnSpPr/>
          <p:nvPr/>
        </p:nvCxnSpPr>
        <p:spPr>
          <a:xfrm>
            <a:off x="1154464" y="1391832"/>
            <a:ext cx="0" cy="4013649"/>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3959703" y="1327094"/>
            <a:ext cx="0" cy="4013649"/>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8318613" y="1327094"/>
            <a:ext cx="0" cy="4013649"/>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sp>
        <p:nvSpPr>
          <p:cNvPr id="35" name="Freeform 207"/>
          <p:cNvSpPr/>
          <p:nvPr/>
        </p:nvSpPr>
        <p:spPr bwMode="auto">
          <a:xfrm>
            <a:off x="6248171" y="4586523"/>
            <a:ext cx="2793331" cy="1109888"/>
          </a:xfrm>
          <a:custGeom>
            <a:avLst/>
            <a:gdLst>
              <a:gd name="T0" fmla="*/ 267 w 288"/>
              <a:gd name="T1" fmla="*/ 86 h 153"/>
              <a:gd name="T2" fmla="*/ 267 w 288"/>
              <a:gd name="T3" fmla="*/ 82 h 153"/>
              <a:gd name="T4" fmla="*/ 214 w 288"/>
              <a:gd name="T5" fmla="*/ 29 h 153"/>
              <a:gd name="T6" fmla="*/ 188 w 288"/>
              <a:gd name="T7" fmla="*/ 37 h 153"/>
              <a:gd name="T8" fmla="*/ 129 w 288"/>
              <a:gd name="T9" fmla="*/ 0 h 153"/>
              <a:gd name="T10" fmla="*/ 70 w 288"/>
              <a:gd name="T11" fmla="*/ 37 h 153"/>
              <a:gd name="T12" fmla="*/ 51 w 288"/>
              <a:gd name="T13" fmla="*/ 31 h 153"/>
              <a:gd name="T14" fmla="*/ 21 w 288"/>
              <a:gd name="T15" fmla="*/ 61 h 153"/>
              <a:gd name="T16" fmla="*/ 22 w 288"/>
              <a:gd name="T17" fmla="*/ 70 h 153"/>
              <a:gd name="T18" fmla="*/ 0 w 288"/>
              <a:gd name="T19" fmla="*/ 108 h 153"/>
              <a:gd name="T20" fmla="*/ 44 w 288"/>
              <a:gd name="T21" fmla="*/ 153 h 153"/>
              <a:gd name="T22" fmla="*/ 44 w 288"/>
              <a:gd name="T23" fmla="*/ 153 h 153"/>
              <a:gd name="T24" fmla="*/ 45 w 288"/>
              <a:gd name="T25" fmla="*/ 153 h 153"/>
              <a:gd name="T26" fmla="*/ 45 w 288"/>
              <a:gd name="T27" fmla="*/ 153 h 153"/>
              <a:gd name="T28" fmla="*/ 45 w 288"/>
              <a:gd name="T29" fmla="*/ 153 h 153"/>
              <a:gd name="T30" fmla="*/ 251 w 288"/>
              <a:gd name="T31" fmla="*/ 153 h 153"/>
              <a:gd name="T32" fmla="*/ 253 w 288"/>
              <a:gd name="T33" fmla="*/ 153 h 153"/>
              <a:gd name="T34" fmla="*/ 288 w 288"/>
              <a:gd name="T35" fmla="*/ 118 h 153"/>
              <a:gd name="T36" fmla="*/ 267 w 288"/>
              <a:gd name="T37" fmla="*/ 8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153">
                <a:moveTo>
                  <a:pt x="267" y="86"/>
                </a:moveTo>
                <a:cubicBezTo>
                  <a:pt x="267" y="84"/>
                  <a:pt x="267" y="83"/>
                  <a:pt x="267" y="82"/>
                </a:cubicBezTo>
                <a:cubicBezTo>
                  <a:pt x="267" y="53"/>
                  <a:pt x="243" y="29"/>
                  <a:pt x="214" y="29"/>
                </a:cubicBezTo>
                <a:cubicBezTo>
                  <a:pt x="204" y="29"/>
                  <a:pt x="195" y="32"/>
                  <a:pt x="188" y="37"/>
                </a:cubicBezTo>
                <a:cubicBezTo>
                  <a:pt x="177" y="15"/>
                  <a:pt x="155" y="0"/>
                  <a:pt x="129" y="0"/>
                </a:cubicBezTo>
                <a:cubicBezTo>
                  <a:pt x="103" y="0"/>
                  <a:pt x="80" y="15"/>
                  <a:pt x="70" y="37"/>
                </a:cubicBezTo>
                <a:cubicBezTo>
                  <a:pt x="64" y="33"/>
                  <a:pt x="58" y="31"/>
                  <a:pt x="51" y="31"/>
                </a:cubicBezTo>
                <a:cubicBezTo>
                  <a:pt x="34" y="31"/>
                  <a:pt x="21" y="44"/>
                  <a:pt x="21" y="61"/>
                </a:cubicBezTo>
                <a:cubicBezTo>
                  <a:pt x="21" y="64"/>
                  <a:pt x="21" y="67"/>
                  <a:pt x="22" y="70"/>
                </a:cubicBezTo>
                <a:cubicBezTo>
                  <a:pt x="9" y="78"/>
                  <a:pt x="0" y="92"/>
                  <a:pt x="0" y="108"/>
                </a:cubicBezTo>
                <a:cubicBezTo>
                  <a:pt x="0" y="133"/>
                  <a:pt x="20" y="152"/>
                  <a:pt x="44" y="153"/>
                </a:cubicBezTo>
                <a:cubicBezTo>
                  <a:pt x="44" y="153"/>
                  <a:pt x="44" y="153"/>
                  <a:pt x="44" y="153"/>
                </a:cubicBezTo>
                <a:cubicBezTo>
                  <a:pt x="45" y="153"/>
                  <a:pt x="45" y="153"/>
                  <a:pt x="45" y="153"/>
                </a:cubicBezTo>
                <a:cubicBezTo>
                  <a:pt x="45" y="153"/>
                  <a:pt x="45" y="153"/>
                  <a:pt x="45" y="153"/>
                </a:cubicBezTo>
                <a:cubicBezTo>
                  <a:pt x="45" y="153"/>
                  <a:pt x="45" y="153"/>
                  <a:pt x="45" y="153"/>
                </a:cubicBezTo>
                <a:cubicBezTo>
                  <a:pt x="251" y="153"/>
                  <a:pt x="251" y="153"/>
                  <a:pt x="251" y="153"/>
                </a:cubicBezTo>
                <a:cubicBezTo>
                  <a:pt x="252" y="153"/>
                  <a:pt x="253" y="153"/>
                  <a:pt x="253" y="153"/>
                </a:cubicBezTo>
                <a:cubicBezTo>
                  <a:pt x="273" y="153"/>
                  <a:pt x="288" y="137"/>
                  <a:pt x="288" y="118"/>
                </a:cubicBezTo>
                <a:cubicBezTo>
                  <a:pt x="288" y="103"/>
                  <a:pt x="279" y="91"/>
                  <a:pt x="267" y="86"/>
                </a:cubicBezTo>
                <a:close/>
              </a:path>
            </a:pathLst>
          </a:custGeom>
          <a:solidFill>
            <a:srgbClr val="ED7D31">
              <a:lumMod val="60000"/>
              <a:lumOff val="40000"/>
            </a:srgbClr>
          </a:solidFill>
          <a:ln w="9525" cap="flat" cmpd="sng" algn="ctr">
            <a:noFill/>
            <a:prstDash val="solid"/>
            <a:miter lim="800000"/>
          </a:ln>
          <a:effectLst/>
        </p:spPr>
        <p:txBody>
          <a:bodyPr lIns="0" rIns="0" rtlCol="0" anchor="ctr"/>
          <a:lstStyle/>
          <a:p>
            <a:pPr algn="ctr"/>
            <a:r>
              <a:rPr lang="en-US" altLang="zh-CN" sz="1865" b="1" kern="0" dirty="0">
                <a:solidFill>
                  <a:prstClr val="black"/>
                </a:solidFill>
                <a:cs typeface="+mn-ea"/>
                <a:sym typeface="+mn-lt"/>
              </a:rPr>
              <a:t>XXX</a:t>
            </a:r>
            <a:endParaRPr lang="zh-CN" altLang="en-US" sz="1865" b="1" kern="0" dirty="0">
              <a:solidFill>
                <a:prstClr val="black"/>
              </a:solidFill>
              <a:cs typeface="+mn-ea"/>
              <a:sym typeface="+mn-lt"/>
            </a:endParaRPr>
          </a:p>
        </p:txBody>
      </p:sp>
      <p:sp>
        <p:nvSpPr>
          <p:cNvPr id="34" name="Freeform 207"/>
          <p:cNvSpPr/>
          <p:nvPr/>
        </p:nvSpPr>
        <p:spPr bwMode="auto">
          <a:xfrm>
            <a:off x="2913931" y="4586523"/>
            <a:ext cx="2793331" cy="1109888"/>
          </a:xfrm>
          <a:custGeom>
            <a:avLst/>
            <a:gdLst>
              <a:gd name="T0" fmla="*/ 267 w 288"/>
              <a:gd name="T1" fmla="*/ 86 h 153"/>
              <a:gd name="T2" fmla="*/ 267 w 288"/>
              <a:gd name="T3" fmla="*/ 82 h 153"/>
              <a:gd name="T4" fmla="*/ 214 w 288"/>
              <a:gd name="T5" fmla="*/ 29 h 153"/>
              <a:gd name="T6" fmla="*/ 188 w 288"/>
              <a:gd name="T7" fmla="*/ 37 h 153"/>
              <a:gd name="T8" fmla="*/ 129 w 288"/>
              <a:gd name="T9" fmla="*/ 0 h 153"/>
              <a:gd name="T10" fmla="*/ 70 w 288"/>
              <a:gd name="T11" fmla="*/ 37 h 153"/>
              <a:gd name="T12" fmla="*/ 51 w 288"/>
              <a:gd name="T13" fmla="*/ 31 h 153"/>
              <a:gd name="T14" fmla="*/ 21 w 288"/>
              <a:gd name="T15" fmla="*/ 61 h 153"/>
              <a:gd name="T16" fmla="*/ 22 w 288"/>
              <a:gd name="T17" fmla="*/ 70 h 153"/>
              <a:gd name="T18" fmla="*/ 0 w 288"/>
              <a:gd name="T19" fmla="*/ 108 h 153"/>
              <a:gd name="T20" fmla="*/ 44 w 288"/>
              <a:gd name="T21" fmla="*/ 153 h 153"/>
              <a:gd name="T22" fmla="*/ 44 w 288"/>
              <a:gd name="T23" fmla="*/ 153 h 153"/>
              <a:gd name="T24" fmla="*/ 45 w 288"/>
              <a:gd name="T25" fmla="*/ 153 h 153"/>
              <a:gd name="T26" fmla="*/ 45 w 288"/>
              <a:gd name="T27" fmla="*/ 153 h 153"/>
              <a:gd name="T28" fmla="*/ 45 w 288"/>
              <a:gd name="T29" fmla="*/ 153 h 153"/>
              <a:gd name="T30" fmla="*/ 251 w 288"/>
              <a:gd name="T31" fmla="*/ 153 h 153"/>
              <a:gd name="T32" fmla="*/ 253 w 288"/>
              <a:gd name="T33" fmla="*/ 153 h 153"/>
              <a:gd name="T34" fmla="*/ 288 w 288"/>
              <a:gd name="T35" fmla="*/ 118 h 153"/>
              <a:gd name="T36" fmla="*/ 267 w 288"/>
              <a:gd name="T37" fmla="*/ 8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153">
                <a:moveTo>
                  <a:pt x="267" y="86"/>
                </a:moveTo>
                <a:cubicBezTo>
                  <a:pt x="267" y="84"/>
                  <a:pt x="267" y="83"/>
                  <a:pt x="267" y="82"/>
                </a:cubicBezTo>
                <a:cubicBezTo>
                  <a:pt x="267" y="53"/>
                  <a:pt x="243" y="29"/>
                  <a:pt x="214" y="29"/>
                </a:cubicBezTo>
                <a:cubicBezTo>
                  <a:pt x="204" y="29"/>
                  <a:pt x="195" y="32"/>
                  <a:pt x="188" y="37"/>
                </a:cubicBezTo>
                <a:cubicBezTo>
                  <a:pt x="177" y="15"/>
                  <a:pt x="155" y="0"/>
                  <a:pt x="129" y="0"/>
                </a:cubicBezTo>
                <a:cubicBezTo>
                  <a:pt x="103" y="0"/>
                  <a:pt x="80" y="15"/>
                  <a:pt x="70" y="37"/>
                </a:cubicBezTo>
                <a:cubicBezTo>
                  <a:pt x="64" y="33"/>
                  <a:pt x="58" y="31"/>
                  <a:pt x="51" y="31"/>
                </a:cubicBezTo>
                <a:cubicBezTo>
                  <a:pt x="34" y="31"/>
                  <a:pt x="21" y="44"/>
                  <a:pt x="21" y="61"/>
                </a:cubicBezTo>
                <a:cubicBezTo>
                  <a:pt x="21" y="64"/>
                  <a:pt x="21" y="67"/>
                  <a:pt x="22" y="70"/>
                </a:cubicBezTo>
                <a:cubicBezTo>
                  <a:pt x="9" y="78"/>
                  <a:pt x="0" y="92"/>
                  <a:pt x="0" y="108"/>
                </a:cubicBezTo>
                <a:cubicBezTo>
                  <a:pt x="0" y="133"/>
                  <a:pt x="20" y="152"/>
                  <a:pt x="44" y="153"/>
                </a:cubicBezTo>
                <a:cubicBezTo>
                  <a:pt x="44" y="153"/>
                  <a:pt x="44" y="153"/>
                  <a:pt x="44" y="153"/>
                </a:cubicBezTo>
                <a:cubicBezTo>
                  <a:pt x="45" y="153"/>
                  <a:pt x="45" y="153"/>
                  <a:pt x="45" y="153"/>
                </a:cubicBezTo>
                <a:cubicBezTo>
                  <a:pt x="45" y="153"/>
                  <a:pt x="45" y="153"/>
                  <a:pt x="45" y="153"/>
                </a:cubicBezTo>
                <a:cubicBezTo>
                  <a:pt x="45" y="153"/>
                  <a:pt x="45" y="153"/>
                  <a:pt x="45" y="153"/>
                </a:cubicBezTo>
                <a:cubicBezTo>
                  <a:pt x="251" y="153"/>
                  <a:pt x="251" y="153"/>
                  <a:pt x="251" y="153"/>
                </a:cubicBezTo>
                <a:cubicBezTo>
                  <a:pt x="252" y="153"/>
                  <a:pt x="253" y="153"/>
                  <a:pt x="253" y="153"/>
                </a:cubicBezTo>
                <a:cubicBezTo>
                  <a:pt x="273" y="153"/>
                  <a:pt x="288" y="137"/>
                  <a:pt x="288" y="118"/>
                </a:cubicBezTo>
                <a:cubicBezTo>
                  <a:pt x="288" y="103"/>
                  <a:pt x="279" y="91"/>
                  <a:pt x="267" y="86"/>
                </a:cubicBezTo>
                <a:close/>
              </a:path>
            </a:pathLst>
          </a:custGeom>
          <a:solidFill>
            <a:srgbClr val="ED7D31">
              <a:lumMod val="60000"/>
              <a:lumOff val="40000"/>
            </a:srgbClr>
          </a:solidFill>
          <a:ln w="9525" cap="flat" cmpd="sng" algn="ctr">
            <a:noFill/>
            <a:prstDash val="solid"/>
            <a:miter lim="800000"/>
          </a:ln>
          <a:effectLst/>
        </p:spPr>
        <p:txBody>
          <a:bodyPr lIns="0" rIns="0" rtlCol="0" anchor="ctr"/>
          <a:lstStyle/>
          <a:p>
            <a:pPr algn="ctr"/>
            <a:r>
              <a:rPr lang="en-US" altLang="zh-CN" sz="1865" b="1" kern="0" dirty="0">
                <a:solidFill>
                  <a:prstClr val="black"/>
                </a:solidFill>
                <a:cs typeface="+mn-ea"/>
                <a:sym typeface="+mn-lt"/>
              </a:rPr>
              <a:t>XX</a:t>
            </a:r>
            <a:endParaRPr lang="zh-CN" altLang="en-US" sz="1865" b="1" kern="0" dirty="0">
              <a:solidFill>
                <a:prstClr val="black"/>
              </a:solidFill>
              <a:cs typeface="+mn-ea"/>
              <a:sym typeface="+mn-lt"/>
            </a:endParaRPr>
          </a:p>
        </p:txBody>
      </p:sp>
      <p:sp>
        <p:nvSpPr>
          <p:cNvPr id="54" name="圆角矩形 221"/>
          <p:cNvSpPr/>
          <p:nvPr/>
        </p:nvSpPr>
        <p:spPr>
          <a:xfrm>
            <a:off x="992625" y="1622322"/>
            <a:ext cx="2438399" cy="330556"/>
          </a:xfrm>
          <a:prstGeom prst="rect">
            <a:avLst/>
          </a:prstGeom>
          <a:solidFill>
            <a:schemeClr val="bg1">
              <a:lumMod val="85000"/>
            </a:schemeClr>
          </a:solidFill>
          <a:ln w="9525" cap="flat" cmpd="sng" algn="ctr">
            <a:noFill/>
            <a:prstDash val="solid"/>
            <a:miter lim="800000"/>
          </a:ln>
          <a:effectLst/>
        </p:spPr>
        <p:txBody>
          <a:bodyPr lIns="0" rIns="0" rtlCol="0" anchor="ctr"/>
          <a:lstStyle/>
          <a:p>
            <a:pPr algn="ctr" latinLnBrk="1">
              <a:defRPr/>
            </a:pPr>
            <a:r>
              <a:rPr lang="en-US" altLang="zh-CN" sz="1865" b="1" kern="0" smtClean="0">
                <a:solidFill>
                  <a:prstClr val="black"/>
                </a:solidFill>
                <a:cs typeface="+mn-ea"/>
                <a:sym typeface="+mn-lt"/>
              </a:rPr>
              <a:t>XXXXX</a:t>
            </a:r>
            <a:endParaRPr lang="zh-CN" altLang="en-US" sz="1865" b="1" kern="0" dirty="0">
              <a:solidFill>
                <a:prstClr val="black"/>
              </a:solidFill>
              <a:cs typeface="+mn-ea"/>
              <a:sym typeface="+mn-lt"/>
            </a:endParaRPr>
          </a:p>
        </p:txBody>
      </p:sp>
      <p:sp>
        <p:nvSpPr>
          <p:cNvPr id="57" name="圆角矩形 222"/>
          <p:cNvSpPr/>
          <p:nvPr/>
        </p:nvSpPr>
        <p:spPr>
          <a:xfrm>
            <a:off x="8059909" y="1622322"/>
            <a:ext cx="3139468" cy="330556"/>
          </a:xfrm>
          <a:prstGeom prst="rect">
            <a:avLst/>
          </a:prstGeom>
          <a:solidFill>
            <a:schemeClr val="bg1">
              <a:lumMod val="85000"/>
            </a:schemeClr>
          </a:solidFill>
          <a:ln w="9525" cap="flat" cmpd="sng" algn="ctr">
            <a:noFill/>
            <a:prstDash val="solid"/>
            <a:miter lim="800000"/>
          </a:ln>
          <a:effectLst/>
        </p:spPr>
        <p:txBody>
          <a:bodyPr lIns="0" rIns="0" rtlCol="0" anchor="ctr"/>
          <a:lstStyle/>
          <a:p>
            <a:pPr algn="ctr"/>
            <a:r>
              <a:rPr lang="en-US" altLang="zh-TW" sz="1865" b="1" smtClean="0"/>
              <a:t>XXX</a:t>
            </a:r>
            <a:endParaRPr lang="zh-CN" altLang="en-US" sz="1865" b="1" dirty="0"/>
          </a:p>
        </p:txBody>
      </p:sp>
      <p:sp>
        <p:nvSpPr>
          <p:cNvPr id="58" name="圆角矩形 223"/>
          <p:cNvSpPr/>
          <p:nvPr/>
        </p:nvSpPr>
        <p:spPr>
          <a:xfrm>
            <a:off x="3739549" y="2395285"/>
            <a:ext cx="3920911" cy="364491"/>
          </a:xfrm>
          <a:prstGeom prst="rect">
            <a:avLst/>
          </a:prstGeom>
          <a:solidFill>
            <a:srgbClr val="ED7D31">
              <a:lumMod val="60000"/>
              <a:lumOff val="40000"/>
            </a:srgbClr>
          </a:solidFill>
          <a:ln w="9525" cap="flat" cmpd="sng" algn="ctr">
            <a:noFill/>
            <a:prstDash val="solid"/>
            <a:miter lim="800000"/>
          </a:ln>
          <a:effectLst/>
        </p:spPr>
        <p:txBody>
          <a:bodyPr lIns="0" rIns="0" rtlCol="0" anchor="ctr"/>
          <a:lstStyle/>
          <a:p>
            <a:pPr algn="ctr"/>
            <a:r>
              <a:rPr lang="en-US" altLang="zh-TW" sz="1865" b="1" smtClean="0"/>
              <a:t>XXX</a:t>
            </a:r>
            <a:endParaRPr lang="en-US" altLang="zh-CN" sz="1865" b="1" dirty="0"/>
          </a:p>
        </p:txBody>
      </p:sp>
      <p:sp>
        <p:nvSpPr>
          <p:cNvPr id="59" name="圆角矩形 224"/>
          <p:cNvSpPr/>
          <p:nvPr/>
        </p:nvSpPr>
        <p:spPr>
          <a:xfrm>
            <a:off x="8059909" y="3172981"/>
            <a:ext cx="3139468" cy="330556"/>
          </a:xfrm>
          <a:prstGeom prst="rect">
            <a:avLst/>
          </a:prstGeom>
          <a:solidFill>
            <a:schemeClr val="bg1">
              <a:lumMod val="85000"/>
            </a:schemeClr>
          </a:solidFill>
          <a:ln w="9525" cap="flat" cmpd="sng" algn="ctr">
            <a:noFill/>
            <a:prstDash val="solid"/>
            <a:miter lim="800000"/>
          </a:ln>
          <a:effectLst/>
        </p:spPr>
        <p:txBody>
          <a:bodyPr lIns="0" rIns="0" rtlCol="0" anchor="ctr"/>
          <a:lstStyle/>
          <a:p>
            <a:pPr algn="ctr" latinLnBrk="1">
              <a:defRPr/>
            </a:pPr>
            <a:r>
              <a:rPr lang="en-US" altLang="zh-CN" sz="1865" b="1" kern="0" smtClean="0">
                <a:solidFill>
                  <a:prstClr val="black"/>
                </a:solidFill>
                <a:cs typeface="+mn-ea"/>
                <a:sym typeface="+mn-lt"/>
              </a:rPr>
              <a:t>XXX</a:t>
            </a:r>
            <a:endParaRPr lang="en-US" altLang="zh-CN" sz="1865" b="1" kern="0" dirty="0">
              <a:solidFill>
                <a:prstClr val="black"/>
              </a:solidFill>
              <a:cs typeface="+mn-ea"/>
              <a:sym typeface="+mn-lt"/>
            </a:endParaRPr>
          </a:p>
        </p:txBody>
      </p:sp>
      <p:sp>
        <p:nvSpPr>
          <p:cNvPr id="62" name="圆角矩形 225"/>
          <p:cNvSpPr/>
          <p:nvPr/>
        </p:nvSpPr>
        <p:spPr>
          <a:xfrm>
            <a:off x="3739549" y="3483461"/>
            <a:ext cx="3920911" cy="364491"/>
          </a:xfrm>
          <a:prstGeom prst="rect">
            <a:avLst/>
          </a:prstGeom>
          <a:solidFill>
            <a:srgbClr val="ED7D31">
              <a:lumMod val="60000"/>
              <a:lumOff val="40000"/>
            </a:srgbClr>
          </a:solidFill>
          <a:ln w="9525" cap="flat" cmpd="sng" algn="ctr">
            <a:noFill/>
            <a:prstDash val="solid"/>
            <a:miter lim="800000"/>
          </a:ln>
          <a:effectLst/>
        </p:spPr>
        <p:txBody>
          <a:bodyPr lIns="0" rIns="0" rtlCol="0" anchor="ctr"/>
          <a:lstStyle/>
          <a:p>
            <a:pPr algn="ctr"/>
            <a:r>
              <a:rPr lang="en-US" altLang="zh-CN" sz="1865" b="1" kern="0" smtClean="0">
                <a:solidFill>
                  <a:prstClr val="black"/>
                </a:solidFill>
                <a:cs typeface="+mn-ea"/>
                <a:sym typeface="+mn-lt"/>
              </a:rPr>
              <a:t>XXX</a:t>
            </a:r>
            <a:endParaRPr lang="zh-CN" altLang="en-US" sz="1865" b="1" kern="0" dirty="0">
              <a:solidFill>
                <a:prstClr val="black"/>
              </a:solidFill>
              <a:cs typeface="+mn-ea"/>
              <a:sym typeface="+mn-lt"/>
            </a:endParaRPr>
          </a:p>
        </p:txBody>
      </p:sp>
      <p:sp>
        <p:nvSpPr>
          <p:cNvPr id="63" name="圆角矩形 224"/>
          <p:cNvSpPr/>
          <p:nvPr/>
        </p:nvSpPr>
        <p:spPr>
          <a:xfrm>
            <a:off x="3739549" y="1622322"/>
            <a:ext cx="3920911" cy="330556"/>
          </a:xfrm>
          <a:prstGeom prst="rect">
            <a:avLst/>
          </a:prstGeom>
          <a:solidFill>
            <a:srgbClr val="ED7D31">
              <a:lumMod val="60000"/>
              <a:lumOff val="40000"/>
            </a:srgbClr>
          </a:solidFill>
          <a:ln w="9525" cap="flat" cmpd="sng" algn="ctr">
            <a:noFill/>
            <a:prstDash val="solid"/>
            <a:miter lim="800000"/>
          </a:ln>
          <a:effectLst/>
        </p:spPr>
        <p:txBody>
          <a:bodyPr lIns="0" rIns="0" rtlCol="0" anchor="ctr"/>
          <a:lstStyle/>
          <a:p>
            <a:pPr algn="ctr"/>
            <a:r>
              <a:rPr lang="en-US" altLang="zh-TW" sz="1865" b="1"/>
              <a:t>XXX</a:t>
            </a:r>
            <a:endParaRPr lang="zh-CN" altLang="en-US" sz="1865" b="1" dirty="0"/>
          </a:p>
        </p:txBody>
      </p:sp>
      <p:sp>
        <p:nvSpPr>
          <p:cNvPr id="64" name="TextBox 49"/>
          <p:cNvSpPr txBox="1"/>
          <p:nvPr/>
        </p:nvSpPr>
        <p:spPr>
          <a:xfrm>
            <a:off x="1182263" y="1977269"/>
            <a:ext cx="2248760" cy="379656"/>
          </a:xfrm>
          <a:prstGeom prst="rect">
            <a:avLst/>
          </a:prstGeom>
          <a:noFill/>
        </p:spPr>
        <p:txBody>
          <a:bodyPr wrap="square" rtlCol="0">
            <a:spAutoFit/>
          </a:bodyPr>
          <a:lstStyle/>
          <a:p>
            <a:pPr marL="228600" indent="-228600">
              <a:buFont typeface="Arial" panose="020B0604020202020204" pitchFamily="34" charset="0"/>
              <a:buChar char="•"/>
            </a:pPr>
            <a:r>
              <a:rPr lang="en-US" altLang="zh-CN" sz="1865" smtClean="0"/>
              <a:t>XXX</a:t>
            </a:r>
            <a:endParaRPr lang="en-US" sz="1865" dirty="0"/>
          </a:p>
        </p:txBody>
      </p:sp>
      <p:sp>
        <p:nvSpPr>
          <p:cNvPr id="65" name="TextBox 49"/>
          <p:cNvSpPr txBox="1"/>
          <p:nvPr/>
        </p:nvSpPr>
        <p:spPr>
          <a:xfrm>
            <a:off x="4056808" y="1977270"/>
            <a:ext cx="3592864" cy="379656"/>
          </a:xfrm>
          <a:prstGeom prst="rect">
            <a:avLst/>
          </a:prstGeom>
          <a:noFill/>
        </p:spPr>
        <p:txBody>
          <a:bodyPr wrap="square" lIns="0" rIns="0" rtlCol="0">
            <a:spAutoFit/>
          </a:bodyPr>
          <a:lstStyle/>
          <a:p>
            <a:pPr marL="228600" indent="-228600">
              <a:buFont typeface="Arial" panose="020B0604020202020204" pitchFamily="34" charset="0"/>
              <a:buChar char="•"/>
            </a:pPr>
            <a:r>
              <a:rPr lang="en-US" altLang="zh-CN" sz="1865" smtClean="0"/>
              <a:t>XXX</a:t>
            </a:r>
            <a:endParaRPr lang="en-US" altLang="zh-CN" sz="1865" dirty="0"/>
          </a:p>
        </p:txBody>
      </p:sp>
      <p:sp>
        <p:nvSpPr>
          <p:cNvPr id="66" name="TextBox 49"/>
          <p:cNvSpPr txBox="1"/>
          <p:nvPr/>
        </p:nvSpPr>
        <p:spPr>
          <a:xfrm>
            <a:off x="8317382" y="1977269"/>
            <a:ext cx="2871207" cy="379656"/>
          </a:xfrm>
          <a:prstGeom prst="rect">
            <a:avLst/>
          </a:prstGeom>
          <a:noFill/>
        </p:spPr>
        <p:txBody>
          <a:bodyPr wrap="square" rtlCol="0">
            <a:spAutoFit/>
          </a:bodyPr>
          <a:lstStyle/>
          <a:p>
            <a:pPr marL="228600" indent="-228600">
              <a:buFont typeface="Arial" panose="020B0604020202020204" pitchFamily="34" charset="0"/>
              <a:buChar char="•"/>
            </a:pPr>
            <a:r>
              <a:rPr lang="en-US" altLang="zh-CN" sz="1865" smtClean="0"/>
              <a:t>XXXX</a:t>
            </a:r>
            <a:endParaRPr lang="en-US" altLang="zh-CN" sz="1865" dirty="0"/>
          </a:p>
        </p:txBody>
      </p:sp>
      <p:sp>
        <p:nvSpPr>
          <p:cNvPr id="67" name="TextBox 49"/>
          <p:cNvSpPr txBox="1"/>
          <p:nvPr/>
        </p:nvSpPr>
        <p:spPr>
          <a:xfrm>
            <a:off x="4056808" y="3880733"/>
            <a:ext cx="3592864" cy="379656"/>
          </a:xfrm>
          <a:prstGeom prst="rect">
            <a:avLst/>
          </a:prstGeom>
          <a:noFill/>
        </p:spPr>
        <p:txBody>
          <a:bodyPr wrap="square" lIns="0" rIns="0" rtlCol="0">
            <a:spAutoFit/>
          </a:bodyPr>
          <a:lstStyle/>
          <a:p>
            <a:pPr marL="228600" indent="-228600">
              <a:buFont typeface="Arial" panose="020B0604020202020204" pitchFamily="34" charset="0"/>
              <a:buChar char="•"/>
            </a:pPr>
            <a:r>
              <a:rPr lang="en-US" altLang="zh-CN" sz="1865" smtClean="0"/>
              <a:t>XXXX</a:t>
            </a:r>
            <a:endParaRPr lang="en-US" altLang="zh-CN" sz="1865" dirty="0"/>
          </a:p>
        </p:txBody>
      </p:sp>
      <p:sp>
        <p:nvSpPr>
          <p:cNvPr id="68" name="TextBox 49"/>
          <p:cNvSpPr txBox="1"/>
          <p:nvPr/>
        </p:nvSpPr>
        <p:spPr>
          <a:xfrm>
            <a:off x="4056808" y="2775910"/>
            <a:ext cx="3592864" cy="379656"/>
          </a:xfrm>
          <a:prstGeom prst="rect">
            <a:avLst/>
          </a:prstGeom>
          <a:noFill/>
        </p:spPr>
        <p:txBody>
          <a:bodyPr wrap="square" lIns="0" rIns="0" rtlCol="0">
            <a:spAutoFit/>
          </a:bodyPr>
          <a:lstStyle/>
          <a:p>
            <a:pPr marL="228600" indent="-228600">
              <a:buFont typeface="Arial" panose="020B0604020202020204" pitchFamily="34" charset="0"/>
              <a:buChar char="•"/>
            </a:pPr>
            <a:r>
              <a:rPr lang="en-US" altLang="zh-CN" sz="1865" smtClean="0"/>
              <a:t>XXX</a:t>
            </a:r>
            <a:endParaRPr lang="en-US" altLang="zh-CN" sz="1865" dirty="0"/>
          </a:p>
        </p:txBody>
      </p:sp>
      <p:sp>
        <p:nvSpPr>
          <p:cNvPr id="69" name="矩形 68"/>
          <p:cNvSpPr/>
          <p:nvPr/>
        </p:nvSpPr>
        <p:spPr>
          <a:xfrm>
            <a:off x="8317382" y="3569775"/>
            <a:ext cx="2871207" cy="379656"/>
          </a:xfrm>
          <a:prstGeom prst="rect">
            <a:avLst/>
          </a:prstGeom>
        </p:spPr>
        <p:txBody>
          <a:bodyPr wrap="square">
            <a:spAutoFit/>
          </a:bodyPr>
          <a:lstStyle/>
          <a:p>
            <a:pPr marL="228600" indent="-228600">
              <a:buFont typeface="Arial" panose="020B0604020202020204" pitchFamily="34" charset="0"/>
              <a:buChar char="•"/>
            </a:pPr>
            <a:r>
              <a:rPr lang="en-US" altLang="zh-CN" sz="1865" smtClean="0"/>
              <a:t>XXXX</a:t>
            </a:r>
            <a:endParaRPr lang="en-US" altLang="zh-CN" sz="1865" dirty="0"/>
          </a:p>
        </p:txBody>
      </p:sp>
      <p:sp>
        <p:nvSpPr>
          <p:cNvPr id="70" name="椭圆 69"/>
          <p:cNvSpPr/>
          <p:nvPr>
            <p:custDataLst>
              <p:tags r:id="rId4"/>
            </p:custDataLst>
          </p:nvPr>
        </p:nvSpPr>
        <p:spPr>
          <a:xfrm>
            <a:off x="3812418" y="1620849"/>
            <a:ext cx="319916" cy="313761"/>
          </a:xfrm>
          <a:prstGeom prst="ellipse">
            <a:avLst/>
          </a:prstGeom>
          <a:solidFill>
            <a:schemeClr val="accent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zh-CN" sz="1465" b="1" dirty="0">
                <a:solidFill>
                  <a:schemeClr val="bg1"/>
                </a:solidFill>
              </a:rPr>
              <a:t>B1</a:t>
            </a:r>
            <a:endParaRPr lang="en-US" altLang="zh-CN" sz="1465" b="1" dirty="0">
              <a:solidFill>
                <a:schemeClr val="bg1"/>
              </a:solidFill>
            </a:endParaRPr>
          </a:p>
        </p:txBody>
      </p:sp>
      <p:sp>
        <p:nvSpPr>
          <p:cNvPr id="71" name="椭圆 70"/>
          <p:cNvSpPr/>
          <p:nvPr>
            <p:custDataLst>
              <p:tags r:id="rId5"/>
            </p:custDataLst>
          </p:nvPr>
        </p:nvSpPr>
        <p:spPr>
          <a:xfrm>
            <a:off x="3812418" y="2410780"/>
            <a:ext cx="319916" cy="313761"/>
          </a:xfrm>
          <a:prstGeom prst="ellipse">
            <a:avLst/>
          </a:prstGeom>
          <a:solidFill>
            <a:schemeClr val="accent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zh-CN" sz="1465" b="1" dirty="0">
                <a:solidFill>
                  <a:schemeClr val="bg1"/>
                </a:solidFill>
              </a:rPr>
              <a:t>B2</a:t>
            </a:r>
            <a:endParaRPr lang="en-US" altLang="zh-CN" sz="1465" b="1" dirty="0">
              <a:solidFill>
                <a:schemeClr val="bg1"/>
              </a:solidFill>
            </a:endParaRPr>
          </a:p>
        </p:txBody>
      </p:sp>
      <p:sp>
        <p:nvSpPr>
          <p:cNvPr id="72" name="椭圆 71"/>
          <p:cNvSpPr/>
          <p:nvPr>
            <p:custDataLst>
              <p:tags r:id="rId6"/>
            </p:custDataLst>
          </p:nvPr>
        </p:nvSpPr>
        <p:spPr>
          <a:xfrm>
            <a:off x="3812418" y="3498956"/>
            <a:ext cx="319916" cy="313761"/>
          </a:xfrm>
          <a:prstGeom prst="ellipse">
            <a:avLst/>
          </a:prstGeom>
          <a:solidFill>
            <a:schemeClr val="accent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zh-CN" sz="1465" b="1" dirty="0">
                <a:solidFill>
                  <a:schemeClr val="bg1"/>
                </a:solidFill>
              </a:rPr>
              <a:t>B3</a:t>
            </a:r>
            <a:endParaRPr lang="en-US" altLang="zh-CN" sz="1465" b="1" dirty="0">
              <a:solidFill>
                <a:schemeClr val="bg1"/>
              </a:solidFill>
            </a:endParaRPr>
          </a:p>
        </p:txBody>
      </p:sp>
      <p:sp>
        <p:nvSpPr>
          <p:cNvPr id="4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流程</a:t>
            </a:r>
            <a:endParaRPr lang="zh-CN" altLang="en-US" sz="2400" dirty="0">
              <a:latin typeface="+mj-ea"/>
            </a:endParaRPr>
          </a:p>
        </p:txBody>
      </p:sp>
      <p:pic>
        <p:nvPicPr>
          <p:cNvPr id="40" name="图片 3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对象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956" name="think-cell Slide" r:id="rId2" imgW="12700" imgH="12700" progId="TCLayout.ActiveDocument.1">
                  <p:embed/>
                </p:oleObj>
              </mc:Choice>
              <mc:Fallback>
                <p:oleObj name="think-cell Slide" r:id="rId2" imgW="12700" imgH="12700" progId="TCLayout.ActiveDocument.1">
                  <p:embed/>
                  <p:pic>
                    <p:nvPicPr>
                      <p:cNvPr id="0" name="对象 13" hidden="1"/>
                      <p:cNvPicPr/>
                      <p:nvPr/>
                    </p:nvPicPr>
                    <p:blipFill>
                      <a:blip r:embed="rId3"/>
                      <a:stretch>
                        <a:fillRect/>
                      </a:stretch>
                    </p:blipFill>
                    <p:spPr>
                      <a:xfrm>
                        <a:off x="1588" y="1588"/>
                        <a:ext cx="1587" cy="1587"/>
                      </a:xfrm>
                      <a:prstGeom prst="rect">
                        <a:avLst/>
                      </a:prstGeom>
                    </p:spPr>
                  </p:pic>
                </p:oleObj>
              </mc:Fallback>
            </mc:AlternateContent>
          </a:graphicData>
        </a:graphic>
      </p:graphicFrame>
      <p:grpSp>
        <p:nvGrpSpPr>
          <p:cNvPr id="4" name="组合 3"/>
          <p:cNvGrpSpPr/>
          <p:nvPr/>
        </p:nvGrpSpPr>
        <p:grpSpPr>
          <a:xfrm>
            <a:off x="342900" y="2010785"/>
            <a:ext cx="11416017" cy="759308"/>
            <a:chOff x="342900" y="1912174"/>
            <a:chExt cx="11416017" cy="865842"/>
          </a:xfrm>
        </p:grpSpPr>
        <p:sp>
          <p:nvSpPr>
            <p:cNvPr id="174085" name="任意多边形 174084"/>
            <p:cNvSpPr/>
            <p:nvPr/>
          </p:nvSpPr>
          <p:spPr>
            <a:xfrm>
              <a:off x="342900" y="1912174"/>
              <a:ext cx="4737311" cy="865841"/>
            </a:xfrm>
            <a:custGeom>
              <a:avLst/>
              <a:gdLst>
                <a:gd name="connsiteX0" fmla="*/ 1714500 w 6314532"/>
                <a:gd name="connsiteY0" fmla="*/ 421341 h 1018241"/>
                <a:gd name="connsiteX1" fmla="*/ 6314532 w 6314532"/>
                <a:gd name="connsiteY1" fmla="*/ 0 h 1018241"/>
                <a:gd name="connsiteX2" fmla="*/ 1866900 w 6314532"/>
                <a:gd name="connsiteY2" fmla="*/ 1018241 h 1018241"/>
                <a:gd name="connsiteX3" fmla="*/ 0 w 6314532"/>
                <a:gd name="connsiteY3" fmla="*/ 1018241 h 1018241"/>
                <a:gd name="connsiteX4" fmla="*/ 1714500 w 6314532"/>
                <a:gd name="connsiteY4" fmla="*/ 421341 h 1018241"/>
                <a:gd name="connsiteX0-1" fmla="*/ 5870552 w 6314532"/>
                <a:gd name="connsiteY0-2" fmla="*/ 0 h 1018241"/>
                <a:gd name="connsiteX1-3" fmla="*/ 6314532 w 6314532"/>
                <a:gd name="connsiteY1-4" fmla="*/ 0 h 1018241"/>
                <a:gd name="connsiteX2-5" fmla="*/ 1866900 w 6314532"/>
                <a:gd name="connsiteY2-6" fmla="*/ 1018241 h 1018241"/>
                <a:gd name="connsiteX3-7" fmla="*/ 0 w 6314532"/>
                <a:gd name="connsiteY3-8" fmla="*/ 1018241 h 1018241"/>
                <a:gd name="connsiteX4-9" fmla="*/ 5870552 w 6314532"/>
                <a:gd name="connsiteY4-10" fmla="*/ 0 h 1018241"/>
                <a:gd name="connsiteX0-11" fmla="*/ 4440718 w 6314532"/>
                <a:gd name="connsiteY0-12" fmla="*/ 152400 h 1018241"/>
                <a:gd name="connsiteX1-13" fmla="*/ 6314532 w 6314532"/>
                <a:gd name="connsiteY1-14" fmla="*/ 0 h 1018241"/>
                <a:gd name="connsiteX2-15" fmla="*/ 1866900 w 6314532"/>
                <a:gd name="connsiteY2-16" fmla="*/ 1018241 h 1018241"/>
                <a:gd name="connsiteX3-17" fmla="*/ 0 w 6314532"/>
                <a:gd name="connsiteY3-18" fmla="*/ 1018241 h 1018241"/>
                <a:gd name="connsiteX4-19" fmla="*/ 4440718 w 6314532"/>
                <a:gd name="connsiteY4-20" fmla="*/ 152400 h 1018241"/>
                <a:gd name="connsiteX0-21" fmla="*/ 4440718 w 5037214"/>
                <a:gd name="connsiteY0-22" fmla="*/ 0 h 865841"/>
                <a:gd name="connsiteX1-23" fmla="*/ 5037214 w 5037214"/>
                <a:gd name="connsiteY1-24" fmla="*/ 53789 h 865841"/>
                <a:gd name="connsiteX2-25" fmla="*/ 1866900 w 5037214"/>
                <a:gd name="connsiteY2-26" fmla="*/ 865841 h 865841"/>
                <a:gd name="connsiteX3-27" fmla="*/ 0 w 5037214"/>
                <a:gd name="connsiteY3-28" fmla="*/ 865841 h 865841"/>
                <a:gd name="connsiteX4-29" fmla="*/ 4440718 w 5037214"/>
                <a:gd name="connsiteY4-30" fmla="*/ 0 h 865841"/>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037214" h="865841">
                  <a:moveTo>
                    <a:pt x="4440718" y="0"/>
                  </a:moveTo>
                  <a:lnTo>
                    <a:pt x="5037214" y="53789"/>
                  </a:lnTo>
                  <a:lnTo>
                    <a:pt x="1866900" y="865841"/>
                  </a:lnTo>
                  <a:lnTo>
                    <a:pt x="0" y="865841"/>
                  </a:lnTo>
                  <a:lnTo>
                    <a:pt x="4440718" y="0"/>
                  </a:lnTo>
                  <a:close/>
                </a:path>
              </a:pathLst>
            </a:custGeom>
            <a:gradFill>
              <a:gsLst>
                <a:gs pos="0">
                  <a:srgbClr val="FFFFFF"/>
                </a:gs>
                <a:gs pos="100000">
                  <a:srgbClr val="DFD6CF"/>
                </a:gs>
              </a:gsLst>
              <a:lin ang="5400000" scaled="0"/>
            </a:gradFill>
            <a:ln w="9525" cap="flat" cmpd="sng" algn="ctr">
              <a:noFill/>
              <a:prstDash val="solid"/>
            </a:ln>
            <a:effectLst/>
          </p:spPr>
          <p:txBody>
            <a:bodyPr lIns="96000" tIns="96000" rIns="96000" bIns="144000" rtlCol="0" anchor="t" anchorCtr="0">
              <a:noAutofit/>
            </a:bodyPr>
            <a:lstStyle/>
            <a:p>
              <a:pPr marL="0" marR="0" lvl="0" indent="0" algn="l" defTabSz="9144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38" name="任意多边形 37"/>
            <p:cNvSpPr/>
            <p:nvPr/>
          </p:nvSpPr>
          <p:spPr>
            <a:xfrm flipH="1">
              <a:off x="7021606" y="1912174"/>
              <a:ext cx="4737311" cy="865841"/>
            </a:xfrm>
            <a:custGeom>
              <a:avLst/>
              <a:gdLst>
                <a:gd name="connsiteX0" fmla="*/ 1714500 w 6314532"/>
                <a:gd name="connsiteY0" fmla="*/ 421341 h 1018241"/>
                <a:gd name="connsiteX1" fmla="*/ 6314532 w 6314532"/>
                <a:gd name="connsiteY1" fmla="*/ 0 h 1018241"/>
                <a:gd name="connsiteX2" fmla="*/ 1866900 w 6314532"/>
                <a:gd name="connsiteY2" fmla="*/ 1018241 h 1018241"/>
                <a:gd name="connsiteX3" fmla="*/ 0 w 6314532"/>
                <a:gd name="connsiteY3" fmla="*/ 1018241 h 1018241"/>
                <a:gd name="connsiteX4" fmla="*/ 1714500 w 6314532"/>
                <a:gd name="connsiteY4" fmla="*/ 421341 h 1018241"/>
                <a:gd name="connsiteX0-1" fmla="*/ 5870552 w 6314532"/>
                <a:gd name="connsiteY0-2" fmla="*/ 0 h 1018241"/>
                <a:gd name="connsiteX1-3" fmla="*/ 6314532 w 6314532"/>
                <a:gd name="connsiteY1-4" fmla="*/ 0 h 1018241"/>
                <a:gd name="connsiteX2-5" fmla="*/ 1866900 w 6314532"/>
                <a:gd name="connsiteY2-6" fmla="*/ 1018241 h 1018241"/>
                <a:gd name="connsiteX3-7" fmla="*/ 0 w 6314532"/>
                <a:gd name="connsiteY3-8" fmla="*/ 1018241 h 1018241"/>
                <a:gd name="connsiteX4-9" fmla="*/ 5870552 w 6314532"/>
                <a:gd name="connsiteY4-10" fmla="*/ 0 h 1018241"/>
                <a:gd name="connsiteX0-11" fmla="*/ 4440718 w 6314532"/>
                <a:gd name="connsiteY0-12" fmla="*/ 152400 h 1018241"/>
                <a:gd name="connsiteX1-13" fmla="*/ 6314532 w 6314532"/>
                <a:gd name="connsiteY1-14" fmla="*/ 0 h 1018241"/>
                <a:gd name="connsiteX2-15" fmla="*/ 1866900 w 6314532"/>
                <a:gd name="connsiteY2-16" fmla="*/ 1018241 h 1018241"/>
                <a:gd name="connsiteX3-17" fmla="*/ 0 w 6314532"/>
                <a:gd name="connsiteY3-18" fmla="*/ 1018241 h 1018241"/>
                <a:gd name="connsiteX4-19" fmla="*/ 4440718 w 6314532"/>
                <a:gd name="connsiteY4-20" fmla="*/ 152400 h 1018241"/>
                <a:gd name="connsiteX0-21" fmla="*/ 4440718 w 5037214"/>
                <a:gd name="connsiteY0-22" fmla="*/ 0 h 865841"/>
                <a:gd name="connsiteX1-23" fmla="*/ 5037214 w 5037214"/>
                <a:gd name="connsiteY1-24" fmla="*/ 53789 h 865841"/>
                <a:gd name="connsiteX2-25" fmla="*/ 1866900 w 5037214"/>
                <a:gd name="connsiteY2-26" fmla="*/ 865841 h 865841"/>
                <a:gd name="connsiteX3-27" fmla="*/ 0 w 5037214"/>
                <a:gd name="connsiteY3-28" fmla="*/ 865841 h 865841"/>
                <a:gd name="connsiteX4-29" fmla="*/ 4440718 w 5037214"/>
                <a:gd name="connsiteY4-30" fmla="*/ 0 h 865841"/>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037214" h="865841">
                  <a:moveTo>
                    <a:pt x="4440718" y="0"/>
                  </a:moveTo>
                  <a:lnTo>
                    <a:pt x="5037214" y="53789"/>
                  </a:lnTo>
                  <a:lnTo>
                    <a:pt x="1866900" y="865841"/>
                  </a:lnTo>
                  <a:lnTo>
                    <a:pt x="0" y="865841"/>
                  </a:lnTo>
                  <a:lnTo>
                    <a:pt x="4440718" y="0"/>
                  </a:lnTo>
                  <a:close/>
                </a:path>
              </a:pathLst>
            </a:custGeom>
            <a:gradFill>
              <a:gsLst>
                <a:gs pos="0">
                  <a:srgbClr val="FFFFFF"/>
                </a:gs>
                <a:gs pos="100000">
                  <a:srgbClr val="DFD6CF"/>
                </a:gs>
              </a:gsLst>
              <a:lin ang="5400000" scaled="0"/>
            </a:gradFill>
            <a:ln w="9525" cap="flat" cmpd="sng" algn="ctr">
              <a:noFill/>
              <a:prstDash val="solid"/>
            </a:ln>
            <a:effectLst/>
          </p:spPr>
          <p:txBody>
            <a:bodyPr lIns="96000" tIns="96000" rIns="96000" bIns="144000" rtlCol="0" anchor="t" anchorCtr="0">
              <a:noAutofit/>
            </a:bodyPr>
            <a:lstStyle/>
            <a:p>
              <a:pPr marL="0" marR="0" lvl="0" indent="0" algn="l" defTabSz="9144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39" name="任意多边形 38"/>
            <p:cNvSpPr/>
            <p:nvPr/>
          </p:nvSpPr>
          <p:spPr>
            <a:xfrm>
              <a:off x="2252383" y="2082504"/>
              <a:ext cx="3374675" cy="695512"/>
            </a:xfrm>
            <a:custGeom>
              <a:avLst/>
              <a:gdLst>
                <a:gd name="connsiteX0" fmla="*/ 1714500 w 6314532"/>
                <a:gd name="connsiteY0" fmla="*/ 421341 h 1018241"/>
                <a:gd name="connsiteX1" fmla="*/ 6314532 w 6314532"/>
                <a:gd name="connsiteY1" fmla="*/ 0 h 1018241"/>
                <a:gd name="connsiteX2" fmla="*/ 1866900 w 6314532"/>
                <a:gd name="connsiteY2" fmla="*/ 1018241 h 1018241"/>
                <a:gd name="connsiteX3" fmla="*/ 0 w 6314532"/>
                <a:gd name="connsiteY3" fmla="*/ 1018241 h 1018241"/>
                <a:gd name="connsiteX4" fmla="*/ 1714500 w 6314532"/>
                <a:gd name="connsiteY4" fmla="*/ 421341 h 1018241"/>
                <a:gd name="connsiteX0-1" fmla="*/ 5870552 w 6314532"/>
                <a:gd name="connsiteY0-2" fmla="*/ 0 h 1018241"/>
                <a:gd name="connsiteX1-3" fmla="*/ 6314532 w 6314532"/>
                <a:gd name="connsiteY1-4" fmla="*/ 0 h 1018241"/>
                <a:gd name="connsiteX2-5" fmla="*/ 1866900 w 6314532"/>
                <a:gd name="connsiteY2-6" fmla="*/ 1018241 h 1018241"/>
                <a:gd name="connsiteX3-7" fmla="*/ 0 w 6314532"/>
                <a:gd name="connsiteY3-8" fmla="*/ 1018241 h 1018241"/>
                <a:gd name="connsiteX4-9" fmla="*/ 5870552 w 6314532"/>
                <a:gd name="connsiteY4-10" fmla="*/ 0 h 1018241"/>
                <a:gd name="connsiteX0-11" fmla="*/ 4440718 w 6314532"/>
                <a:gd name="connsiteY0-12" fmla="*/ 152400 h 1018241"/>
                <a:gd name="connsiteX1-13" fmla="*/ 6314532 w 6314532"/>
                <a:gd name="connsiteY1-14" fmla="*/ 0 h 1018241"/>
                <a:gd name="connsiteX2-15" fmla="*/ 1866900 w 6314532"/>
                <a:gd name="connsiteY2-16" fmla="*/ 1018241 h 1018241"/>
                <a:gd name="connsiteX3-17" fmla="*/ 0 w 6314532"/>
                <a:gd name="connsiteY3-18" fmla="*/ 1018241 h 1018241"/>
                <a:gd name="connsiteX4-19" fmla="*/ 4440718 w 6314532"/>
                <a:gd name="connsiteY4-20" fmla="*/ 152400 h 1018241"/>
                <a:gd name="connsiteX0-21" fmla="*/ 4440718 w 5037214"/>
                <a:gd name="connsiteY0-22" fmla="*/ 0 h 865841"/>
                <a:gd name="connsiteX1-23" fmla="*/ 5037214 w 5037214"/>
                <a:gd name="connsiteY1-24" fmla="*/ 53789 h 865841"/>
                <a:gd name="connsiteX2-25" fmla="*/ 1866900 w 5037214"/>
                <a:gd name="connsiteY2-26" fmla="*/ 865841 h 865841"/>
                <a:gd name="connsiteX3-27" fmla="*/ 0 w 5037214"/>
                <a:gd name="connsiteY3-28" fmla="*/ 865841 h 865841"/>
                <a:gd name="connsiteX4-29" fmla="*/ 4440718 w 5037214"/>
                <a:gd name="connsiteY4-30" fmla="*/ 0 h 865841"/>
                <a:gd name="connsiteX0-31" fmla="*/ 3039480 w 5037214"/>
                <a:gd name="connsiteY0-32" fmla="*/ 116540 h 812052"/>
                <a:gd name="connsiteX1-33" fmla="*/ 5037214 w 5037214"/>
                <a:gd name="connsiteY1-34" fmla="*/ 0 h 812052"/>
                <a:gd name="connsiteX2-35" fmla="*/ 1866900 w 5037214"/>
                <a:gd name="connsiteY2-36" fmla="*/ 812052 h 812052"/>
                <a:gd name="connsiteX3-37" fmla="*/ 0 w 5037214"/>
                <a:gd name="connsiteY3-38" fmla="*/ 812052 h 812052"/>
                <a:gd name="connsiteX4-39" fmla="*/ 3039480 w 5037214"/>
                <a:gd name="connsiteY4-40" fmla="*/ 116540 h 812052"/>
                <a:gd name="connsiteX0-41" fmla="*/ 3039480 w 3588314"/>
                <a:gd name="connsiteY0-42" fmla="*/ 0 h 695512"/>
                <a:gd name="connsiteX1-43" fmla="*/ 3588314 w 3588314"/>
                <a:gd name="connsiteY1-44" fmla="*/ 17930 h 695512"/>
                <a:gd name="connsiteX2-45" fmla="*/ 1866900 w 3588314"/>
                <a:gd name="connsiteY2-46" fmla="*/ 695512 h 695512"/>
                <a:gd name="connsiteX3-47" fmla="*/ 0 w 3588314"/>
                <a:gd name="connsiteY3-48" fmla="*/ 695512 h 695512"/>
                <a:gd name="connsiteX4-49" fmla="*/ 3039480 w 3588314"/>
                <a:gd name="connsiteY4-50" fmla="*/ 0 h 69551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588314" h="695512">
                  <a:moveTo>
                    <a:pt x="3039480" y="0"/>
                  </a:moveTo>
                  <a:lnTo>
                    <a:pt x="3588314" y="17930"/>
                  </a:lnTo>
                  <a:lnTo>
                    <a:pt x="1866900" y="695512"/>
                  </a:lnTo>
                  <a:lnTo>
                    <a:pt x="0" y="695512"/>
                  </a:lnTo>
                  <a:lnTo>
                    <a:pt x="3039480" y="0"/>
                  </a:lnTo>
                  <a:close/>
                </a:path>
              </a:pathLst>
            </a:custGeom>
            <a:gradFill>
              <a:gsLst>
                <a:gs pos="0">
                  <a:srgbClr val="FFFFFF"/>
                </a:gs>
                <a:gs pos="100000">
                  <a:srgbClr val="DFD6CF"/>
                </a:gs>
              </a:gsLst>
              <a:lin ang="5400000" scaled="0"/>
            </a:gradFill>
            <a:ln w="9525" cap="flat" cmpd="sng" algn="ctr">
              <a:noFill/>
              <a:prstDash val="solid"/>
            </a:ln>
            <a:effectLst/>
          </p:spPr>
          <p:txBody>
            <a:bodyPr lIns="96000" tIns="96000" rIns="96000" bIns="144000" rtlCol="0" anchor="t" anchorCtr="0">
              <a:noAutofit/>
            </a:bodyPr>
            <a:lstStyle/>
            <a:p>
              <a:pPr marL="0" marR="0" lvl="0" indent="0" algn="l" defTabSz="9144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40" name="任意多边形 39"/>
            <p:cNvSpPr/>
            <p:nvPr/>
          </p:nvSpPr>
          <p:spPr>
            <a:xfrm flipH="1">
              <a:off x="6447866" y="2082504"/>
              <a:ext cx="3374675" cy="695512"/>
            </a:xfrm>
            <a:custGeom>
              <a:avLst/>
              <a:gdLst>
                <a:gd name="connsiteX0" fmla="*/ 1714500 w 6314532"/>
                <a:gd name="connsiteY0" fmla="*/ 421341 h 1018241"/>
                <a:gd name="connsiteX1" fmla="*/ 6314532 w 6314532"/>
                <a:gd name="connsiteY1" fmla="*/ 0 h 1018241"/>
                <a:gd name="connsiteX2" fmla="*/ 1866900 w 6314532"/>
                <a:gd name="connsiteY2" fmla="*/ 1018241 h 1018241"/>
                <a:gd name="connsiteX3" fmla="*/ 0 w 6314532"/>
                <a:gd name="connsiteY3" fmla="*/ 1018241 h 1018241"/>
                <a:gd name="connsiteX4" fmla="*/ 1714500 w 6314532"/>
                <a:gd name="connsiteY4" fmla="*/ 421341 h 1018241"/>
                <a:gd name="connsiteX0-1" fmla="*/ 5870552 w 6314532"/>
                <a:gd name="connsiteY0-2" fmla="*/ 0 h 1018241"/>
                <a:gd name="connsiteX1-3" fmla="*/ 6314532 w 6314532"/>
                <a:gd name="connsiteY1-4" fmla="*/ 0 h 1018241"/>
                <a:gd name="connsiteX2-5" fmla="*/ 1866900 w 6314532"/>
                <a:gd name="connsiteY2-6" fmla="*/ 1018241 h 1018241"/>
                <a:gd name="connsiteX3-7" fmla="*/ 0 w 6314532"/>
                <a:gd name="connsiteY3-8" fmla="*/ 1018241 h 1018241"/>
                <a:gd name="connsiteX4-9" fmla="*/ 5870552 w 6314532"/>
                <a:gd name="connsiteY4-10" fmla="*/ 0 h 1018241"/>
                <a:gd name="connsiteX0-11" fmla="*/ 4440718 w 6314532"/>
                <a:gd name="connsiteY0-12" fmla="*/ 152400 h 1018241"/>
                <a:gd name="connsiteX1-13" fmla="*/ 6314532 w 6314532"/>
                <a:gd name="connsiteY1-14" fmla="*/ 0 h 1018241"/>
                <a:gd name="connsiteX2-15" fmla="*/ 1866900 w 6314532"/>
                <a:gd name="connsiteY2-16" fmla="*/ 1018241 h 1018241"/>
                <a:gd name="connsiteX3-17" fmla="*/ 0 w 6314532"/>
                <a:gd name="connsiteY3-18" fmla="*/ 1018241 h 1018241"/>
                <a:gd name="connsiteX4-19" fmla="*/ 4440718 w 6314532"/>
                <a:gd name="connsiteY4-20" fmla="*/ 152400 h 1018241"/>
                <a:gd name="connsiteX0-21" fmla="*/ 4440718 w 5037214"/>
                <a:gd name="connsiteY0-22" fmla="*/ 0 h 865841"/>
                <a:gd name="connsiteX1-23" fmla="*/ 5037214 w 5037214"/>
                <a:gd name="connsiteY1-24" fmla="*/ 53789 h 865841"/>
                <a:gd name="connsiteX2-25" fmla="*/ 1866900 w 5037214"/>
                <a:gd name="connsiteY2-26" fmla="*/ 865841 h 865841"/>
                <a:gd name="connsiteX3-27" fmla="*/ 0 w 5037214"/>
                <a:gd name="connsiteY3-28" fmla="*/ 865841 h 865841"/>
                <a:gd name="connsiteX4-29" fmla="*/ 4440718 w 5037214"/>
                <a:gd name="connsiteY4-30" fmla="*/ 0 h 865841"/>
                <a:gd name="connsiteX0-31" fmla="*/ 3039480 w 5037214"/>
                <a:gd name="connsiteY0-32" fmla="*/ 116540 h 812052"/>
                <a:gd name="connsiteX1-33" fmla="*/ 5037214 w 5037214"/>
                <a:gd name="connsiteY1-34" fmla="*/ 0 h 812052"/>
                <a:gd name="connsiteX2-35" fmla="*/ 1866900 w 5037214"/>
                <a:gd name="connsiteY2-36" fmla="*/ 812052 h 812052"/>
                <a:gd name="connsiteX3-37" fmla="*/ 0 w 5037214"/>
                <a:gd name="connsiteY3-38" fmla="*/ 812052 h 812052"/>
                <a:gd name="connsiteX4-39" fmla="*/ 3039480 w 5037214"/>
                <a:gd name="connsiteY4-40" fmla="*/ 116540 h 812052"/>
                <a:gd name="connsiteX0-41" fmla="*/ 3039480 w 3588314"/>
                <a:gd name="connsiteY0-42" fmla="*/ 0 h 695512"/>
                <a:gd name="connsiteX1-43" fmla="*/ 3588314 w 3588314"/>
                <a:gd name="connsiteY1-44" fmla="*/ 17930 h 695512"/>
                <a:gd name="connsiteX2-45" fmla="*/ 1866900 w 3588314"/>
                <a:gd name="connsiteY2-46" fmla="*/ 695512 h 695512"/>
                <a:gd name="connsiteX3-47" fmla="*/ 0 w 3588314"/>
                <a:gd name="connsiteY3-48" fmla="*/ 695512 h 695512"/>
                <a:gd name="connsiteX4-49" fmla="*/ 3039480 w 3588314"/>
                <a:gd name="connsiteY4-50" fmla="*/ 0 h 69551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588314" h="695512">
                  <a:moveTo>
                    <a:pt x="3039480" y="0"/>
                  </a:moveTo>
                  <a:lnTo>
                    <a:pt x="3588314" y="17930"/>
                  </a:lnTo>
                  <a:lnTo>
                    <a:pt x="1866900" y="695512"/>
                  </a:lnTo>
                  <a:lnTo>
                    <a:pt x="0" y="695512"/>
                  </a:lnTo>
                  <a:lnTo>
                    <a:pt x="3039480" y="0"/>
                  </a:lnTo>
                  <a:close/>
                </a:path>
              </a:pathLst>
            </a:custGeom>
            <a:gradFill>
              <a:gsLst>
                <a:gs pos="0">
                  <a:srgbClr val="FFFFFF"/>
                </a:gs>
                <a:gs pos="100000">
                  <a:srgbClr val="DFD6CF"/>
                </a:gs>
              </a:gsLst>
              <a:lin ang="5400000" scaled="0"/>
            </a:gradFill>
            <a:ln w="9525" cap="flat" cmpd="sng" algn="ctr">
              <a:noFill/>
              <a:prstDash val="solid"/>
            </a:ln>
            <a:effectLst/>
          </p:spPr>
          <p:txBody>
            <a:bodyPr lIns="96000" tIns="96000" rIns="96000" bIns="144000" rtlCol="0" anchor="t" anchorCtr="0">
              <a:noAutofit/>
            </a:bodyPr>
            <a:lstStyle/>
            <a:p>
              <a:pPr marL="0" marR="0" lvl="0" indent="0" algn="l" defTabSz="9144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41" name="任意多边形 40"/>
            <p:cNvSpPr/>
            <p:nvPr/>
          </p:nvSpPr>
          <p:spPr>
            <a:xfrm>
              <a:off x="4197724" y="2109398"/>
              <a:ext cx="1805851" cy="668618"/>
            </a:xfrm>
            <a:custGeom>
              <a:avLst/>
              <a:gdLst>
                <a:gd name="connsiteX0" fmla="*/ 1714500 w 6314532"/>
                <a:gd name="connsiteY0" fmla="*/ 421341 h 1018241"/>
                <a:gd name="connsiteX1" fmla="*/ 6314532 w 6314532"/>
                <a:gd name="connsiteY1" fmla="*/ 0 h 1018241"/>
                <a:gd name="connsiteX2" fmla="*/ 1866900 w 6314532"/>
                <a:gd name="connsiteY2" fmla="*/ 1018241 h 1018241"/>
                <a:gd name="connsiteX3" fmla="*/ 0 w 6314532"/>
                <a:gd name="connsiteY3" fmla="*/ 1018241 h 1018241"/>
                <a:gd name="connsiteX4" fmla="*/ 1714500 w 6314532"/>
                <a:gd name="connsiteY4" fmla="*/ 421341 h 1018241"/>
                <a:gd name="connsiteX0-1" fmla="*/ 5870552 w 6314532"/>
                <a:gd name="connsiteY0-2" fmla="*/ 0 h 1018241"/>
                <a:gd name="connsiteX1-3" fmla="*/ 6314532 w 6314532"/>
                <a:gd name="connsiteY1-4" fmla="*/ 0 h 1018241"/>
                <a:gd name="connsiteX2-5" fmla="*/ 1866900 w 6314532"/>
                <a:gd name="connsiteY2-6" fmla="*/ 1018241 h 1018241"/>
                <a:gd name="connsiteX3-7" fmla="*/ 0 w 6314532"/>
                <a:gd name="connsiteY3-8" fmla="*/ 1018241 h 1018241"/>
                <a:gd name="connsiteX4-9" fmla="*/ 5870552 w 6314532"/>
                <a:gd name="connsiteY4-10" fmla="*/ 0 h 1018241"/>
                <a:gd name="connsiteX0-11" fmla="*/ 4440718 w 6314532"/>
                <a:gd name="connsiteY0-12" fmla="*/ 152400 h 1018241"/>
                <a:gd name="connsiteX1-13" fmla="*/ 6314532 w 6314532"/>
                <a:gd name="connsiteY1-14" fmla="*/ 0 h 1018241"/>
                <a:gd name="connsiteX2-15" fmla="*/ 1866900 w 6314532"/>
                <a:gd name="connsiteY2-16" fmla="*/ 1018241 h 1018241"/>
                <a:gd name="connsiteX3-17" fmla="*/ 0 w 6314532"/>
                <a:gd name="connsiteY3-18" fmla="*/ 1018241 h 1018241"/>
                <a:gd name="connsiteX4-19" fmla="*/ 4440718 w 6314532"/>
                <a:gd name="connsiteY4-20" fmla="*/ 152400 h 1018241"/>
                <a:gd name="connsiteX0-21" fmla="*/ 4440718 w 5037214"/>
                <a:gd name="connsiteY0-22" fmla="*/ 0 h 865841"/>
                <a:gd name="connsiteX1-23" fmla="*/ 5037214 w 5037214"/>
                <a:gd name="connsiteY1-24" fmla="*/ 53789 h 865841"/>
                <a:gd name="connsiteX2-25" fmla="*/ 1866900 w 5037214"/>
                <a:gd name="connsiteY2-26" fmla="*/ 865841 h 865841"/>
                <a:gd name="connsiteX3-27" fmla="*/ 0 w 5037214"/>
                <a:gd name="connsiteY3-28" fmla="*/ 865841 h 865841"/>
                <a:gd name="connsiteX4-29" fmla="*/ 4440718 w 5037214"/>
                <a:gd name="connsiteY4-30" fmla="*/ 0 h 865841"/>
                <a:gd name="connsiteX0-31" fmla="*/ 3039480 w 5037214"/>
                <a:gd name="connsiteY0-32" fmla="*/ 116540 h 812052"/>
                <a:gd name="connsiteX1-33" fmla="*/ 5037214 w 5037214"/>
                <a:gd name="connsiteY1-34" fmla="*/ 0 h 812052"/>
                <a:gd name="connsiteX2-35" fmla="*/ 1866900 w 5037214"/>
                <a:gd name="connsiteY2-36" fmla="*/ 812052 h 812052"/>
                <a:gd name="connsiteX3-37" fmla="*/ 0 w 5037214"/>
                <a:gd name="connsiteY3-38" fmla="*/ 812052 h 812052"/>
                <a:gd name="connsiteX4-39" fmla="*/ 3039480 w 5037214"/>
                <a:gd name="connsiteY4-40" fmla="*/ 116540 h 812052"/>
                <a:gd name="connsiteX0-41" fmla="*/ 3039480 w 3588314"/>
                <a:gd name="connsiteY0-42" fmla="*/ 0 h 695512"/>
                <a:gd name="connsiteX1-43" fmla="*/ 3588314 w 3588314"/>
                <a:gd name="connsiteY1-44" fmla="*/ 17930 h 695512"/>
                <a:gd name="connsiteX2-45" fmla="*/ 1866900 w 3588314"/>
                <a:gd name="connsiteY2-46" fmla="*/ 695512 h 695512"/>
                <a:gd name="connsiteX3-47" fmla="*/ 0 w 3588314"/>
                <a:gd name="connsiteY3-48" fmla="*/ 695512 h 695512"/>
                <a:gd name="connsiteX4-49" fmla="*/ 3039480 w 3588314"/>
                <a:gd name="connsiteY4-50" fmla="*/ 0 h 695512"/>
                <a:gd name="connsiteX0-51" fmla="*/ 1647774 w 3588314"/>
                <a:gd name="connsiteY0-52" fmla="*/ 8964 h 677582"/>
                <a:gd name="connsiteX1-53" fmla="*/ 3588314 w 3588314"/>
                <a:gd name="connsiteY1-54" fmla="*/ 0 h 677582"/>
                <a:gd name="connsiteX2-55" fmla="*/ 1866900 w 3588314"/>
                <a:gd name="connsiteY2-56" fmla="*/ 677582 h 677582"/>
                <a:gd name="connsiteX3-57" fmla="*/ 0 w 3588314"/>
                <a:gd name="connsiteY3-58" fmla="*/ 677582 h 677582"/>
                <a:gd name="connsiteX4-59" fmla="*/ 1647774 w 3588314"/>
                <a:gd name="connsiteY4-60" fmla="*/ 8964 h 677582"/>
                <a:gd name="connsiteX0-61" fmla="*/ 1647774 w 2005963"/>
                <a:gd name="connsiteY0-62" fmla="*/ 8964 h 677582"/>
                <a:gd name="connsiteX1-63" fmla="*/ 2005963 w 2005963"/>
                <a:gd name="connsiteY1-64" fmla="*/ 0 h 677582"/>
                <a:gd name="connsiteX2-65" fmla="*/ 1866900 w 2005963"/>
                <a:gd name="connsiteY2-66" fmla="*/ 677582 h 677582"/>
                <a:gd name="connsiteX3-67" fmla="*/ 0 w 2005963"/>
                <a:gd name="connsiteY3-68" fmla="*/ 677582 h 677582"/>
                <a:gd name="connsiteX4-69" fmla="*/ 1647774 w 2005963"/>
                <a:gd name="connsiteY4-70" fmla="*/ 8964 h 677582"/>
                <a:gd name="connsiteX0-71" fmla="*/ 1647774 w 1920173"/>
                <a:gd name="connsiteY0-72" fmla="*/ 0 h 668618"/>
                <a:gd name="connsiteX1-73" fmla="*/ 1920173 w 1920173"/>
                <a:gd name="connsiteY1-74" fmla="*/ 11481 h 668618"/>
                <a:gd name="connsiteX2-75" fmla="*/ 1866900 w 1920173"/>
                <a:gd name="connsiteY2-76" fmla="*/ 668618 h 668618"/>
                <a:gd name="connsiteX3-77" fmla="*/ 0 w 1920173"/>
                <a:gd name="connsiteY3-78" fmla="*/ 668618 h 668618"/>
                <a:gd name="connsiteX4-79" fmla="*/ 1647774 w 1920173"/>
                <a:gd name="connsiteY4-80" fmla="*/ 0 h 66861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920173" h="668618">
                  <a:moveTo>
                    <a:pt x="1647774" y="0"/>
                  </a:moveTo>
                  <a:lnTo>
                    <a:pt x="1920173" y="11481"/>
                  </a:lnTo>
                  <a:lnTo>
                    <a:pt x="1866900" y="668618"/>
                  </a:lnTo>
                  <a:lnTo>
                    <a:pt x="0" y="668618"/>
                  </a:lnTo>
                  <a:lnTo>
                    <a:pt x="1647774" y="0"/>
                  </a:lnTo>
                  <a:close/>
                </a:path>
              </a:pathLst>
            </a:custGeom>
            <a:gradFill>
              <a:gsLst>
                <a:gs pos="0">
                  <a:srgbClr val="FFFFFF"/>
                </a:gs>
                <a:gs pos="100000">
                  <a:srgbClr val="DFD6CF"/>
                </a:gs>
              </a:gsLst>
              <a:lin ang="5400000" scaled="0"/>
            </a:gradFill>
            <a:ln w="9525" cap="flat" cmpd="sng" algn="ctr">
              <a:noFill/>
              <a:prstDash val="solid"/>
            </a:ln>
            <a:effectLst/>
          </p:spPr>
          <p:txBody>
            <a:bodyPr lIns="96000" tIns="96000" rIns="96000" bIns="144000" rtlCol="0" anchor="t" anchorCtr="0">
              <a:noAutofit/>
            </a:bodyPr>
            <a:lstStyle/>
            <a:p>
              <a:pPr marL="0" marR="0" lvl="0" indent="0" algn="l" defTabSz="9144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44" name="任意多边形 43"/>
            <p:cNvSpPr/>
            <p:nvPr/>
          </p:nvSpPr>
          <p:spPr>
            <a:xfrm flipH="1">
              <a:off x="6080312" y="2109398"/>
              <a:ext cx="1805851" cy="668618"/>
            </a:xfrm>
            <a:custGeom>
              <a:avLst/>
              <a:gdLst>
                <a:gd name="connsiteX0" fmla="*/ 1714500 w 6314532"/>
                <a:gd name="connsiteY0" fmla="*/ 421341 h 1018241"/>
                <a:gd name="connsiteX1" fmla="*/ 6314532 w 6314532"/>
                <a:gd name="connsiteY1" fmla="*/ 0 h 1018241"/>
                <a:gd name="connsiteX2" fmla="*/ 1866900 w 6314532"/>
                <a:gd name="connsiteY2" fmla="*/ 1018241 h 1018241"/>
                <a:gd name="connsiteX3" fmla="*/ 0 w 6314532"/>
                <a:gd name="connsiteY3" fmla="*/ 1018241 h 1018241"/>
                <a:gd name="connsiteX4" fmla="*/ 1714500 w 6314532"/>
                <a:gd name="connsiteY4" fmla="*/ 421341 h 1018241"/>
                <a:gd name="connsiteX0-1" fmla="*/ 5870552 w 6314532"/>
                <a:gd name="connsiteY0-2" fmla="*/ 0 h 1018241"/>
                <a:gd name="connsiteX1-3" fmla="*/ 6314532 w 6314532"/>
                <a:gd name="connsiteY1-4" fmla="*/ 0 h 1018241"/>
                <a:gd name="connsiteX2-5" fmla="*/ 1866900 w 6314532"/>
                <a:gd name="connsiteY2-6" fmla="*/ 1018241 h 1018241"/>
                <a:gd name="connsiteX3-7" fmla="*/ 0 w 6314532"/>
                <a:gd name="connsiteY3-8" fmla="*/ 1018241 h 1018241"/>
                <a:gd name="connsiteX4-9" fmla="*/ 5870552 w 6314532"/>
                <a:gd name="connsiteY4-10" fmla="*/ 0 h 1018241"/>
                <a:gd name="connsiteX0-11" fmla="*/ 4440718 w 6314532"/>
                <a:gd name="connsiteY0-12" fmla="*/ 152400 h 1018241"/>
                <a:gd name="connsiteX1-13" fmla="*/ 6314532 w 6314532"/>
                <a:gd name="connsiteY1-14" fmla="*/ 0 h 1018241"/>
                <a:gd name="connsiteX2-15" fmla="*/ 1866900 w 6314532"/>
                <a:gd name="connsiteY2-16" fmla="*/ 1018241 h 1018241"/>
                <a:gd name="connsiteX3-17" fmla="*/ 0 w 6314532"/>
                <a:gd name="connsiteY3-18" fmla="*/ 1018241 h 1018241"/>
                <a:gd name="connsiteX4-19" fmla="*/ 4440718 w 6314532"/>
                <a:gd name="connsiteY4-20" fmla="*/ 152400 h 1018241"/>
                <a:gd name="connsiteX0-21" fmla="*/ 4440718 w 5037214"/>
                <a:gd name="connsiteY0-22" fmla="*/ 0 h 865841"/>
                <a:gd name="connsiteX1-23" fmla="*/ 5037214 w 5037214"/>
                <a:gd name="connsiteY1-24" fmla="*/ 53789 h 865841"/>
                <a:gd name="connsiteX2-25" fmla="*/ 1866900 w 5037214"/>
                <a:gd name="connsiteY2-26" fmla="*/ 865841 h 865841"/>
                <a:gd name="connsiteX3-27" fmla="*/ 0 w 5037214"/>
                <a:gd name="connsiteY3-28" fmla="*/ 865841 h 865841"/>
                <a:gd name="connsiteX4-29" fmla="*/ 4440718 w 5037214"/>
                <a:gd name="connsiteY4-30" fmla="*/ 0 h 865841"/>
                <a:gd name="connsiteX0-31" fmla="*/ 3039480 w 5037214"/>
                <a:gd name="connsiteY0-32" fmla="*/ 116540 h 812052"/>
                <a:gd name="connsiteX1-33" fmla="*/ 5037214 w 5037214"/>
                <a:gd name="connsiteY1-34" fmla="*/ 0 h 812052"/>
                <a:gd name="connsiteX2-35" fmla="*/ 1866900 w 5037214"/>
                <a:gd name="connsiteY2-36" fmla="*/ 812052 h 812052"/>
                <a:gd name="connsiteX3-37" fmla="*/ 0 w 5037214"/>
                <a:gd name="connsiteY3-38" fmla="*/ 812052 h 812052"/>
                <a:gd name="connsiteX4-39" fmla="*/ 3039480 w 5037214"/>
                <a:gd name="connsiteY4-40" fmla="*/ 116540 h 812052"/>
                <a:gd name="connsiteX0-41" fmla="*/ 3039480 w 3588314"/>
                <a:gd name="connsiteY0-42" fmla="*/ 0 h 695512"/>
                <a:gd name="connsiteX1-43" fmla="*/ 3588314 w 3588314"/>
                <a:gd name="connsiteY1-44" fmla="*/ 17930 h 695512"/>
                <a:gd name="connsiteX2-45" fmla="*/ 1866900 w 3588314"/>
                <a:gd name="connsiteY2-46" fmla="*/ 695512 h 695512"/>
                <a:gd name="connsiteX3-47" fmla="*/ 0 w 3588314"/>
                <a:gd name="connsiteY3-48" fmla="*/ 695512 h 695512"/>
                <a:gd name="connsiteX4-49" fmla="*/ 3039480 w 3588314"/>
                <a:gd name="connsiteY4-50" fmla="*/ 0 h 695512"/>
                <a:gd name="connsiteX0-51" fmla="*/ 1647774 w 3588314"/>
                <a:gd name="connsiteY0-52" fmla="*/ 8964 h 677582"/>
                <a:gd name="connsiteX1-53" fmla="*/ 3588314 w 3588314"/>
                <a:gd name="connsiteY1-54" fmla="*/ 0 h 677582"/>
                <a:gd name="connsiteX2-55" fmla="*/ 1866900 w 3588314"/>
                <a:gd name="connsiteY2-56" fmla="*/ 677582 h 677582"/>
                <a:gd name="connsiteX3-57" fmla="*/ 0 w 3588314"/>
                <a:gd name="connsiteY3-58" fmla="*/ 677582 h 677582"/>
                <a:gd name="connsiteX4-59" fmla="*/ 1647774 w 3588314"/>
                <a:gd name="connsiteY4-60" fmla="*/ 8964 h 677582"/>
                <a:gd name="connsiteX0-61" fmla="*/ 1647774 w 2005963"/>
                <a:gd name="connsiteY0-62" fmla="*/ 8964 h 677582"/>
                <a:gd name="connsiteX1-63" fmla="*/ 2005963 w 2005963"/>
                <a:gd name="connsiteY1-64" fmla="*/ 0 h 677582"/>
                <a:gd name="connsiteX2-65" fmla="*/ 1866900 w 2005963"/>
                <a:gd name="connsiteY2-66" fmla="*/ 677582 h 677582"/>
                <a:gd name="connsiteX3-67" fmla="*/ 0 w 2005963"/>
                <a:gd name="connsiteY3-68" fmla="*/ 677582 h 677582"/>
                <a:gd name="connsiteX4-69" fmla="*/ 1647774 w 2005963"/>
                <a:gd name="connsiteY4-70" fmla="*/ 8964 h 677582"/>
                <a:gd name="connsiteX0-71" fmla="*/ 1647774 w 1920173"/>
                <a:gd name="connsiteY0-72" fmla="*/ 0 h 668618"/>
                <a:gd name="connsiteX1-73" fmla="*/ 1920173 w 1920173"/>
                <a:gd name="connsiteY1-74" fmla="*/ 11481 h 668618"/>
                <a:gd name="connsiteX2-75" fmla="*/ 1866900 w 1920173"/>
                <a:gd name="connsiteY2-76" fmla="*/ 668618 h 668618"/>
                <a:gd name="connsiteX3-77" fmla="*/ 0 w 1920173"/>
                <a:gd name="connsiteY3-78" fmla="*/ 668618 h 668618"/>
                <a:gd name="connsiteX4-79" fmla="*/ 1647774 w 1920173"/>
                <a:gd name="connsiteY4-80" fmla="*/ 0 h 66861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920173" h="668618">
                  <a:moveTo>
                    <a:pt x="1647774" y="0"/>
                  </a:moveTo>
                  <a:lnTo>
                    <a:pt x="1920173" y="11481"/>
                  </a:lnTo>
                  <a:lnTo>
                    <a:pt x="1866900" y="668618"/>
                  </a:lnTo>
                  <a:lnTo>
                    <a:pt x="0" y="668618"/>
                  </a:lnTo>
                  <a:lnTo>
                    <a:pt x="1647774" y="0"/>
                  </a:lnTo>
                  <a:close/>
                </a:path>
              </a:pathLst>
            </a:custGeom>
            <a:gradFill>
              <a:gsLst>
                <a:gs pos="0">
                  <a:srgbClr val="FFFFFF"/>
                </a:gs>
                <a:gs pos="100000">
                  <a:srgbClr val="DFD6CF"/>
                </a:gs>
              </a:gsLst>
              <a:lin ang="5400000" scaled="0"/>
            </a:gradFill>
            <a:ln w="9525" cap="flat" cmpd="sng" algn="ctr">
              <a:noFill/>
              <a:prstDash val="solid"/>
            </a:ln>
            <a:effectLst/>
          </p:spPr>
          <p:txBody>
            <a:bodyPr lIns="96000" tIns="96000" rIns="96000" bIns="144000" rtlCol="0" anchor="t" anchorCtr="0">
              <a:noAutofit/>
            </a:bodyPr>
            <a:lstStyle/>
            <a:p>
              <a:pPr marL="0" marR="0" lvl="0" indent="0" algn="l" defTabSz="9144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grpSp>
      <p:sp>
        <p:nvSpPr>
          <p:cNvPr id="159" name="ColumnHeader"/>
          <p:cNvSpPr>
            <a:spLocks noChangeArrowheads="1"/>
          </p:cNvSpPr>
          <p:nvPr/>
        </p:nvSpPr>
        <p:spPr bwMode="gray">
          <a:xfrm>
            <a:off x="342899" y="3134537"/>
            <a:ext cx="1872281" cy="577566"/>
          </a:xfrm>
          <a:prstGeom prst="rect">
            <a:avLst/>
          </a:prstGeom>
          <a:solidFill>
            <a:sysClr val="window" lastClr="FFFFFF"/>
          </a:solidFill>
          <a:ln w="9525" cap="flat" cmpd="sng" algn="ctr">
            <a:solidFill>
              <a:sysClr val="window" lastClr="FFFFFF"/>
            </a:solidFill>
            <a:prstDash val="solid"/>
          </a:ln>
          <a:effectLst/>
        </p:spPr>
        <p:txBody>
          <a:bodyPr wrap="none" lIns="121920" tIns="0" rIns="12192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ea"/>
                <a:sym typeface="+mn-lt"/>
              </a:rPr>
              <a:t>XXX</a:t>
            </a:r>
            <a:endParaRPr kumimoji="0" lang="zh-CN" altLang="en-US" sz="1800" b="1" i="0" u="none" strike="noStrike" kern="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ea"/>
              <a:sym typeface="+mn-lt"/>
            </a:endParaRPr>
          </a:p>
        </p:txBody>
      </p:sp>
      <p:sp>
        <p:nvSpPr>
          <p:cNvPr id="167" name="Rectangle 9"/>
          <p:cNvSpPr>
            <a:spLocks noChangeArrowheads="1"/>
          </p:cNvSpPr>
          <p:nvPr/>
        </p:nvSpPr>
        <p:spPr bwMode="gray">
          <a:xfrm>
            <a:off x="1745951" y="1474774"/>
            <a:ext cx="8700099" cy="670056"/>
          </a:xfrm>
          <a:prstGeom prst="rect">
            <a:avLst/>
          </a:prstGeom>
          <a:solidFill>
            <a:sysClr val="window" lastClr="FFFFFF"/>
          </a:solidFill>
          <a:ln w="28575" algn="ctr">
            <a:solidFill>
              <a:srgbClr val="FE5817"/>
            </a:solidFill>
            <a:miter lim="800000"/>
            <a:headEnd type="none" w="lg" len="lg"/>
            <a:tailEnd type="none" w="lg" len="lg"/>
          </a:ln>
          <a:effectLst>
            <a:outerShdw blurRad="50800" dist="38100" dir="2700000" algn="tl" rotWithShape="0">
              <a:prstClr val="black">
                <a:alpha val="40000"/>
              </a:prstClr>
            </a:outerShdw>
          </a:effectLst>
        </p:spPr>
        <p:txBody>
          <a:bodyPr wrap="square" lIns="121920" tIns="121920" rIns="121920" bIns="12192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1" i="0" u="none" strike="noStrike" kern="0" cap="none" spc="0" normalizeH="0" baseline="0" noProof="0" dirty="0" smtClean="0">
                <a:ln>
                  <a:noFill/>
                </a:ln>
                <a:solidFill>
                  <a:srgbClr val="FE8637">
                    <a:lumMod val="50000"/>
                  </a:srgbClr>
                </a:solidFill>
                <a:effectLst/>
                <a:uLnTx/>
                <a:uFillTx/>
                <a:latin typeface="Arial" panose="020B0604020202020204"/>
                <a:ea typeface="华文楷体" panose="02010600040101010101" charset="-122"/>
                <a:cs typeface="+mn-ea"/>
                <a:sym typeface="+mn-lt"/>
              </a:rPr>
              <a:t>XXX</a:t>
            </a:r>
            <a:endParaRPr kumimoji="0" lang="zh-CN" altLang="en-US" sz="2400" b="1" i="0" u="none" strike="noStrike" kern="0" cap="none" spc="0" normalizeH="0" baseline="0" noProof="0" dirty="0">
              <a:ln>
                <a:noFill/>
              </a:ln>
              <a:solidFill>
                <a:srgbClr val="FE8637">
                  <a:lumMod val="50000"/>
                </a:srgbClr>
              </a:solidFill>
              <a:effectLst/>
              <a:uLnTx/>
              <a:uFillTx/>
              <a:latin typeface="Arial" panose="020B0604020202020204"/>
              <a:ea typeface="华文楷体" panose="02010600040101010101" charset="-122"/>
              <a:cs typeface="+mn-ea"/>
              <a:sym typeface="+mn-lt"/>
            </a:endParaRPr>
          </a:p>
        </p:txBody>
      </p:sp>
      <p:sp>
        <p:nvSpPr>
          <p:cNvPr id="201" name="ColumnHeader"/>
          <p:cNvSpPr>
            <a:spLocks noChangeArrowheads="1"/>
          </p:cNvSpPr>
          <p:nvPr/>
        </p:nvSpPr>
        <p:spPr bwMode="gray">
          <a:xfrm>
            <a:off x="2269909" y="3134537"/>
            <a:ext cx="1872281" cy="577566"/>
          </a:xfrm>
          <a:prstGeom prst="rect">
            <a:avLst/>
          </a:prstGeom>
          <a:solidFill>
            <a:sysClr val="window" lastClr="FFFFFF"/>
          </a:solidFill>
          <a:ln w="9525" cap="flat" cmpd="sng" algn="ctr">
            <a:solidFill>
              <a:sysClr val="window" lastClr="FFFFFF"/>
            </a:solidFill>
            <a:prstDash val="solid"/>
          </a:ln>
          <a:effectLst/>
        </p:spPr>
        <p:txBody>
          <a:bodyPr wrap="none" lIns="121920" tIns="0" rIns="12192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ea"/>
                <a:sym typeface="+mn-lt"/>
              </a:rPr>
              <a:t>XXX</a:t>
            </a:r>
            <a:endParaRPr kumimoji="0" lang="zh-CN" altLang="en-US" sz="1800" b="1" i="0" u="none" strike="noStrike" kern="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ea"/>
              <a:sym typeface="+mn-lt"/>
            </a:endParaRPr>
          </a:p>
        </p:txBody>
      </p:sp>
      <p:sp>
        <p:nvSpPr>
          <p:cNvPr id="202" name="ColumnHeader"/>
          <p:cNvSpPr>
            <a:spLocks noChangeArrowheads="1"/>
          </p:cNvSpPr>
          <p:nvPr/>
        </p:nvSpPr>
        <p:spPr bwMode="gray">
          <a:xfrm>
            <a:off x="4191000" y="3134537"/>
            <a:ext cx="1872281" cy="577566"/>
          </a:xfrm>
          <a:prstGeom prst="rect">
            <a:avLst/>
          </a:prstGeom>
          <a:solidFill>
            <a:sysClr val="window" lastClr="FFFFFF"/>
          </a:solidFill>
          <a:ln w="9525" cap="flat" cmpd="sng" algn="ctr">
            <a:solidFill>
              <a:sysClr val="window" lastClr="FFFFFF"/>
            </a:solidFill>
            <a:prstDash val="solid"/>
          </a:ln>
          <a:effectLst/>
        </p:spPr>
        <p:txBody>
          <a:bodyPr wrap="none" lIns="121920" tIns="0" rIns="12192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ea"/>
                <a:sym typeface="+mn-lt"/>
              </a:rPr>
              <a:t>XXX</a:t>
            </a:r>
            <a:endParaRPr kumimoji="0" lang="zh-CN" altLang="en-US" sz="1800" b="1" i="0" u="none" strike="noStrike" kern="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ea"/>
              <a:sym typeface="+mn-lt"/>
            </a:endParaRPr>
          </a:p>
        </p:txBody>
      </p:sp>
      <p:sp>
        <p:nvSpPr>
          <p:cNvPr id="203" name="ColumnHeader"/>
          <p:cNvSpPr>
            <a:spLocks noChangeArrowheads="1"/>
          </p:cNvSpPr>
          <p:nvPr/>
        </p:nvSpPr>
        <p:spPr bwMode="gray">
          <a:xfrm>
            <a:off x="6121400" y="3134537"/>
            <a:ext cx="1872281" cy="577566"/>
          </a:xfrm>
          <a:prstGeom prst="rect">
            <a:avLst/>
          </a:prstGeom>
          <a:solidFill>
            <a:sysClr val="window" lastClr="FFFFFF"/>
          </a:solidFill>
          <a:ln w="9525" cap="flat" cmpd="sng" algn="ctr">
            <a:solidFill>
              <a:sysClr val="window" lastClr="FFFFFF"/>
            </a:solidFill>
            <a:prstDash val="solid"/>
          </a:ln>
          <a:effectLst/>
        </p:spPr>
        <p:txBody>
          <a:bodyPr wrap="none" lIns="121920" tIns="0" rIns="12192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ea"/>
                <a:sym typeface="+mn-lt"/>
              </a:rPr>
              <a:t>XXX</a:t>
            </a:r>
            <a:endParaRPr kumimoji="0" lang="zh-CN" altLang="en-US" sz="1800" b="1" i="0" u="none" strike="noStrike" kern="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ea"/>
              <a:sym typeface="+mn-lt"/>
            </a:endParaRPr>
          </a:p>
        </p:txBody>
      </p:sp>
      <p:sp>
        <p:nvSpPr>
          <p:cNvPr id="204" name="ColumnHeader"/>
          <p:cNvSpPr>
            <a:spLocks noChangeArrowheads="1"/>
          </p:cNvSpPr>
          <p:nvPr/>
        </p:nvSpPr>
        <p:spPr bwMode="gray">
          <a:xfrm>
            <a:off x="8049812" y="3134537"/>
            <a:ext cx="1872281" cy="577566"/>
          </a:xfrm>
          <a:prstGeom prst="rect">
            <a:avLst/>
          </a:prstGeom>
          <a:solidFill>
            <a:sysClr val="window" lastClr="FFFFFF"/>
          </a:solidFill>
          <a:ln w="9525" cap="flat" cmpd="sng" algn="ctr">
            <a:solidFill>
              <a:sysClr val="window" lastClr="FFFFFF"/>
            </a:solidFill>
            <a:prstDash val="solid"/>
          </a:ln>
          <a:effectLst/>
        </p:spPr>
        <p:txBody>
          <a:bodyPr wrap="none" lIns="121920" tIns="0" rIns="12192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ea"/>
                <a:sym typeface="+mn-lt"/>
              </a:rPr>
              <a:t>XXX</a:t>
            </a:r>
            <a:endParaRPr kumimoji="0" lang="zh-CN" altLang="en-US" sz="1800" b="1" i="0" u="none" strike="noStrike" kern="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ea"/>
              <a:sym typeface="+mn-lt"/>
            </a:endParaRPr>
          </a:p>
        </p:txBody>
      </p:sp>
      <p:sp>
        <p:nvSpPr>
          <p:cNvPr id="205" name="ColumnHeader"/>
          <p:cNvSpPr>
            <a:spLocks noChangeArrowheads="1"/>
          </p:cNvSpPr>
          <p:nvPr/>
        </p:nvSpPr>
        <p:spPr bwMode="gray">
          <a:xfrm>
            <a:off x="9976820" y="3134537"/>
            <a:ext cx="1872281" cy="577566"/>
          </a:xfrm>
          <a:prstGeom prst="rect">
            <a:avLst/>
          </a:prstGeom>
          <a:solidFill>
            <a:sysClr val="window" lastClr="FFFFFF"/>
          </a:solidFill>
          <a:ln w="9525" cap="flat" cmpd="sng" algn="ctr">
            <a:solidFill>
              <a:sysClr val="window" lastClr="FFFFFF"/>
            </a:solidFill>
            <a:prstDash val="solid"/>
          </a:ln>
          <a:effectLst/>
        </p:spPr>
        <p:txBody>
          <a:bodyPr wrap="none" lIns="121920" tIns="0" rIns="12192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ea"/>
                <a:sym typeface="+mn-lt"/>
              </a:rPr>
              <a:t>XXX</a:t>
            </a:r>
            <a:endParaRPr kumimoji="0" lang="zh-CN" altLang="en-US" sz="1800" b="1" i="0" u="none" strike="noStrike" kern="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ea"/>
              <a:sym typeface="+mn-lt"/>
            </a:endParaRPr>
          </a:p>
        </p:txBody>
      </p:sp>
      <p:cxnSp>
        <p:nvCxnSpPr>
          <p:cNvPr id="174108" name="直接连接符 174107"/>
          <p:cNvCxnSpPr/>
          <p:nvPr/>
        </p:nvCxnSpPr>
        <p:spPr>
          <a:xfrm>
            <a:off x="2217736" y="3135938"/>
            <a:ext cx="0" cy="2228604"/>
          </a:xfrm>
          <a:prstGeom prst="line">
            <a:avLst/>
          </a:prstGeom>
          <a:ln w="9525" cap="rnd">
            <a:solidFill>
              <a:schemeClr val="bg1">
                <a:lumMod val="6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74109" name="矩形 174108"/>
          <p:cNvSpPr/>
          <p:nvPr/>
        </p:nvSpPr>
        <p:spPr>
          <a:xfrm>
            <a:off x="380318" y="4257844"/>
            <a:ext cx="1800000" cy="492188"/>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XX</a:t>
            </a:r>
            <a:endParaRPr kumimoji="0" lang="zh-CN" altLang="en-US"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cxnSp>
        <p:nvCxnSpPr>
          <p:cNvPr id="219" name="直接连接符 218"/>
          <p:cNvCxnSpPr/>
          <p:nvPr/>
        </p:nvCxnSpPr>
        <p:spPr>
          <a:xfrm>
            <a:off x="342900" y="3135938"/>
            <a:ext cx="0" cy="1614094"/>
          </a:xfrm>
          <a:prstGeom prst="line">
            <a:avLst/>
          </a:prstGeom>
          <a:ln w="9525" cap="rnd">
            <a:solidFill>
              <a:schemeClr val="bg1">
                <a:lumMod val="6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224" name="矩形 223"/>
          <p:cNvSpPr/>
          <p:nvPr/>
        </p:nvSpPr>
        <p:spPr>
          <a:xfrm>
            <a:off x="2253482" y="4886209"/>
            <a:ext cx="3780000" cy="492188"/>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a:solidFill>
                  <a:prstClr val="white"/>
                </a:solidFill>
                <a:latin typeface="Arial" panose="020B0604020202020204"/>
                <a:ea typeface="华文楷体" panose="02010600040101010101" charset="-122"/>
                <a:cs typeface="+mn-ea"/>
                <a:sym typeface="+mn-lt"/>
              </a:rPr>
              <a:t>XXX</a:t>
            </a:r>
            <a:endParaRPr lang="en-US" altLang="zh-CN" b="1" dirty="0">
              <a:solidFill>
                <a:prstClr val="white"/>
              </a:solidFill>
              <a:latin typeface="Arial" panose="020B0604020202020204"/>
              <a:ea typeface="华文楷体" panose="02010600040101010101" charset="-122"/>
              <a:cs typeface="+mn-ea"/>
              <a:sym typeface="+mn-lt"/>
            </a:endParaRPr>
          </a:p>
        </p:txBody>
      </p:sp>
      <p:cxnSp>
        <p:nvCxnSpPr>
          <p:cNvPr id="225" name="直接连接符 224"/>
          <p:cNvCxnSpPr/>
          <p:nvPr/>
        </p:nvCxnSpPr>
        <p:spPr>
          <a:xfrm>
            <a:off x="6069227" y="3134537"/>
            <a:ext cx="0" cy="2230005"/>
          </a:xfrm>
          <a:prstGeom prst="line">
            <a:avLst/>
          </a:prstGeom>
          <a:ln w="9525" cap="rnd">
            <a:solidFill>
              <a:schemeClr val="bg1">
                <a:lumMod val="6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0" name="直接连接符 229"/>
          <p:cNvCxnSpPr/>
          <p:nvPr/>
        </p:nvCxnSpPr>
        <p:spPr>
          <a:xfrm>
            <a:off x="8023360" y="3148392"/>
            <a:ext cx="0" cy="2230005"/>
          </a:xfrm>
          <a:prstGeom prst="line">
            <a:avLst/>
          </a:prstGeom>
          <a:ln w="9525" cap="rnd">
            <a:solidFill>
              <a:schemeClr val="bg1">
                <a:lumMod val="65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231" name="直接连接符 230"/>
          <p:cNvCxnSpPr/>
          <p:nvPr/>
        </p:nvCxnSpPr>
        <p:spPr>
          <a:xfrm>
            <a:off x="4141909" y="3148392"/>
            <a:ext cx="0" cy="1614094"/>
          </a:xfrm>
          <a:prstGeom prst="line">
            <a:avLst/>
          </a:prstGeom>
          <a:ln w="9525" cap="rnd">
            <a:solidFill>
              <a:schemeClr val="bg1">
                <a:lumMod val="6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232" name="矩形 231"/>
          <p:cNvSpPr/>
          <p:nvPr/>
        </p:nvSpPr>
        <p:spPr>
          <a:xfrm>
            <a:off x="4180993" y="4257844"/>
            <a:ext cx="5688000" cy="492188"/>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a:solidFill>
                  <a:prstClr val="white"/>
                </a:solidFill>
                <a:latin typeface="Arial" panose="020B0604020202020204"/>
                <a:ea typeface="华文楷体" panose="02010600040101010101" charset="-122"/>
                <a:cs typeface="+mn-ea"/>
                <a:sym typeface="+mn-lt"/>
              </a:rPr>
              <a:t>XXX</a:t>
            </a:r>
            <a:endParaRPr lang="zh-CN" altLang="en-US" b="1" dirty="0">
              <a:solidFill>
                <a:prstClr val="white"/>
              </a:solidFill>
              <a:latin typeface="Arial" panose="020B0604020202020204"/>
              <a:ea typeface="华文楷体" panose="02010600040101010101" charset="-122"/>
              <a:cs typeface="+mn-ea"/>
              <a:sym typeface="+mn-lt"/>
            </a:endParaRPr>
          </a:p>
        </p:txBody>
      </p:sp>
      <p:cxnSp>
        <p:nvCxnSpPr>
          <p:cNvPr id="234" name="直接连接符 233"/>
          <p:cNvCxnSpPr>
            <a:endCxn id="187" idx="0"/>
          </p:cNvCxnSpPr>
          <p:nvPr/>
        </p:nvCxnSpPr>
        <p:spPr>
          <a:xfrm>
            <a:off x="9908077" y="3148391"/>
            <a:ext cx="0" cy="2616984"/>
          </a:xfrm>
          <a:prstGeom prst="line">
            <a:avLst/>
          </a:prstGeom>
          <a:ln w="9525" cap="rnd">
            <a:solidFill>
              <a:schemeClr val="bg1">
                <a:lumMod val="6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35" name="矩形 234"/>
          <p:cNvSpPr/>
          <p:nvPr/>
        </p:nvSpPr>
        <p:spPr>
          <a:xfrm>
            <a:off x="8065719" y="4881170"/>
            <a:ext cx="1800000" cy="492188"/>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a:solidFill>
                  <a:prstClr val="white"/>
                </a:solidFill>
                <a:latin typeface="Arial" panose="020B0604020202020204"/>
                <a:ea typeface="华文楷体" panose="02010600040101010101" charset="-122"/>
                <a:cs typeface="+mn-ea"/>
                <a:sym typeface="+mn-lt"/>
              </a:rPr>
              <a:t>XXX</a:t>
            </a:r>
            <a:endParaRPr lang="zh-CN" altLang="en-US" b="1" dirty="0">
              <a:solidFill>
                <a:prstClr val="white"/>
              </a:solidFill>
              <a:latin typeface="Arial" panose="020B0604020202020204"/>
              <a:ea typeface="华文楷体" panose="02010600040101010101" charset="-122"/>
              <a:cs typeface="+mn-ea"/>
              <a:sym typeface="+mn-lt"/>
            </a:endParaRPr>
          </a:p>
        </p:txBody>
      </p:sp>
      <p:sp>
        <p:nvSpPr>
          <p:cNvPr id="187" name="文本框 186"/>
          <p:cNvSpPr txBox="1"/>
          <p:nvPr/>
        </p:nvSpPr>
        <p:spPr>
          <a:xfrm>
            <a:off x="9478724" y="5765375"/>
            <a:ext cx="858705" cy="4111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ea"/>
                <a:sym typeface="+mn-lt"/>
              </a:rPr>
              <a:t>XXX</a:t>
            </a:r>
            <a:endParaRPr kumimoji="0" lang="zh-CN" altLang="en-US" sz="1800" b="1" i="0" u="none" strike="noStrike" kern="1200" cap="none" spc="0" normalizeH="0" baseline="0" noProof="0" dirty="0" err="1" smtClean="0">
              <a:ln>
                <a:noFill/>
              </a:ln>
              <a:solidFill>
                <a:srgbClr val="575757"/>
              </a:solidFill>
              <a:effectLst/>
              <a:uLnTx/>
              <a:uFillTx/>
              <a:latin typeface="Arial" panose="020B0604020202020204"/>
              <a:ea typeface="华文楷体" panose="02010600040101010101" charset="-122"/>
              <a:cs typeface="+mn-ea"/>
              <a:sym typeface="+mn-lt"/>
            </a:endParaRPr>
          </a:p>
        </p:txBody>
      </p:sp>
      <p:cxnSp>
        <p:nvCxnSpPr>
          <p:cNvPr id="237" name="直接连接符 236"/>
          <p:cNvCxnSpPr/>
          <p:nvPr/>
        </p:nvCxnSpPr>
        <p:spPr>
          <a:xfrm>
            <a:off x="11845143" y="3148392"/>
            <a:ext cx="0" cy="2228400"/>
          </a:xfrm>
          <a:prstGeom prst="line">
            <a:avLst/>
          </a:prstGeom>
          <a:ln w="9525" cap="rnd">
            <a:solidFill>
              <a:schemeClr val="bg1">
                <a:lumMod val="65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238" name="矩形 237"/>
          <p:cNvSpPr/>
          <p:nvPr/>
        </p:nvSpPr>
        <p:spPr>
          <a:xfrm>
            <a:off x="9949198" y="4257844"/>
            <a:ext cx="1868892" cy="1115514"/>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a:solidFill>
                  <a:prstClr val="white"/>
                </a:solidFill>
                <a:latin typeface="Arial" panose="020B0604020202020204"/>
                <a:ea typeface="华文楷体" panose="02010600040101010101" charset="-122"/>
                <a:cs typeface="+mn-ea"/>
                <a:sym typeface="+mn-lt"/>
              </a:rPr>
              <a:t>XXX</a:t>
            </a:r>
            <a:endParaRPr lang="zh-CN" altLang="en-US" b="1" dirty="0">
              <a:solidFill>
                <a:prstClr val="white"/>
              </a:solidFill>
              <a:latin typeface="Arial" panose="020B0604020202020204"/>
              <a:ea typeface="华文楷体" panose="02010600040101010101" charset="-122"/>
              <a:cs typeface="+mn-ea"/>
              <a:sym typeface="+mn-lt"/>
            </a:endParaRPr>
          </a:p>
        </p:txBody>
      </p:sp>
      <p:sp>
        <p:nvSpPr>
          <p:cNvPr id="174080" name="五边形 174079"/>
          <p:cNvSpPr/>
          <p:nvPr/>
        </p:nvSpPr>
        <p:spPr>
          <a:xfrm>
            <a:off x="343181" y="2772415"/>
            <a:ext cx="1872000" cy="293513"/>
          </a:xfrm>
          <a:prstGeom prst="homePlate">
            <a:avLst/>
          </a:prstGeom>
          <a:solidFill>
            <a:schemeClr val="tx2"/>
          </a:solidFill>
          <a:ln w="9525" cap="flat" cmpd="sng" algn="ctr">
            <a:solidFill>
              <a:schemeClr val="bg1"/>
            </a:solidFill>
            <a:prstDash val="solid"/>
          </a:ln>
          <a:effectLst/>
        </p:spPr>
        <p:txBody>
          <a:bodyPr lIns="96000" tIns="96000" rIns="96000" bIns="144000" rtlCol="0" anchor="t" anchorCtr="0">
            <a:noAutofit/>
          </a:bodyPr>
          <a:lstStyle/>
          <a:p>
            <a:pPr marL="0" marR="0" lvl="0" indent="0" algn="l" defTabSz="12192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174082" name="燕尾形 174081"/>
          <p:cNvSpPr/>
          <p:nvPr/>
        </p:nvSpPr>
        <p:spPr>
          <a:xfrm>
            <a:off x="2269909" y="2772415"/>
            <a:ext cx="1872000" cy="293513"/>
          </a:xfrm>
          <a:prstGeom prst="chevron">
            <a:avLst/>
          </a:prstGeom>
          <a:solidFill>
            <a:schemeClr val="tx2"/>
          </a:solidFill>
          <a:ln w="9525" cap="flat" cmpd="sng" algn="ctr">
            <a:solidFill>
              <a:schemeClr val="bg1"/>
            </a:solidFill>
            <a:prstDash val="solid"/>
          </a:ln>
          <a:effectLst/>
        </p:spPr>
        <p:txBody>
          <a:bodyPr lIns="96000" tIns="96000" rIns="96000" bIns="144000" rtlCol="0" anchor="t" anchorCtr="0">
            <a:noAutofit/>
          </a:bodyPr>
          <a:lstStyle/>
          <a:p>
            <a:pPr marL="0" marR="0" lvl="0" indent="0" algn="l" defTabSz="12192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179" name="燕尾形 178"/>
          <p:cNvSpPr/>
          <p:nvPr/>
        </p:nvSpPr>
        <p:spPr>
          <a:xfrm>
            <a:off x="4196637" y="2772415"/>
            <a:ext cx="1890398" cy="293513"/>
          </a:xfrm>
          <a:prstGeom prst="chevron">
            <a:avLst/>
          </a:prstGeom>
          <a:solidFill>
            <a:schemeClr val="tx2"/>
          </a:solidFill>
          <a:ln w="9525" cap="flat" cmpd="sng" algn="ctr">
            <a:solidFill>
              <a:schemeClr val="bg1"/>
            </a:solidFill>
            <a:prstDash val="solid"/>
          </a:ln>
          <a:effectLst/>
        </p:spPr>
        <p:txBody>
          <a:bodyPr lIns="96000" tIns="96000" rIns="96000" bIns="144000" rtlCol="0" anchor="t" anchorCtr="0">
            <a:noAutofit/>
          </a:bodyPr>
          <a:lstStyle/>
          <a:p>
            <a:pPr marL="0" marR="0" lvl="0" indent="0" algn="l" defTabSz="12192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180" name="燕尾形 179"/>
          <p:cNvSpPr/>
          <p:nvPr/>
        </p:nvSpPr>
        <p:spPr>
          <a:xfrm>
            <a:off x="6123365" y="2772415"/>
            <a:ext cx="1872000" cy="293513"/>
          </a:xfrm>
          <a:prstGeom prst="chevron">
            <a:avLst/>
          </a:prstGeom>
          <a:solidFill>
            <a:schemeClr val="tx2"/>
          </a:solidFill>
          <a:ln w="9525" cap="flat" cmpd="sng" algn="ctr">
            <a:solidFill>
              <a:schemeClr val="bg1"/>
            </a:solidFill>
            <a:prstDash val="solid"/>
          </a:ln>
          <a:effectLst/>
        </p:spPr>
        <p:txBody>
          <a:bodyPr lIns="96000" tIns="96000" rIns="96000" bIns="144000" rtlCol="0" anchor="t" anchorCtr="0">
            <a:noAutofit/>
          </a:bodyPr>
          <a:lstStyle/>
          <a:p>
            <a:pPr marL="0" marR="0" lvl="0" indent="0" algn="l" defTabSz="12192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181" name="燕尾形 180"/>
          <p:cNvSpPr/>
          <p:nvPr/>
        </p:nvSpPr>
        <p:spPr>
          <a:xfrm>
            <a:off x="8050093" y="2772415"/>
            <a:ext cx="1872000" cy="293513"/>
          </a:xfrm>
          <a:prstGeom prst="chevron">
            <a:avLst/>
          </a:prstGeom>
          <a:solidFill>
            <a:schemeClr val="tx2"/>
          </a:solidFill>
          <a:ln w="9525" cap="flat" cmpd="sng" algn="ctr">
            <a:solidFill>
              <a:schemeClr val="bg1"/>
            </a:solidFill>
            <a:prstDash val="solid"/>
          </a:ln>
          <a:effectLst/>
        </p:spPr>
        <p:txBody>
          <a:bodyPr lIns="96000" tIns="96000" rIns="96000" bIns="144000" rtlCol="0" anchor="t" anchorCtr="0">
            <a:noAutofit/>
          </a:bodyPr>
          <a:lstStyle/>
          <a:p>
            <a:pPr marL="0" marR="0" lvl="0" indent="0" algn="l" defTabSz="12192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182" name="燕尾形 181"/>
          <p:cNvSpPr/>
          <p:nvPr/>
        </p:nvSpPr>
        <p:spPr>
          <a:xfrm>
            <a:off x="9976820" y="2772415"/>
            <a:ext cx="1872000" cy="293513"/>
          </a:xfrm>
          <a:prstGeom prst="chevron">
            <a:avLst/>
          </a:prstGeom>
          <a:solidFill>
            <a:schemeClr val="tx2"/>
          </a:solidFill>
          <a:ln w="9525" cap="flat" cmpd="sng" algn="ctr">
            <a:solidFill>
              <a:schemeClr val="bg1"/>
            </a:solidFill>
            <a:prstDash val="solid"/>
          </a:ln>
          <a:effectLst/>
        </p:spPr>
        <p:txBody>
          <a:bodyPr lIns="96000" tIns="96000" rIns="96000" bIns="144000" rtlCol="0" anchor="t" anchorCtr="0">
            <a:noAutofit/>
          </a:bodyPr>
          <a:lstStyle/>
          <a:p>
            <a:pPr marL="0" marR="0" lvl="0" indent="0" algn="l" defTabSz="1219200" rtl="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sp>
        <p:nvSpPr>
          <p:cNvPr id="46"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流程</a:t>
            </a:r>
            <a:endParaRPr lang="zh-CN" altLang="en-US" sz="2400" dirty="0">
              <a:solidFill>
                <a:prstClr val="black"/>
              </a:solidFill>
              <a:latin typeface="华文楷体" panose="02010600040101010101" charset="-122"/>
            </a:endParaRPr>
          </a:p>
        </p:txBody>
      </p:sp>
      <p:pic>
        <p:nvPicPr>
          <p:cNvPr id="45" name="图片 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3"/>
          <p:cNvSpPr txBox="1"/>
          <p:nvPr/>
        </p:nvSpPr>
        <p:spPr>
          <a:xfrm>
            <a:off x="9876864" y="6821123"/>
            <a:ext cx="1904820" cy="187890"/>
          </a:xfrm>
        </p:spPr>
        <p:txBody>
          <a:bodyPr/>
          <a:lstStyle>
            <a:defPPr>
              <a:defRPr lang="en-US"/>
            </a:defPPr>
            <a:lvl1pPr marL="0" algn="l" defTabSz="913765" rtl="0" eaLnBrk="0" latinLnBrk="0" hangingPunct="0">
              <a:defRPr sz="1630" kern="1200">
                <a:solidFill>
                  <a:schemeClr val="tx1"/>
                </a:solidFill>
                <a:latin typeface="Arial" panose="020B0604020202020204" pitchFamily="34" charset="0"/>
                <a:ea typeface="宋体" panose="02010600030101010101" pitchFamily="2" charset="-122"/>
                <a:cs typeface="+mn-cs"/>
              </a:defRPr>
            </a:lvl1pPr>
            <a:lvl2pPr marL="758190" indent="-291465" algn="l" defTabSz="913765" rtl="0" eaLnBrk="0" latinLnBrk="0" hangingPunct="0">
              <a:defRPr sz="1630" kern="1200">
                <a:solidFill>
                  <a:schemeClr val="tx1"/>
                </a:solidFill>
                <a:latin typeface="Arial" panose="020B0604020202020204" pitchFamily="34" charset="0"/>
                <a:ea typeface="宋体" panose="02010600030101010101" pitchFamily="2" charset="-122"/>
                <a:cs typeface="+mn-cs"/>
              </a:defRPr>
            </a:lvl2pPr>
            <a:lvl3pPr marL="1166495" indent="-233045" algn="l" defTabSz="913765" rtl="0" eaLnBrk="0" latinLnBrk="0" hangingPunct="0">
              <a:defRPr sz="1630" kern="1200">
                <a:solidFill>
                  <a:schemeClr val="tx1"/>
                </a:solidFill>
                <a:latin typeface="Arial" panose="020B0604020202020204" pitchFamily="34" charset="0"/>
                <a:ea typeface="宋体" panose="02010600030101010101" pitchFamily="2" charset="-122"/>
                <a:cs typeface="+mn-cs"/>
              </a:defRPr>
            </a:lvl3pPr>
            <a:lvl4pPr marL="1632585" indent="-233045" algn="l" defTabSz="913765" rtl="0" eaLnBrk="0" latinLnBrk="0" hangingPunct="0">
              <a:defRPr sz="1630" kern="1200">
                <a:solidFill>
                  <a:schemeClr val="tx1"/>
                </a:solidFill>
                <a:latin typeface="Arial" panose="020B0604020202020204" pitchFamily="34" charset="0"/>
                <a:ea typeface="宋体" panose="02010600030101010101" pitchFamily="2" charset="-122"/>
                <a:cs typeface="+mn-cs"/>
              </a:defRPr>
            </a:lvl4pPr>
            <a:lvl5pPr marL="2099310" indent="-233045" algn="l" defTabSz="913765" rtl="0" eaLnBrk="0" latinLnBrk="0" hangingPunct="0">
              <a:defRPr sz="1630" kern="1200">
                <a:solidFill>
                  <a:schemeClr val="tx1"/>
                </a:solidFill>
                <a:latin typeface="Arial" panose="020B0604020202020204" pitchFamily="34" charset="0"/>
                <a:ea typeface="宋体" panose="02010600030101010101" pitchFamily="2" charset="-122"/>
                <a:cs typeface="+mn-cs"/>
              </a:defRPr>
            </a:lvl5pPr>
            <a:lvl6pPr marL="2565400" indent="-233045" algn="l" defTabSz="913765" rtl="0" eaLnBrk="0" fontAlgn="base" latinLnBrk="0" hangingPunct="0">
              <a:spcBef>
                <a:spcPct val="0"/>
              </a:spcBef>
              <a:spcAft>
                <a:spcPct val="0"/>
              </a:spcAft>
              <a:defRPr sz="1630" kern="1200">
                <a:solidFill>
                  <a:schemeClr val="tx1"/>
                </a:solidFill>
                <a:latin typeface="Arial" panose="020B0604020202020204" pitchFamily="34" charset="0"/>
                <a:ea typeface="宋体" panose="02010600030101010101" pitchFamily="2" charset="-122"/>
                <a:cs typeface="+mn-cs"/>
              </a:defRPr>
            </a:lvl6pPr>
            <a:lvl7pPr marL="3032125" indent="-233045" algn="l" defTabSz="913765" rtl="0" eaLnBrk="0" fontAlgn="base" latinLnBrk="0" hangingPunct="0">
              <a:spcBef>
                <a:spcPct val="0"/>
              </a:spcBef>
              <a:spcAft>
                <a:spcPct val="0"/>
              </a:spcAft>
              <a:defRPr sz="1630" kern="1200">
                <a:solidFill>
                  <a:schemeClr val="tx1"/>
                </a:solidFill>
                <a:latin typeface="Arial" panose="020B0604020202020204" pitchFamily="34" charset="0"/>
                <a:ea typeface="宋体" panose="02010600030101010101" pitchFamily="2" charset="-122"/>
                <a:cs typeface="+mn-cs"/>
              </a:defRPr>
            </a:lvl7pPr>
            <a:lvl8pPr marL="3498850" indent="-233045" algn="l" defTabSz="913765" rtl="0" eaLnBrk="0" fontAlgn="base" latinLnBrk="0" hangingPunct="0">
              <a:spcBef>
                <a:spcPct val="0"/>
              </a:spcBef>
              <a:spcAft>
                <a:spcPct val="0"/>
              </a:spcAft>
              <a:defRPr sz="1630" kern="1200">
                <a:solidFill>
                  <a:schemeClr val="tx1"/>
                </a:solidFill>
                <a:latin typeface="Arial" panose="020B0604020202020204" pitchFamily="34" charset="0"/>
                <a:ea typeface="宋体" panose="02010600030101010101" pitchFamily="2" charset="-122"/>
                <a:cs typeface="+mn-cs"/>
              </a:defRPr>
            </a:lvl8pPr>
            <a:lvl9pPr marL="3964940" indent="-233045" algn="l" defTabSz="913765" rtl="0" eaLnBrk="0" fontAlgn="base" latinLnBrk="0" hangingPunct="0">
              <a:spcBef>
                <a:spcPct val="0"/>
              </a:spcBef>
              <a:spcAft>
                <a:spcPct val="0"/>
              </a:spcAft>
              <a:defRPr sz="1630" kern="1200">
                <a:solidFill>
                  <a:schemeClr val="tx1"/>
                </a:solidFill>
                <a:latin typeface="Arial" panose="020B0604020202020204" pitchFamily="34" charset="0"/>
                <a:ea typeface="宋体" panose="02010600030101010101" pitchFamily="2" charset="-122"/>
                <a:cs typeface="+mn-cs"/>
              </a:defRPr>
            </a:lvl9pPr>
          </a:lstStyle>
          <a:p>
            <a:pPr eaLnBrk="1" hangingPunct="1"/>
            <a:endParaRPr lang="en-US" altLang="zh-CN" sz="1225" dirty="0">
              <a:solidFill>
                <a:srgbClr val="000000"/>
              </a:solidFill>
              <a:latin typeface="华文楷体" panose="02010600040101010101" charset="-122"/>
              <a:ea typeface="华文楷体" panose="02010600040101010101" charset="-122"/>
            </a:endParaRPr>
          </a:p>
        </p:txBody>
      </p:sp>
      <p:graphicFrame>
        <p:nvGraphicFramePr>
          <p:cNvPr id="6" name="表格 5"/>
          <p:cNvGraphicFramePr>
            <a:graphicFrameLocks noGrp="1"/>
          </p:cNvGraphicFramePr>
          <p:nvPr/>
        </p:nvGraphicFramePr>
        <p:xfrm>
          <a:off x="599649" y="865586"/>
          <a:ext cx="10638427" cy="5271344"/>
        </p:xfrm>
        <a:graphic>
          <a:graphicData uri="http://schemas.openxmlformats.org/drawingml/2006/table">
            <a:tbl>
              <a:tblPr/>
              <a:tblGrid>
                <a:gridCol w="1426711"/>
                <a:gridCol w="1643298"/>
                <a:gridCol w="1645920"/>
                <a:gridCol w="1463040"/>
                <a:gridCol w="1575582"/>
                <a:gridCol w="1477108"/>
                <a:gridCol w="1406768"/>
              </a:tblGrid>
              <a:tr h="588101">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r>
                        <a:rPr lang="en-US" altLang="zh-CN" sz="1200" b="1" i="0" u="none" strike="noStrike" dirty="0" smtClean="0">
                          <a:solidFill>
                            <a:srgbClr val="FFFFFF"/>
                          </a:solidFill>
                          <a:effectLst/>
                          <a:latin typeface="华文楷体" panose="02010600040101010101" charset="-122"/>
                          <a:ea typeface="华文楷体" panose="02010600040101010101" charset="-122"/>
                        </a:rPr>
                        <a:t>xx</a:t>
                      </a:r>
                      <a:r>
                        <a:rPr lang="zh-CN" altLang="en-US" sz="1200" b="1" i="0" u="none" strike="noStrike" dirty="0" smtClean="0">
                          <a:solidFill>
                            <a:srgbClr val="FFFFFF"/>
                          </a:solidFill>
                          <a:effectLst/>
                          <a:latin typeface="华文楷体" panose="02010600040101010101" charset="-122"/>
                          <a:ea typeface="华文楷体" panose="02010600040101010101" charset="-122"/>
                        </a:rPr>
                        <a:t>步骤</a:t>
                      </a:r>
                      <a:endParaRPr lang="zh-CN" altLang="en-US" sz="1200" b="1" i="0" u="none" strike="noStrike" dirty="0">
                        <a:solidFill>
                          <a:srgbClr val="FFFFFF"/>
                        </a:solidFill>
                        <a:effectLst/>
                        <a:latin typeface="华文楷体" panose="02010600040101010101" charset="-122"/>
                        <a:ea typeface="华文楷体" panose="02010600040101010101" charset="-122"/>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ctr" fontAlgn="ctr"/>
                      <a:r>
                        <a:rPr lang="zh-CN" altLang="en-US" sz="1200" b="1" i="0" u="none" strike="noStrike" dirty="0" smtClean="0">
                          <a:solidFill>
                            <a:srgbClr val="FFFFFF"/>
                          </a:solidFill>
                          <a:effectLst/>
                          <a:latin typeface="华文楷体" panose="02010600040101010101" charset="-122"/>
                          <a:ea typeface="华文楷体" panose="02010600040101010101" charset="-122"/>
                        </a:rPr>
                        <a:t>角色</a:t>
                      </a:r>
                      <a:r>
                        <a:rPr lang="en-US" altLang="zh-CN" sz="1200" b="1" i="0" u="none" strike="noStrike" dirty="0" smtClean="0">
                          <a:solidFill>
                            <a:srgbClr val="FFFFFF"/>
                          </a:solidFill>
                          <a:effectLst/>
                          <a:latin typeface="华文楷体" panose="02010600040101010101" charset="-122"/>
                          <a:ea typeface="华文楷体" panose="02010600040101010101" charset="-122"/>
                        </a:rPr>
                        <a:t>1</a:t>
                      </a:r>
                      <a:endParaRPr lang="zh-CN" altLang="en-US" sz="1200" b="1" i="0" u="none" strike="noStrike" dirty="0">
                        <a:solidFill>
                          <a:srgbClr val="FFFFFF"/>
                        </a:solidFill>
                        <a:effectLst/>
                        <a:latin typeface="华文楷体" panose="02010600040101010101" charset="-122"/>
                        <a:ea typeface="华文楷体" panose="02010600040101010101" charset="-122"/>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角色</a:t>
                      </a:r>
                      <a:r>
                        <a:rPr kumimoji="0" lang="en-US" altLang="zh-CN" sz="120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2</a:t>
                      </a:r>
                      <a:endParaRPr kumimoji="0" lang="zh-CN" altLang="en-US" sz="120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角色</a:t>
                      </a:r>
                      <a:r>
                        <a:rPr kumimoji="0" lang="en-US" altLang="zh-CN" sz="120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3</a:t>
                      </a:r>
                      <a:endParaRPr kumimoji="0" lang="zh-CN" altLang="en-US" sz="120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角色</a:t>
                      </a:r>
                      <a:r>
                        <a:rPr kumimoji="0" lang="en-US" altLang="zh-CN" sz="120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4</a:t>
                      </a:r>
                      <a:endParaRPr kumimoji="0" lang="zh-CN" altLang="en-US" sz="120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角色</a:t>
                      </a:r>
                      <a:r>
                        <a:rPr kumimoji="0" lang="en-US" altLang="zh-CN" sz="120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5</a:t>
                      </a:r>
                      <a:endParaRPr kumimoji="0" lang="zh-CN" altLang="en-US" sz="120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marR="0" lvl="0" indent="0" algn="ctr" defTabSz="914400" rtl="0" eaLnBrk="1" fontAlgn="ctr"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角色</a:t>
                      </a:r>
                      <a:r>
                        <a:rPr kumimoji="0" lang="en-US" altLang="zh-CN" sz="1200" b="1" i="0" u="none" strike="noStrike" kern="120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6</a:t>
                      </a:r>
                      <a:endParaRPr kumimoji="0" lang="zh-CN" altLang="en-US" sz="1200" b="1"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E5817"/>
                    </a:solidFill>
                  </a:tcPr>
                </a:tc>
              </a:tr>
              <a:tr h="772808">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r>
                        <a:rPr lang="en-US" altLang="zh-CN" sz="1200" b="0" i="0" u="none" strike="noStrike" dirty="0" smtClean="0">
                          <a:solidFill>
                            <a:srgbClr val="000000"/>
                          </a:solidFill>
                          <a:effectLst/>
                          <a:latin typeface="华文楷体" panose="02010600040101010101" charset="-122"/>
                          <a:ea typeface="华文楷体" panose="02010600040101010101" charset="-122"/>
                        </a:rPr>
                        <a:t>xx</a:t>
                      </a: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en-US" altLang="zh-CN"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en-US" altLang="zh-CN"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lumMod val="85000"/>
                      </a:srgbClr>
                    </a:solidFill>
                  </a:tcPr>
                </a:tc>
              </a:tr>
              <a:tr h="772808">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r>
                        <a:rPr lang="en-US" altLang="zh-CN" sz="1200" b="0" i="0" u="none" strike="noStrike" dirty="0" smtClean="0">
                          <a:solidFill>
                            <a:srgbClr val="000000"/>
                          </a:solidFill>
                          <a:effectLst/>
                          <a:latin typeface="华文楷体" panose="02010600040101010101" charset="-122"/>
                          <a:ea typeface="华文楷体" panose="02010600040101010101" charset="-122"/>
                        </a:rPr>
                        <a:t>xx</a:t>
                      </a: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en-US" altLang="zh-CN"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en-US" altLang="zh-CN"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r h="574294">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r>
                        <a:rPr lang="en-US" altLang="zh-CN" sz="1200" b="0" i="0" u="none" strike="noStrike" dirty="0" smtClean="0">
                          <a:solidFill>
                            <a:srgbClr val="000000"/>
                          </a:solidFill>
                          <a:effectLst/>
                          <a:latin typeface="华文楷体" panose="02010600040101010101" charset="-122"/>
                          <a:ea typeface="华文楷体" panose="02010600040101010101" charset="-122"/>
                        </a:rPr>
                        <a:t>xx</a:t>
                      </a: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en-US" altLang="zh-CN"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en-US" altLang="zh-CN"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lumMod val="85000"/>
                      </a:srgbClr>
                    </a:solidFill>
                  </a:tcPr>
                </a:tc>
              </a:tr>
              <a:tr h="1073190">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r>
                        <a:rPr lang="en-US" altLang="zh-CN" sz="1200" b="0" i="0" u="none" strike="noStrike" dirty="0" smtClean="0">
                          <a:solidFill>
                            <a:srgbClr val="000000"/>
                          </a:solidFill>
                          <a:effectLst/>
                          <a:latin typeface="华文楷体" panose="02010600040101010101" charset="-122"/>
                          <a:ea typeface="华文楷体" panose="02010600040101010101" charset="-122"/>
                        </a:rPr>
                        <a:t>xx</a:t>
                      </a: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en-US" altLang="zh-CN"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en-US" altLang="zh-CN"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algn="l" fontAlgn="ctr"/>
                      <a:endParaRPr lang="zh-CN" altLang="en-US" sz="1200" b="0" i="0" u="none" strike="noStrike" dirty="0">
                        <a:solidFill>
                          <a:srgbClr val="000000"/>
                        </a:solidFill>
                        <a:effectLst/>
                        <a:latin typeface="华文楷体" panose="02010600040101010101" charset="-122"/>
                        <a:ea typeface="华文楷体" panose="02010600040101010101" charset="-122"/>
                      </a:endParaRPr>
                    </a:p>
                  </a:txBody>
                  <a:tcPr marL="9525"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r h="766548">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r>
                        <a:rPr lang="en-US" altLang="zh-CN" sz="1200" b="0" i="0" u="none" strike="noStrike" kern="1200" dirty="0" smtClean="0">
                          <a:solidFill>
                            <a:srgbClr val="000000"/>
                          </a:solidFill>
                          <a:effectLst/>
                          <a:latin typeface="华文楷体" panose="02010600040101010101" charset="-122"/>
                          <a:ea typeface="华文楷体" panose="02010600040101010101" charset="-122"/>
                          <a:cs typeface="+mn-cs"/>
                        </a:rPr>
                        <a:t>xx</a:t>
                      </a:r>
                      <a:endParaRPr lang="zh-CN" altLang="en-US"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zh-CN" altLang="en-US"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en-US" altLang="zh-CN"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en-US" altLang="zh-CN"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zh-CN" altLang="en-US"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zh-CN" altLang="en-US"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zh-CN" altLang="en-US"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lumMod val="85000"/>
                      </a:srgbClr>
                    </a:solidFill>
                  </a:tcPr>
                </a:tc>
              </a:tr>
              <a:tr h="723595">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r>
                        <a:rPr lang="en-US" altLang="zh-CN" sz="1200" b="0" i="0" u="none" strike="noStrike" kern="1200" dirty="0" smtClean="0">
                          <a:solidFill>
                            <a:srgbClr val="000000"/>
                          </a:solidFill>
                          <a:effectLst/>
                          <a:latin typeface="华文楷体" panose="02010600040101010101" charset="-122"/>
                          <a:ea typeface="华文楷体" panose="02010600040101010101" charset="-122"/>
                          <a:cs typeface="+mn-cs"/>
                        </a:rPr>
                        <a:t>xx</a:t>
                      </a:r>
                      <a:endParaRPr lang="zh-CN" altLang="en-US"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zh-CN" altLang="en-US"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en-US" altLang="zh-CN"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en-US" altLang="zh-CN"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zh-CN" altLang="en-US"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zh-CN" altLang="en-US"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ea typeface="楷体" panose="02010609060101010101" pitchFamily="49" charset="-122"/>
                        </a:defRPr>
                      </a:lvl1pPr>
                      <a:lvl2pPr marL="457200" algn="l" defTabSz="914400" rtl="0" eaLnBrk="1" latinLnBrk="0" hangingPunct="1">
                        <a:defRPr sz="1800" kern="1200">
                          <a:solidFill>
                            <a:schemeClr val="tx1"/>
                          </a:solidFill>
                          <a:latin typeface="Arial" panose="020B0604020202020204"/>
                          <a:ea typeface="楷体" panose="02010609060101010101" pitchFamily="49" charset="-122"/>
                        </a:defRPr>
                      </a:lvl2pPr>
                      <a:lvl3pPr marL="914400" algn="l" defTabSz="914400" rtl="0" eaLnBrk="1" latinLnBrk="0" hangingPunct="1">
                        <a:defRPr sz="1800" kern="1200">
                          <a:solidFill>
                            <a:schemeClr val="tx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tx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tx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tx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tx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tx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tx1"/>
                          </a:solidFill>
                          <a:latin typeface="Arial" panose="020B0604020202020204"/>
                          <a:ea typeface="楷体" panose="02010609060101010101" pitchFamily="49" charset="-122"/>
                        </a:defRPr>
                      </a:lvl9pPr>
                    </a:lstStyle>
                    <a:p>
                      <a:pPr marL="0" algn="l" defTabSz="914400" rtl="0" eaLnBrk="1" fontAlgn="ctr" latinLnBrk="0" hangingPunct="1"/>
                      <a:endParaRPr lang="zh-CN" altLang="en-US" sz="1200" b="0" i="0" u="none" strike="noStrike" kern="1200" dirty="0">
                        <a:solidFill>
                          <a:srgbClr val="000000"/>
                        </a:solidFill>
                        <a:effectLst/>
                        <a:latin typeface="华文楷体" panose="02010600040101010101" charset="-122"/>
                        <a:ea typeface="华文楷体" panose="02010600040101010101" charset="-122"/>
                        <a:cs typeface="+mn-cs"/>
                      </a:endParaRPr>
                    </a:p>
                  </a:txBody>
                  <a:tcPr marL="9525"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bl>
          </a:graphicData>
        </a:graphic>
      </p:graphicFrame>
      <p:sp>
        <p:nvSpPr>
          <p:cNvPr id="23" name="矩形 22"/>
          <p:cNvSpPr/>
          <p:nvPr/>
        </p:nvSpPr>
        <p:spPr>
          <a:xfrm>
            <a:off x="6946892" y="6519607"/>
            <a:ext cx="864000" cy="213368"/>
          </a:xfrm>
          <a:prstGeom prst="rect">
            <a:avLst/>
          </a:prstGeom>
          <a:solidFill>
            <a:srgbClr val="2E6E8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FFFFFF"/>
                </a:solidFill>
                <a:effectLst/>
                <a:uLnTx/>
                <a:uFillTx/>
                <a:latin typeface="华文楷体" panose="02010600040101010101" charset="-122"/>
                <a:ea typeface="楷体" panose="02010609060101010101" pitchFamily="49" charset="-122"/>
                <a:cs typeface="+mn-cs"/>
              </a:rPr>
              <a:t>开始</a:t>
            </a:r>
            <a:endParaRPr kumimoji="0" lang="zh-CN" altLang="en-US" sz="1200" b="0" i="0" u="none" strike="noStrike" kern="0" cap="none" spc="0" normalizeH="0" baseline="0" noProof="0" dirty="0" smtClean="0">
              <a:ln>
                <a:noFill/>
              </a:ln>
              <a:solidFill>
                <a:srgbClr val="FFFFFF"/>
              </a:solidFill>
              <a:effectLst/>
              <a:uLnTx/>
              <a:uFillTx/>
              <a:latin typeface="华文楷体" panose="02010600040101010101" charset="-122"/>
              <a:ea typeface="楷体" panose="02010609060101010101" pitchFamily="49" charset="-122"/>
              <a:cs typeface="+mn-cs"/>
            </a:endParaRPr>
          </a:p>
        </p:txBody>
      </p:sp>
      <p:sp>
        <p:nvSpPr>
          <p:cNvPr id="24" name="矩形 23"/>
          <p:cNvSpPr/>
          <p:nvPr/>
        </p:nvSpPr>
        <p:spPr>
          <a:xfrm>
            <a:off x="9769532" y="6519607"/>
            <a:ext cx="864000" cy="213368"/>
          </a:xfrm>
          <a:prstGeom prst="rect">
            <a:avLst/>
          </a:prstGeom>
          <a:solidFill>
            <a:srgbClr val="FFFFFF"/>
          </a:solidFill>
          <a:ln w="25400" cap="flat" cmpd="sng" algn="ctr">
            <a:solidFill>
              <a:srgbClr val="00000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000000"/>
                </a:solidFill>
                <a:effectLst/>
                <a:uLnTx/>
                <a:uFillTx/>
                <a:latin typeface="华文楷体" panose="02010600040101010101" charset="-122"/>
                <a:ea typeface="楷体" panose="02010609060101010101" pitchFamily="49" charset="-122"/>
                <a:cs typeface="+mn-cs"/>
              </a:rPr>
              <a:t>对接</a:t>
            </a:r>
            <a:endParaRPr kumimoji="0" lang="zh-CN" altLang="en-US" sz="1200" b="0" i="0" u="none" strike="noStrike" kern="0" cap="none" spc="0" normalizeH="0" baseline="0" noProof="0" dirty="0" smtClean="0">
              <a:ln>
                <a:noFill/>
              </a:ln>
              <a:solidFill>
                <a:srgbClr val="000000"/>
              </a:solidFill>
              <a:effectLst/>
              <a:uLnTx/>
              <a:uFillTx/>
              <a:latin typeface="华文楷体" panose="02010600040101010101" charset="-122"/>
              <a:ea typeface="楷体" panose="02010609060101010101" pitchFamily="49" charset="-122"/>
              <a:cs typeface="+mn-cs"/>
            </a:endParaRPr>
          </a:p>
        </p:txBody>
      </p:sp>
      <p:sp>
        <p:nvSpPr>
          <p:cNvPr id="25" name="矩形 24"/>
          <p:cNvSpPr/>
          <p:nvPr/>
        </p:nvSpPr>
        <p:spPr>
          <a:xfrm>
            <a:off x="8828651" y="6519607"/>
            <a:ext cx="864000" cy="213368"/>
          </a:xfrm>
          <a:prstGeom prst="rect">
            <a:avLst/>
          </a:prstGeom>
          <a:solidFill>
            <a:srgbClr val="E0EEE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000000"/>
                </a:solidFill>
                <a:effectLst/>
                <a:uLnTx/>
                <a:uFillTx/>
                <a:latin typeface="华文楷体" panose="02010600040101010101" charset="-122"/>
                <a:ea typeface="楷体" panose="02010609060101010101" pitchFamily="49" charset="-122"/>
                <a:cs typeface="+mn-cs"/>
              </a:rPr>
              <a:t>流程</a:t>
            </a:r>
            <a:endParaRPr kumimoji="0" lang="zh-CN" altLang="en-US" sz="1200" b="0" i="0" u="none" strike="noStrike" kern="0" cap="none" spc="0" normalizeH="0" baseline="0" noProof="0" dirty="0" smtClean="0">
              <a:ln>
                <a:noFill/>
              </a:ln>
              <a:solidFill>
                <a:srgbClr val="000000"/>
              </a:solidFill>
              <a:effectLst/>
              <a:uLnTx/>
              <a:uFillTx/>
              <a:latin typeface="华文楷体" panose="02010600040101010101" charset="-122"/>
              <a:ea typeface="楷体" panose="02010609060101010101" pitchFamily="49" charset="-122"/>
              <a:cs typeface="+mn-cs"/>
            </a:endParaRPr>
          </a:p>
        </p:txBody>
      </p:sp>
      <p:sp>
        <p:nvSpPr>
          <p:cNvPr id="26" name="矩形 25"/>
          <p:cNvSpPr/>
          <p:nvPr/>
        </p:nvSpPr>
        <p:spPr>
          <a:xfrm>
            <a:off x="7887771" y="6519607"/>
            <a:ext cx="864000" cy="213368"/>
          </a:xfrm>
          <a:prstGeom prst="rect">
            <a:avLst/>
          </a:prstGeom>
          <a:solidFill>
            <a:srgbClr val="63ACB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FFFFFF"/>
                </a:solidFill>
                <a:effectLst/>
                <a:uLnTx/>
                <a:uFillTx/>
                <a:latin typeface="华文楷体" panose="02010600040101010101" charset="-122"/>
                <a:ea typeface="楷体" panose="02010609060101010101" pitchFamily="49" charset="-122"/>
                <a:cs typeface="+mn-cs"/>
              </a:rPr>
              <a:t>方案</a:t>
            </a:r>
            <a:endParaRPr kumimoji="0" lang="zh-CN" altLang="en-US" sz="1200" b="0" i="0" u="none" strike="noStrike" kern="0" cap="none" spc="0" normalizeH="0" baseline="0" noProof="0" dirty="0" smtClean="0">
              <a:ln>
                <a:noFill/>
              </a:ln>
              <a:solidFill>
                <a:srgbClr val="FFFFFF"/>
              </a:solidFill>
              <a:effectLst/>
              <a:uLnTx/>
              <a:uFillTx/>
              <a:latin typeface="华文楷体" panose="02010600040101010101" charset="-122"/>
              <a:ea typeface="楷体" panose="02010609060101010101" pitchFamily="49" charset="-122"/>
              <a:cs typeface="+mn-cs"/>
            </a:endParaRPr>
          </a:p>
        </p:txBody>
      </p:sp>
      <p:sp>
        <p:nvSpPr>
          <p:cNvPr id="27" name="矩形 26"/>
          <p:cNvSpPr/>
          <p:nvPr/>
        </p:nvSpPr>
        <p:spPr>
          <a:xfrm>
            <a:off x="10710413" y="6519607"/>
            <a:ext cx="864000" cy="213368"/>
          </a:xfrm>
          <a:prstGeom prst="rect">
            <a:avLst/>
          </a:prstGeom>
          <a:solidFill>
            <a:srgbClr val="FE581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FFFFFF"/>
                </a:solidFill>
                <a:effectLst/>
                <a:uLnTx/>
                <a:uFillTx/>
                <a:latin typeface="华文楷体" panose="02010600040101010101" charset="-122"/>
                <a:ea typeface="楷体" panose="02010609060101010101" pitchFamily="49" charset="-122"/>
                <a:cs typeface="+mn-cs"/>
              </a:rPr>
              <a:t>结束</a:t>
            </a:r>
            <a:endParaRPr kumimoji="0" lang="zh-CN" altLang="en-US" sz="1200" b="0" i="0" u="none" strike="noStrike" kern="0" cap="none" spc="0" normalizeH="0" baseline="0" noProof="0" dirty="0" smtClean="0">
              <a:ln>
                <a:noFill/>
              </a:ln>
              <a:solidFill>
                <a:srgbClr val="FFFFFF"/>
              </a:solidFill>
              <a:effectLst/>
              <a:uLnTx/>
              <a:uFillTx/>
              <a:latin typeface="华文楷体" panose="02010600040101010101" charset="-122"/>
              <a:ea typeface="楷体" panose="02010609060101010101" pitchFamily="49" charset="-122"/>
              <a:cs typeface="+mn-cs"/>
            </a:endParaRPr>
          </a:p>
        </p:txBody>
      </p:sp>
      <p:sp>
        <p:nvSpPr>
          <p:cNvPr id="7" name="文本框 6"/>
          <p:cNvSpPr txBox="1"/>
          <p:nvPr/>
        </p:nvSpPr>
        <p:spPr>
          <a:xfrm>
            <a:off x="5563737" y="1572663"/>
            <a:ext cx="1125415" cy="616338"/>
          </a:xfrm>
          <a:prstGeom prst="rect">
            <a:avLst/>
          </a:prstGeom>
          <a:solidFill>
            <a:srgbClr val="2E6E8A"/>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sz="1200">
                <a:latin typeface="华文楷体" panose="02010600040101010101" charset="-122"/>
                <a:ea typeface="华文楷体" panose="02010600040101010101" charset="-122"/>
              </a:defRPr>
            </a:lvl1pPr>
          </a:lstStyle>
          <a:p>
            <a:pPr marL="0" marR="0" lvl="0" indent="0" algn="l"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xxx</a:t>
            </a:r>
            <a:endParaRPr kumimoji="0" lang="en-US" altLang="zh-CN" sz="12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p:txBody>
      </p:sp>
      <p:sp>
        <p:nvSpPr>
          <p:cNvPr id="8" name="文本框 7"/>
          <p:cNvSpPr txBox="1"/>
          <p:nvPr/>
        </p:nvSpPr>
        <p:spPr>
          <a:xfrm>
            <a:off x="3990872" y="1572663"/>
            <a:ext cx="1125415" cy="616338"/>
          </a:xfrm>
          <a:prstGeom prst="rect">
            <a:avLst/>
          </a:prstGeom>
          <a:solidFill>
            <a:srgbClr val="FFFFFF"/>
          </a:solidFill>
          <a:ln w="25400" cap="flat" cmpd="sng" algn="ctr">
            <a:solidFill>
              <a:srgbClr val="000000"/>
            </a:solidFill>
            <a:prstDash val="dash"/>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defRPr sz="1200">
                <a:solidFill>
                  <a:srgbClr val="000000"/>
                </a:solidFill>
                <a:latin typeface="华文楷体" panose="02010600040101010101" charset="-122"/>
                <a:ea typeface="华文楷体" panose="02010600040101010101" charset="-122"/>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mn-cs"/>
              </a:rPr>
              <a:t>xxx</a:t>
            </a:r>
            <a:endParaRPr kumimoji="0" lang="en-US" altLang="zh-CN" sz="1200" b="0" i="0" u="none" strike="noStrike" kern="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endParaRPr>
          </a:p>
        </p:txBody>
      </p:sp>
      <p:sp>
        <p:nvSpPr>
          <p:cNvPr id="9" name="文本框 8"/>
          <p:cNvSpPr txBox="1"/>
          <p:nvPr/>
        </p:nvSpPr>
        <p:spPr>
          <a:xfrm>
            <a:off x="2418003" y="2313780"/>
            <a:ext cx="1125415" cy="616338"/>
          </a:xfrm>
          <a:prstGeom prst="rect">
            <a:avLst/>
          </a:prstGeom>
          <a:solidFill>
            <a:srgbClr val="E0EEE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sz="1200">
                <a:solidFill>
                  <a:schemeClr val="tx1"/>
                </a:solidFill>
                <a:latin typeface="华文楷体" panose="02010600040101010101" charset="-122"/>
                <a:ea typeface="华文楷体" panose="02010600040101010101" charset="-122"/>
              </a:defRPr>
            </a:lvl1pPr>
          </a:lstStyle>
          <a:p>
            <a:pPr marL="0" marR="0" lvl="0" indent="0" algn="l"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mn-cs"/>
              </a:rPr>
              <a:t>xxx</a:t>
            </a:r>
            <a:endParaRPr kumimoji="0" lang="en-US" altLang="zh-CN" sz="1200" b="0" i="0" u="none" strike="noStrike" kern="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endParaRPr>
          </a:p>
        </p:txBody>
      </p:sp>
      <p:sp>
        <p:nvSpPr>
          <p:cNvPr id="10" name="文本框 9"/>
          <p:cNvSpPr txBox="1"/>
          <p:nvPr/>
        </p:nvSpPr>
        <p:spPr>
          <a:xfrm>
            <a:off x="2418003" y="1592832"/>
            <a:ext cx="1125415" cy="572332"/>
          </a:xfrm>
          <a:prstGeom prst="rect">
            <a:avLst/>
          </a:prstGeom>
          <a:solidFill>
            <a:srgbClr val="E0EEE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sz="1200">
                <a:solidFill>
                  <a:schemeClr val="tx1"/>
                </a:solidFill>
                <a:latin typeface="华文楷体" panose="02010600040101010101" charset="-122"/>
                <a:ea typeface="华文楷体" panose="02010600040101010101" charset="-122"/>
              </a:defRPr>
            </a:lvl1pPr>
          </a:lstStyle>
          <a:p>
            <a:pPr marL="0" marR="0" lvl="0" indent="0" algn="l"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mn-cs"/>
              </a:rPr>
              <a:t>xxx</a:t>
            </a:r>
            <a:endParaRPr kumimoji="0" lang="en-US" altLang="zh-CN" sz="1200" b="0" i="0" u="none" strike="noStrike" kern="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endParaRPr>
          </a:p>
        </p:txBody>
      </p:sp>
      <p:sp>
        <p:nvSpPr>
          <p:cNvPr id="11" name="文本框 10"/>
          <p:cNvSpPr txBox="1"/>
          <p:nvPr/>
        </p:nvSpPr>
        <p:spPr>
          <a:xfrm>
            <a:off x="3990870" y="2319944"/>
            <a:ext cx="1125415" cy="616338"/>
          </a:xfrm>
          <a:prstGeom prst="rect">
            <a:avLst/>
          </a:prstGeom>
          <a:solidFill>
            <a:srgbClr val="FFFFFF"/>
          </a:solidFill>
          <a:ln w="25400" cap="flat" cmpd="sng" algn="ctr">
            <a:solidFill>
              <a:srgbClr val="000000"/>
            </a:solidFill>
            <a:prstDash val="dash"/>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defRPr sz="1200">
                <a:solidFill>
                  <a:srgbClr val="000000"/>
                </a:solidFill>
                <a:latin typeface="华文楷体" panose="02010600040101010101" charset="-122"/>
                <a:ea typeface="华文楷体" panose="02010600040101010101" charset="-122"/>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mn-cs"/>
              </a:rPr>
              <a:t>xxx</a:t>
            </a:r>
            <a:endParaRPr kumimoji="0" lang="en-US" altLang="zh-CN" sz="1200" b="0" i="0" u="none" strike="noStrike" kern="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endParaRPr>
          </a:p>
        </p:txBody>
      </p:sp>
      <p:sp>
        <p:nvSpPr>
          <p:cNvPr id="12" name="文本框 11"/>
          <p:cNvSpPr txBox="1"/>
          <p:nvPr/>
        </p:nvSpPr>
        <p:spPr>
          <a:xfrm>
            <a:off x="5563736" y="2319944"/>
            <a:ext cx="1125415" cy="616338"/>
          </a:xfrm>
          <a:prstGeom prst="rect">
            <a:avLst/>
          </a:prstGeom>
          <a:solidFill>
            <a:srgbClr val="E0EEE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sz="1200">
                <a:solidFill>
                  <a:schemeClr val="tx1"/>
                </a:solidFill>
                <a:latin typeface="华文楷体" panose="02010600040101010101" charset="-122"/>
                <a:ea typeface="华文楷体" panose="02010600040101010101" charset="-122"/>
              </a:defRPr>
            </a:lvl1pPr>
          </a:lstStyle>
          <a:p>
            <a:pPr marL="0" marR="0" lvl="0" indent="0" algn="l" defTabSz="914400" eaLnBrk="1" fontAlgn="auto" latinLnBrk="0" hangingPunct="1">
              <a:lnSpc>
                <a:spcPct val="100000"/>
              </a:lnSpc>
              <a:spcBef>
                <a:spcPts val="0"/>
              </a:spcBef>
              <a:spcAft>
                <a:spcPts val="0"/>
              </a:spcAft>
              <a:buClrTx/>
              <a:buSzTx/>
              <a:buFontTx/>
              <a:buNone/>
              <a:defRPr/>
            </a:pPr>
            <a:endParaRPr kumimoji="0" lang="en-US" altLang="zh-CN" sz="1200" b="0" i="0" u="none" strike="noStrike" kern="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endParaRPr>
          </a:p>
          <a:p>
            <a:pPr marL="0" marR="0" lvl="0" indent="0" algn="l"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endParaRPr>
          </a:p>
        </p:txBody>
      </p:sp>
      <p:sp>
        <p:nvSpPr>
          <p:cNvPr id="13" name="文本框 12"/>
          <p:cNvSpPr txBox="1"/>
          <p:nvPr/>
        </p:nvSpPr>
        <p:spPr>
          <a:xfrm>
            <a:off x="8599278" y="3196710"/>
            <a:ext cx="1125415" cy="1293952"/>
          </a:xfrm>
          <a:prstGeom prst="rect">
            <a:avLst/>
          </a:prstGeom>
          <a:solidFill>
            <a:srgbClr val="E0EEE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defRPr sz="1200">
                <a:solidFill>
                  <a:schemeClr val="tx1"/>
                </a:solidFill>
                <a:latin typeface="华文楷体" panose="02010600040101010101" charset="-122"/>
                <a:ea typeface="华文楷体" panose="02010600040101010101" charset="-122"/>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endParaRPr>
          </a:p>
        </p:txBody>
      </p:sp>
      <p:sp>
        <p:nvSpPr>
          <p:cNvPr id="14" name="文本框 13"/>
          <p:cNvSpPr txBox="1"/>
          <p:nvPr/>
        </p:nvSpPr>
        <p:spPr>
          <a:xfrm>
            <a:off x="10043124" y="3771741"/>
            <a:ext cx="1125415" cy="718924"/>
          </a:xfrm>
          <a:prstGeom prst="rect">
            <a:avLst/>
          </a:prstGeom>
          <a:solidFill>
            <a:srgbClr val="63ACBD"/>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sz="1200">
                <a:latin typeface="华文楷体" panose="02010600040101010101" charset="-122"/>
                <a:ea typeface="华文楷体" panose="02010600040101010101" charset="-122"/>
              </a:defRPr>
            </a:lvl1pPr>
          </a:lstStyle>
          <a:p>
            <a:pPr marL="0" marR="0" lvl="0" indent="0" algn="l"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p:txBody>
      </p:sp>
      <p:sp>
        <p:nvSpPr>
          <p:cNvPr id="15" name="文本框 14"/>
          <p:cNvSpPr txBox="1"/>
          <p:nvPr/>
        </p:nvSpPr>
        <p:spPr>
          <a:xfrm>
            <a:off x="2418002" y="3656622"/>
            <a:ext cx="1125415" cy="418107"/>
          </a:xfrm>
          <a:prstGeom prst="rect">
            <a:avLst/>
          </a:prstGeom>
          <a:solidFill>
            <a:srgbClr val="63ACBD"/>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sz="1200">
                <a:latin typeface="华文楷体" panose="02010600040101010101" charset="-122"/>
                <a:ea typeface="华文楷体" panose="02010600040101010101" charset="-122"/>
              </a:defRPr>
            </a:lvl1pPr>
          </a:lstStyle>
          <a:p>
            <a:pPr marL="0" marR="0" lvl="0" indent="0" algn="l"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p:txBody>
      </p:sp>
      <p:sp>
        <p:nvSpPr>
          <p:cNvPr id="16" name="文本框 15"/>
          <p:cNvSpPr txBox="1"/>
          <p:nvPr/>
        </p:nvSpPr>
        <p:spPr>
          <a:xfrm>
            <a:off x="5538383" y="3081631"/>
            <a:ext cx="1125415" cy="437345"/>
          </a:xfrm>
          <a:prstGeom prst="rect">
            <a:avLst/>
          </a:prstGeom>
          <a:solidFill>
            <a:srgbClr val="63ACBD"/>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defRPr sz="1200">
                <a:latin typeface="华文楷体" panose="02010600040101010101" charset="-122"/>
                <a:ea typeface="华文楷体" panose="02010600040101010101" charset="-122"/>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p:txBody>
      </p:sp>
      <p:sp>
        <p:nvSpPr>
          <p:cNvPr id="17" name="文本框 16"/>
          <p:cNvSpPr txBox="1"/>
          <p:nvPr/>
        </p:nvSpPr>
        <p:spPr>
          <a:xfrm>
            <a:off x="7085896" y="3078733"/>
            <a:ext cx="1125415" cy="440242"/>
          </a:xfrm>
          <a:prstGeom prst="rect">
            <a:avLst/>
          </a:prstGeom>
          <a:solidFill>
            <a:srgbClr val="63ACBD"/>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sz="1200">
                <a:latin typeface="华文楷体" panose="02010600040101010101" charset="-122"/>
                <a:ea typeface="华文楷体" panose="02010600040101010101" charset="-122"/>
              </a:defRPr>
            </a:lvl1pPr>
          </a:lstStyle>
          <a:p>
            <a:pPr marL="0" marR="0" lvl="0" indent="0" algn="l"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p:txBody>
      </p:sp>
      <p:sp>
        <p:nvSpPr>
          <p:cNvPr id="18" name="文本框 17"/>
          <p:cNvSpPr txBox="1"/>
          <p:nvPr/>
        </p:nvSpPr>
        <p:spPr>
          <a:xfrm>
            <a:off x="2418002" y="3078734"/>
            <a:ext cx="1125415" cy="440242"/>
          </a:xfrm>
          <a:prstGeom prst="rect">
            <a:avLst/>
          </a:prstGeom>
          <a:solidFill>
            <a:srgbClr val="63ACBD"/>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sz="1200">
                <a:latin typeface="华文楷体" panose="02010600040101010101" charset="-122"/>
                <a:ea typeface="华文楷体" panose="02010600040101010101" charset="-122"/>
              </a:defRPr>
            </a:lvl1pPr>
          </a:lstStyle>
          <a:p>
            <a:pPr marL="0" marR="0" lvl="0" indent="0" algn="l"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xxx</a:t>
            </a:r>
            <a:endParaRPr kumimoji="0" lang="en-US" altLang="zh-CN" sz="12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p:txBody>
      </p:sp>
      <p:sp>
        <p:nvSpPr>
          <p:cNvPr id="19" name="文本框 18"/>
          <p:cNvSpPr txBox="1"/>
          <p:nvPr/>
        </p:nvSpPr>
        <p:spPr>
          <a:xfrm>
            <a:off x="3990870" y="4889012"/>
            <a:ext cx="1125415" cy="440242"/>
          </a:xfrm>
          <a:prstGeom prst="rect">
            <a:avLst/>
          </a:prstGeom>
          <a:solidFill>
            <a:srgbClr val="FFFFFF"/>
          </a:solidFill>
          <a:ln w="25400" cap="flat" cmpd="sng" algn="ctr">
            <a:solidFill>
              <a:srgbClr val="000000"/>
            </a:solidFill>
            <a:prstDash val="dash"/>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defRPr sz="1200">
                <a:solidFill>
                  <a:srgbClr val="000000"/>
                </a:solidFill>
                <a:latin typeface="华文楷体" panose="02010600040101010101" charset="-122"/>
                <a:ea typeface="华文楷体" panose="02010600040101010101" charset="-122"/>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endParaRPr>
          </a:p>
        </p:txBody>
      </p:sp>
      <p:sp>
        <p:nvSpPr>
          <p:cNvPr id="20" name="文本框 19"/>
          <p:cNvSpPr txBox="1"/>
          <p:nvPr/>
        </p:nvSpPr>
        <p:spPr>
          <a:xfrm>
            <a:off x="5563737" y="4889012"/>
            <a:ext cx="1125415" cy="435947"/>
          </a:xfrm>
          <a:prstGeom prst="rect">
            <a:avLst/>
          </a:prstGeom>
          <a:solidFill>
            <a:srgbClr val="E0EEE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sz="1200">
                <a:solidFill>
                  <a:schemeClr val="tx1"/>
                </a:solidFill>
                <a:latin typeface="华文楷体" panose="02010600040101010101" charset="-122"/>
                <a:ea typeface="华文楷体" panose="02010600040101010101" charset="-122"/>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endParaRPr>
          </a:p>
        </p:txBody>
      </p:sp>
      <p:sp>
        <p:nvSpPr>
          <p:cNvPr id="21" name="文本框 20"/>
          <p:cNvSpPr txBox="1"/>
          <p:nvPr/>
        </p:nvSpPr>
        <p:spPr>
          <a:xfrm>
            <a:off x="2285300" y="5637941"/>
            <a:ext cx="1125415" cy="616338"/>
          </a:xfrm>
          <a:prstGeom prst="rect">
            <a:avLst/>
          </a:prstGeom>
          <a:solidFill>
            <a:srgbClr val="E0EEEE"/>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sz="1200">
                <a:solidFill>
                  <a:schemeClr val="tx1"/>
                </a:solidFill>
                <a:latin typeface="华文楷体" panose="02010600040101010101" charset="-122"/>
                <a:ea typeface="华文楷体" panose="02010600040101010101" charset="-122"/>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endParaRPr>
          </a:p>
        </p:txBody>
      </p:sp>
      <p:sp>
        <p:nvSpPr>
          <p:cNvPr id="22" name="文本框 21"/>
          <p:cNvSpPr txBox="1"/>
          <p:nvPr/>
        </p:nvSpPr>
        <p:spPr>
          <a:xfrm>
            <a:off x="5563736" y="5637941"/>
            <a:ext cx="1125415" cy="616338"/>
          </a:xfrm>
          <a:prstGeom prst="rect">
            <a:avLst/>
          </a:prstGeom>
          <a:solidFill>
            <a:srgbClr val="FE5817"/>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lgn="ctr">
              <a:defRPr sz="1200">
                <a:solidFill>
                  <a:schemeClr val="bg1"/>
                </a:solidFill>
                <a:latin typeface="华文楷体" panose="02010600040101010101" charset="-122"/>
                <a:ea typeface="华文楷体" panose="02010600040101010101" charset="-122"/>
              </a:defRPr>
            </a:lvl1pPr>
          </a:lstStyle>
          <a:p>
            <a:pPr marL="0" marR="0" lvl="0" indent="0" algn="l"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xx</a:t>
            </a:r>
            <a:endParaRPr kumimoji="0" lang="zh-CN" altLang="en-US" sz="12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p:txBody>
      </p:sp>
      <p:cxnSp>
        <p:nvCxnSpPr>
          <p:cNvPr id="28" name="直接箭头连接符 27"/>
          <p:cNvCxnSpPr>
            <a:stCxn id="7" idx="1"/>
            <a:endCxn id="8" idx="3"/>
          </p:cNvCxnSpPr>
          <p:nvPr/>
        </p:nvCxnSpPr>
        <p:spPr>
          <a:xfrm flipH="1">
            <a:off x="5116287" y="1880833"/>
            <a:ext cx="447450" cy="0"/>
          </a:xfrm>
          <a:prstGeom prst="straightConnector1">
            <a:avLst/>
          </a:prstGeom>
          <a:noFill/>
          <a:ln w="19050" cap="flat" cmpd="sng" algn="ctr">
            <a:solidFill>
              <a:srgbClr val="FFFFFF">
                <a:lumMod val="50000"/>
              </a:srgbClr>
            </a:solidFill>
            <a:prstDash val="solid"/>
            <a:tailEnd type="triangle"/>
          </a:ln>
          <a:effectLst/>
        </p:spPr>
      </p:cxnSp>
      <p:cxnSp>
        <p:nvCxnSpPr>
          <p:cNvPr id="29" name="直接箭头连接符 28"/>
          <p:cNvCxnSpPr>
            <a:stCxn id="8" idx="1"/>
            <a:endCxn id="10" idx="3"/>
          </p:cNvCxnSpPr>
          <p:nvPr/>
        </p:nvCxnSpPr>
        <p:spPr>
          <a:xfrm flipH="1" flipV="1">
            <a:off x="3543418" y="1878999"/>
            <a:ext cx="447454" cy="1834"/>
          </a:xfrm>
          <a:prstGeom prst="straightConnector1">
            <a:avLst/>
          </a:prstGeom>
          <a:noFill/>
          <a:ln w="19050" cap="flat" cmpd="sng" algn="ctr">
            <a:solidFill>
              <a:srgbClr val="FFFFFF">
                <a:lumMod val="50000"/>
              </a:srgbClr>
            </a:solidFill>
            <a:prstDash val="solid"/>
            <a:tailEnd type="triangle"/>
          </a:ln>
          <a:effectLst/>
        </p:spPr>
      </p:cxnSp>
      <p:cxnSp>
        <p:nvCxnSpPr>
          <p:cNvPr id="30" name="直接连接符 29"/>
          <p:cNvCxnSpPr>
            <a:stCxn id="10" idx="2"/>
            <a:endCxn id="9" idx="0"/>
          </p:cNvCxnSpPr>
          <p:nvPr/>
        </p:nvCxnSpPr>
        <p:spPr>
          <a:xfrm>
            <a:off x="2980711" y="2165164"/>
            <a:ext cx="0" cy="148616"/>
          </a:xfrm>
          <a:prstGeom prst="line">
            <a:avLst/>
          </a:prstGeom>
          <a:noFill/>
          <a:ln w="19050" cap="flat" cmpd="sng" algn="ctr">
            <a:solidFill>
              <a:srgbClr val="FFFFFF">
                <a:lumMod val="50000"/>
              </a:srgbClr>
            </a:solidFill>
            <a:prstDash val="solid"/>
            <a:tailEnd type="triangle"/>
          </a:ln>
          <a:effectLst/>
        </p:spPr>
      </p:cxnSp>
      <p:cxnSp>
        <p:nvCxnSpPr>
          <p:cNvPr id="31" name="直接箭头连接符 30"/>
          <p:cNvCxnSpPr>
            <a:stCxn id="9" idx="3"/>
            <a:endCxn id="11" idx="1"/>
          </p:cNvCxnSpPr>
          <p:nvPr/>
        </p:nvCxnSpPr>
        <p:spPr>
          <a:xfrm>
            <a:off x="3543418" y="2621950"/>
            <a:ext cx="447452" cy="6164"/>
          </a:xfrm>
          <a:prstGeom prst="straightConnector1">
            <a:avLst/>
          </a:prstGeom>
          <a:noFill/>
          <a:ln w="19050" cap="flat" cmpd="sng" algn="ctr">
            <a:solidFill>
              <a:srgbClr val="FFFFFF">
                <a:lumMod val="50000"/>
              </a:srgbClr>
            </a:solidFill>
            <a:prstDash val="solid"/>
            <a:tailEnd type="triangle"/>
          </a:ln>
          <a:effectLst/>
        </p:spPr>
      </p:cxnSp>
      <p:cxnSp>
        <p:nvCxnSpPr>
          <p:cNvPr id="32" name="直接箭头连接符 31"/>
          <p:cNvCxnSpPr>
            <a:stCxn id="11" idx="3"/>
            <a:endCxn id="12" idx="1"/>
          </p:cNvCxnSpPr>
          <p:nvPr/>
        </p:nvCxnSpPr>
        <p:spPr>
          <a:xfrm>
            <a:off x="5116285" y="2628114"/>
            <a:ext cx="447451" cy="0"/>
          </a:xfrm>
          <a:prstGeom prst="straightConnector1">
            <a:avLst/>
          </a:prstGeom>
          <a:noFill/>
          <a:ln w="19050" cap="flat" cmpd="sng" algn="ctr">
            <a:solidFill>
              <a:srgbClr val="FFFFFF">
                <a:lumMod val="50000"/>
              </a:srgbClr>
            </a:solidFill>
            <a:prstDash val="solid"/>
            <a:tailEnd type="triangle"/>
          </a:ln>
          <a:effectLst/>
        </p:spPr>
      </p:cxnSp>
      <p:cxnSp>
        <p:nvCxnSpPr>
          <p:cNvPr id="33" name="肘形连接符 32"/>
          <p:cNvCxnSpPr>
            <a:endCxn id="13" idx="0"/>
          </p:cNvCxnSpPr>
          <p:nvPr/>
        </p:nvCxnSpPr>
        <p:spPr>
          <a:xfrm>
            <a:off x="6689151" y="2621949"/>
            <a:ext cx="2472835" cy="574761"/>
          </a:xfrm>
          <a:prstGeom prst="bentConnector2">
            <a:avLst/>
          </a:prstGeom>
          <a:noFill/>
          <a:ln w="19050" cap="flat" cmpd="sng" algn="ctr">
            <a:solidFill>
              <a:srgbClr val="FFFFFF">
                <a:lumMod val="50000"/>
              </a:srgbClr>
            </a:solidFill>
            <a:prstDash val="solid"/>
            <a:tailEnd type="triangle"/>
          </a:ln>
          <a:effectLst/>
        </p:spPr>
      </p:cxnSp>
      <p:cxnSp>
        <p:nvCxnSpPr>
          <p:cNvPr id="34" name="直接箭头连接符 33"/>
          <p:cNvCxnSpPr/>
          <p:nvPr/>
        </p:nvCxnSpPr>
        <p:spPr>
          <a:xfrm>
            <a:off x="9724693" y="4131202"/>
            <a:ext cx="318431" cy="0"/>
          </a:xfrm>
          <a:prstGeom prst="straightConnector1">
            <a:avLst/>
          </a:prstGeom>
          <a:noFill/>
          <a:ln w="19050" cap="flat" cmpd="sng" algn="ctr">
            <a:solidFill>
              <a:srgbClr val="FFFFFF">
                <a:lumMod val="50000"/>
              </a:srgbClr>
            </a:solidFill>
            <a:prstDash val="solid"/>
            <a:tailEnd type="triangle"/>
          </a:ln>
          <a:effectLst/>
        </p:spPr>
      </p:cxnSp>
      <p:cxnSp>
        <p:nvCxnSpPr>
          <p:cNvPr id="35" name="肘形连接符 34"/>
          <p:cNvCxnSpPr>
            <a:stCxn id="40" idx="1"/>
            <a:endCxn id="19" idx="1"/>
          </p:cNvCxnSpPr>
          <p:nvPr/>
        </p:nvCxnSpPr>
        <p:spPr>
          <a:xfrm rot="10800000" flipH="1" flipV="1">
            <a:off x="2250632" y="3571957"/>
            <a:ext cx="1740238" cy="1537177"/>
          </a:xfrm>
          <a:prstGeom prst="bentConnector3">
            <a:avLst>
              <a:gd name="adj1" fmla="val -13136"/>
            </a:avLst>
          </a:prstGeom>
          <a:noFill/>
          <a:ln w="19050" cap="flat" cmpd="sng" algn="ctr">
            <a:solidFill>
              <a:srgbClr val="FFFFFF">
                <a:lumMod val="50000"/>
              </a:srgbClr>
            </a:solidFill>
            <a:prstDash val="solid"/>
            <a:tailEnd type="triangle"/>
          </a:ln>
          <a:effectLst/>
        </p:spPr>
      </p:cxnSp>
      <p:cxnSp>
        <p:nvCxnSpPr>
          <p:cNvPr id="36" name="直接箭头连接符 35"/>
          <p:cNvCxnSpPr>
            <a:stCxn id="19" idx="3"/>
            <a:endCxn id="20" idx="1"/>
          </p:cNvCxnSpPr>
          <p:nvPr/>
        </p:nvCxnSpPr>
        <p:spPr>
          <a:xfrm flipV="1">
            <a:off x="5116285" y="5106986"/>
            <a:ext cx="447452" cy="2147"/>
          </a:xfrm>
          <a:prstGeom prst="straightConnector1">
            <a:avLst/>
          </a:prstGeom>
          <a:noFill/>
          <a:ln w="19050" cap="flat" cmpd="sng" algn="ctr">
            <a:solidFill>
              <a:srgbClr val="FFFFFF">
                <a:lumMod val="50000"/>
              </a:srgbClr>
            </a:solidFill>
            <a:prstDash val="solid"/>
            <a:tailEnd type="triangle"/>
          </a:ln>
          <a:effectLst/>
        </p:spPr>
      </p:cxnSp>
      <p:cxnSp>
        <p:nvCxnSpPr>
          <p:cNvPr id="37" name="肘形连接符 36"/>
          <p:cNvCxnSpPr>
            <a:stCxn id="14" idx="2"/>
            <a:endCxn id="20" idx="3"/>
          </p:cNvCxnSpPr>
          <p:nvPr/>
        </p:nvCxnSpPr>
        <p:spPr>
          <a:xfrm rot="5400000">
            <a:off x="8339332" y="2840485"/>
            <a:ext cx="616321" cy="3916680"/>
          </a:xfrm>
          <a:prstGeom prst="bentConnector2">
            <a:avLst/>
          </a:prstGeom>
          <a:noFill/>
          <a:ln w="19050" cap="flat" cmpd="sng" algn="ctr">
            <a:solidFill>
              <a:srgbClr val="FFFFFF">
                <a:lumMod val="50000"/>
              </a:srgbClr>
            </a:solidFill>
            <a:prstDash val="solid"/>
            <a:tailEnd type="triangle"/>
          </a:ln>
          <a:effectLst/>
        </p:spPr>
      </p:cxnSp>
      <p:cxnSp>
        <p:nvCxnSpPr>
          <p:cNvPr id="38" name="肘形连接符 37"/>
          <p:cNvCxnSpPr>
            <a:stCxn id="20" idx="2"/>
            <a:endCxn id="21" idx="0"/>
          </p:cNvCxnSpPr>
          <p:nvPr/>
        </p:nvCxnSpPr>
        <p:spPr>
          <a:xfrm rot="5400000">
            <a:off x="4330736" y="3842231"/>
            <a:ext cx="312982" cy="3278437"/>
          </a:xfrm>
          <a:prstGeom prst="bentConnector3">
            <a:avLst>
              <a:gd name="adj1" fmla="val 50000"/>
            </a:avLst>
          </a:prstGeom>
          <a:noFill/>
          <a:ln w="19050" cap="flat" cmpd="sng" algn="ctr">
            <a:solidFill>
              <a:srgbClr val="FFFFFF">
                <a:lumMod val="50000"/>
              </a:srgbClr>
            </a:solidFill>
            <a:prstDash val="solid"/>
            <a:tailEnd type="triangle"/>
          </a:ln>
          <a:effectLst/>
        </p:spPr>
      </p:cxnSp>
      <p:cxnSp>
        <p:nvCxnSpPr>
          <p:cNvPr id="39" name="直接箭头连接符 38"/>
          <p:cNvCxnSpPr>
            <a:stCxn id="21" idx="3"/>
            <a:endCxn id="22" idx="1"/>
          </p:cNvCxnSpPr>
          <p:nvPr/>
        </p:nvCxnSpPr>
        <p:spPr>
          <a:xfrm>
            <a:off x="3410715" y="5946110"/>
            <a:ext cx="2153021" cy="0"/>
          </a:xfrm>
          <a:prstGeom prst="straightConnector1">
            <a:avLst/>
          </a:prstGeom>
          <a:noFill/>
          <a:ln w="19050" cap="flat" cmpd="sng" algn="ctr">
            <a:solidFill>
              <a:srgbClr val="FFFFFF">
                <a:lumMod val="50000"/>
              </a:srgbClr>
            </a:solidFill>
            <a:prstDash val="solid"/>
            <a:tailEnd type="triangle"/>
          </a:ln>
          <a:effectLst/>
        </p:spPr>
      </p:cxnSp>
      <p:sp>
        <p:nvSpPr>
          <p:cNvPr id="40" name="圆角矩形 39"/>
          <p:cNvSpPr/>
          <p:nvPr/>
        </p:nvSpPr>
        <p:spPr>
          <a:xfrm>
            <a:off x="2250632" y="3003359"/>
            <a:ext cx="6100555" cy="1137195"/>
          </a:xfrm>
          <a:prstGeom prst="roundRect">
            <a:avLst/>
          </a:prstGeom>
          <a:noFill/>
          <a:ln w="22225" cap="flat" cmpd="sng" algn="ctr">
            <a:solidFill>
              <a:srgbClr val="FFFFFF">
                <a:lumMod val="50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rgbClr val="FFFFFF"/>
              </a:solidFill>
              <a:effectLst/>
              <a:uLnTx/>
              <a:uFillTx/>
              <a:latin typeface="Arial" panose="020B0604020202020204"/>
              <a:ea typeface="楷体" panose="02010609060101010101" pitchFamily="49" charset="-122"/>
              <a:cs typeface="+mn-cs"/>
            </a:endParaRPr>
          </a:p>
        </p:txBody>
      </p:sp>
      <p:cxnSp>
        <p:nvCxnSpPr>
          <p:cNvPr id="41" name="直接箭头连接符 40"/>
          <p:cNvCxnSpPr>
            <a:endCxn id="40" idx="3"/>
          </p:cNvCxnSpPr>
          <p:nvPr/>
        </p:nvCxnSpPr>
        <p:spPr>
          <a:xfrm flipH="1">
            <a:off x="8351187" y="3571957"/>
            <a:ext cx="248091" cy="0"/>
          </a:xfrm>
          <a:prstGeom prst="straightConnector1">
            <a:avLst/>
          </a:prstGeom>
          <a:noFill/>
          <a:ln w="19050" cap="flat" cmpd="sng" algn="ctr">
            <a:solidFill>
              <a:srgbClr val="FFFFFF">
                <a:lumMod val="50000"/>
              </a:srgbClr>
            </a:solidFill>
            <a:prstDash val="solid"/>
            <a:tailEnd type="triangle"/>
          </a:ln>
          <a:effectLst/>
        </p:spPr>
      </p:cxnSp>
      <p:sp>
        <p:nvSpPr>
          <p:cNvPr id="42" name="文本框 41"/>
          <p:cNvSpPr txBox="1"/>
          <p:nvPr/>
        </p:nvSpPr>
        <p:spPr>
          <a:xfrm>
            <a:off x="2418002" y="4193535"/>
            <a:ext cx="1125415" cy="418107"/>
          </a:xfrm>
          <a:prstGeom prst="rect">
            <a:avLst/>
          </a:prstGeom>
          <a:solidFill>
            <a:srgbClr val="63ACBD"/>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defRPr sz="1200">
                <a:latin typeface="华文楷体" panose="02010600040101010101" charset="-122"/>
                <a:ea typeface="华文楷体" panose="02010600040101010101" charset="-122"/>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cs"/>
            </a:endParaRPr>
          </a:p>
        </p:txBody>
      </p:sp>
      <p:cxnSp>
        <p:nvCxnSpPr>
          <p:cNvPr id="43" name="直接箭头连接符 42"/>
          <p:cNvCxnSpPr/>
          <p:nvPr/>
        </p:nvCxnSpPr>
        <p:spPr>
          <a:xfrm flipH="1" flipV="1">
            <a:off x="6663798" y="4399384"/>
            <a:ext cx="1938293" cy="1"/>
          </a:xfrm>
          <a:prstGeom prst="straightConnector1">
            <a:avLst/>
          </a:prstGeom>
          <a:noFill/>
          <a:ln w="19050" cap="flat" cmpd="sng" algn="ctr">
            <a:solidFill>
              <a:srgbClr val="FFFFFF">
                <a:lumMod val="50000"/>
              </a:srgbClr>
            </a:solidFill>
            <a:prstDash val="solid"/>
            <a:tailEnd type="triangle"/>
          </a:ln>
          <a:effectLst/>
        </p:spPr>
      </p:cxnSp>
      <p:sp>
        <p:nvSpPr>
          <p:cNvPr id="44" name="文本框 43"/>
          <p:cNvSpPr txBox="1"/>
          <p:nvPr/>
        </p:nvSpPr>
        <p:spPr>
          <a:xfrm>
            <a:off x="5538383" y="4193535"/>
            <a:ext cx="1125415" cy="418107"/>
          </a:xfrm>
          <a:prstGeom prst="rect">
            <a:avLst/>
          </a:prstGeom>
          <a:solidFill>
            <a:srgbClr val="FFFFFF"/>
          </a:solidFill>
          <a:ln w="25400" cap="flat" cmpd="sng" algn="ctr">
            <a:solidFill>
              <a:srgbClr val="000000"/>
            </a:solidFill>
            <a:prstDash val="dash"/>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zh-CN"/>
            </a:defPPr>
            <a:lvl1pPr>
              <a:defRPr sz="1200">
                <a:solidFill>
                  <a:srgbClr val="000000"/>
                </a:solidFill>
                <a:latin typeface="华文楷体" panose="02010600040101010101" charset="-122"/>
                <a:ea typeface="华文楷体" panose="02010600040101010101" charset="-122"/>
              </a:defRPr>
            </a:lvl1p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0" cap="none" spc="0" normalizeH="0" baseline="0" noProof="0" dirty="0">
              <a:ln>
                <a:noFill/>
              </a:ln>
              <a:solidFill>
                <a:srgbClr val="000000"/>
              </a:solidFill>
              <a:effectLst/>
              <a:uLnTx/>
              <a:uFillTx/>
              <a:latin typeface="华文楷体" panose="02010600040101010101" charset="-122"/>
              <a:ea typeface="华文楷体" panose="02010600040101010101" charset="-122"/>
              <a:cs typeface="+mn-cs"/>
            </a:endParaRPr>
          </a:p>
        </p:txBody>
      </p:sp>
      <p:cxnSp>
        <p:nvCxnSpPr>
          <p:cNvPr id="45" name="直接箭头连接符 44"/>
          <p:cNvCxnSpPr>
            <a:stCxn id="44" idx="1"/>
          </p:cNvCxnSpPr>
          <p:nvPr/>
        </p:nvCxnSpPr>
        <p:spPr>
          <a:xfrm flipH="1" flipV="1">
            <a:off x="3543416" y="4399385"/>
            <a:ext cx="1994967" cy="3204"/>
          </a:xfrm>
          <a:prstGeom prst="straightConnector1">
            <a:avLst/>
          </a:prstGeom>
          <a:noFill/>
          <a:ln w="19050" cap="flat" cmpd="sng" algn="ctr">
            <a:solidFill>
              <a:srgbClr val="FFFFFF">
                <a:lumMod val="50000"/>
              </a:srgbClr>
            </a:solidFill>
            <a:prstDash val="solid"/>
            <a:tailEnd type="triangle"/>
          </a:ln>
          <a:effectLst/>
        </p:spPr>
      </p:cxnSp>
      <p:sp>
        <p:nvSpPr>
          <p:cNvPr id="46" name="文本框 45"/>
          <p:cNvSpPr txBox="1"/>
          <p:nvPr/>
        </p:nvSpPr>
        <p:spPr>
          <a:xfrm>
            <a:off x="4238961" y="3365930"/>
            <a:ext cx="1597827" cy="381543"/>
          </a:xfrm>
          <a:prstGeom prst="rect">
            <a:avLst/>
          </a:prstGeom>
          <a:noFill/>
        </p:spPr>
        <p:txBody>
          <a:bodyPr wrap="square" rtlCol="0">
            <a:spAutoFit/>
          </a:bodyPr>
          <a:lstStyle/>
          <a:p>
            <a:r>
              <a:rPr lang="zh-CN" altLang="en-US" sz="2000" dirty="0" smtClean="0">
                <a:solidFill>
                  <a:srgbClr val="000000">
                    <a:alpha val="41000"/>
                  </a:srgbClr>
                </a:solidFill>
                <a:latin typeface="华文楷体" panose="02010600040101010101" charset="-122"/>
              </a:rPr>
              <a:t>中标模式</a:t>
            </a:r>
            <a:endParaRPr lang="zh-CN" altLang="en-US" sz="2000" dirty="0">
              <a:solidFill>
                <a:srgbClr val="000000">
                  <a:alpha val="41000"/>
                </a:srgbClr>
              </a:solidFill>
              <a:latin typeface="华文楷体" panose="02010600040101010101" charset="-122"/>
            </a:endParaRPr>
          </a:p>
        </p:txBody>
      </p:sp>
      <p:cxnSp>
        <p:nvCxnSpPr>
          <p:cNvPr id="47" name="肘形连接符 46"/>
          <p:cNvCxnSpPr>
            <a:stCxn id="42" idx="2"/>
          </p:cNvCxnSpPr>
          <p:nvPr/>
        </p:nvCxnSpPr>
        <p:spPr>
          <a:xfrm rot="16200000" flipH="1">
            <a:off x="3238118" y="4354233"/>
            <a:ext cx="495343" cy="1010160"/>
          </a:xfrm>
          <a:prstGeom prst="bentConnector2">
            <a:avLst/>
          </a:prstGeom>
          <a:noFill/>
          <a:ln w="19050" cap="flat" cmpd="sng" algn="ctr">
            <a:solidFill>
              <a:srgbClr val="FFFFFF">
                <a:lumMod val="50000"/>
              </a:srgbClr>
            </a:solidFill>
            <a:prstDash val="solid"/>
            <a:tailEnd type="triangle"/>
          </a:ln>
          <a:effectLst/>
        </p:spPr>
      </p:cxnSp>
      <p:sp>
        <p:nvSpPr>
          <p:cNvPr id="4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srgbClr val="000000"/>
                </a:solidFill>
                <a:latin typeface="楷体" panose="02010609060101010101" pitchFamily="49" charset="-122"/>
                <a:ea typeface="楷体" panose="02010609060101010101" pitchFamily="49" charset="-122"/>
              </a:rPr>
              <a:t>流程</a:t>
            </a:r>
            <a:endParaRPr lang="zh-CN" altLang="en-US" sz="2400" dirty="0">
              <a:solidFill>
                <a:srgbClr val="000000"/>
              </a:solidFill>
              <a:latin typeface="楷体" panose="02010609060101010101" pitchFamily="49" charset="-122"/>
              <a:ea typeface="楷体" panose="02010609060101010101" pitchFamily="49" charset="-122"/>
            </a:endParaRPr>
          </a:p>
        </p:txBody>
      </p:sp>
      <p:pic>
        <p:nvPicPr>
          <p:cNvPr id="49" name="图片 4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1"/>
          </p:nvPr>
        </p:nvSpPr>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5" name="矩形 4"/>
          <p:cNvSpPr/>
          <p:nvPr/>
        </p:nvSpPr>
        <p:spPr>
          <a:xfrm>
            <a:off x="927006" y="5307019"/>
            <a:ext cx="10261507" cy="741785"/>
          </a:xfrm>
          <a:prstGeom prst="rect">
            <a:avLst/>
          </a:prstGeom>
          <a:solidFill>
            <a:schemeClr val="accent6">
              <a:lumMod val="60000"/>
              <a:lumOff val="4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6" name="矩形 5"/>
          <p:cNvSpPr/>
          <p:nvPr/>
        </p:nvSpPr>
        <p:spPr>
          <a:xfrm>
            <a:off x="896447" y="3995627"/>
            <a:ext cx="10297852" cy="1303689"/>
          </a:xfrm>
          <a:prstGeom prst="rect">
            <a:avLst/>
          </a:prstGeom>
          <a:solidFill>
            <a:schemeClr val="accent1">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7" name="矩形 6"/>
          <p:cNvSpPr/>
          <p:nvPr/>
        </p:nvSpPr>
        <p:spPr>
          <a:xfrm>
            <a:off x="932792" y="2692555"/>
            <a:ext cx="10261507" cy="1286110"/>
          </a:xfrm>
          <a:prstGeom prst="rect">
            <a:avLst/>
          </a:prstGeom>
          <a:solidFill>
            <a:schemeClr val="accent6">
              <a:lumMod val="60000"/>
              <a:lumOff val="4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8" name="矩形 7"/>
          <p:cNvSpPr/>
          <p:nvPr/>
        </p:nvSpPr>
        <p:spPr>
          <a:xfrm>
            <a:off x="914283" y="1613185"/>
            <a:ext cx="10308746" cy="1056998"/>
          </a:xfrm>
          <a:prstGeom prst="rect">
            <a:avLst/>
          </a:prstGeom>
          <a:solidFill>
            <a:schemeClr val="accent1">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9" name="矩形 8"/>
          <p:cNvSpPr/>
          <p:nvPr/>
        </p:nvSpPr>
        <p:spPr>
          <a:xfrm>
            <a:off x="9486118" y="1382104"/>
            <a:ext cx="1705894" cy="4677262"/>
          </a:xfrm>
          <a:prstGeom prst="rect">
            <a:avLst/>
          </a:prstGeom>
          <a:solidFill>
            <a:schemeClr val="bg1">
              <a:alpha val="70000"/>
            </a:schemeClr>
          </a:solid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white"/>
              </a:solidFill>
              <a:effectLst/>
              <a:uLnTx/>
              <a:uFillTx/>
              <a:latin typeface="等线" panose="02010600030101010101" charset="-122"/>
              <a:ea typeface="等线" panose="02010600030101010101" charset="-122"/>
              <a:cs typeface="+mn-cs"/>
            </a:endParaRPr>
          </a:p>
        </p:txBody>
      </p:sp>
      <p:sp>
        <p:nvSpPr>
          <p:cNvPr id="10" name="矩形 9"/>
          <p:cNvSpPr/>
          <p:nvPr/>
        </p:nvSpPr>
        <p:spPr>
          <a:xfrm>
            <a:off x="6371067" y="1382104"/>
            <a:ext cx="3057320" cy="4686894"/>
          </a:xfrm>
          <a:prstGeom prst="rect">
            <a:avLst/>
          </a:prstGeom>
          <a:solidFill>
            <a:schemeClr val="bg1">
              <a:alpha val="70000"/>
            </a:schemeClr>
          </a:solid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white"/>
                </a:solidFill>
                <a:effectLst/>
                <a:uLnTx/>
                <a:uFillTx/>
                <a:latin typeface="等线" panose="02010600030101010101" charset="-122"/>
                <a:ea typeface="等线" panose="02010600030101010101" charset="-122"/>
                <a:cs typeface="+mn-cs"/>
              </a:rPr>
              <a:t>8</a:t>
            </a:r>
            <a:endParaRPr kumimoji="0" lang="zh-CN" altLang="en-US" sz="1400" b="0" i="0" u="none" strike="noStrike" kern="1200" cap="none" spc="0" normalizeH="0" baseline="0" noProof="0" dirty="0">
              <a:ln>
                <a:noFill/>
              </a:ln>
              <a:solidFill>
                <a:prstClr val="white"/>
              </a:solidFill>
              <a:effectLst/>
              <a:uLnTx/>
              <a:uFillTx/>
              <a:latin typeface="等线" panose="02010600030101010101" charset="-122"/>
              <a:ea typeface="等线" panose="02010600030101010101" charset="-122"/>
              <a:cs typeface="+mn-cs"/>
            </a:endParaRPr>
          </a:p>
        </p:txBody>
      </p:sp>
      <p:sp>
        <p:nvSpPr>
          <p:cNvPr id="11" name="矩形 10"/>
          <p:cNvSpPr/>
          <p:nvPr/>
        </p:nvSpPr>
        <p:spPr>
          <a:xfrm>
            <a:off x="4047352" y="1382144"/>
            <a:ext cx="2280719" cy="4686853"/>
          </a:xfrm>
          <a:prstGeom prst="rect">
            <a:avLst/>
          </a:prstGeom>
          <a:solidFill>
            <a:schemeClr val="bg1">
              <a:alpha val="70000"/>
            </a:schemeClr>
          </a:solid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white"/>
                </a:solidFill>
                <a:effectLst/>
                <a:uLnTx/>
                <a:uFillTx/>
                <a:latin typeface="等线" panose="02010600030101010101" charset="-122"/>
                <a:ea typeface="等线" panose="02010600030101010101" charset="-122"/>
                <a:cs typeface="+mn-cs"/>
              </a:rPr>
              <a:t>8</a:t>
            </a:r>
            <a:endParaRPr kumimoji="0" lang="zh-CN" altLang="en-US" sz="1400" b="0" i="0" u="none" strike="noStrike" kern="1200" cap="none" spc="0" normalizeH="0" baseline="0" noProof="0" dirty="0">
              <a:ln>
                <a:noFill/>
              </a:ln>
              <a:solidFill>
                <a:prstClr val="white"/>
              </a:solidFill>
              <a:effectLst/>
              <a:uLnTx/>
              <a:uFillTx/>
              <a:latin typeface="等线" panose="02010600030101010101" charset="-122"/>
              <a:ea typeface="等线" panose="02010600030101010101" charset="-122"/>
              <a:cs typeface="+mn-cs"/>
            </a:endParaRPr>
          </a:p>
        </p:txBody>
      </p:sp>
      <p:sp>
        <p:nvSpPr>
          <p:cNvPr id="12" name="矩形 11"/>
          <p:cNvSpPr/>
          <p:nvPr/>
        </p:nvSpPr>
        <p:spPr>
          <a:xfrm>
            <a:off x="9027957" y="153509"/>
            <a:ext cx="959595" cy="262694"/>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流程环节</a:t>
            </a:r>
            <a:endParaRPr kumimoji="0" lang="zh-CN" altLang="en-US" sz="12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13" name="矩形 12"/>
          <p:cNvSpPr/>
          <p:nvPr/>
        </p:nvSpPr>
        <p:spPr>
          <a:xfrm>
            <a:off x="10004121" y="149484"/>
            <a:ext cx="959595" cy="262694"/>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schemeClr val="tx1"/>
                </a:solidFill>
                <a:latin typeface="华文楷体" panose="02010600040101010101" charset="-122"/>
                <a:ea typeface="华文楷体" panose="02010600040101010101" charset="-122"/>
              </a:rPr>
              <a:t>未实施事项</a:t>
            </a:r>
            <a:endParaRPr lang="zh-CN" altLang="en-US" sz="900" dirty="0">
              <a:solidFill>
                <a:schemeClr val="tx1"/>
              </a:solidFill>
              <a:latin typeface="华文楷体" panose="02010600040101010101" charset="-122"/>
              <a:ea typeface="华文楷体" panose="02010600040101010101" charset="-122"/>
            </a:endParaRPr>
          </a:p>
        </p:txBody>
      </p:sp>
      <p:sp>
        <p:nvSpPr>
          <p:cNvPr id="15" name="矩形 14"/>
          <p:cNvSpPr/>
          <p:nvPr/>
        </p:nvSpPr>
        <p:spPr>
          <a:xfrm>
            <a:off x="893775" y="1382262"/>
            <a:ext cx="3085401" cy="4685119"/>
          </a:xfrm>
          <a:prstGeom prst="rect">
            <a:avLst/>
          </a:prstGeom>
          <a:solidFill>
            <a:schemeClr val="bg1">
              <a:alpha val="70000"/>
            </a:schemeClr>
          </a:solid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prstClr val="white"/>
              </a:solidFill>
              <a:effectLst/>
              <a:uLnTx/>
              <a:uFillTx/>
              <a:latin typeface="等线" panose="02010600030101010101" charset="-122"/>
              <a:ea typeface="等线" panose="02010600030101010101" charset="-122"/>
              <a:cs typeface="+mn-cs"/>
            </a:endParaRPr>
          </a:p>
        </p:txBody>
      </p:sp>
      <p:grpSp>
        <p:nvGrpSpPr>
          <p:cNvPr id="16" name="组合 15"/>
          <p:cNvGrpSpPr/>
          <p:nvPr/>
        </p:nvGrpSpPr>
        <p:grpSpPr>
          <a:xfrm>
            <a:off x="408649" y="494486"/>
            <a:ext cx="11537322" cy="1114916"/>
            <a:chOff x="198656" y="973595"/>
            <a:chExt cx="11797539" cy="1228166"/>
          </a:xfrm>
        </p:grpSpPr>
        <p:sp>
          <p:nvSpPr>
            <p:cNvPr id="17" name="右箭头 1"/>
            <p:cNvSpPr/>
            <p:nvPr/>
          </p:nvSpPr>
          <p:spPr>
            <a:xfrm>
              <a:off x="198656" y="973595"/>
              <a:ext cx="11378360" cy="1139401"/>
            </a:xfrm>
            <a:custGeom>
              <a:avLst/>
              <a:gdLst>
                <a:gd name="connsiteX0" fmla="*/ 0 w 10783401"/>
                <a:gd name="connsiteY0" fmla="*/ 380013 h 1520053"/>
                <a:gd name="connsiteX1" fmla="*/ 10023375 w 10783401"/>
                <a:gd name="connsiteY1" fmla="*/ 380013 h 1520053"/>
                <a:gd name="connsiteX2" fmla="*/ 10023375 w 10783401"/>
                <a:gd name="connsiteY2" fmla="*/ 0 h 1520053"/>
                <a:gd name="connsiteX3" fmla="*/ 10783401 w 10783401"/>
                <a:gd name="connsiteY3" fmla="*/ 760027 h 1520053"/>
                <a:gd name="connsiteX4" fmla="*/ 10023375 w 10783401"/>
                <a:gd name="connsiteY4" fmla="*/ 1520053 h 1520053"/>
                <a:gd name="connsiteX5" fmla="*/ 10023375 w 10783401"/>
                <a:gd name="connsiteY5" fmla="*/ 1140040 h 1520053"/>
                <a:gd name="connsiteX6" fmla="*/ 0 w 10783401"/>
                <a:gd name="connsiteY6" fmla="*/ 1140040 h 1520053"/>
                <a:gd name="connsiteX7" fmla="*/ 0 w 10783401"/>
                <a:gd name="connsiteY7" fmla="*/ 380013 h 1520053"/>
                <a:gd name="connsiteX0-1" fmla="*/ 0 w 10783401"/>
                <a:gd name="connsiteY0-2" fmla="*/ 220215 h 1360255"/>
                <a:gd name="connsiteX1-3" fmla="*/ 10023375 w 10783401"/>
                <a:gd name="connsiteY1-4" fmla="*/ 220215 h 1360255"/>
                <a:gd name="connsiteX2-5" fmla="*/ 10041130 w 10783401"/>
                <a:gd name="connsiteY2-6" fmla="*/ 0 h 1360255"/>
                <a:gd name="connsiteX3-7" fmla="*/ 10783401 w 10783401"/>
                <a:gd name="connsiteY3-8" fmla="*/ 600229 h 1360255"/>
                <a:gd name="connsiteX4-9" fmla="*/ 10023375 w 10783401"/>
                <a:gd name="connsiteY4-10" fmla="*/ 1360255 h 1360255"/>
                <a:gd name="connsiteX5-11" fmla="*/ 10023375 w 10783401"/>
                <a:gd name="connsiteY5-12" fmla="*/ 980242 h 1360255"/>
                <a:gd name="connsiteX6-13" fmla="*/ 0 w 10783401"/>
                <a:gd name="connsiteY6-14" fmla="*/ 980242 h 1360255"/>
                <a:gd name="connsiteX7-15" fmla="*/ 0 w 10783401"/>
                <a:gd name="connsiteY7-16" fmla="*/ 220215 h 1360255"/>
                <a:gd name="connsiteX0-17" fmla="*/ 0 w 10783401"/>
                <a:gd name="connsiteY0-18" fmla="*/ 220215 h 1156069"/>
                <a:gd name="connsiteX1-19" fmla="*/ 10023375 w 10783401"/>
                <a:gd name="connsiteY1-20" fmla="*/ 220215 h 1156069"/>
                <a:gd name="connsiteX2-21" fmla="*/ 10041130 w 10783401"/>
                <a:gd name="connsiteY2-22" fmla="*/ 0 h 1156069"/>
                <a:gd name="connsiteX3-23" fmla="*/ 10783401 w 10783401"/>
                <a:gd name="connsiteY3-24" fmla="*/ 600229 h 1156069"/>
                <a:gd name="connsiteX4-25" fmla="*/ 10023375 w 10783401"/>
                <a:gd name="connsiteY4-26" fmla="*/ 1156069 h 1156069"/>
                <a:gd name="connsiteX5-27" fmla="*/ 10023375 w 10783401"/>
                <a:gd name="connsiteY5-28" fmla="*/ 980242 h 1156069"/>
                <a:gd name="connsiteX6-29" fmla="*/ 0 w 10783401"/>
                <a:gd name="connsiteY6-30" fmla="*/ 980242 h 1156069"/>
                <a:gd name="connsiteX7-31" fmla="*/ 0 w 10783401"/>
                <a:gd name="connsiteY7-32" fmla="*/ 220215 h 1156069"/>
                <a:gd name="connsiteX0-33" fmla="*/ 0 w 10783401"/>
                <a:gd name="connsiteY0-34" fmla="*/ 220215 h 1156069"/>
                <a:gd name="connsiteX1-35" fmla="*/ 10023375 w 10783401"/>
                <a:gd name="connsiteY1-36" fmla="*/ 220215 h 1156069"/>
                <a:gd name="connsiteX2-37" fmla="*/ 10019699 w 10783401"/>
                <a:gd name="connsiteY2-38" fmla="*/ 0 h 1156069"/>
                <a:gd name="connsiteX3-39" fmla="*/ 10783401 w 10783401"/>
                <a:gd name="connsiteY3-40" fmla="*/ 600229 h 1156069"/>
                <a:gd name="connsiteX4-41" fmla="*/ 10023375 w 10783401"/>
                <a:gd name="connsiteY4-42" fmla="*/ 1156069 h 1156069"/>
                <a:gd name="connsiteX5-43" fmla="*/ 10023375 w 10783401"/>
                <a:gd name="connsiteY5-44" fmla="*/ 980242 h 1156069"/>
                <a:gd name="connsiteX6-45" fmla="*/ 0 w 10783401"/>
                <a:gd name="connsiteY6-46" fmla="*/ 980242 h 1156069"/>
                <a:gd name="connsiteX7-47" fmla="*/ 0 w 10783401"/>
                <a:gd name="connsiteY7-48" fmla="*/ 220215 h 1156069"/>
                <a:gd name="connsiteX0-49" fmla="*/ 0 w 10783401"/>
                <a:gd name="connsiteY0-50" fmla="*/ 220215 h 1156069"/>
                <a:gd name="connsiteX1-51" fmla="*/ 10023375 w 10783401"/>
                <a:gd name="connsiteY1-52" fmla="*/ 220215 h 1156069"/>
                <a:gd name="connsiteX2-53" fmla="*/ 10019699 w 10783401"/>
                <a:gd name="connsiteY2-54" fmla="*/ 0 h 1156069"/>
                <a:gd name="connsiteX3-55" fmla="*/ 10783401 w 10783401"/>
                <a:gd name="connsiteY3-56" fmla="*/ 600229 h 1156069"/>
                <a:gd name="connsiteX4-57" fmla="*/ 10023375 w 10783401"/>
                <a:gd name="connsiteY4-58" fmla="*/ 1156069 h 1156069"/>
                <a:gd name="connsiteX5-59" fmla="*/ 10023375 w 10783401"/>
                <a:gd name="connsiteY5-60" fmla="*/ 980242 h 1156069"/>
                <a:gd name="connsiteX6-61" fmla="*/ 0 w 10783401"/>
                <a:gd name="connsiteY6-62" fmla="*/ 980242 h 1156069"/>
                <a:gd name="connsiteX7-63" fmla="*/ 0 w 10783401"/>
                <a:gd name="connsiteY7-64" fmla="*/ 220215 h 1156069"/>
                <a:gd name="connsiteX0-65" fmla="*/ 0 w 10783401"/>
                <a:gd name="connsiteY0-66" fmla="*/ 203547 h 1139401"/>
                <a:gd name="connsiteX1-67" fmla="*/ 10023375 w 10783401"/>
                <a:gd name="connsiteY1-68" fmla="*/ 203547 h 1139401"/>
                <a:gd name="connsiteX2-69" fmla="*/ 10017317 w 10783401"/>
                <a:gd name="connsiteY2-70" fmla="*/ 0 h 1139401"/>
                <a:gd name="connsiteX3-71" fmla="*/ 10783401 w 10783401"/>
                <a:gd name="connsiteY3-72" fmla="*/ 583561 h 1139401"/>
                <a:gd name="connsiteX4-73" fmla="*/ 10023375 w 10783401"/>
                <a:gd name="connsiteY4-74" fmla="*/ 1139401 h 1139401"/>
                <a:gd name="connsiteX5-75" fmla="*/ 10023375 w 10783401"/>
                <a:gd name="connsiteY5-76" fmla="*/ 963574 h 1139401"/>
                <a:gd name="connsiteX6-77" fmla="*/ 0 w 10783401"/>
                <a:gd name="connsiteY6-78" fmla="*/ 963574 h 1139401"/>
                <a:gd name="connsiteX7-79" fmla="*/ 0 w 10783401"/>
                <a:gd name="connsiteY7-80" fmla="*/ 203547 h 1139401"/>
                <a:gd name="connsiteX0-81" fmla="*/ 0 w 10497651"/>
                <a:gd name="connsiteY0-82" fmla="*/ 203547 h 1139401"/>
                <a:gd name="connsiteX1-83" fmla="*/ 10023375 w 10497651"/>
                <a:gd name="connsiteY1-84" fmla="*/ 203547 h 1139401"/>
                <a:gd name="connsiteX2-85" fmla="*/ 10017317 w 10497651"/>
                <a:gd name="connsiteY2-86" fmla="*/ 0 h 1139401"/>
                <a:gd name="connsiteX3-87" fmla="*/ 10497651 w 10497651"/>
                <a:gd name="connsiteY3-88" fmla="*/ 564511 h 1139401"/>
                <a:gd name="connsiteX4-89" fmla="*/ 10023375 w 10497651"/>
                <a:gd name="connsiteY4-90" fmla="*/ 1139401 h 1139401"/>
                <a:gd name="connsiteX5-91" fmla="*/ 10023375 w 10497651"/>
                <a:gd name="connsiteY5-92" fmla="*/ 963574 h 1139401"/>
                <a:gd name="connsiteX6-93" fmla="*/ 0 w 10497651"/>
                <a:gd name="connsiteY6-94" fmla="*/ 963574 h 1139401"/>
                <a:gd name="connsiteX7-95" fmla="*/ 0 w 10497651"/>
                <a:gd name="connsiteY7-96" fmla="*/ 203547 h 11394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10497651" h="1139401">
                  <a:moveTo>
                    <a:pt x="0" y="203547"/>
                  </a:moveTo>
                  <a:lnTo>
                    <a:pt x="10023375" y="203547"/>
                  </a:lnTo>
                  <a:cubicBezTo>
                    <a:pt x="10022150" y="130142"/>
                    <a:pt x="10018542" y="73405"/>
                    <a:pt x="10017317" y="0"/>
                  </a:cubicBezTo>
                  <a:lnTo>
                    <a:pt x="10497651" y="564511"/>
                  </a:lnTo>
                  <a:lnTo>
                    <a:pt x="10023375" y="1139401"/>
                  </a:lnTo>
                  <a:lnTo>
                    <a:pt x="10023375" y="963574"/>
                  </a:lnTo>
                  <a:lnTo>
                    <a:pt x="0" y="963574"/>
                  </a:lnTo>
                  <a:lnTo>
                    <a:pt x="0" y="203547"/>
                  </a:lnTo>
                  <a:close/>
                </a:path>
              </a:pathLst>
            </a:custGeom>
            <a:solidFill>
              <a:schemeClr val="bg1">
                <a:lumMod val="8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nvGrpSpPr>
            <p:cNvPr id="18" name="组合 17"/>
            <p:cNvGrpSpPr/>
            <p:nvPr/>
          </p:nvGrpSpPr>
          <p:grpSpPr>
            <a:xfrm>
              <a:off x="728226" y="1246481"/>
              <a:ext cx="10186594" cy="634415"/>
              <a:chOff x="728226" y="1071031"/>
              <a:chExt cx="10186594" cy="1021734"/>
            </a:xfrm>
          </p:grpSpPr>
          <p:sp>
            <p:nvSpPr>
              <p:cNvPr id="23" name="圆角矩形 22"/>
              <p:cNvSpPr/>
              <p:nvPr/>
            </p:nvSpPr>
            <p:spPr>
              <a:xfrm>
                <a:off x="728226" y="1071031"/>
                <a:ext cx="573712" cy="981511"/>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50" b="1" dirty="0" smtClean="0">
                    <a:solidFill>
                      <a:srgbClr val="4472C4">
                        <a:lumMod val="50000"/>
                      </a:srgbClr>
                    </a:solidFill>
                    <a:latin typeface="华文楷体" panose="02010600040101010101" charset="-122"/>
                    <a:ea typeface="华文楷体" panose="02010600040101010101" charset="-122"/>
                  </a:rPr>
                  <a:t>洽谈</a:t>
                </a:r>
                <a:endParaRPr lang="en-US" altLang="zh-CN" sz="1050" b="1" dirty="0" smtClean="0">
                  <a:solidFill>
                    <a:srgbClr val="4472C4">
                      <a:lumMod val="50000"/>
                    </a:srgbClr>
                  </a:solidFill>
                  <a:latin typeface="华文楷体" panose="02010600040101010101" charset="-122"/>
                  <a:ea typeface="华文楷体" panose="02010600040101010101" charset="-122"/>
                </a:endParaRPr>
              </a:p>
            </p:txBody>
          </p:sp>
          <p:sp>
            <p:nvSpPr>
              <p:cNvPr id="24" name="圆角矩形 23"/>
              <p:cNvSpPr/>
              <p:nvPr/>
            </p:nvSpPr>
            <p:spPr>
              <a:xfrm>
                <a:off x="10339493" y="1071343"/>
                <a:ext cx="575327" cy="983563"/>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050" b="1" dirty="0">
                    <a:solidFill>
                      <a:srgbClr val="4472C4">
                        <a:lumMod val="50000"/>
                      </a:srgbClr>
                    </a:solidFill>
                    <a:latin typeface="华文楷体" panose="02010600040101010101" charset="-122"/>
                    <a:ea typeface="华文楷体" panose="02010600040101010101" charset="-122"/>
                  </a:rPr>
                  <a:t>xx</a:t>
                </a:r>
                <a:endParaRPr lang="zh-CN" altLang="en-US" sz="1050" b="1" dirty="0">
                  <a:solidFill>
                    <a:srgbClr val="4472C4">
                      <a:lumMod val="50000"/>
                    </a:srgbClr>
                  </a:solidFill>
                  <a:latin typeface="华文楷体" panose="02010600040101010101" charset="-122"/>
                  <a:ea typeface="华文楷体" panose="02010600040101010101" charset="-122"/>
                </a:endParaRPr>
              </a:p>
            </p:txBody>
          </p:sp>
          <p:sp>
            <p:nvSpPr>
              <p:cNvPr id="25" name="圆角矩形 24"/>
              <p:cNvSpPr/>
              <p:nvPr/>
            </p:nvSpPr>
            <p:spPr>
              <a:xfrm>
                <a:off x="9558499" y="1109202"/>
                <a:ext cx="575327" cy="983563"/>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050" b="1" dirty="0">
                    <a:solidFill>
                      <a:srgbClr val="4472C4">
                        <a:lumMod val="50000"/>
                      </a:srgbClr>
                    </a:solidFill>
                    <a:latin typeface="华文楷体" panose="02010600040101010101" charset="-122"/>
                    <a:ea typeface="华文楷体" panose="02010600040101010101" charset="-122"/>
                  </a:rPr>
                  <a:t>xx</a:t>
                </a:r>
                <a:endParaRPr lang="zh-CN" altLang="en-US" sz="1050" b="1" dirty="0">
                  <a:solidFill>
                    <a:srgbClr val="4472C4">
                      <a:lumMod val="50000"/>
                    </a:srgbClr>
                  </a:solidFill>
                  <a:latin typeface="华文楷体" panose="02010600040101010101" charset="-122"/>
                  <a:ea typeface="华文楷体" panose="02010600040101010101" charset="-122"/>
                </a:endParaRPr>
              </a:p>
            </p:txBody>
          </p:sp>
          <p:sp>
            <p:nvSpPr>
              <p:cNvPr id="26" name="圆角矩形 25"/>
              <p:cNvSpPr/>
              <p:nvPr/>
            </p:nvSpPr>
            <p:spPr>
              <a:xfrm>
                <a:off x="8781071" y="1081803"/>
                <a:ext cx="575327" cy="981511"/>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050" b="1" dirty="0">
                    <a:solidFill>
                      <a:srgbClr val="4472C4">
                        <a:lumMod val="50000"/>
                      </a:srgbClr>
                    </a:solidFill>
                    <a:latin typeface="华文楷体" panose="02010600040101010101" charset="-122"/>
                    <a:ea typeface="华文楷体" panose="02010600040101010101" charset="-122"/>
                  </a:rPr>
                  <a:t>xx</a:t>
                </a:r>
                <a:endParaRPr lang="zh-CN" altLang="en-US" sz="1050" b="1" dirty="0">
                  <a:solidFill>
                    <a:srgbClr val="4472C4">
                      <a:lumMod val="50000"/>
                    </a:srgbClr>
                  </a:solidFill>
                  <a:latin typeface="华文楷体" panose="02010600040101010101" charset="-122"/>
                  <a:ea typeface="华文楷体" panose="02010600040101010101" charset="-122"/>
                </a:endParaRPr>
              </a:p>
            </p:txBody>
          </p:sp>
          <p:sp>
            <p:nvSpPr>
              <p:cNvPr id="27" name="圆角矩形 26"/>
              <p:cNvSpPr/>
              <p:nvPr/>
            </p:nvSpPr>
            <p:spPr>
              <a:xfrm>
                <a:off x="7981781" y="1100490"/>
                <a:ext cx="575327" cy="981509"/>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050" b="1" dirty="0">
                    <a:solidFill>
                      <a:srgbClr val="4472C4">
                        <a:lumMod val="50000"/>
                      </a:srgbClr>
                    </a:solidFill>
                    <a:latin typeface="华文楷体" panose="02010600040101010101" charset="-122"/>
                    <a:ea typeface="华文楷体" panose="02010600040101010101" charset="-122"/>
                  </a:rPr>
                  <a:t>xx</a:t>
                </a:r>
                <a:endParaRPr lang="zh-CN" altLang="en-US" sz="1050" b="1" dirty="0">
                  <a:solidFill>
                    <a:srgbClr val="4472C4">
                      <a:lumMod val="50000"/>
                    </a:srgbClr>
                  </a:solidFill>
                  <a:latin typeface="华文楷体" panose="02010600040101010101" charset="-122"/>
                  <a:ea typeface="华文楷体" panose="02010600040101010101" charset="-122"/>
                </a:endParaRPr>
              </a:p>
            </p:txBody>
          </p:sp>
          <p:sp>
            <p:nvSpPr>
              <p:cNvPr id="28" name="圆角矩形 27"/>
              <p:cNvSpPr/>
              <p:nvPr/>
            </p:nvSpPr>
            <p:spPr>
              <a:xfrm>
                <a:off x="7191184" y="1105111"/>
                <a:ext cx="575327" cy="981510"/>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050" b="1" dirty="0">
                    <a:solidFill>
                      <a:srgbClr val="4472C4">
                        <a:lumMod val="50000"/>
                      </a:srgbClr>
                    </a:solidFill>
                    <a:latin typeface="华文楷体" panose="02010600040101010101" charset="-122"/>
                    <a:ea typeface="华文楷体" panose="02010600040101010101" charset="-122"/>
                  </a:rPr>
                  <a:t>xx</a:t>
                </a:r>
                <a:endParaRPr lang="zh-CN" altLang="en-US" sz="1050" b="1" dirty="0">
                  <a:solidFill>
                    <a:srgbClr val="4472C4">
                      <a:lumMod val="50000"/>
                    </a:srgbClr>
                  </a:solidFill>
                  <a:latin typeface="华文楷体" panose="02010600040101010101" charset="-122"/>
                  <a:ea typeface="华文楷体" panose="02010600040101010101" charset="-122"/>
                </a:endParaRPr>
              </a:p>
            </p:txBody>
          </p:sp>
          <p:sp>
            <p:nvSpPr>
              <p:cNvPr id="29" name="圆角矩形 28"/>
              <p:cNvSpPr/>
              <p:nvPr/>
            </p:nvSpPr>
            <p:spPr>
              <a:xfrm>
                <a:off x="6398235" y="1102017"/>
                <a:ext cx="575327" cy="981510"/>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050" b="1" dirty="0">
                    <a:solidFill>
                      <a:srgbClr val="4472C4">
                        <a:lumMod val="50000"/>
                      </a:srgbClr>
                    </a:solidFill>
                    <a:latin typeface="华文楷体" panose="02010600040101010101" charset="-122"/>
                    <a:ea typeface="华文楷体" panose="02010600040101010101" charset="-122"/>
                  </a:rPr>
                  <a:t>xx</a:t>
                </a:r>
                <a:endParaRPr lang="zh-CN" altLang="en-US" sz="1050" b="1" dirty="0">
                  <a:solidFill>
                    <a:srgbClr val="4472C4">
                      <a:lumMod val="50000"/>
                    </a:srgbClr>
                  </a:solidFill>
                  <a:latin typeface="华文楷体" panose="02010600040101010101" charset="-122"/>
                  <a:ea typeface="华文楷体" panose="02010600040101010101" charset="-122"/>
                </a:endParaRPr>
              </a:p>
            </p:txBody>
          </p:sp>
          <p:sp>
            <p:nvSpPr>
              <p:cNvPr id="30" name="圆角矩形 29"/>
              <p:cNvSpPr/>
              <p:nvPr/>
            </p:nvSpPr>
            <p:spPr>
              <a:xfrm>
                <a:off x="5529642" y="1072370"/>
                <a:ext cx="660150" cy="981511"/>
              </a:xfrm>
              <a:prstGeom prst="roundRect">
                <a:avLst/>
              </a:prstGeom>
              <a:solidFill>
                <a:schemeClr val="bg1">
                  <a:lumMod val="8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050" b="1" dirty="0">
                    <a:solidFill>
                      <a:srgbClr val="4472C4">
                        <a:lumMod val="50000"/>
                      </a:srgbClr>
                    </a:solidFill>
                    <a:latin typeface="华文楷体" panose="02010600040101010101" charset="-122"/>
                    <a:ea typeface="华文楷体" panose="02010600040101010101" charset="-122"/>
                  </a:rPr>
                  <a:t>xx</a:t>
                </a:r>
                <a:endParaRPr lang="zh-CN" altLang="en-US" sz="1050" b="1" dirty="0">
                  <a:solidFill>
                    <a:srgbClr val="4472C4">
                      <a:lumMod val="50000"/>
                    </a:srgbClr>
                  </a:solidFill>
                  <a:latin typeface="华文楷体" panose="02010600040101010101" charset="-122"/>
                  <a:ea typeface="华文楷体" panose="02010600040101010101" charset="-122"/>
                </a:endParaRPr>
              </a:p>
            </p:txBody>
          </p:sp>
          <p:sp>
            <p:nvSpPr>
              <p:cNvPr id="31" name="圆角矩形 30"/>
              <p:cNvSpPr/>
              <p:nvPr/>
            </p:nvSpPr>
            <p:spPr>
              <a:xfrm>
                <a:off x="4739044" y="1072164"/>
                <a:ext cx="575327" cy="981512"/>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050" b="1" dirty="0">
                    <a:solidFill>
                      <a:srgbClr val="4472C4">
                        <a:lumMod val="50000"/>
                      </a:srgbClr>
                    </a:solidFill>
                    <a:latin typeface="华文楷体" panose="02010600040101010101" charset="-122"/>
                    <a:ea typeface="华文楷体" panose="02010600040101010101" charset="-122"/>
                  </a:rPr>
                  <a:t>xx</a:t>
                </a:r>
                <a:endParaRPr lang="zh-CN" altLang="en-US" sz="1050" b="1" dirty="0">
                  <a:solidFill>
                    <a:srgbClr val="4472C4">
                      <a:lumMod val="50000"/>
                    </a:srgbClr>
                  </a:solidFill>
                  <a:latin typeface="华文楷体" panose="02010600040101010101" charset="-122"/>
                  <a:ea typeface="华文楷体" panose="02010600040101010101" charset="-122"/>
                </a:endParaRPr>
              </a:p>
            </p:txBody>
          </p:sp>
          <p:sp>
            <p:nvSpPr>
              <p:cNvPr id="32" name="圆角矩形 31"/>
              <p:cNvSpPr/>
              <p:nvPr/>
            </p:nvSpPr>
            <p:spPr>
              <a:xfrm>
                <a:off x="3091307" y="1099933"/>
                <a:ext cx="660012" cy="981512"/>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050" b="1" dirty="0">
                    <a:solidFill>
                      <a:srgbClr val="4472C4">
                        <a:lumMod val="50000"/>
                      </a:srgbClr>
                    </a:solidFill>
                    <a:latin typeface="华文楷体" panose="02010600040101010101" charset="-122"/>
                    <a:ea typeface="华文楷体" panose="02010600040101010101" charset="-122"/>
                  </a:rPr>
                  <a:t>xx</a:t>
                </a:r>
                <a:endParaRPr lang="zh-CN" altLang="en-US" sz="1050" b="1" dirty="0">
                  <a:solidFill>
                    <a:srgbClr val="4472C4">
                      <a:lumMod val="50000"/>
                    </a:srgbClr>
                  </a:solidFill>
                  <a:latin typeface="华文楷体" panose="02010600040101010101" charset="-122"/>
                  <a:ea typeface="华文楷体" panose="02010600040101010101" charset="-122"/>
                </a:endParaRPr>
              </a:p>
            </p:txBody>
          </p:sp>
          <p:sp>
            <p:nvSpPr>
              <p:cNvPr id="33" name="圆角矩形 32"/>
              <p:cNvSpPr/>
              <p:nvPr/>
            </p:nvSpPr>
            <p:spPr>
              <a:xfrm>
                <a:off x="2316241" y="1081803"/>
                <a:ext cx="575327" cy="981512"/>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smtClean="0">
                    <a:ln>
                      <a:noFill/>
                    </a:ln>
                    <a:solidFill>
                      <a:srgbClr val="4472C4">
                        <a:lumMod val="50000"/>
                      </a:srgbClr>
                    </a:solidFill>
                    <a:effectLst/>
                    <a:uLnTx/>
                    <a:uFillTx/>
                    <a:latin typeface="华文楷体" panose="02010600040101010101" charset="-122"/>
                    <a:ea typeface="华文楷体" panose="02010600040101010101" charset="-122"/>
                    <a:cs typeface="+mn-cs"/>
                  </a:rPr>
                  <a:t>xx</a:t>
                </a:r>
                <a:endParaRPr kumimoji="0" lang="zh-CN" altLang="en-US" sz="1050" b="1" i="0" u="none" strike="noStrike" kern="1200" cap="none" spc="0" normalizeH="0" baseline="0" noProof="0" dirty="0">
                  <a:ln>
                    <a:noFill/>
                  </a:ln>
                  <a:solidFill>
                    <a:srgbClr val="4472C4">
                      <a:lumMod val="50000"/>
                    </a:srgbClr>
                  </a:solidFill>
                  <a:effectLst/>
                  <a:uLnTx/>
                  <a:uFillTx/>
                  <a:latin typeface="华文楷体" panose="02010600040101010101" charset="-122"/>
                  <a:ea typeface="华文楷体" panose="02010600040101010101" charset="-122"/>
                  <a:cs typeface="+mn-cs"/>
                </a:endParaRPr>
              </a:p>
            </p:txBody>
          </p:sp>
          <p:sp>
            <p:nvSpPr>
              <p:cNvPr id="34" name="圆角矩形 33"/>
              <p:cNvSpPr/>
              <p:nvPr/>
            </p:nvSpPr>
            <p:spPr>
              <a:xfrm>
                <a:off x="1523292" y="1071033"/>
                <a:ext cx="575327" cy="981512"/>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smtClean="0">
                    <a:ln>
                      <a:noFill/>
                    </a:ln>
                    <a:solidFill>
                      <a:srgbClr val="4472C4">
                        <a:lumMod val="50000"/>
                      </a:srgbClr>
                    </a:solidFill>
                    <a:effectLst/>
                    <a:uLnTx/>
                    <a:uFillTx/>
                    <a:latin typeface="华文楷体" panose="02010600040101010101" charset="-122"/>
                    <a:ea typeface="华文楷体" panose="02010600040101010101" charset="-122"/>
                    <a:cs typeface="+mn-cs"/>
                  </a:rPr>
                  <a:t>xx</a:t>
                </a:r>
                <a:endParaRPr kumimoji="0" lang="zh-CN" altLang="en-US" sz="1050" b="1" i="0" u="none" strike="noStrike" kern="1200" cap="none" spc="0" normalizeH="0" baseline="0" noProof="0" dirty="0">
                  <a:ln>
                    <a:noFill/>
                  </a:ln>
                  <a:solidFill>
                    <a:srgbClr val="4472C4">
                      <a:lumMod val="50000"/>
                    </a:srgbClr>
                  </a:solidFill>
                  <a:effectLst/>
                  <a:uLnTx/>
                  <a:uFillTx/>
                  <a:latin typeface="华文楷体" panose="02010600040101010101" charset="-122"/>
                  <a:ea typeface="华文楷体" panose="02010600040101010101" charset="-122"/>
                  <a:cs typeface="+mn-cs"/>
                </a:endParaRPr>
              </a:p>
            </p:txBody>
          </p:sp>
        </p:grpSp>
        <p:sp>
          <p:nvSpPr>
            <p:cNvPr id="19" name="矩形 18"/>
            <p:cNvSpPr/>
            <p:nvPr/>
          </p:nvSpPr>
          <p:spPr>
            <a:xfrm>
              <a:off x="1298522" y="1943031"/>
              <a:ext cx="1909454" cy="21107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rgbClr val="C00000"/>
                  </a:solidFill>
                </a14:hiddenLine>
              </a:ext>
            </a:extLst>
          </p:spPr>
          <p:txBody>
            <a:bodyPr wrap="square" lIns="7200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05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阶段</a:t>
              </a:r>
              <a:endParaRPr kumimoji="0" lang="zh-CN" altLang="en-US" sz="105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sp>
          <p:nvSpPr>
            <p:cNvPr id="20" name="矩形 19"/>
            <p:cNvSpPr/>
            <p:nvPr/>
          </p:nvSpPr>
          <p:spPr>
            <a:xfrm>
              <a:off x="4106957" y="1970207"/>
              <a:ext cx="1909454" cy="21107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rgbClr val="C00000"/>
                  </a:solidFill>
                </a14:hiddenLine>
              </a:ext>
            </a:extLst>
          </p:spPr>
          <p:txBody>
            <a:bodyPr wrap="square" lIns="72000" tIns="0" rIns="0" bIns="0" anchor="ctr">
              <a:noAutofit/>
            </a:bodyPr>
            <a:lstStyle/>
            <a:p>
              <a:pPr algn="ctr">
                <a:defRPr/>
              </a:pPr>
              <a:r>
                <a:rPr lang="en-US" altLang="zh-CN" sz="1050" b="1" dirty="0" smtClean="0">
                  <a:solidFill>
                    <a:srgbClr val="4472C4">
                      <a:lumMod val="50000"/>
                    </a:srgbClr>
                  </a:solidFill>
                  <a:latin typeface="华文楷体" panose="02010600040101010101" charset="-122"/>
                  <a:ea typeface="华文楷体" panose="02010600040101010101" charset="-122"/>
                </a:rPr>
                <a:t>xx</a:t>
              </a:r>
              <a:r>
                <a:rPr kumimoji="0" lang="zh-CN" altLang="en-US" sz="105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阶段</a:t>
              </a:r>
              <a:endParaRPr kumimoji="0" lang="zh-CN" altLang="en-US" sz="105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sp>
          <p:nvSpPr>
            <p:cNvPr id="21" name="矩形 20"/>
            <p:cNvSpPr/>
            <p:nvPr/>
          </p:nvSpPr>
          <p:spPr>
            <a:xfrm>
              <a:off x="9204915" y="1990683"/>
              <a:ext cx="1909454" cy="21107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rgbClr val="C00000"/>
                  </a:solidFill>
                </a14:hiddenLine>
              </a:ext>
            </a:extLst>
          </p:spPr>
          <p:txBody>
            <a:bodyPr wrap="square" lIns="72000" tIns="0" rIns="0" bIns="0" anchor="ctr">
              <a:noAutofit/>
            </a:bodyPr>
            <a:lstStyle/>
            <a:p>
              <a:pPr algn="ctr">
                <a:defRPr/>
              </a:pPr>
              <a:r>
                <a:rPr lang="en-US" altLang="zh-CN" sz="1050" b="1" dirty="0" smtClean="0">
                  <a:solidFill>
                    <a:srgbClr val="4472C4">
                      <a:lumMod val="50000"/>
                    </a:srgbClr>
                  </a:solidFill>
                  <a:latin typeface="华文楷体" panose="02010600040101010101" charset="-122"/>
                  <a:ea typeface="华文楷体" panose="02010600040101010101" charset="-122"/>
                </a:rPr>
                <a:t>xx</a:t>
              </a:r>
              <a:r>
                <a:rPr kumimoji="0" lang="zh-CN" altLang="en-US" sz="105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阶段</a:t>
              </a:r>
              <a:endParaRPr kumimoji="0" lang="zh-CN" altLang="en-US" sz="105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sp>
          <p:nvSpPr>
            <p:cNvPr id="22" name="圆角矩形 21"/>
            <p:cNvSpPr/>
            <p:nvPr/>
          </p:nvSpPr>
          <p:spPr>
            <a:xfrm>
              <a:off x="11593139" y="1166851"/>
              <a:ext cx="403056" cy="790981"/>
            </a:xfrm>
            <a:prstGeom prst="roundRect">
              <a:avLst/>
            </a:prstGeom>
            <a:noFill/>
            <a:ln>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1" i="0" u="none" strike="noStrike" kern="1200" cap="none" spc="0" normalizeH="0" baseline="0" noProof="0" dirty="0" smtClean="0">
                  <a:ln>
                    <a:noFill/>
                  </a:ln>
                  <a:solidFill>
                    <a:srgbClr val="FF6800"/>
                  </a:solidFill>
                  <a:effectLst/>
                  <a:uLnTx/>
                  <a:uFillTx/>
                  <a:latin typeface="华文楷体" panose="02010600040101010101" charset="-122"/>
                  <a:ea typeface="华文楷体" panose="02010600040101010101" charset="-122"/>
                  <a:cs typeface="+mn-cs"/>
                </a:rPr>
                <a:t>项目管理</a:t>
              </a:r>
              <a:endParaRPr kumimoji="0" lang="zh-CN" altLang="en-US" sz="1050" b="1" i="0" u="none" strike="noStrike" kern="1200" cap="none" spc="0" normalizeH="0" baseline="0" noProof="0" dirty="0">
                <a:ln>
                  <a:noFill/>
                </a:ln>
                <a:solidFill>
                  <a:srgbClr val="FF6800"/>
                </a:solidFill>
                <a:effectLst/>
                <a:uLnTx/>
                <a:uFillTx/>
                <a:latin typeface="华文楷体" panose="02010600040101010101" charset="-122"/>
                <a:ea typeface="华文楷体" panose="02010600040101010101" charset="-122"/>
                <a:cs typeface="+mn-cs"/>
              </a:endParaRPr>
            </a:p>
          </p:txBody>
        </p:sp>
      </p:grpSp>
      <p:cxnSp>
        <p:nvCxnSpPr>
          <p:cNvPr id="35" name="直接箭头连接符 34"/>
          <p:cNvCxnSpPr>
            <a:stCxn id="54" idx="0"/>
            <a:endCxn id="55" idx="2"/>
          </p:cNvCxnSpPr>
          <p:nvPr/>
        </p:nvCxnSpPr>
        <p:spPr>
          <a:xfrm flipV="1">
            <a:off x="1252620" y="2826233"/>
            <a:ext cx="9041" cy="1888632"/>
          </a:xfrm>
          <a:prstGeom prst="straightConnector1">
            <a:avLst/>
          </a:prstGeom>
          <a:ln>
            <a:solidFill>
              <a:srgbClr val="D85F28"/>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a:stCxn id="55" idx="0"/>
            <a:endCxn id="56" idx="2"/>
          </p:cNvCxnSpPr>
          <p:nvPr/>
        </p:nvCxnSpPr>
        <p:spPr>
          <a:xfrm flipV="1">
            <a:off x="1261661" y="2163885"/>
            <a:ext cx="5065" cy="264600"/>
          </a:xfrm>
          <a:prstGeom prst="straightConnector1">
            <a:avLst/>
          </a:prstGeom>
          <a:ln>
            <a:solidFill>
              <a:srgbClr val="D85F28"/>
            </a:solidFill>
            <a:tailEnd type="triangle"/>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a:stCxn id="56" idx="3"/>
            <a:endCxn id="57" idx="1"/>
          </p:cNvCxnSpPr>
          <p:nvPr/>
        </p:nvCxnSpPr>
        <p:spPr>
          <a:xfrm flipV="1">
            <a:off x="1604286" y="1957198"/>
            <a:ext cx="86503" cy="7813"/>
          </a:xfrm>
          <a:prstGeom prst="straightConnector1">
            <a:avLst/>
          </a:prstGeom>
          <a:ln>
            <a:solidFill>
              <a:srgbClr val="D85F28"/>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接箭头连接符 37"/>
          <p:cNvCxnSpPr>
            <a:stCxn id="57" idx="3"/>
            <a:endCxn id="58" idx="1"/>
          </p:cNvCxnSpPr>
          <p:nvPr/>
        </p:nvCxnSpPr>
        <p:spPr>
          <a:xfrm flipV="1">
            <a:off x="2365911" y="1951286"/>
            <a:ext cx="109378" cy="5912"/>
          </a:xfrm>
          <a:prstGeom prst="straightConnector1">
            <a:avLst/>
          </a:prstGeom>
          <a:ln>
            <a:solidFill>
              <a:srgbClr val="D85F28"/>
            </a:solidFill>
            <a:tailEnd type="triangle"/>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3238864" y="2387065"/>
            <a:ext cx="345167" cy="1880274"/>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schemeClr val="bg1"/>
                </a:solidFill>
                <a:effectLst/>
                <a:uLnTx/>
                <a:uFillTx/>
                <a:latin typeface="华文楷体" panose="02010600040101010101" charset="-122"/>
                <a:ea typeface="华文楷体" panose="02010600040101010101" charset="-122"/>
                <a:cs typeface="+mn-cs"/>
              </a:rPr>
              <a:t>xx</a:t>
            </a:r>
            <a:endParaRPr kumimoji="0" lang="zh-CN" altLang="en-US" sz="1200" b="0" i="0" u="none" strike="noStrike" kern="1200" cap="none" spc="0" normalizeH="0" baseline="0" noProof="0" dirty="0">
              <a:ln>
                <a:noFill/>
              </a:ln>
              <a:solidFill>
                <a:schemeClr val="bg1"/>
              </a:solidFill>
              <a:effectLst/>
              <a:uLnTx/>
              <a:uFillTx/>
              <a:latin typeface="华文楷体" panose="02010600040101010101" charset="-122"/>
              <a:ea typeface="华文楷体" panose="02010600040101010101" charset="-122"/>
              <a:cs typeface="+mn-cs"/>
            </a:endParaRPr>
          </a:p>
        </p:txBody>
      </p:sp>
      <p:cxnSp>
        <p:nvCxnSpPr>
          <p:cNvPr id="40" name="肘形连接符 39"/>
          <p:cNvCxnSpPr>
            <a:stCxn id="39" idx="2"/>
            <a:endCxn id="93" idx="2"/>
          </p:cNvCxnSpPr>
          <p:nvPr/>
        </p:nvCxnSpPr>
        <p:spPr>
          <a:xfrm rot="5400000" flipH="1" flipV="1">
            <a:off x="3323764" y="3234656"/>
            <a:ext cx="1120366" cy="944999"/>
          </a:xfrm>
          <a:prstGeom prst="bentConnector3">
            <a:avLst>
              <a:gd name="adj1" fmla="val -20404"/>
            </a:avLst>
          </a:prstGeom>
          <a:ln>
            <a:solidFill>
              <a:srgbClr val="D85F28"/>
            </a:solidFill>
            <a:tailEnd type="triangle"/>
          </a:ln>
        </p:spPr>
        <p:style>
          <a:lnRef idx="1">
            <a:schemeClr val="accent1"/>
          </a:lnRef>
          <a:fillRef idx="0">
            <a:schemeClr val="accent1"/>
          </a:fillRef>
          <a:effectRef idx="0">
            <a:schemeClr val="accent1"/>
          </a:effectRef>
          <a:fontRef idx="minor">
            <a:schemeClr val="tx1"/>
          </a:fontRef>
        </p:style>
      </p:cxnSp>
      <p:sp>
        <p:nvSpPr>
          <p:cNvPr id="41" name="矩形 40"/>
          <p:cNvSpPr/>
          <p:nvPr/>
        </p:nvSpPr>
        <p:spPr>
          <a:xfrm>
            <a:off x="6496694" y="1682272"/>
            <a:ext cx="648695" cy="403807"/>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US" sz="12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42" name="矩形 41"/>
          <p:cNvSpPr/>
          <p:nvPr/>
        </p:nvSpPr>
        <p:spPr>
          <a:xfrm>
            <a:off x="6432434" y="2458232"/>
            <a:ext cx="793129" cy="736001"/>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schemeClr val="bg1"/>
                </a:solidFill>
                <a:effectLst/>
                <a:uLnTx/>
                <a:uFillTx/>
                <a:latin typeface="华文楷体" panose="02010600040101010101" charset="-122"/>
                <a:ea typeface="华文楷体" panose="02010600040101010101" charset="-122"/>
                <a:cs typeface="+mn-cs"/>
              </a:rPr>
              <a:t>xx</a:t>
            </a:r>
            <a:endParaRPr kumimoji="0" lang="en-US" altLang="zh-CN" sz="1200" b="0" i="0" u="none" strike="noStrike" kern="1200" cap="none" spc="0" normalizeH="0" baseline="0" noProof="0" dirty="0" smtClean="0">
              <a:ln>
                <a:noFill/>
              </a:ln>
              <a:solidFill>
                <a:schemeClr val="bg1"/>
              </a:solidFill>
              <a:effectLst/>
              <a:uLnTx/>
              <a:uFillTx/>
              <a:latin typeface="华文楷体" panose="02010600040101010101" charset="-122"/>
              <a:ea typeface="华文楷体" panose="02010600040101010101" charset="-122"/>
              <a:cs typeface="+mn-cs"/>
            </a:endParaRPr>
          </a:p>
        </p:txBody>
      </p:sp>
      <p:cxnSp>
        <p:nvCxnSpPr>
          <p:cNvPr id="43" name="直接箭头连接符 42"/>
          <p:cNvCxnSpPr>
            <a:stCxn id="41" idx="2"/>
            <a:endCxn id="42" idx="0"/>
          </p:cNvCxnSpPr>
          <p:nvPr/>
        </p:nvCxnSpPr>
        <p:spPr>
          <a:xfrm>
            <a:off x="6821042" y="2086079"/>
            <a:ext cx="7957" cy="372153"/>
          </a:xfrm>
          <a:prstGeom prst="straightConnector1">
            <a:avLst/>
          </a:prstGeom>
          <a:ln>
            <a:solidFill>
              <a:srgbClr val="D85F28"/>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44" name="组合 43"/>
          <p:cNvGrpSpPr/>
          <p:nvPr/>
        </p:nvGrpSpPr>
        <p:grpSpPr>
          <a:xfrm>
            <a:off x="7422708" y="3365221"/>
            <a:ext cx="1854043" cy="1252276"/>
            <a:chOff x="7413686" y="4344390"/>
            <a:chExt cx="1767927" cy="982551"/>
          </a:xfrm>
        </p:grpSpPr>
        <p:sp>
          <p:nvSpPr>
            <p:cNvPr id="45" name="矩形 44"/>
            <p:cNvSpPr/>
            <p:nvPr/>
          </p:nvSpPr>
          <p:spPr>
            <a:xfrm>
              <a:off x="7454118" y="4369368"/>
              <a:ext cx="827080" cy="441246"/>
            </a:xfrm>
            <a:prstGeom prst="rect">
              <a:avLst/>
            </a:prstGeom>
            <a:solidFill>
              <a:schemeClr val="tx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管理</a:t>
              </a:r>
              <a:endPar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endParaRPr>
            </a:p>
          </p:txBody>
        </p:sp>
        <p:sp>
          <p:nvSpPr>
            <p:cNvPr id="46" name="矩形 45"/>
            <p:cNvSpPr/>
            <p:nvPr/>
          </p:nvSpPr>
          <p:spPr>
            <a:xfrm>
              <a:off x="8315468" y="4369368"/>
              <a:ext cx="827080" cy="441246"/>
            </a:xfrm>
            <a:prstGeom prst="rect">
              <a:avLst/>
            </a:prstGeom>
            <a:solidFill>
              <a:schemeClr val="tx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管理</a:t>
              </a:r>
              <a:endPar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endParaRPr>
            </a:p>
          </p:txBody>
        </p:sp>
        <p:sp>
          <p:nvSpPr>
            <p:cNvPr id="47" name="矩形 46"/>
            <p:cNvSpPr/>
            <p:nvPr/>
          </p:nvSpPr>
          <p:spPr>
            <a:xfrm>
              <a:off x="7459217" y="4847640"/>
              <a:ext cx="827080" cy="441246"/>
            </a:xfrm>
            <a:prstGeom prst="rect">
              <a:avLst/>
            </a:prstGeom>
            <a:solidFill>
              <a:schemeClr val="tx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管理</a:t>
              </a:r>
              <a:endPar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endParaRPr>
            </a:p>
          </p:txBody>
        </p:sp>
        <p:sp>
          <p:nvSpPr>
            <p:cNvPr id="48" name="矩形 47"/>
            <p:cNvSpPr/>
            <p:nvPr/>
          </p:nvSpPr>
          <p:spPr>
            <a:xfrm>
              <a:off x="8325905" y="4839014"/>
              <a:ext cx="827080" cy="441246"/>
            </a:xfrm>
            <a:prstGeom prst="rect">
              <a:avLst/>
            </a:prstGeom>
            <a:solidFill>
              <a:schemeClr val="tx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管理</a:t>
              </a:r>
              <a:endPar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endParaRPr>
            </a:p>
          </p:txBody>
        </p:sp>
        <p:sp>
          <p:nvSpPr>
            <p:cNvPr id="49" name="矩形 48"/>
            <p:cNvSpPr/>
            <p:nvPr/>
          </p:nvSpPr>
          <p:spPr>
            <a:xfrm>
              <a:off x="7413686" y="4344390"/>
              <a:ext cx="1767927" cy="982551"/>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grpSp>
      <p:sp>
        <p:nvSpPr>
          <p:cNvPr id="50" name="矩形 49"/>
          <p:cNvSpPr/>
          <p:nvPr/>
        </p:nvSpPr>
        <p:spPr>
          <a:xfrm>
            <a:off x="7317106" y="1686910"/>
            <a:ext cx="3646610" cy="400559"/>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endParaRPr>
          </a:p>
        </p:txBody>
      </p:sp>
      <p:cxnSp>
        <p:nvCxnSpPr>
          <p:cNvPr id="51" name="直接箭头连接符 50"/>
          <p:cNvCxnSpPr>
            <a:stCxn id="41" idx="3"/>
            <a:endCxn id="50" idx="1"/>
          </p:cNvCxnSpPr>
          <p:nvPr/>
        </p:nvCxnSpPr>
        <p:spPr>
          <a:xfrm>
            <a:off x="7145389" y="1884176"/>
            <a:ext cx="171717" cy="3014"/>
          </a:xfrm>
          <a:prstGeom prst="straightConnector1">
            <a:avLst/>
          </a:prstGeom>
          <a:ln>
            <a:solidFill>
              <a:srgbClr val="D85F28"/>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2" name="直接箭头连接符 51"/>
          <p:cNvCxnSpPr>
            <a:endCxn id="61" idx="1"/>
          </p:cNvCxnSpPr>
          <p:nvPr/>
        </p:nvCxnSpPr>
        <p:spPr>
          <a:xfrm flipV="1">
            <a:off x="10160587" y="3193422"/>
            <a:ext cx="136024" cy="9769"/>
          </a:xfrm>
          <a:prstGeom prst="straightConnector1">
            <a:avLst/>
          </a:prstGeom>
          <a:ln>
            <a:solidFill>
              <a:srgbClr val="D85F28"/>
            </a:solidFill>
            <a:tailEnd type="triangle"/>
          </a:ln>
        </p:spPr>
        <p:style>
          <a:lnRef idx="1">
            <a:schemeClr val="accent1"/>
          </a:lnRef>
          <a:fillRef idx="0">
            <a:schemeClr val="accent1"/>
          </a:fillRef>
          <a:effectRef idx="0">
            <a:schemeClr val="accent1"/>
          </a:effectRef>
          <a:fontRef idx="minor">
            <a:schemeClr val="tx1"/>
          </a:fontRef>
        </p:style>
      </p:cxnSp>
      <p:cxnSp>
        <p:nvCxnSpPr>
          <p:cNvPr id="53" name="肘形连接符 52"/>
          <p:cNvCxnSpPr>
            <a:stCxn id="58" idx="3"/>
            <a:endCxn id="39" idx="0"/>
          </p:cNvCxnSpPr>
          <p:nvPr/>
        </p:nvCxnSpPr>
        <p:spPr>
          <a:xfrm>
            <a:off x="3150411" y="1951286"/>
            <a:ext cx="261037" cy="435779"/>
          </a:xfrm>
          <a:prstGeom prst="bentConnector2">
            <a:avLst/>
          </a:prstGeom>
          <a:ln>
            <a:solidFill>
              <a:srgbClr val="D85F28"/>
            </a:solidFill>
            <a:tailEnd type="triangle"/>
          </a:ln>
        </p:spPr>
        <p:style>
          <a:lnRef idx="1">
            <a:schemeClr val="accent1"/>
          </a:lnRef>
          <a:fillRef idx="0">
            <a:schemeClr val="accent1"/>
          </a:fillRef>
          <a:effectRef idx="0">
            <a:schemeClr val="accent1"/>
          </a:effectRef>
          <a:fontRef idx="minor">
            <a:schemeClr val="tx1"/>
          </a:fontRef>
        </p:style>
      </p:cxnSp>
      <p:sp>
        <p:nvSpPr>
          <p:cNvPr id="54" name="矩形 53"/>
          <p:cNvSpPr/>
          <p:nvPr/>
        </p:nvSpPr>
        <p:spPr>
          <a:xfrm>
            <a:off x="915059" y="4714865"/>
            <a:ext cx="675121" cy="934284"/>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下发</a:t>
            </a:r>
            <a:r>
              <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KPI</a:t>
            </a:r>
            <a:endParaRPr kumimoji="0" lang="zh-CN" altLang="en-US" sz="12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55" name="矩形 54"/>
          <p:cNvSpPr/>
          <p:nvPr/>
        </p:nvSpPr>
        <p:spPr>
          <a:xfrm>
            <a:off x="924100" y="2428485"/>
            <a:ext cx="675122" cy="397748"/>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smtClean="0">
                <a:ln>
                  <a:noFill/>
                </a:ln>
                <a:solidFill>
                  <a:schemeClr val="bg1"/>
                </a:solidFill>
                <a:effectLst/>
                <a:uLnTx/>
                <a:uFillTx/>
                <a:latin typeface="华文楷体" panose="02010600040101010101" charset="-122"/>
                <a:ea typeface="华文楷体" panose="02010600040101010101" charset="-122"/>
                <a:cs typeface="+mn-cs"/>
              </a:rPr>
              <a:t>制定</a:t>
            </a:r>
            <a:r>
              <a:rPr kumimoji="0" lang="en-US" altLang="zh-CN" sz="1200" b="0" i="0" u="none" strike="noStrike" kern="1200" cap="none" spc="0" normalizeH="0" baseline="0" noProof="0" dirty="0" smtClean="0">
                <a:ln>
                  <a:noFill/>
                </a:ln>
                <a:solidFill>
                  <a:schemeClr val="bg1"/>
                </a:solidFill>
                <a:effectLst/>
                <a:uLnTx/>
                <a:uFillTx/>
                <a:latin typeface="华文楷体" panose="02010600040101010101" charset="-122"/>
                <a:ea typeface="华文楷体" panose="02010600040101010101" charset="-122"/>
                <a:cs typeface="+mn-cs"/>
              </a:rPr>
              <a:t>xx</a:t>
            </a:r>
            <a:endParaRPr kumimoji="0" lang="zh-CN" altLang="en-US" sz="1200" b="0" i="0" u="none" strike="noStrike" kern="1200" cap="none" spc="0" normalizeH="0" baseline="0" noProof="0" dirty="0">
              <a:ln>
                <a:noFill/>
              </a:ln>
              <a:solidFill>
                <a:schemeClr val="bg1"/>
              </a:solidFill>
              <a:effectLst/>
              <a:uLnTx/>
              <a:uFillTx/>
              <a:latin typeface="华文楷体" panose="02010600040101010101" charset="-122"/>
              <a:ea typeface="华文楷体" panose="02010600040101010101" charset="-122"/>
              <a:cs typeface="+mn-cs"/>
            </a:endParaRPr>
          </a:p>
        </p:txBody>
      </p:sp>
      <p:sp>
        <p:nvSpPr>
          <p:cNvPr id="56" name="矩形 55"/>
          <p:cNvSpPr/>
          <p:nvPr/>
        </p:nvSpPr>
        <p:spPr>
          <a:xfrm>
            <a:off x="929165" y="1766137"/>
            <a:ext cx="675121" cy="397748"/>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US" sz="12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57" name="矩形 56"/>
          <p:cNvSpPr/>
          <p:nvPr/>
        </p:nvSpPr>
        <p:spPr>
          <a:xfrm>
            <a:off x="1690789" y="1758324"/>
            <a:ext cx="675122" cy="397748"/>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US" sz="12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58" name="矩形 57"/>
          <p:cNvSpPr/>
          <p:nvPr/>
        </p:nvSpPr>
        <p:spPr>
          <a:xfrm>
            <a:off x="2475289" y="1758325"/>
            <a:ext cx="675122" cy="385922"/>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US" sz="12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59" name="矩形 58"/>
          <p:cNvSpPr/>
          <p:nvPr/>
        </p:nvSpPr>
        <p:spPr>
          <a:xfrm>
            <a:off x="4898674" y="2163885"/>
            <a:ext cx="569095" cy="972134"/>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US" sz="12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60" name="矩形 59"/>
          <p:cNvSpPr/>
          <p:nvPr/>
        </p:nvSpPr>
        <p:spPr>
          <a:xfrm>
            <a:off x="9526461" y="2995283"/>
            <a:ext cx="664793" cy="406453"/>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项目</a:t>
            </a:r>
            <a:endPar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验收</a:t>
            </a:r>
            <a:endPar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endParaRPr>
          </a:p>
        </p:txBody>
      </p:sp>
      <p:sp>
        <p:nvSpPr>
          <p:cNvPr id="61" name="矩形 60"/>
          <p:cNvSpPr/>
          <p:nvPr/>
        </p:nvSpPr>
        <p:spPr>
          <a:xfrm>
            <a:off x="10296612" y="2993138"/>
            <a:ext cx="808531" cy="400558"/>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项目终止</a:t>
            </a:r>
            <a:endPar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rPr>
              <a:t>项目</a:t>
            </a:r>
            <a:r>
              <a:rPr kumimoji="0" lang="zh-CN" altLang="en-US"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关闭</a:t>
            </a:r>
            <a:endPar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endParaRPr>
          </a:p>
        </p:txBody>
      </p:sp>
      <p:sp>
        <p:nvSpPr>
          <p:cNvPr id="62" name="矩形 61"/>
          <p:cNvSpPr/>
          <p:nvPr/>
        </p:nvSpPr>
        <p:spPr>
          <a:xfrm>
            <a:off x="1708600" y="2446136"/>
            <a:ext cx="657311" cy="241337"/>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商机模板</a:t>
            </a:r>
            <a:endParaRPr kumimoji="0" lang="zh-CN" altLang="en-US" sz="90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sp>
        <p:nvSpPr>
          <p:cNvPr id="63" name="矩形 62"/>
          <p:cNvSpPr/>
          <p:nvPr/>
        </p:nvSpPr>
        <p:spPr>
          <a:xfrm>
            <a:off x="2490479" y="4400487"/>
            <a:ext cx="661619" cy="217917"/>
          </a:xfrm>
          <a:prstGeom prst="rect">
            <a:avLst/>
          </a:prstGeom>
          <a:solidFill>
            <a:srgbClr val="FF6600">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smtClean="0">
                <a:solidFill>
                  <a:schemeClr val="tx1"/>
                </a:solidFill>
                <a:latin typeface="华文楷体" panose="02010600040101010101" charset="-122"/>
                <a:ea typeface="华文楷体" panose="02010600040101010101" charset="-122"/>
              </a:rPr>
              <a:t>xx</a:t>
            </a:r>
            <a:r>
              <a:rPr lang="zh-CN" altLang="en-US" sz="900" dirty="0" smtClean="0">
                <a:solidFill>
                  <a:schemeClr val="tx1"/>
                </a:solidFill>
                <a:latin typeface="华文楷体" panose="02010600040101010101" charset="-122"/>
                <a:ea typeface="华文楷体" panose="02010600040101010101" charset="-122"/>
              </a:rPr>
              <a:t>要求</a:t>
            </a:r>
            <a:endParaRPr lang="zh-CN" altLang="en-US" sz="900" dirty="0">
              <a:solidFill>
                <a:schemeClr val="tx1"/>
              </a:solidFill>
              <a:latin typeface="华文楷体" panose="02010600040101010101" charset="-122"/>
              <a:ea typeface="华文楷体" panose="02010600040101010101" charset="-122"/>
            </a:endParaRPr>
          </a:p>
        </p:txBody>
      </p:sp>
      <p:sp>
        <p:nvSpPr>
          <p:cNvPr id="64" name="矩形 63"/>
          <p:cNvSpPr/>
          <p:nvPr/>
        </p:nvSpPr>
        <p:spPr>
          <a:xfrm>
            <a:off x="4805940" y="5008872"/>
            <a:ext cx="662075" cy="310692"/>
          </a:xfrm>
          <a:prstGeom prst="rect">
            <a:avLst/>
          </a:prstGeom>
          <a:solidFill>
            <a:srgbClr val="FF6600">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schemeClr val="tx1"/>
                </a:solidFill>
                <a:latin typeface="华文楷体" panose="02010600040101010101" charset="-122"/>
                <a:ea typeface="华文楷体" panose="02010600040101010101" charset="-122"/>
              </a:rPr>
              <a:t>成本精算</a:t>
            </a:r>
            <a:endParaRPr lang="en-US" altLang="zh-CN" sz="900" dirty="0">
              <a:solidFill>
                <a:schemeClr val="tx1"/>
              </a:solidFill>
              <a:latin typeface="华文楷体" panose="02010600040101010101" charset="-122"/>
              <a:ea typeface="华文楷体" panose="02010600040101010101" charset="-122"/>
            </a:endParaRPr>
          </a:p>
        </p:txBody>
      </p:sp>
      <p:sp>
        <p:nvSpPr>
          <p:cNvPr id="65" name="矩形 64"/>
          <p:cNvSpPr/>
          <p:nvPr/>
        </p:nvSpPr>
        <p:spPr>
          <a:xfrm>
            <a:off x="7859906" y="5017519"/>
            <a:ext cx="740396" cy="263717"/>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latin typeface="华文楷体" panose="02010600040101010101" charset="-122"/>
                <a:ea typeface="华文楷体" panose="02010600040101010101" charset="-122"/>
              </a:rPr>
              <a:t>项目回款要求</a:t>
            </a:r>
            <a:endParaRPr lang="en-US" altLang="zh-CN" sz="900" dirty="0">
              <a:solidFill>
                <a:schemeClr val="tx1"/>
              </a:solidFill>
              <a:latin typeface="华文楷体" panose="02010600040101010101" charset="-122"/>
              <a:ea typeface="华文楷体" panose="02010600040101010101" charset="-122"/>
            </a:endParaRPr>
          </a:p>
        </p:txBody>
      </p:sp>
      <p:sp>
        <p:nvSpPr>
          <p:cNvPr id="66" name="矩形 65"/>
          <p:cNvSpPr/>
          <p:nvPr/>
        </p:nvSpPr>
        <p:spPr>
          <a:xfrm>
            <a:off x="8653186" y="5023950"/>
            <a:ext cx="740396" cy="264545"/>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latin typeface="华文楷体" panose="02010600040101010101" charset="-122"/>
                <a:ea typeface="华文楷体" panose="02010600040101010101" charset="-122"/>
              </a:rPr>
              <a:t>供应商管理</a:t>
            </a:r>
            <a:endParaRPr lang="en-US" altLang="zh-CN" sz="900" dirty="0">
              <a:solidFill>
                <a:schemeClr val="tx1"/>
              </a:solidFill>
              <a:latin typeface="华文楷体" panose="02010600040101010101" charset="-122"/>
              <a:ea typeface="华文楷体" panose="02010600040101010101" charset="-122"/>
            </a:endParaRPr>
          </a:p>
        </p:txBody>
      </p:sp>
      <p:sp>
        <p:nvSpPr>
          <p:cNvPr id="67" name="矩形 66"/>
          <p:cNvSpPr/>
          <p:nvPr/>
        </p:nvSpPr>
        <p:spPr>
          <a:xfrm>
            <a:off x="5612906" y="5014546"/>
            <a:ext cx="669645" cy="272279"/>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smtClean="0">
                <a:solidFill>
                  <a:schemeClr val="tx1"/>
                </a:solidFill>
                <a:latin typeface="华文楷体" panose="02010600040101010101" charset="-122"/>
                <a:ea typeface="华文楷体" panose="02010600040101010101" charset="-122"/>
              </a:rPr>
              <a:t>xx</a:t>
            </a:r>
            <a:endParaRPr lang="en-US" altLang="zh-CN" sz="900" dirty="0" smtClean="0">
              <a:solidFill>
                <a:schemeClr val="tx1"/>
              </a:solidFill>
              <a:latin typeface="华文楷体" panose="02010600040101010101" charset="-122"/>
              <a:ea typeface="华文楷体" panose="02010600040101010101" charset="-122"/>
            </a:endParaRPr>
          </a:p>
          <a:p>
            <a:pPr algn="ctr"/>
            <a:r>
              <a:rPr lang="zh-CN" altLang="en-US" sz="900" dirty="0" smtClean="0">
                <a:solidFill>
                  <a:schemeClr val="tx1"/>
                </a:solidFill>
                <a:latin typeface="华文楷体" panose="02010600040101010101" charset="-122"/>
                <a:ea typeface="华文楷体" panose="02010600040101010101" charset="-122"/>
              </a:rPr>
              <a:t>管理</a:t>
            </a:r>
            <a:endParaRPr lang="en-US" altLang="zh-CN" sz="900" dirty="0">
              <a:solidFill>
                <a:schemeClr val="tx1"/>
              </a:solidFill>
              <a:latin typeface="华文楷体" panose="02010600040101010101" charset="-122"/>
              <a:ea typeface="华文楷体" panose="02010600040101010101" charset="-122"/>
            </a:endParaRPr>
          </a:p>
        </p:txBody>
      </p:sp>
      <p:sp>
        <p:nvSpPr>
          <p:cNvPr id="68" name="矩形 67"/>
          <p:cNvSpPr/>
          <p:nvPr/>
        </p:nvSpPr>
        <p:spPr>
          <a:xfrm>
            <a:off x="5606568" y="2350845"/>
            <a:ext cx="672273" cy="291346"/>
          </a:xfrm>
          <a:prstGeom prst="rect">
            <a:avLst/>
          </a:prstGeom>
          <a:solidFill>
            <a:srgbClr val="FF6600">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smtClean="0">
                <a:solidFill>
                  <a:schemeClr val="tx1"/>
                </a:solidFill>
                <a:latin typeface="华文楷体" panose="02010600040101010101" charset="-122"/>
                <a:ea typeface="华文楷体" panose="02010600040101010101" charset="-122"/>
              </a:rPr>
              <a:t>xx</a:t>
            </a:r>
            <a:endParaRPr lang="zh-CN" altLang="en-US" sz="900" dirty="0">
              <a:solidFill>
                <a:schemeClr val="tx1"/>
              </a:solidFill>
              <a:latin typeface="华文楷体" panose="02010600040101010101" charset="-122"/>
              <a:ea typeface="华文楷体" panose="02010600040101010101" charset="-122"/>
            </a:endParaRPr>
          </a:p>
        </p:txBody>
      </p:sp>
      <p:sp>
        <p:nvSpPr>
          <p:cNvPr id="69" name="矩形 68"/>
          <p:cNvSpPr/>
          <p:nvPr/>
        </p:nvSpPr>
        <p:spPr>
          <a:xfrm>
            <a:off x="7362441" y="2737626"/>
            <a:ext cx="1148179" cy="223482"/>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latin typeface="华文楷体" panose="02010600040101010101" charset="-122"/>
                <a:ea typeface="华文楷体" panose="02010600040101010101" charset="-122"/>
              </a:rPr>
              <a:t>项目</a:t>
            </a:r>
            <a:r>
              <a:rPr lang="zh-CN" altLang="en-US" sz="900" dirty="0" smtClean="0">
                <a:solidFill>
                  <a:schemeClr val="tx1"/>
                </a:solidFill>
                <a:latin typeface="华文楷体" panose="02010600040101010101" charset="-122"/>
                <a:ea typeface="华文楷体" panose="02010600040101010101" charset="-122"/>
              </a:rPr>
              <a:t>交接要求</a:t>
            </a:r>
            <a:endParaRPr lang="zh-CN" altLang="en-US" sz="900" dirty="0">
              <a:solidFill>
                <a:schemeClr val="tx1"/>
              </a:solidFill>
              <a:latin typeface="华文楷体" panose="02010600040101010101" charset="-122"/>
              <a:ea typeface="华文楷体" panose="02010600040101010101" charset="-122"/>
            </a:endParaRPr>
          </a:p>
        </p:txBody>
      </p:sp>
      <p:sp>
        <p:nvSpPr>
          <p:cNvPr id="70" name="矩形 69"/>
          <p:cNvSpPr/>
          <p:nvPr/>
        </p:nvSpPr>
        <p:spPr>
          <a:xfrm>
            <a:off x="9728132" y="3683703"/>
            <a:ext cx="687123" cy="290907"/>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latin typeface="华文楷体" panose="02010600040101010101" charset="-122"/>
                <a:ea typeface="华文楷体" panose="02010600040101010101" charset="-122"/>
              </a:rPr>
              <a:t>验收规范</a:t>
            </a:r>
            <a:endParaRPr lang="zh-CN" altLang="en-US" sz="900" dirty="0">
              <a:solidFill>
                <a:schemeClr val="tx1"/>
              </a:solidFill>
              <a:latin typeface="华文楷体" panose="02010600040101010101" charset="-122"/>
              <a:ea typeface="华文楷体" panose="02010600040101010101" charset="-122"/>
            </a:endParaRPr>
          </a:p>
        </p:txBody>
      </p:sp>
      <p:sp>
        <p:nvSpPr>
          <p:cNvPr id="71" name="矩形 70"/>
          <p:cNvSpPr/>
          <p:nvPr/>
        </p:nvSpPr>
        <p:spPr>
          <a:xfrm>
            <a:off x="10507327" y="3697351"/>
            <a:ext cx="653889" cy="275729"/>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latin typeface="华文楷体" panose="02010600040101010101" charset="-122"/>
                <a:ea typeface="华文楷体" panose="02010600040101010101" charset="-122"/>
              </a:rPr>
              <a:t>结</a:t>
            </a:r>
            <a:r>
              <a:rPr lang="zh-CN" altLang="en-US" sz="900" dirty="0" smtClean="0">
                <a:solidFill>
                  <a:schemeClr val="tx1"/>
                </a:solidFill>
                <a:latin typeface="华文楷体" panose="02010600040101010101" charset="-122"/>
                <a:ea typeface="华文楷体" panose="02010600040101010101" charset="-122"/>
              </a:rPr>
              <a:t>项标准</a:t>
            </a:r>
            <a:endParaRPr lang="zh-CN" altLang="en-US" sz="900" dirty="0">
              <a:solidFill>
                <a:schemeClr val="tx1"/>
              </a:solidFill>
              <a:latin typeface="华文楷体" panose="02010600040101010101" charset="-122"/>
              <a:ea typeface="华文楷体" panose="02010600040101010101" charset="-122"/>
            </a:endParaRPr>
          </a:p>
        </p:txBody>
      </p:sp>
      <p:sp>
        <p:nvSpPr>
          <p:cNvPr id="72" name="矩形 71"/>
          <p:cNvSpPr/>
          <p:nvPr/>
        </p:nvSpPr>
        <p:spPr>
          <a:xfrm>
            <a:off x="10296611" y="4448039"/>
            <a:ext cx="808531" cy="400558"/>
          </a:xfrm>
          <a:prstGeom prst="rect">
            <a:avLst/>
          </a:prstGeom>
          <a:solidFill>
            <a:schemeClr val="tx2">
              <a:lumMod val="50000"/>
              <a:alpha val="93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项目决算</a:t>
            </a:r>
            <a:endPar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endParaRPr>
          </a:p>
        </p:txBody>
      </p:sp>
      <p:sp>
        <p:nvSpPr>
          <p:cNvPr id="73" name="矩形 72"/>
          <p:cNvSpPr/>
          <p:nvPr/>
        </p:nvSpPr>
        <p:spPr>
          <a:xfrm>
            <a:off x="3579440" y="2387026"/>
            <a:ext cx="343329" cy="1880313"/>
          </a:xfrm>
          <a:prstGeom prst="rect">
            <a:avLst/>
          </a:prstGeom>
          <a:solidFill>
            <a:schemeClr val="tx2">
              <a:lumMod val="60000"/>
              <a:lumOff val="40000"/>
              <a:alpha val="93000"/>
            </a:schemeClr>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US" sz="12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74" name="矩形 73"/>
          <p:cNvSpPr/>
          <p:nvPr/>
        </p:nvSpPr>
        <p:spPr>
          <a:xfrm>
            <a:off x="609298" y="2362759"/>
            <a:ext cx="903143" cy="8300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75" name="矩形 74"/>
          <p:cNvSpPr/>
          <p:nvPr/>
        </p:nvSpPr>
        <p:spPr>
          <a:xfrm>
            <a:off x="7121722" y="1383848"/>
            <a:ext cx="1714496" cy="19161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rgbClr val="C00000"/>
                </a:solidFill>
              </a14:hiddenLine>
            </a:ext>
          </a:extLst>
        </p:spPr>
        <p:txBody>
          <a:bodyPr wrap="square" lIns="72000" tIns="0" rIns="0" bIns="0" anchor="ctr">
            <a:noAutofit/>
          </a:bodyPr>
          <a:lstStyle/>
          <a:p>
            <a:pPr algn="ctr">
              <a:defRPr/>
            </a:pPr>
            <a:r>
              <a:rPr lang="en-US" altLang="zh-CN" sz="1050" b="1" dirty="0" smtClean="0">
                <a:solidFill>
                  <a:srgbClr val="4472C4">
                    <a:lumMod val="50000"/>
                  </a:srgbClr>
                </a:solidFill>
                <a:latin typeface="华文楷体" panose="02010600040101010101" charset="-122"/>
                <a:ea typeface="华文楷体" panose="02010600040101010101" charset="-122"/>
              </a:rPr>
              <a:t>xx</a:t>
            </a:r>
            <a:r>
              <a:rPr kumimoji="0" lang="zh-CN" altLang="en-US" sz="105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阶段</a:t>
            </a:r>
            <a:endParaRPr kumimoji="0" lang="zh-CN" altLang="en-US" sz="105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76" name="肘形连接符 75"/>
          <p:cNvCxnSpPr/>
          <p:nvPr/>
        </p:nvCxnSpPr>
        <p:spPr>
          <a:xfrm>
            <a:off x="3427838" y="2143081"/>
            <a:ext cx="385883" cy="257118"/>
          </a:xfrm>
          <a:prstGeom prst="bentConnector2">
            <a:avLst/>
          </a:prstGeom>
          <a:ln>
            <a:solidFill>
              <a:srgbClr val="D85F28"/>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7" name="矩形 76"/>
          <p:cNvSpPr/>
          <p:nvPr/>
        </p:nvSpPr>
        <p:spPr>
          <a:xfrm>
            <a:off x="2486820" y="2447353"/>
            <a:ext cx="652060" cy="214845"/>
          </a:xfrm>
          <a:prstGeom prst="rect">
            <a:avLst/>
          </a:prstGeom>
          <a:solidFill>
            <a:srgbClr val="FF6600">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立项标准</a:t>
            </a:r>
            <a:endParaRPr kumimoji="0" lang="zh-CN" altLang="en-US" sz="900"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sp>
        <p:nvSpPr>
          <p:cNvPr id="78" name="矩形 77"/>
          <p:cNvSpPr/>
          <p:nvPr/>
        </p:nvSpPr>
        <p:spPr>
          <a:xfrm>
            <a:off x="10284795" y="5023950"/>
            <a:ext cx="801329" cy="256160"/>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latin typeface="华文楷体" panose="02010600040101010101" charset="-122"/>
                <a:ea typeface="华文楷体" panose="02010600040101010101" charset="-122"/>
              </a:rPr>
              <a:t>项目决算</a:t>
            </a:r>
            <a:endParaRPr lang="en-US" altLang="zh-CN" sz="900" dirty="0">
              <a:solidFill>
                <a:schemeClr val="tx1"/>
              </a:solidFill>
              <a:latin typeface="华文楷体" panose="02010600040101010101" charset="-122"/>
              <a:ea typeface="华文楷体" panose="02010600040101010101" charset="-122"/>
            </a:endParaRPr>
          </a:p>
          <a:p>
            <a:pPr algn="ctr"/>
            <a:r>
              <a:rPr lang="zh-CN" altLang="en-US" sz="900" dirty="0">
                <a:solidFill>
                  <a:schemeClr val="tx1"/>
                </a:solidFill>
                <a:latin typeface="华文楷体" panose="02010600040101010101" charset="-122"/>
                <a:ea typeface="华文楷体" panose="02010600040101010101" charset="-122"/>
              </a:rPr>
              <a:t>要求</a:t>
            </a:r>
            <a:endParaRPr lang="en-US" altLang="zh-CN" sz="900" dirty="0">
              <a:solidFill>
                <a:schemeClr val="tx1"/>
              </a:solidFill>
              <a:latin typeface="华文楷体" panose="02010600040101010101" charset="-122"/>
              <a:ea typeface="华文楷体" panose="02010600040101010101" charset="-122"/>
            </a:endParaRPr>
          </a:p>
        </p:txBody>
      </p:sp>
      <p:cxnSp>
        <p:nvCxnSpPr>
          <p:cNvPr id="79" name="直接箭头连接符 78"/>
          <p:cNvCxnSpPr/>
          <p:nvPr/>
        </p:nvCxnSpPr>
        <p:spPr>
          <a:xfrm flipH="1">
            <a:off x="10471087" y="3393696"/>
            <a:ext cx="1" cy="1054343"/>
          </a:xfrm>
          <a:prstGeom prst="straightConnector1">
            <a:avLst/>
          </a:prstGeom>
          <a:ln>
            <a:solidFill>
              <a:srgbClr val="D85F28"/>
            </a:solidFill>
            <a:tailEnd type="triangle"/>
          </a:ln>
        </p:spPr>
        <p:style>
          <a:lnRef idx="1">
            <a:schemeClr val="accent1"/>
          </a:lnRef>
          <a:fillRef idx="0">
            <a:schemeClr val="accent1"/>
          </a:fillRef>
          <a:effectRef idx="0">
            <a:schemeClr val="accent1"/>
          </a:effectRef>
          <a:fontRef idx="minor">
            <a:schemeClr val="tx1"/>
          </a:fontRef>
        </p:style>
      </p:cxnSp>
      <p:grpSp>
        <p:nvGrpSpPr>
          <p:cNvPr id="80" name="组合 79"/>
          <p:cNvGrpSpPr/>
          <p:nvPr/>
        </p:nvGrpSpPr>
        <p:grpSpPr>
          <a:xfrm>
            <a:off x="415602" y="6069969"/>
            <a:ext cx="10825346" cy="284271"/>
            <a:chOff x="-519478" y="1337664"/>
            <a:chExt cx="11096657" cy="313146"/>
          </a:xfrm>
        </p:grpSpPr>
        <p:sp>
          <p:nvSpPr>
            <p:cNvPr id="81" name="矩形 80"/>
            <p:cNvSpPr/>
            <p:nvPr/>
          </p:nvSpPr>
          <p:spPr>
            <a:xfrm>
              <a:off x="-519478" y="1344599"/>
              <a:ext cx="2479393" cy="275827"/>
            </a:xfrm>
            <a:prstGeom prst="rect">
              <a:avLst/>
            </a:prstGeom>
            <a:solidFill>
              <a:schemeClr val="bg1">
                <a:lumMod val="65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rPr>
                <a:t>项目管理办法</a:t>
              </a:r>
              <a:endParaRPr kumimoji="0" lang="zh-CN" altLang="en-US" sz="105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sp>
          <p:nvSpPr>
            <p:cNvPr id="82" name="矩形 81"/>
            <p:cNvSpPr/>
            <p:nvPr/>
          </p:nvSpPr>
          <p:spPr>
            <a:xfrm>
              <a:off x="5275087" y="1352111"/>
              <a:ext cx="2289711" cy="281568"/>
            </a:xfrm>
            <a:prstGeom prst="rect">
              <a:avLst/>
            </a:prstGeom>
            <a:solidFill>
              <a:schemeClr val="bg1">
                <a:lumMod val="65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xx</a:t>
              </a:r>
              <a:r>
                <a:rPr kumimoji="0" lang="zh-CN" altLang="en-US" sz="105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管理办法</a:t>
              </a:r>
              <a:endParaRPr kumimoji="0" lang="zh-CN" altLang="en-US" sz="105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sp>
          <p:nvSpPr>
            <p:cNvPr id="83" name="矩形 82"/>
            <p:cNvSpPr/>
            <p:nvPr/>
          </p:nvSpPr>
          <p:spPr>
            <a:xfrm>
              <a:off x="2456914" y="1350450"/>
              <a:ext cx="2306682" cy="300360"/>
            </a:xfrm>
            <a:prstGeom prst="rect">
              <a:avLst/>
            </a:prstGeom>
            <a:solidFill>
              <a:schemeClr val="bg1">
                <a:lumMod val="65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xx</a:t>
              </a:r>
              <a:r>
                <a:rPr kumimoji="0" lang="zh-CN" altLang="en-US" sz="105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管理办法</a:t>
              </a:r>
              <a:endParaRPr kumimoji="0" lang="zh-CN" altLang="en-US" sz="105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sp>
          <p:nvSpPr>
            <p:cNvPr id="84" name="矩形 83"/>
            <p:cNvSpPr/>
            <p:nvPr/>
          </p:nvSpPr>
          <p:spPr>
            <a:xfrm>
              <a:off x="8077596" y="1337664"/>
              <a:ext cx="2499583" cy="298372"/>
            </a:xfrm>
            <a:prstGeom prst="rect">
              <a:avLst/>
            </a:prstGeom>
            <a:solidFill>
              <a:schemeClr val="bg1">
                <a:lumMod val="65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xx</a:t>
              </a:r>
              <a:r>
                <a:rPr kumimoji="0" lang="zh-CN" altLang="en-US" sz="1050" b="1" i="0" u="none" strike="noStrike" kern="1200" cap="none" spc="0" normalizeH="0" baseline="0" noProof="0" dirty="0" smtClean="0">
                  <a:ln>
                    <a:noFill/>
                  </a:ln>
                  <a:solidFill>
                    <a:schemeClr val="tx1"/>
                  </a:solidFill>
                  <a:effectLst/>
                  <a:uLnTx/>
                  <a:uFillTx/>
                  <a:latin typeface="华文楷体" panose="02010600040101010101" charset="-122"/>
                  <a:ea typeface="华文楷体" panose="02010600040101010101" charset="-122"/>
                  <a:cs typeface="+mn-cs"/>
                </a:rPr>
                <a:t>管理办法</a:t>
              </a:r>
              <a:endParaRPr kumimoji="0" lang="zh-CN" altLang="en-US" sz="1050" b="1" i="0" u="none" strike="noStrike" kern="1200" cap="none" spc="0" normalizeH="0" baseline="0" noProof="0" dirty="0">
                <a:ln>
                  <a:noFill/>
                </a:ln>
                <a:solidFill>
                  <a:schemeClr val="tx1"/>
                </a:solidFill>
                <a:effectLst/>
                <a:uLnTx/>
                <a:uFillTx/>
                <a:latin typeface="华文楷体" panose="02010600040101010101" charset="-122"/>
                <a:ea typeface="华文楷体" panose="02010600040101010101" charset="-122"/>
                <a:cs typeface="+mn-cs"/>
              </a:endParaRPr>
            </a:p>
          </p:txBody>
        </p:sp>
      </p:grpSp>
      <p:grpSp>
        <p:nvGrpSpPr>
          <p:cNvPr id="85" name="组合 84"/>
          <p:cNvGrpSpPr/>
          <p:nvPr/>
        </p:nvGrpSpPr>
        <p:grpSpPr>
          <a:xfrm>
            <a:off x="1034717" y="394876"/>
            <a:ext cx="9711914" cy="266273"/>
            <a:chOff x="2104874" y="381397"/>
            <a:chExt cx="8812892" cy="293320"/>
          </a:xfrm>
        </p:grpSpPr>
        <p:cxnSp>
          <p:nvCxnSpPr>
            <p:cNvPr id="86" name="直接箭头连接符 85"/>
            <p:cNvCxnSpPr/>
            <p:nvPr/>
          </p:nvCxnSpPr>
          <p:spPr>
            <a:xfrm>
              <a:off x="2104874" y="604559"/>
              <a:ext cx="5444045" cy="0"/>
            </a:xfrm>
            <a:prstGeom prst="straightConnector1">
              <a:avLst/>
            </a:prstGeom>
            <a:ln>
              <a:prstDash val="lgDash"/>
              <a:headEnd type="triangle"/>
              <a:tailEnd type="triangle"/>
            </a:ln>
          </p:spPr>
          <p:style>
            <a:lnRef idx="3">
              <a:schemeClr val="accent2"/>
            </a:lnRef>
            <a:fillRef idx="0">
              <a:schemeClr val="accent2"/>
            </a:fillRef>
            <a:effectRef idx="2">
              <a:schemeClr val="accent2"/>
            </a:effectRef>
            <a:fontRef idx="minor">
              <a:schemeClr val="tx1"/>
            </a:fontRef>
          </p:style>
        </p:cxnSp>
        <p:cxnSp>
          <p:nvCxnSpPr>
            <p:cNvPr id="87" name="直接箭头连接符 86"/>
            <p:cNvCxnSpPr/>
            <p:nvPr/>
          </p:nvCxnSpPr>
          <p:spPr>
            <a:xfrm>
              <a:off x="6897309" y="604559"/>
              <a:ext cx="4020457" cy="0"/>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sp>
          <p:nvSpPr>
            <p:cNvPr id="88" name="矩形 87"/>
            <p:cNvSpPr/>
            <p:nvPr/>
          </p:nvSpPr>
          <p:spPr>
            <a:xfrm>
              <a:off x="3451435" y="386534"/>
              <a:ext cx="860976" cy="288183"/>
            </a:xfrm>
            <a:prstGeom prst="rect">
              <a:avLst/>
            </a:prstGeom>
            <a:solidFill>
              <a:schemeClr val="bg1"/>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宋体" panose="02010600030101010101" pitchFamily="2" charset="-122"/>
                </a:rPr>
                <a:t>CRM</a:t>
              </a:r>
              <a:r>
                <a:rPr kumimoji="0" lang="zh-CN" altLang="en-US" sz="105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宋体" panose="02010600030101010101" pitchFamily="2" charset="-122"/>
                </a:rPr>
                <a:t>系统</a:t>
              </a:r>
              <a:endParaRPr kumimoji="0" lang="zh-CN" altLang="en-US" sz="105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宋体" panose="02010600030101010101" pitchFamily="2" charset="-122"/>
              </a:endParaRPr>
            </a:p>
          </p:txBody>
        </p:sp>
        <p:sp>
          <p:nvSpPr>
            <p:cNvPr id="89" name="矩形 88"/>
            <p:cNvSpPr/>
            <p:nvPr/>
          </p:nvSpPr>
          <p:spPr>
            <a:xfrm>
              <a:off x="8158167" y="381397"/>
              <a:ext cx="1234325" cy="288183"/>
            </a:xfrm>
            <a:prstGeom prst="rect">
              <a:avLst/>
            </a:prstGeom>
            <a:solidFill>
              <a:schemeClr val="bg1"/>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05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宋体" panose="02010600030101010101" pitchFamily="2" charset="-122"/>
                </a:rPr>
                <a:t>项目管理系统</a:t>
              </a:r>
              <a:endParaRPr kumimoji="0" lang="zh-CN" altLang="en-US" sz="105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宋体" panose="02010600030101010101" pitchFamily="2" charset="-122"/>
              </a:endParaRPr>
            </a:p>
          </p:txBody>
        </p:sp>
      </p:grpSp>
      <p:cxnSp>
        <p:nvCxnSpPr>
          <p:cNvPr id="90" name="肘形连接符 89"/>
          <p:cNvCxnSpPr/>
          <p:nvPr/>
        </p:nvCxnSpPr>
        <p:spPr>
          <a:xfrm rot="10800000" flipV="1">
            <a:off x="3434203" y="4259179"/>
            <a:ext cx="355800" cy="252105"/>
          </a:xfrm>
          <a:prstGeom prst="bentConnector3">
            <a:avLst>
              <a:gd name="adj1" fmla="val -3790"/>
            </a:avLst>
          </a:prstGeom>
          <a:ln>
            <a:solidFill>
              <a:srgbClr val="D85F28"/>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1" name="矩形 90"/>
          <p:cNvSpPr/>
          <p:nvPr/>
        </p:nvSpPr>
        <p:spPr>
          <a:xfrm>
            <a:off x="6437900" y="4135477"/>
            <a:ext cx="757855" cy="370392"/>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smtClean="0">
                <a:solidFill>
                  <a:schemeClr val="tx1"/>
                </a:solidFill>
                <a:latin typeface="华文楷体" panose="02010600040101010101" charset="-122"/>
                <a:ea typeface="华文楷体" panose="02010600040101010101" charset="-122"/>
              </a:rPr>
              <a:t>Xx</a:t>
            </a:r>
            <a:r>
              <a:rPr lang="zh-CN" altLang="en-US" sz="900" dirty="0" smtClean="0">
                <a:solidFill>
                  <a:schemeClr val="tx1"/>
                </a:solidFill>
                <a:latin typeface="华文楷体" panose="02010600040101010101" charset="-122"/>
                <a:ea typeface="华文楷体" panose="02010600040101010101" charset="-122"/>
              </a:rPr>
              <a:t>预测</a:t>
            </a:r>
            <a:endParaRPr lang="en-US" altLang="zh-CN" sz="900" dirty="0">
              <a:solidFill>
                <a:schemeClr val="tx1"/>
              </a:solidFill>
              <a:latin typeface="华文楷体" panose="02010600040101010101" charset="-122"/>
              <a:ea typeface="华文楷体" panose="02010600040101010101" charset="-122"/>
            </a:endParaRPr>
          </a:p>
        </p:txBody>
      </p:sp>
      <p:sp>
        <p:nvSpPr>
          <p:cNvPr id="92" name="圆角矩形 91"/>
          <p:cNvSpPr/>
          <p:nvPr/>
        </p:nvSpPr>
        <p:spPr>
          <a:xfrm>
            <a:off x="4078285" y="762648"/>
            <a:ext cx="561600" cy="553244"/>
          </a:xfrm>
          <a:prstGeom prst="roundRect">
            <a:avLst/>
          </a:prstGeom>
          <a:solidFill>
            <a:schemeClr val="accent2">
              <a:lumMod val="20000"/>
              <a:lumOff val="8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altLang="zh-CN" sz="1050" b="1" dirty="0">
                <a:solidFill>
                  <a:srgbClr val="4472C4">
                    <a:lumMod val="50000"/>
                  </a:srgbClr>
                </a:solidFill>
                <a:latin typeface="华文楷体" panose="02010600040101010101" charset="-122"/>
                <a:ea typeface="华文楷体" panose="02010600040101010101" charset="-122"/>
              </a:rPr>
              <a:t>xx</a:t>
            </a:r>
            <a:endParaRPr lang="zh-CN" altLang="en-US" sz="1050" b="1" dirty="0">
              <a:solidFill>
                <a:srgbClr val="4472C4">
                  <a:lumMod val="50000"/>
                </a:srgbClr>
              </a:solidFill>
              <a:latin typeface="华文楷体" panose="02010600040101010101" charset="-122"/>
              <a:ea typeface="华文楷体" panose="02010600040101010101" charset="-122"/>
            </a:endParaRPr>
          </a:p>
        </p:txBody>
      </p:sp>
      <p:sp>
        <p:nvSpPr>
          <p:cNvPr id="93" name="矩形 92"/>
          <p:cNvSpPr/>
          <p:nvPr/>
        </p:nvSpPr>
        <p:spPr>
          <a:xfrm>
            <a:off x="4073062" y="2169577"/>
            <a:ext cx="566769" cy="977396"/>
          </a:xfrm>
          <a:prstGeom prst="rect">
            <a:avLst/>
          </a:prstGeom>
          <a:solidFill>
            <a:schemeClr val="tx2">
              <a:lumMod val="50000"/>
              <a:alpha val="93000"/>
            </a:schemeClr>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smtClean="0">
                <a:solidFill>
                  <a:prstClr val="white"/>
                </a:solidFill>
                <a:latin typeface="华文楷体" panose="02010600040101010101" charset="-122"/>
                <a:ea typeface="华文楷体" panose="02010600040101010101" charset="-122"/>
              </a:rPr>
              <a:t>xx</a:t>
            </a:r>
            <a:endParaRPr kumimoji="0" lang="zh-CN" altLang="en-US" sz="1200" b="0"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sp>
        <p:nvSpPr>
          <p:cNvPr id="94" name="矩形 93"/>
          <p:cNvSpPr/>
          <p:nvPr/>
        </p:nvSpPr>
        <p:spPr>
          <a:xfrm>
            <a:off x="4050600" y="5018067"/>
            <a:ext cx="680540" cy="291346"/>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smtClean="0">
                <a:solidFill>
                  <a:schemeClr val="tx1"/>
                </a:solidFill>
                <a:latin typeface="华文楷体" panose="02010600040101010101" charset="-122"/>
                <a:ea typeface="华文楷体" panose="02010600040101010101" charset="-122"/>
              </a:rPr>
              <a:t>xx</a:t>
            </a:r>
            <a:r>
              <a:rPr lang="zh-CN" altLang="en-US" sz="900" dirty="0" smtClean="0">
                <a:solidFill>
                  <a:schemeClr val="tx1"/>
                </a:solidFill>
                <a:latin typeface="华文楷体" panose="02010600040101010101" charset="-122"/>
                <a:ea typeface="华文楷体" panose="02010600040101010101" charset="-122"/>
              </a:rPr>
              <a:t>标准</a:t>
            </a:r>
            <a:endParaRPr lang="en-US" altLang="zh-CN" sz="900" dirty="0">
              <a:solidFill>
                <a:schemeClr val="tx1"/>
              </a:solidFill>
              <a:latin typeface="华文楷体" panose="02010600040101010101" charset="-122"/>
              <a:ea typeface="华文楷体" panose="02010600040101010101" charset="-122"/>
            </a:endParaRPr>
          </a:p>
        </p:txBody>
      </p:sp>
      <p:sp>
        <p:nvSpPr>
          <p:cNvPr id="95" name="矩形 94"/>
          <p:cNvSpPr/>
          <p:nvPr/>
        </p:nvSpPr>
        <p:spPr>
          <a:xfrm>
            <a:off x="7369748" y="3016325"/>
            <a:ext cx="1140965" cy="235355"/>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latin typeface="华文楷体" panose="02010600040101010101" charset="-122"/>
                <a:ea typeface="华文楷体" panose="02010600040101010101" charset="-122"/>
              </a:rPr>
              <a:t>项目</a:t>
            </a:r>
            <a:r>
              <a:rPr lang="zh-CN" altLang="en-US" sz="900" dirty="0" smtClean="0">
                <a:solidFill>
                  <a:schemeClr val="tx1"/>
                </a:solidFill>
                <a:latin typeface="华文楷体" panose="02010600040101010101" charset="-122"/>
                <a:ea typeface="华文楷体" panose="02010600040101010101" charset="-122"/>
              </a:rPr>
              <a:t>实施</a:t>
            </a:r>
            <a:r>
              <a:rPr lang="zh-CN" altLang="en-US" sz="900" dirty="0">
                <a:solidFill>
                  <a:schemeClr val="tx1"/>
                </a:solidFill>
                <a:latin typeface="华文楷体" panose="02010600040101010101" charset="-122"/>
                <a:ea typeface="华文楷体" panose="02010600040101010101" charset="-122"/>
              </a:rPr>
              <a:t>立项</a:t>
            </a:r>
            <a:endParaRPr lang="en-US" altLang="zh-CN" sz="900" dirty="0">
              <a:solidFill>
                <a:schemeClr val="tx1"/>
              </a:solidFill>
              <a:latin typeface="华文楷体" panose="02010600040101010101" charset="-122"/>
              <a:ea typeface="华文楷体" panose="02010600040101010101" charset="-122"/>
            </a:endParaRPr>
          </a:p>
        </p:txBody>
      </p:sp>
      <p:sp>
        <p:nvSpPr>
          <p:cNvPr id="96" name="矩形 95"/>
          <p:cNvSpPr/>
          <p:nvPr/>
        </p:nvSpPr>
        <p:spPr>
          <a:xfrm>
            <a:off x="417879" y="3997320"/>
            <a:ext cx="425907" cy="1301996"/>
          </a:xfrm>
          <a:prstGeom prst="rect">
            <a:avLst/>
          </a:prstGeom>
          <a:solidFill>
            <a:srgbClr val="FF6800"/>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rPr>
              <a:t>xx</a:t>
            </a:r>
            <a:endParaRPr kumimoji="0" lang="en-US" altLang="zh-CN"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rPr>
              <a:t>中心</a:t>
            </a:r>
            <a:endParaRPr kumimoji="0" lang="zh-CN" altLang="en-US" sz="12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endParaRPr>
          </a:p>
        </p:txBody>
      </p:sp>
      <p:sp>
        <p:nvSpPr>
          <p:cNvPr id="97" name="矩形 96"/>
          <p:cNvSpPr/>
          <p:nvPr/>
        </p:nvSpPr>
        <p:spPr>
          <a:xfrm>
            <a:off x="423440" y="5332829"/>
            <a:ext cx="426358" cy="715976"/>
          </a:xfrm>
          <a:prstGeom prst="rect">
            <a:avLst/>
          </a:prstGeom>
          <a:solidFill>
            <a:srgbClr val="FF6800"/>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rPr>
              <a:t>xx</a:t>
            </a:r>
            <a:endParaRPr kumimoji="0" lang="en-US" altLang="zh-CN"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rPr>
              <a:t>中心</a:t>
            </a:r>
            <a:endParaRPr kumimoji="0" lang="zh-CN" altLang="en-US" sz="12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endParaRPr>
          </a:p>
        </p:txBody>
      </p:sp>
      <p:cxnSp>
        <p:nvCxnSpPr>
          <p:cNvPr id="98" name="肘形连接符 97"/>
          <p:cNvCxnSpPr>
            <a:stCxn id="59" idx="0"/>
            <a:endCxn id="41" idx="1"/>
          </p:cNvCxnSpPr>
          <p:nvPr/>
        </p:nvCxnSpPr>
        <p:spPr>
          <a:xfrm rot="5400000" flipH="1" flipV="1">
            <a:off x="5700104" y="1367295"/>
            <a:ext cx="279709" cy="1313472"/>
          </a:xfrm>
          <a:prstGeom prst="bentConnector2">
            <a:avLst/>
          </a:prstGeom>
          <a:ln>
            <a:solidFill>
              <a:srgbClr val="D85F28"/>
            </a:solidFill>
            <a:tailEnd type="triangle"/>
          </a:ln>
        </p:spPr>
        <p:style>
          <a:lnRef idx="1">
            <a:schemeClr val="accent1"/>
          </a:lnRef>
          <a:fillRef idx="0">
            <a:schemeClr val="accent1"/>
          </a:fillRef>
          <a:effectRef idx="0">
            <a:schemeClr val="accent1"/>
          </a:effectRef>
          <a:fontRef idx="minor">
            <a:schemeClr val="tx1"/>
          </a:fontRef>
        </p:style>
      </p:cxnSp>
      <p:cxnSp>
        <p:nvCxnSpPr>
          <p:cNvPr id="99" name="肘形连接符 98"/>
          <p:cNvCxnSpPr/>
          <p:nvPr/>
        </p:nvCxnSpPr>
        <p:spPr>
          <a:xfrm rot="16200000" flipH="1">
            <a:off x="6710121" y="3319448"/>
            <a:ext cx="786436" cy="576704"/>
          </a:xfrm>
          <a:prstGeom prst="bentConnector3">
            <a:avLst>
              <a:gd name="adj1" fmla="val 101492"/>
            </a:avLst>
          </a:prstGeom>
          <a:ln>
            <a:solidFill>
              <a:srgbClr val="D85F28"/>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肘形连接符 99"/>
          <p:cNvCxnSpPr/>
          <p:nvPr/>
        </p:nvCxnSpPr>
        <p:spPr>
          <a:xfrm rot="5400000" flipH="1" flipV="1">
            <a:off x="9222155" y="3480389"/>
            <a:ext cx="517807" cy="399916"/>
          </a:xfrm>
          <a:prstGeom prst="bentConnector3">
            <a:avLst>
              <a:gd name="adj1" fmla="val -5350"/>
            </a:avLst>
          </a:prstGeom>
          <a:ln>
            <a:solidFill>
              <a:srgbClr val="D85F28"/>
            </a:solidFill>
            <a:tailEnd type="triangle"/>
          </a:ln>
        </p:spPr>
        <p:style>
          <a:lnRef idx="1">
            <a:schemeClr val="accent1"/>
          </a:lnRef>
          <a:fillRef idx="0">
            <a:schemeClr val="accent1"/>
          </a:fillRef>
          <a:effectRef idx="0">
            <a:schemeClr val="accent1"/>
          </a:effectRef>
          <a:fontRef idx="minor">
            <a:schemeClr val="tx1"/>
          </a:fontRef>
        </p:style>
      </p:cxnSp>
      <p:sp>
        <p:nvSpPr>
          <p:cNvPr id="101" name="矩形 100"/>
          <p:cNvSpPr/>
          <p:nvPr/>
        </p:nvSpPr>
        <p:spPr>
          <a:xfrm>
            <a:off x="423440" y="2670203"/>
            <a:ext cx="420346" cy="1301996"/>
          </a:xfrm>
          <a:prstGeom prst="rect">
            <a:avLst/>
          </a:prstGeom>
          <a:solidFill>
            <a:srgbClr val="FF6800"/>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rPr>
              <a:t>xx</a:t>
            </a:r>
            <a:endParaRPr kumimoji="0" lang="en-US" altLang="zh-CN"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rPr>
              <a:t>中心</a:t>
            </a:r>
            <a:endParaRPr kumimoji="0" lang="zh-CN" altLang="en-US" sz="12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endParaRPr>
          </a:p>
        </p:txBody>
      </p:sp>
      <p:sp>
        <p:nvSpPr>
          <p:cNvPr id="102" name="矩形 101"/>
          <p:cNvSpPr/>
          <p:nvPr/>
        </p:nvSpPr>
        <p:spPr>
          <a:xfrm>
            <a:off x="423440" y="1582898"/>
            <a:ext cx="420346" cy="1052410"/>
          </a:xfrm>
          <a:prstGeom prst="rect">
            <a:avLst/>
          </a:prstGeom>
          <a:solidFill>
            <a:srgbClr val="FF6800"/>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rPr>
              <a:t>xx</a:t>
            </a:r>
            <a:r>
              <a:rPr kumimoji="0" lang="zh-CN" altLang="en-US"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rPr>
              <a:t>中心</a:t>
            </a:r>
            <a:endParaRPr kumimoji="0" lang="zh-CN" altLang="en-US" sz="12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宋体" panose="02010600030101010101" pitchFamily="2" charset="-122"/>
            </a:endParaRPr>
          </a:p>
        </p:txBody>
      </p:sp>
      <p:sp>
        <p:nvSpPr>
          <p:cNvPr id="103" name="矩形 102"/>
          <p:cNvSpPr/>
          <p:nvPr/>
        </p:nvSpPr>
        <p:spPr>
          <a:xfrm>
            <a:off x="10986376" y="151387"/>
            <a:ext cx="959595" cy="260981"/>
          </a:xfrm>
          <a:prstGeom prst="rect">
            <a:avLst/>
          </a:prstGeom>
          <a:solidFill>
            <a:srgbClr val="FF6600">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schemeClr val="tx1"/>
                </a:solidFill>
                <a:latin typeface="华文楷体" panose="02010600040101010101" charset="-122"/>
                <a:ea typeface="华文楷体" panose="02010600040101010101" charset="-122"/>
              </a:rPr>
              <a:t>已实施事项</a:t>
            </a:r>
            <a:endParaRPr lang="zh-CN" altLang="en-US" sz="900" dirty="0">
              <a:solidFill>
                <a:schemeClr val="tx1"/>
              </a:solidFill>
              <a:latin typeface="华文楷体" panose="02010600040101010101" charset="-122"/>
              <a:ea typeface="华文楷体" panose="02010600040101010101" charset="-122"/>
            </a:endParaRPr>
          </a:p>
        </p:txBody>
      </p:sp>
      <p:cxnSp>
        <p:nvCxnSpPr>
          <p:cNvPr id="104" name="直接连接符 103"/>
          <p:cNvCxnSpPr/>
          <p:nvPr/>
        </p:nvCxnSpPr>
        <p:spPr>
          <a:xfrm>
            <a:off x="2014618" y="2176900"/>
            <a:ext cx="2895" cy="272413"/>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endCxn id="77" idx="0"/>
          </p:cNvCxnSpPr>
          <p:nvPr/>
        </p:nvCxnSpPr>
        <p:spPr>
          <a:xfrm>
            <a:off x="2811673" y="2151950"/>
            <a:ext cx="1177" cy="295403"/>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endCxn id="63" idx="0"/>
          </p:cNvCxnSpPr>
          <p:nvPr/>
        </p:nvCxnSpPr>
        <p:spPr>
          <a:xfrm flipH="1">
            <a:off x="2821289" y="2677886"/>
            <a:ext cx="3023" cy="1722601"/>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07" name="矩形 106"/>
          <p:cNvSpPr/>
          <p:nvPr/>
        </p:nvSpPr>
        <p:spPr>
          <a:xfrm>
            <a:off x="2988150" y="4937090"/>
            <a:ext cx="960300" cy="247784"/>
          </a:xfrm>
          <a:prstGeom prst="rect">
            <a:avLst/>
          </a:prstGeom>
          <a:solidFill>
            <a:srgbClr val="FF6600">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smtClean="0">
                <a:solidFill>
                  <a:schemeClr val="tx1"/>
                </a:solidFill>
                <a:latin typeface="华文楷体" panose="02010600040101010101" charset="-122"/>
                <a:ea typeface="华文楷体" panose="02010600040101010101" charset="-122"/>
              </a:rPr>
              <a:t>xx</a:t>
            </a:r>
            <a:endParaRPr lang="zh-CN" altLang="en-US" sz="900" dirty="0">
              <a:solidFill>
                <a:schemeClr val="tx1"/>
              </a:solidFill>
              <a:latin typeface="华文楷体" panose="02010600040101010101" charset="-122"/>
              <a:ea typeface="华文楷体" panose="02010600040101010101" charset="-122"/>
            </a:endParaRPr>
          </a:p>
        </p:txBody>
      </p:sp>
      <p:cxnSp>
        <p:nvCxnSpPr>
          <p:cNvPr id="108" name="直接连接符 107"/>
          <p:cNvCxnSpPr/>
          <p:nvPr/>
        </p:nvCxnSpPr>
        <p:spPr>
          <a:xfrm flipH="1">
            <a:off x="3646800" y="4267547"/>
            <a:ext cx="2206" cy="646277"/>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09" name="直接连接符 108"/>
          <p:cNvCxnSpPr/>
          <p:nvPr/>
        </p:nvCxnSpPr>
        <p:spPr>
          <a:xfrm flipH="1">
            <a:off x="4371856" y="4590685"/>
            <a:ext cx="5989" cy="426835"/>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10" name="肘形连接符 109"/>
          <p:cNvCxnSpPr>
            <a:endCxn id="64" idx="0"/>
          </p:cNvCxnSpPr>
          <p:nvPr/>
        </p:nvCxnSpPr>
        <p:spPr>
          <a:xfrm>
            <a:off x="4380916" y="4913824"/>
            <a:ext cx="756062" cy="95048"/>
          </a:xfrm>
          <a:prstGeom prst="bentConnector2">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endCxn id="68" idx="1"/>
          </p:cNvCxnSpPr>
          <p:nvPr/>
        </p:nvCxnSpPr>
        <p:spPr>
          <a:xfrm>
            <a:off x="5390356" y="2496518"/>
            <a:ext cx="216212"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12" name="肘形连接符 111"/>
          <p:cNvCxnSpPr/>
          <p:nvPr/>
        </p:nvCxnSpPr>
        <p:spPr>
          <a:xfrm rot="16200000" flipH="1">
            <a:off x="4253878" y="3808040"/>
            <a:ext cx="2637070" cy="48220"/>
          </a:xfrm>
          <a:prstGeom prst="bentConnector3">
            <a:avLst>
              <a:gd name="adj1" fmla="val 99684"/>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a:off x="6590344" y="3184601"/>
            <a:ext cx="37510" cy="98402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14" name="肘形连接符 113"/>
          <p:cNvCxnSpPr>
            <a:endCxn id="69" idx="1"/>
          </p:cNvCxnSpPr>
          <p:nvPr/>
        </p:nvCxnSpPr>
        <p:spPr>
          <a:xfrm flipV="1">
            <a:off x="6957313" y="2849367"/>
            <a:ext cx="405128" cy="196200"/>
          </a:xfrm>
          <a:prstGeom prst="bentConnector3">
            <a:avLst>
              <a:gd name="adj1" fmla="val -3900"/>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15" name="肘形连接符 114"/>
          <p:cNvCxnSpPr>
            <a:endCxn id="95" idx="1"/>
          </p:cNvCxnSpPr>
          <p:nvPr/>
        </p:nvCxnSpPr>
        <p:spPr>
          <a:xfrm rot="16200000" flipH="1">
            <a:off x="7180992" y="2945246"/>
            <a:ext cx="242009" cy="135503"/>
          </a:xfrm>
          <a:prstGeom prst="bentConnector2">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16" name="矩形 115"/>
          <p:cNvSpPr/>
          <p:nvPr/>
        </p:nvSpPr>
        <p:spPr>
          <a:xfrm>
            <a:off x="6927983" y="5017520"/>
            <a:ext cx="778246" cy="263718"/>
          </a:xfrm>
          <a:prstGeom prst="rect">
            <a:avLst/>
          </a:prstGeom>
          <a:solidFill>
            <a:schemeClr val="accent6">
              <a:lumMod val="60000"/>
              <a:lumOff val="40000"/>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schemeClr val="tx1"/>
                </a:solidFill>
                <a:latin typeface="华文楷体" panose="02010600040101010101" charset="-122"/>
                <a:ea typeface="华文楷体" panose="02010600040101010101" charset="-122"/>
              </a:rPr>
              <a:t>合同管理</a:t>
            </a:r>
            <a:endParaRPr lang="en-US" altLang="zh-CN" sz="900" dirty="0" smtClean="0">
              <a:solidFill>
                <a:schemeClr val="tx1"/>
              </a:solidFill>
              <a:latin typeface="华文楷体" panose="02010600040101010101" charset="-122"/>
              <a:ea typeface="华文楷体" panose="02010600040101010101" charset="-122"/>
            </a:endParaRPr>
          </a:p>
          <a:p>
            <a:pPr algn="ctr"/>
            <a:r>
              <a:rPr lang="zh-CN" altLang="en-US" sz="900" dirty="0" smtClean="0">
                <a:solidFill>
                  <a:schemeClr val="tx1"/>
                </a:solidFill>
                <a:latin typeface="华文楷体" panose="02010600040101010101" charset="-122"/>
                <a:ea typeface="华文楷体" panose="02010600040101010101" charset="-122"/>
              </a:rPr>
              <a:t>要求</a:t>
            </a:r>
            <a:endParaRPr lang="zh-CN" altLang="en-US" sz="900" dirty="0">
              <a:solidFill>
                <a:schemeClr val="tx1"/>
              </a:solidFill>
              <a:latin typeface="华文楷体" panose="02010600040101010101" charset="-122"/>
              <a:ea typeface="华文楷体" panose="02010600040101010101" charset="-122"/>
            </a:endParaRPr>
          </a:p>
        </p:txBody>
      </p:sp>
      <p:cxnSp>
        <p:nvCxnSpPr>
          <p:cNvPr id="117" name="肘形连接符 116"/>
          <p:cNvCxnSpPr/>
          <p:nvPr/>
        </p:nvCxnSpPr>
        <p:spPr>
          <a:xfrm rot="16200000" flipH="1">
            <a:off x="5056326" y="3276573"/>
            <a:ext cx="3234895" cy="539437"/>
          </a:xfrm>
          <a:prstGeom prst="bentConnector3">
            <a:avLst>
              <a:gd name="adj1" fmla="val 100205"/>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18" name="肘形连接符 117"/>
          <p:cNvCxnSpPr/>
          <p:nvPr/>
        </p:nvCxnSpPr>
        <p:spPr>
          <a:xfrm rot="5400000">
            <a:off x="8122162" y="4724243"/>
            <a:ext cx="381025" cy="165139"/>
          </a:xfrm>
          <a:prstGeom prst="bentConnector3">
            <a:avLst>
              <a:gd name="adj1" fmla="val 50000"/>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19" name="肘形连接符 118"/>
          <p:cNvCxnSpPr/>
          <p:nvPr/>
        </p:nvCxnSpPr>
        <p:spPr>
          <a:xfrm>
            <a:off x="8411912" y="4807769"/>
            <a:ext cx="611472" cy="202533"/>
          </a:xfrm>
          <a:prstGeom prst="bentConnector2">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p:nvCxnSpPr>
        <p:spPr>
          <a:xfrm>
            <a:off x="10001226" y="3407388"/>
            <a:ext cx="2895" cy="272413"/>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21" name="直接连接符 120"/>
          <p:cNvCxnSpPr/>
          <p:nvPr/>
        </p:nvCxnSpPr>
        <p:spPr>
          <a:xfrm>
            <a:off x="10831894" y="3420866"/>
            <a:ext cx="2895" cy="272413"/>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22" name="直接连接符 121"/>
          <p:cNvCxnSpPr/>
          <p:nvPr/>
        </p:nvCxnSpPr>
        <p:spPr>
          <a:xfrm>
            <a:off x="10712106" y="4800067"/>
            <a:ext cx="2894" cy="191894"/>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23" name="直接箭头连接符 122"/>
          <p:cNvCxnSpPr>
            <a:stCxn id="93" idx="3"/>
            <a:endCxn id="59" idx="1"/>
          </p:cNvCxnSpPr>
          <p:nvPr/>
        </p:nvCxnSpPr>
        <p:spPr>
          <a:xfrm flipV="1">
            <a:off x="4639831" y="2649952"/>
            <a:ext cx="258843" cy="832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4" name="标题 2"/>
          <p:cNvSpPr txBox="1"/>
          <p:nvPr/>
        </p:nvSpPr>
        <p:spPr>
          <a:xfrm>
            <a:off x="172754" y="2090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流程</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表格 49"/>
          <p:cNvGraphicFramePr>
            <a:graphicFrameLocks noGrp="1"/>
          </p:cNvGraphicFramePr>
          <p:nvPr/>
        </p:nvGraphicFramePr>
        <p:xfrm>
          <a:off x="172754" y="783772"/>
          <a:ext cx="11715753" cy="5316581"/>
        </p:xfrm>
        <a:graphic>
          <a:graphicData uri="http://schemas.openxmlformats.org/drawingml/2006/table">
            <a:tbl>
              <a:tblPr firstRow="1" bandRow="1"/>
              <a:tblGrid>
                <a:gridCol w="506185"/>
                <a:gridCol w="1143000"/>
                <a:gridCol w="2669721"/>
                <a:gridCol w="2661558"/>
                <a:gridCol w="2343150"/>
                <a:gridCol w="2392139"/>
              </a:tblGrid>
              <a:tr h="609315">
                <a:tc>
                  <a:txBody>
                    <a:bodyPr/>
                    <a:lstStyle>
                      <a:lvl1pPr marL="0" algn="l" defTabSz="914400" rtl="0" eaLnBrk="1" latinLnBrk="0" hangingPunct="1">
                        <a:defRPr sz="1800" b="1" kern="1200">
                          <a:solidFill>
                            <a:schemeClr val="lt1"/>
                          </a:solidFill>
                          <a:latin typeface="Arial" panose="020B0604020202020204"/>
                          <a:ea typeface="楷体" panose="02010609060101010101" pitchFamily="49" charset="-122"/>
                        </a:defRPr>
                      </a:lvl1pPr>
                      <a:lvl2pPr marL="457200" algn="l" defTabSz="914400" rtl="0" eaLnBrk="1" latinLnBrk="0" hangingPunct="1">
                        <a:defRPr sz="1800" b="1" kern="1200">
                          <a:solidFill>
                            <a:schemeClr val="lt1"/>
                          </a:solidFill>
                          <a:latin typeface="Arial" panose="020B0604020202020204"/>
                          <a:ea typeface="楷体" panose="02010609060101010101" pitchFamily="49" charset="-122"/>
                        </a:defRPr>
                      </a:lvl2pPr>
                      <a:lvl3pPr marL="914400" algn="l" defTabSz="914400" rtl="0" eaLnBrk="1" latinLnBrk="0" hangingPunct="1">
                        <a:defRPr sz="1800" b="1" kern="1200">
                          <a:solidFill>
                            <a:schemeClr val="lt1"/>
                          </a:solidFill>
                          <a:latin typeface="Arial" panose="020B0604020202020204"/>
                          <a:ea typeface="楷体" panose="02010609060101010101" pitchFamily="49" charset="-122"/>
                        </a:defRPr>
                      </a:lvl3pPr>
                      <a:lvl4pPr marL="1371600" algn="l" defTabSz="914400" rtl="0" eaLnBrk="1" latinLnBrk="0" hangingPunct="1">
                        <a:defRPr sz="1800" b="1" kern="1200">
                          <a:solidFill>
                            <a:schemeClr val="lt1"/>
                          </a:solidFill>
                          <a:latin typeface="Arial" panose="020B0604020202020204"/>
                          <a:ea typeface="楷体" panose="02010609060101010101" pitchFamily="49" charset="-122"/>
                        </a:defRPr>
                      </a:lvl4pPr>
                      <a:lvl5pPr marL="1828800" algn="l" defTabSz="914400" rtl="0" eaLnBrk="1" latinLnBrk="0" hangingPunct="1">
                        <a:defRPr sz="1800" b="1" kern="1200">
                          <a:solidFill>
                            <a:schemeClr val="lt1"/>
                          </a:solidFill>
                          <a:latin typeface="Arial" panose="020B0604020202020204"/>
                          <a:ea typeface="楷体" panose="02010609060101010101" pitchFamily="49" charset="-122"/>
                        </a:defRPr>
                      </a:lvl5pPr>
                      <a:lvl6pPr marL="2286000" algn="l" defTabSz="914400" rtl="0" eaLnBrk="1" latinLnBrk="0" hangingPunct="1">
                        <a:defRPr sz="1800" b="1" kern="1200">
                          <a:solidFill>
                            <a:schemeClr val="lt1"/>
                          </a:solidFill>
                          <a:latin typeface="Arial" panose="020B0604020202020204"/>
                          <a:ea typeface="楷体" panose="02010609060101010101" pitchFamily="49" charset="-122"/>
                        </a:defRPr>
                      </a:lvl6pPr>
                      <a:lvl7pPr marL="2743200" algn="l" defTabSz="914400" rtl="0" eaLnBrk="1" latinLnBrk="0" hangingPunct="1">
                        <a:defRPr sz="1800" b="1" kern="1200">
                          <a:solidFill>
                            <a:schemeClr val="lt1"/>
                          </a:solidFill>
                          <a:latin typeface="Arial" panose="020B0604020202020204"/>
                          <a:ea typeface="楷体" panose="02010609060101010101" pitchFamily="49" charset="-122"/>
                        </a:defRPr>
                      </a:lvl7pPr>
                      <a:lvl8pPr marL="3200400" algn="l" defTabSz="914400" rtl="0" eaLnBrk="1" latinLnBrk="0" hangingPunct="1">
                        <a:defRPr sz="1800" b="1" kern="1200">
                          <a:solidFill>
                            <a:schemeClr val="lt1"/>
                          </a:solidFill>
                          <a:latin typeface="Arial" panose="020B0604020202020204"/>
                          <a:ea typeface="楷体" panose="02010609060101010101" pitchFamily="49" charset="-122"/>
                        </a:defRPr>
                      </a:lvl8pPr>
                      <a:lvl9pPr marL="3657600" algn="l" defTabSz="914400" rtl="0" eaLnBrk="1" latinLnBrk="0" hangingPunct="1">
                        <a:defRPr sz="1800" b="1" kern="1200">
                          <a:solidFill>
                            <a:schemeClr val="lt1"/>
                          </a:solidFill>
                          <a:latin typeface="Arial" panose="020B0604020202020204"/>
                          <a:ea typeface="楷体" panose="02010609060101010101" pitchFamily="49" charset="-122"/>
                        </a:defRPr>
                      </a:lvl9pPr>
                    </a:lstStyle>
                    <a:p>
                      <a:endParaRPr lang="zh-CN" altLang="en-US" sz="2400" dirty="0">
                        <a:solidFill>
                          <a:schemeClr val="bg1"/>
                        </a:solidFill>
                      </a:endParaRPr>
                    </a:p>
                  </a:txBody>
                  <a:tcPr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b="1" kern="1200">
                          <a:solidFill>
                            <a:schemeClr val="lt1"/>
                          </a:solidFill>
                          <a:latin typeface="Arial" panose="020B0604020202020204"/>
                          <a:ea typeface="楷体" panose="02010609060101010101" pitchFamily="49" charset="-122"/>
                        </a:defRPr>
                      </a:lvl1pPr>
                      <a:lvl2pPr marL="457200" algn="l" defTabSz="914400" rtl="0" eaLnBrk="1" latinLnBrk="0" hangingPunct="1">
                        <a:defRPr sz="1800" b="1" kern="1200">
                          <a:solidFill>
                            <a:schemeClr val="lt1"/>
                          </a:solidFill>
                          <a:latin typeface="Arial" panose="020B0604020202020204"/>
                          <a:ea typeface="楷体" panose="02010609060101010101" pitchFamily="49" charset="-122"/>
                        </a:defRPr>
                      </a:lvl2pPr>
                      <a:lvl3pPr marL="914400" algn="l" defTabSz="914400" rtl="0" eaLnBrk="1" latinLnBrk="0" hangingPunct="1">
                        <a:defRPr sz="1800" b="1" kern="1200">
                          <a:solidFill>
                            <a:schemeClr val="lt1"/>
                          </a:solidFill>
                          <a:latin typeface="Arial" panose="020B0604020202020204"/>
                          <a:ea typeface="楷体" panose="02010609060101010101" pitchFamily="49" charset="-122"/>
                        </a:defRPr>
                      </a:lvl3pPr>
                      <a:lvl4pPr marL="1371600" algn="l" defTabSz="914400" rtl="0" eaLnBrk="1" latinLnBrk="0" hangingPunct="1">
                        <a:defRPr sz="1800" b="1" kern="1200">
                          <a:solidFill>
                            <a:schemeClr val="lt1"/>
                          </a:solidFill>
                          <a:latin typeface="Arial" panose="020B0604020202020204"/>
                          <a:ea typeface="楷体" panose="02010609060101010101" pitchFamily="49" charset="-122"/>
                        </a:defRPr>
                      </a:lvl4pPr>
                      <a:lvl5pPr marL="1828800" algn="l" defTabSz="914400" rtl="0" eaLnBrk="1" latinLnBrk="0" hangingPunct="1">
                        <a:defRPr sz="1800" b="1" kern="1200">
                          <a:solidFill>
                            <a:schemeClr val="lt1"/>
                          </a:solidFill>
                          <a:latin typeface="Arial" panose="020B0604020202020204"/>
                          <a:ea typeface="楷体" panose="02010609060101010101" pitchFamily="49" charset="-122"/>
                        </a:defRPr>
                      </a:lvl5pPr>
                      <a:lvl6pPr marL="2286000" algn="l" defTabSz="914400" rtl="0" eaLnBrk="1" latinLnBrk="0" hangingPunct="1">
                        <a:defRPr sz="1800" b="1" kern="1200">
                          <a:solidFill>
                            <a:schemeClr val="lt1"/>
                          </a:solidFill>
                          <a:latin typeface="Arial" panose="020B0604020202020204"/>
                          <a:ea typeface="楷体" panose="02010609060101010101" pitchFamily="49" charset="-122"/>
                        </a:defRPr>
                      </a:lvl6pPr>
                      <a:lvl7pPr marL="2743200" algn="l" defTabSz="914400" rtl="0" eaLnBrk="1" latinLnBrk="0" hangingPunct="1">
                        <a:defRPr sz="1800" b="1" kern="1200">
                          <a:solidFill>
                            <a:schemeClr val="lt1"/>
                          </a:solidFill>
                          <a:latin typeface="Arial" panose="020B0604020202020204"/>
                          <a:ea typeface="楷体" panose="02010609060101010101" pitchFamily="49" charset="-122"/>
                        </a:defRPr>
                      </a:lvl7pPr>
                      <a:lvl8pPr marL="3200400" algn="l" defTabSz="914400" rtl="0" eaLnBrk="1" latinLnBrk="0" hangingPunct="1">
                        <a:defRPr sz="1800" b="1" kern="1200">
                          <a:solidFill>
                            <a:schemeClr val="lt1"/>
                          </a:solidFill>
                          <a:latin typeface="Arial" panose="020B0604020202020204"/>
                          <a:ea typeface="楷体" panose="02010609060101010101" pitchFamily="49" charset="-122"/>
                        </a:defRPr>
                      </a:lvl8pPr>
                      <a:lvl9pPr marL="3657600" algn="l" defTabSz="914400" rtl="0" eaLnBrk="1" latinLnBrk="0" hangingPunct="1">
                        <a:defRPr sz="1800" b="1" kern="1200">
                          <a:solidFill>
                            <a:schemeClr val="lt1"/>
                          </a:solidFill>
                          <a:latin typeface="Arial" panose="020B0604020202020204"/>
                          <a:ea typeface="楷体" panose="02010609060101010101" pitchFamily="49" charset="-122"/>
                        </a:defRPr>
                      </a:lvl9pPr>
                    </a:lstStyle>
                    <a:p>
                      <a:pPr marL="0" algn="ctr" defTabSz="1242695" rtl="0" eaLnBrk="1" latinLnBrk="0" hangingPunct="1"/>
                      <a:r>
                        <a:rPr lang="en-US" altLang="zh-CN" sz="1600" b="1" kern="1200" dirty="0" smtClean="0">
                          <a:solidFill>
                            <a:schemeClr val="bg1"/>
                          </a:solidFill>
                          <a:latin typeface="华文楷体" panose="02010600040101010101" charset="-122"/>
                          <a:ea typeface="华文楷体" panose="02010600040101010101" charset="-122"/>
                          <a:cs typeface="+mn-cs"/>
                        </a:rPr>
                        <a:t>xx</a:t>
                      </a:r>
                      <a:r>
                        <a:rPr lang="zh-CN" altLang="en-US" sz="1600" b="1" kern="1200" dirty="0" smtClean="0">
                          <a:solidFill>
                            <a:schemeClr val="bg1"/>
                          </a:solidFill>
                          <a:latin typeface="华文楷体" panose="02010600040101010101" charset="-122"/>
                          <a:ea typeface="华文楷体" panose="02010600040101010101" charset="-122"/>
                          <a:cs typeface="+mn-cs"/>
                        </a:rPr>
                        <a:t>环节</a:t>
                      </a:r>
                      <a:endParaRPr lang="zh-CN" altLang="en-US" sz="1600" b="1" kern="1200" dirty="0">
                        <a:solidFill>
                          <a:schemeClr val="bg1"/>
                        </a:solidFill>
                        <a:latin typeface="华文楷体" panose="02010600040101010101" charset="-122"/>
                        <a:ea typeface="华文楷体" panose="02010600040101010101" charset="-122"/>
                        <a:cs typeface="+mn-cs"/>
                      </a:endParaRPr>
                    </a:p>
                  </a:txBody>
                  <a:tcPr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b="1" kern="1200">
                          <a:solidFill>
                            <a:schemeClr val="lt1"/>
                          </a:solidFill>
                          <a:latin typeface="Arial" panose="020B0604020202020204"/>
                          <a:ea typeface="楷体" panose="02010609060101010101" pitchFamily="49" charset="-122"/>
                        </a:defRPr>
                      </a:lvl1pPr>
                      <a:lvl2pPr marL="457200" algn="l" defTabSz="914400" rtl="0" eaLnBrk="1" latinLnBrk="0" hangingPunct="1">
                        <a:defRPr sz="1800" b="1" kern="1200">
                          <a:solidFill>
                            <a:schemeClr val="lt1"/>
                          </a:solidFill>
                          <a:latin typeface="Arial" panose="020B0604020202020204"/>
                          <a:ea typeface="楷体" panose="02010609060101010101" pitchFamily="49" charset="-122"/>
                        </a:defRPr>
                      </a:lvl2pPr>
                      <a:lvl3pPr marL="914400" algn="l" defTabSz="914400" rtl="0" eaLnBrk="1" latinLnBrk="0" hangingPunct="1">
                        <a:defRPr sz="1800" b="1" kern="1200">
                          <a:solidFill>
                            <a:schemeClr val="lt1"/>
                          </a:solidFill>
                          <a:latin typeface="Arial" panose="020B0604020202020204"/>
                          <a:ea typeface="楷体" panose="02010609060101010101" pitchFamily="49" charset="-122"/>
                        </a:defRPr>
                      </a:lvl3pPr>
                      <a:lvl4pPr marL="1371600" algn="l" defTabSz="914400" rtl="0" eaLnBrk="1" latinLnBrk="0" hangingPunct="1">
                        <a:defRPr sz="1800" b="1" kern="1200">
                          <a:solidFill>
                            <a:schemeClr val="lt1"/>
                          </a:solidFill>
                          <a:latin typeface="Arial" panose="020B0604020202020204"/>
                          <a:ea typeface="楷体" panose="02010609060101010101" pitchFamily="49" charset="-122"/>
                        </a:defRPr>
                      </a:lvl4pPr>
                      <a:lvl5pPr marL="1828800" algn="l" defTabSz="914400" rtl="0" eaLnBrk="1" latinLnBrk="0" hangingPunct="1">
                        <a:defRPr sz="1800" b="1" kern="1200">
                          <a:solidFill>
                            <a:schemeClr val="lt1"/>
                          </a:solidFill>
                          <a:latin typeface="Arial" panose="020B0604020202020204"/>
                          <a:ea typeface="楷体" panose="02010609060101010101" pitchFamily="49" charset="-122"/>
                        </a:defRPr>
                      </a:lvl5pPr>
                      <a:lvl6pPr marL="2286000" algn="l" defTabSz="914400" rtl="0" eaLnBrk="1" latinLnBrk="0" hangingPunct="1">
                        <a:defRPr sz="1800" b="1" kern="1200">
                          <a:solidFill>
                            <a:schemeClr val="lt1"/>
                          </a:solidFill>
                          <a:latin typeface="Arial" panose="020B0604020202020204"/>
                          <a:ea typeface="楷体" panose="02010609060101010101" pitchFamily="49" charset="-122"/>
                        </a:defRPr>
                      </a:lvl6pPr>
                      <a:lvl7pPr marL="2743200" algn="l" defTabSz="914400" rtl="0" eaLnBrk="1" latinLnBrk="0" hangingPunct="1">
                        <a:defRPr sz="1800" b="1" kern="1200">
                          <a:solidFill>
                            <a:schemeClr val="lt1"/>
                          </a:solidFill>
                          <a:latin typeface="Arial" panose="020B0604020202020204"/>
                          <a:ea typeface="楷体" panose="02010609060101010101" pitchFamily="49" charset="-122"/>
                        </a:defRPr>
                      </a:lvl7pPr>
                      <a:lvl8pPr marL="3200400" algn="l" defTabSz="914400" rtl="0" eaLnBrk="1" latinLnBrk="0" hangingPunct="1">
                        <a:defRPr sz="1800" b="1" kern="1200">
                          <a:solidFill>
                            <a:schemeClr val="lt1"/>
                          </a:solidFill>
                          <a:latin typeface="Arial" panose="020B0604020202020204"/>
                          <a:ea typeface="楷体" panose="02010609060101010101" pitchFamily="49" charset="-122"/>
                        </a:defRPr>
                      </a:lvl8pPr>
                      <a:lvl9pPr marL="3657600" algn="l" defTabSz="914400" rtl="0" eaLnBrk="1" latinLnBrk="0" hangingPunct="1">
                        <a:defRPr sz="1800" b="1" kern="1200">
                          <a:solidFill>
                            <a:schemeClr val="lt1"/>
                          </a:solidFill>
                          <a:latin typeface="Arial" panose="020B0604020202020204"/>
                          <a:ea typeface="楷体" panose="02010609060101010101" pitchFamily="49" charset="-122"/>
                        </a:defRPr>
                      </a:lvl9pPr>
                    </a:lstStyle>
                    <a:p>
                      <a:pPr algn="ctr"/>
                      <a:r>
                        <a:rPr lang="zh-CN" altLang="en-US" sz="1600" dirty="0" smtClean="0">
                          <a:solidFill>
                            <a:schemeClr val="bg1"/>
                          </a:solidFill>
                          <a:latin typeface="华文楷体" panose="02010600040101010101" charset="-122"/>
                          <a:ea typeface="华文楷体" panose="02010600040101010101" charset="-122"/>
                        </a:rPr>
                        <a:t>角色</a:t>
                      </a:r>
                      <a:r>
                        <a:rPr lang="en-US" altLang="zh-CN" sz="1600" dirty="0" smtClean="0">
                          <a:solidFill>
                            <a:schemeClr val="bg1"/>
                          </a:solidFill>
                          <a:latin typeface="华文楷体" panose="02010600040101010101" charset="-122"/>
                          <a:ea typeface="华文楷体" panose="02010600040101010101" charset="-122"/>
                        </a:rPr>
                        <a:t>1</a:t>
                      </a:r>
                      <a:endParaRPr lang="zh-CN" altLang="en-US" sz="1600" dirty="0">
                        <a:solidFill>
                          <a:schemeClr val="bg1"/>
                        </a:solidFill>
                        <a:latin typeface="华文楷体" panose="02010600040101010101" charset="-122"/>
                        <a:ea typeface="华文楷体" panose="02010600040101010101" charset="-122"/>
                      </a:endParaRPr>
                    </a:p>
                  </a:txBody>
                  <a:tcPr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b="1" kern="1200">
                          <a:solidFill>
                            <a:schemeClr val="lt1"/>
                          </a:solidFill>
                          <a:latin typeface="Arial" panose="020B0604020202020204"/>
                          <a:ea typeface="楷体" panose="02010609060101010101" pitchFamily="49" charset="-122"/>
                        </a:defRPr>
                      </a:lvl1pPr>
                      <a:lvl2pPr marL="457200" algn="l" defTabSz="914400" rtl="0" eaLnBrk="1" latinLnBrk="0" hangingPunct="1">
                        <a:defRPr sz="1800" b="1" kern="1200">
                          <a:solidFill>
                            <a:schemeClr val="lt1"/>
                          </a:solidFill>
                          <a:latin typeface="Arial" panose="020B0604020202020204"/>
                          <a:ea typeface="楷体" panose="02010609060101010101" pitchFamily="49" charset="-122"/>
                        </a:defRPr>
                      </a:lvl2pPr>
                      <a:lvl3pPr marL="914400" algn="l" defTabSz="914400" rtl="0" eaLnBrk="1" latinLnBrk="0" hangingPunct="1">
                        <a:defRPr sz="1800" b="1" kern="1200">
                          <a:solidFill>
                            <a:schemeClr val="lt1"/>
                          </a:solidFill>
                          <a:latin typeface="Arial" panose="020B0604020202020204"/>
                          <a:ea typeface="楷体" panose="02010609060101010101" pitchFamily="49" charset="-122"/>
                        </a:defRPr>
                      </a:lvl3pPr>
                      <a:lvl4pPr marL="1371600" algn="l" defTabSz="914400" rtl="0" eaLnBrk="1" latinLnBrk="0" hangingPunct="1">
                        <a:defRPr sz="1800" b="1" kern="1200">
                          <a:solidFill>
                            <a:schemeClr val="lt1"/>
                          </a:solidFill>
                          <a:latin typeface="Arial" panose="020B0604020202020204"/>
                          <a:ea typeface="楷体" panose="02010609060101010101" pitchFamily="49" charset="-122"/>
                        </a:defRPr>
                      </a:lvl4pPr>
                      <a:lvl5pPr marL="1828800" algn="l" defTabSz="914400" rtl="0" eaLnBrk="1" latinLnBrk="0" hangingPunct="1">
                        <a:defRPr sz="1800" b="1" kern="1200">
                          <a:solidFill>
                            <a:schemeClr val="lt1"/>
                          </a:solidFill>
                          <a:latin typeface="Arial" panose="020B0604020202020204"/>
                          <a:ea typeface="楷体" panose="02010609060101010101" pitchFamily="49" charset="-122"/>
                        </a:defRPr>
                      </a:lvl5pPr>
                      <a:lvl6pPr marL="2286000" algn="l" defTabSz="914400" rtl="0" eaLnBrk="1" latinLnBrk="0" hangingPunct="1">
                        <a:defRPr sz="1800" b="1" kern="1200">
                          <a:solidFill>
                            <a:schemeClr val="lt1"/>
                          </a:solidFill>
                          <a:latin typeface="Arial" panose="020B0604020202020204"/>
                          <a:ea typeface="楷体" panose="02010609060101010101" pitchFamily="49" charset="-122"/>
                        </a:defRPr>
                      </a:lvl6pPr>
                      <a:lvl7pPr marL="2743200" algn="l" defTabSz="914400" rtl="0" eaLnBrk="1" latinLnBrk="0" hangingPunct="1">
                        <a:defRPr sz="1800" b="1" kern="1200">
                          <a:solidFill>
                            <a:schemeClr val="lt1"/>
                          </a:solidFill>
                          <a:latin typeface="Arial" panose="020B0604020202020204"/>
                          <a:ea typeface="楷体" panose="02010609060101010101" pitchFamily="49" charset="-122"/>
                        </a:defRPr>
                      </a:lvl7pPr>
                      <a:lvl8pPr marL="3200400" algn="l" defTabSz="914400" rtl="0" eaLnBrk="1" latinLnBrk="0" hangingPunct="1">
                        <a:defRPr sz="1800" b="1" kern="1200">
                          <a:solidFill>
                            <a:schemeClr val="lt1"/>
                          </a:solidFill>
                          <a:latin typeface="Arial" panose="020B0604020202020204"/>
                          <a:ea typeface="楷体" panose="02010609060101010101" pitchFamily="49" charset="-122"/>
                        </a:defRPr>
                      </a:lvl8pPr>
                      <a:lvl9pPr marL="3657600" algn="l" defTabSz="914400" rtl="0" eaLnBrk="1" latinLnBrk="0" hangingPunct="1">
                        <a:defRPr sz="1800" b="1" kern="1200">
                          <a:solidFill>
                            <a:schemeClr val="lt1"/>
                          </a:solidFill>
                          <a:latin typeface="Arial" panose="020B0604020202020204"/>
                          <a:ea typeface="楷体" panose="02010609060101010101" pitchFamily="49" charset="-122"/>
                        </a:defRPr>
                      </a:lvl9pPr>
                    </a:lstStyle>
                    <a:p>
                      <a:pPr marL="0" marR="0" indent="0" algn="ctr" defTabSz="1242695" rtl="0" eaLnBrk="1" fontAlgn="auto" latinLnBrk="0" hangingPunct="1">
                        <a:lnSpc>
                          <a:spcPct val="100000"/>
                        </a:lnSpc>
                        <a:spcBef>
                          <a:spcPts val="0"/>
                        </a:spcBef>
                        <a:spcAft>
                          <a:spcPts val="0"/>
                        </a:spcAft>
                        <a:buClrTx/>
                        <a:buSzTx/>
                        <a:buFontTx/>
                        <a:buNone/>
                        <a:defRPr/>
                      </a:pPr>
                      <a:r>
                        <a:rPr lang="zh-CN" altLang="en-US" sz="1600" dirty="0" smtClean="0">
                          <a:solidFill>
                            <a:schemeClr val="bg1"/>
                          </a:solidFill>
                          <a:latin typeface="华文楷体" panose="02010600040101010101" charset="-122"/>
                          <a:ea typeface="华文楷体" panose="02010600040101010101" charset="-122"/>
                        </a:rPr>
                        <a:t>角色</a:t>
                      </a:r>
                      <a:r>
                        <a:rPr lang="en-US" altLang="zh-CN" sz="1600" dirty="0" smtClean="0">
                          <a:solidFill>
                            <a:schemeClr val="bg1"/>
                          </a:solidFill>
                          <a:latin typeface="华文楷体" panose="02010600040101010101" charset="-122"/>
                          <a:ea typeface="华文楷体" panose="02010600040101010101" charset="-122"/>
                        </a:rPr>
                        <a:t>2</a:t>
                      </a:r>
                      <a:endParaRPr lang="zh-CN" altLang="en-US" sz="1600" dirty="0" smtClean="0">
                        <a:solidFill>
                          <a:schemeClr val="bg1"/>
                        </a:solidFill>
                        <a:latin typeface="华文楷体" panose="02010600040101010101" charset="-122"/>
                        <a:ea typeface="华文楷体" panose="02010600040101010101" charset="-122"/>
                      </a:endParaRPr>
                    </a:p>
                  </a:txBody>
                  <a:tcPr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b="1" kern="1200">
                          <a:solidFill>
                            <a:schemeClr val="lt1"/>
                          </a:solidFill>
                          <a:latin typeface="Arial" panose="020B0604020202020204"/>
                          <a:ea typeface="楷体" panose="02010609060101010101" pitchFamily="49" charset="-122"/>
                        </a:defRPr>
                      </a:lvl1pPr>
                      <a:lvl2pPr marL="457200" algn="l" defTabSz="914400" rtl="0" eaLnBrk="1" latinLnBrk="0" hangingPunct="1">
                        <a:defRPr sz="1800" b="1" kern="1200">
                          <a:solidFill>
                            <a:schemeClr val="lt1"/>
                          </a:solidFill>
                          <a:latin typeface="Arial" panose="020B0604020202020204"/>
                          <a:ea typeface="楷体" panose="02010609060101010101" pitchFamily="49" charset="-122"/>
                        </a:defRPr>
                      </a:lvl2pPr>
                      <a:lvl3pPr marL="914400" algn="l" defTabSz="914400" rtl="0" eaLnBrk="1" latinLnBrk="0" hangingPunct="1">
                        <a:defRPr sz="1800" b="1" kern="1200">
                          <a:solidFill>
                            <a:schemeClr val="lt1"/>
                          </a:solidFill>
                          <a:latin typeface="Arial" panose="020B0604020202020204"/>
                          <a:ea typeface="楷体" panose="02010609060101010101" pitchFamily="49" charset="-122"/>
                        </a:defRPr>
                      </a:lvl3pPr>
                      <a:lvl4pPr marL="1371600" algn="l" defTabSz="914400" rtl="0" eaLnBrk="1" latinLnBrk="0" hangingPunct="1">
                        <a:defRPr sz="1800" b="1" kern="1200">
                          <a:solidFill>
                            <a:schemeClr val="lt1"/>
                          </a:solidFill>
                          <a:latin typeface="Arial" panose="020B0604020202020204"/>
                          <a:ea typeface="楷体" panose="02010609060101010101" pitchFamily="49" charset="-122"/>
                        </a:defRPr>
                      </a:lvl4pPr>
                      <a:lvl5pPr marL="1828800" algn="l" defTabSz="914400" rtl="0" eaLnBrk="1" latinLnBrk="0" hangingPunct="1">
                        <a:defRPr sz="1800" b="1" kern="1200">
                          <a:solidFill>
                            <a:schemeClr val="lt1"/>
                          </a:solidFill>
                          <a:latin typeface="Arial" panose="020B0604020202020204"/>
                          <a:ea typeface="楷体" panose="02010609060101010101" pitchFamily="49" charset="-122"/>
                        </a:defRPr>
                      </a:lvl5pPr>
                      <a:lvl6pPr marL="2286000" algn="l" defTabSz="914400" rtl="0" eaLnBrk="1" latinLnBrk="0" hangingPunct="1">
                        <a:defRPr sz="1800" b="1" kern="1200">
                          <a:solidFill>
                            <a:schemeClr val="lt1"/>
                          </a:solidFill>
                          <a:latin typeface="Arial" panose="020B0604020202020204"/>
                          <a:ea typeface="楷体" panose="02010609060101010101" pitchFamily="49" charset="-122"/>
                        </a:defRPr>
                      </a:lvl6pPr>
                      <a:lvl7pPr marL="2743200" algn="l" defTabSz="914400" rtl="0" eaLnBrk="1" latinLnBrk="0" hangingPunct="1">
                        <a:defRPr sz="1800" b="1" kern="1200">
                          <a:solidFill>
                            <a:schemeClr val="lt1"/>
                          </a:solidFill>
                          <a:latin typeface="Arial" panose="020B0604020202020204"/>
                          <a:ea typeface="楷体" panose="02010609060101010101" pitchFamily="49" charset="-122"/>
                        </a:defRPr>
                      </a:lvl7pPr>
                      <a:lvl8pPr marL="3200400" algn="l" defTabSz="914400" rtl="0" eaLnBrk="1" latinLnBrk="0" hangingPunct="1">
                        <a:defRPr sz="1800" b="1" kern="1200">
                          <a:solidFill>
                            <a:schemeClr val="lt1"/>
                          </a:solidFill>
                          <a:latin typeface="Arial" panose="020B0604020202020204"/>
                          <a:ea typeface="楷体" panose="02010609060101010101" pitchFamily="49" charset="-122"/>
                        </a:defRPr>
                      </a:lvl8pPr>
                      <a:lvl9pPr marL="3657600" algn="l" defTabSz="914400" rtl="0" eaLnBrk="1" latinLnBrk="0" hangingPunct="1">
                        <a:defRPr sz="1800" b="1" kern="1200">
                          <a:solidFill>
                            <a:schemeClr val="lt1"/>
                          </a:solidFill>
                          <a:latin typeface="Arial" panose="020B0604020202020204"/>
                          <a:ea typeface="楷体" panose="02010609060101010101" pitchFamily="49" charset="-122"/>
                        </a:defRPr>
                      </a:lvl9pPr>
                    </a:lstStyle>
                    <a:p>
                      <a:pPr marL="0" algn="ctr" defTabSz="1242695" rtl="0" eaLnBrk="1" latinLnBrk="0" hangingPunct="1"/>
                      <a:r>
                        <a:rPr lang="en-US" altLang="zh-CN" sz="1600" b="1" kern="1200" dirty="0" smtClean="0">
                          <a:solidFill>
                            <a:schemeClr val="bg1"/>
                          </a:solidFill>
                          <a:latin typeface="华文楷体" panose="02010600040101010101" charset="-122"/>
                          <a:ea typeface="华文楷体" panose="02010600040101010101" charset="-122"/>
                          <a:cs typeface="+mn-cs"/>
                        </a:rPr>
                        <a:t>xx</a:t>
                      </a:r>
                      <a:endParaRPr lang="zh-CN" altLang="en-US" sz="1600" b="1" kern="1200" dirty="0">
                        <a:solidFill>
                          <a:schemeClr val="bg1"/>
                        </a:solidFill>
                        <a:latin typeface="华文楷体" panose="02010600040101010101" charset="-122"/>
                        <a:ea typeface="华文楷体" panose="02010600040101010101" charset="-122"/>
                        <a:cs typeface="+mn-cs"/>
                      </a:endParaRPr>
                    </a:p>
                  </a:txBody>
                  <a:tcPr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b="1" kern="1200">
                          <a:solidFill>
                            <a:schemeClr val="lt1"/>
                          </a:solidFill>
                          <a:latin typeface="Arial" panose="020B0604020202020204"/>
                          <a:ea typeface="楷体" panose="02010609060101010101" pitchFamily="49" charset="-122"/>
                        </a:defRPr>
                      </a:lvl1pPr>
                      <a:lvl2pPr marL="457200" algn="l" defTabSz="914400" rtl="0" eaLnBrk="1" latinLnBrk="0" hangingPunct="1">
                        <a:defRPr sz="1800" b="1" kern="1200">
                          <a:solidFill>
                            <a:schemeClr val="lt1"/>
                          </a:solidFill>
                          <a:latin typeface="Arial" panose="020B0604020202020204"/>
                          <a:ea typeface="楷体" panose="02010609060101010101" pitchFamily="49" charset="-122"/>
                        </a:defRPr>
                      </a:lvl2pPr>
                      <a:lvl3pPr marL="914400" algn="l" defTabSz="914400" rtl="0" eaLnBrk="1" latinLnBrk="0" hangingPunct="1">
                        <a:defRPr sz="1800" b="1" kern="1200">
                          <a:solidFill>
                            <a:schemeClr val="lt1"/>
                          </a:solidFill>
                          <a:latin typeface="Arial" panose="020B0604020202020204"/>
                          <a:ea typeface="楷体" panose="02010609060101010101" pitchFamily="49" charset="-122"/>
                        </a:defRPr>
                      </a:lvl3pPr>
                      <a:lvl4pPr marL="1371600" algn="l" defTabSz="914400" rtl="0" eaLnBrk="1" latinLnBrk="0" hangingPunct="1">
                        <a:defRPr sz="1800" b="1" kern="1200">
                          <a:solidFill>
                            <a:schemeClr val="lt1"/>
                          </a:solidFill>
                          <a:latin typeface="Arial" panose="020B0604020202020204"/>
                          <a:ea typeface="楷体" panose="02010609060101010101" pitchFamily="49" charset="-122"/>
                        </a:defRPr>
                      </a:lvl4pPr>
                      <a:lvl5pPr marL="1828800" algn="l" defTabSz="914400" rtl="0" eaLnBrk="1" latinLnBrk="0" hangingPunct="1">
                        <a:defRPr sz="1800" b="1" kern="1200">
                          <a:solidFill>
                            <a:schemeClr val="lt1"/>
                          </a:solidFill>
                          <a:latin typeface="Arial" panose="020B0604020202020204"/>
                          <a:ea typeface="楷体" panose="02010609060101010101" pitchFamily="49" charset="-122"/>
                        </a:defRPr>
                      </a:lvl5pPr>
                      <a:lvl6pPr marL="2286000" algn="l" defTabSz="914400" rtl="0" eaLnBrk="1" latinLnBrk="0" hangingPunct="1">
                        <a:defRPr sz="1800" b="1" kern="1200">
                          <a:solidFill>
                            <a:schemeClr val="lt1"/>
                          </a:solidFill>
                          <a:latin typeface="Arial" panose="020B0604020202020204"/>
                          <a:ea typeface="楷体" panose="02010609060101010101" pitchFamily="49" charset="-122"/>
                        </a:defRPr>
                      </a:lvl6pPr>
                      <a:lvl7pPr marL="2743200" algn="l" defTabSz="914400" rtl="0" eaLnBrk="1" latinLnBrk="0" hangingPunct="1">
                        <a:defRPr sz="1800" b="1" kern="1200">
                          <a:solidFill>
                            <a:schemeClr val="lt1"/>
                          </a:solidFill>
                          <a:latin typeface="Arial" panose="020B0604020202020204"/>
                          <a:ea typeface="楷体" panose="02010609060101010101" pitchFamily="49" charset="-122"/>
                        </a:defRPr>
                      </a:lvl7pPr>
                      <a:lvl8pPr marL="3200400" algn="l" defTabSz="914400" rtl="0" eaLnBrk="1" latinLnBrk="0" hangingPunct="1">
                        <a:defRPr sz="1800" b="1" kern="1200">
                          <a:solidFill>
                            <a:schemeClr val="lt1"/>
                          </a:solidFill>
                          <a:latin typeface="Arial" panose="020B0604020202020204"/>
                          <a:ea typeface="楷体" panose="02010609060101010101" pitchFamily="49" charset="-122"/>
                        </a:defRPr>
                      </a:lvl8pPr>
                      <a:lvl9pPr marL="3657600" algn="l" defTabSz="914400" rtl="0" eaLnBrk="1" latinLnBrk="0" hangingPunct="1">
                        <a:defRPr sz="1800" b="1" kern="1200">
                          <a:solidFill>
                            <a:schemeClr val="lt1"/>
                          </a:solidFill>
                          <a:latin typeface="Arial" panose="020B0604020202020204"/>
                          <a:ea typeface="楷体" panose="02010609060101010101" pitchFamily="49" charset="-122"/>
                        </a:defRPr>
                      </a:lvl9pPr>
                    </a:lstStyle>
                    <a:p>
                      <a:pPr marL="0" algn="ctr" defTabSz="1242695" rtl="0" eaLnBrk="1" latinLnBrk="0" hangingPunct="1"/>
                      <a:r>
                        <a:rPr lang="en-US" altLang="zh-CN" sz="1600" b="1" kern="1200" dirty="0" smtClean="0">
                          <a:solidFill>
                            <a:schemeClr val="bg1"/>
                          </a:solidFill>
                          <a:latin typeface="华文楷体" panose="02010600040101010101" charset="-122"/>
                          <a:ea typeface="华文楷体" panose="02010600040101010101" charset="-122"/>
                          <a:cs typeface="+mn-cs"/>
                        </a:rPr>
                        <a:t>xx</a:t>
                      </a:r>
                      <a:endParaRPr lang="zh-CN" altLang="en-US" sz="1600" b="1" kern="1200" dirty="0">
                        <a:solidFill>
                          <a:schemeClr val="bg1"/>
                        </a:solidFill>
                        <a:latin typeface="华文楷体" panose="02010600040101010101" charset="-122"/>
                        <a:ea typeface="华文楷体" panose="02010600040101010101" charset="-122"/>
                        <a:cs typeface="+mn-cs"/>
                      </a:endParaRPr>
                    </a:p>
                  </a:txBody>
                  <a:tcPr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r>
              <a:tr h="541973">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pPr marL="0" algn="ctr" defTabSz="1242695" rtl="0" eaLnBrk="1" latinLnBrk="0" hangingPunct="1"/>
                      <a:r>
                        <a:rPr lang="en-US" altLang="zh-CN" sz="1400" b="1" kern="1200" dirty="0" smtClean="0">
                          <a:solidFill>
                            <a:schemeClr val="bg1"/>
                          </a:solidFill>
                          <a:latin typeface="华文楷体" panose="02010600040101010101" charset="-122"/>
                          <a:ea typeface="华文楷体" panose="02010600040101010101" charset="-122"/>
                          <a:cs typeface="+mn-cs"/>
                        </a:rPr>
                        <a:t>xx</a:t>
                      </a:r>
                      <a:endParaRPr lang="zh-CN" altLang="en-US" sz="1400" b="1" kern="1200" dirty="0">
                        <a:solidFill>
                          <a:schemeClr val="bg1"/>
                        </a:solidFill>
                        <a:latin typeface="华文楷体" panose="02010600040101010101" charset="-122"/>
                        <a:ea typeface="华文楷体" panose="02010600040101010101" charset="-122"/>
                        <a:cs typeface="+mn-cs"/>
                      </a:endParaRPr>
                    </a:p>
                  </a:txBody>
                  <a:tcPr vert="eaVert"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solidFill>
                          <a:schemeClr val="bg1"/>
                        </a:solidFill>
                      </a:endParaRPr>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r>
              <a:tr h="488798">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pPr marL="0" marR="0" indent="0" algn="ctr" defTabSz="1242695" rtl="0" eaLnBrk="1" fontAlgn="auto" latinLnBrk="0" hangingPunct="1">
                        <a:lnSpc>
                          <a:spcPct val="100000"/>
                        </a:lnSpc>
                        <a:spcBef>
                          <a:spcPts val="0"/>
                        </a:spcBef>
                        <a:spcAft>
                          <a:spcPts val="0"/>
                        </a:spcAft>
                        <a:buClrTx/>
                        <a:buSzTx/>
                        <a:buFontTx/>
                        <a:buNone/>
                        <a:defRPr/>
                      </a:pPr>
                      <a:r>
                        <a:rPr lang="en-US" altLang="zh-CN" sz="1400" b="1" kern="1200" dirty="0" smtClean="0">
                          <a:solidFill>
                            <a:schemeClr val="bg1"/>
                          </a:solidFill>
                          <a:latin typeface="华文楷体" panose="02010600040101010101" charset="-122"/>
                          <a:ea typeface="华文楷体" panose="02010600040101010101" charset="-122"/>
                          <a:cs typeface="+mn-cs"/>
                        </a:rPr>
                        <a:t>xx</a:t>
                      </a:r>
                      <a:endParaRPr lang="zh-CN" altLang="en-US" sz="1400" b="1" kern="1200" dirty="0" smtClean="0">
                        <a:solidFill>
                          <a:schemeClr val="bg1"/>
                        </a:solidFill>
                        <a:latin typeface="华文楷体" panose="02010600040101010101" charset="-122"/>
                        <a:ea typeface="华文楷体" panose="02010600040101010101" charset="-122"/>
                        <a:cs typeface="+mn-cs"/>
                      </a:endParaRPr>
                    </a:p>
                  </a:txBody>
                  <a:tcPr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solidFill>
                          <a:schemeClr val="bg1"/>
                        </a:solidFill>
                      </a:endParaRPr>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r>
              <a:tr h="3676495">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pPr marL="0" marR="0" indent="0" algn="ctr" defTabSz="1242695" rtl="0" eaLnBrk="1" fontAlgn="auto" latinLnBrk="0" hangingPunct="1">
                        <a:lnSpc>
                          <a:spcPct val="100000"/>
                        </a:lnSpc>
                        <a:spcBef>
                          <a:spcPts val="0"/>
                        </a:spcBef>
                        <a:spcAft>
                          <a:spcPts val="0"/>
                        </a:spcAft>
                        <a:buClrTx/>
                        <a:buSzTx/>
                        <a:buFontTx/>
                        <a:buNone/>
                        <a:defRPr/>
                      </a:pPr>
                      <a:r>
                        <a:rPr lang="en-US" altLang="zh-CN" sz="1400" b="1" kern="1200" dirty="0" smtClean="0">
                          <a:solidFill>
                            <a:schemeClr val="bg1"/>
                          </a:solidFill>
                          <a:latin typeface="华文楷体" panose="02010600040101010101" charset="-122"/>
                          <a:ea typeface="华文楷体" panose="02010600040101010101" charset="-122"/>
                          <a:cs typeface="+mn-cs"/>
                        </a:rPr>
                        <a:t>xx</a:t>
                      </a:r>
                      <a:endParaRPr lang="zh-CN" altLang="en-US" sz="1400" b="1" kern="1200" dirty="0">
                        <a:solidFill>
                          <a:schemeClr val="bg1"/>
                        </a:solidFill>
                        <a:latin typeface="华文楷体" panose="02010600040101010101" charset="-122"/>
                        <a:ea typeface="华文楷体" panose="02010600040101010101" charset="-122"/>
                        <a:cs typeface="+mn-cs"/>
                      </a:endParaRPr>
                    </a:p>
                  </a:txBody>
                  <a:tcPr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solidFill>
                          <a:schemeClr val="bg1"/>
                        </a:solidFill>
                      </a:endParaRPr>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E5817"/>
                    </a:solid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ea typeface="楷体" panose="02010609060101010101" pitchFamily="49" charset="-122"/>
                        </a:defRPr>
                      </a:lvl1pPr>
                      <a:lvl2pPr marL="457200" algn="l" defTabSz="914400" rtl="0" eaLnBrk="1" latinLnBrk="0" hangingPunct="1">
                        <a:defRPr sz="1800" kern="1200">
                          <a:solidFill>
                            <a:schemeClr val="dk1"/>
                          </a:solidFill>
                          <a:latin typeface="Arial" panose="020B0604020202020204"/>
                          <a:ea typeface="楷体" panose="02010609060101010101" pitchFamily="49" charset="-122"/>
                        </a:defRPr>
                      </a:lvl2pPr>
                      <a:lvl3pPr marL="914400" algn="l" defTabSz="914400" rtl="0" eaLnBrk="1" latinLnBrk="0" hangingPunct="1">
                        <a:defRPr sz="1800" kern="1200">
                          <a:solidFill>
                            <a:schemeClr val="dk1"/>
                          </a:solidFill>
                          <a:latin typeface="Arial" panose="020B0604020202020204"/>
                          <a:ea typeface="楷体" panose="02010609060101010101" pitchFamily="49" charset="-122"/>
                        </a:defRPr>
                      </a:lvl3pPr>
                      <a:lvl4pPr marL="1371600" algn="l" defTabSz="914400" rtl="0" eaLnBrk="1" latinLnBrk="0" hangingPunct="1">
                        <a:defRPr sz="1800" kern="1200">
                          <a:solidFill>
                            <a:schemeClr val="dk1"/>
                          </a:solidFill>
                          <a:latin typeface="Arial" panose="020B0604020202020204"/>
                          <a:ea typeface="楷体" panose="02010609060101010101" pitchFamily="49" charset="-122"/>
                        </a:defRPr>
                      </a:lvl4pPr>
                      <a:lvl5pPr marL="1828800" algn="l" defTabSz="914400" rtl="0" eaLnBrk="1" latinLnBrk="0" hangingPunct="1">
                        <a:defRPr sz="1800" kern="1200">
                          <a:solidFill>
                            <a:schemeClr val="dk1"/>
                          </a:solidFill>
                          <a:latin typeface="Arial" panose="020B0604020202020204"/>
                          <a:ea typeface="楷体" panose="02010609060101010101" pitchFamily="49" charset="-122"/>
                        </a:defRPr>
                      </a:lvl5pPr>
                      <a:lvl6pPr marL="2286000" algn="l" defTabSz="914400" rtl="0" eaLnBrk="1" latinLnBrk="0" hangingPunct="1">
                        <a:defRPr sz="1800" kern="1200">
                          <a:solidFill>
                            <a:schemeClr val="dk1"/>
                          </a:solidFill>
                          <a:latin typeface="Arial" panose="020B0604020202020204"/>
                          <a:ea typeface="楷体" panose="02010609060101010101" pitchFamily="49" charset="-122"/>
                        </a:defRPr>
                      </a:lvl6pPr>
                      <a:lvl7pPr marL="2743200" algn="l" defTabSz="914400" rtl="0" eaLnBrk="1" latinLnBrk="0" hangingPunct="1">
                        <a:defRPr sz="1800" kern="1200">
                          <a:solidFill>
                            <a:schemeClr val="dk1"/>
                          </a:solidFill>
                          <a:latin typeface="Arial" panose="020B0604020202020204"/>
                          <a:ea typeface="楷体" panose="02010609060101010101" pitchFamily="49" charset="-122"/>
                        </a:defRPr>
                      </a:lvl7pPr>
                      <a:lvl8pPr marL="3200400" algn="l" defTabSz="914400" rtl="0" eaLnBrk="1" latinLnBrk="0" hangingPunct="1">
                        <a:defRPr sz="1800" kern="1200">
                          <a:solidFill>
                            <a:schemeClr val="dk1"/>
                          </a:solidFill>
                          <a:latin typeface="Arial" panose="020B0604020202020204"/>
                          <a:ea typeface="楷体" panose="02010609060101010101" pitchFamily="49" charset="-122"/>
                        </a:defRPr>
                      </a:lvl8pPr>
                      <a:lvl9pPr marL="3657600" algn="l" defTabSz="914400" rtl="0" eaLnBrk="1" latinLnBrk="0" hangingPunct="1">
                        <a:defRPr sz="1800" kern="1200">
                          <a:solidFill>
                            <a:schemeClr val="dk1"/>
                          </a:solidFill>
                          <a:latin typeface="Arial" panose="020B0604020202020204"/>
                          <a:ea typeface="楷体" panose="02010609060101010101" pitchFamily="49" charset="-122"/>
                        </a:defRPr>
                      </a:lvl9pPr>
                    </a:lstStyle>
                    <a:p>
                      <a:endParaRPr lang="zh-CN" altLang="en-US" dirty="0"/>
                    </a:p>
                  </a:txBody>
                  <a:tcP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46" name="直接连接符 45"/>
          <p:cNvCxnSpPr/>
          <p:nvPr/>
        </p:nvCxnSpPr>
        <p:spPr>
          <a:xfrm>
            <a:off x="1892484" y="4487986"/>
            <a:ext cx="9906212" cy="0"/>
          </a:xfrm>
          <a:prstGeom prst="line">
            <a:avLst/>
          </a:prstGeom>
          <a:noFill/>
          <a:ln w="9525" cap="flat" cmpd="sng" algn="ctr">
            <a:solidFill>
              <a:srgbClr val="FFFFFF">
                <a:lumMod val="50000"/>
              </a:srgbClr>
            </a:solidFill>
            <a:prstDash val="dash"/>
            <a:round/>
            <a:headEnd type="none" w="med" len="med"/>
            <a:tailEnd type="none" w="med" len="med"/>
          </a:ln>
          <a:effectLst/>
        </p:spPr>
      </p:cxnSp>
      <p:cxnSp>
        <p:nvCxnSpPr>
          <p:cNvPr id="47" name="直接连接符 46"/>
          <p:cNvCxnSpPr/>
          <p:nvPr/>
        </p:nvCxnSpPr>
        <p:spPr>
          <a:xfrm>
            <a:off x="1892484" y="3863764"/>
            <a:ext cx="9906212" cy="0"/>
          </a:xfrm>
          <a:prstGeom prst="line">
            <a:avLst/>
          </a:prstGeom>
          <a:noFill/>
          <a:ln w="9525" cap="flat" cmpd="sng" algn="ctr">
            <a:solidFill>
              <a:srgbClr val="FFFFFF">
                <a:lumMod val="50000"/>
              </a:srgbClr>
            </a:solidFill>
            <a:prstDash val="dash"/>
            <a:round/>
            <a:headEnd type="none" w="med" len="med"/>
            <a:tailEnd type="none" w="med" len="med"/>
          </a:ln>
          <a:effectLst/>
        </p:spPr>
      </p:cxnSp>
      <p:sp>
        <p:nvSpPr>
          <p:cNvPr id="51" name="矩形 50"/>
          <p:cNvSpPr/>
          <p:nvPr/>
        </p:nvSpPr>
        <p:spPr>
          <a:xfrm>
            <a:off x="2668993" y="1525660"/>
            <a:ext cx="915895" cy="282412"/>
          </a:xfrm>
          <a:prstGeom prst="rect">
            <a:avLst/>
          </a:prstGeom>
          <a:solidFill>
            <a:srgbClr val="FE5817"/>
          </a:solidFill>
          <a:ln w="25400" cap="flat" cmpd="sng" algn="ctr">
            <a:no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xx</a:t>
            </a:r>
            <a:endPar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52" name="矩形 51"/>
          <p:cNvSpPr/>
          <p:nvPr/>
        </p:nvSpPr>
        <p:spPr>
          <a:xfrm>
            <a:off x="2669000" y="2488752"/>
            <a:ext cx="915895" cy="282412"/>
          </a:xfrm>
          <a:prstGeom prst="rect">
            <a:avLst/>
          </a:prstGeom>
          <a:solidFill>
            <a:srgbClr val="FE5817"/>
          </a:solidFill>
          <a:ln w="25400" cap="flat" cmpd="sng" algn="ctr">
            <a:noFill/>
            <a:prstDash val="solid"/>
          </a:ln>
          <a:effectLst/>
        </p:spPr>
        <p:txBody>
          <a:bodyPr wrap="square" lIns="0" rIns="0" rtlCol="0" anchor="ctr" anchorCtr="0"/>
          <a:lstStyle/>
          <a:p>
            <a:pPr algn="ctr" defTabSz="914400"/>
            <a:r>
              <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rPr>
              <a:t>xx</a:t>
            </a:r>
            <a:endPar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endParaRPr>
          </a:p>
        </p:txBody>
      </p:sp>
      <p:sp>
        <p:nvSpPr>
          <p:cNvPr id="53" name="矩形 52"/>
          <p:cNvSpPr/>
          <p:nvPr/>
        </p:nvSpPr>
        <p:spPr>
          <a:xfrm>
            <a:off x="2668994" y="3213319"/>
            <a:ext cx="915895" cy="282412"/>
          </a:xfrm>
          <a:prstGeom prst="rect">
            <a:avLst/>
          </a:prstGeom>
          <a:solidFill>
            <a:srgbClr val="FE5817"/>
          </a:solidFill>
          <a:ln w="25400" cap="flat" cmpd="sng" algn="ctr">
            <a:no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xx</a:t>
            </a:r>
            <a:endPar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54" name="矩形 53"/>
          <p:cNvSpPr/>
          <p:nvPr/>
        </p:nvSpPr>
        <p:spPr>
          <a:xfrm>
            <a:off x="4061612" y="3558951"/>
            <a:ext cx="915895" cy="282412"/>
          </a:xfrm>
          <a:prstGeom prst="rect">
            <a:avLst/>
          </a:prstGeom>
          <a:solidFill>
            <a:srgbClr val="FE5817"/>
          </a:solidFill>
          <a:ln w="25400" cap="flat" cmpd="sng" algn="ctr">
            <a:noFill/>
            <a:prstDash val="solid"/>
          </a:ln>
          <a:effectLst/>
        </p:spPr>
        <p:txBody>
          <a:bodyPr wrap="square" lIns="0" rIns="0" rtlCol="0" anchor="ctr" anchorCtr="0"/>
          <a:lstStyle/>
          <a:p>
            <a:pPr algn="ctr" defTabSz="914400"/>
            <a:r>
              <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rPr>
              <a:t>xx</a:t>
            </a:r>
            <a:endPar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endParaRPr>
          </a:p>
        </p:txBody>
      </p:sp>
      <p:sp>
        <p:nvSpPr>
          <p:cNvPr id="55" name="矩形 54"/>
          <p:cNvSpPr/>
          <p:nvPr/>
        </p:nvSpPr>
        <p:spPr>
          <a:xfrm>
            <a:off x="2668993" y="3929952"/>
            <a:ext cx="915895" cy="282412"/>
          </a:xfrm>
          <a:prstGeom prst="rect">
            <a:avLst/>
          </a:prstGeom>
          <a:solidFill>
            <a:srgbClr val="FE5817"/>
          </a:solidFill>
          <a:ln w="25400" cap="flat" cmpd="sng" algn="ctr">
            <a:noFill/>
            <a:prstDash val="solid"/>
          </a:ln>
          <a:effectLst/>
        </p:spPr>
        <p:txBody>
          <a:bodyPr wrap="square" lIns="0" rIns="0" rtlCol="0" anchor="ctr" anchorCtr="0"/>
          <a:lstStyle/>
          <a:p>
            <a:pPr algn="ctr" defTabSz="914400"/>
            <a:r>
              <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rPr>
              <a:t>xx</a:t>
            </a:r>
            <a:endPar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endParaRPr>
          </a:p>
        </p:txBody>
      </p:sp>
      <p:sp>
        <p:nvSpPr>
          <p:cNvPr id="56" name="矩形 55"/>
          <p:cNvSpPr/>
          <p:nvPr/>
        </p:nvSpPr>
        <p:spPr>
          <a:xfrm>
            <a:off x="5314905" y="4202973"/>
            <a:ext cx="915895" cy="282412"/>
          </a:xfrm>
          <a:prstGeom prst="rect">
            <a:avLst/>
          </a:prstGeom>
          <a:solidFill>
            <a:srgbClr val="FE5817"/>
          </a:solidFill>
          <a:ln w="25400" cap="flat" cmpd="sng" algn="ctr">
            <a:noFill/>
            <a:prstDash val="solid"/>
          </a:ln>
          <a:effectLst/>
        </p:spPr>
        <p:txBody>
          <a:bodyPr wrap="square" lIns="0" rIns="0" rtlCol="0" anchor="ctr" anchorCtr="0"/>
          <a:lstStyle/>
          <a:p>
            <a:pPr algn="ctr" defTabSz="914400"/>
            <a:r>
              <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rPr>
              <a:t>xx</a:t>
            </a:r>
            <a:endPar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endParaRPr>
          </a:p>
        </p:txBody>
      </p:sp>
      <p:sp>
        <p:nvSpPr>
          <p:cNvPr id="57" name="矩形 56"/>
          <p:cNvSpPr/>
          <p:nvPr/>
        </p:nvSpPr>
        <p:spPr>
          <a:xfrm>
            <a:off x="2668995" y="4573379"/>
            <a:ext cx="915895" cy="282412"/>
          </a:xfrm>
          <a:prstGeom prst="rect">
            <a:avLst/>
          </a:prstGeom>
          <a:solidFill>
            <a:srgbClr val="FE5817"/>
          </a:solidFill>
          <a:ln w="25400" cap="flat" cmpd="sng" algn="ctr">
            <a:noFill/>
            <a:prstDash val="solid"/>
          </a:ln>
          <a:effectLst/>
        </p:spPr>
        <p:txBody>
          <a:bodyPr wrap="square" lIns="0" rIns="0" rtlCol="0" anchor="ctr" anchorCtr="0"/>
          <a:lstStyle/>
          <a:p>
            <a:pPr algn="ctr" defTabSz="914400"/>
            <a:r>
              <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rPr>
              <a:t>xx</a:t>
            </a:r>
            <a:endPar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endParaRPr>
          </a:p>
        </p:txBody>
      </p:sp>
      <p:sp>
        <p:nvSpPr>
          <p:cNvPr id="59" name="矩形 58"/>
          <p:cNvSpPr/>
          <p:nvPr/>
        </p:nvSpPr>
        <p:spPr>
          <a:xfrm>
            <a:off x="7833442" y="4573379"/>
            <a:ext cx="915895" cy="282412"/>
          </a:xfrm>
          <a:prstGeom prst="rect">
            <a:avLst/>
          </a:prstGeom>
          <a:solidFill>
            <a:srgbClr val="FE5817"/>
          </a:solidFill>
          <a:ln w="25400" cap="flat" cmpd="sng" algn="ctr">
            <a:no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xx</a:t>
            </a:r>
            <a:endPar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60" name="矩形 59"/>
          <p:cNvSpPr/>
          <p:nvPr/>
        </p:nvSpPr>
        <p:spPr>
          <a:xfrm>
            <a:off x="7828250" y="5115130"/>
            <a:ext cx="915895" cy="282412"/>
          </a:xfrm>
          <a:prstGeom prst="rect">
            <a:avLst/>
          </a:prstGeom>
          <a:solidFill>
            <a:srgbClr val="FE5817"/>
          </a:solidFill>
          <a:ln w="25400" cap="flat" cmpd="sng" algn="ctr">
            <a:no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xx</a:t>
            </a:r>
            <a:endPar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61" name="矩形 60"/>
          <p:cNvSpPr/>
          <p:nvPr/>
        </p:nvSpPr>
        <p:spPr>
          <a:xfrm>
            <a:off x="2669000" y="5116991"/>
            <a:ext cx="915895" cy="282412"/>
          </a:xfrm>
          <a:prstGeom prst="rect">
            <a:avLst/>
          </a:prstGeom>
          <a:solidFill>
            <a:srgbClr val="FE5817"/>
          </a:solidFill>
          <a:ln w="25400" cap="flat" cmpd="sng" algn="ctr">
            <a:no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xx</a:t>
            </a:r>
            <a:endPar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62" name="矩形 61"/>
          <p:cNvSpPr/>
          <p:nvPr/>
        </p:nvSpPr>
        <p:spPr>
          <a:xfrm>
            <a:off x="4061611" y="5594801"/>
            <a:ext cx="915895" cy="282412"/>
          </a:xfrm>
          <a:prstGeom prst="rect">
            <a:avLst/>
          </a:prstGeom>
          <a:solidFill>
            <a:srgbClr val="FE5817"/>
          </a:solidFill>
          <a:ln w="25400" cap="flat" cmpd="sng" algn="ctr">
            <a:no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xx</a:t>
            </a:r>
            <a:endPar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63" name="矩形 62"/>
          <p:cNvSpPr/>
          <p:nvPr/>
        </p:nvSpPr>
        <p:spPr>
          <a:xfrm>
            <a:off x="10298929" y="2864720"/>
            <a:ext cx="915895" cy="282412"/>
          </a:xfrm>
          <a:prstGeom prst="rect">
            <a:avLst/>
          </a:prstGeom>
          <a:solidFill>
            <a:srgbClr val="FE5817"/>
          </a:solidFill>
          <a:ln w="25400" cap="flat" cmpd="sng" algn="ctr">
            <a:noFill/>
            <a:prstDash val="solid"/>
          </a:ln>
          <a:effectLst/>
        </p:spPr>
        <p:txBody>
          <a:bodyPr wrap="square" lIns="0" rIns="0" rtlCol="0" anchor="ctr" anchorCtr="0"/>
          <a:lstStyle/>
          <a:p>
            <a:pPr algn="ctr" defTabSz="914400"/>
            <a:r>
              <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rPr>
              <a:t>xx</a:t>
            </a:r>
            <a:endParaRPr kumimoji="1" lang="en-US" altLang="zh-CN" sz="1050" kern="0" dirty="0">
              <a:solidFill>
                <a:schemeClr val="bg1"/>
              </a:solidFill>
              <a:latin typeface="楷体" panose="02010609060101010101" pitchFamily="49" charset="-122"/>
              <a:ea typeface="楷体" panose="02010609060101010101" pitchFamily="49" charset="-122"/>
              <a:cs typeface="Arial" panose="020B0604020202020204" pitchFamily="34" charset="0"/>
            </a:endParaRPr>
          </a:p>
        </p:txBody>
      </p:sp>
      <p:sp>
        <p:nvSpPr>
          <p:cNvPr id="64" name="矩形 63"/>
          <p:cNvSpPr/>
          <p:nvPr/>
        </p:nvSpPr>
        <p:spPr>
          <a:xfrm>
            <a:off x="739305" y="1458273"/>
            <a:ext cx="1033647" cy="349799"/>
          </a:xfrm>
          <a:prstGeom prst="rect">
            <a:avLst/>
          </a:prstGeom>
          <a:solidFill>
            <a:schemeClr val="accent6">
              <a:lumMod val="40000"/>
              <a:lumOff val="60000"/>
            </a:schemeClr>
          </a:solidFill>
          <a:ln w="25400" cap="flat" cmpd="sng" algn="ctr">
            <a:solidFill>
              <a:srgbClr val="91B0FF">
                <a:lumMod val="20000"/>
                <a:lumOff val="80000"/>
              </a:srgbClr>
            </a:solid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rgbClr val="000000"/>
                </a:solidFill>
                <a:effectLst/>
                <a:uLnTx/>
                <a:uFillTx/>
                <a:latin typeface="楷体" panose="02010609060101010101" pitchFamily="49" charset="-122"/>
                <a:ea typeface="楷体" panose="02010609060101010101" pitchFamily="49" charset="-122"/>
                <a:cs typeface="Arial" panose="020B0604020202020204" pitchFamily="34" charset="0"/>
              </a:rPr>
              <a:t>xx</a:t>
            </a:r>
            <a:r>
              <a:rPr kumimoji="1" lang="zh-CN" altLang="en-US" sz="1050" b="0" i="0" u="none" strike="noStrike" kern="0" cap="none" spc="0" normalizeH="0" baseline="0" noProof="0" dirty="0" smtClean="0">
                <a:ln>
                  <a:noFill/>
                </a:ln>
                <a:solidFill>
                  <a:srgbClr val="000000"/>
                </a:solidFill>
                <a:effectLst/>
                <a:uLnTx/>
                <a:uFillTx/>
                <a:latin typeface="楷体" panose="02010609060101010101" pitchFamily="49" charset="-122"/>
                <a:ea typeface="楷体" panose="02010609060101010101" pitchFamily="49" charset="-122"/>
                <a:cs typeface="Arial" panose="020B0604020202020204" pitchFamily="34" charset="0"/>
              </a:rPr>
              <a:t>环节</a:t>
            </a:r>
            <a:endParaRPr kumimoji="1" lang="en-US" altLang="zh-CN" sz="1050" b="0" i="0" u="none" strike="noStrike" kern="0" cap="none" spc="0" normalizeH="0" baseline="0" noProof="0" dirty="0" smtClean="0">
              <a:ln>
                <a:noFill/>
              </a:ln>
              <a:solidFill>
                <a:srgbClr val="000000"/>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65" name="矩形 64"/>
          <p:cNvSpPr/>
          <p:nvPr/>
        </p:nvSpPr>
        <p:spPr>
          <a:xfrm>
            <a:off x="739304" y="1988867"/>
            <a:ext cx="1033647" cy="356605"/>
          </a:xfrm>
          <a:prstGeom prst="rect">
            <a:avLst/>
          </a:prstGeom>
          <a:solidFill>
            <a:schemeClr val="accent6">
              <a:lumMod val="40000"/>
              <a:lumOff val="60000"/>
            </a:schemeClr>
          </a:solidFill>
          <a:ln w="25400" cap="flat" cmpd="sng" algn="ctr">
            <a:no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rgbClr val="000000"/>
                </a:solidFill>
                <a:effectLst/>
                <a:uLnTx/>
                <a:uFillTx/>
                <a:latin typeface="楷体" panose="02010609060101010101" pitchFamily="49" charset="-122"/>
                <a:ea typeface="楷体" panose="02010609060101010101" pitchFamily="49" charset="-122"/>
                <a:cs typeface="Arial" panose="020B0604020202020204" pitchFamily="34" charset="0"/>
              </a:rPr>
              <a:t>xx</a:t>
            </a:r>
            <a:endParaRPr kumimoji="1" lang="en-US" altLang="zh-CN" sz="1050" b="0" i="0" u="none" strike="noStrike" kern="0" cap="none" spc="0" normalizeH="0" baseline="0" noProof="0" dirty="0" smtClean="0">
              <a:ln>
                <a:noFill/>
              </a:ln>
              <a:solidFill>
                <a:srgbClr val="000000"/>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66" name="矩形 65"/>
          <p:cNvSpPr/>
          <p:nvPr/>
        </p:nvSpPr>
        <p:spPr>
          <a:xfrm>
            <a:off x="739306" y="2488752"/>
            <a:ext cx="1033647" cy="1352610"/>
          </a:xfrm>
          <a:prstGeom prst="rect">
            <a:avLst/>
          </a:prstGeom>
          <a:solidFill>
            <a:schemeClr val="accent6">
              <a:lumMod val="40000"/>
              <a:lumOff val="60000"/>
            </a:schemeClr>
          </a:solidFill>
          <a:ln w="25400" cap="flat" cmpd="sng" algn="ctr">
            <a:noFill/>
            <a:prstDash val="solid"/>
          </a:ln>
          <a:effectLst/>
        </p:spPr>
        <p:txBody>
          <a:bodyPr wrap="square" lIns="0" rIns="0" rtlCol="0" anchor="ctr" anchorCtr="0"/>
          <a:lstStyle/>
          <a:p>
            <a:pPr algn="ctr" defTabSz="914400"/>
            <a:r>
              <a:rPr kumimoji="1" lang="en-US" altLang="zh-CN" sz="1050" kern="0" dirty="0">
                <a:solidFill>
                  <a:srgbClr val="000000"/>
                </a:solidFill>
                <a:latin typeface="楷体" panose="02010609060101010101" pitchFamily="49" charset="-122"/>
                <a:ea typeface="楷体" panose="02010609060101010101" pitchFamily="49" charset="-122"/>
                <a:cs typeface="Arial" panose="020B0604020202020204" pitchFamily="34" charset="0"/>
              </a:rPr>
              <a:t>xx</a:t>
            </a:r>
            <a:endParaRPr kumimoji="1" lang="en-US" altLang="zh-CN" sz="1050" kern="0" dirty="0">
              <a:solidFill>
                <a:srgbClr val="000000"/>
              </a:solidFill>
              <a:latin typeface="楷体" panose="02010609060101010101" pitchFamily="49" charset="-122"/>
              <a:ea typeface="楷体" panose="02010609060101010101" pitchFamily="49" charset="-122"/>
              <a:cs typeface="Arial" panose="020B0604020202020204" pitchFamily="34" charset="0"/>
            </a:endParaRPr>
          </a:p>
        </p:txBody>
      </p:sp>
      <p:sp>
        <p:nvSpPr>
          <p:cNvPr id="67" name="矩形 66"/>
          <p:cNvSpPr/>
          <p:nvPr/>
        </p:nvSpPr>
        <p:spPr>
          <a:xfrm>
            <a:off x="739306" y="3874625"/>
            <a:ext cx="1033647" cy="610759"/>
          </a:xfrm>
          <a:prstGeom prst="rect">
            <a:avLst/>
          </a:prstGeom>
          <a:solidFill>
            <a:schemeClr val="accent6">
              <a:lumMod val="40000"/>
              <a:lumOff val="60000"/>
            </a:schemeClr>
          </a:solidFill>
          <a:ln w="25400" cap="flat" cmpd="sng" algn="ctr">
            <a:no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rgbClr val="000000"/>
                </a:solidFill>
                <a:effectLst/>
                <a:uLnTx/>
                <a:uFillTx/>
                <a:latin typeface="楷体" panose="02010609060101010101" pitchFamily="49" charset="-122"/>
                <a:ea typeface="楷体" panose="02010609060101010101" pitchFamily="49" charset="-122"/>
                <a:cs typeface="Arial" panose="020B0604020202020204" pitchFamily="34" charset="0"/>
              </a:rPr>
              <a:t>xx</a:t>
            </a:r>
            <a:endParaRPr kumimoji="1" lang="en-US" altLang="zh-CN" sz="1050" b="0" i="0" u="none" strike="noStrike" kern="0" cap="none" spc="0" normalizeH="0" baseline="0" noProof="0" dirty="0" smtClean="0">
              <a:ln>
                <a:noFill/>
              </a:ln>
              <a:solidFill>
                <a:srgbClr val="000000"/>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68" name="矩形 67"/>
          <p:cNvSpPr/>
          <p:nvPr/>
        </p:nvSpPr>
        <p:spPr>
          <a:xfrm>
            <a:off x="739306" y="4518648"/>
            <a:ext cx="1033647" cy="1516391"/>
          </a:xfrm>
          <a:prstGeom prst="rect">
            <a:avLst/>
          </a:prstGeom>
          <a:solidFill>
            <a:schemeClr val="accent6">
              <a:lumMod val="40000"/>
              <a:lumOff val="60000"/>
            </a:schemeClr>
          </a:solidFill>
          <a:ln w="25400" cap="flat" cmpd="sng" algn="ctr">
            <a:noFill/>
            <a:prstDash val="solid"/>
          </a:ln>
          <a:effectLst/>
        </p:spPr>
        <p:txBody>
          <a:bodyPr wrap="square" lIns="0" rIns="0" rtlCol="0" anchor="ctr" anchorCtr="0"/>
          <a:lstStyle/>
          <a:p>
            <a:pPr algn="ctr" defTabSz="914400"/>
            <a:r>
              <a:rPr kumimoji="1" lang="en-US" altLang="zh-CN" sz="1050" kern="0" dirty="0">
                <a:solidFill>
                  <a:srgbClr val="000000"/>
                </a:solidFill>
                <a:latin typeface="楷体" panose="02010609060101010101" pitchFamily="49" charset="-122"/>
                <a:ea typeface="楷体" panose="02010609060101010101" pitchFamily="49" charset="-122"/>
                <a:cs typeface="Arial" panose="020B0604020202020204" pitchFamily="34" charset="0"/>
              </a:rPr>
              <a:t>xx</a:t>
            </a:r>
            <a:endParaRPr kumimoji="1" lang="en-US" altLang="zh-CN" sz="1050" kern="0" dirty="0">
              <a:solidFill>
                <a:srgbClr val="000000"/>
              </a:solidFill>
              <a:latin typeface="楷体" panose="02010609060101010101" pitchFamily="49" charset="-122"/>
              <a:ea typeface="楷体" panose="02010609060101010101" pitchFamily="49" charset="-122"/>
              <a:cs typeface="Arial" panose="020B0604020202020204" pitchFamily="34" charset="0"/>
            </a:endParaRPr>
          </a:p>
        </p:txBody>
      </p:sp>
      <p:sp>
        <p:nvSpPr>
          <p:cNvPr id="69" name="矩形 68"/>
          <p:cNvSpPr/>
          <p:nvPr/>
        </p:nvSpPr>
        <p:spPr>
          <a:xfrm>
            <a:off x="7833442" y="2488752"/>
            <a:ext cx="915895" cy="282412"/>
          </a:xfrm>
          <a:prstGeom prst="rect">
            <a:avLst/>
          </a:prstGeom>
          <a:solidFill>
            <a:srgbClr val="FE5817"/>
          </a:solidFill>
          <a:ln w="25400" cap="flat" cmpd="sng" algn="ctr">
            <a:no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xx</a:t>
            </a:r>
            <a:endPar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71" name="矩形 70"/>
          <p:cNvSpPr/>
          <p:nvPr/>
        </p:nvSpPr>
        <p:spPr>
          <a:xfrm>
            <a:off x="7828250" y="3208507"/>
            <a:ext cx="915895" cy="282412"/>
          </a:xfrm>
          <a:prstGeom prst="rect">
            <a:avLst/>
          </a:prstGeom>
          <a:solidFill>
            <a:srgbClr val="FE5817"/>
          </a:solidFill>
          <a:ln w="25400" cap="flat" cmpd="sng" algn="ctr">
            <a:no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xx</a:t>
            </a:r>
            <a:endPar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72" name="矩形 71"/>
          <p:cNvSpPr/>
          <p:nvPr/>
        </p:nvSpPr>
        <p:spPr>
          <a:xfrm>
            <a:off x="7833442" y="3935241"/>
            <a:ext cx="915895" cy="282412"/>
          </a:xfrm>
          <a:prstGeom prst="rect">
            <a:avLst/>
          </a:prstGeom>
          <a:solidFill>
            <a:srgbClr val="FE5817"/>
          </a:solidFill>
          <a:ln w="25400" cap="flat" cmpd="sng" algn="ctr">
            <a:noFill/>
            <a:prstDash val="solid"/>
          </a:ln>
          <a:effectLst/>
        </p:spPr>
        <p:txBody>
          <a:bodyPr wrap="square"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xx</a:t>
            </a:r>
            <a:endParaRPr kumimoji="1" lang="en-US" altLang="zh-CN" sz="1050" b="0" i="0" u="none" strike="noStrike" kern="0" cap="none" spc="0" normalizeH="0" baseline="0" noProof="0" dirty="0" smtClean="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cxnSp>
        <p:nvCxnSpPr>
          <p:cNvPr id="73" name="直接箭头连接符 72"/>
          <p:cNvCxnSpPr/>
          <p:nvPr/>
        </p:nvCxnSpPr>
        <p:spPr>
          <a:xfrm>
            <a:off x="3584888" y="2591225"/>
            <a:ext cx="4248548" cy="0"/>
          </a:xfrm>
          <a:prstGeom prst="straightConnector1">
            <a:avLst/>
          </a:prstGeom>
          <a:noFill/>
          <a:ln w="9525" cap="flat" cmpd="sng" algn="ctr">
            <a:solidFill>
              <a:srgbClr val="083669"/>
            </a:solidFill>
            <a:prstDash val="solid"/>
            <a:tailEnd type="triangle"/>
          </a:ln>
          <a:effectLst/>
        </p:spPr>
      </p:cxnSp>
      <p:cxnSp>
        <p:nvCxnSpPr>
          <p:cNvPr id="75" name="直接箭头连接符 74"/>
          <p:cNvCxnSpPr>
            <a:endCxn id="53" idx="3"/>
          </p:cNvCxnSpPr>
          <p:nvPr/>
        </p:nvCxnSpPr>
        <p:spPr>
          <a:xfrm flipH="1">
            <a:off x="3584889" y="3349714"/>
            <a:ext cx="4243361" cy="4811"/>
          </a:xfrm>
          <a:prstGeom prst="straightConnector1">
            <a:avLst/>
          </a:prstGeom>
          <a:noFill/>
          <a:ln w="9525" cap="flat" cmpd="sng" algn="ctr">
            <a:solidFill>
              <a:srgbClr val="083669"/>
            </a:solidFill>
            <a:prstDash val="solid"/>
            <a:tailEnd type="triangle"/>
          </a:ln>
          <a:effectLst/>
        </p:spPr>
      </p:cxnSp>
      <p:cxnSp>
        <p:nvCxnSpPr>
          <p:cNvPr id="76" name="肘形连接符 75"/>
          <p:cNvCxnSpPr>
            <a:stCxn id="53" idx="2"/>
            <a:endCxn id="54" idx="1"/>
          </p:cNvCxnSpPr>
          <p:nvPr/>
        </p:nvCxnSpPr>
        <p:spPr>
          <a:xfrm rot="16200000" flipH="1">
            <a:off x="3492064" y="3130609"/>
            <a:ext cx="204426" cy="934670"/>
          </a:xfrm>
          <a:prstGeom prst="bentConnector2">
            <a:avLst/>
          </a:prstGeom>
          <a:noFill/>
          <a:ln w="9525" cap="flat" cmpd="sng" algn="ctr">
            <a:solidFill>
              <a:srgbClr val="083669"/>
            </a:solidFill>
            <a:prstDash val="solid"/>
            <a:tailEnd type="triangle"/>
          </a:ln>
          <a:effectLst/>
        </p:spPr>
      </p:cxnSp>
      <p:cxnSp>
        <p:nvCxnSpPr>
          <p:cNvPr id="77" name="直接箭头连接符 76"/>
          <p:cNvCxnSpPr>
            <a:stCxn id="57" idx="3"/>
            <a:endCxn id="59" idx="1"/>
          </p:cNvCxnSpPr>
          <p:nvPr/>
        </p:nvCxnSpPr>
        <p:spPr>
          <a:xfrm>
            <a:off x="3584890" y="4714585"/>
            <a:ext cx="4248552" cy="0"/>
          </a:xfrm>
          <a:prstGeom prst="straightConnector1">
            <a:avLst/>
          </a:prstGeom>
          <a:noFill/>
          <a:ln w="9525" cap="flat" cmpd="sng" algn="ctr">
            <a:solidFill>
              <a:srgbClr val="083669"/>
            </a:solidFill>
            <a:prstDash val="solid"/>
            <a:tailEnd type="triangle"/>
          </a:ln>
          <a:effectLst/>
        </p:spPr>
      </p:cxnSp>
      <p:cxnSp>
        <p:nvCxnSpPr>
          <p:cNvPr id="78" name="直接箭头连接符 77"/>
          <p:cNvCxnSpPr>
            <a:stCxn id="60" idx="1"/>
            <a:endCxn id="61" idx="3"/>
          </p:cNvCxnSpPr>
          <p:nvPr/>
        </p:nvCxnSpPr>
        <p:spPr>
          <a:xfrm flipH="1">
            <a:off x="3584895" y="5256335"/>
            <a:ext cx="4243355" cy="1861"/>
          </a:xfrm>
          <a:prstGeom prst="straightConnector1">
            <a:avLst/>
          </a:prstGeom>
          <a:noFill/>
          <a:ln w="9525" cap="flat" cmpd="sng" algn="ctr">
            <a:solidFill>
              <a:srgbClr val="083669"/>
            </a:solidFill>
            <a:prstDash val="solid"/>
            <a:tailEnd type="triangle"/>
          </a:ln>
          <a:effectLst/>
        </p:spPr>
      </p:cxnSp>
      <p:cxnSp>
        <p:nvCxnSpPr>
          <p:cNvPr id="79" name="肘形连接符 78"/>
          <p:cNvCxnSpPr>
            <a:stCxn id="61" idx="2"/>
            <a:endCxn id="62" idx="1"/>
          </p:cNvCxnSpPr>
          <p:nvPr/>
        </p:nvCxnSpPr>
        <p:spPr>
          <a:xfrm rot="16200000" flipH="1">
            <a:off x="3425977" y="5100373"/>
            <a:ext cx="336605" cy="934663"/>
          </a:xfrm>
          <a:prstGeom prst="bentConnector2">
            <a:avLst/>
          </a:prstGeom>
          <a:noFill/>
          <a:ln w="9525" cap="flat" cmpd="sng" algn="ctr">
            <a:solidFill>
              <a:srgbClr val="083669"/>
            </a:solidFill>
            <a:prstDash val="solid"/>
            <a:tailEnd type="triangle"/>
          </a:ln>
          <a:effectLst/>
        </p:spPr>
      </p:cxnSp>
      <p:sp>
        <p:nvSpPr>
          <p:cNvPr id="8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流程</a:t>
            </a:r>
            <a:endParaRPr lang="zh-CN" altLang="en-US" sz="2400" dirty="0">
              <a:latin typeface="+mj-ea"/>
            </a:endParaRPr>
          </a:p>
        </p:txBody>
      </p:sp>
      <p:pic>
        <p:nvPicPr>
          <p:cNvPr id="83" name="图片 8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对象 5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1443" name="think-cell Slide" r:id="rId2" imgW="12700" imgH="12700" progId="TCLayout.ActiveDocument.1">
                  <p:embed/>
                </p:oleObj>
              </mc:Choice>
              <mc:Fallback>
                <p:oleObj name="think-cell Slide" r:id="rId2" imgW="12700" imgH="12700" progId="TCLayout.ActiveDocument.1">
                  <p:embed/>
                  <p:pic>
                    <p:nvPicPr>
                      <p:cNvPr id="0" name="对象 51"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 name="Rectangle 184"/>
          <p:cNvSpPr/>
          <p:nvPr/>
        </p:nvSpPr>
        <p:spPr>
          <a:xfrm>
            <a:off x="2520175" y="1978168"/>
            <a:ext cx="9129140" cy="2008166"/>
          </a:xfrm>
          <a:prstGeom prst="rect">
            <a:avLst/>
          </a:prstGeom>
          <a:solidFill>
            <a:srgbClr val="F3F3F3"/>
          </a:solidFill>
        </p:spPr>
        <p:txBody>
          <a:bodyPr wrap="square" lIns="0" tIns="89999" rIns="0" bIns="89999" anchor="ctr">
            <a:noAutofit/>
          </a:bodyPr>
          <a:lstStyle/>
          <a:p>
            <a:pPr algn="ctr" fontAlgn="base">
              <a:spcBef>
                <a:spcPct val="0"/>
              </a:spcBef>
              <a:spcAft>
                <a:spcPct val="0"/>
              </a:spcAft>
              <a:buClr>
                <a:srgbClr val="177B57"/>
              </a:buClr>
            </a:pPr>
            <a:endParaRPr lang="en-US" sz="1200" b="1" dirty="0">
              <a:solidFill>
                <a:srgbClr val="FFFFFF"/>
              </a:solidFill>
              <a:cs typeface="Arial" panose="020B0604020202020204" pitchFamily="34" charset="0"/>
            </a:endParaRPr>
          </a:p>
        </p:txBody>
      </p:sp>
      <p:sp>
        <p:nvSpPr>
          <p:cNvPr id="14" name="Rectangle 30"/>
          <p:cNvSpPr>
            <a:spLocks noChangeArrowheads="1"/>
          </p:cNvSpPr>
          <p:nvPr/>
        </p:nvSpPr>
        <p:spPr bwMode="auto">
          <a:xfrm>
            <a:off x="5648501" y="1978168"/>
            <a:ext cx="2916651" cy="2008166"/>
          </a:xfrm>
          <a:prstGeom prst="rect">
            <a:avLst/>
          </a:prstGeom>
          <a:noFill/>
          <a:ln>
            <a:noFill/>
          </a:ln>
        </p:spPr>
        <p:txBody>
          <a:bodyPr vert="horz" wrap="none" lIns="91440" tIns="91440" rIns="91440" bIns="91440" numCol="1" anchor="t" anchorCtr="0" compatLnSpc="1">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323850" lvl="1" indent="-215900">
              <a:spcBef>
                <a:spcPts val="0"/>
              </a:spcBef>
              <a:spcAft>
                <a:spcPts val="0"/>
              </a:spcAft>
              <a:buClr>
                <a:schemeClr val="tx2">
                  <a:lumMod val="100000"/>
                </a:schemeClr>
              </a:buClr>
              <a:buSzPct val="100000"/>
              <a:buFont typeface="Trebuchet MS" panose="020B0603020202020204" pitchFamily="34" charset="0"/>
              <a:buChar char="•"/>
              <a:defRPr/>
            </a:pPr>
            <a:r>
              <a:rPr kumimoji="0" lang="en-US" altLang="en-US" sz="1200" b="1" strike="noStrike" cap="none" normalizeH="0" noProof="0" dirty="0" smtClean="0">
                <a:ln>
                  <a:noFill/>
                </a:ln>
                <a:solidFill>
                  <a:schemeClr val="tx1">
                    <a:lumMod val="100000"/>
                  </a:schemeClr>
                </a:solidFill>
                <a:effectLst/>
                <a:uLnTx/>
                <a:uFillTx/>
                <a:latin typeface="+mn-lt"/>
              </a:rPr>
              <a:t>XXX</a:t>
            </a:r>
            <a:endParaRPr kumimoji="0" lang="en-US" altLang="en-US" sz="1200" b="1" strike="noStrike" cap="none" normalizeH="0" noProof="0" dirty="0" smtClean="0">
              <a:ln>
                <a:noFill/>
              </a:ln>
              <a:solidFill>
                <a:schemeClr val="tx1">
                  <a:lumMod val="100000"/>
                </a:schemeClr>
              </a:solidFill>
              <a:effectLst/>
              <a:uLnTx/>
              <a:uFillTx/>
              <a:latin typeface="+mn-lt"/>
            </a:endParaRPr>
          </a:p>
        </p:txBody>
      </p:sp>
      <p:sp>
        <p:nvSpPr>
          <p:cNvPr id="15" name="Pentagon 38"/>
          <p:cNvSpPr/>
          <p:nvPr/>
        </p:nvSpPr>
        <p:spPr>
          <a:xfrm>
            <a:off x="2564338" y="1978168"/>
            <a:ext cx="2916651" cy="2008166"/>
          </a:xfrm>
          <a:prstGeom prst="rect">
            <a:avLst/>
          </a:prstGeom>
          <a:noFill/>
          <a:ln w="19050">
            <a:noFill/>
          </a:ln>
        </p:spPr>
        <p:txBody>
          <a:bodyPr wrap="square" lIns="91440" tIns="91440" rIns="91440" bIns="91440" anchor="t">
            <a:noAutofit/>
          </a:bodyPr>
          <a:lstStyle/>
          <a:p>
            <a:pPr marL="323850" lvl="1" indent="-215900">
              <a:buClr>
                <a:schemeClr val="tx2">
                  <a:lumMod val="100000"/>
                </a:schemeClr>
              </a:buClr>
              <a:buSzPct val="100000"/>
              <a:buFont typeface="Trebuchet MS" panose="020B0603020202020204" pitchFamily="34" charset="0"/>
              <a:buChar char="•"/>
              <a:defRPr/>
            </a:pPr>
            <a:r>
              <a:rPr kumimoji="0" lang="en-US" altLang="en-US" sz="1200" b="1" strike="noStrike" cap="none" normalizeH="0" noProof="0" dirty="0" smtClean="0">
                <a:ln>
                  <a:noFill/>
                </a:ln>
                <a:solidFill>
                  <a:schemeClr val="tx1">
                    <a:lumMod val="100000"/>
                  </a:schemeClr>
                </a:solidFill>
                <a:effectLst/>
                <a:uLnTx/>
                <a:uFillTx/>
              </a:rPr>
              <a:t>XXXX</a:t>
            </a:r>
            <a:endParaRPr kumimoji="0" lang="en-US" altLang="en-US" sz="1200" b="1" strike="noStrike" cap="none" normalizeH="0" noProof="0" dirty="0" smtClean="0">
              <a:ln>
                <a:noFill/>
              </a:ln>
              <a:solidFill>
                <a:schemeClr val="tx1">
                  <a:lumMod val="100000"/>
                </a:schemeClr>
              </a:solidFill>
              <a:effectLst/>
              <a:uLnTx/>
              <a:uFillTx/>
            </a:endParaRPr>
          </a:p>
        </p:txBody>
      </p:sp>
      <p:sp>
        <p:nvSpPr>
          <p:cNvPr id="16" name="Rectangle 30"/>
          <p:cNvSpPr>
            <a:spLocks noChangeArrowheads="1"/>
          </p:cNvSpPr>
          <p:nvPr/>
        </p:nvSpPr>
        <p:spPr bwMode="auto">
          <a:xfrm>
            <a:off x="8732665" y="1978168"/>
            <a:ext cx="2916651" cy="2008166"/>
          </a:xfrm>
          <a:prstGeom prst="rect">
            <a:avLst/>
          </a:prstGeom>
          <a:noFill/>
          <a:ln>
            <a:noFill/>
          </a:ln>
        </p:spPr>
        <p:txBody>
          <a:bodyPr vert="horz" wrap="none" lIns="91440" tIns="91440" rIns="91440" bIns="91440" numCol="1" anchor="t" anchorCtr="0" compatLnSpc="1">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323850" lvl="1" indent="-215900">
              <a:spcBef>
                <a:spcPts val="0"/>
              </a:spcBef>
              <a:spcAft>
                <a:spcPts val="0"/>
              </a:spcAft>
              <a:buClr>
                <a:schemeClr val="tx2">
                  <a:lumMod val="100000"/>
                </a:schemeClr>
              </a:buClr>
              <a:buSzPct val="100000"/>
              <a:buFont typeface="Trebuchet MS" panose="020B0603020202020204" pitchFamily="34" charset="0"/>
              <a:buChar char="•"/>
            </a:pPr>
            <a:r>
              <a:rPr lang="en-US" altLang="en-US" sz="1200" b="1" dirty="0">
                <a:solidFill>
                  <a:schemeClr val="tx1">
                    <a:lumMod val="100000"/>
                  </a:schemeClr>
                </a:solidFill>
                <a:latin typeface="+mn-lt"/>
              </a:rPr>
              <a:t>XXX</a:t>
            </a:r>
            <a:endParaRPr kumimoji="0" lang="en-US" altLang="en-US" sz="1200" b="1" strike="noStrike" cap="none" normalizeH="0" noProof="0" dirty="0" smtClean="0">
              <a:ln>
                <a:noFill/>
              </a:ln>
              <a:solidFill>
                <a:schemeClr val="tx1">
                  <a:lumMod val="100000"/>
                </a:schemeClr>
              </a:solidFill>
              <a:effectLst/>
              <a:uLnTx/>
              <a:uFillTx/>
              <a:latin typeface="+mn-lt"/>
            </a:endParaRPr>
          </a:p>
        </p:txBody>
      </p:sp>
      <p:sp>
        <p:nvSpPr>
          <p:cNvPr id="34" name="Rectangle 147"/>
          <p:cNvSpPr/>
          <p:nvPr/>
        </p:nvSpPr>
        <p:spPr>
          <a:xfrm>
            <a:off x="480951" y="1978168"/>
            <a:ext cx="1966414" cy="2008166"/>
          </a:xfrm>
          <a:prstGeom prst="rect">
            <a:avLst/>
          </a:prstGeom>
          <a:solidFill>
            <a:srgbClr val="FE5817"/>
          </a:solidFill>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7" name="Rectangle 187"/>
          <p:cNvSpPr/>
          <p:nvPr/>
        </p:nvSpPr>
        <p:spPr>
          <a:xfrm>
            <a:off x="2520175" y="4093870"/>
            <a:ext cx="9129140" cy="2008166"/>
          </a:xfrm>
          <a:prstGeom prst="rect">
            <a:avLst/>
          </a:prstGeom>
          <a:solidFill>
            <a:srgbClr val="E8E8E8"/>
          </a:solidFill>
        </p:spPr>
        <p:txBody>
          <a:bodyPr wrap="square" lIns="0" tIns="89999" rIns="0" bIns="89999" anchor="t">
            <a:noAutofit/>
          </a:bodyPr>
          <a:lstStyle/>
          <a:p>
            <a:pPr lvl="1" fontAlgn="base">
              <a:buClr>
                <a:srgbClr val="177B57"/>
              </a:buClr>
            </a:pPr>
            <a:endParaRPr lang="en-US" sz="1200" b="1" i="1" dirty="0">
              <a:solidFill>
                <a:srgbClr val="FFFFFF"/>
              </a:solidFill>
              <a:cs typeface="Arial" panose="020B0604020202020204" pitchFamily="34" charset="0"/>
            </a:endParaRPr>
          </a:p>
        </p:txBody>
      </p:sp>
      <p:sp>
        <p:nvSpPr>
          <p:cNvPr id="23" name="Pentagon 38"/>
          <p:cNvSpPr/>
          <p:nvPr/>
        </p:nvSpPr>
        <p:spPr>
          <a:xfrm>
            <a:off x="5648501" y="4093870"/>
            <a:ext cx="2916651" cy="2008166"/>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b="1" dirty="0">
                <a:solidFill>
                  <a:schemeClr val="tx1">
                    <a:lumMod val="100000"/>
                  </a:schemeClr>
                </a:solidFill>
              </a:rPr>
              <a:t>XXX</a:t>
            </a:r>
            <a:endParaRPr lang="en-US" sz="1200" b="1" dirty="0">
              <a:solidFill>
                <a:schemeClr val="tx1">
                  <a:lumMod val="100000"/>
                </a:schemeClr>
              </a:solidFill>
            </a:endParaRPr>
          </a:p>
        </p:txBody>
      </p:sp>
      <p:sp>
        <p:nvSpPr>
          <p:cNvPr id="24" name="Pentagon 38"/>
          <p:cNvSpPr/>
          <p:nvPr/>
        </p:nvSpPr>
        <p:spPr>
          <a:xfrm>
            <a:off x="2564338" y="4093870"/>
            <a:ext cx="2916651" cy="2008166"/>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b="1" dirty="0">
                <a:solidFill>
                  <a:schemeClr val="tx1">
                    <a:lumMod val="100000"/>
                  </a:schemeClr>
                </a:solidFill>
              </a:rPr>
              <a:t>XXX</a:t>
            </a:r>
            <a:endParaRPr lang="en-US" sz="1200" b="1" dirty="0">
              <a:solidFill>
                <a:schemeClr val="tx1">
                  <a:lumMod val="100000"/>
                </a:schemeClr>
              </a:solidFill>
              <a:cs typeface="Arial" panose="020B0604020202020204" pitchFamily="34" charset="0"/>
            </a:endParaRPr>
          </a:p>
        </p:txBody>
      </p:sp>
      <p:sp>
        <p:nvSpPr>
          <p:cNvPr id="25" name="Pentagon 38"/>
          <p:cNvSpPr/>
          <p:nvPr/>
        </p:nvSpPr>
        <p:spPr>
          <a:xfrm>
            <a:off x="8732665" y="4093870"/>
            <a:ext cx="2916651" cy="2008166"/>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b="1" dirty="0">
                <a:solidFill>
                  <a:schemeClr val="tx1">
                    <a:lumMod val="100000"/>
                  </a:schemeClr>
                </a:solidFill>
              </a:rPr>
              <a:t>XXX</a:t>
            </a:r>
            <a:endParaRPr lang="en-US" sz="1200" b="1" dirty="0" smtClean="0">
              <a:solidFill>
                <a:schemeClr val="tx1">
                  <a:lumMod val="100000"/>
                </a:schemeClr>
              </a:solidFill>
              <a:cs typeface="Arial" panose="020B0604020202020204" pitchFamily="34" charset="0"/>
            </a:endParaRPr>
          </a:p>
        </p:txBody>
      </p:sp>
      <p:sp>
        <p:nvSpPr>
          <p:cNvPr id="37" name="Rectangle 148"/>
          <p:cNvSpPr/>
          <p:nvPr/>
        </p:nvSpPr>
        <p:spPr>
          <a:xfrm>
            <a:off x="480951" y="4093870"/>
            <a:ext cx="1966414" cy="2008166"/>
          </a:xfrm>
          <a:prstGeom prst="rect">
            <a:avLst/>
          </a:prstGeom>
          <a:solidFill>
            <a:srgbClr val="FE5817"/>
          </a:solidFill>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10" name="ColumnHeader"/>
          <p:cNvSpPr>
            <a:spLocks noChangeArrowheads="1"/>
          </p:cNvSpPr>
          <p:nvPr/>
        </p:nvSpPr>
        <p:spPr bwMode="gray">
          <a:xfrm>
            <a:off x="5648501" y="1104523"/>
            <a:ext cx="2916651" cy="796387"/>
          </a:xfrm>
          <a:prstGeom prst="rect">
            <a:avLst/>
          </a:prstGeom>
          <a:solidFill>
            <a:schemeClr val="tx2"/>
          </a:solidFill>
          <a:ln w="9525" algn="ctr">
            <a:noFill/>
            <a:miter lim="800000"/>
            <a:headEnd type="none" w="lg" len="lg"/>
            <a:tailEnd type="none" w="lg" len="lg"/>
          </a:ln>
          <a:effectLst/>
        </p:spPr>
        <p:txBody>
          <a:bodyPr wrap="square" lIns="91439" tIns="89999" rIns="91439" bIns="45720"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11" name="ColumnHeader"/>
          <p:cNvSpPr>
            <a:spLocks noChangeArrowheads="1"/>
          </p:cNvSpPr>
          <p:nvPr/>
        </p:nvSpPr>
        <p:spPr bwMode="gray">
          <a:xfrm>
            <a:off x="2564338" y="1104523"/>
            <a:ext cx="2916651" cy="796387"/>
          </a:xfrm>
          <a:prstGeom prst="rect">
            <a:avLst/>
          </a:prstGeom>
          <a:solidFill>
            <a:schemeClr val="bg1">
              <a:lumMod val="65000"/>
            </a:schemeClr>
          </a:solidFill>
          <a:ln w="9525" algn="ctr">
            <a:noFill/>
            <a:miter lim="800000"/>
            <a:headEnd type="none" w="lg" len="lg"/>
            <a:tailEnd type="none" w="lg" len="lg"/>
          </a:ln>
          <a:effectLst/>
        </p:spPr>
        <p:txBody>
          <a:bodyPr wrap="square" lIns="91439" tIns="89999" rIns="91439"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200" b="1" i="0" u="none" strike="noStrike" kern="0" cap="none" spc="0" normalizeH="0" baseline="0" noProof="0" dirty="0" smtClean="0">
                <a:ln>
                  <a:noFill/>
                </a:ln>
                <a:solidFill>
                  <a:srgbClr val="FFFFFF"/>
                </a:solidFill>
                <a:effectLst/>
                <a:uLnTx/>
                <a:uFillTx/>
              </a:rPr>
              <a:t>XXXXXXXXX</a:t>
            </a:r>
            <a:endParaRPr kumimoji="0" lang="en-US" sz="1200" b="1" i="0" u="none" strike="noStrike" kern="0" cap="none" spc="0" normalizeH="0" baseline="0" noProof="0" dirty="0" smtClean="0">
              <a:ln>
                <a:noFill/>
              </a:ln>
              <a:solidFill>
                <a:srgbClr val="FFFFF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defRPr/>
            </a:pPr>
            <a:r>
              <a:rPr lang="en-US" sz="1200" b="1" kern="0" dirty="0" smtClean="0">
                <a:solidFill>
                  <a:srgbClr val="FFFFFF"/>
                </a:solidFill>
                <a:cs typeface="Arial" panose="020B0604020202020204" pitchFamily="34" charset="0"/>
              </a:rPr>
              <a:t>XXXXXXXXXXXXX</a:t>
            </a:r>
            <a:endParaRPr kumimoji="0" lang="en-US" sz="1200" b="0" i="0" u="none" strike="noStrike" kern="0" cap="none" spc="0" normalizeH="0" baseline="0" noProof="0" dirty="0" smtClean="0">
              <a:ln>
                <a:noFill/>
              </a:ln>
              <a:solidFill>
                <a:srgbClr val="FFFFFF"/>
              </a:solidFill>
              <a:effectLst/>
              <a:uLnTx/>
              <a:uFillTx/>
              <a:cs typeface="Arial" panose="020B0604020202020204" pitchFamily="34" charset="0"/>
            </a:endParaRPr>
          </a:p>
        </p:txBody>
      </p:sp>
      <p:sp>
        <p:nvSpPr>
          <p:cNvPr id="12" name="ColumnHeader"/>
          <p:cNvSpPr>
            <a:spLocks noChangeArrowheads="1"/>
          </p:cNvSpPr>
          <p:nvPr/>
        </p:nvSpPr>
        <p:spPr bwMode="gray">
          <a:xfrm>
            <a:off x="8732665" y="1104523"/>
            <a:ext cx="2916651" cy="796387"/>
          </a:xfrm>
          <a:prstGeom prst="rect">
            <a:avLst/>
          </a:prstGeom>
          <a:solidFill>
            <a:schemeClr val="tx2">
              <a:lumMod val="75000"/>
            </a:schemeClr>
          </a:solidFill>
          <a:ln w="9525" algn="ctr">
            <a:noFill/>
            <a:miter lim="800000"/>
            <a:headEnd type="none" w="lg" len="lg"/>
            <a:tailEnd type="none" w="lg" len="lg"/>
          </a:ln>
          <a:effectLst/>
        </p:spPr>
        <p:txBody>
          <a:bodyPr wrap="square" lIns="91439" tIns="89999" rIns="91439" bIns="45720"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6" name="文本占位符 5"/>
          <p:cNvSpPr>
            <a:spLocks noGrp="1"/>
          </p:cNvSpPr>
          <p:nvPr>
            <p:ph type="body" sz="quarter" idx="11"/>
          </p:nvPr>
        </p:nvSpPr>
        <p:spPr/>
        <p:txBody>
          <a:bodyPr/>
          <a:lstStyle/>
          <a:p>
            <a:endParaRPr lang="zh-CN" altLang="en-US"/>
          </a:p>
        </p:txBody>
      </p:sp>
      <p:sp>
        <p:nvSpPr>
          <p:cNvPr id="40" name="Oval 161"/>
          <p:cNvSpPr/>
          <p:nvPr/>
        </p:nvSpPr>
        <p:spPr>
          <a:xfrm>
            <a:off x="2446032"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77723" tIns="76499" rIns="77723" bIns="764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1</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sp>
        <p:nvSpPr>
          <p:cNvPr id="41" name="Oval 162"/>
          <p:cNvSpPr/>
          <p:nvPr/>
        </p:nvSpPr>
        <p:spPr>
          <a:xfrm>
            <a:off x="5584319"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77723" tIns="76499" rIns="77723" bIns="764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2</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sp>
        <p:nvSpPr>
          <p:cNvPr id="43" name="Oval 163"/>
          <p:cNvSpPr/>
          <p:nvPr/>
        </p:nvSpPr>
        <p:spPr>
          <a:xfrm>
            <a:off x="8688058"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0" tIns="89999" rIns="0" bIns="899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3</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grpSp>
        <p:nvGrpSpPr>
          <p:cNvPr id="55" name="组合 54"/>
          <p:cNvGrpSpPr/>
          <p:nvPr/>
        </p:nvGrpSpPr>
        <p:grpSpPr>
          <a:xfrm>
            <a:off x="5550308" y="2068868"/>
            <a:ext cx="3081268" cy="3933580"/>
            <a:chOff x="5550308" y="2068868"/>
            <a:chExt cx="3081268" cy="3780711"/>
          </a:xfrm>
        </p:grpSpPr>
        <p:cxnSp>
          <p:nvCxnSpPr>
            <p:cNvPr id="56" name="Straight Connector 32"/>
            <p:cNvCxnSpPr/>
            <p:nvPr/>
          </p:nvCxnSpPr>
          <p:spPr>
            <a:xfrm>
              <a:off x="5550308" y="2068868"/>
              <a:ext cx="0" cy="3780711"/>
            </a:xfrm>
            <a:prstGeom prst="line">
              <a:avLst/>
            </a:prstGeom>
            <a:noFill/>
            <a:ln w="9525" cap="flat" cmpd="sng" algn="ctr">
              <a:solidFill>
                <a:srgbClr val="FFFFFF">
                  <a:lumMod val="75000"/>
                </a:srgbClr>
              </a:solidFill>
              <a:prstDash val="dash"/>
            </a:ln>
            <a:effectLst/>
          </p:spPr>
        </p:cxnSp>
        <p:cxnSp>
          <p:nvCxnSpPr>
            <p:cNvPr id="57" name="Straight Connector 190"/>
            <p:cNvCxnSpPr/>
            <p:nvPr/>
          </p:nvCxnSpPr>
          <p:spPr>
            <a:xfrm>
              <a:off x="8631576" y="2068868"/>
              <a:ext cx="0" cy="3780710"/>
            </a:xfrm>
            <a:prstGeom prst="line">
              <a:avLst/>
            </a:prstGeom>
            <a:noFill/>
            <a:ln w="9525" cap="flat" cmpd="sng" algn="ctr">
              <a:solidFill>
                <a:srgbClr val="FFFFFF">
                  <a:lumMod val="75000"/>
                </a:srgbClr>
              </a:solidFill>
              <a:prstDash val="dash"/>
            </a:ln>
            <a:effectLst/>
          </p:spPr>
        </p:cxnSp>
      </p:grpSp>
      <p:pic>
        <p:nvPicPr>
          <p:cNvPr id="26" name="图片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2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图表</a:t>
            </a:r>
            <a:endParaRPr lang="zh-CN" altLang="en-US" sz="2400" dirty="0">
              <a:solidFill>
                <a:prstClr val="black"/>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1"/>
          </p:nvPr>
        </p:nvSpPr>
        <p:spPr/>
        <p:txBody>
          <a:bodyPr/>
          <a:lstStyle/>
          <a:p>
            <a:endParaRPr lang="zh-CN" altLang="en-US"/>
          </a:p>
        </p:txBody>
      </p:sp>
      <p:cxnSp>
        <p:nvCxnSpPr>
          <p:cNvPr id="4" name="肘形连接符 7"/>
          <p:cNvCxnSpPr>
            <a:stCxn id="44" idx="2"/>
          </p:cNvCxnSpPr>
          <p:nvPr/>
        </p:nvCxnSpPr>
        <p:spPr>
          <a:xfrm rot="10800000" flipV="1">
            <a:off x="2398382" y="4855879"/>
            <a:ext cx="1869299" cy="117671"/>
          </a:xfrm>
          <a:prstGeom prst="bentConnector3">
            <a:avLst>
              <a:gd name="adj1" fmla="val 50000"/>
            </a:avLst>
          </a:prstGeom>
          <a:noFill/>
          <a:ln w="9525" cap="flat" cmpd="sng" algn="ctr">
            <a:solidFill>
              <a:schemeClr val="tx1">
                <a:lumMod val="65000"/>
                <a:lumOff val="35000"/>
              </a:schemeClr>
            </a:solidFill>
            <a:prstDash val="dash"/>
            <a:tailEnd type="oval" w="lg" len="lg"/>
          </a:ln>
          <a:effectLst/>
        </p:spPr>
      </p:cxnSp>
      <p:cxnSp>
        <p:nvCxnSpPr>
          <p:cNvPr id="5" name="肘形连接符 7"/>
          <p:cNvCxnSpPr/>
          <p:nvPr/>
        </p:nvCxnSpPr>
        <p:spPr>
          <a:xfrm rot="10800000" flipV="1">
            <a:off x="2398381" y="2985433"/>
            <a:ext cx="1444300" cy="640549"/>
          </a:xfrm>
          <a:prstGeom prst="bentConnector3">
            <a:avLst>
              <a:gd name="adj1" fmla="val 50000"/>
            </a:avLst>
          </a:prstGeom>
          <a:noFill/>
          <a:ln w="9525" cap="flat" cmpd="sng" algn="ctr">
            <a:solidFill>
              <a:schemeClr val="tx1">
                <a:lumMod val="65000"/>
                <a:lumOff val="35000"/>
              </a:schemeClr>
            </a:solidFill>
            <a:prstDash val="dash"/>
            <a:tailEnd type="oval" w="lg" len="lg"/>
          </a:ln>
          <a:effectLst/>
        </p:spPr>
      </p:cxnSp>
      <p:sp>
        <p:nvSpPr>
          <p:cNvPr id="6" name="矩形 105"/>
          <p:cNvSpPr/>
          <p:nvPr/>
        </p:nvSpPr>
        <p:spPr bwMode="gray">
          <a:xfrm>
            <a:off x="10000337" y="1149825"/>
            <a:ext cx="973140"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smtClean="0">
                <a:latin typeface="+mn-ea"/>
              </a:rPr>
              <a:t>1. </a:t>
            </a:r>
            <a:r>
              <a:rPr lang="zh-CN" altLang="en-US" sz="1400" b="1" kern="0" dirty="0" smtClean="0">
                <a:latin typeface="+mn-ea"/>
              </a:rPr>
              <a:t>业务线索</a:t>
            </a:r>
            <a:endParaRPr lang="zh-CN" altLang="en-US" sz="1400" b="1" kern="0" dirty="0">
              <a:latin typeface="+mn-ea"/>
            </a:endParaRPr>
          </a:p>
        </p:txBody>
      </p:sp>
      <p:sp>
        <p:nvSpPr>
          <p:cNvPr id="7" name="矩形 116"/>
          <p:cNvSpPr/>
          <p:nvPr/>
        </p:nvSpPr>
        <p:spPr bwMode="gray">
          <a:xfrm>
            <a:off x="10000337" y="4854749"/>
            <a:ext cx="973140"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a:latin typeface="+mn-ea"/>
              </a:rPr>
              <a:t>6</a:t>
            </a:r>
            <a:r>
              <a:rPr lang="en-US" altLang="zh-CN" sz="1400" b="1" kern="0" dirty="0" smtClean="0">
                <a:latin typeface="+mn-ea"/>
              </a:rPr>
              <a:t>. xx</a:t>
            </a:r>
            <a:endParaRPr lang="zh-CN" altLang="en-US" sz="1400" b="1" kern="0" dirty="0">
              <a:latin typeface="+mn-ea"/>
            </a:endParaRPr>
          </a:p>
        </p:txBody>
      </p:sp>
      <p:grpSp>
        <p:nvGrpSpPr>
          <p:cNvPr id="8" name="组合 7"/>
          <p:cNvGrpSpPr/>
          <p:nvPr/>
        </p:nvGrpSpPr>
        <p:grpSpPr>
          <a:xfrm>
            <a:off x="1098004" y="4842049"/>
            <a:ext cx="1069112" cy="571426"/>
            <a:chOff x="1203339" y="4842049"/>
            <a:chExt cx="1069112" cy="571426"/>
          </a:xfrm>
        </p:grpSpPr>
        <p:sp>
          <p:nvSpPr>
            <p:cNvPr id="9" name="矩形 121"/>
            <p:cNvSpPr/>
            <p:nvPr/>
          </p:nvSpPr>
          <p:spPr bwMode="gray">
            <a:xfrm>
              <a:off x="1203339" y="4842049"/>
              <a:ext cx="1069112"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a:latin typeface="+mn-ea"/>
                </a:rPr>
                <a:t>7</a:t>
              </a:r>
              <a:r>
                <a:rPr lang="en-US" altLang="zh-CN" sz="1400" b="1" kern="0" dirty="0" smtClean="0">
                  <a:latin typeface="+mn-ea"/>
                </a:rPr>
                <a:t>. xx</a:t>
              </a:r>
              <a:endParaRPr lang="zh-CN" altLang="en-US" sz="1400" b="1" kern="0" dirty="0">
                <a:latin typeface="+mn-ea"/>
              </a:endParaRPr>
            </a:p>
          </p:txBody>
        </p:sp>
        <p:sp>
          <p:nvSpPr>
            <p:cNvPr id="10" name="矩形 122"/>
            <p:cNvSpPr/>
            <p:nvPr/>
          </p:nvSpPr>
          <p:spPr bwMode="gray">
            <a:xfrm>
              <a:off x="1203339" y="5100072"/>
              <a:ext cx="1069112"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a:latin typeface="+mn-ea"/>
                </a:rPr>
                <a:t>8</a:t>
              </a:r>
              <a:r>
                <a:rPr lang="en-US" altLang="zh-CN" sz="1400" b="1" kern="0" dirty="0" smtClean="0">
                  <a:latin typeface="+mn-ea"/>
                </a:rPr>
                <a:t>. xx</a:t>
              </a:r>
              <a:endParaRPr lang="zh-CN" altLang="en-US" sz="1400" b="1" kern="0" dirty="0">
                <a:latin typeface="+mn-ea"/>
              </a:endParaRPr>
            </a:p>
          </p:txBody>
        </p:sp>
      </p:grpSp>
      <p:grpSp>
        <p:nvGrpSpPr>
          <p:cNvPr id="11" name="组合 10"/>
          <p:cNvGrpSpPr/>
          <p:nvPr/>
        </p:nvGrpSpPr>
        <p:grpSpPr>
          <a:xfrm>
            <a:off x="973320" y="3451693"/>
            <a:ext cx="1318481" cy="586046"/>
            <a:chOff x="364289" y="3579238"/>
            <a:chExt cx="905461" cy="586046"/>
          </a:xfrm>
        </p:grpSpPr>
        <p:sp>
          <p:nvSpPr>
            <p:cNvPr id="12" name="矩形 123"/>
            <p:cNvSpPr/>
            <p:nvPr/>
          </p:nvSpPr>
          <p:spPr bwMode="gray">
            <a:xfrm>
              <a:off x="364289" y="3851881"/>
              <a:ext cx="901969"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smtClean="0">
                  <a:latin typeface="+mn-ea"/>
                </a:rPr>
                <a:t>10. xx</a:t>
              </a:r>
              <a:endParaRPr lang="zh-CN" altLang="en-US" sz="1400" b="1" kern="0" dirty="0">
                <a:latin typeface="+mn-ea"/>
              </a:endParaRPr>
            </a:p>
          </p:txBody>
        </p:sp>
        <p:sp>
          <p:nvSpPr>
            <p:cNvPr id="13" name="矩形 125"/>
            <p:cNvSpPr/>
            <p:nvPr/>
          </p:nvSpPr>
          <p:spPr bwMode="gray">
            <a:xfrm>
              <a:off x="367781" y="3579238"/>
              <a:ext cx="901969"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smtClean="0">
                  <a:latin typeface="+mn-ea"/>
                </a:rPr>
                <a:t>9. xx</a:t>
              </a:r>
              <a:endParaRPr lang="zh-CN" altLang="en-US" sz="1400" b="1" kern="0" dirty="0">
                <a:latin typeface="+mn-ea"/>
              </a:endParaRPr>
            </a:p>
          </p:txBody>
        </p:sp>
      </p:grpSp>
      <p:grpSp>
        <p:nvGrpSpPr>
          <p:cNvPr id="14" name="组合 13"/>
          <p:cNvGrpSpPr/>
          <p:nvPr/>
        </p:nvGrpSpPr>
        <p:grpSpPr>
          <a:xfrm>
            <a:off x="10000337" y="2145007"/>
            <a:ext cx="973140" cy="599507"/>
            <a:chOff x="9697394" y="2039095"/>
            <a:chExt cx="999179" cy="599507"/>
          </a:xfrm>
        </p:grpSpPr>
        <p:sp>
          <p:nvSpPr>
            <p:cNvPr id="15" name="矩形 110"/>
            <p:cNvSpPr/>
            <p:nvPr/>
          </p:nvSpPr>
          <p:spPr bwMode="gray">
            <a:xfrm>
              <a:off x="9697394" y="2039095"/>
              <a:ext cx="999179"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smtClean="0">
                  <a:latin typeface="+mn-ea"/>
                </a:rPr>
                <a:t>2. xx</a:t>
              </a:r>
              <a:endParaRPr lang="zh-CN" altLang="en-US" sz="1400" b="1" kern="0" dirty="0">
                <a:latin typeface="+mn-ea"/>
              </a:endParaRPr>
            </a:p>
          </p:txBody>
        </p:sp>
        <p:sp>
          <p:nvSpPr>
            <p:cNvPr id="16" name="矩形 111"/>
            <p:cNvSpPr/>
            <p:nvPr/>
          </p:nvSpPr>
          <p:spPr bwMode="gray">
            <a:xfrm>
              <a:off x="9697394" y="2325199"/>
              <a:ext cx="999179"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smtClean="0">
                  <a:latin typeface="+mn-ea"/>
                </a:rPr>
                <a:t>3. xx</a:t>
              </a:r>
              <a:endParaRPr lang="zh-CN" altLang="en-US" sz="1400" b="1" kern="0" dirty="0">
                <a:latin typeface="+mn-ea"/>
              </a:endParaRPr>
            </a:p>
          </p:txBody>
        </p:sp>
      </p:grpSp>
      <p:grpSp>
        <p:nvGrpSpPr>
          <p:cNvPr id="17" name="组合 16"/>
          <p:cNvGrpSpPr/>
          <p:nvPr/>
        </p:nvGrpSpPr>
        <p:grpSpPr>
          <a:xfrm>
            <a:off x="10000337" y="3446597"/>
            <a:ext cx="973140" cy="595691"/>
            <a:chOff x="10294123" y="3702109"/>
            <a:chExt cx="973140" cy="595691"/>
          </a:xfrm>
        </p:grpSpPr>
        <p:sp>
          <p:nvSpPr>
            <p:cNvPr id="18" name="矩形 114"/>
            <p:cNvSpPr/>
            <p:nvPr/>
          </p:nvSpPr>
          <p:spPr bwMode="gray">
            <a:xfrm>
              <a:off x="10294123" y="3702109"/>
              <a:ext cx="970113"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a:latin typeface="+mn-ea"/>
                </a:rPr>
                <a:t>4</a:t>
              </a:r>
              <a:r>
                <a:rPr lang="en-US" altLang="zh-CN" sz="1400" b="1" kern="0" dirty="0" smtClean="0">
                  <a:latin typeface="+mn-ea"/>
                </a:rPr>
                <a:t>. xx</a:t>
              </a:r>
              <a:endParaRPr lang="zh-CN" altLang="en-US" sz="1400" b="1" kern="0" dirty="0">
                <a:latin typeface="+mn-ea"/>
              </a:endParaRPr>
            </a:p>
          </p:txBody>
        </p:sp>
        <p:sp>
          <p:nvSpPr>
            <p:cNvPr id="19" name="矩形 115"/>
            <p:cNvSpPr/>
            <p:nvPr/>
          </p:nvSpPr>
          <p:spPr bwMode="gray">
            <a:xfrm>
              <a:off x="10297150" y="3984397"/>
              <a:ext cx="970113"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a:latin typeface="+mn-ea"/>
                </a:rPr>
                <a:t>5</a:t>
              </a:r>
              <a:r>
                <a:rPr lang="en-US" altLang="zh-CN" sz="1400" b="1" kern="0" dirty="0" smtClean="0">
                  <a:latin typeface="+mn-ea"/>
                </a:rPr>
                <a:t> xx</a:t>
              </a:r>
              <a:endParaRPr lang="zh-CN" altLang="en-US" sz="1400" b="1" kern="0" dirty="0">
                <a:latin typeface="+mn-ea"/>
              </a:endParaRPr>
            </a:p>
          </p:txBody>
        </p:sp>
      </p:grpSp>
      <p:grpSp>
        <p:nvGrpSpPr>
          <p:cNvPr id="20" name="组合 19"/>
          <p:cNvGrpSpPr/>
          <p:nvPr/>
        </p:nvGrpSpPr>
        <p:grpSpPr>
          <a:xfrm>
            <a:off x="976313" y="1658991"/>
            <a:ext cx="1312495" cy="574545"/>
            <a:chOff x="1351592" y="2142140"/>
            <a:chExt cx="940727" cy="574545"/>
          </a:xfrm>
        </p:grpSpPr>
        <p:sp>
          <p:nvSpPr>
            <p:cNvPr id="21" name="矩形 126"/>
            <p:cNvSpPr/>
            <p:nvPr/>
          </p:nvSpPr>
          <p:spPr bwMode="gray">
            <a:xfrm>
              <a:off x="1358900" y="2142140"/>
              <a:ext cx="933419"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smtClean="0">
                  <a:latin typeface="+mn-ea"/>
                </a:rPr>
                <a:t>11. xx</a:t>
              </a:r>
              <a:endParaRPr lang="zh-CN" altLang="en-US" sz="1400" b="1" kern="0" dirty="0">
                <a:latin typeface="+mn-ea"/>
              </a:endParaRPr>
            </a:p>
          </p:txBody>
        </p:sp>
        <p:sp>
          <p:nvSpPr>
            <p:cNvPr id="22" name="矩形 126"/>
            <p:cNvSpPr/>
            <p:nvPr/>
          </p:nvSpPr>
          <p:spPr bwMode="gray">
            <a:xfrm>
              <a:off x="1351592" y="2403282"/>
              <a:ext cx="933419" cy="313403"/>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sz="1400" b="1" kern="0" dirty="0" smtClean="0">
                  <a:latin typeface="+mn-ea"/>
                </a:rPr>
                <a:t>12. xx</a:t>
              </a:r>
              <a:endParaRPr lang="zh-CN" altLang="en-US" sz="1400" b="1" kern="0" dirty="0">
                <a:latin typeface="+mn-ea"/>
              </a:endParaRPr>
            </a:p>
          </p:txBody>
        </p:sp>
      </p:grpSp>
      <p:cxnSp>
        <p:nvCxnSpPr>
          <p:cNvPr id="23" name="肘形连接符 7"/>
          <p:cNvCxnSpPr>
            <a:stCxn id="40" idx="6"/>
          </p:cNvCxnSpPr>
          <p:nvPr/>
        </p:nvCxnSpPr>
        <p:spPr>
          <a:xfrm flipV="1">
            <a:off x="7369427" y="1278029"/>
            <a:ext cx="2410387" cy="230958"/>
          </a:xfrm>
          <a:prstGeom prst="bentConnector3">
            <a:avLst>
              <a:gd name="adj1" fmla="val 50000"/>
            </a:avLst>
          </a:prstGeom>
          <a:noFill/>
          <a:ln w="9525" cap="flat" cmpd="sng" algn="ctr">
            <a:solidFill>
              <a:schemeClr val="tx1">
                <a:lumMod val="65000"/>
                <a:lumOff val="35000"/>
              </a:schemeClr>
            </a:solidFill>
            <a:prstDash val="dash"/>
            <a:tailEnd type="oval" w="lg" len="lg"/>
          </a:ln>
          <a:effectLst/>
        </p:spPr>
      </p:cxnSp>
      <p:cxnSp>
        <p:nvCxnSpPr>
          <p:cNvPr id="24" name="肘形连接符 7"/>
          <p:cNvCxnSpPr/>
          <p:nvPr/>
        </p:nvCxnSpPr>
        <p:spPr>
          <a:xfrm flipV="1">
            <a:off x="6236784" y="5003366"/>
            <a:ext cx="3548121" cy="650159"/>
          </a:xfrm>
          <a:prstGeom prst="bentConnector3">
            <a:avLst>
              <a:gd name="adj1" fmla="val 65391"/>
            </a:avLst>
          </a:prstGeom>
          <a:noFill/>
          <a:ln w="9525" cap="flat" cmpd="sng" algn="ctr">
            <a:solidFill>
              <a:schemeClr val="tx1">
                <a:lumMod val="65000"/>
                <a:lumOff val="35000"/>
              </a:schemeClr>
            </a:solidFill>
            <a:prstDash val="dash"/>
            <a:tailEnd type="oval" w="lg" len="lg"/>
          </a:ln>
          <a:effectLst/>
        </p:spPr>
      </p:cxnSp>
      <p:grpSp>
        <p:nvGrpSpPr>
          <p:cNvPr id="25" name="组合 24"/>
          <p:cNvGrpSpPr/>
          <p:nvPr/>
        </p:nvGrpSpPr>
        <p:grpSpPr>
          <a:xfrm rot="20618368">
            <a:off x="3839835" y="1082629"/>
            <a:ext cx="4716322" cy="4680000"/>
            <a:chOff x="3839835" y="1082629"/>
            <a:chExt cx="4716322" cy="4680000"/>
          </a:xfrm>
        </p:grpSpPr>
        <p:sp>
          <p:nvSpPr>
            <p:cNvPr id="26" name="Freeform 28"/>
            <p:cNvSpPr>
              <a:spLocks noChangeAspect="1"/>
            </p:cNvSpPr>
            <p:nvPr/>
          </p:nvSpPr>
          <p:spPr bwMode="auto">
            <a:xfrm>
              <a:off x="6130261" y="1218089"/>
              <a:ext cx="1717526" cy="1532551"/>
            </a:xfrm>
            <a:custGeom>
              <a:avLst/>
              <a:gdLst>
                <a:gd name="T0" fmla="*/ 38 w 947"/>
                <a:gd name="T1" fmla="*/ 1 h 849"/>
                <a:gd name="T2" fmla="*/ 108 w 947"/>
                <a:gd name="T3" fmla="*/ 6 h 849"/>
                <a:gd name="T4" fmla="*/ 176 w 947"/>
                <a:gd name="T5" fmla="*/ 15 h 849"/>
                <a:gd name="T6" fmla="*/ 210 w 947"/>
                <a:gd name="T7" fmla="*/ 21 h 849"/>
                <a:gd name="T8" fmla="*/ 277 w 947"/>
                <a:gd name="T9" fmla="*/ 34 h 849"/>
                <a:gd name="T10" fmla="*/ 342 w 947"/>
                <a:gd name="T11" fmla="*/ 52 h 849"/>
                <a:gd name="T12" fmla="*/ 407 w 947"/>
                <a:gd name="T13" fmla="*/ 72 h 849"/>
                <a:gd name="T14" fmla="*/ 469 w 947"/>
                <a:gd name="T15" fmla="*/ 97 h 849"/>
                <a:gd name="T16" fmla="*/ 529 w 947"/>
                <a:gd name="T17" fmla="*/ 124 h 849"/>
                <a:gd name="T18" fmla="*/ 589 w 947"/>
                <a:gd name="T19" fmla="*/ 154 h 849"/>
                <a:gd name="T20" fmla="*/ 646 w 947"/>
                <a:gd name="T21" fmla="*/ 187 h 849"/>
                <a:gd name="T22" fmla="*/ 702 w 947"/>
                <a:gd name="T23" fmla="*/ 222 h 849"/>
                <a:gd name="T24" fmla="*/ 755 w 947"/>
                <a:gd name="T25" fmla="*/ 262 h 849"/>
                <a:gd name="T26" fmla="*/ 781 w 947"/>
                <a:gd name="T27" fmla="*/ 282 h 849"/>
                <a:gd name="T28" fmla="*/ 831 w 947"/>
                <a:gd name="T29" fmla="*/ 324 h 849"/>
                <a:gd name="T30" fmla="*/ 855 w 947"/>
                <a:gd name="T31" fmla="*/ 346 h 849"/>
                <a:gd name="T32" fmla="*/ 903 w 947"/>
                <a:gd name="T33" fmla="*/ 392 h 849"/>
                <a:gd name="T34" fmla="*/ 947 w 947"/>
                <a:gd name="T35" fmla="*/ 441 h 849"/>
                <a:gd name="T36" fmla="*/ 457 w 947"/>
                <a:gd name="T37" fmla="*/ 849 h 849"/>
                <a:gd name="T38" fmla="*/ 435 w 947"/>
                <a:gd name="T39" fmla="*/ 826 h 849"/>
                <a:gd name="T40" fmla="*/ 412 w 947"/>
                <a:gd name="T41" fmla="*/ 804 h 849"/>
                <a:gd name="T42" fmla="*/ 388 w 947"/>
                <a:gd name="T43" fmla="*/ 784 h 849"/>
                <a:gd name="T44" fmla="*/ 363 w 947"/>
                <a:gd name="T45" fmla="*/ 764 h 849"/>
                <a:gd name="T46" fmla="*/ 323 w 947"/>
                <a:gd name="T47" fmla="*/ 737 h 849"/>
                <a:gd name="T48" fmla="*/ 296 w 947"/>
                <a:gd name="T49" fmla="*/ 720 h 849"/>
                <a:gd name="T50" fmla="*/ 268 w 947"/>
                <a:gd name="T51" fmla="*/ 705 h 849"/>
                <a:gd name="T52" fmla="*/ 240 w 947"/>
                <a:gd name="T53" fmla="*/ 691 h 849"/>
                <a:gd name="T54" fmla="*/ 209 w 947"/>
                <a:gd name="T55" fmla="*/ 679 h 849"/>
                <a:gd name="T56" fmla="*/ 179 w 947"/>
                <a:gd name="T57" fmla="*/ 668 h 849"/>
                <a:gd name="T58" fmla="*/ 148 w 947"/>
                <a:gd name="T59" fmla="*/ 659 h 849"/>
                <a:gd name="T60" fmla="*/ 116 w 947"/>
                <a:gd name="T61" fmla="*/ 651 h 849"/>
                <a:gd name="T62" fmla="*/ 84 w 947"/>
                <a:gd name="T63" fmla="*/ 645 h 849"/>
                <a:gd name="T64" fmla="*/ 34 w 947"/>
                <a:gd name="T65" fmla="*/ 639 h 849"/>
                <a:gd name="T66" fmla="*/ 0 w 947"/>
                <a:gd name="T67" fmla="*/ 637 h 849"/>
                <a:gd name="T68" fmla="*/ 3 w 947"/>
                <a:gd name="T69" fmla="*/ 0 h 8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47"/>
                <a:gd name="T106" fmla="*/ 0 h 849"/>
                <a:gd name="T107" fmla="*/ 947 w 947"/>
                <a:gd name="T108" fmla="*/ 849 h 8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47" h="849">
                  <a:moveTo>
                    <a:pt x="3" y="0"/>
                  </a:moveTo>
                  <a:lnTo>
                    <a:pt x="38" y="1"/>
                  </a:lnTo>
                  <a:lnTo>
                    <a:pt x="74" y="3"/>
                  </a:lnTo>
                  <a:lnTo>
                    <a:pt x="108" y="6"/>
                  </a:lnTo>
                  <a:lnTo>
                    <a:pt x="142" y="10"/>
                  </a:lnTo>
                  <a:lnTo>
                    <a:pt x="176" y="15"/>
                  </a:lnTo>
                  <a:lnTo>
                    <a:pt x="193" y="18"/>
                  </a:lnTo>
                  <a:lnTo>
                    <a:pt x="210" y="21"/>
                  </a:lnTo>
                  <a:lnTo>
                    <a:pt x="244" y="27"/>
                  </a:lnTo>
                  <a:lnTo>
                    <a:pt x="277" y="34"/>
                  </a:lnTo>
                  <a:lnTo>
                    <a:pt x="310" y="43"/>
                  </a:lnTo>
                  <a:lnTo>
                    <a:pt x="342" y="52"/>
                  </a:lnTo>
                  <a:lnTo>
                    <a:pt x="374" y="62"/>
                  </a:lnTo>
                  <a:lnTo>
                    <a:pt x="407" y="72"/>
                  </a:lnTo>
                  <a:lnTo>
                    <a:pt x="438" y="85"/>
                  </a:lnTo>
                  <a:lnTo>
                    <a:pt x="469" y="97"/>
                  </a:lnTo>
                  <a:lnTo>
                    <a:pt x="499" y="110"/>
                  </a:lnTo>
                  <a:lnTo>
                    <a:pt x="529" y="124"/>
                  </a:lnTo>
                  <a:lnTo>
                    <a:pt x="560" y="139"/>
                  </a:lnTo>
                  <a:lnTo>
                    <a:pt x="589" y="154"/>
                  </a:lnTo>
                  <a:lnTo>
                    <a:pt x="618" y="170"/>
                  </a:lnTo>
                  <a:lnTo>
                    <a:pt x="646" y="187"/>
                  </a:lnTo>
                  <a:lnTo>
                    <a:pt x="674" y="204"/>
                  </a:lnTo>
                  <a:lnTo>
                    <a:pt x="702" y="222"/>
                  </a:lnTo>
                  <a:lnTo>
                    <a:pt x="729" y="242"/>
                  </a:lnTo>
                  <a:lnTo>
                    <a:pt x="755" y="262"/>
                  </a:lnTo>
                  <a:lnTo>
                    <a:pt x="768" y="272"/>
                  </a:lnTo>
                  <a:lnTo>
                    <a:pt x="781" y="282"/>
                  </a:lnTo>
                  <a:lnTo>
                    <a:pt x="806" y="303"/>
                  </a:lnTo>
                  <a:lnTo>
                    <a:pt x="831" y="324"/>
                  </a:lnTo>
                  <a:lnTo>
                    <a:pt x="843" y="335"/>
                  </a:lnTo>
                  <a:lnTo>
                    <a:pt x="855" y="346"/>
                  </a:lnTo>
                  <a:lnTo>
                    <a:pt x="880" y="369"/>
                  </a:lnTo>
                  <a:lnTo>
                    <a:pt x="903" y="392"/>
                  </a:lnTo>
                  <a:lnTo>
                    <a:pt x="925" y="417"/>
                  </a:lnTo>
                  <a:lnTo>
                    <a:pt x="947" y="441"/>
                  </a:lnTo>
                  <a:lnTo>
                    <a:pt x="817" y="814"/>
                  </a:lnTo>
                  <a:lnTo>
                    <a:pt x="457" y="849"/>
                  </a:lnTo>
                  <a:lnTo>
                    <a:pt x="446" y="837"/>
                  </a:lnTo>
                  <a:lnTo>
                    <a:pt x="435" y="826"/>
                  </a:lnTo>
                  <a:lnTo>
                    <a:pt x="424" y="815"/>
                  </a:lnTo>
                  <a:lnTo>
                    <a:pt x="412" y="804"/>
                  </a:lnTo>
                  <a:lnTo>
                    <a:pt x="400" y="794"/>
                  </a:lnTo>
                  <a:lnTo>
                    <a:pt x="388" y="784"/>
                  </a:lnTo>
                  <a:lnTo>
                    <a:pt x="375" y="774"/>
                  </a:lnTo>
                  <a:lnTo>
                    <a:pt x="363" y="764"/>
                  </a:lnTo>
                  <a:lnTo>
                    <a:pt x="337" y="746"/>
                  </a:lnTo>
                  <a:lnTo>
                    <a:pt x="323" y="737"/>
                  </a:lnTo>
                  <a:lnTo>
                    <a:pt x="310" y="729"/>
                  </a:lnTo>
                  <a:lnTo>
                    <a:pt x="296" y="720"/>
                  </a:lnTo>
                  <a:lnTo>
                    <a:pt x="282" y="712"/>
                  </a:lnTo>
                  <a:lnTo>
                    <a:pt x="268" y="705"/>
                  </a:lnTo>
                  <a:lnTo>
                    <a:pt x="254" y="698"/>
                  </a:lnTo>
                  <a:lnTo>
                    <a:pt x="240" y="691"/>
                  </a:lnTo>
                  <a:lnTo>
                    <a:pt x="225" y="685"/>
                  </a:lnTo>
                  <a:lnTo>
                    <a:pt x="209" y="679"/>
                  </a:lnTo>
                  <a:lnTo>
                    <a:pt x="194" y="673"/>
                  </a:lnTo>
                  <a:lnTo>
                    <a:pt x="179" y="668"/>
                  </a:lnTo>
                  <a:lnTo>
                    <a:pt x="163" y="663"/>
                  </a:lnTo>
                  <a:lnTo>
                    <a:pt x="148" y="659"/>
                  </a:lnTo>
                  <a:lnTo>
                    <a:pt x="132" y="655"/>
                  </a:lnTo>
                  <a:lnTo>
                    <a:pt x="116" y="651"/>
                  </a:lnTo>
                  <a:lnTo>
                    <a:pt x="100" y="648"/>
                  </a:lnTo>
                  <a:lnTo>
                    <a:pt x="84" y="645"/>
                  </a:lnTo>
                  <a:lnTo>
                    <a:pt x="68" y="642"/>
                  </a:lnTo>
                  <a:lnTo>
                    <a:pt x="34" y="639"/>
                  </a:lnTo>
                  <a:lnTo>
                    <a:pt x="17" y="638"/>
                  </a:lnTo>
                  <a:lnTo>
                    <a:pt x="0" y="637"/>
                  </a:lnTo>
                  <a:lnTo>
                    <a:pt x="198" y="348"/>
                  </a:lnTo>
                  <a:lnTo>
                    <a:pt x="3" y="0"/>
                  </a:lnTo>
                  <a:close/>
                </a:path>
              </a:pathLst>
            </a:custGeom>
            <a:solidFill>
              <a:srgbClr val="FE5817"/>
            </a:solidFill>
            <a:ln>
              <a:noFill/>
            </a:ln>
          </p:spPr>
          <p:txBody>
            <a:bodyPr lIns="0" rIns="0"/>
            <a:lstStyle/>
            <a:p>
              <a:pPr>
                <a:defRPr/>
              </a:pPr>
              <a:endParaRPr lang="zh-CN" altLang="en-US" kern="0">
                <a:solidFill>
                  <a:prstClr val="black"/>
                </a:solidFill>
                <a:latin typeface="+mn-ea"/>
              </a:endParaRPr>
            </a:p>
          </p:txBody>
        </p:sp>
        <p:sp>
          <p:nvSpPr>
            <p:cNvPr id="27" name="Freeform 29"/>
            <p:cNvSpPr>
              <a:spLocks noChangeAspect="1"/>
            </p:cNvSpPr>
            <p:nvPr/>
          </p:nvSpPr>
          <p:spPr bwMode="auto">
            <a:xfrm>
              <a:off x="7054398" y="2100023"/>
              <a:ext cx="1351436" cy="2008755"/>
            </a:xfrm>
            <a:custGeom>
              <a:avLst/>
              <a:gdLst>
                <a:gd name="T0" fmla="*/ 14 w 758"/>
                <a:gd name="T1" fmla="*/ 428 h 1132"/>
                <a:gd name="T2" fmla="*/ 41 w 758"/>
                <a:gd name="T3" fmla="*/ 469 h 1132"/>
                <a:gd name="T4" fmla="*/ 63 w 758"/>
                <a:gd name="T5" fmla="*/ 513 h 1132"/>
                <a:gd name="T6" fmla="*/ 77 w 758"/>
                <a:gd name="T7" fmla="*/ 548 h 1132"/>
                <a:gd name="T8" fmla="*/ 90 w 758"/>
                <a:gd name="T9" fmla="*/ 583 h 1132"/>
                <a:gd name="T10" fmla="*/ 104 w 758"/>
                <a:gd name="T11" fmla="*/ 631 h 1132"/>
                <a:gd name="T12" fmla="*/ 114 w 758"/>
                <a:gd name="T13" fmla="*/ 680 h 1132"/>
                <a:gd name="T14" fmla="*/ 120 w 758"/>
                <a:gd name="T15" fmla="*/ 732 h 1132"/>
                <a:gd name="T16" fmla="*/ 122 w 758"/>
                <a:gd name="T17" fmla="*/ 784 h 1132"/>
                <a:gd name="T18" fmla="*/ 120 w 758"/>
                <a:gd name="T19" fmla="*/ 829 h 1132"/>
                <a:gd name="T20" fmla="*/ 116 w 758"/>
                <a:gd name="T21" fmla="*/ 874 h 1132"/>
                <a:gd name="T22" fmla="*/ 740 w 758"/>
                <a:gd name="T23" fmla="*/ 1002 h 1132"/>
                <a:gd name="T24" fmla="*/ 748 w 758"/>
                <a:gd name="T25" fmla="*/ 948 h 1132"/>
                <a:gd name="T26" fmla="*/ 754 w 758"/>
                <a:gd name="T27" fmla="*/ 894 h 1132"/>
                <a:gd name="T28" fmla="*/ 757 w 758"/>
                <a:gd name="T29" fmla="*/ 839 h 1132"/>
                <a:gd name="T30" fmla="*/ 758 w 758"/>
                <a:gd name="T31" fmla="*/ 784 h 1132"/>
                <a:gd name="T32" fmla="*/ 757 w 758"/>
                <a:gd name="T33" fmla="*/ 729 h 1132"/>
                <a:gd name="T34" fmla="*/ 754 w 758"/>
                <a:gd name="T35" fmla="*/ 674 h 1132"/>
                <a:gd name="T36" fmla="*/ 748 w 758"/>
                <a:gd name="T37" fmla="*/ 621 h 1132"/>
                <a:gd name="T38" fmla="*/ 740 w 758"/>
                <a:gd name="T39" fmla="*/ 568 h 1132"/>
                <a:gd name="T40" fmla="*/ 730 w 758"/>
                <a:gd name="T41" fmla="*/ 515 h 1132"/>
                <a:gd name="T42" fmla="*/ 718 w 758"/>
                <a:gd name="T43" fmla="*/ 464 h 1132"/>
                <a:gd name="T44" fmla="*/ 704 w 758"/>
                <a:gd name="T45" fmla="*/ 413 h 1132"/>
                <a:gd name="T46" fmla="*/ 688 w 758"/>
                <a:gd name="T47" fmla="*/ 362 h 1132"/>
                <a:gd name="T48" fmla="*/ 669 w 758"/>
                <a:gd name="T49" fmla="*/ 314 h 1132"/>
                <a:gd name="T50" fmla="*/ 649 w 758"/>
                <a:gd name="T51" fmla="*/ 266 h 1132"/>
                <a:gd name="T52" fmla="*/ 627 w 758"/>
                <a:gd name="T53" fmla="*/ 218 h 1132"/>
                <a:gd name="T54" fmla="*/ 603 w 758"/>
                <a:gd name="T55" fmla="*/ 172 h 1132"/>
                <a:gd name="T56" fmla="*/ 578 w 758"/>
                <a:gd name="T57" fmla="*/ 128 h 1132"/>
                <a:gd name="T58" fmla="*/ 551 w 758"/>
                <a:gd name="T59" fmla="*/ 84 h 1132"/>
                <a:gd name="T60" fmla="*/ 522 w 758"/>
                <a:gd name="T61" fmla="*/ 41 h 1132"/>
                <a:gd name="T62" fmla="*/ 491 w 758"/>
                <a:gd name="T63" fmla="*/ 0 h 1132"/>
                <a:gd name="T64" fmla="*/ 0 w 758"/>
                <a:gd name="T65" fmla="*/ 408 h 11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58"/>
                <a:gd name="T100" fmla="*/ 0 h 1132"/>
                <a:gd name="T101" fmla="*/ 758 w 758"/>
                <a:gd name="T102" fmla="*/ 1132 h 113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58" h="1132">
                  <a:moveTo>
                    <a:pt x="0" y="408"/>
                  </a:moveTo>
                  <a:lnTo>
                    <a:pt x="14" y="428"/>
                  </a:lnTo>
                  <a:lnTo>
                    <a:pt x="27" y="448"/>
                  </a:lnTo>
                  <a:lnTo>
                    <a:pt x="41" y="469"/>
                  </a:lnTo>
                  <a:lnTo>
                    <a:pt x="52" y="491"/>
                  </a:lnTo>
                  <a:lnTo>
                    <a:pt x="63" y="513"/>
                  </a:lnTo>
                  <a:lnTo>
                    <a:pt x="73" y="535"/>
                  </a:lnTo>
                  <a:lnTo>
                    <a:pt x="77" y="548"/>
                  </a:lnTo>
                  <a:lnTo>
                    <a:pt x="82" y="559"/>
                  </a:lnTo>
                  <a:lnTo>
                    <a:pt x="90" y="583"/>
                  </a:lnTo>
                  <a:lnTo>
                    <a:pt x="97" y="607"/>
                  </a:lnTo>
                  <a:lnTo>
                    <a:pt x="104" y="631"/>
                  </a:lnTo>
                  <a:lnTo>
                    <a:pt x="109" y="655"/>
                  </a:lnTo>
                  <a:lnTo>
                    <a:pt x="114" y="680"/>
                  </a:lnTo>
                  <a:lnTo>
                    <a:pt x="117" y="706"/>
                  </a:lnTo>
                  <a:lnTo>
                    <a:pt x="120" y="732"/>
                  </a:lnTo>
                  <a:lnTo>
                    <a:pt x="121" y="758"/>
                  </a:lnTo>
                  <a:lnTo>
                    <a:pt x="122" y="784"/>
                  </a:lnTo>
                  <a:lnTo>
                    <a:pt x="121" y="806"/>
                  </a:lnTo>
                  <a:lnTo>
                    <a:pt x="120" y="829"/>
                  </a:lnTo>
                  <a:lnTo>
                    <a:pt x="118" y="851"/>
                  </a:lnTo>
                  <a:lnTo>
                    <a:pt x="116" y="874"/>
                  </a:lnTo>
                  <a:lnTo>
                    <a:pt x="370" y="1132"/>
                  </a:lnTo>
                  <a:lnTo>
                    <a:pt x="740" y="1002"/>
                  </a:lnTo>
                  <a:lnTo>
                    <a:pt x="744" y="975"/>
                  </a:lnTo>
                  <a:lnTo>
                    <a:pt x="748" y="948"/>
                  </a:lnTo>
                  <a:lnTo>
                    <a:pt x="751" y="922"/>
                  </a:lnTo>
                  <a:lnTo>
                    <a:pt x="754" y="894"/>
                  </a:lnTo>
                  <a:lnTo>
                    <a:pt x="756" y="867"/>
                  </a:lnTo>
                  <a:lnTo>
                    <a:pt x="757" y="839"/>
                  </a:lnTo>
                  <a:lnTo>
                    <a:pt x="758" y="811"/>
                  </a:lnTo>
                  <a:lnTo>
                    <a:pt x="758" y="784"/>
                  </a:lnTo>
                  <a:lnTo>
                    <a:pt x="758" y="756"/>
                  </a:lnTo>
                  <a:lnTo>
                    <a:pt x="757" y="729"/>
                  </a:lnTo>
                  <a:lnTo>
                    <a:pt x="756" y="701"/>
                  </a:lnTo>
                  <a:lnTo>
                    <a:pt x="754" y="674"/>
                  </a:lnTo>
                  <a:lnTo>
                    <a:pt x="751" y="647"/>
                  </a:lnTo>
                  <a:lnTo>
                    <a:pt x="748" y="621"/>
                  </a:lnTo>
                  <a:lnTo>
                    <a:pt x="744" y="594"/>
                  </a:lnTo>
                  <a:lnTo>
                    <a:pt x="740" y="568"/>
                  </a:lnTo>
                  <a:lnTo>
                    <a:pt x="735" y="541"/>
                  </a:lnTo>
                  <a:lnTo>
                    <a:pt x="730" y="515"/>
                  </a:lnTo>
                  <a:lnTo>
                    <a:pt x="724" y="489"/>
                  </a:lnTo>
                  <a:lnTo>
                    <a:pt x="718" y="464"/>
                  </a:lnTo>
                  <a:lnTo>
                    <a:pt x="711" y="438"/>
                  </a:lnTo>
                  <a:lnTo>
                    <a:pt x="704" y="413"/>
                  </a:lnTo>
                  <a:lnTo>
                    <a:pt x="696" y="388"/>
                  </a:lnTo>
                  <a:lnTo>
                    <a:pt x="688" y="362"/>
                  </a:lnTo>
                  <a:lnTo>
                    <a:pt x="679" y="338"/>
                  </a:lnTo>
                  <a:lnTo>
                    <a:pt x="669" y="314"/>
                  </a:lnTo>
                  <a:lnTo>
                    <a:pt x="659" y="290"/>
                  </a:lnTo>
                  <a:lnTo>
                    <a:pt x="649" y="266"/>
                  </a:lnTo>
                  <a:lnTo>
                    <a:pt x="638" y="242"/>
                  </a:lnTo>
                  <a:lnTo>
                    <a:pt x="627" y="218"/>
                  </a:lnTo>
                  <a:lnTo>
                    <a:pt x="615" y="195"/>
                  </a:lnTo>
                  <a:lnTo>
                    <a:pt x="603" y="172"/>
                  </a:lnTo>
                  <a:lnTo>
                    <a:pt x="591" y="150"/>
                  </a:lnTo>
                  <a:lnTo>
                    <a:pt x="578" y="128"/>
                  </a:lnTo>
                  <a:lnTo>
                    <a:pt x="565" y="106"/>
                  </a:lnTo>
                  <a:lnTo>
                    <a:pt x="551" y="84"/>
                  </a:lnTo>
                  <a:lnTo>
                    <a:pt x="537" y="62"/>
                  </a:lnTo>
                  <a:lnTo>
                    <a:pt x="522" y="41"/>
                  </a:lnTo>
                  <a:lnTo>
                    <a:pt x="506" y="20"/>
                  </a:lnTo>
                  <a:lnTo>
                    <a:pt x="491" y="0"/>
                  </a:lnTo>
                  <a:lnTo>
                    <a:pt x="350" y="388"/>
                  </a:lnTo>
                  <a:lnTo>
                    <a:pt x="0" y="408"/>
                  </a:lnTo>
                  <a:close/>
                </a:path>
              </a:pathLst>
            </a:custGeom>
            <a:solidFill>
              <a:srgbClr val="FE5817"/>
            </a:solidFill>
            <a:ln>
              <a:noFill/>
            </a:ln>
          </p:spPr>
          <p:txBody>
            <a:bodyPr lIns="0" rIns="0"/>
            <a:lstStyle/>
            <a:p>
              <a:pPr>
                <a:defRPr/>
              </a:pPr>
              <a:endParaRPr lang="zh-CN" altLang="en-US" kern="0">
                <a:solidFill>
                  <a:prstClr val="white"/>
                </a:solidFill>
                <a:latin typeface="+mn-ea"/>
              </a:endParaRPr>
            </a:p>
          </p:txBody>
        </p:sp>
        <p:sp>
          <p:nvSpPr>
            <p:cNvPr id="28" name="Freeform 30"/>
            <p:cNvSpPr>
              <a:spLocks noChangeAspect="1"/>
            </p:cNvSpPr>
            <p:nvPr/>
          </p:nvSpPr>
          <p:spPr bwMode="auto">
            <a:xfrm>
              <a:off x="6683556" y="3785815"/>
              <a:ext cx="1665225" cy="1673370"/>
            </a:xfrm>
            <a:custGeom>
              <a:avLst/>
              <a:gdLst>
                <a:gd name="T0" fmla="*/ 0 w 934"/>
                <a:gd name="T1" fmla="*/ 736 h 943"/>
                <a:gd name="T2" fmla="*/ 52 w 934"/>
                <a:gd name="T3" fmla="*/ 365 h 943"/>
                <a:gd name="T4" fmla="*/ 88 w 934"/>
                <a:gd name="T5" fmla="*/ 339 h 943"/>
                <a:gd name="T6" fmla="*/ 132 w 934"/>
                <a:gd name="T7" fmla="*/ 301 h 943"/>
                <a:gd name="T8" fmla="*/ 162 w 934"/>
                <a:gd name="T9" fmla="*/ 270 h 943"/>
                <a:gd name="T10" fmla="*/ 181 w 934"/>
                <a:gd name="T11" fmla="*/ 248 h 943"/>
                <a:gd name="T12" fmla="*/ 199 w 934"/>
                <a:gd name="T13" fmla="*/ 224 h 943"/>
                <a:gd name="T14" fmla="*/ 224 w 934"/>
                <a:gd name="T15" fmla="*/ 188 h 943"/>
                <a:gd name="T16" fmla="*/ 239 w 934"/>
                <a:gd name="T17" fmla="*/ 164 h 943"/>
                <a:gd name="T18" fmla="*/ 261 w 934"/>
                <a:gd name="T19" fmla="*/ 125 h 943"/>
                <a:gd name="T20" fmla="*/ 274 w 934"/>
                <a:gd name="T21" fmla="*/ 99 h 943"/>
                <a:gd name="T22" fmla="*/ 290 w 934"/>
                <a:gd name="T23" fmla="*/ 56 h 943"/>
                <a:gd name="T24" fmla="*/ 300 w 934"/>
                <a:gd name="T25" fmla="*/ 28 h 943"/>
                <a:gd name="T26" fmla="*/ 308 w 934"/>
                <a:gd name="T27" fmla="*/ 0 h 943"/>
                <a:gd name="T28" fmla="*/ 934 w 934"/>
                <a:gd name="T29" fmla="*/ 123 h 943"/>
                <a:gd name="T30" fmla="*/ 917 w 934"/>
                <a:gd name="T31" fmla="*/ 188 h 943"/>
                <a:gd name="T32" fmla="*/ 897 w 934"/>
                <a:gd name="T33" fmla="*/ 252 h 943"/>
                <a:gd name="T34" fmla="*/ 886 w 934"/>
                <a:gd name="T35" fmla="*/ 283 h 943"/>
                <a:gd name="T36" fmla="*/ 867 w 934"/>
                <a:gd name="T37" fmla="*/ 329 h 943"/>
                <a:gd name="T38" fmla="*/ 847 w 934"/>
                <a:gd name="T39" fmla="*/ 374 h 943"/>
                <a:gd name="T40" fmla="*/ 833 w 934"/>
                <a:gd name="T41" fmla="*/ 405 h 943"/>
                <a:gd name="T42" fmla="*/ 802 w 934"/>
                <a:gd name="T43" fmla="*/ 462 h 943"/>
                <a:gd name="T44" fmla="*/ 769 w 934"/>
                <a:gd name="T45" fmla="*/ 518 h 943"/>
                <a:gd name="T46" fmla="*/ 733 w 934"/>
                <a:gd name="T47" fmla="*/ 573 h 943"/>
                <a:gd name="T48" fmla="*/ 693 w 934"/>
                <a:gd name="T49" fmla="*/ 625 h 943"/>
                <a:gd name="T50" fmla="*/ 663 w 934"/>
                <a:gd name="T51" fmla="*/ 662 h 943"/>
                <a:gd name="T52" fmla="*/ 631 w 934"/>
                <a:gd name="T53" fmla="*/ 699 h 943"/>
                <a:gd name="T54" fmla="*/ 586 w 934"/>
                <a:gd name="T55" fmla="*/ 746 h 943"/>
                <a:gd name="T56" fmla="*/ 538 w 934"/>
                <a:gd name="T57" fmla="*/ 790 h 943"/>
                <a:gd name="T58" fmla="*/ 488 w 934"/>
                <a:gd name="T59" fmla="*/ 832 h 943"/>
                <a:gd name="T60" fmla="*/ 437 w 934"/>
                <a:gd name="T61" fmla="*/ 871 h 943"/>
                <a:gd name="T62" fmla="*/ 382 w 934"/>
                <a:gd name="T63" fmla="*/ 909 h 943"/>
                <a:gd name="T64" fmla="*/ 355 w 934"/>
                <a:gd name="T65" fmla="*/ 926 h 943"/>
                <a:gd name="T66" fmla="*/ 327 w 934"/>
                <a:gd name="T67" fmla="*/ 943 h 9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34"/>
                <a:gd name="T103" fmla="*/ 0 h 943"/>
                <a:gd name="T104" fmla="*/ 934 w 934"/>
                <a:gd name="T105" fmla="*/ 943 h 9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34" h="943">
                  <a:moveTo>
                    <a:pt x="327" y="943"/>
                  </a:moveTo>
                  <a:lnTo>
                    <a:pt x="0" y="736"/>
                  </a:lnTo>
                  <a:lnTo>
                    <a:pt x="40" y="374"/>
                  </a:lnTo>
                  <a:lnTo>
                    <a:pt x="52" y="365"/>
                  </a:lnTo>
                  <a:lnTo>
                    <a:pt x="64" y="357"/>
                  </a:lnTo>
                  <a:lnTo>
                    <a:pt x="88" y="339"/>
                  </a:lnTo>
                  <a:lnTo>
                    <a:pt x="111" y="321"/>
                  </a:lnTo>
                  <a:lnTo>
                    <a:pt x="132" y="301"/>
                  </a:lnTo>
                  <a:lnTo>
                    <a:pt x="152" y="281"/>
                  </a:lnTo>
                  <a:lnTo>
                    <a:pt x="162" y="270"/>
                  </a:lnTo>
                  <a:lnTo>
                    <a:pt x="172" y="259"/>
                  </a:lnTo>
                  <a:lnTo>
                    <a:pt x="181" y="248"/>
                  </a:lnTo>
                  <a:lnTo>
                    <a:pt x="190" y="237"/>
                  </a:lnTo>
                  <a:lnTo>
                    <a:pt x="199" y="224"/>
                  </a:lnTo>
                  <a:lnTo>
                    <a:pt x="208" y="213"/>
                  </a:lnTo>
                  <a:lnTo>
                    <a:pt x="224" y="188"/>
                  </a:lnTo>
                  <a:lnTo>
                    <a:pt x="232" y="176"/>
                  </a:lnTo>
                  <a:lnTo>
                    <a:pt x="239" y="164"/>
                  </a:lnTo>
                  <a:lnTo>
                    <a:pt x="255" y="138"/>
                  </a:lnTo>
                  <a:lnTo>
                    <a:pt x="261" y="125"/>
                  </a:lnTo>
                  <a:lnTo>
                    <a:pt x="268" y="112"/>
                  </a:lnTo>
                  <a:lnTo>
                    <a:pt x="274" y="99"/>
                  </a:lnTo>
                  <a:lnTo>
                    <a:pt x="280" y="85"/>
                  </a:lnTo>
                  <a:lnTo>
                    <a:pt x="290" y="56"/>
                  </a:lnTo>
                  <a:lnTo>
                    <a:pt x="295" y="42"/>
                  </a:lnTo>
                  <a:lnTo>
                    <a:pt x="300" y="28"/>
                  </a:lnTo>
                  <a:lnTo>
                    <a:pt x="304" y="14"/>
                  </a:lnTo>
                  <a:lnTo>
                    <a:pt x="308" y="0"/>
                  </a:lnTo>
                  <a:lnTo>
                    <a:pt x="544" y="255"/>
                  </a:lnTo>
                  <a:lnTo>
                    <a:pt x="934" y="123"/>
                  </a:lnTo>
                  <a:lnTo>
                    <a:pt x="926" y="156"/>
                  </a:lnTo>
                  <a:lnTo>
                    <a:pt x="917" y="188"/>
                  </a:lnTo>
                  <a:lnTo>
                    <a:pt x="907" y="220"/>
                  </a:lnTo>
                  <a:lnTo>
                    <a:pt x="897" y="252"/>
                  </a:lnTo>
                  <a:lnTo>
                    <a:pt x="891" y="268"/>
                  </a:lnTo>
                  <a:lnTo>
                    <a:pt x="886" y="283"/>
                  </a:lnTo>
                  <a:lnTo>
                    <a:pt x="873" y="314"/>
                  </a:lnTo>
                  <a:lnTo>
                    <a:pt x="867" y="329"/>
                  </a:lnTo>
                  <a:lnTo>
                    <a:pt x="860" y="344"/>
                  </a:lnTo>
                  <a:lnTo>
                    <a:pt x="847" y="374"/>
                  </a:lnTo>
                  <a:lnTo>
                    <a:pt x="840" y="389"/>
                  </a:lnTo>
                  <a:lnTo>
                    <a:pt x="833" y="405"/>
                  </a:lnTo>
                  <a:lnTo>
                    <a:pt x="818" y="434"/>
                  </a:lnTo>
                  <a:lnTo>
                    <a:pt x="802" y="462"/>
                  </a:lnTo>
                  <a:lnTo>
                    <a:pt x="786" y="490"/>
                  </a:lnTo>
                  <a:lnTo>
                    <a:pt x="769" y="518"/>
                  </a:lnTo>
                  <a:lnTo>
                    <a:pt x="751" y="545"/>
                  </a:lnTo>
                  <a:lnTo>
                    <a:pt x="733" y="573"/>
                  </a:lnTo>
                  <a:lnTo>
                    <a:pt x="713" y="599"/>
                  </a:lnTo>
                  <a:lnTo>
                    <a:pt x="693" y="625"/>
                  </a:lnTo>
                  <a:lnTo>
                    <a:pt x="673" y="650"/>
                  </a:lnTo>
                  <a:lnTo>
                    <a:pt x="663" y="662"/>
                  </a:lnTo>
                  <a:lnTo>
                    <a:pt x="652" y="675"/>
                  </a:lnTo>
                  <a:lnTo>
                    <a:pt x="631" y="699"/>
                  </a:lnTo>
                  <a:lnTo>
                    <a:pt x="609" y="723"/>
                  </a:lnTo>
                  <a:lnTo>
                    <a:pt x="586" y="746"/>
                  </a:lnTo>
                  <a:lnTo>
                    <a:pt x="562" y="768"/>
                  </a:lnTo>
                  <a:lnTo>
                    <a:pt x="538" y="790"/>
                  </a:lnTo>
                  <a:lnTo>
                    <a:pt x="513" y="811"/>
                  </a:lnTo>
                  <a:lnTo>
                    <a:pt x="488" y="832"/>
                  </a:lnTo>
                  <a:lnTo>
                    <a:pt x="463" y="852"/>
                  </a:lnTo>
                  <a:lnTo>
                    <a:pt x="437" y="871"/>
                  </a:lnTo>
                  <a:lnTo>
                    <a:pt x="410" y="891"/>
                  </a:lnTo>
                  <a:lnTo>
                    <a:pt x="382" y="909"/>
                  </a:lnTo>
                  <a:lnTo>
                    <a:pt x="368" y="918"/>
                  </a:lnTo>
                  <a:lnTo>
                    <a:pt x="355" y="926"/>
                  </a:lnTo>
                  <a:lnTo>
                    <a:pt x="341" y="934"/>
                  </a:lnTo>
                  <a:lnTo>
                    <a:pt x="327" y="943"/>
                  </a:lnTo>
                  <a:close/>
                </a:path>
              </a:pathLst>
            </a:custGeom>
            <a:solidFill>
              <a:srgbClr val="FE5817"/>
            </a:solidFill>
            <a:ln>
              <a:noFill/>
            </a:ln>
          </p:spPr>
          <p:txBody>
            <a:bodyPr lIns="0" rIns="0"/>
            <a:lstStyle/>
            <a:p>
              <a:pPr>
                <a:defRPr/>
              </a:pPr>
              <a:endParaRPr lang="zh-CN" altLang="en-US" kern="0">
                <a:solidFill>
                  <a:prstClr val="black"/>
                </a:solidFill>
                <a:latin typeface="+mn-ea"/>
              </a:endParaRPr>
            </a:p>
          </p:txBody>
        </p:sp>
        <p:sp>
          <p:nvSpPr>
            <p:cNvPr id="29" name="Freeform 31"/>
            <p:cNvSpPr>
              <a:spLocks noChangeAspect="1"/>
            </p:cNvSpPr>
            <p:nvPr/>
          </p:nvSpPr>
          <p:spPr bwMode="auto">
            <a:xfrm>
              <a:off x="5232278" y="4516919"/>
              <a:ext cx="1918397" cy="1245710"/>
            </a:xfrm>
            <a:custGeom>
              <a:avLst/>
              <a:gdLst>
                <a:gd name="T0" fmla="*/ 0 w 1076"/>
                <a:gd name="T1" fmla="*/ 237 h 702"/>
                <a:gd name="T2" fmla="*/ 344 w 1076"/>
                <a:gd name="T3" fmla="*/ 47 h 702"/>
                <a:gd name="T4" fmla="*/ 387 w 1076"/>
                <a:gd name="T5" fmla="*/ 56 h 702"/>
                <a:gd name="T6" fmla="*/ 432 w 1076"/>
                <a:gd name="T7" fmla="*/ 62 h 702"/>
                <a:gd name="T8" fmla="*/ 477 w 1076"/>
                <a:gd name="T9" fmla="*/ 65 h 702"/>
                <a:gd name="T10" fmla="*/ 519 w 1076"/>
                <a:gd name="T11" fmla="*/ 65 h 702"/>
                <a:gd name="T12" fmla="*/ 557 w 1076"/>
                <a:gd name="T13" fmla="*/ 63 h 702"/>
                <a:gd name="T14" fmla="*/ 595 w 1076"/>
                <a:gd name="T15" fmla="*/ 59 h 702"/>
                <a:gd name="T16" fmla="*/ 632 w 1076"/>
                <a:gd name="T17" fmla="*/ 53 h 702"/>
                <a:gd name="T18" fmla="*/ 659 w 1076"/>
                <a:gd name="T19" fmla="*/ 47 h 702"/>
                <a:gd name="T20" fmla="*/ 685 w 1076"/>
                <a:gd name="T21" fmla="*/ 39 h 702"/>
                <a:gd name="T22" fmla="*/ 720 w 1076"/>
                <a:gd name="T23" fmla="*/ 28 h 702"/>
                <a:gd name="T24" fmla="*/ 754 w 1076"/>
                <a:gd name="T25" fmla="*/ 15 h 702"/>
                <a:gd name="T26" fmla="*/ 787 w 1076"/>
                <a:gd name="T27" fmla="*/ 0 h 702"/>
                <a:gd name="T28" fmla="*/ 1076 w 1076"/>
                <a:gd name="T29" fmla="*/ 566 h 702"/>
                <a:gd name="T30" fmla="*/ 1042 w 1076"/>
                <a:gd name="T31" fmla="*/ 581 h 702"/>
                <a:gd name="T32" fmla="*/ 976 w 1076"/>
                <a:gd name="T33" fmla="*/ 610 h 702"/>
                <a:gd name="T34" fmla="*/ 907 w 1076"/>
                <a:gd name="T35" fmla="*/ 636 h 702"/>
                <a:gd name="T36" fmla="*/ 836 w 1076"/>
                <a:gd name="T37" fmla="*/ 658 h 702"/>
                <a:gd name="T38" fmla="*/ 764 w 1076"/>
                <a:gd name="T39" fmla="*/ 675 h 702"/>
                <a:gd name="T40" fmla="*/ 727 w 1076"/>
                <a:gd name="T41" fmla="*/ 682 h 702"/>
                <a:gd name="T42" fmla="*/ 690 w 1076"/>
                <a:gd name="T43" fmla="*/ 688 h 702"/>
                <a:gd name="T44" fmla="*/ 615 w 1076"/>
                <a:gd name="T45" fmla="*/ 697 h 702"/>
                <a:gd name="T46" fmla="*/ 538 w 1076"/>
                <a:gd name="T47" fmla="*/ 702 h 702"/>
                <a:gd name="T48" fmla="*/ 500 w 1076"/>
                <a:gd name="T49" fmla="*/ 702 h 702"/>
                <a:gd name="T50" fmla="*/ 437 w 1076"/>
                <a:gd name="T51" fmla="*/ 701 h 702"/>
                <a:gd name="T52" fmla="*/ 375 w 1076"/>
                <a:gd name="T53" fmla="*/ 696 h 702"/>
                <a:gd name="T54" fmla="*/ 314 w 1076"/>
                <a:gd name="T55" fmla="*/ 689 h 702"/>
                <a:gd name="T56" fmla="*/ 253 w 1076"/>
                <a:gd name="T57" fmla="*/ 679 h 702"/>
                <a:gd name="T58" fmla="*/ 195 w 1076"/>
                <a:gd name="T59" fmla="*/ 666 h 702"/>
                <a:gd name="T60" fmla="*/ 137 w 1076"/>
                <a:gd name="T61" fmla="*/ 651 h 702"/>
                <a:gd name="T62" fmla="*/ 80 w 1076"/>
                <a:gd name="T63" fmla="*/ 632 h 702"/>
                <a:gd name="T64" fmla="*/ 24 w 1076"/>
                <a:gd name="T65" fmla="*/ 610 h 70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76"/>
                <a:gd name="T100" fmla="*/ 0 h 702"/>
                <a:gd name="T101" fmla="*/ 1076 w 1076"/>
                <a:gd name="T102" fmla="*/ 702 h 70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76" h="702">
                  <a:moveTo>
                    <a:pt x="24" y="610"/>
                  </a:moveTo>
                  <a:lnTo>
                    <a:pt x="0" y="237"/>
                  </a:lnTo>
                  <a:lnTo>
                    <a:pt x="323" y="41"/>
                  </a:lnTo>
                  <a:lnTo>
                    <a:pt x="344" y="47"/>
                  </a:lnTo>
                  <a:lnTo>
                    <a:pt x="365" y="52"/>
                  </a:lnTo>
                  <a:lnTo>
                    <a:pt x="387" y="56"/>
                  </a:lnTo>
                  <a:lnTo>
                    <a:pt x="409" y="59"/>
                  </a:lnTo>
                  <a:lnTo>
                    <a:pt x="432" y="62"/>
                  </a:lnTo>
                  <a:lnTo>
                    <a:pt x="454" y="64"/>
                  </a:lnTo>
                  <a:lnTo>
                    <a:pt x="477" y="65"/>
                  </a:lnTo>
                  <a:lnTo>
                    <a:pt x="500" y="66"/>
                  </a:lnTo>
                  <a:lnTo>
                    <a:pt x="519" y="65"/>
                  </a:lnTo>
                  <a:lnTo>
                    <a:pt x="538" y="64"/>
                  </a:lnTo>
                  <a:lnTo>
                    <a:pt x="557" y="63"/>
                  </a:lnTo>
                  <a:lnTo>
                    <a:pt x="576" y="61"/>
                  </a:lnTo>
                  <a:lnTo>
                    <a:pt x="595" y="59"/>
                  </a:lnTo>
                  <a:lnTo>
                    <a:pt x="614" y="56"/>
                  </a:lnTo>
                  <a:lnTo>
                    <a:pt x="632" y="53"/>
                  </a:lnTo>
                  <a:lnTo>
                    <a:pt x="650" y="49"/>
                  </a:lnTo>
                  <a:lnTo>
                    <a:pt x="659" y="47"/>
                  </a:lnTo>
                  <a:lnTo>
                    <a:pt x="668" y="44"/>
                  </a:lnTo>
                  <a:lnTo>
                    <a:pt x="685" y="39"/>
                  </a:lnTo>
                  <a:lnTo>
                    <a:pt x="703" y="34"/>
                  </a:lnTo>
                  <a:lnTo>
                    <a:pt x="720" y="28"/>
                  </a:lnTo>
                  <a:lnTo>
                    <a:pt x="737" y="22"/>
                  </a:lnTo>
                  <a:lnTo>
                    <a:pt x="754" y="15"/>
                  </a:lnTo>
                  <a:lnTo>
                    <a:pt x="771" y="7"/>
                  </a:lnTo>
                  <a:lnTo>
                    <a:pt x="787" y="0"/>
                  </a:lnTo>
                  <a:lnTo>
                    <a:pt x="734" y="348"/>
                  </a:lnTo>
                  <a:lnTo>
                    <a:pt x="1076" y="566"/>
                  </a:lnTo>
                  <a:lnTo>
                    <a:pt x="1060" y="574"/>
                  </a:lnTo>
                  <a:lnTo>
                    <a:pt x="1042" y="581"/>
                  </a:lnTo>
                  <a:lnTo>
                    <a:pt x="1009" y="596"/>
                  </a:lnTo>
                  <a:lnTo>
                    <a:pt x="976" y="610"/>
                  </a:lnTo>
                  <a:lnTo>
                    <a:pt x="942" y="624"/>
                  </a:lnTo>
                  <a:lnTo>
                    <a:pt x="907" y="636"/>
                  </a:lnTo>
                  <a:lnTo>
                    <a:pt x="872" y="648"/>
                  </a:lnTo>
                  <a:lnTo>
                    <a:pt x="836" y="658"/>
                  </a:lnTo>
                  <a:lnTo>
                    <a:pt x="801" y="667"/>
                  </a:lnTo>
                  <a:lnTo>
                    <a:pt x="764" y="675"/>
                  </a:lnTo>
                  <a:lnTo>
                    <a:pt x="746" y="679"/>
                  </a:lnTo>
                  <a:lnTo>
                    <a:pt x="727" y="682"/>
                  </a:lnTo>
                  <a:lnTo>
                    <a:pt x="708" y="685"/>
                  </a:lnTo>
                  <a:lnTo>
                    <a:pt x="690" y="688"/>
                  </a:lnTo>
                  <a:lnTo>
                    <a:pt x="653" y="693"/>
                  </a:lnTo>
                  <a:lnTo>
                    <a:pt x="615" y="697"/>
                  </a:lnTo>
                  <a:lnTo>
                    <a:pt x="576" y="700"/>
                  </a:lnTo>
                  <a:lnTo>
                    <a:pt x="538" y="702"/>
                  </a:lnTo>
                  <a:lnTo>
                    <a:pt x="519" y="702"/>
                  </a:lnTo>
                  <a:lnTo>
                    <a:pt x="500" y="702"/>
                  </a:lnTo>
                  <a:lnTo>
                    <a:pt x="468" y="702"/>
                  </a:lnTo>
                  <a:lnTo>
                    <a:pt x="437" y="701"/>
                  </a:lnTo>
                  <a:lnTo>
                    <a:pt x="405" y="699"/>
                  </a:lnTo>
                  <a:lnTo>
                    <a:pt x="375" y="696"/>
                  </a:lnTo>
                  <a:lnTo>
                    <a:pt x="344" y="693"/>
                  </a:lnTo>
                  <a:lnTo>
                    <a:pt x="314" y="689"/>
                  </a:lnTo>
                  <a:lnTo>
                    <a:pt x="284" y="684"/>
                  </a:lnTo>
                  <a:lnTo>
                    <a:pt x="253" y="679"/>
                  </a:lnTo>
                  <a:lnTo>
                    <a:pt x="224" y="673"/>
                  </a:lnTo>
                  <a:lnTo>
                    <a:pt x="195" y="666"/>
                  </a:lnTo>
                  <a:lnTo>
                    <a:pt x="166" y="659"/>
                  </a:lnTo>
                  <a:lnTo>
                    <a:pt x="137" y="651"/>
                  </a:lnTo>
                  <a:lnTo>
                    <a:pt x="109" y="642"/>
                  </a:lnTo>
                  <a:lnTo>
                    <a:pt x="80" y="632"/>
                  </a:lnTo>
                  <a:lnTo>
                    <a:pt x="52" y="621"/>
                  </a:lnTo>
                  <a:lnTo>
                    <a:pt x="24" y="610"/>
                  </a:lnTo>
                  <a:close/>
                </a:path>
              </a:pathLst>
            </a:custGeom>
            <a:solidFill>
              <a:srgbClr val="FE5817"/>
            </a:solidFill>
            <a:ln>
              <a:noFill/>
            </a:ln>
          </p:spPr>
          <p:txBody>
            <a:bodyPr lIns="0" rIns="0"/>
            <a:lstStyle/>
            <a:p>
              <a:pPr>
                <a:defRPr/>
              </a:pPr>
              <a:endParaRPr lang="zh-CN" altLang="en-US" kern="0">
                <a:solidFill>
                  <a:prstClr val="black"/>
                </a:solidFill>
                <a:latin typeface="+mn-ea"/>
              </a:endParaRPr>
            </a:p>
          </p:txBody>
        </p:sp>
        <p:sp>
          <p:nvSpPr>
            <p:cNvPr id="30" name="Freeform 32"/>
            <p:cNvSpPr>
              <a:spLocks noChangeAspect="1"/>
            </p:cNvSpPr>
            <p:nvPr/>
          </p:nvSpPr>
          <p:spPr bwMode="auto">
            <a:xfrm>
              <a:off x="3936112" y="3697090"/>
              <a:ext cx="1731192" cy="1850822"/>
            </a:xfrm>
            <a:custGeom>
              <a:avLst/>
              <a:gdLst>
                <a:gd name="T0" fmla="*/ 957 w 971"/>
                <a:gd name="T1" fmla="*/ 469 h 1043"/>
                <a:gd name="T2" fmla="*/ 929 w 971"/>
                <a:gd name="T3" fmla="*/ 455 h 1043"/>
                <a:gd name="T4" fmla="*/ 889 w 971"/>
                <a:gd name="T5" fmla="*/ 432 h 1043"/>
                <a:gd name="T6" fmla="*/ 863 w 971"/>
                <a:gd name="T7" fmla="*/ 415 h 1043"/>
                <a:gd name="T8" fmla="*/ 838 w 971"/>
                <a:gd name="T9" fmla="*/ 397 h 1043"/>
                <a:gd name="T10" fmla="*/ 802 w 971"/>
                <a:gd name="T11" fmla="*/ 368 h 1043"/>
                <a:gd name="T12" fmla="*/ 769 w 971"/>
                <a:gd name="T13" fmla="*/ 336 h 1043"/>
                <a:gd name="T14" fmla="*/ 748 w 971"/>
                <a:gd name="T15" fmla="*/ 314 h 1043"/>
                <a:gd name="T16" fmla="*/ 728 w 971"/>
                <a:gd name="T17" fmla="*/ 291 h 1043"/>
                <a:gd name="T18" fmla="*/ 709 w 971"/>
                <a:gd name="T19" fmla="*/ 266 h 1043"/>
                <a:gd name="T20" fmla="*/ 691 w 971"/>
                <a:gd name="T21" fmla="*/ 241 h 1043"/>
                <a:gd name="T22" fmla="*/ 675 w 971"/>
                <a:gd name="T23" fmla="*/ 215 h 1043"/>
                <a:gd name="T24" fmla="*/ 645 w 971"/>
                <a:gd name="T25" fmla="*/ 161 h 1043"/>
                <a:gd name="T26" fmla="*/ 632 w 971"/>
                <a:gd name="T27" fmla="*/ 133 h 1043"/>
                <a:gd name="T28" fmla="*/ 0 w 971"/>
                <a:gd name="T29" fmla="*/ 249 h 1043"/>
                <a:gd name="T30" fmla="*/ 21 w 971"/>
                <a:gd name="T31" fmla="*/ 315 h 1043"/>
                <a:gd name="T32" fmla="*/ 46 w 971"/>
                <a:gd name="T33" fmla="*/ 378 h 1043"/>
                <a:gd name="T34" fmla="*/ 60 w 971"/>
                <a:gd name="T35" fmla="*/ 409 h 1043"/>
                <a:gd name="T36" fmla="*/ 74 w 971"/>
                <a:gd name="T37" fmla="*/ 440 h 1043"/>
                <a:gd name="T38" fmla="*/ 105 w 971"/>
                <a:gd name="T39" fmla="*/ 500 h 1043"/>
                <a:gd name="T40" fmla="*/ 138 w 971"/>
                <a:gd name="T41" fmla="*/ 558 h 1043"/>
                <a:gd name="T42" fmla="*/ 156 w 971"/>
                <a:gd name="T43" fmla="*/ 586 h 1043"/>
                <a:gd name="T44" fmla="*/ 185 w 971"/>
                <a:gd name="T45" fmla="*/ 629 h 1043"/>
                <a:gd name="T46" fmla="*/ 216 w 971"/>
                <a:gd name="T47" fmla="*/ 669 h 1043"/>
                <a:gd name="T48" fmla="*/ 258 w 971"/>
                <a:gd name="T49" fmla="*/ 720 h 1043"/>
                <a:gd name="T50" fmla="*/ 303 w 971"/>
                <a:gd name="T51" fmla="*/ 771 h 1043"/>
                <a:gd name="T52" fmla="*/ 351 w 971"/>
                <a:gd name="T53" fmla="*/ 818 h 1043"/>
                <a:gd name="T54" fmla="*/ 388 w 971"/>
                <a:gd name="T55" fmla="*/ 851 h 1043"/>
                <a:gd name="T56" fmla="*/ 426 w 971"/>
                <a:gd name="T57" fmla="*/ 883 h 1043"/>
                <a:gd name="T58" fmla="*/ 479 w 971"/>
                <a:gd name="T59" fmla="*/ 923 h 1043"/>
                <a:gd name="T60" fmla="*/ 536 w 971"/>
                <a:gd name="T61" fmla="*/ 962 h 1043"/>
                <a:gd name="T62" fmla="*/ 593 w 971"/>
                <a:gd name="T63" fmla="*/ 997 h 1043"/>
                <a:gd name="T64" fmla="*/ 652 w 971"/>
                <a:gd name="T65" fmla="*/ 1028 h 1043"/>
                <a:gd name="T66" fmla="*/ 659 w 971"/>
                <a:gd name="T67" fmla="*/ 657 h 10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71"/>
                <a:gd name="T103" fmla="*/ 0 h 1043"/>
                <a:gd name="T104" fmla="*/ 971 w 971"/>
                <a:gd name="T105" fmla="*/ 1043 h 10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71" h="1043">
                  <a:moveTo>
                    <a:pt x="971" y="475"/>
                  </a:moveTo>
                  <a:lnTo>
                    <a:pt x="957" y="469"/>
                  </a:lnTo>
                  <a:lnTo>
                    <a:pt x="943" y="462"/>
                  </a:lnTo>
                  <a:lnTo>
                    <a:pt x="929" y="455"/>
                  </a:lnTo>
                  <a:lnTo>
                    <a:pt x="915" y="448"/>
                  </a:lnTo>
                  <a:lnTo>
                    <a:pt x="889" y="432"/>
                  </a:lnTo>
                  <a:lnTo>
                    <a:pt x="876" y="423"/>
                  </a:lnTo>
                  <a:lnTo>
                    <a:pt x="863" y="415"/>
                  </a:lnTo>
                  <a:lnTo>
                    <a:pt x="851" y="406"/>
                  </a:lnTo>
                  <a:lnTo>
                    <a:pt x="838" y="397"/>
                  </a:lnTo>
                  <a:lnTo>
                    <a:pt x="814" y="378"/>
                  </a:lnTo>
                  <a:lnTo>
                    <a:pt x="802" y="368"/>
                  </a:lnTo>
                  <a:lnTo>
                    <a:pt x="791" y="358"/>
                  </a:lnTo>
                  <a:lnTo>
                    <a:pt x="769" y="336"/>
                  </a:lnTo>
                  <a:lnTo>
                    <a:pt x="758" y="326"/>
                  </a:lnTo>
                  <a:lnTo>
                    <a:pt x="748" y="314"/>
                  </a:lnTo>
                  <a:lnTo>
                    <a:pt x="738" y="303"/>
                  </a:lnTo>
                  <a:lnTo>
                    <a:pt x="728" y="291"/>
                  </a:lnTo>
                  <a:lnTo>
                    <a:pt x="718" y="278"/>
                  </a:lnTo>
                  <a:lnTo>
                    <a:pt x="709" y="266"/>
                  </a:lnTo>
                  <a:lnTo>
                    <a:pt x="700" y="254"/>
                  </a:lnTo>
                  <a:lnTo>
                    <a:pt x="691" y="241"/>
                  </a:lnTo>
                  <a:lnTo>
                    <a:pt x="683" y="228"/>
                  </a:lnTo>
                  <a:lnTo>
                    <a:pt x="675" y="215"/>
                  </a:lnTo>
                  <a:lnTo>
                    <a:pt x="659" y="188"/>
                  </a:lnTo>
                  <a:lnTo>
                    <a:pt x="645" y="161"/>
                  </a:lnTo>
                  <a:lnTo>
                    <a:pt x="638" y="147"/>
                  </a:lnTo>
                  <a:lnTo>
                    <a:pt x="632" y="133"/>
                  </a:lnTo>
                  <a:lnTo>
                    <a:pt x="279" y="0"/>
                  </a:lnTo>
                  <a:lnTo>
                    <a:pt x="0" y="249"/>
                  </a:lnTo>
                  <a:lnTo>
                    <a:pt x="10" y="281"/>
                  </a:lnTo>
                  <a:lnTo>
                    <a:pt x="21" y="315"/>
                  </a:lnTo>
                  <a:lnTo>
                    <a:pt x="33" y="347"/>
                  </a:lnTo>
                  <a:lnTo>
                    <a:pt x="46" y="378"/>
                  </a:lnTo>
                  <a:lnTo>
                    <a:pt x="53" y="394"/>
                  </a:lnTo>
                  <a:lnTo>
                    <a:pt x="60" y="409"/>
                  </a:lnTo>
                  <a:lnTo>
                    <a:pt x="67" y="424"/>
                  </a:lnTo>
                  <a:lnTo>
                    <a:pt x="74" y="440"/>
                  </a:lnTo>
                  <a:lnTo>
                    <a:pt x="89" y="471"/>
                  </a:lnTo>
                  <a:lnTo>
                    <a:pt x="105" y="500"/>
                  </a:lnTo>
                  <a:lnTo>
                    <a:pt x="121" y="530"/>
                  </a:lnTo>
                  <a:lnTo>
                    <a:pt x="138" y="558"/>
                  </a:lnTo>
                  <a:lnTo>
                    <a:pt x="147" y="572"/>
                  </a:lnTo>
                  <a:lnTo>
                    <a:pt x="156" y="586"/>
                  </a:lnTo>
                  <a:lnTo>
                    <a:pt x="175" y="615"/>
                  </a:lnTo>
                  <a:lnTo>
                    <a:pt x="185" y="629"/>
                  </a:lnTo>
                  <a:lnTo>
                    <a:pt x="195" y="642"/>
                  </a:lnTo>
                  <a:lnTo>
                    <a:pt x="216" y="669"/>
                  </a:lnTo>
                  <a:lnTo>
                    <a:pt x="236" y="695"/>
                  </a:lnTo>
                  <a:lnTo>
                    <a:pt x="258" y="720"/>
                  </a:lnTo>
                  <a:lnTo>
                    <a:pt x="280" y="745"/>
                  </a:lnTo>
                  <a:lnTo>
                    <a:pt x="303" y="771"/>
                  </a:lnTo>
                  <a:lnTo>
                    <a:pt x="326" y="794"/>
                  </a:lnTo>
                  <a:lnTo>
                    <a:pt x="351" y="818"/>
                  </a:lnTo>
                  <a:lnTo>
                    <a:pt x="375" y="840"/>
                  </a:lnTo>
                  <a:lnTo>
                    <a:pt x="388" y="851"/>
                  </a:lnTo>
                  <a:lnTo>
                    <a:pt x="401" y="862"/>
                  </a:lnTo>
                  <a:lnTo>
                    <a:pt x="426" y="883"/>
                  </a:lnTo>
                  <a:lnTo>
                    <a:pt x="453" y="904"/>
                  </a:lnTo>
                  <a:lnTo>
                    <a:pt x="479" y="923"/>
                  </a:lnTo>
                  <a:lnTo>
                    <a:pt x="508" y="944"/>
                  </a:lnTo>
                  <a:lnTo>
                    <a:pt x="536" y="962"/>
                  </a:lnTo>
                  <a:lnTo>
                    <a:pt x="564" y="980"/>
                  </a:lnTo>
                  <a:lnTo>
                    <a:pt x="593" y="997"/>
                  </a:lnTo>
                  <a:lnTo>
                    <a:pt x="622" y="1013"/>
                  </a:lnTo>
                  <a:lnTo>
                    <a:pt x="652" y="1028"/>
                  </a:lnTo>
                  <a:lnTo>
                    <a:pt x="684" y="1043"/>
                  </a:lnTo>
                  <a:lnTo>
                    <a:pt x="659" y="657"/>
                  </a:lnTo>
                  <a:lnTo>
                    <a:pt x="971" y="475"/>
                  </a:lnTo>
                  <a:close/>
                </a:path>
              </a:pathLst>
            </a:custGeom>
            <a:solidFill>
              <a:srgbClr val="FEB687"/>
            </a:solidFill>
            <a:ln>
              <a:noFill/>
            </a:ln>
          </p:spPr>
          <p:txBody>
            <a:bodyPr lIns="0" rIns="0"/>
            <a:lstStyle/>
            <a:p>
              <a:pPr>
                <a:defRPr/>
              </a:pPr>
              <a:endParaRPr lang="zh-CN" altLang="en-US" kern="0">
                <a:solidFill>
                  <a:prstClr val="black"/>
                </a:solidFill>
                <a:latin typeface="+mn-ea"/>
              </a:endParaRPr>
            </a:p>
          </p:txBody>
        </p:sp>
        <p:sp>
          <p:nvSpPr>
            <p:cNvPr id="31" name="Freeform 33"/>
            <p:cNvSpPr>
              <a:spLocks noChangeAspect="1"/>
            </p:cNvSpPr>
            <p:nvPr/>
          </p:nvSpPr>
          <p:spPr bwMode="auto">
            <a:xfrm>
              <a:off x="3839835" y="2169230"/>
              <a:ext cx="1294383" cy="1843725"/>
            </a:xfrm>
            <a:custGeom>
              <a:avLst/>
              <a:gdLst>
                <a:gd name="T0" fmla="*/ 715 w 726"/>
                <a:gd name="T1" fmla="*/ 436 h 1039"/>
                <a:gd name="T2" fmla="*/ 696 w 726"/>
                <a:gd name="T3" fmla="*/ 474 h 1039"/>
                <a:gd name="T4" fmla="*/ 680 w 726"/>
                <a:gd name="T5" fmla="*/ 513 h 1039"/>
                <a:gd name="T6" fmla="*/ 666 w 726"/>
                <a:gd name="T7" fmla="*/ 553 h 1039"/>
                <a:gd name="T8" fmla="*/ 654 w 726"/>
                <a:gd name="T9" fmla="*/ 593 h 1039"/>
                <a:gd name="T10" fmla="*/ 646 w 726"/>
                <a:gd name="T11" fmla="*/ 635 h 1039"/>
                <a:gd name="T12" fmla="*/ 640 w 726"/>
                <a:gd name="T13" fmla="*/ 679 h 1039"/>
                <a:gd name="T14" fmla="*/ 637 w 726"/>
                <a:gd name="T15" fmla="*/ 722 h 1039"/>
                <a:gd name="T16" fmla="*/ 637 w 726"/>
                <a:gd name="T17" fmla="*/ 767 h 1039"/>
                <a:gd name="T18" fmla="*/ 640 w 726"/>
                <a:gd name="T19" fmla="*/ 811 h 1039"/>
                <a:gd name="T20" fmla="*/ 646 w 726"/>
                <a:gd name="T21" fmla="*/ 856 h 1039"/>
                <a:gd name="T22" fmla="*/ 655 w 726"/>
                <a:gd name="T23" fmla="*/ 898 h 1039"/>
                <a:gd name="T24" fmla="*/ 324 w 726"/>
                <a:gd name="T25" fmla="*/ 783 h 1039"/>
                <a:gd name="T26" fmla="*/ 26 w 726"/>
                <a:gd name="T27" fmla="*/ 1004 h 1039"/>
                <a:gd name="T28" fmla="*/ 19 w 726"/>
                <a:gd name="T29" fmla="*/ 967 h 1039"/>
                <a:gd name="T30" fmla="*/ 9 w 726"/>
                <a:gd name="T31" fmla="*/ 894 h 1039"/>
                <a:gd name="T32" fmla="*/ 2 w 726"/>
                <a:gd name="T33" fmla="*/ 820 h 1039"/>
                <a:gd name="T34" fmla="*/ 0 w 726"/>
                <a:gd name="T35" fmla="*/ 745 h 1039"/>
                <a:gd name="T36" fmla="*/ 1 w 726"/>
                <a:gd name="T37" fmla="*/ 693 h 1039"/>
                <a:gd name="T38" fmla="*/ 4 w 726"/>
                <a:gd name="T39" fmla="*/ 641 h 1039"/>
                <a:gd name="T40" fmla="*/ 9 w 726"/>
                <a:gd name="T41" fmla="*/ 590 h 1039"/>
                <a:gd name="T42" fmla="*/ 16 w 726"/>
                <a:gd name="T43" fmla="*/ 541 h 1039"/>
                <a:gd name="T44" fmla="*/ 25 w 726"/>
                <a:gd name="T45" fmla="*/ 490 h 1039"/>
                <a:gd name="T46" fmla="*/ 36 w 726"/>
                <a:gd name="T47" fmla="*/ 442 h 1039"/>
                <a:gd name="T48" fmla="*/ 49 w 726"/>
                <a:gd name="T49" fmla="*/ 394 h 1039"/>
                <a:gd name="T50" fmla="*/ 63 w 726"/>
                <a:gd name="T51" fmla="*/ 347 h 1039"/>
                <a:gd name="T52" fmla="*/ 79 w 726"/>
                <a:gd name="T53" fmla="*/ 300 h 1039"/>
                <a:gd name="T54" fmla="*/ 98 w 726"/>
                <a:gd name="T55" fmla="*/ 255 h 1039"/>
                <a:gd name="T56" fmla="*/ 118 w 726"/>
                <a:gd name="T57" fmla="*/ 210 h 1039"/>
                <a:gd name="T58" fmla="*/ 139 w 726"/>
                <a:gd name="T59" fmla="*/ 166 h 1039"/>
                <a:gd name="T60" fmla="*/ 162 w 726"/>
                <a:gd name="T61" fmla="*/ 123 h 1039"/>
                <a:gd name="T62" fmla="*/ 186 w 726"/>
                <a:gd name="T63" fmla="*/ 81 h 1039"/>
                <a:gd name="T64" fmla="*/ 212 w 726"/>
                <a:gd name="T65" fmla="*/ 41 h 1039"/>
                <a:gd name="T66" fmla="*/ 239 w 726"/>
                <a:gd name="T67" fmla="*/ 0 h 1039"/>
                <a:gd name="T68" fmla="*/ 726 w 726"/>
                <a:gd name="T69" fmla="*/ 418 h 10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26"/>
                <a:gd name="T106" fmla="*/ 0 h 1039"/>
                <a:gd name="T107" fmla="*/ 726 w 726"/>
                <a:gd name="T108" fmla="*/ 1039 h 10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26" h="1039">
                  <a:moveTo>
                    <a:pt x="726" y="418"/>
                  </a:moveTo>
                  <a:lnTo>
                    <a:pt x="715" y="436"/>
                  </a:lnTo>
                  <a:lnTo>
                    <a:pt x="705" y="455"/>
                  </a:lnTo>
                  <a:lnTo>
                    <a:pt x="696" y="474"/>
                  </a:lnTo>
                  <a:lnTo>
                    <a:pt x="687" y="493"/>
                  </a:lnTo>
                  <a:lnTo>
                    <a:pt x="680" y="513"/>
                  </a:lnTo>
                  <a:lnTo>
                    <a:pt x="672" y="533"/>
                  </a:lnTo>
                  <a:lnTo>
                    <a:pt x="666" y="553"/>
                  </a:lnTo>
                  <a:lnTo>
                    <a:pt x="660" y="573"/>
                  </a:lnTo>
                  <a:lnTo>
                    <a:pt x="654" y="593"/>
                  </a:lnTo>
                  <a:lnTo>
                    <a:pt x="650" y="614"/>
                  </a:lnTo>
                  <a:lnTo>
                    <a:pt x="646" y="635"/>
                  </a:lnTo>
                  <a:lnTo>
                    <a:pt x="643" y="656"/>
                  </a:lnTo>
                  <a:lnTo>
                    <a:pt x="640" y="679"/>
                  </a:lnTo>
                  <a:lnTo>
                    <a:pt x="638" y="701"/>
                  </a:lnTo>
                  <a:lnTo>
                    <a:pt x="637" y="722"/>
                  </a:lnTo>
                  <a:lnTo>
                    <a:pt x="637" y="745"/>
                  </a:lnTo>
                  <a:lnTo>
                    <a:pt x="637" y="767"/>
                  </a:lnTo>
                  <a:lnTo>
                    <a:pt x="638" y="789"/>
                  </a:lnTo>
                  <a:lnTo>
                    <a:pt x="640" y="811"/>
                  </a:lnTo>
                  <a:lnTo>
                    <a:pt x="643" y="834"/>
                  </a:lnTo>
                  <a:lnTo>
                    <a:pt x="646" y="856"/>
                  </a:lnTo>
                  <a:lnTo>
                    <a:pt x="650" y="877"/>
                  </a:lnTo>
                  <a:lnTo>
                    <a:pt x="655" y="898"/>
                  </a:lnTo>
                  <a:lnTo>
                    <a:pt x="660" y="919"/>
                  </a:lnTo>
                  <a:lnTo>
                    <a:pt x="324" y="783"/>
                  </a:lnTo>
                  <a:lnTo>
                    <a:pt x="34" y="1039"/>
                  </a:lnTo>
                  <a:lnTo>
                    <a:pt x="26" y="1004"/>
                  </a:lnTo>
                  <a:lnTo>
                    <a:pt x="23" y="986"/>
                  </a:lnTo>
                  <a:lnTo>
                    <a:pt x="19" y="967"/>
                  </a:lnTo>
                  <a:lnTo>
                    <a:pt x="14" y="931"/>
                  </a:lnTo>
                  <a:lnTo>
                    <a:pt x="9" y="894"/>
                  </a:lnTo>
                  <a:lnTo>
                    <a:pt x="5" y="858"/>
                  </a:lnTo>
                  <a:lnTo>
                    <a:pt x="2" y="820"/>
                  </a:lnTo>
                  <a:lnTo>
                    <a:pt x="1" y="782"/>
                  </a:lnTo>
                  <a:lnTo>
                    <a:pt x="0" y="745"/>
                  </a:lnTo>
                  <a:lnTo>
                    <a:pt x="0" y="719"/>
                  </a:lnTo>
                  <a:lnTo>
                    <a:pt x="1" y="693"/>
                  </a:lnTo>
                  <a:lnTo>
                    <a:pt x="2" y="667"/>
                  </a:lnTo>
                  <a:lnTo>
                    <a:pt x="4" y="641"/>
                  </a:lnTo>
                  <a:lnTo>
                    <a:pt x="6" y="616"/>
                  </a:lnTo>
                  <a:lnTo>
                    <a:pt x="9" y="590"/>
                  </a:lnTo>
                  <a:lnTo>
                    <a:pt x="13" y="565"/>
                  </a:lnTo>
                  <a:lnTo>
                    <a:pt x="16" y="541"/>
                  </a:lnTo>
                  <a:lnTo>
                    <a:pt x="20" y="516"/>
                  </a:lnTo>
                  <a:lnTo>
                    <a:pt x="25" y="490"/>
                  </a:lnTo>
                  <a:lnTo>
                    <a:pt x="30" y="466"/>
                  </a:lnTo>
                  <a:lnTo>
                    <a:pt x="36" y="442"/>
                  </a:lnTo>
                  <a:lnTo>
                    <a:pt x="42" y="418"/>
                  </a:lnTo>
                  <a:lnTo>
                    <a:pt x="49" y="394"/>
                  </a:lnTo>
                  <a:lnTo>
                    <a:pt x="56" y="371"/>
                  </a:lnTo>
                  <a:lnTo>
                    <a:pt x="63" y="347"/>
                  </a:lnTo>
                  <a:lnTo>
                    <a:pt x="71" y="323"/>
                  </a:lnTo>
                  <a:lnTo>
                    <a:pt x="79" y="300"/>
                  </a:lnTo>
                  <a:lnTo>
                    <a:pt x="89" y="277"/>
                  </a:lnTo>
                  <a:lnTo>
                    <a:pt x="98" y="255"/>
                  </a:lnTo>
                  <a:lnTo>
                    <a:pt x="108" y="232"/>
                  </a:lnTo>
                  <a:lnTo>
                    <a:pt x="118" y="210"/>
                  </a:lnTo>
                  <a:lnTo>
                    <a:pt x="128" y="188"/>
                  </a:lnTo>
                  <a:lnTo>
                    <a:pt x="139" y="166"/>
                  </a:lnTo>
                  <a:lnTo>
                    <a:pt x="150" y="144"/>
                  </a:lnTo>
                  <a:lnTo>
                    <a:pt x="162" y="123"/>
                  </a:lnTo>
                  <a:lnTo>
                    <a:pt x="174" y="102"/>
                  </a:lnTo>
                  <a:lnTo>
                    <a:pt x="186" y="81"/>
                  </a:lnTo>
                  <a:lnTo>
                    <a:pt x="199" y="61"/>
                  </a:lnTo>
                  <a:lnTo>
                    <a:pt x="212" y="41"/>
                  </a:lnTo>
                  <a:lnTo>
                    <a:pt x="226" y="20"/>
                  </a:lnTo>
                  <a:lnTo>
                    <a:pt x="239" y="0"/>
                  </a:lnTo>
                  <a:lnTo>
                    <a:pt x="609" y="61"/>
                  </a:lnTo>
                  <a:lnTo>
                    <a:pt x="726" y="418"/>
                  </a:lnTo>
                  <a:close/>
                </a:path>
              </a:pathLst>
            </a:custGeom>
            <a:solidFill>
              <a:srgbClr val="FEB687"/>
            </a:solidFill>
            <a:ln>
              <a:noFill/>
            </a:ln>
          </p:spPr>
          <p:txBody>
            <a:bodyPr lIns="0" rIns="0"/>
            <a:lstStyle/>
            <a:p>
              <a:pPr>
                <a:defRPr/>
              </a:pPr>
              <a:endParaRPr lang="zh-CN" altLang="en-US" kern="0">
                <a:solidFill>
                  <a:prstClr val="black"/>
                </a:solidFill>
                <a:latin typeface="+mn-ea"/>
              </a:endParaRPr>
            </a:p>
          </p:txBody>
        </p:sp>
        <p:sp>
          <p:nvSpPr>
            <p:cNvPr id="32" name="Freeform 34"/>
            <p:cNvSpPr>
              <a:spLocks noChangeAspect="1"/>
            </p:cNvSpPr>
            <p:nvPr/>
          </p:nvSpPr>
          <p:spPr bwMode="auto">
            <a:xfrm>
              <a:off x="4344394" y="1219863"/>
              <a:ext cx="2046766" cy="1565125"/>
            </a:xfrm>
            <a:custGeom>
              <a:avLst/>
              <a:gdLst>
                <a:gd name="T0" fmla="*/ 502 w 1148"/>
                <a:gd name="T1" fmla="*/ 868 h 882"/>
                <a:gd name="T2" fmla="*/ 524 w 1148"/>
                <a:gd name="T3" fmla="*/ 843 h 882"/>
                <a:gd name="T4" fmla="*/ 547 w 1148"/>
                <a:gd name="T5" fmla="*/ 819 h 882"/>
                <a:gd name="T6" fmla="*/ 571 w 1148"/>
                <a:gd name="T7" fmla="*/ 797 h 882"/>
                <a:gd name="T8" fmla="*/ 598 w 1148"/>
                <a:gd name="T9" fmla="*/ 775 h 882"/>
                <a:gd name="T10" fmla="*/ 624 w 1148"/>
                <a:gd name="T11" fmla="*/ 755 h 882"/>
                <a:gd name="T12" fmla="*/ 651 w 1148"/>
                <a:gd name="T13" fmla="*/ 737 h 882"/>
                <a:gd name="T14" fmla="*/ 680 w 1148"/>
                <a:gd name="T15" fmla="*/ 719 h 882"/>
                <a:gd name="T16" fmla="*/ 709 w 1148"/>
                <a:gd name="T17" fmla="*/ 703 h 882"/>
                <a:gd name="T18" fmla="*/ 740 w 1148"/>
                <a:gd name="T19" fmla="*/ 689 h 882"/>
                <a:gd name="T20" fmla="*/ 772 w 1148"/>
                <a:gd name="T21" fmla="*/ 676 h 882"/>
                <a:gd name="T22" fmla="*/ 804 w 1148"/>
                <a:gd name="T23" fmla="*/ 665 h 882"/>
                <a:gd name="T24" fmla="*/ 836 w 1148"/>
                <a:gd name="T25" fmla="*/ 656 h 882"/>
                <a:gd name="T26" fmla="*/ 870 w 1148"/>
                <a:gd name="T27" fmla="*/ 648 h 882"/>
                <a:gd name="T28" fmla="*/ 904 w 1148"/>
                <a:gd name="T29" fmla="*/ 642 h 882"/>
                <a:gd name="T30" fmla="*/ 939 w 1148"/>
                <a:gd name="T31" fmla="*/ 638 h 882"/>
                <a:gd name="T32" fmla="*/ 1148 w 1148"/>
                <a:gd name="T33" fmla="*/ 334 h 882"/>
                <a:gd name="T34" fmla="*/ 918 w 1148"/>
                <a:gd name="T35" fmla="*/ 1 h 882"/>
                <a:gd name="T36" fmla="*/ 847 w 1148"/>
                <a:gd name="T37" fmla="*/ 8 h 882"/>
                <a:gd name="T38" fmla="*/ 777 w 1148"/>
                <a:gd name="T39" fmla="*/ 18 h 882"/>
                <a:gd name="T40" fmla="*/ 708 w 1148"/>
                <a:gd name="T41" fmla="*/ 32 h 882"/>
                <a:gd name="T42" fmla="*/ 675 w 1148"/>
                <a:gd name="T43" fmla="*/ 40 h 882"/>
                <a:gd name="T44" fmla="*/ 609 w 1148"/>
                <a:gd name="T45" fmla="*/ 59 h 882"/>
                <a:gd name="T46" fmla="*/ 543 w 1148"/>
                <a:gd name="T47" fmla="*/ 83 h 882"/>
                <a:gd name="T48" fmla="*/ 480 w 1148"/>
                <a:gd name="T49" fmla="*/ 109 h 882"/>
                <a:gd name="T50" fmla="*/ 417 w 1148"/>
                <a:gd name="T51" fmla="*/ 138 h 882"/>
                <a:gd name="T52" fmla="*/ 373 w 1148"/>
                <a:gd name="T53" fmla="*/ 162 h 882"/>
                <a:gd name="T54" fmla="*/ 343 w 1148"/>
                <a:gd name="T55" fmla="*/ 178 h 882"/>
                <a:gd name="T56" fmla="*/ 300 w 1148"/>
                <a:gd name="T57" fmla="*/ 205 h 882"/>
                <a:gd name="T58" fmla="*/ 271 w 1148"/>
                <a:gd name="T59" fmla="*/ 224 h 882"/>
                <a:gd name="T60" fmla="*/ 244 w 1148"/>
                <a:gd name="T61" fmla="*/ 244 h 882"/>
                <a:gd name="T62" fmla="*/ 204 w 1148"/>
                <a:gd name="T63" fmla="*/ 275 h 882"/>
                <a:gd name="T64" fmla="*/ 165 w 1148"/>
                <a:gd name="T65" fmla="*/ 306 h 882"/>
                <a:gd name="T66" fmla="*/ 114 w 1148"/>
                <a:gd name="T67" fmla="*/ 351 h 882"/>
                <a:gd name="T68" fmla="*/ 67 w 1148"/>
                <a:gd name="T69" fmla="*/ 398 h 882"/>
                <a:gd name="T70" fmla="*/ 22 w 1148"/>
                <a:gd name="T71" fmla="*/ 449 h 882"/>
                <a:gd name="T72" fmla="*/ 382 w 1148"/>
                <a:gd name="T73" fmla="*/ 539 h 88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48"/>
                <a:gd name="T112" fmla="*/ 0 h 882"/>
                <a:gd name="T113" fmla="*/ 1148 w 1148"/>
                <a:gd name="T114" fmla="*/ 882 h 88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48" h="882">
                  <a:moveTo>
                    <a:pt x="492" y="882"/>
                  </a:moveTo>
                  <a:lnTo>
                    <a:pt x="502" y="868"/>
                  </a:lnTo>
                  <a:lnTo>
                    <a:pt x="513" y="855"/>
                  </a:lnTo>
                  <a:lnTo>
                    <a:pt x="524" y="843"/>
                  </a:lnTo>
                  <a:lnTo>
                    <a:pt x="535" y="831"/>
                  </a:lnTo>
                  <a:lnTo>
                    <a:pt x="547" y="819"/>
                  </a:lnTo>
                  <a:lnTo>
                    <a:pt x="559" y="808"/>
                  </a:lnTo>
                  <a:lnTo>
                    <a:pt x="571" y="797"/>
                  </a:lnTo>
                  <a:lnTo>
                    <a:pt x="584" y="786"/>
                  </a:lnTo>
                  <a:lnTo>
                    <a:pt x="598" y="775"/>
                  </a:lnTo>
                  <a:lnTo>
                    <a:pt x="611" y="765"/>
                  </a:lnTo>
                  <a:lnTo>
                    <a:pt x="624" y="755"/>
                  </a:lnTo>
                  <a:lnTo>
                    <a:pt x="638" y="746"/>
                  </a:lnTo>
                  <a:lnTo>
                    <a:pt x="651" y="737"/>
                  </a:lnTo>
                  <a:lnTo>
                    <a:pt x="666" y="728"/>
                  </a:lnTo>
                  <a:lnTo>
                    <a:pt x="680" y="719"/>
                  </a:lnTo>
                  <a:lnTo>
                    <a:pt x="695" y="711"/>
                  </a:lnTo>
                  <a:lnTo>
                    <a:pt x="709" y="703"/>
                  </a:lnTo>
                  <a:lnTo>
                    <a:pt x="724" y="696"/>
                  </a:lnTo>
                  <a:lnTo>
                    <a:pt x="740" y="689"/>
                  </a:lnTo>
                  <a:lnTo>
                    <a:pt x="755" y="682"/>
                  </a:lnTo>
                  <a:lnTo>
                    <a:pt x="772" y="676"/>
                  </a:lnTo>
                  <a:lnTo>
                    <a:pt x="788" y="670"/>
                  </a:lnTo>
                  <a:lnTo>
                    <a:pt x="804" y="665"/>
                  </a:lnTo>
                  <a:lnTo>
                    <a:pt x="820" y="660"/>
                  </a:lnTo>
                  <a:lnTo>
                    <a:pt x="836" y="656"/>
                  </a:lnTo>
                  <a:lnTo>
                    <a:pt x="853" y="652"/>
                  </a:lnTo>
                  <a:lnTo>
                    <a:pt x="870" y="648"/>
                  </a:lnTo>
                  <a:lnTo>
                    <a:pt x="887" y="645"/>
                  </a:lnTo>
                  <a:lnTo>
                    <a:pt x="904" y="642"/>
                  </a:lnTo>
                  <a:lnTo>
                    <a:pt x="922" y="640"/>
                  </a:lnTo>
                  <a:lnTo>
                    <a:pt x="939" y="638"/>
                  </a:lnTo>
                  <a:lnTo>
                    <a:pt x="957" y="637"/>
                  </a:lnTo>
                  <a:lnTo>
                    <a:pt x="1148" y="334"/>
                  </a:lnTo>
                  <a:lnTo>
                    <a:pt x="954" y="0"/>
                  </a:lnTo>
                  <a:lnTo>
                    <a:pt x="918" y="1"/>
                  </a:lnTo>
                  <a:lnTo>
                    <a:pt x="882" y="4"/>
                  </a:lnTo>
                  <a:lnTo>
                    <a:pt x="847" y="8"/>
                  </a:lnTo>
                  <a:lnTo>
                    <a:pt x="812" y="12"/>
                  </a:lnTo>
                  <a:lnTo>
                    <a:pt x="777" y="18"/>
                  </a:lnTo>
                  <a:lnTo>
                    <a:pt x="742" y="24"/>
                  </a:lnTo>
                  <a:lnTo>
                    <a:pt x="708" y="32"/>
                  </a:lnTo>
                  <a:lnTo>
                    <a:pt x="691" y="36"/>
                  </a:lnTo>
                  <a:lnTo>
                    <a:pt x="675" y="40"/>
                  </a:lnTo>
                  <a:lnTo>
                    <a:pt x="641" y="49"/>
                  </a:lnTo>
                  <a:lnTo>
                    <a:pt x="609" y="59"/>
                  </a:lnTo>
                  <a:lnTo>
                    <a:pt x="575" y="70"/>
                  </a:lnTo>
                  <a:lnTo>
                    <a:pt x="543" y="83"/>
                  </a:lnTo>
                  <a:lnTo>
                    <a:pt x="511" y="95"/>
                  </a:lnTo>
                  <a:lnTo>
                    <a:pt x="480" y="109"/>
                  </a:lnTo>
                  <a:lnTo>
                    <a:pt x="449" y="123"/>
                  </a:lnTo>
                  <a:lnTo>
                    <a:pt x="417" y="138"/>
                  </a:lnTo>
                  <a:lnTo>
                    <a:pt x="387" y="153"/>
                  </a:lnTo>
                  <a:lnTo>
                    <a:pt x="373" y="162"/>
                  </a:lnTo>
                  <a:lnTo>
                    <a:pt x="358" y="170"/>
                  </a:lnTo>
                  <a:lnTo>
                    <a:pt x="343" y="178"/>
                  </a:lnTo>
                  <a:lnTo>
                    <a:pt x="329" y="187"/>
                  </a:lnTo>
                  <a:lnTo>
                    <a:pt x="300" y="205"/>
                  </a:lnTo>
                  <a:lnTo>
                    <a:pt x="286" y="214"/>
                  </a:lnTo>
                  <a:lnTo>
                    <a:pt x="271" y="224"/>
                  </a:lnTo>
                  <a:lnTo>
                    <a:pt x="258" y="233"/>
                  </a:lnTo>
                  <a:lnTo>
                    <a:pt x="244" y="244"/>
                  </a:lnTo>
                  <a:lnTo>
                    <a:pt x="217" y="264"/>
                  </a:lnTo>
                  <a:lnTo>
                    <a:pt x="204" y="275"/>
                  </a:lnTo>
                  <a:lnTo>
                    <a:pt x="191" y="285"/>
                  </a:lnTo>
                  <a:lnTo>
                    <a:pt x="165" y="306"/>
                  </a:lnTo>
                  <a:lnTo>
                    <a:pt x="140" y="328"/>
                  </a:lnTo>
                  <a:lnTo>
                    <a:pt x="114" y="351"/>
                  </a:lnTo>
                  <a:lnTo>
                    <a:pt x="90" y="374"/>
                  </a:lnTo>
                  <a:lnTo>
                    <a:pt x="67" y="398"/>
                  </a:lnTo>
                  <a:lnTo>
                    <a:pt x="44" y="424"/>
                  </a:lnTo>
                  <a:lnTo>
                    <a:pt x="22" y="449"/>
                  </a:lnTo>
                  <a:lnTo>
                    <a:pt x="0" y="475"/>
                  </a:lnTo>
                  <a:lnTo>
                    <a:pt x="382" y="539"/>
                  </a:lnTo>
                  <a:lnTo>
                    <a:pt x="492" y="882"/>
                  </a:lnTo>
                  <a:close/>
                </a:path>
              </a:pathLst>
            </a:custGeom>
            <a:solidFill>
              <a:srgbClr val="FEB687"/>
            </a:solidFill>
            <a:ln>
              <a:noFill/>
            </a:ln>
          </p:spPr>
          <p:txBody>
            <a:bodyPr lIns="0" rIns="0"/>
            <a:lstStyle/>
            <a:p>
              <a:pPr>
                <a:defRPr/>
              </a:pPr>
              <a:endParaRPr lang="zh-CN" altLang="en-US" kern="0" dirty="0">
                <a:solidFill>
                  <a:prstClr val="black"/>
                </a:solidFill>
                <a:latin typeface="+mn-ea"/>
              </a:endParaRPr>
            </a:p>
          </p:txBody>
        </p:sp>
        <p:sp>
          <p:nvSpPr>
            <p:cNvPr id="33" name="矩形 98"/>
            <p:cNvSpPr/>
            <p:nvPr/>
          </p:nvSpPr>
          <p:spPr bwMode="gray">
            <a:xfrm rot="1023370">
              <a:off x="6856542" y="2142141"/>
              <a:ext cx="842375" cy="504345"/>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zh-CN" altLang="en-US" b="1" kern="0" dirty="0">
                  <a:solidFill>
                    <a:schemeClr val="bg1"/>
                  </a:solidFill>
                  <a:latin typeface="+mn-ea"/>
                </a:rPr>
                <a:t>洽谈</a:t>
              </a:r>
              <a:endParaRPr lang="zh-CN" altLang="en-US" b="1" kern="0" dirty="0">
                <a:solidFill>
                  <a:schemeClr val="bg1"/>
                </a:solidFill>
                <a:latin typeface="+mn-ea"/>
              </a:endParaRPr>
            </a:p>
          </p:txBody>
        </p:sp>
        <p:sp>
          <p:nvSpPr>
            <p:cNvPr id="34" name="矩形 99"/>
            <p:cNvSpPr/>
            <p:nvPr/>
          </p:nvSpPr>
          <p:spPr bwMode="gray">
            <a:xfrm rot="1023370">
              <a:off x="7399161" y="3524589"/>
              <a:ext cx="842375" cy="504345"/>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b="1" kern="0" dirty="0" smtClean="0">
                  <a:solidFill>
                    <a:schemeClr val="bg1"/>
                  </a:solidFill>
                  <a:latin typeface="+mn-ea"/>
                </a:rPr>
                <a:t>xx</a:t>
              </a:r>
              <a:endParaRPr lang="zh-CN" altLang="en-US" b="1" kern="0" dirty="0">
                <a:solidFill>
                  <a:schemeClr val="bg1"/>
                </a:solidFill>
                <a:latin typeface="+mn-ea"/>
              </a:endParaRPr>
            </a:p>
          </p:txBody>
        </p:sp>
        <p:sp>
          <p:nvSpPr>
            <p:cNvPr id="35" name="矩形 100"/>
            <p:cNvSpPr/>
            <p:nvPr/>
          </p:nvSpPr>
          <p:spPr bwMode="gray">
            <a:xfrm rot="1023370">
              <a:off x="6608809" y="4710790"/>
              <a:ext cx="842375" cy="504345"/>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b="1" kern="0" dirty="0" smtClean="0">
                  <a:solidFill>
                    <a:prstClr val="white"/>
                  </a:solidFill>
                  <a:latin typeface="+mn-ea"/>
                </a:rPr>
                <a:t>xx</a:t>
              </a:r>
              <a:endParaRPr lang="zh-CN" altLang="en-US" b="1" kern="0" dirty="0">
                <a:solidFill>
                  <a:prstClr val="white"/>
                </a:solidFill>
                <a:latin typeface="+mn-ea"/>
              </a:endParaRPr>
            </a:p>
          </p:txBody>
        </p:sp>
        <p:sp>
          <p:nvSpPr>
            <p:cNvPr id="36" name="矩形 101"/>
            <p:cNvSpPr/>
            <p:nvPr/>
          </p:nvSpPr>
          <p:spPr bwMode="gray">
            <a:xfrm rot="1023370">
              <a:off x="5157197" y="4795295"/>
              <a:ext cx="842375" cy="504345"/>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b="1" kern="0" dirty="0" smtClean="0">
                  <a:solidFill>
                    <a:schemeClr val="bg1"/>
                  </a:solidFill>
                  <a:latin typeface="+mn-ea"/>
                </a:rPr>
                <a:t>xx</a:t>
              </a:r>
              <a:endParaRPr lang="zh-CN" altLang="en-US" b="1" kern="0" dirty="0">
                <a:solidFill>
                  <a:schemeClr val="bg1"/>
                </a:solidFill>
                <a:latin typeface="+mn-ea"/>
              </a:endParaRPr>
            </a:p>
          </p:txBody>
        </p:sp>
        <p:sp>
          <p:nvSpPr>
            <p:cNvPr id="37" name="矩形 102"/>
            <p:cNvSpPr/>
            <p:nvPr/>
          </p:nvSpPr>
          <p:spPr bwMode="gray">
            <a:xfrm rot="1023370">
              <a:off x="4159723" y="3805146"/>
              <a:ext cx="842375" cy="504345"/>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b="1" kern="0" dirty="0" smtClean="0">
                  <a:solidFill>
                    <a:schemeClr val="bg1"/>
                  </a:solidFill>
                  <a:latin typeface="+mn-ea"/>
                </a:rPr>
                <a:t>xx</a:t>
              </a:r>
              <a:endParaRPr lang="zh-CN" altLang="en-US" b="1" kern="0" dirty="0">
                <a:solidFill>
                  <a:schemeClr val="bg1"/>
                </a:solidFill>
                <a:latin typeface="+mn-ea"/>
              </a:endParaRPr>
            </a:p>
          </p:txBody>
        </p:sp>
        <p:sp>
          <p:nvSpPr>
            <p:cNvPr id="38" name="矩形 103"/>
            <p:cNvSpPr/>
            <p:nvPr/>
          </p:nvSpPr>
          <p:spPr bwMode="gray">
            <a:xfrm rot="1023370">
              <a:off x="4184712" y="2256166"/>
              <a:ext cx="842375" cy="504345"/>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b="1" kern="0" dirty="0" smtClean="0">
                  <a:solidFill>
                    <a:schemeClr val="bg1"/>
                  </a:solidFill>
                  <a:latin typeface="+mn-ea"/>
                </a:rPr>
                <a:t>xx</a:t>
              </a:r>
              <a:endParaRPr lang="zh-CN" altLang="en-US" b="1" kern="0" dirty="0">
                <a:solidFill>
                  <a:schemeClr val="bg1"/>
                </a:solidFill>
                <a:latin typeface="+mn-ea"/>
              </a:endParaRPr>
            </a:p>
          </p:txBody>
        </p:sp>
        <p:sp>
          <p:nvSpPr>
            <p:cNvPr id="39" name="矩形 104"/>
            <p:cNvSpPr/>
            <p:nvPr/>
          </p:nvSpPr>
          <p:spPr bwMode="gray">
            <a:xfrm rot="1023370">
              <a:off x="5489279" y="1489362"/>
              <a:ext cx="842375" cy="504345"/>
            </a:xfrm>
            <a:prstGeom prst="rect">
              <a:avLst/>
            </a:prstGeom>
            <a:noFill/>
            <a:ln w="9525"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en-US" altLang="zh-CN" b="1" kern="0" dirty="0" smtClean="0">
                  <a:solidFill>
                    <a:schemeClr val="bg1"/>
                  </a:solidFill>
                  <a:latin typeface="+mn-ea"/>
                </a:rPr>
                <a:t>xx</a:t>
              </a:r>
              <a:endParaRPr lang="zh-CN" altLang="en-US" b="1" kern="0" dirty="0">
                <a:solidFill>
                  <a:schemeClr val="bg1"/>
                </a:solidFill>
                <a:latin typeface="+mn-ea"/>
              </a:endParaRPr>
            </a:p>
          </p:txBody>
        </p:sp>
        <p:sp>
          <p:nvSpPr>
            <p:cNvPr id="40" name="椭圆 39"/>
            <p:cNvSpPr/>
            <p:nvPr/>
          </p:nvSpPr>
          <p:spPr>
            <a:xfrm rot="1023370">
              <a:off x="7579363" y="1730207"/>
              <a:ext cx="288000" cy="288000"/>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rPr>
                <a:t>1</a:t>
              </a:r>
              <a:endParaRPr kumimoji="0" lang="zh-CN" altLang="en-US"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41" name="椭圆 40"/>
            <p:cNvSpPr/>
            <p:nvPr/>
          </p:nvSpPr>
          <p:spPr>
            <a:xfrm rot="1023370">
              <a:off x="8268157" y="3504990"/>
              <a:ext cx="288000" cy="288000"/>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lang="en-US" altLang="zh-CN" b="1" dirty="0">
                  <a:solidFill>
                    <a:prstClr val="white"/>
                  </a:solidFill>
                  <a:latin typeface="Arial" panose="020B0604020202020204"/>
                  <a:ea typeface="华文楷体" panose="02010600040101010101" charset="-122"/>
                  <a:cs typeface="+mn-ea"/>
                  <a:sym typeface="+mn-lt"/>
                </a:rPr>
                <a:t>2</a:t>
              </a:r>
              <a:endParaRPr kumimoji="0" lang="zh-CN" altLang="en-US"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42" name="椭圆 41"/>
            <p:cNvSpPr/>
            <p:nvPr/>
          </p:nvSpPr>
          <p:spPr>
            <a:xfrm rot="1023370">
              <a:off x="7247880" y="5117423"/>
              <a:ext cx="288000" cy="288000"/>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lang="en-US" altLang="zh-CN" b="1" dirty="0">
                  <a:solidFill>
                    <a:prstClr val="white"/>
                  </a:solidFill>
                  <a:latin typeface="Arial" panose="020B0604020202020204"/>
                  <a:ea typeface="华文楷体" panose="02010600040101010101" charset="-122"/>
                  <a:cs typeface="+mn-ea"/>
                  <a:sym typeface="+mn-lt"/>
                </a:rPr>
                <a:t>3</a:t>
              </a:r>
              <a:endParaRPr kumimoji="0" lang="zh-CN" altLang="en-US"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43" name="椭圆 42"/>
            <p:cNvSpPr/>
            <p:nvPr/>
          </p:nvSpPr>
          <p:spPr>
            <a:xfrm rot="1023370">
              <a:off x="5291150" y="5358035"/>
              <a:ext cx="288000" cy="288000"/>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lang="en-US" altLang="zh-CN" b="1" dirty="0">
                  <a:solidFill>
                    <a:prstClr val="white"/>
                  </a:solidFill>
                  <a:latin typeface="Arial" panose="020B0604020202020204"/>
                  <a:ea typeface="华文楷体" panose="02010600040101010101" charset="-122"/>
                  <a:cs typeface="+mn-ea"/>
                  <a:sym typeface="+mn-lt"/>
                </a:rPr>
                <a:t>4</a:t>
              </a:r>
              <a:endParaRPr kumimoji="0" lang="zh-CN" altLang="en-US"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44" name="椭圆 43"/>
            <p:cNvSpPr/>
            <p:nvPr/>
          </p:nvSpPr>
          <p:spPr>
            <a:xfrm rot="1023370">
              <a:off x="3935789" y="4152349"/>
              <a:ext cx="288000" cy="288000"/>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lang="en-US" altLang="zh-CN" b="1" dirty="0">
                  <a:solidFill>
                    <a:prstClr val="white"/>
                  </a:solidFill>
                  <a:latin typeface="Arial" panose="020B0604020202020204"/>
                  <a:ea typeface="华文楷体" panose="02010600040101010101" charset="-122"/>
                  <a:cs typeface="+mn-ea"/>
                  <a:sym typeface="+mn-lt"/>
                </a:rPr>
                <a:t>5</a:t>
              </a:r>
              <a:endParaRPr kumimoji="0" lang="zh-CN" altLang="en-US"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45" name="椭圆 44"/>
            <p:cNvSpPr/>
            <p:nvPr/>
          </p:nvSpPr>
          <p:spPr>
            <a:xfrm rot="1023370">
              <a:off x="4056983" y="2236931"/>
              <a:ext cx="288000" cy="288000"/>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lang="en-US" altLang="zh-CN" b="1" dirty="0">
                  <a:solidFill>
                    <a:prstClr val="white"/>
                  </a:solidFill>
                  <a:latin typeface="Arial" panose="020B0604020202020204"/>
                  <a:ea typeface="华文楷体" panose="02010600040101010101" charset="-122"/>
                  <a:cs typeface="+mn-ea"/>
                  <a:sym typeface="+mn-lt"/>
                </a:rPr>
                <a:t>6</a:t>
              </a:r>
              <a:endParaRPr kumimoji="0" lang="zh-CN" altLang="en-US"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sp>
          <p:nvSpPr>
            <p:cNvPr id="46" name="椭圆 45"/>
            <p:cNvSpPr/>
            <p:nvPr/>
          </p:nvSpPr>
          <p:spPr>
            <a:xfrm rot="1023370">
              <a:off x="5758318" y="1082629"/>
              <a:ext cx="288000" cy="288000"/>
            </a:xfrm>
            <a:prstGeom prst="ellipse">
              <a:avLst/>
            </a:prstGeom>
            <a:solidFill>
              <a:schemeClr val="accent1">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lang="en-US" altLang="zh-CN" b="1" dirty="0">
                  <a:solidFill>
                    <a:prstClr val="white"/>
                  </a:solidFill>
                  <a:latin typeface="Arial" panose="020B0604020202020204"/>
                  <a:ea typeface="华文楷体" panose="02010600040101010101" charset="-122"/>
                  <a:cs typeface="+mn-ea"/>
                  <a:sym typeface="+mn-lt"/>
                </a:rPr>
                <a:t>7</a:t>
              </a:r>
              <a:endParaRPr kumimoji="0" lang="zh-CN" altLang="en-US"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ea"/>
                <a:sym typeface="+mn-lt"/>
              </a:endParaRPr>
            </a:p>
          </p:txBody>
        </p:sp>
      </p:grpSp>
      <p:cxnSp>
        <p:nvCxnSpPr>
          <p:cNvPr id="47" name="肘形连接符 7"/>
          <p:cNvCxnSpPr>
            <a:stCxn id="41" idx="6"/>
          </p:cNvCxnSpPr>
          <p:nvPr/>
        </p:nvCxnSpPr>
        <p:spPr>
          <a:xfrm flipV="1">
            <a:off x="8530252" y="2287592"/>
            <a:ext cx="1249562" cy="730294"/>
          </a:xfrm>
          <a:prstGeom prst="bentConnector3">
            <a:avLst>
              <a:gd name="adj1" fmla="val 50000"/>
            </a:avLst>
          </a:prstGeom>
          <a:noFill/>
          <a:ln w="9525" cap="flat" cmpd="sng" algn="ctr">
            <a:solidFill>
              <a:schemeClr val="tx1">
                <a:lumMod val="65000"/>
                <a:lumOff val="35000"/>
              </a:schemeClr>
            </a:solidFill>
            <a:prstDash val="dash"/>
            <a:tailEnd type="oval" w="lg" len="lg"/>
          </a:ln>
          <a:effectLst/>
        </p:spPr>
      </p:cxnSp>
      <p:cxnSp>
        <p:nvCxnSpPr>
          <p:cNvPr id="48" name="肘形连接符 7"/>
          <p:cNvCxnSpPr>
            <a:stCxn id="28" idx="29"/>
          </p:cNvCxnSpPr>
          <p:nvPr/>
        </p:nvCxnSpPr>
        <p:spPr>
          <a:xfrm flipV="1">
            <a:off x="8016893" y="3596711"/>
            <a:ext cx="1768012" cy="1209165"/>
          </a:xfrm>
          <a:prstGeom prst="bentConnector3">
            <a:avLst>
              <a:gd name="adj1" fmla="val 50000"/>
            </a:avLst>
          </a:prstGeom>
          <a:noFill/>
          <a:ln w="9525" cap="flat" cmpd="sng" algn="ctr">
            <a:solidFill>
              <a:schemeClr val="tx1">
                <a:lumMod val="65000"/>
                <a:lumOff val="35000"/>
              </a:schemeClr>
            </a:solidFill>
            <a:prstDash val="dash"/>
            <a:tailEnd type="oval" w="lg" len="lg"/>
          </a:ln>
          <a:effectLst/>
        </p:spPr>
      </p:cxnSp>
      <p:cxnSp>
        <p:nvCxnSpPr>
          <p:cNvPr id="49" name="肘形连接符 7"/>
          <p:cNvCxnSpPr>
            <a:stCxn id="46" idx="2"/>
          </p:cNvCxnSpPr>
          <p:nvPr/>
        </p:nvCxnSpPr>
        <p:spPr>
          <a:xfrm rot="10800000" flipV="1">
            <a:off x="2388579" y="1397088"/>
            <a:ext cx="2763152" cy="415488"/>
          </a:xfrm>
          <a:prstGeom prst="bentConnector3">
            <a:avLst>
              <a:gd name="adj1" fmla="val 50000"/>
            </a:avLst>
          </a:prstGeom>
          <a:noFill/>
          <a:ln w="9525" cap="flat" cmpd="sng" algn="ctr">
            <a:solidFill>
              <a:schemeClr val="tx1">
                <a:lumMod val="65000"/>
                <a:lumOff val="35000"/>
              </a:schemeClr>
            </a:solidFill>
            <a:prstDash val="dash"/>
            <a:tailEnd type="oval" w="lg" len="lg"/>
          </a:ln>
          <a:effectLst/>
        </p:spPr>
      </p:cxnSp>
      <p:sp>
        <p:nvSpPr>
          <p:cNvPr id="50" name="空心弧 49"/>
          <p:cNvSpPr/>
          <p:nvPr/>
        </p:nvSpPr>
        <p:spPr>
          <a:xfrm rot="5400000">
            <a:off x="5043759" y="2495807"/>
            <a:ext cx="1876217" cy="2004106"/>
          </a:xfrm>
          <a:prstGeom prst="blockArc">
            <a:avLst>
              <a:gd name="adj1" fmla="val 15474902"/>
              <a:gd name="adj2" fmla="val 10252907"/>
              <a:gd name="adj3" fmla="val 20424"/>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91440" tIns="45720" rIns="91440" bIns="45720" numCol="1" spcCol="0" rtlCol="0" fromWordArt="0" anchor="t" anchorCtr="0" forceAA="0" compatLnSpc="1">
            <a:prstTxWarp prst="textArchUp">
              <a:avLst/>
            </a:prstTxWarp>
            <a:noAutofit/>
            <a:scene3d>
              <a:camera prst="orthographicFront">
                <a:rot lat="0" lon="1200000" rev="0"/>
              </a:camera>
              <a:lightRig rig="threePt" dir="t"/>
            </a:scene3d>
            <a:flatTx/>
          </a:bodyPr>
          <a:lstStyle/>
          <a:p>
            <a:pPr algn="ctr">
              <a:lnSpc>
                <a:spcPct val="90000"/>
              </a:lnSpc>
              <a:spcAft>
                <a:spcPts val="1000"/>
              </a:spcAft>
            </a:pPr>
            <a:r>
              <a:rPr lang="en-US" altLang="zh-CN" b="1" dirty="0" smtClean="0">
                <a:solidFill>
                  <a:schemeClr val="tx1"/>
                </a:solidFill>
              </a:rPr>
              <a:t>xx</a:t>
            </a:r>
            <a:r>
              <a:rPr lang="zh-CN" altLang="en-US" b="1" dirty="0" smtClean="0">
                <a:solidFill>
                  <a:schemeClr val="tx1"/>
                </a:solidFill>
              </a:rPr>
              <a:t>管理</a:t>
            </a:r>
            <a:endParaRPr lang="zh-CN" altLang="en-US" b="1" dirty="0" smtClean="0">
              <a:solidFill>
                <a:schemeClr val="tx1"/>
              </a:solidFill>
            </a:endParaRPr>
          </a:p>
        </p:txBody>
      </p:sp>
      <p:sp>
        <p:nvSpPr>
          <p:cNvPr id="51" name="空心弧 50"/>
          <p:cNvSpPr/>
          <p:nvPr/>
        </p:nvSpPr>
        <p:spPr>
          <a:xfrm rot="5400000">
            <a:off x="5330804" y="2495807"/>
            <a:ext cx="1876217" cy="2004106"/>
          </a:xfrm>
          <a:prstGeom prst="blockArc">
            <a:avLst>
              <a:gd name="adj1" fmla="val 15474902"/>
              <a:gd name="adj2" fmla="val 10252907"/>
              <a:gd name="adj3" fmla="val 20424"/>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91440" tIns="45720" rIns="91440" bIns="45720" numCol="1" spcCol="0" rtlCol="0" fromWordArt="0" anchor="t" anchorCtr="0" forceAA="0" compatLnSpc="1">
            <a:prstTxWarp prst="textArchDown">
              <a:avLst/>
            </a:prstTxWarp>
            <a:noAutofit/>
            <a:scene3d>
              <a:camera prst="orthographicFront">
                <a:rot lat="0" lon="1200000" rev="0"/>
              </a:camera>
              <a:lightRig rig="threePt" dir="t"/>
            </a:scene3d>
            <a:flatTx/>
          </a:bodyPr>
          <a:lstStyle/>
          <a:p>
            <a:pPr algn="ctr">
              <a:lnSpc>
                <a:spcPct val="90000"/>
              </a:lnSpc>
              <a:spcAft>
                <a:spcPts val="1000"/>
              </a:spcAft>
            </a:pPr>
            <a:r>
              <a:rPr lang="en-US" altLang="zh-CN" b="1" dirty="0" smtClean="0">
                <a:solidFill>
                  <a:schemeClr val="tx1"/>
                </a:solidFill>
              </a:rPr>
              <a:t>xx</a:t>
            </a:r>
            <a:r>
              <a:rPr lang="zh-CN" altLang="en-US" b="1" dirty="0" smtClean="0">
                <a:solidFill>
                  <a:schemeClr val="tx1"/>
                </a:solidFill>
              </a:rPr>
              <a:t>管理</a:t>
            </a:r>
            <a:endParaRPr lang="zh-CN" altLang="en-US" b="1" dirty="0">
              <a:solidFill>
                <a:schemeClr val="tx1"/>
              </a:solidFill>
            </a:endParaRPr>
          </a:p>
        </p:txBody>
      </p:sp>
      <p:sp>
        <p:nvSpPr>
          <p:cNvPr id="52" name="矩形 51"/>
          <p:cNvSpPr/>
          <p:nvPr/>
        </p:nvSpPr>
        <p:spPr>
          <a:xfrm>
            <a:off x="5514710" y="2985433"/>
            <a:ext cx="1291558" cy="45192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smtClean="0">
                <a:solidFill>
                  <a:schemeClr val="tx1"/>
                </a:solidFill>
              </a:rPr>
              <a:t>xx</a:t>
            </a:r>
            <a:r>
              <a:rPr lang="zh-CN" altLang="en-US" b="1" dirty="0" smtClean="0">
                <a:solidFill>
                  <a:schemeClr val="tx1"/>
                </a:solidFill>
              </a:rPr>
              <a:t>管理</a:t>
            </a:r>
            <a:endParaRPr lang="zh-CN" altLang="en-US" b="1" dirty="0" smtClean="0">
              <a:solidFill>
                <a:schemeClr val="tx1"/>
              </a:solidFill>
            </a:endParaRPr>
          </a:p>
        </p:txBody>
      </p:sp>
      <p:sp>
        <p:nvSpPr>
          <p:cNvPr id="53" name="矩形 52"/>
          <p:cNvSpPr/>
          <p:nvPr/>
        </p:nvSpPr>
        <p:spPr>
          <a:xfrm>
            <a:off x="5514710" y="3593898"/>
            <a:ext cx="1291558" cy="45192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b="1" dirty="0" smtClean="0">
                <a:solidFill>
                  <a:schemeClr val="tx1"/>
                </a:solidFill>
              </a:rPr>
              <a:t>xx</a:t>
            </a:r>
            <a:r>
              <a:rPr lang="zh-CN" altLang="en-US" b="1" dirty="0" smtClean="0">
                <a:solidFill>
                  <a:schemeClr val="tx1"/>
                </a:solidFill>
              </a:rPr>
              <a:t>管理</a:t>
            </a:r>
            <a:endParaRPr lang="zh-CN" altLang="en-US" b="1" dirty="0" smtClean="0">
              <a:solidFill>
                <a:schemeClr val="tx1"/>
              </a:solidFill>
            </a:endParaRPr>
          </a:p>
        </p:txBody>
      </p:sp>
      <p:grpSp>
        <p:nvGrpSpPr>
          <p:cNvPr id="54" name="组合 53"/>
          <p:cNvGrpSpPr/>
          <p:nvPr/>
        </p:nvGrpSpPr>
        <p:grpSpPr>
          <a:xfrm rot="20292190">
            <a:off x="5191486" y="2750349"/>
            <a:ext cx="3839286" cy="3774597"/>
            <a:chOff x="5143360" y="1448234"/>
            <a:chExt cx="3959657" cy="4749173"/>
          </a:xfrm>
        </p:grpSpPr>
        <p:sp>
          <p:nvSpPr>
            <p:cNvPr id="55" name="弧形 54"/>
            <p:cNvSpPr/>
            <p:nvPr/>
          </p:nvSpPr>
          <p:spPr>
            <a:xfrm rot="4666282">
              <a:off x="5065123" y="1526471"/>
              <a:ext cx="4116131" cy="3959657"/>
            </a:xfrm>
            <a:prstGeom prst="arc">
              <a:avLst>
                <a:gd name="adj1" fmla="val 15721237"/>
                <a:gd name="adj2" fmla="val 4767515"/>
              </a:avLst>
            </a:prstGeom>
            <a:ln w="57150" cap="rnd">
              <a:solidFill>
                <a:srgbClr val="00B05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56" name="矩形 116"/>
            <p:cNvSpPr/>
            <p:nvPr/>
          </p:nvSpPr>
          <p:spPr bwMode="gray">
            <a:xfrm rot="1307810">
              <a:off x="7349425" y="5711148"/>
              <a:ext cx="1257100" cy="486259"/>
            </a:xfrm>
            <a:prstGeom prst="rect">
              <a:avLst/>
            </a:prstGeom>
            <a:noFill/>
            <a:ln w="57150" cap="flat" cmpd="sng" algn="ctr">
              <a:noFill/>
              <a:prstDash val="solid"/>
              <a:round/>
              <a:headEnd type="none" w="med" len="med"/>
              <a:tailEnd type="none" w="med" len="med"/>
            </a:ln>
            <a:effectLst/>
          </p:spPr>
          <p:txBody>
            <a:bodyPr vert="horz" wrap="square" lIns="0" tIns="25400" rIns="0" bIns="25400" numCol="1" rtlCol="0" anchor="ctr" anchorCtr="0" compatLnSpc="1">
              <a:noAutofit/>
            </a:bodyPr>
            <a:lstStyle/>
            <a:p>
              <a:pPr algn="ctr" fontAlgn="base">
                <a:spcBef>
                  <a:spcPct val="0"/>
                </a:spcBef>
                <a:spcAft>
                  <a:spcPct val="0"/>
                </a:spcAft>
                <a:defRPr/>
              </a:pPr>
              <a:r>
                <a:rPr lang="zh-CN" altLang="en-US" sz="1400" b="1" kern="0" dirty="0" smtClean="0">
                  <a:solidFill>
                    <a:srgbClr val="00B050"/>
                  </a:solidFill>
                  <a:latin typeface="+mn-ea"/>
                </a:rPr>
                <a:t>特殊项目</a:t>
              </a:r>
              <a:r>
                <a:rPr lang="en-US" altLang="zh-CN" sz="1400" b="1" kern="0" dirty="0" smtClean="0">
                  <a:solidFill>
                    <a:srgbClr val="00B050"/>
                  </a:solidFill>
                  <a:latin typeface="+mn-ea"/>
                </a:rPr>
                <a:t>xx</a:t>
              </a:r>
              <a:r>
                <a:rPr lang="zh-CN" altLang="en-US" sz="1400" b="1" kern="0" dirty="0" smtClean="0">
                  <a:solidFill>
                    <a:srgbClr val="00B050"/>
                  </a:solidFill>
                  <a:latin typeface="+mn-ea"/>
                </a:rPr>
                <a:t>流程*</a:t>
              </a:r>
              <a:endParaRPr lang="zh-CN" altLang="en-US" sz="1400" b="1" kern="0" dirty="0">
                <a:solidFill>
                  <a:srgbClr val="00B050"/>
                </a:solidFill>
                <a:latin typeface="+mn-ea"/>
              </a:endParaRPr>
            </a:p>
          </p:txBody>
        </p:sp>
      </p:grpSp>
      <p:sp>
        <p:nvSpPr>
          <p:cNvPr id="5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流程</a:t>
            </a:r>
            <a:endParaRPr lang="zh-CN" altLang="en-US" sz="2400" dirty="0">
              <a:latin typeface="+mj-ea"/>
            </a:endParaRPr>
          </a:p>
        </p:txBody>
      </p:sp>
      <p:pic>
        <p:nvPicPr>
          <p:cNvPr id="58" name="图片 5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流程</a:t>
            </a:r>
            <a:endParaRPr lang="zh-CN" altLang="en-US" sz="2400" dirty="0">
              <a:latin typeface="+mj-ea"/>
            </a:endParaRPr>
          </a:p>
        </p:txBody>
      </p:sp>
      <p:pic>
        <p:nvPicPr>
          <p:cNvPr id="58" name="图片 5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59" name="矩形 58"/>
          <p:cNvSpPr/>
          <p:nvPr/>
        </p:nvSpPr>
        <p:spPr>
          <a:xfrm>
            <a:off x="266700" y="901700"/>
            <a:ext cx="11671300" cy="543814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60" name="AutoShape 19"/>
          <p:cNvSpPr>
            <a:spLocks noChangeArrowheads="1"/>
          </p:cNvSpPr>
          <p:nvPr/>
        </p:nvSpPr>
        <p:spPr bwMode="auto">
          <a:xfrm>
            <a:off x="1056944" y="1078931"/>
            <a:ext cx="1916215" cy="468746"/>
          </a:xfrm>
          <a:prstGeom prst="chevron">
            <a:avLst>
              <a:gd name="adj" fmla="val 14572"/>
            </a:avLst>
          </a:prstGeom>
          <a:solidFill>
            <a:schemeClr val="accent1"/>
          </a:solidFill>
          <a:ln w="19050" cap="flat" cmpd="sng" algn="ctr">
            <a:solidFill>
              <a:sysClr val="window" lastClr="FFFFFF"/>
            </a:solidFill>
            <a:prstDash val="solid"/>
            <a:miter lim="800000"/>
          </a:ln>
          <a:effectLst/>
        </p:spPr>
        <p:txBody>
          <a:bodyPr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61" name="AutoShape 19"/>
          <p:cNvSpPr>
            <a:spLocks noChangeArrowheads="1"/>
          </p:cNvSpPr>
          <p:nvPr/>
        </p:nvSpPr>
        <p:spPr bwMode="auto">
          <a:xfrm>
            <a:off x="2933123" y="1078931"/>
            <a:ext cx="2330058" cy="468746"/>
          </a:xfrm>
          <a:prstGeom prst="chevron">
            <a:avLst>
              <a:gd name="adj" fmla="val 14572"/>
            </a:avLst>
          </a:prstGeom>
          <a:solidFill>
            <a:schemeClr val="accent1"/>
          </a:solidFill>
          <a:ln w="19050" cap="flat" cmpd="sng" algn="ctr">
            <a:solidFill>
              <a:sysClr val="window" lastClr="FFFFFF"/>
            </a:solidFill>
            <a:prstDash val="solid"/>
            <a:miter lim="800000"/>
          </a:ln>
          <a:effectLst/>
        </p:spPr>
        <p:txBody>
          <a:bodyPr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defRPr/>
            </a:pPr>
            <a:r>
              <a:rPr lang="en-US" altLang="zh-CN" sz="1300" b="1" kern="0" dirty="0" smtClean="0">
                <a:solidFill>
                  <a:prstClr val="white"/>
                </a:solidFill>
                <a:latin typeface="华文楷体" panose="02010600040101010101" charset="-122"/>
                <a:ea typeface="华文楷体" panose="02010600040101010101" charset="-122"/>
              </a:rPr>
              <a:t>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62" name="AutoShape 19"/>
          <p:cNvSpPr>
            <a:spLocks noChangeArrowheads="1"/>
          </p:cNvSpPr>
          <p:nvPr/>
        </p:nvSpPr>
        <p:spPr bwMode="auto">
          <a:xfrm>
            <a:off x="6525440" y="1078931"/>
            <a:ext cx="2080777" cy="468746"/>
          </a:xfrm>
          <a:prstGeom prst="chevron">
            <a:avLst>
              <a:gd name="adj" fmla="val 14572"/>
            </a:avLst>
          </a:prstGeom>
          <a:solidFill>
            <a:schemeClr val="accent1"/>
          </a:solidFill>
          <a:ln w="19050" cap="flat" cmpd="sng" algn="ctr">
            <a:solidFill>
              <a:sysClr val="window" lastClr="FFFFFF"/>
            </a:solidFill>
            <a:prstDash val="solid"/>
            <a:miter lim="800000"/>
          </a:ln>
          <a:effectLst/>
        </p:spPr>
        <p:txBody>
          <a:bodyPr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63" name="AutoShape 19"/>
          <p:cNvSpPr>
            <a:spLocks noChangeArrowheads="1"/>
          </p:cNvSpPr>
          <p:nvPr/>
        </p:nvSpPr>
        <p:spPr bwMode="auto">
          <a:xfrm>
            <a:off x="8566181" y="1078931"/>
            <a:ext cx="1973430" cy="468746"/>
          </a:xfrm>
          <a:prstGeom prst="chevron">
            <a:avLst>
              <a:gd name="adj" fmla="val 14572"/>
            </a:avLst>
          </a:prstGeom>
          <a:solidFill>
            <a:schemeClr val="accent1"/>
          </a:solidFill>
          <a:ln w="19050" cap="flat" cmpd="sng" algn="ctr">
            <a:solidFill>
              <a:sysClr val="window" lastClr="FFFFFF"/>
            </a:solidFill>
            <a:prstDash val="solid"/>
            <a:miter lim="800000"/>
          </a:ln>
          <a:effectLst/>
        </p:spPr>
        <p:txBody>
          <a:bodyPr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64" name="AutoShape 19"/>
          <p:cNvSpPr>
            <a:spLocks noChangeArrowheads="1"/>
          </p:cNvSpPr>
          <p:nvPr/>
        </p:nvSpPr>
        <p:spPr bwMode="auto">
          <a:xfrm>
            <a:off x="10499578" y="1078931"/>
            <a:ext cx="1323016" cy="468746"/>
          </a:xfrm>
          <a:prstGeom prst="chevron">
            <a:avLst>
              <a:gd name="adj" fmla="val 14572"/>
            </a:avLst>
          </a:prstGeom>
          <a:solidFill>
            <a:schemeClr val="accent1"/>
          </a:solidFill>
          <a:ln w="19050" cap="flat" cmpd="sng" algn="ctr">
            <a:solidFill>
              <a:sysClr val="window" lastClr="FFFFFF"/>
            </a:solidFill>
            <a:prstDash val="solid"/>
            <a:miter lim="800000"/>
          </a:ln>
          <a:effectLst/>
        </p:spPr>
        <p:txBody>
          <a:bodyPr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65" name="AutoShape 19"/>
          <p:cNvSpPr>
            <a:spLocks noChangeArrowheads="1"/>
          </p:cNvSpPr>
          <p:nvPr/>
        </p:nvSpPr>
        <p:spPr bwMode="auto">
          <a:xfrm>
            <a:off x="433196" y="1078931"/>
            <a:ext cx="663784" cy="468746"/>
          </a:xfrm>
          <a:prstGeom prst="chevron">
            <a:avLst>
              <a:gd name="adj" fmla="val 14572"/>
            </a:avLst>
          </a:prstGeom>
          <a:solidFill>
            <a:schemeClr val="accent1"/>
          </a:solidFill>
          <a:ln w="19050" cap="flat" cmpd="sng" algn="ctr">
            <a:solidFill>
              <a:sysClr val="window" lastClr="FFFFFF"/>
            </a:solidFill>
            <a:prstDash val="solid"/>
            <a:miter lim="800000"/>
          </a:ln>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defRPr/>
            </a:pPr>
            <a:r>
              <a:rPr kumimoji="0" lang="zh-CN" altLang="en-US" sz="13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洽谈</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66" name="AutoShape 19"/>
          <p:cNvSpPr>
            <a:spLocks noChangeArrowheads="1"/>
          </p:cNvSpPr>
          <p:nvPr/>
        </p:nvSpPr>
        <p:spPr bwMode="auto">
          <a:xfrm>
            <a:off x="5223145" y="1078931"/>
            <a:ext cx="1342331" cy="468746"/>
          </a:xfrm>
          <a:prstGeom prst="chevron">
            <a:avLst>
              <a:gd name="adj" fmla="val 14572"/>
            </a:avLst>
          </a:prstGeom>
          <a:solidFill>
            <a:schemeClr val="accent1"/>
          </a:solidFill>
          <a:ln w="19050" cap="flat" cmpd="sng" algn="ctr">
            <a:solidFill>
              <a:sysClr val="window" lastClr="FFFFFF"/>
            </a:solidFill>
            <a:prstDash val="solid"/>
            <a:miter lim="800000"/>
          </a:ln>
          <a:effectLst/>
        </p:spPr>
        <p:txBody>
          <a:bodyPr tIns="91440" bIns="91440" anchor="ctr"/>
          <a:lstStyle/>
          <a:p>
            <a:pPr marL="0" marR="0" lvl="0" indent="0" algn="ctr" defTabSz="914400" eaLnBrk="0" fontAlgn="auto" latinLnBrk="0" hangingPunct="0">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67" name="AutoShape 19"/>
          <p:cNvSpPr>
            <a:spLocks noChangeArrowheads="1"/>
          </p:cNvSpPr>
          <p:nvPr/>
        </p:nvSpPr>
        <p:spPr bwMode="auto">
          <a:xfrm>
            <a:off x="502551" y="1723163"/>
            <a:ext cx="663784"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algn="ctr"/>
            <a:r>
              <a:rPr lang="zh-CN" altLang="en-US" sz="1300" b="1" kern="0" dirty="0">
                <a:solidFill>
                  <a:prstClr val="white"/>
                </a:solidFill>
                <a:latin typeface="Arial" panose="020B0604020202020204"/>
                <a:ea typeface="楷体" panose="02010609060101010101" pitchFamily="49" charset="-122"/>
                <a:cs typeface="+mn-ea"/>
              </a:rPr>
              <a:t>业务</a:t>
            </a:r>
            <a:endParaRPr lang="en-US" altLang="zh-CN" sz="1300" b="1" kern="0" dirty="0">
              <a:solidFill>
                <a:prstClr val="white"/>
              </a:solidFill>
              <a:latin typeface="Arial" panose="020B0604020202020204"/>
              <a:ea typeface="楷体" panose="02010609060101010101" pitchFamily="49" charset="-122"/>
              <a:cs typeface="+mn-ea"/>
            </a:endParaRPr>
          </a:p>
          <a:p>
            <a:pPr algn="ctr"/>
            <a:r>
              <a:rPr lang="zh-CN" altLang="en-US" sz="1300" b="1" kern="0" dirty="0">
                <a:solidFill>
                  <a:prstClr val="white"/>
                </a:solidFill>
                <a:latin typeface="Arial" panose="020B0604020202020204"/>
                <a:ea typeface="楷体" panose="02010609060101010101" pitchFamily="49" charset="-122"/>
                <a:cs typeface="+mn-ea"/>
              </a:rPr>
              <a:t>线索</a:t>
            </a:r>
            <a:endParaRPr lang="zh-CN" altLang="en-GB" sz="1300" b="1" kern="0" dirty="0">
              <a:solidFill>
                <a:prstClr val="white"/>
              </a:solidFill>
              <a:latin typeface="Arial" panose="020B0604020202020204"/>
              <a:ea typeface="楷体" panose="02010609060101010101" pitchFamily="49" charset="-122"/>
              <a:cs typeface="+mn-ea"/>
            </a:endParaRPr>
          </a:p>
        </p:txBody>
      </p:sp>
      <p:sp>
        <p:nvSpPr>
          <p:cNvPr id="68" name="AutoShape 19"/>
          <p:cNvSpPr>
            <a:spLocks noChangeArrowheads="1"/>
          </p:cNvSpPr>
          <p:nvPr/>
        </p:nvSpPr>
        <p:spPr bwMode="auto">
          <a:xfrm>
            <a:off x="1117592" y="1723163"/>
            <a:ext cx="665116"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69" name="AutoShape 19"/>
          <p:cNvSpPr>
            <a:spLocks noChangeArrowheads="1"/>
          </p:cNvSpPr>
          <p:nvPr/>
        </p:nvSpPr>
        <p:spPr bwMode="auto">
          <a:xfrm>
            <a:off x="1733965" y="1723163"/>
            <a:ext cx="1279230"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algn="ctr"/>
            <a:r>
              <a:rPr lang="en-US" altLang="zh-CN" sz="1300" b="1" kern="0" dirty="0" smtClean="0">
                <a:solidFill>
                  <a:prstClr val="white"/>
                </a:solidFill>
                <a:latin typeface="Arial" panose="020B0604020202020204"/>
                <a:ea typeface="楷体" panose="02010609060101010101" pitchFamily="49" charset="-122"/>
                <a:cs typeface="+mn-ea"/>
              </a:rPr>
              <a:t>xx</a:t>
            </a:r>
            <a:endParaRPr lang="zh-CN" altLang="en-GB" sz="1300" b="1" kern="0" dirty="0">
              <a:solidFill>
                <a:prstClr val="white"/>
              </a:solidFill>
              <a:latin typeface="Arial" panose="020B0604020202020204"/>
              <a:ea typeface="楷体" panose="02010609060101010101" pitchFamily="49" charset="-122"/>
              <a:cs typeface="+mn-ea"/>
            </a:endParaRPr>
          </a:p>
        </p:txBody>
      </p:sp>
      <p:sp>
        <p:nvSpPr>
          <p:cNvPr id="70" name="AutoShape 19"/>
          <p:cNvSpPr>
            <a:spLocks noChangeArrowheads="1"/>
          </p:cNvSpPr>
          <p:nvPr/>
        </p:nvSpPr>
        <p:spPr bwMode="auto">
          <a:xfrm>
            <a:off x="4331125" y="1723163"/>
            <a:ext cx="963385"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71" name="AutoShape 19"/>
          <p:cNvSpPr>
            <a:spLocks noChangeArrowheads="1"/>
          </p:cNvSpPr>
          <p:nvPr/>
        </p:nvSpPr>
        <p:spPr bwMode="auto">
          <a:xfrm>
            <a:off x="2964452" y="1723163"/>
            <a:ext cx="1415416"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72" name="AutoShape 19"/>
          <p:cNvSpPr>
            <a:spLocks noChangeArrowheads="1"/>
          </p:cNvSpPr>
          <p:nvPr/>
        </p:nvSpPr>
        <p:spPr bwMode="auto">
          <a:xfrm>
            <a:off x="5245767" y="1723163"/>
            <a:ext cx="1329631"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algn="ctr"/>
            <a:r>
              <a:rPr lang="en-US" altLang="zh-CN" sz="1300" b="1" kern="0" dirty="0" smtClean="0">
                <a:solidFill>
                  <a:prstClr val="white"/>
                </a:solidFill>
                <a:latin typeface="Arial" panose="020B0604020202020204"/>
                <a:ea typeface="楷体" panose="02010609060101010101" pitchFamily="49" charset="-122"/>
                <a:cs typeface="+mn-ea"/>
              </a:rPr>
              <a:t>xx</a:t>
            </a:r>
            <a:endParaRPr lang="zh-CN" altLang="en-GB" sz="1300" b="1" kern="0" dirty="0">
              <a:solidFill>
                <a:prstClr val="white"/>
              </a:solidFill>
              <a:latin typeface="Arial" panose="020B0604020202020204"/>
              <a:ea typeface="楷体" panose="02010609060101010101" pitchFamily="49" charset="-122"/>
              <a:cs typeface="+mn-ea"/>
            </a:endParaRPr>
          </a:p>
        </p:txBody>
      </p:sp>
      <p:sp>
        <p:nvSpPr>
          <p:cNvPr id="73" name="AutoShape 19"/>
          <p:cNvSpPr>
            <a:spLocks noChangeArrowheads="1"/>
          </p:cNvSpPr>
          <p:nvPr/>
        </p:nvSpPr>
        <p:spPr bwMode="auto">
          <a:xfrm>
            <a:off x="6526655" y="1723163"/>
            <a:ext cx="1152403"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algn="ctr"/>
            <a:r>
              <a:rPr lang="en-US" altLang="zh-CN" sz="1300" b="1" kern="0" dirty="0" smtClean="0">
                <a:solidFill>
                  <a:prstClr val="white"/>
                </a:solidFill>
                <a:latin typeface="Arial" panose="020B0604020202020204"/>
                <a:ea typeface="楷体" panose="02010609060101010101" pitchFamily="49" charset="-122"/>
                <a:cs typeface="+mn-ea"/>
              </a:rPr>
              <a:t>xx</a:t>
            </a:r>
            <a:endParaRPr lang="zh-CN" altLang="en-GB" sz="1300" b="1" kern="0" dirty="0">
              <a:solidFill>
                <a:prstClr val="white"/>
              </a:solidFill>
              <a:latin typeface="Arial" panose="020B0604020202020204"/>
              <a:ea typeface="楷体" panose="02010609060101010101" pitchFamily="49" charset="-122"/>
              <a:cs typeface="+mn-ea"/>
            </a:endParaRPr>
          </a:p>
        </p:txBody>
      </p:sp>
      <p:sp>
        <p:nvSpPr>
          <p:cNvPr id="74" name="AutoShape 19"/>
          <p:cNvSpPr>
            <a:spLocks noChangeArrowheads="1"/>
          </p:cNvSpPr>
          <p:nvPr/>
        </p:nvSpPr>
        <p:spPr bwMode="auto">
          <a:xfrm>
            <a:off x="7630315" y="1723163"/>
            <a:ext cx="977117"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algn="ctr"/>
            <a:r>
              <a:rPr lang="en-US" altLang="zh-CN" sz="1300" b="1" kern="0" dirty="0" smtClean="0">
                <a:solidFill>
                  <a:prstClr val="white"/>
                </a:solidFill>
                <a:latin typeface="Arial" panose="020B0604020202020204"/>
                <a:ea typeface="楷体" panose="02010609060101010101" pitchFamily="49" charset="-122"/>
                <a:cs typeface="+mn-ea"/>
              </a:rPr>
              <a:t>xx</a:t>
            </a:r>
            <a:endParaRPr lang="zh-CN" altLang="en-GB" sz="1300" b="1" kern="0" dirty="0">
              <a:solidFill>
                <a:prstClr val="white"/>
              </a:solidFill>
              <a:latin typeface="Arial" panose="020B0604020202020204"/>
              <a:ea typeface="楷体" panose="02010609060101010101" pitchFamily="49" charset="-122"/>
              <a:cs typeface="+mn-ea"/>
            </a:endParaRPr>
          </a:p>
        </p:txBody>
      </p:sp>
      <p:sp>
        <p:nvSpPr>
          <p:cNvPr id="75" name="AutoShape 19"/>
          <p:cNvSpPr>
            <a:spLocks noChangeArrowheads="1"/>
          </p:cNvSpPr>
          <p:nvPr/>
        </p:nvSpPr>
        <p:spPr bwMode="auto">
          <a:xfrm>
            <a:off x="8558689" y="1723163"/>
            <a:ext cx="1039793"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algn="ctr"/>
            <a:r>
              <a:rPr lang="en-US" altLang="zh-CN" sz="1300" b="1" kern="0" dirty="0" smtClean="0">
                <a:solidFill>
                  <a:prstClr val="white"/>
                </a:solidFill>
                <a:latin typeface="Arial" panose="020B0604020202020204"/>
                <a:ea typeface="楷体" panose="02010609060101010101" pitchFamily="49" charset="-122"/>
                <a:cs typeface="+mn-ea"/>
              </a:rPr>
              <a:t>xx</a:t>
            </a:r>
            <a:endParaRPr lang="zh-CN" altLang="en-GB" sz="1300" b="1" kern="0" dirty="0">
              <a:solidFill>
                <a:prstClr val="white"/>
              </a:solidFill>
              <a:latin typeface="Arial" panose="020B0604020202020204"/>
              <a:ea typeface="楷体" panose="02010609060101010101" pitchFamily="49" charset="-122"/>
              <a:cs typeface="+mn-ea"/>
            </a:endParaRPr>
          </a:p>
        </p:txBody>
      </p:sp>
      <p:sp>
        <p:nvSpPr>
          <p:cNvPr id="76" name="AutoShape 19"/>
          <p:cNvSpPr>
            <a:spLocks noChangeArrowheads="1"/>
          </p:cNvSpPr>
          <p:nvPr/>
        </p:nvSpPr>
        <p:spPr bwMode="auto">
          <a:xfrm>
            <a:off x="9549739" y="1723163"/>
            <a:ext cx="1055090"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algn="ctr"/>
            <a:r>
              <a:rPr lang="en-US" altLang="zh-CN" sz="1300" b="1" kern="0" dirty="0" smtClean="0">
                <a:solidFill>
                  <a:prstClr val="white"/>
                </a:solidFill>
                <a:latin typeface="Arial" panose="020B0604020202020204"/>
                <a:ea typeface="楷体" panose="02010609060101010101" pitchFamily="49" charset="-122"/>
                <a:cs typeface="+mn-ea"/>
              </a:rPr>
              <a:t>xx</a:t>
            </a:r>
            <a:endParaRPr lang="zh-CN" altLang="en-GB" sz="1300" b="1" kern="0" dirty="0">
              <a:solidFill>
                <a:prstClr val="white"/>
              </a:solidFill>
              <a:latin typeface="Arial" panose="020B0604020202020204"/>
              <a:ea typeface="楷体" panose="02010609060101010101" pitchFamily="49" charset="-122"/>
              <a:cs typeface="+mn-ea"/>
            </a:endParaRPr>
          </a:p>
        </p:txBody>
      </p:sp>
      <p:sp>
        <p:nvSpPr>
          <p:cNvPr id="77" name="AutoShape 19"/>
          <p:cNvSpPr>
            <a:spLocks noChangeArrowheads="1"/>
          </p:cNvSpPr>
          <p:nvPr/>
        </p:nvSpPr>
        <p:spPr bwMode="auto">
          <a:xfrm>
            <a:off x="10556086" y="1723163"/>
            <a:ext cx="665116"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algn="ctr"/>
            <a:r>
              <a:rPr lang="en-US" altLang="zh-CN" sz="1300" b="1" kern="0" dirty="0" smtClean="0">
                <a:solidFill>
                  <a:prstClr val="white"/>
                </a:solidFill>
                <a:latin typeface="Arial" panose="020B0604020202020204"/>
                <a:ea typeface="楷体" panose="02010609060101010101" pitchFamily="49" charset="-122"/>
                <a:cs typeface="+mn-ea"/>
              </a:rPr>
              <a:t>xx</a:t>
            </a:r>
            <a:endParaRPr lang="zh-CN" altLang="en-GB" sz="1300" b="1" kern="0" dirty="0">
              <a:solidFill>
                <a:prstClr val="white"/>
              </a:solidFill>
              <a:latin typeface="Arial" panose="020B0604020202020204"/>
              <a:ea typeface="楷体" panose="02010609060101010101" pitchFamily="49" charset="-122"/>
              <a:cs typeface="+mn-ea"/>
            </a:endParaRPr>
          </a:p>
        </p:txBody>
      </p:sp>
      <p:sp>
        <p:nvSpPr>
          <p:cNvPr id="78" name="AutoShape 19"/>
          <p:cNvSpPr>
            <a:spLocks noChangeArrowheads="1"/>
          </p:cNvSpPr>
          <p:nvPr/>
        </p:nvSpPr>
        <p:spPr bwMode="auto">
          <a:xfrm>
            <a:off x="11172459" y="1723163"/>
            <a:ext cx="650135"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algn="ctr"/>
            <a:r>
              <a:rPr lang="en-US" altLang="zh-CN" sz="1200" b="1" kern="0" dirty="0" smtClean="0">
                <a:solidFill>
                  <a:prstClr val="white"/>
                </a:solidFill>
                <a:latin typeface="Arial" panose="020B0604020202020204"/>
                <a:ea typeface="楷体" panose="02010609060101010101" pitchFamily="49" charset="-122"/>
                <a:cs typeface="+mn-ea"/>
              </a:rPr>
              <a:t>xx</a:t>
            </a:r>
            <a:endParaRPr lang="zh-CN" altLang="en-GB" sz="1200" b="1" kern="0" dirty="0">
              <a:solidFill>
                <a:prstClr val="white"/>
              </a:solidFill>
              <a:latin typeface="Arial" panose="020B0604020202020204"/>
              <a:ea typeface="楷体" panose="02010609060101010101" pitchFamily="49" charset="-122"/>
              <a:cs typeface="+mn-ea"/>
            </a:endParaRPr>
          </a:p>
        </p:txBody>
      </p:sp>
      <p:sp>
        <p:nvSpPr>
          <p:cNvPr id="79" name="椭圆 78"/>
          <p:cNvSpPr>
            <a:spLocks noChangeAspect="1"/>
          </p:cNvSpPr>
          <p:nvPr/>
        </p:nvSpPr>
        <p:spPr>
          <a:xfrm>
            <a:off x="419317" y="1632608"/>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1</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80" name="椭圆 79"/>
          <p:cNvSpPr>
            <a:spLocks noChangeAspect="1"/>
          </p:cNvSpPr>
          <p:nvPr/>
        </p:nvSpPr>
        <p:spPr>
          <a:xfrm>
            <a:off x="1120369" y="1632608"/>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2</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81" name="椭圆 80"/>
          <p:cNvSpPr>
            <a:spLocks noChangeAspect="1"/>
          </p:cNvSpPr>
          <p:nvPr/>
        </p:nvSpPr>
        <p:spPr>
          <a:xfrm>
            <a:off x="1746553" y="1632608"/>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3</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82" name="椭圆 81"/>
          <p:cNvSpPr>
            <a:spLocks noChangeAspect="1"/>
          </p:cNvSpPr>
          <p:nvPr/>
        </p:nvSpPr>
        <p:spPr>
          <a:xfrm>
            <a:off x="2936051" y="1632608"/>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4</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83" name="椭圆 82"/>
          <p:cNvSpPr>
            <a:spLocks noChangeAspect="1"/>
          </p:cNvSpPr>
          <p:nvPr/>
        </p:nvSpPr>
        <p:spPr>
          <a:xfrm>
            <a:off x="4325235" y="1632608"/>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5</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84" name="椭圆 83"/>
          <p:cNvSpPr>
            <a:spLocks noChangeAspect="1"/>
          </p:cNvSpPr>
          <p:nvPr/>
        </p:nvSpPr>
        <p:spPr>
          <a:xfrm>
            <a:off x="5251641" y="1632608"/>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6</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85" name="椭圆 84"/>
          <p:cNvSpPr>
            <a:spLocks noChangeAspect="1"/>
          </p:cNvSpPr>
          <p:nvPr/>
        </p:nvSpPr>
        <p:spPr>
          <a:xfrm>
            <a:off x="6540091" y="1632608"/>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7</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86" name="椭圆 85"/>
          <p:cNvSpPr>
            <a:spLocks noChangeAspect="1"/>
          </p:cNvSpPr>
          <p:nvPr/>
        </p:nvSpPr>
        <p:spPr>
          <a:xfrm>
            <a:off x="7597520" y="1632608"/>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8</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87" name="椭圆 86"/>
          <p:cNvSpPr>
            <a:spLocks noChangeAspect="1"/>
          </p:cNvSpPr>
          <p:nvPr/>
        </p:nvSpPr>
        <p:spPr>
          <a:xfrm>
            <a:off x="8576154" y="1632608"/>
            <a:ext cx="180000" cy="168728"/>
          </a:xfrm>
          <a:prstGeom prst="ellipse">
            <a:avLst/>
          </a:prstGeom>
          <a:solidFill>
            <a:srgbClr val="ED7D31">
              <a:lumMod val="75000"/>
            </a:srgb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9</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88" name="椭圆 87"/>
          <p:cNvSpPr>
            <a:spLocks noChangeAspect="1"/>
          </p:cNvSpPr>
          <p:nvPr/>
        </p:nvSpPr>
        <p:spPr>
          <a:xfrm>
            <a:off x="9552745" y="1632608"/>
            <a:ext cx="180000" cy="168728"/>
          </a:xfrm>
          <a:prstGeom prst="ellipse">
            <a:avLst/>
          </a:prstGeom>
          <a:solidFill>
            <a:srgbClr val="ED7D31">
              <a:lumMod val="75000"/>
            </a:srgb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10</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89" name="椭圆 88"/>
          <p:cNvSpPr>
            <a:spLocks noChangeAspect="1"/>
          </p:cNvSpPr>
          <p:nvPr/>
        </p:nvSpPr>
        <p:spPr>
          <a:xfrm>
            <a:off x="10537679" y="1632608"/>
            <a:ext cx="180000" cy="168728"/>
          </a:xfrm>
          <a:prstGeom prst="ellipse">
            <a:avLst/>
          </a:prstGeom>
          <a:solidFill>
            <a:srgbClr val="ED7D31">
              <a:lumMod val="75000"/>
            </a:srgb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11</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0" name="椭圆 89"/>
          <p:cNvSpPr>
            <a:spLocks noChangeAspect="1"/>
          </p:cNvSpPr>
          <p:nvPr/>
        </p:nvSpPr>
        <p:spPr>
          <a:xfrm>
            <a:off x="11279726" y="1632608"/>
            <a:ext cx="180000" cy="168728"/>
          </a:xfrm>
          <a:prstGeom prst="ellipse">
            <a:avLst/>
          </a:prstGeom>
          <a:solidFill>
            <a:srgbClr val="ED7D31">
              <a:lumMod val="75000"/>
            </a:srgb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12</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1" name="Text Box 78"/>
          <p:cNvSpPr txBox="1">
            <a:spLocks noChangeArrowheads="1"/>
          </p:cNvSpPr>
          <p:nvPr/>
        </p:nvSpPr>
        <p:spPr bwMode="auto">
          <a:xfrm>
            <a:off x="535618" y="2707089"/>
            <a:ext cx="450268" cy="1506999"/>
          </a:xfrm>
          <a:prstGeom prst="rect">
            <a:avLst/>
          </a:prstGeom>
          <a:solidFill>
            <a:sysClr val="window" lastClr="FFFFFF"/>
          </a:solidFill>
          <a:ln w="12700" cap="flat" cmpd="sng" algn="ctr">
            <a:noFill/>
            <a:prstDash val="solid"/>
            <a:miter lim="800000"/>
          </a:ln>
          <a:effectLst/>
        </p:spPr>
        <p:txBody>
          <a:bodyPr vert="eaVert" wrap="square" lIns="18000" tIns="46800" rIns="18000" bIns="4680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600" b="1" kern="0" noProof="0" dirty="0">
                <a:solidFill>
                  <a:srgbClr val="FE5817"/>
                </a:solidFill>
                <a:latin typeface="华文楷体" panose="02010600040101010101" charset="-122"/>
                <a:ea typeface="楷体" panose="02010609060101010101" pitchFamily="49" charset="-122"/>
              </a:rPr>
              <a:t>总</a:t>
            </a:r>
            <a:r>
              <a:rPr lang="zh-CN" altLang="en-US" sz="1600" b="1" kern="0" noProof="0" dirty="0" smtClean="0">
                <a:solidFill>
                  <a:srgbClr val="FE5817"/>
                </a:solidFill>
                <a:latin typeface="华文楷体" panose="02010600040101010101" charset="-122"/>
                <a:ea typeface="楷体" panose="02010609060101010101" pitchFamily="49" charset="-122"/>
              </a:rPr>
              <a:t>分包项目</a:t>
            </a:r>
            <a:endParaRPr kumimoji="0" lang="en-US" altLang="zh-CN" sz="1600" b="1" i="0" u="none" strike="noStrike" kern="0" cap="none" spc="0" normalizeH="0" baseline="0" noProof="0" dirty="0">
              <a:ln>
                <a:noFill/>
              </a:ln>
              <a:solidFill>
                <a:srgbClr val="FE5817"/>
              </a:solidFill>
              <a:effectLst/>
              <a:uLnTx/>
              <a:uFillTx/>
              <a:latin typeface="华文楷体" panose="02010600040101010101" charset="-122"/>
              <a:ea typeface="楷体" panose="02010609060101010101" pitchFamily="49" charset="-122"/>
            </a:endParaRPr>
          </a:p>
        </p:txBody>
      </p:sp>
      <p:sp>
        <p:nvSpPr>
          <p:cNvPr id="92" name="Rectangle 20"/>
          <p:cNvSpPr>
            <a:spLocks noChangeArrowheads="1"/>
          </p:cNvSpPr>
          <p:nvPr/>
        </p:nvSpPr>
        <p:spPr bwMode="auto">
          <a:xfrm>
            <a:off x="1619665" y="2652490"/>
            <a:ext cx="1279230" cy="736569"/>
          </a:xfrm>
          <a:prstGeom prst="rect">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p:spPr>
        <p:txBody>
          <a:bodyPr rtlCol="0" anchor="t"/>
          <a:lstStyle/>
          <a:p>
            <a:pPr lvl="0" algn="ctr">
              <a:defRPr/>
            </a:pPr>
            <a:r>
              <a:rPr lang="zh-CN" altLang="en-US" sz="1400" b="1" kern="0" dirty="0">
                <a:solidFill>
                  <a:srgbClr val="FE5817"/>
                </a:solidFill>
                <a:ea typeface="楷体" panose="02010609060101010101" pitchFamily="49" charset="-122"/>
                <a:cs typeface="+mn-ea"/>
              </a:rPr>
              <a:t>选定分包商</a:t>
            </a:r>
            <a:endParaRPr lang="en-US" altLang="zh-CN" sz="1400" b="1" kern="0" dirty="0">
              <a:solidFill>
                <a:srgbClr val="FE5817"/>
              </a:solidFill>
              <a:ea typeface="楷体" panose="02010609060101010101" pitchFamily="49" charset="-122"/>
              <a:cs typeface="+mn-ea"/>
            </a:endParaRPr>
          </a:p>
          <a:p>
            <a:pPr lvl="0" indent="215900">
              <a:buFont typeface="Arial" panose="020B0604020202020204" pitchFamily="34" charset="0"/>
              <a:buChar char="•"/>
              <a:defRPr/>
            </a:pPr>
            <a:r>
              <a:rPr lang="zh-CN" altLang="en-US" sz="1400" kern="0" dirty="0" smtClean="0">
                <a:ea typeface="楷体" panose="02010609060101010101" pitchFamily="49" charset="-122"/>
                <a:cs typeface="+mn-ea"/>
              </a:rPr>
              <a:t>确定分包商名单及报价</a:t>
            </a:r>
            <a:endParaRPr lang="en-US" altLang="zh-CN" sz="1400" kern="0" dirty="0" smtClean="0">
              <a:ea typeface="楷体" panose="02010609060101010101" pitchFamily="49" charset="-122"/>
              <a:cs typeface="+mn-ea"/>
            </a:endParaRPr>
          </a:p>
        </p:txBody>
      </p:sp>
      <p:sp>
        <p:nvSpPr>
          <p:cNvPr id="93" name="Rectangle 20"/>
          <p:cNvSpPr>
            <a:spLocks noChangeArrowheads="1"/>
          </p:cNvSpPr>
          <p:nvPr/>
        </p:nvSpPr>
        <p:spPr bwMode="auto">
          <a:xfrm>
            <a:off x="2954442" y="2660550"/>
            <a:ext cx="1186636" cy="1565668"/>
          </a:xfrm>
          <a:prstGeom prst="rect">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p:spPr>
        <p:txBody>
          <a:bodyPr rtlCol="0" anchor="t"/>
          <a:lstStyle/>
          <a:p>
            <a:pPr algn="ctr">
              <a:defRPr/>
            </a:pPr>
            <a:r>
              <a:rPr lang="en-US" altLang="zh-CN" sz="1400" b="1" kern="0" dirty="0">
                <a:solidFill>
                  <a:srgbClr val="FE5817"/>
                </a:solidFill>
                <a:ea typeface="楷体" panose="02010609060101010101" pitchFamily="49" charset="-122"/>
                <a:cs typeface="+mn-ea"/>
              </a:rPr>
              <a:t>xx</a:t>
            </a:r>
            <a:endParaRPr lang="en-US" altLang="zh-CN" sz="1400" b="1" kern="0" dirty="0">
              <a:solidFill>
                <a:srgbClr val="FE5817"/>
              </a:solidFill>
              <a:ea typeface="楷体" panose="02010609060101010101" pitchFamily="49" charset="-122"/>
              <a:cs typeface="+mn-ea"/>
            </a:endParaRPr>
          </a:p>
          <a:p>
            <a:pPr lvl="0" indent="215900">
              <a:buFont typeface="Arial" panose="020B0604020202020204" pitchFamily="34" charset="0"/>
              <a:buChar char="•"/>
              <a:defRPr/>
            </a:pPr>
            <a:r>
              <a:rPr lang="en-US" altLang="zh-CN" sz="1400" kern="0" dirty="0">
                <a:ea typeface="楷体" panose="02010609060101010101" pitchFamily="49" charset="-122"/>
                <a:cs typeface="+mn-ea"/>
              </a:rPr>
              <a:t>xx</a:t>
            </a:r>
            <a:endParaRPr lang="en-US" altLang="zh-CN" sz="1400" kern="0" dirty="0">
              <a:ea typeface="楷体" panose="02010609060101010101" pitchFamily="49" charset="-122"/>
              <a:cs typeface="+mn-ea"/>
            </a:endParaRPr>
          </a:p>
        </p:txBody>
      </p:sp>
      <p:sp>
        <p:nvSpPr>
          <p:cNvPr id="94" name="Rectangle 20"/>
          <p:cNvSpPr>
            <a:spLocks noChangeArrowheads="1"/>
          </p:cNvSpPr>
          <p:nvPr/>
        </p:nvSpPr>
        <p:spPr bwMode="auto">
          <a:xfrm>
            <a:off x="5215556" y="2652490"/>
            <a:ext cx="1329631" cy="736569"/>
          </a:xfrm>
          <a:prstGeom prst="rect">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p:spPr>
        <p:txBody>
          <a:bodyPr rtlCol="0" anchor="t"/>
          <a:lstStyle/>
          <a:p>
            <a:pPr algn="ctr">
              <a:defRPr/>
            </a:pPr>
            <a:r>
              <a:rPr lang="en-US" altLang="zh-CN" sz="1400" b="1" kern="0" dirty="0">
                <a:solidFill>
                  <a:srgbClr val="FE5817"/>
                </a:solidFill>
                <a:ea typeface="楷体" panose="02010609060101010101" pitchFamily="49" charset="-122"/>
                <a:cs typeface="+mn-ea"/>
              </a:rPr>
              <a:t>xx</a:t>
            </a:r>
            <a:endParaRPr lang="en-US" altLang="zh-CN" sz="1400" b="1" kern="0" dirty="0">
              <a:solidFill>
                <a:srgbClr val="FE5817"/>
              </a:solidFill>
              <a:ea typeface="楷体" panose="02010609060101010101" pitchFamily="49" charset="-122"/>
              <a:cs typeface="+mn-ea"/>
            </a:endParaRPr>
          </a:p>
          <a:p>
            <a:pPr lvl="0" indent="215900">
              <a:buFont typeface="Arial" panose="020B0604020202020204" pitchFamily="34" charset="0"/>
              <a:buChar char="•"/>
              <a:defRPr/>
            </a:pPr>
            <a:r>
              <a:rPr lang="en-US" altLang="zh-CN" sz="1400" kern="0" dirty="0">
                <a:ea typeface="楷体" panose="02010609060101010101" pitchFamily="49" charset="-122"/>
                <a:cs typeface="+mn-ea"/>
              </a:rPr>
              <a:t>xx</a:t>
            </a:r>
            <a:endParaRPr lang="en-US" altLang="zh-CN" sz="1400" kern="0" dirty="0">
              <a:ea typeface="楷体" panose="02010609060101010101" pitchFamily="49" charset="-122"/>
              <a:cs typeface="+mn-ea"/>
            </a:endParaRPr>
          </a:p>
        </p:txBody>
      </p:sp>
      <p:sp>
        <p:nvSpPr>
          <p:cNvPr id="95" name="Rectangle 20"/>
          <p:cNvSpPr>
            <a:spLocks noChangeArrowheads="1"/>
          </p:cNvSpPr>
          <p:nvPr/>
        </p:nvSpPr>
        <p:spPr bwMode="auto">
          <a:xfrm>
            <a:off x="6600735" y="2655116"/>
            <a:ext cx="950893" cy="1565668"/>
          </a:xfrm>
          <a:prstGeom prst="rect">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p:spPr>
        <p:txBody>
          <a:bodyPr rtlCol="0" anchor="t"/>
          <a:lstStyle/>
          <a:p>
            <a:pPr algn="ctr">
              <a:defRPr/>
            </a:pPr>
            <a:r>
              <a:rPr lang="en-US" altLang="zh-CN" sz="1400" b="1" kern="0" dirty="0">
                <a:solidFill>
                  <a:srgbClr val="FE5817"/>
                </a:solidFill>
                <a:ea typeface="楷体" panose="02010609060101010101" pitchFamily="49" charset="-122"/>
                <a:cs typeface="+mn-ea"/>
              </a:rPr>
              <a:t>xx</a:t>
            </a:r>
            <a:endParaRPr lang="en-US" altLang="zh-CN" sz="1400" b="1" kern="0" dirty="0">
              <a:solidFill>
                <a:srgbClr val="FE5817"/>
              </a:solidFill>
              <a:ea typeface="楷体" panose="02010609060101010101" pitchFamily="49" charset="-122"/>
              <a:cs typeface="+mn-ea"/>
            </a:endParaRPr>
          </a:p>
          <a:p>
            <a:pPr lvl="0" indent="215900">
              <a:buFont typeface="Arial" panose="020B0604020202020204" pitchFamily="34" charset="0"/>
              <a:buChar char="•"/>
              <a:defRPr/>
            </a:pPr>
            <a:r>
              <a:rPr lang="en-US" altLang="zh-CN" sz="1400" kern="0" dirty="0">
                <a:ea typeface="楷体" panose="02010609060101010101" pitchFamily="49" charset="-122"/>
                <a:cs typeface="+mn-ea"/>
              </a:rPr>
              <a:t>xx</a:t>
            </a:r>
            <a:endParaRPr lang="en-US" altLang="zh-CN" sz="1400" kern="0" dirty="0">
              <a:ea typeface="楷体" panose="02010609060101010101" pitchFamily="49" charset="-122"/>
              <a:cs typeface="+mn-ea"/>
            </a:endParaRPr>
          </a:p>
        </p:txBody>
      </p:sp>
      <p:sp>
        <p:nvSpPr>
          <p:cNvPr id="96" name="Rectangle 20"/>
          <p:cNvSpPr>
            <a:spLocks noChangeArrowheads="1"/>
          </p:cNvSpPr>
          <p:nvPr/>
        </p:nvSpPr>
        <p:spPr bwMode="auto">
          <a:xfrm>
            <a:off x="7607175" y="2663176"/>
            <a:ext cx="928374" cy="1565668"/>
          </a:xfrm>
          <a:prstGeom prst="rect">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p:spPr>
        <p:txBody>
          <a:bodyPr rtlCol="0" anchor="t"/>
          <a:lstStyle/>
          <a:p>
            <a:pPr algn="ctr">
              <a:defRPr/>
            </a:pPr>
            <a:r>
              <a:rPr lang="en-US" altLang="zh-CN" sz="1400" b="1" kern="0" dirty="0">
                <a:solidFill>
                  <a:srgbClr val="FE5817"/>
                </a:solidFill>
                <a:ea typeface="楷体" panose="02010609060101010101" pitchFamily="49" charset="-122"/>
                <a:cs typeface="+mn-ea"/>
              </a:rPr>
              <a:t>xx</a:t>
            </a:r>
            <a:endParaRPr lang="en-US" altLang="zh-CN" sz="1400" b="1" kern="0" dirty="0">
              <a:solidFill>
                <a:srgbClr val="FE5817"/>
              </a:solidFill>
              <a:ea typeface="楷体" panose="02010609060101010101" pitchFamily="49" charset="-122"/>
              <a:cs typeface="+mn-ea"/>
            </a:endParaRPr>
          </a:p>
          <a:p>
            <a:pPr lvl="0" indent="215900">
              <a:buFont typeface="Arial" panose="020B0604020202020204" pitchFamily="34" charset="0"/>
              <a:buChar char="•"/>
              <a:defRPr/>
            </a:pPr>
            <a:r>
              <a:rPr lang="en-US" altLang="zh-CN" sz="1400" kern="0" dirty="0">
                <a:ea typeface="楷体" panose="02010609060101010101" pitchFamily="49" charset="-122"/>
                <a:cs typeface="+mn-ea"/>
              </a:rPr>
              <a:t>xx</a:t>
            </a:r>
            <a:endParaRPr lang="en-US" altLang="zh-CN" sz="1400" kern="0" dirty="0">
              <a:ea typeface="楷体" panose="02010609060101010101" pitchFamily="49" charset="-122"/>
              <a:cs typeface="+mn-ea"/>
            </a:endParaRPr>
          </a:p>
        </p:txBody>
      </p:sp>
      <p:sp>
        <p:nvSpPr>
          <p:cNvPr id="97" name="Rectangle 20"/>
          <p:cNvSpPr>
            <a:spLocks noChangeArrowheads="1"/>
          </p:cNvSpPr>
          <p:nvPr/>
        </p:nvSpPr>
        <p:spPr bwMode="auto">
          <a:xfrm>
            <a:off x="8591096" y="2667205"/>
            <a:ext cx="951839" cy="1565668"/>
          </a:xfrm>
          <a:prstGeom prst="rect">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p:spPr>
        <p:txBody>
          <a:bodyPr rtlCol="0" anchor="t"/>
          <a:lstStyle/>
          <a:p>
            <a:pPr algn="ctr">
              <a:defRPr/>
            </a:pPr>
            <a:r>
              <a:rPr lang="en-US" altLang="zh-CN" sz="1400" b="1" kern="0" dirty="0">
                <a:solidFill>
                  <a:srgbClr val="FE5817"/>
                </a:solidFill>
                <a:ea typeface="楷体" panose="02010609060101010101" pitchFamily="49" charset="-122"/>
                <a:cs typeface="+mn-ea"/>
              </a:rPr>
              <a:t>xx</a:t>
            </a:r>
            <a:endParaRPr lang="en-US" altLang="zh-CN" sz="1400" b="1" kern="0" dirty="0">
              <a:solidFill>
                <a:srgbClr val="FE5817"/>
              </a:solidFill>
              <a:ea typeface="楷体" panose="02010609060101010101" pitchFamily="49" charset="-122"/>
              <a:cs typeface="+mn-ea"/>
            </a:endParaRPr>
          </a:p>
          <a:p>
            <a:pPr lvl="0" indent="215900">
              <a:buFont typeface="Arial" panose="020B0604020202020204" pitchFamily="34" charset="0"/>
              <a:buChar char="•"/>
              <a:defRPr/>
            </a:pPr>
            <a:r>
              <a:rPr lang="en-US" altLang="zh-CN" sz="1400" kern="0" dirty="0">
                <a:ea typeface="楷体" panose="02010609060101010101" pitchFamily="49" charset="-122"/>
                <a:cs typeface="+mn-ea"/>
              </a:rPr>
              <a:t>xx</a:t>
            </a:r>
            <a:endParaRPr lang="en-US" altLang="zh-CN" sz="1400" kern="0" dirty="0">
              <a:ea typeface="楷体" panose="02010609060101010101" pitchFamily="49" charset="-122"/>
              <a:cs typeface="+mn-ea"/>
            </a:endParaRPr>
          </a:p>
        </p:txBody>
      </p:sp>
      <p:sp>
        <p:nvSpPr>
          <p:cNvPr id="98" name="Rectangle 20"/>
          <p:cNvSpPr>
            <a:spLocks noChangeArrowheads="1"/>
          </p:cNvSpPr>
          <p:nvPr/>
        </p:nvSpPr>
        <p:spPr bwMode="auto">
          <a:xfrm>
            <a:off x="9598482" y="2671236"/>
            <a:ext cx="1006017" cy="1565668"/>
          </a:xfrm>
          <a:prstGeom prst="rect">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p:spPr>
        <p:txBody>
          <a:bodyPr rtlCol="0" anchor="t"/>
          <a:lstStyle/>
          <a:p>
            <a:pPr algn="ctr">
              <a:defRPr/>
            </a:pPr>
            <a:r>
              <a:rPr lang="en-US" altLang="zh-CN" sz="1400" b="1" kern="0" dirty="0">
                <a:solidFill>
                  <a:srgbClr val="FE5817"/>
                </a:solidFill>
                <a:ea typeface="楷体" panose="02010609060101010101" pitchFamily="49" charset="-122"/>
                <a:cs typeface="+mn-ea"/>
              </a:rPr>
              <a:t>xx</a:t>
            </a:r>
            <a:endParaRPr lang="en-US" altLang="zh-CN" sz="1400" b="1" kern="0" dirty="0">
              <a:solidFill>
                <a:srgbClr val="FE5817"/>
              </a:solidFill>
              <a:ea typeface="楷体" panose="02010609060101010101" pitchFamily="49" charset="-122"/>
              <a:cs typeface="+mn-ea"/>
            </a:endParaRPr>
          </a:p>
          <a:p>
            <a:pPr lvl="0" indent="215900">
              <a:buFont typeface="Arial" panose="020B0604020202020204" pitchFamily="34" charset="0"/>
              <a:buChar char="•"/>
              <a:defRPr/>
            </a:pPr>
            <a:r>
              <a:rPr lang="en-US" altLang="zh-CN" sz="1400" kern="0" dirty="0">
                <a:ea typeface="楷体" panose="02010609060101010101" pitchFamily="49" charset="-122"/>
                <a:cs typeface="+mn-ea"/>
              </a:rPr>
              <a:t>xx</a:t>
            </a:r>
            <a:endParaRPr lang="en-US" altLang="zh-CN" sz="1400" kern="0" dirty="0">
              <a:ea typeface="楷体" panose="02010609060101010101" pitchFamily="49" charset="-122"/>
              <a:cs typeface="+mn-ea"/>
            </a:endParaRPr>
          </a:p>
        </p:txBody>
      </p:sp>
      <p:sp>
        <p:nvSpPr>
          <p:cNvPr id="99" name="Text Box 78"/>
          <p:cNvSpPr txBox="1">
            <a:spLocks noChangeArrowheads="1"/>
          </p:cNvSpPr>
          <p:nvPr/>
        </p:nvSpPr>
        <p:spPr bwMode="auto">
          <a:xfrm>
            <a:off x="535618" y="4709346"/>
            <a:ext cx="450268" cy="1402486"/>
          </a:xfrm>
          <a:prstGeom prst="rect">
            <a:avLst/>
          </a:prstGeom>
          <a:solidFill>
            <a:schemeClr val="bg1">
              <a:lumMod val="85000"/>
            </a:schemeClr>
          </a:solidFill>
          <a:ln w="12700" cap="flat" cmpd="sng" algn="ctr">
            <a:noFill/>
            <a:prstDash val="solid"/>
            <a:miter lim="800000"/>
          </a:ln>
          <a:effectLst/>
        </p:spPr>
        <p:txBody>
          <a:bodyPr vert="eaVert" wrap="square" lIns="18000" tIns="46800" rIns="18000" bIns="46800" anchor="ctr">
            <a:noAutofit/>
          </a:bodyPr>
          <a:lstStyle>
            <a:defPPr>
              <a:defRPr lang="en-US"/>
            </a:defPPr>
            <a:lvl1pPr marR="0" lvl="0" indent="0" algn="ctr" fontAlgn="auto">
              <a:lnSpc>
                <a:spcPct val="100000"/>
              </a:lnSpc>
              <a:spcBef>
                <a:spcPts val="0"/>
              </a:spcBef>
              <a:spcAft>
                <a:spcPts val="0"/>
              </a:spcAft>
              <a:buClrTx/>
              <a:buSzTx/>
              <a:buFontTx/>
              <a:buNone/>
              <a:defRPr sz="1600" b="1" kern="0">
                <a:solidFill>
                  <a:srgbClr val="FE5817"/>
                </a:solidFill>
                <a:latin typeface="华文楷体" panose="02010600040101010101" charset="-122"/>
                <a:ea typeface="楷体" panose="02010609060101010101" pitchFamily="49" charset="-122"/>
              </a:defRPr>
            </a:lvl1pPr>
          </a:lstStyle>
          <a:p>
            <a:r>
              <a:rPr lang="en-US" altLang="zh-CN" dirty="0" smtClean="0"/>
              <a:t>xx</a:t>
            </a:r>
            <a:r>
              <a:rPr lang="zh-CN" altLang="en-US" dirty="0" smtClean="0"/>
              <a:t>项目</a:t>
            </a:r>
            <a:endParaRPr lang="en-US" altLang="zh-CN" dirty="0"/>
          </a:p>
        </p:txBody>
      </p:sp>
      <p:sp>
        <p:nvSpPr>
          <p:cNvPr id="100" name="Rectangle 20"/>
          <p:cNvSpPr>
            <a:spLocks noChangeArrowheads="1"/>
          </p:cNvSpPr>
          <p:nvPr/>
        </p:nvSpPr>
        <p:spPr bwMode="auto">
          <a:xfrm>
            <a:off x="1619665" y="4682046"/>
            <a:ext cx="1279230" cy="1457086"/>
          </a:xfrm>
          <a:prstGeom prst="rect">
            <a:avLst/>
          </a:prstGeom>
          <a:solidFill>
            <a:schemeClr val="bg1">
              <a:lumMod val="85000"/>
            </a:schemeClr>
          </a:solidFill>
          <a:ln w="12700" cap="flat" cmpd="sng" algn="ctr">
            <a:noFill/>
            <a:prstDash val="solid"/>
            <a:miter lim="800000"/>
          </a:ln>
          <a:effectLst/>
        </p:spPr>
        <p:txBody>
          <a:bodyPr rtlCol="0" anchor="t"/>
          <a:lstStyle/>
          <a:p>
            <a:pPr indent="215900">
              <a:buFont typeface="Arial" panose="020B0604020202020204" pitchFamily="34" charset="0"/>
              <a:buChar char="•"/>
            </a:pPr>
            <a:r>
              <a:rPr lang="en-US" altLang="zh-CN" sz="1400" kern="0" dirty="0" smtClean="0">
                <a:ea typeface="楷体" panose="02010609060101010101" pitchFamily="49" charset="-122"/>
                <a:cs typeface="+mn-ea"/>
              </a:rPr>
              <a:t>xx</a:t>
            </a:r>
            <a:endParaRPr lang="zh-CN" altLang="en-GB" sz="1400" kern="0" dirty="0">
              <a:ea typeface="楷体" panose="02010609060101010101" pitchFamily="49" charset="-122"/>
              <a:cs typeface="+mn-ea"/>
            </a:endParaRPr>
          </a:p>
        </p:txBody>
      </p:sp>
      <p:sp>
        <p:nvSpPr>
          <p:cNvPr id="101" name="Rectangle 20"/>
          <p:cNvSpPr>
            <a:spLocks noChangeArrowheads="1"/>
          </p:cNvSpPr>
          <p:nvPr/>
        </p:nvSpPr>
        <p:spPr bwMode="auto">
          <a:xfrm>
            <a:off x="4196625" y="2652490"/>
            <a:ext cx="963385" cy="1565668"/>
          </a:xfrm>
          <a:prstGeom prst="rect">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p:spPr>
        <p:txBody>
          <a:bodyPr rtlCol="0" anchor="t"/>
          <a:lstStyle/>
          <a:p>
            <a:pPr algn="ctr">
              <a:defRPr/>
            </a:pPr>
            <a:r>
              <a:rPr lang="en-US" altLang="zh-CN" sz="1400" b="1" kern="0" dirty="0">
                <a:solidFill>
                  <a:srgbClr val="FE5817"/>
                </a:solidFill>
                <a:ea typeface="楷体" panose="02010609060101010101" pitchFamily="49" charset="-122"/>
                <a:cs typeface="+mn-ea"/>
              </a:rPr>
              <a:t>xx</a:t>
            </a:r>
            <a:endParaRPr lang="en-US" altLang="zh-CN" sz="1400" b="1" kern="0" dirty="0">
              <a:solidFill>
                <a:srgbClr val="FE5817"/>
              </a:solidFill>
              <a:ea typeface="楷体" panose="02010609060101010101" pitchFamily="49" charset="-122"/>
              <a:cs typeface="+mn-ea"/>
            </a:endParaRPr>
          </a:p>
          <a:p>
            <a:pPr lvl="0" indent="215900">
              <a:buFont typeface="Arial" panose="020B0604020202020204" pitchFamily="34" charset="0"/>
              <a:buChar char="•"/>
              <a:defRPr/>
            </a:pPr>
            <a:r>
              <a:rPr lang="en-US" altLang="zh-CN" sz="1400" kern="0" dirty="0">
                <a:ea typeface="楷体" panose="02010609060101010101" pitchFamily="49" charset="-122"/>
                <a:cs typeface="+mn-ea"/>
              </a:rPr>
              <a:t>xx</a:t>
            </a:r>
            <a:endParaRPr lang="en-US" altLang="zh-CN" sz="1400" kern="0" dirty="0">
              <a:ea typeface="楷体" panose="02010609060101010101" pitchFamily="49" charset="-122"/>
              <a:cs typeface="+mn-ea"/>
            </a:endParaRPr>
          </a:p>
        </p:txBody>
      </p:sp>
      <p:sp>
        <p:nvSpPr>
          <p:cNvPr id="102" name="Rectangle 20"/>
          <p:cNvSpPr>
            <a:spLocks noChangeArrowheads="1"/>
          </p:cNvSpPr>
          <p:nvPr/>
        </p:nvSpPr>
        <p:spPr bwMode="auto">
          <a:xfrm>
            <a:off x="5215557" y="4682046"/>
            <a:ext cx="1329631" cy="1457086"/>
          </a:xfrm>
          <a:prstGeom prst="rect">
            <a:avLst/>
          </a:prstGeom>
          <a:solidFill>
            <a:schemeClr val="bg1">
              <a:lumMod val="85000"/>
            </a:schemeClr>
          </a:solidFill>
          <a:ln w="12700" cap="flat" cmpd="sng" algn="ctr">
            <a:noFill/>
            <a:prstDash val="solid"/>
            <a:miter lim="800000"/>
          </a:ln>
          <a:effectLst/>
        </p:spPr>
        <p:txBody>
          <a:bodyPr rtlCol="0" anchor="t"/>
          <a:lstStyle/>
          <a:p>
            <a:pPr indent="215900">
              <a:buFont typeface="Arial" panose="020B0604020202020204" pitchFamily="34" charset="0"/>
              <a:buChar char="•"/>
            </a:pPr>
            <a:r>
              <a:rPr lang="en-US" altLang="zh-CN" sz="1400" kern="0" dirty="0" smtClean="0">
                <a:ea typeface="楷体" panose="02010609060101010101" pitchFamily="49" charset="-122"/>
                <a:cs typeface="+mn-ea"/>
              </a:rPr>
              <a:t>xx</a:t>
            </a:r>
            <a:endParaRPr lang="zh-CN" altLang="en-GB" sz="1400" kern="0" dirty="0">
              <a:ea typeface="楷体" panose="02010609060101010101" pitchFamily="49" charset="-122"/>
              <a:cs typeface="+mn-ea"/>
            </a:endParaRPr>
          </a:p>
        </p:txBody>
      </p:sp>
      <p:sp>
        <p:nvSpPr>
          <p:cNvPr id="103" name="Rectangle 20"/>
          <p:cNvSpPr>
            <a:spLocks noChangeArrowheads="1"/>
          </p:cNvSpPr>
          <p:nvPr/>
        </p:nvSpPr>
        <p:spPr bwMode="auto">
          <a:xfrm>
            <a:off x="6600735" y="4682046"/>
            <a:ext cx="950893" cy="1457086"/>
          </a:xfrm>
          <a:prstGeom prst="rect">
            <a:avLst/>
          </a:prstGeom>
          <a:solidFill>
            <a:schemeClr val="bg1">
              <a:lumMod val="85000"/>
            </a:schemeClr>
          </a:solidFill>
          <a:ln w="12700" cap="flat" cmpd="sng" algn="ctr">
            <a:noFill/>
            <a:prstDash val="solid"/>
            <a:miter lim="800000"/>
          </a:ln>
          <a:effectLst/>
        </p:spPr>
        <p:txBody>
          <a:bodyPr rtlCol="0" anchor="t"/>
          <a:lstStyle/>
          <a:p>
            <a:pPr indent="215900">
              <a:buFont typeface="Arial" panose="020B0604020202020204" pitchFamily="34" charset="0"/>
              <a:buChar char="•"/>
            </a:pPr>
            <a:r>
              <a:rPr lang="en-US" altLang="zh-CN" sz="1400" kern="0" dirty="0" smtClean="0">
                <a:ea typeface="楷体" panose="02010609060101010101" pitchFamily="49" charset="-122"/>
                <a:cs typeface="+mn-ea"/>
              </a:rPr>
              <a:t>xx</a:t>
            </a:r>
            <a:endParaRPr lang="zh-CN" altLang="en-GB" sz="1400" kern="0" dirty="0">
              <a:ea typeface="楷体" panose="02010609060101010101" pitchFamily="49" charset="-122"/>
              <a:cs typeface="+mn-ea"/>
            </a:endParaRPr>
          </a:p>
        </p:txBody>
      </p:sp>
      <p:sp>
        <p:nvSpPr>
          <p:cNvPr id="104" name="Rectangle 20"/>
          <p:cNvSpPr>
            <a:spLocks noChangeArrowheads="1"/>
          </p:cNvSpPr>
          <p:nvPr/>
        </p:nvSpPr>
        <p:spPr bwMode="auto">
          <a:xfrm>
            <a:off x="7607176" y="4682046"/>
            <a:ext cx="1935760" cy="1457086"/>
          </a:xfrm>
          <a:prstGeom prst="rect">
            <a:avLst/>
          </a:prstGeom>
          <a:solidFill>
            <a:schemeClr val="bg1">
              <a:lumMod val="85000"/>
            </a:schemeClr>
          </a:solidFill>
          <a:ln w="12700" cap="flat" cmpd="sng" algn="ctr">
            <a:noFill/>
            <a:prstDash val="solid"/>
            <a:miter lim="800000"/>
          </a:ln>
          <a:effectLst/>
        </p:spPr>
        <p:txBody>
          <a:bodyPr rtlCol="0" anchor="t"/>
          <a:lstStyle/>
          <a:p>
            <a:pPr marL="285750" indent="-285750">
              <a:buFont typeface="Arial" panose="020B0604020202020204" pitchFamily="34" charset="0"/>
              <a:buChar char="•"/>
            </a:pPr>
            <a:r>
              <a:rPr lang="en-US" altLang="zh-CN" sz="1400" kern="0" dirty="0" smtClean="0">
                <a:ea typeface="楷体" panose="02010609060101010101" pitchFamily="49" charset="-122"/>
                <a:cs typeface="+mn-ea"/>
              </a:rPr>
              <a:t>xx</a:t>
            </a:r>
            <a:endParaRPr lang="zh-CN" altLang="en-GB" sz="1400" kern="0" dirty="0">
              <a:ea typeface="楷体" panose="02010609060101010101" pitchFamily="49" charset="-122"/>
              <a:cs typeface="+mn-ea"/>
            </a:endParaRPr>
          </a:p>
        </p:txBody>
      </p:sp>
      <p:sp>
        <p:nvSpPr>
          <p:cNvPr id="105" name="Rectangle 20"/>
          <p:cNvSpPr>
            <a:spLocks noChangeArrowheads="1"/>
          </p:cNvSpPr>
          <p:nvPr/>
        </p:nvSpPr>
        <p:spPr bwMode="auto">
          <a:xfrm>
            <a:off x="5215556" y="3456615"/>
            <a:ext cx="1329631" cy="769603"/>
          </a:xfrm>
          <a:prstGeom prst="rect">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p:spPr>
        <p:txBody>
          <a:bodyPr rtlCol="0" anchor="t"/>
          <a:lstStyle/>
          <a:p>
            <a:pPr algn="ctr">
              <a:defRPr/>
            </a:pPr>
            <a:r>
              <a:rPr lang="en-US" altLang="zh-CN" sz="1400" b="1" kern="0" dirty="0">
                <a:solidFill>
                  <a:srgbClr val="FE5817"/>
                </a:solidFill>
                <a:ea typeface="楷体" panose="02010609060101010101" pitchFamily="49" charset="-122"/>
                <a:cs typeface="+mn-ea"/>
              </a:rPr>
              <a:t>xx</a:t>
            </a:r>
            <a:endParaRPr lang="en-US" altLang="zh-CN" sz="1400" b="1" kern="0" dirty="0">
              <a:solidFill>
                <a:srgbClr val="FE5817"/>
              </a:solidFill>
              <a:ea typeface="楷体" panose="02010609060101010101" pitchFamily="49" charset="-122"/>
              <a:cs typeface="+mn-ea"/>
            </a:endParaRPr>
          </a:p>
          <a:p>
            <a:pPr lvl="0" indent="215900">
              <a:buFont typeface="Arial" panose="020B0604020202020204" pitchFamily="34" charset="0"/>
              <a:buChar char="•"/>
              <a:defRPr/>
            </a:pPr>
            <a:r>
              <a:rPr lang="en-US" altLang="zh-CN" sz="1400" kern="0" dirty="0">
                <a:ea typeface="楷体" panose="02010609060101010101" pitchFamily="49" charset="-122"/>
                <a:cs typeface="+mn-ea"/>
              </a:rPr>
              <a:t>xx</a:t>
            </a:r>
            <a:endParaRPr lang="en-US" altLang="zh-CN" sz="1400" kern="0" dirty="0">
              <a:ea typeface="楷体" panose="02010609060101010101" pitchFamily="49" charset="-122"/>
              <a:cs typeface="+mn-ea"/>
            </a:endParaRPr>
          </a:p>
        </p:txBody>
      </p:sp>
      <p:sp>
        <p:nvSpPr>
          <p:cNvPr id="106" name="Rectangle 20"/>
          <p:cNvSpPr>
            <a:spLocks noChangeArrowheads="1"/>
          </p:cNvSpPr>
          <p:nvPr/>
        </p:nvSpPr>
        <p:spPr bwMode="auto">
          <a:xfrm>
            <a:off x="1619665" y="3456615"/>
            <a:ext cx="1279230" cy="769603"/>
          </a:xfrm>
          <a:prstGeom prst="rect">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p:spPr>
        <p:txBody>
          <a:bodyPr rtlCol="0" anchor="t"/>
          <a:lstStyle/>
          <a:p>
            <a:pPr algn="ctr">
              <a:defRPr/>
            </a:pPr>
            <a:r>
              <a:rPr lang="en-US" altLang="zh-CN" sz="1400" b="1" kern="0" dirty="0" smtClean="0">
                <a:solidFill>
                  <a:srgbClr val="FE5817"/>
                </a:solidFill>
                <a:ea typeface="楷体" panose="02010609060101010101" pitchFamily="49" charset="-122"/>
                <a:cs typeface="+mn-ea"/>
              </a:rPr>
              <a:t>xx</a:t>
            </a:r>
            <a:endParaRPr lang="en-US" altLang="zh-CN" sz="1400" b="1" kern="0" dirty="0">
              <a:solidFill>
                <a:srgbClr val="FE5817"/>
              </a:solidFill>
              <a:ea typeface="楷体" panose="02010609060101010101" pitchFamily="49" charset="-122"/>
              <a:cs typeface="+mn-ea"/>
            </a:endParaRPr>
          </a:p>
          <a:p>
            <a:pPr lvl="0" indent="215900">
              <a:buFont typeface="Arial" panose="020B0604020202020204" pitchFamily="34" charset="0"/>
              <a:buChar char="•"/>
              <a:defRPr/>
            </a:pPr>
            <a:r>
              <a:rPr lang="en-US" altLang="zh-CN" sz="1400" kern="0" dirty="0" smtClean="0">
                <a:ea typeface="楷体" panose="02010609060101010101" pitchFamily="49" charset="-122"/>
                <a:cs typeface="+mn-ea"/>
              </a:rPr>
              <a:t>xx</a:t>
            </a:r>
            <a:endParaRPr lang="en-US" altLang="zh-CN" sz="1400" kern="0" dirty="0" smtClean="0">
              <a:ea typeface="楷体" panose="02010609060101010101" pitchFamily="49" charset="-122"/>
              <a:cs typeface="+mn-ea"/>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1"/>
          </p:nvPr>
        </p:nvSpPr>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6" name="Rectangle 21"/>
          <p:cNvSpPr>
            <a:spLocks noChangeArrowheads="1"/>
          </p:cNvSpPr>
          <p:nvPr/>
        </p:nvSpPr>
        <p:spPr bwMode="auto">
          <a:xfrm>
            <a:off x="9507756" y="302014"/>
            <a:ext cx="1147949" cy="192899"/>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优先级高</a:t>
            </a:r>
            <a:endParaRPr kumimoji="0" lang="zh-CN" altLang="en-GB" sz="1100" b="0" i="0" u="none" strike="noStrike" kern="120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7" name="Rectangle 21"/>
          <p:cNvSpPr>
            <a:spLocks noChangeArrowheads="1"/>
          </p:cNvSpPr>
          <p:nvPr/>
        </p:nvSpPr>
        <p:spPr bwMode="auto">
          <a:xfrm>
            <a:off x="9507756" y="527563"/>
            <a:ext cx="1147949" cy="196705"/>
          </a:xfrm>
          <a:prstGeom prst="rect">
            <a:avLst/>
          </a:pr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a:ln>
                  <a:noFill/>
                </a:ln>
                <a:solidFill>
                  <a:prstClr val="white"/>
                </a:solidFill>
                <a:effectLst/>
                <a:uLnTx/>
                <a:uFillTx/>
                <a:latin typeface="Arial" panose="020B0604020202020204"/>
                <a:ea typeface="楷体" panose="02010609060101010101" pitchFamily="49" charset="-122"/>
                <a:cs typeface="+mn-ea"/>
              </a:rPr>
              <a:t>优先级</a:t>
            </a:r>
            <a:r>
              <a:rPr kumimoji="0" lang="zh-CN" altLang="en-US" sz="11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中</a:t>
            </a:r>
            <a:endParaRPr kumimoji="0" lang="zh-CN" altLang="en-GB" sz="11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8" name="矩形 7"/>
          <p:cNvSpPr/>
          <p:nvPr/>
        </p:nvSpPr>
        <p:spPr>
          <a:xfrm>
            <a:off x="10760782" y="317546"/>
            <a:ext cx="1147949" cy="179851"/>
          </a:xfrm>
          <a:prstGeom prst="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100" dirty="0">
                <a:solidFill>
                  <a:schemeClr val="tx1"/>
                </a:solidFill>
                <a:latin typeface="Arial" panose="020B0604020202020204"/>
                <a:ea typeface="楷体" panose="02010609060101010101" pitchFamily="49" charset="-122"/>
              </a:rPr>
              <a:t>本期重点</a:t>
            </a:r>
            <a:endParaRPr kumimoji="0" lang="zh-CN" altLang="en-US" sz="1100" b="0" i="0" u="none" strike="noStrike" kern="1200" cap="none" spc="0" normalizeH="0" baseline="0" noProof="0" dirty="0">
              <a:ln>
                <a:noFill/>
              </a:ln>
              <a:solidFill>
                <a:schemeClr val="tx1"/>
              </a:solidFill>
              <a:effectLst/>
              <a:uLnTx/>
              <a:uFillTx/>
              <a:latin typeface="Arial" panose="020B0604020202020204"/>
              <a:ea typeface="楷体" panose="02010609060101010101" pitchFamily="49" charset="-122"/>
              <a:cs typeface="+mn-cs"/>
            </a:endParaRPr>
          </a:p>
        </p:txBody>
      </p:sp>
      <p:sp>
        <p:nvSpPr>
          <p:cNvPr id="9" name="Rectangle 21"/>
          <p:cNvSpPr>
            <a:spLocks noChangeArrowheads="1"/>
          </p:cNvSpPr>
          <p:nvPr/>
        </p:nvSpPr>
        <p:spPr bwMode="auto">
          <a:xfrm>
            <a:off x="9507756" y="769489"/>
            <a:ext cx="1147949" cy="18170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优先级低</a:t>
            </a:r>
            <a:endParaRPr kumimoji="0" lang="zh-CN" altLang="en-GB" sz="1100" b="0" i="0" u="none" strike="noStrike" kern="120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2" name="Text Box 78"/>
          <p:cNvSpPr txBox="1">
            <a:spLocks noChangeArrowheads="1"/>
          </p:cNvSpPr>
          <p:nvPr/>
        </p:nvSpPr>
        <p:spPr bwMode="auto">
          <a:xfrm>
            <a:off x="191058" y="1164255"/>
            <a:ext cx="634042" cy="309958"/>
          </a:xfrm>
          <a:prstGeom prst="rect">
            <a:avLst/>
          </a:prstGeom>
          <a:solidFill>
            <a:sysClr val="window" lastClr="FFFFFF"/>
          </a:solidFill>
          <a:ln w="12700" cap="flat" cmpd="sng" algn="ctr">
            <a:noFill/>
            <a:prstDash val="solid"/>
            <a:miter lim="800000"/>
          </a:ln>
          <a:effectLst/>
        </p:spPr>
        <p:txBody>
          <a:bodyPr wrap="square" lIns="18000" tIns="46800" rIns="18000" bIns="4680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black"/>
                </a:solidFill>
                <a:effectLst/>
                <a:uLnTx/>
                <a:uFillTx/>
                <a:latin typeface="华文楷体" panose="02010600040101010101" charset="-122"/>
                <a:ea typeface="楷体" panose="02010609060101010101" pitchFamily="49" charset="-122"/>
                <a:cs typeface="+mn-cs"/>
              </a:rPr>
              <a:t>七阶段</a:t>
            </a:r>
            <a:endParaRPr kumimoji="0" lang="en-US" altLang="zh-CN" sz="1400" b="1" i="0" u="none" strike="noStrike" kern="0" cap="none" spc="0" normalizeH="0" baseline="0" noProof="0" dirty="0">
              <a:ln>
                <a:noFill/>
              </a:ln>
              <a:solidFill>
                <a:prstClr val="black"/>
              </a:solidFill>
              <a:effectLst/>
              <a:uLnTx/>
              <a:uFillTx/>
              <a:latin typeface="华文楷体" panose="02010600040101010101" charset="-122"/>
              <a:ea typeface="楷体" panose="02010609060101010101" pitchFamily="49" charset="-122"/>
              <a:cs typeface="+mn-cs"/>
            </a:endParaRPr>
          </a:p>
        </p:txBody>
      </p:sp>
      <p:sp>
        <p:nvSpPr>
          <p:cNvPr id="13" name="Text Box 78"/>
          <p:cNvSpPr txBox="1">
            <a:spLocks noChangeArrowheads="1"/>
          </p:cNvSpPr>
          <p:nvPr/>
        </p:nvSpPr>
        <p:spPr bwMode="auto">
          <a:xfrm>
            <a:off x="202377" y="1721991"/>
            <a:ext cx="622723" cy="238064"/>
          </a:xfrm>
          <a:prstGeom prst="rect">
            <a:avLst/>
          </a:prstGeom>
          <a:solidFill>
            <a:sysClr val="window" lastClr="FFFFFF"/>
          </a:solidFill>
          <a:ln w="12700" cap="flat" cmpd="sng" algn="ctr">
            <a:noFill/>
            <a:prstDash val="solid"/>
            <a:miter lim="800000"/>
          </a:ln>
          <a:effectLst/>
        </p:spPr>
        <p:txBody>
          <a:bodyPr wrap="square" lIns="18000" tIns="46800" rIns="18000" bIns="4680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black"/>
                </a:solidFill>
                <a:effectLst/>
                <a:uLnTx/>
                <a:uFillTx/>
                <a:latin typeface="华文楷体" panose="02010600040101010101" charset="-122"/>
                <a:ea typeface="楷体" panose="02010609060101010101" pitchFamily="49" charset="-122"/>
                <a:cs typeface="+mn-cs"/>
              </a:rPr>
              <a:t>一级</a:t>
            </a:r>
            <a:endParaRPr kumimoji="0" lang="en-US" altLang="zh-CN" sz="1400" b="1" i="0" u="none" strike="noStrike" kern="0" cap="none" spc="0" normalizeH="0" baseline="0" noProof="0" dirty="0" smtClean="0">
              <a:ln>
                <a:noFill/>
              </a:ln>
              <a:solidFill>
                <a:prstClr val="black"/>
              </a:solidFill>
              <a:effectLst/>
              <a:uLnTx/>
              <a:uFillTx/>
              <a:latin typeface="华文楷体" panose="02010600040101010101" charset="-122"/>
              <a:ea typeface="楷体" panose="02010609060101010101" pitchFamily="49"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black"/>
                </a:solidFill>
                <a:effectLst/>
                <a:uLnTx/>
                <a:uFillTx/>
                <a:latin typeface="华文楷体" panose="02010600040101010101" charset="-122"/>
                <a:ea typeface="楷体" panose="02010609060101010101" pitchFamily="49" charset="-122"/>
                <a:cs typeface="+mn-cs"/>
              </a:rPr>
              <a:t>流程</a:t>
            </a:r>
            <a:endParaRPr kumimoji="0" lang="en-US" altLang="zh-CN" sz="1400" b="1" i="0" u="none" strike="noStrike" kern="0" cap="none" spc="0" normalizeH="0" baseline="0" noProof="0" dirty="0">
              <a:ln>
                <a:noFill/>
              </a:ln>
              <a:solidFill>
                <a:prstClr val="black"/>
              </a:solidFill>
              <a:effectLst/>
              <a:uLnTx/>
              <a:uFillTx/>
              <a:latin typeface="华文楷体" panose="02010600040101010101" charset="-122"/>
              <a:ea typeface="楷体" panose="02010609060101010101" pitchFamily="49" charset="-122"/>
              <a:cs typeface="+mn-cs"/>
            </a:endParaRPr>
          </a:p>
        </p:txBody>
      </p:sp>
      <p:sp>
        <p:nvSpPr>
          <p:cNvPr id="30" name="Text Box 78"/>
          <p:cNvSpPr txBox="1">
            <a:spLocks noChangeArrowheads="1"/>
          </p:cNvSpPr>
          <p:nvPr/>
        </p:nvSpPr>
        <p:spPr bwMode="auto">
          <a:xfrm>
            <a:off x="202377" y="2722820"/>
            <a:ext cx="628911" cy="3536770"/>
          </a:xfrm>
          <a:prstGeom prst="rect">
            <a:avLst/>
          </a:prstGeom>
          <a:solidFill>
            <a:sysClr val="window" lastClr="FFFFFF"/>
          </a:solidFill>
          <a:ln w="12700" cap="flat" cmpd="sng" algn="ctr">
            <a:noFill/>
            <a:prstDash val="solid"/>
            <a:miter lim="800000"/>
          </a:ln>
          <a:effectLst/>
        </p:spPr>
        <p:txBody>
          <a:bodyPr wrap="square" lIns="18000" tIns="46800" rIns="18000" bIns="4680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black"/>
                </a:solidFill>
                <a:effectLst/>
                <a:uLnTx/>
                <a:uFillTx/>
                <a:latin typeface="华文楷体" panose="02010600040101010101" charset="-122"/>
                <a:ea typeface="楷体" panose="02010609060101010101" pitchFamily="49" charset="-122"/>
                <a:cs typeface="+mn-cs"/>
              </a:rPr>
              <a:t>二</a:t>
            </a:r>
            <a:r>
              <a:rPr kumimoji="0" lang="zh-CN" altLang="en-US" sz="1400" b="1" i="0" u="none" strike="noStrike" kern="0" cap="none" spc="0" normalizeH="0" baseline="0" noProof="0" dirty="0" smtClean="0">
                <a:ln>
                  <a:noFill/>
                </a:ln>
                <a:solidFill>
                  <a:prstClr val="black"/>
                </a:solidFill>
                <a:effectLst/>
                <a:uLnTx/>
                <a:uFillTx/>
                <a:latin typeface="华文楷体" panose="02010600040101010101" charset="-122"/>
                <a:ea typeface="楷体" panose="02010609060101010101" pitchFamily="49" charset="-122"/>
                <a:cs typeface="+mn-cs"/>
              </a:rPr>
              <a:t>级</a:t>
            </a:r>
            <a:endParaRPr kumimoji="0" lang="en-US" altLang="zh-CN" sz="1400" b="1" i="0" u="none" strike="noStrike" kern="0" cap="none" spc="0" normalizeH="0" baseline="0" noProof="0" dirty="0" smtClean="0">
              <a:ln>
                <a:noFill/>
              </a:ln>
              <a:solidFill>
                <a:prstClr val="black"/>
              </a:solidFill>
              <a:effectLst/>
              <a:uLnTx/>
              <a:uFillTx/>
              <a:latin typeface="华文楷体" panose="02010600040101010101" charset="-122"/>
              <a:ea typeface="楷体" panose="02010609060101010101" pitchFamily="49"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black"/>
                </a:solidFill>
                <a:effectLst/>
                <a:uLnTx/>
                <a:uFillTx/>
                <a:latin typeface="华文楷体" panose="02010600040101010101" charset="-122"/>
                <a:ea typeface="楷体" panose="02010609060101010101" pitchFamily="49" charset="-122"/>
                <a:cs typeface="+mn-cs"/>
              </a:rPr>
              <a:t>流程</a:t>
            </a:r>
            <a:endParaRPr kumimoji="0" lang="en-US" altLang="zh-CN" sz="1400" b="1" i="0" u="none" strike="noStrike" kern="0" cap="none" spc="0" normalizeH="0" baseline="0" noProof="0" dirty="0">
              <a:ln>
                <a:noFill/>
              </a:ln>
              <a:solidFill>
                <a:prstClr val="black"/>
              </a:solidFill>
              <a:effectLst/>
              <a:uLnTx/>
              <a:uFillTx/>
              <a:latin typeface="华文楷体" panose="02010600040101010101" charset="-122"/>
              <a:ea typeface="楷体" panose="02010609060101010101" pitchFamily="49" charset="-122"/>
              <a:cs typeface="+mn-cs"/>
            </a:endParaRPr>
          </a:p>
        </p:txBody>
      </p:sp>
      <p:grpSp>
        <p:nvGrpSpPr>
          <p:cNvPr id="2" name="组合 1"/>
          <p:cNvGrpSpPr/>
          <p:nvPr/>
        </p:nvGrpSpPr>
        <p:grpSpPr>
          <a:xfrm>
            <a:off x="1066671" y="1062166"/>
            <a:ext cx="10842060" cy="5243130"/>
            <a:chOff x="1066671" y="1062166"/>
            <a:chExt cx="9751027" cy="5243130"/>
          </a:xfrm>
        </p:grpSpPr>
        <p:sp>
          <p:nvSpPr>
            <p:cNvPr id="10" name="Rectangle 20"/>
            <p:cNvSpPr>
              <a:spLocks noChangeArrowheads="1"/>
            </p:cNvSpPr>
            <p:nvPr/>
          </p:nvSpPr>
          <p:spPr bwMode="auto">
            <a:xfrm>
              <a:off x="1219608"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11" name="Rectangle 21"/>
            <p:cNvSpPr>
              <a:spLocks noChangeArrowheads="1"/>
            </p:cNvSpPr>
            <p:nvPr/>
          </p:nvSpPr>
          <p:spPr bwMode="auto">
            <a:xfrm>
              <a:off x="1269308" y="2753248"/>
              <a:ext cx="640777" cy="386010"/>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1.1</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客户管理</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4" name="Rectangle 20"/>
            <p:cNvSpPr>
              <a:spLocks noChangeArrowheads="1"/>
            </p:cNvSpPr>
            <p:nvPr/>
          </p:nvSpPr>
          <p:spPr bwMode="auto">
            <a:xfrm>
              <a:off x="2011853"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r>
                <a:rPr kumimoji="0" lang="en-US" altLang="zh-CN" sz="800" b="0" i="0" u="none" strike="noStrike" kern="0" cap="none" spc="0" normalizeH="0" baseline="0" noProof="0" dirty="0" smtClean="0">
                  <a:ln>
                    <a:noFill/>
                  </a:ln>
                  <a:solidFill>
                    <a:prstClr val="white"/>
                  </a:solidFill>
                  <a:effectLst/>
                  <a:uLnTx/>
                  <a:uFillTx/>
                  <a:latin typeface="楷体" panose="02010609060101010101" pitchFamily="49" charset="-122"/>
                  <a:ea typeface="楷体" panose="02010609060101010101" pitchFamily="49" charset="-122"/>
                  <a:cs typeface="+mn-cs"/>
                </a:rPr>
                <a:t>1</a:t>
              </a:r>
              <a:endParaRPr kumimoji="0" lang="zh-CN" altLang="en-US" sz="800" b="0" i="0" u="none" strike="noStrike" kern="0" cap="none" spc="0" normalizeH="0" baseline="0" noProof="0" dirty="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15" name="Rectangle 20"/>
            <p:cNvSpPr>
              <a:spLocks noChangeArrowheads="1"/>
            </p:cNvSpPr>
            <p:nvPr/>
          </p:nvSpPr>
          <p:spPr bwMode="auto">
            <a:xfrm>
              <a:off x="2809101"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16" name="Rectangle 21"/>
            <p:cNvSpPr>
              <a:spLocks noChangeArrowheads="1"/>
            </p:cNvSpPr>
            <p:nvPr/>
          </p:nvSpPr>
          <p:spPr bwMode="auto">
            <a:xfrm>
              <a:off x="2021372" y="2753248"/>
              <a:ext cx="684000" cy="401991"/>
            </a:xfrm>
            <a:prstGeom prst="rect">
              <a:avLst/>
            </a:prstGeom>
            <a:solidFill>
              <a:srgbClr val="FE5817"/>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2.1</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7" name="Rectangle 21"/>
            <p:cNvSpPr>
              <a:spLocks noChangeArrowheads="1"/>
            </p:cNvSpPr>
            <p:nvPr/>
          </p:nvSpPr>
          <p:spPr bwMode="auto">
            <a:xfrm>
              <a:off x="2021372" y="3185849"/>
              <a:ext cx="684000" cy="401991"/>
            </a:xfrm>
            <a:prstGeom prst="rect">
              <a:avLst/>
            </a:prstGeom>
            <a:solidFill>
              <a:srgbClr val="FE5817"/>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2.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8" name="Rectangle 21"/>
            <p:cNvSpPr>
              <a:spLocks noChangeArrowheads="1"/>
            </p:cNvSpPr>
            <p:nvPr/>
          </p:nvSpPr>
          <p:spPr bwMode="auto">
            <a:xfrm>
              <a:off x="2021372" y="3618450"/>
              <a:ext cx="684000" cy="401991"/>
            </a:xfrm>
            <a:prstGeom prst="rect">
              <a:avLst/>
            </a:prstGeom>
            <a:solidFill>
              <a:srgbClr val="FE5817"/>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2.3</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9" name="Rectangle 21"/>
            <p:cNvSpPr>
              <a:spLocks noChangeArrowheads="1"/>
            </p:cNvSpPr>
            <p:nvPr/>
          </p:nvSpPr>
          <p:spPr bwMode="auto">
            <a:xfrm>
              <a:off x="2021372" y="4051051"/>
              <a:ext cx="684000" cy="401991"/>
            </a:xfrm>
            <a:prstGeom prst="rect">
              <a:avLst/>
            </a:prstGeom>
            <a:solidFill>
              <a:srgbClr val="FE5817"/>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2.4</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20" name="Rectangle 21"/>
            <p:cNvSpPr>
              <a:spLocks noChangeArrowheads="1"/>
            </p:cNvSpPr>
            <p:nvPr/>
          </p:nvSpPr>
          <p:spPr bwMode="auto">
            <a:xfrm>
              <a:off x="2021372" y="4483652"/>
              <a:ext cx="684000" cy="401991"/>
            </a:xfrm>
            <a:prstGeom prst="rect">
              <a:avLst/>
            </a:prstGeom>
            <a:solidFill>
              <a:srgbClr val="FE5817"/>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2.5</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21" name="Rectangle 21"/>
            <p:cNvSpPr>
              <a:spLocks noChangeArrowheads="1"/>
            </p:cNvSpPr>
            <p:nvPr/>
          </p:nvSpPr>
          <p:spPr bwMode="auto">
            <a:xfrm>
              <a:off x="2803527" y="2753248"/>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3.1</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22" name="Rectangle 20"/>
            <p:cNvSpPr>
              <a:spLocks noChangeArrowheads="1"/>
            </p:cNvSpPr>
            <p:nvPr/>
          </p:nvSpPr>
          <p:spPr bwMode="auto">
            <a:xfrm>
              <a:off x="3601346"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23" name="Rectangle 21"/>
            <p:cNvSpPr>
              <a:spLocks noChangeArrowheads="1"/>
            </p:cNvSpPr>
            <p:nvPr/>
          </p:nvSpPr>
          <p:spPr bwMode="auto">
            <a:xfrm>
              <a:off x="2803527" y="3618450"/>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24" name="Rectangle 20"/>
            <p:cNvSpPr>
              <a:spLocks noChangeArrowheads="1"/>
            </p:cNvSpPr>
            <p:nvPr/>
          </p:nvSpPr>
          <p:spPr bwMode="auto">
            <a:xfrm>
              <a:off x="3623916"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25" name="Rectangle 21"/>
            <p:cNvSpPr>
              <a:spLocks noChangeArrowheads="1"/>
            </p:cNvSpPr>
            <p:nvPr/>
          </p:nvSpPr>
          <p:spPr bwMode="auto">
            <a:xfrm>
              <a:off x="3644775" y="4051051"/>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4.4</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26" name="Rectangle 21"/>
            <p:cNvSpPr>
              <a:spLocks noChangeArrowheads="1"/>
            </p:cNvSpPr>
            <p:nvPr/>
          </p:nvSpPr>
          <p:spPr bwMode="auto">
            <a:xfrm>
              <a:off x="3644775" y="3185849"/>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4.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27" name="Rectangle 21"/>
            <p:cNvSpPr>
              <a:spLocks noChangeArrowheads="1"/>
            </p:cNvSpPr>
            <p:nvPr/>
          </p:nvSpPr>
          <p:spPr bwMode="auto">
            <a:xfrm>
              <a:off x="3644775" y="3618450"/>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4.3</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28" name="Rectangle 21"/>
            <p:cNvSpPr>
              <a:spLocks noChangeArrowheads="1"/>
            </p:cNvSpPr>
            <p:nvPr/>
          </p:nvSpPr>
          <p:spPr bwMode="auto">
            <a:xfrm>
              <a:off x="3644775" y="2753248"/>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4.1</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29" name="Rectangle 21"/>
            <p:cNvSpPr>
              <a:spLocks noChangeArrowheads="1"/>
            </p:cNvSpPr>
            <p:nvPr/>
          </p:nvSpPr>
          <p:spPr bwMode="auto">
            <a:xfrm>
              <a:off x="2803527" y="3185849"/>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3.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31" name="Rectangle 20"/>
            <p:cNvSpPr>
              <a:spLocks noChangeArrowheads="1"/>
            </p:cNvSpPr>
            <p:nvPr/>
          </p:nvSpPr>
          <p:spPr bwMode="auto">
            <a:xfrm>
              <a:off x="4411423"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32" name="Rectangle 21"/>
            <p:cNvSpPr>
              <a:spLocks noChangeArrowheads="1"/>
            </p:cNvSpPr>
            <p:nvPr/>
          </p:nvSpPr>
          <p:spPr bwMode="auto">
            <a:xfrm>
              <a:off x="4439346" y="4051051"/>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5.4</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33" name="Rectangle 21"/>
            <p:cNvSpPr>
              <a:spLocks noChangeArrowheads="1"/>
            </p:cNvSpPr>
            <p:nvPr/>
          </p:nvSpPr>
          <p:spPr bwMode="auto">
            <a:xfrm>
              <a:off x="4439346" y="3618450"/>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5.3</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34" name="Rectangle 21"/>
            <p:cNvSpPr>
              <a:spLocks noChangeArrowheads="1"/>
            </p:cNvSpPr>
            <p:nvPr/>
          </p:nvSpPr>
          <p:spPr bwMode="auto">
            <a:xfrm>
              <a:off x="3644775" y="4916253"/>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4.6</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35" name="Rectangle 21"/>
            <p:cNvSpPr>
              <a:spLocks noChangeArrowheads="1"/>
            </p:cNvSpPr>
            <p:nvPr/>
          </p:nvSpPr>
          <p:spPr bwMode="auto">
            <a:xfrm>
              <a:off x="4439346" y="2753248"/>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5.1</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36" name="Rectangle 20"/>
            <p:cNvSpPr>
              <a:spLocks noChangeArrowheads="1"/>
            </p:cNvSpPr>
            <p:nvPr/>
          </p:nvSpPr>
          <p:spPr bwMode="auto">
            <a:xfrm>
              <a:off x="5194984"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37" name="Rectangle 21"/>
            <p:cNvSpPr>
              <a:spLocks noChangeArrowheads="1"/>
            </p:cNvSpPr>
            <p:nvPr/>
          </p:nvSpPr>
          <p:spPr bwMode="auto">
            <a:xfrm>
              <a:off x="5217716" y="2753248"/>
              <a:ext cx="684000" cy="401991"/>
            </a:xfrm>
            <a:prstGeom prst="rect">
              <a:avLst/>
            </a:prstGeom>
            <a:solidFill>
              <a:sysClr val="window" lastClr="FFFFFF">
                <a:lumMod val="65000"/>
              </a:sysClr>
            </a:solidFill>
            <a:ln w="12700" cap="flat" cmpd="sng" algn="ctr">
              <a:no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6.1</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38" name="Rectangle 20"/>
            <p:cNvSpPr>
              <a:spLocks noChangeArrowheads="1"/>
            </p:cNvSpPr>
            <p:nvPr/>
          </p:nvSpPr>
          <p:spPr bwMode="auto">
            <a:xfrm>
              <a:off x="5987627"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39" name="Rectangle 21"/>
            <p:cNvSpPr>
              <a:spLocks noChangeArrowheads="1"/>
            </p:cNvSpPr>
            <p:nvPr/>
          </p:nvSpPr>
          <p:spPr bwMode="auto">
            <a:xfrm>
              <a:off x="6002417" y="2753248"/>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7.1</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40" name="Rectangle 21"/>
            <p:cNvSpPr>
              <a:spLocks noChangeArrowheads="1"/>
            </p:cNvSpPr>
            <p:nvPr/>
          </p:nvSpPr>
          <p:spPr bwMode="auto">
            <a:xfrm>
              <a:off x="6002417" y="3185849"/>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7.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41" name="Rectangle 20"/>
            <p:cNvSpPr>
              <a:spLocks noChangeArrowheads="1"/>
            </p:cNvSpPr>
            <p:nvPr/>
          </p:nvSpPr>
          <p:spPr bwMode="auto">
            <a:xfrm>
              <a:off x="6784520"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42" name="Rectangle 21"/>
            <p:cNvSpPr>
              <a:spLocks noChangeArrowheads="1"/>
            </p:cNvSpPr>
            <p:nvPr/>
          </p:nvSpPr>
          <p:spPr bwMode="auto">
            <a:xfrm>
              <a:off x="6820520" y="3185849"/>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8.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43" name="Rectangle 21"/>
            <p:cNvSpPr>
              <a:spLocks noChangeArrowheads="1"/>
            </p:cNvSpPr>
            <p:nvPr/>
          </p:nvSpPr>
          <p:spPr bwMode="auto">
            <a:xfrm>
              <a:off x="6820520" y="3618450"/>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8.3</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44" name="Rectangle 20"/>
            <p:cNvSpPr>
              <a:spLocks noChangeArrowheads="1"/>
            </p:cNvSpPr>
            <p:nvPr/>
          </p:nvSpPr>
          <p:spPr bwMode="auto">
            <a:xfrm>
              <a:off x="7594884"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45" name="Rectangle 21"/>
            <p:cNvSpPr>
              <a:spLocks noChangeArrowheads="1"/>
            </p:cNvSpPr>
            <p:nvPr/>
          </p:nvSpPr>
          <p:spPr bwMode="auto">
            <a:xfrm>
              <a:off x="7616662" y="2753248"/>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9.1</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46" name="Rectangle 21"/>
            <p:cNvSpPr>
              <a:spLocks noChangeArrowheads="1"/>
            </p:cNvSpPr>
            <p:nvPr/>
          </p:nvSpPr>
          <p:spPr bwMode="auto">
            <a:xfrm>
              <a:off x="7616662" y="3185849"/>
              <a:ext cx="684000" cy="401991"/>
            </a:xfrm>
            <a:prstGeom prst="rect">
              <a:avLst/>
            </a:prstGeom>
            <a:solidFill>
              <a:srgbClr val="F4B183"/>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9.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47" name="Rectangle 21"/>
            <p:cNvSpPr>
              <a:spLocks noChangeArrowheads="1"/>
            </p:cNvSpPr>
            <p:nvPr/>
          </p:nvSpPr>
          <p:spPr bwMode="auto">
            <a:xfrm>
              <a:off x="3644775" y="4483652"/>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4.5</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48" name="Rectangle 21"/>
            <p:cNvSpPr>
              <a:spLocks noChangeArrowheads="1"/>
            </p:cNvSpPr>
            <p:nvPr/>
          </p:nvSpPr>
          <p:spPr bwMode="auto">
            <a:xfrm>
              <a:off x="5217716" y="3185849"/>
              <a:ext cx="684000" cy="401991"/>
            </a:xfrm>
            <a:prstGeom prst="rect">
              <a:avLst/>
            </a:prstGeom>
            <a:solidFill>
              <a:sysClr val="window" lastClr="FFFFFF">
                <a:lumMod val="65000"/>
              </a:sysClr>
            </a:solidFill>
            <a:ln w="12700" cap="flat" cmpd="sng" algn="ctr">
              <a:no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6.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49" name="Rectangle 21"/>
            <p:cNvSpPr>
              <a:spLocks noChangeArrowheads="1"/>
            </p:cNvSpPr>
            <p:nvPr/>
          </p:nvSpPr>
          <p:spPr bwMode="auto">
            <a:xfrm>
              <a:off x="5217716" y="3618450"/>
              <a:ext cx="684000" cy="401991"/>
            </a:xfrm>
            <a:prstGeom prst="rect">
              <a:avLst/>
            </a:prstGeom>
            <a:solidFill>
              <a:sysClr val="window" lastClr="FFFFFF">
                <a:lumMod val="65000"/>
              </a:sysClr>
            </a:solidFill>
            <a:ln w="12700" cap="flat" cmpd="sng" algn="ctr">
              <a:no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6.3</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50" name="Rectangle 21"/>
            <p:cNvSpPr>
              <a:spLocks noChangeArrowheads="1"/>
            </p:cNvSpPr>
            <p:nvPr/>
          </p:nvSpPr>
          <p:spPr bwMode="auto">
            <a:xfrm>
              <a:off x="5217716" y="4051051"/>
              <a:ext cx="684000" cy="401991"/>
            </a:xfrm>
            <a:prstGeom prst="rect">
              <a:avLst/>
            </a:prstGeom>
            <a:solidFill>
              <a:sysClr val="window" lastClr="FFFFFF">
                <a:lumMod val="65000"/>
              </a:sysClr>
            </a:solidFill>
            <a:ln w="12700" cap="flat" cmpd="sng" algn="ctr">
              <a:no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6</a:t>
              </a: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4</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51" name="Rectangle 21"/>
            <p:cNvSpPr>
              <a:spLocks noChangeArrowheads="1"/>
            </p:cNvSpPr>
            <p:nvPr/>
          </p:nvSpPr>
          <p:spPr bwMode="auto">
            <a:xfrm>
              <a:off x="6820520" y="4051051"/>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8.4</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52" name="Rectangle 21"/>
            <p:cNvSpPr>
              <a:spLocks noChangeArrowheads="1"/>
            </p:cNvSpPr>
            <p:nvPr/>
          </p:nvSpPr>
          <p:spPr bwMode="auto">
            <a:xfrm>
              <a:off x="6820520" y="2753248"/>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8.1</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53" name="Rectangle 21"/>
            <p:cNvSpPr>
              <a:spLocks noChangeArrowheads="1"/>
            </p:cNvSpPr>
            <p:nvPr/>
          </p:nvSpPr>
          <p:spPr bwMode="auto">
            <a:xfrm>
              <a:off x="5217716" y="4483652"/>
              <a:ext cx="684000" cy="401991"/>
            </a:xfrm>
            <a:prstGeom prst="rect">
              <a:avLst/>
            </a:prstGeom>
            <a:solidFill>
              <a:sysClr val="window" lastClr="FFFFFF">
                <a:lumMod val="65000"/>
              </a:sysClr>
            </a:solidFill>
            <a:ln w="12700" cap="flat" cmpd="sng" algn="ctr">
              <a:no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6.5</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54" name="Rectangle 20"/>
            <p:cNvSpPr>
              <a:spLocks noChangeArrowheads="1"/>
            </p:cNvSpPr>
            <p:nvPr/>
          </p:nvSpPr>
          <p:spPr bwMode="auto">
            <a:xfrm>
              <a:off x="8393512"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55" name="Rectangle 21"/>
            <p:cNvSpPr>
              <a:spLocks noChangeArrowheads="1"/>
            </p:cNvSpPr>
            <p:nvPr/>
          </p:nvSpPr>
          <p:spPr bwMode="auto">
            <a:xfrm>
              <a:off x="8419815" y="2753248"/>
              <a:ext cx="684000" cy="401991"/>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10.1</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56" name="Rectangle 21"/>
            <p:cNvSpPr>
              <a:spLocks noChangeArrowheads="1"/>
            </p:cNvSpPr>
            <p:nvPr/>
          </p:nvSpPr>
          <p:spPr bwMode="auto">
            <a:xfrm>
              <a:off x="8419815" y="3185849"/>
              <a:ext cx="684000" cy="401991"/>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10.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57" name="Rectangle 21"/>
            <p:cNvSpPr>
              <a:spLocks noChangeArrowheads="1"/>
            </p:cNvSpPr>
            <p:nvPr/>
          </p:nvSpPr>
          <p:spPr bwMode="auto">
            <a:xfrm>
              <a:off x="8419815" y="3618450"/>
              <a:ext cx="684000" cy="401991"/>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10.3</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58" name="Rectangle 20"/>
            <p:cNvSpPr>
              <a:spLocks noChangeArrowheads="1"/>
            </p:cNvSpPr>
            <p:nvPr/>
          </p:nvSpPr>
          <p:spPr bwMode="auto">
            <a:xfrm>
              <a:off x="9199423"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59" name="Rectangle 21"/>
            <p:cNvSpPr>
              <a:spLocks noChangeArrowheads="1"/>
            </p:cNvSpPr>
            <p:nvPr/>
          </p:nvSpPr>
          <p:spPr bwMode="auto">
            <a:xfrm>
              <a:off x="9219233" y="2753248"/>
              <a:ext cx="684000" cy="401991"/>
            </a:xfrm>
            <a:prstGeom prst="rect">
              <a:avLst/>
            </a:prstGeom>
            <a:solidFill>
              <a:sysClr val="window" lastClr="FFFFFF">
                <a:lumMod val="65000"/>
              </a:sysClr>
            </a:solidFill>
            <a:ln w="12700" cap="flat" cmpd="sng" algn="ctr">
              <a:no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11.1</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60" name="Rectangle 20"/>
            <p:cNvSpPr>
              <a:spLocks noChangeArrowheads="1"/>
            </p:cNvSpPr>
            <p:nvPr/>
          </p:nvSpPr>
          <p:spPr bwMode="auto">
            <a:xfrm>
              <a:off x="10002071" y="2722820"/>
              <a:ext cx="720000" cy="3536770"/>
            </a:xfrm>
            <a:prstGeom prst="rect">
              <a:avLst/>
            </a:prstGeom>
            <a:solidFill>
              <a:sysClr val="window" lastClr="FFFFFF">
                <a:lumMod val="95000"/>
              </a:sysClr>
            </a:solidFill>
            <a:ln w="12700" cap="flat" cmpd="sng" algn="ctr">
              <a:noFill/>
              <a:prstDash val="solid"/>
              <a:miter lim="800000"/>
            </a:ln>
            <a:effectLst/>
          </p:spPr>
          <p:txBody>
            <a:bodyPr wrap="none"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en-US" sz="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61" name="Rectangle 21"/>
            <p:cNvSpPr>
              <a:spLocks noChangeArrowheads="1"/>
            </p:cNvSpPr>
            <p:nvPr/>
          </p:nvSpPr>
          <p:spPr bwMode="auto">
            <a:xfrm>
              <a:off x="10022812" y="2753248"/>
              <a:ext cx="684000" cy="401991"/>
            </a:xfrm>
            <a:prstGeom prst="rect">
              <a:avLst/>
            </a:prstGeom>
            <a:solidFill>
              <a:srgbClr val="FE5817"/>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12.1</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62" name="Rectangle 21"/>
            <p:cNvSpPr>
              <a:spLocks noChangeArrowheads="1"/>
            </p:cNvSpPr>
            <p:nvPr/>
          </p:nvSpPr>
          <p:spPr bwMode="auto">
            <a:xfrm>
              <a:off x="10022812" y="3185849"/>
              <a:ext cx="684000" cy="401991"/>
            </a:xfrm>
            <a:prstGeom prst="rect">
              <a:avLst/>
            </a:prstGeom>
            <a:solidFill>
              <a:srgbClr val="FE5817"/>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12.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63" name="Rectangle 21"/>
            <p:cNvSpPr>
              <a:spLocks noChangeArrowheads="1"/>
            </p:cNvSpPr>
            <p:nvPr/>
          </p:nvSpPr>
          <p:spPr bwMode="auto">
            <a:xfrm>
              <a:off x="7616662" y="3618450"/>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9.3</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64" name="Rectangle 21"/>
            <p:cNvSpPr>
              <a:spLocks noChangeArrowheads="1"/>
            </p:cNvSpPr>
            <p:nvPr/>
          </p:nvSpPr>
          <p:spPr bwMode="auto">
            <a:xfrm>
              <a:off x="1264378" y="3185849"/>
              <a:ext cx="645707" cy="401991"/>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1.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范围初判</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65" name="Rectangle 21"/>
            <p:cNvSpPr>
              <a:spLocks noChangeArrowheads="1"/>
            </p:cNvSpPr>
            <p:nvPr/>
          </p:nvSpPr>
          <p:spPr bwMode="auto">
            <a:xfrm>
              <a:off x="3644775" y="5348854"/>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4.7</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66" name="Rectangle 21"/>
            <p:cNvSpPr>
              <a:spLocks noChangeArrowheads="1"/>
            </p:cNvSpPr>
            <p:nvPr/>
          </p:nvSpPr>
          <p:spPr bwMode="auto">
            <a:xfrm>
              <a:off x="1264378" y="3618450"/>
              <a:ext cx="645707" cy="401991"/>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1.3</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67" name="Rectangle 21"/>
            <p:cNvSpPr>
              <a:spLocks noChangeArrowheads="1"/>
            </p:cNvSpPr>
            <p:nvPr/>
          </p:nvSpPr>
          <p:spPr bwMode="auto">
            <a:xfrm>
              <a:off x="4439346" y="3185849"/>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5.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68" name="AutoShape 19"/>
            <p:cNvSpPr>
              <a:spLocks noChangeArrowheads="1"/>
            </p:cNvSpPr>
            <p:nvPr/>
          </p:nvSpPr>
          <p:spPr bwMode="auto">
            <a:xfrm>
              <a:off x="2005142" y="1085815"/>
              <a:ext cx="1579143" cy="468746"/>
            </a:xfrm>
            <a:prstGeom prst="chevron">
              <a:avLst>
                <a:gd name="adj" fmla="val 14572"/>
              </a:avLst>
            </a:prstGeom>
            <a:solidFill>
              <a:srgbClr val="4472C4">
                <a:lumMod val="50000"/>
              </a:srgbClr>
            </a:solidFill>
            <a:ln w="19050" cap="flat" cmpd="sng" algn="ctr">
              <a:solidFill>
                <a:sysClr val="window" lastClr="FFFFFF"/>
              </a:solidFill>
              <a:prstDash val="solid"/>
              <a:miter lim="800000"/>
            </a:ln>
            <a:effectLst/>
          </p:spPr>
          <p:txBody>
            <a:bodyPr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69" name="AutoShape 19"/>
            <p:cNvSpPr>
              <a:spLocks noChangeArrowheads="1"/>
            </p:cNvSpPr>
            <p:nvPr/>
          </p:nvSpPr>
          <p:spPr bwMode="auto">
            <a:xfrm>
              <a:off x="3544280" y="1085815"/>
              <a:ext cx="1627703" cy="468746"/>
            </a:xfrm>
            <a:prstGeom prst="chevron">
              <a:avLst>
                <a:gd name="adj" fmla="val 14572"/>
              </a:avLst>
            </a:prstGeom>
            <a:solidFill>
              <a:srgbClr val="4472C4">
                <a:lumMod val="50000"/>
              </a:srgbClr>
            </a:solidFill>
            <a:ln w="19050" cap="flat" cmpd="sng" algn="ctr">
              <a:solidFill>
                <a:sysClr val="window" lastClr="FFFFFF"/>
              </a:solidFill>
              <a:prstDash val="solid"/>
              <a:miter lim="800000"/>
            </a:ln>
            <a:effectLst/>
          </p:spPr>
          <p:txBody>
            <a:bodyPr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70" name="AutoShape 19"/>
            <p:cNvSpPr>
              <a:spLocks noChangeArrowheads="1"/>
            </p:cNvSpPr>
            <p:nvPr/>
          </p:nvSpPr>
          <p:spPr bwMode="auto">
            <a:xfrm>
              <a:off x="5903757" y="1085815"/>
              <a:ext cx="1625600" cy="468746"/>
            </a:xfrm>
            <a:prstGeom prst="chevron">
              <a:avLst>
                <a:gd name="adj" fmla="val 14572"/>
              </a:avLst>
            </a:prstGeom>
            <a:solidFill>
              <a:srgbClr val="4472C4">
                <a:lumMod val="50000"/>
              </a:srgbClr>
            </a:solidFill>
            <a:ln w="19050" cap="flat" cmpd="sng" algn="ctr">
              <a:solidFill>
                <a:sysClr val="window" lastClr="FFFFFF"/>
              </a:solidFill>
              <a:prstDash val="solid"/>
              <a:miter lim="800000"/>
            </a:ln>
            <a:effectLst/>
          </p:spPr>
          <p:txBody>
            <a:bodyPr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71" name="AutoShape 19"/>
            <p:cNvSpPr>
              <a:spLocks noChangeArrowheads="1"/>
            </p:cNvSpPr>
            <p:nvPr/>
          </p:nvSpPr>
          <p:spPr bwMode="auto">
            <a:xfrm>
              <a:off x="7525731" y="1085815"/>
              <a:ext cx="1601907" cy="468746"/>
            </a:xfrm>
            <a:prstGeom prst="chevron">
              <a:avLst>
                <a:gd name="adj" fmla="val 14572"/>
              </a:avLst>
            </a:prstGeom>
            <a:solidFill>
              <a:srgbClr val="4472C4">
                <a:lumMod val="50000"/>
              </a:srgbClr>
            </a:solidFill>
            <a:ln w="19050" cap="flat" cmpd="sng" algn="ctr">
              <a:solidFill>
                <a:sysClr val="window" lastClr="FFFFFF"/>
              </a:solidFill>
              <a:prstDash val="solid"/>
              <a:miter lim="800000"/>
            </a:ln>
            <a:effectLst/>
          </p:spPr>
          <p:txBody>
            <a:bodyPr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72" name="AutoShape 19"/>
            <p:cNvSpPr>
              <a:spLocks noChangeArrowheads="1"/>
            </p:cNvSpPr>
            <p:nvPr/>
          </p:nvSpPr>
          <p:spPr bwMode="auto">
            <a:xfrm>
              <a:off x="9121769" y="1085815"/>
              <a:ext cx="1669512" cy="468746"/>
            </a:xfrm>
            <a:prstGeom prst="chevron">
              <a:avLst>
                <a:gd name="adj" fmla="val 14572"/>
              </a:avLst>
            </a:prstGeom>
            <a:solidFill>
              <a:srgbClr val="4472C4">
                <a:lumMod val="50000"/>
              </a:srgbClr>
            </a:solidFill>
            <a:ln w="19050" cap="flat" cmpd="sng" algn="ctr">
              <a:solidFill>
                <a:sysClr val="window" lastClr="FFFFFF"/>
              </a:solidFill>
              <a:prstDash val="solid"/>
              <a:miter lim="800000"/>
            </a:ln>
            <a:effectLst/>
          </p:spPr>
          <p:txBody>
            <a:bodyPr tIns="91440" bIns="91440" anchor="ctr"/>
            <a:lstStyle>
              <a:lvl1pPr>
                <a:defRPr>
                  <a:solidFill>
                    <a:schemeClr val="tx1"/>
                  </a:solidFill>
                  <a:latin typeface="Arial" panose="020B0604020202020204" pitchFamily="34" charset="0"/>
                  <a:ea typeface="宋体" panose="02010600030101010101" pitchFamily="2" charset="-122"/>
                </a:defRPr>
              </a:lvl1pPr>
              <a:lvl2pPr marL="571500">
                <a:defRPr>
                  <a:solidFill>
                    <a:schemeClr val="tx1"/>
                  </a:solidFill>
                  <a:latin typeface="Arial" panose="020B0604020202020204" pitchFamily="34" charset="0"/>
                  <a:ea typeface="宋体" panose="02010600030101010101" pitchFamily="2" charset="-122"/>
                </a:defRPr>
              </a:lvl2pPr>
              <a:lvl3pPr marL="1143000">
                <a:defRPr>
                  <a:solidFill>
                    <a:schemeClr val="tx1"/>
                  </a:solidFill>
                  <a:latin typeface="Arial" panose="020B0604020202020204" pitchFamily="34" charset="0"/>
                  <a:ea typeface="宋体" panose="02010600030101010101" pitchFamily="2" charset="-122"/>
                </a:defRPr>
              </a:lvl3pPr>
              <a:lvl4pPr marL="1714500">
                <a:defRPr>
                  <a:solidFill>
                    <a:schemeClr val="tx1"/>
                  </a:solidFill>
                  <a:latin typeface="Arial" panose="020B0604020202020204" pitchFamily="34" charset="0"/>
                  <a:ea typeface="宋体" panose="02010600030101010101" pitchFamily="2" charset="-122"/>
                </a:defRPr>
              </a:lvl4pPr>
              <a:lvl5pPr marL="2286000">
                <a:defRPr>
                  <a:solidFill>
                    <a:schemeClr val="tx1"/>
                  </a:solidFill>
                  <a:latin typeface="Arial" panose="020B0604020202020204" pitchFamily="34" charset="0"/>
                  <a:ea typeface="宋体" panose="02010600030101010101" pitchFamily="2" charset="-122"/>
                </a:defRPr>
              </a:lvl5pPr>
              <a:lvl6pPr marL="27432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2004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657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1148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auto" latinLnBrk="0" hangingPunct="0">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73" name="AutoShape 19"/>
            <p:cNvSpPr>
              <a:spLocks noChangeArrowheads="1"/>
            </p:cNvSpPr>
            <p:nvPr/>
          </p:nvSpPr>
          <p:spPr bwMode="auto">
            <a:xfrm>
              <a:off x="1174356" y="1085815"/>
              <a:ext cx="821764" cy="468746"/>
            </a:xfrm>
            <a:prstGeom prst="chevron">
              <a:avLst>
                <a:gd name="adj" fmla="val 14572"/>
              </a:avLst>
            </a:prstGeom>
            <a:solidFill>
              <a:srgbClr val="4472C4">
                <a:lumMod val="50000"/>
              </a:srgbClr>
            </a:solidFill>
            <a:ln w="19050" cap="flat" cmpd="sng" algn="ctr">
              <a:solidFill>
                <a:sysClr val="window" lastClr="FFFFFF"/>
              </a:solidFill>
              <a:prstDash val="solid"/>
              <a:miter lim="800000"/>
            </a:ln>
            <a:effectLst/>
          </p:spPr>
          <p:txBody>
            <a:bodyPr tIns="91440" bIns="91440" anchor="ctr"/>
            <a:lstStyle/>
            <a:p>
              <a:pPr marL="0" marR="0" lvl="0" indent="0" algn="ctr" defTabSz="914400" rtl="0" eaLnBrk="0" fontAlgn="auto" latinLnBrk="0" hangingPunct="0">
                <a:lnSpc>
                  <a:spcPct val="100000"/>
                </a:lnSpc>
                <a:spcBef>
                  <a:spcPts val="0"/>
                </a:spcBef>
                <a:spcAft>
                  <a:spcPts val="0"/>
                </a:spcAft>
                <a:buClrTx/>
                <a:buSzTx/>
                <a:buFontTx/>
                <a:buNone/>
                <a:defRPr/>
              </a:pPr>
              <a:r>
                <a:rPr kumimoji="0" lang="zh-CN" altLang="en-US" sz="13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洽谈</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74" name="AutoShape 19"/>
            <p:cNvSpPr>
              <a:spLocks noChangeArrowheads="1"/>
            </p:cNvSpPr>
            <p:nvPr/>
          </p:nvSpPr>
          <p:spPr bwMode="auto">
            <a:xfrm>
              <a:off x="5115172" y="1085815"/>
              <a:ext cx="802902" cy="468746"/>
            </a:xfrm>
            <a:prstGeom prst="chevron">
              <a:avLst>
                <a:gd name="adj" fmla="val 14572"/>
              </a:avLst>
            </a:prstGeom>
            <a:solidFill>
              <a:srgbClr val="4472C4">
                <a:lumMod val="50000"/>
              </a:srgbClr>
            </a:solidFill>
            <a:ln w="19050" cap="flat" cmpd="sng" algn="ctr">
              <a:solidFill>
                <a:sysClr val="window" lastClr="FFFFFF"/>
              </a:solidFill>
              <a:prstDash val="solid"/>
              <a:miter lim="800000"/>
            </a:ln>
            <a:effectLst/>
          </p:spPr>
          <p:txBody>
            <a:bodyPr tIns="91440" bIns="91440" anchor="ctr"/>
            <a:lstStyle/>
            <a:p>
              <a:pPr marL="0" marR="0" lvl="0" indent="0" algn="ctr" defTabSz="914400" rtl="0" eaLnBrk="0" fontAlgn="auto" latinLnBrk="0" hangingPunct="0">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xx</a:t>
              </a:r>
              <a:endParaRPr kumimoji="0" lang="zh-CN" altLang="en-GB" sz="13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75" name="AutoShape 19"/>
            <p:cNvSpPr>
              <a:spLocks noChangeArrowheads="1"/>
            </p:cNvSpPr>
            <p:nvPr/>
          </p:nvSpPr>
          <p:spPr bwMode="auto">
            <a:xfrm>
              <a:off x="1189710" y="1622978"/>
              <a:ext cx="805082" cy="468746"/>
            </a:xfrm>
            <a:prstGeom prst="chevron">
              <a:avLst>
                <a:gd name="adj" fmla="val 14572"/>
              </a:avLst>
            </a:pr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300" b="1"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业务</a:t>
              </a:r>
              <a:endParaRPr kumimoji="0" lang="en-US" altLang="zh-CN" sz="1300" b="1"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300" b="1"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线索</a:t>
              </a:r>
              <a:endParaRPr kumimoji="0" lang="zh-CN" altLang="en-GB" sz="1300" b="1"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76" name="AutoShape 19"/>
            <p:cNvSpPr>
              <a:spLocks noChangeArrowheads="1"/>
            </p:cNvSpPr>
            <p:nvPr/>
          </p:nvSpPr>
          <p:spPr bwMode="auto">
            <a:xfrm>
              <a:off x="1993439" y="1622978"/>
              <a:ext cx="798601"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77" name="AutoShape 19"/>
            <p:cNvSpPr>
              <a:spLocks noChangeArrowheads="1"/>
            </p:cNvSpPr>
            <p:nvPr/>
          </p:nvSpPr>
          <p:spPr bwMode="auto">
            <a:xfrm>
              <a:off x="2774705" y="1622978"/>
              <a:ext cx="806924" cy="468746"/>
            </a:xfrm>
            <a:prstGeom prst="chevron">
              <a:avLst>
                <a:gd name="adj" fmla="val 14572"/>
              </a:avLst>
            </a:pr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78" name="AutoShape 19"/>
            <p:cNvSpPr>
              <a:spLocks noChangeArrowheads="1"/>
            </p:cNvSpPr>
            <p:nvPr/>
          </p:nvSpPr>
          <p:spPr bwMode="auto">
            <a:xfrm>
              <a:off x="4375217" y="1622978"/>
              <a:ext cx="793831"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79" name="AutoShape 19"/>
            <p:cNvSpPr>
              <a:spLocks noChangeArrowheads="1"/>
            </p:cNvSpPr>
            <p:nvPr/>
          </p:nvSpPr>
          <p:spPr bwMode="auto">
            <a:xfrm>
              <a:off x="3585225" y="1622978"/>
              <a:ext cx="819726" cy="468746"/>
            </a:xfrm>
            <a:prstGeom prst="chevron">
              <a:avLst>
                <a:gd name="adj" fmla="val 14572"/>
              </a:avLst>
            </a:prstGeom>
            <a:solidFill>
              <a:srgbClr val="FE581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80" name="AutoShape 19"/>
            <p:cNvSpPr>
              <a:spLocks noChangeArrowheads="1"/>
            </p:cNvSpPr>
            <p:nvPr/>
          </p:nvSpPr>
          <p:spPr bwMode="auto">
            <a:xfrm>
              <a:off x="5175828" y="1622978"/>
              <a:ext cx="768362" cy="468746"/>
            </a:xfrm>
            <a:prstGeom prst="chevron">
              <a:avLst>
                <a:gd name="adj" fmla="val 14572"/>
              </a:avLst>
            </a:pr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81" name="AutoShape 19"/>
            <p:cNvSpPr>
              <a:spLocks noChangeArrowheads="1"/>
            </p:cNvSpPr>
            <p:nvPr/>
          </p:nvSpPr>
          <p:spPr bwMode="auto">
            <a:xfrm>
              <a:off x="5944190" y="1622978"/>
              <a:ext cx="807524" cy="468746"/>
            </a:xfrm>
            <a:prstGeom prst="chevron">
              <a:avLst>
                <a:gd name="adj" fmla="val 14572"/>
              </a:avLst>
            </a:pr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82" name="AutoShape 19"/>
            <p:cNvSpPr>
              <a:spLocks noChangeArrowheads="1"/>
            </p:cNvSpPr>
            <p:nvPr/>
          </p:nvSpPr>
          <p:spPr bwMode="auto">
            <a:xfrm>
              <a:off x="6747742" y="1622978"/>
              <a:ext cx="814336" cy="468746"/>
            </a:xfrm>
            <a:prstGeom prst="chevron">
              <a:avLst>
                <a:gd name="adj" fmla="val 14572"/>
              </a:avLst>
            </a:pr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83" name="AutoShape 19"/>
            <p:cNvSpPr>
              <a:spLocks noChangeArrowheads="1"/>
            </p:cNvSpPr>
            <p:nvPr/>
          </p:nvSpPr>
          <p:spPr bwMode="auto">
            <a:xfrm>
              <a:off x="7536396" y="1622978"/>
              <a:ext cx="812913" cy="468746"/>
            </a:xfrm>
            <a:prstGeom prst="chevron">
              <a:avLst>
                <a:gd name="adj" fmla="val 14572"/>
              </a:avLst>
            </a:pr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84" name="AutoShape 19"/>
            <p:cNvSpPr>
              <a:spLocks noChangeArrowheads="1"/>
            </p:cNvSpPr>
            <p:nvPr/>
          </p:nvSpPr>
          <p:spPr bwMode="auto">
            <a:xfrm>
              <a:off x="8326175" y="1622978"/>
              <a:ext cx="821710" cy="468746"/>
            </a:xfrm>
            <a:prstGeom prst="chevron">
              <a:avLst>
                <a:gd name="adj" fmla="val 14572"/>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85" name="AutoShape 19"/>
            <p:cNvSpPr>
              <a:spLocks noChangeArrowheads="1"/>
            </p:cNvSpPr>
            <p:nvPr/>
          </p:nvSpPr>
          <p:spPr bwMode="auto">
            <a:xfrm>
              <a:off x="9177047" y="1622978"/>
              <a:ext cx="864000" cy="468746"/>
            </a:xfrm>
            <a:prstGeom prst="chevron">
              <a:avLst>
                <a:gd name="adj" fmla="val 14572"/>
              </a:avLst>
            </a:pr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86" name="AutoShape 19"/>
            <p:cNvSpPr>
              <a:spLocks noChangeArrowheads="1"/>
            </p:cNvSpPr>
            <p:nvPr/>
          </p:nvSpPr>
          <p:spPr bwMode="auto">
            <a:xfrm>
              <a:off x="10025589" y="1622978"/>
              <a:ext cx="792109" cy="468746"/>
            </a:xfrm>
            <a:prstGeom prst="chevron">
              <a:avLst>
                <a:gd name="adj" fmla="val 14572"/>
              </a:avLst>
            </a:pr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1300" b="1"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87" name="矩形 86"/>
            <p:cNvSpPr/>
            <p:nvPr/>
          </p:nvSpPr>
          <p:spPr>
            <a:xfrm>
              <a:off x="2329315" y="2118505"/>
              <a:ext cx="602285" cy="24522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100" b="0" i="0" u="none" strike="noStrike" kern="1200" cap="none" spc="0" normalizeH="0" baseline="0" noProof="0" dirty="0">
                  <a:ln>
                    <a:noFill/>
                  </a:ln>
                  <a:solidFill>
                    <a:prstClr val="black"/>
                  </a:solidFill>
                  <a:effectLst/>
                  <a:uLnTx/>
                  <a:uFillTx/>
                  <a:latin typeface="Arial" panose="020B0604020202020204"/>
                  <a:ea typeface="楷体" panose="02010609060101010101" pitchFamily="49" charset="-122"/>
                  <a:cs typeface="+mn-cs"/>
                </a:rPr>
                <a:t>特殊</a:t>
              </a:r>
              <a:endParaRPr kumimoji="0" lang="en-US" altLang="zh-CN" sz="1100" b="0" i="0" u="none" strike="noStrike" kern="1200" cap="none" spc="0" normalizeH="0" baseline="0" noProof="0" dirty="0" smtClean="0">
                <a:ln>
                  <a:noFill/>
                </a:ln>
                <a:solidFill>
                  <a:prstClr val="black"/>
                </a:solidFill>
                <a:effectLst/>
                <a:uLnTx/>
                <a:uFillTx/>
                <a:latin typeface="Arial" panose="020B0604020202020204"/>
                <a:ea typeface="楷体" panose="02010609060101010101" pitchFamily="49" charset="-122"/>
                <a:cs typeface="+mn-cs"/>
              </a:endParaRPr>
            </a:p>
          </p:txBody>
        </p:sp>
        <p:cxnSp>
          <p:nvCxnSpPr>
            <p:cNvPr id="88" name="肘形连接符 87"/>
            <p:cNvCxnSpPr/>
            <p:nvPr/>
          </p:nvCxnSpPr>
          <p:spPr>
            <a:xfrm flipV="1">
              <a:off x="3561046" y="2091576"/>
              <a:ext cx="3551079" cy="299916"/>
            </a:xfrm>
            <a:prstGeom prst="bentConnector2">
              <a:avLst/>
            </a:prstGeom>
            <a:noFill/>
            <a:ln w="38100" cap="flat" cmpd="sng" algn="ctr">
              <a:solidFill>
                <a:srgbClr val="00B050"/>
              </a:solidFill>
              <a:prstDash val="solid"/>
              <a:miter lim="800000"/>
              <a:tailEnd type="triangle"/>
            </a:ln>
            <a:effectLst/>
          </p:spPr>
        </p:cxnSp>
        <p:sp>
          <p:nvSpPr>
            <p:cNvPr id="89" name="椭圆 88"/>
            <p:cNvSpPr>
              <a:spLocks noChangeAspect="1"/>
            </p:cNvSpPr>
            <p:nvPr/>
          </p:nvSpPr>
          <p:spPr>
            <a:xfrm>
              <a:off x="1135077" y="1575034"/>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1</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0" name="椭圆 89"/>
            <p:cNvSpPr>
              <a:spLocks noChangeAspect="1"/>
            </p:cNvSpPr>
            <p:nvPr/>
          </p:nvSpPr>
          <p:spPr>
            <a:xfrm>
              <a:off x="1961355" y="1575034"/>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2</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1" name="椭圆 90"/>
            <p:cNvSpPr>
              <a:spLocks noChangeAspect="1"/>
            </p:cNvSpPr>
            <p:nvPr/>
          </p:nvSpPr>
          <p:spPr>
            <a:xfrm>
              <a:off x="2757165" y="1575034"/>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3</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2" name="椭圆 91"/>
            <p:cNvSpPr>
              <a:spLocks noChangeAspect="1"/>
            </p:cNvSpPr>
            <p:nvPr/>
          </p:nvSpPr>
          <p:spPr>
            <a:xfrm>
              <a:off x="3571665" y="1575034"/>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4</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3" name="椭圆 92"/>
            <p:cNvSpPr>
              <a:spLocks noChangeAspect="1"/>
            </p:cNvSpPr>
            <p:nvPr/>
          </p:nvSpPr>
          <p:spPr>
            <a:xfrm>
              <a:off x="4340027" y="1575034"/>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5</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4" name="椭圆 93"/>
            <p:cNvSpPr>
              <a:spLocks noChangeAspect="1"/>
            </p:cNvSpPr>
            <p:nvPr/>
          </p:nvSpPr>
          <p:spPr>
            <a:xfrm>
              <a:off x="5095463" y="1575034"/>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6</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5" name="椭圆 94"/>
            <p:cNvSpPr>
              <a:spLocks noChangeAspect="1"/>
            </p:cNvSpPr>
            <p:nvPr/>
          </p:nvSpPr>
          <p:spPr>
            <a:xfrm>
              <a:off x="5894574" y="1575034"/>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7</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6" name="椭圆 95"/>
            <p:cNvSpPr>
              <a:spLocks noChangeAspect="1"/>
            </p:cNvSpPr>
            <p:nvPr/>
          </p:nvSpPr>
          <p:spPr>
            <a:xfrm>
              <a:off x="6712552" y="1575034"/>
              <a:ext cx="180000" cy="168728"/>
            </a:xfrm>
            <a:prstGeom prst="ellips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8</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7" name="椭圆 96"/>
            <p:cNvSpPr>
              <a:spLocks noChangeAspect="1"/>
            </p:cNvSpPr>
            <p:nvPr/>
          </p:nvSpPr>
          <p:spPr>
            <a:xfrm>
              <a:off x="7504884" y="1575034"/>
              <a:ext cx="180000" cy="168728"/>
            </a:xfrm>
            <a:prstGeom prst="ellipse">
              <a:avLst/>
            </a:prstGeom>
            <a:solidFill>
              <a:srgbClr val="ED7D31">
                <a:lumMod val="75000"/>
              </a:srgbClr>
            </a:solid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9</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8" name="椭圆 97"/>
            <p:cNvSpPr>
              <a:spLocks noChangeAspect="1"/>
            </p:cNvSpPr>
            <p:nvPr/>
          </p:nvSpPr>
          <p:spPr>
            <a:xfrm>
              <a:off x="8349309" y="1575034"/>
              <a:ext cx="180000" cy="168728"/>
            </a:xfrm>
            <a:prstGeom prst="ellipse">
              <a:avLst/>
            </a:prstGeom>
            <a:solidFill>
              <a:srgbClr val="ED7D31">
                <a:lumMod val="75000"/>
              </a:srgbClr>
            </a:solid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10</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99" name="椭圆 98"/>
            <p:cNvSpPr>
              <a:spLocks noChangeAspect="1"/>
            </p:cNvSpPr>
            <p:nvPr/>
          </p:nvSpPr>
          <p:spPr>
            <a:xfrm>
              <a:off x="9147885" y="1575034"/>
              <a:ext cx="180000" cy="168728"/>
            </a:xfrm>
            <a:prstGeom prst="ellipse">
              <a:avLst/>
            </a:prstGeom>
            <a:solidFill>
              <a:srgbClr val="ED7D31">
                <a:lumMod val="75000"/>
              </a:srgbClr>
            </a:solid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11</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100" name="椭圆 99"/>
            <p:cNvSpPr>
              <a:spLocks noChangeAspect="1"/>
            </p:cNvSpPr>
            <p:nvPr/>
          </p:nvSpPr>
          <p:spPr>
            <a:xfrm>
              <a:off x="9972582" y="1575034"/>
              <a:ext cx="180000" cy="168728"/>
            </a:xfrm>
            <a:prstGeom prst="ellipse">
              <a:avLst/>
            </a:prstGeom>
            <a:solidFill>
              <a:srgbClr val="ED7D31">
                <a:lumMod val="75000"/>
              </a:srgbClr>
            </a:solidFill>
            <a:ln w="12700" cap="flat" cmpd="sng" algn="ctr">
              <a:no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white"/>
                  </a:solidFill>
                  <a:effectLst/>
                  <a:uLnTx/>
                  <a:uFillTx/>
                  <a:latin typeface="华文楷体" panose="02010600040101010101" charset="-122"/>
                  <a:ea typeface="楷体" panose="02010609060101010101" pitchFamily="49" charset="-122"/>
                  <a:cs typeface="+mn-cs"/>
                </a:rPr>
                <a:t>12</a:t>
              </a:r>
              <a:endParaRPr kumimoji="0" lang="zh-CN" altLang="en-US" sz="1000" b="1" i="0" u="none" strike="noStrike" kern="0" cap="none" spc="0" normalizeH="0" baseline="0" noProof="0" dirty="0">
                <a:ln>
                  <a:noFill/>
                </a:ln>
                <a:solidFill>
                  <a:prstClr val="white"/>
                </a:solidFill>
                <a:effectLst/>
                <a:uLnTx/>
                <a:uFillTx/>
                <a:latin typeface="华文楷体" panose="02010600040101010101" charset="-122"/>
                <a:ea typeface="楷体" panose="02010609060101010101" pitchFamily="49" charset="-122"/>
                <a:cs typeface="+mn-cs"/>
              </a:endParaRPr>
            </a:p>
          </p:txBody>
        </p:sp>
        <p:sp>
          <p:nvSpPr>
            <p:cNvPr id="101" name="矩形 100"/>
            <p:cNvSpPr/>
            <p:nvPr/>
          </p:nvSpPr>
          <p:spPr>
            <a:xfrm>
              <a:off x="1066671" y="1062166"/>
              <a:ext cx="4891794" cy="5243130"/>
            </a:xfrm>
            <a:prstGeom prst="rect">
              <a:avLst/>
            </a:prstGeom>
            <a:noFill/>
            <a:ln w="19050" cap="flat" cmpd="sng" algn="ctr">
              <a:solidFill>
                <a:srgbClr val="FF0000"/>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Arial" panose="020B0604020202020204"/>
                <a:ea typeface="楷体" panose="02010609060101010101" pitchFamily="49" charset="-122"/>
                <a:cs typeface="+mn-cs"/>
              </a:endParaRPr>
            </a:p>
          </p:txBody>
        </p:sp>
        <p:cxnSp>
          <p:nvCxnSpPr>
            <p:cNvPr id="102" name="肘形连接符 101"/>
            <p:cNvCxnSpPr>
              <a:stCxn id="77" idx="2"/>
              <a:endCxn id="113" idx="1"/>
            </p:cNvCxnSpPr>
            <p:nvPr/>
          </p:nvCxnSpPr>
          <p:spPr>
            <a:xfrm rot="16200000" flipH="1">
              <a:off x="3239286" y="1996452"/>
              <a:ext cx="323424" cy="513968"/>
            </a:xfrm>
            <a:prstGeom prst="bentConnector2">
              <a:avLst/>
            </a:prstGeom>
            <a:noFill/>
            <a:ln w="38100" cap="flat" cmpd="sng" algn="ctr">
              <a:solidFill>
                <a:srgbClr val="00B050"/>
              </a:solidFill>
              <a:prstDash val="solid"/>
              <a:miter lim="800000"/>
              <a:tailEnd type="triangle"/>
            </a:ln>
            <a:effectLst/>
          </p:spPr>
        </p:cxnSp>
        <p:sp>
          <p:nvSpPr>
            <p:cNvPr id="104" name="Rectangle 21"/>
            <p:cNvSpPr>
              <a:spLocks noChangeArrowheads="1"/>
            </p:cNvSpPr>
            <p:nvPr/>
          </p:nvSpPr>
          <p:spPr bwMode="auto">
            <a:xfrm>
              <a:off x="2021372" y="5781455"/>
              <a:ext cx="684000" cy="401991"/>
            </a:xfrm>
            <a:prstGeom prst="rect">
              <a:avLst/>
            </a:prstGeom>
            <a:solidFill>
              <a:srgbClr val="FE5817"/>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2.8</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05" name="Rectangle 21"/>
            <p:cNvSpPr>
              <a:spLocks noChangeArrowheads="1"/>
            </p:cNvSpPr>
            <p:nvPr/>
          </p:nvSpPr>
          <p:spPr bwMode="auto">
            <a:xfrm>
              <a:off x="2021372" y="4916253"/>
              <a:ext cx="684000" cy="401991"/>
            </a:xfrm>
            <a:prstGeom prst="rect">
              <a:avLst/>
            </a:prstGeom>
            <a:solidFill>
              <a:srgbClr val="FE5817"/>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2.6</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06" name="Rectangle 21"/>
            <p:cNvSpPr>
              <a:spLocks noChangeArrowheads="1"/>
            </p:cNvSpPr>
            <p:nvPr/>
          </p:nvSpPr>
          <p:spPr bwMode="auto">
            <a:xfrm>
              <a:off x="2021372" y="5348854"/>
              <a:ext cx="684000" cy="401991"/>
            </a:xfrm>
            <a:prstGeom prst="rect">
              <a:avLst/>
            </a:prstGeom>
            <a:solidFill>
              <a:srgbClr val="FE5817"/>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2.7</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07" name="Rectangle 21"/>
            <p:cNvSpPr>
              <a:spLocks noChangeArrowheads="1"/>
            </p:cNvSpPr>
            <p:nvPr/>
          </p:nvSpPr>
          <p:spPr bwMode="auto">
            <a:xfrm>
              <a:off x="3644775" y="5781455"/>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4.8</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08" name="Rectangle 21"/>
            <p:cNvSpPr>
              <a:spLocks noChangeArrowheads="1"/>
            </p:cNvSpPr>
            <p:nvPr/>
          </p:nvSpPr>
          <p:spPr bwMode="auto">
            <a:xfrm>
              <a:off x="6820520" y="4916253"/>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8.6</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09" name="Rectangle 21"/>
            <p:cNvSpPr>
              <a:spLocks noChangeArrowheads="1"/>
            </p:cNvSpPr>
            <p:nvPr/>
          </p:nvSpPr>
          <p:spPr bwMode="auto">
            <a:xfrm>
              <a:off x="6820520" y="4483652"/>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8.5</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10" name="Rectangle 21"/>
            <p:cNvSpPr>
              <a:spLocks noChangeArrowheads="1"/>
            </p:cNvSpPr>
            <p:nvPr/>
          </p:nvSpPr>
          <p:spPr bwMode="auto">
            <a:xfrm>
              <a:off x="6820520" y="5348854"/>
              <a:ext cx="684000" cy="401991"/>
            </a:xfrm>
            <a:prstGeom prst="rect">
              <a:avLst/>
            </a:prstGeom>
            <a:solidFill>
              <a:srgbClr val="F4B183"/>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8.7</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11" name="Rectangle 21"/>
            <p:cNvSpPr>
              <a:spLocks noChangeArrowheads="1"/>
            </p:cNvSpPr>
            <p:nvPr/>
          </p:nvSpPr>
          <p:spPr bwMode="auto">
            <a:xfrm>
              <a:off x="8419815" y="4051051"/>
              <a:ext cx="684000" cy="401991"/>
            </a:xfrm>
            <a:prstGeom prst="rect">
              <a:avLst/>
            </a:prstGeom>
            <a:solidFill>
              <a:sysClr val="window" lastClr="FFFFFF">
                <a:lumMod val="6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10.4</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12" name="Rectangle 21"/>
            <p:cNvSpPr>
              <a:spLocks noChangeArrowheads="1"/>
            </p:cNvSpPr>
            <p:nvPr/>
          </p:nvSpPr>
          <p:spPr bwMode="auto">
            <a:xfrm>
              <a:off x="10022812" y="3618450"/>
              <a:ext cx="684000" cy="401991"/>
            </a:xfrm>
            <a:prstGeom prst="rect">
              <a:avLst/>
            </a:prstGeom>
            <a:solidFill>
              <a:srgbClr val="FE5817"/>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12.2</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13" name="AutoShape 19"/>
            <p:cNvSpPr>
              <a:spLocks noChangeArrowheads="1"/>
            </p:cNvSpPr>
            <p:nvPr/>
          </p:nvSpPr>
          <p:spPr bwMode="auto">
            <a:xfrm>
              <a:off x="3589676" y="2180775"/>
              <a:ext cx="793664" cy="468746"/>
            </a:xfrm>
            <a:prstGeom prst="chevron">
              <a:avLst>
                <a:gd name="adj" fmla="val 14572"/>
              </a:avLst>
            </a:prstGeom>
            <a:solidFill>
              <a:srgbClr val="00B050"/>
            </a:solidFill>
            <a:ln w="19050" cap="flat" cmpd="sng" algn="ctr">
              <a:solidFill>
                <a:srgbClr val="00B0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特殊</a:t>
              </a:r>
              <a:r>
                <a:rPr kumimoji="0" lang="en-US" altLang="zh-CN"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x</a:t>
              </a:r>
              <a:r>
                <a:rPr kumimoji="0" lang="zh-CN" altLang="en-US"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a:t>
              </a:r>
              <a:endParaRPr kumimoji="0" lang="zh-CN" altLang="en-GB" sz="1300" b="1"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p:txBody>
        </p:sp>
        <p:sp>
          <p:nvSpPr>
            <p:cNvPr id="114" name="Rectangle 21"/>
            <p:cNvSpPr>
              <a:spLocks noChangeArrowheads="1"/>
            </p:cNvSpPr>
            <p:nvPr/>
          </p:nvSpPr>
          <p:spPr bwMode="auto">
            <a:xfrm>
              <a:off x="2803527" y="4051050"/>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3.4</a:t>
              </a:r>
              <a:endPar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15" name="Rectangle 21"/>
            <p:cNvSpPr>
              <a:spLocks noChangeArrowheads="1"/>
            </p:cNvSpPr>
            <p:nvPr/>
          </p:nvSpPr>
          <p:spPr bwMode="auto">
            <a:xfrm>
              <a:off x="2803527" y="4483652"/>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3</a:t>
              </a: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5</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16" name="Rectangle 21"/>
            <p:cNvSpPr>
              <a:spLocks noChangeArrowheads="1"/>
            </p:cNvSpPr>
            <p:nvPr/>
          </p:nvSpPr>
          <p:spPr bwMode="auto">
            <a:xfrm>
              <a:off x="5217716" y="4920501"/>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6</a:t>
              </a: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6</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17" name="Rectangle 21"/>
            <p:cNvSpPr>
              <a:spLocks noChangeArrowheads="1"/>
            </p:cNvSpPr>
            <p:nvPr/>
          </p:nvSpPr>
          <p:spPr bwMode="auto">
            <a:xfrm>
              <a:off x="5217716" y="5353102"/>
              <a:ext cx="684000" cy="401991"/>
            </a:xfrm>
            <a:prstGeom prst="rect">
              <a:avLst/>
            </a:prstGeom>
            <a:solidFill>
              <a:srgbClr val="FE5817"/>
            </a:solidFill>
            <a:ln w="19050" cap="flat" cmpd="sng" algn="ctr">
              <a:noFill/>
              <a:prstDash val="dash"/>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6.7</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18" name="Rectangle 21"/>
            <p:cNvSpPr>
              <a:spLocks noChangeArrowheads="1"/>
            </p:cNvSpPr>
            <p:nvPr/>
          </p:nvSpPr>
          <p:spPr bwMode="auto">
            <a:xfrm>
              <a:off x="6820520" y="5785641"/>
              <a:ext cx="684000" cy="401991"/>
            </a:xfrm>
            <a:prstGeom prst="rect">
              <a:avLst/>
            </a:prstGeom>
            <a:solidFill>
              <a:srgbClr val="F4B183"/>
            </a:solidFill>
            <a:ln w="12700" cap="flat" cmpd="sng" algn="ctr">
              <a:no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rPr>
                <a:t>8.8</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19" name="Rectangle 21"/>
            <p:cNvSpPr>
              <a:spLocks noChangeArrowheads="1"/>
            </p:cNvSpPr>
            <p:nvPr/>
          </p:nvSpPr>
          <p:spPr bwMode="auto">
            <a:xfrm>
              <a:off x="7616662" y="4055555"/>
              <a:ext cx="684000" cy="401991"/>
            </a:xfrm>
            <a:prstGeom prst="rect">
              <a:avLst/>
            </a:prstGeom>
            <a:solidFill>
              <a:srgbClr val="F4B183"/>
            </a:solidFill>
            <a:ln w="12700" cap="flat" cmpd="sng" algn="ctr">
              <a:no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9.4</a:t>
              </a:r>
              <a:endParaRPr kumimoji="0" lang="en-US"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sp>
          <p:nvSpPr>
            <p:cNvPr id="120" name="Rectangle 21"/>
            <p:cNvSpPr>
              <a:spLocks noChangeArrowheads="1"/>
            </p:cNvSpPr>
            <p:nvPr/>
          </p:nvSpPr>
          <p:spPr bwMode="auto">
            <a:xfrm>
              <a:off x="8419815" y="4483652"/>
              <a:ext cx="684000" cy="401991"/>
            </a:xfrm>
            <a:prstGeom prst="rect">
              <a:avLst/>
            </a:prstGeom>
            <a:solidFill>
              <a:sysClr val="window" lastClr="FFFFFF">
                <a:lumMod val="65000"/>
              </a:sysClr>
            </a:solidFill>
            <a:ln w="12700" cap="flat" cmpd="sng" algn="ctr">
              <a:no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10.5</a:t>
              </a:r>
              <a:endParaRPr kumimoji="0" lang="en-GB" altLang="zh-CN"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0" i="0" u="none" strike="noStrike" kern="0" cap="none" spc="0" normalizeH="0" baseline="0" noProof="0" dirty="0" smtClean="0">
                  <a:ln>
                    <a:noFill/>
                  </a:ln>
                  <a:solidFill>
                    <a:prstClr val="white"/>
                  </a:solidFill>
                  <a:effectLst/>
                  <a:uLnTx/>
                  <a:uFillTx/>
                  <a:latin typeface="Arial" panose="020B0604020202020204"/>
                  <a:ea typeface="楷体" panose="02010609060101010101" pitchFamily="49" charset="-122"/>
                  <a:cs typeface="+mn-ea"/>
                </a:rPr>
                <a:t>xx</a:t>
              </a:r>
              <a:endParaRPr kumimoji="0" lang="zh-CN" altLang="en-GB" sz="900" b="0" i="0" u="none" strike="noStrike" kern="0" cap="none" spc="0" normalizeH="0" baseline="0" noProof="0" dirty="0">
                <a:ln>
                  <a:noFill/>
                </a:ln>
                <a:solidFill>
                  <a:prstClr val="white"/>
                </a:solidFill>
                <a:effectLst/>
                <a:uLnTx/>
                <a:uFillTx/>
                <a:latin typeface="Arial" panose="020B0604020202020204"/>
                <a:ea typeface="楷体" panose="02010609060101010101" pitchFamily="49" charset="-122"/>
                <a:cs typeface="+mn-ea"/>
              </a:endParaRPr>
            </a:p>
          </p:txBody>
        </p:sp>
      </p:grpSp>
      <p:sp>
        <p:nvSpPr>
          <p:cNvPr id="12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流程</a:t>
            </a:r>
            <a:endParaRPr lang="zh-CN" altLang="en-US" sz="2400" dirty="0">
              <a:latin typeface="+mj-ea"/>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AutoShape 21"/>
          <p:cNvSpPr>
            <a:spLocks noChangeArrowheads="1"/>
          </p:cNvSpPr>
          <p:nvPr/>
        </p:nvSpPr>
        <p:spPr bwMode="auto">
          <a:xfrm>
            <a:off x="9592595" y="97080"/>
            <a:ext cx="1078522" cy="304204"/>
          </a:xfrm>
          <a:prstGeom prst="flowChartProcess">
            <a:avLst/>
          </a:prstGeom>
          <a:solidFill>
            <a:schemeClr val="accent1">
              <a:lumMod val="20000"/>
              <a:lumOff val="80000"/>
            </a:schemeClr>
          </a:solidFill>
          <a:ln w="12700" algn="ctr">
            <a:noFill/>
            <a:miter lim="800000"/>
          </a:ln>
          <a:effectLst/>
        </p:spPr>
        <p:txBody>
          <a:bodyPr wrap="none" lIns="18000" tIns="46800" rIns="18000" bIns="46800" anchor="ctr"/>
          <a:lstStyle/>
          <a:p>
            <a:pPr algn="ctr">
              <a:spcBef>
                <a:spcPct val="0"/>
              </a:spcBef>
              <a:buFontTx/>
              <a:buNone/>
            </a:pPr>
            <a:endParaRPr lang="zh-CN" altLang="en-US" sz="1200" dirty="0">
              <a:latin typeface="华文楷体" panose="02010600040101010101" charset="-122"/>
              <a:ea typeface="华文楷体" panose="02010600040101010101" charset="-122"/>
            </a:endParaRPr>
          </a:p>
        </p:txBody>
      </p:sp>
      <p:sp>
        <p:nvSpPr>
          <p:cNvPr id="22" name="矩形 21"/>
          <p:cNvSpPr/>
          <p:nvPr/>
        </p:nvSpPr>
        <p:spPr>
          <a:xfrm>
            <a:off x="10671117" y="106065"/>
            <a:ext cx="1082348" cy="307777"/>
          </a:xfrm>
          <a:prstGeom prst="rect">
            <a:avLst/>
          </a:prstGeom>
        </p:spPr>
        <p:txBody>
          <a:bodyPr wrap="none">
            <a:spAutoFit/>
          </a:bodyPr>
          <a:lstStyle/>
          <a:p>
            <a:pPr algn="ctr"/>
            <a:r>
              <a:rPr lang="zh-CN" altLang="en-US" sz="1400" u="sng" kern="100" dirty="0" smtClean="0">
                <a:solidFill>
                  <a:schemeClr val="dk1"/>
                </a:solidFill>
                <a:latin typeface="+mj-ea"/>
                <a:cs typeface="Times New Roman" panose="02020603050405020304" pitchFamily="18" charset="0"/>
              </a:rPr>
              <a:t>涉及交付物</a:t>
            </a:r>
            <a:endParaRPr lang="zh-CN" altLang="en-US" sz="1400" u="sng" kern="100" dirty="0">
              <a:solidFill>
                <a:schemeClr val="dk1"/>
              </a:solidFill>
              <a:latin typeface="+mj-ea"/>
              <a:cs typeface="Times New Roman" panose="02020603050405020304" pitchFamily="18" charset="0"/>
            </a:endParaRPr>
          </a:p>
        </p:txBody>
      </p:sp>
      <p:graphicFrame>
        <p:nvGraphicFramePr>
          <p:cNvPr id="25" name="表格 24"/>
          <p:cNvGraphicFramePr>
            <a:graphicFrameLocks noGrp="1"/>
          </p:cNvGraphicFramePr>
          <p:nvPr/>
        </p:nvGraphicFramePr>
        <p:xfrm>
          <a:off x="26623" y="1115539"/>
          <a:ext cx="8777116" cy="5207204"/>
        </p:xfrm>
        <a:graphic>
          <a:graphicData uri="http://schemas.openxmlformats.org/drawingml/2006/table">
            <a:tbl>
              <a:tblPr firstRow="1" bandRow="1">
                <a:tableStyleId>{5940675A-B579-460E-94D1-54222C63F5DA}</a:tableStyleId>
              </a:tblPr>
              <a:tblGrid>
                <a:gridCol w="950268"/>
                <a:gridCol w="7826848"/>
              </a:tblGrid>
              <a:tr h="1145899">
                <a:tc>
                  <a:txBody>
                    <a:bodyPr/>
                    <a:lstStyle/>
                    <a:p>
                      <a:pPr algn="ctr"/>
                      <a:r>
                        <a:rPr lang="zh-CN" altLang="en-US" sz="1400" dirty="0" smtClean="0"/>
                        <a:t>事业中心</a:t>
                      </a:r>
                      <a:endParaRPr lang="zh-CN" altLang="en-US" sz="14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785631">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400" dirty="0" smtClean="0"/>
                        <a:t>产品、研发团队</a:t>
                      </a:r>
                      <a:endParaRPr lang="zh-CN" altLang="en-US" sz="1400" dirty="0" smtClean="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zh-CN" altLang="en-US"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13923">
                <a:tc>
                  <a:txBody>
                    <a:bodyPr/>
                    <a:lstStyle/>
                    <a:p>
                      <a:pPr algn="ctr"/>
                      <a:r>
                        <a:rPr lang="en-US" altLang="zh-CN" sz="1400" dirty="0" smtClean="0"/>
                        <a:t>xx</a:t>
                      </a:r>
                      <a:r>
                        <a:rPr lang="zh-CN" altLang="en-US" sz="1400" dirty="0" smtClean="0"/>
                        <a:t>团队</a:t>
                      </a:r>
                      <a:endParaRPr lang="zh-CN" altLang="en-US" sz="14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31130">
                <a:tc>
                  <a:txBody>
                    <a:bodyPr/>
                    <a:lstStyle/>
                    <a:p>
                      <a:pPr algn="ctr"/>
                      <a:r>
                        <a:rPr lang="en-US" altLang="zh-CN" sz="1400" dirty="0" smtClean="0"/>
                        <a:t>xx</a:t>
                      </a:r>
                      <a:r>
                        <a:rPr lang="zh-CN" altLang="en-US" sz="1400" dirty="0" smtClean="0"/>
                        <a:t>团队</a:t>
                      </a:r>
                      <a:endParaRPr lang="zh-CN" altLang="en-US" sz="14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798357">
                <a:tc>
                  <a:txBody>
                    <a:bodyPr/>
                    <a:lstStyle/>
                    <a:p>
                      <a:pPr algn="ctr"/>
                      <a:r>
                        <a:rPr lang="en-US" altLang="zh-CN" sz="1400" dirty="0" smtClean="0"/>
                        <a:t>xx</a:t>
                      </a:r>
                      <a:r>
                        <a:rPr lang="zh-CN" altLang="en-US" sz="1400" dirty="0" smtClean="0"/>
                        <a:t>团队</a:t>
                      </a:r>
                      <a:endParaRPr lang="zh-CN" altLang="en-US" sz="14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32264">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400" dirty="0" smtClean="0"/>
                        <a:t>xx</a:t>
                      </a:r>
                      <a:r>
                        <a:rPr lang="zh-CN" altLang="en-US" sz="1400" dirty="0" smtClean="0"/>
                        <a:t>审批团队</a:t>
                      </a:r>
                      <a:endParaRPr lang="zh-CN" altLang="en-US" sz="1400" dirty="0" smtClean="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6" name="AutoShape 18"/>
          <p:cNvSpPr>
            <a:spLocks noChangeArrowheads="1"/>
          </p:cNvSpPr>
          <p:nvPr/>
        </p:nvSpPr>
        <p:spPr bwMode="auto">
          <a:xfrm>
            <a:off x="1556405" y="1243824"/>
            <a:ext cx="596282" cy="318079"/>
          </a:xfrm>
          <a:prstGeom prst="flowChartPreparation">
            <a:avLst/>
          </a:prstGeom>
          <a:solidFill>
            <a:srgbClr val="C0C0C0"/>
          </a:solidFill>
          <a:ln w="19050" algn="ctr">
            <a:solidFill>
              <a:schemeClr val="tx1"/>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开始</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27" name="AutoShape 20"/>
          <p:cNvCxnSpPr>
            <a:cxnSpLocks noChangeShapeType="1"/>
            <a:stCxn id="26" idx="2"/>
          </p:cNvCxnSpPr>
          <p:nvPr/>
        </p:nvCxnSpPr>
        <p:spPr bwMode="auto">
          <a:xfrm>
            <a:off x="1854546" y="1561903"/>
            <a:ext cx="1332" cy="149143"/>
          </a:xfrm>
          <a:prstGeom prst="straightConnector1">
            <a:avLst/>
          </a:prstGeom>
          <a:noFill/>
          <a:ln w="19050">
            <a:solidFill>
              <a:schemeClr val="tx2"/>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0" name="AutoShape 21"/>
          <p:cNvSpPr>
            <a:spLocks noChangeArrowheads="1"/>
          </p:cNvSpPr>
          <p:nvPr/>
        </p:nvSpPr>
        <p:spPr bwMode="auto">
          <a:xfrm>
            <a:off x="1105046" y="1736898"/>
            <a:ext cx="1510748" cy="363422"/>
          </a:xfrm>
          <a:prstGeom prst="flowChartProcess">
            <a:avLst/>
          </a:prstGeom>
          <a:solidFill>
            <a:schemeClr val="accent1">
              <a:lumMod val="20000"/>
              <a:lumOff val="80000"/>
            </a:schemeClr>
          </a:solidFill>
          <a:ln w="19050" algn="ctr">
            <a:solidFill>
              <a:schemeClr val="tx1"/>
            </a:solidFill>
            <a:miter lim="800000"/>
          </a:ln>
          <a:effec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lang="en-US" altLang="zh-CN" sz="1200" dirty="0" smtClean="0">
                <a:solidFill>
                  <a:prstClr val="black"/>
                </a:solidFill>
                <a:latin typeface="华文楷体" panose="02010600040101010101" charset="-122"/>
                <a:ea typeface="华文楷体" panose="02010600040101010101" charset="-122"/>
              </a:rPr>
              <a:t>1.0</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32" name="AutoShape 20"/>
          <p:cNvCxnSpPr>
            <a:cxnSpLocks noChangeShapeType="1"/>
            <a:stCxn id="30" idx="2"/>
            <a:endCxn id="33" idx="0"/>
          </p:cNvCxnSpPr>
          <p:nvPr/>
        </p:nvCxnSpPr>
        <p:spPr bwMode="auto">
          <a:xfrm flipH="1">
            <a:off x="1854546" y="2100320"/>
            <a:ext cx="5874" cy="167145"/>
          </a:xfrm>
          <a:prstGeom prst="straightConnector1">
            <a:avLst/>
          </a:prstGeom>
          <a:noFill/>
          <a:ln w="19050">
            <a:solidFill>
              <a:schemeClr val="tx2"/>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3" name="AutoShape 22"/>
          <p:cNvSpPr>
            <a:spLocks noChangeArrowheads="1"/>
          </p:cNvSpPr>
          <p:nvPr/>
        </p:nvSpPr>
        <p:spPr bwMode="auto">
          <a:xfrm>
            <a:off x="735900" y="2267465"/>
            <a:ext cx="2237292" cy="356118"/>
          </a:xfrm>
          <a:prstGeom prst="flowChartDecision">
            <a:avLst/>
          </a:prstGeom>
          <a:noFill/>
          <a:ln w="19050" algn="ctr">
            <a:solidFill>
              <a:schemeClr val="tx1"/>
            </a:solidFill>
            <a:miter lim="800000"/>
          </a:ln>
          <a:effectLst/>
        </p:spPr>
        <p:txBody>
          <a:bodyPr wrap="none" lIns="18000" tIns="46800" rIns="18000" bIns="46800" anchor="ctr"/>
          <a:lstStyle/>
          <a:p>
            <a:pPr lvl="0" algn="ctr">
              <a:spcBef>
                <a:spcPct val="0"/>
              </a:spcBef>
              <a:defRPr/>
            </a:pPr>
            <a:r>
              <a:rPr lang="en-US" altLang="zh-CN" sz="1200" dirty="0" smtClean="0">
                <a:solidFill>
                  <a:prstClr val="black"/>
                </a:solidFill>
                <a:latin typeface="华文楷体" panose="02010600040101010101" charset="-122"/>
                <a:ea typeface="华文楷体" panose="02010600040101010101" charset="-122"/>
              </a:rPr>
              <a:t>2. 0</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x</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34" name="AutoShape 20"/>
          <p:cNvCxnSpPr>
            <a:cxnSpLocks noChangeShapeType="1"/>
            <a:stCxn id="33" idx="3"/>
            <a:endCxn id="35" idx="1"/>
          </p:cNvCxnSpPr>
          <p:nvPr/>
        </p:nvCxnSpPr>
        <p:spPr bwMode="auto">
          <a:xfrm>
            <a:off x="2973192" y="2445524"/>
            <a:ext cx="848591" cy="2113"/>
          </a:xfrm>
          <a:prstGeom prst="straightConnector1">
            <a:avLst/>
          </a:prstGeom>
          <a:noFill/>
          <a:ln w="19050">
            <a:solidFill>
              <a:schemeClr val="tx2"/>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5" name="AutoShape 21"/>
          <p:cNvSpPr>
            <a:spLocks noChangeArrowheads="1"/>
          </p:cNvSpPr>
          <p:nvPr/>
        </p:nvSpPr>
        <p:spPr bwMode="auto">
          <a:xfrm>
            <a:off x="3821783" y="2297937"/>
            <a:ext cx="1845136" cy="299399"/>
          </a:xfrm>
          <a:prstGeom prst="flowChartProcess">
            <a:avLst/>
          </a:prstGeom>
          <a:solidFill>
            <a:schemeClr val="accent1">
              <a:lumMod val="20000"/>
              <a:lumOff val="80000"/>
            </a:schemeClr>
          </a:solidFill>
          <a:ln w="19050" algn="ctr">
            <a:solidFill>
              <a:schemeClr val="tx1"/>
            </a:solidFill>
            <a:miter lim="800000"/>
          </a:ln>
          <a:effectLst/>
        </p:spPr>
        <p:txBody>
          <a:bodyPr wrap="none" lIns="18000" tIns="46800" rIns="18000" bIns="46800" anchor="ctr"/>
          <a:lstStyle/>
          <a:p>
            <a:pPr algn="ctr">
              <a:spcBef>
                <a:spcPct val="0"/>
              </a:spcBef>
              <a:defRPr/>
            </a:pP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2.1</a:t>
            </a:r>
            <a:r>
              <a:rPr lang="en-US" altLang="zh-CN" sz="1200" dirty="0" smtClean="0">
                <a:solidFill>
                  <a:prstClr val="black"/>
                </a:solidFill>
                <a:latin typeface="华文楷体" panose="02010600040101010101" charset="-122"/>
                <a:ea typeface="华文楷体" panose="02010600040101010101" charset="-122"/>
              </a:rPr>
              <a:t>xxx</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sp>
        <p:nvSpPr>
          <p:cNvPr id="36" name="Text Box 37"/>
          <p:cNvSpPr txBox="1">
            <a:spLocks noChangeArrowheads="1"/>
          </p:cNvSpPr>
          <p:nvPr/>
        </p:nvSpPr>
        <p:spPr bwMode="auto">
          <a:xfrm>
            <a:off x="2906302" y="2227902"/>
            <a:ext cx="221491"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rPr>
              <a:t>Y</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37" name="Text Box 37"/>
          <p:cNvSpPr txBox="1">
            <a:spLocks noChangeArrowheads="1"/>
          </p:cNvSpPr>
          <p:nvPr/>
        </p:nvSpPr>
        <p:spPr bwMode="auto">
          <a:xfrm>
            <a:off x="6721686" y="5220567"/>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宋体" panose="02010600030101010101" pitchFamily="2" charset="-122"/>
                <a:cs typeface="+mn-cs"/>
              </a:rPr>
              <a:t>N</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cxnSp>
        <p:nvCxnSpPr>
          <p:cNvPr id="38" name="肘形连接符 37"/>
          <p:cNvCxnSpPr>
            <a:stCxn id="33" idx="2"/>
            <a:endCxn id="39" idx="1"/>
          </p:cNvCxnSpPr>
          <p:nvPr/>
        </p:nvCxnSpPr>
        <p:spPr>
          <a:xfrm rot="16200000" flipH="1">
            <a:off x="1907881" y="2570248"/>
            <a:ext cx="263272" cy="369942"/>
          </a:xfrm>
          <a:prstGeom prst="bentConnector2">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AutoShape 22"/>
          <p:cNvSpPr>
            <a:spLocks noChangeArrowheads="1"/>
          </p:cNvSpPr>
          <p:nvPr/>
        </p:nvSpPr>
        <p:spPr bwMode="auto">
          <a:xfrm>
            <a:off x="2224488" y="2723999"/>
            <a:ext cx="2048019" cy="325712"/>
          </a:xfrm>
          <a:prstGeom prst="flowChartDecision">
            <a:avLst/>
          </a:prstGeom>
          <a:solidFill>
            <a:schemeClr val="bg1"/>
          </a:solidFill>
          <a:ln w="19050" algn="ctr">
            <a:solidFill>
              <a:schemeClr val="tx1"/>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3.0xxx</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40" name="直接箭头连接符 39"/>
          <p:cNvCxnSpPr>
            <a:stCxn id="39" idx="2"/>
            <a:endCxn id="41" idx="0"/>
          </p:cNvCxnSpPr>
          <p:nvPr/>
        </p:nvCxnSpPr>
        <p:spPr>
          <a:xfrm>
            <a:off x="3248498" y="3049711"/>
            <a:ext cx="0" cy="152613"/>
          </a:xfrm>
          <a:prstGeom prst="straightConnector1">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1" name="AutoShape 22"/>
          <p:cNvSpPr>
            <a:spLocks noChangeArrowheads="1"/>
          </p:cNvSpPr>
          <p:nvPr/>
        </p:nvSpPr>
        <p:spPr bwMode="auto">
          <a:xfrm>
            <a:off x="2224488" y="3202324"/>
            <a:ext cx="2048019" cy="306746"/>
          </a:xfrm>
          <a:prstGeom prst="flowChartDecision">
            <a:avLst/>
          </a:prstGeom>
          <a:noFill/>
          <a:ln w="19050" algn="ctr">
            <a:solidFill>
              <a:schemeClr val="tx1"/>
            </a:solidFill>
            <a:miter lim="800000"/>
          </a:ln>
          <a:effec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4.0xxx</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42" name="肘形连接符 41"/>
          <p:cNvCxnSpPr>
            <a:endCxn id="43" idx="1"/>
          </p:cNvCxnSpPr>
          <p:nvPr/>
        </p:nvCxnSpPr>
        <p:spPr>
          <a:xfrm rot="16200000" flipH="1">
            <a:off x="3215065" y="3458278"/>
            <a:ext cx="335291" cy="268425"/>
          </a:xfrm>
          <a:prstGeom prst="bentConnector2">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3" name="AutoShape 22"/>
          <p:cNvSpPr>
            <a:spLocks noChangeArrowheads="1"/>
          </p:cNvSpPr>
          <p:nvPr/>
        </p:nvSpPr>
        <p:spPr bwMode="auto">
          <a:xfrm>
            <a:off x="3516923" y="3635548"/>
            <a:ext cx="2005237" cy="249177"/>
          </a:xfrm>
          <a:prstGeom prst="flowChartDecision">
            <a:avLst/>
          </a:prstGeom>
          <a:solidFill>
            <a:schemeClr val="bg1"/>
          </a:solidFill>
          <a:ln w="19050" algn="ctr">
            <a:solidFill>
              <a:schemeClr val="tx1"/>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5.0xxx</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sp>
        <p:nvSpPr>
          <p:cNvPr id="44" name="AutoShape 21"/>
          <p:cNvSpPr>
            <a:spLocks noChangeArrowheads="1"/>
          </p:cNvSpPr>
          <p:nvPr/>
        </p:nvSpPr>
        <p:spPr bwMode="auto">
          <a:xfrm>
            <a:off x="5499932" y="3197818"/>
            <a:ext cx="1537824" cy="299804"/>
          </a:xfrm>
          <a:prstGeom prst="flowChartProcess">
            <a:avLst/>
          </a:prstGeom>
          <a:solidFill>
            <a:schemeClr val="accent1">
              <a:lumMod val="20000"/>
              <a:lumOff val="80000"/>
            </a:schemeClr>
          </a:solidFill>
          <a:ln w="19050" algn="ctr">
            <a:solidFill>
              <a:schemeClr val="tx1"/>
            </a:solidFill>
            <a:miter lim="800000"/>
          </a:ln>
          <a:effectLst/>
        </p:spPr>
        <p:txBody>
          <a:bodyPr wrap="none" lIns="18000" tIns="46800" rIns="18000" bIns="46800" anchor="ctr"/>
          <a:lstStyle/>
          <a:p>
            <a:pPr algn="ctr">
              <a:spcBef>
                <a:spcPct val="0"/>
              </a:spcBef>
              <a:defRPr/>
            </a:pP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4.1</a:t>
            </a:r>
            <a:r>
              <a:rPr lang="en-US" altLang="zh-CN" sz="1200" dirty="0" smtClean="0">
                <a:solidFill>
                  <a:prstClr val="black"/>
                </a:solidFill>
                <a:latin typeface="华文楷体" panose="02010600040101010101" charset="-122"/>
                <a:ea typeface="华文楷体" panose="02010600040101010101" charset="-122"/>
              </a:rPr>
              <a:t>xxx</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46" name="AutoShape 20"/>
          <p:cNvCxnSpPr>
            <a:cxnSpLocks noChangeShapeType="1"/>
          </p:cNvCxnSpPr>
          <p:nvPr/>
        </p:nvCxnSpPr>
        <p:spPr bwMode="auto">
          <a:xfrm flipV="1">
            <a:off x="4261393" y="3360152"/>
            <a:ext cx="1227425" cy="7977"/>
          </a:xfrm>
          <a:prstGeom prst="straightConnector1">
            <a:avLst/>
          </a:prstGeom>
          <a:noFill/>
          <a:ln w="19050">
            <a:solidFill>
              <a:schemeClr val="tx2"/>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7" name="Text Box 37"/>
          <p:cNvSpPr txBox="1">
            <a:spLocks noChangeArrowheads="1"/>
          </p:cNvSpPr>
          <p:nvPr/>
        </p:nvSpPr>
        <p:spPr bwMode="auto">
          <a:xfrm>
            <a:off x="3312294" y="3032801"/>
            <a:ext cx="126311"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rPr>
              <a:t>Y</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48" name="Text Box 37"/>
          <p:cNvSpPr txBox="1">
            <a:spLocks noChangeArrowheads="1"/>
          </p:cNvSpPr>
          <p:nvPr/>
        </p:nvSpPr>
        <p:spPr bwMode="auto">
          <a:xfrm>
            <a:off x="4623790" y="4071798"/>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rPr>
              <a:t>Y</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cxnSp>
        <p:nvCxnSpPr>
          <p:cNvPr id="49" name="直接箭头连接符 48"/>
          <p:cNvCxnSpPr>
            <a:stCxn id="43" idx="2"/>
            <a:endCxn id="50" idx="0"/>
          </p:cNvCxnSpPr>
          <p:nvPr/>
        </p:nvCxnSpPr>
        <p:spPr>
          <a:xfrm flipH="1">
            <a:off x="4517814" y="3884725"/>
            <a:ext cx="1728" cy="171184"/>
          </a:xfrm>
          <a:prstGeom prst="straightConnector1">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0" name="AutoShape 22"/>
          <p:cNvSpPr>
            <a:spLocks noChangeArrowheads="1"/>
          </p:cNvSpPr>
          <p:nvPr/>
        </p:nvSpPr>
        <p:spPr bwMode="auto">
          <a:xfrm>
            <a:off x="3516922" y="4055909"/>
            <a:ext cx="2001783" cy="294588"/>
          </a:xfrm>
          <a:prstGeom prst="flowChartDecision">
            <a:avLst/>
          </a:prstGeom>
          <a:solidFill>
            <a:schemeClr val="bg1"/>
          </a:solidFill>
          <a:ln w="19050" algn="ctr">
            <a:solidFill>
              <a:schemeClr val="tx1"/>
            </a:solidFill>
            <a:miter lim="800000"/>
          </a:ln>
          <a:effec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6.0</a:t>
            </a:r>
            <a:r>
              <a:rPr lang="en-US" altLang="zh-CN" sz="1200" dirty="0" smtClean="0">
                <a:solidFill>
                  <a:prstClr val="black"/>
                </a:solidFill>
                <a:latin typeface="华文楷体" panose="02010600040101010101" charset="-122"/>
                <a:ea typeface="华文楷体" panose="02010600040101010101" charset="-122"/>
              </a:rPr>
              <a:t>xxx</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p:txBody>
      </p:sp>
      <p:sp>
        <p:nvSpPr>
          <p:cNvPr id="55" name="AutoShape 22"/>
          <p:cNvSpPr>
            <a:spLocks noChangeArrowheads="1"/>
          </p:cNvSpPr>
          <p:nvPr/>
        </p:nvSpPr>
        <p:spPr bwMode="auto">
          <a:xfrm>
            <a:off x="5857781" y="5653726"/>
            <a:ext cx="2005235" cy="244696"/>
          </a:xfrm>
          <a:prstGeom prst="flowChartDecision">
            <a:avLst/>
          </a:prstGeom>
          <a:solidFill>
            <a:schemeClr val="accent1">
              <a:lumMod val="20000"/>
              <a:lumOff val="80000"/>
            </a:schemeClr>
          </a:solidFill>
          <a:ln w="19050" algn="ctr">
            <a:solidFill>
              <a:schemeClr val="tx1"/>
            </a:solidFill>
            <a:miter lim="800000"/>
          </a:ln>
          <a:effec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lang="en-US" altLang="zh-CN" sz="1200" noProof="0" dirty="0" smtClean="0">
                <a:solidFill>
                  <a:prstClr val="black"/>
                </a:solidFill>
                <a:latin typeface="华文楷体" panose="02010600040101010101" charset="-122"/>
                <a:ea typeface="华文楷体" panose="02010600040101010101" charset="-122"/>
              </a:rPr>
              <a:t>9</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0xxx</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p:txBody>
      </p:sp>
      <p:sp>
        <p:nvSpPr>
          <p:cNvPr id="57" name="Text Box 37"/>
          <p:cNvSpPr txBox="1">
            <a:spLocks noChangeArrowheads="1"/>
          </p:cNvSpPr>
          <p:nvPr/>
        </p:nvSpPr>
        <p:spPr bwMode="auto">
          <a:xfrm>
            <a:off x="3304357" y="3423459"/>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宋体" panose="02010600030101010101" pitchFamily="2" charset="-122"/>
                <a:cs typeface="+mn-cs"/>
              </a:rPr>
              <a:t>N</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60" name="Text Box 37"/>
          <p:cNvSpPr txBox="1">
            <a:spLocks noChangeArrowheads="1"/>
          </p:cNvSpPr>
          <p:nvPr/>
        </p:nvSpPr>
        <p:spPr bwMode="auto">
          <a:xfrm>
            <a:off x="4316194" y="2668603"/>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宋体" panose="02010600030101010101" pitchFamily="2" charset="-122"/>
                <a:cs typeface="+mn-cs"/>
              </a:rPr>
              <a:t>N</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61" name="Text Box 37"/>
          <p:cNvSpPr txBox="1">
            <a:spLocks noChangeArrowheads="1"/>
          </p:cNvSpPr>
          <p:nvPr/>
        </p:nvSpPr>
        <p:spPr bwMode="auto">
          <a:xfrm>
            <a:off x="5528169" y="3540216"/>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宋体" panose="02010600030101010101" pitchFamily="2" charset="-122"/>
                <a:cs typeface="+mn-cs"/>
              </a:rPr>
              <a:t>N</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62" name="Text Box 37"/>
          <p:cNvSpPr txBox="1">
            <a:spLocks noChangeArrowheads="1"/>
          </p:cNvSpPr>
          <p:nvPr/>
        </p:nvSpPr>
        <p:spPr bwMode="auto">
          <a:xfrm>
            <a:off x="4331574" y="4338736"/>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宋体" panose="02010600030101010101" pitchFamily="2" charset="-122"/>
                <a:cs typeface="+mn-cs"/>
              </a:rPr>
              <a:t>N</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65" name="Text Box 37"/>
          <p:cNvSpPr txBox="1">
            <a:spLocks noChangeArrowheads="1"/>
          </p:cNvSpPr>
          <p:nvPr/>
        </p:nvSpPr>
        <p:spPr bwMode="auto">
          <a:xfrm>
            <a:off x="4173778" y="3127594"/>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rPr>
              <a:t>Y</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70" name="Text Box 37"/>
          <p:cNvSpPr txBox="1">
            <a:spLocks noChangeArrowheads="1"/>
          </p:cNvSpPr>
          <p:nvPr/>
        </p:nvSpPr>
        <p:spPr bwMode="auto">
          <a:xfrm>
            <a:off x="1925627" y="2670345"/>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宋体" panose="02010600030101010101" pitchFamily="2" charset="-122"/>
                <a:cs typeface="+mn-cs"/>
              </a:rPr>
              <a:t>N</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71" name="椭圆 70"/>
          <p:cNvSpPr/>
          <p:nvPr/>
        </p:nvSpPr>
        <p:spPr>
          <a:xfrm>
            <a:off x="5096110" y="1537256"/>
            <a:ext cx="393504" cy="363422"/>
          </a:xfrm>
          <a:prstGeom prst="ellipse">
            <a:avLst/>
          </a:prstGeom>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A</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72" name="AutoShape 21"/>
          <p:cNvSpPr>
            <a:spLocks noChangeArrowheads="1"/>
          </p:cNvSpPr>
          <p:nvPr/>
        </p:nvSpPr>
        <p:spPr bwMode="auto">
          <a:xfrm>
            <a:off x="6893440" y="1529335"/>
            <a:ext cx="749506" cy="363422"/>
          </a:xfrm>
          <a:prstGeom prst="flowChartProcess">
            <a:avLst/>
          </a:prstGeom>
          <a:noFill/>
          <a:ln w="19050" algn="ctr">
            <a:solidFill>
              <a:schemeClr val="tx1"/>
            </a:solidFill>
            <a:miter lim="800000"/>
          </a:ln>
          <a:effec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lang="zh-CN" altLang="en-US" sz="1200" dirty="0">
                <a:solidFill>
                  <a:prstClr val="black"/>
                </a:solidFill>
                <a:latin typeface="华文楷体" panose="02010600040101010101" charset="-122"/>
                <a:ea typeface="华文楷体" panose="02010600040101010101" charset="-122"/>
              </a:rPr>
              <a:t>正式</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立项</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ct val="0"/>
              </a:spcBef>
              <a:spcAft>
                <a:spcPts val="0"/>
              </a:spcAft>
              <a:buClrTx/>
              <a:buSzTx/>
              <a:buFontTx/>
              <a:buNone/>
              <a:defRPr/>
            </a:pP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通过</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73" name="直接箭头连接符 72"/>
          <p:cNvCxnSpPr/>
          <p:nvPr/>
        </p:nvCxnSpPr>
        <p:spPr>
          <a:xfrm>
            <a:off x="5507129" y="1714659"/>
            <a:ext cx="306051" cy="8616"/>
          </a:xfrm>
          <a:prstGeom prst="straightConnector1">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74" name="椭圆 73"/>
          <p:cNvSpPr/>
          <p:nvPr/>
        </p:nvSpPr>
        <p:spPr>
          <a:xfrm>
            <a:off x="6664768" y="5989118"/>
            <a:ext cx="369010" cy="344385"/>
          </a:xfrm>
          <a:prstGeom prst="ellipse">
            <a:avLst/>
          </a:prstGeom>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A</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75" name="肘形连接符 74"/>
          <p:cNvCxnSpPr>
            <a:stCxn id="55" idx="3"/>
          </p:cNvCxnSpPr>
          <p:nvPr/>
        </p:nvCxnSpPr>
        <p:spPr>
          <a:xfrm flipV="1">
            <a:off x="7863016" y="1785478"/>
            <a:ext cx="781826" cy="3990596"/>
          </a:xfrm>
          <a:prstGeom prst="bentConnector2">
            <a:avLst/>
          </a:prstGeom>
          <a:ln w="19050" cap="rnd">
            <a:solidFill>
              <a:schemeClr val="tx1"/>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77" name="直接箭头连接符 76"/>
          <p:cNvCxnSpPr>
            <a:stCxn id="55" idx="2"/>
            <a:endCxn id="74" idx="0"/>
          </p:cNvCxnSpPr>
          <p:nvPr/>
        </p:nvCxnSpPr>
        <p:spPr>
          <a:xfrm flipH="1">
            <a:off x="6849273" y="5898422"/>
            <a:ext cx="11126" cy="90696"/>
          </a:xfrm>
          <a:prstGeom prst="straightConnector1">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78" name="Text Box 37"/>
          <p:cNvSpPr txBox="1">
            <a:spLocks noChangeArrowheads="1"/>
          </p:cNvSpPr>
          <p:nvPr/>
        </p:nvSpPr>
        <p:spPr bwMode="auto">
          <a:xfrm>
            <a:off x="5574867" y="3897484"/>
            <a:ext cx="270435"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rPr>
              <a:t>Y</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cxnSp>
        <p:nvCxnSpPr>
          <p:cNvPr id="79" name="直接箭头连接符 78"/>
          <p:cNvCxnSpPr/>
          <p:nvPr/>
        </p:nvCxnSpPr>
        <p:spPr>
          <a:xfrm>
            <a:off x="7658825" y="1704111"/>
            <a:ext cx="359244" cy="1"/>
          </a:xfrm>
          <a:prstGeom prst="straightConnector1">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80" name="AutoShape 19"/>
          <p:cNvSpPr>
            <a:spLocks noChangeArrowheads="1"/>
          </p:cNvSpPr>
          <p:nvPr/>
        </p:nvSpPr>
        <p:spPr bwMode="auto">
          <a:xfrm>
            <a:off x="8025207" y="1537256"/>
            <a:ext cx="765385" cy="272954"/>
          </a:xfrm>
          <a:prstGeom prst="flowChartTerminator">
            <a:avLst/>
          </a:prstGeom>
          <a:solidFill>
            <a:srgbClr val="C0C0C0"/>
          </a:solidFill>
          <a:ln w="19050" algn="ctr">
            <a:solidFill>
              <a:schemeClr val="tx1"/>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18000" tIns="46800" rIns="18000" bIns="46800" anchor="ctr"/>
          <a:lstStyle/>
          <a:p>
            <a:pPr algn="ctr">
              <a:spcBef>
                <a:spcPct val="0"/>
              </a:spcBef>
              <a:buFontTx/>
              <a:buNone/>
            </a:pPr>
            <a:r>
              <a:rPr lang="zh-CN" altLang="en-US" sz="1200" dirty="0">
                <a:latin typeface="华文楷体" panose="02010600040101010101" charset="-122"/>
                <a:ea typeface="华文楷体" panose="02010600040101010101" charset="-122"/>
              </a:rPr>
              <a:t>结束</a:t>
            </a:r>
            <a:endParaRPr lang="zh-CN" altLang="en-US" sz="1200" dirty="0">
              <a:latin typeface="华文楷体" panose="02010600040101010101" charset="-122"/>
              <a:ea typeface="华文楷体" panose="02010600040101010101" charset="-122"/>
            </a:endParaRPr>
          </a:p>
        </p:txBody>
      </p:sp>
      <p:sp>
        <p:nvSpPr>
          <p:cNvPr id="81" name="Text Box 37"/>
          <p:cNvSpPr txBox="1">
            <a:spLocks noChangeArrowheads="1"/>
          </p:cNvSpPr>
          <p:nvPr/>
        </p:nvSpPr>
        <p:spPr bwMode="auto">
          <a:xfrm>
            <a:off x="7013019" y="5866442"/>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rPr>
              <a:t>Y</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graphicFrame>
        <p:nvGraphicFramePr>
          <p:cNvPr id="82" name="表格 81"/>
          <p:cNvGraphicFramePr>
            <a:graphicFrameLocks noGrp="1"/>
          </p:cNvGraphicFramePr>
          <p:nvPr/>
        </p:nvGraphicFramePr>
        <p:xfrm>
          <a:off x="8839771" y="1099037"/>
          <a:ext cx="3293714" cy="5207204"/>
        </p:xfrm>
        <a:graphic>
          <a:graphicData uri="http://schemas.openxmlformats.org/drawingml/2006/table">
            <a:tbl>
              <a:tblPr firstRow="1" bandRow="1">
                <a:tableStyleId>{5C22544A-7EE6-4342-B048-85BDC9FD1C3A}</a:tableStyleId>
              </a:tblPr>
              <a:tblGrid>
                <a:gridCol w="493646"/>
                <a:gridCol w="1618968"/>
                <a:gridCol w="596900"/>
                <a:gridCol w="584200"/>
              </a:tblGrid>
              <a:tr h="530075">
                <a:tc>
                  <a:txBody>
                    <a:bodyPr/>
                    <a:lstStyle/>
                    <a:p>
                      <a:pPr algn="ctr"/>
                      <a:r>
                        <a:rPr lang="zh-CN" altLang="en-US" sz="1400" b="1" kern="1200" dirty="0" smtClean="0">
                          <a:solidFill>
                            <a:schemeClr val="lt1"/>
                          </a:solidFill>
                          <a:effectLst/>
                          <a:latin typeface="+mj-ea"/>
                          <a:ea typeface="+mj-ea"/>
                          <a:cs typeface="+mn-cs"/>
                        </a:rPr>
                        <a:t>步骤</a:t>
                      </a:r>
                      <a:endParaRPr lang="zh-CN" altLang="en-US" sz="1400" dirty="0">
                        <a:latin typeface="+mj-ea"/>
                        <a:ea typeface="+mj-ea"/>
                      </a:endParaRPr>
                    </a:p>
                  </a:txBody>
                  <a:tcPr anchor="ctr">
                    <a:solidFill>
                      <a:srgbClr val="FE5817"/>
                    </a:solidFill>
                  </a:tcPr>
                </a:tc>
                <a:tc>
                  <a:txBody>
                    <a:bodyPr/>
                    <a:lstStyle/>
                    <a:p>
                      <a:pPr algn="ctr"/>
                      <a:r>
                        <a:rPr lang="zh-CN" altLang="en-US" sz="1400" dirty="0" smtClean="0">
                          <a:latin typeface="+mj-ea"/>
                          <a:ea typeface="+mj-ea"/>
                        </a:rPr>
                        <a:t>名称</a:t>
                      </a:r>
                      <a:endParaRPr lang="zh-CN" altLang="en-US" sz="1400" dirty="0">
                        <a:latin typeface="+mj-ea"/>
                        <a:ea typeface="+mj-ea"/>
                      </a:endParaRPr>
                    </a:p>
                  </a:txBody>
                  <a:tcPr anchor="ctr">
                    <a:solidFill>
                      <a:srgbClr val="FE5817"/>
                    </a:solidFill>
                  </a:tcPr>
                </a:tc>
                <a:tc>
                  <a:txBody>
                    <a:bodyPr/>
                    <a:lstStyle/>
                    <a:p>
                      <a:pPr algn="ctr"/>
                      <a:r>
                        <a:rPr lang="zh-CN" altLang="en-US" sz="1400" dirty="0" smtClean="0">
                          <a:latin typeface="+mj-ea"/>
                          <a:ea typeface="+mj-ea"/>
                        </a:rPr>
                        <a:t>责任部门</a:t>
                      </a:r>
                      <a:endParaRPr lang="zh-CN" altLang="en-US" sz="1400" dirty="0">
                        <a:latin typeface="+mj-ea"/>
                        <a:ea typeface="+mj-ea"/>
                      </a:endParaRPr>
                    </a:p>
                  </a:txBody>
                  <a:tcPr anchor="ctr">
                    <a:solidFill>
                      <a:srgbClr val="FE5817"/>
                    </a:solidFill>
                  </a:tcPr>
                </a:tc>
                <a:tc>
                  <a:txBody>
                    <a:bodyPr/>
                    <a:lstStyle/>
                    <a:p>
                      <a:pPr algn="ctr"/>
                      <a:r>
                        <a:rPr lang="zh-CN" altLang="en-US" sz="1400" dirty="0" smtClean="0">
                          <a:latin typeface="+mj-ea"/>
                          <a:ea typeface="+mj-ea"/>
                        </a:rPr>
                        <a:t>参与部门</a:t>
                      </a:r>
                      <a:endParaRPr lang="zh-CN" altLang="en-US" sz="1400" dirty="0">
                        <a:latin typeface="+mj-ea"/>
                        <a:ea typeface="+mj-ea"/>
                      </a:endParaRPr>
                    </a:p>
                  </a:txBody>
                  <a:tcPr anchor="ctr">
                    <a:solidFill>
                      <a:srgbClr val="FE5817"/>
                    </a:solidFill>
                  </a:tcPr>
                </a:tc>
              </a:tr>
              <a:tr h="748341">
                <a:tc>
                  <a:txBody>
                    <a:bodyPr/>
                    <a:lstStyle/>
                    <a:p>
                      <a:pPr marL="0" algn="ctr" defTabSz="914400" rtl="0" eaLnBrk="1" latinLnBrk="0" hangingPunct="1">
                        <a:spcAft>
                          <a:spcPts val="0"/>
                        </a:spcAft>
                      </a:pPr>
                      <a:r>
                        <a:rPr lang="en-US" altLang="zh-CN" sz="1400" kern="100" dirty="0" smtClean="0">
                          <a:solidFill>
                            <a:schemeClr val="dk1"/>
                          </a:solidFill>
                          <a:effectLst/>
                          <a:latin typeface="+mj-ea"/>
                          <a:ea typeface="+mj-ea"/>
                          <a:cs typeface="Times New Roman" panose="02020603050405020304" pitchFamily="18" charset="0"/>
                        </a:rPr>
                        <a:t>1.0</a:t>
                      </a:r>
                      <a:endParaRPr lang="zh-CN" altLang="en-US" sz="1400" kern="100" dirty="0">
                        <a:solidFill>
                          <a:schemeClr val="dk1"/>
                        </a:solidFill>
                        <a:effectLst/>
                        <a:latin typeface="+mj-ea"/>
                        <a:ea typeface="+mj-ea"/>
                        <a:cs typeface="Times New Roman" panose="02020603050405020304" pitchFamily="18" charset="0"/>
                      </a:endParaRPr>
                    </a:p>
                  </a:txBody>
                  <a:tcPr anchor="ctr">
                    <a:solidFill>
                      <a:schemeClr val="bg1">
                        <a:lumMod val="95000"/>
                      </a:schemeClr>
                    </a:solidFill>
                  </a:tcPr>
                </a:tc>
                <a:tc>
                  <a:txBody>
                    <a:bodyPr/>
                    <a:lstStyle/>
                    <a:p>
                      <a:pPr marL="0" algn="ctr" defTabSz="914400" rtl="0" eaLnBrk="1" latinLnBrk="0" hangingPunct="1">
                        <a:spcAft>
                          <a:spcPts val="0"/>
                        </a:spcAft>
                      </a:pPr>
                      <a:r>
                        <a:rPr lang="zh-CN" altLang="en-US" sz="1400" kern="100" dirty="0" smtClean="0">
                          <a:solidFill>
                            <a:schemeClr val="dk1"/>
                          </a:solidFill>
                          <a:effectLst/>
                          <a:latin typeface="+mj-ea"/>
                          <a:ea typeface="+mj-ea"/>
                          <a:cs typeface="Times New Roman" panose="02020603050405020304" pitchFamily="18" charset="0"/>
                        </a:rPr>
                        <a:t>模板</a:t>
                      </a:r>
                      <a:r>
                        <a:rPr lang="en-US" altLang="zh-CN" sz="1400" kern="100" dirty="0" smtClean="0">
                          <a:solidFill>
                            <a:schemeClr val="dk1"/>
                          </a:solidFill>
                          <a:effectLst/>
                          <a:latin typeface="+mj-ea"/>
                          <a:ea typeface="+mj-ea"/>
                          <a:cs typeface="Times New Roman" panose="02020603050405020304" pitchFamily="18" charset="0"/>
                        </a:rPr>
                        <a:t>-</a:t>
                      </a:r>
                      <a:endParaRPr lang="en-US" altLang="zh-CN" sz="1400" kern="100" dirty="0" smtClean="0">
                        <a:solidFill>
                          <a:schemeClr val="dk1"/>
                        </a:solidFill>
                        <a:effectLst/>
                        <a:latin typeface="+mj-ea"/>
                        <a:ea typeface="+mj-ea"/>
                        <a:cs typeface="Times New Roman" panose="02020603050405020304" pitchFamily="18" charset="0"/>
                      </a:endParaRPr>
                    </a:p>
                    <a:p>
                      <a:pPr marL="0" algn="ctr" defTabSz="914400" rtl="0" eaLnBrk="1" latinLnBrk="0" hangingPunct="1">
                        <a:spcAft>
                          <a:spcPts val="0"/>
                        </a:spcAft>
                      </a:pPr>
                      <a:r>
                        <a:rPr lang="en-US" altLang="zh-CN" sz="1400" kern="100" dirty="0" smtClean="0">
                          <a:solidFill>
                            <a:schemeClr val="dk1"/>
                          </a:solidFill>
                          <a:effectLst/>
                          <a:latin typeface="+mj-ea"/>
                          <a:ea typeface="+mj-ea"/>
                          <a:cs typeface="Times New Roman" panose="02020603050405020304" pitchFamily="18" charset="0"/>
                        </a:rPr>
                        <a:t>xx</a:t>
                      </a:r>
                      <a:r>
                        <a:rPr lang="zh-CN" altLang="en-US" sz="1400" kern="100" dirty="0" smtClean="0">
                          <a:solidFill>
                            <a:schemeClr val="dk1"/>
                          </a:solidFill>
                          <a:effectLst/>
                          <a:latin typeface="+mj-ea"/>
                          <a:ea typeface="+mj-ea"/>
                          <a:cs typeface="Times New Roman" panose="02020603050405020304" pitchFamily="18" charset="0"/>
                        </a:rPr>
                        <a:t>模板</a:t>
                      </a:r>
                      <a:endParaRPr lang="zh-CN" altLang="en-US" sz="1400" kern="100" dirty="0">
                        <a:solidFill>
                          <a:schemeClr val="dk1"/>
                        </a:solidFill>
                        <a:effectLst/>
                        <a:latin typeface="+mj-ea"/>
                        <a:ea typeface="+mj-ea"/>
                        <a:cs typeface="Times New Roman" panose="02020603050405020304" pitchFamily="18" charset="0"/>
                      </a:endParaRPr>
                    </a:p>
                  </a:txBody>
                  <a:tcPr anchor="ctr">
                    <a:solidFill>
                      <a:schemeClr val="bg1">
                        <a:lumMod val="95000"/>
                      </a:schemeClr>
                    </a:solidFill>
                  </a:tcPr>
                </a:tc>
                <a:tc>
                  <a:txBody>
                    <a:bodyPr/>
                    <a:lstStyle/>
                    <a:p>
                      <a:endParaRPr lang="zh-CN" altLang="en-US" dirty="0"/>
                    </a:p>
                  </a:txBody>
                  <a:tcPr anchor="ctr">
                    <a:solidFill>
                      <a:schemeClr val="bg1">
                        <a:lumMod val="95000"/>
                      </a:schemeClr>
                    </a:solidFill>
                  </a:tcPr>
                </a:tc>
                <a:tc>
                  <a:txBody>
                    <a:bodyPr/>
                    <a:lstStyle/>
                    <a:p>
                      <a:endParaRPr lang="zh-CN" altLang="en-US" dirty="0"/>
                    </a:p>
                  </a:txBody>
                  <a:tcPr anchor="ctr">
                    <a:solidFill>
                      <a:schemeClr val="bg1">
                        <a:lumMod val="95000"/>
                      </a:schemeClr>
                    </a:solidFill>
                  </a:tcPr>
                </a:tc>
              </a:tr>
              <a:tr h="654798">
                <a:tc>
                  <a:txBody>
                    <a:bodyPr/>
                    <a:lstStyle/>
                    <a:p>
                      <a:pPr algn="ctr">
                        <a:spcAft>
                          <a:spcPts val="0"/>
                        </a:spcAft>
                      </a:pPr>
                      <a:r>
                        <a:rPr lang="en-US" sz="1400" kern="100" dirty="0" smtClean="0">
                          <a:effectLst/>
                          <a:latin typeface="+mj-ea"/>
                          <a:ea typeface="+mj-ea"/>
                          <a:cs typeface="Times New Roman" panose="02020603050405020304" pitchFamily="18" charset="0"/>
                        </a:rPr>
                        <a:t>2.1</a:t>
                      </a:r>
                      <a:endParaRPr lang="zh-CN" sz="1400" kern="100" dirty="0">
                        <a:effectLst/>
                        <a:latin typeface="+mj-ea"/>
                        <a:ea typeface="+mj-ea"/>
                        <a:cs typeface="Times New Roman" panose="02020603050405020304" pitchFamily="18" charset="0"/>
                      </a:endParaRPr>
                    </a:p>
                  </a:txBody>
                  <a:tcPr marL="68580" marR="68580" marT="0" marB="0" anchor="ctr">
                    <a:solidFill>
                      <a:schemeClr val="bg1">
                        <a:lumMod val="95000"/>
                      </a:schemeClr>
                    </a:solidFill>
                  </a:tcPr>
                </a:tc>
                <a:tc>
                  <a:txBody>
                    <a:bodyPr/>
                    <a:lstStyle/>
                    <a:p>
                      <a:pPr algn="ctr">
                        <a:spcAft>
                          <a:spcPts val="0"/>
                        </a:spcAft>
                      </a:pPr>
                      <a:r>
                        <a:rPr lang="en-US" altLang="zh-CN" sz="1400" kern="100" dirty="0" smtClean="0">
                          <a:effectLst/>
                          <a:latin typeface="+mj-ea"/>
                          <a:ea typeface="+mj-ea"/>
                          <a:cs typeface="Times New Roman" panose="02020603050405020304" pitchFamily="18" charset="0"/>
                        </a:rPr>
                        <a:t>xx</a:t>
                      </a:r>
                      <a:endParaRPr lang="zh-CN" sz="1400" kern="100" dirty="0">
                        <a:effectLst/>
                        <a:latin typeface="+mj-ea"/>
                        <a:ea typeface="+mj-ea"/>
                        <a:cs typeface="Times New Roman" panose="02020603050405020304" pitchFamily="18" charset="0"/>
                      </a:endParaRPr>
                    </a:p>
                  </a:txBody>
                  <a:tcPr marL="68580" marR="68580" marT="0" marB="0" anchor="ctr">
                    <a:solidFill>
                      <a:schemeClr val="bg1">
                        <a:lumMod val="95000"/>
                      </a:schemeClr>
                    </a:solidFill>
                  </a:tcPr>
                </a:tc>
                <a:tc>
                  <a:txBody>
                    <a:bodyPr/>
                    <a:lstStyle/>
                    <a:p>
                      <a:endParaRPr lang="zh-CN" altLang="en-US" dirty="0"/>
                    </a:p>
                  </a:txBody>
                  <a:tcPr marL="68580" marR="68580" marT="0" marB="0" anchor="ctr">
                    <a:solidFill>
                      <a:schemeClr val="bg1">
                        <a:lumMod val="95000"/>
                      </a:schemeClr>
                    </a:solidFill>
                  </a:tcPr>
                </a:tc>
                <a:tc>
                  <a:txBody>
                    <a:bodyPr/>
                    <a:lstStyle/>
                    <a:p>
                      <a:endParaRPr lang="zh-CN" altLang="en-US"/>
                    </a:p>
                  </a:txBody>
                  <a:tcPr marL="68580" marR="68580" marT="0" marB="0" anchor="ctr">
                    <a:solidFill>
                      <a:schemeClr val="bg1">
                        <a:lumMod val="95000"/>
                      </a:schemeClr>
                    </a:solidFill>
                  </a:tcPr>
                </a:tc>
              </a:tr>
              <a:tr h="654798">
                <a:tc>
                  <a:txBody>
                    <a:bodyPr/>
                    <a:lstStyle/>
                    <a:p>
                      <a:pPr algn="ctr">
                        <a:spcAft>
                          <a:spcPts val="0"/>
                        </a:spcAft>
                      </a:pPr>
                      <a:r>
                        <a:rPr lang="en-US" sz="1400" kern="100" dirty="0" smtClean="0">
                          <a:effectLst/>
                          <a:latin typeface="+mj-ea"/>
                          <a:ea typeface="+mj-ea"/>
                          <a:cs typeface="Times New Roman" panose="02020603050405020304" pitchFamily="18" charset="0"/>
                        </a:rPr>
                        <a:t>4.1</a:t>
                      </a:r>
                      <a:endParaRPr lang="zh-CN" sz="1400" kern="100" dirty="0">
                        <a:effectLst/>
                        <a:latin typeface="+mj-ea"/>
                        <a:ea typeface="+mj-ea"/>
                        <a:cs typeface="Times New Roman" panose="02020603050405020304" pitchFamily="18" charset="0"/>
                      </a:endParaRPr>
                    </a:p>
                  </a:txBody>
                  <a:tcPr marL="68580" marR="68580" marT="0" marB="0" anchor="ctr">
                    <a:solidFill>
                      <a:schemeClr val="bg1">
                        <a:lumMod val="95000"/>
                      </a:schemeClr>
                    </a:solidFill>
                  </a:tcPr>
                </a:tc>
                <a:tc>
                  <a:txBody>
                    <a:bodyPr/>
                    <a:lstStyle/>
                    <a:p>
                      <a:pPr algn="ctr">
                        <a:spcAft>
                          <a:spcPts val="0"/>
                        </a:spcAft>
                      </a:pPr>
                      <a:r>
                        <a:rPr lang="zh-CN" altLang="en-US" sz="1400" kern="100" dirty="0" smtClean="0">
                          <a:effectLst/>
                          <a:latin typeface="+mj-ea"/>
                          <a:ea typeface="+mj-ea"/>
                          <a:cs typeface="Times New Roman" panose="02020603050405020304" pitchFamily="18" charset="0"/>
                        </a:rPr>
                        <a:t>规则</a:t>
                      </a:r>
                      <a:r>
                        <a:rPr lang="en-US" sz="1400" kern="100" dirty="0" smtClean="0">
                          <a:effectLst/>
                          <a:latin typeface="+mj-ea"/>
                          <a:ea typeface="+mj-ea"/>
                          <a:cs typeface="Times New Roman" panose="02020603050405020304" pitchFamily="18" charset="0"/>
                        </a:rPr>
                        <a:t>-</a:t>
                      </a:r>
                      <a:endParaRPr lang="en-US" sz="1400" kern="100" dirty="0" smtClean="0">
                        <a:effectLst/>
                        <a:latin typeface="+mj-ea"/>
                        <a:ea typeface="+mj-ea"/>
                        <a:cs typeface="Times New Roman" panose="02020603050405020304" pitchFamily="18" charset="0"/>
                      </a:endParaRPr>
                    </a:p>
                    <a:p>
                      <a:pPr algn="ctr">
                        <a:spcAft>
                          <a:spcPts val="0"/>
                        </a:spcAft>
                      </a:pPr>
                      <a:r>
                        <a:rPr lang="en-US" altLang="zh-CN" sz="1400" kern="100" dirty="0" smtClean="0">
                          <a:effectLst/>
                          <a:latin typeface="+mj-ea"/>
                          <a:ea typeface="+mj-ea"/>
                          <a:cs typeface="Times New Roman" panose="02020603050405020304" pitchFamily="18" charset="0"/>
                        </a:rPr>
                        <a:t>xx</a:t>
                      </a:r>
                      <a:r>
                        <a:rPr lang="zh-CN" altLang="en-US" sz="1400" kern="100" dirty="0" smtClean="0">
                          <a:effectLst/>
                          <a:latin typeface="+mj-ea"/>
                          <a:ea typeface="+mj-ea"/>
                          <a:cs typeface="Times New Roman" panose="02020603050405020304" pitchFamily="18" charset="0"/>
                        </a:rPr>
                        <a:t>规则</a:t>
                      </a:r>
                      <a:endParaRPr lang="en-US" altLang="zh-CN" sz="1400" kern="100" dirty="0" smtClean="0">
                        <a:effectLst/>
                        <a:latin typeface="+mj-ea"/>
                        <a:ea typeface="+mj-ea"/>
                        <a:cs typeface="Times New Roman" panose="02020603050405020304" pitchFamily="18" charset="0"/>
                      </a:endParaRPr>
                    </a:p>
                    <a:p>
                      <a:pPr algn="ctr">
                        <a:spcAft>
                          <a:spcPts val="0"/>
                        </a:spcAft>
                      </a:pPr>
                      <a:r>
                        <a:rPr lang="zh-CN" sz="1400" kern="100" dirty="0" smtClean="0">
                          <a:effectLst/>
                          <a:latin typeface="+mj-ea"/>
                          <a:ea typeface="+mj-ea"/>
                          <a:cs typeface="Times New Roman" panose="02020603050405020304" pitchFamily="18" charset="0"/>
                        </a:rPr>
                        <a:t>（</a:t>
                      </a:r>
                      <a:r>
                        <a:rPr lang="zh-CN" sz="1400" kern="100" dirty="0">
                          <a:effectLst/>
                          <a:latin typeface="+mj-ea"/>
                          <a:ea typeface="+mj-ea"/>
                          <a:cs typeface="Times New Roman" panose="02020603050405020304" pitchFamily="18" charset="0"/>
                        </a:rPr>
                        <a:t>一般</a:t>
                      </a:r>
                      <a:r>
                        <a:rPr lang="en-US" sz="1400" kern="100" dirty="0">
                          <a:effectLst/>
                          <a:latin typeface="+mj-ea"/>
                          <a:ea typeface="+mj-ea"/>
                          <a:cs typeface="Times New Roman" panose="02020603050405020304" pitchFamily="18" charset="0"/>
                        </a:rPr>
                        <a:t>/</a:t>
                      </a:r>
                      <a:r>
                        <a:rPr lang="zh-CN" sz="1400" kern="100" dirty="0">
                          <a:effectLst/>
                          <a:latin typeface="+mj-ea"/>
                          <a:ea typeface="+mj-ea"/>
                          <a:cs typeface="Times New Roman" panose="02020603050405020304" pitchFamily="18" charset="0"/>
                        </a:rPr>
                        <a:t>特殊）</a:t>
                      </a:r>
                      <a:endParaRPr lang="zh-CN" sz="1400" kern="100" dirty="0">
                        <a:effectLst/>
                        <a:latin typeface="+mj-ea"/>
                        <a:ea typeface="+mj-ea"/>
                        <a:cs typeface="Times New Roman" panose="02020603050405020304" pitchFamily="18" charset="0"/>
                      </a:endParaRPr>
                    </a:p>
                  </a:txBody>
                  <a:tcPr marL="68580" marR="68580" marT="0" marB="0" anchor="ctr">
                    <a:solidFill>
                      <a:schemeClr val="bg1">
                        <a:lumMod val="95000"/>
                      </a:schemeClr>
                    </a:solidFill>
                  </a:tcPr>
                </a:tc>
                <a:tc>
                  <a:txBody>
                    <a:bodyPr/>
                    <a:lstStyle/>
                    <a:p>
                      <a:endParaRPr lang="zh-CN" altLang="en-US"/>
                    </a:p>
                  </a:txBody>
                  <a:tcPr marL="68580" marR="68580" marT="0" marB="0" anchor="ctr">
                    <a:solidFill>
                      <a:schemeClr val="bg1">
                        <a:lumMod val="95000"/>
                      </a:schemeClr>
                    </a:solidFill>
                  </a:tcPr>
                </a:tc>
                <a:tc>
                  <a:txBody>
                    <a:bodyPr/>
                    <a:lstStyle/>
                    <a:p>
                      <a:endParaRPr lang="zh-CN" altLang="en-US"/>
                    </a:p>
                  </a:txBody>
                  <a:tcPr marL="68580" marR="68580" marT="0" marB="0" anchor="ctr">
                    <a:solidFill>
                      <a:schemeClr val="bg1">
                        <a:lumMod val="95000"/>
                      </a:schemeClr>
                    </a:solidFill>
                  </a:tcPr>
                </a:tc>
              </a:tr>
              <a:tr h="654798">
                <a:tc>
                  <a:txBody>
                    <a:bodyPr/>
                    <a:lstStyle/>
                    <a:p>
                      <a:pPr algn="ctr">
                        <a:spcAft>
                          <a:spcPts val="0"/>
                        </a:spcAft>
                      </a:pPr>
                      <a:r>
                        <a:rPr lang="en-US" sz="1400" kern="100" dirty="0" smtClean="0">
                          <a:solidFill>
                            <a:srgbClr val="E71C57"/>
                          </a:solidFill>
                          <a:effectLst/>
                          <a:latin typeface="+mj-ea"/>
                          <a:ea typeface="+mj-ea"/>
                          <a:cs typeface="Times New Roman" panose="02020603050405020304" pitchFamily="18" charset="0"/>
                        </a:rPr>
                        <a:t>6.1</a:t>
                      </a:r>
                      <a:endParaRPr lang="zh-CN" sz="1400" kern="100" dirty="0">
                        <a:solidFill>
                          <a:srgbClr val="E71C57"/>
                        </a:solidFill>
                        <a:effectLst/>
                        <a:latin typeface="+mj-ea"/>
                        <a:ea typeface="+mj-ea"/>
                        <a:cs typeface="Times New Roman" panose="02020603050405020304" pitchFamily="18" charset="0"/>
                      </a:endParaRPr>
                    </a:p>
                  </a:txBody>
                  <a:tcPr marL="68580" marR="68580" marT="0" marB="0" anchor="ctr">
                    <a:solidFill>
                      <a:schemeClr val="bg1">
                        <a:lumMod val="95000"/>
                      </a:schemeClr>
                    </a:solidFill>
                  </a:tcPr>
                </a:tc>
                <a:tc>
                  <a:txBody>
                    <a:bodyPr/>
                    <a:lstStyle/>
                    <a:p>
                      <a:pPr algn="ctr">
                        <a:spcAft>
                          <a:spcPts val="0"/>
                        </a:spcAft>
                      </a:pPr>
                      <a:r>
                        <a:rPr lang="zh-CN" altLang="en-US" sz="1400" kern="100" dirty="0" smtClean="0">
                          <a:solidFill>
                            <a:srgbClr val="E71C57"/>
                          </a:solidFill>
                          <a:effectLst/>
                          <a:latin typeface="+mj-ea"/>
                          <a:ea typeface="+mn-ea"/>
                          <a:cs typeface="Times New Roman" panose="02020603050405020304" pitchFamily="18" charset="0"/>
                        </a:rPr>
                        <a:t>要求</a:t>
                      </a:r>
                      <a:r>
                        <a:rPr lang="en-US" altLang="zh-CN" sz="1400" kern="100" dirty="0" smtClean="0">
                          <a:solidFill>
                            <a:srgbClr val="E71C57"/>
                          </a:solidFill>
                          <a:effectLst/>
                          <a:latin typeface="+mj-ea"/>
                          <a:ea typeface="+mn-ea"/>
                          <a:cs typeface="Times New Roman" panose="02020603050405020304" pitchFamily="18" charset="0"/>
                        </a:rPr>
                        <a:t>-</a:t>
                      </a:r>
                      <a:endParaRPr lang="en-US" altLang="zh-CN" sz="1400" kern="100" dirty="0" smtClean="0">
                        <a:solidFill>
                          <a:srgbClr val="E71C57"/>
                        </a:solidFill>
                        <a:effectLst/>
                        <a:latin typeface="+mj-ea"/>
                        <a:ea typeface="+mn-ea"/>
                        <a:cs typeface="Times New Roman" panose="02020603050405020304" pitchFamily="18" charset="0"/>
                      </a:endParaRPr>
                    </a:p>
                    <a:p>
                      <a:pPr algn="ctr">
                        <a:spcAft>
                          <a:spcPts val="0"/>
                        </a:spcAft>
                      </a:pPr>
                      <a:r>
                        <a:rPr lang="en-US" altLang="zh-CN" sz="1400" kern="100" dirty="0" smtClean="0">
                          <a:solidFill>
                            <a:srgbClr val="E71C57"/>
                          </a:solidFill>
                          <a:effectLst/>
                          <a:latin typeface="+mj-ea"/>
                          <a:ea typeface="+mn-ea"/>
                          <a:cs typeface="Times New Roman" panose="02020603050405020304" pitchFamily="18" charset="0"/>
                        </a:rPr>
                        <a:t>xx</a:t>
                      </a:r>
                      <a:r>
                        <a:rPr lang="zh-CN" altLang="en-US" sz="1400" kern="100" dirty="0" smtClean="0">
                          <a:solidFill>
                            <a:srgbClr val="E71C57"/>
                          </a:solidFill>
                          <a:effectLst/>
                          <a:latin typeface="+mj-ea"/>
                          <a:ea typeface="+mn-ea"/>
                          <a:cs typeface="Times New Roman" panose="02020603050405020304" pitchFamily="18" charset="0"/>
                        </a:rPr>
                        <a:t>要求</a:t>
                      </a:r>
                      <a:r>
                        <a:rPr lang="zh-CN" altLang="zh-CN" sz="1400" kern="100" dirty="0" smtClean="0">
                          <a:solidFill>
                            <a:srgbClr val="E71C57"/>
                          </a:solidFill>
                          <a:effectLst/>
                          <a:latin typeface="+mj-ea"/>
                          <a:ea typeface="+mn-ea"/>
                          <a:cs typeface="Times New Roman" panose="02020603050405020304" pitchFamily="18" charset="0"/>
                        </a:rPr>
                        <a:t>（一般</a:t>
                      </a:r>
                      <a:r>
                        <a:rPr lang="en-US" altLang="zh-CN" sz="1400" kern="100" dirty="0" smtClean="0">
                          <a:solidFill>
                            <a:srgbClr val="E71C57"/>
                          </a:solidFill>
                          <a:effectLst/>
                          <a:latin typeface="+mj-ea"/>
                          <a:ea typeface="+mn-ea"/>
                          <a:cs typeface="Times New Roman" panose="02020603050405020304" pitchFamily="18" charset="0"/>
                        </a:rPr>
                        <a:t>/</a:t>
                      </a:r>
                      <a:r>
                        <a:rPr lang="zh-CN" altLang="zh-CN" sz="1400" kern="100" dirty="0" smtClean="0">
                          <a:solidFill>
                            <a:srgbClr val="E71C57"/>
                          </a:solidFill>
                          <a:effectLst/>
                          <a:latin typeface="+mj-ea"/>
                          <a:ea typeface="+mn-ea"/>
                          <a:cs typeface="Times New Roman" panose="02020603050405020304" pitchFamily="18" charset="0"/>
                        </a:rPr>
                        <a:t>特殊）</a:t>
                      </a:r>
                      <a:endParaRPr lang="zh-CN" altLang="zh-CN" sz="1400" kern="100" dirty="0">
                        <a:solidFill>
                          <a:srgbClr val="E71C57"/>
                        </a:solidFill>
                        <a:effectLst/>
                        <a:latin typeface="+mj-ea"/>
                        <a:ea typeface="+mn-ea"/>
                        <a:cs typeface="Times New Roman" panose="02020603050405020304" pitchFamily="18" charset="0"/>
                      </a:endParaRPr>
                    </a:p>
                  </a:txBody>
                  <a:tcPr marL="68580" marR="68580" marT="0" marB="0" anchor="ctr">
                    <a:solidFill>
                      <a:schemeClr val="bg1">
                        <a:lumMod val="95000"/>
                      </a:schemeClr>
                    </a:solidFill>
                  </a:tcPr>
                </a:tc>
                <a:tc>
                  <a:txBody>
                    <a:bodyPr/>
                    <a:lstStyle/>
                    <a:p>
                      <a:endParaRPr lang="zh-CN" altLang="en-US"/>
                    </a:p>
                  </a:txBody>
                  <a:tcPr marL="68580" marR="68580" marT="0" marB="0" anchor="ctr">
                    <a:solidFill>
                      <a:schemeClr val="bg1">
                        <a:lumMod val="95000"/>
                      </a:schemeClr>
                    </a:solidFill>
                  </a:tcPr>
                </a:tc>
                <a:tc>
                  <a:txBody>
                    <a:bodyPr/>
                    <a:lstStyle/>
                    <a:p>
                      <a:endParaRPr lang="zh-CN" altLang="en-US"/>
                    </a:p>
                  </a:txBody>
                  <a:tcPr marL="68580" marR="68580" marT="0" marB="0" anchor="ctr">
                    <a:solidFill>
                      <a:schemeClr val="bg1">
                        <a:lumMod val="95000"/>
                      </a:schemeClr>
                    </a:solidFill>
                  </a:tcPr>
                </a:tc>
              </a:tr>
              <a:tr h="654798">
                <a:tc>
                  <a:txBody>
                    <a:bodyPr/>
                    <a:lstStyle/>
                    <a:p>
                      <a:pPr algn="ctr">
                        <a:spcAft>
                          <a:spcPts val="0"/>
                        </a:spcAft>
                      </a:pPr>
                      <a:r>
                        <a:rPr lang="en-US" sz="1400" kern="100" dirty="0" smtClean="0">
                          <a:effectLst/>
                          <a:latin typeface="+mj-ea"/>
                          <a:ea typeface="+mj-ea"/>
                          <a:cs typeface="Times New Roman" panose="02020603050405020304" pitchFamily="18" charset="0"/>
                        </a:rPr>
                        <a:t>8.0</a:t>
                      </a:r>
                      <a:endParaRPr lang="zh-CN" sz="1400" kern="100" dirty="0">
                        <a:effectLst/>
                        <a:latin typeface="+mj-ea"/>
                        <a:ea typeface="+mj-ea"/>
                        <a:cs typeface="Times New Roman" panose="02020603050405020304" pitchFamily="18" charset="0"/>
                      </a:endParaRPr>
                    </a:p>
                  </a:txBody>
                  <a:tcPr marL="68580" marR="68580" marT="0" marB="0" anchor="ctr">
                    <a:solidFill>
                      <a:schemeClr val="bg1">
                        <a:lumMod val="95000"/>
                      </a:schemeClr>
                    </a:solidFill>
                  </a:tcPr>
                </a:tc>
                <a:tc>
                  <a:txBody>
                    <a:bodyPr/>
                    <a:lstStyle/>
                    <a:p>
                      <a:pPr algn="ctr">
                        <a:spcAft>
                          <a:spcPts val="0"/>
                        </a:spcAft>
                      </a:pPr>
                      <a:r>
                        <a:rPr lang="en-US" altLang="zh-CN" sz="1400" kern="100" dirty="0" smtClean="0">
                          <a:solidFill>
                            <a:schemeClr val="dk1"/>
                          </a:solidFill>
                          <a:effectLst/>
                          <a:latin typeface="+mj-ea"/>
                          <a:ea typeface="+mn-ea"/>
                          <a:cs typeface="Times New Roman" panose="02020603050405020304" pitchFamily="18" charset="0"/>
                        </a:rPr>
                        <a:t>xx</a:t>
                      </a:r>
                      <a:endParaRPr lang="zh-CN" altLang="zh-CN" sz="1400" kern="100" dirty="0">
                        <a:solidFill>
                          <a:schemeClr val="dk1"/>
                        </a:solidFill>
                        <a:effectLst/>
                        <a:latin typeface="+mj-ea"/>
                        <a:ea typeface="+mn-ea"/>
                        <a:cs typeface="Times New Roman" panose="02020603050405020304" pitchFamily="18" charset="0"/>
                      </a:endParaRPr>
                    </a:p>
                  </a:txBody>
                  <a:tcPr marL="68580" marR="68580" marT="0" marB="0" anchor="ctr">
                    <a:solidFill>
                      <a:schemeClr val="bg1">
                        <a:lumMod val="95000"/>
                      </a:schemeClr>
                    </a:solidFill>
                  </a:tcPr>
                </a:tc>
                <a:tc>
                  <a:txBody>
                    <a:bodyPr/>
                    <a:lstStyle/>
                    <a:p>
                      <a:endParaRPr lang="zh-CN" altLang="en-US"/>
                    </a:p>
                  </a:txBody>
                  <a:tcPr marL="68580" marR="68580" marT="0" marB="0" anchor="ctr">
                    <a:solidFill>
                      <a:schemeClr val="bg1">
                        <a:lumMod val="95000"/>
                      </a:schemeClr>
                    </a:solidFill>
                  </a:tcPr>
                </a:tc>
                <a:tc>
                  <a:txBody>
                    <a:bodyPr/>
                    <a:lstStyle/>
                    <a:p>
                      <a:endParaRPr lang="zh-CN" altLang="en-US"/>
                    </a:p>
                  </a:txBody>
                  <a:tcPr marL="68580" marR="68580" marT="0" marB="0" anchor="ctr">
                    <a:solidFill>
                      <a:schemeClr val="bg1">
                        <a:lumMod val="95000"/>
                      </a:schemeClr>
                    </a:solidFill>
                  </a:tcPr>
                </a:tc>
              </a:tr>
              <a:tr h="654798">
                <a:tc>
                  <a:txBody>
                    <a:bodyPr/>
                    <a:lstStyle/>
                    <a:p>
                      <a:pPr algn="ctr">
                        <a:spcAft>
                          <a:spcPts val="0"/>
                        </a:spcAft>
                      </a:pPr>
                      <a:r>
                        <a:rPr lang="en-US" altLang="zh-CN" sz="1400" kern="100" dirty="0" smtClean="0">
                          <a:effectLst/>
                          <a:latin typeface="+mj-ea"/>
                          <a:ea typeface="+mj-ea"/>
                          <a:cs typeface="Times New Roman" panose="02020603050405020304" pitchFamily="18" charset="0"/>
                        </a:rPr>
                        <a:t>9.0</a:t>
                      </a:r>
                      <a:endParaRPr lang="zh-CN" sz="1400" kern="100" dirty="0">
                        <a:effectLst/>
                        <a:latin typeface="+mj-ea"/>
                        <a:ea typeface="+mj-ea"/>
                        <a:cs typeface="Times New Roman" panose="02020603050405020304" pitchFamily="18" charset="0"/>
                      </a:endParaRPr>
                    </a:p>
                  </a:txBody>
                  <a:tcPr marL="68580" marR="68580" marT="0" marB="0" anchor="ctr">
                    <a:solidFill>
                      <a:schemeClr val="bg1">
                        <a:lumMod val="95000"/>
                      </a:schemeClr>
                    </a:solidFill>
                  </a:tcPr>
                </a:tc>
                <a:tc>
                  <a:txBody>
                    <a:bodyPr/>
                    <a:lstStyle/>
                    <a:p>
                      <a:pPr algn="ctr">
                        <a:spcAft>
                          <a:spcPts val="0"/>
                        </a:spcAft>
                      </a:pPr>
                      <a:r>
                        <a:rPr lang="en-US" altLang="zh-CN" sz="1400" kern="100" dirty="0" smtClean="0">
                          <a:solidFill>
                            <a:schemeClr val="dk1"/>
                          </a:solidFill>
                          <a:effectLst/>
                          <a:latin typeface="+mj-ea"/>
                          <a:ea typeface="+mn-ea"/>
                          <a:cs typeface="Times New Roman" panose="02020603050405020304" pitchFamily="18" charset="0"/>
                        </a:rPr>
                        <a:t>xx</a:t>
                      </a:r>
                      <a:endParaRPr lang="zh-CN" altLang="zh-CN" sz="1400" kern="100" dirty="0" smtClean="0">
                        <a:solidFill>
                          <a:schemeClr val="dk1"/>
                        </a:solidFill>
                        <a:effectLst/>
                        <a:latin typeface="+mj-ea"/>
                        <a:ea typeface="+mn-ea"/>
                        <a:cs typeface="Times New Roman" panose="02020603050405020304" pitchFamily="18" charset="0"/>
                      </a:endParaRPr>
                    </a:p>
                  </a:txBody>
                  <a:tcPr marL="68580" marR="68580" marT="0" marB="0" anchor="ctr">
                    <a:solidFill>
                      <a:schemeClr val="bg1">
                        <a:lumMod val="95000"/>
                      </a:schemeClr>
                    </a:solidFill>
                  </a:tcPr>
                </a:tc>
                <a:tc>
                  <a:txBody>
                    <a:bodyPr/>
                    <a:lstStyle/>
                    <a:p>
                      <a:endParaRPr lang="zh-CN" altLang="en-US"/>
                    </a:p>
                  </a:txBody>
                  <a:tcPr marL="68580" marR="68580" marT="0" marB="0" anchor="ctr">
                    <a:solidFill>
                      <a:schemeClr val="bg1">
                        <a:lumMod val="95000"/>
                      </a:schemeClr>
                    </a:solidFill>
                  </a:tcPr>
                </a:tc>
                <a:tc>
                  <a:txBody>
                    <a:bodyPr/>
                    <a:lstStyle/>
                    <a:p>
                      <a:endParaRPr lang="zh-CN" altLang="en-US"/>
                    </a:p>
                  </a:txBody>
                  <a:tcPr marL="68580" marR="68580" marT="0" marB="0" anchor="ctr">
                    <a:solidFill>
                      <a:schemeClr val="bg1">
                        <a:lumMod val="95000"/>
                      </a:schemeClr>
                    </a:solidFill>
                  </a:tcPr>
                </a:tc>
              </a:tr>
              <a:tr h="654798">
                <a:tc>
                  <a:txBody>
                    <a:bodyPr/>
                    <a:lstStyle/>
                    <a:p>
                      <a:pPr algn="ctr">
                        <a:spcAft>
                          <a:spcPts val="0"/>
                        </a:spcAft>
                      </a:pPr>
                      <a:r>
                        <a:rPr lang="en-US" altLang="zh-CN" sz="1400" kern="100" dirty="0" smtClean="0">
                          <a:effectLst/>
                          <a:latin typeface="+mj-ea"/>
                          <a:ea typeface="+mj-ea"/>
                          <a:cs typeface="Times New Roman" panose="02020603050405020304" pitchFamily="18" charset="0"/>
                        </a:rPr>
                        <a:t>1.0</a:t>
                      </a:r>
                      <a:endParaRPr lang="zh-CN" sz="1400" kern="100" dirty="0">
                        <a:effectLst/>
                        <a:latin typeface="+mj-ea"/>
                        <a:ea typeface="+mj-ea"/>
                        <a:cs typeface="Times New Roman" panose="02020603050405020304" pitchFamily="18" charset="0"/>
                      </a:endParaRPr>
                    </a:p>
                  </a:txBody>
                  <a:tcPr marL="68580" marR="68580" marT="0" marB="0" anchor="ctr">
                    <a:solidFill>
                      <a:schemeClr val="bg1">
                        <a:lumMod val="95000"/>
                      </a:schemeClr>
                    </a:solidFill>
                  </a:tcPr>
                </a:tc>
                <a:tc>
                  <a:txBody>
                    <a:bodyPr/>
                    <a:lstStyle/>
                    <a:p>
                      <a:pPr algn="ctr">
                        <a:spcAft>
                          <a:spcPts val="0"/>
                        </a:spcAft>
                      </a:pPr>
                      <a:r>
                        <a:rPr lang="zh-CN" altLang="en-US" sz="1400" kern="100" dirty="0" smtClean="0">
                          <a:solidFill>
                            <a:schemeClr val="dk1"/>
                          </a:solidFill>
                          <a:effectLst/>
                          <a:latin typeface="+mj-ea"/>
                          <a:ea typeface="+mn-ea"/>
                          <a:cs typeface="Times New Roman" panose="02020603050405020304" pitchFamily="18" charset="0"/>
                        </a:rPr>
                        <a:t>标准</a:t>
                      </a:r>
                      <a:r>
                        <a:rPr lang="en-US" altLang="zh-CN" sz="1400" kern="100" dirty="0" smtClean="0">
                          <a:solidFill>
                            <a:schemeClr val="dk1"/>
                          </a:solidFill>
                          <a:effectLst/>
                          <a:latin typeface="+mj-ea"/>
                          <a:ea typeface="+mn-ea"/>
                          <a:cs typeface="Times New Roman" panose="02020603050405020304" pitchFamily="18" charset="0"/>
                        </a:rPr>
                        <a:t>-</a:t>
                      </a:r>
                      <a:endParaRPr lang="en-US" altLang="zh-CN" sz="1400" kern="100" dirty="0" smtClean="0">
                        <a:solidFill>
                          <a:schemeClr val="dk1"/>
                        </a:solidFill>
                        <a:effectLst/>
                        <a:latin typeface="+mj-ea"/>
                        <a:ea typeface="+mn-ea"/>
                        <a:cs typeface="Times New Roman" panose="02020603050405020304" pitchFamily="18" charset="0"/>
                      </a:endParaRPr>
                    </a:p>
                    <a:p>
                      <a:pPr algn="ctr">
                        <a:spcAft>
                          <a:spcPts val="0"/>
                        </a:spcAft>
                      </a:pPr>
                      <a:r>
                        <a:rPr lang="en-US" altLang="zh-CN" sz="1400" kern="100" dirty="0" smtClean="0">
                          <a:solidFill>
                            <a:schemeClr val="dk1"/>
                          </a:solidFill>
                          <a:effectLst/>
                          <a:latin typeface="+mj-ea"/>
                          <a:ea typeface="+mn-ea"/>
                          <a:cs typeface="Times New Roman" panose="02020603050405020304" pitchFamily="18" charset="0"/>
                        </a:rPr>
                        <a:t>xx</a:t>
                      </a:r>
                      <a:r>
                        <a:rPr lang="zh-CN" altLang="en-US" sz="1400" kern="100" dirty="0" smtClean="0">
                          <a:solidFill>
                            <a:schemeClr val="dk1"/>
                          </a:solidFill>
                          <a:effectLst/>
                          <a:latin typeface="+mj-ea"/>
                          <a:ea typeface="+mn-ea"/>
                          <a:cs typeface="Times New Roman" panose="02020603050405020304" pitchFamily="18" charset="0"/>
                        </a:rPr>
                        <a:t>标准</a:t>
                      </a:r>
                      <a:endParaRPr lang="zh-CN" altLang="zh-CN" sz="1400" kern="100" dirty="0" smtClean="0">
                        <a:solidFill>
                          <a:schemeClr val="dk1"/>
                        </a:solidFill>
                        <a:effectLst/>
                        <a:latin typeface="+mj-ea"/>
                        <a:ea typeface="+mn-ea"/>
                        <a:cs typeface="Times New Roman" panose="02020603050405020304" pitchFamily="18" charset="0"/>
                      </a:endParaRPr>
                    </a:p>
                  </a:txBody>
                  <a:tcPr marL="68580" marR="68580" marT="0" marB="0" anchor="ctr">
                    <a:solidFill>
                      <a:schemeClr val="bg1">
                        <a:lumMod val="95000"/>
                      </a:schemeClr>
                    </a:solidFill>
                  </a:tcPr>
                </a:tc>
                <a:tc>
                  <a:txBody>
                    <a:bodyPr/>
                    <a:lstStyle/>
                    <a:p>
                      <a:endParaRPr lang="zh-CN" altLang="en-US"/>
                    </a:p>
                  </a:txBody>
                  <a:tcPr marL="68580" marR="68580" marT="0" marB="0" anchor="ctr">
                    <a:solidFill>
                      <a:schemeClr val="bg1">
                        <a:lumMod val="95000"/>
                      </a:schemeClr>
                    </a:solidFill>
                  </a:tcPr>
                </a:tc>
                <a:tc>
                  <a:txBody>
                    <a:bodyPr/>
                    <a:lstStyle/>
                    <a:p>
                      <a:endParaRPr lang="zh-CN" altLang="en-US" dirty="0"/>
                    </a:p>
                  </a:txBody>
                  <a:tcPr marL="68580" marR="68580" marT="0" marB="0" anchor="ctr">
                    <a:solidFill>
                      <a:schemeClr val="bg1">
                        <a:lumMod val="95000"/>
                      </a:schemeClr>
                    </a:solidFill>
                  </a:tcPr>
                </a:tc>
              </a:tr>
            </a:tbl>
          </a:graphicData>
        </a:graphic>
      </p:graphicFrame>
      <p:sp>
        <p:nvSpPr>
          <p:cNvPr id="128" name="AutoShape 21"/>
          <p:cNvSpPr>
            <a:spLocks noChangeArrowheads="1"/>
          </p:cNvSpPr>
          <p:nvPr/>
        </p:nvSpPr>
        <p:spPr bwMode="auto">
          <a:xfrm>
            <a:off x="5936329" y="4044762"/>
            <a:ext cx="1537824" cy="299804"/>
          </a:xfrm>
          <a:prstGeom prst="flowChartProcess">
            <a:avLst/>
          </a:prstGeom>
          <a:solidFill>
            <a:schemeClr val="accent1">
              <a:lumMod val="20000"/>
              <a:lumOff val="80000"/>
            </a:schemeClr>
          </a:solidFill>
          <a:ln w="19050" algn="ctr">
            <a:solidFill>
              <a:schemeClr val="tx1"/>
            </a:solidFill>
            <a:miter lim="800000"/>
          </a:ln>
          <a:effectLst/>
        </p:spPr>
        <p:txBody>
          <a:bodyPr wrap="none" lIns="18000" tIns="46800" rIns="18000" bIns="46800" anchor="ctr"/>
          <a:lstStyle/>
          <a:p>
            <a:pPr algn="ctr">
              <a:spcBef>
                <a:spcPct val="0"/>
              </a:spcBef>
              <a:defRPr/>
            </a:pPr>
            <a:r>
              <a:rPr lang="en-US" altLang="zh-CN" sz="1200" dirty="0" smtClean="0">
                <a:solidFill>
                  <a:prstClr val="black"/>
                </a:solidFill>
                <a:latin typeface="华文楷体" panose="02010600040101010101" charset="-122"/>
                <a:ea typeface="华文楷体" panose="02010600040101010101" charset="-122"/>
              </a:rPr>
              <a:t>6</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1</a:t>
            </a:r>
            <a:r>
              <a:rPr lang="en-US" altLang="zh-CN" sz="1200" dirty="0" smtClean="0">
                <a:solidFill>
                  <a:prstClr val="black"/>
                </a:solidFill>
                <a:latin typeface="华文楷体" panose="02010600040101010101" charset="-122"/>
                <a:ea typeface="华文楷体" panose="02010600040101010101" charset="-122"/>
              </a:rPr>
              <a:t>xxx</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129" name="直接箭头连接符 128"/>
          <p:cNvCxnSpPr>
            <a:stCxn id="50" idx="3"/>
            <a:endCxn id="128" idx="1"/>
          </p:cNvCxnSpPr>
          <p:nvPr/>
        </p:nvCxnSpPr>
        <p:spPr>
          <a:xfrm flipV="1">
            <a:off x="5518705" y="4194664"/>
            <a:ext cx="417624" cy="8539"/>
          </a:xfrm>
          <a:prstGeom prst="straightConnector1">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37" name="AutoShape 22"/>
          <p:cNvSpPr>
            <a:spLocks noChangeArrowheads="1"/>
          </p:cNvSpPr>
          <p:nvPr/>
        </p:nvSpPr>
        <p:spPr bwMode="auto">
          <a:xfrm>
            <a:off x="4738398" y="4492931"/>
            <a:ext cx="2005237" cy="249177"/>
          </a:xfrm>
          <a:prstGeom prst="flowChartDecision">
            <a:avLst/>
          </a:prstGeom>
          <a:solidFill>
            <a:schemeClr val="bg1"/>
          </a:solidFill>
          <a:ln w="19050" algn="ctr">
            <a:solidFill>
              <a:schemeClr val="tx1"/>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lang="en-US" altLang="zh-CN" sz="1200" dirty="0" smtClean="0">
                <a:solidFill>
                  <a:prstClr val="black"/>
                </a:solidFill>
                <a:latin typeface="华文楷体" panose="02010600040101010101" charset="-122"/>
                <a:ea typeface="华文楷体" panose="02010600040101010101" charset="-122"/>
              </a:rPr>
              <a:t>7</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0xxx</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138" name="肘形连接符 137"/>
          <p:cNvCxnSpPr>
            <a:endCxn id="137" idx="1"/>
          </p:cNvCxnSpPr>
          <p:nvPr/>
        </p:nvCxnSpPr>
        <p:spPr>
          <a:xfrm rot="16200000" flipH="1">
            <a:off x="4471419" y="4350540"/>
            <a:ext cx="278785" cy="255173"/>
          </a:xfrm>
          <a:prstGeom prst="bentConnector2">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45" name="AutoShape 22"/>
          <p:cNvSpPr>
            <a:spLocks noChangeArrowheads="1"/>
          </p:cNvSpPr>
          <p:nvPr/>
        </p:nvSpPr>
        <p:spPr bwMode="auto">
          <a:xfrm>
            <a:off x="4735983" y="4847653"/>
            <a:ext cx="2005236" cy="315319"/>
          </a:xfrm>
          <a:prstGeom prst="flowChartDecision">
            <a:avLst/>
          </a:prstGeom>
          <a:solidFill>
            <a:schemeClr val="bg1"/>
          </a:solidFill>
          <a:ln w="19050" algn="ctr">
            <a:solidFill>
              <a:schemeClr val="tx1"/>
            </a:solidFill>
            <a:miter lim="800000"/>
          </a:ln>
          <a:effec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lang="en-US" altLang="zh-CN" sz="1200" dirty="0" smtClean="0">
                <a:solidFill>
                  <a:prstClr val="black"/>
                </a:solidFill>
                <a:latin typeface="华文楷体" panose="02010600040101010101" charset="-122"/>
                <a:ea typeface="华文楷体" panose="02010600040101010101" charset="-122"/>
              </a:rPr>
              <a:t>8</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0</a:t>
            </a:r>
            <a:r>
              <a:rPr lang="en-US" altLang="zh-CN" sz="1200" dirty="0" err="1" smtClean="0">
                <a:solidFill>
                  <a:prstClr val="black"/>
                </a:solidFill>
                <a:latin typeface="华文楷体" panose="02010600040101010101" charset="-122"/>
                <a:ea typeface="华文楷体" panose="02010600040101010101" charset="-122"/>
              </a:rPr>
              <a:t>xxxx</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146" name="直接箭头连接符 145"/>
          <p:cNvCxnSpPr>
            <a:stCxn id="137" idx="2"/>
            <a:endCxn id="145" idx="0"/>
          </p:cNvCxnSpPr>
          <p:nvPr/>
        </p:nvCxnSpPr>
        <p:spPr>
          <a:xfrm flipH="1">
            <a:off x="5738601" y="4742108"/>
            <a:ext cx="2416" cy="105545"/>
          </a:xfrm>
          <a:prstGeom prst="straightConnector1">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51" name="Text Box 37"/>
          <p:cNvSpPr txBox="1">
            <a:spLocks noChangeArrowheads="1"/>
          </p:cNvSpPr>
          <p:nvPr/>
        </p:nvSpPr>
        <p:spPr bwMode="auto">
          <a:xfrm>
            <a:off x="5767859" y="4637832"/>
            <a:ext cx="270435"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rPr>
              <a:t>Y</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cxnSp>
        <p:nvCxnSpPr>
          <p:cNvPr id="167" name="直接连接符 166"/>
          <p:cNvCxnSpPr/>
          <p:nvPr/>
        </p:nvCxnSpPr>
        <p:spPr>
          <a:xfrm>
            <a:off x="6693118" y="4614913"/>
            <a:ext cx="1951724" cy="2606"/>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8" name="直接连接符 167"/>
          <p:cNvCxnSpPr/>
          <p:nvPr/>
        </p:nvCxnSpPr>
        <p:spPr>
          <a:xfrm>
            <a:off x="7863016" y="5366241"/>
            <a:ext cx="781826" cy="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9" name="Text Box 37"/>
          <p:cNvSpPr txBox="1">
            <a:spLocks noChangeArrowheads="1"/>
          </p:cNvSpPr>
          <p:nvPr/>
        </p:nvSpPr>
        <p:spPr bwMode="auto">
          <a:xfrm>
            <a:off x="6721686" y="4420625"/>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宋体" panose="02010600030101010101" pitchFamily="2" charset="-122"/>
                <a:cs typeface="+mn-cs"/>
              </a:rPr>
              <a:t>N</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170" name="Text Box 37"/>
          <p:cNvSpPr txBox="1">
            <a:spLocks noChangeArrowheads="1"/>
          </p:cNvSpPr>
          <p:nvPr/>
        </p:nvSpPr>
        <p:spPr bwMode="auto">
          <a:xfrm>
            <a:off x="5474133" y="5151584"/>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宋体" panose="02010600030101010101" pitchFamily="2" charset="-122"/>
                <a:cs typeface="+mn-cs"/>
              </a:rPr>
              <a:t>N</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171" name="Text Box 37"/>
          <p:cNvSpPr txBox="1">
            <a:spLocks noChangeArrowheads="1"/>
          </p:cNvSpPr>
          <p:nvPr/>
        </p:nvSpPr>
        <p:spPr bwMode="auto">
          <a:xfrm>
            <a:off x="6820077" y="4789755"/>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rPr>
              <a:t>Y</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185" name="AutoShape 21"/>
          <p:cNvSpPr>
            <a:spLocks noChangeArrowheads="1"/>
          </p:cNvSpPr>
          <p:nvPr/>
        </p:nvSpPr>
        <p:spPr bwMode="auto">
          <a:xfrm>
            <a:off x="5813180" y="1522400"/>
            <a:ext cx="755433" cy="363422"/>
          </a:xfrm>
          <a:prstGeom prst="flowChartProcess">
            <a:avLst/>
          </a:prstGeom>
          <a:solidFill>
            <a:schemeClr val="accent1">
              <a:lumMod val="20000"/>
              <a:lumOff val="80000"/>
            </a:schemeClr>
          </a:solidFill>
          <a:ln w="19050" algn="ctr">
            <a:solidFill>
              <a:schemeClr val="tx1"/>
            </a:solidFill>
            <a:miter lim="800000"/>
          </a:ln>
          <a:effec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lang="en-US" altLang="zh-CN" sz="1200" dirty="0" smtClean="0">
                <a:solidFill>
                  <a:prstClr val="black"/>
                </a:solidFill>
                <a:latin typeface="华文楷体" panose="02010600040101010101" charset="-122"/>
                <a:ea typeface="华文楷体" panose="02010600040101010101" charset="-122"/>
              </a:rPr>
              <a:t>10</a:t>
            </a:r>
            <a:r>
              <a:rPr lang="zh-CN" altLang="en-US" sz="1200" dirty="0" smtClean="0">
                <a:solidFill>
                  <a:prstClr val="black"/>
                </a:solidFill>
                <a:latin typeface="华文楷体" panose="02010600040101010101" charset="-122"/>
                <a:ea typeface="华文楷体" panose="02010600040101010101" charset="-122"/>
              </a:rPr>
              <a:t>审批</a:t>
            </a:r>
            <a:endParaRPr lang="en-US" altLang="zh-CN" sz="1200" dirty="0" smtClean="0">
              <a:solidFill>
                <a:prstClr val="black"/>
              </a:solidFill>
              <a:latin typeface="华文楷体" panose="02010600040101010101" charset="-122"/>
              <a:ea typeface="华文楷体" panose="02010600040101010101" charset="-122"/>
            </a:endParaRPr>
          </a:p>
          <a:p>
            <a:pPr marL="0" marR="0" lvl="0" indent="0" algn="ctr" defTabSz="914400" rtl="0" eaLnBrk="1" fontAlgn="auto" latinLnBrk="0" hangingPunct="1">
              <a:lnSpc>
                <a:spcPct val="100000"/>
              </a:lnSpc>
              <a:spcBef>
                <a:spcPct val="0"/>
              </a:spcBef>
              <a:spcAft>
                <a:spcPts val="0"/>
              </a:spcAft>
              <a:buClrTx/>
              <a:buSzTx/>
              <a:buFontTx/>
              <a:buNone/>
              <a:defRPr/>
            </a:pPr>
            <a:r>
              <a:rPr lang="zh-CN" altLang="en-US" sz="1200" dirty="0" smtClean="0">
                <a:solidFill>
                  <a:prstClr val="black"/>
                </a:solidFill>
                <a:latin typeface="华文楷体" panose="02010600040101010101" charset="-122"/>
                <a:ea typeface="华文楷体" panose="02010600040101010101" charset="-122"/>
              </a:rPr>
              <a:t>项目定级</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187" name="直接箭头连接符 186"/>
          <p:cNvCxnSpPr/>
          <p:nvPr/>
        </p:nvCxnSpPr>
        <p:spPr>
          <a:xfrm flipV="1">
            <a:off x="6610460" y="1704285"/>
            <a:ext cx="305455" cy="6761"/>
          </a:xfrm>
          <a:prstGeom prst="straightConnector1">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0" name="肘形连接符 9"/>
          <p:cNvCxnSpPr>
            <a:stCxn id="35" idx="2"/>
            <a:endCxn id="39" idx="0"/>
          </p:cNvCxnSpPr>
          <p:nvPr/>
        </p:nvCxnSpPr>
        <p:spPr>
          <a:xfrm rot="5400000">
            <a:off x="3933094" y="1912741"/>
            <a:ext cx="126663" cy="1495853"/>
          </a:xfrm>
          <a:prstGeom prst="bentConnector3">
            <a:avLst>
              <a:gd name="adj1" fmla="val 50000"/>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84" name="肘形连接符 83"/>
          <p:cNvCxnSpPr>
            <a:stCxn id="44" idx="2"/>
            <a:endCxn id="43" idx="0"/>
          </p:cNvCxnSpPr>
          <p:nvPr/>
        </p:nvCxnSpPr>
        <p:spPr>
          <a:xfrm rot="5400000">
            <a:off x="5325230" y="2691934"/>
            <a:ext cx="137926" cy="1749302"/>
          </a:xfrm>
          <a:prstGeom prst="bentConnector3">
            <a:avLst>
              <a:gd name="adj1" fmla="val 50000"/>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5" name="肘形连接符 94"/>
          <p:cNvCxnSpPr>
            <a:stCxn id="128" idx="2"/>
            <a:endCxn id="137" idx="0"/>
          </p:cNvCxnSpPr>
          <p:nvPr/>
        </p:nvCxnSpPr>
        <p:spPr>
          <a:xfrm rot="5400000">
            <a:off x="6148947" y="3936636"/>
            <a:ext cx="148365" cy="964224"/>
          </a:xfrm>
          <a:prstGeom prst="bentConnector3">
            <a:avLst>
              <a:gd name="adj1" fmla="val 50000"/>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06" name="AutoShape 21"/>
          <p:cNvSpPr>
            <a:spLocks noChangeArrowheads="1"/>
          </p:cNvSpPr>
          <p:nvPr/>
        </p:nvSpPr>
        <p:spPr bwMode="auto">
          <a:xfrm>
            <a:off x="7157884" y="4863168"/>
            <a:ext cx="1408057" cy="299804"/>
          </a:xfrm>
          <a:prstGeom prst="flowChartProcess">
            <a:avLst/>
          </a:prstGeom>
          <a:solidFill>
            <a:schemeClr val="accent1">
              <a:lumMod val="20000"/>
              <a:lumOff val="80000"/>
            </a:schemeClr>
          </a:solidFill>
          <a:ln w="19050" algn="ctr">
            <a:solidFill>
              <a:schemeClr val="tx1"/>
            </a:solidFill>
            <a:miter lim="800000"/>
          </a:ln>
          <a:effectLst/>
        </p:spPr>
        <p:txBody>
          <a:bodyPr wrap="none" lIns="18000" tIns="46800" rIns="18000" bIns="46800" anchor="ctr"/>
          <a:lstStyle/>
          <a:p>
            <a:pPr algn="ctr">
              <a:spcBef>
                <a:spcPct val="0"/>
              </a:spcBef>
              <a:defRPr/>
            </a:pPr>
            <a:r>
              <a:rPr lang="en-US" altLang="zh-CN" sz="1200" dirty="0" smtClean="0">
                <a:solidFill>
                  <a:prstClr val="black"/>
                </a:solidFill>
                <a:latin typeface="华文楷体" panose="02010600040101010101" charset="-122"/>
                <a:ea typeface="华文楷体" panose="02010600040101010101" charset="-122"/>
              </a:rPr>
              <a:t>6</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1</a:t>
            </a:r>
            <a:r>
              <a:rPr lang="en-US" altLang="zh-CN" sz="1200" dirty="0" smtClean="0">
                <a:solidFill>
                  <a:prstClr val="black"/>
                </a:solidFill>
                <a:latin typeface="华文楷体" panose="02010600040101010101" charset="-122"/>
                <a:ea typeface="华文楷体" panose="02010600040101010101" charset="-122"/>
              </a:rPr>
              <a:t>xxx</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107" name="直接箭头连接符 106"/>
          <p:cNvCxnSpPr>
            <a:stCxn id="145" idx="3"/>
            <a:endCxn id="106" idx="1"/>
          </p:cNvCxnSpPr>
          <p:nvPr/>
        </p:nvCxnSpPr>
        <p:spPr>
          <a:xfrm>
            <a:off x="6741219" y="5005313"/>
            <a:ext cx="416665" cy="7757"/>
          </a:xfrm>
          <a:prstGeom prst="straightConnector1">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08" name="肘形连接符 107"/>
          <p:cNvCxnSpPr>
            <a:stCxn id="106" idx="2"/>
          </p:cNvCxnSpPr>
          <p:nvPr/>
        </p:nvCxnSpPr>
        <p:spPr>
          <a:xfrm rot="5400000">
            <a:off x="7294593" y="4689076"/>
            <a:ext cx="93425" cy="1041217"/>
          </a:xfrm>
          <a:prstGeom prst="bentConnector2">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09" name="AutoShape 22"/>
          <p:cNvSpPr>
            <a:spLocks noChangeArrowheads="1"/>
          </p:cNvSpPr>
          <p:nvPr/>
        </p:nvSpPr>
        <p:spPr bwMode="auto">
          <a:xfrm>
            <a:off x="5857779" y="5233256"/>
            <a:ext cx="2005237" cy="249177"/>
          </a:xfrm>
          <a:prstGeom prst="flowChartDecision">
            <a:avLst/>
          </a:prstGeom>
          <a:solidFill>
            <a:schemeClr val="bg1"/>
          </a:solidFill>
          <a:ln w="19050" algn="ctr">
            <a:solidFill>
              <a:schemeClr val="tx1"/>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18000" tIns="46800" rIns="18000" bIns="46800" anchor="ctr"/>
          <a:lstStyle/>
          <a:p>
            <a:pPr marL="0" marR="0" lvl="0" indent="0" algn="ctr" defTabSz="914400" rtl="0" eaLnBrk="1" fontAlgn="auto" latinLnBrk="0" hangingPunct="1">
              <a:lnSpc>
                <a:spcPct val="100000"/>
              </a:lnSpc>
              <a:spcBef>
                <a:spcPct val="0"/>
              </a:spcBef>
              <a:spcAft>
                <a:spcPts val="0"/>
              </a:spcAft>
              <a:buClrTx/>
              <a:buSzTx/>
              <a:buFontTx/>
              <a:buNone/>
              <a:defRPr/>
            </a:pPr>
            <a:r>
              <a:rPr lang="en-US" altLang="zh-CN" sz="1200" dirty="0" smtClean="0">
                <a:solidFill>
                  <a:prstClr val="black"/>
                </a:solidFill>
                <a:latin typeface="华文楷体" panose="02010600040101010101" charset="-122"/>
                <a:ea typeface="华文楷体" panose="02010600040101010101" charset="-122"/>
              </a:rPr>
              <a:t>7</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0xxx</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cxnSp>
        <p:nvCxnSpPr>
          <p:cNvPr id="116" name="肘形连接符 115"/>
          <p:cNvCxnSpPr>
            <a:endCxn id="109" idx="1"/>
          </p:cNvCxnSpPr>
          <p:nvPr/>
        </p:nvCxnSpPr>
        <p:spPr>
          <a:xfrm rot="16200000" flipH="1">
            <a:off x="5715125" y="5215191"/>
            <a:ext cx="179912" cy="105396"/>
          </a:xfrm>
          <a:prstGeom prst="bentConnector2">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23" name="直接连接符 122"/>
          <p:cNvCxnSpPr/>
          <p:nvPr/>
        </p:nvCxnSpPr>
        <p:spPr>
          <a:xfrm>
            <a:off x="5574867" y="3760136"/>
            <a:ext cx="3069975" cy="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5" name="直接连接符 124"/>
          <p:cNvCxnSpPr/>
          <p:nvPr/>
        </p:nvCxnSpPr>
        <p:spPr>
          <a:xfrm>
            <a:off x="4250911" y="2886855"/>
            <a:ext cx="4393931" cy="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0" name="直接箭头连接符 129"/>
          <p:cNvCxnSpPr/>
          <p:nvPr/>
        </p:nvCxnSpPr>
        <p:spPr>
          <a:xfrm>
            <a:off x="6853972" y="5512182"/>
            <a:ext cx="0" cy="152613"/>
          </a:xfrm>
          <a:prstGeom prst="straightConnector1">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31" name="直接箭头连接符 130"/>
          <p:cNvCxnSpPr/>
          <p:nvPr/>
        </p:nvCxnSpPr>
        <p:spPr>
          <a:xfrm>
            <a:off x="3400898" y="3202111"/>
            <a:ext cx="0" cy="152613"/>
          </a:xfrm>
          <a:prstGeom prst="straightConnector1">
            <a:avLst/>
          </a:prstGeom>
          <a:ln w="1905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32" name="Text Box 37"/>
          <p:cNvSpPr txBox="1">
            <a:spLocks noChangeArrowheads="1"/>
          </p:cNvSpPr>
          <p:nvPr/>
        </p:nvSpPr>
        <p:spPr bwMode="auto">
          <a:xfrm>
            <a:off x="7936407" y="5161965"/>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宋体" panose="02010600030101010101" pitchFamily="2" charset="-122"/>
                <a:cs typeface="+mn-cs"/>
              </a:rPr>
              <a:t>N</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133" name="Text Box 37"/>
          <p:cNvSpPr txBox="1">
            <a:spLocks noChangeArrowheads="1"/>
          </p:cNvSpPr>
          <p:nvPr/>
        </p:nvSpPr>
        <p:spPr bwMode="auto">
          <a:xfrm>
            <a:off x="7840767" y="5485403"/>
            <a:ext cx="255174" cy="279180"/>
          </a:xfrm>
          <a:prstGeom prst="rect">
            <a:avLst/>
          </a:prstGeom>
          <a:noFill/>
          <a:ln w="12700" algn="ctr">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8000" tIns="46800" rIns="18000" bIns="4680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smtClean="0">
                <a:ln>
                  <a:noFill/>
                </a:ln>
                <a:solidFill>
                  <a:prstClr val="black"/>
                </a:solidFill>
                <a:effectLst/>
                <a:uLnTx/>
                <a:uFillTx/>
                <a:latin typeface="Arial" panose="020B0604020202020204"/>
                <a:ea typeface="宋体" panose="02010600030101010101" pitchFamily="2" charset="-122"/>
                <a:cs typeface="+mn-cs"/>
              </a:rPr>
              <a:t>N</a:t>
            </a:r>
            <a:endParaRPr kumimoji="0" lang="en-US" altLang="zh-CN" sz="1200" b="0" i="0" u="none" strike="noStrike" kern="1200" cap="none" spc="0" normalizeH="0" baseline="0" noProof="0" dirty="0">
              <a:ln>
                <a:noFill/>
              </a:ln>
              <a:solidFill>
                <a:prstClr val="black"/>
              </a:solidFill>
              <a:effectLst/>
              <a:uLnTx/>
              <a:uFillTx/>
              <a:latin typeface="Arial" panose="020B0604020202020204"/>
              <a:ea typeface="宋体" panose="02010600030101010101" pitchFamily="2" charset="-122"/>
              <a:cs typeface="+mn-cs"/>
            </a:endParaRPr>
          </a:p>
        </p:txBody>
      </p:sp>
      <p:sp>
        <p:nvSpPr>
          <p:cNvPr id="83"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流程</a:t>
            </a:r>
            <a:endParaRPr lang="zh-CN" altLang="en-US" sz="2400" dirty="0">
              <a:latin typeface="+mj-ea"/>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华文楷体" panose="02010600040101010101" charset="-122"/>
              </a:rPr>
              <a:t>流程</a:t>
            </a:r>
            <a:endParaRPr lang="zh-CN" altLang="en-US" sz="2400" dirty="0">
              <a:latin typeface="华文楷体" panose="02010600040101010101" charset="-122"/>
            </a:endParaRPr>
          </a:p>
        </p:txBody>
      </p:sp>
      <p:sp>
        <p:nvSpPr>
          <p:cNvPr id="4" name="U-Turn Arrow 79"/>
          <p:cNvSpPr/>
          <p:nvPr/>
        </p:nvSpPr>
        <p:spPr>
          <a:xfrm rot="16200000" flipV="1">
            <a:off x="8398243" y="936314"/>
            <a:ext cx="1414715" cy="4367971"/>
          </a:xfrm>
          <a:prstGeom prst="uturnArrow">
            <a:avLst>
              <a:gd name="adj1" fmla="val 11268"/>
              <a:gd name="adj2" fmla="val 25000"/>
              <a:gd name="adj3" fmla="val 0"/>
              <a:gd name="adj4" fmla="val 40317"/>
              <a:gd name="adj5"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6680" tIns="43340" rIns="86680" bIns="43340" rtlCol="0" anchor="ctr"/>
          <a:lstStyle/>
          <a:p>
            <a:pPr algn="ctr">
              <a:lnSpc>
                <a:spcPct val="120000"/>
              </a:lnSpc>
            </a:pPr>
            <a:endParaRPr lang="en-US" sz="2400" dirty="0">
              <a:solidFill>
                <a:schemeClr val="tx1"/>
              </a:solidFill>
              <a:latin typeface="+mn-ea"/>
              <a:sym typeface="Arial" panose="020B0604020202020204" pitchFamily="34" charset="0"/>
            </a:endParaRPr>
          </a:p>
        </p:txBody>
      </p:sp>
      <p:sp>
        <p:nvSpPr>
          <p:cNvPr id="5" name="U-Turn Arrow 83"/>
          <p:cNvSpPr/>
          <p:nvPr/>
        </p:nvSpPr>
        <p:spPr>
          <a:xfrm rot="5400000" flipV="1">
            <a:off x="2303397" y="228958"/>
            <a:ext cx="1414715" cy="4367971"/>
          </a:xfrm>
          <a:prstGeom prst="uturnArrow">
            <a:avLst>
              <a:gd name="adj1" fmla="val 11268"/>
              <a:gd name="adj2" fmla="val 25000"/>
              <a:gd name="adj3" fmla="val 0"/>
              <a:gd name="adj4" fmla="val 40317"/>
              <a:gd name="adj5" fmla="val 100000"/>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lIns="86680" tIns="43340" rIns="86680" bIns="43340" rtlCol="0" anchor="ctr"/>
          <a:lstStyle/>
          <a:p>
            <a:pPr algn="ctr">
              <a:lnSpc>
                <a:spcPct val="120000"/>
              </a:lnSpc>
            </a:pPr>
            <a:endParaRPr lang="en-US" sz="2400" dirty="0">
              <a:solidFill>
                <a:schemeClr val="tx1"/>
              </a:solidFill>
              <a:latin typeface="+mn-ea"/>
              <a:sym typeface="Arial" panose="020B0604020202020204" pitchFamily="34" charset="0"/>
            </a:endParaRPr>
          </a:p>
        </p:txBody>
      </p:sp>
      <p:sp>
        <p:nvSpPr>
          <p:cNvPr id="6" name="U-Turn Arrow 84"/>
          <p:cNvSpPr/>
          <p:nvPr/>
        </p:nvSpPr>
        <p:spPr>
          <a:xfrm rot="5400000" flipV="1">
            <a:off x="2303397" y="2196291"/>
            <a:ext cx="1414715" cy="4367971"/>
          </a:xfrm>
          <a:prstGeom prst="uturnArrow">
            <a:avLst>
              <a:gd name="adj1" fmla="val 11268"/>
              <a:gd name="adj2" fmla="val 25000"/>
              <a:gd name="adj3" fmla="val 0"/>
              <a:gd name="adj4" fmla="val 40317"/>
              <a:gd name="adj5" fmla="val 1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6680" tIns="43340" rIns="86680" bIns="43340" rtlCol="0" anchor="ctr"/>
          <a:lstStyle/>
          <a:p>
            <a:pPr algn="ctr">
              <a:lnSpc>
                <a:spcPct val="120000"/>
              </a:lnSpc>
            </a:pPr>
            <a:endParaRPr lang="en-US" sz="2400" dirty="0">
              <a:solidFill>
                <a:schemeClr val="tx1"/>
              </a:solidFill>
              <a:latin typeface="+mn-ea"/>
              <a:sym typeface="Arial" panose="020B0604020202020204" pitchFamily="34" charset="0"/>
            </a:endParaRPr>
          </a:p>
        </p:txBody>
      </p:sp>
      <p:sp>
        <p:nvSpPr>
          <p:cNvPr id="7" name="U-Turn Arrow 85"/>
          <p:cNvSpPr/>
          <p:nvPr/>
        </p:nvSpPr>
        <p:spPr>
          <a:xfrm rot="16200000" flipV="1">
            <a:off x="8398243" y="2903648"/>
            <a:ext cx="1414715" cy="4367971"/>
          </a:xfrm>
          <a:prstGeom prst="uturnArrow">
            <a:avLst>
              <a:gd name="adj1" fmla="val 11268"/>
              <a:gd name="adj2" fmla="val 25000"/>
              <a:gd name="adj3" fmla="val 0"/>
              <a:gd name="adj4" fmla="val 40317"/>
              <a:gd name="adj5" fmla="val 10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6680" tIns="43340" rIns="86680" bIns="43340" rtlCol="0" anchor="ctr"/>
          <a:lstStyle/>
          <a:p>
            <a:pPr algn="ctr">
              <a:lnSpc>
                <a:spcPct val="120000"/>
              </a:lnSpc>
            </a:pPr>
            <a:endParaRPr lang="en-US" sz="2400" dirty="0">
              <a:solidFill>
                <a:schemeClr val="tx1"/>
              </a:solidFill>
              <a:latin typeface="+mn-ea"/>
              <a:sym typeface="Arial" panose="020B0604020202020204" pitchFamily="34" charset="0"/>
            </a:endParaRPr>
          </a:p>
        </p:txBody>
      </p:sp>
      <p:grpSp>
        <p:nvGrpSpPr>
          <p:cNvPr id="8" name="Group 117"/>
          <p:cNvGrpSpPr/>
          <p:nvPr/>
        </p:nvGrpSpPr>
        <p:grpSpPr>
          <a:xfrm>
            <a:off x="4890001" y="2359254"/>
            <a:ext cx="2437937" cy="761047"/>
            <a:chOff x="3657600" y="1978993"/>
            <a:chExt cx="1828800" cy="570785"/>
          </a:xfrm>
        </p:grpSpPr>
        <p:sp>
          <p:nvSpPr>
            <p:cNvPr id="9" name="Rounded Rectangle 114"/>
            <p:cNvSpPr/>
            <p:nvPr/>
          </p:nvSpPr>
          <p:spPr bwMode="auto">
            <a:xfrm>
              <a:off x="3657600" y="1978993"/>
              <a:ext cx="1828800" cy="530519"/>
            </a:xfrm>
            <a:prstGeom prst="roundRect">
              <a:avLst/>
            </a:prstGeom>
            <a:solidFill>
              <a:schemeClr val="accent1"/>
            </a:solidFill>
            <a:ln w="9525">
              <a:noFill/>
              <a:round/>
            </a:ln>
          </p:spPr>
          <p:txBody>
            <a:bodyPr vert="horz" wrap="square" lIns="128540" tIns="64270" rIns="128540" bIns="64270" numCol="1" rtlCol="0" anchor="ctr" anchorCtr="0" compatLnSpc="1"/>
            <a:lstStyle/>
            <a:p>
              <a:pPr algn="ctr">
                <a:lnSpc>
                  <a:spcPct val="120000"/>
                </a:lnSpc>
              </a:pPr>
              <a:endParaRPr lang="en-US" sz="1500" dirty="0">
                <a:solidFill>
                  <a:schemeClr val="bg1"/>
                </a:solidFill>
                <a:latin typeface="+mn-ea"/>
                <a:sym typeface="Arial" panose="020B0604020202020204" pitchFamily="34" charset="0"/>
              </a:endParaRPr>
            </a:p>
          </p:txBody>
        </p:sp>
        <p:sp>
          <p:nvSpPr>
            <p:cNvPr id="10" name="Rounded Rectangle 87"/>
            <p:cNvSpPr/>
            <p:nvPr/>
          </p:nvSpPr>
          <p:spPr bwMode="auto">
            <a:xfrm>
              <a:off x="3657600" y="2019259"/>
              <a:ext cx="1828800" cy="530519"/>
            </a:xfrm>
            <a:prstGeom prst="roundRect">
              <a:avLst/>
            </a:prstGeom>
            <a:solidFill>
              <a:schemeClr val="accent2"/>
            </a:solidFill>
            <a:ln w="9525">
              <a:noFill/>
              <a:round/>
            </a:ln>
          </p:spPr>
          <p:txBody>
            <a:bodyPr vert="horz" wrap="square" lIns="128540" tIns="64270" rIns="128540" bIns="64270" numCol="1" rtlCol="0" anchor="ctr" anchorCtr="0" compatLnSpc="1"/>
            <a:lstStyle/>
            <a:p>
              <a:pPr algn="ctr">
                <a:lnSpc>
                  <a:spcPct val="120000"/>
                </a:lnSpc>
              </a:pPr>
              <a:r>
                <a:rPr lang="zh-CN" altLang="en-US" sz="2400" b="1" dirty="0">
                  <a:solidFill>
                    <a:schemeClr val="bg1"/>
                  </a:solidFill>
                  <a:latin typeface="+mn-ea"/>
                  <a:sym typeface="Arial" panose="020B0604020202020204" pitchFamily="34" charset="0"/>
                </a:rPr>
                <a:t>技术</a:t>
              </a:r>
              <a:r>
                <a:rPr lang="en-US" altLang="zh-CN" sz="2400" b="1" dirty="0" smtClean="0">
                  <a:solidFill>
                    <a:schemeClr val="bg1"/>
                  </a:solidFill>
                  <a:latin typeface="+mn-ea"/>
                  <a:sym typeface="Arial" panose="020B0604020202020204" pitchFamily="34" charset="0"/>
                </a:rPr>
                <a:t>+</a:t>
              </a:r>
              <a:r>
                <a:rPr lang="zh-CN" altLang="en-US" sz="2400" b="1" dirty="0" smtClean="0">
                  <a:solidFill>
                    <a:schemeClr val="bg1"/>
                  </a:solidFill>
                  <a:latin typeface="+mn-ea"/>
                  <a:sym typeface="Arial" panose="020B0604020202020204" pitchFamily="34" charset="0"/>
                </a:rPr>
                <a:t>资本</a:t>
              </a:r>
              <a:endParaRPr lang="en-US" sz="2400" b="1" dirty="0">
                <a:solidFill>
                  <a:schemeClr val="bg1"/>
                </a:solidFill>
                <a:latin typeface="+mn-ea"/>
                <a:sym typeface="Arial" panose="020B0604020202020204" pitchFamily="34" charset="0"/>
              </a:endParaRPr>
            </a:p>
          </p:txBody>
        </p:sp>
      </p:grpSp>
      <p:grpSp>
        <p:nvGrpSpPr>
          <p:cNvPr id="11" name="Group 118"/>
          <p:cNvGrpSpPr/>
          <p:nvPr/>
        </p:nvGrpSpPr>
        <p:grpSpPr>
          <a:xfrm>
            <a:off x="4890001" y="3342921"/>
            <a:ext cx="2437937" cy="761047"/>
            <a:chOff x="3657600" y="2716743"/>
            <a:chExt cx="1828800" cy="570785"/>
          </a:xfrm>
        </p:grpSpPr>
        <p:sp>
          <p:nvSpPr>
            <p:cNvPr id="12" name="Rounded Rectangle 115"/>
            <p:cNvSpPr/>
            <p:nvPr/>
          </p:nvSpPr>
          <p:spPr bwMode="auto">
            <a:xfrm>
              <a:off x="3657600" y="2716743"/>
              <a:ext cx="1828800" cy="530519"/>
            </a:xfrm>
            <a:prstGeom prst="roundRect">
              <a:avLst/>
            </a:prstGeom>
            <a:solidFill>
              <a:schemeClr val="accent2"/>
            </a:solidFill>
            <a:ln w="9525">
              <a:noFill/>
              <a:round/>
            </a:ln>
          </p:spPr>
          <p:txBody>
            <a:bodyPr vert="horz" wrap="square" lIns="128540" tIns="64270" rIns="128540" bIns="64270" numCol="1" rtlCol="0" anchor="ctr" anchorCtr="0" compatLnSpc="1"/>
            <a:lstStyle/>
            <a:p>
              <a:pPr algn="ctr">
                <a:lnSpc>
                  <a:spcPct val="120000"/>
                </a:lnSpc>
              </a:pPr>
              <a:endParaRPr lang="en-US" sz="1500" dirty="0">
                <a:solidFill>
                  <a:schemeClr val="bg1"/>
                </a:solidFill>
                <a:latin typeface="+mn-ea"/>
                <a:sym typeface="Arial" panose="020B0604020202020204" pitchFamily="34" charset="0"/>
              </a:endParaRPr>
            </a:p>
          </p:txBody>
        </p:sp>
        <p:sp>
          <p:nvSpPr>
            <p:cNvPr id="13" name="Rounded Rectangle 88"/>
            <p:cNvSpPr/>
            <p:nvPr/>
          </p:nvSpPr>
          <p:spPr bwMode="auto">
            <a:xfrm>
              <a:off x="3657600" y="2757009"/>
              <a:ext cx="1828800" cy="530519"/>
            </a:xfrm>
            <a:prstGeom prst="roundRect">
              <a:avLst/>
            </a:prstGeom>
            <a:solidFill>
              <a:schemeClr val="accent3"/>
            </a:solidFill>
            <a:ln w="9525">
              <a:noFill/>
              <a:round/>
            </a:ln>
          </p:spPr>
          <p:txBody>
            <a:bodyPr vert="horz" wrap="square" lIns="128540" tIns="64270" rIns="128540" bIns="64270" numCol="1" rtlCol="0" anchor="ctr" anchorCtr="0" compatLnSpc="1"/>
            <a:lstStyle/>
            <a:p>
              <a:pPr algn="ctr">
                <a:lnSpc>
                  <a:spcPct val="120000"/>
                </a:lnSpc>
              </a:pPr>
              <a:r>
                <a:rPr lang="zh-CN" altLang="en-US" sz="2400" b="1" dirty="0" smtClean="0">
                  <a:latin typeface="+mn-ea"/>
                  <a:sym typeface="Arial" panose="020B0604020202020204" pitchFamily="34" charset="0"/>
                </a:rPr>
                <a:t>模式</a:t>
              </a:r>
              <a:r>
                <a:rPr lang="en-US" altLang="zh-CN" sz="2400" b="1" dirty="0" smtClean="0">
                  <a:latin typeface="+mn-ea"/>
                  <a:sym typeface="Arial" panose="020B0604020202020204" pitchFamily="34" charset="0"/>
                </a:rPr>
                <a:t>+</a:t>
              </a:r>
              <a:r>
                <a:rPr lang="zh-CN" altLang="en-US" sz="2400" b="1" dirty="0" smtClean="0">
                  <a:latin typeface="+mn-ea"/>
                  <a:sym typeface="Arial" panose="020B0604020202020204" pitchFamily="34" charset="0"/>
                </a:rPr>
                <a:t>管理</a:t>
              </a:r>
              <a:endParaRPr lang="en-US" sz="2400" b="1" dirty="0">
                <a:latin typeface="+mn-ea"/>
                <a:sym typeface="Arial" panose="020B0604020202020204" pitchFamily="34" charset="0"/>
              </a:endParaRPr>
            </a:p>
          </p:txBody>
        </p:sp>
      </p:grpSp>
      <p:grpSp>
        <p:nvGrpSpPr>
          <p:cNvPr id="14" name="Group 119"/>
          <p:cNvGrpSpPr/>
          <p:nvPr/>
        </p:nvGrpSpPr>
        <p:grpSpPr>
          <a:xfrm>
            <a:off x="4890001" y="4326589"/>
            <a:ext cx="2437937" cy="761047"/>
            <a:chOff x="3657600" y="3454494"/>
            <a:chExt cx="1828800" cy="570785"/>
          </a:xfrm>
        </p:grpSpPr>
        <p:sp>
          <p:nvSpPr>
            <p:cNvPr id="15" name="Rounded Rectangle 116"/>
            <p:cNvSpPr/>
            <p:nvPr/>
          </p:nvSpPr>
          <p:spPr bwMode="auto">
            <a:xfrm>
              <a:off x="3657600" y="3454494"/>
              <a:ext cx="1828800" cy="530519"/>
            </a:xfrm>
            <a:prstGeom prst="roundRect">
              <a:avLst/>
            </a:prstGeom>
            <a:solidFill>
              <a:schemeClr val="accent3"/>
            </a:solidFill>
            <a:ln w="9525">
              <a:noFill/>
              <a:round/>
            </a:ln>
          </p:spPr>
          <p:txBody>
            <a:bodyPr vert="horz" wrap="square" lIns="128540" tIns="64270" rIns="128540" bIns="64270" numCol="1" rtlCol="0" anchor="ctr" anchorCtr="0" compatLnSpc="1"/>
            <a:lstStyle/>
            <a:p>
              <a:pPr algn="ctr">
                <a:lnSpc>
                  <a:spcPct val="120000"/>
                </a:lnSpc>
              </a:pPr>
              <a:endParaRPr lang="en-US" sz="1500" dirty="0">
                <a:solidFill>
                  <a:schemeClr val="bg1"/>
                </a:solidFill>
                <a:latin typeface="+mn-ea"/>
                <a:sym typeface="Arial" panose="020B0604020202020204" pitchFamily="34" charset="0"/>
              </a:endParaRPr>
            </a:p>
          </p:txBody>
        </p:sp>
        <p:sp>
          <p:nvSpPr>
            <p:cNvPr id="16" name="Rounded Rectangle 89"/>
            <p:cNvSpPr/>
            <p:nvPr/>
          </p:nvSpPr>
          <p:spPr bwMode="auto">
            <a:xfrm>
              <a:off x="3657600" y="3494760"/>
              <a:ext cx="1828800" cy="530519"/>
            </a:xfrm>
            <a:prstGeom prst="roundRect">
              <a:avLst/>
            </a:prstGeom>
            <a:solidFill>
              <a:schemeClr val="accent4"/>
            </a:solidFill>
            <a:ln w="9525">
              <a:noFill/>
              <a:round/>
            </a:ln>
          </p:spPr>
          <p:txBody>
            <a:bodyPr vert="horz" wrap="square" lIns="128540" tIns="64270" rIns="128540" bIns="64270" numCol="1" rtlCol="0" anchor="ctr" anchorCtr="0" compatLnSpc="1"/>
            <a:lstStyle/>
            <a:p>
              <a:pPr algn="ctr">
                <a:lnSpc>
                  <a:spcPct val="120000"/>
                </a:lnSpc>
              </a:pPr>
              <a:r>
                <a:rPr lang="zh-CN" altLang="en-US" sz="2400" b="1" dirty="0">
                  <a:solidFill>
                    <a:schemeClr val="bg1"/>
                  </a:solidFill>
                  <a:latin typeface="+mn-ea"/>
                  <a:sym typeface="Arial" panose="020B0604020202020204" pitchFamily="34" charset="0"/>
                </a:rPr>
                <a:t>融合</a:t>
              </a:r>
              <a:r>
                <a:rPr lang="en-US" altLang="zh-CN" sz="2400" b="1" dirty="0">
                  <a:solidFill>
                    <a:schemeClr val="bg1"/>
                  </a:solidFill>
                  <a:latin typeface="+mn-ea"/>
                  <a:sym typeface="Arial" panose="020B0604020202020204" pitchFamily="34" charset="0"/>
                </a:rPr>
                <a:t>+</a:t>
              </a:r>
              <a:r>
                <a:rPr lang="zh-CN" altLang="en-US" sz="2400" b="1" dirty="0">
                  <a:solidFill>
                    <a:schemeClr val="bg1"/>
                  </a:solidFill>
                  <a:latin typeface="+mn-ea"/>
                  <a:sym typeface="Arial" panose="020B0604020202020204" pitchFamily="34" charset="0"/>
                </a:rPr>
                <a:t>发展</a:t>
              </a:r>
              <a:endParaRPr lang="en-US" sz="2400" b="1" dirty="0">
                <a:solidFill>
                  <a:schemeClr val="bg1"/>
                </a:solidFill>
                <a:latin typeface="+mn-ea"/>
                <a:sym typeface="Arial" panose="020B0604020202020204" pitchFamily="34" charset="0"/>
              </a:endParaRPr>
            </a:p>
          </p:txBody>
        </p:sp>
      </p:grpSp>
      <p:sp>
        <p:nvSpPr>
          <p:cNvPr id="17" name="Oval 91"/>
          <p:cNvSpPr/>
          <p:nvPr/>
        </p:nvSpPr>
        <p:spPr>
          <a:xfrm>
            <a:off x="6460802" y="5361344"/>
            <a:ext cx="710908" cy="711036"/>
          </a:xfrm>
          <a:prstGeom prst="ellipse">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100" b="1" dirty="0">
              <a:solidFill>
                <a:schemeClr val="accent1"/>
              </a:solidFill>
              <a:latin typeface="+mn-ea"/>
              <a:sym typeface="Arial" panose="020B0604020202020204" pitchFamily="34" charset="0"/>
            </a:endParaRPr>
          </a:p>
        </p:txBody>
      </p:sp>
      <p:grpSp>
        <p:nvGrpSpPr>
          <p:cNvPr id="18" name="Group 93"/>
          <p:cNvGrpSpPr/>
          <p:nvPr/>
        </p:nvGrpSpPr>
        <p:grpSpPr>
          <a:xfrm rot="10800000">
            <a:off x="4787414" y="1438052"/>
            <a:ext cx="710908" cy="711036"/>
            <a:chOff x="618873" y="1239440"/>
            <a:chExt cx="650476" cy="650470"/>
          </a:xfrm>
        </p:grpSpPr>
        <p:sp>
          <p:nvSpPr>
            <p:cNvPr id="19" name="Oval 94"/>
            <p:cNvSpPr/>
            <p:nvPr/>
          </p:nvSpPr>
          <p:spPr>
            <a:xfrm>
              <a:off x="618873" y="1239440"/>
              <a:ext cx="650476" cy="650470"/>
            </a:xfrm>
            <a:prstGeom prst="ellipse">
              <a:avLst/>
            </a:prstGeom>
            <a:solidFill>
              <a:srgbClr val="FE581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100" b="1" dirty="0">
                <a:solidFill>
                  <a:schemeClr val="accent1"/>
                </a:solidFill>
                <a:latin typeface="+mn-ea"/>
                <a:sym typeface="Arial" panose="020B0604020202020204" pitchFamily="34" charset="0"/>
              </a:endParaRPr>
            </a:p>
          </p:txBody>
        </p:sp>
        <p:sp>
          <p:nvSpPr>
            <p:cNvPr id="20" name="Freeform 38"/>
            <p:cNvSpPr>
              <a:spLocks noEditPoints="1"/>
            </p:cNvSpPr>
            <p:nvPr/>
          </p:nvSpPr>
          <p:spPr bwMode="auto">
            <a:xfrm rot="16200000">
              <a:off x="736069" y="1356633"/>
              <a:ext cx="416084" cy="416084"/>
            </a:xfrm>
            <a:custGeom>
              <a:avLst/>
              <a:gdLst/>
              <a:ahLst/>
              <a:cxnLst>
                <a:cxn ang="0">
                  <a:pos x="31" y="62"/>
                </a:cxn>
                <a:cxn ang="0">
                  <a:pos x="0" y="31"/>
                </a:cxn>
                <a:cxn ang="0">
                  <a:pos x="31" y="0"/>
                </a:cxn>
                <a:cxn ang="0">
                  <a:pos x="62" y="31"/>
                </a:cxn>
                <a:cxn ang="0">
                  <a:pos x="31" y="62"/>
                </a:cxn>
                <a:cxn ang="0">
                  <a:pos x="51" y="30"/>
                </a:cxn>
                <a:cxn ang="0">
                  <a:pos x="48" y="26"/>
                </a:cxn>
                <a:cxn ang="0">
                  <a:pos x="46" y="25"/>
                </a:cxn>
                <a:cxn ang="0">
                  <a:pos x="44" y="26"/>
                </a:cxn>
                <a:cxn ang="0">
                  <a:pos x="36" y="33"/>
                </a:cxn>
                <a:cxn ang="0">
                  <a:pos x="36" y="13"/>
                </a:cxn>
                <a:cxn ang="0">
                  <a:pos x="34" y="11"/>
                </a:cxn>
                <a:cxn ang="0">
                  <a:pos x="29" y="11"/>
                </a:cxn>
                <a:cxn ang="0">
                  <a:pos x="26" y="13"/>
                </a:cxn>
                <a:cxn ang="0">
                  <a:pos x="26" y="33"/>
                </a:cxn>
                <a:cxn ang="0">
                  <a:pos x="19" y="26"/>
                </a:cxn>
                <a:cxn ang="0">
                  <a:pos x="17" y="25"/>
                </a:cxn>
                <a:cxn ang="0">
                  <a:pos x="15" y="26"/>
                </a:cxn>
                <a:cxn ang="0">
                  <a:pos x="11" y="30"/>
                </a:cxn>
                <a:cxn ang="0">
                  <a:pos x="11" y="31"/>
                </a:cxn>
                <a:cxn ang="0">
                  <a:pos x="11" y="33"/>
                </a:cxn>
                <a:cxn ang="0">
                  <a:pos x="26" y="48"/>
                </a:cxn>
                <a:cxn ang="0">
                  <a:pos x="30" y="51"/>
                </a:cxn>
                <a:cxn ang="0">
                  <a:pos x="31" y="52"/>
                </a:cxn>
                <a:cxn ang="0">
                  <a:pos x="33" y="51"/>
                </a:cxn>
                <a:cxn ang="0">
                  <a:pos x="37" y="48"/>
                </a:cxn>
                <a:cxn ang="0">
                  <a:pos x="51" y="33"/>
                </a:cxn>
                <a:cxn ang="0">
                  <a:pos x="52" y="31"/>
                </a:cxn>
                <a:cxn ang="0">
                  <a:pos x="51" y="30"/>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51" y="30"/>
                  </a:moveTo>
                  <a:cubicBezTo>
                    <a:pt x="48" y="26"/>
                    <a:pt x="48" y="26"/>
                    <a:pt x="48" y="26"/>
                  </a:cubicBezTo>
                  <a:cubicBezTo>
                    <a:pt x="47" y="25"/>
                    <a:pt x="47" y="25"/>
                    <a:pt x="46" y="25"/>
                  </a:cubicBezTo>
                  <a:cubicBezTo>
                    <a:pt x="45" y="25"/>
                    <a:pt x="45" y="25"/>
                    <a:pt x="44" y="26"/>
                  </a:cubicBezTo>
                  <a:cubicBezTo>
                    <a:pt x="36" y="33"/>
                    <a:pt x="36" y="33"/>
                    <a:pt x="36" y="33"/>
                  </a:cubicBezTo>
                  <a:cubicBezTo>
                    <a:pt x="36" y="13"/>
                    <a:pt x="36" y="13"/>
                    <a:pt x="36" y="13"/>
                  </a:cubicBezTo>
                  <a:cubicBezTo>
                    <a:pt x="36" y="12"/>
                    <a:pt x="35" y="11"/>
                    <a:pt x="34" y="11"/>
                  </a:cubicBezTo>
                  <a:cubicBezTo>
                    <a:pt x="29" y="11"/>
                    <a:pt x="29" y="11"/>
                    <a:pt x="29" y="11"/>
                  </a:cubicBezTo>
                  <a:cubicBezTo>
                    <a:pt x="27" y="11"/>
                    <a:pt x="26" y="12"/>
                    <a:pt x="26" y="13"/>
                  </a:cubicBezTo>
                  <a:cubicBezTo>
                    <a:pt x="26" y="33"/>
                    <a:pt x="26" y="33"/>
                    <a:pt x="26" y="33"/>
                  </a:cubicBezTo>
                  <a:cubicBezTo>
                    <a:pt x="19" y="26"/>
                    <a:pt x="19" y="26"/>
                    <a:pt x="19" y="26"/>
                  </a:cubicBezTo>
                  <a:cubicBezTo>
                    <a:pt x="18" y="25"/>
                    <a:pt x="17" y="25"/>
                    <a:pt x="17" y="25"/>
                  </a:cubicBezTo>
                  <a:cubicBezTo>
                    <a:pt x="16" y="25"/>
                    <a:pt x="15" y="25"/>
                    <a:pt x="15" y="26"/>
                  </a:cubicBezTo>
                  <a:cubicBezTo>
                    <a:pt x="11" y="30"/>
                    <a:pt x="11" y="30"/>
                    <a:pt x="11" y="30"/>
                  </a:cubicBezTo>
                  <a:cubicBezTo>
                    <a:pt x="11" y="30"/>
                    <a:pt x="11" y="31"/>
                    <a:pt x="11" y="31"/>
                  </a:cubicBezTo>
                  <a:cubicBezTo>
                    <a:pt x="11" y="32"/>
                    <a:pt x="11" y="33"/>
                    <a:pt x="11" y="33"/>
                  </a:cubicBezTo>
                  <a:cubicBezTo>
                    <a:pt x="26" y="48"/>
                    <a:pt x="26" y="48"/>
                    <a:pt x="26" y="48"/>
                  </a:cubicBezTo>
                  <a:cubicBezTo>
                    <a:pt x="30" y="51"/>
                    <a:pt x="30" y="51"/>
                    <a:pt x="30" y="51"/>
                  </a:cubicBezTo>
                  <a:cubicBezTo>
                    <a:pt x="30" y="52"/>
                    <a:pt x="31" y="52"/>
                    <a:pt x="31" y="52"/>
                  </a:cubicBezTo>
                  <a:cubicBezTo>
                    <a:pt x="32" y="52"/>
                    <a:pt x="33" y="52"/>
                    <a:pt x="33" y="51"/>
                  </a:cubicBezTo>
                  <a:cubicBezTo>
                    <a:pt x="37" y="48"/>
                    <a:pt x="37" y="48"/>
                    <a:pt x="37" y="48"/>
                  </a:cubicBezTo>
                  <a:cubicBezTo>
                    <a:pt x="51" y="33"/>
                    <a:pt x="51" y="33"/>
                    <a:pt x="51" y="33"/>
                  </a:cubicBezTo>
                  <a:cubicBezTo>
                    <a:pt x="52" y="33"/>
                    <a:pt x="52" y="32"/>
                    <a:pt x="52" y="31"/>
                  </a:cubicBezTo>
                  <a:cubicBezTo>
                    <a:pt x="52" y="31"/>
                    <a:pt x="52" y="30"/>
                    <a:pt x="51" y="30"/>
                  </a:cubicBezTo>
                  <a:close/>
                </a:path>
              </a:pathLst>
            </a:custGeom>
            <a:solidFill>
              <a:schemeClr val="tx1"/>
            </a:solidFill>
            <a:ln w="9525">
              <a:noFill/>
              <a:round/>
            </a:ln>
          </p:spPr>
          <p:txBody>
            <a:bodyPr vert="horz" wrap="square" lIns="128540" tIns="64270" rIns="128540" bIns="64270" numCol="1" anchor="t" anchorCtr="0" compatLnSpc="1"/>
            <a:lstStyle/>
            <a:p>
              <a:pPr>
                <a:lnSpc>
                  <a:spcPct val="120000"/>
                </a:lnSpc>
              </a:pPr>
              <a:endParaRPr lang="en-US" sz="2400">
                <a:latin typeface="+mn-ea"/>
                <a:sym typeface="Arial" panose="020B0604020202020204" pitchFamily="34" charset="0"/>
              </a:endParaRPr>
            </a:p>
          </p:txBody>
        </p:sp>
      </p:grpSp>
      <p:grpSp>
        <p:nvGrpSpPr>
          <p:cNvPr id="21" name="Group 58"/>
          <p:cNvGrpSpPr/>
          <p:nvPr/>
        </p:nvGrpSpPr>
        <p:grpSpPr>
          <a:xfrm>
            <a:off x="1479486" y="1987601"/>
            <a:ext cx="3034351" cy="587629"/>
            <a:chOff x="7174424" y="1400217"/>
            <a:chExt cx="2276195" cy="440722"/>
          </a:xfrm>
        </p:grpSpPr>
        <p:sp>
          <p:nvSpPr>
            <p:cNvPr id="22" name="TextBox 109"/>
            <p:cNvSpPr txBox="1"/>
            <p:nvPr/>
          </p:nvSpPr>
          <p:spPr>
            <a:xfrm>
              <a:off x="7174424" y="1671085"/>
              <a:ext cx="2276195" cy="169854"/>
            </a:xfrm>
            <a:prstGeom prst="rect">
              <a:avLst/>
            </a:prstGeom>
            <a:noFill/>
          </p:spPr>
          <p:txBody>
            <a:bodyPr wrap="square" lIns="0" tIns="0" rIns="0" bIns="0" rtlCol="0">
              <a:spAutoFit/>
            </a:bodyPr>
            <a:lstStyle/>
            <a:p>
              <a:pPr algn="just">
                <a:lnSpc>
                  <a:spcPct val="120000"/>
                </a:lnSpc>
                <a:defRPr sz="1800">
                  <a:solidFill>
                    <a:srgbClr val="000000"/>
                  </a:solidFill>
                </a:defRPr>
              </a:pPr>
              <a:r>
                <a:rPr lang="en-US" altLang="zh-CN" sz="1300" dirty="0" smtClean="0">
                  <a:solidFill>
                    <a:schemeClr val="tx1">
                      <a:lumMod val="65000"/>
                      <a:lumOff val="35000"/>
                    </a:schemeClr>
                  </a:solidFill>
                  <a:latin typeface="+mn-ea"/>
                  <a:sym typeface="Arial" panose="020B0604020202020204" pitchFamily="34" charset="0"/>
                </a:rPr>
                <a:t>xxx</a:t>
              </a:r>
              <a:endParaRPr lang="zh-CN" altLang="en-US" sz="1100" dirty="0">
                <a:solidFill>
                  <a:schemeClr val="bg1">
                    <a:lumMod val="65000"/>
                  </a:schemeClr>
                </a:solidFill>
                <a:latin typeface="+mn-ea"/>
                <a:sym typeface="Arial" panose="020B0604020202020204" pitchFamily="34" charset="0"/>
              </a:endParaRPr>
            </a:p>
          </p:txBody>
        </p:sp>
        <p:sp>
          <p:nvSpPr>
            <p:cNvPr id="23" name="Rectangle 110"/>
            <p:cNvSpPr/>
            <p:nvPr/>
          </p:nvSpPr>
          <p:spPr>
            <a:xfrm>
              <a:off x="7174424" y="1400217"/>
              <a:ext cx="252521" cy="219291"/>
            </a:xfrm>
            <a:prstGeom prst="rect">
              <a:avLst/>
            </a:prstGeom>
          </p:spPr>
          <p:txBody>
            <a:bodyPr wrap="none" lIns="0" tIns="0" rIns="0" bIns="0">
              <a:spAutoFit/>
            </a:bodyPr>
            <a:lstStyle/>
            <a:p>
              <a:r>
                <a:rPr lang="en-US" altLang="zh-CN" sz="1900" b="1" dirty="0" smtClean="0">
                  <a:solidFill>
                    <a:schemeClr val="tx1">
                      <a:lumMod val="65000"/>
                      <a:lumOff val="35000"/>
                    </a:schemeClr>
                  </a:solidFill>
                  <a:latin typeface="+mn-ea"/>
                  <a:sym typeface="Arial" panose="020B0604020202020204" pitchFamily="34" charset="0"/>
                </a:rPr>
                <a:t>xxx</a:t>
              </a:r>
              <a:endParaRPr lang="zh-CN" altLang="en-US" sz="1900" b="1" dirty="0">
                <a:solidFill>
                  <a:schemeClr val="tx1">
                    <a:lumMod val="65000"/>
                    <a:lumOff val="35000"/>
                  </a:schemeClr>
                </a:solidFill>
                <a:latin typeface="+mn-ea"/>
                <a:sym typeface="Arial" panose="020B0604020202020204" pitchFamily="34" charset="0"/>
              </a:endParaRPr>
            </a:p>
          </p:txBody>
        </p:sp>
      </p:grpSp>
      <p:grpSp>
        <p:nvGrpSpPr>
          <p:cNvPr id="24" name="Group 58"/>
          <p:cNvGrpSpPr/>
          <p:nvPr/>
        </p:nvGrpSpPr>
        <p:grpSpPr>
          <a:xfrm>
            <a:off x="1497180" y="3898612"/>
            <a:ext cx="3034352" cy="513342"/>
            <a:chOff x="7174424" y="1400217"/>
            <a:chExt cx="2276195" cy="385007"/>
          </a:xfrm>
        </p:grpSpPr>
        <p:sp>
          <p:nvSpPr>
            <p:cNvPr id="25" name="TextBox 109"/>
            <p:cNvSpPr txBox="1"/>
            <p:nvPr/>
          </p:nvSpPr>
          <p:spPr>
            <a:xfrm>
              <a:off x="7174424" y="1641482"/>
              <a:ext cx="2276195" cy="143742"/>
            </a:xfrm>
            <a:prstGeom prst="rect">
              <a:avLst/>
            </a:prstGeom>
            <a:noFill/>
          </p:spPr>
          <p:txBody>
            <a:bodyPr wrap="square" lIns="0" tIns="0" rIns="0" bIns="0" rtlCol="0">
              <a:spAutoFit/>
            </a:bodyPr>
            <a:lstStyle/>
            <a:p>
              <a:pPr algn="just">
                <a:lnSpc>
                  <a:spcPct val="120000"/>
                </a:lnSpc>
                <a:defRPr sz="1800">
                  <a:solidFill>
                    <a:srgbClr val="000000"/>
                  </a:solidFill>
                </a:defRPr>
              </a:pPr>
              <a:r>
                <a:rPr lang="en-US" altLang="zh-CN" sz="1100" dirty="0" smtClean="0">
                  <a:solidFill>
                    <a:schemeClr val="bg1">
                      <a:lumMod val="65000"/>
                    </a:schemeClr>
                  </a:solidFill>
                  <a:latin typeface="+mn-ea"/>
                  <a:sym typeface="Arial" panose="020B0604020202020204" pitchFamily="34" charset="0"/>
                </a:rPr>
                <a:t>xxx</a:t>
              </a:r>
              <a:endParaRPr lang="zh-CN" altLang="en-US" sz="1100" dirty="0">
                <a:solidFill>
                  <a:schemeClr val="bg1">
                    <a:lumMod val="65000"/>
                  </a:schemeClr>
                </a:solidFill>
                <a:latin typeface="+mn-ea"/>
                <a:sym typeface="Arial" panose="020B0604020202020204" pitchFamily="34" charset="0"/>
              </a:endParaRPr>
            </a:p>
          </p:txBody>
        </p:sp>
        <p:sp>
          <p:nvSpPr>
            <p:cNvPr id="26" name="Rectangle 110"/>
            <p:cNvSpPr/>
            <p:nvPr/>
          </p:nvSpPr>
          <p:spPr>
            <a:xfrm>
              <a:off x="7174424" y="1400217"/>
              <a:ext cx="1814496" cy="219291"/>
            </a:xfrm>
            <a:prstGeom prst="rect">
              <a:avLst/>
            </a:prstGeom>
          </p:spPr>
          <p:txBody>
            <a:bodyPr wrap="square" lIns="0" tIns="0" rIns="0" bIns="0">
              <a:spAutoFit/>
            </a:bodyPr>
            <a:lstStyle/>
            <a:p>
              <a:r>
                <a:rPr lang="en-US" altLang="zh-CN" sz="1900" b="1" dirty="0" smtClean="0">
                  <a:solidFill>
                    <a:schemeClr val="tx1">
                      <a:lumMod val="65000"/>
                      <a:lumOff val="35000"/>
                    </a:schemeClr>
                  </a:solidFill>
                  <a:latin typeface="+mn-ea"/>
                  <a:sym typeface="Arial" panose="020B0604020202020204" pitchFamily="34" charset="0"/>
                </a:rPr>
                <a:t>xxx</a:t>
              </a:r>
              <a:endParaRPr lang="zh-CN" altLang="en-US" sz="1900" b="1" dirty="0">
                <a:solidFill>
                  <a:schemeClr val="tx1">
                    <a:lumMod val="65000"/>
                    <a:lumOff val="35000"/>
                  </a:schemeClr>
                </a:solidFill>
                <a:latin typeface="+mn-ea"/>
                <a:sym typeface="Arial" panose="020B0604020202020204" pitchFamily="34" charset="0"/>
              </a:endParaRPr>
            </a:p>
          </p:txBody>
        </p:sp>
      </p:grpSp>
      <p:grpSp>
        <p:nvGrpSpPr>
          <p:cNvPr id="27" name="Group 58"/>
          <p:cNvGrpSpPr/>
          <p:nvPr/>
        </p:nvGrpSpPr>
        <p:grpSpPr>
          <a:xfrm>
            <a:off x="7636033" y="1965072"/>
            <a:ext cx="3034352" cy="587630"/>
            <a:chOff x="7174424" y="1400217"/>
            <a:chExt cx="2276195" cy="440723"/>
          </a:xfrm>
        </p:grpSpPr>
        <p:sp>
          <p:nvSpPr>
            <p:cNvPr id="28" name="TextBox 33"/>
            <p:cNvSpPr txBox="1"/>
            <p:nvPr/>
          </p:nvSpPr>
          <p:spPr>
            <a:xfrm>
              <a:off x="7174424" y="1671086"/>
              <a:ext cx="2276195" cy="169854"/>
            </a:xfrm>
            <a:prstGeom prst="rect">
              <a:avLst/>
            </a:prstGeom>
            <a:noFill/>
          </p:spPr>
          <p:txBody>
            <a:bodyPr wrap="square" lIns="0" tIns="0" rIns="0" bIns="0" rtlCol="0">
              <a:spAutoFit/>
            </a:bodyPr>
            <a:lstStyle/>
            <a:p>
              <a:pPr algn="just">
                <a:lnSpc>
                  <a:spcPct val="120000"/>
                </a:lnSpc>
                <a:defRPr sz="1800">
                  <a:solidFill>
                    <a:srgbClr val="000000"/>
                  </a:solidFill>
                </a:defRPr>
              </a:pPr>
              <a:r>
                <a:rPr lang="en-US" altLang="zh-CN" sz="1300" dirty="0" smtClean="0">
                  <a:solidFill>
                    <a:schemeClr val="tx1">
                      <a:lumMod val="65000"/>
                      <a:lumOff val="35000"/>
                    </a:schemeClr>
                  </a:solidFill>
                  <a:latin typeface="+mn-ea"/>
                  <a:sym typeface="Arial" panose="020B0604020202020204" pitchFamily="34" charset="0"/>
                </a:rPr>
                <a:t>xxx</a:t>
              </a:r>
              <a:endParaRPr lang="zh-CN" altLang="en-US" sz="1100" dirty="0">
                <a:solidFill>
                  <a:schemeClr val="bg1">
                    <a:lumMod val="65000"/>
                  </a:schemeClr>
                </a:solidFill>
                <a:latin typeface="+mn-ea"/>
                <a:sym typeface="Arial" panose="020B0604020202020204" pitchFamily="34" charset="0"/>
              </a:endParaRPr>
            </a:p>
          </p:txBody>
        </p:sp>
        <p:sp>
          <p:nvSpPr>
            <p:cNvPr id="29" name="Rectangle 110"/>
            <p:cNvSpPr/>
            <p:nvPr/>
          </p:nvSpPr>
          <p:spPr>
            <a:xfrm>
              <a:off x="7174424" y="1400217"/>
              <a:ext cx="252521" cy="219291"/>
            </a:xfrm>
            <a:prstGeom prst="rect">
              <a:avLst/>
            </a:prstGeom>
          </p:spPr>
          <p:txBody>
            <a:bodyPr wrap="none" lIns="0" tIns="0" rIns="0" bIns="0">
              <a:spAutoFit/>
            </a:bodyPr>
            <a:lstStyle/>
            <a:p>
              <a:r>
                <a:rPr lang="en-US" altLang="zh-CN" sz="1900" b="1" dirty="0" smtClean="0">
                  <a:solidFill>
                    <a:schemeClr val="tx1">
                      <a:lumMod val="65000"/>
                      <a:lumOff val="35000"/>
                    </a:schemeClr>
                  </a:solidFill>
                  <a:latin typeface="+mn-ea"/>
                  <a:sym typeface="Arial" panose="020B0604020202020204" pitchFamily="34" charset="0"/>
                </a:rPr>
                <a:t>xxx</a:t>
              </a:r>
              <a:endParaRPr lang="zh-CN" altLang="en-US" sz="1900" b="1" dirty="0">
                <a:solidFill>
                  <a:schemeClr val="tx1">
                    <a:lumMod val="65000"/>
                    <a:lumOff val="35000"/>
                  </a:schemeClr>
                </a:solidFill>
                <a:latin typeface="+mn-ea"/>
                <a:sym typeface="Arial" panose="020B0604020202020204" pitchFamily="34" charset="0"/>
              </a:endParaRPr>
            </a:p>
          </p:txBody>
        </p:sp>
      </p:grpSp>
      <p:grpSp>
        <p:nvGrpSpPr>
          <p:cNvPr id="30" name="Group 58"/>
          <p:cNvGrpSpPr/>
          <p:nvPr/>
        </p:nvGrpSpPr>
        <p:grpSpPr>
          <a:xfrm>
            <a:off x="1427618" y="2947413"/>
            <a:ext cx="3715251" cy="587632"/>
            <a:chOff x="7142645" y="1400217"/>
            <a:chExt cx="2276195" cy="440723"/>
          </a:xfrm>
        </p:grpSpPr>
        <p:sp>
          <p:nvSpPr>
            <p:cNvPr id="31" name="TextBox 36"/>
            <p:cNvSpPr txBox="1"/>
            <p:nvPr/>
          </p:nvSpPr>
          <p:spPr>
            <a:xfrm>
              <a:off x="7142645" y="1671086"/>
              <a:ext cx="2276195" cy="169854"/>
            </a:xfrm>
            <a:prstGeom prst="rect">
              <a:avLst/>
            </a:prstGeom>
            <a:noFill/>
          </p:spPr>
          <p:txBody>
            <a:bodyPr wrap="square" lIns="0" tIns="0" rIns="0" bIns="0" rtlCol="0">
              <a:spAutoFit/>
            </a:bodyPr>
            <a:lstStyle/>
            <a:p>
              <a:pPr algn="just">
                <a:lnSpc>
                  <a:spcPct val="120000"/>
                </a:lnSpc>
                <a:defRPr sz="1800">
                  <a:solidFill>
                    <a:srgbClr val="000000"/>
                  </a:solidFill>
                </a:defRPr>
              </a:pPr>
              <a:r>
                <a:rPr lang="en-US" altLang="zh-CN" sz="1300" dirty="0" smtClean="0">
                  <a:solidFill>
                    <a:schemeClr val="tx1">
                      <a:lumMod val="65000"/>
                      <a:lumOff val="35000"/>
                    </a:schemeClr>
                  </a:solidFill>
                  <a:latin typeface="+mn-ea"/>
                </a:rPr>
                <a:t>xxx</a:t>
              </a:r>
              <a:endParaRPr lang="en-US" altLang="zh-CN" sz="1300" dirty="0">
                <a:solidFill>
                  <a:schemeClr val="tx1">
                    <a:lumMod val="65000"/>
                    <a:lumOff val="35000"/>
                  </a:schemeClr>
                </a:solidFill>
                <a:latin typeface="+mn-ea"/>
              </a:endParaRPr>
            </a:p>
          </p:txBody>
        </p:sp>
        <p:sp>
          <p:nvSpPr>
            <p:cNvPr id="32" name="Rectangle 110"/>
            <p:cNvSpPr/>
            <p:nvPr/>
          </p:nvSpPr>
          <p:spPr>
            <a:xfrm>
              <a:off x="7174424" y="1400217"/>
              <a:ext cx="206241" cy="219291"/>
            </a:xfrm>
            <a:prstGeom prst="rect">
              <a:avLst/>
            </a:prstGeom>
          </p:spPr>
          <p:txBody>
            <a:bodyPr wrap="none" lIns="0" tIns="0" rIns="0" bIns="0">
              <a:spAutoFit/>
            </a:bodyPr>
            <a:lstStyle/>
            <a:p>
              <a:r>
                <a:rPr lang="en-US" altLang="zh-CN" sz="1900" b="1" dirty="0" smtClean="0">
                  <a:solidFill>
                    <a:schemeClr val="tx1">
                      <a:lumMod val="65000"/>
                      <a:lumOff val="35000"/>
                    </a:schemeClr>
                  </a:solidFill>
                  <a:latin typeface="+mn-ea"/>
                  <a:sym typeface="Arial" panose="020B0604020202020204" pitchFamily="34" charset="0"/>
                </a:rPr>
                <a:t>xxx</a:t>
              </a:r>
              <a:endParaRPr lang="zh-CN" altLang="en-US" sz="1900" b="1" dirty="0">
                <a:solidFill>
                  <a:schemeClr val="tx1">
                    <a:lumMod val="65000"/>
                    <a:lumOff val="35000"/>
                  </a:schemeClr>
                </a:solidFill>
                <a:latin typeface="+mn-ea"/>
                <a:sym typeface="Arial" panose="020B0604020202020204" pitchFamily="34" charset="0"/>
              </a:endParaRPr>
            </a:p>
          </p:txBody>
        </p:sp>
      </p:grpSp>
      <p:grpSp>
        <p:nvGrpSpPr>
          <p:cNvPr id="33" name="Group 58"/>
          <p:cNvGrpSpPr/>
          <p:nvPr/>
        </p:nvGrpSpPr>
        <p:grpSpPr>
          <a:xfrm>
            <a:off x="7636032" y="3927912"/>
            <a:ext cx="3762069" cy="587630"/>
            <a:chOff x="7174424" y="1400217"/>
            <a:chExt cx="2276195" cy="440723"/>
          </a:xfrm>
        </p:grpSpPr>
        <p:sp>
          <p:nvSpPr>
            <p:cNvPr id="34" name="TextBox 41"/>
            <p:cNvSpPr txBox="1"/>
            <p:nvPr/>
          </p:nvSpPr>
          <p:spPr>
            <a:xfrm>
              <a:off x="7174424" y="1671086"/>
              <a:ext cx="2276195" cy="169854"/>
            </a:xfrm>
            <a:prstGeom prst="rect">
              <a:avLst/>
            </a:prstGeom>
            <a:noFill/>
          </p:spPr>
          <p:txBody>
            <a:bodyPr wrap="square" lIns="0" tIns="0" rIns="0" bIns="0" rtlCol="0">
              <a:spAutoFit/>
            </a:bodyPr>
            <a:lstStyle/>
            <a:p>
              <a:pPr algn="just">
                <a:lnSpc>
                  <a:spcPct val="120000"/>
                </a:lnSpc>
                <a:defRPr sz="1800">
                  <a:solidFill>
                    <a:srgbClr val="000000"/>
                  </a:solidFill>
                </a:defRPr>
              </a:pPr>
              <a:r>
                <a:rPr lang="en-US" altLang="zh-CN" sz="1300" dirty="0" smtClean="0">
                  <a:solidFill>
                    <a:schemeClr val="tx1">
                      <a:lumMod val="65000"/>
                      <a:lumOff val="35000"/>
                    </a:schemeClr>
                  </a:solidFill>
                  <a:latin typeface="+mn-ea"/>
                  <a:sym typeface="Arial" panose="020B0604020202020204" pitchFamily="34" charset="0"/>
                </a:rPr>
                <a:t>xxx</a:t>
              </a:r>
              <a:endParaRPr lang="zh-CN" altLang="en-US" sz="1100" dirty="0">
                <a:solidFill>
                  <a:schemeClr val="bg1">
                    <a:lumMod val="65000"/>
                  </a:schemeClr>
                </a:solidFill>
                <a:latin typeface="+mn-ea"/>
                <a:sym typeface="Arial" panose="020B0604020202020204" pitchFamily="34" charset="0"/>
              </a:endParaRPr>
            </a:p>
          </p:txBody>
        </p:sp>
        <p:sp>
          <p:nvSpPr>
            <p:cNvPr id="35" name="Rectangle 110"/>
            <p:cNvSpPr/>
            <p:nvPr/>
          </p:nvSpPr>
          <p:spPr>
            <a:xfrm>
              <a:off x="7174424" y="1400217"/>
              <a:ext cx="203675" cy="219291"/>
            </a:xfrm>
            <a:prstGeom prst="rect">
              <a:avLst/>
            </a:prstGeom>
          </p:spPr>
          <p:txBody>
            <a:bodyPr wrap="none" lIns="0" tIns="0" rIns="0" bIns="0">
              <a:spAutoFit/>
            </a:bodyPr>
            <a:lstStyle/>
            <a:p>
              <a:r>
                <a:rPr lang="en-US" altLang="zh-CN" sz="1900" b="1" dirty="0" smtClean="0">
                  <a:solidFill>
                    <a:schemeClr val="tx1">
                      <a:lumMod val="65000"/>
                      <a:lumOff val="35000"/>
                    </a:schemeClr>
                  </a:solidFill>
                  <a:latin typeface="+mn-ea"/>
                  <a:sym typeface="Arial" panose="020B0604020202020204" pitchFamily="34" charset="0"/>
                </a:rPr>
                <a:t>xxx</a:t>
              </a:r>
              <a:endParaRPr lang="zh-CN" altLang="en-US" sz="1900" b="1" dirty="0">
                <a:solidFill>
                  <a:schemeClr val="tx1">
                    <a:lumMod val="65000"/>
                    <a:lumOff val="35000"/>
                  </a:schemeClr>
                </a:solidFill>
                <a:latin typeface="+mn-ea"/>
                <a:sym typeface="Arial" panose="020B0604020202020204" pitchFamily="34" charset="0"/>
              </a:endParaRPr>
            </a:p>
          </p:txBody>
        </p:sp>
      </p:grpSp>
      <p:grpSp>
        <p:nvGrpSpPr>
          <p:cNvPr id="36" name="Group 58"/>
          <p:cNvGrpSpPr/>
          <p:nvPr/>
        </p:nvGrpSpPr>
        <p:grpSpPr>
          <a:xfrm>
            <a:off x="7636033" y="2947405"/>
            <a:ext cx="3034352" cy="549223"/>
            <a:chOff x="7174424" y="1400217"/>
            <a:chExt cx="2276195" cy="411918"/>
          </a:xfrm>
        </p:grpSpPr>
        <p:sp>
          <p:nvSpPr>
            <p:cNvPr id="37" name="TextBox 49"/>
            <p:cNvSpPr txBox="1"/>
            <p:nvPr/>
          </p:nvSpPr>
          <p:spPr>
            <a:xfrm>
              <a:off x="7174424" y="1642281"/>
              <a:ext cx="2276195" cy="169854"/>
            </a:xfrm>
            <a:prstGeom prst="rect">
              <a:avLst/>
            </a:prstGeom>
            <a:noFill/>
          </p:spPr>
          <p:txBody>
            <a:bodyPr wrap="square" lIns="0" tIns="0" rIns="0" bIns="0" rtlCol="0">
              <a:spAutoFit/>
            </a:bodyPr>
            <a:lstStyle/>
            <a:p>
              <a:pPr algn="just">
                <a:lnSpc>
                  <a:spcPct val="120000"/>
                </a:lnSpc>
                <a:defRPr sz="1800">
                  <a:solidFill>
                    <a:srgbClr val="000000"/>
                  </a:solidFill>
                </a:defRPr>
              </a:pPr>
              <a:r>
                <a:rPr lang="en-US" altLang="zh-CN" sz="1300" dirty="0" smtClean="0">
                  <a:solidFill>
                    <a:schemeClr val="tx1">
                      <a:lumMod val="65000"/>
                      <a:lumOff val="35000"/>
                    </a:schemeClr>
                  </a:solidFill>
                  <a:latin typeface="+mn-ea"/>
                  <a:sym typeface="Arial" panose="020B0604020202020204" pitchFamily="34" charset="0"/>
                </a:rPr>
                <a:t>xxx</a:t>
              </a:r>
              <a:endParaRPr lang="zh-CN" altLang="en-US" sz="1100" dirty="0">
                <a:solidFill>
                  <a:schemeClr val="bg1">
                    <a:lumMod val="65000"/>
                  </a:schemeClr>
                </a:solidFill>
                <a:latin typeface="+mn-ea"/>
                <a:sym typeface="Arial" panose="020B0604020202020204" pitchFamily="34" charset="0"/>
              </a:endParaRPr>
            </a:p>
          </p:txBody>
        </p:sp>
        <p:sp>
          <p:nvSpPr>
            <p:cNvPr id="38" name="Rectangle 110"/>
            <p:cNvSpPr/>
            <p:nvPr/>
          </p:nvSpPr>
          <p:spPr>
            <a:xfrm>
              <a:off x="7174424" y="1400217"/>
              <a:ext cx="336695" cy="219291"/>
            </a:xfrm>
            <a:prstGeom prst="rect">
              <a:avLst/>
            </a:prstGeom>
          </p:spPr>
          <p:txBody>
            <a:bodyPr wrap="none" lIns="0" tIns="0" rIns="0" bIns="0">
              <a:spAutoFit/>
            </a:bodyPr>
            <a:lstStyle/>
            <a:p>
              <a:r>
                <a:rPr lang="en-US" altLang="zh-CN" sz="1900" b="1" dirty="0" err="1" smtClean="0">
                  <a:solidFill>
                    <a:schemeClr val="tx1">
                      <a:lumMod val="65000"/>
                      <a:lumOff val="35000"/>
                    </a:schemeClr>
                  </a:solidFill>
                  <a:latin typeface="+mn-ea"/>
                  <a:sym typeface="Arial" panose="020B0604020202020204" pitchFamily="34" charset="0"/>
                </a:rPr>
                <a:t>xxxx</a:t>
              </a:r>
              <a:endParaRPr lang="zh-CN" altLang="en-US" sz="1900" b="1" dirty="0">
                <a:solidFill>
                  <a:schemeClr val="tx1">
                    <a:lumMod val="65000"/>
                    <a:lumOff val="35000"/>
                  </a:schemeClr>
                </a:solidFill>
                <a:latin typeface="+mn-ea"/>
                <a:sym typeface="Arial" panose="020B0604020202020204" pitchFamily="34" charset="0"/>
              </a:endParaRPr>
            </a:p>
          </p:txBody>
        </p:sp>
      </p:grpSp>
      <p:sp>
        <p:nvSpPr>
          <p:cNvPr id="39" name="Freeform 38"/>
          <p:cNvSpPr>
            <a:spLocks noEditPoints="1"/>
          </p:cNvSpPr>
          <p:nvPr/>
        </p:nvSpPr>
        <p:spPr bwMode="auto">
          <a:xfrm rot="5400000">
            <a:off x="6588843" y="5489492"/>
            <a:ext cx="454826" cy="454740"/>
          </a:xfrm>
          <a:custGeom>
            <a:avLst/>
            <a:gdLst/>
            <a:ahLst/>
            <a:cxnLst>
              <a:cxn ang="0">
                <a:pos x="31" y="62"/>
              </a:cxn>
              <a:cxn ang="0">
                <a:pos x="0" y="31"/>
              </a:cxn>
              <a:cxn ang="0">
                <a:pos x="31" y="0"/>
              </a:cxn>
              <a:cxn ang="0">
                <a:pos x="62" y="31"/>
              </a:cxn>
              <a:cxn ang="0">
                <a:pos x="31" y="62"/>
              </a:cxn>
              <a:cxn ang="0">
                <a:pos x="51" y="30"/>
              </a:cxn>
              <a:cxn ang="0">
                <a:pos x="48" y="26"/>
              </a:cxn>
              <a:cxn ang="0">
                <a:pos x="46" y="25"/>
              </a:cxn>
              <a:cxn ang="0">
                <a:pos x="44" y="26"/>
              </a:cxn>
              <a:cxn ang="0">
                <a:pos x="36" y="33"/>
              </a:cxn>
              <a:cxn ang="0">
                <a:pos x="36" y="13"/>
              </a:cxn>
              <a:cxn ang="0">
                <a:pos x="34" y="11"/>
              </a:cxn>
              <a:cxn ang="0">
                <a:pos x="29" y="11"/>
              </a:cxn>
              <a:cxn ang="0">
                <a:pos x="26" y="13"/>
              </a:cxn>
              <a:cxn ang="0">
                <a:pos x="26" y="33"/>
              </a:cxn>
              <a:cxn ang="0">
                <a:pos x="19" y="26"/>
              </a:cxn>
              <a:cxn ang="0">
                <a:pos x="17" y="25"/>
              </a:cxn>
              <a:cxn ang="0">
                <a:pos x="15" y="26"/>
              </a:cxn>
              <a:cxn ang="0">
                <a:pos x="11" y="30"/>
              </a:cxn>
              <a:cxn ang="0">
                <a:pos x="11" y="31"/>
              </a:cxn>
              <a:cxn ang="0">
                <a:pos x="11" y="33"/>
              </a:cxn>
              <a:cxn ang="0">
                <a:pos x="26" y="48"/>
              </a:cxn>
              <a:cxn ang="0">
                <a:pos x="30" y="51"/>
              </a:cxn>
              <a:cxn ang="0">
                <a:pos x="31" y="52"/>
              </a:cxn>
              <a:cxn ang="0">
                <a:pos x="33" y="51"/>
              </a:cxn>
              <a:cxn ang="0">
                <a:pos x="37" y="48"/>
              </a:cxn>
              <a:cxn ang="0">
                <a:pos x="51" y="33"/>
              </a:cxn>
              <a:cxn ang="0">
                <a:pos x="52" y="31"/>
              </a:cxn>
              <a:cxn ang="0">
                <a:pos x="51" y="30"/>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51" y="30"/>
                </a:moveTo>
                <a:cubicBezTo>
                  <a:pt x="48" y="26"/>
                  <a:pt x="48" y="26"/>
                  <a:pt x="48" y="26"/>
                </a:cubicBezTo>
                <a:cubicBezTo>
                  <a:pt x="47" y="25"/>
                  <a:pt x="47" y="25"/>
                  <a:pt x="46" y="25"/>
                </a:cubicBezTo>
                <a:cubicBezTo>
                  <a:pt x="45" y="25"/>
                  <a:pt x="45" y="25"/>
                  <a:pt x="44" y="26"/>
                </a:cubicBezTo>
                <a:cubicBezTo>
                  <a:pt x="36" y="33"/>
                  <a:pt x="36" y="33"/>
                  <a:pt x="36" y="33"/>
                </a:cubicBezTo>
                <a:cubicBezTo>
                  <a:pt x="36" y="13"/>
                  <a:pt x="36" y="13"/>
                  <a:pt x="36" y="13"/>
                </a:cubicBezTo>
                <a:cubicBezTo>
                  <a:pt x="36" y="12"/>
                  <a:pt x="35" y="11"/>
                  <a:pt x="34" y="11"/>
                </a:cubicBezTo>
                <a:cubicBezTo>
                  <a:pt x="29" y="11"/>
                  <a:pt x="29" y="11"/>
                  <a:pt x="29" y="11"/>
                </a:cubicBezTo>
                <a:cubicBezTo>
                  <a:pt x="27" y="11"/>
                  <a:pt x="26" y="12"/>
                  <a:pt x="26" y="13"/>
                </a:cubicBezTo>
                <a:cubicBezTo>
                  <a:pt x="26" y="33"/>
                  <a:pt x="26" y="33"/>
                  <a:pt x="26" y="33"/>
                </a:cubicBezTo>
                <a:cubicBezTo>
                  <a:pt x="19" y="26"/>
                  <a:pt x="19" y="26"/>
                  <a:pt x="19" y="26"/>
                </a:cubicBezTo>
                <a:cubicBezTo>
                  <a:pt x="18" y="25"/>
                  <a:pt x="17" y="25"/>
                  <a:pt x="17" y="25"/>
                </a:cubicBezTo>
                <a:cubicBezTo>
                  <a:pt x="16" y="25"/>
                  <a:pt x="15" y="25"/>
                  <a:pt x="15" y="26"/>
                </a:cubicBezTo>
                <a:cubicBezTo>
                  <a:pt x="11" y="30"/>
                  <a:pt x="11" y="30"/>
                  <a:pt x="11" y="30"/>
                </a:cubicBezTo>
                <a:cubicBezTo>
                  <a:pt x="11" y="30"/>
                  <a:pt x="11" y="31"/>
                  <a:pt x="11" y="31"/>
                </a:cubicBezTo>
                <a:cubicBezTo>
                  <a:pt x="11" y="32"/>
                  <a:pt x="11" y="33"/>
                  <a:pt x="11" y="33"/>
                </a:cubicBezTo>
                <a:cubicBezTo>
                  <a:pt x="26" y="48"/>
                  <a:pt x="26" y="48"/>
                  <a:pt x="26" y="48"/>
                </a:cubicBezTo>
                <a:cubicBezTo>
                  <a:pt x="30" y="51"/>
                  <a:pt x="30" y="51"/>
                  <a:pt x="30" y="51"/>
                </a:cubicBezTo>
                <a:cubicBezTo>
                  <a:pt x="30" y="52"/>
                  <a:pt x="31" y="52"/>
                  <a:pt x="31" y="52"/>
                </a:cubicBezTo>
                <a:cubicBezTo>
                  <a:pt x="32" y="52"/>
                  <a:pt x="33" y="52"/>
                  <a:pt x="33" y="51"/>
                </a:cubicBezTo>
                <a:cubicBezTo>
                  <a:pt x="37" y="48"/>
                  <a:pt x="37" y="48"/>
                  <a:pt x="37" y="48"/>
                </a:cubicBezTo>
                <a:cubicBezTo>
                  <a:pt x="51" y="33"/>
                  <a:pt x="51" y="33"/>
                  <a:pt x="51" y="33"/>
                </a:cubicBezTo>
                <a:cubicBezTo>
                  <a:pt x="52" y="33"/>
                  <a:pt x="52" y="32"/>
                  <a:pt x="52" y="31"/>
                </a:cubicBezTo>
                <a:cubicBezTo>
                  <a:pt x="52" y="31"/>
                  <a:pt x="52" y="30"/>
                  <a:pt x="51" y="30"/>
                </a:cubicBezTo>
                <a:close/>
              </a:path>
            </a:pathLst>
          </a:custGeom>
          <a:solidFill>
            <a:schemeClr val="tx1"/>
          </a:solidFill>
          <a:ln w="9525">
            <a:noFill/>
            <a:round/>
          </a:ln>
        </p:spPr>
        <p:txBody>
          <a:bodyPr vert="horz" wrap="square" lIns="128540" tIns="64270" rIns="128540" bIns="64270" numCol="1" anchor="t" anchorCtr="0" compatLnSpc="1"/>
          <a:lstStyle/>
          <a:p>
            <a:pPr>
              <a:lnSpc>
                <a:spcPct val="120000"/>
              </a:lnSpc>
            </a:pPr>
            <a:endParaRPr lang="en-US" sz="2400">
              <a:latin typeface="+mn-ea"/>
              <a:sym typeface="Arial" panose="020B0604020202020204" pitchFamily="34" charset="0"/>
            </a:endParaRPr>
          </a:p>
        </p:txBody>
      </p:sp>
      <p:sp>
        <p:nvSpPr>
          <p:cNvPr id="40" name="Rectangle 110"/>
          <p:cNvSpPr/>
          <p:nvPr/>
        </p:nvSpPr>
        <p:spPr>
          <a:xfrm>
            <a:off x="7624928" y="4852815"/>
            <a:ext cx="3266276" cy="246221"/>
          </a:xfrm>
          <a:prstGeom prst="rect">
            <a:avLst/>
          </a:prstGeom>
        </p:spPr>
        <p:txBody>
          <a:bodyPr wrap="square" lIns="0" tIns="0" rIns="0" bIns="0">
            <a:spAutoFit/>
          </a:bodyPr>
          <a:lstStyle/>
          <a:p>
            <a:r>
              <a:rPr lang="en-US" altLang="zh-CN" sz="1600" b="1" dirty="0" smtClean="0">
                <a:solidFill>
                  <a:schemeClr val="tx1">
                    <a:lumMod val="65000"/>
                    <a:lumOff val="35000"/>
                  </a:schemeClr>
                </a:solidFill>
                <a:latin typeface="+mn-ea"/>
                <a:sym typeface="Arial" panose="020B0604020202020204" pitchFamily="34" charset="0"/>
              </a:rPr>
              <a:t>xxx</a:t>
            </a:r>
            <a:endParaRPr lang="zh-CN" altLang="en-US" sz="1600" b="1" dirty="0">
              <a:solidFill>
                <a:schemeClr val="tx1">
                  <a:lumMod val="65000"/>
                  <a:lumOff val="35000"/>
                </a:schemeClr>
              </a:solidFill>
              <a:latin typeface="+mn-ea"/>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latin typeface="华文楷体" panose="02010600040101010101" charset="-122"/>
                <a:ea typeface="华文楷体" panose="02010600040101010101" charset="-122"/>
              </a:rPr>
              <a:t>流程</a:t>
            </a:r>
            <a:endParaRPr lang="zh-CN" altLang="en-US" sz="2400" dirty="0">
              <a:latin typeface="华文楷体" panose="02010600040101010101" charset="-122"/>
              <a:ea typeface="华文楷体" panose="02010600040101010101" charset="-122"/>
            </a:endParaRPr>
          </a:p>
        </p:txBody>
      </p:sp>
      <p:cxnSp>
        <p:nvCxnSpPr>
          <p:cNvPr id="39" name="直接连接符 38"/>
          <p:cNvCxnSpPr/>
          <p:nvPr/>
        </p:nvCxnSpPr>
        <p:spPr>
          <a:xfrm rot="18900000">
            <a:off x="2672620" y="4744221"/>
            <a:ext cx="1676060" cy="0"/>
          </a:xfrm>
          <a:prstGeom prst="line">
            <a:avLst/>
          </a:prstGeom>
          <a:noFill/>
          <a:ln w="190500" cap="rnd" cmpd="sng" algn="ctr">
            <a:solidFill>
              <a:srgbClr val="7F7F7F">
                <a:lumMod val="60000"/>
                <a:lumOff val="40000"/>
              </a:srgbClr>
            </a:solidFill>
            <a:prstDash val="solid"/>
            <a:round/>
          </a:ln>
          <a:effectLst/>
        </p:spPr>
      </p:cxnSp>
      <p:cxnSp>
        <p:nvCxnSpPr>
          <p:cNvPr id="40" name="直接连接符 39"/>
          <p:cNvCxnSpPr/>
          <p:nvPr/>
        </p:nvCxnSpPr>
        <p:spPr>
          <a:xfrm>
            <a:off x="4110090" y="4059063"/>
            <a:ext cx="1676060" cy="0"/>
          </a:xfrm>
          <a:prstGeom prst="line">
            <a:avLst/>
          </a:prstGeom>
          <a:noFill/>
          <a:ln w="190500" cap="rnd" cmpd="sng" algn="ctr">
            <a:solidFill>
              <a:srgbClr val="7F7F7F">
                <a:lumMod val="60000"/>
                <a:lumOff val="40000"/>
              </a:srgbClr>
            </a:solidFill>
            <a:prstDash val="solid"/>
            <a:round/>
          </a:ln>
          <a:effectLst/>
        </p:spPr>
      </p:cxnSp>
      <p:cxnSp>
        <p:nvCxnSpPr>
          <p:cNvPr id="41" name="直接连接符 40"/>
          <p:cNvCxnSpPr/>
          <p:nvPr/>
        </p:nvCxnSpPr>
        <p:spPr>
          <a:xfrm>
            <a:off x="6962583" y="2704604"/>
            <a:ext cx="1676060" cy="0"/>
          </a:xfrm>
          <a:prstGeom prst="line">
            <a:avLst/>
          </a:prstGeom>
          <a:noFill/>
          <a:ln w="190500" cap="rnd" cmpd="sng" algn="ctr">
            <a:solidFill>
              <a:srgbClr val="7F7F7F">
                <a:lumMod val="60000"/>
                <a:lumOff val="40000"/>
              </a:srgbClr>
            </a:solidFill>
            <a:prstDash val="solid"/>
            <a:round/>
          </a:ln>
          <a:effectLst/>
        </p:spPr>
      </p:cxnSp>
      <p:cxnSp>
        <p:nvCxnSpPr>
          <p:cNvPr id="42" name="直接连接符 41"/>
          <p:cNvCxnSpPr/>
          <p:nvPr/>
        </p:nvCxnSpPr>
        <p:spPr>
          <a:xfrm rot="18900000">
            <a:off x="5531976" y="3385296"/>
            <a:ext cx="1676060" cy="0"/>
          </a:xfrm>
          <a:prstGeom prst="line">
            <a:avLst/>
          </a:prstGeom>
          <a:noFill/>
          <a:ln w="190500" cap="rnd" cmpd="sng" algn="ctr">
            <a:solidFill>
              <a:srgbClr val="7F7F7F">
                <a:lumMod val="60000"/>
                <a:lumOff val="40000"/>
              </a:srgbClr>
            </a:solidFill>
            <a:prstDash val="solid"/>
            <a:round/>
          </a:ln>
          <a:effectLst/>
        </p:spPr>
      </p:cxnSp>
      <p:cxnSp>
        <p:nvCxnSpPr>
          <p:cNvPr id="43" name="直接连接符 42"/>
          <p:cNvCxnSpPr/>
          <p:nvPr/>
        </p:nvCxnSpPr>
        <p:spPr>
          <a:xfrm flipV="1">
            <a:off x="8648654" y="1021972"/>
            <a:ext cx="1461817" cy="1662101"/>
          </a:xfrm>
          <a:prstGeom prst="line">
            <a:avLst/>
          </a:prstGeom>
          <a:noFill/>
          <a:ln w="190500" cap="rnd" cmpd="sng" algn="ctr">
            <a:solidFill>
              <a:srgbClr val="7F7F7F">
                <a:lumMod val="60000"/>
                <a:lumOff val="40000"/>
              </a:srgbClr>
            </a:solidFill>
            <a:prstDash val="solid"/>
            <a:round/>
            <a:tailEnd type="arrow"/>
          </a:ln>
          <a:effectLst/>
        </p:spPr>
      </p:cxnSp>
      <p:grpSp>
        <p:nvGrpSpPr>
          <p:cNvPr id="44" name="组合 43"/>
          <p:cNvGrpSpPr/>
          <p:nvPr/>
        </p:nvGrpSpPr>
        <p:grpSpPr>
          <a:xfrm>
            <a:off x="3647877" y="3598306"/>
            <a:ext cx="845440" cy="846000"/>
            <a:chOff x="5675954" y="2262540"/>
            <a:chExt cx="648072" cy="570356"/>
          </a:xfrm>
        </p:grpSpPr>
        <p:sp>
          <p:nvSpPr>
            <p:cNvPr id="68" name="椭圆 67"/>
            <p:cNvSpPr/>
            <p:nvPr/>
          </p:nvSpPr>
          <p:spPr>
            <a:xfrm>
              <a:off x="5675954" y="2262540"/>
              <a:ext cx="648072" cy="570356"/>
            </a:xfrm>
            <a:prstGeom prst="ellipse">
              <a:avLst/>
            </a:prstGeom>
            <a:solidFill>
              <a:schemeClr val="accent1">
                <a:lumMod val="40000"/>
                <a:lumOff val="60000"/>
              </a:schemeClr>
            </a:solidFill>
            <a:ln w="381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smtClean="0">
                <a:ln>
                  <a:noFill/>
                </a:ln>
                <a:solidFill>
                  <a:srgbClr val="FFFFFF"/>
                </a:solidFill>
                <a:effectLst/>
                <a:uLnTx/>
                <a:uFillTx/>
                <a:latin typeface="华文楷体" panose="02010600040101010101" charset="-122"/>
                <a:ea typeface="华文楷体" panose="02010600040101010101" charset="-122"/>
                <a:cs typeface="+mn-ea"/>
                <a:sym typeface="+mn-lt"/>
              </a:endParaRPr>
            </a:p>
          </p:txBody>
        </p:sp>
        <p:sp>
          <p:nvSpPr>
            <p:cNvPr id="69" name="任意多边形: 形状 15"/>
            <p:cNvSpPr/>
            <p:nvPr/>
          </p:nvSpPr>
          <p:spPr bwMode="auto">
            <a:xfrm>
              <a:off x="5817463" y="2376625"/>
              <a:ext cx="380293" cy="366291"/>
            </a:xfrm>
            <a:custGeom>
              <a:avLst/>
              <a:gdLst>
                <a:gd name="connsiteX0" fmla="*/ 297615 w 597921"/>
                <a:gd name="connsiteY0" fmla="*/ 96957 h 598324"/>
                <a:gd name="connsiteX1" fmla="*/ 323434 w 597921"/>
                <a:gd name="connsiteY1" fmla="*/ 122740 h 598324"/>
                <a:gd name="connsiteX2" fmla="*/ 323434 w 597921"/>
                <a:gd name="connsiteY2" fmla="*/ 289852 h 598324"/>
                <a:gd name="connsiteX3" fmla="*/ 462572 w 597921"/>
                <a:gd name="connsiteY3" fmla="*/ 289852 h 598324"/>
                <a:gd name="connsiteX4" fmla="*/ 487913 w 597921"/>
                <a:gd name="connsiteY4" fmla="*/ 315157 h 598324"/>
                <a:gd name="connsiteX5" fmla="*/ 462572 w 597921"/>
                <a:gd name="connsiteY5" fmla="*/ 340463 h 598324"/>
                <a:gd name="connsiteX6" fmla="*/ 297615 w 597921"/>
                <a:gd name="connsiteY6" fmla="*/ 340463 h 598324"/>
                <a:gd name="connsiteX7" fmla="*/ 272274 w 597921"/>
                <a:gd name="connsiteY7" fmla="*/ 315157 h 598324"/>
                <a:gd name="connsiteX8" fmla="*/ 272274 w 597921"/>
                <a:gd name="connsiteY8" fmla="*/ 122740 h 598324"/>
                <a:gd name="connsiteX9" fmla="*/ 297615 w 597921"/>
                <a:gd name="connsiteY9" fmla="*/ 96957 h 598324"/>
                <a:gd name="connsiteX10" fmla="*/ 298127 w 597921"/>
                <a:gd name="connsiteY10" fmla="*/ 0 h 598324"/>
                <a:gd name="connsiteX11" fmla="*/ 597921 w 597921"/>
                <a:gd name="connsiteY11" fmla="*/ 299401 h 598324"/>
                <a:gd name="connsiteX12" fmla="*/ 298127 w 597921"/>
                <a:gd name="connsiteY12" fmla="*/ 598324 h 598324"/>
                <a:gd name="connsiteX13" fmla="*/ 35150 w 597921"/>
                <a:gd name="connsiteY13" fmla="*/ 442177 h 598324"/>
                <a:gd name="connsiteX14" fmla="*/ 34194 w 597921"/>
                <a:gd name="connsiteY14" fmla="*/ 432149 h 598324"/>
                <a:gd name="connsiteX15" fmla="*/ 40410 w 597921"/>
                <a:gd name="connsiteY15" fmla="*/ 424509 h 598324"/>
                <a:gd name="connsiteX16" fmla="*/ 74836 w 597921"/>
                <a:gd name="connsiteY16" fmla="*/ 407796 h 598324"/>
                <a:gd name="connsiteX17" fmla="*/ 91571 w 597921"/>
                <a:gd name="connsiteY17" fmla="*/ 413049 h 598324"/>
                <a:gd name="connsiteX18" fmla="*/ 298127 w 597921"/>
                <a:gd name="connsiteY18" fmla="*/ 534815 h 598324"/>
                <a:gd name="connsiteX19" fmla="*/ 534328 w 597921"/>
                <a:gd name="connsiteY19" fmla="*/ 299401 h 598324"/>
                <a:gd name="connsiteX20" fmla="*/ 298127 w 597921"/>
                <a:gd name="connsiteY20" fmla="*/ 63509 h 598324"/>
                <a:gd name="connsiteX21" fmla="*/ 145123 w 597921"/>
                <a:gd name="connsiteY21" fmla="*/ 120333 h 598324"/>
                <a:gd name="connsiteX22" fmla="*/ 200587 w 597921"/>
                <a:gd name="connsiteY22" fmla="*/ 142299 h 598324"/>
                <a:gd name="connsiteX23" fmla="*/ 208237 w 597921"/>
                <a:gd name="connsiteY23" fmla="*/ 152327 h 598324"/>
                <a:gd name="connsiteX24" fmla="*/ 203456 w 597921"/>
                <a:gd name="connsiteY24" fmla="*/ 164265 h 598324"/>
                <a:gd name="connsiteX25" fmla="*/ 48060 w 597921"/>
                <a:gd name="connsiteY25" fmla="*/ 285553 h 598324"/>
                <a:gd name="connsiteX26" fmla="*/ 35150 w 597921"/>
                <a:gd name="connsiteY26" fmla="*/ 287463 h 598324"/>
                <a:gd name="connsiteX27" fmla="*/ 27500 w 597921"/>
                <a:gd name="connsiteY27" fmla="*/ 277435 h 598324"/>
                <a:gd name="connsiteX28" fmla="*/ 246 w 597921"/>
                <a:gd name="connsiteY28" fmla="*/ 82132 h 598324"/>
                <a:gd name="connsiteX29" fmla="*/ 4550 w 597921"/>
                <a:gd name="connsiteY29" fmla="*/ 70194 h 598324"/>
                <a:gd name="connsiteX30" fmla="*/ 17459 w 597921"/>
                <a:gd name="connsiteY30" fmla="*/ 68762 h 598324"/>
                <a:gd name="connsiteX31" fmla="*/ 80574 w 597921"/>
                <a:gd name="connsiteY31" fmla="*/ 94070 h 598324"/>
                <a:gd name="connsiteX32" fmla="*/ 298127 w 597921"/>
                <a:gd name="connsiteY32" fmla="*/ 0 h 59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97921" h="598324">
                  <a:moveTo>
                    <a:pt x="297615" y="96957"/>
                  </a:moveTo>
                  <a:cubicBezTo>
                    <a:pt x="311959" y="96957"/>
                    <a:pt x="323434" y="108416"/>
                    <a:pt x="323434" y="122740"/>
                  </a:cubicBezTo>
                  <a:lnTo>
                    <a:pt x="323434" y="289852"/>
                  </a:lnTo>
                  <a:lnTo>
                    <a:pt x="462572" y="289852"/>
                  </a:lnTo>
                  <a:cubicBezTo>
                    <a:pt x="476438" y="289852"/>
                    <a:pt x="487913" y="301311"/>
                    <a:pt x="487913" y="315157"/>
                  </a:cubicBezTo>
                  <a:cubicBezTo>
                    <a:pt x="487913" y="329004"/>
                    <a:pt x="476438" y="340463"/>
                    <a:pt x="462572" y="340463"/>
                  </a:cubicBezTo>
                  <a:lnTo>
                    <a:pt x="297615" y="340463"/>
                  </a:lnTo>
                  <a:cubicBezTo>
                    <a:pt x="283749" y="340463"/>
                    <a:pt x="272274" y="329004"/>
                    <a:pt x="272274" y="315157"/>
                  </a:cubicBezTo>
                  <a:lnTo>
                    <a:pt x="272274" y="122740"/>
                  </a:lnTo>
                  <a:cubicBezTo>
                    <a:pt x="272274" y="108416"/>
                    <a:pt x="283749" y="96957"/>
                    <a:pt x="297615" y="96957"/>
                  </a:cubicBezTo>
                  <a:close/>
                  <a:moveTo>
                    <a:pt x="298127" y="0"/>
                  </a:moveTo>
                  <a:cubicBezTo>
                    <a:pt x="463564" y="0"/>
                    <a:pt x="597921" y="134181"/>
                    <a:pt x="597921" y="299401"/>
                  </a:cubicBezTo>
                  <a:cubicBezTo>
                    <a:pt x="597921" y="464143"/>
                    <a:pt x="463564" y="598324"/>
                    <a:pt x="298127" y="598324"/>
                  </a:cubicBezTo>
                  <a:cubicBezTo>
                    <a:pt x="188155" y="598324"/>
                    <a:pt x="87268" y="538635"/>
                    <a:pt x="35150" y="442177"/>
                  </a:cubicBezTo>
                  <a:cubicBezTo>
                    <a:pt x="33238" y="438835"/>
                    <a:pt x="32760" y="435492"/>
                    <a:pt x="34194" y="432149"/>
                  </a:cubicBezTo>
                  <a:cubicBezTo>
                    <a:pt x="35150" y="428807"/>
                    <a:pt x="37541" y="425942"/>
                    <a:pt x="40410" y="424509"/>
                  </a:cubicBezTo>
                  <a:lnTo>
                    <a:pt x="74836" y="407796"/>
                  </a:lnTo>
                  <a:cubicBezTo>
                    <a:pt x="81052" y="404931"/>
                    <a:pt x="88702" y="407319"/>
                    <a:pt x="91571" y="413049"/>
                  </a:cubicBezTo>
                  <a:cubicBezTo>
                    <a:pt x="133169" y="488018"/>
                    <a:pt x="212540" y="534815"/>
                    <a:pt x="298127" y="534815"/>
                  </a:cubicBezTo>
                  <a:cubicBezTo>
                    <a:pt x="428181" y="534815"/>
                    <a:pt x="534328" y="429284"/>
                    <a:pt x="534328" y="299401"/>
                  </a:cubicBezTo>
                  <a:cubicBezTo>
                    <a:pt x="534328" y="169517"/>
                    <a:pt x="428181" y="63509"/>
                    <a:pt x="298127" y="63509"/>
                  </a:cubicBezTo>
                  <a:cubicBezTo>
                    <a:pt x="242185" y="63509"/>
                    <a:pt x="187677" y="83565"/>
                    <a:pt x="145123" y="120333"/>
                  </a:cubicBezTo>
                  <a:lnTo>
                    <a:pt x="200587" y="142299"/>
                  </a:lnTo>
                  <a:cubicBezTo>
                    <a:pt x="204890" y="144209"/>
                    <a:pt x="207759" y="148029"/>
                    <a:pt x="208237" y="152327"/>
                  </a:cubicBezTo>
                  <a:cubicBezTo>
                    <a:pt x="208715" y="157102"/>
                    <a:pt x="207281" y="161399"/>
                    <a:pt x="203456" y="164265"/>
                  </a:cubicBezTo>
                  <a:lnTo>
                    <a:pt x="48060" y="285553"/>
                  </a:lnTo>
                  <a:cubicBezTo>
                    <a:pt x="44235" y="288418"/>
                    <a:pt x="39454" y="289373"/>
                    <a:pt x="35150" y="287463"/>
                  </a:cubicBezTo>
                  <a:cubicBezTo>
                    <a:pt x="31325" y="285553"/>
                    <a:pt x="27978" y="281733"/>
                    <a:pt x="27500" y="277435"/>
                  </a:cubicBezTo>
                  <a:lnTo>
                    <a:pt x="246" y="82132"/>
                  </a:lnTo>
                  <a:cubicBezTo>
                    <a:pt x="-710" y="77835"/>
                    <a:pt x="1203" y="73060"/>
                    <a:pt x="4550" y="70194"/>
                  </a:cubicBezTo>
                  <a:cubicBezTo>
                    <a:pt x="8375" y="67807"/>
                    <a:pt x="13156" y="66852"/>
                    <a:pt x="17459" y="68762"/>
                  </a:cubicBezTo>
                  <a:lnTo>
                    <a:pt x="80574" y="94070"/>
                  </a:lnTo>
                  <a:cubicBezTo>
                    <a:pt x="137472" y="33426"/>
                    <a:pt x="214931" y="0"/>
                    <a:pt x="298127" y="0"/>
                  </a:cubicBezTo>
                  <a:close/>
                </a:path>
              </a:pathLst>
            </a:custGeom>
            <a:solidFill>
              <a:srgbClr val="000000"/>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smtClean="0">
                <a:ln>
                  <a:noFill/>
                </a:ln>
                <a:solidFill>
                  <a:srgbClr val="FFFFFF"/>
                </a:solidFill>
                <a:effectLst/>
                <a:uLnTx/>
                <a:uFillTx/>
                <a:latin typeface="华文楷体" panose="02010600040101010101" charset="-122"/>
                <a:ea typeface="华文楷体" panose="02010600040101010101" charset="-122"/>
                <a:cs typeface="+mn-ea"/>
                <a:sym typeface="+mn-lt"/>
              </a:endParaRPr>
            </a:p>
          </p:txBody>
        </p:sp>
      </p:grpSp>
      <p:grpSp>
        <p:nvGrpSpPr>
          <p:cNvPr id="45" name="组合 44"/>
          <p:cNvGrpSpPr/>
          <p:nvPr/>
        </p:nvGrpSpPr>
        <p:grpSpPr>
          <a:xfrm>
            <a:off x="6475140" y="2251160"/>
            <a:ext cx="845440" cy="846000"/>
            <a:chOff x="7442747" y="2262540"/>
            <a:chExt cx="648072" cy="570356"/>
          </a:xfrm>
        </p:grpSpPr>
        <p:sp>
          <p:nvSpPr>
            <p:cNvPr id="66" name="椭圆 65"/>
            <p:cNvSpPr/>
            <p:nvPr/>
          </p:nvSpPr>
          <p:spPr>
            <a:xfrm>
              <a:off x="7442747" y="2262540"/>
              <a:ext cx="648072" cy="570356"/>
            </a:xfrm>
            <a:prstGeom prst="ellipse">
              <a:avLst/>
            </a:prstGeom>
            <a:solidFill>
              <a:schemeClr val="accent1">
                <a:lumMod val="40000"/>
                <a:lumOff val="60000"/>
              </a:schemeClr>
            </a:solidFill>
            <a:ln w="381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smtClean="0">
                <a:ln>
                  <a:noFill/>
                </a:ln>
                <a:solidFill>
                  <a:srgbClr val="FFFFFF"/>
                </a:solidFill>
                <a:effectLst/>
                <a:uLnTx/>
                <a:uFillTx/>
                <a:latin typeface="华文楷体" panose="02010600040101010101" charset="-122"/>
                <a:ea typeface="华文楷体" panose="02010600040101010101" charset="-122"/>
                <a:cs typeface="+mn-ea"/>
                <a:sym typeface="+mn-lt"/>
              </a:endParaRPr>
            </a:p>
          </p:txBody>
        </p:sp>
        <p:sp>
          <p:nvSpPr>
            <p:cNvPr id="67" name="任意多边形: 形状 18"/>
            <p:cNvSpPr/>
            <p:nvPr/>
          </p:nvSpPr>
          <p:spPr bwMode="auto">
            <a:xfrm>
              <a:off x="7584256" y="2356523"/>
              <a:ext cx="380293" cy="366291"/>
            </a:xfrm>
            <a:custGeom>
              <a:avLst/>
              <a:gdLst>
                <a:gd name="connsiteX0" fmla="*/ 304701 w 609473"/>
                <a:gd name="connsiteY0" fmla="*/ 381618 h 587034"/>
                <a:gd name="connsiteX1" fmla="*/ 325879 w 609473"/>
                <a:gd name="connsiteY1" fmla="*/ 394101 h 587034"/>
                <a:gd name="connsiteX2" fmla="*/ 309542 w 609473"/>
                <a:gd name="connsiteY2" fmla="*/ 410914 h 587034"/>
                <a:gd name="connsiteX3" fmla="*/ 331022 w 609473"/>
                <a:gd name="connsiteY3" fmla="*/ 433867 h 587034"/>
                <a:gd name="connsiteX4" fmla="*/ 312466 w 609473"/>
                <a:gd name="connsiteY4" fmla="*/ 468800 h 587034"/>
                <a:gd name="connsiteX5" fmla="*/ 294112 w 609473"/>
                <a:gd name="connsiteY5" fmla="*/ 468096 h 587034"/>
                <a:gd name="connsiteX6" fmla="*/ 278380 w 609473"/>
                <a:gd name="connsiteY6" fmla="*/ 432055 h 587034"/>
                <a:gd name="connsiteX7" fmla="*/ 299861 w 609473"/>
                <a:gd name="connsiteY7" fmla="*/ 410612 h 587034"/>
                <a:gd name="connsiteX8" fmla="*/ 284028 w 609473"/>
                <a:gd name="connsiteY8" fmla="*/ 393397 h 587034"/>
                <a:gd name="connsiteX9" fmla="*/ 224835 w 609473"/>
                <a:gd name="connsiteY9" fmla="*/ 380559 h 587034"/>
                <a:gd name="connsiteX10" fmla="*/ 283211 w 609473"/>
                <a:gd name="connsiteY10" fmla="*/ 483344 h 587034"/>
                <a:gd name="connsiteX11" fmla="*/ 305190 w 609473"/>
                <a:gd name="connsiteY11" fmla="*/ 499753 h 587034"/>
                <a:gd name="connsiteX12" fmla="*/ 327069 w 609473"/>
                <a:gd name="connsiteY12" fmla="*/ 483646 h 587034"/>
                <a:gd name="connsiteX13" fmla="*/ 387865 w 609473"/>
                <a:gd name="connsiteY13" fmla="*/ 380861 h 587034"/>
                <a:gd name="connsiteX14" fmla="*/ 498972 w 609473"/>
                <a:gd name="connsiteY14" fmla="*/ 386700 h 587034"/>
                <a:gd name="connsiteX15" fmla="*/ 581344 w 609473"/>
                <a:gd name="connsiteY15" fmla="*/ 414485 h 587034"/>
                <a:gd name="connsiteX16" fmla="*/ 609473 w 609473"/>
                <a:gd name="connsiteY16" fmla="*/ 494820 h 587034"/>
                <a:gd name="connsiteX17" fmla="*/ 609473 w 609473"/>
                <a:gd name="connsiteY17" fmla="*/ 529048 h 587034"/>
                <a:gd name="connsiteX18" fmla="*/ 551399 w 609473"/>
                <a:gd name="connsiteY18" fmla="*/ 587034 h 587034"/>
                <a:gd name="connsiteX19" fmla="*/ 58074 w 609473"/>
                <a:gd name="connsiteY19" fmla="*/ 587034 h 587034"/>
                <a:gd name="connsiteX20" fmla="*/ 0 w 609473"/>
                <a:gd name="connsiteY20" fmla="*/ 529048 h 587034"/>
                <a:gd name="connsiteX21" fmla="*/ 0 w 609473"/>
                <a:gd name="connsiteY21" fmla="*/ 494820 h 587034"/>
                <a:gd name="connsiteX22" fmla="*/ 28129 w 609473"/>
                <a:gd name="connsiteY22" fmla="*/ 414485 h 587034"/>
                <a:gd name="connsiteX23" fmla="*/ 110501 w 609473"/>
                <a:gd name="connsiteY23" fmla="*/ 386700 h 587034"/>
                <a:gd name="connsiteX24" fmla="*/ 316407 w 609473"/>
                <a:gd name="connsiteY24" fmla="*/ 206077 h 587034"/>
                <a:gd name="connsiteX25" fmla="*/ 316407 w 609473"/>
                <a:gd name="connsiteY25" fmla="*/ 272924 h 587034"/>
                <a:gd name="connsiteX26" fmla="*/ 335965 w 609473"/>
                <a:gd name="connsiteY26" fmla="*/ 266783 h 587034"/>
                <a:gd name="connsiteX27" fmla="*/ 346551 w 609473"/>
                <a:gd name="connsiteY27" fmla="*/ 239602 h 587034"/>
                <a:gd name="connsiteX28" fmla="*/ 336570 w 609473"/>
                <a:gd name="connsiteY28" fmla="*/ 216346 h 587034"/>
                <a:gd name="connsiteX29" fmla="*/ 316407 w 609473"/>
                <a:gd name="connsiteY29" fmla="*/ 206077 h 587034"/>
                <a:gd name="connsiteX30" fmla="*/ 299872 w 609473"/>
                <a:gd name="connsiteY30" fmla="*/ 94230 h 587034"/>
                <a:gd name="connsiteX31" fmla="*/ 277793 w 609473"/>
                <a:gd name="connsiteY31" fmla="*/ 102183 h 587034"/>
                <a:gd name="connsiteX32" fmla="*/ 270534 w 609473"/>
                <a:gd name="connsiteY32" fmla="*/ 122922 h 587034"/>
                <a:gd name="connsiteX33" fmla="*/ 281322 w 609473"/>
                <a:gd name="connsiteY33" fmla="*/ 145674 h 587034"/>
                <a:gd name="connsiteX34" fmla="*/ 299872 w 609473"/>
                <a:gd name="connsiteY34" fmla="*/ 154231 h 587034"/>
                <a:gd name="connsiteX35" fmla="*/ 316407 w 609473"/>
                <a:gd name="connsiteY35" fmla="*/ 42585 h 587034"/>
                <a:gd name="connsiteX36" fmla="*/ 316407 w 609473"/>
                <a:gd name="connsiteY36" fmla="*/ 56478 h 587034"/>
                <a:gd name="connsiteX37" fmla="*/ 360061 w 609473"/>
                <a:gd name="connsiteY37" fmla="*/ 70169 h 587034"/>
                <a:gd name="connsiteX38" fmla="*/ 389904 w 609473"/>
                <a:gd name="connsiteY38" fmla="*/ 129465 h 587034"/>
                <a:gd name="connsiteX39" fmla="*/ 344837 w 609473"/>
                <a:gd name="connsiteY39" fmla="*/ 129465 h 587034"/>
                <a:gd name="connsiteX40" fmla="*/ 339797 w 609473"/>
                <a:gd name="connsiteY40" fmla="*/ 107217 h 587034"/>
                <a:gd name="connsiteX41" fmla="*/ 316407 w 609473"/>
                <a:gd name="connsiteY41" fmla="*/ 93928 h 587034"/>
                <a:gd name="connsiteX42" fmla="*/ 316407 w 609473"/>
                <a:gd name="connsiteY42" fmla="*/ 159063 h 587034"/>
                <a:gd name="connsiteX43" fmla="*/ 371050 w 609473"/>
                <a:gd name="connsiteY43" fmla="*/ 183829 h 587034"/>
                <a:gd name="connsiteX44" fmla="*/ 394037 w 609473"/>
                <a:gd name="connsiteY44" fmla="*/ 234467 h 587034"/>
                <a:gd name="connsiteX45" fmla="*/ 362380 w 609473"/>
                <a:gd name="connsiteY45" fmla="*/ 297086 h 587034"/>
                <a:gd name="connsiteX46" fmla="*/ 316407 w 609473"/>
                <a:gd name="connsiteY46" fmla="*/ 311079 h 587034"/>
                <a:gd name="connsiteX47" fmla="*/ 316407 w 609473"/>
                <a:gd name="connsiteY47" fmla="*/ 318328 h 587034"/>
                <a:gd name="connsiteX48" fmla="*/ 445959 w 609473"/>
                <a:gd name="connsiteY48" fmla="*/ 180507 h 587034"/>
                <a:gd name="connsiteX49" fmla="*/ 316407 w 609473"/>
                <a:gd name="connsiteY49" fmla="*/ 42585 h 587034"/>
                <a:gd name="connsiteX50" fmla="*/ 299872 w 609473"/>
                <a:gd name="connsiteY50" fmla="*/ 42484 h 587034"/>
                <a:gd name="connsiteX51" fmla="*/ 168808 w 609473"/>
                <a:gd name="connsiteY51" fmla="*/ 180507 h 587034"/>
                <a:gd name="connsiteX52" fmla="*/ 299872 w 609473"/>
                <a:gd name="connsiteY52" fmla="*/ 318428 h 587034"/>
                <a:gd name="connsiteX53" fmla="*/ 299872 w 609473"/>
                <a:gd name="connsiteY53" fmla="*/ 311381 h 587034"/>
                <a:gd name="connsiteX54" fmla="*/ 249564 w 609473"/>
                <a:gd name="connsiteY54" fmla="*/ 296683 h 587034"/>
                <a:gd name="connsiteX55" fmla="*/ 220729 w 609473"/>
                <a:gd name="connsiteY55" fmla="*/ 229635 h 587034"/>
                <a:gd name="connsiteX56" fmla="*/ 266904 w 609473"/>
                <a:gd name="connsiteY56" fmla="*/ 229635 h 587034"/>
                <a:gd name="connsiteX57" fmla="*/ 273659 w 609473"/>
                <a:gd name="connsiteY57" fmla="*/ 258528 h 587034"/>
                <a:gd name="connsiteX58" fmla="*/ 299872 w 609473"/>
                <a:gd name="connsiteY58" fmla="*/ 273428 h 587034"/>
                <a:gd name="connsiteX59" fmla="*/ 299872 w 609473"/>
                <a:gd name="connsiteY59" fmla="*/ 200440 h 587034"/>
                <a:gd name="connsiteX60" fmla="*/ 285959 w 609473"/>
                <a:gd name="connsiteY60" fmla="*/ 196312 h 587034"/>
                <a:gd name="connsiteX61" fmla="*/ 239784 w 609473"/>
                <a:gd name="connsiteY61" fmla="*/ 169634 h 587034"/>
                <a:gd name="connsiteX62" fmla="*/ 226375 w 609473"/>
                <a:gd name="connsiteY62" fmla="*/ 128459 h 587034"/>
                <a:gd name="connsiteX63" fmla="*/ 231618 w 609473"/>
                <a:gd name="connsiteY63" fmla="*/ 99566 h 587034"/>
                <a:gd name="connsiteX64" fmla="*/ 246237 w 609473"/>
                <a:gd name="connsiteY64" fmla="*/ 77115 h 587034"/>
                <a:gd name="connsiteX65" fmla="*/ 273256 w 609473"/>
                <a:gd name="connsiteY65" fmla="*/ 60404 h 587034"/>
                <a:gd name="connsiteX66" fmla="*/ 299872 w 609473"/>
                <a:gd name="connsiteY66" fmla="*/ 56075 h 587034"/>
                <a:gd name="connsiteX67" fmla="*/ 307333 w 609473"/>
                <a:gd name="connsiteY67" fmla="*/ 0 h 587034"/>
                <a:gd name="connsiteX68" fmla="*/ 488101 w 609473"/>
                <a:gd name="connsiteY68" fmla="*/ 180507 h 587034"/>
                <a:gd name="connsiteX69" fmla="*/ 307333 w 609473"/>
                <a:gd name="connsiteY69" fmla="*/ 361013 h 587034"/>
                <a:gd name="connsiteX70" fmla="*/ 126665 w 609473"/>
                <a:gd name="connsiteY70" fmla="*/ 180507 h 587034"/>
                <a:gd name="connsiteX71" fmla="*/ 307333 w 609473"/>
                <a:gd name="connsiteY71" fmla="*/ 0 h 587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609473" h="587034">
                  <a:moveTo>
                    <a:pt x="304701" y="381618"/>
                  </a:moveTo>
                  <a:lnTo>
                    <a:pt x="325879" y="394101"/>
                  </a:lnTo>
                  <a:lnTo>
                    <a:pt x="309542" y="410914"/>
                  </a:lnTo>
                  <a:lnTo>
                    <a:pt x="331022" y="433867"/>
                  </a:lnTo>
                  <a:lnTo>
                    <a:pt x="312466" y="468800"/>
                  </a:lnTo>
                  <a:cubicBezTo>
                    <a:pt x="307021" y="479069"/>
                    <a:pt x="298751" y="478767"/>
                    <a:pt x="294112" y="468096"/>
                  </a:cubicBezTo>
                  <a:lnTo>
                    <a:pt x="278380" y="432055"/>
                  </a:lnTo>
                  <a:lnTo>
                    <a:pt x="299861" y="410612"/>
                  </a:lnTo>
                  <a:lnTo>
                    <a:pt x="284028" y="393397"/>
                  </a:lnTo>
                  <a:close/>
                  <a:moveTo>
                    <a:pt x="224835" y="380559"/>
                  </a:moveTo>
                  <a:lnTo>
                    <a:pt x="283211" y="483344"/>
                  </a:lnTo>
                  <a:cubicBezTo>
                    <a:pt x="289260" y="493914"/>
                    <a:pt x="297024" y="499753"/>
                    <a:pt x="305190" y="499753"/>
                  </a:cubicBezTo>
                  <a:cubicBezTo>
                    <a:pt x="313155" y="499753"/>
                    <a:pt x="320919" y="494015"/>
                    <a:pt x="327069" y="483646"/>
                  </a:cubicBezTo>
                  <a:lnTo>
                    <a:pt x="387865" y="380861"/>
                  </a:lnTo>
                  <a:lnTo>
                    <a:pt x="498972" y="386700"/>
                  </a:lnTo>
                  <a:cubicBezTo>
                    <a:pt x="529521" y="388311"/>
                    <a:pt x="565716" y="400492"/>
                    <a:pt x="581344" y="414485"/>
                  </a:cubicBezTo>
                  <a:cubicBezTo>
                    <a:pt x="597072" y="428679"/>
                    <a:pt x="609473" y="464015"/>
                    <a:pt x="609473" y="494820"/>
                  </a:cubicBezTo>
                  <a:lnTo>
                    <a:pt x="609473" y="529048"/>
                  </a:lnTo>
                  <a:cubicBezTo>
                    <a:pt x="609473" y="561061"/>
                    <a:pt x="583360" y="587034"/>
                    <a:pt x="551399" y="587034"/>
                  </a:cubicBezTo>
                  <a:lnTo>
                    <a:pt x="58074" y="587034"/>
                  </a:lnTo>
                  <a:cubicBezTo>
                    <a:pt x="26012" y="587034"/>
                    <a:pt x="0" y="561061"/>
                    <a:pt x="0" y="529048"/>
                  </a:cubicBezTo>
                  <a:lnTo>
                    <a:pt x="0" y="494820"/>
                  </a:lnTo>
                  <a:cubicBezTo>
                    <a:pt x="0" y="464015"/>
                    <a:pt x="12401" y="428679"/>
                    <a:pt x="28129" y="414485"/>
                  </a:cubicBezTo>
                  <a:cubicBezTo>
                    <a:pt x="43757" y="400492"/>
                    <a:pt x="79851" y="388311"/>
                    <a:pt x="110501" y="386700"/>
                  </a:cubicBezTo>
                  <a:close/>
                  <a:moveTo>
                    <a:pt x="316407" y="206077"/>
                  </a:moveTo>
                  <a:lnTo>
                    <a:pt x="316407" y="272924"/>
                  </a:lnTo>
                  <a:cubicBezTo>
                    <a:pt x="325379" y="271817"/>
                    <a:pt x="331832" y="269703"/>
                    <a:pt x="335965" y="266783"/>
                  </a:cubicBezTo>
                  <a:cubicBezTo>
                    <a:pt x="343023" y="261548"/>
                    <a:pt x="346551" y="252488"/>
                    <a:pt x="346551" y="239602"/>
                  </a:cubicBezTo>
                  <a:cubicBezTo>
                    <a:pt x="346551" y="229736"/>
                    <a:pt x="343224" y="222084"/>
                    <a:pt x="336570" y="216346"/>
                  </a:cubicBezTo>
                  <a:cubicBezTo>
                    <a:pt x="332638" y="213024"/>
                    <a:pt x="325884" y="209601"/>
                    <a:pt x="316407" y="206077"/>
                  </a:cubicBezTo>
                  <a:close/>
                  <a:moveTo>
                    <a:pt x="299872" y="94230"/>
                  </a:moveTo>
                  <a:cubicBezTo>
                    <a:pt x="289891" y="94431"/>
                    <a:pt x="282531" y="97149"/>
                    <a:pt x="277793" y="102183"/>
                  </a:cubicBezTo>
                  <a:cubicBezTo>
                    <a:pt x="272954" y="107317"/>
                    <a:pt x="270534" y="114163"/>
                    <a:pt x="270534" y="122922"/>
                  </a:cubicBezTo>
                  <a:cubicBezTo>
                    <a:pt x="270534" y="132586"/>
                    <a:pt x="274163" y="140137"/>
                    <a:pt x="281322" y="145674"/>
                  </a:cubicBezTo>
                  <a:cubicBezTo>
                    <a:pt x="285354" y="148795"/>
                    <a:pt x="291504" y="151613"/>
                    <a:pt x="299872" y="154231"/>
                  </a:cubicBezTo>
                  <a:close/>
                  <a:moveTo>
                    <a:pt x="316407" y="42585"/>
                  </a:moveTo>
                  <a:lnTo>
                    <a:pt x="316407" y="56478"/>
                  </a:lnTo>
                  <a:cubicBezTo>
                    <a:pt x="334957" y="57887"/>
                    <a:pt x="349576" y="62518"/>
                    <a:pt x="360061" y="70169"/>
                  </a:cubicBezTo>
                  <a:cubicBezTo>
                    <a:pt x="379318" y="82350"/>
                    <a:pt x="389198" y="102082"/>
                    <a:pt x="389904" y="129465"/>
                  </a:cubicBezTo>
                  <a:lnTo>
                    <a:pt x="344837" y="129465"/>
                  </a:lnTo>
                  <a:cubicBezTo>
                    <a:pt x="344031" y="119297"/>
                    <a:pt x="342317" y="111948"/>
                    <a:pt x="339797" y="107217"/>
                  </a:cubicBezTo>
                  <a:cubicBezTo>
                    <a:pt x="335562" y="99163"/>
                    <a:pt x="327698" y="94733"/>
                    <a:pt x="316407" y="93928"/>
                  </a:cubicBezTo>
                  <a:lnTo>
                    <a:pt x="316407" y="159063"/>
                  </a:lnTo>
                  <a:cubicBezTo>
                    <a:pt x="343527" y="168426"/>
                    <a:pt x="361674" y="176681"/>
                    <a:pt x="371050" y="183829"/>
                  </a:cubicBezTo>
                  <a:cubicBezTo>
                    <a:pt x="386375" y="195809"/>
                    <a:pt x="394037" y="212722"/>
                    <a:pt x="394037" y="234467"/>
                  </a:cubicBezTo>
                  <a:cubicBezTo>
                    <a:pt x="394037" y="263159"/>
                    <a:pt x="383451" y="284099"/>
                    <a:pt x="362380" y="297086"/>
                  </a:cubicBezTo>
                  <a:cubicBezTo>
                    <a:pt x="349475" y="305039"/>
                    <a:pt x="334151" y="309670"/>
                    <a:pt x="316407" y="311079"/>
                  </a:cubicBezTo>
                  <a:lnTo>
                    <a:pt x="316407" y="318328"/>
                  </a:lnTo>
                  <a:cubicBezTo>
                    <a:pt x="388593" y="313697"/>
                    <a:pt x="445959" y="253696"/>
                    <a:pt x="445959" y="180507"/>
                  </a:cubicBezTo>
                  <a:cubicBezTo>
                    <a:pt x="445959" y="107217"/>
                    <a:pt x="388593" y="47316"/>
                    <a:pt x="316407" y="42585"/>
                  </a:cubicBezTo>
                  <a:close/>
                  <a:moveTo>
                    <a:pt x="299872" y="42484"/>
                  </a:moveTo>
                  <a:cubicBezTo>
                    <a:pt x="226980" y="46410"/>
                    <a:pt x="168808" y="106713"/>
                    <a:pt x="168808" y="180507"/>
                  </a:cubicBezTo>
                  <a:cubicBezTo>
                    <a:pt x="168808" y="254199"/>
                    <a:pt x="226980" y="314502"/>
                    <a:pt x="299872" y="318428"/>
                  </a:cubicBezTo>
                  <a:lnTo>
                    <a:pt x="299872" y="311381"/>
                  </a:lnTo>
                  <a:cubicBezTo>
                    <a:pt x="277390" y="308864"/>
                    <a:pt x="260553" y="303931"/>
                    <a:pt x="249564" y="296683"/>
                  </a:cubicBezTo>
                  <a:cubicBezTo>
                    <a:pt x="230005" y="283596"/>
                    <a:pt x="220427" y="261246"/>
                    <a:pt x="220729" y="229635"/>
                  </a:cubicBezTo>
                  <a:lnTo>
                    <a:pt x="266904" y="229635"/>
                  </a:lnTo>
                  <a:cubicBezTo>
                    <a:pt x="268518" y="244031"/>
                    <a:pt x="270736" y="253696"/>
                    <a:pt x="273659" y="258528"/>
                  </a:cubicBezTo>
                  <a:cubicBezTo>
                    <a:pt x="278095" y="266179"/>
                    <a:pt x="286867" y="271112"/>
                    <a:pt x="299872" y="273428"/>
                  </a:cubicBezTo>
                  <a:lnTo>
                    <a:pt x="299872" y="200440"/>
                  </a:lnTo>
                  <a:lnTo>
                    <a:pt x="285959" y="196312"/>
                  </a:lnTo>
                  <a:cubicBezTo>
                    <a:pt x="264182" y="189970"/>
                    <a:pt x="248757" y="181010"/>
                    <a:pt x="239784" y="169634"/>
                  </a:cubicBezTo>
                  <a:cubicBezTo>
                    <a:pt x="230811" y="158258"/>
                    <a:pt x="226375" y="144466"/>
                    <a:pt x="226375" y="128459"/>
                  </a:cubicBezTo>
                  <a:cubicBezTo>
                    <a:pt x="226375" y="117787"/>
                    <a:pt x="228089" y="108223"/>
                    <a:pt x="231618" y="99566"/>
                  </a:cubicBezTo>
                  <a:cubicBezTo>
                    <a:pt x="235046" y="90908"/>
                    <a:pt x="239986" y="83357"/>
                    <a:pt x="246237" y="77115"/>
                  </a:cubicBezTo>
                  <a:cubicBezTo>
                    <a:pt x="254302" y="69062"/>
                    <a:pt x="263376" y="63424"/>
                    <a:pt x="273256" y="60404"/>
                  </a:cubicBezTo>
                  <a:cubicBezTo>
                    <a:pt x="279406" y="58390"/>
                    <a:pt x="288177" y="56981"/>
                    <a:pt x="299872" y="56075"/>
                  </a:cubicBezTo>
                  <a:close/>
                  <a:moveTo>
                    <a:pt x="307333" y="0"/>
                  </a:moveTo>
                  <a:cubicBezTo>
                    <a:pt x="407043" y="0"/>
                    <a:pt x="488101" y="80941"/>
                    <a:pt x="488101" y="180507"/>
                  </a:cubicBezTo>
                  <a:cubicBezTo>
                    <a:pt x="488101" y="279971"/>
                    <a:pt x="407043" y="361013"/>
                    <a:pt x="307333" y="361013"/>
                  </a:cubicBezTo>
                  <a:cubicBezTo>
                    <a:pt x="207724" y="361013"/>
                    <a:pt x="126665" y="279971"/>
                    <a:pt x="126665" y="180507"/>
                  </a:cubicBezTo>
                  <a:cubicBezTo>
                    <a:pt x="126665" y="80941"/>
                    <a:pt x="207724" y="0"/>
                    <a:pt x="307333" y="0"/>
                  </a:cubicBezTo>
                  <a:close/>
                </a:path>
              </a:pathLst>
            </a:custGeom>
            <a:solidFill>
              <a:srgbClr val="000000"/>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smtClean="0">
                <a:ln>
                  <a:noFill/>
                </a:ln>
                <a:solidFill>
                  <a:srgbClr val="FFFFFF"/>
                </a:solidFill>
                <a:effectLst/>
                <a:uLnTx/>
                <a:uFillTx/>
                <a:latin typeface="华文楷体" panose="02010600040101010101" charset="-122"/>
                <a:ea typeface="华文楷体" panose="02010600040101010101" charset="-122"/>
                <a:cs typeface="+mn-ea"/>
                <a:sym typeface="+mn-lt"/>
              </a:endParaRPr>
            </a:p>
          </p:txBody>
        </p:sp>
      </p:grpSp>
      <p:sp>
        <p:nvSpPr>
          <p:cNvPr id="46" name="椭圆 45"/>
          <p:cNvSpPr/>
          <p:nvPr/>
        </p:nvSpPr>
        <p:spPr>
          <a:xfrm>
            <a:off x="8273261" y="2251157"/>
            <a:ext cx="845440" cy="846000"/>
          </a:xfrm>
          <a:prstGeom prst="ellipse">
            <a:avLst/>
          </a:prstGeom>
          <a:solidFill>
            <a:schemeClr val="accent6">
              <a:lumMod val="40000"/>
              <a:lumOff val="60000"/>
            </a:schemeClr>
          </a:solidFill>
          <a:ln w="381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smtClean="0">
              <a:ln>
                <a:noFill/>
              </a:ln>
              <a:solidFill>
                <a:srgbClr val="FFFFFF"/>
              </a:solidFill>
              <a:effectLst/>
              <a:uLnTx/>
              <a:uFillTx/>
              <a:latin typeface="华文楷体" panose="02010600040101010101" charset="-122"/>
              <a:ea typeface="华文楷体" panose="02010600040101010101" charset="-122"/>
              <a:cs typeface="+mn-ea"/>
              <a:sym typeface="+mn-lt"/>
            </a:endParaRPr>
          </a:p>
        </p:txBody>
      </p:sp>
      <p:grpSp>
        <p:nvGrpSpPr>
          <p:cNvPr id="47" name="组合 46"/>
          <p:cNvGrpSpPr/>
          <p:nvPr/>
        </p:nvGrpSpPr>
        <p:grpSpPr>
          <a:xfrm>
            <a:off x="2502981" y="4927414"/>
            <a:ext cx="845440" cy="846000"/>
            <a:chOff x="3901541" y="2289344"/>
            <a:chExt cx="648072" cy="570356"/>
          </a:xfrm>
        </p:grpSpPr>
        <p:sp>
          <p:nvSpPr>
            <p:cNvPr id="64" name="椭圆 63"/>
            <p:cNvSpPr/>
            <p:nvPr/>
          </p:nvSpPr>
          <p:spPr>
            <a:xfrm>
              <a:off x="3901541" y="2289344"/>
              <a:ext cx="648072" cy="570356"/>
            </a:xfrm>
            <a:prstGeom prst="ellipse">
              <a:avLst/>
            </a:prstGeom>
            <a:solidFill>
              <a:schemeClr val="bg1">
                <a:lumMod val="85000"/>
              </a:schemeClr>
            </a:solidFill>
            <a:ln w="381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smtClean="0">
                <a:ln>
                  <a:noFill/>
                </a:ln>
                <a:solidFill>
                  <a:srgbClr val="FFFFFF"/>
                </a:solidFill>
                <a:effectLst/>
                <a:uLnTx/>
                <a:uFillTx/>
                <a:latin typeface="华文楷体" panose="02010600040101010101" charset="-122"/>
                <a:ea typeface="华文楷体" panose="02010600040101010101" charset="-122"/>
                <a:cs typeface="+mn-ea"/>
                <a:sym typeface="+mn-lt"/>
              </a:endParaRPr>
            </a:p>
          </p:txBody>
        </p:sp>
        <p:sp>
          <p:nvSpPr>
            <p:cNvPr id="65" name="任意多边形: 形状 24"/>
            <p:cNvSpPr/>
            <p:nvPr/>
          </p:nvSpPr>
          <p:spPr bwMode="auto">
            <a:xfrm>
              <a:off x="4043050" y="2390028"/>
              <a:ext cx="380293" cy="366291"/>
            </a:xfrm>
            <a:custGeom>
              <a:avLst/>
              <a:gdLst>
                <a:gd name="T0" fmla="*/ 3413 w 6827"/>
                <a:gd name="T1" fmla="*/ 0 h 5912"/>
                <a:gd name="T2" fmla="*/ 0 w 6827"/>
                <a:gd name="T3" fmla="*/ 5912 h 5912"/>
                <a:gd name="T4" fmla="*/ 6827 w 6827"/>
                <a:gd name="T5" fmla="*/ 5912 h 5912"/>
                <a:gd name="T6" fmla="*/ 3413 w 6827"/>
                <a:gd name="T7" fmla="*/ 0 h 5912"/>
                <a:gd name="T8" fmla="*/ 3413 w 6827"/>
                <a:gd name="T9" fmla="*/ 972 h 5912"/>
                <a:gd name="T10" fmla="*/ 4489 w 6827"/>
                <a:gd name="T11" fmla="*/ 2835 h 5912"/>
                <a:gd name="T12" fmla="*/ 2338 w 6827"/>
                <a:gd name="T13" fmla="*/ 2835 h 5912"/>
                <a:gd name="T14" fmla="*/ 3413 w 6827"/>
                <a:gd name="T15" fmla="*/ 972 h 5912"/>
                <a:gd name="T16" fmla="*/ 842 w 6827"/>
                <a:gd name="T17" fmla="*/ 5426 h 5912"/>
                <a:gd name="T18" fmla="*/ 1917 w 6827"/>
                <a:gd name="T19" fmla="*/ 3564 h 5912"/>
                <a:gd name="T20" fmla="*/ 2993 w 6827"/>
                <a:gd name="T21" fmla="*/ 5426 h 5912"/>
                <a:gd name="T22" fmla="*/ 842 w 6827"/>
                <a:gd name="T23" fmla="*/ 5426 h 5912"/>
                <a:gd name="T24" fmla="*/ 2338 w 6827"/>
                <a:gd name="T25" fmla="*/ 3321 h 5912"/>
                <a:gd name="T26" fmla="*/ 4489 w 6827"/>
                <a:gd name="T27" fmla="*/ 3321 h 5912"/>
                <a:gd name="T28" fmla="*/ 3413 w 6827"/>
                <a:gd name="T29" fmla="*/ 5183 h 5912"/>
                <a:gd name="T30" fmla="*/ 2338 w 6827"/>
                <a:gd name="T31" fmla="*/ 3321 h 5912"/>
                <a:gd name="T32" fmla="*/ 4910 w 6827"/>
                <a:gd name="T33" fmla="*/ 3564 h 5912"/>
                <a:gd name="T34" fmla="*/ 5985 w 6827"/>
                <a:gd name="T35" fmla="*/ 5426 h 5912"/>
                <a:gd name="T36" fmla="*/ 3834 w 6827"/>
                <a:gd name="T37" fmla="*/ 5426 h 5912"/>
                <a:gd name="T38" fmla="*/ 4910 w 6827"/>
                <a:gd name="T39" fmla="*/ 3564 h 5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827" h="5912">
                  <a:moveTo>
                    <a:pt x="3413" y="0"/>
                  </a:moveTo>
                  <a:lnTo>
                    <a:pt x="0" y="5912"/>
                  </a:lnTo>
                  <a:lnTo>
                    <a:pt x="6827" y="5912"/>
                  </a:lnTo>
                  <a:lnTo>
                    <a:pt x="3413" y="0"/>
                  </a:lnTo>
                  <a:close/>
                  <a:moveTo>
                    <a:pt x="3413" y="972"/>
                  </a:moveTo>
                  <a:lnTo>
                    <a:pt x="4489" y="2835"/>
                  </a:lnTo>
                  <a:lnTo>
                    <a:pt x="2338" y="2835"/>
                  </a:lnTo>
                  <a:lnTo>
                    <a:pt x="3413" y="972"/>
                  </a:lnTo>
                  <a:close/>
                  <a:moveTo>
                    <a:pt x="842" y="5426"/>
                  </a:moveTo>
                  <a:lnTo>
                    <a:pt x="1917" y="3564"/>
                  </a:lnTo>
                  <a:lnTo>
                    <a:pt x="2993" y="5426"/>
                  </a:lnTo>
                  <a:lnTo>
                    <a:pt x="842" y="5426"/>
                  </a:lnTo>
                  <a:close/>
                  <a:moveTo>
                    <a:pt x="2338" y="3321"/>
                  </a:moveTo>
                  <a:lnTo>
                    <a:pt x="4489" y="3321"/>
                  </a:lnTo>
                  <a:lnTo>
                    <a:pt x="3413" y="5183"/>
                  </a:lnTo>
                  <a:lnTo>
                    <a:pt x="2338" y="3321"/>
                  </a:lnTo>
                  <a:close/>
                  <a:moveTo>
                    <a:pt x="4910" y="3564"/>
                  </a:moveTo>
                  <a:lnTo>
                    <a:pt x="5985" y="5426"/>
                  </a:lnTo>
                  <a:lnTo>
                    <a:pt x="3834" y="5426"/>
                  </a:lnTo>
                  <a:lnTo>
                    <a:pt x="4910" y="3564"/>
                  </a:lnTo>
                  <a:close/>
                </a:path>
              </a:pathLst>
            </a:custGeom>
            <a:solidFill>
              <a:srgbClr val="000000"/>
            </a:solidFill>
            <a:ln>
              <a:noFill/>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smtClean="0">
                <a:ln>
                  <a:noFill/>
                </a:ln>
                <a:solidFill>
                  <a:srgbClr val="FFFFFF"/>
                </a:solidFill>
                <a:effectLst/>
                <a:uLnTx/>
                <a:uFillTx/>
                <a:latin typeface="华文楷体" panose="02010600040101010101" charset="-122"/>
                <a:ea typeface="华文楷体" panose="02010600040101010101" charset="-122"/>
                <a:cs typeface="+mn-ea"/>
                <a:sym typeface="+mn-lt"/>
              </a:endParaRPr>
            </a:p>
          </p:txBody>
        </p:sp>
      </p:grpSp>
      <p:grpSp>
        <p:nvGrpSpPr>
          <p:cNvPr id="48" name="组合 47"/>
          <p:cNvGrpSpPr/>
          <p:nvPr/>
        </p:nvGrpSpPr>
        <p:grpSpPr>
          <a:xfrm>
            <a:off x="348343" y="4841632"/>
            <a:ext cx="1892938" cy="1056993"/>
            <a:chOff x="1512990" y="1988839"/>
            <a:chExt cx="2027504" cy="718905"/>
          </a:xfrm>
        </p:grpSpPr>
        <p:sp>
          <p:nvSpPr>
            <p:cNvPr id="62" name="文本框 26"/>
            <p:cNvSpPr txBox="1"/>
            <p:nvPr/>
          </p:nvSpPr>
          <p:spPr>
            <a:xfrm>
              <a:off x="1512990" y="2372216"/>
              <a:ext cx="2027503" cy="335528"/>
            </a:xfrm>
            <a:prstGeom prst="rect">
              <a:avLst/>
            </a:prstGeom>
            <a:noFill/>
          </p:spPr>
          <p:txBody>
            <a:bodyPr wrap="square" lIns="0" tIns="0" rIns="0" bIns="0" anchor="ctr">
              <a:noAutofit/>
            </a:bodyPr>
            <a:lstStyle/>
            <a:p>
              <a:pPr marL="0" marR="0" lvl="0" indent="0" algn="r" defTabSz="914400" eaLnBrk="1" fontAlgn="auto" latinLnBrk="0" hangingPunct="1">
                <a:lnSpc>
                  <a:spcPct val="120000"/>
                </a:lnSpc>
                <a:spcBef>
                  <a:spcPct val="0"/>
                </a:spcBef>
                <a:spcAft>
                  <a:spcPts val="0"/>
                </a:spcAft>
                <a:buClrTx/>
                <a:buSzTx/>
                <a:buFontTx/>
                <a:buNone/>
                <a:defRPr/>
              </a:pPr>
              <a:r>
                <a:rPr kumimoji="0" lang="zh-CN" altLang="en-US" sz="14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ea"/>
                  <a:sym typeface="+mn-lt"/>
                </a:rPr>
                <a:t>路内、外停车位</a:t>
              </a:r>
              <a:endParaRPr kumimoji="0" lang="zh-CN" altLang="en-US" sz="14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ea"/>
                <a:sym typeface="+mn-lt"/>
              </a:endParaRPr>
            </a:p>
          </p:txBody>
        </p:sp>
        <p:sp>
          <p:nvSpPr>
            <p:cNvPr id="63" name="矩形 62"/>
            <p:cNvSpPr/>
            <p:nvPr/>
          </p:nvSpPr>
          <p:spPr>
            <a:xfrm>
              <a:off x="2383695" y="1988839"/>
              <a:ext cx="1156799" cy="306375"/>
            </a:xfrm>
            <a:prstGeom prst="rect">
              <a:avLst/>
            </a:prstGeom>
          </p:spPr>
          <p:txBody>
            <a:bodyPr wrap="none" lIns="0" tIns="0" rIns="0" bIns="0" anchor="ctr">
              <a:normAutofit/>
            </a:bodyPr>
            <a:lstStyle/>
            <a:p>
              <a:pPr marL="0" marR="0" lvl="0" indent="0" algn="ctr" defTabSz="914400" eaLnBrk="1" fontAlgn="auto" latinLnBrk="0" hangingPunct="1">
                <a:lnSpc>
                  <a:spcPct val="100000"/>
                </a:lnSpc>
                <a:spcBef>
                  <a:spcPct val="0"/>
                </a:spcBef>
                <a:spcAft>
                  <a:spcPts val="0"/>
                </a:spcAft>
                <a:buClrTx/>
                <a:buSzTx/>
                <a:buFontTx/>
                <a:buNone/>
                <a:defRPr/>
              </a:pPr>
              <a:r>
                <a:rPr kumimoji="0" lang="en-US" altLang="zh-CN" sz="2000" b="1" i="0" u="none" strike="noStrike" kern="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ea"/>
                  <a:sym typeface="+mn-lt"/>
                </a:rPr>
                <a:t> </a:t>
              </a:r>
              <a:r>
                <a:rPr kumimoji="0" lang="zh-CN" altLang="en-US" sz="2400" b="1" i="0" u="none" strike="noStrike" kern="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ea"/>
                  <a:sym typeface="+mn-lt"/>
                </a:rPr>
                <a:t>新增</a:t>
              </a:r>
              <a:endParaRPr kumimoji="0" lang="zh-CN" altLang="en-US" sz="2400" b="1" i="0" u="none" strike="noStrike" kern="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ea"/>
                <a:sym typeface="+mn-lt"/>
              </a:endParaRPr>
            </a:p>
          </p:txBody>
        </p:sp>
      </p:grpSp>
      <p:grpSp>
        <p:nvGrpSpPr>
          <p:cNvPr id="49" name="组合 48"/>
          <p:cNvGrpSpPr/>
          <p:nvPr/>
        </p:nvGrpSpPr>
        <p:grpSpPr>
          <a:xfrm>
            <a:off x="9379563" y="2390187"/>
            <a:ext cx="2043181" cy="1265924"/>
            <a:chOff x="251867" y="1988839"/>
            <a:chExt cx="2161754" cy="861008"/>
          </a:xfrm>
        </p:grpSpPr>
        <p:sp>
          <p:nvSpPr>
            <p:cNvPr id="60" name="文本框 29"/>
            <p:cNvSpPr txBox="1"/>
            <p:nvPr/>
          </p:nvSpPr>
          <p:spPr>
            <a:xfrm>
              <a:off x="251867" y="2372216"/>
              <a:ext cx="2161754" cy="477631"/>
            </a:xfrm>
            <a:prstGeom prst="rect">
              <a:avLst/>
            </a:prstGeom>
            <a:noFill/>
          </p:spPr>
          <p:txBody>
            <a:bodyPr wrap="square" lIns="0" tIns="0" rIns="0" bIns="0" anchor="ctr">
              <a:noAutofit/>
            </a:bodyPr>
            <a:lstStyle/>
            <a:p>
              <a:pPr marL="0" marR="0" lvl="0" indent="0" defTabSz="914400" eaLnBrk="1" fontAlgn="auto" latinLnBrk="0" hangingPunct="1">
                <a:lnSpc>
                  <a:spcPct val="120000"/>
                </a:lnSpc>
                <a:spcBef>
                  <a:spcPct val="0"/>
                </a:spcBef>
                <a:spcAft>
                  <a:spcPts val="0"/>
                </a:spcAft>
                <a:buClrTx/>
                <a:buSzTx/>
                <a:buFontTx/>
                <a:buNone/>
                <a:defRPr/>
              </a:pPr>
              <a:r>
                <a:rPr kumimoji="0" lang="zh-CN" altLang="en-US" sz="14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ea"/>
                  <a:sym typeface="+mn-lt"/>
                </a:rPr>
                <a:t>车位预定</a:t>
              </a:r>
              <a:r>
                <a:rPr kumimoji="0" lang="zh-CN" altLang="en-US" sz="14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ea"/>
                  <a:sym typeface="+mn-lt"/>
                </a:rPr>
                <a:t>、车位共享、汽车共享</a:t>
              </a:r>
              <a:r>
                <a:rPr kumimoji="0" lang="en-US" altLang="zh-CN" sz="14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ea"/>
                  <a:sym typeface="+mn-lt"/>
                </a:rPr>
                <a:t>……</a:t>
              </a:r>
              <a:endParaRPr kumimoji="0" lang="zh-CN" altLang="en-US" sz="14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ea"/>
                <a:sym typeface="+mn-lt"/>
              </a:endParaRPr>
            </a:p>
          </p:txBody>
        </p:sp>
        <p:sp>
          <p:nvSpPr>
            <p:cNvPr id="61" name="矩形 60"/>
            <p:cNvSpPr/>
            <p:nvPr/>
          </p:nvSpPr>
          <p:spPr>
            <a:xfrm>
              <a:off x="251867" y="1988839"/>
              <a:ext cx="1644314" cy="306375"/>
            </a:xfrm>
            <a:prstGeom prst="rect">
              <a:avLst/>
            </a:prstGeom>
          </p:spPr>
          <p:txBody>
            <a:bodyPr wrap="none" lIns="0" tIns="0" rIns="0" bIns="0" anchor="ctr">
              <a:noAutofit/>
            </a:bodyPr>
            <a:lstStyle/>
            <a:p>
              <a:pPr marL="0" marR="0" lvl="0" indent="0" defTabSz="914400" eaLnBrk="1" fontAlgn="auto" latinLnBrk="0" hangingPunct="1">
                <a:lnSpc>
                  <a:spcPct val="100000"/>
                </a:lnSpc>
                <a:spcBef>
                  <a:spcPct val="0"/>
                </a:spcBef>
                <a:spcAft>
                  <a:spcPts val="0"/>
                </a:spcAft>
                <a:buClrTx/>
                <a:buSzTx/>
                <a:buFontTx/>
                <a:buNone/>
                <a:defRPr/>
              </a:pPr>
              <a:r>
                <a:rPr kumimoji="0" lang="zh-CN" altLang="en-US" sz="2400" b="1" i="0" u="none" strike="noStrike" kern="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ea"/>
                  <a:sym typeface="+mn-lt"/>
                </a:rPr>
                <a:t>互联网</a:t>
              </a:r>
              <a:r>
                <a:rPr kumimoji="0" lang="en-US" altLang="zh-CN" sz="2400" b="1" i="0" u="none" strike="noStrike" kern="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ea"/>
                  <a:sym typeface="+mn-lt"/>
                </a:rPr>
                <a:t>+</a:t>
              </a:r>
              <a:endParaRPr kumimoji="0" lang="zh-CN" altLang="en-US" sz="2400" b="1" i="0" u="none" strike="noStrike" kern="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ea"/>
                <a:sym typeface="+mn-lt"/>
              </a:endParaRPr>
            </a:p>
          </p:txBody>
        </p:sp>
      </p:grpSp>
      <p:grpSp>
        <p:nvGrpSpPr>
          <p:cNvPr id="50" name="组合 49"/>
          <p:cNvGrpSpPr/>
          <p:nvPr/>
        </p:nvGrpSpPr>
        <p:grpSpPr>
          <a:xfrm>
            <a:off x="6062040" y="1002735"/>
            <a:ext cx="2211221" cy="1152710"/>
            <a:chOff x="1000943" y="2065841"/>
            <a:chExt cx="2368414" cy="784006"/>
          </a:xfrm>
        </p:grpSpPr>
        <p:sp>
          <p:nvSpPr>
            <p:cNvPr id="58" name="文本框 32"/>
            <p:cNvSpPr txBox="1"/>
            <p:nvPr/>
          </p:nvSpPr>
          <p:spPr>
            <a:xfrm>
              <a:off x="1000943" y="2372216"/>
              <a:ext cx="2368414" cy="477631"/>
            </a:xfrm>
            <a:prstGeom prst="rect">
              <a:avLst/>
            </a:prstGeom>
            <a:noFill/>
          </p:spPr>
          <p:txBody>
            <a:bodyPr wrap="square" lIns="0" tIns="0" rIns="0" bIns="0" anchor="ctr">
              <a:noAutofit/>
            </a:bodyPr>
            <a:lstStyle/>
            <a:p>
              <a:pPr marL="0" marR="0" lvl="0" indent="0" defTabSz="914400" eaLnBrk="1" fontAlgn="auto" latinLnBrk="0" hangingPunct="1">
                <a:lnSpc>
                  <a:spcPct val="120000"/>
                </a:lnSpc>
                <a:spcBef>
                  <a:spcPct val="0"/>
                </a:spcBef>
                <a:spcAft>
                  <a:spcPts val="0"/>
                </a:spcAft>
                <a:buClrTx/>
                <a:buSzTx/>
                <a:buFontTx/>
                <a:buNone/>
                <a:defRPr/>
              </a:pPr>
              <a:r>
                <a:rPr kumimoji="0" lang="zh-CN" altLang="en-US" sz="14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ea"/>
                  <a:sym typeface="+mn-lt"/>
                </a:rPr>
                <a:t>路内外一体化运营管理</a:t>
              </a:r>
              <a:endParaRPr kumimoji="0" lang="en-US" altLang="zh-CN" sz="14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ea"/>
                <a:sym typeface="+mn-lt"/>
              </a:endParaRPr>
            </a:p>
          </p:txBody>
        </p:sp>
        <p:sp>
          <p:nvSpPr>
            <p:cNvPr id="59" name="矩形 58"/>
            <p:cNvSpPr/>
            <p:nvPr/>
          </p:nvSpPr>
          <p:spPr>
            <a:xfrm>
              <a:off x="1140377" y="2065841"/>
              <a:ext cx="1468953" cy="306375"/>
            </a:xfrm>
            <a:prstGeom prst="rect">
              <a:avLst/>
            </a:prstGeom>
          </p:spPr>
          <p:txBody>
            <a:bodyPr wrap="none" lIns="0" tIns="0" rIns="0" bIns="0" anchor="ctr">
              <a:noAutofit/>
            </a:bodyPr>
            <a:lstStyle/>
            <a:p>
              <a:pPr marL="0" marR="0" lvl="0" indent="0" algn="ctr" defTabSz="914400" eaLnBrk="1" fontAlgn="auto" latinLnBrk="0" hangingPunct="1">
                <a:lnSpc>
                  <a:spcPct val="100000"/>
                </a:lnSpc>
                <a:spcBef>
                  <a:spcPct val="0"/>
                </a:spcBef>
                <a:spcAft>
                  <a:spcPts val="0"/>
                </a:spcAft>
                <a:buClrTx/>
                <a:buSzTx/>
                <a:buFontTx/>
                <a:buNone/>
                <a:defRPr/>
              </a:pPr>
              <a:r>
                <a:rPr kumimoji="0" lang="zh-CN" altLang="en-US" sz="2400" b="1" i="0" u="none" strike="noStrike" kern="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ea"/>
                  <a:sym typeface="+mn-lt"/>
                </a:rPr>
                <a:t>运营管理</a:t>
              </a:r>
              <a:endParaRPr kumimoji="0" lang="zh-CN" altLang="en-US" sz="2400" b="1" i="0" u="none" strike="noStrike" kern="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ea"/>
                <a:sym typeface="+mn-lt"/>
              </a:endParaRPr>
            </a:p>
          </p:txBody>
        </p:sp>
      </p:grpSp>
      <p:grpSp>
        <p:nvGrpSpPr>
          <p:cNvPr id="51" name="组合 50"/>
          <p:cNvGrpSpPr/>
          <p:nvPr/>
        </p:nvGrpSpPr>
        <p:grpSpPr>
          <a:xfrm>
            <a:off x="4493317" y="4725584"/>
            <a:ext cx="3070361" cy="1274943"/>
            <a:chOff x="511442" y="1988839"/>
            <a:chExt cx="3288629" cy="867142"/>
          </a:xfrm>
        </p:grpSpPr>
        <p:sp>
          <p:nvSpPr>
            <p:cNvPr id="56" name="文本框 35"/>
            <p:cNvSpPr txBox="1"/>
            <p:nvPr/>
          </p:nvSpPr>
          <p:spPr>
            <a:xfrm>
              <a:off x="511442" y="2378350"/>
              <a:ext cx="3288629" cy="477631"/>
            </a:xfrm>
            <a:prstGeom prst="rect">
              <a:avLst/>
            </a:prstGeom>
            <a:noFill/>
          </p:spPr>
          <p:txBody>
            <a:bodyPr wrap="square" lIns="0" tIns="0" rIns="0" bIns="0" anchor="ctr">
              <a:noAutofit/>
            </a:bodyPr>
            <a:lstStyle/>
            <a:p>
              <a:pPr marL="0" marR="0" lvl="0" indent="0" defTabSz="914400" eaLnBrk="1" fontAlgn="auto" latinLnBrk="0" hangingPunct="1">
                <a:lnSpc>
                  <a:spcPct val="120000"/>
                </a:lnSpc>
                <a:spcBef>
                  <a:spcPct val="0"/>
                </a:spcBef>
                <a:spcAft>
                  <a:spcPts val="0"/>
                </a:spcAft>
                <a:buClrTx/>
                <a:buSzTx/>
                <a:buFontTx/>
                <a:buNone/>
                <a:defRPr/>
              </a:pPr>
              <a:r>
                <a:rPr kumimoji="0" lang="zh-CN" altLang="en-US" sz="14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ea"/>
                  <a:sym typeface="+mn-lt"/>
                </a:rPr>
                <a:t>智慧管控、诱导信息实时发布</a:t>
              </a:r>
              <a:endParaRPr kumimoji="0" lang="zh-CN" altLang="en-US" sz="14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ea"/>
                <a:sym typeface="+mn-lt"/>
              </a:endParaRPr>
            </a:p>
          </p:txBody>
        </p:sp>
        <p:sp>
          <p:nvSpPr>
            <p:cNvPr id="57" name="矩形 56"/>
            <p:cNvSpPr/>
            <p:nvPr/>
          </p:nvSpPr>
          <p:spPr>
            <a:xfrm>
              <a:off x="1137723" y="1988839"/>
              <a:ext cx="1496427" cy="306375"/>
            </a:xfrm>
            <a:prstGeom prst="rect">
              <a:avLst/>
            </a:prstGeom>
          </p:spPr>
          <p:txBody>
            <a:bodyPr wrap="none" lIns="0" tIns="0" rIns="0" bIns="0" anchor="ctr">
              <a:noAutofit/>
            </a:bodyPr>
            <a:lstStyle/>
            <a:p>
              <a:pPr marL="0" marR="0" lvl="0" indent="0" algn="ctr" defTabSz="914400" eaLnBrk="1" fontAlgn="auto" latinLnBrk="0" hangingPunct="1">
                <a:lnSpc>
                  <a:spcPct val="100000"/>
                </a:lnSpc>
                <a:spcBef>
                  <a:spcPct val="0"/>
                </a:spcBef>
                <a:spcAft>
                  <a:spcPts val="0"/>
                </a:spcAft>
                <a:buClrTx/>
                <a:buSzTx/>
                <a:buFontTx/>
                <a:buNone/>
                <a:defRPr/>
              </a:pPr>
              <a:r>
                <a:rPr kumimoji="0" lang="zh-CN" altLang="en-US" sz="2400" b="1" i="0" u="none" strike="noStrike" kern="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ea"/>
                  <a:sym typeface="+mn-lt"/>
                </a:rPr>
                <a:t>信息化</a:t>
              </a:r>
              <a:endParaRPr kumimoji="0" lang="zh-CN" altLang="en-US" sz="2400" b="1" i="0" u="none" strike="noStrike" kern="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ea"/>
                <a:sym typeface="+mn-lt"/>
              </a:endParaRPr>
            </a:p>
          </p:txBody>
        </p:sp>
      </p:grpSp>
      <p:sp>
        <p:nvSpPr>
          <p:cNvPr id="52" name="椭圆 51"/>
          <p:cNvSpPr/>
          <p:nvPr/>
        </p:nvSpPr>
        <p:spPr>
          <a:xfrm>
            <a:off x="5363431" y="3598303"/>
            <a:ext cx="845440" cy="846000"/>
          </a:xfrm>
          <a:prstGeom prst="ellipse">
            <a:avLst/>
          </a:prstGeom>
          <a:solidFill>
            <a:schemeClr val="accent6">
              <a:lumMod val="40000"/>
              <a:lumOff val="60000"/>
            </a:schemeClr>
          </a:solidFill>
          <a:ln w="381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smtClean="0">
              <a:ln>
                <a:noFill/>
              </a:ln>
              <a:solidFill>
                <a:srgbClr val="FFFFFF"/>
              </a:solidFill>
              <a:effectLst/>
              <a:uLnTx/>
              <a:uFillTx/>
              <a:latin typeface="华文楷体" panose="02010600040101010101" charset="-122"/>
              <a:ea typeface="华文楷体" panose="02010600040101010101" charset="-122"/>
              <a:cs typeface="+mn-ea"/>
              <a:sym typeface="+mn-lt"/>
            </a:endParaRPr>
          </a:p>
        </p:txBody>
      </p:sp>
      <p:grpSp>
        <p:nvGrpSpPr>
          <p:cNvPr id="53" name="组合 52"/>
          <p:cNvGrpSpPr/>
          <p:nvPr/>
        </p:nvGrpSpPr>
        <p:grpSpPr>
          <a:xfrm>
            <a:off x="1294811" y="2370298"/>
            <a:ext cx="3333128" cy="1021071"/>
            <a:chOff x="-1076933" y="2088427"/>
            <a:chExt cx="3570075" cy="694473"/>
          </a:xfrm>
        </p:grpSpPr>
        <p:sp>
          <p:nvSpPr>
            <p:cNvPr id="54" name="文本框 47"/>
            <p:cNvSpPr txBox="1"/>
            <p:nvPr/>
          </p:nvSpPr>
          <p:spPr>
            <a:xfrm>
              <a:off x="-1076933" y="2512454"/>
              <a:ext cx="3570075" cy="270446"/>
            </a:xfrm>
            <a:prstGeom prst="rect">
              <a:avLst/>
            </a:prstGeom>
            <a:noFill/>
          </p:spPr>
          <p:txBody>
            <a:bodyPr wrap="square" lIns="0" tIns="0" rIns="0" bIns="0" anchor="ctr">
              <a:noAutofit/>
            </a:bodyPr>
            <a:lstStyle/>
            <a:p>
              <a:pPr marL="0" marR="0" lvl="0" indent="0" algn="ctr" defTabSz="914400" eaLnBrk="1" fontAlgn="auto" latinLnBrk="0" hangingPunct="1">
                <a:lnSpc>
                  <a:spcPct val="120000"/>
                </a:lnSpc>
                <a:spcBef>
                  <a:spcPct val="0"/>
                </a:spcBef>
                <a:spcAft>
                  <a:spcPts val="0"/>
                </a:spcAft>
                <a:buClrTx/>
                <a:buSzTx/>
                <a:buFontTx/>
                <a:buNone/>
                <a:defRPr/>
              </a:pPr>
              <a:r>
                <a:rPr kumimoji="0" lang="zh-CN" altLang="en-US" sz="1400" b="0" i="0" u="none" strike="noStrike" kern="0" cap="none" spc="0" normalizeH="0" baseline="0" noProof="0" dirty="0" smtClean="0">
                  <a:ln>
                    <a:noFill/>
                  </a:ln>
                  <a:solidFill>
                    <a:srgbClr val="FFFFFF"/>
                  </a:solidFill>
                  <a:effectLst/>
                  <a:uLnTx/>
                  <a:uFillTx/>
                  <a:latin typeface="华文楷体" panose="02010600040101010101" charset="-122"/>
                  <a:ea typeface="华文楷体" panose="02010600040101010101" charset="-122"/>
                  <a:cs typeface="+mn-ea"/>
                  <a:sym typeface="+mn-lt"/>
                </a:rPr>
                <a:t>现有公共停车场智慧化、信息化提升</a:t>
              </a:r>
              <a:endParaRPr kumimoji="0" lang="zh-CN" altLang="en-US" sz="14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cs typeface="+mn-ea"/>
                <a:sym typeface="+mn-lt"/>
              </a:endParaRPr>
            </a:p>
          </p:txBody>
        </p:sp>
        <p:sp>
          <p:nvSpPr>
            <p:cNvPr id="55" name="矩形 54"/>
            <p:cNvSpPr/>
            <p:nvPr/>
          </p:nvSpPr>
          <p:spPr>
            <a:xfrm>
              <a:off x="1169201" y="2088427"/>
              <a:ext cx="922581" cy="306375"/>
            </a:xfrm>
            <a:prstGeom prst="rect">
              <a:avLst/>
            </a:prstGeom>
          </p:spPr>
          <p:txBody>
            <a:bodyPr wrap="none" lIns="0" tIns="0" rIns="0" bIns="0" anchor="ctr">
              <a:noAutofit/>
            </a:bodyPr>
            <a:lstStyle/>
            <a:p>
              <a:pPr marL="0" marR="0" lvl="0" indent="0" algn="ctr" defTabSz="914400" eaLnBrk="1" fontAlgn="auto" latinLnBrk="0" hangingPunct="1">
                <a:lnSpc>
                  <a:spcPct val="100000"/>
                </a:lnSpc>
                <a:spcBef>
                  <a:spcPct val="0"/>
                </a:spcBef>
                <a:spcAft>
                  <a:spcPts val="0"/>
                </a:spcAft>
                <a:buClrTx/>
                <a:buSzTx/>
                <a:buFontTx/>
                <a:buNone/>
                <a:defRPr/>
              </a:pPr>
              <a:r>
                <a:rPr kumimoji="0" lang="zh-CN" altLang="en-US" sz="2400" b="1" i="0" u="none" strike="noStrike" kern="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ea"/>
                  <a:sym typeface="+mn-lt"/>
                </a:rPr>
                <a:t>盘活</a:t>
              </a:r>
              <a:endParaRPr kumimoji="0" lang="zh-CN" altLang="en-US" sz="2400" b="1" i="0" u="none" strike="noStrike" kern="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ea"/>
                <a:sym typeface="+mn-lt"/>
              </a:endParaRPr>
            </a:p>
          </p:txBody>
        </p:sp>
      </p:grpSp>
      <p:sp>
        <p:nvSpPr>
          <p:cNvPr id="70" name="KSO_Shape"/>
          <p:cNvSpPr>
            <a:spLocks noChangeAspect="1"/>
          </p:cNvSpPr>
          <p:nvPr/>
        </p:nvSpPr>
        <p:spPr bwMode="auto">
          <a:xfrm>
            <a:off x="5589722" y="3846178"/>
            <a:ext cx="413655" cy="366136"/>
          </a:xfrm>
          <a:custGeom>
            <a:avLst/>
            <a:gdLst>
              <a:gd name="T0" fmla="*/ 151004 w 5185"/>
              <a:gd name="T1" fmla="*/ 1065477 h 3880"/>
              <a:gd name="T2" fmla="*/ 1873403 w 5185"/>
              <a:gd name="T3" fmla="*/ 1297678 h 3880"/>
              <a:gd name="T4" fmla="*/ 751713 w 5185"/>
              <a:gd name="T5" fmla="*/ 1241832 h 3880"/>
              <a:gd name="T6" fmla="*/ 1108464 w 5185"/>
              <a:gd name="T7" fmla="*/ 1148144 h 3880"/>
              <a:gd name="T8" fmla="*/ 751713 w 5185"/>
              <a:gd name="T9" fmla="*/ 1241832 h 3880"/>
              <a:gd name="T10" fmla="*/ 1726808 w 5185"/>
              <a:gd name="T11" fmla="*/ 1012203 h 3880"/>
              <a:gd name="T12" fmla="*/ 1726073 w 5185"/>
              <a:gd name="T13" fmla="*/ 1007794 h 3880"/>
              <a:gd name="T14" fmla="*/ 1726808 w 5185"/>
              <a:gd name="T15" fmla="*/ 44089 h 3880"/>
              <a:gd name="T16" fmla="*/ 1726441 w 5185"/>
              <a:gd name="T17" fmla="*/ 39680 h 3880"/>
              <a:gd name="T18" fmla="*/ 1724604 w 5185"/>
              <a:gd name="T19" fmla="*/ 30862 h 3880"/>
              <a:gd name="T20" fmla="*/ 1721297 w 5185"/>
              <a:gd name="T21" fmla="*/ 23147 h 3880"/>
              <a:gd name="T22" fmla="*/ 1716888 w 5185"/>
              <a:gd name="T23" fmla="*/ 15798 h 3880"/>
              <a:gd name="T24" fmla="*/ 1711010 w 5185"/>
              <a:gd name="T25" fmla="*/ 9920 h 3880"/>
              <a:gd name="T26" fmla="*/ 1703662 w 5185"/>
              <a:gd name="T27" fmla="*/ 5144 h 3880"/>
              <a:gd name="T28" fmla="*/ 1695946 w 5185"/>
              <a:gd name="T29" fmla="*/ 1837 h 3880"/>
              <a:gd name="T30" fmla="*/ 1687128 w 5185"/>
              <a:gd name="T31" fmla="*/ 367 h 3880"/>
              <a:gd name="T32" fmla="*/ 222281 w 5185"/>
              <a:gd name="T33" fmla="*/ 0 h 3880"/>
              <a:gd name="T34" fmla="*/ 217872 w 5185"/>
              <a:gd name="T35" fmla="*/ 367 h 3880"/>
              <a:gd name="T36" fmla="*/ 209054 w 5185"/>
              <a:gd name="T37" fmla="*/ 1837 h 3880"/>
              <a:gd name="T38" fmla="*/ 201338 w 5185"/>
              <a:gd name="T39" fmla="*/ 5144 h 3880"/>
              <a:gd name="T40" fmla="*/ 194358 w 5185"/>
              <a:gd name="T41" fmla="*/ 9920 h 3880"/>
              <a:gd name="T42" fmla="*/ 188112 w 5185"/>
              <a:gd name="T43" fmla="*/ 15798 h 3880"/>
              <a:gd name="T44" fmla="*/ 183336 w 5185"/>
              <a:gd name="T45" fmla="*/ 23147 h 3880"/>
              <a:gd name="T46" fmla="*/ 180029 w 5185"/>
              <a:gd name="T47" fmla="*/ 30862 h 3880"/>
              <a:gd name="T48" fmla="*/ 178559 w 5185"/>
              <a:gd name="T49" fmla="*/ 39680 h 3880"/>
              <a:gd name="T50" fmla="*/ 178192 w 5185"/>
              <a:gd name="T51" fmla="*/ 1003386 h 3880"/>
              <a:gd name="T52" fmla="*/ 178559 w 5185"/>
              <a:gd name="T53" fmla="*/ 1007794 h 3880"/>
              <a:gd name="T54" fmla="*/ 178192 w 5185"/>
              <a:gd name="T55" fmla="*/ 1012203 h 3880"/>
              <a:gd name="T56" fmla="*/ 1727176 w 5185"/>
              <a:gd name="T57" fmla="*/ 1012571 h 3880"/>
              <a:gd name="T58" fmla="*/ 1616954 w 5185"/>
              <a:gd name="T59" fmla="*/ 937620 h 3880"/>
              <a:gd name="T60" fmla="*/ 288046 w 5185"/>
              <a:gd name="T61" fmla="*/ 109854 h 3880"/>
              <a:gd name="T62" fmla="*/ 1616954 w 5185"/>
              <a:gd name="T63" fmla="*/ 937620 h 3880"/>
              <a:gd name="T64" fmla="*/ 4409 w 5185"/>
              <a:gd name="T65" fmla="*/ 1350584 h 3880"/>
              <a:gd name="T66" fmla="*/ 0 w 5185"/>
              <a:gd name="T67" fmla="*/ 1359402 h 3880"/>
              <a:gd name="T68" fmla="*/ 735 w 5185"/>
              <a:gd name="T69" fmla="*/ 1369322 h 3880"/>
              <a:gd name="T70" fmla="*/ 3307 w 5185"/>
              <a:gd name="T71" fmla="*/ 1379977 h 3880"/>
              <a:gd name="T72" fmla="*/ 7348 w 5185"/>
              <a:gd name="T73" fmla="*/ 1390999 h 3880"/>
              <a:gd name="T74" fmla="*/ 13227 w 5185"/>
              <a:gd name="T75" fmla="*/ 1401654 h 3880"/>
              <a:gd name="T76" fmla="*/ 19473 w 5185"/>
              <a:gd name="T77" fmla="*/ 1411206 h 3880"/>
              <a:gd name="T78" fmla="*/ 26821 w 5185"/>
              <a:gd name="T79" fmla="*/ 1418554 h 3880"/>
              <a:gd name="T80" fmla="*/ 35271 w 5185"/>
              <a:gd name="T81" fmla="*/ 1423698 h 3880"/>
              <a:gd name="T82" fmla="*/ 41884 w 5185"/>
              <a:gd name="T83" fmla="*/ 1425168 h 3880"/>
              <a:gd name="T84" fmla="*/ 1860911 w 5185"/>
              <a:gd name="T85" fmla="*/ 1425535 h 3880"/>
              <a:gd name="T86" fmla="*/ 1863116 w 5185"/>
              <a:gd name="T87" fmla="*/ 1425168 h 3880"/>
              <a:gd name="T88" fmla="*/ 1869729 w 5185"/>
              <a:gd name="T89" fmla="*/ 1423698 h 3880"/>
              <a:gd name="T90" fmla="*/ 1878179 w 5185"/>
              <a:gd name="T91" fmla="*/ 1418554 h 3880"/>
              <a:gd name="T92" fmla="*/ 1885527 w 5185"/>
              <a:gd name="T93" fmla="*/ 1411206 h 3880"/>
              <a:gd name="T94" fmla="*/ 1892141 w 5185"/>
              <a:gd name="T95" fmla="*/ 1401654 h 3880"/>
              <a:gd name="T96" fmla="*/ 1897652 w 5185"/>
              <a:gd name="T97" fmla="*/ 1390999 h 3880"/>
              <a:gd name="T98" fmla="*/ 1901693 w 5185"/>
              <a:gd name="T99" fmla="*/ 1379977 h 3880"/>
              <a:gd name="T100" fmla="*/ 1903898 w 5185"/>
              <a:gd name="T101" fmla="*/ 1369322 h 3880"/>
              <a:gd name="T102" fmla="*/ 1905000 w 5185"/>
              <a:gd name="T103" fmla="*/ 1359402 h 38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185" h="3880">
                <a:moveTo>
                  <a:pt x="4775" y="2900"/>
                </a:moveTo>
                <a:lnTo>
                  <a:pt x="411" y="2900"/>
                </a:lnTo>
                <a:lnTo>
                  <a:pt x="87" y="3532"/>
                </a:lnTo>
                <a:lnTo>
                  <a:pt x="5099" y="3532"/>
                </a:lnTo>
                <a:lnTo>
                  <a:pt x="4775" y="2900"/>
                </a:lnTo>
                <a:close/>
                <a:moveTo>
                  <a:pt x="2046" y="3380"/>
                </a:moveTo>
                <a:lnTo>
                  <a:pt x="2181" y="3125"/>
                </a:lnTo>
                <a:lnTo>
                  <a:pt x="3017" y="3125"/>
                </a:lnTo>
                <a:lnTo>
                  <a:pt x="3139" y="3380"/>
                </a:lnTo>
                <a:lnTo>
                  <a:pt x="2046" y="3380"/>
                </a:lnTo>
                <a:close/>
                <a:moveTo>
                  <a:pt x="4700" y="2755"/>
                </a:moveTo>
                <a:lnTo>
                  <a:pt x="4700" y="2755"/>
                </a:lnTo>
                <a:lnTo>
                  <a:pt x="4698" y="2743"/>
                </a:lnTo>
                <a:lnTo>
                  <a:pt x="4700" y="2731"/>
                </a:lnTo>
                <a:lnTo>
                  <a:pt x="4700" y="120"/>
                </a:lnTo>
                <a:lnTo>
                  <a:pt x="4699" y="108"/>
                </a:lnTo>
                <a:lnTo>
                  <a:pt x="4697" y="95"/>
                </a:lnTo>
                <a:lnTo>
                  <a:pt x="4694" y="84"/>
                </a:lnTo>
                <a:lnTo>
                  <a:pt x="4690" y="73"/>
                </a:lnTo>
                <a:lnTo>
                  <a:pt x="4685" y="63"/>
                </a:lnTo>
                <a:lnTo>
                  <a:pt x="4680" y="53"/>
                </a:lnTo>
                <a:lnTo>
                  <a:pt x="4673" y="43"/>
                </a:lnTo>
                <a:lnTo>
                  <a:pt x="4665" y="34"/>
                </a:lnTo>
                <a:lnTo>
                  <a:pt x="4657" y="27"/>
                </a:lnTo>
                <a:lnTo>
                  <a:pt x="4647" y="20"/>
                </a:lnTo>
                <a:lnTo>
                  <a:pt x="4637" y="14"/>
                </a:lnTo>
                <a:lnTo>
                  <a:pt x="4627" y="9"/>
                </a:lnTo>
                <a:lnTo>
                  <a:pt x="4616" y="5"/>
                </a:lnTo>
                <a:lnTo>
                  <a:pt x="4605" y="2"/>
                </a:lnTo>
                <a:lnTo>
                  <a:pt x="4592" y="1"/>
                </a:lnTo>
                <a:lnTo>
                  <a:pt x="4580" y="0"/>
                </a:lnTo>
                <a:lnTo>
                  <a:pt x="605" y="0"/>
                </a:lnTo>
                <a:lnTo>
                  <a:pt x="593" y="1"/>
                </a:lnTo>
                <a:lnTo>
                  <a:pt x="581" y="2"/>
                </a:lnTo>
                <a:lnTo>
                  <a:pt x="569" y="5"/>
                </a:lnTo>
                <a:lnTo>
                  <a:pt x="558" y="9"/>
                </a:lnTo>
                <a:lnTo>
                  <a:pt x="548" y="14"/>
                </a:lnTo>
                <a:lnTo>
                  <a:pt x="538" y="20"/>
                </a:lnTo>
                <a:lnTo>
                  <a:pt x="529" y="27"/>
                </a:lnTo>
                <a:lnTo>
                  <a:pt x="521" y="34"/>
                </a:lnTo>
                <a:lnTo>
                  <a:pt x="512" y="43"/>
                </a:lnTo>
                <a:lnTo>
                  <a:pt x="505" y="53"/>
                </a:lnTo>
                <a:lnTo>
                  <a:pt x="499" y="63"/>
                </a:lnTo>
                <a:lnTo>
                  <a:pt x="494" y="73"/>
                </a:lnTo>
                <a:lnTo>
                  <a:pt x="490" y="84"/>
                </a:lnTo>
                <a:lnTo>
                  <a:pt x="488" y="95"/>
                </a:lnTo>
                <a:lnTo>
                  <a:pt x="486" y="108"/>
                </a:lnTo>
                <a:lnTo>
                  <a:pt x="485" y="120"/>
                </a:lnTo>
                <a:lnTo>
                  <a:pt x="485" y="2731"/>
                </a:lnTo>
                <a:lnTo>
                  <a:pt x="486" y="2743"/>
                </a:lnTo>
                <a:lnTo>
                  <a:pt x="485" y="2755"/>
                </a:lnTo>
                <a:lnTo>
                  <a:pt x="484" y="2756"/>
                </a:lnTo>
                <a:lnTo>
                  <a:pt x="4701" y="2756"/>
                </a:lnTo>
                <a:lnTo>
                  <a:pt x="4700" y="2755"/>
                </a:lnTo>
                <a:close/>
                <a:moveTo>
                  <a:pt x="4401" y="2552"/>
                </a:moveTo>
                <a:lnTo>
                  <a:pt x="784" y="2552"/>
                </a:lnTo>
                <a:lnTo>
                  <a:pt x="784" y="299"/>
                </a:lnTo>
                <a:lnTo>
                  <a:pt x="4401" y="299"/>
                </a:lnTo>
                <a:lnTo>
                  <a:pt x="4401" y="2552"/>
                </a:lnTo>
                <a:close/>
                <a:moveTo>
                  <a:pt x="5172" y="3676"/>
                </a:moveTo>
                <a:lnTo>
                  <a:pt x="12" y="3676"/>
                </a:lnTo>
                <a:lnTo>
                  <a:pt x="0" y="3700"/>
                </a:lnTo>
                <a:lnTo>
                  <a:pt x="1" y="3713"/>
                </a:lnTo>
                <a:lnTo>
                  <a:pt x="2" y="3727"/>
                </a:lnTo>
                <a:lnTo>
                  <a:pt x="5" y="3741"/>
                </a:lnTo>
                <a:lnTo>
                  <a:pt x="9" y="3756"/>
                </a:lnTo>
                <a:lnTo>
                  <a:pt x="14" y="3771"/>
                </a:lnTo>
                <a:lnTo>
                  <a:pt x="20" y="3786"/>
                </a:lnTo>
                <a:lnTo>
                  <a:pt x="28" y="3801"/>
                </a:lnTo>
                <a:lnTo>
                  <a:pt x="36" y="3815"/>
                </a:lnTo>
                <a:lnTo>
                  <a:pt x="44" y="3828"/>
                </a:lnTo>
                <a:lnTo>
                  <a:pt x="53" y="3841"/>
                </a:lnTo>
                <a:lnTo>
                  <a:pt x="63" y="3852"/>
                </a:lnTo>
                <a:lnTo>
                  <a:pt x="73" y="3861"/>
                </a:lnTo>
                <a:lnTo>
                  <a:pt x="85" y="3869"/>
                </a:lnTo>
                <a:lnTo>
                  <a:pt x="96" y="3875"/>
                </a:lnTo>
                <a:lnTo>
                  <a:pt x="108" y="3878"/>
                </a:lnTo>
                <a:lnTo>
                  <a:pt x="114" y="3879"/>
                </a:lnTo>
                <a:lnTo>
                  <a:pt x="120" y="3880"/>
                </a:lnTo>
                <a:lnTo>
                  <a:pt x="5065" y="3880"/>
                </a:lnTo>
                <a:lnTo>
                  <a:pt x="5071" y="3879"/>
                </a:lnTo>
                <a:lnTo>
                  <a:pt x="5077" y="3878"/>
                </a:lnTo>
                <a:lnTo>
                  <a:pt x="5089" y="3875"/>
                </a:lnTo>
                <a:lnTo>
                  <a:pt x="5101" y="3869"/>
                </a:lnTo>
                <a:lnTo>
                  <a:pt x="5112" y="3861"/>
                </a:lnTo>
                <a:lnTo>
                  <a:pt x="5122" y="3852"/>
                </a:lnTo>
                <a:lnTo>
                  <a:pt x="5132" y="3841"/>
                </a:lnTo>
                <a:lnTo>
                  <a:pt x="5141" y="3828"/>
                </a:lnTo>
                <a:lnTo>
                  <a:pt x="5150" y="3815"/>
                </a:lnTo>
                <a:lnTo>
                  <a:pt x="5158" y="3801"/>
                </a:lnTo>
                <a:lnTo>
                  <a:pt x="5165" y="3786"/>
                </a:lnTo>
                <a:lnTo>
                  <a:pt x="5171" y="3771"/>
                </a:lnTo>
                <a:lnTo>
                  <a:pt x="5176" y="3756"/>
                </a:lnTo>
                <a:lnTo>
                  <a:pt x="5180" y="3741"/>
                </a:lnTo>
                <a:lnTo>
                  <a:pt x="5182" y="3727"/>
                </a:lnTo>
                <a:lnTo>
                  <a:pt x="5184" y="3713"/>
                </a:lnTo>
                <a:lnTo>
                  <a:pt x="5185" y="3700"/>
                </a:lnTo>
                <a:lnTo>
                  <a:pt x="5172" y="3676"/>
                </a:lnTo>
                <a:close/>
              </a:path>
            </a:pathLst>
          </a:custGeom>
          <a:solidFill>
            <a:srgbClr val="000000"/>
          </a:solidFill>
          <a:ln>
            <a:noFill/>
          </a:ln>
        </p:spPr>
        <p:txBody>
          <a:bodyPr bIns="360000" anchor="ctr">
            <a:scene3d>
              <a:camera prst="orthographicFront"/>
              <a:lightRig rig="threePt" dir="t"/>
            </a:scene3d>
            <a:sp3d contourW="12700">
              <a:contourClr>
                <a:srgbClr val="FFFFFF"/>
              </a:contourClr>
            </a:sp3d>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FFFFFF"/>
              </a:solidFill>
              <a:effectLst/>
              <a:uLnTx/>
              <a:uFillTx/>
              <a:latin typeface="华文楷体" panose="02010600040101010101" charset="-122"/>
              <a:ea typeface="华文楷体" panose="02010600040101010101" charset="-122"/>
            </a:endParaRPr>
          </a:p>
        </p:txBody>
      </p:sp>
      <p:sp>
        <p:nvSpPr>
          <p:cNvPr id="71" name="Freeform 17"/>
          <p:cNvSpPr>
            <a:spLocks noEditPoints="1"/>
          </p:cNvSpPr>
          <p:nvPr/>
        </p:nvSpPr>
        <p:spPr bwMode="auto">
          <a:xfrm>
            <a:off x="8499133" y="2430492"/>
            <a:ext cx="358675" cy="433665"/>
          </a:xfrm>
          <a:custGeom>
            <a:avLst/>
            <a:gdLst>
              <a:gd name="T0" fmla="*/ 70 w 138"/>
              <a:gd name="T1" fmla="*/ 68 h 178"/>
              <a:gd name="T2" fmla="*/ 105 w 138"/>
              <a:gd name="T3" fmla="*/ 34 h 178"/>
              <a:gd name="T4" fmla="*/ 70 w 138"/>
              <a:gd name="T5" fmla="*/ 0 h 178"/>
              <a:gd name="T6" fmla="*/ 35 w 138"/>
              <a:gd name="T7" fmla="*/ 34 h 178"/>
              <a:gd name="T8" fmla="*/ 70 w 138"/>
              <a:gd name="T9" fmla="*/ 68 h 178"/>
              <a:gd name="T10" fmla="*/ 138 w 138"/>
              <a:gd name="T11" fmla="*/ 165 h 178"/>
              <a:gd name="T12" fmla="*/ 110 w 138"/>
              <a:gd name="T13" fmla="*/ 135 h 178"/>
              <a:gd name="T14" fmla="*/ 80 w 138"/>
              <a:gd name="T15" fmla="*/ 108 h 178"/>
              <a:gd name="T16" fmla="*/ 98 w 138"/>
              <a:gd name="T17" fmla="*/ 87 h 178"/>
              <a:gd name="T18" fmla="*/ 69 w 138"/>
              <a:gd name="T19" fmla="*/ 78 h 178"/>
              <a:gd name="T20" fmla="*/ 0 w 138"/>
              <a:gd name="T21" fmla="*/ 173 h 178"/>
              <a:gd name="T22" fmla="*/ 0 w 138"/>
              <a:gd name="T23" fmla="*/ 178 h 178"/>
              <a:gd name="T24" fmla="*/ 138 w 138"/>
              <a:gd name="T25" fmla="*/ 178 h 178"/>
              <a:gd name="T26" fmla="*/ 138 w 138"/>
              <a:gd name="T27" fmla="*/ 173 h 178"/>
              <a:gd name="T28" fmla="*/ 138 w 138"/>
              <a:gd name="T29" fmla="*/ 16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78">
                <a:moveTo>
                  <a:pt x="70" y="68"/>
                </a:moveTo>
                <a:cubicBezTo>
                  <a:pt x="89" y="68"/>
                  <a:pt x="105" y="53"/>
                  <a:pt x="105" y="34"/>
                </a:cubicBezTo>
                <a:cubicBezTo>
                  <a:pt x="105" y="15"/>
                  <a:pt x="89" y="0"/>
                  <a:pt x="70" y="0"/>
                </a:cubicBezTo>
                <a:cubicBezTo>
                  <a:pt x="50" y="0"/>
                  <a:pt x="35" y="15"/>
                  <a:pt x="35" y="34"/>
                </a:cubicBezTo>
                <a:cubicBezTo>
                  <a:pt x="35" y="53"/>
                  <a:pt x="50" y="68"/>
                  <a:pt x="70" y="68"/>
                </a:cubicBezTo>
                <a:close/>
                <a:moveTo>
                  <a:pt x="138" y="165"/>
                </a:moveTo>
                <a:cubicBezTo>
                  <a:pt x="128" y="165"/>
                  <a:pt x="110" y="161"/>
                  <a:pt x="110" y="135"/>
                </a:cubicBezTo>
                <a:cubicBezTo>
                  <a:pt x="110" y="135"/>
                  <a:pt x="77" y="138"/>
                  <a:pt x="80" y="108"/>
                </a:cubicBezTo>
                <a:cubicBezTo>
                  <a:pt x="81" y="95"/>
                  <a:pt x="90" y="89"/>
                  <a:pt x="98" y="87"/>
                </a:cubicBezTo>
                <a:cubicBezTo>
                  <a:pt x="89" y="81"/>
                  <a:pt x="80" y="78"/>
                  <a:pt x="69" y="78"/>
                </a:cubicBezTo>
                <a:cubicBezTo>
                  <a:pt x="31" y="78"/>
                  <a:pt x="0" y="120"/>
                  <a:pt x="0" y="173"/>
                </a:cubicBezTo>
                <a:cubicBezTo>
                  <a:pt x="0" y="174"/>
                  <a:pt x="0" y="176"/>
                  <a:pt x="0" y="178"/>
                </a:cubicBezTo>
                <a:cubicBezTo>
                  <a:pt x="138" y="178"/>
                  <a:pt x="138" y="178"/>
                  <a:pt x="138" y="178"/>
                </a:cubicBezTo>
                <a:cubicBezTo>
                  <a:pt x="138" y="176"/>
                  <a:pt x="138" y="174"/>
                  <a:pt x="138" y="173"/>
                </a:cubicBezTo>
                <a:cubicBezTo>
                  <a:pt x="138" y="170"/>
                  <a:pt x="138" y="168"/>
                  <a:pt x="138" y="165"/>
                </a:cubicBezTo>
                <a:close/>
              </a:path>
            </a:pathLst>
          </a:custGeom>
          <a:solidFill>
            <a:srgbClr val="000000"/>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smtClean="0">
              <a:ln>
                <a:noFill/>
              </a:ln>
              <a:solidFill>
                <a:srgbClr val="FFFFFF"/>
              </a:solidFill>
              <a:effectLst/>
              <a:uLnTx/>
              <a:uFillTx/>
              <a:latin typeface="华文楷体" panose="02010600040101010101" charset="-122"/>
              <a:ea typeface="华文楷体" panose="02010600040101010101" charset="-122"/>
            </a:endParaRPr>
          </a:p>
        </p:txBody>
      </p:sp>
      <p:sp>
        <p:nvSpPr>
          <p:cNvPr id="72" name="Freeform 16"/>
          <p:cNvSpPr/>
          <p:nvPr/>
        </p:nvSpPr>
        <p:spPr bwMode="auto">
          <a:xfrm>
            <a:off x="8765963" y="2633205"/>
            <a:ext cx="143933" cy="163499"/>
          </a:xfrm>
          <a:custGeom>
            <a:avLst/>
            <a:gdLst>
              <a:gd name="T0" fmla="*/ 75 w 88"/>
              <a:gd name="T1" fmla="*/ 30 h 86"/>
              <a:gd name="T2" fmla="*/ 58 w 88"/>
              <a:gd name="T3" fmla="*/ 30 h 86"/>
              <a:gd name="T4" fmla="*/ 58 w 88"/>
              <a:gd name="T5" fmla="*/ 13 h 86"/>
              <a:gd name="T6" fmla="*/ 44 w 88"/>
              <a:gd name="T7" fmla="*/ 0 h 86"/>
              <a:gd name="T8" fmla="*/ 31 w 88"/>
              <a:gd name="T9" fmla="*/ 13 h 86"/>
              <a:gd name="T10" fmla="*/ 31 w 88"/>
              <a:gd name="T11" fmla="*/ 30 h 86"/>
              <a:gd name="T12" fmla="*/ 14 w 88"/>
              <a:gd name="T13" fmla="*/ 30 h 86"/>
              <a:gd name="T14" fmla="*/ 0 w 88"/>
              <a:gd name="T15" fmla="*/ 43 h 86"/>
              <a:gd name="T16" fmla="*/ 14 w 88"/>
              <a:gd name="T17" fmla="*/ 56 h 86"/>
              <a:gd name="T18" fmla="*/ 31 w 88"/>
              <a:gd name="T19" fmla="*/ 56 h 86"/>
              <a:gd name="T20" fmla="*/ 31 w 88"/>
              <a:gd name="T21" fmla="*/ 73 h 86"/>
              <a:gd name="T22" fmla="*/ 44 w 88"/>
              <a:gd name="T23" fmla="*/ 86 h 86"/>
              <a:gd name="T24" fmla="*/ 58 w 88"/>
              <a:gd name="T25" fmla="*/ 73 h 86"/>
              <a:gd name="T26" fmla="*/ 58 w 88"/>
              <a:gd name="T27" fmla="*/ 56 h 86"/>
              <a:gd name="T28" fmla="*/ 75 w 88"/>
              <a:gd name="T29" fmla="*/ 56 h 86"/>
              <a:gd name="T30" fmla="*/ 88 w 88"/>
              <a:gd name="T31" fmla="*/ 43 h 86"/>
              <a:gd name="T32" fmla="*/ 75 w 88"/>
              <a:gd name="T33"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6">
                <a:moveTo>
                  <a:pt x="75" y="30"/>
                </a:moveTo>
                <a:cubicBezTo>
                  <a:pt x="58" y="30"/>
                  <a:pt x="58" y="30"/>
                  <a:pt x="58" y="30"/>
                </a:cubicBezTo>
                <a:cubicBezTo>
                  <a:pt x="58" y="13"/>
                  <a:pt x="58" y="13"/>
                  <a:pt x="58" y="13"/>
                </a:cubicBezTo>
                <a:cubicBezTo>
                  <a:pt x="58" y="6"/>
                  <a:pt x="52" y="0"/>
                  <a:pt x="44" y="0"/>
                </a:cubicBezTo>
                <a:cubicBezTo>
                  <a:pt x="37" y="0"/>
                  <a:pt x="31" y="6"/>
                  <a:pt x="31" y="13"/>
                </a:cubicBezTo>
                <a:cubicBezTo>
                  <a:pt x="31" y="30"/>
                  <a:pt x="31" y="30"/>
                  <a:pt x="31" y="30"/>
                </a:cubicBezTo>
                <a:cubicBezTo>
                  <a:pt x="14" y="30"/>
                  <a:pt x="14" y="30"/>
                  <a:pt x="14" y="30"/>
                </a:cubicBezTo>
                <a:cubicBezTo>
                  <a:pt x="6" y="30"/>
                  <a:pt x="0" y="36"/>
                  <a:pt x="0" y="43"/>
                </a:cubicBezTo>
                <a:cubicBezTo>
                  <a:pt x="0" y="50"/>
                  <a:pt x="6" y="56"/>
                  <a:pt x="14" y="56"/>
                </a:cubicBezTo>
                <a:cubicBezTo>
                  <a:pt x="31" y="56"/>
                  <a:pt x="31" y="56"/>
                  <a:pt x="31" y="56"/>
                </a:cubicBezTo>
                <a:cubicBezTo>
                  <a:pt x="31" y="73"/>
                  <a:pt x="31" y="73"/>
                  <a:pt x="31" y="73"/>
                </a:cubicBezTo>
                <a:cubicBezTo>
                  <a:pt x="31" y="80"/>
                  <a:pt x="37" y="86"/>
                  <a:pt x="44" y="86"/>
                </a:cubicBezTo>
                <a:cubicBezTo>
                  <a:pt x="52" y="86"/>
                  <a:pt x="58" y="80"/>
                  <a:pt x="58" y="73"/>
                </a:cubicBezTo>
                <a:cubicBezTo>
                  <a:pt x="58" y="56"/>
                  <a:pt x="58" y="56"/>
                  <a:pt x="58" y="56"/>
                </a:cubicBezTo>
                <a:cubicBezTo>
                  <a:pt x="75" y="56"/>
                  <a:pt x="75" y="56"/>
                  <a:pt x="75" y="56"/>
                </a:cubicBezTo>
                <a:cubicBezTo>
                  <a:pt x="82" y="56"/>
                  <a:pt x="88" y="50"/>
                  <a:pt x="88" y="43"/>
                </a:cubicBezTo>
                <a:cubicBezTo>
                  <a:pt x="88" y="36"/>
                  <a:pt x="82" y="30"/>
                  <a:pt x="75" y="30"/>
                </a:cubicBezTo>
                <a:close/>
              </a:path>
            </a:pathLst>
          </a:custGeom>
          <a:solidFill>
            <a:srgbClr val="000000"/>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2400" b="0" i="0" u="none" strike="noStrike" kern="0" cap="none" spc="0" normalizeH="0" baseline="0" noProof="0" smtClean="0">
              <a:ln>
                <a:noFill/>
              </a:ln>
              <a:solidFill>
                <a:srgbClr val="FFFFFF"/>
              </a:solidFill>
              <a:effectLst/>
              <a:uLnTx/>
              <a:uFillTx/>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 name="对象 15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350" name="think-cell Slide" r:id="rId2" imgW="12700" imgH="12700" progId="TCLayout.ActiveDocument.1">
                  <p:embed/>
                </p:oleObj>
              </mc:Choice>
              <mc:Fallback>
                <p:oleObj name="think-cell Slide" r:id="rId2" imgW="12700" imgH="12700" progId="TCLayout.ActiveDocument.1">
                  <p:embed/>
                  <p:pic>
                    <p:nvPicPr>
                      <p:cNvPr id="0" name="对象 152"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151" name="Oval 118"/>
          <p:cNvSpPr/>
          <p:nvPr/>
        </p:nvSpPr>
        <p:spPr>
          <a:xfrm flipH="1">
            <a:off x="8806805" y="1761294"/>
            <a:ext cx="925670" cy="12537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rgbClr val="F7BCB8"/>
              </a:solidFill>
            </a:endParaRPr>
          </a:p>
        </p:txBody>
      </p:sp>
      <p:sp>
        <p:nvSpPr>
          <p:cNvPr id="152" name="Oval 127"/>
          <p:cNvSpPr/>
          <p:nvPr/>
        </p:nvSpPr>
        <p:spPr>
          <a:xfrm flipH="1">
            <a:off x="8806805" y="3816914"/>
            <a:ext cx="925670" cy="1253739"/>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prstClr val="white"/>
              </a:solidFill>
              <a:cs typeface="+mn-ea"/>
            </a:endParaRPr>
          </a:p>
        </p:txBody>
      </p:sp>
      <p:grpSp>
        <p:nvGrpSpPr>
          <p:cNvPr id="4" name="Group 157"/>
          <p:cNvGrpSpPr/>
          <p:nvPr/>
        </p:nvGrpSpPr>
        <p:grpSpPr>
          <a:xfrm>
            <a:off x="4265561" y="1478932"/>
            <a:ext cx="3660875" cy="4917341"/>
            <a:chOff x="4265562" y="1940657"/>
            <a:chExt cx="3660875" cy="4917341"/>
          </a:xfrm>
        </p:grpSpPr>
        <p:grpSp>
          <p:nvGrpSpPr>
            <p:cNvPr id="5" name="Group 3"/>
            <p:cNvGrpSpPr/>
            <p:nvPr/>
          </p:nvGrpSpPr>
          <p:grpSpPr>
            <a:xfrm>
              <a:off x="4265562" y="1940657"/>
              <a:ext cx="3660875" cy="3121872"/>
              <a:chOff x="4265562" y="1940657"/>
              <a:chExt cx="3660875" cy="3121872"/>
            </a:xfrm>
          </p:grpSpPr>
          <p:sp>
            <p:nvSpPr>
              <p:cNvPr id="21" name="Freeform: Shape 4"/>
              <p:cNvSpPr/>
              <p:nvPr/>
            </p:nvSpPr>
            <p:spPr bwMode="auto">
              <a:xfrm>
                <a:off x="5450885" y="3828974"/>
                <a:ext cx="567942" cy="832017"/>
              </a:xfrm>
              <a:custGeom>
                <a:avLst/>
                <a:gdLst>
                  <a:gd name="T0" fmla="*/ 351 w 351"/>
                  <a:gd name="T1" fmla="*/ 514 h 514"/>
                  <a:gd name="T2" fmla="*/ 351 w 351"/>
                  <a:gd name="T3" fmla="*/ 316 h 514"/>
                  <a:gd name="T4" fmla="*/ 286 w 351"/>
                  <a:gd name="T5" fmla="*/ 257 h 514"/>
                  <a:gd name="T6" fmla="*/ 66 w 351"/>
                  <a:gd name="T7" fmla="*/ 257 h 514"/>
                  <a:gd name="T8" fmla="*/ 0 w 351"/>
                  <a:gd name="T9" fmla="*/ 199 h 514"/>
                  <a:gd name="T10" fmla="*/ 0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351" y="514"/>
                    </a:moveTo>
                    <a:cubicBezTo>
                      <a:pt x="351" y="316"/>
                      <a:pt x="351" y="316"/>
                      <a:pt x="351" y="316"/>
                    </a:cubicBezTo>
                    <a:cubicBezTo>
                      <a:pt x="351" y="283"/>
                      <a:pt x="322" y="257"/>
                      <a:pt x="286" y="257"/>
                    </a:cubicBezTo>
                    <a:cubicBezTo>
                      <a:pt x="66" y="257"/>
                      <a:pt x="66" y="257"/>
                      <a:pt x="66" y="257"/>
                    </a:cubicBezTo>
                    <a:cubicBezTo>
                      <a:pt x="30" y="257"/>
                      <a:pt x="0" y="231"/>
                      <a:pt x="0" y="199"/>
                    </a:cubicBezTo>
                    <a:cubicBezTo>
                      <a:pt x="0" y="0"/>
                      <a:pt x="0" y="0"/>
                      <a:pt x="0" y="0"/>
                    </a:cubicBezTo>
                  </a:path>
                </a:pathLst>
              </a:custGeom>
              <a:noFill/>
              <a:ln w="41275" cap="flat">
                <a:solidFill>
                  <a:schemeClr val="accent4"/>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ctr"/>
                <a:endParaRPr sz="2400"/>
              </a:p>
            </p:txBody>
          </p:sp>
          <p:sp>
            <p:nvSpPr>
              <p:cNvPr id="22" name="Freeform: Shape 5"/>
              <p:cNvSpPr/>
              <p:nvPr/>
            </p:nvSpPr>
            <p:spPr bwMode="auto">
              <a:xfrm>
                <a:off x="6127351" y="3828974"/>
                <a:ext cx="567942" cy="832017"/>
              </a:xfrm>
              <a:custGeom>
                <a:avLst/>
                <a:gdLst>
                  <a:gd name="T0" fmla="*/ 0 w 351"/>
                  <a:gd name="T1" fmla="*/ 514 h 514"/>
                  <a:gd name="T2" fmla="*/ 0 w 351"/>
                  <a:gd name="T3" fmla="*/ 316 h 514"/>
                  <a:gd name="T4" fmla="*/ 65 w 351"/>
                  <a:gd name="T5" fmla="*/ 257 h 514"/>
                  <a:gd name="T6" fmla="*/ 285 w 351"/>
                  <a:gd name="T7" fmla="*/ 257 h 514"/>
                  <a:gd name="T8" fmla="*/ 351 w 351"/>
                  <a:gd name="T9" fmla="*/ 199 h 514"/>
                  <a:gd name="T10" fmla="*/ 351 w 351"/>
                  <a:gd name="T11" fmla="*/ 0 h 514"/>
                </a:gdLst>
                <a:ahLst/>
                <a:cxnLst>
                  <a:cxn ang="0">
                    <a:pos x="T0" y="T1"/>
                  </a:cxn>
                  <a:cxn ang="0">
                    <a:pos x="T2" y="T3"/>
                  </a:cxn>
                  <a:cxn ang="0">
                    <a:pos x="T4" y="T5"/>
                  </a:cxn>
                  <a:cxn ang="0">
                    <a:pos x="T6" y="T7"/>
                  </a:cxn>
                  <a:cxn ang="0">
                    <a:pos x="T8" y="T9"/>
                  </a:cxn>
                  <a:cxn ang="0">
                    <a:pos x="T10" y="T11"/>
                  </a:cxn>
                </a:cxnLst>
                <a:rect l="0" t="0" r="r" b="b"/>
                <a:pathLst>
                  <a:path w="351" h="514">
                    <a:moveTo>
                      <a:pt x="0" y="514"/>
                    </a:moveTo>
                    <a:cubicBezTo>
                      <a:pt x="0" y="316"/>
                      <a:pt x="0" y="316"/>
                      <a:pt x="0" y="316"/>
                    </a:cubicBezTo>
                    <a:cubicBezTo>
                      <a:pt x="0" y="283"/>
                      <a:pt x="29" y="257"/>
                      <a:pt x="65" y="257"/>
                    </a:cubicBezTo>
                    <a:cubicBezTo>
                      <a:pt x="285" y="257"/>
                      <a:pt x="285" y="257"/>
                      <a:pt x="285" y="257"/>
                    </a:cubicBezTo>
                    <a:cubicBezTo>
                      <a:pt x="321" y="257"/>
                      <a:pt x="351" y="231"/>
                      <a:pt x="351" y="199"/>
                    </a:cubicBezTo>
                    <a:cubicBezTo>
                      <a:pt x="351" y="0"/>
                      <a:pt x="351" y="0"/>
                      <a:pt x="351" y="0"/>
                    </a:cubicBezTo>
                  </a:path>
                </a:pathLst>
              </a:custGeom>
              <a:noFill/>
              <a:ln w="412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ctr"/>
                <a:endParaRPr sz="2400"/>
              </a:p>
            </p:txBody>
          </p:sp>
          <p:sp>
            <p:nvSpPr>
              <p:cNvPr id="23" name="Freeform: Shape 6"/>
              <p:cNvSpPr/>
              <p:nvPr/>
            </p:nvSpPr>
            <p:spPr bwMode="auto">
              <a:xfrm>
                <a:off x="4667101" y="2976458"/>
                <a:ext cx="381040" cy="555884"/>
              </a:xfrm>
              <a:custGeom>
                <a:avLst/>
                <a:gdLst>
                  <a:gd name="T0" fmla="*/ 235 w 235"/>
                  <a:gd name="T1" fmla="*/ 344 h 344"/>
                  <a:gd name="T2" fmla="*/ 235 w 235"/>
                  <a:gd name="T3" fmla="*/ 211 h 344"/>
                  <a:gd name="T4" fmla="*/ 191 w 235"/>
                  <a:gd name="T5" fmla="*/ 172 h 344"/>
                  <a:gd name="T6" fmla="*/ 44 w 235"/>
                  <a:gd name="T7" fmla="*/ 172 h 344"/>
                  <a:gd name="T8" fmla="*/ 0 w 235"/>
                  <a:gd name="T9" fmla="*/ 133 h 344"/>
                  <a:gd name="T10" fmla="*/ 0 w 235"/>
                  <a:gd name="T11" fmla="*/ 0 h 344"/>
                </a:gdLst>
                <a:ahLst/>
                <a:cxnLst>
                  <a:cxn ang="0">
                    <a:pos x="T0" y="T1"/>
                  </a:cxn>
                  <a:cxn ang="0">
                    <a:pos x="T2" y="T3"/>
                  </a:cxn>
                  <a:cxn ang="0">
                    <a:pos x="T4" y="T5"/>
                  </a:cxn>
                  <a:cxn ang="0">
                    <a:pos x="T6" y="T7"/>
                  </a:cxn>
                  <a:cxn ang="0">
                    <a:pos x="T8" y="T9"/>
                  </a:cxn>
                  <a:cxn ang="0">
                    <a:pos x="T10" y="T11"/>
                  </a:cxn>
                </a:cxnLst>
                <a:rect l="0" t="0" r="r" b="b"/>
                <a:pathLst>
                  <a:path w="235" h="344">
                    <a:moveTo>
                      <a:pt x="235" y="344"/>
                    </a:moveTo>
                    <a:cubicBezTo>
                      <a:pt x="235" y="211"/>
                      <a:pt x="235" y="211"/>
                      <a:pt x="235" y="211"/>
                    </a:cubicBezTo>
                    <a:cubicBezTo>
                      <a:pt x="235" y="189"/>
                      <a:pt x="215" y="172"/>
                      <a:pt x="191" y="172"/>
                    </a:cubicBezTo>
                    <a:cubicBezTo>
                      <a:pt x="44" y="172"/>
                      <a:pt x="44" y="172"/>
                      <a:pt x="44" y="172"/>
                    </a:cubicBezTo>
                    <a:cubicBezTo>
                      <a:pt x="20" y="172"/>
                      <a:pt x="0" y="154"/>
                      <a:pt x="0" y="133"/>
                    </a:cubicBezTo>
                    <a:cubicBezTo>
                      <a:pt x="0" y="0"/>
                      <a:pt x="0" y="0"/>
                      <a:pt x="0" y="0"/>
                    </a:cubicBezTo>
                  </a:path>
                </a:pathLst>
              </a:custGeom>
              <a:noFill/>
              <a:ln w="41275" cap="flat">
                <a:solidFill>
                  <a:schemeClr val="accent2"/>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ctr"/>
                <a:endParaRPr sz="2400"/>
              </a:p>
            </p:txBody>
          </p:sp>
          <p:sp>
            <p:nvSpPr>
              <p:cNvPr id="24" name="Freeform: Shape 7"/>
              <p:cNvSpPr/>
              <p:nvPr/>
            </p:nvSpPr>
            <p:spPr bwMode="auto">
              <a:xfrm>
                <a:off x="7193297" y="3323735"/>
                <a:ext cx="378628" cy="557090"/>
              </a:xfrm>
              <a:custGeom>
                <a:avLst/>
                <a:gdLst>
                  <a:gd name="T0" fmla="*/ 0 w 234"/>
                  <a:gd name="T1" fmla="*/ 344 h 344"/>
                  <a:gd name="T2" fmla="*/ 0 w 234"/>
                  <a:gd name="T3" fmla="*/ 211 h 344"/>
                  <a:gd name="T4" fmla="*/ 43 w 234"/>
                  <a:gd name="T5" fmla="*/ 172 h 344"/>
                  <a:gd name="T6" fmla="*/ 191 w 234"/>
                  <a:gd name="T7" fmla="*/ 172 h 344"/>
                  <a:gd name="T8" fmla="*/ 234 w 234"/>
                  <a:gd name="T9" fmla="*/ 133 h 344"/>
                  <a:gd name="T10" fmla="*/ 234 w 234"/>
                  <a:gd name="T11" fmla="*/ 0 h 344"/>
                </a:gdLst>
                <a:ahLst/>
                <a:cxnLst>
                  <a:cxn ang="0">
                    <a:pos x="T0" y="T1"/>
                  </a:cxn>
                  <a:cxn ang="0">
                    <a:pos x="T2" y="T3"/>
                  </a:cxn>
                  <a:cxn ang="0">
                    <a:pos x="T4" y="T5"/>
                  </a:cxn>
                  <a:cxn ang="0">
                    <a:pos x="T6" y="T7"/>
                  </a:cxn>
                  <a:cxn ang="0">
                    <a:pos x="T8" y="T9"/>
                  </a:cxn>
                  <a:cxn ang="0">
                    <a:pos x="T10" y="T11"/>
                  </a:cxn>
                </a:cxnLst>
                <a:rect l="0" t="0" r="r" b="b"/>
                <a:pathLst>
                  <a:path w="234" h="344">
                    <a:moveTo>
                      <a:pt x="0" y="344"/>
                    </a:moveTo>
                    <a:cubicBezTo>
                      <a:pt x="0" y="211"/>
                      <a:pt x="0" y="211"/>
                      <a:pt x="0" y="211"/>
                    </a:cubicBezTo>
                    <a:cubicBezTo>
                      <a:pt x="0" y="190"/>
                      <a:pt x="19" y="172"/>
                      <a:pt x="43" y="172"/>
                    </a:cubicBezTo>
                    <a:cubicBezTo>
                      <a:pt x="191" y="172"/>
                      <a:pt x="191" y="172"/>
                      <a:pt x="191" y="172"/>
                    </a:cubicBezTo>
                    <a:cubicBezTo>
                      <a:pt x="215" y="172"/>
                      <a:pt x="234" y="154"/>
                      <a:pt x="234" y="133"/>
                    </a:cubicBezTo>
                    <a:cubicBezTo>
                      <a:pt x="234" y="0"/>
                      <a:pt x="234" y="0"/>
                      <a:pt x="234" y="0"/>
                    </a:cubicBezTo>
                  </a:path>
                </a:pathLst>
              </a:custGeom>
              <a:noFill/>
              <a:ln w="41275"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ctr"/>
                <a:endParaRPr sz="2400"/>
              </a:p>
            </p:txBody>
          </p:sp>
          <p:sp>
            <p:nvSpPr>
              <p:cNvPr id="25" name="Freeform: Shape 8"/>
              <p:cNvSpPr/>
              <p:nvPr/>
            </p:nvSpPr>
            <p:spPr bwMode="auto">
              <a:xfrm>
                <a:off x="6495127" y="2197497"/>
                <a:ext cx="379834" cy="555884"/>
              </a:xfrm>
              <a:custGeom>
                <a:avLst/>
                <a:gdLst>
                  <a:gd name="T0" fmla="*/ 0 w 235"/>
                  <a:gd name="T1" fmla="*/ 343 h 343"/>
                  <a:gd name="T2" fmla="*/ 0 w 235"/>
                  <a:gd name="T3" fmla="*/ 210 h 343"/>
                  <a:gd name="T4" fmla="*/ 44 w 235"/>
                  <a:gd name="T5" fmla="*/ 171 h 343"/>
                  <a:gd name="T6" fmla="*/ 191 w 235"/>
                  <a:gd name="T7" fmla="*/ 171 h 343"/>
                  <a:gd name="T8" fmla="*/ 235 w 235"/>
                  <a:gd name="T9" fmla="*/ 132 h 343"/>
                  <a:gd name="T10" fmla="*/ 235 w 235"/>
                  <a:gd name="T11" fmla="*/ 0 h 343"/>
                </a:gdLst>
                <a:ahLst/>
                <a:cxnLst>
                  <a:cxn ang="0">
                    <a:pos x="T0" y="T1"/>
                  </a:cxn>
                  <a:cxn ang="0">
                    <a:pos x="T2" y="T3"/>
                  </a:cxn>
                  <a:cxn ang="0">
                    <a:pos x="T4" y="T5"/>
                  </a:cxn>
                  <a:cxn ang="0">
                    <a:pos x="T6" y="T7"/>
                  </a:cxn>
                  <a:cxn ang="0">
                    <a:pos x="T8" y="T9"/>
                  </a:cxn>
                  <a:cxn ang="0">
                    <a:pos x="T10" y="T11"/>
                  </a:cxn>
                </a:cxnLst>
                <a:rect l="0" t="0" r="r" b="b"/>
                <a:pathLst>
                  <a:path w="235" h="343">
                    <a:moveTo>
                      <a:pt x="0" y="343"/>
                    </a:moveTo>
                    <a:cubicBezTo>
                      <a:pt x="0" y="210"/>
                      <a:pt x="0" y="210"/>
                      <a:pt x="0" y="210"/>
                    </a:cubicBezTo>
                    <a:cubicBezTo>
                      <a:pt x="0" y="189"/>
                      <a:pt x="20" y="171"/>
                      <a:pt x="44" y="171"/>
                    </a:cubicBezTo>
                    <a:cubicBezTo>
                      <a:pt x="191" y="171"/>
                      <a:pt x="191" y="171"/>
                      <a:pt x="191" y="171"/>
                    </a:cubicBezTo>
                    <a:cubicBezTo>
                      <a:pt x="215" y="171"/>
                      <a:pt x="235" y="154"/>
                      <a:pt x="235" y="132"/>
                    </a:cubicBezTo>
                    <a:cubicBezTo>
                      <a:pt x="235" y="0"/>
                      <a:pt x="235" y="0"/>
                      <a:pt x="235" y="0"/>
                    </a:cubicBezTo>
                  </a:path>
                </a:pathLst>
              </a:custGeom>
              <a:noFill/>
              <a:ln w="41275" cap="flat">
                <a:solidFill>
                  <a:schemeClr val="accent3"/>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ctr"/>
                <a:endParaRPr sz="2400"/>
              </a:p>
            </p:txBody>
          </p:sp>
          <p:sp>
            <p:nvSpPr>
              <p:cNvPr id="26" name="Straight Connector 9"/>
              <p:cNvSpPr/>
              <p:nvPr/>
            </p:nvSpPr>
            <p:spPr bwMode="auto">
              <a:xfrm>
                <a:off x="6074295" y="3655335"/>
                <a:ext cx="0" cy="1407194"/>
              </a:xfrm>
              <a:prstGeom prst="line">
                <a:avLst/>
              </a:prstGeom>
              <a:noFill/>
              <a:ln w="41275" cap="flat">
                <a:solidFill>
                  <a:schemeClr val="accent1"/>
                </a:solidFill>
                <a:prstDash val="solid"/>
                <a:miter lim="800000"/>
              </a:ln>
              <a:extLst>
                <a:ext uri="{909E8E84-426E-40DD-AFC4-6F175D3DCCD1}">
                  <a14:hiddenFill xmlns:a14="http://schemas.microsoft.com/office/drawing/2010/main">
                    <a:noFill/>
                  </a14:hiddenFill>
                </a:ext>
              </a:extLst>
            </p:spPr>
            <p:txBody>
              <a:bodyPr anchor="ctr"/>
              <a:lstStyle/>
              <a:p>
                <a:pPr algn="ctr"/>
                <a:endParaRPr sz="2400"/>
              </a:p>
            </p:txBody>
          </p:sp>
          <p:sp>
            <p:nvSpPr>
              <p:cNvPr id="27" name="Freeform: Shape 10"/>
              <p:cNvSpPr/>
              <p:nvPr/>
            </p:nvSpPr>
            <p:spPr bwMode="auto">
              <a:xfrm>
                <a:off x="5282070" y="2357871"/>
                <a:ext cx="1583244" cy="1002038"/>
              </a:xfrm>
              <a:custGeom>
                <a:avLst/>
                <a:gdLst>
                  <a:gd name="T0" fmla="*/ 781 w 978"/>
                  <a:gd name="T1" fmla="*/ 619 h 619"/>
                  <a:gd name="T2" fmla="*/ 978 w 978"/>
                  <a:gd name="T3" fmla="*/ 422 h 619"/>
                  <a:gd name="T4" fmla="*/ 781 w 978"/>
                  <a:gd name="T5" fmla="*/ 225 h 619"/>
                  <a:gd name="T6" fmla="*/ 764 w 978"/>
                  <a:gd name="T7" fmla="*/ 226 h 619"/>
                  <a:gd name="T8" fmla="*/ 498 w 978"/>
                  <a:gd name="T9" fmla="*/ 0 h 619"/>
                  <a:gd name="T10" fmla="*/ 231 w 978"/>
                  <a:gd name="T11" fmla="*/ 228 h 619"/>
                  <a:gd name="T12" fmla="*/ 197 w 978"/>
                  <a:gd name="T13" fmla="*/ 225 h 619"/>
                  <a:gd name="T14" fmla="*/ 0 w 978"/>
                  <a:gd name="T15" fmla="*/ 422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2"/>
                    </a:cubicBezTo>
                    <a:cubicBezTo>
                      <a:pt x="978" y="313"/>
                      <a:pt x="890" y="225"/>
                      <a:pt x="781" y="225"/>
                    </a:cubicBezTo>
                    <a:cubicBezTo>
                      <a:pt x="775" y="225"/>
                      <a:pt x="770" y="226"/>
                      <a:pt x="764" y="226"/>
                    </a:cubicBezTo>
                    <a:cubicBezTo>
                      <a:pt x="743" y="98"/>
                      <a:pt x="632" y="0"/>
                      <a:pt x="498" y="0"/>
                    </a:cubicBezTo>
                    <a:cubicBezTo>
                      <a:pt x="363" y="0"/>
                      <a:pt x="251" y="99"/>
                      <a:pt x="231" y="228"/>
                    </a:cubicBezTo>
                    <a:cubicBezTo>
                      <a:pt x="220" y="226"/>
                      <a:pt x="208" y="225"/>
                      <a:pt x="197" y="225"/>
                    </a:cubicBezTo>
                    <a:cubicBezTo>
                      <a:pt x="88" y="225"/>
                      <a:pt x="0" y="313"/>
                      <a:pt x="0" y="422"/>
                    </a:cubicBezTo>
                    <a:cubicBezTo>
                      <a:pt x="0" y="531"/>
                      <a:pt x="88" y="619"/>
                      <a:pt x="197" y="619"/>
                    </a:cubicBezTo>
                    <a:lnTo>
                      <a:pt x="781" y="619"/>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28" name="Freeform: Shape 11"/>
              <p:cNvSpPr/>
              <p:nvPr/>
            </p:nvSpPr>
            <p:spPr bwMode="auto">
              <a:xfrm>
                <a:off x="5754752" y="2994545"/>
                <a:ext cx="1583244" cy="1000832"/>
              </a:xfrm>
              <a:custGeom>
                <a:avLst/>
                <a:gdLst>
                  <a:gd name="T0" fmla="*/ 781 w 978"/>
                  <a:gd name="T1" fmla="*/ 619 h 619"/>
                  <a:gd name="T2" fmla="*/ 978 w 978"/>
                  <a:gd name="T3" fmla="*/ 423 h 619"/>
                  <a:gd name="T4" fmla="*/ 781 w 978"/>
                  <a:gd name="T5" fmla="*/ 226 h 619"/>
                  <a:gd name="T6" fmla="*/ 764 w 978"/>
                  <a:gd name="T7" fmla="*/ 227 h 619"/>
                  <a:gd name="T8" fmla="*/ 498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6" y="226"/>
                      <a:pt x="770" y="226"/>
                      <a:pt x="764" y="227"/>
                    </a:cubicBezTo>
                    <a:cubicBezTo>
                      <a:pt x="743" y="98"/>
                      <a:pt x="632" y="0"/>
                      <a:pt x="498" y="0"/>
                    </a:cubicBezTo>
                    <a:cubicBezTo>
                      <a:pt x="363" y="0"/>
                      <a:pt x="251" y="99"/>
                      <a:pt x="231" y="229"/>
                    </a:cubicBezTo>
                    <a:cubicBezTo>
                      <a:pt x="220" y="227"/>
                      <a:pt x="209" y="226"/>
                      <a:pt x="197" y="226"/>
                    </a:cubicBezTo>
                    <a:cubicBezTo>
                      <a:pt x="88" y="226"/>
                      <a:pt x="0" y="314"/>
                      <a:pt x="0" y="423"/>
                    </a:cubicBezTo>
                    <a:cubicBezTo>
                      <a:pt x="0" y="531"/>
                      <a:pt x="88" y="619"/>
                      <a:pt x="197" y="619"/>
                    </a:cubicBezTo>
                    <a:lnTo>
                      <a:pt x="781" y="619"/>
                    </a:lnTo>
                    <a:close/>
                  </a:path>
                </a:pathLst>
              </a:custGeom>
              <a:solidFill>
                <a:schemeClr val="accent2"/>
              </a:solidFill>
              <a:ln w="38100">
                <a:solidFill>
                  <a:schemeClr val="bg1"/>
                </a:solidFill>
                <a:round/>
              </a:ln>
            </p:spPr>
            <p:txBody>
              <a:bodyPr anchor="ctr"/>
              <a:lstStyle/>
              <a:p>
                <a:pPr algn="ctr"/>
                <a:endParaRPr sz="2400"/>
              </a:p>
            </p:txBody>
          </p:sp>
          <p:sp>
            <p:nvSpPr>
              <p:cNvPr id="29" name="Freeform: Shape 12"/>
              <p:cNvSpPr/>
              <p:nvPr/>
            </p:nvSpPr>
            <p:spPr bwMode="auto">
              <a:xfrm>
                <a:off x="4809388" y="2994545"/>
                <a:ext cx="1583244" cy="1000832"/>
              </a:xfrm>
              <a:custGeom>
                <a:avLst/>
                <a:gdLst>
                  <a:gd name="T0" fmla="*/ 781 w 978"/>
                  <a:gd name="T1" fmla="*/ 619 h 619"/>
                  <a:gd name="T2" fmla="*/ 978 w 978"/>
                  <a:gd name="T3" fmla="*/ 423 h 619"/>
                  <a:gd name="T4" fmla="*/ 781 w 978"/>
                  <a:gd name="T5" fmla="*/ 226 h 619"/>
                  <a:gd name="T6" fmla="*/ 764 w 978"/>
                  <a:gd name="T7" fmla="*/ 227 h 619"/>
                  <a:gd name="T8" fmla="*/ 497 w 978"/>
                  <a:gd name="T9" fmla="*/ 0 h 619"/>
                  <a:gd name="T10" fmla="*/ 231 w 978"/>
                  <a:gd name="T11" fmla="*/ 229 h 619"/>
                  <a:gd name="T12" fmla="*/ 197 w 978"/>
                  <a:gd name="T13" fmla="*/ 226 h 619"/>
                  <a:gd name="T14" fmla="*/ 0 w 978"/>
                  <a:gd name="T15" fmla="*/ 423 h 619"/>
                  <a:gd name="T16" fmla="*/ 197 w 978"/>
                  <a:gd name="T17" fmla="*/ 619 h 619"/>
                  <a:gd name="T18" fmla="*/ 781 w 978"/>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8" h="619">
                    <a:moveTo>
                      <a:pt x="781" y="619"/>
                    </a:moveTo>
                    <a:cubicBezTo>
                      <a:pt x="890" y="619"/>
                      <a:pt x="978" y="531"/>
                      <a:pt x="978" y="423"/>
                    </a:cubicBezTo>
                    <a:cubicBezTo>
                      <a:pt x="978" y="314"/>
                      <a:pt x="890" y="226"/>
                      <a:pt x="781" y="226"/>
                    </a:cubicBezTo>
                    <a:cubicBezTo>
                      <a:pt x="775" y="226"/>
                      <a:pt x="770" y="226"/>
                      <a:pt x="764" y="227"/>
                    </a:cubicBezTo>
                    <a:cubicBezTo>
                      <a:pt x="743" y="98"/>
                      <a:pt x="632" y="0"/>
                      <a:pt x="497" y="0"/>
                    </a:cubicBezTo>
                    <a:cubicBezTo>
                      <a:pt x="362" y="0"/>
                      <a:pt x="251" y="99"/>
                      <a:pt x="231" y="229"/>
                    </a:cubicBezTo>
                    <a:cubicBezTo>
                      <a:pt x="220" y="227"/>
                      <a:pt x="208" y="226"/>
                      <a:pt x="197" y="226"/>
                    </a:cubicBezTo>
                    <a:cubicBezTo>
                      <a:pt x="88" y="226"/>
                      <a:pt x="0" y="314"/>
                      <a:pt x="0" y="423"/>
                    </a:cubicBezTo>
                    <a:cubicBezTo>
                      <a:pt x="0" y="531"/>
                      <a:pt x="88" y="619"/>
                      <a:pt x="197" y="619"/>
                    </a:cubicBezTo>
                    <a:lnTo>
                      <a:pt x="781" y="619"/>
                    </a:lnTo>
                    <a:close/>
                  </a:path>
                </a:pathLst>
              </a:custGeom>
              <a:solidFill>
                <a:srgbClr val="FE5817"/>
              </a:solidFill>
              <a:ln w="38100">
                <a:solidFill>
                  <a:schemeClr val="bg1"/>
                </a:solidFill>
                <a:round/>
              </a:ln>
            </p:spPr>
            <p:txBody>
              <a:bodyPr anchor="ctr"/>
              <a:lstStyle/>
              <a:p>
                <a:pPr algn="ctr"/>
                <a:endParaRPr sz="2400"/>
              </a:p>
            </p:txBody>
          </p:sp>
          <p:sp>
            <p:nvSpPr>
              <p:cNvPr id="30" name="Oval 13"/>
              <p:cNvSpPr/>
              <p:nvPr/>
            </p:nvSpPr>
            <p:spPr bwMode="auto">
              <a:xfrm>
                <a:off x="5746311" y="3343028"/>
                <a:ext cx="654761" cy="652350"/>
              </a:xfrm>
              <a:prstGeom prst="ellipse">
                <a:avLst/>
              </a:prstGeom>
              <a:solidFill>
                <a:schemeClr val="accent1"/>
              </a:solidFill>
              <a:ln w="38100">
                <a:solidFill>
                  <a:schemeClr val="bg1"/>
                </a:solidFill>
                <a:round/>
              </a:ln>
            </p:spPr>
            <p:txBody>
              <a:bodyPr anchor="ctr"/>
              <a:lstStyle/>
              <a:p>
                <a:pPr algn="ctr"/>
                <a:endParaRPr sz="2400"/>
              </a:p>
            </p:txBody>
          </p:sp>
          <p:sp>
            <p:nvSpPr>
              <p:cNvPr id="31" name="Freeform: Shape 14"/>
              <p:cNvSpPr/>
              <p:nvPr/>
            </p:nvSpPr>
            <p:spPr bwMode="auto">
              <a:xfrm>
                <a:off x="7263235" y="2934254"/>
                <a:ext cx="618587" cy="389480"/>
              </a:xfrm>
              <a:custGeom>
                <a:avLst/>
                <a:gdLst>
                  <a:gd name="T0" fmla="*/ 305 w 382"/>
                  <a:gd name="T1" fmla="*/ 241 h 241"/>
                  <a:gd name="T2" fmla="*/ 382 w 382"/>
                  <a:gd name="T3" fmla="*/ 164 h 241"/>
                  <a:gd name="T4" fmla="*/ 305 w 382"/>
                  <a:gd name="T5" fmla="*/ 88 h 241"/>
                  <a:gd name="T6" fmla="*/ 299 w 382"/>
                  <a:gd name="T7" fmla="*/ 88 h 241"/>
                  <a:gd name="T8" fmla="*/ 195 w 382"/>
                  <a:gd name="T9" fmla="*/ 0 h 241"/>
                  <a:gd name="T10" fmla="*/ 90 w 382"/>
                  <a:gd name="T11" fmla="*/ 89 h 241"/>
                  <a:gd name="T12" fmla="*/ 77 w 382"/>
                  <a:gd name="T13" fmla="*/ 88 h 241"/>
                  <a:gd name="T14" fmla="*/ 0 w 382"/>
                  <a:gd name="T15" fmla="*/ 164 h 241"/>
                  <a:gd name="T16" fmla="*/ 77 w 382"/>
                  <a:gd name="T17" fmla="*/ 241 h 241"/>
                  <a:gd name="T18" fmla="*/ 305 w 382"/>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1">
                    <a:moveTo>
                      <a:pt x="305" y="241"/>
                    </a:moveTo>
                    <a:cubicBezTo>
                      <a:pt x="348" y="241"/>
                      <a:pt x="382" y="207"/>
                      <a:pt x="382" y="164"/>
                    </a:cubicBezTo>
                    <a:cubicBezTo>
                      <a:pt x="382" y="122"/>
                      <a:pt x="348" y="88"/>
                      <a:pt x="305" y="88"/>
                    </a:cubicBezTo>
                    <a:cubicBezTo>
                      <a:pt x="303" y="88"/>
                      <a:pt x="301" y="88"/>
                      <a:pt x="299" y="88"/>
                    </a:cubicBezTo>
                    <a:cubicBezTo>
                      <a:pt x="290" y="38"/>
                      <a:pt x="247" y="0"/>
                      <a:pt x="195" y="0"/>
                    </a:cubicBezTo>
                    <a:cubicBezTo>
                      <a:pt x="142" y="0"/>
                      <a:pt x="98" y="38"/>
                      <a:pt x="90" y="89"/>
                    </a:cubicBezTo>
                    <a:cubicBezTo>
                      <a:pt x="86" y="88"/>
                      <a:pt x="82" y="88"/>
                      <a:pt x="77" y="88"/>
                    </a:cubicBezTo>
                    <a:cubicBezTo>
                      <a:pt x="35" y="88"/>
                      <a:pt x="0" y="122"/>
                      <a:pt x="0" y="164"/>
                    </a:cubicBezTo>
                    <a:cubicBezTo>
                      <a:pt x="0" y="207"/>
                      <a:pt x="35" y="241"/>
                      <a:pt x="77" y="241"/>
                    </a:cubicBezTo>
                    <a:lnTo>
                      <a:pt x="305" y="241"/>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32" name="Freeform: Shape 15"/>
              <p:cNvSpPr/>
              <p:nvPr/>
            </p:nvSpPr>
            <p:spPr bwMode="auto">
              <a:xfrm>
                <a:off x="4359616" y="2726853"/>
                <a:ext cx="617381" cy="390686"/>
              </a:xfrm>
              <a:custGeom>
                <a:avLst/>
                <a:gdLst>
                  <a:gd name="T0" fmla="*/ 304 w 381"/>
                  <a:gd name="T1" fmla="*/ 241 h 241"/>
                  <a:gd name="T2" fmla="*/ 381 w 381"/>
                  <a:gd name="T3" fmla="*/ 165 h 241"/>
                  <a:gd name="T4" fmla="*/ 304 w 381"/>
                  <a:gd name="T5" fmla="*/ 88 h 241"/>
                  <a:gd name="T6" fmla="*/ 298 w 381"/>
                  <a:gd name="T7" fmla="*/ 88 h 241"/>
                  <a:gd name="T8" fmla="*/ 194 w 381"/>
                  <a:gd name="T9" fmla="*/ 0 h 241"/>
                  <a:gd name="T10" fmla="*/ 90 w 381"/>
                  <a:gd name="T11" fmla="*/ 89 h 241"/>
                  <a:gd name="T12" fmla="*/ 76 w 381"/>
                  <a:gd name="T13" fmla="*/ 88 h 241"/>
                  <a:gd name="T14" fmla="*/ 0 w 381"/>
                  <a:gd name="T15" fmla="*/ 165 h 241"/>
                  <a:gd name="T16" fmla="*/ 76 w 381"/>
                  <a:gd name="T17" fmla="*/ 241 h 241"/>
                  <a:gd name="T18" fmla="*/ 304 w 381"/>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241">
                    <a:moveTo>
                      <a:pt x="304" y="241"/>
                    </a:moveTo>
                    <a:cubicBezTo>
                      <a:pt x="347" y="241"/>
                      <a:pt x="381" y="207"/>
                      <a:pt x="381" y="165"/>
                    </a:cubicBezTo>
                    <a:cubicBezTo>
                      <a:pt x="381" y="122"/>
                      <a:pt x="347" y="88"/>
                      <a:pt x="304" y="88"/>
                    </a:cubicBezTo>
                    <a:cubicBezTo>
                      <a:pt x="302" y="88"/>
                      <a:pt x="300" y="88"/>
                      <a:pt x="298" y="88"/>
                    </a:cubicBezTo>
                    <a:cubicBezTo>
                      <a:pt x="290" y="38"/>
                      <a:pt x="246" y="0"/>
                      <a:pt x="194" y="0"/>
                    </a:cubicBezTo>
                    <a:cubicBezTo>
                      <a:pt x="141" y="0"/>
                      <a:pt x="97" y="38"/>
                      <a:pt x="90" y="89"/>
                    </a:cubicBezTo>
                    <a:cubicBezTo>
                      <a:pt x="85" y="88"/>
                      <a:pt x="81" y="88"/>
                      <a:pt x="76" y="88"/>
                    </a:cubicBezTo>
                    <a:cubicBezTo>
                      <a:pt x="34" y="88"/>
                      <a:pt x="0" y="122"/>
                      <a:pt x="0" y="165"/>
                    </a:cubicBezTo>
                    <a:cubicBezTo>
                      <a:pt x="0" y="207"/>
                      <a:pt x="34" y="241"/>
                      <a:pt x="76" y="241"/>
                    </a:cubicBezTo>
                    <a:lnTo>
                      <a:pt x="304" y="241"/>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33" name="Freeform: Shape 16"/>
              <p:cNvSpPr/>
              <p:nvPr/>
            </p:nvSpPr>
            <p:spPr bwMode="auto">
              <a:xfrm>
                <a:off x="6566270" y="1959950"/>
                <a:ext cx="617381" cy="391892"/>
              </a:xfrm>
              <a:custGeom>
                <a:avLst/>
                <a:gdLst>
                  <a:gd name="T0" fmla="*/ 305 w 382"/>
                  <a:gd name="T1" fmla="*/ 242 h 242"/>
                  <a:gd name="T2" fmla="*/ 382 w 382"/>
                  <a:gd name="T3" fmla="*/ 165 h 242"/>
                  <a:gd name="T4" fmla="*/ 305 w 382"/>
                  <a:gd name="T5" fmla="*/ 88 h 242"/>
                  <a:gd name="T6" fmla="*/ 298 w 382"/>
                  <a:gd name="T7" fmla="*/ 88 h 242"/>
                  <a:gd name="T8" fmla="*/ 194 w 382"/>
                  <a:gd name="T9" fmla="*/ 0 h 242"/>
                  <a:gd name="T10" fmla="*/ 90 w 382"/>
                  <a:gd name="T11" fmla="*/ 89 h 242"/>
                  <a:gd name="T12" fmla="*/ 77 w 382"/>
                  <a:gd name="T13" fmla="*/ 88 h 242"/>
                  <a:gd name="T14" fmla="*/ 0 w 382"/>
                  <a:gd name="T15" fmla="*/ 165 h 242"/>
                  <a:gd name="T16" fmla="*/ 77 w 382"/>
                  <a:gd name="T17" fmla="*/ 242 h 242"/>
                  <a:gd name="T18" fmla="*/ 305 w 382"/>
                  <a:gd name="T1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242">
                    <a:moveTo>
                      <a:pt x="305" y="242"/>
                    </a:moveTo>
                    <a:cubicBezTo>
                      <a:pt x="347" y="242"/>
                      <a:pt x="382" y="207"/>
                      <a:pt x="382" y="165"/>
                    </a:cubicBezTo>
                    <a:cubicBezTo>
                      <a:pt x="382" y="122"/>
                      <a:pt x="347" y="88"/>
                      <a:pt x="305" y="88"/>
                    </a:cubicBezTo>
                    <a:cubicBezTo>
                      <a:pt x="303" y="88"/>
                      <a:pt x="300" y="88"/>
                      <a:pt x="298" y="88"/>
                    </a:cubicBezTo>
                    <a:cubicBezTo>
                      <a:pt x="290" y="38"/>
                      <a:pt x="247" y="0"/>
                      <a:pt x="194" y="0"/>
                    </a:cubicBezTo>
                    <a:cubicBezTo>
                      <a:pt x="142" y="0"/>
                      <a:pt x="98" y="39"/>
                      <a:pt x="90" y="89"/>
                    </a:cubicBezTo>
                    <a:cubicBezTo>
                      <a:pt x="86" y="88"/>
                      <a:pt x="81" y="88"/>
                      <a:pt x="77" y="88"/>
                    </a:cubicBezTo>
                    <a:cubicBezTo>
                      <a:pt x="34" y="88"/>
                      <a:pt x="0" y="122"/>
                      <a:pt x="0" y="165"/>
                    </a:cubicBezTo>
                    <a:cubicBezTo>
                      <a:pt x="0" y="207"/>
                      <a:pt x="34" y="242"/>
                      <a:pt x="77" y="242"/>
                    </a:cubicBezTo>
                    <a:lnTo>
                      <a:pt x="305" y="242"/>
                    </a:lnTo>
                    <a:close/>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34" name="Oval 17"/>
              <p:cNvSpPr/>
              <p:nvPr/>
            </p:nvSpPr>
            <p:spPr bwMode="auto">
              <a:xfrm>
                <a:off x="5027641" y="2156499"/>
                <a:ext cx="309896" cy="309896"/>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35" name="Oval 18"/>
              <p:cNvSpPr/>
              <p:nvPr/>
            </p:nvSpPr>
            <p:spPr bwMode="auto">
              <a:xfrm>
                <a:off x="7616541" y="3630013"/>
                <a:ext cx="309896" cy="311102"/>
              </a:xfrm>
              <a:prstGeom prst="ellipse">
                <a:avLst/>
              </a:prstGeom>
              <a:solidFill>
                <a:schemeClr val="accent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36" name="Oval 19"/>
              <p:cNvSpPr/>
              <p:nvPr/>
            </p:nvSpPr>
            <p:spPr bwMode="auto">
              <a:xfrm>
                <a:off x="7556250" y="2190262"/>
                <a:ext cx="311102" cy="309896"/>
              </a:xfrm>
              <a:prstGeom prst="ellipse">
                <a:avLst/>
              </a:pr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37" name="Oval 20"/>
              <p:cNvSpPr/>
              <p:nvPr/>
            </p:nvSpPr>
            <p:spPr bwMode="auto">
              <a:xfrm>
                <a:off x="4265562" y="3699951"/>
                <a:ext cx="311102" cy="309896"/>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38" name="Oval 21"/>
              <p:cNvSpPr/>
              <p:nvPr/>
            </p:nvSpPr>
            <p:spPr bwMode="auto">
              <a:xfrm>
                <a:off x="7198121" y="2611094"/>
                <a:ext cx="230312" cy="229106"/>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39" name="Oval 22"/>
              <p:cNvSpPr/>
              <p:nvPr/>
            </p:nvSpPr>
            <p:spPr bwMode="auto">
              <a:xfrm>
                <a:off x="5687226" y="1940657"/>
                <a:ext cx="229106" cy="230312"/>
              </a:xfrm>
              <a:prstGeom prst="ellipse">
                <a:avLst/>
              </a:prstGeom>
              <a:solidFill>
                <a:schemeClr val="accent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40" name="Oval 23"/>
              <p:cNvSpPr/>
              <p:nvPr/>
            </p:nvSpPr>
            <p:spPr bwMode="auto">
              <a:xfrm>
                <a:off x="4378909" y="2180616"/>
                <a:ext cx="230312" cy="229106"/>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41" name="Oval 24"/>
              <p:cNvSpPr/>
              <p:nvPr/>
            </p:nvSpPr>
            <p:spPr bwMode="auto">
              <a:xfrm>
                <a:off x="4806976" y="4220866"/>
                <a:ext cx="229106" cy="229106"/>
              </a:xfrm>
              <a:prstGeom prst="ellipse">
                <a:avLst/>
              </a:prstGeom>
              <a:solidFill>
                <a:schemeClr val="accent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42" name="Oval 25"/>
              <p:cNvSpPr/>
              <p:nvPr/>
            </p:nvSpPr>
            <p:spPr bwMode="auto">
              <a:xfrm>
                <a:off x="7065480" y="4220866"/>
                <a:ext cx="230312" cy="229106"/>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43" name="Freeform: Shape 26"/>
              <p:cNvSpPr/>
              <p:nvPr/>
            </p:nvSpPr>
            <p:spPr bwMode="auto">
              <a:xfrm>
                <a:off x="5126519" y="3379202"/>
                <a:ext cx="271310" cy="204990"/>
              </a:xfrm>
              <a:custGeom>
                <a:avLst/>
                <a:gdLst>
                  <a:gd name="T0" fmla="*/ 151 w 167"/>
                  <a:gd name="T1" fmla="*/ 22 h 127"/>
                  <a:gd name="T2" fmla="*/ 110 w 167"/>
                  <a:gd name="T3" fmla="*/ 0 h 127"/>
                  <a:gd name="T4" fmla="*/ 110 w 167"/>
                  <a:gd name="T5" fmla="*/ 15 h 127"/>
                  <a:gd name="T6" fmla="*/ 139 w 167"/>
                  <a:gd name="T7" fmla="*/ 30 h 127"/>
                  <a:gd name="T8" fmla="*/ 129 w 167"/>
                  <a:gd name="T9" fmla="*/ 79 h 127"/>
                  <a:gd name="T10" fmla="*/ 110 w 167"/>
                  <a:gd name="T11" fmla="*/ 85 h 127"/>
                  <a:gd name="T12" fmla="*/ 110 w 167"/>
                  <a:gd name="T13" fmla="*/ 100 h 127"/>
                  <a:gd name="T14" fmla="*/ 137 w 167"/>
                  <a:gd name="T15" fmla="*/ 91 h 127"/>
                  <a:gd name="T16" fmla="*/ 151 w 167"/>
                  <a:gd name="T17" fmla="*/ 22 h 127"/>
                  <a:gd name="T18" fmla="*/ 110 w 167"/>
                  <a:gd name="T19" fmla="*/ 0 h 127"/>
                  <a:gd name="T20" fmla="*/ 82 w 167"/>
                  <a:gd name="T21" fmla="*/ 8 h 127"/>
                  <a:gd name="T22" fmla="*/ 65 w 167"/>
                  <a:gd name="T23" fmla="*/ 72 h 127"/>
                  <a:gd name="T24" fmla="*/ 57 w 167"/>
                  <a:gd name="T25" fmla="*/ 77 h 127"/>
                  <a:gd name="T26" fmla="*/ 57 w 167"/>
                  <a:gd name="T27" fmla="*/ 76 h 127"/>
                  <a:gd name="T28" fmla="*/ 57 w 167"/>
                  <a:gd name="T29" fmla="*/ 76 h 127"/>
                  <a:gd name="T30" fmla="*/ 57 w 167"/>
                  <a:gd name="T31" fmla="*/ 76 h 127"/>
                  <a:gd name="T32" fmla="*/ 57 w 167"/>
                  <a:gd name="T33" fmla="*/ 76 h 127"/>
                  <a:gd name="T34" fmla="*/ 47 w 167"/>
                  <a:gd name="T35" fmla="*/ 78 h 127"/>
                  <a:gd name="T36" fmla="*/ 7 w 167"/>
                  <a:gd name="T37" fmla="*/ 105 h 127"/>
                  <a:gd name="T38" fmla="*/ 3 w 167"/>
                  <a:gd name="T39" fmla="*/ 121 h 127"/>
                  <a:gd name="T40" fmla="*/ 19 w 167"/>
                  <a:gd name="T41" fmla="*/ 124 h 127"/>
                  <a:gd name="T42" fmla="*/ 60 w 167"/>
                  <a:gd name="T43" fmla="*/ 97 h 127"/>
                  <a:gd name="T44" fmla="*/ 65 w 167"/>
                  <a:gd name="T45" fmla="*/ 88 h 127"/>
                  <a:gd name="T46" fmla="*/ 65 w 167"/>
                  <a:gd name="T47" fmla="*/ 88 h 127"/>
                  <a:gd name="T48" fmla="*/ 65 w 167"/>
                  <a:gd name="T49" fmla="*/ 88 h 127"/>
                  <a:gd name="T50" fmla="*/ 72 w 167"/>
                  <a:gd name="T51" fmla="*/ 83 h 127"/>
                  <a:gd name="T52" fmla="*/ 110 w 167"/>
                  <a:gd name="T53" fmla="*/ 100 h 127"/>
                  <a:gd name="T54" fmla="*/ 110 w 167"/>
                  <a:gd name="T55" fmla="*/ 85 h 127"/>
                  <a:gd name="T56" fmla="*/ 81 w 167"/>
                  <a:gd name="T57" fmla="*/ 69 h 127"/>
                  <a:gd name="T58" fmla="*/ 81 w 167"/>
                  <a:gd name="T59" fmla="*/ 69 h 127"/>
                  <a:gd name="T60" fmla="*/ 90 w 167"/>
                  <a:gd name="T61" fmla="*/ 21 h 127"/>
                  <a:gd name="T62" fmla="*/ 110 w 167"/>
                  <a:gd name="T63" fmla="*/ 15 h 127"/>
                  <a:gd name="T64" fmla="*/ 110 w 167"/>
                  <a:gd name="T6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7">
                    <a:moveTo>
                      <a:pt x="151" y="22"/>
                    </a:moveTo>
                    <a:cubicBezTo>
                      <a:pt x="142" y="8"/>
                      <a:pt x="126" y="0"/>
                      <a:pt x="110" y="0"/>
                    </a:cubicBezTo>
                    <a:cubicBezTo>
                      <a:pt x="110" y="15"/>
                      <a:pt x="110" y="15"/>
                      <a:pt x="110" y="15"/>
                    </a:cubicBezTo>
                    <a:cubicBezTo>
                      <a:pt x="121" y="15"/>
                      <a:pt x="132" y="20"/>
                      <a:pt x="139" y="30"/>
                    </a:cubicBezTo>
                    <a:cubicBezTo>
                      <a:pt x="150" y="47"/>
                      <a:pt x="145" y="68"/>
                      <a:pt x="129" y="79"/>
                    </a:cubicBezTo>
                    <a:cubicBezTo>
                      <a:pt x="123" y="83"/>
                      <a:pt x="116" y="85"/>
                      <a:pt x="110" y="85"/>
                    </a:cubicBezTo>
                    <a:cubicBezTo>
                      <a:pt x="110" y="100"/>
                      <a:pt x="110" y="100"/>
                      <a:pt x="110" y="100"/>
                    </a:cubicBezTo>
                    <a:cubicBezTo>
                      <a:pt x="119" y="100"/>
                      <a:pt x="129" y="97"/>
                      <a:pt x="137" y="91"/>
                    </a:cubicBezTo>
                    <a:cubicBezTo>
                      <a:pt x="160" y="76"/>
                      <a:pt x="167" y="45"/>
                      <a:pt x="151" y="22"/>
                    </a:cubicBezTo>
                    <a:close/>
                    <a:moveTo>
                      <a:pt x="110" y="0"/>
                    </a:moveTo>
                    <a:cubicBezTo>
                      <a:pt x="100" y="0"/>
                      <a:pt x="91" y="3"/>
                      <a:pt x="82" y="8"/>
                    </a:cubicBezTo>
                    <a:cubicBezTo>
                      <a:pt x="61" y="22"/>
                      <a:pt x="54" y="50"/>
                      <a:pt x="65" y="72"/>
                    </a:cubicBezTo>
                    <a:cubicBezTo>
                      <a:pt x="57" y="77"/>
                      <a:pt x="57" y="77"/>
                      <a:pt x="57" y="77"/>
                    </a:cubicBezTo>
                    <a:cubicBezTo>
                      <a:pt x="57" y="76"/>
                      <a:pt x="57" y="76"/>
                      <a:pt x="57" y="76"/>
                    </a:cubicBezTo>
                    <a:cubicBezTo>
                      <a:pt x="57" y="76"/>
                      <a:pt x="57" y="76"/>
                      <a:pt x="57" y="76"/>
                    </a:cubicBezTo>
                    <a:cubicBezTo>
                      <a:pt x="57" y="76"/>
                      <a:pt x="57" y="76"/>
                      <a:pt x="57" y="76"/>
                    </a:cubicBezTo>
                    <a:cubicBezTo>
                      <a:pt x="57" y="76"/>
                      <a:pt x="57" y="76"/>
                      <a:pt x="57" y="76"/>
                    </a:cubicBezTo>
                    <a:cubicBezTo>
                      <a:pt x="54" y="75"/>
                      <a:pt x="50" y="76"/>
                      <a:pt x="47" y="78"/>
                    </a:cubicBezTo>
                    <a:cubicBezTo>
                      <a:pt x="7" y="105"/>
                      <a:pt x="7" y="105"/>
                      <a:pt x="7" y="105"/>
                    </a:cubicBezTo>
                    <a:cubicBezTo>
                      <a:pt x="1" y="108"/>
                      <a:pt x="0" y="115"/>
                      <a:pt x="3" y="121"/>
                    </a:cubicBezTo>
                    <a:cubicBezTo>
                      <a:pt x="7" y="126"/>
                      <a:pt x="14" y="127"/>
                      <a:pt x="19" y="124"/>
                    </a:cubicBezTo>
                    <a:cubicBezTo>
                      <a:pt x="60" y="97"/>
                      <a:pt x="60" y="97"/>
                      <a:pt x="60" y="97"/>
                    </a:cubicBezTo>
                    <a:cubicBezTo>
                      <a:pt x="63" y="95"/>
                      <a:pt x="65" y="92"/>
                      <a:pt x="65" y="88"/>
                    </a:cubicBezTo>
                    <a:cubicBezTo>
                      <a:pt x="65" y="88"/>
                      <a:pt x="65" y="88"/>
                      <a:pt x="65" y="88"/>
                    </a:cubicBezTo>
                    <a:cubicBezTo>
                      <a:pt x="65" y="88"/>
                      <a:pt x="65" y="88"/>
                      <a:pt x="65" y="88"/>
                    </a:cubicBezTo>
                    <a:cubicBezTo>
                      <a:pt x="72" y="83"/>
                      <a:pt x="72" y="83"/>
                      <a:pt x="72" y="83"/>
                    </a:cubicBezTo>
                    <a:cubicBezTo>
                      <a:pt x="82" y="94"/>
                      <a:pt x="96" y="100"/>
                      <a:pt x="110" y="100"/>
                    </a:cubicBezTo>
                    <a:cubicBezTo>
                      <a:pt x="110" y="85"/>
                      <a:pt x="110" y="85"/>
                      <a:pt x="110" y="85"/>
                    </a:cubicBezTo>
                    <a:cubicBezTo>
                      <a:pt x="98" y="85"/>
                      <a:pt x="87" y="79"/>
                      <a:pt x="81" y="69"/>
                    </a:cubicBezTo>
                    <a:cubicBezTo>
                      <a:pt x="81" y="69"/>
                      <a:pt x="81" y="69"/>
                      <a:pt x="81" y="69"/>
                    </a:cubicBezTo>
                    <a:cubicBezTo>
                      <a:pt x="70" y="53"/>
                      <a:pt x="74" y="31"/>
                      <a:pt x="90" y="21"/>
                    </a:cubicBezTo>
                    <a:cubicBezTo>
                      <a:pt x="96" y="17"/>
                      <a:pt x="103" y="15"/>
                      <a:pt x="110" y="15"/>
                    </a:cubicBezTo>
                    <a:lnTo>
                      <a:pt x="11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44" name="Oval 27"/>
              <p:cNvSpPr/>
              <p:nvPr/>
            </p:nvSpPr>
            <p:spPr bwMode="auto">
              <a:xfrm>
                <a:off x="7685273" y="3790388"/>
                <a:ext cx="80790" cy="80790"/>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45" name="Freeform: Shape 28"/>
              <p:cNvSpPr/>
              <p:nvPr/>
            </p:nvSpPr>
            <p:spPr bwMode="auto">
              <a:xfrm>
                <a:off x="7726271" y="3678246"/>
                <a:ext cx="151934" cy="151934"/>
              </a:xfrm>
              <a:custGeom>
                <a:avLst/>
                <a:gdLst>
                  <a:gd name="T0" fmla="*/ 30 w 94"/>
                  <a:gd name="T1" fmla="*/ 64 h 94"/>
                  <a:gd name="T2" fmla="*/ 42 w 94"/>
                  <a:gd name="T3" fmla="*/ 94 h 94"/>
                  <a:gd name="T4" fmla="*/ 59 w 94"/>
                  <a:gd name="T5" fmla="*/ 94 h 94"/>
                  <a:gd name="T6" fmla="*/ 30 w 94"/>
                  <a:gd name="T7" fmla="*/ 42 h 94"/>
                  <a:gd name="T8" fmla="*/ 30 w 94"/>
                  <a:gd name="T9" fmla="*/ 64 h 94"/>
                  <a:gd name="T10" fmla="*/ 30 w 94"/>
                  <a:gd name="T11" fmla="*/ 23 h 94"/>
                  <a:gd name="T12" fmla="*/ 30 w 94"/>
                  <a:gd name="T13" fmla="*/ 5 h 94"/>
                  <a:gd name="T14" fmla="*/ 94 w 94"/>
                  <a:gd name="T15" fmla="*/ 94 h 94"/>
                  <a:gd name="T16" fmla="*/ 77 w 94"/>
                  <a:gd name="T17" fmla="*/ 94 h 94"/>
                  <a:gd name="T18" fmla="*/ 30 w 94"/>
                  <a:gd name="T19" fmla="*/ 23 h 94"/>
                  <a:gd name="T20" fmla="*/ 0 w 94"/>
                  <a:gd name="T21" fmla="*/ 51 h 94"/>
                  <a:gd name="T22" fmla="*/ 30 w 94"/>
                  <a:gd name="T23" fmla="*/ 64 h 94"/>
                  <a:gd name="T24" fmla="*/ 30 w 94"/>
                  <a:gd name="T25" fmla="*/ 42 h 94"/>
                  <a:gd name="T26" fmla="*/ 0 w 94"/>
                  <a:gd name="T27" fmla="*/ 35 h 94"/>
                  <a:gd name="T28" fmla="*/ 0 w 94"/>
                  <a:gd name="T29" fmla="*/ 51 h 94"/>
                  <a:gd name="T30" fmla="*/ 30 w 94"/>
                  <a:gd name="T31" fmla="*/ 5 h 94"/>
                  <a:gd name="T32" fmla="*/ 30 w 94"/>
                  <a:gd name="T33" fmla="*/ 23 h 94"/>
                  <a:gd name="T34" fmla="*/ 0 w 94"/>
                  <a:gd name="T35" fmla="*/ 17 h 94"/>
                  <a:gd name="T36" fmla="*/ 0 w 94"/>
                  <a:gd name="T37" fmla="*/ 0 h 94"/>
                  <a:gd name="T38" fmla="*/ 30 w 94"/>
                  <a:gd name="T39"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94">
                    <a:moveTo>
                      <a:pt x="30" y="64"/>
                    </a:moveTo>
                    <a:cubicBezTo>
                      <a:pt x="38" y="71"/>
                      <a:pt x="42" y="82"/>
                      <a:pt x="42" y="94"/>
                    </a:cubicBezTo>
                    <a:cubicBezTo>
                      <a:pt x="59" y="94"/>
                      <a:pt x="59" y="94"/>
                      <a:pt x="59" y="94"/>
                    </a:cubicBezTo>
                    <a:cubicBezTo>
                      <a:pt x="59" y="72"/>
                      <a:pt x="47" y="53"/>
                      <a:pt x="30" y="42"/>
                    </a:cubicBezTo>
                    <a:cubicBezTo>
                      <a:pt x="30" y="64"/>
                      <a:pt x="30" y="64"/>
                      <a:pt x="30" y="64"/>
                    </a:cubicBezTo>
                    <a:close/>
                    <a:moveTo>
                      <a:pt x="30" y="23"/>
                    </a:moveTo>
                    <a:cubicBezTo>
                      <a:pt x="30" y="5"/>
                      <a:pt x="30" y="5"/>
                      <a:pt x="30" y="5"/>
                    </a:cubicBezTo>
                    <a:cubicBezTo>
                      <a:pt x="67" y="18"/>
                      <a:pt x="94" y="53"/>
                      <a:pt x="94" y="94"/>
                    </a:cubicBezTo>
                    <a:cubicBezTo>
                      <a:pt x="77" y="94"/>
                      <a:pt x="77" y="94"/>
                      <a:pt x="77" y="94"/>
                    </a:cubicBezTo>
                    <a:cubicBezTo>
                      <a:pt x="77" y="62"/>
                      <a:pt x="57" y="34"/>
                      <a:pt x="30" y="23"/>
                    </a:cubicBezTo>
                    <a:close/>
                    <a:moveTo>
                      <a:pt x="0" y="51"/>
                    </a:moveTo>
                    <a:cubicBezTo>
                      <a:pt x="11" y="51"/>
                      <a:pt x="22" y="56"/>
                      <a:pt x="30" y="64"/>
                    </a:cubicBezTo>
                    <a:cubicBezTo>
                      <a:pt x="30" y="42"/>
                      <a:pt x="30" y="42"/>
                      <a:pt x="30" y="42"/>
                    </a:cubicBezTo>
                    <a:cubicBezTo>
                      <a:pt x="21" y="37"/>
                      <a:pt x="11" y="35"/>
                      <a:pt x="0" y="35"/>
                    </a:cubicBezTo>
                    <a:cubicBezTo>
                      <a:pt x="0" y="51"/>
                      <a:pt x="0" y="51"/>
                      <a:pt x="0" y="51"/>
                    </a:cubicBezTo>
                    <a:close/>
                    <a:moveTo>
                      <a:pt x="30" y="5"/>
                    </a:moveTo>
                    <a:cubicBezTo>
                      <a:pt x="30" y="23"/>
                      <a:pt x="30" y="23"/>
                      <a:pt x="30" y="23"/>
                    </a:cubicBezTo>
                    <a:cubicBezTo>
                      <a:pt x="20" y="19"/>
                      <a:pt x="10" y="17"/>
                      <a:pt x="0" y="17"/>
                    </a:cubicBezTo>
                    <a:cubicBezTo>
                      <a:pt x="0" y="0"/>
                      <a:pt x="0" y="0"/>
                      <a:pt x="0" y="0"/>
                    </a:cubicBezTo>
                    <a:cubicBezTo>
                      <a:pt x="10" y="0"/>
                      <a:pt x="20" y="2"/>
                      <a:pt x="30"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46" name="Freeform: Shape 29"/>
              <p:cNvSpPr/>
              <p:nvPr/>
            </p:nvSpPr>
            <p:spPr bwMode="auto">
              <a:xfrm>
                <a:off x="5777663" y="2578537"/>
                <a:ext cx="224283" cy="224283"/>
              </a:xfrm>
              <a:custGeom>
                <a:avLst/>
                <a:gdLst>
                  <a:gd name="T0" fmla="*/ 69 w 139"/>
                  <a:gd name="T1" fmla="*/ 10 h 139"/>
                  <a:gd name="T2" fmla="*/ 76 w 139"/>
                  <a:gd name="T3" fmla="*/ 10 h 139"/>
                  <a:gd name="T4" fmla="*/ 79 w 139"/>
                  <a:gd name="T5" fmla="*/ 0 h 139"/>
                  <a:gd name="T6" fmla="*/ 100 w 139"/>
                  <a:gd name="T7" fmla="*/ 6 h 139"/>
                  <a:gd name="T8" fmla="*/ 97 w 139"/>
                  <a:gd name="T9" fmla="*/ 16 h 139"/>
                  <a:gd name="T10" fmla="*/ 116 w 139"/>
                  <a:gd name="T11" fmla="*/ 32 h 139"/>
                  <a:gd name="T12" fmla="*/ 125 w 139"/>
                  <a:gd name="T13" fmla="*/ 27 h 139"/>
                  <a:gd name="T14" fmla="*/ 136 w 139"/>
                  <a:gd name="T15" fmla="*/ 47 h 139"/>
                  <a:gd name="T16" fmla="*/ 127 w 139"/>
                  <a:gd name="T17" fmla="*/ 52 h 139"/>
                  <a:gd name="T18" fmla="*/ 129 w 139"/>
                  <a:gd name="T19" fmla="*/ 76 h 139"/>
                  <a:gd name="T20" fmla="*/ 139 w 139"/>
                  <a:gd name="T21" fmla="*/ 79 h 139"/>
                  <a:gd name="T22" fmla="*/ 133 w 139"/>
                  <a:gd name="T23" fmla="*/ 100 h 139"/>
                  <a:gd name="T24" fmla="*/ 123 w 139"/>
                  <a:gd name="T25" fmla="*/ 97 h 139"/>
                  <a:gd name="T26" fmla="*/ 107 w 139"/>
                  <a:gd name="T27" fmla="*/ 117 h 139"/>
                  <a:gd name="T28" fmla="*/ 112 w 139"/>
                  <a:gd name="T29" fmla="*/ 126 h 139"/>
                  <a:gd name="T30" fmla="*/ 92 w 139"/>
                  <a:gd name="T31" fmla="*/ 136 h 139"/>
                  <a:gd name="T32" fmla="*/ 87 w 139"/>
                  <a:gd name="T33" fmla="*/ 127 h 139"/>
                  <a:gd name="T34" fmla="*/ 69 w 139"/>
                  <a:gd name="T35" fmla="*/ 130 h 139"/>
                  <a:gd name="T36" fmla="*/ 69 w 139"/>
                  <a:gd name="T37" fmla="*/ 110 h 139"/>
                  <a:gd name="T38" fmla="*/ 108 w 139"/>
                  <a:gd name="T39" fmla="*/ 81 h 139"/>
                  <a:gd name="T40" fmla="*/ 81 w 139"/>
                  <a:gd name="T41" fmla="*/ 31 h 139"/>
                  <a:gd name="T42" fmla="*/ 69 w 139"/>
                  <a:gd name="T43" fmla="*/ 29 h 139"/>
                  <a:gd name="T44" fmla="*/ 69 w 139"/>
                  <a:gd name="T45" fmla="*/ 10 h 139"/>
                  <a:gd name="T46" fmla="*/ 32 w 139"/>
                  <a:gd name="T47" fmla="*/ 23 h 139"/>
                  <a:gd name="T48" fmla="*/ 27 w 139"/>
                  <a:gd name="T49" fmla="*/ 14 h 139"/>
                  <a:gd name="T50" fmla="*/ 46 w 139"/>
                  <a:gd name="T51" fmla="*/ 3 h 139"/>
                  <a:gd name="T52" fmla="*/ 51 w 139"/>
                  <a:gd name="T53" fmla="*/ 12 h 139"/>
                  <a:gd name="T54" fmla="*/ 69 w 139"/>
                  <a:gd name="T55" fmla="*/ 10 h 139"/>
                  <a:gd name="T56" fmla="*/ 69 w 139"/>
                  <a:gd name="T57" fmla="*/ 29 h 139"/>
                  <a:gd name="T58" fmla="*/ 31 w 139"/>
                  <a:gd name="T59" fmla="*/ 58 h 139"/>
                  <a:gd name="T60" fmla="*/ 58 w 139"/>
                  <a:gd name="T61" fmla="*/ 108 h 139"/>
                  <a:gd name="T62" fmla="*/ 58 w 139"/>
                  <a:gd name="T63" fmla="*/ 108 h 139"/>
                  <a:gd name="T64" fmla="*/ 69 w 139"/>
                  <a:gd name="T65" fmla="*/ 110 h 139"/>
                  <a:gd name="T66" fmla="*/ 69 w 139"/>
                  <a:gd name="T67" fmla="*/ 130 h 139"/>
                  <a:gd name="T68" fmla="*/ 63 w 139"/>
                  <a:gd name="T69" fmla="*/ 129 h 139"/>
                  <a:gd name="T70" fmla="*/ 60 w 139"/>
                  <a:gd name="T71" fmla="*/ 139 h 139"/>
                  <a:gd name="T72" fmla="*/ 39 w 139"/>
                  <a:gd name="T73" fmla="*/ 133 h 139"/>
                  <a:gd name="T74" fmla="*/ 42 w 139"/>
                  <a:gd name="T75" fmla="*/ 123 h 139"/>
                  <a:gd name="T76" fmla="*/ 22 w 139"/>
                  <a:gd name="T77" fmla="*/ 107 h 139"/>
                  <a:gd name="T78" fmla="*/ 13 w 139"/>
                  <a:gd name="T79" fmla="*/ 112 h 139"/>
                  <a:gd name="T80" fmla="*/ 3 w 139"/>
                  <a:gd name="T81" fmla="*/ 93 h 139"/>
                  <a:gd name="T82" fmla="*/ 12 w 139"/>
                  <a:gd name="T83" fmla="*/ 88 h 139"/>
                  <a:gd name="T84" fmla="*/ 10 w 139"/>
                  <a:gd name="T85" fmla="*/ 63 h 139"/>
                  <a:gd name="T86" fmla="*/ 0 w 139"/>
                  <a:gd name="T87" fmla="*/ 60 h 139"/>
                  <a:gd name="T88" fmla="*/ 6 w 139"/>
                  <a:gd name="T89" fmla="*/ 39 h 139"/>
                  <a:gd name="T90" fmla="*/ 16 w 139"/>
                  <a:gd name="T91" fmla="*/ 42 h 139"/>
                  <a:gd name="T92" fmla="*/ 32 w 139"/>
                  <a:gd name="T93" fmla="*/ 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39">
                    <a:moveTo>
                      <a:pt x="69" y="10"/>
                    </a:moveTo>
                    <a:cubicBezTo>
                      <a:pt x="71" y="10"/>
                      <a:pt x="74" y="10"/>
                      <a:pt x="76" y="10"/>
                    </a:cubicBezTo>
                    <a:cubicBezTo>
                      <a:pt x="79" y="0"/>
                      <a:pt x="79" y="0"/>
                      <a:pt x="79" y="0"/>
                    </a:cubicBezTo>
                    <a:cubicBezTo>
                      <a:pt x="100" y="6"/>
                      <a:pt x="100" y="6"/>
                      <a:pt x="100" y="6"/>
                    </a:cubicBezTo>
                    <a:cubicBezTo>
                      <a:pt x="97" y="16"/>
                      <a:pt x="97" y="16"/>
                      <a:pt x="97" y="16"/>
                    </a:cubicBezTo>
                    <a:cubicBezTo>
                      <a:pt x="105" y="20"/>
                      <a:pt x="111" y="26"/>
                      <a:pt x="116" y="32"/>
                    </a:cubicBezTo>
                    <a:cubicBezTo>
                      <a:pt x="125" y="27"/>
                      <a:pt x="125" y="27"/>
                      <a:pt x="125" y="27"/>
                    </a:cubicBezTo>
                    <a:cubicBezTo>
                      <a:pt x="136" y="47"/>
                      <a:pt x="136" y="47"/>
                      <a:pt x="136" y="47"/>
                    </a:cubicBezTo>
                    <a:cubicBezTo>
                      <a:pt x="127" y="52"/>
                      <a:pt x="127" y="52"/>
                      <a:pt x="127" y="52"/>
                    </a:cubicBezTo>
                    <a:cubicBezTo>
                      <a:pt x="129" y="59"/>
                      <a:pt x="130" y="68"/>
                      <a:pt x="129" y="76"/>
                    </a:cubicBezTo>
                    <a:cubicBezTo>
                      <a:pt x="139" y="79"/>
                      <a:pt x="139" y="79"/>
                      <a:pt x="139" y="79"/>
                    </a:cubicBezTo>
                    <a:cubicBezTo>
                      <a:pt x="133" y="100"/>
                      <a:pt x="133" y="100"/>
                      <a:pt x="133" y="100"/>
                    </a:cubicBezTo>
                    <a:cubicBezTo>
                      <a:pt x="123" y="97"/>
                      <a:pt x="123" y="97"/>
                      <a:pt x="123" y="97"/>
                    </a:cubicBezTo>
                    <a:cubicBezTo>
                      <a:pt x="119" y="105"/>
                      <a:pt x="113" y="112"/>
                      <a:pt x="107" y="117"/>
                    </a:cubicBezTo>
                    <a:cubicBezTo>
                      <a:pt x="112" y="126"/>
                      <a:pt x="112" y="126"/>
                      <a:pt x="112" y="126"/>
                    </a:cubicBezTo>
                    <a:cubicBezTo>
                      <a:pt x="92" y="136"/>
                      <a:pt x="92" y="136"/>
                      <a:pt x="92" y="136"/>
                    </a:cubicBezTo>
                    <a:cubicBezTo>
                      <a:pt x="87" y="127"/>
                      <a:pt x="87" y="127"/>
                      <a:pt x="87" y="127"/>
                    </a:cubicBezTo>
                    <a:cubicBezTo>
                      <a:pt x="82" y="129"/>
                      <a:pt x="76" y="130"/>
                      <a:pt x="69" y="130"/>
                    </a:cubicBezTo>
                    <a:cubicBezTo>
                      <a:pt x="69" y="110"/>
                      <a:pt x="69" y="110"/>
                      <a:pt x="69" y="110"/>
                    </a:cubicBezTo>
                    <a:cubicBezTo>
                      <a:pt x="87" y="110"/>
                      <a:pt x="103" y="99"/>
                      <a:pt x="108" y="81"/>
                    </a:cubicBezTo>
                    <a:cubicBezTo>
                      <a:pt x="114" y="60"/>
                      <a:pt x="102" y="38"/>
                      <a:pt x="81" y="31"/>
                    </a:cubicBezTo>
                    <a:cubicBezTo>
                      <a:pt x="77" y="30"/>
                      <a:pt x="73" y="29"/>
                      <a:pt x="69" y="29"/>
                    </a:cubicBezTo>
                    <a:lnTo>
                      <a:pt x="69" y="10"/>
                    </a:lnTo>
                    <a:close/>
                    <a:moveTo>
                      <a:pt x="32" y="23"/>
                    </a:moveTo>
                    <a:cubicBezTo>
                      <a:pt x="27" y="14"/>
                      <a:pt x="27" y="14"/>
                      <a:pt x="27" y="14"/>
                    </a:cubicBezTo>
                    <a:cubicBezTo>
                      <a:pt x="46" y="3"/>
                      <a:pt x="46" y="3"/>
                      <a:pt x="46" y="3"/>
                    </a:cubicBezTo>
                    <a:cubicBezTo>
                      <a:pt x="51" y="12"/>
                      <a:pt x="51" y="12"/>
                      <a:pt x="51" y="12"/>
                    </a:cubicBezTo>
                    <a:cubicBezTo>
                      <a:pt x="57" y="11"/>
                      <a:pt x="63" y="10"/>
                      <a:pt x="69" y="10"/>
                    </a:cubicBezTo>
                    <a:cubicBezTo>
                      <a:pt x="69" y="29"/>
                      <a:pt x="69" y="29"/>
                      <a:pt x="69" y="29"/>
                    </a:cubicBezTo>
                    <a:cubicBezTo>
                      <a:pt x="52" y="29"/>
                      <a:pt x="36" y="41"/>
                      <a:pt x="31" y="58"/>
                    </a:cubicBezTo>
                    <a:cubicBezTo>
                      <a:pt x="24" y="79"/>
                      <a:pt x="36" y="102"/>
                      <a:pt x="58" y="108"/>
                    </a:cubicBezTo>
                    <a:cubicBezTo>
                      <a:pt x="58" y="108"/>
                      <a:pt x="58" y="108"/>
                      <a:pt x="58" y="108"/>
                    </a:cubicBezTo>
                    <a:cubicBezTo>
                      <a:pt x="61" y="109"/>
                      <a:pt x="65" y="110"/>
                      <a:pt x="69" y="110"/>
                    </a:cubicBezTo>
                    <a:cubicBezTo>
                      <a:pt x="69" y="130"/>
                      <a:pt x="69" y="130"/>
                      <a:pt x="69" y="130"/>
                    </a:cubicBezTo>
                    <a:cubicBezTo>
                      <a:pt x="67" y="130"/>
                      <a:pt x="65" y="130"/>
                      <a:pt x="63" y="129"/>
                    </a:cubicBezTo>
                    <a:cubicBezTo>
                      <a:pt x="60" y="139"/>
                      <a:pt x="60" y="139"/>
                      <a:pt x="60" y="139"/>
                    </a:cubicBezTo>
                    <a:cubicBezTo>
                      <a:pt x="39" y="133"/>
                      <a:pt x="39" y="133"/>
                      <a:pt x="39" y="133"/>
                    </a:cubicBezTo>
                    <a:cubicBezTo>
                      <a:pt x="42" y="123"/>
                      <a:pt x="42" y="123"/>
                      <a:pt x="42" y="123"/>
                    </a:cubicBezTo>
                    <a:cubicBezTo>
                      <a:pt x="34" y="119"/>
                      <a:pt x="27" y="114"/>
                      <a:pt x="22" y="107"/>
                    </a:cubicBezTo>
                    <a:cubicBezTo>
                      <a:pt x="13" y="112"/>
                      <a:pt x="13" y="112"/>
                      <a:pt x="13" y="112"/>
                    </a:cubicBezTo>
                    <a:cubicBezTo>
                      <a:pt x="3" y="93"/>
                      <a:pt x="3" y="93"/>
                      <a:pt x="3" y="93"/>
                    </a:cubicBezTo>
                    <a:cubicBezTo>
                      <a:pt x="12" y="88"/>
                      <a:pt x="12" y="88"/>
                      <a:pt x="12" y="88"/>
                    </a:cubicBezTo>
                    <a:cubicBezTo>
                      <a:pt x="10" y="80"/>
                      <a:pt x="9" y="72"/>
                      <a:pt x="10" y="63"/>
                    </a:cubicBezTo>
                    <a:cubicBezTo>
                      <a:pt x="0" y="60"/>
                      <a:pt x="0" y="60"/>
                      <a:pt x="0" y="60"/>
                    </a:cubicBezTo>
                    <a:cubicBezTo>
                      <a:pt x="6" y="39"/>
                      <a:pt x="6" y="39"/>
                      <a:pt x="6" y="39"/>
                    </a:cubicBezTo>
                    <a:cubicBezTo>
                      <a:pt x="16" y="42"/>
                      <a:pt x="16" y="42"/>
                      <a:pt x="16" y="42"/>
                    </a:cubicBezTo>
                    <a:cubicBezTo>
                      <a:pt x="20" y="34"/>
                      <a:pt x="25" y="28"/>
                      <a:pt x="32" y="2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47" name="Freeform: Shape 30"/>
              <p:cNvSpPr/>
              <p:nvPr/>
            </p:nvSpPr>
            <p:spPr bwMode="auto">
              <a:xfrm>
                <a:off x="5938037" y="2888433"/>
                <a:ext cx="237547" cy="229106"/>
              </a:xfrm>
              <a:custGeom>
                <a:avLst/>
                <a:gdLst>
                  <a:gd name="T0" fmla="*/ 74 w 147"/>
                  <a:gd name="T1" fmla="*/ 0 h 141"/>
                  <a:gd name="T2" fmla="*/ 147 w 147"/>
                  <a:gd name="T3" fmla="*/ 63 h 141"/>
                  <a:gd name="T4" fmla="*/ 117 w 147"/>
                  <a:gd name="T5" fmla="*/ 115 h 141"/>
                  <a:gd name="T6" fmla="*/ 128 w 147"/>
                  <a:gd name="T7" fmla="*/ 141 h 141"/>
                  <a:gd name="T8" fmla="*/ 102 w 147"/>
                  <a:gd name="T9" fmla="*/ 122 h 141"/>
                  <a:gd name="T10" fmla="*/ 74 w 147"/>
                  <a:gd name="T11" fmla="*/ 127 h 141"/>
                  <a:gd name="T12" fmla="*/ 0 w 147"/>
                  <a:gd name="T13" fmla="*/ 63 h 141"/>
                  <a:gd name="T14" fmla="*/ 74 w 147"/>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41">
                    <a:moveTo>
                      <a:pt x="74" y="0"/>
                    </a:moveTo>
                    <a:cubicBezTo>
                      <a:pt x="114" y="0"/>
                      <a:pt x="147" y="28"/>
                      <a:pt x="147" y="63"/>
                    </a:cubicBezTo>
                    <a:cubicBezTo>
                      <a:pt x="147" y="84"/>
                      <a:pt x="135" y="103"/>
                      <a:pt x="117" y="115"/>
                    </a:cubicBezTo>
                    <a:cubicBezTo>
                      <a:pt x="128" y="141"/>
                      <a:pt x="128" y="141"/>
                      <a:pt x="128" y="141"/>
                    </a:cubicBezTo>
                    <a:cubicBezTo>
                      <a:pt x="102" y="122"/>
                      <a:pt x="102" y="122"/>
                      <a:pt x="102" y="122"/>
                    </a:cubicBezTo>
                    <a:cubicBezTo>
                      <a:pt x="93" y="125"/>
                      <a:pt x="84" y="127"/>
                      <a:pt x="74" y="127"/>
                    </a:cubicBezTo>
                    <a:cubicBezTo>
                      <a:pt x="33" y="127"/>
                      <a:pt x="0" y="98"/>
                      <a:pt x="0" y="63"/>
                    </a:cubicBezTo>
                    <a:cubicBezTo>
                      <a:pt x="0" y="28"/>
                      <a:pt x="33" y="0"/>
                      <a:pt x="74"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48" name="Oval 31"/>
              <p:cNvSpPr/>
              <p:nvPr/>
            </p:nvSpPr>
            <p:spPr bwMode="auto">
              <a:xfrm>
                <a:off x="6093588" y="2977664"/>
                <a:ext cx="31351" cy="31351"/>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49" name="Oval 32"/>
              <p:cNvSpPr/>
              <p:nvPr/>
            </p:nvSpPr>
            <p:spPr bwMode="auto">
              <a:xfrm>
                <a:off x="6041738" y="2977664"/>
                <a:ext cx="32557" cy="31351"/>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50" name="Oval 33"/>
              <p:cNvSpPr/>
              <p:nvPr/>
            </p:nvSpPr>
            <p:spPr bwMode="auto">
              <a:xfrm>
                <a:off x="5987476" y="2977664"/>
                <a:ext cx="32557" cy="31351"/>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51" name="Freeform: Shape 34"/>
              <p:cNvSpPr/>
              <p:nvPr/>
            </p:nvSpPr>
            <p:spPr bwMode="auto">
              <a:xfrm>
                <a:off x="5138577" y="2232466"/>
                <a:ext cx="132640" cy="157963"/>
              </a:xfrm>
              <a:custGeom>
                <a:avLst/>
                <a:gdLst>
                  <a:gd name="T0" fmla="*/ 0 w 110"/>
                  <a:gd name="T1" fmla="*/ 0 h 131"/>
                  <a:gd name="T2" fmla="*/ 110 w 110"/>
                  <a:gd name="T3" fmla="*/ 65 h 131"/>
                  <a:gd name="T4" fmla="*/ 0 w 110"/>
                  <a:gd name="T5" fmla="*/ 131 h 131"/>
                  <a:gd name="T6" fmla="*/ 0 w 110"/>
                  <a:gd name="T7" fmla="*/ 0 h 131"/>
                </a:gdLst>
                <a:ahLst/>
                <a:cxnLst>
                  <a:cxn ang="0">
                    <a:pos x="T0" y="T1"/>
                  </a:cxn>
                  <a:cxn ang="0">
                    <a:pos x="T2" y="T3"/>
                  </a:cxn>
                  <a:cxn ang="0">
                    <a:pos x="T4" y="T5"/>
                  </a:cxn>
                  <a:cxn ang="0">
                    <a:pos x="T6" y="T7"/>
                  </a:cxn>
                </a:cxnLst>
                <a:rect l="0" t="0" r="r" b="b"/>
                <a:pathLst>
                  <a:path w="110" h="131">
                    <a:moveTo>
                      <a:pt x="0" y="0"/>
                    </a:moveTo>
                    <a:lnTo>
                      <a:pt x="110" y="65"/>
                    </a:lnTo>
                    <a:lnTo>
                      <a:pt x="0" y="13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52" name="Freeform: Shape 35"/>
              <p:cNvSpPr/>
              <p:nvPr/>
            </p:nvSpPr>
            <p:spPr bwMode="auto">
              <a:xfrm>
                <a:off x="5968182" y="3673423"/>
                <a:ext cx="108524" cy="89231"/>
              </a:xfrm>
              <a:custGeom>
                <a:avLst/>
                <a:gdLst>
                  <a:gd name="T0" fmla="*/ 0 w 90"/>
                  <a:gd name="T1" fmla="*/ 66 h 74"/>
                  <a:gd name="T2" fmla="*/ 84 w 90"/>
                  <a:gd name="T3" fmla="*/ 0 h 74"/>
                  <a:gd name="T4" fmla="*/ 90 w 90"/>
                  <a:gd name="T5" fmla="*/ 8 h 74"/>
                  <a:gd name="T6" fmla="*/ 7 w 90"/>
                  <a:gd name="T7" fmla="*/ 74 h 74"/>
                  <a:gd name="T8" fmla="*/ 0 w 90"/>
                  <a:gd name="T9" fmla="*/ 66 h 74"/>
                </a:gdLst>
                <a:ahLst/>
                <a:cxnLst>
                  <a:cxn ang="0">
                    <a:pos x="T0" y="T1"/>
                  </a:cxn>
                  <a:cxn ang="0">
                    <a:pos x="T2" y="T3"/>
                  </a:cxn>
                  <a:cxn ang="0">
                    <a:pos x="T4" y="T5"/>
                  </a:cxn>
                  <a:cxn ang="0">
                    <a:pos x="T6" y="T7"/>
                  </a:cxn>
                  <a:cxn ang="0">
                    <a:pos x="T8" y="T9"/>
                  </a:cxn>
                </a:cxnLst>
                <a:rect l="0" t="0" r="r" b="b"/>
                <a:pathLst>
                  <a:path w="90" h="74">
                    <a:moveTo>
                      <a:pt x="0" y="66"/>
                    </a:moveTo>
                    <a:lnTo>
                      <a:pt x="84" y="0"/>
                    </a:lnTo>
                    <a:lnTo>
                      <a:pt x="90" y="8"/>
                    </a:lnTo>
                    <a:lnTo>
                      <a:pt x="7" y="74"/>
                    </a:lnTo>
                    <a:lnTo>
                      <a:pt x="0" y="6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53" name="Freeform: Shape 36"/>
              <p:cNvSpPr/>
              <p:nvPr/>
            </p:nvSpPr>
            <p:spPr bwMode="auto">
              <a:xfrm>
                <a:off x="6069471" y="3673423"/>
                <a:ext cx="109730" cy="89231"/>
              </a:xfrm>
              <a:custGeom>
                <a:avLst/>
                <a:gdLst>
                  <a:gd name="T0" fmla="*/ 84 w 91"/>
                  <a:gd name="T1" fmla="*/ 74 h 74"/>
                  <a:gd name="T2" fmla="*/ 0 w 91"/>
                  <a:gd name="T3" fmla="*/ 8 h 74"/>
                  <a:gd name="T4" fmla="*/ 6 w 91"/>
                  <a:gd name="T5" fmla="*/ 0 h 74"/>
                  <a:gd name="T6" fmla="*/ 91 w 91"/>
                  <a:gd name="T7" fmla="*/ 66 h 74"/>
                  <a:gd name="T8" fmla="*/ 84 w 91"/>
                  <a:gd name="T9" fmla="*/ 74 h 74"/>
                </a:gdLst>
                <a:ahLst/>
                <a:cxnLst>
                  <a:cxn ang="0">
                    <a:pos x="T0" y="T1"/>
                  </a:cxn>
                  <a:cxn ang="0">
                    <a:pos x="T2" y="T3"/>
                  </a:cxn>
                  <a:cxn ang="0">
                    <a:pos x="T4" y="T5"/>
                  </a:cxn>
                  <a:cxn ang="0">
                    <a:pos x="T6" y="T7"/>
                  </a:cxn>
                  <a:cxn ang="0">
                    <a:pos x="T8" y="T9"/>
                  </a:cxn>
                </a:cxnLst>
                <a:rect l="0" t="0" r="r" b="b"/>
                <a:pathLst>
                  <a:path w="91" h="74">
                    <a:moveTo>
                      <a:pt x="84" y="74"/>
                    </a:moveTo>
                    <a:lnTo>
                      <a:pt x="0" y="8"/>
                    </a:lnTo>
                    <a:lnTo>
                      <a:pt x="6" y="0"/>
                    </a:lnTo>
                    <a:lnTo>
                      <a:pt x="91" y="66"/>
                    </a:lnTo>
                    <a:lnTo>
                      <a:pt x="84" y="7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54" name="Rectangle 37"/>
              <p:cNvSpPr/>
              <p:nvPr/>
            </p:nvSpPr>
            <p:spPr bwMode="auto">
              <a:xfrm>
                <a:off x="6067060" y="3549223"/>
                <a:ext cx="13264" cy="1290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2400"/>
              </a:p>
            </p:txBody>
          </p:sp>
          <p:sp>
            <p:nvSpPr>
              <p:cNvPr id="55" name="Freeform: Shape 38"/>
              <p:cNvSpPr/>
              <p:nvPr/>
            </p:nvSpPr>
            <p:spPr bwMode="auto">
              <a:xfrm>
                <a:off x="6020033" y="3496167"/>
                <a:ext cx="107318" cy="106112"/>
              </a:xfrm>
              <a:custGeom>
                <a:avLst/>
                <a:gdLst>
                  <a:gd name="T0" fmla="*/ 45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5" y="48"/>
                      <a:pt x="63" y="56"/>
                      <a:pt x="66" y="66"/>
                    </a:cubicBezTo>
                    <a:cubicBezTo>
                      <a:pt x="0" y="66"/>
                      <a:pt x="0" y="66"/>
                      <a:pt x="0" y="66"/>
                    </a:cubicBezTo>
                    <a:cubicBezTo>
                      <a:pt x="3" y="56"/>
                      <a:pt x="11" y="48"/>
                      <a:pt x="21" y="44"/>
                    </a:cubicBezTo>
                    <a:cubicBezTo>
                      <a:pt x="16" y="40"/>
                      <a:pt x="13" y="33"/>
                      <a:pt x="13" y="24"/>
                    </a:cubicBezTo>
                    <a:cubicBezTo>
                      <a:pt x="13" y="11"/>
                      <a:pt x="22" y="0"/>
                      <a:pt x="33" y="0"/>
                    </a:cubicBezTo>
                    <a:cubicBezTo>
                      <a:pt x="44" y="0"/>
                      <a:pt x="53" y="11"/>
                      <a:pt x="53" y="24"/>
                    </a:cubicBezTo>
                    <a:cubicBezTo>
                      <a:pt x="53" y="33"/>
                      <a:pt x="50" y="40"/>
                      <a:pt x="45"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56" name="Freeform: Shape 39"/>
              <p:cNvSpPr/>
              <p:nvPr/>
            </p:nvSpPr>
            <p:spPr bwMode="auto">
              <a:xfrm>
                <a:off x="5918744" y="3683069"/>
                <a:ext cx="106112" cy="107318"/>
              </a:xfrm>
              <a:custGeom>
                <a:avLst/>
                <a:gdLst>
                  <a:gd name="T0" fmla="*/ 44 w 66"/>
                  <a:gd name="T1" fmla="*/ 44 h 66"/>
                  <a:gd name="T2" fmla="*/ 66 w 66"/>
                  <a:gd name="T3" fmla="*/ 66 h 66"/>
                  <a:gd name="T4" fmla="*/ 0 w 66"/>
                  <a:gd name="T5" fmla="*/ 66 h 66"/>
                  <a:gd name="T6" fmla="*/ 21 w 66"/>
                  <a:gd name="T7" fmla="*/ 44 h 66"/>
                  <a:gd name="T8" fmla="*/ 13 w 66"/>
                  <a:gd name="T9" fmla="*/ 24 h 66"/>
                  <a:gd name="T10" fmla="*/ 33 w 66"/>
                  <a:gd name="T11" fmla="*/ 0 h 66"/>
                  <a:gd name="T12" fmla="*/ 53 w 66"/>
                  <a:gd name="T13" fmla="*/ 24 h 66"/>
                  <a:gd name="T14" fmla="*/ 44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4" y="44"/>
                    </a:moveTo>
                    <a:cubicBezTo>
                      <a:pt x="55" y="48"/>
                      <a:pt x="63" y="56"/>
                      <a:pt x="66" y="66"/>
                    </a:cubicBezTo>
                    <a:cubicBezTo>
                      <a:pt x="0" y="66"/>
                      <a:pt x="0" y="66"/>
                      <a:pt x="0" y="66"/>
                    </a:cubicBezTo>
                    <a:cubicBezTo>
                      <a:pt x="2" y="56"/>
                      <a:pt x="10" y="48"/>
                      <a:pt x="21" y="44"/>
                    </a:cubicBezTo>
                    <a:cubicBezTo>
                      <a:pt x="16" y="40"/>
                      <a:pt x="13" y="32"/>
                      <a:pt x="13" y="24"/>
                    </a:cubicBezTo>
                    <a:cubicBezTo>
                      <a:pt x="13" y="11"/>
                      <a:pt x="22" y="0"/>
                      <a:pt x="33" y="0"/>
                    </a:cubicBezTo>
                    <a:cubicBezTo>
                      <a:pt x="44" y="0"/>
                      <a:pt x="53" y="11"/>
                      <a:pt x="53" y="24"/>
                    </a:cubicBezTo>
                    <a:cubicBezTo>
                      <a:pt x="53" y="32"/>
                      <a:pt x="49" y="40"/>
                      <a:pt x="44"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57" name="Freeform: Shape 40"/>
              <p:cNvSpPr/>
              <p:nvPr/>
            </p:nvSpPr>
            <p:spPr bwMode="auto">
              <a:xfrm>
                <a:off x="6122528" y="3683069"/>
                <a:ext cx="106112" cy="107318"/>
              </a:xfrm>
              <a:custGeom>
                <a:avLst/>
                <a:gdLst>
                  <a:gd name="T0" fmla="*/ 45 w 66"/>
                  <a:gd name="T1" fmla="*/ 44 h 66"/>
                  <a:gd name="T2" fmla="*/ 66 w 66"/>
                  <a:gd name="T3" fmla="*/ 66 h 66"/>
                  <a:gd name="T4" fmla="*/ 0 w 66"/>
                  <a:gd name="T5" fmla="*/ 66 h 66"/>
                  <a:gd name="T6" fmla="*/ 22 w 66"/>
                  <a:gd name="T7" fmla="*/ 44 h 66"/>
                  <a:gd name="T8" fmla="*/ 13 w 66"/>
                  <a:gd name="T9" fmla="*/ 24 h 66"/>
                  <a:gd name="T10" fmla="*/ 33 w 66"/>
                  <a:gd name="T11" fmla="*/ 0 h 66"/>
                  <a:gd name="T12" fmla="*/ 53 w 66"/>
                  <a:gd name="T13" fmla="*/ 24 h 66"/>
                  <a:gd name="T14" fmla="*/ 45 w 66"/>
                  <a:gd name="T15" fmla="*/ 4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6">
                    <a:moveTo>
                      <a:pt x="45" y="44"/>
                    </a:moveTo>
                    <a:cubicBezTo>
                      <a:pt x="56" y="48"/>
                      <a:pt x="64" y="56"/>
                      <a:pt x="66" y="66"/>
                    </a:cubicBezTo>
                    <a:cubicBezTo>
                      <a:pt x="0" y="66"/>
                      <a:pt x="0" y="66"/>
                      <a:pt x="0" y="66"/>
                    </a:cubicBezTo>
                    <a:cubicBezTo>
                      <a:pt x="3" y="56"/>
                      <a:pt x="11" y="48"/>
                      <a:pt x="22" y="44"/>
                    </a:cubicBezTo>
                    <a:cubicBezTo>
                      <a:pt x="17" y="40"/>
                      <a:pt x="13" y="32"/>
                      <a:pt x="13" y="24"/>
                    </a:cubicBezTo>
                    <a:cubicBezTo>
                      <a:pt x="13" y="11"/>
                      <a:pt x="22" y="0"/>
                      <a:pt x="33" y="0"/>
                    </a:cubicBezTo>
                    <a:cubicBezTo>
                      <a:pt x="44" y="0"/>
                      <a:pt x="53" y="11"/>
                      <a:pt x="53" y="24"/>
                    </a:cubicBezTo>
                    <a:cubicBezTo>
                      <a:pt x="53" y="32"/>
                      <a:pt x="50" y="40"/>
                      <a:pt x="45"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58" name="Oval 41"/>
              <p:cNvSpPr/>
              <p:nvPr/>
            </p:nvSpPr>
            <p:spPr bwMode="auto">
              <a:xfrm>
                <a:off x="6041738" y="3644483"/>
                <a:ext cx="63909" cy="66320"/>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59" name="Freeform: Shape 42"/>
              <p:cNvSpPr/>
              <p:nvPr/>
            </p:nvSpPr>
            <p:spPr bwMode="auto">
              <a:xfrm>
                <a:off x="6823110" y="3470845"/>
                <a:ext cx="132640" cy="154345"/>
              </a:xfrm>
              <a:custGeom>
                <a:avLst/>
                <a:gdLst>
                  <a:gd name="T0" fmla="*/ 0 w 110"/>
                  <a:gd name="T1" fmla="*/ 21 h 128"/>
                  <a:gd name="T2" fmla="*/ 24 w 110"/>
                  <a:gd name="T3" fmla="*/ 0 h 128"/>
                  <a:gd name="T4" fmla="*/ 110 w 110"/>
                  <a:gd name="T5" fmla="*/ 108 h 128"/>
                  <a:gd name="T6" fmla="*/ 86 w 110"/>
                  <a:gd name="T7" fmla="*/ 128 h 128"/>
                  <a:gd name="T8" fmla="*/ 0 w 110"/>
                  <a:gd name="T9" fmla="*/ 21 h 128"/>
                </a:gdLst>
                <a:ahLst/>
                <a:cxnLst>
                  <a:cxn ang="0">
                    <a:pos x="T0" y="T1"/>
                  </a:cxn>
                  <a:cxn ang="0">
                    <a:pos x="T2" y="T3"/>
                  </a:cxn>
                  <a:cxn ang="0">
                    <a:pos x="T4" y="T5"/>
                  </a:cxn>
                  <a:cxn ang="0">
                    <a:pos x="T6" y="T7"/>
                  </a:cxn>
                  <a:cxn ang="0">
                    <a:pos x="T8" y="T9"/>
                  </a:cxn>
                </a:cxnLst>
                <a:rect l="0" t="0" r="r" b="b"/>
                <a:pathLst>
                  <a:path w="110" h="128">
                    <a:moveTo>
                      <a:pt x="0" y="21"/>
                    </a:moveTo>
                    <a:lnTo>
                      <a:pt x="24" y="0"/>
                    </a:lnTo>
                    <a:lnTo>
                      <a:pt x="110" y="108"/>
                    </a:lnTo>
                    <a:lnTo>
                      <a:pt x="86" y="128"/>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60" name="Freeform: Shape 43"/>
              <p:cNvSpPr/>
              <p:nvPr/>
            </p:nvSpPr>
            <p:spPr bwMode="auto">
              <a:xfrm>
                <a:off x="6832757" y="3482903"/>
                <a:ext cx="113347" cy="131435"/>
              </a:xfrm>
              <a:custGeom>
                <a:avLst/>
                <a:gdLst>
                  <a:gd name="T0" fmla="*/ 0 w 94"/>
                  <a:gd name="T1" fmla="*/ 12 h 109"/>
                  <a:gd name="T2" fmla="*/ 79 w 94"/>
                  <a:gd name="T3" fmla="*/ 109 h 109"/>
                  <a:gd name="T4" fmla="*/ 94 w 94"/>
                  <a:gd name="T5" fmla="*/ 96 h 109"/>
                  <a:gd name="T6" fmla="*/ 16 w 94"/>
                  <a:gd name="T7" fmla="*/ 0 h 109"/>
                  <a:gd name="T8" fmla="*/ 0 w 94"/>
                  <a:gd name="T9" fmla="*/ 12 h 109"/>
                </a:gdLst>
                <a:ahLst/>
                <a:cxnLst>
                  <a:cxn ang="0">
                    <a:pos x="T0" y="T1"/>
                  </a:cxn>
                  <a:cxn ang="0">
                    <a:pos x="T2" y="T3"/>
                  </a:cxn>
                  <a:cxn ang="0">
                    <a:pos x="T4" y="T5"/>
                  </a:cxn>
                  <a:cxn ang="0">
                    <a:pos x="T6" y="T7"/>
                  </a:cxn>
                  <a:cxn ang="0">
                    <a:pos x="T8" y="T9"/>
                  </a:cxn>
                </a:cxnLst>
                <a:rect l="0" t="0" r="r" b="b"/>
                <a:pathLst>
                  <a:path w="94" h="109">
                    <a:moveTo>
                      <a:pt x="0" y="12"/>
                    </a:moveTo>
                    <a:lnTo>
                      <a:pt x="79" y="109"/>
                    </a:lnTo>
                    <a:lnTo>
                      <a:pt x="94" y="96"/>
                    </a:lnTo>
                    <a:lnTo>
                      <a:pt x="16"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61" name="Freeform: Shape 44"/>
              <p:cNvSpPr/>
              <p:nvPr/>
            </p:nvSpPr>
            <p:spPr bwMode="auto">
              <a:xfrm>
                <a:off x="6780906" y="3425024"/>
                <a:ext cx="100083" cy="100083"/>
              </a:xfrm>
              <a:custGeom>
                <a:avLst/>
                <a:gdLst>
                  <a:gd name="T0" fmla="*/ 26 w 62"/>
                  <a:gd name="T1" fmla="*/ 1 h 62"/>
                  <a:gd name="T2" fmla="*/ 52 w 62"/>
                  <a:gd name="T3" fmla="*/ 12 h 62"/>
                  <a:gd name="T4" fmla="*/ 47 w 62"/>
                  <a:gd name="T5" fmla="*/ 52 h 62"/>
                  <a:gd name="T6" fmla="*/ 7 w 62"/>
                  <a:gd name="T7" fmla="*/ 47 h 62"/>
                  <a:gd name="T8" fmla="*/ 3 w 62"/>
                  <a:gd name="T9" fmla="*/ 20 h 62"/>
                  <a:gd name="T10" fmla="*/ 13 w 62"/>
                  <a:gd name="T11" fmla="*/ 33 h 62"/>
                  <a:gd name="T12" fmla="*/ 18 w 62"/>
                  <a:gd name="T13" fmla="*/ 39 h 62"/>
                  <a:gd name="T14" fmla="*/ 27 w 62"/>
                  <a:gd name="T15" fmla="*/ 38 h 62"/>
                  <a:gd name="T16" fmla="*/ 35 w 62"/>
                  <a:gd name="T17" fmla="*/ 37 h 62"/>
                  <a:gd name="T18" fmla="*/ 38 w 62"/>
                  <a:gd name="T19" fmla="*/ 29 h 62"/>
                  <a:gd name="T20" fmla="*/ 41 w 62"/>
                  <a:gd name="T21" fmla="*/ 21 h 62"/>
                  <a:gd name="T22" fmla="*/ 36 w 62"/>
                  <a:gd name="T23" fmla="*/ 14 h 62"/>
                  <a:gd name="T24" fmla="*/ 26 w 62"/>
                  <a:gd name="T25"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26" y="1"/>
                    </a:moveTo>
                    <a:cubicBezTo>
                      <a:pt x="35" y="0"/>
                      <a:pt x="45" y="4"/>
                      <a:pt x="52" y="12"/>
                    </a:cubicBezTo>
                    <a:cubicBezTo>
                      <a:pt x="62" y="24"/>
                      <a:pt x="60" y="42"/>
                      <a:pt x="47" y="52"/>
                    </a:cubicBezTo>
                    <a:cubicBezTo>
                      <a:pt x="35" y="62"/>
                      <a:pt x="17" y="60"/>
                      <a:pt x="7" y="47"/>
                    </a:cubicBezTo>
                    <a:cubicBezTo>
                      <a:pt x="1" y="39"/>
                      <a:pt x="0" y="29"/>
                      <a:pt x="3" y="20"/>
                    </a:cubicBezTo>
                    <a:cubicBezTo>
                      <a:pt x="13" y="33"/>
                      <a:pt x="13" y="33"/>
                      <a:pt x="13" y="33"/>
                    </a:cubicBezTo>
                    <a:cubicBezTo>
                      <a:pt x="18" y="39"/>
                      <a:pt x="18" y="39"/>
                      <a:pt x="18" y="39"/>
                    </a:cubicBezTo>
                    <a:cubicBezTo>
                      <a:pt x="27" y="38"/>
                      <a:pt x="27" y="38"/>
                      <a:pt x="27" y="38"/>
                    </a:cubicBezTo>
                    <a:cubicBezTo>
                      <a:pt x="35" y="37"/>
                      <a:pt x="35" y="37"/>
                      <a:pt x="35" y="37"/>
                    </a:cubicBezTo>
                    <a:cubicBezTo>
                      <a:pt x="38" y="29"/>
                      <a:pt x="38" y="29"/>
                      <a:pt x="38" y="29"/>
                    </a:cubicBezTo>
                    <a:cubicBezTo>
                      <a:pt x="41" y="21"/>
                      <a:pt x="41" y="21"/>
                      <a:pt x="41" y="21"/>
                    </a:cubicBezTo>
                    <a:cubicBezTo>
                      <a:pt x="36" y="14"/>
                      <a:pt x="36" y="14"/>
                      <a:pt x="36" y="14"/>
                    </a:cubicBezTo>
                    <a:lnTo>
                      <a:pt x="26" y="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62" name="Freeform: Shape 45"/>
              <p:cNvSpPr/>
              <p:nvPr/>
            </p:nvSpPr>
            <p:spPr bwMode="auto">
              <a:xfrm>
                <a:off x="6899077" y="3572134"/>
                <a:ext cx="100083" cy="100083"/>
              </a:xfrm>
              <a:custGeom>
                <a:avLst/>
                <a:gdLst>
                  <a:gd name="T0" fmla="*/ 59 w 62"/>
                  <a:gd name="T1" fmla="*/ 42 h 62"/>
                  <a:gd name="T2" fmla="*/ 54 w 62"/>
                  <a:gd name="T3" fmla="*/ 15 h 62"/>
                  <a:gd name="T4" fmla="*/ 14 w 62"/>
                  <a:gd name="T5" fmla="*/ 10 h 62"/>
                  <a:gd name="T6" fmla="*/ 10 w 62"/>
                  <a:gd name="T7" fmla="*/ 50 h 62"/>
                  <a:gd name="T8" fmla="*/ 35 w 62"/>
                  <a:gd name="T9" fmla="*/ 61 h 62"/>
                  <a:gd name="T10" fmla="*/ 25 w 62"/>
                  <a:gd name="T11" fmla="*/ 48 h 62"/>
                  <a:gd name="T12" fmla="*/ 20 w 62"/>
                  <a:gd name="T13" fmla="*/ 41 h 62"/>
                  <a:gd name="T14" fmla="*/ 23 w 62"/>
                  <a:gd name="T15" fmla="*/ 33 h 62"/>
                  <a:gd name="T16" fmla="*/ 26 w 62"/>
                  <a:gd name="T17" fmla="*/ 25 h 62"/>
                  <a:gd name="T18" fmla="*/ 35 w 62"/>
                  <a:gd name="T19" fmla="*/ 24 h 62"/>
                  <a:gd name="T20" fmla="*/ 43 w 62"/>
                  <a:gd name="T21" fmla="*/ 23 h 62"/>
                  <a:gd name="T22" fmla="*/ 48 w 62"/>
                  <a:gd name="T23" fmla="*/ 29 h 62"/>
                  <a:gd name="T24" fmla="*/ 59 w 62"/>
                  <a:gd name="T25"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59" y="42"/>
                    </a:moveTo>
                    <a:cubicBezTo>
                      <a:pt x="62" y="33"/>
                      <a:pt x="60" y="23"/>
                      <a:pt x="54" y="15"/>
                    </a:cubicBezTo>
                    <a:cubicBezTo>
                      <a:pt x="44" y="2"/>
                      <a:pt x="26" y="0"/>
                      <a:pt x="14" y="10"/>
                    </a:cubicBezTo>
                    <a:cubicBezTo>
                      <a:pt x="2" y="20"/>
                      <a:pt x="0" y="38"/>
                      <a:pt x="10" y="50"/>
                    </a:cubicBezTo>
                    <a:cubicBezTo>
                      <a:pt x="16" y="58"/>
                      <a:pt x="26" y="62"/>
                      <a:pt x="35" y="61"/>
                    </a:cubicBezTo>
                    <a:cubicBezTo>
                      <a:pt x="25" y="48"/>
                      <a:pt x="25" y="48"/>
                      <a:pt x="25" y="48"/>
                    </a:cubicBezTo>
                    <a:cubicBezTo>
                      <a:pt x="20" y="41"/>
                      <a:pt x="20" y="41"/>
                      <a:pt x="20" y="41"/>
                    </a:cubicBezTo>
                    <a:cubicBezTo>
                      <a:pt x="23" y="33"/>
                      <a:pt x="23" y="33"/>
                      <a:pt x="23" y="33"/>
                    </a:cubicBezTo>
                    <a:cubicBezTo>
                      <a:pt x="26" y="25"/>
                      <a:pt x="26" y="25"/>
                      <a:pt x="26" y="25"/>
                    </a:cubicBezTo>
                    <a:cubicBezTo>
                      <a:pt x="35" y="24"/>
                      <a:pt x="35" y="24"/>
                      <a:pt x="35" y="24"/>
                    </a:cubicBezTo>
                    <a:cubicBezTo>
                      <a:pt x="43" y="23"/>
                      <a:pt x="43" y="23"/>
                      <a:pt x="43" y="23"/>
                    </a:cubicBezTo>
                    <a:cubicBezTo>
                      <a:pt x="48" y="29"/>
                      <a:pt x="48" y="29"/>
                      <a:pt x="48" y="29"/>
                    </a:cubicBezTo>
                    <a:lnTo>
                      <a:pt x="59" y="4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63" name="Freeform: Shape 46"/>
              <p:cNvSpPr/>
              <p:nvPr/>
            </p:nvSpPr>
            <p:spPr bwMode="auto">
              <a:xfrm>
                <a:off x="6907518" y="3579369"/>
                <a:ext cx="81996" cy="80790"/>
              </a:xfrm>
              <a:custGeom>
                <a:avLst/>
                <a:gdLst>
                  <a:gd name="T0" fmla="*/ 51 w 51"/>
                  <a:gd name="T1" fmla="*/ 26 h 50"/>
                  <a:gd name="T2" fmla="*/ 45 w 51"/>
                  <a:gd name="T3" fmla="*/ 12 h 50"/>
                  <a:gd name="T4" fmla="*/ 12 w 51"/>
                  <a:gd name="T5" fmla="*/ 9 h 50"/>
                  <a:gd name="T6" fmla="*/ 8 w 51"/>
                  <a:gd name="T7" fmla="*/ 42 h 50"/>
                  <a:gd name="T8" fmla="*/ 20 w 51"/>
                  <a:gd name="T9" fmla="*/ 50 h 50"/>
                  <a:gd name="T10" fmla="*/ 10 w 51"/>
                  <a:gd name="T11" fmla="*/ 37 h 50"/>
                  <a:gd name="T12" fmla="*/ 18 w 51"/>
                  <a:gd name="T13" fmla="*/ 16 h 50"/>
                  <a:gd name="T14" fmla="*/ 40 w 51"/>
                  <a:gd name="T15" fmla="*/ 13 h 50"/>
                  <a:gd name="T16" fmla="*/ 51 w 51"/>
                  <a:gd name="T17"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51" y="26"/>
                    </a:moveTo>
                    <a:cubicBezTo>
                      <a:pt x="50" y="21"/>
                      <a:pt x="49" y="16"/>
                      <a:pt x="45" y="12"/>
                    </a:cubicBezTo>
                    <a:cubicBezTo>
                      <a:pt x="37" y="2"/>
                      <a:pt x="22" y="0"/>
                      <a:pt x="12" y="9"/>
                    </a:cubicBezTo>
                    <a:cubicBezTo>
                      <a:pt x="2" y="17"/>
                      <a:pt x="0" y="32"/>
                      <a:pt x="8" y="42"/>
                    </a:cubicBezTo>
                    <a:cubicBezTo>
                      <a:pt x="11" y="46"/>
                      <a:pt x="16" y="49"/>
                      <a:pt x="20" y="50"/>
                    </a:cubicBezTo>
                    <a:cubicBezTo>
                      <a:pt x="10" y="37"/>
                      <a:pt x="10" y="37"/>
                      <a:pt x="10" y="37"/>
                    </a:cubicBezTo>
                    <a:cubicBezTo>
                      <a:pt x="18" y="16"/>
                      <a:pt x="18" y="16"/>
                      <a:pt x="18" y="16"/>
                    </a:cubicBezTo>
                    <a:cubicBezTo>
                      <a:pt x="40" y="13"/>
                      <a:pt x="40" y="13"/>
                      <a:pt x="40" y="13"/>
                    </a:cubicBezTo>
                    <a:lnTo>
                      <a:pt x="51" y="2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64" name="Freeform: Shape 47"/>
              <p:cNvSpPr/>
              <p:nvPr/>
            </p:nvSpPr>
            <p:spPr bwMode="auto">
              <a:xfrm>
                <a:off x="6790553" y="3434670"/>
                <a:ext cx="80790" cy="80790"/>
              </a:xfrm>
              <a:custGeom>
                <a:avLst/>
                <a:gdLst>
                  <a:gd name="T0" fmla="*/ 0 w 50"/>
                  <a:gd name="T1" fmla="*/ 25 h 50"/>
                  <a:gd name="T2" fmla="*/ 5 w 50"/>
                  <a:gd name="T3" fmla="*/ 38 h 50"/>
                  <a:gd name="T4" fmla="*/ 38 w 50"/>
                  <a:gd name="T5" fmla="*/ 42 h 50"/>
                  <a:gd name="T6" fmla="*/ 42 w 50"/>
                  <a:gd name="T7" fmla="*/ 9 h 50"/>
                  <a:gd name="T8" fmla="*/ 30 w 50"/>
                  <a:gd name="T9" fmla="*/ 0 h 50"/>
                  <a:gd name="T10" fmla="*/ 40 w 50"/>
                  <a:gd name="T11" fmla="*/ 14 h 50"/>
                  <a:gd name="T12" fmla="*/ 32 w 50"/>
                  <a:gd name="T13" fmla="*/ 35 h 50"/>
                  <a:gd name="T14" fmla="*/ 10 w 50"/>
                  <a:gd name="T15" fmla="*/ 38 h 50"/>
                  <a:gd name="T16" fmla="*/ 0 w 50"/>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25"/>
                    </a:moveTo>
                    <a:cubicBezTo>
                      <a:pt x="0" y="30"/>
                      <a:pt x="2" y="34"/>
                      <a:pt x="5" y="38"/>
                    </a:cubicBezTo>
                    <a:cubicBezTo>
                      <a:pt x="13" y="49"/>
                      <a:pt x="28" y="50"/>
                      <a:pt x="38" y="42"/>
                    </a:cubicBezTo>
                    <a:cubicBezTo>
                      <a:pt x="49" y="34"/>
                      <a:pt x="50" y="19"/>
                      <a:pt x="42" y="9"/>
                    </a:cubicBezTo>
                    <a:cubicBezTo>
                      <a:pt x="39" y="5"/>
                      <a:pt x="35" y="2"/>
                      <a:pt x="30" y="0"/>
                    </a:cubicBezTo>
                    <a:cubicBezTo>
                      <a:pt x="40" y="14"/>
                      <a:pt x="40" y="14"/>
                      <a:pt x="40" y="14"/>
                    </a:cubicBezTo>
                    <a:cubicBezTo>
                      <a:pt x="32" y="35"/>
                      <a:pt x="32" y="35"/>
                      <a:pt x="32" y="35"/>
                    </a:cubicBezTo>
                    <a:cubicBezTo>
                      <a:pt x="10" y="38"/>
                      <a:pt x="10" y="38"/>
                      <a:pt x="10" y="38"/>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65" name="Freeform: Shape 48"/>
              <p:cNvSpPr/>
              <p:nvPr/>
            </p:nvSpPr>
            <p:spPr bwMode="auto">
              <a:xfrm>
                <a:off x="7637040" y="2275875"/>
                <a:ext cx="149522" cy="138669"/>
              </a:xfrm>
              <a:custGeom>
                <a:avLst/>
                <a:gdLst>
                  <a:gd name="T0" fmla="*/ 16 w 92"/>
                  <a:gd name="T1" fmla="*/ 86 h 86"/>
                  <a:gd name="T2" fmla="*/ 31 w 92"/>
                  <a:gd name="T3" fmla="*/ 71 h 86"/>
                  <a:gd name="T4" fmla="*/ 31 w 92"/>
                  <a:gd name="T5" fmla="*/ 71 h 86"/>
                  <a:gd name="T6" fmla="*/ 31 w 92"/>
                  <a:gd name="T7" fmla="*/ 20 h 86"/>
                  <a:gd name="T8" fmla="*/ 82 w 92"/>
                  <a:gd name="T9" fmla="*/ 20 h 86"/>
                  <a:gd name="T10" fmla="*/ 82 w 92"/>
                  <a:gd name="T11" fmla="*/ 56 h 86"/>
                  <a:gd name="T12" fmla="*/ 76 w 92"/>
                  <a:gd name="T13" fmla="*/ 55 h 86"/>
                  <a:gd name="T14" fmla="*/ 60 w 92"/>
                  <a:gd name="T15" fmla="*/ 71 h 86"/>
                  <a:gd name="T16" fmla="*/ 76 w 92"/>
                  <a:gd name="T17" fmla="*/ 86 h 86"/>
                  <a:gd name="T18" fmla="*/ 92 w 92"/>
                  <a:gd name="T19" fmla="*/ 71 h 86"/>
                  <a:gd name="T20" fmla="*/ 92 w 92"/>
                  <a:gd name="T21" fmla="*/ 71 h 86"/>
                  <a:gd name="T22" fmla="*/ 92 w 92"/>
                  <a:gd name="T23" fmla="*/ 71 h 86"/>
                  <a:gd name="T24" fmla="*/ 92 w 92"/>
                  <a:gd name="T25" fmla="*/ 20 h 86"/>
                  <a:gd name="T26" fmla="*/ 92 w 92"/>
                  <a:gd name="T27" fmla="*/ 0 h 86"/>
                  <a:gd name="T28" fmla="*/ 82 w 92"/>
                  <a:gd name="T29" fmla="*/ 0 h 86"/>
                  <a:gd name="T30" fmla="*/ 31 w 92"/>
                  <a:gd name="T31" fmla="*/ 0 h 86"/>
                  <a:gd name="T32" fmla="*/ 21 w 92"/>
                  <a:gd name="T33" fmla="*/ 0 h 86"/>
                  <a:gd name="T34" fmla="*/ 21 w 92"/>
                  <a:gd name="T35" fmla="*/ 20 h 86"/>
                  <a:gd name="T36" fmla="*/ 21 w 92"/>
                  <a:gd name="T37" fmla="*/ 56 h 86"/>
                  <a:gd name="T38" fmla="*/ 16 w 92"/>
                  <a:gd name="T39" fmla="*/ 55 h 86"/>
                  <a:gd name="T40" fmla="*/ 0 w 92"/>
                  <a:gd name="T41" fmla="*/ 71 h 86"/>
                  <a:gd name="T42" fmla="*/ 16 w 92"/>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 h="86">
                    <a:moveTo>
                      <a:pt x="16" y="86"/>
                    </a:moveTo>
                    <a:cubicBezTo>
                      <a:pt x="24" y="86"/>
                      <a:pt x="31" y="79"/>
                      <a:pt x="31" y="71"/>
                    </a:cubicBezTo>
                    <a:cubicBezTo>
                      <a:pt x="31" y="71"/>
                      <a:pt x="31" y="71"/>
                      <a:pt x="31" y="71"/>
                    </a:cubicBezTo>
                    <a:cubicBezTo>
                      <a:pt x="31" y="20"/>
                      <a:pt x="31" y="20"/>
                      <a:pt x="31" y="20"/>
                    </a:cubicBezTo>
                    <a:cubicBezTo>
                      <a:pt x="82" y="20"/>
                      <a:pt x="82" y="20"/>
                      <a:pt x="82" y="20"/>
                    </a:cubicBezTo>
                    <a:cubicBezTo>
                      <a:pt x="82" y="56"/>
                      <a:pt x="82" y="56"/>
                      <a:pt x="82" y="56"/>
                    </a:cubicBezTo>
                    <a:cubicBezTo>
                      <a:pt x="80" y="55"/>
                      <a:pt x="78" y="55"/>
                      <a:pt x="76" y="55"/>
                    </a:cubicBezTo>
                    <a:cubicBezTo>
                      <a:pt x="67" y="55"/>
                      <a:pt x="60" y="62"/>
                      <a:pt x="60" y="71"/>
                    </a:cubicBezTo>
                    <a:cubicBezTo>
                      <a:pt x="60" y="79"/>
                      <a:pt x="67" y="86"/>
                      <a:pt x="76" y="86"/>
                    </a:cubicBezTo>
                    <a:cubicBezTo>
                      <a:pt x="85" y="86"/>
                      <a:pt x="92" y="79"/>
                      <a:pt x="92" y="71"/>
                    </a:cubicBezTo>
                    <a:cubicBezTo>
                      <a:pt x="92" y="71"/>
                      <a:pt x="92" y="71"/>
                      <a:pt x="92" y="71"/>
                    </a:cubicBezTo>
                    <a:cubicBezTo>
                      <a:pt x="92" y="71"/>
                      <a:pt x="92" y="71"/>
                      <a:pt x="92" y="71"/>
                    </a:cubicBezTo>
                    <a:cubicBezTo>
                      <a:pt x="92" y="20"/>
                      <a:pt x="92" y="20"/>
                      <a:pt x="92" y="20"/>
                    </a:cubicBezTo>
                    <a:cubicBezTo>
                      <a:pt x="92" y="0"/>
                      <a:pt x="92" y="0"/>
                      <a:pt x="92" y="0"/>
                    </a:cubicBezTo>
                    <a:cubicBezTo>
                      <a:pt x="82" y="0"/>
                      <a:pt x="82" y="0"/>
                      <a:pt x="82" y="0"/>
                    </a:cubicBezTo>
                    <a:cubicBezTo>
                      <a:pt x="31" y="0"/>
                      <a:pt x="31" y="0"/>
                      <a:pt x="31" y="0"/>
                    </a:cubicBezTo>
                    <a:cubicBezTo>
                      <a:pt x="21" y="0"/>
                      <a:pt x="21" y="0"/>
                      <a:pt x="21" y="0"/>
                    </a:cubicBezTo>
                    <a:cubicBezTo>
                      <a:pt x="21" y="20"/>
                      <a:pt x="21" y="20"/>
                      <a:pt x="21" y="20"/>
                    </a:cubicBezTo>
                    <a:cubicBezTo>
                      <a:pt x="21" y="56"/>
                      <a:pt x="21" y="56"/>
                      <a:pt x="21" y="56"/>
                    </a:cubicBezTo>
                    <a:cubicBezTo>
                      <a:pt x="20" y="55"/>
                      <a:pt x="18" y="55"/>
                      <a:pt x="16" y="55"/>
                    </a:cubicBezTo>
                    <a:cubicBezTo>
                      <a:pt x="7" y="55"/>
                      <a:pt x="0" y="62"/>
                      <a:pt x="0" y="71"/>
                    </a:cubicBezTo>
                    <a:cubicBezTo>
                      <a:pt x="0" y="79"/>
                      <a:pt x="7" y="86"/>
                      <a:pt x="16" y="8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66" name="Freeform: Shape 49"/>
              <p:cNvSpPr/>
              <p:nvPr/>
            </p:nvSpPr>
            <p:spPr bwMode="auto">
              <a:xfrm>
                <a:off x="4422319" y="2232466"/>
                <a:ext cx="141081" cy="104906"/>
              </a:xfrm>
              <a:custGeom>
                <a:avLst/>
                <a:gdLst>
                  <a:gd name="T0" fmla="*/ 44 w 87"/>
                  <a:gd name="T1" fmla="*/ 0 h 65"/>
                  <a:gd name="T2" fmla="*/ 0 w 87"/>
                  <a:gd name="T3" fmla="*/ 43 h 65"/>
                  <a:gd name="T4" fmla="*/ 5 w 87"/>
                  <a:gd name="T5" fmla="*/ 64 h 65"/>
                  <a:gd name="T6" fmla="*/ 5 w 87"/>
                  <a:gd name="T7" fmla="*/ 53 h 65"/>
                  <a:gd name="T8" fmla="*/ 7 w 87"/>
                  <a:gd name="T9" fmla="*/ 47 h 65"/>
                  <a:gd name="T10" fmla="*/ 7 w 87"/>
                  <a:gd name="T11" fmla="*/ 43 h 65"/>
                  <a:gd name="T12" fmla="*/ 44 w 87"/>
                  <a:gd name="T13" fmla="*/ 7 h 65"/>
                  <a:gd name="T14" fmla="*/ 80 w 87"/>
                  <a:gd name="T15" fmla="*/ 43 h 65"/>
                  <a:gd name="T16" fmla="*/ 80 w 87"/>
                  <a:gd name="T17" fmla="*/ 47 h 65"/>
                  <a:gd name="T18" fmla="*/ 82 w 87"/>
                  <a:gd name="T19" fmla="*/ 53 h 65"/>
                  <a:gd name="T20" fmla="*/ 82 w 87"/>
                  <a:gd name="T21" fmla="*/ 65 h 65"/>
                  <a:gd name="T22" fmla="*/ 87 w 87"/>
                  <a:gd name="T23" fmla="*/ 43 h 65"/>
                  <a:gd name="T24" fmla="*/ 44 w 87"/>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65">
                    <a:moveTo>
                      <a:pt x="44" y="0"/>
                    </a:moveTo>
                    <a:cubicBezTo>
                      <a:pt x="20" y="0"/>
                      <a:pt x="0" y="19"/>
                      <a:pt x="0" y="43"/>
                    </a:cubicBezTo>
                    <a:cubicBezTo>
                      <a:pt x="0" y="51"/>
                      <a:pt x="2" y="58"/>
                      <a:pt x="5" y="64"/>
                    </a:cubicBezTo>
                    <a:cubicBezTo>
                      <a:pt x="5" y="53"/>
                      <a:pt x="5" y="53"/>
                      <a:pt x="5" y="53"/>
                    </a:cubicBezTo>
                    <a:cubicBezTo>
                      <a:pt x="5" y="51"/>
                      <a:pt x="6" y="49"/>
                      <a:pt x="7" y="47"/>
                    </a:cubicBezTo>
                    <a:cubicBezTo>
                      <a:pt x="7" y="46"/>
                      <a:pt x="7" y="45"/>
                      <a:pt x="7" y="43"/>
                    </a:cubicBezTo>
                    <a:cubicBezTo>
                      <a:pt x="7" y="23"/>
                      <a:pt x="24" y="7"/>
                      <a:pt x="44" y="7"/>
                    </a:cubicBezTo>
                    <a:cubicBezTo>
                      <a:pt x="64" y="7"/>
                      <a:pt x="80" y="23"/>
                      <a:pt x="80" y="43"/>
                    </a:cubicBezTo>
                    <a:cubicBezTo>
                      <a:pt x="80" y="45"/>
                      <a:pt x="80" y="46"/>
                      <a:pt x="80" y="47"/>
                    </a:cubicBezTo>
                    <a:cubicBezTo>
                      <a:pt x="81" y="49"/>
                      <a:pt x="82" y="51"/>
                      <a:pt x="82" y="53"/>
                    </a:cubicBezTo>
                    <a:cubicBezTo>
                      <a:pt x="82" y="65"/>
                      <a:pt x="82" y="65"/>
                      <a:pt x="82" y="65"/>
                    </a:cubicBezTo>
                    <a:cubicBezTo>
                      <a:pt x="85" y="58"/>
                      <a:pt x="87" y="51"/>
                      <a:pt x="87" y="43"/>
                    </a:cubicBezTo>
                    <a:cubicBezTo>
                      <a:pt x="87" y="19"/>
                      <a:pt x="68" y="0"/>
                      <a:pt x="44"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67" name="Freeform: Shape 50"/>
              <p:cNvSpPr/>
              <p:nvPr/>
            </p:nvSpPr>
            <p:spPr bwMode="auto">
              <a:xfrm>
                <a:off x="4435583" y="2303609"/>
                <a:ext cx="31351" cy="54262"/>
              </a:xfrm>
              <a:custGeom>
                <a:avLst/>
                <a:gdLst>
                  <a:gd name="T0" fmla="*/ 0 w 19"/>
                  <a:gd name="T1" fmla="*/ 7 h 34"/>
                  <a:gd name="T2" fmla="*/ 0 w 19"/>
                  <a:gd name="T3" fmla="*/ 9 h 34"/>
                  <a:gd name="T4" fmla="*/ 0 w 19"/>
                  <a:gd name="T5" fmla="*/ 20 h 34"/>
                  <a:gd name="T6" fmla="*/ 0 w 19"/>
                  <a:gd name="T7" fmla="*/ 25 h 34"/>
                  <a:gd name="T8" fmla="*/ 13 w 19"/>
                  <a:gd name="T9" fmla="*/ 34 h 34"/>
                  <a:gd name="T10" fmla="*/ 19 w 19"/>
                  <a:gd name="T11" fmla="*/ 34 h 34"/>
                  <a:gd name="T12" fmla="*/ 19 w 19"/>
                  <a:gd name="T13" fmla="*/ 0 h 34"/>
                  <a:gd name="T14" fmla="*/ 13 w 19"/>
                  <a:gd name="T15" fmla="*/ 0 h 34"/>
                  <a:gd name="T16" fmla="*/ 0 w 19"/>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0" y="7"/>
                    </a:moveTo>
                    <a:cubicBezTo>
                      <a:pt x="0" y="7"/>
                      <a:pt x="0" y="8"/>
                      <a:pt x="0" y="9"/>
                    </a:cubicBezTo>
                    <a:cubicBezTo>
                      <a:pt x="0" y="20"/>
                      <a:pt x="0" y="20"/>
                      <a:pt x="0" y="20"/>
                    </a:cubicBezTo>
                    <a:cubicBezTo>
                      <a:pt x="0" y="25"/>
                      <a:pt x="0" y="25"/>
                      <a:pt x="0" y="25"/>
                    </a:cubicBezTo>
                    <a:cubicBezTo>
                      <a:pt x="0" y="30"/>
                      <a:pt x="6" y="34"/>
                      <a:pt x="13" y="34"/>
                    </a:cubicBezTo>
                    <a:cubicBezTo>
                      <a:pt x="19" y="34"/>
                      <a:pt x="19" y="34"/>
                      <a:pt x="19" y="34"/>
                    </a:cubicBezTo>
                    <a:cubicBezTo>
                      <a:pt x="19" y="0"/>
                      <a:pt x="19" y="0"/>
                      <a:pt x="19" y="0"/>
                    </a:cubicBezTo>
                    <a:cubicBezTo>
                      <a:pt x="13" y="0"/>
                      <a:pt x="13" y="0"/>
                      <a:pt x="13" y="0"/>
                    </a:cubicBezTo>
                    <a:cubicBezTo>
                      <a:pt x="7" y="0"/>
                      <a:pt x="1" y="3"/>
                      <a:pt x="0" y="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68" name="Freeform: Shape 51"/>
              <p:cNvSpPr/>
              <p:nvPr/>
            </p:nvSpPr>
            <p:spPr bwMode="auto">
              <a:xfrm>
                <a:off x="4519990" y="2303609"/>
                <a:ext cx="31351" cy="54262"/>
              </a:xfrm>
              <a:custGeom>
                <a:avLst/>
                <a:gdLst>
                  <a:gd name="T0" fmla="*/ 19 w 19"/>
                  <a:gd name="T1" fmla="*/ 25 h 34"/>
                  <a:gd name="T2" fmla="*/ 19 w 19"/>
                  <a:gd name="T3" fmla="*/ 20 h 34"/>
                  <a:gd name="T4" fmla="*/ 19 w 19"/>
                  <a:gd name="T5" fmla="*/ 9 h 34"/>
                  <a:gd name="T6" fmla="*/ 19 w 19"/>
                  <a:gd name="T7" fmla="*/ 8 h 34"/>
                  <a:gd name="T8" fmla="*/ 6 w 19"/>
                  <a:gd name="T9" fmla="*/ 0 h 34"/>
                  <a:gd name="T10" fmla="*/ 0 w 19"/>
                  <a:gd name="T11" fmla="*/ 0 h 34"/>
                  <a:gd name="T12" fmla="*/ 0 w 19"/>
                  <a:gd name="T13" fmla="*/ 34 h 34"/>
                  <a:gd name="T14" fmla="*/ 6 w 19"/>
                  <a:gd name="T15" fmla="*/ 34 h 34"/>
                  <a:gd name="T16" fmla="*/ 19 w 19"/>
                  <a:gd name="T17"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4">
                    <a:moveTo>
                      <a:pt x="19" y="25"/>
                    </a:moveTo>
                    <a:cubicBezTo>
                      <a:pt x="19" y="20"/>
                      <a:pt x="19" y="20"/>
                      <a:pt x="19" y="20"/>
                    </a:cubicBezTo>
                    <a:cubicBezTo>
                      <a:pt x="19" y="9"/>
                      <a:pt x="19" y="9"/>
                      <a:pt x="19" y="9"/>
                    </a:cubicBezTo>
                    <a:cubicBezTo>
                      <a:pt x="19" y="8"/>
                      <a:pt x="19" y="8"/>
                      <a:pt x="19" y="8"/>
                    </a:cubicBezTo>
                    <a:cubicBezTo>
                      <a:pt x="18" y="3"/>
                      <a:pt x="13" y="0"/>
                      <a:pt x="6" y="0"/>
                    </a:cubicBezTo>
                    <a:cubicBezTo>
                      <a:pt x="0" y="0"/>
                      <a:pt x="0" y="0"/>
                      <a:pt x="0" y="0"/>
                    </a:cubicBezTo>
                    <a:cubicBezTo>
                      <a:pt x="0" y="34"/>
                      <a:pt x="0" y="34"/>
                      <a:pt x="0" y="34"/>
                    </a:cubicBezTo>
                    <a:cubicBezTo>
                      <a:pt x="6" y="34"/>
                      <a:pt x="6" y="34"/>
                      <a:pt x="6" y="34"/>
                    </a:cubicBezTo>
                    <a:cubicBezTo>
                      <a:pt x="13" y="34"/>
                      <a:pt x="19" y="30"/>
                      <a:pt x="19" y="2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69" name="Freeform: Shape 52"/>
              <p:cNvSpPr/>
              <p:nvPr/>
            </p:nvSpPr>
            <p:spPr bwMode="auto">
              <a:xfrm>
                <a:off x="4341529" y="3768683"/>
                <a:ext cx="159168" cy="159168"/>
              </a:xfrm>
              <a:custGeom>
                <a:avLst/>
                <a:gdLst>
                  <a:gd name="T0" fmla="*/ 72 w 132"/>
                  <a:gd name="T1" fmla="*/ 51 h 132"/>
                  <a:gd name="T2" fmla="*/ 72 w 132"/>
                  <a:gd name="T3" fmla="*/ 41 h 132"/>
                  <a:gd name="T4" fmla="*/ 97 w 132"/>
                  <a:gd name="T5" fmla="*/ 41 h 132"/>
                  <a:gd name="T6" fmla="*/ 97 w 132"/>
                  <a:gd name="T7" fmla="*/ 0 h 132"/>
                  <a:gd name="T8" fmla="*/ 35 w 132"/>
                  <a:gd name="T9" fmla="*/ 0 h 132"/>
                  <a:gd name="T10" fmla="*/ 35 w 132"/>
                  <a:gd name="T11" fmla="*/ 41 h 132"/>
                  <a:gd name="T12" fmla="*/ 61 w 132"/>
                  <a:gd name="T13" fmla="*/ 41 h 132"/>
                  <a:gd name="T14" fmla="*/ 61 w 132"/>
                  <a:gd name="T15" fmla="*/ 51 h 132"/>
                  <a:gd name="T16" fmla="*/ 26 w 132"/>
                  <a:gd name="T17" fmla="*/ 51 h 132"/>
                  <a:gd name="T18" fmla="*/ 26 w 132"/>
                  <a:gd name="T19" fmla="*/ 46 h 132"/>
                  <a:gd name="T20" fmla="*/ 11 w 132"/>
                  <a:gd name="T21" fmla="*/ 46 h 132"/>
                  <a:gd name="T22" fmla="*/ 11 w 132"/>
                  <a:gd name="T23" fmla="*/ 51 h 132"/>
                  <a:gd name="T24" fmla="*/ 0 w 132"/>
                  <a:gd name="T25" fmla="*/ 51 h 132"/>
                  <a:gd name="T26" fmla="*/ 0 w 132"/>
                  <a:gd name="T27" fmla="*/ 132 h 132"/>
                  <a:gd name="T28" fmla="*/ 132 w 132"/>
                  <a:gd name="T29" fmla="*/ 132 h 132"/>
                  <a:gd name="T30" fmla="*/ 132 w 132"/>
                  <a:gd name="T31" fmla="*/ 51 h 132"/>
                  <a:gd name="T32" fmla="*/ 72 w 132"/>
                  <a:gd name="T33" fmla="*/ 5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72" y="51"/>
                    </a:moveTo>
                    <a:lnTo>
                      <a:pt x="72" y="41"/>
                    </a:lnTo>
                    <a:lnTo>
                      <a:pt x="97" y="41"/>
                    </a:lnTo>
                    <a:lnTo>
                      <a:pt x="97" y="0"/>
                    </a:lnTo>
                    <a:lnTo>
                      <a:pt x="35" y="0"/>
                    </a:lnTo>
                    <a:lnTo>
                      <a:pt x="35" y="41"/>
                    </a:lnTo>
                    <a:lnTo>
                      <a:pt x="61" y="41"/>
                    </a:lnTo>
                    <a:lnTo>
                      <a:pt x="61" y="51"/>
                    </a:lnTo>
                    <a:lnTo>
                      <a:pt x="26" y="51"/>
                    </a:lnTo>
                    <a:lnTo>
                      <a:pt x="26" y="46"/>
                    </a:lnTo>
                    <a:lnTo>
                      <a:pt x="11" y="46"/>
                    </a:lnTo>
                    <a:lnTo>
                      <a:pt x="11" y="51"/>
                    </a:lnTo>
                    <a:lnTo>
                      <a:pt x="0" y="51"/>
                    </a:lnTo>
                    <a:lnTo>
                      <a:pt x="0" y="132"/>
                    </a:lnTo>
                    <a:lnTo>
                      <a:pt x="132" y="132"/>
                    </a:lnTo>
                    <a:lnTo>
                      <a:pt x="132" y="51"/>
                    </a:lnTo>
                    <a:lnTo>
                      <a:pt x="72" y="5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70" name="Freeform: Shape 53"/>
              <p:cNvSpPr/>
              <p:nvPr/>
            </p:nvSpPr>
            <p:spPr bwMode="auto">
              <a:xfrm>
                <a:off x="4469346" y="3842238"/>
                <a:ext cx="18087" cy="6029"/>
              </a:xfrm>
              <a:custGeom>
                <a:avLst/>
                <a:gdLst>
                  <a:gd name="T0" fmla="*/ 15 w 15"/>
                  <a:gd name="T1" fmla="*/ 5 h 5"/>
                  <a:gd name="T2" fmla="*/ 15 w 15"/>
                  <a:gd name="T3" fmla="*/ 5 h 5"/>
                  <a:gd name="T4" fmla="*/ 0 w 15"/>
                  <a:gd name="T5" fmla="*/ 5 h 5"/>
                  <a:gd name="T6" fmla="*/ 0 w 15"/>
                  <a:gd name="T7" fmla="*/ 0 h 5"/>
                  <a:gd name="T8" fmla="*/ 15 w 15"/>
                  <a:gd name="T9" fmla="*/ 0 h 5"/>
                  <a:gd name="T10" fmla="*/ 15 w 15"/>
                  <a:gd name="T11" fmla="*/ 5 h 5"/>
                </a:gdLst>
                <a:ahLst/>
                <a:cxnLst>
                  <a:cxn ang="0">
                    <a:pos x="T0" y="T1"/>
                  </a:cxn>
                  <a:cxn ang="0">
                    <a:pos x="T2" y="T3"/>
                  </a:cxn>
                  <a:cxn ang="0">
                    <a:pos x="T4" y="T5"/>
                  </a:cxn>
                  <a:cxn ang="0">
                    <a:pos x="T6" y="T7"/>
                  </a:cxn>
                  <a:cxn ang="0">
                    <a:pos x="T8" y="T9"/>
                  </a:cxn>
                  <a:cxn ang="0">
                    <a:pos x="T10" y="T11"/>
                  </a:cxn>
                </a:cxnLst>
                <a:rect l="0" t="0" r="r" b="b"/>
                <a:pathLst>
                  <a:path w="15" h="5">
                    <a:moveTo>
                      <a:pt x="15" y="5"/>
                    </a:moveTo>
                    <a:lnTo>
                      <a:pt x="15" y="5"/>
                    </a:lnTo>
                    <a:lnTo>
                      <a:pt x="0" y="5"/>
                    </a:lnTo>
                    <a:lnTo>
                      <a:pt x="0" y="0"/>
                    </a:lnTo>
                    <a:lnTo>
                      <a:pt x="15" y="0"/>
                    </a:lnTo>
                    <a:lnTo>
                      <a:pt x="15" y="5"/>
                    </a:lnTo>
                    <a:close/>
                  </a:path>
                </a:pathLst>
              </a:custGeom>
              <a:solidFill>
                <a:srgbClr val="DA89D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71" name="Freeform: Shape 54"/>
              <p:cNvSpPr/>
              <p:nvPr/>
            </p:nvSpPr>
            <p:spPr bwMode="auto">
              <a:xfrm>
                <a:off x="4390967" y="3848267"/>
                <a:ext cx="61497" cy="61497"/>
              </a:xfrm>
              <a:custGeom>
                <a:avLst/>
                <a:gdLst>
                  <a:gd name="T0" fmla="*/ 19 w 38"/>
                  <a:gd name="T1" fmla="*/ 38 h 38"/>
                  <a:gd name="T2" fmla="*/ 19 w 38"/>
                  <a:gd name="T3" fmla="*/ 38 h 38"/>
                  <a:gd name="T4" fmla="*/ 0 w 38"/>
                  <a:gd name="T5" fmla="*/ 19 h 38"/>
                  <a:gd name="T6" fmla="*/ 19 w 38"/>
                  <a:gd name="T7" fmla="*/ 0 h 38"/>
                  <a:gd name="T8" fmla="*/ 38 w 38"/>
                  <a:gd name="T9" fmla="*/ 19 h 38"/>
                  <a:gd name="T10" fmla="*/ 19 w 38"/>
                  <a:gd name="T11" fmla="*/ 38 h 38"/>
                </a:gdLst>
                <a:ahLst/>
                <a:cxnLst>
                  <a:cxn ang="0">
                    <a:pos x="T0" y="T1"/>
                  </a:cxn>
                  <a:cxn ang="0">
                    <a:pos x="T2" y="T3"/>
                  </a:cxn>
                  <a:cxn ang="0">
                    <a:pos x="T4" y="T5"/>
                  </a:cxn>
                  <a:cxn ang="0">
                    <a:pos x="T6" y="T7"/>
                  </a:cxn>
                  <a:cxn ang="0">
                    <a:pos x="T8" y="T9"/>
                  </a:cxn>
                  <a:cxn ang="0">
                    <a:pos x="T10" y="T11"/>
                  </a:cxn>
                </a:cxnLst>
                <a:rect l="0" t="0" r="r" b="b"/>
                <a:pathLst>
                  <a:path w="38" h="38">
                    <a:moveTo>
                      <a:pt x="19" y="38"/>
                    </a:moveTo>
                    <a:cubicBezTo>
                      <a:pt x="19" y="38"/>
                      <a:pt x="19" y="38"/>
                      <a:pt x="19" y="38"/>
                    </a:cubicBezTo>
                    <a:cubicBezTo>
                      <a:pt x="9" y="38"/>
                      <a:pt x="0" y="29"/>
                      <a:pt x="0" y="19"/>
                    </a:cubicBezTo>
                    <a:cubicBezTo>
                      <a:pt x="0" y="9"/>
                      <a:pt x="9" y="0"/>
                      <a:pt x="19" y="0"/>
                    </a:cubicBezTo>
                    <a:cubicBezTo>
                      <a:pt x="29" y="0"/>
                      <a:pt x="38" y="9"/>
                      <a:pt x="38" y="19"/>
                    </a:cubicBezTo>
                    <a:cubicBezTo>
                      <a:pt x="38" y="29"/>
                      <a:pt x="29" y="38"/>
                      <a:pt x="19" y="38"/>
                    </a:cubicBezTo>
                    <a:close/>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72" name="Freeform: Shape 55"/>
              <p:cNvSpPr/>
              <p:nvPr/>
            </p:nvSpPr>
            <p:spPr bwMode="auto">
              <a:xfrm>
                <a:off x="4393379" y="3777123"/>
                <a:ext cx="55468" cy="33763"/>
              </a:xfrm>
              <a:custGeom>
                <a:avLst/>
                <a:gdLst>
                  <a:gd name="T0" fmla="*/ 0 w 46"/>
                  <a:gd name="T1" fmla="*/ 28 h 28"/>
                  <a:gd name="T2" fmla="*/ 0 w 46"/>
                  <a:gd name="T3" fmla="*/ 28 h 28"/>
                  <a:gd name="T4" fmla="*/ 0 w 46"/>
                  <a:gd name="T5" fmla="*/ 0 h 28"/>
                  <a:gd name="T6" fmla="*/ 46 w 46"/>
                  <a:gd name="T7" fmla="*/ 0 h 28"/>
                  <a:gd name="T8" fmla="*/ 46 w 46"/>
                  <a:gd name="T9" fmla="*/ 28 h 28"/>
                  <a:gd name="T10" fmla="*/ 0 w 46"/>
                  <a:gd name="T11" fmla="*/ 28 h 28"/>
                </a:gdLst>
                <a:ahLst/>
                <a:cxnLst>
                  <a:cxn ang="0">
                    <a:pos x="T0" y="T1"/>
                  </a:cxn>
                  <a:cxn ang="0">
                    <a:pos x="T2" y="T3"/>
                  </a:cxn>
                  <a:cxn ang="0">
                    <a:pos x="T4" y="T5"/>
                  </a:cxn>
                  <a:cxn ang="0">
                    <a:pos x="T6" y="T7"/>
                  </a:cxn>
                  <a:cxn ang="0">
                    <a:pos x="T8" y="T9"/>
                  </a:cxn>
                  <a:cxn ang="0">
                    <a:pos x="T10" y="T11"/>
                  </a:cxn>
                </a:cxnLst>
                <a:rect l="0" t="0" r="r" b="b"/>
                <a:pathLst>
                  <a:path w="46" h="28">
                    <a:moveTo>
                      <a:pt x="0" y="28"/>
                    </a:moveTo>
                    <a:lnTo>
                      <a:pt x="0" y="28"/>
                    </a:lnTo>
                    <a:lnTo>
                      <a:pt x="0" y="0"/>
                    </a:lnTo>
                    <a:lnTo>
                      <a:pt x="46" y="0"/>
                    </a:lnTo>
                    <a:lnTo>
                      <a:pt x="46" y="28"/>
                    </a:lnTo>
                    <a:lnTo>
                      <a:pt x="0" y="28"/>
                    </a:lnTo>
                    <a:close/>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73" name="Freeform: Shape 56"/>
              <p:cNvSpPr/>
              <p:nvPr/>
            </p:nvSpPr>
            <p:spPr bwMode="auto">
              <a:xfrm>
                <a:off x="6676000" y="3720450"/>
                <a:ext cx="203784" cy="100083"/>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74" name="Rectangle 57"/>
              <p:cNvSpPr/>
              <p:nvPr/>
            </p:nvSpPr>
            <p:spPr bwMode="auto">
              <a:xfrm>
                <a:off x="6676000" y="3830180"/>
                <a:ext cx="184491" cy="144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2400"/>
              </a:p>
            </p:txBody>
          </p:sp>
          <p:sp>
            <p:nvSpPr>
              <p:cNvPr id="75" name="Freeform: Shape 58"/>
              <p:cNvSpPr/>
              <p:nvPr/>
            </p:nvSpPr>
            <p:spPr bwMode="auto">
              <a:xfrm>
                <a:off x="6718204" y="3630013"/>
                <a:ext cx="33763" cy="844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76" name="Freeform: Shape 59"/>
              <p:cNvSpPr/>
              <p:nvPr/>
            </p:nvSpPr>
            <p:spPr bwMode="auto">
              <a:xfrm>
                <a:off x="6766436" y="3630013"/>
                <a:ext cx="32557" cy="844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77" name="Freeform: Shape 60"/>
              <p:cNvSpPr/>
              <p:nvPr/>
            </p:nvSpPr>
            <p:spPr bwMode="auto">
              <a:xfrm>
                <a:off x="6914753" y="2069680"/>
                <a:ext cx="83202" cy="84408"/>
              </a:xfrm>
              <a:custGeom>
                <a:avLst/>
                <a:gdLst>
                  <a:gd name="T0" fmla="*/ 11 w 51"/>
                  <a:gd name="T1" fmla="*/ 48 h 52"/>
                  <a:gd name="T2" fmla="*/ 25 w 51"/>
                  <a:gd name="T3" fmla="*/ 52 h 52"/>
                  <a:gd name="T4" fmla="*/ 51 w 51"/>
                  <a:gd name="T5" fmla="*/ 26 h 52"/>
                  <a:gd name="T6" fmla="*/ 25 w 51"/>
                  <a:gd name="T7" fmla="*/ 0 h 52"/>
                  <a:gd name="T8" fmla="*/ 0 w 51"/>
                  <a:gd name="T9" fmla="*/ 22 h 52"/>
                  <a:gd name="T10" fmla="*/ 25 w 51"/>
                  <a:gd name="T11" fmla="*/ 22 h 52"/>
                  <a:gd name="T12" fmla="*/ 34 w 51"/>
                  <a:gd name="T13" fmla="*/ 22 h 52"/>
                  <a:gd name="T14" fmla="*/ 28 w 51"/>
                  <a:gd name="T15" fmla="*/ 29 h 52"/>
                  <a:gd name="T16" fmla="*/ 11 w 51"/>
                  <a:gd name="T1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11" y="48"/>
                    </a:moveTo>
                    <a:cubicBezTo>
                      <a:pt x="15" y="50"/>
                      <a:pt x="20" y="52"/>
                      <a:pt x="25" y="52"/>
                    </a:cubicBezTo>
                    <a:cubicBezTo>
                      <a:pt x="39" y="52"/>
                      <a:pt x="51" y="40"/>
                      <a:pt x="51" y="26"/>
                    </a:cubicBezTo>
                    <a:cubicBezTo>
                      <a:pt x="51" y="12"/>
                      <a:pt x="39" y="0"/>
                      <a:pt x="25" y="0"/>
                    </a:cubicBezTo>
                    <a:cubicBezTo>
                      <a:pt x="12" y="0"/>
                      <a:pt x="2" y="10"/>
                      <a:pt x="0" y="22"/>
                    </a:cubicBezTo>
                    <a:cubicBezTo>
                      <a:pt x="25" y="22"/>
                      <a:pt x="25" y="22"/>
                      <a:pt x="25" y="22"/>
                    </a:cubicBezTo>
                    <a:cubicBezTo>
                      <a:pt x="34" y="22"/>
                      <a:pt x="34" y="22"/>
                      <a:pt x="34" y="22"/>
                    </a:cubicBezTo>
                    <a:cubicBezTo>
                      <a:pt x="28" y="29"/>
                      <a:pt x="28" y="29"/>
                      <a:pt x="28" y="29"/>
                    </a:cubicBezTo>
                    <a:lnTo>
                      <a:pt x="11" y="4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78" name="Freeform: Shape 61"/>
              <p:cNvSpPr/>
              <p:nvPr/>
            </p:nvSpPr>
            <p:spPr bwMode="auto">
              <a:xfrm>
                <a:off x="6784524" y="2111884"/>
                <a:ext cx="171227" cy="161580"/>
              </a:xfrm>
              <a:custGeom>
                <a:avLst/>
                <a:gdLst>
                  <a:gd name="T0" fmla="*/ 47 w 106"/>
                  <a:gd name="T1" fmla="*/ 54 h 100"/>
                  <a:gd name="T2" fmla="*/ 47 w 106"/>
                  <a:gd name="T3" fmla="*/ 56 h 100"/>
                  <a:gd name="T4" fmla="*/ 47 w 106"/>
                  <a:gd name="T5" fmla="*/ 59 h 100"/>
                  <a:gd name="T6" fmla="*/ 47 w 106"/>
                  <a:gd name="T7" fmla="*/ 91 h 100"/>
                  <a:gd name="T8" fmla="*/ 35 w 106"/>
                  <a:gd name="T9" fmla="*/ 100 h 100"/>
                  <a:gd name="T10" fmla="*/ 70 w 106"/>
                  <a:gd name="T11" fmla="*/ 100 h 100"/>
                  <a:gd name="T12" fmla="*/ 59 w 106"/>
                  <a:gd name="T13" fmla="*/ 91 h 100"/>
                  <a:gd name="T14" fmla="*/ 59 w 106"/>
                  <a:gd name="T15" fmla="*/ 59 h 100"/>
                  <a:gd name="T16" fmla="*/ 59 w 106"/>
                  <a:gd name="T17" fmla="*/ 56 h 100"/>
                  <a:gd name="T18" fmla="*/ 59 w 106"/>
                  <a:gd name="T19" fmla="*/ 54 h 100"/>
                  <a:gd name="T20" fmla="*/ 89 w 106"/>
                  <a:gd name="T21" fmla="*/ 19 h 100"/>
                  <a:gd name="T22" fmla="*/ 106 w 106"/>
                  <a:gd name="T23" fmla="*/ 0 h 100"/>
                  <a:gd name="T24" fmla="*/ 80 w 106"/>
                  <a:gd name="T25" fmla="*/ 0 h 100"/>
                  <a:gd name="T26" fmla="*/ 0 w 106"/>
                  <a:gd name="T27" fmla="*/ 0 h 100"/>
                  <a:gd name="T28" fmla="*/ 47 w 106"/>
                  <a:gd name="T29" fmla="*/ 5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00">
                    <a:moveTo>
                      <a:pt x="47" y="54"/>
                    </a:moveTo>
                    <a:cubicBezTo>
                      <a:pt x="47" y="56"/>
                      <a:pt x="47" y="56"/>
                      <a:pt x="47" y="56"/>
                    </a:cubicBezTo>
                    <a:cubicBezTo>
                      <a:pt x="47" y="59"/>
                      <a:pt x="47" y="59"/>
                      <a:pt x="47" y="59"/>
                    </a:cubicBezTo>
                    <a:cubicBezTo>
                      <a:pt x="47" y="91"/>
                      <a:pt x="47" y="91"/>
                      <a:pt x="47" y="91"/>
                    </a:cubicBezTo>
                    <a:cubicBezTo>
                      <a:pt x="40" y="92"/>
                      <a:pt x="35" y="96"/>
                      <a:pt x="35" y="100"/>
                    </a:cubicBezTo>
                    <a:cubicBezTo>
                      <a:pt x="70" y="100"/>
                      <a:pt x="70" y="100"/>
                      <a:pt x="70" y="100"/>
                    </a:cubicBezTo>
                    <a:cubicBezTo>
                      <a:pt x="70" y="96"/>
                      <a:pt x="65" y="93"/>
                      <a:pt x="59" y="91"/>
                    </a:cubicBezTo>
                    <a:cubicBezTo>
                      <a:pt x="59" y="59"/>
                      <a:pt x="59" y="59"/>
                      <a:pt x="59" y="59"/>
                    </a:cubicBezTo>
                    <a:cubicBezTo>
                      <a:pt x="59" y="56"/>
                      <a:pt x="59" y="56"/>
                      <a:pt x="59" y="56"/>
                    </a:cubicBezTo>
                    <a:cubicBezTo>
                      <a:pt x="59" y="54"/>
                      <a:pt x="59" y="54"/>
                      <a:pt x="59" y="54"/>
                    </a:cubicBezTo>
                    <a:cubicBezTo>
                      <a:pt x="89" y="19"/>
                      <a:pt x="89" y="19"/>
                      <a:pt x="89" y="19"/>
                    </a:cubicBezTo>
                    <a:cubicBezTo>
                      <a:pt x="106" y="0"/>
                      <a:pt x="106" y="0"/>
                      <a:pt x="106" y="0"/>
                    </a:cubicBezTo>
                    <a:cubicBezTo>
                      <a:pt x="80" y="0"/>
                      <a:pt x="80" y="0"/>
                      <a:pt x="80" y="0"/>
                    </a:cubicBezTo>
                    <a:cubicBezTo>
                      <a:pt x="0" y="0"/>
                      <a:pt x="0" y="0"/>
                      <a:pt x="0" y="0"/>
                    </a:cubicBezTo>
                    <a:lnTo>
                      <a:pt x="47" y="5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79" name="Freeform: Shape 62"/>
              <p:cNvSpPr/>
              <p:nvPr/>
            </p:nvSpPr>
            <p:spPr bwMode="auto">
              <a:xfrm>
                <a:off x="4504315" y="2902903"/>
                <a:ext cx="314719" cy="32557"/>
              </a:xfrm>
              <a:custGeom>
                <a:avLst/>
                <a:gdLst>
                  <a:gd name="T0" fmla="*/ 171 w 195"/>
                  <a:gd name="T1" fmla="*/ 20 h 20"/>
                  <a:gd name="T2" fmla="*/ 177 w 195"/>
                  <a:gd name="T3" fmla="*/ 20 h 20"/>
                  <a:gd name="T4" fmla="*/ 177 w 195"/>
                  <a:gd name="T5" fmla="*/ 0 h 20"/>
                  <a:gd name="T6" fmla="*/ 171 w 195"/>
                  <a:gd name="T7" fmla="*/ 0 h 20"/>
                  <a:gd name="T8" fmla="*/ 171 w 195"/>
                  <a:gd name="T9" fmla="*/ 2 h 20"/>
                  <a:gd name="T10" fmla="*/ 179 w 195"/>
                  <a:gd name="T11" fmla="*/ 10 h 20"/>
                  <a:gd name="T12" fmla="*/ 171 w 195"/>
                  <a:gd name="T13" fmla="*/ 18 h 20"/>
                  <a:gd name="T14" fmla="*/ 171 w 195"/>
                  <a:gd name="T15" fmla="*/ 20 h 20"/>
                  <a:gd name="T16" fmla="*/ 25 w 195"/>
                  <a:gd name="T17" fmla="*/ 20 h 20"/>
                  <a:gd name="T18" fmla="*/ 171 w 195"/>
                  <a:gd name="T19" fmla="*/ 20 h 20"/>
                  <a:gd name="T20" fmla="*/ 171 w 195"/>
                  <a:gd name="T21" fmla="*/ 18 h 20"/>
                  <a:gd name="T22" fmla="*/ 162 w 195"/>
                  <a:gd name="T23" fmla="*/ 10 h 20"/>
                  <a:gd name="T24" fmla="*/ 171 w 195"/>
                  <a:gd name="T25" fmla="*/ 2 h 20"/>
                  <a:gd name="T26" fmla="*/ 171 w 195"/>
                  <a:gd name="T27" fmla="*/ 0 h 20"/>
                  <a:gd name="T28" fmla="*/ 25 w 195"/>
                  <a:gd name="T29" fmla="*/ 0 h 20"/>
                  <a:gd name="T30" fmla="*/ 25 w 195"/>
                  <a:gd name="T31" fmla="*/ 2 h 20"/>
                  <a:gd name="T32" fmla="*/ 33 w 195"/>
                  <a:gd name="T33" fmla="*/ 10 h 20"/>
                  <a:gd name="T34" fmla="*/ 25 w 195"/>
                  <a:gd name="T35" fmla="*/ 18 h 20"/>
                  <a:gd name="T36" fmla="*/ 25 w 195"/>
                  <a:gd name="T37" fmla="*/ 20 h 20"/>
                  <a:gd name="T38" fmla="*/ 19 w 195"/>
                  <a:gd name="T39" fmla="*/ 20 h 20"/>
                  <a:gd name="T40" fmla="*/ 25 w 195"/>
                  <a:gd name="T41" fmla="*/ 20 h 20"/>
                  <a:gd name="T42" fmla="*/ 25 w 195"/>
                  <a:gd name="T43" fmla="*/ 18 h 20"/>
                  <a:gd name="T44" fmla="*/ 16 w 195"/>
                  <a:gd name="T45" fmla="*/ 10 h 20"/>
                  <a:gd name="T46" fmla="*/ 25 w 195"/>
                  <a:gd name="T47" fmla="*/ 2 h 20"/>
                  <a:gd name="T48" fmla="*/ 25 w 195"/>
                  <a:gd name="T49" fmla="*/ 0 h 20"/>
                  <a:gd name="T50" fmla="*/ 19 w 195"/>
                  <a:gd name="T51" fmla="*/ 0 h 20"/>
                  <a:gd name="T52" fmla="*/ 19 w 195"/>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5" h="20">
                    <a:moveTo>
                      <a:pt x="171" y="20"/>
                    </a:moveTo>
                    <a:cubicBezTo>
                      <a:pt x="177" y="20"/>
                      <a:pt x="177" y="20"/>
                      <a:pt x="177" y="20"/>
                    </a:cubicBezTo>
                    <a:cubicBezTo>
                      <a:pt x="194" y="20"/>
                      <a:pt x="195" y="0"/>
                      <a:pt x="177" y="0"/>
                    </a:cubicBezTo>
                    <a:cubicBezTo>
                      <a:pt x="171" y="0"/>
                      <a:pt x="171" y="0"/>
                      <a:pt x="171" y="0"/>
                    </a:cubicBezTo>
                    <a:cubicBezTo>
                      <a:pt x="171" y="2"/>
                      <a:pt x="171" y="2"/>
                      <a:pt x="171" y="2"/>
                    </a:cubicBezTo>
                    <a:cubicBezTo>
                      <a:pt x="175" y="2"/>
                      <a:pt x="179" y="5"/>
                      <a:pt x="179" y="10"/>
                    </a:cubicBezTo>
                    <a:cubicBezTo>
                      <a:pt x="179" y="15"/>
                      <a:pt x="175" y="18"/>
                      <a:pt x="171" y="18"/>
                    </a:cubicBezTo>
                    <a:lnTo>
                      <a:pt x="171" y="20"/>
                    </a:lnTo>
                    <a:close/>
                    <a:moveTo>
                      <a:pt x="25" y="20"/>
                    </a:moveTo>
                    <a:cubicBezTo>
                      <a:pt x="171" y="20"/>
                      <a:pt x="171" y="20"/>
                      <a:pt x="171" y="20"/>
                    </a:cubicBezTo>
                    <a:cubicBezTo>
                      <a:pt x="171" y="18"/>
                      <a:pt x="171" y="18"/>
                      <a:pt x="171" y="18"/>
                    </a:cubicBezTo>
                    <a:cubicBezTo>
                      <a:pt x="166" y="18"/>
                      <a:pt x="162" y="15"/>
                      <a:pt x="162" y="10"/>
                    </a:cubicBezTo>
                    <a:cubicBezTo>
                      <a:pt x="162" y="5"/>
                      <a:pt x="166" y="2"/>
                      <a:pt x="171" y="2"/>
                    </a:cubicBezTo>
                    <a:cubicBezTo>
                      <a:pt x="171" y="0"/>
                      <a:pt x="171" y="0"/>
                      <a:pt x="171" y="0"/>
                    </a:cubicBezTo>
                    <a:cubicBezTo>
                      <a:pt x="122" y="0"/>
                      <a:pt x="73" y="0"/>
                      <a:pt x="25" y="0"/>
                    </a:cubicBezTo>
                    <a:cubicBezTo>
                      <a:pt x="25" y="2"/>
                      <a:pt x="25" y="2"/>
                      <a:pt x="25" y="2"/>
                    </a:cubicBezTo>
                    <a:cubicBezTo>
                      <a:pt x="29" y="2"/>
                      <a:pt x="33" y="5"/>
                      <a:pt x="33" y="10"/>
                    </a:cubicBezTo>
                    <a:cubicBezTo>
                      <a:pt x="33" y="15"/>
                      <a:pt x="29" y="18"/>
                      <a:pt x="25" y="18"/>
                    </a:cubicBezTo>
                    <a:lnTo>
                      <a:pt x="25" y="20"/>
                    </a:lnTo>
                    <a:close/>
                    <a:moveTo>
                      <a:pt x="19" y="20"/>
                    </a:moveTo>
                    <a:cubicBezTo>
                      <a:pt x="25" y="20"/>
                      <a:pt x="25" y="20"/>
                      <a:pt x="25" y="20"/>
                    </a:cubicBezTo>
                    <a:cubicBezTo>
                      <a:pt x="25" y="18"/>
                      <a:pt x="25" y="18"/>
                      <a:pt x="25" y="18"/>
                    </a:cubicBezTo>
                    <a:cubicBezTo>
                      <a:pt x="20" y="18"/>
                      <a:pt x="16" y="15"/>
                      <a:pt x="16" y="10"/>
                    </a:cubicBezTo>
                    <a:cubicBezTo>
                      <a:pt x="16" y="5"/>
                      <a:pt x="20" y="2"/>
                      <a:pt x="25" y="2"/>
                    </a:cubicBezTo>
                    <a:cubicBezTo>
                      <a:pt x="25" y="0"/>
                      <a:pt x="25" y="0"/>
                      <a:pt x="25" y="0"/>
                    </a:cubicBezTo>
                    <a:cubicBezTo>
                      <a:pt x="19" y="0"/>
                      <a:pt x="19" y="0"/>
                      <a:pt x="19" y="0"/>
                    </a:cubicBezTo>
                    <a:cubicBezTo>
                      <a:pt x="0" y="0"/>
                      <a:pt x="1" y="20"/>
                      <a:pt x="19" y="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80" name="Oval 63"/>
              <p:cNvSpPr/>
              <p:nvPr/>
            </p:nvSpPr>
            <p:spPr bwMode="auto">
              <a:xfrm>
                <a:off x="4665895" y="2791967"/>
                <a:ext cx="27734" cy="27734"/>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81" name="Freeform: Shape 64"/>
              <p:cNvSpPr/>
              <p:nvPr/>
            </p:nvSpPr>
            <p:spPr bwMode="auto">
              <a:xfrm>
                <a:off x="4681571" y="2810054"/>
                <a:ext cx="104906" cy="115759"/>
              </a:xfrm>
              <a:custGeom>
                <a:avLst/>
                <a:gdLst>
                  <a:gd name="T0" fmla="*/ 64 w 65"/>
                  <a:gd name="T1" fmla="*/ 66 h 72"/>
                  <a:gd name="T2" fmla="*/ 6 w 65"/>
                  <a:gd name="T3" fmla="*/ 2 h 72"/>
                  <a:gd name="T4" fmla="*/ 1 w 65"/>
                  <a:gd name="T5" fmla="*/ 1 h 72"/>
                  <a:gd name="T6" fmla="*/ 1 w 65"/>
                  <a:gd name="T7" fmla="*/ 1 h 72"/>
                  <a:gd name="T8" fmla="*/ 1 w 65"/>
                  <a:gd name="T9" fmla="*/ 6 h 72"/>
                  <a:gd name="T10" fmla="*/ 58 w 65"/>
                  <a:gd name="T11" fmla="*/ 71 h 72"/>
                  <a:gd name="T12" fmla="*/ 64 w 65"/>
                  <a:gd name="T13" fmla="*/ 71 h 72"/>
                  <a:gd name="T14" fmla="*/ 64 w 65"/>
                  <a:gd name="T15" fmla="*/ 71 h 72"/>
                  <a:gd name="T16" fmla="*/ 64 w 65"/>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2">
                    <a:moveTo>
                      <a:pt x="64" y="66"/>
                    </a:moveTo>
                    <a:cubicBezTo>
                      <a:pt x="6" y="2"/>
                      <a:pt x="6" y="2"/>
                      <a:pt x="6" y="2"/>
                    </a:cubicBezTo>
                    <a:cubicBezTo>
                      <a:pt x="5" y="0"/>
                      <a:pt x="3" y="0"/>
                      <a:pt x="1" y="1"/>
                    </a:cubicBezTo>
                    <a:cubicBezTo>
                      <a:pt x="1" y="1"/>
                      <a:pt x="1" y="1"/>
                      <a:pt x="1" y="1"/>
                    </a:cubicBezTo>
                    <a:cubicBezTo>
                      <a:pt x="0" y="3"/>
                      <a:pt x="0" y="5"/>
                      <a:pt x="1" y="6"/>
                    </a:cubicBezTo>
                    <a:cubicBezTo>
                      <a:pt x="58" y="71"/>
                      <a:pt x="58" y="71"/>
                      <a:pt x="58" y="71"/>
                    </a:cubicBezTo>
                    <a:cubicBezTo>
                      <a:pt x="60" y="72"/>
                      <a:pt x="62" y="72"/>
                      <a:pt x="64" y="71"/>
                    </a:cubicBezTo>
                    <a:cubicBezTo>
                      <a:pt x="64" y="71"/>
                      <a:pt x="64" y="71"/>
                      <a:pt x="64" y="71"/>
                    </a:cubicBezTo>
                    <a:cubicBezTo>
                      <a:pt x="65" y="70"/>
                      <a:pt x="65" y="67"/>
                      <a:pt x="64" y="6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82" name="Oval 65"/>
              <p:cNvSpPr/>
              <p:nvPr/>
            </p:nvSpPr>
            <p:spPr bwMode="auto">
              <a:xfrm>
                <a:off x="4629720" y="2791967"/>
                <a:ext cx="27734" cy="27734"/>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83" name="Freeform: Shape 66"/>
              <p:cNvSpPr/>
              <p:nvPr/>
            </p:nvSpPr>
            <p:spPr bwMode="auto">
              <a:xfrm>
                <a:off x="4535666" y="2800408"/>
                <a:ext cx="115759" cy="125405"/>
              </a:xfrm>
              <a:custGeom>
                <a:avLst/>
                <a:gdLst>
                  <a:gd name="T0" fmla="*/ 1 w 71"/>
                  <a:gd name="T1" fmla="*/ 72 h 78"/>
                  <a:gd name="T2" fmla="*/ 64 w 71"/>
                  <a:gd name="T3" fmla="*/ 2 h 78"/>
                  <a:gd name="T4" fmla="*/ 69 w 71"/>
                  <a:gd name="T5" fmla="*/ 1 h 78"/>
                  <a:gd name="T6" fmla="*/ 69 w 71"/>
                  <a:gd name="T7" fmla="*/ 1 h 78"/>
                  <a:gd name="T8" fmla="*/ 69 w 71"/>
                  <a:gd name="T9" fmla="*/ 7 h 78"/>
                  <a:gd name="T10" fmla="*/ 7 w 71"/>
                  <a:gd name="T11" fmla="*/ 77 h 78"/>
                  <a:gd name="T12" fmla="*/ 2 w 71"/>
                  <a:gd name="T13" fmla="*/ 77 h 78"/>
                  <a:gd name="T14" fmla="*/ 2 w 71"/>
                  <a:gd name="T15" fmla="*/ 77 h 78"/>
                  <a:gd name="T16" fmla="*/ 1 w 71"/>
                  <a:gd name="T1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1" y="72"/>
                    </a:moveTo>
                    <a:cubicBezTo>
                      <a:pt x="64" y="2"/>
                      <a:pt x="64" y="2"/>
                      <a:pt x="64" y="2"/>
                    </a:cubicBezTo>
                    <a:cubicBezTo>
                      <a:pt x="65" y="0"/>
                      <a:pt x="68" y="0"/>
                      <a:pt x="69" y="1"/>
                    </a:cubicBezTo>
                    <a:cubicBezTo>
                      <a:pt x="69" y="1"/>
                      <a:pt x="69" y="1"/>
                      <a:pt x="69" y="1"/>
                    </a:cubicBezTo>
                    <a:cubicBezTo>
                      <a:pt x="71" y="3"/>
                      <a:pt x="71" y="5"/>
                      <a:pt x="69" y="7"/>
                    </a:cubicBezTo>
                    <a:cubicBezTo>
                      <a:pt x="7" y="77"/>
                      <a:pt x="7" y="77"/>
                      <a:pt x="7" y="77"/>
                    </a:cubicBezTo>
                    <a:cubicBezTo>
                      <a:pt x="5" y="78"/>
                      <a:pt x="3" y="78"/>
                      <a:pt x="2" y="77"/>
                    </a:cubicBezTo>
                    <a:cubicBezTo>
                      <a:pt x="2" y="77"/>
                      <a:pt x="2" y="77"/>
                      <a:pt x="2" y="77"/>
                    </a:cubicBezTo>
                    <a:cubicBezTo>
                      <a:pt x="0" y="76"/>
                      <a:pt x="0" y="73"/>
                      <a:pt x="1" y="7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84" name="Freeform: Shape 67"/>
              <p:cNvSpPr/>
              <p:nvPr/>
            </p:nvSpPr>
            <p:spPr bwMode="auto">
              <a:xfrm>
                <a:off x="4535666" y="2945106"/>
                <a:ext cx="253223" cy="98877"/>
              </a:xfrm>
              <a:custGeom>
                <a:avLst/>
                <a:gdLst>
                  <a:gd name="T0" fmla="*/ 156 w 156"/>
                  <a:gd name="T1" fmla="*/ 0 h 61"/>
                  <a:gd name="T2" fmla="*/ 127 w 156"/>
                  <a:gd name="T3" fmla="*/ 61 h 61"/>
                  <a:gd name="T4" fmla="*/ 126 w 156"/>
                  <a:gd name="T5" fmla="*/ 48 h 61"/>
                  <a:gd name="T6" fmla="*/ 132 w 156"/>
                  <a:gd name="T7" fmla="*/ 27 h 61"/>
                  <a:gd name="T8" fmla="*/ 129 w 156"/>
                  <a:gd name="T9" fmla="*/ 6 h 61"/>
                  <a:gd name="T10" fmla="*/ 126 w 156"/>
                  <a:gd name="T11" fmla="*/ 6 h 61"/>
                  <a:gd name="T12" fmla="*/ 102 w 156"/>
                  <a:gd name="T13" fmla="*/ 0 h 61"/>
                  <a:gd name="T14" fmla="*/ 126 w 156"/>
                  <a:gd name="T15" fmla="*/ 6 h 61"/>
                  <a:gd name="T16" fmla="*/ 120 w 156"/>
                  <a:gd name="T17" fmla="*/ 27 h 61"/>
                  <a:gd name="T18" fmla="*/ 123 w 156"/>
                  <a:gd name="T19" fmla="*/ 48 h 61"/>
                  <a:gd name="T20" fmla="*/ 126 w 156"/>
                  <a:gd name="T21" fmla="*/ 48 h 61"/>
                  <a:gd name="T22" fmla="*/ 102 w 156"/>
                  <a:gd name="T23" fmla="*/ 61 h 61"/>
                  <a:gd name="T24" fmla="*/ 107 w 156"/>
                  <a:gd name="T25" fmla="*/ 42 h 61"/>
                  <a:gd name="T26" fmla="*/ 109 w 156"/>
                  <a:gd name="T27" fmla="*/ 12 h 61"/>
                  <a:gd name="T28" fmla="*/ 103 w 156"/>
                  <a:gd name="T29" fmla="*/ 6 h 61"/>
                  <a:gd name="T30" fmla="*/ 102 w 156"/>
                  <a:gd name="T31" fmla="*/ 0 h 61"/>
                  <a:gd name="T32" fmla="*/ 102 w 156"/>
                  <a:gd name="T33" fmla="*/ 0 h 61"/>
                  <a:gd name="T34" fmla="*/ 96 w 156"/>
                  <a:gd name="T35" fmla="*/ 12 h 61"/>
                  <a:gd name="T36" fmla="*/ 95 w 156"/>
                  <a:gd name="T37" fmla="*/ 42 h 61"/>
                  <a:gd name="T38" fmla="*/ 100 w 156"/>
                  <a:gd name="T39" fmla="*/ 48 h 61"/>
                  <a:gd name="T40" fmla="*/ 102 w 156"/>
                  <a:gd name="T41" fmla="*/ 61 h 61"/>
                  <a:gd name="T42" fmla="*/ 78 w 156"/>
                  <a:gd name="T43" fmla="*/ 48 h 61"/>
                  <a:gd name="T44" fmla="*/ 84 w 156"/>
                  <a:gd name="T45" fmla="*/ 27 h 61"/>
                  <a:gd name="T46" fmla="*/ 78 w 156"/>
                  <a:gd name="T47" fmla="*/ 6 h 61"/>
                  <a:gd name="T48" fmla="*/ 78 w 156"/>
                  <a:gd name="T49" fmla="*/ 6 h 61"/>
                  <a:gd name="T50" fmla="*/ 53 w 156"/>
                  <a:gd name="T51" fmla="*/ 0 h 61"/>
                  <a:gd name="T52" fmla="*/ 78 w 156"/>
                  <a:gd name="T53" fmla="*/ 6 h 61"/>
                  <a:gd name="T54" fmla="*/ 71 w 156"/>
                  <a:gd name="T55" fmla="*/ 27 h 61"/>
                  <a:gd name="T56" fmla="*/ 78 w 156"/>
                  <a:gd name="T57" fmla="*/ 48 h 61"/>
                  <a:gd name="T58" fmla="*/ 78 w 156"/>
                  <a:gd name="T59" fmla="*/ 48 h 61"/>
                  <a:gd name="T60" fmla="*/ 53 w 156"/>
                  <a:gd name="T61" fmla="*/ 61 h 61"/>
                  <a:gd name="T62" fmla="*/ 55 w 156"/>
                  <a:gd name="T63" fmla="*/ 48 h 61"/>
                  <a:gd name="T64" fmla="*/ 60 w 156"/>
                  <a:gd name="T65" fmla="*/ 42 h 61"/>
                  <a:gd name="T66" fmla="*/ 59 w 156"/>
                  <a:gd name="T67" fmla="*/ 12 h 61"/>
                  <a:gd name="T68" fmla="*/ 53 w 156"/>
                  <a:gd name="T69" fmla="*/ 0 h 61"/>
                  <a:gd name="T70" fmla="*/ 53 w 156"/>
                  <a:gd name="T71" fmla="*/ 0 h 61"/>
                  <a:gd name="T72" fmla="*/ 52 w 156"/>
                  <a:gd name="T73" fmla="*/ 6 h 61"/>
                  <a:gd name="T74" fmla="*/ 46 w 156"/>
                  <a:gd name="T75" fmla="*/ 12 h 61"/>
                  <a:gd name="T76" fmla="*/ 48 w 156"/>
                  <a:gd name="T77" fmla="*/ 42 h 61"/>
                  <a:gd name="T78" fmla="*/ 53 w 156"/>
                  <a:gd name="T79" fmla="*/ 61 h 61"/>
                  <a:gd name="T80" fmla="*/ 29 w 156"/>
                  <a:gd name="T81" fmla="*/ 48 h 61"/>
                  <a:gd name="T82" fmla="*/ 32 w 156"/>
                  <a:gd name="T83" fmla="*/ 48 h 61"/>
                  <a:gd name="T84" fmla="*/ 36 w 156"/>
                  <a:gd name="T85" fmla="*/ 27 h 61"/>
                  <a:gd name="T86" fmla="*/ 29 w 156"/>
                  <a:gd name="T87" fmla="*/ 6 h 61"/>
                  <a:gd name="T88" fmla="*/ 28 w 156"/>
                  <a:gd name="T89" fmla="*/ 61 h 61"/>
                  <a:gd name="T90" fmla="*/ 0 w 156"/>
                  <a:gd name="T91" fmla="*/ 0 h 61"/>
                  <a:gd name="T92" fmla="*/ 29 w 156"/>
                  <a:gd name="T93" fmla="*/ 6 h 61"/>
                  <a:gd name="T94" fmla="*/ 27 w 156"/>
                  <a:gd name="T95" fmla="*/ 6 h 61"/>
                  <a:gd name="T96" fmla="*/ 23 w 156"/>
                  <a:gd name="T97" fmla="*/ 27 h 61"/>
                  <a:gd name="T98" fmla="*/ 29 w 156"/>
                  <a:gd name="T99" fmla="*/ 48 h 61"/>
                  <a:gd name="T100" fmla="*/ 28 w 156"/>
                  <a:gd name="T10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61">
                    <a:moveTo>
                      <a:pt x="126" y="0"/>
                    </a:moveTo>
                    <a:cubicBezTo>
                      <a:pt x="156" y="0"/>
                      <a:pt x="156" y="0"/>
                      <a:pt x="156" y="0"/>
                    </a:cubicBezTo>
                    <a:cubicBezTo>
                      <a:pt x="148" y="44"/>
                      <a:pt x="148" y="44"/>
                      <a:pt x="148" y="44"/>
                    </a:cubicBezTo>
                    <a:cubicBezTo>
                      <a:pt x="146" y="54"/>
                      <a:pt x="142" y="61"/>
                      <a:pt x="127" y="61"/>
                    </a:cubicBezTo>
                    <a:cubicBezTo>
                      <a:pt x="126" y="61"/>
                      <a:pt x="126" y="61"/>
                      <a:pt x="126" y="61"/>
                    </a:cubicBezTo>
                    <a:cubicBezTo>
                      <a:pt x="126" y="48"/>
                      <a:pt x="126" y="48"/>
                      <a:pt x="126" y="48"/>
                    </a:cubicBezTo>
                    <a:cubicBezTo>
                      <a:pt x="128" y="47"/>
                      <a:pt x="130" y="45"/>
                      <a:pt x="130" y="42"/>
                    </a:cubicBezTo>
                    <a:cubicBezTo>
                      <a:pt x="131" y="37"/>
                      <a:pt x="132" y="32"/>
                      <a:pt x="132" y="27"/>
                    </a:cubicBezTo>
                    <a:cubicBezTo>
                      <a:pt x="133" y="22"/>
                      <a:pt x="134" y="17"/>
                      <a:pt x="134" y="12"/>
                    </a:cubicBezTo>
                    <a:cubicBezTo>
                      <a:pt x="135" y="9"/>
                      <a:pt x="132" y="6"/>
                      <a:pt x="129" y="6"/>
                    </a:cubicBezTo>
                    <a:cubicBezTo>
                      <a:pt x="129" y="6"/>
                      <a:pt x="129" y="6"/>
                      <a:pt x="129" y="6"/>
                    </a:cubicBezTo>
                    <a:cubicBezTo>
                      <a:pt x="128" y="6"/>
                      <a:pt x="127" y="6"/>
                      <a:pt x="126" y="6"/>
                    </a:cubicBezTo>
                    <a:lnTo>
                      <a:pt x="126" y="0"/>
                    </a:lnTo>
                    <a:close/>
                    <a:moveTo>
                      <a:pt x="102" y="0"/>
                    </a:moveTo>
                    <a:cubicBezTo>
                      <a:pt x="126" y="0"/>
                      <a:pt x="126" y="0"/>
                      <a:pt x="126" y="0"/>
                    </a:cubicBezTo>
                    <a:cubicBezTo>
                      <a:pt x="126" y="6"/>
                      <a:pt x="126" y="6"/>
                      <a:pt x="126" y="6"/>
                    </a:cubicBezTo>
                    <a:cubicBezTo>
                      <a:pt x="124" y="7"/>
                      <a:pt x="121" y="9"/>
                      <a:pt x="121" y="12"/>
                    </a:cubicBezTo>
                    <a:cubicBezTo>
                      <a:pt x="121" y="17"/>
                      <a:pt x="120" y="22"/>
                      <a:pt x="120" y="27"/>
                    </a:cubicBezTo>
                    <a:cubicBezTo>
                      <a:pt x="119" y="32"/>
                      <a:pt x="119" y="37"/>
                      <a:pt x="118" y="42"/>
                    </a:cubicBezTo>
                    <a:cubicBezTo>
                      <a:pt x="118" y="46"/>
                      <a:pt x="120" y="48"/>
                      <a:pt x="123" y="48"/>
                    </a:cubicBezTo>
                    <a:cubicBezTo>
                      <a:pt x="123" y="48"/>
                      <a:pt x="123" y="48"/>
                      <a:pt x="123" y="48"/>
                    </a:cubicBezTo>
                    <a:cubicBezTo>
                      <a:pt x="124" y="48"/>
                      <a:pt x="125" y="48"/>
                      <a:pt x="126" y="48"/>
                    </a:cubicBezTo>
                    <a:cubicBezTo>
                      <a:pt x="126" y="61"/>
                      <a:pt x="126" y="61"/>
                      <a:pt x="126" y="61"/>
                    </a:cubicBezTo>
                    <a:cubicBezTo>
                      <a:pt x="102" y="61"/>
                      <a:pt x="102" y="61"/>
                      <a:pt x="102" y="61"/>
                    </a:cubicBezTo>
                    <a:cubicBezTo>
                      <a:pt x="102" y="48"/>
                      <a:pt x="102" y="48"/>
                      <a:pt x="102" y="48"/>
                    </a:cubicBezTo>
                    <a:cubicBezTo>
                      <a:pt x="105" y="48"/>
                      <a:pt x="107" y="45"/>
                      <a:pt x="107" y="42"/>
                    </a:cubicBezTo>
                    <a:cubicBezTo>
                      <a:pt x="107" y="37"/>
                      <a:pt x="108" y="32"/>
                      <a:pt x="108" y="27"/>
                    </a:cubicBezTo>
                    <a:cubicBezTo>
                      <a:pt x="109" y="22"/>
                      <a:pt x="109" y="17"/>
                      <a:pt x="109" y="12"/>
                    </a:cubicBezTo>
                    <a:cubicBezTo>
                      <a:pt x="110" y="9"/>
                      <a:pt x="107" y="6"/>
                      <a:pt x="103" y="6"/>
                    </a:cubicBezTo>
                    <a:cubicBezTo>
                      <a:pt x="103" y="6"/>
                      <a:pt x="103" y="6"/>
                      <a:pt x="103" y="6"/>
                    </a:cubicBezTo>
                    <a:cubicBezTo>
                      <a:pt x="103" y="6"/>
                      <a:pt x="102" y="6"/>
                      <a:pt x="102" y="6"/>
                    </a:cubicBezTo>
                    <a:lnTo>
                      <a:pt x="102" y="0"/>
                    </a:lnTo>
                    <a:close/>
                    <a:moveTo>
                      <a:pt x="78" y="0"/>
                    </a:moveTo>
                    <a:cubicBezTo>
                      <a:pt x="102" y="0"/>
                      <a:pt x="102" y="0"/>
                      <a:pt x="102" y="0"/>
                    </a:cubicBezTo>
                    <a:cubicBezTo>
                      <a:pt x="102" y="6"/>
                      <a:pt x="102" y="6"/>
                      <a:pt x="102" y="6"/>
                    </a:cubicBezTo>
                    <a:cubicBezTo>
                      <a:pt x="99" y="6"/>
                      <a:pt x="96" y="9"/>
                      <a:pt x="96" y="12"/>
                    </a:cubicBezTo>
                    <a:cubicBezTo>
                      <a:pt x="96" y="17"/>
                      <a:pt x="96" y="22"/>
                      <a:pt x="95" y="27"/>
                    </a:cubicBezTo>
                    <a:cubicBezTo>
                      <a:pt x="95" y="32"/>
                      <a:pt x="95" y="37"/>
                      <a:pt x="95" y="42"/>
                    </a:cubicBezTo>
                    <a:cubicBezTo>
                      <a:pt x="95" y="46"/>
                      <a:pt x="97" y="48"/>
                      <a:pt x="100" y="48"/>
                    </a:cubicBezTo>
                    <a:cubicBezTo>
                      <a:pt x="100" y="48"/>
                      <a:pt x="100" y="48"/>
                      <a:pt x="100" y="48"/>
                    </a:cubicBezTo>
                    <a:cubicBezTo>
                      <a:pt x="101" y="48"/>
                      <a:pt x="102" y="48"/>
                      <a:pt x="102" y="48"/>
                    </a:cubicBezTo>
                    <a:cubicBezTo>
                      <a:pt x="102" y="61"/>
                      <a:pt x="102" y="61"/>
                      <a:pt x="102" y="61"/>
                    </a:cubicBezTo>
                    <a:cubicBezTo>
                      <a:pt x="78" y="61"/>
                      <a:pt x="78" y="61"/>
                      <a:pt x="78" y="61"/>
                    </a:cubicBezTo>
                    <a:cubicBezTo>
                      <a:pt x="78" y="48"/>
                      <a:pt x="78" y="48"/>
                      <a:pt x="78" y="48"/>
                    </a:cubicBezTo>
                    <a:cubicBezTo>
                      <a:pt x="81" y="48"/>
                      <a:pt x="84" y="46"/>
                      <a:pt x="84" y="42"/>
                    </a:cubicBezTo>
                    <a:cubicBezTo>
                      <a:pt x="84" y="37"/>
                      <a:pt x="84" y="32"/>
                      <a:pt x="84" y="27"/>
                    </a:cubicBezTo>
                    <a:cubicBezTo>
                      <a:pt x="84" y="22"/>
                      <a:pt x="84" y="17"/>
                      <a:pt x="84" y="12"/>
                    </a:cubicBezTo>
                    <a:cubicBezTo>
                      <a:pt x="84" y="9"/>
                      <a:pt x="81" y="6"/>
                      <a:pt x="78" y="6"/>
                    </a:cubicBezTo>
                    <a:cubicBezTo>
                      <a:pt x="78" y="6"/>
                      <a:pt x="78" y="6"/>
                      <a:pt x="78" y="6"/>
                    </a:cubicBezTo>
                    <a:cubicBezTo>
                      <a:pt x="78" y="6"/>
                      <a:pt x="78" y="6"/>
                      <a:pt x="78" y="6"/>
                    </a:cubicBezTo>
                    <a:lnTo>
                      <a:pt x="78" y="0"/>
                    </a:lnTo>
                    <a:close/>
                    <a:moveTo>
                      <a:pt x="53" y="0"/>
                    </a:moveTo>
                    <a:cubicBezTo>
                      <a:pt x="78" y="0"/>
                      <a:pt x="78" y="0"/>
                      <a:pt x="78" y="0"/>
                    </a:cubicBezTo>
                    <a:cubicBezTo>
                      <a:pt x="78" y="6"/>
                      <a:pt x="78" y="6"/>
                      <a:pt x="78" y="6"/>
                    </a:cubicBezTo>
                    <a:cubicBezTo>
                      <a:pt x="74" y="6"/>
                      <a:pt x="71" y="9"/>
                      <a:pt x="71" y="12"/>
                    </a:cubicBezTo>
                    <a:cubicBezTo>
                      <a:pt x="71" y="17"/>
                      <a:pt x="71" y="22"/>
                      <a:pt x="71" y="27"/>
                    </a:cubicBezTo>
                    <a:cubicBezTo>
                      <a:pt x="71" y="32"/>
                      <a:pt x="71" y="37"/>
                      <a:pt x="71" y="42"/>
                    </a:cubicBezTo>
                    <a:cubicBezTo>
                      <a:pt x="72" y="46"/>
                      <a:pt x="74" y="48"/>
                      <a:pt x="78" y="48"/>
                    </a:cubicBezTo>
                    <a:cubicBezTo>
                      <a:pt x="78" y="48"/>
                      <a:pt x="78" y="48"/>
                      <a:pt x="78" y="48"/>
                    </a:cubicBezTo>
                    <a:cubicBezTo>
                      <a:pt x="78" y="48"/>
                      <a:pt x="78" y="48"/>
                      <a:pt x="78" y="48"/>
                    </a:cubicBezTo>
                    <a:cubicBezTo>
                      <a:pt x="78" y="61"/>
                      <a:pt x="78" y="61"/>
                      <a:pt x="78" y="61"/>
                    </a:cubicBezTo>
                    <a:cubicBezTo>
                      <a:pt x="53" y="61"/>
                      <a:pt x="53" y="61"/>
                      <a:pt x="53" y="61"/>
                    </a:cubicBezTo>
                    <a:cubicBezTo>
                      <a:pt x="53" y="48"/>
                      <a:pt x="53" y="48"/>
                      <a:pt x="53" y="48"/>
                    </a:cubicBezTo>
                    <a:cubicBezTo>
                      <a:pt x="54" y="48"/>
                      <a:pt x="54" y="48"/>
                      <a:pt x="55" y="48"/>
                    </a:cubicBezTo>
                    <a:cubicBezTo>
                      <a:pt x="55" y="48"/>
                      <a:pt x="55" y="48"/>
                      <a:pt x="55" y="48"/>
                    </a:cubicBezTo>
                    <a:cubicBezTo>
                      <a:pt x="58" y="48"/>
                      <a:pt x="61" y="46"/>
                      <a:pt x="60" y="42"/>
                    </a:cubicBezTo>
                    <a:cubicBezTo>
                      <a:pt x="60" y="37"/>
                      <a:pt x="60" y="32"/>
                      <a:pt x="60" y="27"/>
                    </a:cubicBezTo>
                    <a:cubicBezTo>
                      <a:pt x="60" y="22"/>
                      <a:pt x="59" y="17"/>
                      <a:pt x="59" y="12"/>
                    </a:cubicBezTo>
                    <a:cubicBezTo>
                      <a:pt x="59" y="9"/>
                      <a:pt x="56" y="6"/>
                      <a:pt x="53" y="6"/>
                    </a:cubicBezTo>
                    <a:lnTo>
                      <a:pt x="53" y="0"/>
                    </a:lnTo>
                    <a:close/>
                    <a:moveTo>
                      <a:pt x="29" y="0"/>
                    </a:moveTo>
                    <a:cubicBezTo>
                      <a:pt x="53" y="0"/>
                      <a:pt x="53" y="0"/>
                      <a:pt x="53" y="0"/>
                    </a:cubicBezTo>
                    <a:cubicBezTo>
                      <a:pt x="53" y="6"/>
                      <a:pt x="53" y="6"/>
                      <a:pt x="53" y="6"/>
                    </a:cubicBezTo>
                    <a:cubicBezTo>
                      <a:pt x="53" y="6"/>
                      <a:pt x="52" y="6"/>
                      <a:pt x="52" y="6"/>
                    </a:cubicBezTo>
                    <a:cubicBezTo>
                      <a:pt x="52" y="6"/>
                      <a:pt x="52" y="6"/>
                      <a:pt x="52" y="6"/>
                    </a:cubicBezTo>
                    <a:cubicBezTo>
                      <a:pt x="48" y="6"/>
                      <a:pt x="46" y="9"/>
                      <a:pt x="46" y="12"/>
                    </a:cubicBezTo>
                    <a:cubicBezTo>
                      <a:pt x="46" y="17"/>
                      <a:pt x="47" y="22"/>
                      <a:pt x="47" y="27"/>
                    </a:cubicBezTo>
                    <a:cubicBezTo>
                      <a:pt x="47" y="32"/>
                      <a:pt x="48" y="37"/>
                      <a:pt x="48" y="42"/>
                    </a:cubicBezTo>
                    <a:cubicBezTo>
                      <a:pt x="48" y="45"/>
                      <a:pt x="50" y="48"/>
                      <a:pt x="53" y="48"/>
                    </a:cubicBezTo>
                    <a:cubicBezTo>
                      <a:pt x="53" y="61"/>
                      <a:pt x="53" y="61"/>
                      <a:pt x="53" y="61"/>
                    </a:cubicBezTo>
                    <a:cubicBezTo>
                      <a:pt x="29" y="61"/>
                      <a:pt x="29" y="61"/>
                      <a:pt x="29" y="61"/>
                    </a:cubicBezTo>
                    <a:cubicBezTo>
                      <a:pt x="29" y="48"/>
                      <a:pt x="29" y="48"/>
                      <a:pt x="29" y="48"/>
                    </a:cubicBezTo>
                    <a:cubicBezTo>
                      <a:pt x="30" y="48"/>
                      <a:pt x="31" y="48"/>
                      <a:pt x="32" y="48"/>
                    </a:cubicBezTo>
                    <a:cubicBezTo>
                      <a:pt x="32" y="48"/>
                      <a:pt x="32" y="48"/>
                      <a:pt x="32" y="48"/>
                    </a:cubicBezTo>
                    <a:cubicBezTo>
                      <a:pt x="35" y="48"/>
                      <a:pt x="38" y="46"/>
                      <a:pt x="37" y="42"/>
                    </a:cubicBezTo>
                    <a:cubicBezTo>
                      <a:pt x="37" y="37"/>
                      <a:pt x="36" y="32"/>
                      <a:pt x="36" y="27"/>
                    </a:cubicBezTo>
                    <a:cubicBezTo>
                      <a:pt x="35" y="22"/>
                      <a:pt x="34" y="17"/>
                      <a:pt x="34" y="12"/>
                    </a:cubicBezTo>
                    <a:cubicBezTo>
                      <a:pt x="34" y="9"/>
                      <a:pt x="32" y="7"/>
                      <a:pt x="29" y="6"/>
                    </a:cubicBezTo>
                    <a:lnTo>
                      <a:pt x="29" y="0"/>
                    </a:lnTo>
                    <a:close/>
                    <a:moveTo>
                      <a:pt x="28" y="61"/>
                    </a:moveTo>
                    <a:cubicBezTo>
                      <a:pt x="14" y="61"/>
                      <a:pt x="9" y="54"/>
                      <a:pt x="7" y="44"/>
                    </a:cubicBezTo>
                    <a:cubicBezTo>
                      <a:pt x="0" y="0"/>
                      <a:pt x="0" y="0"/>
                      <a:pt x="0" y="0"/>
                    </a:cubicBezTo>
                    <a:cubicBezTo>
                      <a:pt x="29" y="0"/>
                      <a:pt x="29" y="0"/>
                      <a:pt x="29" y="0"/>
                    </a:cubicBezTo>
                    <a:cubicBezTo>
                      <a:pt x="29" y="6"/>
                      <a:pt x="29" y="6"/>
                      <a:pt x="29" y="6"/>
                    </a:cubicBezTo>
                    <a:cubicBezTo>
                      <a:pt x="28" y="6"/>
                      <a:pt x="27" y="6"/>
                      <a:pt x="27" y="6"/>
                    </a:cubicBezTo>
                    <a:cubicBezTo>
                      <a:pt x="27" y="6"/>
                      <a:pt x="27" y="6"/>
                      <a:pt x="27" y="6"/>
                    </a:cubicBezTo>
                    <a:cubicBezTo>
                      <a:pt x="23" y="6"/>
                      <a:pt x="20" y="9"/>
                      <a:pt x="21" y="12"/>
                    </a:cubicBezTo>
                    <a:cubicBezTo>
                      <a:pt x="21" y="17"/>
                      <a:pt x="22" y="22"/>
                      <a:pt x="23" y="27"/>
                    </a:cubicBezTo>
                    <a:cubicBezTo>
                      <a:pt x="24" y="32"/>
                      <a:pt x="24" y="37"/>
                      <a:pt x="25" y="42"/>
                    </a:cubicBezTo>
                    <a:cubicBezTo>
                      <a:pt x="25" y="45"/>
                      <a:pt x="27" y="47"/>
                      <a:pt x="29" y="48"/>
                    </a:cubicBezTo>
                    <a:cubicBezTo>
                      <a:pt x="29" y="61"/>
                      <a:pt x="29" y="61"/>
                      <a:pt x="29" y="61"/>
                    </a:cubicBezTo>
                    <a:lnTo>
                      <a:pt x="28" y="6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85" name="Freeform: Shape 68"/>
              <p:cNvSpPr/>
              <p:nvPr/>
            </p:nvSpPr>
            <p:spPr bwMode="auto">
              <a:xfrm>
                <a:off x="6477039" y="3466021"/>
                <a:ext cx="145904" cy="219460"/>
              </a:xfrm>
              <a:custGeom>
                <a:avLst/>
                <a:gdLst>
                  <a:gd name="T0" fmla="*/ 45 w 90"/>
                  <a:gd name="T1" fmla="*/ 135 h 135"/>
                  <a:gd name="T2" fmla="*/ 6 w 90"/>
                  <a:gd name="T3" fmla="*/ 68 h 135"/>
                  <a:gd name="T4" fmla="*/ 0 w 90"/>
                  <a:gd name="T5" fmla="*/ 45 h 135"/>
                  <a:gd name="T6" fmla="*/ 45 w 90"/>
                  <a:gd name="T7" fmla="*/ 0 h 135"/>
                  <a:gd name="T8" fmla="*/ 90 w 90"/>
                  <a:gd name="T9" fmla="*/ 45 h 135"/>
                  <a:gd name="T10" fmla="*/ 84 w 90"/>
                  <a:gd name="T11" fmla="*/ 68 h 135"/>
                  <a:gd name="T12" fmla="*/ 45 w 90"/>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90" h="135">
                    <a:moveTo>
                      <a:pt x="45" y="135"/>
                    </a:moveTo>
                    <a:cubicBezTo>
                      <a:pt x="6" y="68"/>
                      <a:pt x="6" y="68"/>
                      <a:pt x="6" y="68"/>
                    </a:cubicBezTo>
                    <a:cubicBezTo>
                      <a:pt x="3" y="61"/>
                      <a:pt x="0" y="53"/>
                      <a:pt x="0" y="45"/>
                    </a:cubicBezTo>
                    <a:cubicBezTo>
                      <a:pt x="0" y="20"/>
                      <a:pt x="20" y="0"/>
                      <a:pt x="45" y="0"/>
                    </a:cubicBezTo>
                    <a:cubicBezTo>
                      <a:pt x="70" y="0"/>
                      <a:pt x="90" y="20"/>
                      <a:pt x="90" y="45"/>
                    </a:cubicBezTo>
                    <a:cubicBezTo>
                      <a:pt x="90" y="53"/>
                      <a:pt x="88" y="61"/>
                      <a:pt x="84" y="68"/>
                    </a:cubicBezTo>
                    <a:lnTo>
                      <a:pt x="45" y="13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86" name="Oval 69"/>
              <p:cNvSpPr/>
              <p:nvPr/>
            </p:nvSpPr>
            <p:spPr bwMode="auto">
              <a:xfrm>
                <a:off x="6497538" y="3487726"/>
                <a:ext cx="103701" cy="103701"/>
              </a:xfrm>
              <a:prstGeom prst="ellipse">
                <a:avLst/>
              </a:prstGeom>
              <a:solidFill>
                <a:srgbClr val="B32C1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87" name="Freeform: Shape 70"/>
              <p:cNvSpPr/>
              <p:nvPr/>
            </p:nvSpPr>
            <p:spPr bwMode="auto">
              <a:xfrm>
                <a:off x="5532881" y="3203152"/>
                <a:ext cx="203784" cy="51850"/>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88" name="Rectangle 71"/>
              <p:cNvSpPr/>
              <p:nvPr/>
            </p:nvSpPr>
            <p:spPr bwMode="auto">
              <a:xfrm>
                <a:off x="5616082" y="3203152"/>
                <a:ext cx="38586" cy="144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2400"/>
              </a:p>
            </p:txBody>
          </p:sp>
          <p:sp>
            <p:nvSpPr>
              <p:cNvPr id="89" name="Freeform: Shape 72"/>
              <p:cNvSpPr/>
              <p:nvPr/>
            </p:nvSpPr>
            <p:spPr bwMode="auto">
              <a:xfrm>
                <a:off x="5532881" y="3084982"/>
                <a:ext cx="203784" cy="106112"/>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90" name="Rectangle 73"/>
              <p:cNvSpPr/>
              <p:nvPr/>
            </p:nvSpPr>
            <p:spPr bwMode="auto">
              <a:xfrm>
                <a:off x="6387808" y="3136832"/>
                <a:ext cx="207401" cy="21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2400"/>
              </a:p>
            </p:txBody>
          </p:sp>
          <p:sp>
            <p:nvSpPr>
              <p:cNvPr id="91" name="Freeform: Shape 74"/>
              <p:cNvSpPr/>
              <p:nvPr/>
            </p:nvSpPr>
            <p:spPr bwMode="auto">
              <a:xfrm>
                <a:off x="6387808" y="3185065"/>
                <a:ext cx="207401" cy="844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close/>
                    <a:moveTo>
                      <a:pt x="0" y="70"/>
                    </a:moveTo>
                    <a:lnTo>
                      <a:pt x="146" y="70"/>
                    </a:lnTo>
                    <a:lnTo>
                      <a:pt x="146" y="59"/>
                    </a:lnTo>
                    <a:lnTo>
                      <a:pt x="134" y="47"/>
                    </a:lnTo>
                    <a:lnTo>
                      <a:pt x="146" y="33"/>
                    </a:lnTo>
                    <a:lnTo>
                      <a:pt x="146" y="0"/>
                    </a:lnTo>
                    <a:lnTo>
                      <a:pt x="0" y="0"/>
                    </a:lnTo>
                    <a:lnTo>
                      <a:pt x="0" y="70"/>
                    </a:lnTo>
                    <a:lnTo>
                      <a:pt x="0" y="70"/>
                    </a:lnTo>
                    <a:close/>
                    <a:moveTo>
                      <a:pt x="146" y="33"/>
                    </a:moveTo>
                    <a:lnTo>
                      <a:pt x="146" y="3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92" name="Freeform: Shape 75"/>
              <p:cNvSpPr/>
              <p:nvPr/>
            </p:nvSpPr>
            <p:spPr bwMode="auto">
              <a:xfrm>
                <a:off x="6387808" y="3185065"/>
                <a:ext cx="207401" cy="84408"/>
              </a:xfrm>
              <a:custGeom>
                <a:avLst/>
                <a:gdLst>
                  <a:gd name="T0" fmla="*/ 146 w 172"/>
                  <a:gd name="T1" fmla="*/ 70 h 70"/>
                  <a:gd name="T2" fmla="*/ 172 w 172"/>
                  <a:gd name="T3" fmla="*/ 70 h 70"/>
                  <a:gd name="T4" fmla="*/ 172 w 172"/>
                  <a:gd name="T5" fmla="*/ 0 h 70"/>
                  <a:gd name="T6" fmla="*/ 146 w 172"/>
                  <a:gd name="T7" fmla="*/ 0 h 70"/>
                  <a:gd name="T8" fmla="*/ 146 w 172"/>
                  <a:gd name="T9" fmla="*/ 33 h 70"/>
                  <a:gd name="T10" fmla="*/ 146 w 172"/>
                  <a:gd name="T11" fmla="*/ 33 h 70"/>
                  <a:gd name="T12" fmla="*/ 160 w 172"/>
                  <a:gd name="T13" fmla="*/ 47 h 70"/>
                  <a:gd name="T14" fmla="*/ 146 w 172"/>
                  <a:gd name="T15" fmla="*/ 59 h 70"/>
                  <a:gd name="T16" fmla="*/ 146 w 172"/>
                  <a:gd name="T17" fmla="*/ 70 h 70"/>
                  <a:gd name="T18" fmla="*/ 0 w 172"/>
                  <a:gd name="T19" fmla="*/ 70 h 70"/>
                  <a:gd name="T20" fmla="*/ 146 w 172"/>
                  <a:gd name="T21" fmla="*/ 70 h 70"/>
                  <a:gd name="T22" fmla="*/ 146 w 172"/>
                  <a:gd name="T23" fmla="*/ 59 h 70"/>
                  <a:gd name="T24" fmla="*/ 134 w 172"/>
                  <a:gd name="T25" fmla="*/ 47 h 70"/>
                  <a:gd name="T26" fmla="*/ 146 w 172"/>
                  <a:gd name="T27" fmla="*/ 33 h 70"/>
                  <a:gd name="T28" fmla="*/ 146 w 172"/>
                  <a:gd name="T29" fmla="*/ 0 h 70"/>
                  <a:gd name="T30" fmla="*/ 0 w 172"/>
                  <a:gd name="T31" fmla="*/ 0 h 70"/>
                  <a:gd name="T32" fmla="*/ 0 w 172"/>
                  <a:gd name="T33" fmla="*/ 70 h 70"/>
                  <a:gd name="T34" fmla="*/ 0 w 172"/>
                  <a:gd name="T35" fmla="*/ 70 h 70"/>
                  <a:gd name="T36" fmla="*/ 146 w 172"/>
                  <a:gd name="T37" fmla="*/ 33 h 70"/>
                  <a:gd name="T38" fmla="*/ 146 w 172"/>
                  <a:gd name="T3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2" h="70">
                    <a:moveTo>
                      <a:pt x="146" y="70"/>
                    </a:moveTo>
                    <a:lnTo>
                      <a:pt x="172" y="70"/>
                    </a:lnTo>
                    <a:lnTo>
                      <a:pt x="172" y="0"/>
                    </a:lnTo>
                    <a:lnTo>
                      <a:pt x="146" y="0"/>
                    </a:lnTo>
                    <a:lnTo>
                      <a:pt x="146" y="33"/>
                    </a:lnTo>
                    <a:lnTo>
                      <a:pt x="146" y="33"/>
                    </a:lnTo>
                    <a:lnTo>
                      <a:pt x="160" y="47"/>
                    </a:lnTo>
                    <a:lnTo>
                      <a:pt x="146" y="59"/>
                    </a:lnTo>
                    <a:lnTo>
                      <a:pt x="146" y="70"/>
                    </a:lnTo>
                    <a:moveTo>
                      <a:pt x="0" y="70"/>
                    </a:moveTo>
                    <a:lnTo>
                      <a:pt x="146" y="70"/>
                    </a:lnTo>
                    <a:lnTo>
                      <a:pt x="146" y="59"/>
                    </a:lnTo>
                    <a:lnTo>
                      <a:pt x="134" y="47"/>
                    </a:lnTo>
                    <a:lnTo>
                      <a:pt x="146" y="33"/>
                    </a:lnTo>
                    <a:lnTo>
                      <a:pt x="146" y="0"/>
                    </a:lnTo>
                    <a:lnTo>
                      <a:pt x="0" y="0"/>
                    </a:lnTo>
                    <a:lnTo>
                      <a:pt x="0" y="70"/>
                    </a:lnTo>
                    <a:lnTo>
                      <a:pt x="0" y="70"/>
                    </a:lnTo>
                    <a:moveTo>
                      <a:pt x="146" y="33"/>
                    </a:moveTo>
                    <a:lnTo>
                      <a:pt x="146" y="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93" name="Freeform: Shape 76"/>
              <p:cNvSpPr/>
              <p:nvPr/>
            </p:nvSpPr>
            <p:spPr bwMode="auto">
              <a:xfrm>
                <a:off x="7447726" y="3029514"/>
                <a:ext cx="273722" cy="245988"/>
              </a:xfrm>
              <a:custGeom>
                <a:avLst/>
                <a:gdLst>
                  <a:gd name="T0" fmla="*/ 166 w 169"/>
                  <a:gd name="T1" fmla="*/ 43 h 152"/>
                  <a:gd name="T2" fmla="*/ 127 w 169"/>
                  <a:gd name="T3" fmla="*/ 39 h 152"/>
                  <a:gd name="T4" fmla="*/ 104 w 169"/>
                  <a:gd name="T5" fmla="*/ 48 h 152"/>
                  <a:gd name="T6" fmla="*/ 58 w 169"/>
                  <a:gd name="T7" fmla="*/ 0 h 152"/>
                  <a:gd name="T8" fmla="*/ 42 w 169"/>
                  <a:gd name="T9" fmla="*/ 6 h 152"/>
                  <a:gd name="T10" fmla="*/ 75 w 169"/>
                  <a:gd name="T11" fmla="*/ 59 h 152"/>
                  <a:gd name="T12" fmla="*/ 43 w 169"/>
                  <a:gd name="T13" fmla="*/ 71 h 152"/>
                  <a:gd name="T14" fmla="*/ 16 w 169"/>
                  <a:gd name="T15" fmla="*/ 54 h 152"/>
                  <a:gd name="T16" fmla="*/ 0 w 169"/>
                  <a:gd name="T17" fmla="*/ 60 h 152"/>
                  <a:gd name="T18" fmla="*/ 30 w 169"/>
                  <a:gd name="T19" fmla="*/ 95 h 152"/>
                  <a:gd name="T20" fmla="*/ 31 w 169"/>
                  <a:gd name="T21" fmla="*/ 140 h 152"/>
                  <a:gd name="T22" fmla="*/ 47 w 169"/>
                  <a:gd name="T23" fmla="*/ 134 h 152"/>
                  <a:gd name="T24" fmla="*/ 55 w 169"/>
                  <a:gd name="T25" fmla="*/ 104 h 152"/>
                  <a:gd name="T26" fmla="*/ 87 w 169"/>
                  <a:gd name="T27" fmla="*/ 92 h 152"/>
                  <a:gd name="T28" fmla="*/ 98 w 169"/>
                  <a:gd name="T29" fmla="*/ 152 h 152"/>
                  <a:gd name="T30" fmla="*/ 114 w 169"/>
                  <a:gd name="T31" fmla="*/ 146 h 152"/>
                  <a:gd name="T32" fmla="*/ 117 w 169"/>
                  <a:gd name="T33" fmla="*/ 81 h 152"/>
                  <a:gd name="T34" fmla="*/ 139 w 169"/>
                  <a:gd name="T35" fmla="*/ 72 h 152"/>
                  <a:gd name="T36" fmla="*/ 166 w 169"/>
                  <a:gd name="T37" fmla="*/ 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52">
                    <a:moveTo>
                      <a:pt x="166" y="43"/>
                    </a:moveTo>
                    <a:cubicBezTo>
                      <a:pt x="162" y="34"/>
                      <a:pt x="136" y="36"/>
                      <a:pt x="127" y="39"/>
                    </a:cubicBezTo>
                    <a:cubicBezTo>
                      <a:pt x="104" y="48"/>
                      <a:pt x="104" y="48"/>
                      <a:pt x="104" y="48"/>
                    </a:cubicBezTo>
                    <a:cubicBezTo>
                      <a:pt x="58" y="0"/>
                      <a:pt x="58" y="0"/>
                      <a:pt x="58" y="0"/>
                    </a:cubicBezTo>
                    <a:cubicBezTo>
                      <a:pt x="42" y="6"/>
                      <a:pt x="42" y="6"/>
                      <a:pt x="42" y="6"/>
                    </a:cubicBezTo>
                    <a:cubicBezTo>
                      <a:pt x="75" y="59"/>
                      <a:pt x="75" y="59"/>
                      <a:pt x="75" y="59"/>
                    </a:cubicBezTo>
                    <a:cubicBezTo>
                      <a:pt x="43" y="71"/>
                      <a:pt x="43" y="71"/>
                      <a:pt x="43" y="71"/>
                    </a:cubicBezTo>
                    <a:cubicBezTo>
                      <a:pt x="16" y="54"/>
                      <a:pt x="16" y="54"/>
                      <a:pt x="16" y="54"/>
                    </a:cubicBezTo>
                    <a:cubicBezTo>
                      <a:pt x="0" y="60"/>
                      <a:pt x="0" y="60"/>
                      <a:pt x="0" y="60"/>
                    </a:cubicBezTo>
                    <a:cubicBezTo>
                      <a:pt x="30" y="95"/>
                      <a:pt x="30" y="95"/>
                      <a:pt x="30" y="95"/>
                    </a:cubicBezTo>
                    <a:cubicBezTo>
                      <a:pt x="31" y="140"/>
                      <a:pt x="31" y="140"/>
                      <a:pt x="31" y="140"/>
                    </a:cubicBezTo>
                    <a:cubicBezTo>
                      <a:pt x="47" y="134"/>
                      <a:pt x="47" y="134"/>
                      <a:pt x="47" y="134"/>
                    </a:cubicBezTo>
                    <a:cubicBezTo>
                      <a:pt x="55" y="104"/>
                      <a:pt x="55" y="104"/>
                      <a:pt x="55" y="104"/>
                    </a:cubicBezTo>
                    <a:cubicBezTo>
                      <a:pt x="87" y="92"/>
                      <a:pt x="87" y="92"/>
                      <a:pt x="87" y="92"/>
                    </a:cubicBezTo>
                    <a:cubicBezTo>
                      <a:pt x="98" y="152"/>
                      <a:pt x="98" y="152"/>
                      <a:pt x="98" y="152"/>
                    </a:cubicBezTo>
                    <a:cubicBezTo>
                      <a:pt x="114" y="146"/>
                      <a:pt x="114" y="146"/>
                      <a:pt x="114" y="146"/>
                    </a:cubicBezTo>
                    <a:cubicBezTo>
                      <a:pt x="117" y="81"/>
                      <a:pt x="117" y="81"/>
                      <a:pt x="117" y="81"/>
                    </a:cubicBezTo>
                    <a:cubicBezTo>
                      <a:pt x="139" y="72"/>
                      <a:pt x="139" y="72"/>
                      <a:pt x="139" y="72"/>
                    </a:cubicBezTo>
                    <a:cubicBezTo>
                      <a:pt x="148" y="68"/>
                      <a:pt x="169" y="52"/>
                      <a:pt x="166" y="4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94" name="Freeform: Shape 77"/>
              <p:cNvSpPr/>
              <p:nvPr/>
            </p:nvSpPr>
            <p:spPr bwMode="auto">
              <a:xfrm>
                <a:off x="6167143" y="2539950"/>
                <a:ext cx="143493" cy="284574"/>
              </a:xfrm>
              <a:custGeom>
                <a:avLst/>
                <a:gdLst>
                  <a:gd name="T0" fmla="*/ 18 w 88"/>
                  <a:gd name="T1" fmla="*/ 0 h 176"/>
                  <a:gd name="T2" fmla="*/ 70 w 88"/>
                  <a:gd name="T3" fmla="*/ 0 h 176"/>
                  <a:gd name="T4" fmla="*/ 88 w 88"/>
                  <a:gd name="T5" fmla="*/ 18 h 176"/>
                  <a:gd name="T6" fmla="*/ 88 w 88"/>
                  <a:gd name="T7" fmla="*/ 158 h 176"/>
                  <a:gd name="T8" fmla="*/ 70 w 88"/>
                  <a:gd name="T9" fmla="*/ 176 h 176"/>
                  <a:gd name="T10" fmla="*/ 18 w 88"/>
                  <a:gd name="T11" fmla="*/ 176 h 176"/>
                  <a:gd name="T12" fmla="*/ 0 w 88"/>
                  <a:gd name="T13" fmla="*/ 158 h 176"/>
                  <a:gd name="T14" fmla="*/ 0 w 88"/>
                  <a:gd name="T15" fmla="*/ 18 h 176"/>
                  <a:gd name="T16" fmla="*/ 18 w 8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76">
                    <a:moveTo>
                      <a:pt x="18" y="0"/>
                    </a:moveTo>
                    <a:cubicBezTo>
                      <a:pt x="70" y="0"/>
                      <a:pt x="70" y="0"/>
                      <a:pt x="70" y="0"/>
                    </a:cubicBezTo>
                    <a:cubicBezTo>
                      <a:pt x="80" y="0"/>
                      <a:pt x="88" y="8"/>
                      <a:pt x="88" y="18"/>
                    </a:cubicBezTo>
                    <a:cubicBezTo>
                      <a:pt x="88" y="158"/>
                      <a:pt x="88" y="158"/>
                      <a:pt x="88" y="158"/>
                    </a:cubicBezTo>
                    <a:cubicBezTo>
                      <a:pt x="88" y="168"/>
                      <a:pt x="80" y="176"/>
                      <a:pt x="70" y="176"/>
                    </a:cubicBezTo>
                    <a:cubicBezTo>
                      <a:pt x="18" y="176"/>
                      <a:pt x="18" y="176"/>
                      <a:pt x="18" y="176"/>
                    </a:cubicBezTo>
                    <a:cubicBezTo>
                      <a:pt x="8" y="176"/>
                      <a:pt x="0" y="168"/>
                      <a:pt x="0" y="158"/>
                    </a:cubicBezTo>
                    <a:cubicBezTo>
                      <a:pt x="0" y="18"/>
                      <a:pt x="0" y="18"/>
                      <a:pt x="0" y="18"/>
                    </a:cubicBezTo>
                    <a:cubicBezTo>
                      <a:pt x="0" y="8"/>
                      <a:pt x="8" y="0"/>
                      <a:pt x="18"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95" name="Rectangle 78"/>
              <p:cNvSpPr/>
              <p:nvPr/>
            </p:nvSpPr>
            <p:spPr bwMode="auto">
              <a:xfrm>
                <a:off x="6184024" y="2570096"/>
                <a:ext cx="110936" cy="21343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2400"/>
              </a:p>
            </p:txBody>
          </p:sp>
          <p:sp>
            <p:nvSpPr>
              <p:cNvPr id="96" name="Freeform: Shape 79"/>
              <p:cNvSpPr/>
              <p:nvPr/>
            </p:nvSpPr>
            <p:spPr bwMode="auto">
              <a:xfrm>
                <a:off x="6209347" y="2550803"/>
                <a:ext cx="60291" cy="4823"/>
              </a:xfrm>
              <a:custGeom>
                <a:avLst/>
                <a:gdLst>
                  <a:gd name="T0" fmla="*/ 1 w 37"/>
                  <a:gd name="T1" fmla="*/ 3 h 3"/>
                  <a:gd name="T2" fmla="*/ 35 w 37"/>
                  <a:gd name="T3" fmla="*/ 3 h 3"/>
                  <a:gd name="T4" fmla="*/ 37 w 37"/>
                  <a:gd name="T5" fmla="*/ 1 h 3"/>
                  <a:gd name="T6" fmla="*/ 37 w 37"/>
                  <a:gd name="T7" fmla="*/ 1 h 3"/>
                  <a:gd name="T8" fmla="*/ 35 w 37"/>
                  <a:gd name="T9" fmla="*/ 0 h 3"/>
                  <a:gd name="T10" fmla="*/ 1 w 37"/>
                  <a:gd name="T11" fmla="*/ 0 h 3"/>
                  <a:gd name="T12" fmla="*/ 0 w 37"/>
                  <a:gd name="T13" fmla="*/ 1 h 3"/>
                  <a:gd name="T14" fmla="*/ 0 w 37"/>
                  <a:gd name="T15" fmla="*/ 1 h 3"/>
                  <a:gd name="T16" fmla="*/ 1 w 3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
                    <a:moveTo>
                      <a:pt x="1" y="3"/>
                    </a:moveTo>
                    <a:cubicBezTo>
                      <a:pt x="35" y="3"/>
                      <a:pt x="35" y="3"/>
                      <a:pt x="35" y="3"/>
                    </a:cubicBezTo>
                    <a:cubicBezTo>
                      <a:pt x="36" y="3"/>
                      <a:pt x="37" y="2"/>
                      <a:pt x="37" y="1"/>
                    </a:cubicBezTo>
                    <a:cubicBezTo>
                      <a:pt x="37" y="1"/>
                      <a:pt x="37" y="1"/>
                      <a:pt x="37" y="1"/>
                    </a:cubicBezTo>
                    <a:cubicBezTo>
                      <a:pt x="37" y="0"/>
                      <a:pt x="36" y="0"/>
                      <a:pt x="35" y="0"/>
                    </a:cubicBezTo>
                    <a:cubicBezTo>
                      <a:pt x="1" y="0"/>
                      <a:pt x="1" y="0"/>
                      <a:pt x="1" y="0"/>
                    </a:cubicBezTo>
                    <a:cubicBezTo>
                      <a:pt x="0" y="0"/>
                      <a:pt x="0" y="0"/>
                      <a:pt x="0" y="1"/>
                    </a:cubicBezTo>
                    <a:cubicBezTo>
                      <a:pt x="0" y="1"/>
                      <a:pt x="0" y="1"/>
                      <a:pt x="0" y="1"/>
                    </a:cubicBezTo>
                    <a:cubicBezTo>
                      <a:pt x="0" y="2"/>
                      <a:pt x="0" y="3"/>
                      <a:pt x="1" y="3"/>
                    </a:cubicBezTo>
                    <a:close/>
                  </a:path>
                </a:pathLst>
              </a:custGeom>
              <a:solidFill>
                <a:srgbClr val="E5615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97" name="Freeform: Shape 80"/>
              <p:cNvSpPr/>
              <p:nvPr/>
            </p:nvSpPr>
            <p:spPr bwMode="auto">
              <a:xfrm>
                <a:off x="6188848" y="2800408"/>
                <a:ext cx="100083" cy="7235"/>
              </a:xfrm>
              <a:custGeom>
                <a:avLst/>
                <a:gdLst>
                  <a:gd name="T0" fmla="*/ 3 w 62"/>
                  <a:gd name="T1" fmla="*/ 5 h 5"/>
                  <a:gd name="T2" fmla="*/ 60 w 62"/>
                  <a:gd name="T3" fmla="*/ 5 h 5"/>
                  <a:gd name="T4" fmla="*/ 62 w 62"/>
                  <a:gd name="T5" fmla="*/ 3 h 5"/>
                  <a:gd name="T6" fmla="*/ 62 w 62"/>
                  <a:gd name="T7" fmla="*/ 3 h 5"/>
                  <a:gd name="T8" fmla="*/ 60 w 62"/>
                  <a:gd name="T9" fmla="*/ 0 h 5"/>
                  <a:gd name="T10" fmla="*/ 3 w 62"/>
                  <a:gd name="T11" fmla="*/ 0 h 5"/>
                  <a:gd name="T12" fmla="*/ 0 w 62"/>
                  <a:gd name="T13" fmla="*/ 3 h 5"/>
                  <a:gd name="T14" fmla="*/ 0 w 62"/>
                  <a:gd name="T15" fmla="*/ 3 h 5"/>
                  <a:gd name="T16" fmla="*/ 3 w 6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
                    <a:moveTo>
                      <a:pt x="3" y="5"/>
                    </a:moveTo>
                    <a:cubicBezTo>
                      <a:pt x="60" y="5"/>
                      <a:pt x="60" y="5"/>
                      <a:pt x="60" y="5"/>
                    </a:cubicBezTo>
                    <a:cubicBezTo>
                      <a:pt x="61" y="5"/>
                      <a:pt x="62" y="4"/>
                      <a:pt x="62" y="3"/>
                    </a:cubicBezTo>
                    <a:cubicBezTo>
                      <a:pt x="62" y="3"/>
                      <a:pt x="62" y="3"/>
                      <a:pt x="62" y="3"/>
                    </a:cubicBezTo>
                    <a:cubicBezTo>
                      <a:pt x="62" y="1"/>
                      <a:pt x="61" y="0"/>
                      <a:pt x="60" y="0"/>
                    </a:cubicBezTo>
                    <a:cubicBezTo>
                      <a:pt x="3" y="0"/>
                      <a:pt x="3" y="0"/>
                      <a:pt x="3" y="0"/>
                    </a:cubicBezTo>
                    <a:cubicBezTo>
                      <a:pt x="1" y="0"/>
                      <a:pt x="0" y="1"/>
                      <a:pt x="0" y="3"/>
                    </a:cubicBezTo>
                    <a:cubicBezTo>
                      <a:pt x="0" y="3"/>
                      <a:pt x="0" y="3"/>
                      <a:pt x="0" y="3"/>
                    </a:cubicBezTo>
                    <a:cubicBezTo>
                      <a:pt x="0" y="4"/>
                      <a:pt x="1" y="5"/>
                      <a:pt x="3" y="5"/>
                    </a:cubicBezTo>
                    <a:close/>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98" name="Oval 81"/>
              <p:cNvSpPr/>
              <p:nvPr/>
            </p:nvSpPr>
            <p:spPr bwMode="auto">
              <a:xfrm>
                <a:off x="6222611" y="2788350"/>
                <a:ext cx="32557" cy="32557"/>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99" name="Oval 82"/>
              <p:cNvSpPr/>
              <p:nvPr/>
            </p:nvSpPr>
            <p:spPr bwMode="auto">
              <a:xfrm>
                <a:off x="6227434" y="2793173"/>
                <a:ext cx="22911" cy="22911"/>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00" name="Freeform: Shape 83"/>
              <p:cNvSpPr/>
              <p:nvPr/>
            </p:nvSpPr>
            <p:spPr bwMode="auto">
              <a:xfrm>
                <a:off x="5736665" y="2017830"/>
                <a:ext cx="37380" cy="74761"/>
              </a:xfrm>
              <a:custGeom>
                <a:avLst/>
                <a:gdLst>
                  <a:gd name="T0" fmla="*/ 0 w 31"/>
                  <a:gd name="T1" fmla="*/ 62 h 62"/>
                  <a:gd name="T2" fmla="*/ 31 w 31"/>
                  <a:gd name="T3" fmla="*/ 25 h 62"/>
                  <a:gd name="T4" fmla="*/ 0 w 31"/>
                  <a:gd name="T5" fmla="*/ 0 h 62"/>
                  <a:gd name="T6" fmla="*/ 0 w 31"/>
                  <a:gd name="T7" fmla="*/ 62 h 62"/>
                </a:gdLst>
                <a:ahLst/>
                <a:cxnLst>
                  <a:cxn ang="0">
                    <a:pos x="T0" y="T1"/>
                  </a:cxn>
                  <a:cxn ang="0">
                    <a:pos x="T2" y="T3"/>
                  </a:cxn>
                  <a:cxn ang="0">
                    <a:pos x="T4" y="T5"/>
                  </a:cxn>
                  <a:cxn ang="0">
                    <a:pos x="T6" y="T7"/>
                  </a:cxn>
                </a:cxnLst>
                <a:rect l="0" t="0" r="r" b="b"/>
                <a:pathLst>
                  <a:path w="31" h="62">
                    <a:moveTo>
                      <a:pt x="0" y="62"/>
                    </a:moveTo>
                    <a:lnTo>
                      <a:pt x="31" y="25"/>
                    </a:lnTo>
                    <a:lnTo>
                      <a:pt x="0" y="0"/>
                    </a:lnTo>
                    <a:lnTo>
                      <a:pt x="0" y="6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01" name="Freeform: Shape 84"/>
              <p:cNvSpPr/>
              <p:nvPr/>
            </p:nvSpPr>
            <p:spPr bwMode="auto">
              <a:xfrm>
                <a:off x="5828307" y="2017830"/>
                <a:ext cx="36175" cy="74761"/>
              </a:xfrm>
              <a:custGeom>
                <a:avLst/>
                <a:gdLst>
                  <a:gd name="T0" fmla="*/ 30 w 30"/>
                  <a:gd name="T1" fmla="*/ 62 h 62"/>
                  <a:gd name="T2" fmla="*/ 30 w 30"/>
                  <a:gd name="T3" fmla="*/ 0 h 62"/>
                  <a:gd name="T4" fmla="*/ 0 w 30"/>
                  <a:gd name="T5" fmla="*/ 25 h 62"/>
                  <a:gd name="T6" fmla="*/ 30 w 30"/>
                  <a:gd name="T7" fmla="*/ 62 h 62"/>
                </a:gdLst>
                <a:ahLst/>
                <a:cxnLst>
                  <a:cxn ang="0">
                    <a:pos x="T0" y="T1"/>
                  </a:cxn>
                  <a:cxn ang="0">
                    <a:pos x="T2" y="T3"/>
                  </a:cxn>
                  <a:cxn ang="0">
                    <a:pos x="T4" y="T5"/>
                  </a:cxn>
                  <a:cxn ang="0">
                    <a:pos x="T6" y="T7"/>
                  </a:cxn>
                </a:cxnLst>
                <a:rect l="0" t="0" r="r" b="b"/>
                <a:pathLst>
                  <a:path w="30" h="62">
                    <a:moveTo>
                      <a:pt x="30" y="62"/>
                    </a:moveTo>
                    <a:lnTo>
                      <a:pt x="30" y="0"/>
                    </a:lnTo>
                    <a:lnTo>
                      <a:pt x="0" y="25"/>
                    </a:lnTo>
                    <a:lnTo>
                      <a:pt x="30" y="6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02" name="Rectangle 85"/>
              <p:cNvSpPr/>
              <p:nvPr/>
            </p:nvSpPr>
            <p:spPr bwMode="auto">
              <a:xfrm>
                <a:off x="5864482" y="2096208"/>
                <a:ext cx="1206" cy="12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2400"/>
              </a:p>
            </p:txBody>
          </p:sp>
          <p:sp>
            <p:nvSpPr>
              <p:cNvPr id="103" name="Rectangle 86"/>
              <p:cNvSpPr/>
              <p:nvPr/>
            </p:nvSpPr>
            <p:spPr bwMode="auto">
              <a:xfrm>
                <a:off x="5736665" y="2096208"/>
                <a:ext cx="1206" cy="12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2400"/>
              </a:p>
            </p:txBody>
          </p:sp>
          <p:sp>
            <p:nvSpPr>
              <p:cNvPr id="104" name="Freeform: Shape 87"/>
              <p:cNvSpPr/>
              <p:nvPr/>
            </p:nvSpPr>
            <p:spPr bwMode="auto">
              <a:xfrm>
                <a:off x="5739076" y="2050387"/>
                <a:ext cx="124200" cy="45821"/>
              </a:xfrm>
              <a:custGeom>
                <a:avLst/>
                <a:gdLst>
                  <a:gd name="T0" fmla="*/ 103 w 103"/>
                  <a:gd name="T1" fmla="*/ 38 h 38"/>
                  <a:gd name="T2" fmla="*/ 103 w 103"/>
                  <a:gd name="T3" fmla="*/ 38 h 38"/>
                  <a:gd name="T4" fmla="*/ 71 w 103"/>
                  <a:gd name="T5" fmla="*/ 0 h 38"/>
                  <a:gd name="T6" fmla="*/ 52 w 103"/>
                  <a:gd name="T7" fmla="*/ 15 h 38"/>
                  <a:gd name="T8" fmla="*/ 32 w 103"/>
                  <a:gd name="T9" fmla="*/ 0 h 38"/>
                  <a:gd name="T10" fmla="*/ 1 w 103"/>
                  <a:gd name="T11" fmla="*/ 38 h 38"/>
                  <a:gd name="T12" fmla="*/ 0 w 103"/>
                  <a:gd name="T13" fmla="*/ 38 h 38"/>
                  <a:gd name="T14" fmla="*/ 103 w 10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8">
                    <a:moveTo>
                      <a:pt x="103" y="38"/>
                    </a:moveTo>
                    <a:lnTo>
                      <a:pt x="103" y="38"/>
                    </a:lnTo>
                    <a:lnTo>
                      <a:pt x="71" y="0"/>
                    </a:lnTo>
                    <a:lnTo>
                      <a:pt x="52" y="15"/>
                    </a:lnTo>
                    <a:lnTo>
                      <a:pt x="32" y="0"/>
                    </a:lnTo>
                    <a:lnTo>
                      <a:pt x="1" y="38"/>
                    </a:lnTo>
                    <a:lnTo>
                      <a:pt x="0" y="38"/>
                    </a:lnTo>
                    <a:lnTo>
                      <a:pt x="103" y="3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05" name="Freeform: Shape 88"/>
              <p:cNvSpPr/>
              <p:nvPr/>
            </p:nvSpPr>
            <p:spPr bwMode="auto">
              <a:xfrm>
                <a:off x="5740282" y="2015418"/>
                <a:ext cx="121788" cy="48233"/>
              </a:xfrm>
              <a:custGeom>
                <a:avLst/>
                <a:gdLst>
                  <a:gd name="T0" fmla="*/ 31 w 101"/>
                  <a:gd name="T1" fmla="*/ 24 h 40"/>
                  <a:gd name="T2" fmla="*/ 32 w 101"/>
                  <a:gd name="T3" fmla="*/ 25 h 40"/>
                  <a:gd name="T4" fmla="*/ 34 w 101"/>
                  <a:gd name="T5" fmla="*/ 27 h 40"/>
                  <a:gd name="T6" fmla="*/ 51 w 101"/>
                  <a:gd name="T7" fmla="*/ 40 h 40"/>
                  <a:gd name="T8" fmla="*/ 69 w 101"/>
                  <a:gd name="T9" fmla="*/ 27 h 40"/>
                  <a:gd name="T10" fmla="*/ 70 w 101"/>
                  <a:gd name="T11" fmla="*/ 25 h 40"/>
                  <a:gd name="T12" fmla="*/ 71 w 101"/>
                  <a:gd name="T13" fmla="*/ 24 h 40"/>
                  <a:gd name="T14" fmla="*/ 101 w 101"/>
                  <a:gd name="T15" fmla="*/ 0 h 40"/>
                  <a:gd name="T16" fmla="*/ 0 w 101"/>
                  <a:gd name="T17" fmla="*/ 0 h 40"/>
                  <a:gd name="T18" fmla="*/ 31 w 101"/>
                  <a:gd name="T1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40">
                    <a:moveTo>
                      <a:pt x="31" y="24"/>
                    </a:moveTo>
                    <a:lnTo>
                      <a:pt x="32" y="25"/>
                    </a:lnTo>
                    <a:lnTo>
                      <a:pt x="34" y="27"/>
                    </a:lnTo>
                    <a:lnTo>
                      <a:pt x="51" y="40"/>
                    </a:lnTo>
                    <a:lnTo>
                      <a:pt x="69" y="27"/>
                    </a:lnTo>
                    <a:lnTo>
                      <a:pt x="70" y="25"/>
                    </a:lnTo>
                    <a:lnTo>
                      <a:pt x="71" y="24"/>
                    </a:lnTo>
                    <a:lnTo>
                      <a:pt x="101" y="0"/>
                    </a:lnTo>
                    <a:lnTo>
                      <a:pt x="0" y="0"/>
                    </a:lnTo>
                    <a:lnTo>
                      <a:pt x="31" y="2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06" name="Freeform: Shape 89"/>
              <p:cNvSpPr/>
              <p:nvPr/>
            </p:nvSpPr>
            <p:spPr bwMode="auto">
              <a:xfrm>
                <a:off x="7117331" y="4260658"/>
                <a:ext cx="54262" cy="151934"/>
              </a:xfrm>
              <a:custGeom>
                <a:avLst/>
                <a:gdLst>
                  <a:gd name="T0" fmla="*/ 4 w 33"/>
                  <a:gd name="T1" fmla="*/ 11 h 94"/>
                  <a:gd name="T2" fmla="*/ 1 w 33"/>
                  <a:gd name="T3" fmla="*/ 23 h 94"/>
                  <a:gd name="T4" fmla="*/ 3 w 33"/>
                  <a:gd name="T5" fmla="*/ 32 h 94"/>
                  <a:gd name="T6" fmla="*/ 12 w 33"/>
                  <a:gd name="T7" fmla="*/ 43 h 94"/>
                  <a:gd name="T8" fmla="*/ 12 w 33"/>
                  <a:gd name="T9" fmla="*/ 94 h 94"/>
                  <a:gd name="T10" fmla="*/ 21 w 33"/>
                  <a:gd name="T11" fmla="*/ 94 h 94"/>
                  <a:gd name="T12" fmla="*/ 21 w 33"/>
                  <a:gd name="T13" fmla="*/ 43 h 94"/>
                  <a:gd name="T14" fmla="*/ 30 w 33"/>
                  <a:gd name="T15" fmla="*/ 32 h 94"/>
                  <a:gd name="T16" fmla="*/ 33 w 33"/>
                  <a:gd name="T17" fmla="*/ 23 h 94"/>
                  <a:gd name="T18" fmla="*/ 29 w 33"/>
                  <a:gd name="T19" fmla="*/ 11 h 94"/>
                  <a:gd name="T20" fmla="*/ 22 w 33"/>
                  <a:gd name="T21" fmla="*/ 0 h 94"/>
                  <a:gd name="T22" fmla="*/ 25 w 33"/>
                  <a:gd name="T23" fmla="*/ 22 h 94"/>
                  <a:gd name="T24" fmla="*/ 22 w 33"/>
                  <a:gd name="T25" fmla="*/ 22 h 94"/>
                  <a:gd name="T26" fmla="*/ 19 w 33"/>
                  <a:gd name="T27" fmla="*/ 0 h 94"/>
                  <a:gd name="T28" fmla="*/ 17 w 33"/>
                  <a:gd name="T29" fmla="*/ 0 h 94"/>
                  <a:gd name="T30" fmla="*/ 15 w 33"/>
                  <a:gd name="T31" fmla="*/ 0 h 94"/>
                  <a:gd name="T32" fmla="*/ 12 w 33"/>
                  <a:gd name="T33" fmla="*/ 22 h 94"/>
                  <a:gd name="T34" fmla="*/ 9 w 33"/>
                  <a:gd name="T35" fmla="*/ 22 h 94"/>
                  <a:gd name="T36" fmla="*/ 12 w 33"/>
                  <a:gd name="T37" fmla="*/ 0 h 94"/>
                  <a:gd name="T38" fmla="*/ 4 w 33"/>
                  <a:gd name="T39" fmla="*/ 1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94">
                    <a:moveTo>
                      <a:pt x="4" y="11"/>
                    </a:moveTo>
                    <a:cubicBezTo>
                      <a:pt x="3" y="15"/>
                      <a:pt x="1" y="18"/>
                      <a:pt x="1" y="23"/>
                    </a:cubicBezTo>
                    <a:cubicBezTo>
                      <a:pt x="0" y="26"/>
                      <a:pt x="1" y="29"/>
                      <a:pt x="3" y="32"/>
                    </a:cubicBezTo>
                    <a:cubicBezTo>
                      <a:pt x="5" y="36"/>
                      <a:pt x="8" y="40"/>
                      <a:pt x="12" y="43"/>
                    </a:cubicBezTo>
                    <a:cubicBezTo>
                      <a:pt x="12" y="94"/>
                      <a:pt x="12" y="94"/>
                      <a:pt x="12" y="94"/>
                    </a:cubicBezTo>
                    <a:cubicBezTo>
                      <a:pt x="21" y="94"/>
                      <a:pt x="21" y="94"/>
                      <a:pt x="21" y="94"/>
                    </a:cubicBezTo>
                    <a:cubicBezTo>
                      <a:pt x="21" y="43"/>
                      <a:pt x="21" y="43"/>
                      <a:pt x="21" y="43"/>
                    </a:cubicBezTo>
                    <a:cubicBezTo>
                      <a:pt x="25" y="41"/>
                      <a:pt x="29" y="36"/>
                      <a:pt x="30" y="32"/>
                    </a:cubicBezTo>
                    <a:cubicBezTo>
                      <a:pt x="32" y="29"/>
                      <a:pt x="33" y="26"/>
                      <a:pt x="33" y="23"/>
                    </a:cubicBezTo>
                    <a:cubicBezTo>
                      <a:pt x="32" y="18"/>
                      <a:pt x="31" y="15"/>
                      <a:pt x="29" y="11"/>
                    </a:cubicBezTo>
                    <a:cubicBezTo>
                      <a:pt x="28" y="8"/>
                      <a:pt x="26" y="0"/>
                      <a:pt x="22" y="0"/>
                    </a:cubicBezTo>
                    <a:cubicBezTo>
                      <a:pt x="25" y="22"/>
                      <a:pt x="25" y="22"/>
                      <a:pt x="25" y="22"/>
                    </a:cubicBezTo>
                    <a:cubicBezTo>
                      <a:pt x="22" y="22"/>
                      <a:pt x="22" y="22"/>
                      <a:pt x="22" y="22"/>
                    </a:cubicBezTo>
                    <a:cubicBezTo>
                      <a:pt x="19" y="0"/>
                      <a:pt x="19" y="0"/>
                      <a:pt x="19" y="0"/>
                    </a:cubicBezTo>
                    <a:cubicBezTo>
                      <a:pt x="17" y="0"/>
                      <a:pt x="17" y="0"/>
                      <a:pt x="17" y="0"/>
                    </a:cubicBezTo>
                    <a:cubicBezTo>
                      <a:pt x="15" y="0"/>
                      <a:pt x="15" y="0"/>
                      <a:pt x="15" y="0"/>
                    </a:cubicBezTo>
                    <a:cubicBezTo>
                      <a:pt x="12" y="22"/>
                      <a:pt x="12" y="22"/>
                      <a:pt x="12" y="22"/>
                    </a:cubicBezTo>
                    <a:cubicBezTo>
                      <a:pt x="9" y="22"/>
                      <a:pt x="9" y="22"/>
                      <a:pt x="9" y="22"/>
                    </a:cubicBezTo>
                    <a:cubicBezTo>
                      <a:pt x="12" y="0"/>
                      <a:pt x="12" y="0"/>
                      <a:pt x="12" y="0"/>
                    </a:cubicBezTo>
                    <a:cubicBezTo>
                      <a:pt x="8" y="0"/>
                      <a:pt x="5" y="8"/>
                      <a:pt x="4" y="1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07" name="Freeform: Shape 90"/>
              <p:cNvSpPr/>
              <p:nvPr/>
            </p:nvSpPr>
            <p:spPr bwMode="auto">
              <a:xfrm>
                <a:off x="7187268" y="4258246"/>
                <a:ext cx="56674" cy="154345"/>
              </a:xfrm>
              <a:custGeom>
                <a:avLst/>
                <a:gdLst>
                  <a:gd name="T0" fmla="*/ 22 w 35"/>
                  <a:gd name="T1" fmla="*/ 96 h 96"/>
                  <a:gd name="T2" fmla="*/ 22 w 35"/>
                  <a:gd name="T3" fmla="*/ 46 h 96"/>
                  <a:gd name="T4" fmla="*/ 35 w 35"/>
                  <a:gd name="T5" fmla="*/ 25 h 96"/>
                  <a:gd name="T6" fmla="*/ 18 w 35"/>
                  <a:gd name="T7" fmla="*/ 0 h 96"/>
                  <a:gd name="T8" fmla="*/ 0 w 35"/>
                  <a:gd name="T9" fmla="*/ 25 h 96"/>
                  <a:gd name="T10" fmla="*/ 13 w 35"/>
                  <a:gd name="T11" fmla="*/ 45 h 96"/>
                  <a:gd name="T12" fmla="*/ 13 w 35"/>
                  <a:gd name="T13" fmla="*/ 96 h 96"/>
                  <a:gd name="T14" fmla="*/ 22 w 35"/>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96">
                    <a:moveTo>
                      <a:pt x="22" y="96"/>
                    </a:moveTo>
                    <a:cubicBezTo>
                      <a:pt x="22" y="46"/>
                      <a:pt x="22" y="46"/>
                      <a:pt x="22" y="46"/>
                    </a:cubicBezTo>
                    <a:cubicBezTo>
                      <a:pt x="29" y="43"/>
                      <a:pt x="35" y="35"/>
                      <a:pt x="35" y="25"/>
                    </a:cubicBezTo>
                    <a:cubicBezTo>
                      <a:pt x="35" y="14"/>
                      <a:pt x="27" y="0"/>
                      <a:pt x="18" y="0"/>
                    </a:cubicBezTo>
                    <a:cubicBezTo>
                      <a:pt x="8" y="0"/>
                      <a:pt x="0" y="14"/>
                      <a:pt x="0" y="25"/>
                    </a:cubicBezTo>
                    <a:cubicBezTo>
                      <a:pt x="0" y="35"/>
                      <a:pt x="6" y="43"/>
                      <a:pt x="13" y="45"/>
                    </a:cubicBezTo>
                    <a:cubicBezTo>
                      <a:pt x="13" y="96"/>
                      <a:pt x="13" y="96"/>
                      <a:pt x="13" y="96"/>
                    </a:cubicBezTo>
                    <a:lnTo>
                      <a:pt x="22" y="9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08" name="Freeform: Shape 91"/>
              <p:cNvSpPr/>
              <p:nvPr/>
            </p:nvSpPr>
            <p:spPr bwMode="auto">
              <a:xfrm>
                <a:off x="5168723" y="3636042"/>
                <a:ext cx="107318" cy="225489"/>
              </a:xfrm>
              <a:custGeom>
                <a:avLst/>
                <a:gdLst>
                  <a:gd name="T0" fmla="*/ 33 w 66"/>
                  <a:gd name="T1" fmla="*/ 119 h 139"/>
                  <a:gd name="T2" fmla="*/ 65 w 66"/>
                  <a:gd name="T3" fmla="*/ 135 h 139"/>
                  <a:gd name="T4" fmla="*/ 66 w 66"/>
                  <a:gd name="T5" fmla="*/ 134 h 139"/>
                  <a:gd name="T6" fmla="*/ 66 w 66"/>
                  <a:gd name="T7" fmla="*/ 30 h 139"/>
                  <a:gd name="T8" fmla="*/ 65 w 66"/>
                  <a:gd name="T9" fmla="*/ 14 h 139"/>
                  <a:gd name="T10" fmla="*/ 33 w 66"/>
                  <a:gd name="T11" fmla="*/ 0 h 139"/>
                  <a:gd name="T12" fmla="*/ 33 w 66"/>
                  <a:gd name="T13" fmla="*/ 18 h 139"/>
                  <a:gd name="T14" fmla="*/ 56 w 66"/>
                  <a:gd name="T15" fmla="*/ 23 h 139"/>
                  <a:gd name="T16" fmla="*/ 57 w 66"/>
                  <a:gd name="T17" fmla="*/ 25 h 139"/>
                  <a:gd name="T18" fmla="*/ 55 w 66"/>
                  <a:gd name="T19" fmla="*/ 26 h 139"/>
                  <a:gd name="T20" fmla="*/ 54 w 66"/>
                  <a:gd name="T21" fmla="*/ 26 h 139"/>
                  <a:gd name="T22" fmla="*/ 50 w 66"/>
                  <a:gd name="T23" fmla="*/ 24 h 139"/>
                  <a:gd name="T24" fmla="*/ 33 w 66"/>
                  <a:gd name="T25" fmla="*/ 22 h 139"/>
                  <a:gd name="T26" fmla="*/ 33 w 66"/>
                  <a:gd name="T27" fmla="*/ 37 h 139"/>
                  <a:gd name="T28" fmla="*/ 56 w 66"/>
                  <a:gd name="T29" fmla="*/ 41 h 139"/>
                  <a:gd name="T30" fmla="*/ 57 w 66"/>
                  <a:gd name="T31" fmla="*/ 44 h 139"/>
                  <a:gd name="T32" fmla="*/ 55 w 66"/>
                  <a:gd name="T33" fmla="*/ 45 h 139"/>
                  <a:gd name="T34" fmla="*/ 54 w 66"/>
                  <a:gd name="T35" fmla="*/ 45 h 139"/>
                  <a:gd name="T36" fmla="*/ 50 w 66"/>
                  <a:gd name="T37" fmla="*/ 43 h 139"/>
                  <a:gd name="T38" fmla="*/ 33 w 66"/>
                  <a:gd name="T39" fmla="*/ 41 h 139"/>
                  <a:gd name="T40" fmla="*/ 33 w 66"/>
                  <a:gd name="T41" fmla="*/ 56 h 139"/>
                  <a:gd name="T42" fmla="*/ 56 w 66"/>
                  <a:gd name="T43" fmla="*/ 60 h 139"/>
                  <a:gd name="T44" fmla="*/ 57 w 66"/>
                  <a:gd name="T45" fmla="*/ 62 h 139"/>
                  <a:gd name="T46" fmla="*/ 55 w 66"/>
                  <a:gd name="T47" fmla="*/ 64 h 139"/>
                  <a:gd name="T48" fmla="*/ 54 w 66"/>
                  <a:gd name="T49" fmla="*/ 63 h 139"/>
                  <a:gd name="T50" fmla="*/ 50 w 66"/>
                  <a:gd name="T51" fmla="*/ 62 h 139"/>
                  <a:gd name="T52" fmla="*/ 33 w 66"/>
                  <a:gd name="T53" fmla="*/ 60 h 139"/>
                  <a:gd name="T54" fmla="*/ 33 w 66"/>
                  <a:gd name="T55" fmla="*/ 119 h 139"/>
                  <a:gd name="T56" fmla="*/ 1 w 66"/>
                  <a:gd name="T57" fmla="*/ 135 h 139"/>
                  <a:gd name="T58" fmla="*/ 33 w 66"/>
                  <a:gd name="T59" fmla="*/ 119 h 139"/>
                  <a:gd name="T60" fmla="*/ 33 w 66"/>
                  <a:gd name="T61" fmla="*/ 60 h 139"/>
                  <a:gd name="T62" fmla="*/ 17 w 66"/>
                  <a:gd name="T63" fmla="*/ 62 h 139"/>
                  <a:gd name="T64" fmla="*/ 12 w 66"/>
                  <a:gd name="T65" fmla="*/ 63 h 139"/>
                  <a:gd name="T66" fmla="*/ 10 w 66"/>
                  <a:gd name="T67" fmla="*/ 62 h 139"/>
                  <a:gd name="T68" fmla="*/ 11 w 66"/>
                  <a:gd name="T69" fmla="*/ 60 h 139"/>
                  <a:gd name="T70" fmla="*/ 11 w 66"/>
                  <a:gd name="T71" fmla="*/ 60 h 139"/>
                  <a:gd name="T72" fmla="*/ 33 w 66"/>
                  <a:gd name="T73" fmla="*/ 56 h 139"/>
                  <a:gd name="T74" fmla="*/ 33 w 66"/>
                  <a:gd name="T75" fmla="*/ 41 h 139"/>
                  <a:gd name="T76" fmla="*/ 17 w 66"/>
                  <a:gd name="T77" fmla="*/ 43 h 139"/>
                  <a:gd name="T78" fmla="*/ 12 w 66"/>
                  <a:gd name="T79" fmla="*/ 45 h 139"/>
                  <a:gd name="T80" fmla="*/ 10 w 66"/>
                  <a:gd name="T81" fmla="*/ 44 h 139"/>
                  <a:gd name="T82" fmla="*/ 11 w 66"/>
                  <a:gd name="T83" fmla="*/ 41 h 139"/>
                  <a:gd name="T84" fmla="*/ 11 w 66"/>
                  <a:gd name="T85" fmla="*/ 41 h 139"/>
                  <a:gd name="T86" fmla="*/ 33 w 66"/>
                  <a:gd name="T87" fmla="*/ 37 h 139"/>
                  <a:gd name="T88" fmla="*/ 33 w 66"/>
                  <a:gd name="T89" fmla="*/ 22 h 139"/>
                  <a:gd name="T90" fmla="*/ 17 w 66"/>
                  <a:gd name="T91" fmla="*/ 24 h 139"/>
                  <a:gd name="T92" fmla="*/ 12 w 66"/>
                  <a:gd name="T93" fmla="*/ 26 h 139"/>
                  <a:gd name="T94" fmla="*/ 10 w 66"/>
                  <a:gd name="T95" fmla="*/ 25 h 139"/>
                  <a:gd name="T96" fmla="*/ 11 w 66"/>
                  <a:gd name="T97" fmla="*/ 23 h 139"/>
                  <a:gd name="T98" fmla="*/ 11 w 66"/>
                  <a:gd name="T99" fmla="*/ 23 h 139"/>
                  <a:gd name="T100" fmla="*/ 33 w 66"/>
                  <a:gd name="T101" fmla="*/ 18 h 139"/>
                  <a:gd name="T102" fmla="*/ 33 w 66"/>
                  <a:gd name="T103" fmla="*/ 0 h 139"/>
                  <a:gd name="T104" fmla="*/ 2 w 66"/>
                  <a:gd name="T105" fmla="*/ 14 h 139"/>
                  <a:gd name="T106" fmla="*/ 0 w 66"/>
                  <a:gd name="T107" fmla="*/ 30 h 139"/>
                  <a:gd name="T108" fmla="*/ 0 w 66"/>
                  <a:gd name="T109" fmla="*/ 134 h 139"/>
                  <a:gd name="T110" fmla="*/ 1 w 66"/>
                  <a:gd name="T111" fmla="*/ 1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 h="139">
                    <a:moveTo>
                      <a:pt x="33" y="119"/>
                    </a:moveTo>
                    <a:cubicBezTo>
                      <a:pt x="49" y="119"/>
                      <a:pt x="61" y="123"/>
                      <a:pt x="65" y="135"/>
                    </a:cubicBez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6" y="63"/>
                      <a:pt x="56" y="64"/>
                      <a:pt x="55" y="64"/>
                    </a:cubicBezTo>
                    <a:cubicBezTo>
                      <a:pt x="55" y="64"/>
                      <a:pt x="54" y="64"/>
                      <a:pt x="54" y="63"/>
                    </a:cubicBezTo>
                    <a:cubicBezTo>
                      <a:pt x="53" y="63"/>
                      <a:pt x="51" y="62"/>
                      <a:pt x="50" y="62"/>
                    </a:cubicBezTo>
                    <a:cubicBezTo>
                      <a:pt x="45" y="60"/>
                      <a:pt x="40" y="60"/>
                      <a:pt x="33" y="60"/>
                    </a:cubicBezTo>
                    <a:lnTo>
                      <a:pt x="33" y="119"/>
                    </a:lnTo>
                    <a:close/>
                    <a:moveTo>
                      <a:pt x="1" y="135"/>
                    </a:moveTo>
                    <a:cubicBezTo>
                      <a:pt x="5" y="123"/>
                      <a:pt x="18" y="119"/>
                      <a:pt x="33" y="119"/>
                    </a:cubicBezTo>
                    <a:cubicBezTo>
                      <a:pt x="33" y="60"/>
                      <a:pt x="33" y="60"/>
                      <a:pt x="33" y="60"/>
                    </a:cubicBezTo>
                    <a:cubicBezTo>
                      <a:pt x="27" y="60"/>
                      <a:pt x="21" y="60"/>
                      <a:pt x="17" y="62"/>
                    </a:cubicBezTo>
                    <a:cubicBezTo>
                      <a:pt x="15" y="62"/>
                      <a:pt x="14" y="63"/>
                      <a:pt x="12" y="63"/>
                    </a:cubicBezTo>
                    <a:cubicBezTo>
                      <a:pt x="11" y="64"/>
                      <a:pt x="10" y="63"/>
                      <a:pt x="10" y="62"/>
                    </a:cubicBezTo>
                    <a:cubicBezTo>
                      <a:pt x="9" y="62"/>
                      <a:pt x="10" y="60"/>
                      <a:pt x="11" y="60"/>
                    </a:cubicBezTo>
                    <a:cubicBezTo>
                      <a:pt x="11" y="60"/>
                      <a:pt x="11" y="60"/>
                      <a:pt x="11" y="60"/>
                    </a:cubicBezTo>
                    <a:cubicBezTo>
                      <a:pt x="16" y="57"/>
                      <a:pt x="24" y="56"/>
                      <a:pt x="33" y="56"/>
                    </a:cubicBezTo>
                    <a:cubicBezTo>
                      <a:pt x="33" y="41"/>
                      <a:pt x="33" y="41"/>
                      <a:pt x="33" y="41"/>
                    </a:cubicBezTo>
                    <a:cubicBezTo>
                      <a:pt x="27" y="41"/>
                      <a:pt x="21" y="42"/>
                      <a:pt x="17" y="43"/>
                    </a:cubicBezTo>
                    <a:cubicBezTo>
                      <a:pt x="15" y="43"/>
                      <a:pt x="14" y="44"/>
                      <a:pt x="12" y="45"/>
                    </a:cubicBezTo>
                    <a:cubicBezTo>
                      <a:pt x="11" y="45"/>
                      <a:pt x="10" y="45"/>
                      <a:pt x="10" y="44"/>
                    </a:cubicBezTo>
                    <a:cubicBezTo>
                      <a:pt x="9" y="43"/>
                      <a:pt x="10" y="42"/>
                      <a:pt x="11" y="41"/>
                    </a:cubicBezTo>
                    <a:cubicBezTo>
                      <a:pt x="11" y="41"/>
                      <a:pt x="11" y="41"/>
                      <a:pt x="11" y="41"/>
                    </a:cubicBezTo>
                    <a:cubicBezTo>
                      <a:pt x="16" y="38"/>
                      <a:pt x="24" y="37"/>
                      <a:pt x="33" y="37"/>
                    </a:cubicBezTo>
                    <a:cubicBezTo>
                      <a:pt x="33" y="22"/>
                      <a:pt x="33" y="22"/>
                      <a:pt x="33" y="22"/>
                    </a:cubicBezTo>
                    <a:cubicBezTo>
                      <a:pt x="27" y="22"/>
                      <a:pt x="21" y="23"/>
                      <a:pt x="17" y="24"/>
                    </a:cubicBezTo>
                    <a:cubicBezTo>
                      <a:pt x="15" y="25"/>
                      <a:pt x="14" y="25"/>
                      <a:pt x="12" y="26"/>
                    </a:cubicBezTo>
                    <a:cubicBezTo>
                      <a:pt x="11" y="26"/>
                      <a:pt x="10" y="26"/>
                      <a:pt x="10" y="25"/>
                    </a:cubicBezTo>
                    <a:cubicBezTo>
                      <a:pt x="9" y="24"/>
                      <a:pt x="10" y="23"/>
                      <a:pt x="11" y="23"/>
                    </a:cubicBezTo>
                    <a:cubicBezTo>
                      <a:pt x="11" y="23"/>
                      <a:pt x="11" y="23"/>
                      <a:pt x="11" y="23"/>
                    </a:cubicBezTo>
                    <a:cubicBezTo>
                      <a:pt x="16" y="20"/>
                      <a:pt x="24" y="18"/>
                      <a:pt x="33" y="18"/>
                    </a:cubicBezTo>
                    <a:cubicBezTo>
                      <a:pt x="33" y="0"/>
                      <a:pt x="33" y="0"/>
                      <a:pt x="33" y="0"/>
                    </a:cubicBezTo>
                    <a:cubicBezTo>
                      <a:pt x="18" y="0"/>
                      <a:pt x="6" y="3"/>
                      <a:pt x="2" y="14"/>
                    </a:cubicBezTo>
                    <a:cubicBezTo>
                      <a:pt x="0" y="18"/>
                      <a:pt x="0" y="25"/>
                      <a:pt x="0" y="30"/>
                    </a:cubicBezTo>
                    <a:cubicBezTo>
                      <a:pt x="0" y="51"/>
                      <a:pt x="0" y="113"/>
                      <a:pt x="0" y="134"/>
                    </a:cubicBezTo>
                    <a:cubicBezTo>
                      <a:pt x="0" y="139"/>
                      <a:pt x="0" y="139"/>
                      <a:pt x="1" y="13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09" name="Freeform: Shape 92"/>
              <p:cNvSpPr/>
              <p:nvPr/>
            </p:nvSpPr>
            <p:spPr bwMode="auto">
              <a:xfrm>
                <a:off x="5285687" y="3636042"/>
                <a:ext cx="106112" cy="225489"/>
              </a:xfrm>
              <a:custGeom>
                <a:avLst/>
                <a:gdLst>
                  <a:gd name="T0" fmla="*/ 66 w 66"/>
                  <a:gd name="T1" fmla="*/ 134 h 139"/>
                  <a:gd name="T2" fmla="*/ 65 w 66"/>
                  <a:gd name="T3" fmla="*/ 14 h 139"/>
                  <a:gd name="T4" fmla="*/ 33 w 66"/>
                  <a:gd name="T5" fmla="*/ 18 h 139"/>
                  <a:gd name="T6" fmla="*/ 57 w 66"/>
                  <a:gd name="T7" fmla="*/ 25 h 139"/>
                  <a:gd name="T8" fmla="*/ 55 w 66"/>
                  <a:gd name="T9" fmla="*/ 26 h 139"/>
                  <a:gd name="T10" fmla="*/ 50 w 66"/>
                  <a:gd name="T11" fmla="*/ 24 h 139"/>
                  <a:gd name="T12" fmla="*/ 33 w 66"/>
                  <a:gd name="T13" fmla="*/ 37 h 139"/>
                  <a:gd name="T14" fmla="*/ 57 w 66"/>
                  <a:gd name="T15" fmla="*/ 44 h 139"/>
                  <a:gd name="T16" fmla="*/ 55 w 66"/>
                  <a:gd name="T17" fmla="*/ 45 h 139"/>
                  <a:gd name="T18" fmla="*/ 50 w 66"/>
                  <a:gd name="T19" fmla="*/ 43 h 139"/>
                  <a:gd name="T20" fmla="*/ 33 w 66"/>
                  <a:gd name="T21" fmla="*/ 56 h 139"/>
                  <a:gd name="T22" fmla="*/ 57 w 66"/>
                  <a:gd name="T23" fmla="*/ 62 h 139"/>
                  <a:gd name="T24" fmla="*/ 55 w 66"/>
                  <a:gd name="T25" fmla="*/ 64 h 139"/>
                  <a:gd name="T26" fmla="*/ 50 w 66"/>
                  <a:gd name="T27" fmla="*/ 62 h 139"/>
                  <a:gd name="T28" fmla="*/ 33 w 66"/>
                  <a:gd name="T29" fmla="*/ 119 h 139"/>
                  <a:gd name="T30" fmla="*/ 65 w 66"/>
                  <a:gd name="T31" fmla="*/ 135 h 139"/>
                  <a:gd name="T32" fmla="*/ 33 w 66"/>
                  <a:gd name="T33" fmla="*/ 0 h 139"/>
                  <a:gd name="T34" fmla="*/ 0 w 66"/>
                  <a:gd name="T35" fmla="*/ 30 h 139"/>
                  <a:gd name="T36" fmla="*/ 1 w 66"/>
                  <a:gd name="T37" fmla="*/ 135 h 139"/>
                  <a:gd name="T38" fmla="*/ 33 w 66"/>
                  <a:gd name="T39" fmla="*/ 60 h 139"/>
                  <a:gd name="T40" fmla="*/ 17 w 66"/>
                  <a:gd name="T41" fmla="*/ 62 h 139"/>
                  <a:gd name="T42" fmla="*/ 10 w 66"/>
                  <a:gd name="T43" fmla="*/ 62 h 139"/>
                  <a:gd name="T44" fmla="*/ 33 w 66"/>
                  <a:gd name="T45" fmla="*/ 56 h 139"/>
                  <a:gd name="T46" fmla="*/ 33 w 66"/>
                  <a:gd name="T47" fmla="*/ 41 h 139"/>
                  <a:gd name="T48" fmla="*/ 17 w 66"/>
                  <a:gd name="T49" fmla="*/ 43 h 139"/>
                  <a:gd name="T50" fmla="*/ 10 w 66"/>
                  <a:gd name="T51" fmla="*/ 44 h 139"/>
                  <a:gd name="T52" fmla="*/ 33 w 66"/>
                  <a:gd name="T53" fmla="*/ 37 h 139"/>
                  <a:gd name="T54" fmla="*/ 33 w 66"/>
                  <a:gd name="T55" fmla="*/ 22 h 139"/>
                  <a:gd name="T56" fmla="*/ 17 w 66"/>
                  <a:gd name="T57" fmla="*/ 24 h 139"/>
                  <a:gd name="T58" fmla="*/ 10 w 66"/>
                  <a:gd name="T59" fmla="*/ 25 h 139"/>
                  <a:gd name="T60" fmla="*/ 33 w 66"/>
                  <a:gd name="T61" fmla="*/ 18 h 139"/>
                  <a:gd name="T62" fmla="*/ 33 w 66"/>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39">
                    <a:moveTo>
                      <a:pt x="65" y="135"/>
                    </a:moveTo>
                    <a:cubicBezTo>
                      <a:pt x="66" y="139"/>
                      <a:pt x="66" y="139"/>
                      <a:pt x="66" y="134"/>
                    </a:cubicBezTo>
                    <a:cubicBezTo>
                      <a:pt x="66" y="113"/>
                      <a:pt x="66" y="51"/>
                      <a:pt x="66" y="30"/>
                    </a:cubicBezTo>
                    <a:cubicBezTo>
                      <a:pt x="66" y="25"/>
                      <a:pt x="66" y="18"/>
                      <a:pt x="65" y="14"/>
                    </a:cubicBezTo>
                    <a:cubicBezTo>
                      <a:pt x="61" y="3"/>
                      <a:pt x="48" y="0"/>
                      <a:pt x="33" y="0"/>
                    </a:cubicBezTo>
                    <a:cubicBezTo>
                      <a:pt x="33" y="18"/>
                      <a:pt x="33" y="18"/>
                      <a:pt x="33" y="18"/>
                    </a:cubicBezTo>
                    <a:cubicBezTo>
                      <a:pt x="43" y="18"/>
                      <a:pt x="50" y="20"/>
                      <a:pt x="56" y="23"/>
                    </a:cubicBezTo>
                    <a:cubicBezTo>
                      <a:pt x="57" y="23"/>
                      <a:pt x="57" y="24"/>
                      <a:pt x="57" y="25"/>
                    </a:cubicBezTo>
                    <a:cubicBezTo>
                      <a:pt x="57" y="25"/>
                      <a:pt x="57" y="25"/>
                      <a:pt x="57" y="25"/>
                    </a:cubicBezTo>
                    <a:cubicBezTo>
                      <a:pt x="56" y="26"/>
                      <a:pt x="56" y="26"/>
                      <a:pt x="55" y="26"/>
                    </a:cubicBezTo>
                    <a:cubicBezTo>
                      <a:pt x="55" y="26"/>
                      <a:pt x="54" y="26"/>
                      <a:pt x="54" y="26"/>
                    </a:cubicBezTo>
                    <a:cubicBezTo>
                      <a:pt x="53" y="25"/>
                      <a:pt x="51" y="25"/>
                      <a:pt x="50" y="24"/>
                    </a:cubicBezTo>
                    <a:cubicBezTo>
                      <a:pt x="45" y="23"/>
                      <a:pt x="40" y="22"/>
                      <a:pt x="33" y="22"/>
                    </a:cubicBezTo>
                    <a:cubicBezTo>
                      <a:pt x="33" y="37"/>
                      <a:pt x="33" y="37"/>
                      <a:pt x="33" y="37"/>
                    </a:cubicBezTo>
                    <a:cubicBezTo>
                      <a:pt x="43" y="37"/>
                      <a:pt x="50" y="38"/>
                      <a:pt x="56" y="41"/>
                    </a:cubicBezTo>
                    <a:cubicBezTo>
                      <a:pt x="57" y="42"/>
                      <a:pt x="57" y="43"/>
                      <a:pt x="57" y="44"/>
                    </a:cubicBezTo>
                    <a:cubicBezTo>
                      <a:pt x="57" y="44"/>
                      <a:pt x="57" y="44"/>
                      <a:pt x="57" y="44"/>
                    </a:cubicBezTo>
                    <a:cubicBezTo>
                      <a:pt x="56" y="44"/>
                      <a:pt x="56" y="45"/>
                      <a:pt x="55" y="45"/>
                    </a:cubicBezTo>
                    <a:cubicBezTo>
                      <a:pt x="55" y="45"/>
                      <a:pt x="54" y="45"/>
                      <a:pt x="54" y="45"/>
                    </a:cubicBezTo>
                    <a:cubicBezTo>
                      <a:pt x="53" y="44"/>
                      <a:pt x="51" y="43"/>
                      <a:pt x="50" y="43"/>
                    </a:cubicBezTo>
                    <a:cubicBezTo>
                      <a:pt x="45" y="42"/>
                      <a:pt x="40" y="41"/>
                      <a:pt x="33" y="41"/>
                    </a:cubicBezTo>
                    <a:cubicBezTo>
                      <a:pt x="33" y="56"/>
                      <a:pt x="33" y="56"/>
                      <a:pt x="33" y="56"/>
                    </a:cubicBezTo>
                    <a:cubicBezTo>
                      <a:pt x="43" y="56"/>
                      <a:pt x="50" y="57"/>
                      <a:pt x="56" y="60"/>
                    </a:cubicBezTo>
                    <a:cubicBezTo>
                      <a:pt x="57" y="60"/>
                      <a:pt x="57" y="62"/>
                      <a:pt x="57" y="62"/>
                    </a:cubicBezTo>
                    <a:cubicBezTo>
                      <a:pt x="57" y="62"/>
                      <a:pt x="57" y="62"/>
                      <a:pt x="57" y="62"/>
                    </a:cubicBezTo>
                    <a:cubicBezTo>
                      <a:pt x="56" y="63"/>
                      <a:pt x="56" y="64"/>
                      <a:pt x="55" y="64"/>
                    </a:cubicBezTo>
                    <a:cubicBezTo>
                      <a:pt x="55" y="64"/>
                      <a:pt x="54" y="64"/>
                      <a:pt x="54" y="63"/>
                    </a:cubicBezTo>
                    <a:cubicBezTo>
                      <a:pt x="53" y="63"/>
                      <a:pt x="51" y="62"/>
                      <a:pt x="50" y="62"/>
                    </a:cubicBezTo>
                    <a:cubicBezTo>
                      <a:pt x="45" y="60"/>
                      <a:pt x="40" y="60"/>
                      <a:pt x="33" y="60"/>
                    </a:cubicBezTo>
                    <a:cubicBezTo>
                      <a:pt x="33" y="119"/>
                      <a:pt x="33" y="119"/>
                      <a:pt x="33" y="119"/>
                    </a:cubicBezTo>
                    <a:cubicBezTo>
                      <a:pt x="33" y="119"/>
                      <a:pt x="33" y="119"/>
                      <a:pt x="33" y="119"/>
                    </a:cubicBezTo>
                    <a:cubicBezTo>
                      <a:pt x="48" y="119"/>
                      <a:pt x="61" y="123"/>
                      <a:pt x="65" y="135"/>
                    </a:cubicBezTo>
                    <a:close/>
                    <a:moveTo>
                      <a:pt x="33" y="0"/>
                    </a:moveTo>
                    <a:cubicBezTo>
                      <a:pt x="33" y="0"/>
                      <a:pt x="33" y="0"/>
                      <a:pt x="33" y="0"/>
                    </a:cubicBezTo>
                    <a:cubicBezTo>
                      <a:pt x="18" y="0"/>
                      <a:pt x="5" y="3"/>
                      <a:pt x="2" y="14"/>
                    </a:cubicBezTo>
                    <a:cubicBezTo>
                      <a:pt x="0" y="18"/>
                      <a:pt x="0" y="25"/>
                      <a:pt x="0" y="30"/>
                    </a:cubicBezTo>
                    <a:cubicBezTo>
                      <a:pt x="0" y="51"/>
                      <a:pt x="0" y="113"/>
                      <a:pt x="0" y="134"/>
                    </a:cubicBezTo>
                    <a:cubicBezTo>
                      <a:pt x="0" y="139"/>
                      <a:pt x="0" y="139"/>
                      <a:pt x="1" y="135"/>
                    </a:cubicBezTo>
                    <a:cubicBezTo>
                      <a:pt x="5" y="123"/>
                      <a:pt x="18" y="119"/>
                      <a:pt x="33" y="119"/>
                    </a:cubicBezTo>
                    <a:cubicBezTo>
                      <a:pt x="33" y="60"/>
                      <a:pt x="33" y="60"/>
                      <a:pt x="33" y="60"/>
                    </a:cubicBezTo>
                    <a:cubicBezTo>
                      <a:pt x="33" y="60"/>
                      <a:pt x="33" y="60"/>
                      <a:pt x="33" y="60"/>
                    </a:cubicBezTo>
                    <a:cubicBezTo>
                      <a:pt x="26" y="60"/>
                      <a:pt x="21" y="60"/>
                      <a:pt x="17" y="62"/>
                    </a:cubicBezTo>
                    <a:cubicBezTo>
                      <a:pt x="15" y="62"/>
                      <a:pt x="14" y="63"/>
                      <a:pt x="12" y="63"/>
                    </a:cubicBezTo>
                    <a:cubicBezTo>
                      <a:pt x="11" y="64"/>
                      <a:pt x="10" y="63"/>
                      <a:pt x="10" y="62"/>
                    </a:cubicBezTo>
                    <a:cubicBezTo>
                      <a:pt x="9" y="62"/>
                      <a:pt x="10" y="60"/>
                      <a:pt x="10" y="60"/>
                    </a:cubicBezTo>
                    <a:cubicBezTo>
                      <a:pt x="16" y="57"/>
                      <a:pt x="23" y="56"/>
                      <a:pt x="33" y="56"/>
                    </a:cubicBezTo>
                    <a:cubicBezTo>
                      <a:pt x="33" y="56"/>
                      <a:pt x="33" y="56"/>
                      <a:pt x="33" y="56"/>
                    </a:cubicBezTo>
                    <a:cubicBezTo>
                      <a:pt x="33" y="41"/>
                      <a:pt x="33" y="41"/>
                      <a:pt x="33" y="41"/>
                    </a:cubicBezTo>
                    <a:cubicBezTo>
                      <a:pt x="33" y="41"/>
                      <a:pt x="33" y="41"/>
                      <a:pt x="33" y="41"/>
                    </a:cubicBezTo>
                    <a:cubicBezTo>
                      <a:pt x="26" y="41"/>
                      <a:pt x="21" y="42"/>
                      <a:pt x="17" y="43"/>
                    </a:cubicBezTo>
                    <a:cubicBezTo>
                      <a:pt x="15" y="43"/>
                      <a:pt x="14" y="44"/>
                      <a:pt x="12" y="45"/>
                    </a:cubicBezTo>
                    <a:cubicBezTo>
                      <a:pt x="11" y="45"/>
                      <a:pt x="10" y="45"/>
                      <a:pt x="10" y="44"/>
                    </a:cubicBezTo>
                    <a:cubicBezTo>
                      <a:pt x="9" y="43"/>
                      <a:pt x="10" y="42"/>
                      <a:pt x="10" y="41"/>
                    </a:cubicBezTo>
                    <a:cubicBezTo>
                      <a:pt x="16" y="38"/>
                      <a:pt x="23" y="37"/>
                      <a:pt x="33" y="37"/>
                    </a:cubicBezTo>
                    <a:cubicBezTo>
                      <a:pt x="33" y="37"/>
                      <a:pt x="33" y="37"/>
                      <a:pt x="33" y="37"/>
                    </a:cubicBezTo>
                    <a:cubicBezTo>
                      <a:pt x="33" y="22"/>
                      <a:pt x="33" y="22"/>
                      <a:pt x="33" y="22"/>
                    </a:cubicBezTo>
                    <a:cubicBezTo>
                      <a:pt x="33" y="22"/>
                      <a:pt x="33" y="22"/>
                      <a:pt x="33" y="22"/>
                    </a:cubicBezTo>
                    <a:cubicBezTo>
                      <a:pt x="26" y="22"/>
                      <a:pt x="21" y="23"/>
                      <a:pt x="17" y="24"/>
                    </a:cubicBezTo>
                    <a:cubicBezTo>
                      <a:pt x="15" y="25"/>
                      <a:pt x="14" y="25"/>
                      <a:pt x="12" y="26"/>
                    </a:cubicBezTo>
                    <a:cubicBezTo>
                      <a:pt x="11" y="26"/>
                      <a:pt x="10" y="26"/>
                      <a:pt x="10" y="25"/>
                    </a:cubicBezTo>
                    <a:cubicBezTo>
                      <a:pt x="9" y="24"/>
                      <a:pt x="10" y="23"/>
                      <a:pt x="10" y="23"/>
                    </a:cubicBezTo>
                    <a:cubicBezTo>
                      <a:pt x="16" y="20"/>
                      <a:pt x="23" y="18"/>
                      <a:pt x="33" y="18"/>
                    </a:cubicBezTo>
                    <a:cubicBezTo>
                      <a:pt x="33" y="18"/>
                      <a:pt x="33" y="18"/>
                      <a:pt x="33" y="18"/>
                    </a:cubicBezTo>
                    <a:lnTo>
                      <a:pt x="33"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10" name="Freeform: Shape 93"/>
              <p:cNvSpPr/>
              <p:nvPr/>
            </p:nvSpPr>
            <p:spPr bwMode="auto">
              <a:xfrm>
                <a:off x="4837122" y="4251011"/>
                <a:ext cx="166403" cy="166403"/>
              </a:xfrm>
              <a:custGeom>
                <a:avLst/>
                <a:gdLst>
                  <a:gd name="T0" fmla="*/ 78 w 103"/>
                  <a:gd name="T1" fmla="*/ 96 h 103"/>
                  <a:gd name="T2" fmla="*/ 97 w 103"/>
                  <a:gd name="T3" fmla="*/ 77 h 103"/>
                  <a:gd name="T4" fmla="*/ 102 w 103"/>
                  <a:gd name="T5" fmla="*/ 62 h 103"/>
                  <a:gd name="T6" fmla="*/ 102 w 103"/>
                  <a:gd name="T7" fmla="*/ 41 h 103"/>
                  <a:gd name="T8" fmla="*/ 97 w 103"/>
                  <a:gd name="T9" fmla="*/ 26 h 103"/>
                  <a:gd name="T10" fmla="*/ 78 w 103"/>
                  <a:gd name="T11" fmla="*/ 7 h 103"/>
                  <a:gd name="T12" fmla="*/ 71 w 103"/>
                  <a:gd name="T13" fmla="*/ 4 h 103"/>
                  <a:gd name="T14" fmla="*/ 55 w 103"/>
                  <a:gd name="T15" fmla="*/ 0 h 103"/>
                  <a:gd name="T16" fmla="*/ 58 w 103"/>
                  <a:gd name="T17" fmla="*/ 5 h 103"/>
                  <a:gd name="T18" fmla="*/ 64 w 103"/>
                  <a:gd name="T19" fmla="*/ 6 h 103"/>
                  <a:gd name="T20" fmla="*/ 70 w 103"/>
                  <a:gd name="T21" fmla="*/ 7 h 103"/>
                  <a:gd name="T22" fmla="*/ 68 w 103"/>
                  <a:gd name="T23" fmla="*/ 8 h 103"/>
                  <a:gd name="T24" fmla="*/ 60 w 103"/>
                  <a:gd name="T25" fmla="*/ 11 h 103"/>
                  <a:gd name="T26" fmla="*/ 61 w 103"/>
                  <a:gd name="T27" fmla="*/ 17 h 103"/>
                  <a:gd name="T28" fmla="*/ 66 w 103"/>
                  <a:gd name="T29" fmla="*/ 20 h 103"/>
                  <a:gd name="T30" fmla="*/ 73 w 103"/>
                  <a:gd name="T31" fmla="*/ 11 h 103"/>
                  <a:gd name="T32" fmla="*/ 79 w 103"/>
                  <a:gd name="T33" fmla="*/ 12 h 103"/>
                  <a:gd name="T34" fmla="*/ 83 w 103"/>
                  <a:gd name="T35" fmla="*/ 14 h 103"/>
                  <a:gd name="T36" fmla="*/ 85 w 103"/>
                  <a:gd name="T37" fmla="*/ 22 h 103"/>
                  <a:gd name="T38" fmla="*/ 84 w 103"/>
                  <a:gd name="T39" fmla="*/ 25 h 103"/>
                  <a:gd name="T40" fmla="*/ 81 w 103"/>
                  <a:gd name="T41" fmla="*/ 22 h 103"/>
                  <a:gd name="T42" fmla="*/ 75 w 103"/>
                  <a:gd name="T43" fmla="*/ 23 h 103"/>
                  <a:gd name="T44" fmla="*/ 79 w 103"/>
                  <a:gd name="T45" fmla="*/ 26 h 103"/>
                  <a:gd name="T46" fmla="*/ 68 w 103"/>
                  <a:gd name="T47" fmla="*/ 30 h 103"/>
                  <a:gd name="T48" fmla="*/ 63 w 103"/>
                  <a:gd name="T49" fmla="*/ 34 h 103"/>
                  <a:gd name="T50" fmla="*/ 56 w 103"/>
                  <a:gd name="T51" fmla="*/ 40 h 103"/>
                  <a:gd name="T52" fmla="*/ 60 w 103"/>
                  <a:gd name="T53" fmla="*/ 61 h 103"/>
                  <a:gd name="T54" fmla="*/ 66 w 103"/>
                  <a:gd name="T55" fmla="*/ 63 h 103"/>
                  <a:gd name="T56" fmla="*/ 71 w 103"/>
                  <a:gd name="T57" fmla="*/ 65 h 103"/>
                  <a:gd name="T58" fmla="*/ 81 w 103"/>
                  <a:gd name="T59" fmla="*/ 70 h 103"/>
                  <a:gd name="T60" fmla="*/ 86 w 103"/>
                  <a:gd name="T61" fmla="*/ 75 h 103"/>
                  <a:gd name="T62" fmla="*/ 93 w 103"/>
                  <a:gd name="T63" fmla="*/ 77 h 103"/>
                  <a:gd name="T64" fmla="*/ 59 w 103"/>
                  <a:gd name="T65" fmla="*/ 90 h 103"/>
                  <a:gd name="T66" fmla="*/ 1 w 103"/>
                  <a:gd name="T67" fmla="*/ 44 h 103"/>
                  <a:gd name="T68" fmla="*/ 2 w 103"/>
                  <a:gd name="T69" fmla="*/ 65 h 103"/>
                  <a:gd name="T70" fmla="*/ 11 w 103"/>
                  <a:gd name="T71" fmla="*/ 84 h 103"/>
                  <a:gd name="T72" fmla="*/ 33 w 103"/>
                  <a:gd name="T73" fmla="*/ 100 h 103"/>
                  <a:gd name="T74" fmla="*/ 53 w 103"/>
                  <a:gd name="T75" fmla="*/ 82 h 103"/>
                  <a:gd name="T76" fmla="*/ 51 w 103"/>
                  <a:gd name="T77" fmla="*/ 74 h 103"/>
                  <a:gd name="T78" fmla="*/ 54 w 103"/>
                  <a:gd name="T79" fmla="*/ 66 h 103"/>
                  <a:gd name="T80" fmla="*/ 47 w 103"/>
                  <a:gd name="T81" fmla="*/ 64 h 103"/>
                  <a:gd name="T82" fmla="*/ 41 w 103"/>
                  <a:gd name="T83" fmla="*/ 59 h 103"/>
                  <a:gd name="T84" fmla="*/ 30 w 103"/>
                  <a:gd name="T85" fmla="*/ 55 h 103"/>
                  <a:gd name="T86" fmla="*/ 25 w 103"/>
                  <a:gd name="T87" fmla="*/ 46 h 103"/>
                  <a:gd name="T88" fmla="*/ 23 w 103"/>
                  <a:gd name="T89" fmla="*/ 45 h 103"/>
                  <a:gd name="T90" fmla="*/ 23 w 103"/>
                  <a:gd name="T91" fmla="*/ 47 h 103"/>
                  <a:gd name="T92" fmla="*/ 19 w 103"/>
                  <a:gd name="T93" fmla="*/ 39 h 103"/>
                  <a:gd name="T94" fmla="*/ 19 w 103"/>
                  <a:gd name="T95" fmla="*/ 30 h 103"/>
                  <a:gd name="T96" fmla="*/ 23 w 103"/>
                  <a:gd name="T97" fmla="*/ 21 h 103"/>
                  <a:gd name="T98" fmla="*/ 22 w 103"/>
                  <a:gd name="T99" fmla="*/ 15 h 103"/>
                  <a:gd name="T100" fmla="*/ 47 w 103"/>
                  <a:gd name="T101" fmla="*/ 4 h 103"/>
                  <a:gd name="T102" fmla="*/ 55 w 103"/>
                  <a:gd name="T103" fmla="*/ 0 h 103"/>
                  <a:gd name="T104" fmla="*/ 32 w 103"/>
                  <a:gd name="T105" fmla="*/ 4 h 103"/>
                  <a:gd name="T106" fmla="*/ 15 w 103"/>
                  <a:gd name="T107" fmla="*/ 15 h 103"/>
                  <a:gd name="T108" fmla="*/ 4 w 103"/>
                  <a:gd name="T109" fmla="*/ 33 h 103"/>
                  <a:gd name="T110" fmla="*/ 55 w 103"/>
                  <a:gd name="T111" fmla="*/ 65 h 103"/>
                  <a:gd name="T112" fmla="*/ 48 w 103"/>
                  <a:gd name="T113" fmla="*/ 57 h 103"/>
                  <a:gd name="T114" fmla="*/ 46 w 103"/>
                  <a:gd name="T115" fmla="*/ 53 h 103"/>
                  <a:gd name="T116" fmla="*/ 37 w 103"/>
                  <a:gd name="T117" fmla="*/ 54 h 103"/>
                  <a:gd name="T118" fmla="*/ 42 w 103"/>
                  <a:gd name="T119" fmla="*/ 43 h 103"/>
                  <a:gd name="T120" fmla="*/ 51 w 103"/>
                  <a:gd name="T121" fmla="*/ 43 h 103"/>
                  <a:gd name="T122" fmla="*/ 54 w 103"/>
                  <a:gd name="T123"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03">
                    <a:moveTo>
                      <a:pt x="55" y="103"/>
                    </a:moveTo>
                    <a:cubicBezTo>
                      <a:pt x="58" y="103"/>
                      <a:pt x="61" y="103"/>
                      <a:pt x="63" y="102"/>
                    </a:cubicBezTo>
                    <a:cubicBezTo>
                      <a:pt x="65" y="102"/>
                      <a:pt x="67" y="101"/>
                      <a:pt x="68" y="101"/>
                    </a:cubicBezTo>
                    <a:cubicBezTo>
                      <a:pt x="69" y="100"/>
                      <a:pt x="70" y="100"/>
                      <a:pt x="71" y="100"/>
                    </a:cubicBezTo>
                    <a:cubicBezTo>
                      <a:pt x="72" y="99"/>
                      <a:pt x="74" y="98"/>
                      <a:pt x="75" y="98"/>
                    </a:cubicBezTo>
                    <a:cubicBezTo>
                      <a:pt x="76" y="97"/>
                      <a:pt x="77" y="97"/>
                      <a:pt x="78" y="96"/>
                    </a:cubicBezTo>
                    <a:cubicBezTo>
                      <a:pt x="81" y="95"/>
                      <a:pt x="84" y="92"/>
                      <a:pt x="87" y="90"/>
                    </a:cubicBezTo>
                    <a:cubicBezTo>
                      <a:pt x="87" y="89"/>
                      <a:pt x="88" y="89"/>
                      <a:pt x="88" y="88"/>
                    </a:cubicBezTo>
                    <a:cubicBezTo>
                      <a:pt x="89" y="88"/>
                      <a:pt x="89" y="87"/>
                      <a:pt x="90" y="86"/>
                    </a:cubicBezTo>
                    <a:cubicBezTo>
                      <a:pt x="91" y="86"/>
                      <a:pt x="92" y="85"/>
                      <a:pt x="92" y="84"/>
                    </a:cubicBezTo>
                    <a:cubicBezTo>
                      <a:pt x="94" y="82"/>
                      <a:pt x="95" y="80"/>
                      <a:pt x="96" y="79"/>
                    </a:cubicBezTo>
                    <a:cubicBezTo>
                      <a:pt x="96" y="78"/>
                      <a:pt x="96" y="78"/>
                      <a:pt x="97" y="77"/>
                    </a:cubicBezTo>
                    <a:cubicBezTo>
                      <a:pt x="97" y="77"/>
                      <a:pt x="97" y="76"/>
                      <a:pt x="98" y="75"/>
                    </a:cubicBezTo>
                    <a:cubicBezTo>
                      <a:pt x="98" y="75"/>
                      <a:pt x="98" y="75"/>
                      <a:pt x="98" y="74"/>
                    </a:cubicBezTo>
                    <a:cubicBezTo>
                      <a:pt x="99" y="73"/>
                      <a:pt x="99" y="73"/>
                      <a:pt x="99" y="72"/>
                    </a:cubicBezTo>
                    <a:cubicBezTo>
                      <a:pt x="100" y="71"/>
                      <a:pt x="100" y="70"/>
                      <a:pt x="100" y="70"/>
                    </a:cubicBezTo>
                    <a:cubicBezTo>
                      <a:pt x="101" y="68"/>
                      <a:pt x="101" y="66"/>
                      <a:pt x="102" y="65"/>
                    </a:cubicBezTo>
                    <a:cubicBezTo>
                      <a:pt x="102" y="64"/>
                      <a:pt x="102" y="63"/>
                      <a:pt x="102" y="62"/>
                    </a:cubicBezTo>
                    <a:cubicBezTo>
                      <a:pt x="103" y="61"/>
                      <a:pt x="103" y="61"/>
                      <a:pt x="103" y="60"/>
                    </a:cubicBezTo>
                    <a:cubicBezTo>
                      <a:pt x="103" y="59"/>
                      <a:pt x="103" y="58"/>
                      <a:pt x="103" y="57"/>
                    </a:cubicBezTo>
                    <a:cubicBezTo>
                      <a:pt x="103" y="55"/>
                      <a:pt x="103" y="54"/>
                      <a:pt x="103" y="52"/>
                    </a:cubicBezTo>
                    <a:cubicBezTo>
                      <a:pt x="103" y="50"/>
                      <a:pt x="103" y="48"/>
                      <a:pt x="103" y="47"/>
                    </a:cubicBezTo>
                    <a:cubicBezTo>
                      <a:pt x="103" y="46"/>
                      <a:pt x="103" y="45"/>
                      <a:pt x="103" y="44"/>
                    </a:cubicBezTo>
                    <a:cubicBezTo>
                      <a:pt x="103" y="43"/>
                      <a:pt x="103" y="42"/>
                      <a:pt x="102" y="41"/>
                    </a:cubicBezTo>
                    <a:cubicBezTo>
                      <a:pt x="102" y="41"/>
                      <a:pt x="102" y="40"/>
                      <a:pt x="102" y="39"/>
                    </a:cubicBezTo>
                    <a:cubicBezTo>
                      <a:pt x="101" y="37"/>
                      <a:pt x="101" y="36"/>
                      <a:pt x="100" y="34"/>
                    </a:cubicBezTo>
                    <a:cubicBezTo>
                      <a:pt x="100" y="34"/>
                      <a:pt x="100" y="33"/>
                      <a:pt x="100" y="33"/>
                    </a:cubicBezTo>
                    <a:cubicBezTo>
                      <a:pt x="99" y="32"/>
                      <a:pt x="99" y="31"/>
                      <a:pt x="98" y="29"/>
                    </a:cubicBezTo>
                    <a:cubicBezTo>
                      <a:pt x="98" y="29"/>
                      <a:pt x="98" y="29"/>
                      <a:pt x="98" y="28"/>
                    </a:cubicBezTo>
                    <a:cubicBezTo>
                      <a:pt x="97" y="28"/>
                      <a:pt x="97" y="27"/>
                      <a:pt x="97" y="26"/>
                    </a:cubicBezTo>
                    <a:cubicBezTo>
                      <a:pt x="95" y="24"/>
                      <a:pt x="94" y="22"/>
                      <a:pt x="92" y="20"/>
                    </a:cubicBezTo>
                    <a:cubicBezTo>
                      <a:pt x="92" y="19"/>
                      <a:pt x="91" y="18"/>
                      <a:pt x="90" y="17"/>
                    </a:cubicBezTo>
                    <a:cubicBezTo>
                      <a:pt x="89" y="17"/>
                      <a:pt x="89" y="16"/>
                      <a:pt x="88" y="15"/>
                    </a:cubicBezTo>
                    <a:cubicBezTo>
                      <a:pt x="88" y="15"/>
                      <a:pt x="87" y="14"/>
                      <a:pt x="87" y="14"/>
                    </a:cubicBezTo>
                    <a:cubicBezTo>
                      <a:pt x="85" y="13"/>
                      <a:pt x="84" y="12"/>
                      <a:pt x="83" y="11"/>
                    </a:cubicBezTo>
                    <a:cubicBezTo>
                      <a:pt x="81" y="9"/>
                      <a:pt x="79" y="8"/>
                      <a:pt x="78" y="7"/>
                    </a:cubicBezTo>
                    <a:cubicBezTo>
                      <a:pt x="77" y="7"/>
                      <a:pt x="76" y="6"/>
                      <a:pt x="75" y="6"/>
                    </a:cubicBezTo>
                    <a:cubicBezTo>
                      <a:pt x="75" y="6"/>
                      <a:pt x="75" y="6"/>
                      <a:pt x="74" y="5"/>
                    </a:cubicBezTo>
                    <a:cubicBezTo>
                      <a:pt x="74" y="5"/>
                      <a:pt x="74" y="5"/>
                      <a:pt x="73" y="5"/>
                    </a:cubicBezTo>
                    <a:cubicBezTo>
                      <a:pt x="73" y="5"/>
                      <a:pt x="73" y="5"/>
                      <a:pt x="73" y="5"/>
                    </a:cubicBezTo>
                    <a:cubicBezTo>
                      <a:pt x="72" y="4"/>
                      <a:pt x="71" y="4"/>
                      <a:pt x="71" y="4"/>
                    </a:cubicBezTo>
                    <a:cubicBezTo>
                      <a:pt x="71" y="4"/>
                      <a:pt x="71" y="4"/>
                      <a:pt x="71" y="4"/>
                    </a:cubicBezTo>
                    <a:cubicBezTo>
                      <a:pt x="70" y="4"/>
                      <a:pt x="69" y="3"/>
                      <a:pt x="69" y="3"/>
                    </a:cubicBezTo>
                    <a:cubicBezTo>
                      <a:pt x="69" y="3"/>
                      <a:pt x="69" y="3"/>
                      <a:pt x="68" y="3"/>
                    </a:cubicBezTo>
                    <a:cubicBezTo>
                      <a:pt x="67" y="2"/>
                      <a:pt x="65" y="2"/>
                      <a:pt x="64" y="2"/>
                    </a:cubicBezTo>
                    <a:cubicBezTo>
                      <a:pt x="63" y="2"/>
                      <a:pt x="63" y="1"/>
                      <a:pt x="62" y="1"/>
                    </a:cubicBezTo>
                    <a:cubicBezTo>
                      <a:pt x="62" y="1"/>
                      <a:pt x="62" y="1"/>
                      <a:pt x="61" y="1"/>
                    </a:cubicBezTo>
                    <a:cubicBezTo>
                      <a:pt x="59" y="1"/>
                      <a:pt x="57" y="1"/>
                      <a:pt x="55" y="0"/>
                    </a:cubicBezTo>
                    <a:cubicBezTo>
                      <a:pt x="55" y="3"/>
                      <a:pt x="55" y="3"/>
                      <a:pt x="55" y="3"/>
                    </a:cubicBezTo>
                    <a:cubicBezTo>
                      <a:pt x="58" y="3"/>
                      <a:pt x="60" y="4"/>
                      <a:pt x="62" y="4"/>
                    </a:cubicBezTo>
                    <a:cubicBezTo>
                      <a:pt x="62" y="4"/>
                      <a:pt x="61" y="4"/>
                      <a:pt x="61" y="4"/>
                    </a:cubicBezTo>
                    <a:cubicBezTo>
                      <a:pt x="60" y="5"/>
                      <a:pt x="60" y="5"/>
                      <a:pt x="60" y="5"/>
                    </a:cubicBezTo>
                    <a:cubicBezTo>
                      <a:pt x="59" y="5"/>
                      <a:pt x="58" y="5"/>
                      <a:pt x="57" y="5"/>
                    </a:cubicBezTo>
                    <a:cubicBezTo>
                      <a:pt x="57" y="5"/>
                      <a:pt x="58" y="5"/>
                      <a:pt x="58" y="5"/>
                    </a:cubicBezTo>
                    <a:cubicBezTo>
                      <a:pt x="59" y="6"/>
                      <a:pt x="59" y="6"/>
                      <a:pt x="60" y="6"/>
                    </a:cubicBezTo>
                    <a:cubicBezTo>
                      <a:pt x="61" y="6"/>
                      <a:pt x="62" y="6"/>
                      <a:pt x="62" y="6"/>
                    </a:cubicBezTo>
                    <a:cubicBezTo>
                      <a:pt x="62" y="5"/>
                      <a:pt x="62" y="5"/>
                      <a:pt x="63" y="5"/>
                    </a:cubicBezTo>
                    <a:cubicBezTo>
                      <a:pt x="63" y="5"/>
                      <a:pt x="63" y="4"/>
                      <a:pt x="63" y="4"/>
                    </a:cubicBezTo>
                    <a:cubicBezTo>
                      <a:pt x="64" y="4"/>
                      <a:pt x="64" y="5"/>
                      <a:pt x="65" y="5"/>
                    </a:cubicBezTo>
                    <a:cubicBezTo>
                      <a:pt x="65" y="5"/>
                      <a:pt x="64" y="5"/>
                      <a:pt x="64" y="6"/>
                    </a:cubicBezTo>
                    <a:cubicBezTo>
                      <a:pt x="64" y="6"/>
                      <a:pt x="65" y="5"/>
                      <a:pt x="66" y="5"/>
                    </a:cubicBezTo>
                    <a:cubicBezTo>
                      <a:pt x="66" y="5"/>
                      <a:pt x="66" y="5"/>
                      <a:pt x="66" y="5"/>
                    </a:cubicBezTo>
                    <a:cubicBezTo>
                      <a:pt x="67" y="5"/>
                      <a:pt x="68" y="6"/>
                      <a:pt x="68" y="6"/>
                    </a:cubicBezTo>
                    <a:cubicBezTo>
                      <a:pt x="69" y="6"/>
                      <a:pt x="71" y="7"/>
                      <a:pt x="72" y="7"/>
                    </a:cubicBezTo>
                    <a:cubicBezTo>
                      <a:pt x="71" y="7"/>
                      <a:pt x="71" y="7"/>
                      <a:pt x="71" y="7"/>
                    </a:cubicBezTo>
                    <a:cubicBezTo>
                      <a:pt x="71" y="7"/>
                      <a:pt x="70" y="7"/>
                      <a:pt x="70" y="7"/>
                    </a:cubicBezTo>
                    <a:cubicBezTo>
                      <a:pt x="70" y="8"/>
                      <a:pt x="70" y="8"/>
                      <a:pt x="71" y="8"/>
                    </a:cubicBezTo>
                    <a:cubicBezTo>
                      <a:pt x="71" y="8"/>
                      <a:pt x="72" y="9"/>
                      <a:pt x="72" y="9"/>
                    </a:cubicBezTo>
                    <a:cubicBezTo>
                      <a:pt x="72" y="10"/>
                      <a:pt x="71" y="9"/>
                      <a:pt x="70" y="9"/>
                    </a:cubicBezTo>
                    <a:cubicBezTo>
                      <a:pt x="69" y="9"/>
                      <a:pt x="68" y="11"/>
                      <a:pt x="68" y="10"/>
                    </a:cubicBezTo>
                    <a:cubicBezTo>
                      <a:pt x="68" y="9"/>
                      <a:pt x="68" y="9"/>
                      <a:pt x="69" y="8"/>
                    </a:cubicBezTo>
                    <a:cubicBezTo>
                      <a:pt x="68" y="8"/>
                      <a:pt x="68" y="8"/>
                      <a:pt x="68" y="8"/>
                    </a:cubicBezTo>
                    <a:cubicBezTo>
                      <a:pt x="68" y="8"/>
                      <a:pt x="68" y="9"/>
                      <a:pt x="67" y="9"/>
                    </a:cubicBezTo>
                    <a:cubicBezTo>
                      <a:pt x="67" y="9"/>
                      <a:pt x="67" y="9"/>
                      <a:pt x="66" y="9"/>
                    </a:cubicBezTo>
                    <a:cubicBezTo>
                      <a:pt x="66" y="9"/>
                      <a:pt x="65" y="9"/>
                      <a:pt x="65" y="9"/>
                    </a:cubicBezTo>
                    <a:cubicBezTo>
                      <a:pt x="64" y="10"/>
                      <a:pt x="64" y="10"/>
                      <a:pt x="63" y="10"/>
                    </a:cubicBezTo>
                    <a:cubicBezTo>
                      <a:pt x="63" y="10"/>
                      <a:pt x="63" y="10"/>
                      <a:pt x="62" y="10"/>
                    </a:cubicBezTo>
                    <a:cubicBezTo>
                      <a:pt x="62" y="11"/>
                      <a:pt x="61" y="11"/>
                      <a:pt x="60" y="11"/>
                    </a:cubicBezTo>
                    <a:cubicBezTo>
                      <a:pt x="60" y="12"/>
                      <a:pt x="59" y="12"/>
                      <a:pt x="58" y="13"/>
                    </a:cubicBezTo>
                    <a:cubicBezTo>
                      <a:pt x="58" y="13"/>
                      <a:pt x="57" y="13"/>
                      <a:pt x="57" y="14"/>
                    </a:cubicBezTo>
                    <a:cubicBezTo>
                      <a:pt x="57" y="14"/>
                      <a:pt x="58" y="14"/>
                      <a:pt x="58" y="14"/>
                    </a:cubicBezTo>
                    <a:cubicBezTo>
                      <a:pt x="58" y="15"/>
                      <a:pt x="58" y="15"/>
                      <a:pt x="58" y="15"/>
                    </a:cubicBezTo>
                    <a:cubicBezTo>
                      <a:pt x="58" y="16"/>
                      <a:pt x="59" y="15"/>
                      <a:pt x="59" y="16"/>
                    </a:cubicBezTo>
                    <a:cubicBezTo>
                      <a:pt x="60" y="16"/>
                      <a:pt x="61" y="16"/>
                      <a:pt x="61" y="17"/>
                    </a:cubicBezTo>
                    <a:cubicBezTo>
                      <a:pt x="62" y="17"/>
                      <a:pt x="62" y="17"/>
                      <a:pt x="63" y="17"/>
                    </a:cubicBezTo>
                    <a:cubicBezTo>
                      <a:pt x="64" y="17"/>
                      <a:pt x="65" y="17"/>
                      <a:pt x="65" y="18"/>
                    </a:cubicBezTo>
                    <a:cubicBezTo>
                      <a:pt x="65" y="18"/>
                      <a:pt x="64" y="19"/>
                      <a:pt x="64" y="19"/>
                    </a:cubicBezTo>
                    <a:cubicBezTo>
                      <a:pt x="64" y="19"/>
                      <a:pt x="64" y="20"/>
                      <a:pt x="64" y="20"/>
                    </a:cubicBezTo>
                    <a:cubicBezTo>
                      <a:pt x="64" y="21"/>
                      <a:pt x="64" y="21"/>
                      <a:pt x="65" y="21"/>
                    </a:cubicBezTo>
                    <a:cubicBezTo>
                      <a:pt x="65" y="21"/>
                      <a:pt x="66" y="21"/>
                      <a:pt x="66" y="20"/>
                    </a:cubicBezTo>
                    <a:cubicBezTo>
                      <a:pt x="66" y="19"/>
                      <a:pt x="66" y="19"/>
                      <a:pt x="67" y="18"/>
                    </a:cubicBezTo>
                    <a:cubicBezTo>
                      <a:pt x="69" y="18"/>
                      <a:pt x="72" y="17"/>
                      <a:pt x="71" y="14"/>
                    </a:cubicBezTo>
                    <a:cubicBezTo>
                      <a:pt x="71" y="14"/>
                      <a:pt x="71" y="14"/>
                      <a:pt x="71" y="13"/>
                    </a:cubicBezTo>
                    <a:cubicBezTo>
                      <a:pt x="71" y="13"/>
                      <a:pt x="72" y="13"/>
                      <a:pt x="72" y="12"/>
                    </a:cubicBezTo>
                    <a:cubicBezTo>
                      <a:pt x="72" y="12"/>
                      <a:pt x="72" y="12"/>
                      <a:pt x="73" y="11"/>
                    </a:cubicBezTo>
                    <a:cubicBezTo>
                      <a:pt x="73" y="11"/>
                      <a:pt x="73" y="11"/>
                      <a:pt x="73" y="11"/>
                    </a:cubicBezTo>
                    <a:cubicBezTo>
                      <a:pt x="73" y="10"/>
                      <a:pt x="73" y="10"/>
                      <a:pt x="73" y="10"/>
                    </a:cubicBezTo>
                    <a:cubicBezTo>
                      <a:pt x="74" y="10"/>
                      <a:pt x="74" y="10"/>
                      <a:pt x="74" y="11"/>
                    </a:cubicBezTo>
                    <a:cubicBezTo>
                      <a:pt x="75" y="11"/>
                      <a:pt x="75" y="11"/>
                      <a:pt x="76" y="11"/>
                    </a:cubicBezTo>
                    <a:cubicBezTo>
                      <a:pt x="76" y="11"/>
                      <a:pt x="76" y="11"/>
                      <a:pt x="76" y="11"/>
                    </a:cubicBezTo>
                    <a:cubicBezTo>
                      <a:pt x="77" y="11"/>
                      <a:pt x="77" y="11"/>
                      <a:pt x="78" y="12"/>
                    </a:cubicBezTo>
                    <a:cubicBezTo>
                      <a:pt x="78" y="12"/>
                      <a:pt x="78" y="12"/>
                      <a:pt x="79" y="12"/>
                    </a:cubicBezTo>
                    <a:cubicBezTo>
                      <a:pt x="78" y="13"/>
                      <a:pt x="78" y="13"/>
                      <a:pt x="78" y="13"/>
                    </a:cubicBezTo>
                    <a:cubicBezTo>
                      <a:pt x="78" y="13"/>
                      <a:pt x="78" y="13"/>
                      <a:pt x="78" y="13"/>
                    </a:cubicBezTo>
                    <a:cubicBezTo>
                      <a:pt x="78" y="14"/>
                      <a:pt x="79" y="14"/>
                      <a:pt x="79" y="14"/>
                    </a:cubicBezTo>
                    <a:cubicBezTo>
                      <a:pt x="79" y="14"/>
                      <a:pt x="80" y="14"/>
                      <a:pt x="80" y="14"/>
                    </a:cubicBezTo>
                    <a:cubicBezTo>
                      <a:pt x="81" y="14"/>
                      <a:pt x="81" y="13"/>
                      <a:pt x="82" y="13"/>
                    </a:cubicBezTo>
                    <a:cubicBezTo>
                      <a:pt x="82" y="14"/>
                      <a:pt x="83" y="14"/>
                      <a:pt x="83" y="14"/>
                    </a:cubicBezTo>
                    <a:cubicBezTo>
                      <a:pt x="83" y="15"/>
                      <a:pt x="83" y="15"/>
                      <a:pt x="83" y="15"/>
                    </a:cubicBezTo>
                    <a:cubicBezTo>
                      <a:pt x="83" y="16"/>
                      <a:pt x="83" y="16"/>
                      <a:pt x="83" y="17"/>
                    </a:cubicBezTo>
                    <a:cubicBezTo>
                      <a:pt x="83" y="18"/>
                      <a:pt x="84" y="17"/>
                      <a:pt x="85" y="18"/>
                    </a:cubicBezTo>
                    <a:cubicBezTo>
                      <a:pt x="85" y="18"/>
                      <a:pt x="85" y="18"/>
                      <a:pt x="85" y="19"/>
                    </a:cubicBezTo>
                    <a:cubicBezTo>
                      <a:pt x="86" y="19"/>
                      <a:pt x="86" y="19"/>
                      <a:pt x="86" y="19"/>
                    </a:cubicBezTo>
                    <a:cubicBezTo>
                      <a:pt x="86" y="20"/>
                      <a:pt x="85" y="20"/>
                      <a:pt x="85" y="22"/>
                    </a:cubicBezTo>
                    <a:cubicBezTo>
                      <a:pt x="85" y="22"/>
                      <a:pt x="85" y="22"/>
                      <a:pt x="85" y="22"/>
                    </a:cubicBezTo>
                    <a:cubicBezTo>
                      <a:pt x="85" y="23"/>
                      <a:pt x="86" y="23"/>
                      <a:pt x="86" y="23"/>
                    </a:cubicBezTo>
                    <a:cubicBezTo>
                      <a:pt x="86" y="24"/>
                      <a:pt x="86" y="24"/>
                      <a:pt x="86" y="24"/>
                    </a:cubicBezTo>
                    <a:cubicBezTo>
                      <a:pt x="87" y="25"/>
                      <a:pt x="87" y="26"/>
                      <a:pt x="86" y="26"/>
                    </a:cubicBezTo>
                    <a:cubicBezTo>
                      <a:pt x="85" y="26"/>
                      <a:pt x="85" y="25"/>
                      <a:pt x="85" y="25"/>
                    </a:cubicBezTo>
                    <a:cubicBezTo>
                      <a:pt x="84" y="25"/>
                      <a:pt x="84" y="25"/>
                      <a:pt x="84" y="25"/>
                    </a:cubicBezTo>
                    <a:cubicBezTo>
                      <a:pt x="84" y="25"/>
                      <a:pt x="83" y="25"/>
                      <a:pt x="83" y="25"/>
                    </a:cubicBezTo>
                    <a:cubicBezTo>
                      <a:pt x="82" y="25"/>
                      <a:pt x="81" y="25"/>
                      <a:pt x="81" y="25"/>
                    </a:cubicBezTo>
                    <a:cubicBezTo>
                      <a:pt x="82" y="24"/>
                      <a:pt x="83" y="23"/>
                      <a:pt x="83" y="22"/>
                    </a:cubicBezTo>
                    <a:cubicBezTo>
                      <a:pt x="84" y="22"/>
                      <a:pt x="84" y="22"/>
                      <a:pt x="84" y="21"/>
                    </a:cubicBezTo>
                    <a:cubicBezTo>
                      <a:pt x="84" y="21"/>
                      <a:pt x="83" y="21"/>
                      <a:pt x="83" y="22"/>
                    </a:cubicBezTo>
                    <a:cubicBezTo>
                      <a:pt x="82" y="22"/>
                      <a:pt x="82" y="22"/>
                      <a:pt x="81" y="22"/>
                    </a:cubicBezTo>
                    <a:cubicBezTo>
                      <a:pt x="80" y="22"/>
                      <a:pt x="79" y="22"/>
                      <a:pt x="78" y="23"/>
                    </a:cubicBezTo>
                    <a:cubicBezTo>
                      <a:pt x="78" y="23"/>
                      <a:pt x="79" y="23"/>
                      <a:pt x="79" y="23"/>
                    </a:cubicBezTo>
                    <a:cubicBezTo>
                      <a:pt x="79" y="24"/>
                      <a:pt x="78" y="24"/>
                      <a:pt x="78" y="23"/>
                    </a:cubicBezTo>
                    <a:cubicBezTo>
                      <a:pt x="78" y="23"/>
                      <a:pt x="78" y="23"/>
                      <a:pt x="78" y="23"/>
                    </a:cubicBezTo>
                    <a:cubicBezTo>
                      <a:pt x="77" y="22"/>
                      <a:pt x="76" y="22"/>
                      <a:pt x="76" y="22"/>
                    </a:cubicBezTo>
                    <a:cubicBezTo>
                      <a:pt x="75" y="22"/>
                      <a:pt x="75" y="23"/>
                      <a:pt x="75" y="23"/>
                    </a:cubicBezTo>
                    <a:cubicBezTo>
                      <a:pt x="75" y="24"/>
                      <a:pt x="77" y="23"/>
                      <a:pt x="77" y="24"/>
                    </a:cubicBezTo>
                    <a:cubicBezTo>
                      <a:pt x="76" y="24"/>
                      <a:pt x="75" y="25"/>
                      <a:pt x="76" y="26"/>
                    </a:cubicBezTo>
                    <a:cubicBezTo>
                      <a:pt x="76" y="26"/>
                      <a:pt x="76" y="27"/>
                      <a:pt x="76" y="27"/>
                    </a:cubicBezTo>
                    <a:cubicBezTo>
                      <a:pt x="77" y="27"/>
                      <a:pt x="77" y="26"/>
                      <a:pt x="77" y="26"/>
                    </a:cubicBezTo>
                    <a:cubicBezTo>
                      <a:pt x="77" y="26"/>
                      <a:pt x="77" y="27"/>
                      <a:pt x="78" y="27"/>
                    </a:cubicBezTo>
                    <a:cubicBezTo>
                      <a:pt x="78" y="27"/>
                      <a:pt x="79" y="26"/>
                      <a:pt x="79" y="26"/>
                    </a:cubicBezTo>
                    <a:cubicBezTo>
                      <a:pt x="80" y="27"/>
                      <a:pt x="79" y="27"/>
                      <a:pt x="78" y="27"/>
                    </a:cubicBezTo>
                    <a:cubicBezTo>
                      <a:pt x="77" y="28"/>
                      <a:pt x="76" y="28"/>
                      <a:pt x="75" y="28"/>
                    </a:cubicBezTo>
                    <a:cubicBezTo>
                      <a:pt x="75" y="28"/>
                      <a:pt x="73" y="30"/>
                      <a:pt x="73" y="29"/>
                    </a:cubicBezTo>
                    <a:cubicBezTo>
                      <a:pt x="73" y="28"/>
                      <a:pt x="74" y="28"/>
                      <a:pt x="74" y="28"/>
                    </a:cubicBezTo>
                    <a:cubicBezTo>
                      <a:pt x="73" y="27"/>
                      <a:pt x="72" y="28"/>
                      <a:pt x="72" y="28"/>
                    </a:cubicBezTo>
                    <a:cubicBezTo>
                      <a:pt x="70" y="29"/>
                      <a:pt x="69" y="29"/>
                      <a:pt x="68" y="30"/>
                    </a:cubicBezTo>
                    <a:cubicBezTo>
                      <a:pt x="68" y="30"/>
                      <a:pt x="68" y="31"/>
                      <a:pt x="68" y="31"/>
                    </a:cubicBezTo>
                    <a:cubicBezTo>
                      <a:pt x="68" y="31"/>
                      <a:pt x="67" y="31"/>
                      <a:pt x="67" y="31"/>
                    </a:cubicBezTo>
                    <a:cubicBezTo>
                      <a:pt x="66" y="31"/>
                      <a:pt x="66" y="32"/>
                      <a:pt x="66" y="32"/>
                    </a:cubicBezTo>
                    <a:cubicBezTo>
                      <a:pt x="65" y="32"/>
                      <a:pt x="65" y="32"/>
                      <a:pt x="65" y="32"/>
                    </a:cubicBezTo>
                    <a:cubicBezTo>
                      <a:pt x="64" y="32"/>
                      <a:pt x="64" y="33"/>
                      <a:pt x="64" y="33"/>
                    </a:cubicBezTo>
                    <a:cubicBezTo>
                      <a:pt x="64" y="33"/>
                      <a:pt x="63" y="34"/>
                      <a:pt x="63" y="34"/>
                    </a:cubicBezTo>
                    <a:cubicBezTo>
                      <a:pt x="63" y="34"/>
                      <a:pt x="63" y="35"/>
                      <a:pt x="62" y="35"/>
                    </a:cubicBezTo>
                    <a:cubicBezTo>
                      <a:pt x="62" y="35"/>
                      <a:pt x="62" y="35"/>
                      <a:pt x="61" y="35"/>
                    </a:cubicBezTo>
                    <a:cubicBezTo>
                      <a:pt x="61" y="35"/>
                      <a:pt x="61" y="36"/>
                      <a:pt x="61" y="37"/>
                    </a:cubicBezTo>
                    <a:cubicBezTo>
                      <a:pt x="61" y="38"/>
                      <a:pt x="60" y="38"/>
                      <a:pt x="59" y="38"/>
                    </a:cubicBezTo>
                    <a:cubicBezTo>
                      <a:pt x="58" y="39"/>
                      <a:pt x="58" y="39"/>
                      <a:pt x="58" y="39"/>
                    </a:cubicBezTo>
                    <a:cubicBezTo>
                      <a:pt x="57" y="39"/>
                      <a:pt x="57" y="40"/>
                      <a:pt x="56" y="40"/>
                    </a:cubicBezTo>
                    <a:cubicBezTo>
                      <a:pt x="56" y="40"/>
                      <a:pt x="56" y="40"/>
                      <a:pt x="55" y="41"/>
                    </a:cubicBezTo>
                    <a:cubicBezTo>
                      <a:pt x="55" y="65"/>
                      <a:pt x="55" y="65"/>
                      <a:pt x="55" y="65"/>
                    </a:cubicBezTo>
                    <a:cubicBezTo>
                      <a:pt x="56" y="64"/>
                      <a:pt x="56" y="64"/>
                      <a:pt x="56" y="64"/>
                    </a:cubicBezTo>
                    <a:cubicBezTo>
                      <a:pt x="56" y="63"/>
                      <a:pt x="57" y="63"/>
                      <a:pt x="57" y="62"/>
                    </a:cubicBezTo>
                    <a:cubicBezTo>
                      <a:pt x="58" y="62"/>
                      <a:pt x="58" y="62"/>
                      <a:pt x="59" y="62"/>
                    </a:cubicBezTo>
                    <a:cubicBezTo>
                      <a:pt x="59" y="62"/>
                      <a:pt x="60" y="62"/>
                      <a:pt x="60" y="61"/>
                    </a:cubicBezTo>
                    <a:cubicBezTo>
                      <a:pt x="60" y="61"/>
                      <a:pt x="60" y="61"/>
                      <a:pt x="61" y="61"/>
                    </a:cubicBezTo>
                    <a:cubicBezTo>
                      <a:pt x="61" y="62"/>
                      <a:pt x="60" y="62"/>
                      <a:pt x="61" y="62"/>
                    </a:cubicBezTo>
                    <a:cubicBezTo>
                      <a:pt x="61" y="63"/>
                      <a:pt x="62" y="61"/>
                      <a:pt x="62" y="61"/>
                    </a:cubicBezTo>
                    <a:cubicBezTo>
                      <a:pt x="62" y="61"/>
                      <a:pt x="63" y="62"/>
                      <a:pt x="63" y="62"/>
                    </a:cubicBezTo>
                    <a:cubicBezTo>
                      <a:pt x="64" y="62"/>
                      <a:pt x="64" y="63"/>
                      <a:pt x="64" y="63"/>
                    </a:cubicBezTo>
                    <a:cubicBezTo>
                      <a:pt x="65" y="63"/>
                      <a:pt x="65" y="63"/>
                      <a:pt x="66" y="63"/>
                    </a:cubicBezTo>
                    <a:cubicBezTo>
                      <a:pt x="66" y="63"/>
                      <a:pt x="67" y="63"/>
                      <a:pt x="67" y="63"/>
                    </a:cubicBezTo>
                    <a:cubicBezTo>
                      <a:pt x="67" y="63"/>
                      <a:pt x="68" y="63"/>
                      <a:pt x="68" y="63"/>
                    </a:cubicBezTo>
                    <a:cubicBezTo>
                      <a:pt x="69" y="62"/>
                      <a:pt x="70" y="63"/>
                      <a:pt x="70" y="63"/>
                    </a:cubicBezTo>
                    <a:cubicBezTo>
                      <a:pt x="70" y="63"/>
                      <a:pt x="70" y="63"/>
                      <a:pt x="71" y="63"/>
                    </a:cubicBezTo>
                    <a:cubicBezTo>
                      <a:pt x="71" y="63"/>
                      <a:pt x="71" y="64"/>
                      <a:pt x="71" y="64"/>
                    </a:cubicBezTo>
                    <a:cubicBezTo>
                      <a:pt x="71" y="64"/>
                      <a:pt x="71" y="65"/>
                      <a:pt x="71" y="65"/>
                    </a:cubicBezTo>
                    <a:cubicBezTo>
                      <a:pt x="72" y="65"/>
                      <a:pt x="72" y="65"/>
                      <a:pt x="73" y="65"/>
                    </a:cubicBezTo>
                    <a:cubicBezTo>
                      <a:pt x="73" y="65"/>
                      <a:pt x="73" y="66"/>
                      <a:pt x="74" y="66"/>
                    </a:cubicBezTo>
                    <a:cubicBezTo>
                      <a:pt x="74" y="67"/>
                      <a:pt x="75" y="68"/>
                      <a:pt x="76" y="68"/>
                    </a:cubicBezTo>
                    <a:cubicBezTo>
                      <a:pt x="76" y="68"/>
                      <a:pt x="77" y="67"/>
                      <a:pt x="77" y="67"/>
                    </a:cubicBezTo>
                    <a:cubicBezTo>
                      <a:pt x="78" y="68"/>
                      <a:pt x="79" y="68"/>
                      <a:pt x="80" y="69"/>
                    </a:cubicBezTo>
                    <a:cubicBezTo>
                      <a:pt x="80" y="69"/>
                      <a:pt x="81" y="69"/>
                      <a:pt x="81" y="70"/>
                    </a:cubicBezTo>
                    <a:cubicBezTo>
                      <a:pt x="81" y="70"/>
                      <a:pt x="81" y="70"/>
                      <a:pt x="81" y="71"/>
                    </a:cubicBezTo>
                    <a:cubicBezTo>
                      <a:pt x="81" y="71"/>
                      <a:pt x="82" y="72"/>
                      <a:pt x="82" y="73"/>
                    </a:cubicBezTo>
                    <a:cubicBezTo>
                      <a:pt x="82" y="73"/>
                      <a:pt x="82" y="73"/>
                      <a:pt x="83" y="74"/>
                    </a:cubicBezTo>
                    <a:cubicBezTo>
                      <a:pt x="83" y="74"/>
                      <a:pt x="83" y="74"/>
                      <a:pt x="84" y="74"/>
                    </a:cubicBezTo>
                    <a:cubicBezTo>
                      <a:pt x="84" y="74"/>
                      <a:pt x="84" y="74"/>
                      <a:pt x="84" y="74"/>
                    </a:cubicBezTo>
                    <a:cubicBezTo>
                      <a:pt x="85" y="74"/>
                      <a:pt x="86" y="75"/>
                      <a:pt x="86" y="75"/>
                    </a:cubicBezTo>
                    <a:cubicBezTo>
                      <a:pt x="86" y="75"/>
                      <a:pt x="87" y="75"/>
                      <a:pt x="87" y="75"/>
                    </a:cubicBezTo>
                    <a:cubicBezTo>
                      <a:pt x="87" y="75"/>
                      <a:pt x="87" y="76"/>
                      <a:pt x="88" y="76"/>
                    </a:cubicBezTo>
                    <a:cubicBezTo>
                      <a:pt x="88" y="76"/>
                      <a:pt x="88" y="76"/>
                      <a:pt x="89" y="76"/>
                    </a:cubicBezTo>
                    <a:cubicBezTo>
                      <a:pt x="89" y="76"/>
                      <a:pt x="90" y="77"/>
                      <a:pt x="91" y="77"/>
                    </a:cubicBezTo>
                    <a:cubicBezTo>
                      <a:pt x="91" y="77"/>
                      <a:pt x="91" y="76"/>
                      <a:pt x="92" y="76"/>
                    </a:cubicBezTo>
                    <a:cubicBezTo>
                      <a:pt x="92" y="77"/>
                      <a:pt x="93" y="77"/>
                      <a:pt x="93" y="77"/>
                    </a:cubicBezTo>
                    <a:cubicBezTo>
                      <a:pt x="87" y="88"/>
                      <a:pt x="76" y="96"/>
                      <a:pt x="63" y="99"/>
                    </a:cubicBezTo>
                    <a:cubicBezTo>
                      <a:pt x="63" y="99"/>
                      <a:pt x="63" y="98"/>
                      <a:pt x="63" y="98"/>
                    </a:cubicBezTo>
                    <a:cubicBezTo>
                      <a:pt x="63" y="97"/>
                      <a:pt x="63" y="96"/>
                      <a:pt x="63" y="95"/>
                    </a:cubicBezTo>
                    <a:cubicBezTo>
                      <a:pt x="63" y="94"/>
                      <a:pt x="63" y="93"/>
                      <a:pt x="63" y="93"/>
                    </a:cubicBezTo>
                    <a:cubicBezTo>
                      <a:pt x="62" y="92"/>
                      <a:pt x="61" y="91"/>
                      <a:pt x="60" y="91"/>
                    </a:cubicBezTo>
                    <a:cubicBezTo>
                      <a:pt x="60" y="91"/>
                      <a:pt x="60" y="91"/>
                      <a:pt x="59" y="90"/>
                    </a:cubicBezTo>
                    <a:cubicBezTo>
                      <a:pt x="58" y="90"/>
                      <a:pt x="57" y="89"/>
                      <a:pt x="56" y="88"/>
                    </a:cubicBezTo>
                    <a:cubicBezTo>
                      <a:pt x="56" y="88"/>
                      <a:pt x="56" y="88"/>
                      <a:pt x="56" y="87"/>
                    </a:cubicBezTo>
                    <a:cubicBezTo>
                      <a:pt x="56" y="87"/>
                      <a:pt x="56" y="87"/>
                      <a:pt x="55" y="87"/>
                    </a:cubicBezTo>
                    <a:lnTo>
                      <a:pt x="55" y="103"/>
                    </a:lnTo>
                    <a:close/>
                    <a:moveTo>
                      <a:pt x="1" y="41"/>
                    </a:moveTo>
                    <a:cubicBezTo>
                      <a:pt x="1" y="42"/>
                      <a:pt x="1" y="43"/>
                      <a:pt x="1" y="44"/>
                    </a:cubicBezTo>
                    <a:cubicBezTo>
                      <a:pt x="1" y="45"/>
                      <a:pt x="1" y="46"/>
                      <a:pt x="1" y="47"/>
                    </a:cubicBezTo>
                    <a:cubicBezTo>
                      <a:pt x="0" y="48"/>
                      <a:pt x="0" y="50"/>
                      <a:pt x="0" y="52"/>
                    </a:cubicBezTo>
                    <a:cubicBezTo>
                      <a:pt x="0" y="54"/>
                      <a:pt x="0" y="55"/>
                      <a:pt x="1" y="57"/>
                    </a:cubicBezTo>
                    <a:cubicBezTo>
                      <a:pt x="1" y="58"/>
                      <a:pt x="1" y="59"/>
                      <a:pt x="1" y="60"/>
                    </a:cubicBezTo>
                    <a:cubicBezTo>
                      <a:pt x="1" y="61"/>
                      <a:pt x="1" y="61"/>
                      <a:pt x="1" y="62"/>
                    </a:cubicBezTo>
                    <a:cubicBezTo>
                      <a:pt x="2" y="63"/>
                      <a:pt x="2" y="64"/>
                      <a:pt x="2" y="65"/>
                    </a:cubicBezTo>
                    <a:cubicBezTo>
                      <a:pt x="2" y="66"/>
                      <a:pt x="3" y="68"/>
                      <a:pt x="4" y="70"/>
                    </a:cubicBezTo>
                    <a:cubicBezTo>
                      <a:pt x="4" y="70"/>
                      <a:pt x="4" y="71"/>
                      <a:pt x="4" y="72"/>
                    </a:cubicBezTo>
                    <a:cubicBezTo>
                      <a:pt x="5" y="73"/>
                      <a:pt x="5" y="73"/>
                      <a:pt x="5" y="74"/>
                    </a:cubicBezTo>
                    <a:cubicBezTo>
                      <a:pt x="6" y="75"/>
                      <a:pt x="6" y="75"/>
                      <a:pt x="6" y="75"/>
                    </a:cubicBezTo>
                    <a:cubicBezTo>
                      <a:pt x="6" y="76"/>
                      <a:pt x="7" y="77"/>
                      <a:pt x="7" y="77"/>
                    </a:cubicBezTo>
                    <a:cubicBezTo>
                      <a:pt x="8" y="80"/>
                      <a:pt x="10" y="82"/>
                      <a:pt x="11" y="84"/>
                    </a:cubicBezTo>
                    <a:cubicBezTo>
                      <a:pt x="12" y="85"/>
                      <a:pt x="13" y="86"/>
                      <a:pt x="14" y="86"/>
                    </a:cubicBezTo>
                    <a:cubicBezTo>
                      <a:pt x="14" y="87"/>
                      <a:pt x="15" y="88"/>
                      <a:pt x="15" y="88"/>
                    </a:cubicBezTo>
                    <a:cubicBezTo>
                      <a:pt x="16" y="89"/>
                      <a:pt x="17" y="89"/>
                      <a:pt x="17" y="90"/>
                    </a:cubicBezTo>
                    <a:cubicBezTo>
                      <a:pt x="20" y="92"/>
                      <a:pt x="23" y="95"/>
                      <a:pt x="26" y="96"/>
                    </a:cubicBezTo>
                    <a:cubicBezTo>
                      <a:pt x="27" y="97"/>
                      <a:pt x="28" y="97"/>
                      <a:pt x="28" y="98"/>
                    </a:cubicBezTo>
                    <a:cubicBezTo>
                      <a:pt x="30" y="98"/>
                      <a:pt x="31" y="99"/>
                      <a:pt x="33" y="100"/>
                    </a:cubicBezTo>
                    <a:cubicBezTo>
                      <a:pt x="34" y="100"/>
                      <a:pt x="35" y="100"/>
                      <a:pt x="35" y="101"/>
                    </a:cubicBezTo>
                    <a:cubicBezTo>
                      <a:pt x="41" y="102"/>
                      <a:pt x="46" y="103"/>
                      <a:pt x="52" y="103"/>
                    </a:cubicBezTo>
                    <a:cubicBezTo>
                      <a:pt x="53" y="103"/>
                      <a:pt x="54" y="103"/>
                      <a:pt x="55" y="103"/>
                    </a:cubicBezTo>
                    <a:cubicBezTo>
                      <a:pt x="55" y="87"/>
                      <a:pt x="55" y="87"/>
                      <a:pt x="55" y="87"/>
                    </a:cubicBezTo>
                    <a:cubicBezTo>
                      <a:pt x="55" y="86"/>
                      <a:pt x="55" y="86"/>
                      <a:pt x="55" y="86"/>
                    </a:cubicBezTo>
                    <a:cubicBezTo>
                      <a:pt x="54" y="85"/>
                      <a:pt x="54" y="83"/>
                      <a:pt x="53" y="82"/>
                    </a:cubicBezTo>
                    <a:cubicBezTo>
                      <a:pt x="53" y="82"/>
                      <a:pt x="52" y="81"/>
                      <a:pt x="52" y="81"/>
                    </a:cubicBezTo>
                    <a:cubicBezTo>
                      <a:pt x="52" y="80"/>
                      <a:pt x="51" y="80"/>
                      <a:pt x="51" y="80"/>
                    </a:cubicBezTo>
                    <a:cubicBezTo>
                      <a:pt x="51" y="79"/>
                      <a:pt x="50" y="79"/>
                      <a:pt x="50" y="78"/>
                    </a:cubicBezTo>
                    <a:cubicBezTo>
                      <a:pt x="50" y="78"/>
                      <a:pt x="51" y="77"/>
                      <a:pt x="51" y="77"/>
                    </a:cubicBezTo>
                    <a:cubicBezTo>
                      <a:pt x="51" y="76"/>
                      <a:pt x="51" y="76"/>
                      <a:pt x="51" y="76"/>
                    </a:cubicBezTo>
                    <a:cubicBezTo>
                      <a:pt x="51" y="75"/>
                      <a:pt x="51" y="74"/>
                      <a:pt x="51" y="74"/>
                    </a:cubicBezTo>
                    <a:cubicBezTo>
                      <a:pt x="51" y="73"/>
                      <a:pt x="52" y="73"/>
                      <a:pt x="52" y="73"/>
                    </a:cubicBezTo>
                    <a:cubicBezTo>
                      <a:pt x="52" y="73"/>
                      <a:pt x="52" y="73"/>
                      <a:pt x="53" y="72"/>
                    </a:cubicBezTo>
                    <a:cubicBezTo>
                      <a:pt x="53" y="72"/>
                      <a:pt x="53" y="72"/>
                      <a:pt x="53" y="71"/>
                    </a:cubicBezTo>
                    <a:cubicBezTo>
                      <a:pt x="53" y="71"/>
                      <a:pt x="54" y="71"/>
                      <a:pt x="54" y="70"/>
                    </a:cubicBezTo>
                    <a:cubicBezTo>
                      <a:pt x="54" y="70"/>
                      <a:pt x="54" y="68"/>
                      <a:pt x="54" y="67"/>
                    </a:cubicBezTo>
                    <a:cubicBezTo>
                      <a:pt x="54" y="67"/>
                      <a:pt x="54" y="66"/>
                      <a:pt x="54" y="66"/>
                    </a:cubicBezTo>
                    <a:cubicBezTo>
                      <a:pt x="53" y="65"/>
                      <a:pt x="53" y="64"/>
                      <a:pt x="53" y="64"/>
                    </a:cubicBezTo>
                    <a:cubicBezTo>
                      <a:pt x="52" y="64"/>
                      <a:pt x="52" y="65"/>
                      <a:pt x="52" y="65"/>
                    </a:cubicBezTo>
                    <a:cubicBezTo>
                      <a:pt x="52" y="66"/>
                      <a:pt x="52" y="66"/>
                      <a:pt x="51" y="66"/>
                    </a:cubicBezTo>
                    <a:cubicBezTo>
                      <a:pt x="51" y="66"/>
                      <a:pt x="50" y="66"/>
                      <a:pt x="50" y="65"/>
                    </a:cubicBezTo>
                    <a:cubicBezTo>
                      <a:pt x="49" y="65"/>
                      <a:pt x="49" y="65"/>
                      <a:pt x="49" y="65"/>
                    </a:cubicBezTo>
                    <a:cubicBezTo>
                      <a:pt x="48" y="65"/>
                      <a:pt x="48" y="64"/>
                      <a:pt x="47" y="64"/>
                    </a:cubicBezTo>
                    <a:cubicBezTo>
                      <a:pt x="47" y="64"/>
                      <a:pt x="47" y="64"/>
                      <a:pt x="46" y="63"/>
                    </a:cubicBezTo>
                    <a:cubicBezTo>
                      <a:pt x="46" y="63"/>
                      <a:pt x="46" y="63"/>
                      <a:pt x="46" y="62"/>
                    </a:cubicBezTo>
                    <a:cubicBezTo>
                      <a:pt x="46" y="62"/>
                      <a:pt x="45" y="60"/>
                      <a:pt x="44" y="60"/>
                    </a:cubicBezTo>
                    <a:cubicBezTo>
                      <a:pt x="44" y="60"/>
                      <a:pt x="43" y="60"/>
                      <a:pt x="43" y="60"/>
                    </a:cubicBezTo>
                    <a:cubicBezTo>
                      <a:pt x="42" y="60"/>
                      <a:pt x="42" y="60"/>
                      <a:pt x="42" y="60"/>
                    </a:cubicBezTo>
                    <a:cubicBezTo>
                      <a:pt x="41" y="59"/>
                      <a:pt x="41" y="59"/>
                      <a:pt x="41" y="59"/>
                    </a:cubicBezTo>
                    <a:cubicBezTo>
                      <a:pt x="40" y="59"/>
                      <a:pt x="39" y="57"/>
                      <a:pt x="38" y="57"/>
                    </a:cubicBezTo>
                    <a:cubicBezTo>
                      <a:pt x="37" y="57"/>
                      <a:pt x="37" y="58"/>
                      <a:pt x="36" y="58"/>
                    </a:cubicBezTo>
                    <a:cubicBezTo>
                      <a:pt x="36" y="58"/>
                      <a:pt x="35" y="57"/>
                      <a:pt x="34" y="57"/>
                    </a:cubicBezTo>
                    <a:cubicBezTo>
                      <a:pt x="33" y="57"/>
                      <a:pt x="33" y="56"/>
                      <a:pt x="32" y="56"/>
                    </a:cubicBezTo>
                    <a:cubicBezTo>
                      <a:pt x="32" y="56"/>
                      <a:pt x="31" y="55"/>
                      <a:pt x="31" y="55"/>
                    </a:cubicBezTo>
                    <a:cubicBezTo>
                      <a:pt x="31" y="55"/>
                      <a:pt x="30" y="55"/>
                      <a:pt x="30" y="55"/>
                    </a:cubicBezTo>
                    <a:cubicBezTo>
                      <a:pt x="30" y="55"/>
                      <a:pt x="29" y="54"/>
                      <a:pt x="29" y="54"/>
                    </a:cubicBezTo>
                    <a:cubicBezTo>
                      <a:pt x="28" y="54"/>
                      <a:pt x="28" y="53"/>
                      <a:pt x="28" y="53"/>
                    </a:cubicBezTo>
                    <a:cubicBezTo>
                      <a:pt x="28" y="53"/>
                      <a:pt x="28" y="52"/>
                      <a:pt x="28" y="52"/>
                    </a:cubicBezTo>
                    <a:cubicBezTo>
                      <a:pt x="28" y="51"/>
                      <a:pt x="28" y="50"/>
                      <a:pt x="27" y="49"/>
                    </a:cubicBezTo>
                    <a:cubicBezTo>
                      <a:pt x="26" y="48"/>
                      <a:pt x="26" y="48"/>
                      <a:pt x="25" y="47"/>
                    </a:cubicBezTo>
                    <a:cubicBezTo>
                      <a:pt x="25" y="47"/>
                      <a:pt x="25" y="47"/>
                      <a:pt x="25" y="46"/>
                    </a:cubicBezTo>
                    <a:cubicBezTo>
                      <a:pt x="25" y="46"/>
                      <a:pt x="25" y="46"/>
                      <a:pt x="24" y="45"/>
                    </a:cubicBezTo>
                    <a:cubicBezTo>
                      <a:pt x="24" y="45"/>
                      <a:pt x="23" y="44"/>
                      <a:pt x="23" y="44"/>
                    </a:cubicBezTo>
                    <a:cubicBezTo>
                      <a:pt x="23" y="43"/>
                      <a:pt x="24" y="42"/>
                      <a:pt x="23" y="42"/>
                    </a:cubicBezTo>
                    <a:cubicBezTo>
                      <a:pt x="23" y="41"/>
                      <a:pt x="22" y="41"/>
                      <a:pt x="22" y="43"/>
                    </a:cubicBezTo>
                    <a:cubicBezTo>
                      <a:pt x="22" y="43"/>
                      <a:pt x="22" y="44"/>
                      <a:pt x="23" y="44"/>
                    </a:cubicBezTo>
                    <a:cubicBezTo>
                      <a:pt x="23" y="44"/>
                      <a:pt x="23" y="45"/>
                      <a:pt x="23" y="45"/>
                    </a:cubicBezTo>
                    <a:cubicBezTo>
                      <a:pt x="23" y="46"/>
                      <a:pt x="23" y="46"/>
                      <a:pt x="24" y="46"/>
                    </a:cubicBezTo>
                    <a:cubicBezTo>
                      <a:pt x="24" y="47"/>
                      <a:pt x="24" y="48"/>
                      <a:pt x="24" y="48"/>
                    </a:cubicBezTo>
                    <a:cubicBezTo>
                      <a:pt x="24" y="49"/>
                      <a:pt x="25" y="49"/>
                      <a:pt x="24" y="50"/>
                    </a:cubicBezTo>
                    <a:cubicBezTo>
                      <a:pt x="24" y="50"/>
                      <a:pt x="24" y="49"/>
                      <a:pt x="23" y="49"/>
                    </a:cubicBezTo>
                    <a:cubicBezTo>
                      <a:pt x="23" y="49"/>
                      <a:pt x="23" y="49"/>
                      <a:pt x="22" y="48"/>
                    </a:cubicBezTo>
                    <a:cubicBezTo>
                      <a:pt x="22" y="48"/>
                      <a:pt x="23" y="47"/>
                      <a:pt x="23" y="47"/>
                    </a:cubicBezTo>
                    <a:cubicBezTo>
                      <a:pt x="22" y="46"/>
                      <a:pt x="21" y="46"/>
                      <a:pt x="21" y="45"/>
                    </a:cubicBezTo>
                    <a:cubicBezTo>
                      <a:pt x="21" y="45"/>
                      <a:pt x="21" y="45"/>
                      <a:pt x="21" y="44"/>
                    </a:cubicBezTo>
                    <a:cubicBezTo>
                      <a:pt x="21" y="44"/>
                      <a:pt x="21" y="43"/>
                      <a:pt x="21" y="43"/>
                    </a:cubicBezTo>
                    <a:cubicBezTo>
                      <a:pt x="20" y="43"/>
                      <a:pt x="20" y="42"/>
                      <a:pt x="20" y="41"/>
                    </a:cubicBezTo>
                    <a:cubicBezTo>
                      <a:pt x="20" y="41"/>
                      <a:pt x="20" y="40"/>
                      <a:pt x="20" y="40"/>
                    </a:cubicBezTo>
                    <a:cubicBezTo>
                      <a:pt x="20" y="39"/>
                      <a:pt x="20" y="39"/>
                      <a:pt x="19" y="39"/>
                    </a:cubicBezTo>
                    <a:cubicBezTo>
                      <a:pt x="19" y="38"/>
                      <a:pt x="18" y="38"/>
                      <a:pt x="18" y="38"/>
                    </a:cubicBezTo>
                    <a:cubicBezTo>
                      <a:pt x="18" y="38"/>
                      <a:pt x="18" y="37"/>
                      <a:pt x="18" y="37"/>
                    </a:cubicBezTo>
                    <a:cubicBezTo>
                      <a:pt x="18" y="36"/>
                      <a:pt x="18" y="35"/>
                      <a:pt x="18" y="34"/>
                    </a:cubicBezTo>
                    <a:cubicBezTo>
                      <a:pt x="18" y="34"/>
                      <a:pt x="18" y="33"/>
                      <a:pt x="18" y="32"/>
                    </a:cubicBezTo>
                    <a:cubicBezTo>
                      <a:pt x="18" y="32"/>
                      <a:pt x="18" y="32"/>
                      <a:pt x="19" y="31"/>
                    </a:cubicBezTo>
                    <a:cubicBezTo>
                      <a:pt x="19" y="31"/>
                      <a:pt x="19" y="30"/>
                      <a:pt x="19" y="30"/>
                    </a:cubicBezTo>
                    <a:cubicBezTo>
                      <a:pt x="20" y="29"/>
                      <a:pt x="20" y="28"/>
                      <a:pt x="21" y="28"/>
                    </a:cubicBezTo>
                    <a:cubicBezTo>
                      <a:pt x="22" y="27"/>
                      <a:pt x="22" y="26"/>
                      <a:pt x="23" y="25"/>
                    </a:cubicBezTo>
                    <a:cubicBezTo>
                      <a:pt x="23" y="25"/>
                      <a:pt x="23" y="24"/>
                      <a:pt x="23" y="24"/>
                    </a:cubicBezTo>
                    <a:cubicBezTo>
                      <a:pt x="23" y="23"/>
                      <a:pt x="22" y="23"/>
                      <a:pt x="22" y="22"/>
                    </a:cubicBezTo>
                    <a:cubicBezTo>
                      <a:pt x="22" y="22"/>
                      <a:pt x="23" y="22"/>
                      <a:pt x="23" y="22"/>
                    </a:cubicBezTo>
                    <a:cubicBezTo>
                      <a:pt x="23" y="21"/>
                      <a:pt x="23" y="21"/>
                      <a:pt x="23" y="21"/>
                    </a:cubicBezTo>
                    <a:cubicBezTo>
                      <a:pt x="23" y="20"/>
                      <a:pt x="23" y="19"/>
                      <a:pt x="23" y="19"/>
                    </a:cubicBezTo>
                    <a:cubicBezTo>
                      <a:pt x="23" y="18"/>
                      <a:pt x="24" y="18"/>
                      <a:pt x="23" y="18"/>
                    </a:cubicBezTo>
                    <a:cubicBezTo>
                      <a:pt x="23" y="17"/>
                      <a:pt x="22" y="18"/>
                      <a:pt x="22" y="18"/>
                    </a:cubicBezTo>
                    <a:cubicBezTo>
                      <a:pt x="21" y="17"/>
                      <a:pt x="22" y="17"/>
                      <a:pt x="22" y="16"/>
                    </a:cubicBezTo>
                    <a:cubicBezTo>
                      <a:pt x="22" y="16"/>
                      <a:pt x="22" y="16"/>
                      <a:pt x="22" y="16"/>
                    </a:cubicBezTo>
                    <a:cubicBezTo>
                      <a:pt x="22" y="15"/>
                      <a:pt x="22" y="15"/>
                      <a:pt x="22" y="15"/>
                    </a:cubicBezTo>
                    <a:cubicBezTo>
                      <a:pt x="22" y="15"/>
                      <a:pt x="22" y="14"/>
                      <a:pt x="22" y="14"/>
                    </a:cubicBezTo>
                    <a:cubicBezTo>
                      <a:pt x="28" y="9"/>
                      <a:pt x="35" y="5"/>
                      <a:pt x="43" y="4"/>
                    </a:cubicBezTo>
                    <a:cubicBezTo>
                      <a:pt x="43" y="4"/>
                      <a:pt x="43" y="4"/>
                      <a:pt x="43" y="4"/>
                    </a:cubicBezTo>
                    <a:cubicBezTo>
                      <a:pt x="43" y="4"/>
                      <a:pt x="43" y="4"/>
                      <a:pt x="44" y="4"/>
                    </a:cubicBezTo>
                    <a:cubicBezTo>
                      <a:pt x="44" y="4"/>
                      <a:pt x="45" y="4"/>
                      <a:pt x="45" y="4"/>
                    </a:cubicBezTo>
                    <a:cubicBezTo>
                      <a:pt x="46" y="4"/>
                      <a:pt x="46" y="4"/>
                      <a:pt x="47" y="4"/>
                    </a:cubicBezTo>
                    <a:cubicBezTo>
                      <a:pt x="48" y="4"/>
                      <a:pt x="49" y="5"/>
                      <a:pt x="50" y="5"/>
                    </a:cubicBezTo>
                    <a:cubicBezTo>
                      <a:pt x="50" y="5"/>
                      <a:pt x="50" y="4"/>
                      <a:pt x="50" y="4"/>
                    </a:cubicBezTo>
                    <a:cubicBezTo>
                      <a:pt x="50" y="4"/>
                      <a:pt x="51" y="3"/>
                      <a:pt x="51" y="3"/>
                    </a:cubicBezTo>
                    <a:cubicBezTo>
                      <a:pt x="51" y="3"/>
                      <a:pt x="52" y="3"/>
                      <a:pt x="52" y="3"/>
                    </a:cubicBezTo>
                    <a:cubicBezTo>
                      <a:pt x="53" y="3"/>
                      <a:pt x="54" y="3"/>
                      <a:pt x="55" y="3"/>
                    </a:cubicBezTo>
                    <a:cubicBezTo>
                      <a:pt x="55" y="0"/>
                      <a:pt x="55" y="0"/>
                      <a:pt x="55" y="0"/>
                    </a:cubicBezTo>
                    <a:cubicBezTo>
                      <a:pt x="55" y="0"/>
                      <a:pt x="54" y="0"/>
                      <a:pt x="53" y="0"/>
                    </a:cubicBezTo>
                    <a:cubicBezTo>
                      <a:pt x="53" y="0"/>
                      <a:pt x="52" y="0"/>
                      <a:pt x="52" y="0"/>
                    </a:cubicBezTo>
                    <a:cubicBezTo>
                      <a:pt x="51" y="0"/>
                      <a:pt x="51" y="0"/>
                      <a:pt x="50" y="0"/>
                    </a:cubicBezTo>
                    <a:cubicBezTo>
                      <a:pt x="45" y="0"/>
                      <a:pt x="40" y="1"/>
                      <a:pt x="35" y="3"/>
                    </a:cubicBezTo>
                    <a:cubicBezTo>
                      <a:pt x="35" y="3"/>
                      <a:pt x="34" y="4"/>
                      <a:pt x="33" y="4"/>
                    </a:cubicBezTo>
                    <a:cubicBezTo>
                      <a:pt x="33" y="4"/>
                      <a:pt x="33" y="4"/>
                      <a:pt x="32" y="4"/>
                    </a:cubicBezTo>
                    <a:cubicBezTo>
                      <a:pt x="32" y="4"/>
                      <a:pt x="31" y="5"/>
                      <a:pt x="31" y="5"/>
                    </a:cubicBezTo>
                    <a:cubicBezTo>
                      <a:pt x="30" y="5"/>
                      <a:pt x="29" y="6"/>
                      <a:pt x="28" y="6"/>
                    </a:cubicBezTo>
                    <a:cubicBezTo>
                      <a:pt x="28" y="6"/>
                      <a:pt x="27" y="7"/>
                      <a:pt x="26" y="7"/>
                    </a:cubicBezTo>
                    <a:cubicBezTo>
                      <a:pt x="23" y="9"/>
                      <a:pt x="21" y="11"/>
                      <a:pt x="18" y="13"/>
                    </a:cubicBezTo>
                    <a:cubicBezTo>
                      <a:pt x="18" y="13"/>
                      <a:pt x="18" y="13"/>
                      <a:pt x="17" y="14"/>
                    </a:cubicBezTo>
                    <a:cubicBezTo>
                      <a:pt x="17" y="14"/>
                      <a:pt x="16" y="15"/>
                      <a:pt x="15" y="15"/>
                    </a:cubicBezTo>
                    <a:cubicBezTo>
                      <a:pt x="15" y="16"/>
                      <a:pt x="14" y="17"/>
                      <a:pt x="14" y="17"/>
                    </a:cubicBezTo>
                    <a:cubicBezTo>
                      <a:pt x="13" y="18"/>
                      <a:pt x="12" y="19"/>
                      <a:pt x="11" y="20"/>
                    </a:cubicBezTo>
                    <a:cubicBezTo>
                      <a:pt x="10" y="22"/>
                      <a:pt x="8" y="24"/>
                      <a:pt x="7" y="26"/>
                    </a:cubicBezTo>
                    <a:cubicBezTo>
                      <a:pt x="7" y="27"/>
                      <a:pt x="6" y="28"/>
                      <a:pt x="6" y="28"/>
                    </a:cubicBezTo>
                    <a:cubicBezTo>
                      <a:pt x="6" y="29"/>
                      <a:pt x="6" y="29"/>
                      <a:pt x="5" y="29"/>
                    </a:cubicBezTo>
                    <a:cubicBezTo>
                      <a:pt x="5" y="31"/>
                      <a:pt x="4" y="32"/>
                      <a:pt x="4" y="33"/>
                    </a:cubicBezTo>
                    <a:cubicBezTo>
                      <a:pt x="4" y="33"/>
                      <a:pt x="4" y="34"/>
                      <a:pt x="4" y="34"/>
                    </a:cubicBezTo>
                    <a:cubicBezTo>
                      <a:pt x="3" y="36"/>
                      <a:pt x="2" y="37"/>
                      <a:pt x="2" y="39"/>
                    </a:cubicBezTo>
                    <a:cubicBezTo>
                      <a:pt x="2" y="40"/>
                      <a:pt x="2" y="41"/>
                      <a:pt x="1" y="41"/>
                    </a:cubicBezTo>
                    <a:close/>
                    <a:moveTo>
                      <a:pt x="55" y="41"/>
                    </a:moveTo>
                    <a:cubicBezTo>
                      <a:pt x="55" y="65"/>
                      <a:pt x="55" y="65"/>
                      <a:pt x="55" y="65"/>
                    </a:cubicBezTo>
                    <a:cubicBezTo>
                      <a:pt x="55" y="65"/>
                      <a:pt x="55" y="65"/>
                      <a:pt x="55" y="65"/>
                    </a:cubicBezTo>
                    <a:cubicBezTo>
                      <a:pt x="54" y="65"/>
                      <a:pt x="54" y="64"/>
                      <a:pt x="54" y="64"/>
                    </a:cubicBezTo>
                    <a:cubicBezTo>
                      <a:pt x="52" y="63"/>
                      <a:pt x="52" y="65"/>
                      <a:pt x="51" y="65"/>
                    </a:cubicBezTo>
                    <a:cubicBezTo>
                      <a:pt x="50" y="65"/>
                      <a:pt x="48" y="63"/>
                      <a:pt x="48" y="62"/>
                    </a:cubicBezTo>
                    <a:cubicBezTo>
                      <a:pt x="48" y="61"/>
                      <a:pt x="49" y="61"/>
                      <a:pt x="49" y="60"/>
                    </a:cubicBezTo>
                    <a:cubicBezTo>
                      <a:pt x="49" y="59"/>
                      <a:pt x="49" y="59"/>
                      <a:pt x="49" y="59"/>
                    </a:cubicBezTo>
                    <a:cubicBezTo>
                      <a:pt x="49" y="58"/>
                      <a:pt x="48" y="57"/>
                      <a:pt x="48" y="57"/>
                    </a:cubicBezTo>
                    <a:cubicBezTo>
                      <a:pt x="47" y="57"/>
                      <a:pt x="45" y="58"/>
                      <a:pt x="44" y="57"/>
                    </a:cubicBezTo>
                    <a:cubicBezTo>
                      <a:pt x="44" y="57"/>
                      <a:pt x="44" y="57"/>
                      <a:pt x="45" y="56"/>
                    </a:cubicBezTo>
                    <a:cubicBezTo>
                      <a:pt x="45" y="56"/>
                      <a:pt x="45" y="56"/>
                      <a:pt x="45" y="56"/>
                    </a:cubicBezTo>
                    <a:cubicBezTo>
                      <a:pt x="45" y="55"/>
                      <a:pt x="45" y="55"/>
                      <a:pt x="45" y="55"/>
                    </a:cubicBezTo>
                    <a:cubicBezTo>
                      <a:pt x="46" y="54"/>
                      <a:pt x="46" y="54"/>
                      <a:pt x="46" y="53"/>
                    </a:cubicBezTo>
                    <a:cubicBezTo>
                      <a:pt x="46" y="53"/>
                      <a:pt x="46" y="53"/>
                      <a:pt x="46" y="53"/>
                    </a:cubicBezTo>
                    <a:cubicBezTo>
                      <a:pt x="46" y="52"/>
                      <a:pt x="46" y="52"/>
                      <a:pt x="46" y="52"/>
                    </a:cubicBezTo>
                    <a:cubicBezTo>
                      <a:pt x="45" y="52"/>
                      <a:pt x="44" y="52"/>
                      <a:pt x="44" y="52"/>
                    </a:cubicBezTo>
                    <a:cubicBezTo>
                      <a:pt x="42" y="52"/>
                      <a:pt x="43" y="54"/>
                      <a:pt x="42" y="54"/>
                    </a:cubicBezTo>
                    <a:cubicBezTo>
                      <a:pt x="41" y="55"/>
                      <a:pt x="41" y="55"/>
                      <a:pt x="40" y="55"/>
                    </a:cubicBezTo>
                    <a:cubicBezTo>
                      <a:pt x="40" y="55"/>
                      <a:pt x="39" y="55"/>
                      <a:pt x="39" y="55"/>
                    </a:cubicBezTo>
                    <a:cubicBezTo>
                      <a:pt x="38" y="55"/>
                      <a:pt x="37" y="54"/>
                      <a:pt x="37" y="54"/>
                    </a:cubicBezTo>
                    <a:cubicBezTo>
                      <a:pt x="37" y="54"/>
                      <a:pt x="36" y="52"/>
                      <a:pt x="36" y="52"/>
                    </a:cubicBezTo>
                    <a:cubicBezTo>
                      <a:pt x="36" y="51"/>
                      <a:pt x="36" y="49"/>
                      <a:pt x="37" y="48"/>
                    </a:cubicBezTo>
                    <a:cubicBezTo>
                      <a:pt x="37" y="48"/>
                      <a:pt x="37" y="48"/>
                      <a:pt x="37" y="47"/>
                    </a:cubicBezTo>
                    <a:cubicBezTo>
                      <a:pt x="38" y="47"/>
                      <a:pt x="37" y="46"/>
                      <a:pt x="38" y="46"/>
                    </a:cubicBezTo>
                    <a:cubicBezTo>
                      <a:pt x="38" y="45"/>
                      <a:pt x="39" y="45"/>
                      <a:pt x="39" y="44"/>
                    </a:cubicBezTo>
                    <a:cubicBezTo>
                      <a:pt x="40" y="44"/>
                      <a:pt x="41" y="43"/>
                      <a:pt x="42" y="43"/>
                    </a:cubicBezTo>
                    <a:cubicBezTo>
                      <a:pt x="42" y="43"/>
                      <a:pt x="43" y="43"/>
                      <a:pt x="44" y="43"/>
                    </a:cubicBezTo>
                    <a:cubicBezTo>
                      <a:pt x="44" y="43"/>
                      <a:pt x="44" y="44"/>
                      <a:pt x="45" y="44"/>
                    </a:cubicBezTo>
                    <a:cubicBezTo>
                      <a:pt x="46" y="44"/>
                      <a:pt x="46" y="43"/>
                      <a:pt x="47" y="43"/>
                    </a:cubicBezTo>
                    <a:cubicBezTo>
                      <a:pt x="48" y="43"/>
                      <a:pt x="48" y="42"/>
                      <a:pt x="49" y="43"/>
                    </a:cubicBezTo>
                    <a:cubicBezTo>
                      <a:pt x="49" y="43"/>
                      <a:pt x="50" y="43"/>
                      <a:pt x="50" y="43"/>
                    </a:cubicBezTo>
                    <a:cubicBezTo>
                      <a:pt x="51" y="43"/>
                      <a:pt x="51" y="43"/>
                      <a:pt x="51" y="43"/>
                    </a:cubicBezTo>
                    <a:cubicBezTo>
                      <a:pt x="52" y="43"/>
                      <a:pt x="52" y="44"/>
                      <a:pt x="52" y="44"/>
                    </a:cubicBezTo>
                    <a:cubicBezTo>
                      <a:pt x="52" y="45"/>
                      <a:pt x="52" y="45"/>
                      <a:pt x="52" y="46"/>
                    </a:cubicBezTo>
                    <a:cubicBezTo>
                      <a:pt x="52" y="46"/>
                      <a:pt x="53" y="46"/>
                      <a:pt x="54" y="46"/>
                    </a:cubicBezTo>
                    <a:cubicBezTo>
                      <a:pt x="55" y="46"/>
                      <a:pt x="54" y="45"/>
                      <a:pt x="54" y="45"/>
                    </a:cubicBezTo>
                    <a:cubicBezTo>
                      <a:pt x="54" y="45"/>
                      <a:pt x="54" y="44"/>
                      <a:pt x="54" y="44"/>
                    </a:cubicBezTo>
                    <a:cubicBezTo>
                      <a:pt x="54" y="44"/>
                      <a:pt x="54" y="43"/>
                      <a:pt x="54" y="43"/>
                    </a:cubicBezTo>
                    <a:cubicBezTo>
                      <a:pt x="54" y="42"/>
                      <a:pt x="55" y="41"/>
                      <a:pt x="55" y="4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11" name="Freeform: Shape 94"/>
              <p:cNvSpPr/>
              <p:nvPr/>
            </p:nvSpPr>
            <p:spPr bwMode="auto">
              <a:xfrm>
                <a:off x="7254794" y="2679826"/>
                <a:ext cx="116965" cy="92848"/>
              </a:xfrm>
              <a:custGeom>
                <a:avLst/>
                <a:gdLst>
                  <a:gd name="T0" fmla="*/ 64 w 72"/>
                  <a:gd name="T1" fmla="*/ 13 h 57"/>
                  <a:gd name="T2" fmla="*/ 58 w 72"/>
                  <a:gd name="T3" fmla="*/ 13 h 57"/>
                  <a:gd name="T4" fmla="*/ 58 w 72"/>
                  <a:gd name="T5" fmla="*/ 16 h 57"/>
                  <a:gd name="T6" fmla="*/ 65 w 72"/>
                  <a:gd name="T7" fmla="*/ 32 h 57"/>
                  <a:gd name="T8" fmla="*/ 65 w 72"/>
                  <a:gd name="T9" fmla="*/ 39 h 57"/>
                  <a:gd name="T10" fmla="*/ 58 w 72"/>
                  <a:gd name="T11" fmla="*/ 57 h 57"/>
                  <a:gd name="T12" fmla="*/ 72 w 72"/>
                  <a:gd name="T13" fmla="*/ 53 h 57"/>
                  <a:gd name="T14" fmla="*/ 72 w 72"/>
                  <a:gd name="T15" fmla="*/ 20 h 57"/>
                  <a:gd name="T16" fmla="*/ 58 w 72"/>
                  <a:gd name="T17" fmla="*/ 0 h 57"/>
                  <a:gd name="T18" fmla="*/ 36 w 72"/>
                  <a:gd name="T19" fmla="*/ 4 h 57"/>
                  <a:gd name="T20" fmla="*/ 58 w 72"/>
                  <a:gd name="T21" fmla="*/ 13 h 57"/>
                  <a:gd name="T22" fmla="*/ 36 w 72"/>
                  <a:gd name="T23" fmla="*/ 45 h 57"/>
                  <a:gd name="T24" fmla="*/ 55 w 72"/>
                  <a:gd name="T25" fmla="*/ 53 h 57"/>
                  <a:gd name="T26" fmla="*/ 58 w 72"/>
                  <a:gd name="T27" fmla="*/ 57 h 57"/>
                  <a:gd name="T28" fmla="*/ 51 w 72"/>
                  <a:gd name="T29" fmla="*/ 39 h 57"/>
                  <a:gd name="T30" fmla="*/ 58 w 72"/>
                  <a:gd name="T31" fmla="*/ 32 h 57"/>
                  <a:gd name="T32" fmla="*/ 36 w 72"/>
                  <a:gd name="T33" fmla="*/ 16 h 57"/>
                  <a:gd name="T34" fmla="*/ 36 w 72"/>
                  <a:gd name="T35" fmla="*/ 0 h 57"/>
                  <a:gd name="T36" fmla="*/ 13 w 72"/>
                  <a:gd name="T37" fmla="*/ 0 h 57"/>
                  <a:gd name="T38" fmla="*/ 18 w 72"/>
                  <a:gd name="T39" fmla="*/ 4 h 57"/>
                  <a:gd name="T40" fmla="*/ 36 w 72"/>
                  <a:gd name="T41" fmla="*/ 4 h 57"/>
                  <a:gd name="T42" fmla="*/ 13 w 72"/>
                  <a:gd name="T43" fmla="*/ 57 h 57"/>
                  <a:gd name="T44" fmla="*/ 17 w 72"/>
                  <a:gd name="T45" fmla="*/ 53 h 57"/>
                  <a:gd name="T46" fmla="*/ 36 w 72"/>
                  <a:gd name="T47" fmla="*/ 45 h 57"/>
                  <a:gd name="T48" fmla="*/ 13 w 72"/>
                  <a:gd name="T49" fmla="*/ 16 h 57"/>
                  <a:gd name="T50" fmla="*/ 21 w 72"/>
                  <a:gd name="T51" fmla="*/ 32 h 57"/>
                  <a:gd name="T52" fmla="*/ 21 w 72"/>
                  <a:gd name="T53" fmla="*/ 39 h 57"/>
                  <a:gd name="T54" fmla="*/ 13 w 72"/>
                  <a:gd name="T55" fmla="*/ 57 h 57"/>
                  <a:gd name="T56" fmla="*/ 7 w 72"/>
                  <a:gd name="T57" fmla="*/ 13 h 57"/>
                  <a:gd name="T58" fmla="*/ 0 w 72"/>
                  <a:gd name="T59" fmla="*/ 43 h 57"/>
                  <a:gd name="T60" fmla="*/ 0 w 72"/>
                  <a:gd name="T61" fmla="*/ 53 h 57"/>
                  <a:gd name="T62" fmla="*/ 13 w 72"/>
                  <a:gd name="T63" fmla="*/ 57 h 57"/>
                  <a:gd name="T64" fmla="*/ 6 w 72"/>
                  <a:gd name="T65" fmla="*/ 39 h 57"/>
                  <a:gd name="T66" fmla="*/ 13 w 72"/>
                  <a:gd name="T67" fmla="*/ 32 h 57"/>
                  <a:gd name="T68" fmla="*/ 12 w 72"/>
                  <a:gd name="T69" fmla="*/ 16 h 57"/>
                  <a:gd name="T70" fmla="*/ 13 w 72"/>
                  <a:gd name="T7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57">
                    <a:moveTo>
                      <a:pt x="72" y="20"/>
                    </a:moveTo>
                    <a:cubicBezTo>
                      <a:pt x="64" y="13"/>
                      <a:pt x="64" y="13"/>
                      <a:pt x="64" y="13"/>
                    </a:cubicBezTo>
                    <a:cubicBezTo>
                      <a:pt x="58" y="0"/>
                      <a:pt x="58" y="0"/>
                      <a:pt x="58" y="0"/>
                    </a:cubicBezTo>
                    <a:cubicBezTo>
                      <a:pt x="58" y="13"/>
                      <a:pt x="58" y="13"/>
                      <a:pt x="58" y="13"/>
                    </a:cubicBezTo>
                    <a:cubicBezTo>
                      <a:pt x="60" y="16"/>
                      <a:pt x="60" y="16"/>
                      <a:pt x="60" y="16"/>
                    </a:cubicBezTo>
                    <a:cubicBezTo>
                      <a:pt x="58" y="16"/>
                      <a:pt x="58" y="16"/>
                      <a:pt x="58" y="16"/>
                    </a:cubicBezTo>
                    <a:cubicBezTo>
                      <a:pt x="58" y="32"/>
                      <a:pt x="58" y="32"/>
                      <a:pt x="58" y="32"/>
                    </a:cubicBezTo>
                    <a:cubicBezTo>
                      <a:pt x="65" y="32"/>
                      <a:pt x="65" y="32"/>
                      <a:pt x="65" y="32"/>
                    </a:cubicBezTo>
                    <a:cubicBezTo>
                      <a:pt x="65" y="39"/>
                      <a:pt x="65" y="39"/>
                      <a:pt x="65" y="39"/>
                    </a:cubicBezTo>
                    <a:cubicBezTo>
                      <a:pt x="65" y="39"/>
                      <a:pt x="65" y="39"/>
                      <a:pt x="65" y="39"/>
                    </a:cubicBezTo>
                    <a:cubicBezTo>
                      <a:pt x="58" y="39"/>
                      <a:pt x="58" y="39"/>
                      <a:pt x="58" y="39"/>
                    </a:cubicBezTo>
                    <a:cubicBezTo>
                      <a:pt x="58" y="57"/>
                      <a:pt x="58" y="57"/>
                      <a:pt x="58" y="57"/>
                    </a:cubicBezTo>
                    <a:cubicBezTo>
                      <a:pt x="68" y="57"/>
                      <a:pt x="68" y="57"/>
                      <a:pt x="68" y="57"/>
                    </a:cubicBezTo>
                    <a:cubicBezTo>
                      <a:pt x="70" y="57"/>
                      <a:pt x="72" y="55"/>
                      <a:pt x="72" y="53"/>
                    </a:cubicBezTo>
                    <a:cubicBezTo>
                      <a:pt x="72" y="45"/>
                      <a:pt x="72" y="45"/>
                      <a:pt x="72" y="45"/>
                    </a:cubicBezTo>
                    <a:lnTo>
                      <a:pt x="72" y="20"/>
                    </a:lnTo>
                    <a:close/>
                    <a:moveTo>
                      <a:pt x="58" y="0"/>
                    </a:moveTo>
                    <a:cubicBezTo>
                      <a:pt x="58" y="0"/>
                      <a:pt x="58" y="0"/>
                      <a:pt x="58" y="0"/>
                    </a:cubicBezTo>
                    <a:cubicBezTo>
                      <a:pt x="36" y="0"/>
                      <a:pt x="36" y="0"/>
                      <a:pt x="36" y="0"/>
                    </a:cubicBezTo>
                    <a:cubicBezTo>
                      <a:pt x="36" y="4"/>
                      <a:pt x="36" y="4"/>
                      <a:pt x="36" y="4"/>
                    </a:cubicBezTo>
                    <a:cubicBezTo>
                      <a:pt x="54" y="4"/>
                      <a:pt x="54" y="4"/>
                      <a:pt x="54" y="4"/>
                    </a:cubicBezTo>
                    <a:cubicBezTo>
                      <a:pt x="58" y="13"/>
                      <a:pt x="58" y="13"/>
                      <a:pt x="58" y="13"/>
                    </a:cubicBezTo>
                    <a:cubicBezTo>
                      <a:pt x="58" y="0"/>
                      <a:pt x="58" y="0"/>
                      <a:pt x="58" y="0"/>
                    </a:cubicBezTo>
                    <a:close/>
                    <a:moveTo>
                      <a:pt x="36" y="45"/>
                    </a:moveTo>
                    <a:cubicBezTo>
                      <a:pt x="55" y="45"/>
                      <a:pt x="55" y="45"/>
                      <a:pt x="55" y="45"/>
                    </a:cubicBezTo>
                    <a:cubicBezTo>
                      <a:pt x="55" y="53"/>
                      <a:pt x="55" y="53"/>
                      <a:pt x="55" y="53"/>
                    </a:cubicBezTo>
                    <a:cubicBezTo>
                      <a:pt x="55" y="55"/>
                      <a:pt x="56" y="57"/>
                      <a:pt x="58" y="57"/>
                    </a:cubicBezTo>
                    <a:cubicBezTo>
                      <a:pt x="58" y="57"/>
                      <a:pt x="58" y="57"/>
                      <a:pt x="58" y="57"/>
                    </a:cubicBezTo>
                    <a:cubicBezTo>
                      <a:pt x="58" y="39"/>
                      <a:pt x="58" y="39"/>
                      <a:pt x="58" y="39"/>
                    </a:cubicBezTo>
                    <a:cubicBezTo>
                      <a:pt x="51" y="39"/>
                      <a:pt x="51" y="39"/>
                      <a:pt x="51" y="39"/>
                    </a:cubicBezTo>
                    <a:cubicBezTo>
                      <a:pt x="51" y="32"/>
                      <a:pt x="51" y="32"/>
                      <a:pt x="51" y="32"/>
                    </a:cubicBezTo>
                    <a:cubicBezTo>
                      <a:pt x="58" y="32"/>
                      <a:pt x="58" y="32"/>
                      <a:pt x="58" y="32"/>
                    </a:cubicBezTo>
                    <a:cubicBezTo>
                      <a:pt x="58" y="16"/>
                      <a:pt x="58" y="16"/>
                      <a:pt x="58" y="16"/>
                    </a:cubicBezTo>
                    <a:cubicBezTo>
                      <a:pt x="36" y="16"/>
                      <a:pt x="36" y="16"/>
                      <a:pt x="36" y="16"/>
                    </a:cubicBezTo>
                    <a:lnTo>
                      <a:pt x="36" y="45"/>
                    </a:lnTo>
                    <a:close/>
                    <a:moveTo>
                      <a:pt x="36" y="0"/>
                    </a:moveTo>
                    <a:cubicBezTo>
                      <a:pt x="14" y="0"/>
                      <a:pt x="14" y="0"/>
                      <a:pt x="14" y="0"/>
                    </a:cubicBezTo>
                    <a:cubicBezTo>
                      <a:pt x="13" y="0"/>
                      <a:pt x="13" y="0"/>
                      <a:pt x="13" y="0"/>
                    </a:cubicBezTo>
                    <a:cubicBezTo>
                      <a:pt x="13" y="13"/>
                      <a:pt x="13" y="13"/>
                      <a:pt x="13" y="13"/>
                    </a:cubicBezTo>
                    <a:cubicBezTo>
                      <a:pt x="18" y="4"/>
                      <a:pt x="18" y="4"/>
                      <a:pt x="18" y="4"/>
                    </a:cubicBezTo>
                    <a:cubicBezTo>
                      <a:pt x="18" y="4"/>
                      <a:pt x="18" y="4"/>
                      <a:pt x="18" y="4"/>
                    </a:cubicBezTo>
                    <a:cubicBezTo>
                      <a:pt x="36" y="4"/>
                      <a:pt x="36" y="4"/>
                      <a:pt x="36" y="4"/>
                    </a:cubicBezTo>
                    <a:cubicBezTo>
                      <a:pt x="36" y="0"/>
                      <a:pt x="36" y="0"/>
                      <a:pt x="36" y="0"/>
                    </a:cubicBezTo>
                    <a:close/>
                    <a:moveTo>
                      <a:pt x="13" y="57"/>
                    </a:moveTo>
                    <a:cubicBezTo>
                      <a:pt x="14" y="57"/>
                      <a:pt x="14" y="57"/>
                      <a:pt x="14" y="57"/>
                    </a:cubicBezTo>
                    <a:cubicBezTo>
                      <a:pt x="15" y="57"/>
                      <a:pt x="17" y="55"/>
                      <a:pt x="17" y="53"/>
                    </a:cubicBezTo>
                    <a:cubicBezTo>
                      <a:pt x="17" y="45"/>
                      <a:pt x="17" y="45"/>
                      <a:pt x="17" y="45"/>
                    </a:cubicBezTo>
                    <a:cubicBezTo>
                      <a:pt x="36" y="45"/>
                      <a:pt x="36" y="45"/>
                      <a:pt x="36" y="45"/>
                    </a:cubicBezTo>
                    <a:cubicBezTo>
                      <a:pt x="36" y="16"/>
                      <a:pt x="36" y="16"/>
                      <a:pt x="36" y="16"/>
                    </a:cubicBezTo>
                    <a:cubicBezTo>
                      <a:pt x="13" y="16"/>
                      <a:pt x="13" y="16"/>
                      <a:pt x="13" y="16"/>
                    </a:cubicBezTo>
                    <a:cubicBezTo>
                      <a:pt x="13" y="32"/>
                      <a:pt x="13" y="32"/>
                      <a:pt x="13" y="32"/>
                    </a:cubicBezTo>
                    <a:cubicBezTo>
                      <a:pt x="21" y="32"/>
                      <a:pt x="21" y="32"/>
                      <a:pt x="21" y="32"/>
                    </a:cubicBezTo>
                    <a:cubicBezTo>
                      <a:pt x="21" y="39"/>
                      <a:pt x="21" y="39"/>
                      <a:pt x="21" y="39"/>
                    </a:cubicBezTo>
                    <a:cubicBezTo>
                      <a:pt x="21" y="39"/>
                      <a:pt x="21" y="39"/>
                      <a:pt x="21" y="39"/>
                    </a:cubicBezTo>
                    <a:cubicBezTo>
                      <a:pt x="13" y="39"/>
                      <a:pt x="13" y="39"/>
                      <a:pt x="13" y="39"/>
                    </a:cubicBezTo>
                    <a:lnTo>
                      <a:pt x="13" y="57"/>
                    </a:lnTo>
                    <a:close/>
                    <a:moveTo>
                      <a:pt x="13" y="0"/>
                    </a:moveTo>
                    <a:cubicBezTo>
                      <a:pt x="7" y="13"/>
                      <a:pt x="7" y="13"/>
                      <a:pt x="7" y="13"/>
                    </a:cubicBezTo>
                    <a:cubicBezTo>
                      <a:pt x="0" y="20"/>
                      <a:pt x="0" y="20"/>
                      <a:pt x="0" y="20"/>
                    </a:cubicBezTo>
                    <a:cubicBezTo>
                      <a:pt x="0" y="43"/>
                      <a:pt x="0" y="43"/>
                      <a:pt x="0" y="43"/>
                    </a:cubicBezTo>
                    <a:cubicBezTo>
                      <a:pt x="0" y="45"/>
                      <a:pt x="0" y="45"/>
                      <a:pt x="0" y="45"/>
                    </a:cubicBezTo>
                    <a:cubicBezTo>
                      <a:pt x="0" y="53"/>
                      <a:pt x="0" y="53"/>
                      <a:pt x="0" y="53"/>
                    </a:cubicBezTo>
                    <a:cubicBezTo>
                      <a:pt x="0" y="55"/>
                      <a:pt x="1" y="57"/>
                      <a:pt x="3" y="57"/>
                    </a:cubicBezTo>
                    <a:cubicBezTo>
                      <a:pt x="13" y="57"/>
                      <a:pt x="13" y="57"/>
                      <a:pt x="13" y="57"/>
                    </a:cubicBezTo>
                    <a:cubicBezTo>
                      <a:pt x="13" y="39"/>
                      <a:pt x="13" y="39"/>
                      <a:pt x="13" y="39"/>
                    </a:cubicBezTo>
                    <a:cubicBezTo>
                      <a:pt x="6" y="39"/>
                      <a:pt x="6" y="39"/>
                      <a:pt x="6" y="39"/>
                    </a:cubicBezTo>
                    <a:cubicBezTo>
                      <a:pt x="6" y="32"/>
                      <a:pt x="6" y="32"/>
                      <a:pt x="6" y="32"/>
                    </a:cubicBezTo>
                    <a:cubicBezTo>
                      <a:pt x="13" y="32"/>
                      <a:pt x="13" y="32"/>
                      <a:pt x="13" y="32"/>
                    </a:cubicBezTo>
                    <a:cubicBezTo>
                      <a:pt x="13" y="16"/>
                      <a:pt x="13" y="16"/>
                      <a:pt x="13" y="16"/>
                    </a:cubicBezTo>
                    <a:cubicBezTo>
                      <a:pt x="12" y="16"/>
                      <a:pt x="12" y="16"/>
                      <a:pt x="12" y="16"/>
                    </a:cubicBezTo>
                    <a:cubicBezTo>
                      <a:pt x="13" y="13"/>
                      <a:pt x="13" y="13"/>
                      <a:pt x="13" y="13"/>
                    </a:cubicBez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grpSp>
        <p:grpSp>
          <p:nvGrpSpPr>
            <p:cNvPr id="6" name="Group 95"/>
            <p:cNvGrpSpPr/>
            <p:nvPr/>
          </p:nvGrpSpPr>
          <p:grpSpPr>
            <a:xfrm>
              <a:off x="5329097" y="4471677"/>
              <a:ext cx="1473514" cy="2386321"/>
              <a:chOff x="5329097" y="4471677"/>
              <a:chExt cx="1473514" cy="2386321"/>
            </a:xfrm>
          </p:grpSpPr>
          <p:sp>
            <p:nvSpPr>
              <p:cNvPr id="7" name="Freeform: Shape 96"/>
              <p:cNvSpPr/>
              <p:nvPr/>
            </p:nvSpPr>
            <p:spPr bwMode="auto">
              <a:xfrm>
                <a:off x="5436415" y="5380866"/>
                <a:ext cx="904366" cy="1231144"/>
              </a:xfrm>
              <a:custGeom>
                <a:avLst/>
                <a:gdLst>
                  <a:gd name="T0" fmla="*/ 41 w 559"/>
                  <a:gd name="T1" fmla="*/ 22 h 761"/>
                  <a:gd name="T2" fmla="*/ 41 w 559"/>
                  <a:gd name="T3" fmla="*/ 22 h 761"/>
                  <a:gd name="T4" fmla="*/ 22 w 559"/>
                  <a:gd name="T5" fmla="*/ 122 h 761"/>
                  <a:gd name="T6" fmla="*/ 419 w 559"/>
                  <a:gd name="T7" fmla="*/ 720 h 761"/>
                  <a:gd name="T8" fmla="*/ 518 w 559"/>
                  <a:gd name="T9" fmla="*/ 739 h 761"/>
                  <a:gd name="T10" fmla="*/ 518 w 559"/>
                  <a:gd name="T11" fmla="*/ 739 h 761"/>
                  <a:gd name="T12" fmla="*/ 537 w 559"/>
                  <a:gd name="T13" fmla="*/ 640 h 761"/>
                  <a:gd name="T14" fmla="*/ 140 w 559"/>
                  <a:gd name="T15" fmla="*/ 41 h 761"/>
                  <a:gd name="T16" fmla="*/ 41 w 559"/>
                  <a:gd name="T17" fmla="*/ 2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761">
                    <a:moveTo>
                      <a:pt x="41" y="22"/>
                    </a:moveTo>
                    <a:cubicBezTo>
                      <a:pt x="41" y="22"/>
                      <a:pt x="41" y="22"/>
                      <a:pt x="41" y="22"/>
                    </a:cubicBezTo>
                    <a:cubicBezTo>
                      <a:pt x="8" y="45"/>
                      <a:pt x="0" y="89"/>
                      <a:pt x="22" y="122"/>
                    </a:cubicBezTo>
                    <a:cubicBezTo>
                      <a:pt x="419" y="720"/>
                      <a:pt x="419" y="720"/>
                      <a:pt x="419" y="720"/>
                    </a:cubicBezTo>
                    <a:cubicBezTo>
                      <a:pt x="441" y="753"/>
                      <a:pt x="486" y="761"/>
                      <a:pt x="518" y="739"/>
                    </a:cubicBezTo>
                    <a:cubicBezTo>
                      <a:pt x="518" y="739"/>
                      <a:pt x="518" y="739"/>
                      <a:pt x="518" y="739"/>
                    </a:cubicBezTo>
                    <a:cubicBezTo>
                      <a:pt x="551" y="717"/>
                      <a:pt x="559" y="672"/>
                      <a:pt x="537" y="640"/>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8" name="Freeform: Shape 97"/>
              <p:cNvSpPr/>
              <p:nvPr/>
            </p:nvSpPr>
            <p:spPr bwMode="auto">
              <a:xfrm>
                <a:off x="5696872" y="5916251"/>
                <a:ext cx="950188" cy="941747"/>
              </a:xfrm>
              <a:custGeom>
                <a:avLst/>
                <a:gdLst>
                  <a:gd name="T0" fmla="*/ 258 w 788"/>
                  <a:gd name="T1" fmla="*/ 781 h 781"/>
                  <a:gd name="T2" fmla="*/ 258 w 788"/>
                  <a:gd name="T3" fmla="*/ 589 h 781"/>
                  <a:gd name="T4" fmla="*/ 0 w 788"/>
                  <a:gd name="T5" fmla="*/ 0 h 781"/>
                  <a:gd name="T6" fmla="*/ 788 w 788"/>
                  <a:gd name="T7" fmla="*/ 0 h 781"/>
                  <a:gd name="T8" fmla="*/ 788 w 788"/>
                  <a:gd name="T9" fmla="*/ 781 h 781"/>
                  <a:gd name="T10" fmla="*/ 258 w 788"/>
                  <a:gd name="T11" fmla="*/ 781 h 781"/>
                </a:gdLst>
                <a:ahLst/>
                <a:cxnLst>
                  <a:cxn ang="0">
                    <a:pos x="T0" y="T1"/>
                  </a:cxn>
                  <a:cxn ang="0">
                    <a:pos x="T2" y="T3"/>
                  </a:cxn>
                  <a:cxn ang="0">
                    <a:pos x="T4" y="T5"/>
                  </a:cxn>
                  <a:cxn ang="0">
                    <a:pos x="T6" y="T7"/>
                  </a:cxn>
                  <a:cxn ang="0">
                    <a:pos x="T8" y="T9"/>
                  </a:cxn>
                  <a:cxn ang="0">
                    <a:pos x="T10" y="T11"/>
                  </a:cxn>
                </a:cxnLst>
                <a:rect l="0" t="0" r="r" b="b"/>
                <a:pathLst>
                  <a:path w="788" h="781">
                    <a:moveTo>
                      <a:pt x="258" y="781"/>
                    </a:moveTo>
                    <a:lnTo>
                      <a:pt x="258" y="589"/>
                    </a:lnTo>
                    <a:lnTo>
                      <a:pt x="0" y="0"/>
                    </a:lnTo>
                    <a:lnTo>
                      <a:pt x="788" y="0"/>
                    </a:lnTo>
                    <a:lnTo>
                      <a:pt x="788" y="781"/>
                    </a:lnTo>
                    <a:lnTo>
                      <a:pt x="258" y="781"/>
                    </a:lnTo>
                    <a:close/>
                  </a:path>
                </a:pathLst>
              </a:custGeom>
              <a:solidFill>
                <a:srgbClr val="ECBB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9" name="Freeform: Shape 98"/>
              <p:cNvSpPr/>
              <p:nvPr/>
            </p:nvSpPr>
            <p:spPr bwMode="auto">
              <a:xfrm>
                <a:off x="5390594" y="5720908"/>
                <a:ext cx="893514" cy="1137090"/>
              </a:xfrm>
              <a:custGeom>
                <a:avLst/>
                <a:gdLst>
                  <a:gd name="T0" fmla="*/ 40 w 552"/>
                  <a:gd name="T1" fmla="*/ 22 h 703"/>
                  <a:gd name="T2" fmla="*/ 40 w 552"/>
                  <a:gd name="T3" fmla="*/ 22 h 703"/>
                  <a:gd name="T4" fmla="*/ 21 w 552"/>
                  <a:gd name="T5" fmla="*/ 121 h 703"/>
                  <a:gd name="T6" fmla="*/ 407 w 552"/>
                  <a:gd name="T7" fmla="*/ 703 h 703"/>
                  <a:gd name="T8" fmla="*/ 544 w 552"/>
                  <a:gd name="T9" fmla="*/ 703 h 703"/>
                  <a:gd name="T10" fmla="*/ 536 w 552"/>
                  <a:gd name="T11" fmla="*/ 639 h 703"/>
                  <a:gd name="T12" fmla="*/ 139 w 552"/>
                  <a:gd name="T13" fmla="*/ 41 h 703"/>
                  <a:gd name="T14" fmla="*/ 40 w 552"/>
                  <a:gd name="T15" fmla="*/ 22 h 7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703">
                    <a:moveTo>
                      <a:pt x="40" y="22"/>
                    </a:moveTo>
                    <a:cubicBezTo>
                      <a:pt x="40" y="22"/>
                      <a:pt x="40" y="22"/>
                      <a:pt x="40" y="22"/>
                    </a:cubicBezTo>
                    <a:cubicBezTo>
                      <a:pt x="8" y="44"/>
                      <a:pt x="0" y="88"/>
                      <a:pt x="21" y="121"/>
                    </a:cubicBezTo>
                    <a:cubicBezTo>
                      <a:pt x="407" y="703"/>
                      <a:pt x="407" y="703"/>
                      <a:pt x="407" y="703"/>
                    </a:cubicBezTo>
                    <a:cubicBezTo>
                      <a:pt x="544" y="703"/>
                      <a:pt x="544" y="703"/>
                      <a:pt x="544" y="703"/>
                    </a:cubicBezTo>
                    <a:cubicBezTo>
                      <a:pt x="552" y="682"/>
                      <a:pt x="549" y="659"/>
                      <a:pt x="536" y="639"/>
                    </a:cubicBezTo>
                    <a:cubicBezTo>
                      <a:pt x="139" y="41"/>
                      <a:pt x="139" y="41"/>
                      <a:pt x="139" y="41"/>
                    </a:cubicBezTo>
                    <a:cubicBezTo>
                      <a:pt x="118" y="8"/>
                      <a:pt x="72" y="0"/>
                      <a:pt x="40" y="22"/>
                    </a:cubicBezTo>
                    <a:close/>
                  </a:path>
                </a:pathLst>
              </a:custGeom>
              <a:solidFill>
                <a:srgbClr val="ECBB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0" name="Freeform: Shape 99"/>
              <p:cNvSpPr/>
              <p:nvPr/>
            </p:nvSpPr>
            <p:spPr bwMode="auto">
              <a:xfrm>
                <a:off x="5361654" y="4524733"/>
                <a:ext cx="881456" cy="1193764"/>
              </a:xfrm>
              <a:custGeom>
                <a:avLst/>
                <a:gdLst>
                  <a:gd name="T0" fmla="*/ 41 w 545"/>
                  <a:gd name="T1" fmla="*/ 22 h 738"/>
                  <a:gd name="T2" fmla="*/ 41 w 545"/>
                  <a:gd name="T3" fmla="*/ 22 h 738"/>
                  <a:gd name="T4" fmla="*/ 22 w 545"/>
                  <a:gd name="T5" fmla="*/ 121 h 738"/>
                  <a:gd name="T6" fmla="*/ 405 w 545"/>
                  <a:gd name="T7" fmla="*/ 697 h 738"/>
                  <a:gd name="T8" fmla="*/ 504 w 545"/>
                  <a:gd name="T9" fmla="*/ 716 h 738"/>
                  <a:gd name="T10" fmla="*/ 504 w 545"/>
                  <a:gd name="T11" fmla="*/ 716 h 738"/>
                  <a:gd name="T12" fmla="*/ 523 w 545"/>
                  <a:gd name="T13" fmla="*/ 617 h 738"/>
                  <a:gd name="T14" fmla="*/ 140 w 545"/>
                  <a:gd name="T15" fmla="*/ 41 h 738"/>
                  <a:gd name="T16" fmla="*/ 41 w 545"/>
                  <a:gd name="T17" fmla="*/ 2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5" h="738">
                    <a:moveTo>
                      <a:pt x="41" y="22"/>
                    </a:moveTo>
                    <a:cubicBezTo>
                      <a:pt x="41" y="22"/>
                      <a:pt x="41" y="22"/>
                      <a:pt x="41" y="22"/>
                    </a:cubicBezTo>
                    <a:cubicBezTo>
                      <a:pt x="8" y="44"/>
                      <a:pt x="0" y="89"/>
                      <a:pt x="22" y="121"/>
                    </a:cubicBezTo>
                    <a:cubicBezTo>
                      <a:pt x="405" y="697"/>
                      <a:pt x="405" y="697"/>
                      <a:pt x="405" y="697"/>
                    </a:cubicBezTo>
                    <a:cubicBezTo>
                      <a:pt x="427" y="730"/>
                      <a:pt x="472" y="738"/>
                      <a:pt x="504" y="716"/>
                    </a:cubicBezTo>
                    <a:cubicBezTo>
                      <a:pt x="504" y="716"/>
                      <a:pt x="504" y="716"/>
                      <a:pt x="504" y="716"/>
                    </a:cubicBezTo>
                    <a:cubicBezTo>
                      <a:pt x="537" y="694"/>
                      <a:pt x="545" y="650"/>
                      <a:pt x="523" y="617"/>
                    </a:cubicBezTo>
                    <a:cubicBezTo>
                      <a:pt x="140" y="41"/>
                      <a:pt x="140" y="41"/>
                      <a:pt x="140" y="41"/>
                    </a:cubicBezTo>
                    <a:cubicBezTo>
                      <a:pt x="118" y="8"/>
                      <a:pt x="73" y="0"/>
                      <a:pt x="41" y="22"/>
                    </a:cubicBezTo>
                    <a:close/>
                  </a:path>
                </a:pathLst>
              </a:custGeom>
              <a:solidFill>
                <a:srgbClr val="ECBB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1" name="Freeform: Shape 100"/>
              <p:cNvSpPr/>
              <p:nvPr/>
            </p:nvSpPr>
            <p:spPr bwMode="auto">
              <a:xfrm>
                <a:off x="5611259" y="4471677"/>
                <a:ext cx="974304" cy="1920874"/>
              </a:xfrm>
              <a:custGeom>
                <a:avLst/>
                <a:gdLst>
                  <a:gd name="T0" fmla="*/ 478 w 602"/>
                  <a:gd name="T1" fmla="*/ 0 h 1187"/>
                  <a:gd name="T2" fmla="*/ 124 w 602"/>
                  <a:gd name="T3" fmla="*/ 0 h 1187"/>
                  <a:gd name="T4" fmla="*/ 0 w 602"/>
                  <a:gd name="T5" fmla="*/ 124 h 1187"/>
                  <a:gd name="T6" fmla="*/ 0 w 602"/>
                  <a:gd name="T7" fmla="*/ 1062 h 1187"/>
                  <a:gd name="T8" fmla="*/ 124 w 602"/>
                  <a:gd name="T9" fmla="*/ 1187 h 1187"/>
                  <a:gd name="T10" fmla="*/ 478 w 602"/>
                  <a:gd name="T11" fmla="*/ 1187 h 1187"/>
                  <a:gd name="T12" fmla="*/ 602 w 602"/>
                  <a:gd name="T13" fmla="*/ 1062 h 1187"/>
                  <a:gd name="T14" fmla="*/ 602 w 602"/>
                  <a:gd name="T15" fmla="*/ 124 h 1187"/>
                  <a:gd name="T16" fmla="*/ 478 w 602"/>
                  <a:gd name="T17" fmla="*/ 0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2" h="1187">
                    <a:moveTo>
                      <a:pt x="478" y="0"/>
                    </a:moveTo>
                    <a:cubicBezTo>
                      <a:pt x="124" y="0"/>
                      <a:pt x="124" y="0"/>
                      <a:pt x="124" y="0"/>
                    </a:cubicBezTo>
                    <a:cubicBezTo>
                      <a:pt x="56" y="0"/>
                      <a:pt x="0" y="56"/>
                      <a:pt x="0" y="124"/>
                    </a:cubicBezTo>
                    <a:cubicBezTo>
                      <a:pt x="0" y="1062"/>
                      <a:pt x="0" y="1062"/>
                      <a:pt x="0" y="1062"/>
                    </a:cubicBezTo>
                    <a:cubicBezTo>
                      <a:pt x="0" y="1131"/>
                      <a:pt x="56" y="1187"/>
                      <a:pt x="124" y="1187"/>
                    </a:cubicBezTo>
                    <a:cubicBezTo>
                      <a:pt x="478" y="1187"/>
                      <a:pt x="478" y="1187"/>
                      <a:pt x="478" y="1187"/>
                    </a:cubicBezTo>
                    <a:cubicBezTo>
                      <a:pt x="546" y="1187"/>
                      <a:pt x="602" y="1131"/>
                      <a:pt x="602" y="1062"/>
                    </a:cubicBezTo>
                    <a:cubicBezTo>
                      <a:pt x="602" y="124"/>
                      <a:pt x="602" y="124"/>
                      <a:pt x="602" y="124"/>
                    </a:cubicBezTo>
                    <a:cubicBezTo>
                      <a:pt x="602" y="56"/>
                      <a:pt x="546" y="0"/>
                      <a:pt x="478" y="0"/>
                    </a:cubicBez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2" name="Freeform: Shape 101"/>
              <p:cNvSpPr/>
              <p:nvPr/>
            </p:nvSpPr>
            <p:spPr bwMode="auto">
              <a:xfrm>
                <a:off x="5696872" y="4632051"/>
                <a:ext cx="803077" cy="1582038"/>
              </a:xfrm>
              <a:custGeom>
                <a:avLst/>
                <a:gdLst>
                  <a:gd name="T0" fmla="*/ 494 w 496"/>
                  <a:gd name="T1" fmla="*/ 0 h 978"/>
                  <a:gd name="T2" fmla="*/ 2 w 496"/>
                  <a:gd name="T3" fmla="*/ 0 h 978"/>
                  <a:gd name="T4" fmla="*/ 0 w 496"/>
                  <a:gd name="T5" fmla="*/ 2 h 978"/>
                  <a:gd name="T6" fmla="*/ 0 w 496"/>
                  <a:gd name="T7" fmla="*/ 976 h 978"/>
                  <a:gd name="T8" fmla="*/ 2 w 496"/>
                  <a:gd name="T9" fmla="*/ 978 h 978"/>
                  <a:gd name="T10" fmla="*/ 494 w 496"/>
                  <a:gd name="T11" fmla="*/ 978 h 978"/>
                  <a:gd name="T12" fmla="*/ 496 w 496"/>
                  <a:gd name="T13" fmla="*/ 976 h 978"/>
                  <a:gd name="T14" fmla="*/ 496 w 496"/>
                  <a:gd name="T15" fmla="*/ 2 h 978"/>
                  <a:gd name="T16" fmla="*/ 494 w 496"/>
                  <a:gd name="T1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978">
                    <a:moveTo>
                      <a:pt x="494" y="0"/>
                    </a:moveTo>
                    <a:cubicBezTo>
                      <a:pt x="2" y="0"/>
                      <a:pt x="2" y="0"/>
                      <a:pt x="2" y="0"/>
                    </a:cubicBezTo>
                    <a:cubicBezTo>
                      <a:pt x="1" y="0"/>
                      <a:pt x="0" y="1"/>
                      <a:pt x="0" y="2"/>
                    </a:cubicBezTo>
                    <a:cubicBezTo>
                      <a:pt x="0" y="976"/>
                      <a:pt x="0" y="976"/>
                      <a:pt x="0" y="976"/>
                    </a:cubicBezTo>
                    <a:cubicBezTo>
                      <a:pt x="0" y="977"/>
                      <a:pt x="1" y="978"/>
                      <a:pt x="2" y="978"/>
                    </a:cubicBezTo>
                    <a:cubicBezTo>
                      <a:pt x="494" y="978"/>
                      <a:pt x="494" y="978"/>
                      <a:pt x="494" y="978"/>
                    </a:cubicBezTo>
                    <a:cubicBezTo>
                      <a:pt x="495" y="978"/>
                      <a:pt x="496" y="977"/>
                      <a:pt x="496" y="976"/>
                    </a:cubicBezTo>
                    <a:cubicBezTo>
                      <a:pt x="496" y="2"/>
                      <a:pt x="496" y="2"/>
                      <a:pt x="496" y="2"/>
                    </a:cubicBezTo>
                    <a:cubicBezTo>
                      <a:pt x="496" y="1"/>
                      <a:pt x="495" y="0"/>
                      <a:pt x="494" y="0"/>
                    </a:cubicBezTo>
                    <a:close/>
                  </a:path>
                </a:pathLst>
              </a:custGeom>
              <a:solidFill>
                <a:schemeClr val="tx2">
                  <a:lumMod val="20000"/>
                  <a:lumOff val="80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3" name="Freeform: Shape 102"/>
              <p:cNvSpPr/>
              <p:nvPr/>
            </p:nvSpPr>
            <p:spPr bwMode="auto">
              <a:xfrm>
                <a:off x="5935625" y="4539203"/>
                <a:ext cx="324366" cy="28940"/>
              </a:xfrm>
              <a:custGeom>
                <a:avLst/>
                <a:gdLst>
                  <a:gd name="T0" fmla="*/ 191 w 200"/>
                  <a:gd name="T1" fmla="*/ 0 h 18"/>
                  <a:gd name="T2" fmla="*/ 9 w 200"/>
                  <a:gd name="T3" fmla="*/ 0 h 18"/>
                  <a:gd name="T4" fmla="*/ 0 w 200"/>
                  <a:gd name="T5" fmla="*/ 9 h 18"/>
                  <a:gd name="T6" fmla="*/ 0 w 200"/>
                  <a:gd name="T7" fmla="*/ 9 h 18"/>
                  <a:gd name="T8" fmla="*/ 9 w 200"/>
                  <a:gd name="T9" fmla="*/ 18 h 18"/>
                  <a:gd name="T10" fmla="*/ 191 w 200"/>
                  <a:gd name="T11" fmla="*/ 18 h 18"/>
                  <a:gd name="T12" fmla="*/ 200 w 200"/>
                  <a:gd name="T13" fmla="*/ 9 h 18"/>
                  <a:gd name="T14" fmla="*/ 200 w 200"/>
                  <a:gd name="T15" fmla="*/ 9 h 18"/>
                  <a:gd name="T16" fmla="*/ 191 w 20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
                    <a:moveTo>
                      <a:pt x="191" y="0"/>
                    </a:moveTo>
                    <a:cubicBezTo>
                      <a:pt x="9" y="0"/>
                      <a:pt x="9" y="0"/>
                      <a:pt x="9" y="0"/>
                    </a:cubicBezTo>
                    <a:cubicBezTo>
                      <a:pt x="4" y="0"/>
                      <a:pt x="0" y="4"/>
                      <a:pt x="0" y="9"/>
                    </a:cubicBezTo>
                    <a:cubicBezTo>
                      <a:pt x="0" y="9"/>
                      <a:pt x="0" y="9"/>
                      <a:pt x="0" y="9"/>
                    </a:cubicBezTo>
                    <a:cubicBezTo>
                      <a:pt x="0" y="14"/>
                      <a:pt x="4" y="18"/>
                      <a:pt x="9" y="18"/>
                    </a:cubicBezTo>
                    <a:cubicBezTo>
                      <a:pt x="191" y="18"/>
                      <a:pt x="191" y="18"/>
                      <a:pt x="191" y="18"/>
                    </a:cubicBezTo>
                    <a:cubicBezTo>
                      <a:pt x="196" y="18"/>
                      <a:pt x="200" y="14"/>
                      <a:pt x="200" y="9"/>
                    </a:cubicBezTo>
                    <a:cubicBezTo>
                      <a:pt x="200" y="9"/>
                      <a:pt x="200" y="9"/>
                      <a:pt x="200" y="9"/>
                    </a:cubicBezTo>
                    <a:cubicBezTo>
                      <a:pt x="200" y="4"/>
                      <a:pt x="196" y="0"/>
                      <a:pt x="191" y="0"/>
                    </a:cubicBez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4" name="Oval 103"/>
              <p:cNvSpPr/>
              <p:nvPr/>
            </p:nvSpPr>
            <p:spPr bwMode="auto">
              <a:xfrm>
                <a:off x="6047767" y="6251470"/>
                <a:ext cx="98877" cy="98877"/>
              </a:xfrm>
              <a:prstGeom prst="ellipse">
                <a:avLst/>
              </a:pr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5" name="Freeform: Shape 104"/>
              <p:cNvSpPr/>
              <p:nvPr/>
            </p:nvSpPr>
            <p:spPr bwMode="auto">
              <a:xfrm>
                <a:off x="5370095" y="5322987"/>
                <a:ext cx="365364" cy="414803"/>
              </a:xfrm>
              <a:custGeom>
                <a:avLst/>
                <a:gdLst>
                  <a:gd name="T0" fmla="*/ 41 w 226"/>
                  <a:gd name="T1" fmla="*/ 23 h 257"/>
                  <a:gd name="T2" fmla="*/ 41 w 226"/>
                  <a:gd name="T3" fmla="*/ 23 h 257"/>
                  <a:gd name="T4" fmla="*/ 22 w 226"/>
                  <a:gd name="T5" fmla="*/ 122 h 257"/>
                  <a:gd name="T6" fmla="*/ 86 w 226"/>
                  <a:gd name="T7" fmla="*/ 216 h 257"/>
                  <a:gd name="T8" fmla="*/ 185 w 226"/>
                  <a:gd name="T9" fmla="*/ 235 h 257"/>
                  <a:gd name="T10" fmla="*/ 185 w 226"/>
                  <a:gd name="T11" fmla="*/ 235 h 257"/>
                  <a:gd name="T12" fmla="*/ 204 w 226"/>
                  <a:gd name="T13" fmla="*/ 135 h 257"/>
                  <a:gd name="T14" fmla="*/ 140 w 226"/>
                  <a:gd name="T15" fmla="*/ 41 h 257"/>
                  <a:gd name="T16" fmla="*/ 41 w 226"/>
                  <a:gd name="T17" fmla="*/ 2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7">
                    <a:moveTo>
                      <a:pt x="41" y="23"/>
                    </a:moveTo>
                    <a:cubicBezTo>
                      <a:pt x="41" y="23"/>
                      <a:pt x="41" y="23"/>
                      <a:pt x="41" y="23"/>
                    </a:cubicBezTo>
                    <a:cubicBezTo>
                      <a:pt x="8" y="45"/>
                      <a:pt x="0" y="89"/>
                      <a:pt x="22" y="122"/>
                    </a:cubicBezTo>
                    <a:cubicBezTo>
                      <a:pt x="86" y="216"/>
                      <a:pt x="86" y="216"/>
                      <a:pt x="86" y="216"/>
                    </a:cubicBezTo>
                    <a:cubicBezTo>
                      <a:pt x="108" y="248"/>
                      <a:pt x="153" y="257"/>
                      <a:pt x="185" y="235"/>
                    </a:cubicBezTo>
                    <a:cubicBezTo>
                      <a:pt x="185" y="235"/>
                      <a:pt x="185" y="235"/>
                      <a:pt x="185" y="235"/>
                    </a:cubicBezTo>
                    <a:cubicBezTo>
                      <a:pt x="218" y="213"/>
                      <a:pt x="226" y="168"/>
                      <a:pt x="204" y="135"/>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6" name="Freeform: Shape 105"/>
              <p:cNvSpPr/>
              <p:nvPr/>
            </p:nvSpPr>
            <p:spPr bwMode="auto">
              <a:xfrm>
                <a:off x="5329097" y="5630471"/>
                <a:ext cx="383451" cy="441331"/>
              </a:xfrm>
              <a:custGeom>
                <a:avLst/>
                <a:gdLst>
                  <a:gd name="T0" fmla="*/ 41 w 237"/>
                  <a:gd name="T1" fmla="*/ 23 h 273"/>
                  <a:gd name="T2" fmla="*/ 41 w 237"/>
                  <a:gd name="T3" fmla="*/ 23 h 273"/>
                  <a:gd name="T4" fmla="*/ 22 w 237"/>
                  <a:gd name="T5" fmla="*/ 122 h 273"/>
                  <a:gd name="T6" fmla="*/ 97 w 237"/>
                  <a:gd name="T7" fmla="*/ 232 h 273"/>
                  <a:gd name="T8" fmla="*/ 196 w 237"/>
                  <a:gd name="T9" fmla="*/ 251 h 273"/>
                  <a:gd name="T10" fmla="*/ 196 w 237"/>
                  <a:gd name="T11" fmla="*/ 251 h 273"/>
                  <a:gd name="T12" fmla="*/ 215 w 237"/>
                  <a:gd name="T13" fmla="*/ 152 h 273"/>
                  <a:gd name="T14" fmla="*/ 140 w 237"/>
                  <a:gd name="T15" fmla="*/ 41 h 273"/>
                  <a:gd name="T16" fmla="*/ 41 w 237"/>
                  <a:gd name="T17" fmla="*/ 2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73">
                    <a:moveTo>
                      <a:pt x="41" y="23"/>
                    </a:moveTo>
                    <a:cubicBezTo>
                      <a:pt x="41" y="23"/>
                      <a:pt x="41" y="23"/>
                      <a:pt x="41" y="23"/>
                    </a:cubicBezTo>
                    <a:cubicBezTo>
                      <a:pt x="8" y="45"/>
                      <a:pt x="0" y="89"/>
                      <a:pt x="22" y="122"/>
                    </a:cubicBezTo>
                    <a:cubicBezTo>
                      <a:pt x="97" y="232"/>
                      <a:pt x="97" y="232"/>
                      <a:pt x="97" y="232"/>
                    </a:cubicBezTo>
                    <a:cubicBezTo>
                      <a:pt x="119" y="265"/>
                      <a:pt x="163" y="273"/>
                      <a:pt x="196" y="251"/>
                    </a:cubicBezTo>
                    <a:cubicBezTo>
                      <a:pt x="196" y="251"/>
                      <a:pt x="196" y="251"/>
                      <a:pt x="196" y="251"/>
                    </a:cubicBezTo>
                    <a:cubicBezTo>
                      <a:pt x="228" y="229"/>
                      <a:pt x="237" y="184"/>
                      <a:pt x="215" y="152"/>
                    </a:cubicBezTo>
                    <a:cubicBezTo>
                      <a:pt x="140" y="41"/>
                      <a:pt x="140" y="41"/>
                      <a:pt x="140" y="41"/>
                    </a:cubicBezTo>
                    <a:cubicBezTo>
                      <a:pt x="118" y="9"/>
                      <a:pt x="73" y="0"/>
                      <a:pt x="41" y="23"/>
                    </a:cubicBezTo>
                    <a:close/>
                  </a:path>
                </a:pathLst>
              </a:custGeom>
              <a:solidFill>
                <a:srgbClr val="ECBB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7" name="Freeform: Shape 106"/>
              <p:cNvSpPr/>
              <p:nvPr/>
            </p:nvSpPr>
            <p:spPr bwMode="auto">
              <a:xfrm>
                <a:off x="5403858" y="5001033"/>
                <a:ext cx="365364" cy="413597"/>
              </a:xfrm>
              <a:custGeom>
                <a:avLst/>
                <a:gdLst>
                  <a:gd name="T0" fmla="*/ 41 w 226"/>
                  <a:gd name="T1" fmla="*/ 22 h 256"/>
                  <a:gd name="T2" fmla="*/ 41 w 226"/>
                  <a:gd name="T3" fmla="*/ 22 h 256"/>
                  <a:gd name="T4" fmla="*/ 22 w 226"/>
                  <a:gd name="T5" fmla="*/ 121 h 256"/>
                  <a:gd name="T6" fmla="*/ 86 w 226"/>
                  <a:gd name="T7" fmla="*/ 215 h 256"/>
                  <a:gd name="T8" fmla="*/ 185 w 226"/>
                  <a:gd name="T9" fmla="*/ 234 h 256"/>
                  <a:gd name="T10" fmla="*/ 185 w 226"/>
                  <a:gd name="T11" fmla="*/ 234 h 256"/>
                  <a:gd name="T12" fmla="*/ 204 w 226"/>
                  <a:gd name="T13" fmla="*/ 134 h 256"/>
                  <a:gd name="T14" fmla="*/ 140 w 226"/>
                  <a:gd name="T15" fmla="*/ 40 h 256"/>
                  <a:gd name="T16" fmla="*/ 41 w 226"/>
                  <a:gd name="T17" fmla="*/ 2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56">
                    <a:moveTo>
                      <a:pt x="41" y="22"/>
                    </a:moveTo>
                    <a:cubicBezTo>
                      <a:pt x="41" y="22"/>
                      <a:pt x="41" y="22"/>
                      <a:pt x="41" y="22"/>
                    </a:cubicBezTo>
                    <a:cubicBezTo>
                      <a:pt x="8" y="44"/>
                      <a:pt x="0" y="88"/>
                      <a:pt x="22" y="121"/>
                    </a:cubicBezTo>
                    <a:cubicBezTo>
                      <a:pt x="86" y="215"/>
                      <a:pt x="86" y="215"/>
                      <a:pt x="86" y="215"/>
                    </a:cubicBezTo>
                    <a:cubicBezTo>
                      <a:pt x="108" y="247"/>
                      <a:pt x="153" y="256"/>
                      <a:pt x="185" y="234"/>
                    </a:cubicBezTo>
                    <a:cubicBezTo>
                      <a:pt x="185" y="234"/>
                      <a:pt x="185" y="234"/>
                      <a:pt x="185" y="234"/>
                    </a:cubicBezTo>
                    <a:cubicBezTo>
                      <a:pt x="217" y="212"/>
                      <a:pt x="226" y="167"/>
                      <a:pt x="204" y="134"/>
                    </a:cubicBezTo>
                    <a:cubicBezTo>
                      <a:pt x="140" y="40"/>
                      <a:pt x="140" y="40"/>
                      <a:pt x="140" y="40"/>
                    </a:cubicBezTo>
                    <a:cubicBezTo>
                      <a:pt x="118" y="8"/>
                      <a:pt x="73" y="0"/>
                      <a:pt x="41" y="22"/>
                    </a:cubicBezTo>
                    <a:close/>
                  </a:path>
                </a:pathLst>
              </a:custGeom>
              <a:solidFill>
                <a:srgbClr val="ECBB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8" name="Freeform: Shape 107"/>
              <p:cNvSpPr/>
              <p:nvPr/>
            </p:nvSpPr>
            <p:spPr bwMode="auto">
              <a:xfrm>
                <a:off x="6486686" y="5521948"/>
                <a:ext cx="315925" cy="1103327"/>
              </a:xfrm>
              <a:custGeom>
                <a:avLst/>
                <a:gdLst>
                  <a:gd name="T0" fmla="*/ 51 w 195"/>
                  <a:gd name="T1" fmla="*/ 682 h 682"/>
                  <a:gd name="T2" fmla="*/ 0 w 195"/>
                  <a:gd name="T3" fmla="*/ 682 h 682"/>
                  <a:gd name="T4" fmla="*/ 6 w 195"/>
                  <a:gd name="T5" fmla="*/ 620 h 682"/>
                  <a:gd name="T6" fmla="*/ 49 w 195"/>
                  <a:gd name="T7" fmla="*/ 119 h 682"/>
                  <a:gd name="T8" fmla="*/ 195 w 195"/>
                  <a:gd name="T9" fmla="*/ 0 h 682"/>
                  <a:gd name="T10" fmla="*/ 144 w 195"/>
                  <a:gd name="T11" fmla="*/ 592 h 682"/>
                  <a:gd name="T12" fmla="*/ 51 w 195"/>
                  <a:gd name="T13" fmla="*/ 682 h 682"/>
                </a:gdLst>
                <a:ahLst/>
                <a:cxnLst>
                  <a:cxn ang="0">
                    <a:pos x="T0" y="T1"/>
                  </a:cxn>
                  <a:cxn ang="0">
                    <a:pos x="T2" y="T3"/>
                  </a:cxn>
                  <a:cxn ang="0">
                    <a:pos x="T4" y="T5"/>
                  </a:cxn>
                  <a:cxn ang="0">
                    <a:pos x="T6" y="T7"/>
                  </a:cxn>
                  <a:cxn ang="0">
                    <a:pos x="T8" y="T9"/>
                  </a:cxn>
                  <a:cxn ang="0">
                    <a:pos x="T10" y="T11"/>
                  </a:cxn>
                  <a:cxn ang="0">
                    <a:pos x="T12" y="T13"/>
                  </a:cxn>
                </a:cxnLst>
                <a:rect l="0" t="0" r="r" b="b"/>
                <a:pathLst>
                  <a:path w="195" h="682">
                    <a:moveTo>
                      <a:pt x="51" y="682"/>
                    </a:moveTo>
                    <a:cubicBezTo>
                      <a:pt x="0" y="682"/>
                      <a:pt x="0" y="682"/>
                      <a:pt x="0" y="682"/>
                    </a:cubicBezTo>
                    <a:cubicBezTo>
                      <a:pt x="6" y="620"/>
                      <a:pt x="6" y="620"/>
                      <a:pt x="6" y="620"/>
                    </a:cubicBezTo>
                    <a:cubicBezTo>
                      <a:pt x="49" y="119"/>
                      <a:pt x="49" y="119"/>
                      <a:pt x="49" y="119"/>
                    </a:cubicBezTo>
                    <a:cubicBezTo>
                      <a:pt x="58" y="14"/>
                      <a:pt x="129" y="0"/>
                      <a:pt x="195" y="0"/>
                    </a:cubicBezTo>
                    <a:cubicBezTo>
                      <a:pt x="144" y="592"/>
                      <a:pt x="144" y="592"/>
                      <a:pt x="144" y="592"/>
                    </a:cubicBezTo>
                    <a:cubicBezTo>
                      <a:pt x="139" y="642"/>
                      <a:pt x="98" y="682"/>
                      <a:pt x="51" y="682"/>
                    </a:cubicBezTo>
                    <a:close/>
                  </a:path>
                </a:pathLst>
              </a:custGeom>
              <a:solidFill>
                <a:srgbClr val="ECBBA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9" name="Freeform: Shape 108"/>
              <p:cNvSpPr/>
              <p:nvPr/>
            </p:nvSpPr>
            <p:spPr bwMode="auto">
              <a:xfrm>
                <a:off x="5986270" y="5091469"/>
                <a:ext cx="220665" cy="279751"/>
              </a:xfrm>
              <a:custGeom>
                <a:avLst/>
                <a:gdLst>
                  <a:gd name="T0" fmla="*/ 43 w 183"/>
                  <a:gd name="T1" fmla="*/ 119 h 232"/>
                  <a:gd name="T2" fmla="*/ 0 w 183"/>
                  <a:gd name="T3" fmla="*/ 119 h 232"/>
                  <a:gd name="T4" fmla="*/ 91 w 183"/>
                  <a:gd name="T5" fmla="*/ 232 h 232"/>
                  <a:gd name="T6" fmla="*/ 183 w 183"/>
                  <a:gd name="T7" fmla="*/ 119 h 232"/>
                  <a:gd name="T8" fmla="*/ 140 w 183"/>
                  <a:gd name="T9" fmla="*/ 119 h 232"/>
                  <a:gd name="T10" fmla="*/ 140 w 183"/>
                  <a:gd name="T11" fmla="*/ 0 h 232"/>
                  <a:gd name="T12" fmla="*/ 43 w 183"/>
                  <a:gd name="T13" fmla="*/ 0 h 232"/>
                  <a:gd name="T14" fmla="*/ 43 w 183"/>
                  <a:gd name="T15" fmla="*/ 119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 h="232">
                    <a:moveTo>
                      <a:pt x="43" y="119"/>
                    </a:moveTo>
                    <a:lnTo>
                      <a:pt x="0" y="119"/>
                    </a:lnTo>
                    <a:lnTo>
                      <a:pt x="91" y="232"/>
                    </a:lnTo>
                    <a:lnTo>
                      <a:pt x="183" y="119"/>
                    </a:lnTo>
                    <a:lnTo>
                      <a:pt x="140" y="119"/>
                    </a:lnTo>
                    <a:lnTo>
                      <a:pt x="140" y="0"/>
                    </a:lnTo>
                    <a:lnTo>
                      <a:pt x="43" y="0"/>
                    </a:lnTo>
                    <a:lnTo>
                      <a:pt x="43" y="119"/>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20" name="Freeform: Shape 109"/>
              <p:cNvSpPr/>
              <p:nvPr/>
            </p:nvSpPr>
            <p:spPr bwMode="auto">
              <a:xfrm>
                <a:off x="5854835" y="4887685"/>
                <a:ext cx="485946" cy="305073"/>
              </a:xfrm>
              <a:custGeom>
                <a:avLst/>
                <a:gdLst>
                  <a:gd name="T0" fmla="*/ 239 w 300"/>
                  <a:gd name="T1" fmla="*/ 189 h 189"/>
                  <a:gd name="T2" fmla="*/ 300 w 300"/>
                  <a:gd name="T3" fmla="*/ 129 h 189"/>
                  <a:gd name="T4" fmla="*/ 239 w 300"/>
                  <a:gd name="T5" fmla="*/ 69 h 189"/>
                  <a:gd name="T6" fmla="*/ 234 w 300"/>
                  <a:gd name="T7" fmla="*/ 69 h 189"/>
                  <a:gd name="T8" fmla="*/ 153 w 300"/>
                  <a:gd name="T9" fmla="*/ 0 h 189"/>
                  <a:gd name="T10" fmla="*/ 71 w 300"/>
                  <a:gd name="T11" fmla="*/ 70 h 189"/>
                  <a:gd name="T12" fmla="*/ 60 w 300"/>
                  <a:gd name="T13" fmla="*/ 69 h 189"/>
                  <a:gd name="T14" fmla="*/ 0 w 300"/>
                  <a:gd name="T15" fmla="*/ 129 h 189"/>
                  <a:gd name="T16" fmla="*/ 60 w 300"/>
                  <a:gd name="T17" fmla="*/ 189 h 189"/>
                  <a:gd name="T18" fmla="*/ 102 w 300"/>
                  <a:gd name="T19" fmla="*/ 189 h 189"/>
                  <a:gd name="T20" fmla="*/ 102 w 300"/>
                  <a:gd name="T21" fmla="*/ 114 h 189"/>
                  <a:gd name="T22" fmla="*/ 196 w 300"/>
                  <a:gd name="T23" fmla="*/ 114 h 189"/>
                  <a:gd name="T24" fmla="*/ 196 w 300"/>
                  <a:gd name="T25" fmla="*/ 189 h 189"/>
                  <a:gd name="T26" fmla="*/ 239 w 300"/>
                  <a:gd name="T2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 h="189">
                    <a:moveTo>
                      <a:pt x="239" y="189"/>
                    </a:moveTo>
                    <a:cubicBezTo>
                      <a:pt x="273" y="189"/>
                      <a:pt x="300" y="162"/>
                      <a:pt x="300" y="129"/>
                    </a:cubicBezTo>
                    <a:cubicBezTo>
                      <a:pt x="300" y="96"/>
                      <a:pt x="273" y="69"/>
                      <a:pt x="239" y="69"/>
                    </a:cubicBezTo>
                    <a:cubicBezTo>
                      <a:pt x="238" y="69"/>
                      <a:pt x="236" y="69"/>
                      <a:pt x="234" y="69"/>
                    </a:cubicBezTo>
                    <a:cubicBezTo>
                      <a:pt x="228" y="30"/>
                      <a:pt x="194" y="0"/>
                      <a:pt x="153" y="0"/>
                    </a:cubicBezTo>
                    <a:cubicBezTo>
                      <a:pt x="111" y="0"/>
                      <a:pt x="77" y="30"/>
                      <a:pt x="71" y="70"/>
                    </a:cubicBezTo>
                    <a:cubicBezTo>
                      <a:pt x="67" y="69"/>
                      <a:pt x="64" y="69"/>
                      <a:pt x="60" y="69"/>
                    </a:cubicBezTo>
                    <a:cubicBezTo>
                      <a:pt x="27" y="69"/>
                      <a:pt x="0" y="96"/>
                      <a:pt x="0" y="129"/>
                    </a:cubicBezTo>
                    <a:cubicBezTo>
                      <a:pt x="0" y="162"/>
                      <a:pt x="27" y="189"/>
                      <a:pt x="60" y="189"/>
                    </a:cubicBezTo>
                    <a:cubicBezTo>
                      <a:pt x="102" y="189"/>
                      <a:pt x="102" y="189"/>
                      <a:pt x="102" y="189"/>
                    </a:cubicBezTo>
                    <a:cubicBezTo>
                      <a:pt x="102" y="114"/>
                      <a:pt x="102" y="114"/>
                      <a:pt x="102" y="114"/>
                    </a:cubicBezTo>
                    <a:cubicBezTo>
                      <a:pt x="196" y="114"/>
                      <a:pt x="196" y="114"/>
                      <a:pt x="196" y="114"/>
                    </a:cubicBezTo>
                    <a:cubicBezTo>
                      <a:pt x="196" y="189"/>
                      <a:pt x="196" y="189"/>
                      <a:pt x="196" y="189"/>
                    </a:cubicBezTo>
                    <a:lnTo>
                      <a:pt x="239" y="189"/>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grpSp>
      </p:grpSp>
      <p:sp>
        <p:nvSpPr>
          <p:cNvPr id="118" name="Rectangle 117"/>
          <p:cNvSpPr/>
          <p:nvPr/>
        </p:nvSpPr>
        <p:spPr>
          <a:xfrm flipH="1">
            <a:off x="-3" y="1761294"/>
            <a:ext cx="2965905" cy="1253739"/>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p>
        </p:txBody>
      </p:sp>
      <p:sp>
        <p:nvSpPr>
          <p:cNvPr id="119" name="Oval 118"/>
          <p:cNvSpPr/>
          <p:nvPr/>
        </p:nvSpPr>
        <p:spPr>
          <a:xfrm flipH="1">
            <a:off x="2532754" y="1761294"/>
            <a:ext cx="925670" cy="1253739"/>
          </a:xfrm>
          <a:prstGeom prst="ellipse">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p>
        </p:txBody>
      </p:sp>
      <p:sp>
        <p:nvSpPr>
          <p:cNvPr id="114" name="Oval 112"/>
          <p:cNvSpPr/>
          <p:nvPr/>
        </p:nvSpPr>
        <p:spPr>
          <a:xfrm>
            <a:off x="2266890" y="1940205"/>
            <a:ext cx="914400" cy="914401"/>
          </a:xfrm>
          <a:prstGeom prst="ellipse">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p>
        </p:txBody>
      </p:sp>
      <p:sp>
        <p:nvSpPr>
          <p:cNvPr id="115" name="TextBox 115"/>
          <p:cNvSpPr txBox="1"/>
          <p:nvPr/>
        </p:nvSpPr>
        <p:spPr>
          <a:xfrm>
            <a:off x="0" y="1855266"/>
            <a:ext cx="2219270" cy="461665"/>
          </a:xfrm>
          <a:prstGeom prst="rect">
            <a:avLst/>
          </a:prstGeom>
          <a:solidFill>
            <a:srgbClr val="FE5817"/>
          </a:solidFill>
        </p:spPr>
        <p:txBody>
          <a:bodyPr wrap="none" lIns="0" tIns="0" rIns="0" bIns="0" anchor="ctr" anchorCtr="0">
            <a:normAutofit/>
          </a:bodyPr>
          <a:lstStyle/>
          <a:p>
            <a:pPr algn="r"/>
            <a:r>
              <a:rPr lang="en-US" sz="2665" dirty="0">
                <a:solidFill>
                  <a:schemeClr val="bg1"/>
                </a:solidFill>
              </a:rPr>
              <a:t>60%</a:t>
            </a:r>
            <a:endParaRPr lang="en-US" sz="2665" dirty="0">
              <a:solidFill>
                <a:schemeClr val="bg1"/>
              </a:solidFill>
            </a:endParaRPr>
          </a:p>
        </p:txBody>
      </p:sp>
      <p:sp>
        <p:nvSpPr>
          <p:cNvPr id="116" name="TextBox 116"/>
          <p:cNvSpPr txBox="1"/>
          <p:nvPr/>
        </p:nvSpPr>
        <p:spPr>
          <a:xfrm>
            <a:off x="0" y="2416520"/>
            <a:ext cx="2219270" cy="461665"/>
          </a:xfrm>
          <a:prstGeom prst="rect">
            <a:avLst/>
          </a:prstGeom>
          <a:solidFill>
            <a:srgbClr val="FE5817"/>
          </a:solidFill>
        </p:spPr>
        <p:txBody>
          <a:bodyPr wrap="square" lIns="0" tIns="0" rIns="0" bIns="0" anchor="ctr" anchorCtr="0">
            <a:noAutofit/>
          </a:bodyPr>
          <a:lstStyle/>
          <a:p>
            <a:pPr algn="r">
              <a:lnSpc>
                <a:spcPct val="120000"/>
              </a:lnSpc>
            </a:pPr>
            <a:r>
              <a:rPr lang="zh-CN" altLang="en-US" sz="1400" dirty="0">
                <a:solidFill>
                  <a:schemeClr val="bg1"/>
                </a:solidFill>
              </a:rPr>
              <a:t>此部分内容作为文字排版占位</a:t>
            </a:r>
            <a:r>
              <a:rPr lang="zh-CN" altLang="en-US" sz="1400" dirty="0" smtClean="0">
                <a:solidFill>
                  <a:schemeClr val="bg1"/>
                </a:solidFill>
              </a:rPr>
              <a:t>显示</a:t>
            </a:r>
            <a:endParaRPr lang="zh-CN" altLang="en-US" sz="1400" dirty="0">
              <a:solidFill>
                <a:schemeClr val="bg1"/>
              </a:solidFill>
            </a:endParaRPr>
          </a:p>
        </p:txBody>
      </p:sp>
      <p:sp>
        <p:nvSpPr>
          <p:cNvPr id="117" name="Freeform: Shape 114"/>
          <p:cNvSpPr/>
          <p:nvPr/>
        </p:nvSpPr>
        <p:spPr bwMode="auto">
          <a:xfrm>
            <a:off x="2446465" y="2103055"/>
            <a:ext cx="549904" cy="522087"/>
          </a:xfrm>
          <a:custGeom>
            <a:avLst/>
            <a:gdLst>
              <a:gd name="connsiteX0" fmla="*/ 154948 w 309896"/>
              <a:gd name="connsiteY0" fmla="*/ 0 h 294220"/>
              <a:gd name="connsiteX1" fmla="*/ 187469 w 309896"/>
              <a:gd name="connsiteY1" fmla="*/ 38586 h 294220"/>
              <a:gd name="connsiteX2" fmla="*/ 174461 w 309896"/>
              <a:gd name="connsiteY2" fmla="*/ 70741 h 294220"/>
              <a:gd name="connsiteX3" fmla="*/ 208607 w 309896"/>
              <a:gd name="connsiteY3" fmla="*/ 106112 h 294220"/>
              <a:gd name="connsiteX4" fmla="*/ 173184 w 309896"/>
              <a:gd name="connsiteY4" fmla="*/ 106112 h 294220"/>
              <a:gd name="connsiteX5" fmla="*/ 161580 w 309896"/>
              <a:gd name="connsiteY5" fmla="*/ 106112 h 294220"/>
              <a:gd name="connsiteX6" fmla="*/ 161580 w 309896"/>
              <a:gd name="connsiteY6" fmla="*/ 151166 h 294220"/>
              <a:gd name="connsiteX7" fmla="*/ 177545 w 309896"/>
              <a:gd name="connsiteY7" fmla="*/ 158028 h 294220"/>
              <a:gd name="connsiteX8" fmla="*/ 186904 w 309896"/>
              <a:gd name="connsiteY8" fmla="*/ 181476 h 294220"/>
              <a:gd name="connsiteX9" fmla="*/ 181342 w 309896"/>
              <a:gd name="connsiteY9" fmla="*/ 195410 h 294220"/>
              <a:gd name="connsiteX10" fmla="*/ 225544 w 309896"/>
              <a:gd name="connsiteY10" fmla="*/ 229731 h 294220"/>
              <a:gd name="connsiteX11" fmla="*/ 224685 w 309896"/>
              <a:gd name="connsiteY11" fmla="*/ 225927 h 294220"/>
              <a:gd name="connsiteX12" fmla="*/ 256840 w 309896"/>
              <a:gd name="connsiteY12" fmla="*/ 186902 h 294220"/>
              <a:gd name="connsiteX13" fmla="*/ 288995 w 309896"/>
              <a:gd name="connsiteY13" fmla="*/ 225927 h 294220"/>
              <a:gd name="connsiteX14" fmla="*/ 276133 w 309896"/>
              <a:gd name="connsiteY14" fmla="*/ 258447 h 294220"/>
              <a:gd name="connsiteX15" fmla="*/ 309896 w 309896"/>
              <a:gd name="connsiteY15" fmla="*/ 294220 h 294220"/>
              <a:gd name="connsiteX16" fmla="*/ 203784 w 309896"/>
              <a:gd name="connsiteY16" fmla="*/ 294220 h 294220"/>
              <a:gd name="connsiteX17" fmla="*/ 239155 w 309896"/>
              <a:gd name="connsiteY17" fmla="*/ 258447 h 294220"/>
              <a:gd name="connsiteX18" fmla="*/ 235484 w 309896"/>
              <a:gd name="connsiteY18" fmla="*/ 253498 h 294220"/>
              <a:gd name="connsiteX19" fmla="*/ 175036 w 309896"/>
              <a:gd name="connsiteY19" fmla="*/ 206002 h 294220"/>
              <a:gd name="connsiteX20" fmla="*/ 154949 w 309896"/>
              <a:gd name="connsiteY20" fmla="*/ 214636 h 294220"/>
              <a:gd name="connsiteX21" fmla="*/ 134266 w 309896"/>
              <a:gd name="connsiteY21" fmla="*/ 205746 h 294220"/>
              <a:gd name="connsiteX22" fmla="*/ 74697 w 309896"/>
              <a:gd name="connsiteY22" fmla="*/ 253114 h 294220"/>
              <a:gd name="connsiteX23" fmla="*/ 70742 w 309896"/>
              <a:gd name="connsiteY23" fmla="*/ 258447 h 294220"/>
              <a:gd name="connsiteX24" fmla="*/ 106112 w 309896"/>
              <a:gd name="connsiteY24" fmla="*/ 294220 h 294220"/>
              <a:gd name="connsiteX25" fmla="*/ 0 w 309896"/>
              <a:gd name="connsiteY25" fmla="*/ 294220 h 294220"/>
              <a:gd name="connsiteX26" fmla="*/ 33763 w 309896"/>
              <a:gd name="connsiteY26" fmla="*/ 258447 h 294220"/>
              <a:gd name="connsiteX27" fmla="*/ 20901 w 309896"/>
              <a:gd name="connsiteY27" fmla="*/ 225927 h 294220"/>
              <a:gd name="connsiteX28" fmla="*/ 53056 w 309896"/>
              <a:gd name="connsiteY28" fmla="*/ 186902 h 294220"/>
              <a:gd name="connsiteX29" fmla="*/ 85211 w 309896"/>
              <a:gd name="connsiteY29" fmla="*/ 225927 h 294220"/>
              <a:gd name="connsiteX30" fmla="*/ 84441 w 309896"/>
              <a:gd name="connsiteY30" fmla="*/ 229338 h 294220"/>
              <a:gd name="connsiteX31" fmla="*/ 128333 w 309896"/>
              <a:gd name="connsiteY31" fmla="*/ 194851 h 294220"/>
              <a:gd name="connsiteX32" fmla="*/ 122994 w 309896"/>
              <a:gd name="connsiteY32" fmla="*/ 181476 h 294220"/>
              <a:gd name="connsiteX33" fmla="*/ 132354 w 309896"/>
              <a:gd name="connsiteY33" fmla="*/ 158028 h 294220"/>
              <a:gd name="connsiteX34" fmla="*/ 148316 w 309896"/>
              <a:gd name="connsiteY34" fmla="*/ 151167 h 294220"/>
              <a:gd name="connsiteX35" fmla="*/ 148316 w 309896"/>
              <a:gd name="connsiteY35" fmla="*/ 106112 h 294220"/>
              <a:gd name="connsiteX36" fmla="*/ 146564 w 309896"/>
              <a:gd name="connsiteY36" fmla="*/ 106112 h 294220"/>
              <a:gd name="connsiteX37" fmla="*/ 101289 w 309896"/>
              <a:gd name="connsiteY37" fmla="*/ 106112 h 294220"/>
              <a:gd name="connsiteX38" fmla="*/ 135436 w 309896"/>
              <a:gd name="connsiteY38" fmla="*/ 70741 h 294220"/>
              <a:gd name="connsiteX39" fmla="*/ 122428 w 309896"/>
              <a:gd name="connsiteY39" fmla="*/ 38586 h 294220"/>
              <a:gd name="connsiteX40" fmla="*/ 154948 w 309896"/>
              <a:gd name="connsiteY40" fmla="*/ 0 h 294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09896" h="294220">
                <a:moveTo>
                  <a:pt x="154948" y="0"/>
                </a:moveTo>
                <a:cubicBezTo>
                  <a:pt x="172835" y="0"/>
                  <a:pt x="187469" y="17685"/>
                  <a:pt x="187469" y="38586"/>
                </a:cubicBezTo>
                <a:cubicBezTo>
                  <a:pt x="187469" y="53056"/>
                  <a:pt x="182591" y="64310"/>
                  <a:pt x="174461" y="70741"/>
                </a:cubicBezTo>
                <a:cubicBezTo>
                  <a:pt x="190721" y="77172"/>
                  <a:pt x="203729" y="90034"/>
                  <a:pt x="208607" y="106112"/>
                </a:cubicBezTo>
                <a:cubicBezTo>
                  <a:pt x="195193" y="106112"/>
                  <a:pt x="183455" y="106112"/>
                  <a:pt x="173184" y="106112"/>
                </a:cubicBezTo>
                <a:lnTo>
                  <a:pt x="161580" y="106112"/>
                </a:lnTo>
                <a:lnTo>
                  <a:pt x="161580" y="151166"/>
                </a:lnTo>
                <a:lnTo>
                  <a:pt x="177545" y="158028"/>
                </a:lnTo>
                <a:cubicBezTo>
                  <a:pt x="183327" y="164029"/>
                  <a:pt x="186904" y="172319"/>
                  <a:pt x="186904" y="181476"/>
                </a:cubicBezTo>
                <a:lnTo>
                  <a:pt x="181342" y="195410"/>
                </a:lnTo>
                <a:lnTo>
                  <a:pt x="225544" y="229731"/>
                </a:lnTo>
                <a:lnTo>
                  <a:pt x="224685" y="225927"/>
                </a:lnTo>
                <a:cubicBezTo>
                  <a:pt x="224685" y="204788"/>
                  <a:pt x="239155" y="186902"/>
                  <a:pt x="256840" y="186902"/>
                </a:cubicBezTo>
                <a:cubicBezTo>
                  <a:pt x="274526" y="186902"/>
                  <a:pt x="288995" y="204788"/>
                  <a:pt x="288995" y="225927"/>
                </a:cubicBezTo>
                <a:cubicBezTo>
                  <a:pt x="288995" y="238935"/>
                  <a:pt x="284172" y="251943"/>
                  <a:pt x="276133" y="258447"/>
                </a:cubicBezTo>
                <a:cubicBezTo>
                  <a:pt x="293819" y="264952"/>
                  <a:pt x="306681" y="277960"/>
                  <a:pt x="309896" y="294220"/>
                </a:cubicBezTo>
                <a:cubicBezTo>
                  <a:pt x="203784" y="294220"/>
                  <a:pt x="203784" y="294220"/>
                  <a:pt x="203784" y="294220"/>
                </a:cubicBezTo>
                <a:cubicBezTo>
                  <a:pt x="208608" y="277960"/>
                  <a:pt x="221470" y="264952"/>
                  <a:pt x="239155" y="258447"/>
                </a:cubicBezTo>
                <a:lnTo>
                  <a:pt x="235484" y="253498"/>
                </a:lnTo>
                <a:lnTo>
                  <a:pt x="175036" y="206002"/>
                </a:lnTo>
                <a:lnTo>
                  <a:pt x="154949" y="214636"/>
                </a:lnTo>
                <a:lnTo>
                  <a:pt x="134266" y="205746"/>
                </a:lnTo>
                <a:lnTo>
                  <a:pt x="74697" y="253114"/>
                </a:lnTo>
                <a:lnTo>
                  <a:pt x="70742" y="258447"/>
                </a:lnTo>
                <a:cubicBezTo>
                  <a:pt x="88427" y="264952"/>
                  <a:pt x="101289" y="277960"/>
                  <a:pt x="106112" y="294220"/>
                </a:cubicBezTo>
                <a:cubicBezTo>
                  <a:pt x="0" y="294220"/>
                  <a:pt x="0" y="294220"/>
                  <a:pt x="0" y="294220"/>
                </a:cubicBezTo>
                <a:cubicBezTo>
                  <a:pt x="3215" y="277960"/>
                  <a:pt x="16077" y="264952"/>
                  <a:pt x="33763" y="258447"/>
                </a:cubicBezTo>
                <a:cubicBezTo>
                  <a:pt x="25724" y="251943"/>
                  <a:pt x="20901" y="238935"/>
                  <a:pt x="20901" y="225927"/>
                </a:cubicBezTo>
                <a:cubicBezTo>
                  <a:pt x="20901" y="204788"/>
                  <a:pt x="35370" y="186902"/>
                  <a:pt x="53056" y="186902"/>
                </a:cubicBezTo>
                <a:cubicBezTo>
                  <a:pt x="70742" y="186902"/>
                  <a:pt x="85211" y="204788"/>
                  <a:pt x="85211" y="225927"/>
                </a:cubicBezTo>
                <a:lnTo>
                  <a:pt x="84441" y="229338"/>
                </a:lnTo>
                <a:lnTo>
                  <a:pt x="128333" y="194851"/>
                </a:lnTo>
                <a:lnTo>
                  <a:pt x="122994" y="181476"/>
                </a:lnTo>
                <a:cubicBezTo>
                  <a:pt x="122994" y="172319"/>
                  <a:pt x="126571" y="164029"/>
                  <a:pt x="132354" y="158028"/>
                </a:cubicBezTo>
                <a:lnTo>
                  <a:pt x="148316" y="151167"/>
                </a:lnTo>
                <a:lnTo>
                  <a:pt x="148316" y="106112"/>
                </a:lnTo>
                <a:lnTo>
                  <a:pt x="146564" y="106112"/>
                </a:lnTo>
                <a:cubicBezTo>
                  <a:pt x="101289" y="106112"/>
                  <a:pt x="101289" y="106112"/>
                  <a:pt x="101289" y="106112"/>
                </a:cubicBezTo>
                <a:cubicBezTo>
                  <a:pt x="106167" y="90034"/>
                  <a:pt x="119176" y="77172"/>
                  <a:pt x="135436" y="70741"/>
                </a:cubicBezTo>
                <a:cubicBezTo>
                  <a:pt x="127306" y="64310"/>
                  <a:pt x="122428" y="53056"/>
                  <a:pt x="122428" y="38586"/>
                </a:cubicBezTo>
                <a:cubicBezTo>
                  <a:pt x="122428" y="17685"/>
                  <a:pt x="137062" y="0"/>
                  <a:pt x="154948" y="0"/>
                </a:cubicBezTo>
                <a:close/>
              </a:path>
            </a:pathLst>
          </a:custGeom>
          <a:solidFill>
            <a:srgbClr val="FE5817"/>
          </a:solidFill>
          <a:ln>
            <a:noFill/>
          </a:ln>
        </p:spPr>
        <p:txBody>
          <a:bodyPr anchor="ctr"/>
          <a:lstStyle/>
          <a:p>
            <a:pPr algn="ctr"/>
            <a:endParaRPr sz="2400"/>
          </a:p>
        </p:txBody>
      </p:sp>
      <p:sp>
        <p:nvSpPr>
          <p:cNvPr id="126" name="Rectangle 126"/>
          <p:cNvSpPr/>
          <p:nvPr/>
        </p:nvSpPr>
        <p:spPr>
          <a:xfrm flipH="1">
            <a:off x="-3" y="3816914"/>
            <a:ext cx="2965905" cy="1253739"/>
          </a:xfrm>
          <a:prstGeom prst="rect">
            <a:avLst/>
          </a:prstGeom>
          <a:solidFill>
            <a:srgbClr val="FEA0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p>
        </p:txBody>
      </p:sp>
      <p:sp>
        <p:nvSpPr>
          <p:cNvPr id="127" name="Oval 127"/>
          <p:cNvSpPr/>
          <p:nvPr/>
        </p:nvSpPr>
        <p:spPr>
          <a:xfrm flipH="1">
            <a:off x="2532754" y="3816914"/>
            <a:ext cx="925670" cy="1253739"/>
          </a:xfrm>
          <a:prstGeom prst="ellipse">
            <a:avLst/>
          </a:prstGeom>
          <a:solidFill>
            <a:srgbClr val="FEA0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p>
        </p:txBody>
      </p:sp>
      <p:sp>
        <p:nvSpPr>
          <p:cNvPr id="122" name="Oval 121"/>
          <p:cNvSpPr/>
          <p:nvPr/>
        </p:nvSpPr>
        <p:spPr>
          <a:xfrm>
            <a:off x="2266890" y="3995825"/>
            <a:ext cx="914400" cy="914401"/>
          </a:xfrm>
          <a:prstGeom prst="ellipse">
            <a:avLst/>
          </a:prstGeom>
          <a:solidFill>
            <a:srgbClr val="FEA0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p>
        </p:txBody>
      </p:sp>
      <p:sp>
        <p:nvSpPr>
          <p:cNvPr id="123" name="Freeform: Shape 122"/>
          <p:cNvSpPr/>
          <p:nvPr/>
        </p:nvSpPr>
        <p:spPr bwMode="auto">
          <a:xfrm>
            <a:off x="2498872" y="4269442"/>
            <a:ext cx="441801" cy="426102"/>
          </a:xfrm>
          <a:custGeom>
            <a:avLst/>
            <a:gdLst>
              <a:gd name="connsiteX0" fmla="*/ 171227 w 237547"/>
              <a:gd name="connsiteY0" fmla="*/ 89231 h 229106"/>
              <a:gd name="connsiteX1" fmla="*/ 155551 w 237547"/>
              <a:gd name="connsiteY1" fmla="*/ 104907 h 229106"/>
              <a:gd name="connsiteX2" fmla="*/ 171227 w 237547"/>
              <a:gd name="connsiteY2" fmla="*/ 120583 h 229106"/>
              <a:gd name="connsiteX3" fmla="*/ 186903 w 237547"/>
              <a:gd name="connsiteY3" fmla="*/ 104907 h 229106"/>
              <a:gd name="connsiteX4" fmla="*/ 171227 w 237547"/>
              <a:gd name="connsiteY4" fmla="*/ 89231 h 229106"/>
              <a:gd name="connsiteX5" fmla="*/ 119980 w 237547"/>
              <a:gd name="connsiteY5" fmla="*/ 89231 h 229106"/>
              <a:gd name="connsiteX6" fmla="*/ 103701 w 237547"/>
              <a:gd name="connsiteY6" fmla="*/ 104907 h 229106"/>
              <a:gd name="connsiteX7" fmla="*/ 119980 w 237547"/>
              <a:gd name="connsiteY7" fmla="*/ 120583 h 229106"/>
              <a:gd name="connsiteX8" fmla="*/ 136259 w 237547"/>
              <a:gd name="connsiteY8" fmla="*/ 104907 h 229106"/>
              <a:gd name="connsiteX9" fmla="*/ 119980 w 237547"/>
              <a:gd name="connsiteY9" fmla="*/ 89231 h 229106"/>
              <a:gd name="connsiteX10" fmla="*/ 65718 w 237547"/>
              <a:gd name="connsiteY10" fmla="*/ 89231 h 229106"/>
              <a:gd name="connsiteX11" fmla="*/ 49439 w 237547"/>
              <a:gd name="connsiteY11" fmla="*/ 104907 h 229106"/>
              <a:gd name="connsiteX12" fmla="*/ 65718 w 237547"/>
              <a:gd name="connsiteY12" fmla="*/ 120583 h 229106"/>
              <a:gd name="connsiteX13" fmla="*/ 81997 w 237547"/>
              <a:gd name="connsiteY13" fmla="*/ 104907 h 229106"/>
              <a:gd name="connsiteX14" fmla="*/ 65718 w 237547"/>
              <a:gd name="connsiteY14" fmla="*/ 89231 h 229106"/>
              <a:gd name="connsiteX15" fmla="*/ 119582 w 237547"/>
              <a:gd name="connsiteY15" fmla="*/ 0 h 229106"/>
              <a:gd name="connsiteX16" fmla="*/ 237547 w 237547"/>
              <a:gd name="connsiteY16" fmla="*/ 102367 h 229106"/>
              <a:gd name="connsiteX17" fmla="*/ 189068 w 237547"/>
              <a:gd name="connsiteY17" fmla="*/ 186860 h 229106"/>
              <a:gd name="connsiteX18" fmla="*/ 206844 w 237547"/>
              <a:gd name="connsiteY18" fmla="*/ 229106 h 229106"/>
              <a:gd name="connsiteX19" fmla="*/ 164829 w 237547"/>
              <a:gd name="connsiteY19" fmla="*/ 198234 h 229106"/>
              <a:gd name="connsiteX20" fmla="*/ 119582 w 237547"/>
              <a:gd name="connsiteY20" fmla="*/ 206358 h 229106"/>
              <a:gd name="connsiteX21" fmla="*/ 0 w 237547"/>
              <a:gd name="connsiteY21" fmla="*/ 102367 h 229106"/>
              <a:gd name="connsiteX22" fmla="*/ 119582 w 237547"/>
              <a:gd name="connsiteY22" fmla="*/ 0 h 229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7547" h="229106">
                <a:moveTo>
                  <a:pt x="171227" y="89231"/>
                </a:moveTo>
                <a:cubicBezTo>
                  <a:pt x="162569" y="89231"/>
                  <a:pt x="155551" y="96249"/>
                  <a:pt x="155551" y="104907"/>
                </a:cubicBezTo>
                <a:cubicBezTo>
                  <a:pt x="155551" y="113565"/>
                  <a:pt x="162569" y="120583"/>
                  <a:pt x="171227" y="120583"/>
                </a:cubicBezTo>
                <a:cubicBezTo>
                  <a:pt x="179885" y="120583"/>
                  <a:pt x="186903" y="113565"/>
                  <a:pt x="186903" y="104907"/>
                </a:cubicBezTo>
                <a:cubicBezTo>
                  <a:pt x="186903" y="96249"/>
                  <a:pt x="179885" y="89231"/>
                  <a:pt x="171227" y="89231"/>
                </a:cubicBezTo>
                <a:close/>
                <a:moveTo>
                  <a:pt x="119980" y="89231"/>
                </a:moveTo>
                <a:cubicBezTo>
                  <a:pt x="110989" y="89231"/>
                  <a:pt x="103701" y="96249"/>
                  <a:pt x="103701" y="104907"/>
                </a:cubicBezTo>
                <a:cubicBezTo>
                  <a:pt x="103701" y="113565"/>
                  <a:pt x="110989" y="120583"/>
                  <a:pt x="119980" y="120583"/>
                </a:cubicBezTo>
                <a:cubicBezTo>
                  <a:pt x="128971" y="120583"/>
                  <a:pt x="136259" y="113565"/>
                  <a:pt x="136259" y="104907"/>
                </a:cubicBezTo>
                <a:cubicBezTo>
                  <a:pt x="136259" y="96249"/>
                  <a:pt x="128971" y="89231"/>
                  <a:pt x="119980" y="89231"/>
                </a:cubicBezTo>
                <a:close/>
                <a:moveTo>
                  <a:pt x="65718" y="89231"/>
                </a:moveTo>
                <a:cubicBezTo>
                  <a:pt x="56727" y="89231"/>
                  <a:pt x="49439" y="96249"/>
                  <a:pt x="49439" y="104907"/>
                </a:cubicBezTo>
                <a:cubicBezTo>
                  <a:pt x="49439" y="113565"/>
                  <a:pt x="56727" y="120583"/>
                  <a:pt x="65718" y="120583"/>
                </a:cubicBezTo>
                <a:cubicBezTo>
                  <a:pt x="74709" y="120583"/>
                  <a:pt x="81997" y="113565"/>
                  <a:pt x="81997" y="104907"/>
                </a:cubicBezTo>
                <a:cubicBezTo>
                  <a:pt x="81997" y="96249"/>
                  <a:pt x="74709" y="89231"/>
                  <a:pt x="65718" y="89231"/>
                </a:cubicBezTo>
                <a:close/>
                <a:moveTo>
                  <a:pt x="119582" y="0"/>
                </a:moveTo>
                <a:cubicBezTo>
                  <a:pt x="184220" y="0"/>
                  <a:pt x="237547" y="45496"/>
                  <a:pt x="237547" y="102367"/>
                </a:cubicBezTo>
                <a:cubicBezTo>
                  <a:pt x="237547" y="136489"/>
                  <a:pt x="218156" y="167361"/>
                  <a:pt x="189068" y="186860"/>
                </a:cubicBezTo>
                <a:cubicBezTo>
                  <a:pt x="206844" y="229106"/>
                  <a:pt x="206844" y="229106"/>
                  <a:pt x="206844" y="229106"/>
                </a:cubicBezTo>
                <a:cubicBezTo>
                  <a:pt x="164829" y="198234"/>
                  <a:pt x="164829" y="198234"/>
                  <a:pt x="164829" y="198234"/>
                </a:cubicBezTo>
                <a:cubicBezTo>
                  <a:pt x="150285" y="203108"/>
                  <a:pt x="135741" y="206358"/>
                  <a:pt x="119582" y="206358"/>
                </a:cubicBezTo>
                <a:cubicBezTo>
                  <a:pt x="53327" y="206358"/>
                  <a:pt x="0" y="159237"/>
                  <a:pt x="0" y="102367"/>
                </a:cubicBezTo>
                <a:cubicBezTo>
                  <a:pt x="0" y="45496"/>
                  <a:pt x="53327" y="0"/>
                  <a:pt x="119582" y="0"/>
                </a:cubicBezTo>
                <a:close/>
              </a:path>
            </a:pathLst>
          </a:custGeom>
          <a:solidFill>
            <a:srgbClr val="FEA07A"/>
          </a:solidFill>
          <a:ln>
            <a:noFill/>
          </a:ln>
        </p:spPr>
        <p:txBody>
          <a:bodyPr anchor="ctr"/>
          <a:lstStyle/>
          <a:p>
            <a:pPr algn="ctr"/>
            <a:endParaRPr sz="2400"/>
          </a:p>
        </p:txBody>
      </p:sp>
      <p:sp>
        <p:nvSpPr>
          <p:cNvPr id="124" name="TextBox 124"/>
          <p:cNvSpPr txBox="1"/>
          <p:nvPr/>
        </p:nvSpPr>
        <p:spPr>
          <a:xfrm>
            <a:off x="0" y="3842886"/>
            <a:ext cx="2219270" cy="461665"/>
          </a:xfrm>
          <a:prstGeom prst="rect">
            <a:avLst/>
          </a:prstGeom>
          <a:solidFill>
            <a:srgbClr val="FEA07A"/>
          </a:solidFill>
        </p:spPr>
        <p:txBody>
          <a:bodyPr wrap="none" lIns="0" tIns="0" rIns="0" bIns="0" anchor="ctr" anchorCtr="0">
            <a:normAutofit/>
          </a:bodyPr>
          <a:lstStyle/>
          <a:p>
            <a:pPr algn="r"/>
            <a:r>
              <a:rPr lang="en-US" sz="2665" dirty="0">
                <a:solidFill>
                  <a:schemeClr val="bg1"/>
                </a:solidFill>
              </a:rPr>
              <a:t>65%</a:t>
            </a:r>
            <a:endParaRPr lang="en-US" sz="2665" dirty="0">
              <a:solidFill>
                <a:schemeClr val="bg1"/>
              </a:solidFill>
            </a:endParaRPr>
          </a:p>
        </p:txBody>
      </p:sp>
      <p:sp>
        <p:nvSpPr>
          <p:cNvPr id="125" name="TextBox 125"/>
          <p:cNvSpPr txBox="1"/>
          <p:nvPr/>
        </p:nvSpPr>
        <p:spPr>
          <a:xfrm>
            <a:off x="0" y="4413686"/>
            <a:ext cx="2219270" cy="461665"/>
          </a:xfrm>
          <a:prstGeom prst="rect">
            <a:avLst/>
          </a:prstGeom>
          <a:solidFill>
            <a:srgbClr val="FEA07A"/>
          </a:solidFill>
        </p:spPr>
        <p:txBody>
          <a:bodyPr wrap="square" lIns="0" tIns="0" rIns="0" bIns="0" anchor="ctr" anchorCtr="0">
            <a:noAutofit/>
          </a:bodyPr>
          <a:lstStyle/>
          <a:p>
            <a:pPr algn="r">
              <a:lnSpc>
                <a:spcPct val="120000"/>
              </a:lnSpc>
            </a:pPr>
            <a:r>
              <a:rPr lang="zh-CN" altLang="en-US" sz="1400" dirty="0">
                <a:solidFill>
                  <a:schemeClr val="bg1"/>
                </a:solidFill>
              </a:rPr>
              <a:t>此部分内容作为文字排版占位显示</a:t>
            </a:r>
            <a:endParaRPr lang="zh-CN" altLang="en-US" sz="1400" dirty="0">
              <a:solidFill>
                <a:schemeClr val="bg1"/>
              </a:solidFill>
            </a:endParaRPr>
          </a:p>
        </p:txBody>
      </p:sp>
      <p:sp>
        <p:nvSpPr>
          <p:cNvPr id="138" name="Rectangle 139"/>
          <p:cNvSpPr/>
          <p:nvPr/>
        </p:nvSpPr>
        <p:spPr>
          <a:xfrm>
            <a:off x="9224311" y="1761294"/>
            <a:ext cx="2965905" cy="12537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rgbClr val="F7BCB8"/>
              </a:solidFill>
            </a:endParaRPr>
          </a:p>
        </p:txBody>
      </p:sp>
      <p:sp>
        <p:nvSpPr>
          <p:cNvPr id="130" name="Oval 130"/>
          <p:cNvSpPr/>
          <p:nvPr/>
        </p:nvSpPr>
        <p:spPr>
          <a:xfrm flipH="1">
            <a:off x="9010707" y="1940205"/>
            <a:ext cx="914400" cy="9144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rgbClr val="F7BCB8"/>
              </a:solidFill>
            </a:endParaRPr>
          </a:p>
        </p:txBody>
      </p:sp>
      <p:grpSp>
        <p:nvGrpSpPr>
          <p:cNvPr id="131" name="Group 131"/>
          <p:cNvGrpSpPr/>
          <p:nvPr/>
        </p:nvGrpSpPr>
        <p:grpSpPr>
          <a:xfrm>
            <a:off x="9231317" y="2136843"/>
            <a:ext cx="473180" cy="498380"/>
            <a:chOff x="6828400" y="3782413"/>
            <a:chExt cx="203784" cy="214637"/>
          </a:xfrm>
          <a:solidFill>
            <a:schemeClr val="accent1"/>
          </a:solidFill>
        </p:grpSpPr>
        <p:sp>
          <p:nvSpPr>
            <p:cNvPr id="134" name="Freeform: Shape 135"/>
            <p:cNvSpPr/>
            <p:nvPr/>
          </p:nvSpPr>
          <p:spPr bwMode="auto">
            <a:xfrm>
              <a:off x="6828400" y="3872850"/>
              <a:ext cx="203784" cy="100083"/>
            </a:xfrm>
            <a:custGeom>
              <a:avLst/>
              <a:gdLst>
                <a:gd name="T0" fmla="*/ 108 w 126"/>
                <a:gd name="T1" fmla="*/ 44 h 62"/>
                <a:gd name="T2" fmla="*/ 126 w 126"/>
                <a:gd name="T3" fmla="*/ 22 h 62"/>
                <a:gd name="T4" fmla="*/ 108 w 126"/>
                <a:gd name="T5" fmla="*/ 0 h 62"/>
                <a:gd name="T6" fmla="*/ 108 w 126"/>
                <a:gd name="T7" fmla="*/ 10 h 62"/>
                <a:gd name="T8" fmla="*/ 116 w 126"/>
                <a:gd name="T9" fmla="*/ 22 h 62"/>
                <a:gd name="T10" fmla="*/ 108 w 126"/>
                <a:gd name="T11" fmla="*/ 34 h 62"/>
                <a:gd name="T12" fmla="*/ 108 w 126"/>
                <a:gd name="T13" fmla="*/ 44 h 62"/>
                <a:gd name="T14" fmla="*/ 53 w 126"/>
                <a:gd name="T15" fmla="*/ 62 h 62"/>
                <a:gd name="T16" fmla="*/ 94 w 126"/>
                <a:gd name="T17" fmla="*/ 42 h 62"/>
                <a:gd name="T18" fmla="*/ 104 w 126"/>
                <a:gd name="T19" fmla="*/ 44 h 62"/>
                <a:gd name="T20" fmla="*/ 108 w 126"/>
                <a:gd name="T21" fmla="*/ 44 h 62"/>
                <a:gd name="T22" fmla="*/ 108 w 126"/>
                <a:gd name="T23" fmla="*/ 34 h 62"/>
                <a:gd name="T24" fmla="*/ 104 w 126"/>
                <a:gd name="T25" fmla="*/ 35 h 62"/>
                <a:gd name="T26" fmla="*/ 100 w 126"/>
                <a:gd name="T27" fmla="*/ 34 h 62"/>
                <a:gd name="T28" fmla="*/ 106 w 126"/>
                <a:gd name="T29" fmla="*/ 10 h 62"/>
                <a:gd name="T30" fmla="*/ 106 w 126"/>
                <a:gd name="T31" fmla="*/ 10 h 62"/>
                <a:gd name="T32" fmla="*/ 106 w 126"/>
                <a:gd name="T33" fmla="*/ 10 h 62"/>
                <a:gd name="T34" fmla="*/ 108 w 126"/>
                <a:gd name="T35" fmla="*/ 10 h 62"/>
                <a:gd name="T36" fmla="*/ 108 w 126"/>
                <a:gd name="T37" fmla="*/ 0 h 62"/>
                <a:gd name="T38" fmla="*/ 105 w 126"/>
                <a:gd name="T39" fmla="*/ 0 h 62"/>
                <a:gd name="T40" fmla="*/ 105 w 126"/>
                <a:gd name="T41" fmla="*/ 0 h 62"/>
                <a:gd name="T42" fmla="*/ 1 w 126"/>
                <a:gd name="T43" fmla="*/ 0 h 62"/>
                <a:gd name="T44" fmla="*/ 0 w 126"/>
                <a:gd name="T45" fmla="*/ 10 h 62"/>
                <a:gd name="T46" fmla="*/ 53 w 126"/>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62">
                  <a:moveTo>
                    <a:pt x="108" y="44"/>
                  </a:moveTo>
                  <a:cubicBezTo>
                    <a:pt x="118" y="42"/>
                    <a:pt x="126" y="33"/>
                    <a:pt x="126" y="22"/>
                  </a:cubicBezTo>
                  <a:cubicBezTo>
                    <a:pt x="126" y="11"/>
                    <a:pt x="118" y="2"/>
                    <a:pt x="108" y="0"/>
                  </a:cubicBezTo>
                  <a:cubicBezTo>
                    <a:pt x="108" y="10"/>
                    <a:pt x="108" y="10"/>
                    <a:pt x="108" y="10"/>
                  </a:cubicBezTo>
                  <a:cubicBezTo>
                    <a:pt x="113" y="12"/>
                    <a:pt x="116" y="17"/>
                    <a:pt x="116" y="22"/>
                  </a:cubicBezTo>
                  <a:cubicBezTo>
                    <a:pt x="116" y="27"/>
                    <a:pt x="113" y="32"/>
                    <a:pt x="108" y="34"/>
                  </a:cubicBezTo>
                  <a:lnTo>
                    <a:pt x="108" y="44"/>
                  </a:lnTo>
                  <a:close/>
                  <a:moveTo>
                    <a:pt x="53" y="62"/>
                  </a:moveTo>
                  <a:cubicBezTo>
                    <a:pt x="70" y="62"/>
                    <a:pt x="85" y="54"/>
                    <a:pt x="94" y="42"/>
                  </a:cubicBezTo>
                  <a:cubicBezTo>
                    <a:pt x="97" y="44"/>
                    <a:pt x="100" y="44"/>
                    <a:pt x="104" y="44"/>
                  </a:cubicBezTo>
                  <a:cubicBezTo>
                    <a:pt x="105" y="44"/>
                    <a:pt x="107" y="44"/>
                    <a:pt x="108" y="44"/>
                  </a:cubicBezTo>
                  <a:cubicBezTo>
                    <a:pt x="108" y="34"/>
                    <a:pt x="108" y="34"/>
                    <a:pt x="108" y="34"/>
                  </a:cubicBezTo>
                  <a:cubicBezTo>
                    <a:pt x="107" y="34"/>
                    <a:pt x="105" y="35"/>
                    <a:pt x="104" y="35"/>
                  </a:cubicBezTo>
                  <a:cubicBezTo>
                    <a:pt x="102" y="35"/>
                    <a:pt x="101" y="34"/>
                    <a:pt x="100" y="34"/>
                  </a:cubicBezTo>
                  <a:cubicBezTo>
                    <a:pt x="103" y="27"/>
                    <a:pt x="106" y="18"/>
                    <a:pt x="106" y="10"/>
                  </a:cubicBezTo>
                  <a:cubicBezTo>
                    <a:pt x="106" y="10"/>
                    <a:pt x="106" y="10"/>
                    <a:pt x="106" y="10"/>
                  </a:cubicBezTo>
                  <a:cubicBezTo>
                    <a:pt x="106" y="10"/>
                    <a:pt x="106" y="10"/>
                    <a:pt x="106" y="10"/>
                  </a:cubicBezTo>
                  <a:cubicBezTo>
                    <a:pt x="106" y="10"/>
                    <a:pt x="107" y="10"/>
                    <a:pt x="108" y="10"/>
                  </a:cubicBezTo>
                  <a:cubicBezTo>
                    <a:pt x="108" y="0"/>
                    <a:pt x="108" y="0"/>
                    <a:pt x="108" y="0"/>
                  </a:cubicBezTo>
                  <a:cubicBezTo>
                    <a:pt x="107" y="0"/>
                    <a:pt x="106" y="0"/>
                    <a:pt x="105" y="0"/>
                  </a:cubicBezTo>
                  <a:cubicBezTo>
                    <a:pt x="105" y="0"/>
                    <a:pt x="105" y="0"/>
                    <a:pt x="105" y="0"/>
                  </a:cubicBezTo>
                  <a:cubicBezTo>
                    <a:pt x="1" y="0"/>
                    <a:pt x="1" y="0"/>
                    <a:pt x="1" y="0"/>
                  </a:cubicBezTo>
                  <a:cubicBezTo>
                    <a:pt x="1" y="3"/>
                    <a:pt x="0" y="6"/>
                    <a:pt x="0" y="10"/>
                  </a:cubicBezTo>
                  <a:cubicBezTo>
                    <a:pt x="0" y="39"/>
                    <a:pt x="24" y="62"/>
                    <a:pt x="53" y="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solidFill>
                  <a:srgbClr val="F7BCB8"/>
                </a:solidFill>
              </a:endParaRPr>
            </a:p>
          </p:txBody>
        </p:sp>
        <p:sp>
          <p:nvSpPr>
            <p:cNvPr id="135" name="Rectangle 136"/>
            <p:cNvSpPr/>
            <p:nvPr/>
          </p:nvSpPr>
          <p:spPr bwMode="auto">
            <a:xfrm>
              <a:off x="6828400" y="3982580"/>
              <a:ext cx="184491" cy="144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2400">
                <a:solidFill>
                  <a:srgbClr val="F7BCB8"/>
                </a:solidFill>
              </a:endParaRPr>
            </a:p>
          </p:txBody>
        </p:sp>
        <p:sp>
          <p:nvSpPr>
            <p:cNvPr id="136" name="Freeform: Shape 137"/>
            <p:cNvSpPr/>
            <p:nvPr/>
          </p:nvSpPr>
          <p:spPr bwMode="auto">
            <a:xfrm>
              <a:off x="6870604" y="3782413"/>
              <a:ext cx="33763" cy="84408"/>
            </a:xfrm>
            <a:custGeom>
              <a:avLst/>
              <a:gdLst>
                <a:gd name="T0" fmla="*/ 7 w 21"/>
                <a:gd name="T1" fmla="*/ 40 h 52"/>
                <a:gd name="T2" fmla="*/ 10 w 21"/>
                <a:gd name="T3" fmla="*/ 50 h 52"/>
                <a:gd name="T4" fmla="*/ 19 w 21"/>
                <a:gd name="T5" fmla="*/ 32 h 52"/>
                <a:gd name="T6" fmla="*/ 14 w 21"/>
                <a:gd name="T7" fmla="*/ 21 h 52"/>
                <a:gd name="T8" fmla="*/ 13 w 21"/>
                <a:gd name="T9" fmla="*/ 13 h 52"/>
                <a:gd name="T10" fmla="*/ 8 w 21"/>
                <a:gd name="T11" fmla="*/ 4 h 52"/>
                <a:gd name="T12" fmla="*/ 3 w 21"/>
                <a:gd name="T13" fmla="*/ 22 h 52"/>
                <a:gd name="T14" fmla="*/ 7 w 21"/>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2">
                  <a:moveTo>
                    <a:pt x="7" y="40"/>
                  </a:moveTo>
                  <a:cubicBezTo>
                    <a:pt x="1" y="42"/>
                    <a:pt x="4" y="52"/>
                    <a:pt x="10" y="50"/>
                  </a:cubicBezTo>
                  <a:cubicBezTo>
                    <a:pt x="18" y="47"/>
                    <a:pt x="21" y="40"/>
                    <a:pt x="19" y="32"/>
                  </a:cubicBezTo>
                  <a:cubicBezTo>
                    <a:pt x="18" y="28"/>
                    <a:pt x="16" y="25"/>
                    <a:pt x="14" y="21"/>
                  </a:cubicBezTo>
                  <a:cubicBezTo>
                    <a:pt x="13" y="19"/>
                    <a:pt x="11" y="15"/>
                    <a:pt x="13" y="13"/>
                  </a:cubicBezTo>
                  <a:cubicBezTo>
                    <a:pt x="19" y="10"/>
                    <a:pt x="14" y="0"/>
                    <a:pt x="8" y="4"/>
                  </a:cubicBezTo>
                  <a:cubicBezTo>
                    <a:pt x="2" y="8"/>
                    <a:pt x="0" y="16"/>
                    <a:pt x="3" y="22"/>
                  </a:cubicBezTo>
                  <a:cubicBezTo>
                    <a:pt x="3" y="25"/>
                    <a:pt x="12" y="38"/>
                    <a:pt x="7"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solidFill>
                  <a:srgbClr val="F7BCB8"/>
                </a:solidFill>
              </a:endParaRPr>
            </a:p>
          </p:txBody>
        </p:sp>
        <p:sp>
          <p:nvSpPr>
            <p:cNvPr id="137" name="Freeform: Shape 138"/>
            <p:cNvSpPr/>
            <p:nvPr/>
          </p:nvSpPr>
          <p:spPr bwMode="auto">
            <a:xfrm>
              <a:off x="6918836" y="3782413"/>
              <a:ext cx="32557" cy="84408"/>
            </a:xfrm>
            <a:custGeom>
              <a:avLst/>
              <a:gdLst>
                <a:gd name="T0" fmla="*/ 7 w 20"/>
                <a:gd name="T1" fmla="*/ 40 h 52"/>
                <a:gd name="T2" fmla="*/ 10 w 20"/>
                <a:gd name="T3" fmla="*/ 50 h 52"/>
                <a:gd name="T4" fmla="*/ 18 w 20"/>
                <a:gd name="T5" fmla="*/ 32 h 52"/>
                <a:gd name="T6" fmla="*/ 13 w 20"/>
                <a:gd name="T7" fmla="*/ 21 h 52"/>
                <a:gd name="T8" fmla="*/ 13 w 20"/>
                <a:gd name="T9" fmla="*/ 13 h 52"/>
                <a:gd name="T10" fmla="*/ 8 w 20"/>
                <a:gd name="T11" fmla="*/ 4 h 52"/>
                <a:gd name="T12" fmla="*/ 2 w 20"/>
                <a:gd name="T13" fmla="*/ 22 h 52"/>
                <a:gd name="T14" fmla="*/ 7 w 20"/>
                <a:gd name="T15" fmla="*/ 4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7" y="40"/>
                  </a:moveTo>
                  <a:cubicBezTo>
                    <a:pt x="0" y="42"/>
                    <a:pt x="3" y="52"/>
                    <a:pt x="10" y="50"/>
                  </a:cubicBezTo>
                  <a:cubicBezTo>
                    <a:pt x="18" y="47"/>
                    <a:pt x="20" y="40"/>
                    <a:pt x="18" y="32"/>
                  </a:cubicBezTo>
                  <a:cubicBezTo>
                    <a:pt x="17" y="28"/>
                    <a:pt x="15" y="25"/>
                    <a:pt x="13" y="21"/>
                  </a:cubicBezTo>
                  <a:cubicBezTo>
                    <a:pt x="12" y="19"/>
                    <a:pt x="10" y="15"/>
                    <a:pt x="13" y="13"/>
                  </a:cubicBezTo>
                  <a:cubicBezTo>
                    <a:pt x="19" y="10"/>
                    <a:pt x="14" y="0"/>
                    <a:pt x="8" y="4"/>
                  </a:cubicBezTo>
                  <a:cubicBezTo>
                    <a:pt x="1" y="8"/>
                    <a:pt x="0" y="16"/>
                    <a:pt x="2" y="22"/>
                  </a:cubicBezTo>
                  <a:cubicBezTo>
                    <a:pt x="3" y="25"/>
                    <a:pt x="12" y="38"/>
                    <a:pt x="7"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solidFill>
                  <a:srgbClr val="F7BCB8"/>
                </a:solidFill>
              </a:endParaRPr>
            </a:p>
          </p:txBody>
        </p:sp>
      </p:grpSp>
      <p:sp>
        <p:nvSpPr>
          <p:cNvPr id="132" name="TextBox 133"/>
          <p:cNvSpPr txBox="1"/>
          <p:nvPr/>
        </p:nvSpPr>
        <p:spPr>
          <a:xfrm flipH="1">
            <a:off x="9979433" y="1855266"/>
            <a:ext cx="2231102" cy="461665"/>
          </a:xfrm>
          <a:prstGeom prst="rect">
            <a:avLst/>
          </a:prstGeom>
          <a:noFill/>
        </p:spPr>
        <p:txBody>
          <a:bodyPr wrap="none" lIns="0" tIns="0" rIns="0" bIns="0" anchor="ctr" anchorCtr="0">
            <a:normAutofit/>
          </a:bodyPr>
          <a:lstStyle/>
          <a:p>
            <a:r>
              <a:rPr lang="en-US" sz="2665">
                <a:solidFill>
                  <a:schemeClr val="bg1"/>
                </a:solidFill>
              </a:rPr>
              <a:t>55%</a:t>
            </a:r>
            <a:endParaRPr lang="en-US" sz="2665">
              <a:solidFill>
                <a:schemeClr val="bg1"/>
              </a:solidFill>
            </a:endParaRPr>
          </a:p>
        </p:txBody>
      </p:sp>
      <p:sp>
        <p:nvSpPr>
          <p:cNvPr id="133" name="TextBox 134"/>
          <p:cNvSpPr txBox="1"/>
          <p:nvPr/>
        </p:nvSpPr>
        <p:spPr>
          <a:xfrm flipH="1">
            <a:off x="9966120" y="2416520"/>
            <a:ext cx="2231102" cy="461665"/>
          </a:xfrm>
          <a:prstGeom prst="rect">
            <a:avLst/>
          </a:prstGeom>
          <a:noFill/>
        </p:spPr>
        <p:txBody>
          <a:bodyPr wrap="square" lIns="0" tIns="0" rIns="0" bIns="0" anchor="ctr" anchorCtr="0">
            <a:noAutofit/>
          </a:bodyPr>
          <a:lstStyle/>
          <a:p>
            <a:pPr>
              <a:lnSpc>
                <a:spcPct val="120000"/>
              </a:lnSpc>
            </a:pPr>
            <a:r>
              <a:rPr lang="zh-CN" altLang="en-US" sz="1400" dirty="0">
                <a:solidFill>
                  <a:schemeClr val="bg1"/>
                </a:solidFill>
              </a:rPr>
              <a:t>此部分内容作为文字排版占位显示</a:t>
            </a:r>
            <a:endParaRPr lang="zh-CN" altLang="en-US" sz="1400" dirty="0">
              <a:solidFill>
                <a:schemeClr val="bg1"/>
              </a:solidFill>
            </a:endParaRPr>
          </a:p>
        </p:txBody>
      </p:sp>
      <p:sp>
        <p:nvSpPr>
          <p:cNvPr id="149" name="Rectangle 151"/>
          <p:cNvSpPr/>
          <p:nvPr/>
        </p:nvSpPr>
        <p:spPr>
          <a:xfrm>
            <a:off x="9224312" y="3816914"/>
            <a:ext cx="2965905" cy="1253739"/>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prstClr val="white"/>
              </a:solidFill>
              <a:cs typeface="+mn-ea"/>
            </a:endParaRPr>
          </a:p>
        </p:txBody>
      </p:sp>
      <p:sp>
        <p:nvSpPr>
          <p:cNvPr id="142" name="Oval 143"/>
          <p:cNvSpPr/>
          <p:nvPr/>
        </p:nvSpPr>
        <p:spPr>
          <a:xfrm flipH="1">
            <a:off x="9010708" y="3995825"/>
            <a:ext cx="914400" cy="914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p>
        </p:txBody>
      </p:sp>
      <p:grpSp>
        <p:nvGrpSpPr>
          <p:cNvPr id="143" name="Group 144"/>
          <p:cNvGrpSpPr/>
          <p:nvPr/>
        </p:nvGrpSpPr>
        <p:grpSpPr>
          <a:xfrm>
            <a:off x="9244475" y="4269423"/>
            <a:ext cx="446867" cy="372827"/>
            <a:chOff x="5685281" y="3237382"/>
            <a:chExt cx="203784" cy="170020"/>
          </a:xfrm>
          <a:solidFill>
            <a:schemeClr val="accent4"/>
          </a:solidFill>
        </p:grpSpPr>
        <p:sp>
          <p:nvSpPr>
            <p:cNvPr id="146" name="Freeform: Shape 148"/>
            <p:cNvSpPr/>
            <p:nvPr/>
          </p:nvSpPr>
          <p:spPr bwMode="auto">
            <a:xfrm>
              <a:off x="5685281" y="3355552"/>
              <a:ext cx="203784" cy="51850"/>
            </a:xfrm>
            <a:custGeom>
              <a:avLst/>
              <a:gdLst>
                <a:gd name="T0" fmla="*/ 110 w 169"/>
                <a:gd name="T1" fmla="*/ 23 h 43"/>
                <a:gd name="T2" fmla="*/ 59 w 169"/>
                <a:gd name="T3" fmla="*/ 23 h 43"/>
                <a:gd name="T4" fmla="*/ 59 w 169"/>
                <a:gd name="T5" fmla="*/ 0 h 43"/>
                <a:gd name="T6" fmla="*/ 0 w 169"/>
                <a:gd name="T7" fmla="*/ 0 h 43"/>
                <a:gd name="T8" fmla="*/ 0 w 169"/>
                <a:gd name="T9" fmla="*/ 43 h 43"/>
                <a:gd name="T10" fmla="*/ 169 w 169"/>
                <a:gd name="T11" fmla="*/ 43 h 43"/>
                <a:gd name="T12" fmla="*/ 169 w 169"/>
                <a:gd name="T13" fmla="*/ 0 h 43"/>
                <a:gd name="T14" fmla="*/ 110 w 169"/>
                <a:gd name="T15" fmla="*/ 0 h 43"/>
                <a:gd name="T16" fmla="*/ 110 w 169"/>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43">
                  <a:moveTo>
                    <a:pt x="110" y="23"/>
                  </a:moveTo>
                  <a:lnTo>
                    <a:pt x="59" y="23"/>
                  </a:lnTo>
                  <a:lnTo>
                    <a:pt x="59" y="0"/>
                  </a:lnTo>
                  <a:lnTo>
                    <a:pt x="0" y="0"/>
                  </a:lnTo>
                  <a:lnTo>
                    <a:pt x="0" y="43"/>
                  </a:lnTo>
                  <a:lnTo>
                    <a:pt x="169" y="43"/>
                  </a:lnTo>
                  <a:lnTo>
                    <a:pt x="169" y="0"/>
                  </a:lnTo>
                  <a:lnTo>
                    <a:pt x="110" y="0"/>
                  </a:lnTo>
                  <a:lnTo>
                    <a:pt x="110" y="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sp>
          <p:nvSpPr>
            <p:cNvPr id="147" name="Rectangle 149"/>
            <p:cNvSpPr/>
            <p:nvPr/>
          </p:nvSpPr>
          <p:spPr bwMode="auto">
            <a:xfrm>
              <a:off x="5768482" y="3355552"/>
              <a:ext cx="38586" cy="144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2400"/>
            </a:p>
          </p:txBody>
        </p:sp>
        <p:sp>
          <p:nvSpPr>
            <p:cNvPr id="148" name="Freeform: Shape 150"/>
            <p:cNvSpPr/>
            <p:nvPr/>
          </p:nvSpPr>
          <p:spPr bwMode="auto">
            <a:xfrm>
              <a:off x="5685281" y="3237382"/>
              <a:ext cx="203784" cy="106112"/>
            </a:xfrm>
            <a:custGeom>
              <a:avLst/>
              <a:gdLst>
                <a:gd name="T0" fmla="*/ 126 w 169"/>
                <a:gd name="T1" fmla="*/ 0 h 88"/>
                <a:gd name="T2" fmla="*/ 85 w 169"/>
                <a:gd name="T3" fmla="*/ 0 h 88"/>
                <a:gd name="T4" fmla="*/ 85 w 169"/>
                <a:gd name="T5" fmla="*/ 15 h 88"/>
                <a:gd name="T6" fmla="*/ 112 w 169"/>
                <a:gd name="T7" fmla="*/ 15 h 88"/>
                <a:gd name="T8" fmla="*/ 112 w 169"/>
                <a:gd name="T9" fmla="*/ 32 h 88"/>
                <a:gd name="T10" fmla="*/ 85 w 169"/>
                <a:gd name="T11" fmla="*/ 32 h 88"/>
                <a:gd name="T12" fmla="*/ 85 w 169"/>
                <a:gd name="T13" fmla="*/ 88 h 88"/>
                <a:gd name="T14" fmla="*/ 110 w 169"/>
                <a:gd name="T15" fmla="*/ 88 h 88"/>
                <a:gd name="T16" fmla="*/ 169 w 169"/>
                <a:gd name="T17" fmla="*/ 88 h 88"/>
                <a:gd name="T18" fmla="*/ 169 w 169"/>
                <a:gd name="T19" fmla="*/ 32 h 88"/>
                <a:gd name="T20" fmla="*/ 126 w 169"/>
                <a:gd name="T21" fmla="*/ 32 h 88"/>
                <a:gd name="T22" fmla="*/ 126 w 169"/>
                <a:gd name="T23" fmla="*/ 0 h 88"/>
                <a:gd name="T24" fmla="*/ 85 w 169"/>
                <a:gd name="T25" fmla="*/ 0 h 88"/>
                <a:gd name="T26" fmla="*/ 43 w 169"/>
                <a:gd name="T27" fmla="*/ 0 h 88"/>
                <a:gd name="T28" fmla="*/ 43 w 169"/>
                <a:gd name="T29" fmla="*/ 32 h 88"/>
                <a:gd name="T30" fmla="*/ 0 w 169"/>
                <a:gd name="T31" fmla="*/ 32 h 88"/>
                <a:gd name="T32" fmla="*/ 0 w 169"/>
                <a:gd name="T33" fmla="*/ 88 h 88"/>
                <a:gd name="T34" fmla="*/ 59 w 169"/>
                <a:gd name="T35" fmla="*/ 88 h 88"/>
                <a:gd name="T36" fmla="*/ 85 w 169"/>
                <a:gd name="T37" fmla="*/ 88 h 88"/>
                <a:gd name="T38" fmla="*/ 85 w 169"/>
                <a:gd name="T39" fmla="*/ 32 h 88"/>
                <a:gd name="T40" fmla="*/ 58 w 169"/>
                <a:gd name="T41" fmla="*/ 32 h 88"/>
                <a:gd name="T42" fmla="*/ 58 w 169"/>
                <a:gd name="T43" fmla="*/ 32 h 88"/>
                <a:gd name="T44" fmla="*/ 58 w 169"/>
                <a:gd name="T45" fmla="*/ 15 h 88"/>
                <a:gd name="T46" fmla="*/ 85 w 169"/>
                <a:gd name="T47" fmla="*/ 15 h 88"/>
                <a:gd name="T48" fmla="*/ 85 w 16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88">
                  <a:moveTo>
                    <a:pt x="126" y="0"/>
                  </a:moveTo>
                  <a:lnTo>
                    <a:pt x="85" y="0"/>
                  </a:lnTo>
                  <a:lnTo>
                    <a:pt x="85" y="15"/>
                  </a:lnTo>
                  <a:lnTo>
                    <a:pt x="112" y="15"/>
                  </a:lnTo>
                  <a:lnTo>
                    <a:pt x="112" y="32"/>
                  </a:lnTo>
                  <a:lnTo>
                    <a:pt x="85" y="32"/>
                  </a:lnTo>
                  <a:lnTo>
                    <a:pt x="85" y="88"/>
                  </a:lnTo>
                  <a:lnTo>
                    <a:pt x="110" y="88"/>
                  </a:lnTo>
                  <a:lnTo>
                    <a:pt x="169" y="88"/>
                  </a:lnTo>
                  <a:lnTo>
                    <a:pt x="169" y="32"/>
                  </a:lnTo>
                  <a:lnTo>
                    <a:pt x="126" y="32"/>
                  </a:lnTo>
                  <a:lnTo>
                    <a:pt x="126" y="0"/>
                  </a:lnTo>
                  <a:close/>
                  <a:moveTo>
                    <a:pt x="85" y="0"/>
                  </a:moveTo>
                  <a:lnTo>
                    <a:pt x="43" y="0"/>
                  </a:lnTo>
                  <a:lnTo>
                    <a:pt x="43" y="32"/>
                  </a:lnTo>
                  <a:lnTo>
                    <a:pt x="0" y="32"/>
                  </a:lnTo>
                  <a:lnTo>
                    <a:pt x="0" y="88"/>
                  </a:lnTo>
                  <a:lnTo>
                    <a:pt x="59" y="88"/>
                  </a:lnTo>
                  <a:lnTo>
                    <a:pt x="85" y="88"/>
                  </a:lnTo>
                  <a:lnTo>
                    <a:pt x="85" y="32"/>
                  </a:lnTo>
                  <a:lnTo>
                    <a:pt x="58" y="32"/>
                  </a:lnTo>
                  <a:lnTo>
                    <a:pt x="58" y="32"/>
                  </a:lnTo>
                  <a:lnTo>
                    <a:pt x="58" y="15"/>
                  </a:lnTo>
                  <a:lnTo>
                    <a:pt x="85" y="15"/>
                  </a:lnTo>
                  <a:lnTo>
                    <a:pt x="8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2400"/>
            </a:p>
          </p:txBody>
        </p:sp>
      </p:grpSp>
      <p:sp>
        <p:nvSpPr>
          <p:cNvPr id="144" name="TextBox 146"/>
          <p:cNvSpPr txBox="1"/>
          <p:nvPr/>
        </p:nvSpPr>
        <p:spPr>
          <a:xfrm flipH="1">
            <a:off x="9945970" y="3842886"/>
            <a:ext cx="2224096" cy="46166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prstClr val="white"/>
                </a:solidFill>
                <a:cs typeface="+mn-ea"/>
              </a:defRPr>
            </a:lvl1pPr>
          </a:lstStyle>
          <a:p>
            <a:r>
              <a:rPr lang="en-US" dirty="0"/>
              <a:t>70%</a:t>
            </a:r>
            <a:endParaRPr lang="en-US" dirty="0"/>
          </a:p>
        </p:txBody>
      </p:sp>
      <p:sp>
        <p:nvSpPr>
          <p:cNvPr id="145" name="TextBox 147"/>
          <p:cNvSpPr txBox="1"/>
          <p:nvPr/>
        </p:nvSpPr>
        <p:spPr>
          <a:xfrm flipH="1">
            <a:off x="9966121" y="4413686"/>
            <a:ext cx="2224096" cy="46166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prstClr val="white"/>
                </a:solidFill>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dirty="0"/>
              <a:t>此部分内容作为文字排版占位显示</a:t>
            </a:r>
            <a:endParaRPr lang="zh-CN" altLang="en-US" dirty="0"/>
          </a:p>
        </p:txBody>
      </p:sp>
      <p:sp>
        <p:nvSpPr>
          <p:cNvPr id="15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综合</a:t>
            </a:r>
            <a:endParaRPr lang="zh-CN" altLang="en-US" sz="2400" dirty="0">
              <a:latin typeface="+mj-ea"/>
            </a:endParaRPr>
          </a:p>
        </p:txBody>
      </p:sp>
      <p:pic>
        <p:nvPicPr>
          <p:cNvPr id="150" name="图片 14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nvSpPr>
        <p:spPr bwMode="auto">
          <a:xfrm>
            <a:off x="281147" y="189536"/>
            <a:ext cx="11933280" cy="461665"/>
          </a:xfrm>
          <a:prstGeom prst="rect">
            <a:avLst/>
          </a:prstGeom>
          <a:noFill/>
          <a:ln w="9525" algn="ctr">
            <a:noFill/>
            <a:miter lim="800000"/>
          </a:ln>
          <a:effectLst/>
        </p:spPr>
        <p:txBody>
          <a:bodyPr wrap="square">
            <a:spAutoFit/>
          </a:bodyPr>
          <a:lstStyle/>
          <a:p>
            <a:pPr defTabSz="914400">
              <a:defRPr/>
            </a:pPr>
            <a:r>
              <a:rPr lang="zh-CN" altLang="en-US" sz="2400" b="1" dirty="0">
                <a:solidFill>
                  <a:srgbClr val="000000"/>
                </a:solidFill>
                <a:latin typeface="华文楷体" panose="02010600040101010101" charset="-122"/>
                <a:ea typeface="华文楷体" panose="02010600040101010101" charset="-122"/>
                <a:cs typeface="Arial" panose="020B0604020202020204" pitchFamily="34" charset="0"/>
              </a:rPr>
              <a:t>综合</a:t>
            </a:r>
            <a:endParaRPr lang="en-US" altLang="zh-CN" sz="2400" b="1" dirty="0">
              <a:solidFill>
                <a:srgbClr val="000000"/>
              </a:solidFill>
              <a:latin typeface="华文楷体" panose="02010600040101010101" charset="-122"/>
              <a:ea typeface="华文楷体" panose="02010600040101010101" charset="-122"/>
              <a:cs typeface="Arial" panose="020B0604020202020204" pitchFamily="34" charset="0"/>
            </a:endParaRPr>
          </a:p>
        </p:txBody>
      </p:sp>
      <p:sp>
        <p:nvSpPr>
          <p:cNvPr id="3" name="圆角矩形 2"/>
          <p:cNvSpPr/>
          <p:nvPr/>
        </p:nvSpPr>
        <p:spPr>
          <a:xfrm>
            <a:off x="6521615" y="1389953"/>
            <a:ext cx="5094215" cy="4501685"/>
          </a:xfrm>
          <a:prstGeom prst="roundRect">
            <a:avLst/>
          </a:prstGeom>
          <a:solidFill>
            <a:schemeClr val="bg1">
              <a:lumMod val="85000"/>
            </a:schemeClr>
          </a:solidFill>
          <a:ln>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800" b="0" i="0" u="none" strike="noStrike" kern="1200" cap="none" spc="0" normalizeH="0" baseline="0" noProof="0">
              <a:ln>
                <a:noFill/>
              </a:ln>
              <a:solidFill>
                <a:srgbClr val="FFFFFF"/>
              </a:solidFill>
              <a:effectLst/>
              <a:uLnTx/>
              <a:uFillTx/>
              <a:latin typeface="华文楷体" panose="02010600040101010101" charset="-122"/>
              <a:ea typeface="华文楷体" panose="02010600040101010101" charset="-122"/>
            </a:endParaRPr>
          </a:p>
        </p:txBody>
      </p:sp>
      <p:grpSp>
        <p:nvGrpSpPr>
          <p:cNvPr id="4" name="Group 130"/>
          <p:cNvGrpSpPr/>
          <p:nvPr/>
        </p:nvGrpSpPr>
        <p:grpSpPr>
          <a:xfrm>
            <a:off x="6624144" y="2632911"/>
            <a:ext cx="1879827" cy="2278076"/>
            <a:chOff x="9683156" y="2245342"/>
            <a:chExt cx="1880262" cy="2278603"/>
          </a:xfrm>
          <a:effectLst>
            <a:outerShdw blurRad="50800" dist="38100" dir="2700000" algn="tl" rotWithShape="0">
              <a:prstClr val="black">
                <a:alpha val="40000"/>
              </a:prstClr>
            </a:outerShdw>
          </a:effectLst>
        </p:grpSpPr>
        <p:sp>
          <p:nvSpPr>
            <p:cNvPr id="5" name="Freeform 132"/>
            <p:cNvSpPr/>
            <p:nvPr/>
          </p:nvSpPr>
          <p:spPr bwMode="auto">
            <a:xfrm>
              <a:off x="9697382" y="2584406"/>
              <a:ext cx="1851810" cy="1939539"/>
            </a:xfrm>
            <a:custGeom>
              <a:avLst/>
              <a:gdLst>
                <a:gd name="T0" fmla="*/ 1516 w 1562"/>
                <a:gd name="T1" fmla="*/ 0 h 1636"/>
                <a:gd name="T2" fmla="*/ 1562 w 1562"/>
                <a:gd name="T3" fmla="*/ 11 h 1636"/>
                <a:gd name="T4" fmla="*/ 781 w 1562"/>
                <a:gd name="T5" fmla="*/ 1636 h 1636"/>
                <a:gd name="T6" fmla="*/ 0 w 1562"/>
                <a:gd name="T7" fmla="*/ 11 h 1636"/>
                <a:gd name="T8" fmla="*/ 57 w 1562"/>
                <a:gd name="T9" fmla="*/ 0 h 1636"/>
                <a:gd name="T10" fmla="*/ 1516 w 1562"/>
                <a:gd name="T11" fmla="*/ 0 h 1636"/>
              </a:gdLst>
              <a:ahLst/>
              <a:cxnLst>
                <a:cxn ang="0">
                  <a:pos x="T0" y="T1"/>
                </a:cxn>
                <a:cxn ang="0">
                  <a:pos x="T2" y="T3"/>
                </a:cxn>
                <a:cxn ang="0">
                  <a:pos x="T4" y="T5"/>
                </a:cxn>
                <a:cxn ang="0">
                  <a:pos x="T6" y="T7"/>
                </a:cxn>
                <a:cxn ang="0">
                  <a:pos x="T8" y="T9"/>
                </a:cxn>
                <a:cxn ang="0">
                  <a:pos x="T10" y="T11"/>
                </a:cxn>
              </a:cxnLst>
              <a:rect l="0" t="0" r="r" b="b"/>
              <a:pathLst>
                <a:path w="1562" h="1636">
                  <a:moveTo>
                    <a:pt x="1516" y="0"/>
                  </a:moveTo>
                  <a:lnTo>
                    <a:pt x="1562" y="11"/>
                  </a:lnTo>
                  <a:lnTo>
                    <a:pt x="781" y="1636"/>
                  </a:lnTo>
                  <a:lnTo>
                    <a:pt x="0" y="11"/>
                  </a:lnTo>
                  <a:lnTo>
                    <a:pt x="57" y="0"/>
                  </a:lnTo>
                  <a:lnTo>
                    <a:pt x="1516" y="0"/>
                  </a:lnTo>
                  <a:close/>
                </a:path>
              </a:pathLst>
            </a:custGeom>
            <a:solidFill>
              <a:srgbClr val="FE5817"/>
            </a:solidFill>
            <a:ln>
              <a:noFill/>
            </a:ln>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6" name="Oval 6"/>
            <p:cNvSpPr>
              <a:spLocks noChangeArrowheads="1"/>
            </p:cNvSpPr>
            <p:nvPr/>
          </p:nvSpPr>
          <p:spPr bwMode="auto">
            <a:xfrm>
              <a:off x="9683156" y="2245342"/>
              <a:ext cx="1880262" cy="610552"/>
            </a:xfrm>
            <a:prstGeom prst="ellipse">
              <a:avLst/>
            </a:prstGeom>
            <a:gradFill>
              <a:gsLst>
                <a:gs pos="0">
                  <a:schemeClr val="bg1"/>
                </a:gs>
                <a:gs pos="53000">
                  <a:schemeClr val="bg1">
                    <a:lumMod val="95000"/>
                  </a:schemeClr>
                </a:gs>
                <a:gs pos="100000">
                  <a:schemeClr val="bg1">
                    <a:lumMod val="85000"/>
                  </a:schemeClr>
                </a:gs>
              </a:gsLst>
              <a:lin ang="16800000" scaled="0"/>
            </a:gradFill>
            <a:ln>
              <a:noFill/>
            </a:ln>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7" name="Group 143"/>
          <p:cNvGrpSpPr/>
          <p:nvPr/>
        </p:nvGrpSpPr>
        <p:grpSpPr>
          <a:xfrm>
            <a:off x="3686700" y="3025825"/>
            <a:ext cx="1879827" cy="2278076"/>
            <a:chOff x="4666657" y="2245342"/>
            <a:chExt cx="1880262" cy="2278603"/>
          </a:xfrm>
          <a:effectLst>
            <a:outerShdw blurRad="50800" dist="38100" dir="2700000" algn="tl" rotWithShape="0">
              <a:prstClr val="black">
                <a:alpha val="40000"/>
              </a:prstClr>
            </a:outerShdw>
          </a:effectLst>
        </p:grpSpPr>
        <p:sp>
          <p:nvSpPr>
            <p:cNvPr id="8" name="Freeform 144"/>
            <p:cNvSpPr/>
            <p:nvPr/>
          </p:nvSpPr>
          <p:spPr bwMode="auto">
            <a:xfrm>
              <a:off x="4680883" y="2584406"/>
              <a:ext cx="1851810" cy="1939539"/>
            </a:xfrm>
            <a:custGeom>
              <a:avLst/>
              <a:gdLst>
                <a:gd name="T0" fmla="*/ 1516 w 1562"/>
                <a:gd name="T1" fmla="*/ 0 h 1636"/>
                <a:gd name="T2" fmla="*/ 1562 w 1562"/>
                <a:gd name="T3" fmla="*/ 11 h 1636"/>
                <a:gd name="T4" fmla="*/ 781 w 1562"/>
                <a:gd name="T5" fmla="*/ 1636 h 1636"/>
                <a:gd name="T6" fmla="*/ 0 w 1562"/>
                <a:gd name="T7" fmla="*/ 11 h 1636"/>
                <a:gd name="T8" fmla="*/ 57 w 1562"/>
                <a:gd name="T9" fmla="*/ 0 h 1636"/>
                <a:gd name="T10" fmla="*/ 1516 w 1562"/>
                <a:gd name="T11" fmla="*/ 0 h 1636"/>
              </a:gdLst>
              <a:ahLst/>
              <a:cxnLst>
                <a:cxn ang="0">
                  <a:pos x="T0" y="T1"/>
                </a:cxn>
                <a:cxn ang="0">
                  <a:pos x="T2" y="T3"/>
                </a:cxn>
                <a:cxn ang="0">
                  <a:pos x="T4" y="T5"/>
                </a:cxn>
                <a:cxn ang="0">
                  <a:pos x="T6" y="T7"/>
                </a:cxn>
                <a:cxn ang="0">
                  <a:pos x="T8" y="T9"/>
                </a:cxn>
                <a:cxn ang="0">
                  <a:pos x="T10" y="T11"/>
                </a:cxn>
              </a:cxnLst>
              <a:rect l="0" t="0" r="r" b="b"/>
              <a:pathLst>
                <a:path w="1562" h="1636">
                  <a:moveTo>
                    <a:pt x="1516" y="0"/>
                  </a:moveTo>
                  <a:lnTo>
                    <a:pt x="1562" y="11"/>
                  </a:lnTo>
                  <a:lnTo>
                    <a:pt x="781" y="1636"/>
                  </a:lnTo>
                  <a:lnTo>
                    <a:pt x="0" y="11"/>
                  </a:lnTo>
                  <a:lnTo>
                    <a:pt x="57" y="0"/>
                  </a:lnTo>
                  <a:lnTo>
                    <a:pt x="1516" y="0"/>
                  </a:lnTo>
                  <a:close/>
                </a:path>
              </a:pathLst>
            </a:custGeom>
            <a:solidFill>
              <a:srgbClr val="B32C16"/>
            </a:solidFill>
            <a:ln>
              <a:noFill/>
            </a:ln>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9" name="Oval 6"/>
            <p:cNvSpPr>
              <a:spLocks noChangeArrowheads="1"/>
            </p:cNvSpPr>
            <p:nvPr/>
          </p:nvSpPr>
          <p:spPr bwMode="auto">
            <a:xfrm>
              <a:off x="4666657" y="2245342"/>
              <a:ext cx="1880262" cy="610552"/>
            </a:xfrm>
            <a:prstGeom prst="ellipse">
              <a:avLst/>
            </a:prstGeom>
            <a:gradFill>
              <a:gsLst>
                <a:gs pos="0">
                  <a:schemeClr val="bg1"/>
                </a:gs>
                <a:gs pos="53000">
                  <a:schemeClr val="bg1">
                    <a:lumMod val="95000"/>
                  </a:schemeClr>
                </a:gs>
                <a:gs pos="100000">
                  <a:schemeClr val="bg1">
                    <a:lumMod val="85000"/>
                  </a:schemeClr>
                </a:gs>
              </a:gsLst>
              <a:lin ang="16800000" scaled="0"/>
            </a:gradFill>
            <a:ln>
              <a:noFill/>
            </a:ln>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grpSp>
        <p:nvGrpSpPr>
          <p:cNvPr id="10" name="Group 154"/>
          <p:cNvGrpSpPr/>
          <p:nvPr/>
        </p:nvGrpSpPr>
        <p:grpSpPr>
          <a:xfrm>
            <a:off x="656221" y="3466744"/>
            <a:ext cx="1879827" cy="2278076"/>
            <a:chOff x="7146332" y="2245342"/>
            <a:chExt cx="1880262" cy="2278603"/>
          </a:xfrm>
          <a:effectLst>
            <a:outerShdw blurRad="50800" dist="38100" dir="2700000" algn="tl" rotWithShape="0">
              <a:prstClr val="black">
                <a:alpha val="40000"/>
              </a:prstClr>
            </a:outerShdw>
          </a:effectLst>
        </p:grpSpPr>
        <p:sp>
          <p:nvSpPr>
            <p:cNvPr id="11" name="Freeform 155"/>
            <p:cNvSpPr/>
            <p:nvPr/>
          </p:nvSpPr>
          <p:spPr bwMode="auto">
            <a:xfrm>
              <a:off x="7160558" y="2584406"/>
              <a:ext cx="1851810" cy="1939539"/>
            </a:xfrm>
            <a:custGeom>
              <a:avLst/>
              <a:gdLst>
                <a:gd name="T0" fmla="*/ 1516 w 1562"/>
                <a:gd name="T1" fmla="*/ 0 h 1636"/>
                <a:gd name="T2" fmla="*/ 1562 w 1562"/>
                <a:gd name="T3" fmla="*/ 11 h 1636"/>
                <a:gd name="T4" fmla="*/ 781 w 1562"/>
                <a:gd name="T5" fmla="*/ 1636 h 1636"/>
                <a:gd name="T6" fmla="*/ 0 w 1562"/>
                <a:gd name="T7" fmla="*/ 11 h 1636"/>
                <a:gd name="T8" fmla="*/ 57 w 1562"/>
                <a:gd name="T9" fmla="*/ 0 h 1636"/>
                <a:gd name="T10" fmla="*/ 1516 w 1562"/>
                <a:gd name="T11" fmla="*/ 0 h 1636"/>
              </a:gdLst>
              <a:ahLst/>
              <a:cxnLst>
                <a:cxn ang="0">
                  <a:pos x="T0" y="T1"/>
                </a:cxn>
                <a:cxn ang="0">
                  <a:pos x="T2" y="T3"/>
                </a:cxn>
                <a:cxn ang="0">
                  <a:pos x="T4" y="T5"/>
                </a:cxn>
                <a:cxn ang="0">
                  <a:pos x="T6" y="T7"/>
                </a:cxn>
                <a:cxn ang="0">
                  <a:pos x="T8" y="T9"/>
                </a:cxn>
                <a:cxn ang="0">
                  <a:pos x="T10" y="T11"/>
                </a:cxn>
              </a:cxnLst>
              <a:rect l="0" t="0" r="r" b="b"/>
              <a:pathLst>
                <a:path w="1562" h="1636">
                  <a:moveTo>
                    <a:pt x="1516" y="0"/>
                  </a:moveTo>
                  <a:lnTo>
                    <a:pt x="1562" y="11"/>
                  </a:lnTo>
                  <a:lnTo>
                    <a:pt x="781" y="1636"/>
                  </a:lnTo>
                  <a:lnTo>
                    <a:pt x="0" y="11"/>
                  </a:lnTo>
                  <a:lnTo>
                    <a:pt x="57" y="0"/>
                  </a:lnTo>
                  <a:lnTo>
                    <a:pt x="1516" y="0"/>
                  </a:lnTo>
                  <a:close/>
                </a:path>
              </a:pathLst>
            </a:custGeom>
            <a:solidFill>
              <a:schemeClr val="accent1"/>
            </a:solidFill>
            <a:ln>
              <a:noFill/>
            </a:ln>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2" name="Oval 6"/>
            <p:cNvSpPr>
              <a:spLocks noChangeArrowheads="1"/>
            </p:cNvSpPr>
            <p:nvPr/>
          </p:nvSpPr>
          <p:spPr bwMode="auto">
            <a:xfrm>
              <a:off x="7146332" y="2245342"/>
              <a:ext cx="1880262" cy="610552"/>
            </a:xfrm>
            <a:prstGeom prst="ellipse">
              <a:avLst/>
            </a:prstGeom>
            <a:gradFill>
              <a:gsLst>
                <a:gs pos="0">
                  <a:schemeClr val="bg1"/>
                </a:gs>
                <a:gs pos="53000">
                  <a:schemeClr val="bg1">
                    <a:lumMod val="95000"/>
                  </a:schemeClr>
                </a:gs>
                <a:gs pos="100000">
                  <a:schemeClr val="bg1">
                    <a:lumMod val="85000"/>
                  </a:schemeClr>
                </a:gs>
              </a:gsLst>
              <a:lin ang="16800000" scaled="0"/>
            </a:gradFill>
            <a:ln>
              <a:noFill/>
            </a:ln>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sp>
        <p:nvSpPr>
          <p:cNvPr id="13" name="TextBox 14"/>
          <p:cNvSpPr txBox="1"/>
          <p:nvPr/>
        </p:nvSpPr>
        <p:spPr>
          <a:xfrm>
            <a:off x="1120686" y="2753645"/>
            <a:ext cx="1053494" cy="1200200"/>
          </a:xfrm>
          <a:prstGeom prst="rect">
            <a:avLst/>
          </a:prstGeom>
          <a:noFill/>
          <a:ln>
            <a:noFill/>
          </a:ln>
          <a:effectLst>
            <a:outerShdw blurRad="50800" dist="38100" dir="2700000" algn="tl" rotWithShape="0">
              <a:prstClr val="black">
                <a:alpha val="40000"/>
              </a:prstClr>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id-ID" sz="7200" b="1" i="0" u="none" strike="noStrike" kern="1200" cap="none" spc="0" normalizeH="0" baseline="0" noProof="0" dirty="0">
                <a:ln>
                  <a:noFill/>
                </a:ln>
                <a:solidFill>
                  <a:srgbClr val="FE8637"/>
                </a:solidFill>
                <a:effectLst/>
                <a:uLnTx/>
                <a:uFillTx/>
                <a:latin typeface="华文楷体" panose="02010600040101010101" charset="-122"/>
                <a:ea typeface="华文楷体" panose="02010600040101010101" charset="-122"/>
              </a:rPr>
              <a:t>01</a:t>
            </a:r>
            <a:endParaRPr kumimoji="0" lang="id-ID" sz="7200" b="1" i="0" u="none" strike="noStrike" kern="1200" cap="none" spc="0" normalizeH="0" baseline="0" noProof="0" dirty="0">
              <a:ln>
                <a:noFill/>
              </a:ln>
              <a:solidFill>
                <a:srgbClr val="FE8637"/>
              </a:solidFill>
              <a:effectLst/>
              <a:uLnTx/>
              <a:uFillTx/>
              <a:latin typeface="华文楷体" panose="02010600040101010101" charset="-122"/>
              <a:ea typeface="华文楷体" panose="02010600040101010101" charset="-122"/>
            </a:endParaRPr>
          </a:p>
        </p:txBody>
      </p:sp>
      <p:sp>
        <p:nvSpPr>
          <p:cNvPr id="14" name="TextBox 15"/>
          <p:cNvSpPr txBox="1"/>
          <p:nvPr/>
        </p:nvSpPr>
        <p:spPr>
          <a:xfrm>
            <a:off x="4068738" y="2313103"/>
            <a:ext cx="1053494" cy="1200200"/>
          </a:xfrm>
          <a:prstGeom prst="rect">
            <a:avLst/>
          </a:prstGeom>
          <a:noFill/>
          <a:effectLst>
            <a:outerShdw blurRad="50800" dist="38100" dir="2700000" algn="tl" rotWithShape="0">
              <a:prstClr val="black">
                <a:alpha val="40000"/>
              </a:prstClr>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id-ID" sz="7200" b="1" i="0" u="none" strike="noStrike" kern="1200" cap="none" spc="0" normalizeH="0" baseline="0" noProof="0" dirty="0">
                <a:ln>
                  <a:noFill/>
                </a:ln>
                <a:solidFill>
                  <a:srgbClr val="B32C16"/>
                </a:solidFill>
                <a:effectLst/>
                <a:uLnTx/>
                <a:uFillTx/>
                <a:latin typeface="华文楷体" panose="02010600040101010101" charset="-122"/>
                <a:ea typeface="华文楷体" panose="02010600040101010101" charset="-122"/>
              </a:rPr>
              <a:t>02</a:t>
            </a:r>
            <a:endParaRPr kumimoji="0" lang="id-ID" sz="7200" b="1" i="0" u="none" strike="noStrike" kern="1200" cap="none" spc="0" normalizeH="0" baseline="0" noProof="0" dirty="0">
              <a:ln>
                <a:noFill/>
              </a:ln>
              <a:solidFill>
                <a:srgbClr val="B32C16"/>
              </a:solidFill>
              <a:effectLst/>
              <a:uLnTx/>
              <a:uFillTx/>
              <a:latin typeface="华文楷体" panose="02010600040101010101" charset="-122"/>
              <a:ea typeface="华文楷体" panose="02010600040101010101" charset="-122"/>
            </a:endParaRPr>
          </a:p>
        </p:txBody>
      </p:sp>
      <p:sp>
        <p:nvSpPr>
          <p:cNvPr id="15" name="TextBox 16"/>
          <p:cNvSpPr txBox="1"/>
          <p:nvPr/>
        </p:nvSpPr>
        <p:spPr>
          <a:xfrm>
            <a:off x="7040039" y="1956488"/>
            <a:ext cx="1053494" cy="1200200"/>
          </a:xfrm>
          <a:prstGeom prst="rect">
            <a:avLst/>
          </a:prstGeom>
          <a:noFill/>
          <a:effectLst>
            <a:outerShdw blurRad="50800" dist="38100" dir="2700000" algn="tl" rotWithShape="0">
              <a:prstClr val="black">
                <a:alpha val="40000"/>
              </a:prstClr>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id-ID" sz="72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rPr>
              <a:t>03</a:t>
            </a:r>
            <a:endParaRPr kumimoji="0" lang="id-ID" sz="72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endParaRPr>
          </a:p>
        </p:txBody>
      </p:sp>
      <p:sp>
        <p:nvSpPr>
          <p:cNvPr id="16" name="Freeform 167"/>
          <p:cNvSpPr>
            <a:spLocks noEditPoints="1"/>
          </p:cNvSpPr>
          <p:nvPr/>
        </p:nvSpPr>
        <p:spPr bwMode="auto">
          <a:xfrm>
            <a:off x="7410145" y="3757726"/>
            <a:ext cx="327053" cy="230172"/>
          </a:xfrm>
          <a:custGeom>
            <a:avLst/>
            <a:gdLst>
              <a:gd name="T0" fmla="*/ 0 w 530"/>
              <a:gd name="T1" fmla="*/ 373 h 373"/>
              <a:gd name="T2" fmla="*/ 530 w 530"/>
              <a:gd name="T3" fmla="*/ 373 h 373"/>
              <a:gd name="T4" fmla="*/ 530 w 530"/>
              <a:gd name="T5" fmla="*/ 0 h 373"/>
              <a:gd name="T6" fmla="*/ 0 w 530"/>
              <a:gd name="T7" fmla="*/ 0 h 373"/>
              <a:gd name="T8" fmla="*/ 0 w 530"/>
              <a:gd name="T9" fmla="*/ 373 h 373"/>
              <a:gd name="T10" fmla="*/ 510 w 530"/>
              <a:gd name="T11" fmla="*/ 36 h 373"/>
              <a:gd name="T12" fmla="*/ 343 w 530"/>
              <a:gd name="T13" fmla="*/ 183 h 373"/>
              <a:gd name="T14" fmla="*/ 510 w 530"/>
              <a:gd name="T15" fmla="*/ 337 h 373"/>
              <a:gd name="T16" fmla="*/ 510 w 530"/>
              <a:gd name="T17" fmla="*/ 354 h 373"/>
              <a:gd name="T18" fmla="*/ 321 w 530"/>
              <a:gd name="T19" fmla="*/ 200 h 373"/>
              <a:gd name="T20" fmla="*/ 264 w 530"/>
              <a:gd name="T21" fmla="*/ 248 h 373"/>
              <a:gd name="T22" fmla="*/ 206 w 530"/>
              <a:gd name="T23" fmla="*/ 200 h 373"/>
              <a:gd name="T24" fmla="*/ 17 w 530"/>
              <a:gd name="T25" fmla="*/ 354 h 373"/>
              <a:gd name="T26" fmla="*/ 17 w 530"/>
              <a:gd name="T27" fmla="*/ 337 h 373"/>
              <a:gd name="T28" fmla="*/ 187 w 530"/>
              <a:gd name="T29" fmla="*/ 183 h 373"/>
              <a:gd name="T30" fmla="*/ 17 w 530"/>
              <a:gd name="T31" fmla="*/ 36 h 373"/>
              <a:gd name="T32" fmla="*/ 17 w 530"/>
              <a:gd name="T33" fmla="*/ 19 h 373"/>
              <a:gd name="T34" fmla="*/ 264 w 530"/>
              <a:gd name="T35" fmla="*/ 195 h 373"/>
              <a:gd name="T36" fmla="*/ 510 w 530"/>
              <a:gd name="T37" fmla="*/ 19 h 373"/>
              <a:gd name="T38" fmla="*/ 510 w 530"/>
              <a:gd name="T39" fmla="*/ 3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373">
                <a:moveTo>
                  <a:pt x="0" y="373"/>
                </a:moveTo>
                <a:lnTo>
                  <a:pt x="530" y="373"/>
                </a:lnTo>
                <a:lnTo>
                  <a:pt x="530" y="0"/>
                </a:lnTo>
                <a:lnTo>
                  <a:pt x="0" y="0"/>
                </a:lnTo>
                <a:lnTo>
                  <a:pt x="0" y="373"/>
                </a:lnTo>
                <a:close/>
                <a:moveTo>
                  <a:pt x="510" y="36"/>
                </a:moveTo>
                <a:lnTo>
                  <a:pt x="343" y="183"/>
                </a:lnTo>
                <a:lnTo>
                  <a:pt x="510" y="337"/>
                </a:lnTo>
                <a:lnTo>
                  <a:pt x="510" y="354"/>
                </a:lnTo>
                <a:lnTo>
                  <a:pt x="321" y="200"/>
                </a:lnTo>
                <a:lnTo>
                  <a:pt x="264" y="248"/>
                </a:lnTo>
                <a:lnTo>
                  <a:pt x="206" y="200"/>
                </a:lnTo>
                <a:lnTo>
                  <a:pt x="17" y="354"/>
                </a:lnTo>
                <a:lnTo>
                  <a:pt x="17" y="337"/>
                </a:lnTo>
                <a:lnTo>
                  <a:pt x="187" y="183"/>
                </a:lnTo>
                <a:lnTo>
                  <a:pt x="17" y="36"/>
                </a:lnTo>
                <a:lnTo>
                  <a:pt x="17" y="19"/>
                </a:lnTo>
                <a:lnTo>
                  <a:pt x="264" y="195"/>
                </a:lnTo>
                <a:lnTo>
                  <a:pt x="510" y="19"/>
                </a:lnTo>
                <a:lnTo>
                  <a:pt x="510" y="36"/>
                </a:lnTo>
                <a:close/>
              </a:path>
            </a:pathLst>
          </a:custGeom>
          <a:solidFill>
            <a:schemeClr val="bg1"/>
          </a:solidFill>
          <a:ln>
            <a:noFill/>
          </a:ln>
          <a:effectLst>
            <a:outerShdw blurRad="50800" dist="38100" dir="2700000" algn="tl" rotWithShape="0">
              <a:prstClr val="black">
                <a:alpha val="40000"/>
              </a:prstClr>
            </a:outerShdw>
          </a:effectLst>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17" name="Freeform 168"/>
          <p:cNvSpPr>
            <a:spLocks noEditPoints="1"/>
          </p:cNvSpPr>
          <p:nvPr/>
        </p:nvSpPr>
        <p:spPr bwMode="auto">
          <a:xfrm>
            <a:off x="4504414" y="4071348"/>
            <a:ext cx="310080" cy="309501"/>
          </a:xfrm>
          <a:custGeom>
            <a:avLst/>
            <a:gdLst>
              <a:gd name="T0" fmla="*/ 120 w 223"/>
              <a:gd name="T1" fmla="*/ 86 h 223"/>
              <a:gd name="T2" fmla="*/ 120 w 223"/>
              <a:gd name="T3" fmla="*/ 69 h 223"/>
              <a:gd name="T4" fmla="*/ 163 w 223"/>
              <a:gd name="T5" fmla="*/ 69 h 223"/>
              <a:gd name="T6" fmla="*/ 163 w 223"/>
              <a:gd name="T7" fmla="*/ 0 h 223"/>
              <a:gd name="T8" fmla="*/ 60 w 223"/>
              <a:gd name="T9" fmla="*/ 0 h 223"/>
              <a:gd name="T10" fmla="*/ 60 w 223"/>
              <a:gd name="T11" fmla="*/ 69 h 223"/>
              <a:gd name="T12" fmla="*/ 103 w 223"/>
              <a:gd name="T13" fmla="*/ 69 h 223"/>
              <a:gd name="T14" fmla="*/ 103 w 223"/>
              <a:gd name="T15" fmla="*/ 86 h 223"/>
              <a:gd name="T16" fmla="*/ 43 w 223"/>
              <a:gd name="T17" fmla="*/ 86 h 223"/>
              <a:gd name="T18" fmla="*/ 43 w 223"/>
              <a:gd name="T19" fmla="*/ 78 h 223"/>
              <a:gd name="T20" fmla="*/ 18 w 223"/>
              <a:gd name="T21" fmla="*/ 78 h 223"/>
              <a:gd name="T22" fmla="*/ 18 w 223"/>
              <a:gd name="T23" fmla="*/ 86 h 223"/>
              <a:gd name="T24" fmla="*/ 0 w 223"/>
              <a:gd name="T25" fmla="*/ 86 h 223"/>
              <a:gd name="T26" fmla="*/ 0 w 223"/>
              <a:gd name="T27" fmla="*/ 223 h 223"/>
              <a:gd name="T28" fmla="*/ 223 w 223"/>
              <a:gd name="T29" fmla="*/ 223 h 223"/>
              <a:gd name="T30" fmla="*/ 223 w 223"/>
              <a:gd name="T31" fmla="*/ 86 h 223"/>
              <a:gd name="T32" fmla="*/ 120 w 223"/>
              <a:gd name="T33" fmla="*/ 86 h 223"/>
              <a:gd name="T34" fmla="*/ 69 w 223"/>
              <a:gd name="T35" fmla="*/ 9 h 223"/>
              <a:gd name="T36" fmla="*/ 155 w 223"/>
              <a:gd name="T37" fmla="*/ 9 h 223"/>
              <a:gd name="T38" fmla="*/ 155 w 223"/>
              <a:gd name="T39" fmla="*/ 60 h 223"/>
              <a:gd name="T40" fmla="*/ 69 w 223"/>
              <a:gd name="T41" fmla="*/ 60 h 223"/>
              <a:gd name="T42" fmla="*/ 69 w 223"/>
              <a:gd name="T43" fmla="*/ 9 h 223"/>
              <a:gd name="T44" fmla="*/ 112 w 223"/>
              <a:gd name="T45" fmla="*/ 198 h 223"/>
              <a:gd name="T46" fmla="*/ 69 w 223"/>
              <a:gd name="T47" fmla="*/ 155 h 223"/>
              <a:gd name="T48" fmla="*/ 112 w 223"/>
              <a:gd name="T49" fmla="*/ 112 h 223"/>
              <a:gd name="T50" fmla="*/ 155 w 223"/>
              <a:gd name="T51" fmla="*/ 155 h 223"/>
              <a:gd name="T52" fmla="*/ 112 w 223"/>
              <a:gd name="T53" fmla="*/ 198 h 223"/>
              <a:gd name="T54" fmla="*/ 206 w 223"/>
              <a:gd name="T55" fmla="*/ 112 h 223"/>
              <a:gd name="T56" fmla="*/ 180 w 223"/>
              <a:gd name="T57" fmla="*/ 112 h 223"/>
              <a:gd name="T58" fmla="*/ 180 w 223"/>
              <a:gd name="T59" fmla="*/ 103 h 223"/>
              <a:gd name="T60" fmla="*/ 206 w 223"/>
              <a:gd name="T61" fmla="*/ 103 h 223"/>
              <a:gd name="T62" fmla="*/ 206 w 223"/>
              <a:gd name="T63"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3" h="223">
                <a:moveTo>
                  <a:pt x="120" y="86"/>
                </a:moveTo>
                <a:cubicBezTo>
                  <a:pt x="120" y="69"/>
                  <a:pt x="120" y="69"/>
                  <a:pt x="120" y="69"/>
                </a:cubicBezTo>
                <a:cubicBezTo>
                  <a:pt x="163" y="69"/>
                  <a:pt x="163" y="69"/>
                  <a:pt x="163" y="69"/>
                </a:cubicBezTo>
                <a:cubicBezTo>
                  <a:pt x="163" y="0"/>
                  <a:pt x="163" y="0"/>
                  <a:pt x="163" y="0"/>
                </a:cubicBezTo>
                <a:cubicBezTo>
                  <a:pt x="60" y="0"/>
                  <a:pt x="60" y="0"/>
                  <a:pt x="60" y="0"/>
                </a:cubicBezTo>
                <a:cubicBezTo>
                  <a:pt x="60" y="69"/>
                  <a:pt x="60" y="69"/>
                  <a:pt x="60" y="69"/>
                </a:cubicBezTo>
                <a:cubicBezTo>
                  <a:pt x="103" y="69"/>
                  <a:pt x="103" y="69"/>
                  <a:pt x="103" y="69"/>
                </a:cubicBezTo>
                <a:cubicBezTo>
                  <a:pt x="103" y="86"/>
                  <a:pt x="103" y="86"/>
                  <a:pt x="103" y="86"/>
                </a:cubicBezTo>
                <a:cubicBezTo>
                  <a:pt x="43" y="86"/>
                  <a:pt x="43" y="86"/>
                  <a:pt x="43" y="86"/>
                </a:cubicBezTo>
                <a:cubicBezTo>
                  <a:pt x="43" y="78"/>
                  <a:pt x="43" y="78"/>
                  <a:pt x="43" y="78"/>
                </a:cubicBezTo>
                <a:cubicBezTo>
                  <a:pt x="18" y="78"/>
                  <a:pt x="18" y="78"/>
                  <a:pt x="18" y="78"/>
                </a:cubicBezTo>
                <a:cubicBezTo>
                  <a:pt x="18" y="86"/>
                  <a:pt x="18" y="86"/>
                  <a:pt x="18" y="86"/>
                </a:cubicBezTo>
                <a:cubicBezTo>
                  <a:pt x="0" y="86"/>
                  <a:pt x="0" y="86"/>
                  <a:pt x="0" y="86"/>
                </a:cubicBezTo>
                <a:cubicBezTo>
                  <a:pt x="0" y="223"/>
                  <a:pt x="0" y="223"/>
                  <a:pt x="0" y="223"/>
                </a:cubicBezTo>
                <a:cubicBezTo>
                  <a:pt x="223" y="223"/>
                  <a:pt x="223" y="223"/>
                  <a:pt x="223" y="223"/>
                </a:cubicBezTo>
                <a:cubicBezTo>
                  <a:pt x="223" y="86"/>
                  <a:pt x="223" y="86"/>
                  <a:pt x="223" y="86"/>
                </a:cubicBezTo>
                <a:cubicBezTo>
                  <a:pt x="120" y="86"/>
                  <a:pt x="120" y="86"/>
                  <a:pt x="120" y="86"/>
                </a:cubicBezTo>
                <a:moveTo>
                  <a:pt x="69" y="9"/>
                </a:moveTo>
                <a:cubicBezTo>
                  <a:pt x="155" y="9"/>
                  <a:pt x="155" y="9"/>
                  <a:pt x="155" y="9"/>
                </a:cubicBezTo>
                <a:cubicBezTo>
                  <a:pt x="155" y="60"/>
                  <a:pt x="155" y="60"/>
                  <a:pt x="155" y="60"/>
                </a:cubicBezTo>
                <a:cubicBezTo>
                  <a:pt x="69" y="60"/>
                  <a:pt x="69" y="60"/>
                  <a:pt x="69" y="60"/>
                </a:cubicBezTo>
                <a:lnTo>
                  <a:pt x="69" y="9"/>
                </a:lnTo>
                <a:close/>
                <a:moveTo>
                  <a:pt x="112" y="198"/>
                </a:moveTo>
                <a:cubicBezTo>
                  <a:pt x="88" y="198"/>
                  <a:pt x="69" y="178"/>
                  <a:pt x="69" y="155"/>
                </a:cubicBezTo>
                <a:cubicBezTo>
                  <a:pt x="69" y="131"/>
                  <a:pt x="88" y="112"/>
                  <a:pt x="112" y="112"/>
                </a:cubicBezTo>
                <a:cubicBezTo>
                  <a:pt x="136" y="112"/>
                  <a:pt x="155" y="131"/>
                  <a:pt x="155" y="155"/>
                </a:cubicBezTo>
                <a:cubicBezTo>
                  <a:pt x="155" y="178"/>
                  <a:pt x="136" y="198"/>
                  <a:pt x="112" y="198"/>
                </a:cubicBezTo>
                <a:moveTo>
                  <a:pt x="206" y="112"/>
                </a:moveTo>
                <a:cubicBezTo>
                  <a:pt x="180" y="112"/>
                  <a:pt x="180" y="112"/>
                  <a:pt x="180" y="112"/>
                </a:cubicBezTo>
                <a:cubicBezTo>
                  <a:pt x="180" y="103"/>
                  <a:pt x="180" y="103"/>
                  <a:pt x="180" y="103"/>
                </a:cubicBezTo>
                <a:cubicBezTo>
                  <a:pt x="206" y="103"/>
                  <a:pt x="206" y="103"/>
                  <a:pt x="206" y="103"/>
                </a:cubicBezTo>
                <a:lnTo>
                  <a:pt x="206" y="112"/>
                </a:lnTo>
                <a:close/>
              </a:path>
            </a:pathLst>
          </a:custGeom>
          <a:solidFill>
            <a:schemeClr val="bg1"/>
          </a:solidFill>
          <a:ln>
            <a:noFill/>
          </a:ln>
          <a:effectLst>
            <a:outerShdw blurRad="50800" dist="38100" dir="2700000" algn="tl" rotWithShape="0">
              <a:prstClr val="black">
                <a:alpha val="40000"/>
              </a:prstClr>
            </a:outerShdw>
          </a:effectLst>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nvGrpSpPr>
          <p:cNvPr id="18" name="Group 169"/>
          <p:cNvGrpSpPr/>
          <p:nvPr/>
        </p:nvGrpSpPr>
        <p:grpSpPr>
          <a:xfrm flipH="1">
            <a:off x="1376151" y="4512128"/>
            <a:ext cx="393274" cy="398859"/>
            <a:chOff x="1909763" y="950913"/>
            <a:chExt cx="782637" cy="793750"/>
          </a:xfrm>
          <a:solidFill>
            <a:schemeClr val="bg1"/>
          </a:solidFill>
          <a:effectLst/>
        </p:grpSpPr>
        <p:sp>
          <p:nvSpPr>
            <p:cNvPr id="19" name="Freeform 59"/>
            <p:cNvSpPr>
              <a:spLocks noEditPoints="1"/>
            </p:cNvSpPr>
            <p:nvPr/>
          </p:nvSpPr>
          <p:spPr bwMode="auto">
            <a:xfrm>
              <a:off x="1909763" y="1204913"/>
              <a:ext cx="539750" cy="539750"/>
            </a:xfrm>
            <a:custGeom>
              <a:avLst/>
              <a:gdLst>
                <a:gd name="T0" fmla="*/ 0 w 340"/>
                <a:gd name="T1" fmla="*/ 340 h 340"/>
                <a:gd name="T2" fmla="*/ 340 w 340"/>
                <a:gd name="T3" fmla="*/ 340 h 340"/>
                <a:gd name="T4" fmla="*/ 340 w 340"/>
                <a:gd name="T5" fmla="*/ 0 h 340"/>
                <a:gd name="T6" fmla="*/ 0 w 340"/>
                <a:gd name="T7" fmla="*/ 0 h 340"/>
                <a:gd name="T8" fmla="*/ 0 w 340"/>
                <a:gd name="T9" fmla="*/ 340 h 340"/>
                <a:gd name="T10" fmla="*/ 304 w 340"/>
                <a:gd name="T11" fmla="*/ 251 h 340"/>
                <a:gd name="T12" fmla="*/ 35 w 340"/>
                <a:gd name="T13" fmla="*/ 251 h 340"/>
                <a:gd name="T14" fmla="*/ 35 w 340"/>
                <a:gd name="T15" fmla="*/ 36 h 340"/>
                <a:gd name="T16" fmla="*/ 304 w 340"/>
                <a:gd name="T17" fmla="*/ 36 h 340"/>
                <a:gd name="T18" fmla="*/ 304 w 340"/>
                <a:gd name="T19" fmla="*/ 25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40">
                  <a:moveTo>
                    <a:pt x="0" y="340"/>
                  </a:moveTo>
                  <a:lnTo>
                    <a:pt x="340" y="340"/>
                  </a:lnTo>
                  <a:lnTo>
                    <a:pt x="340" y="0"/>
                  </a:lnTo>
                  <a:lnTo>
                    <a:pt x="0" y="0"/>
                  </a:lnTo>
                  <a:lnTo>
                    <a:pt x="0" y="340"/>
                  </a:lnTo>
                  <a:close/>
                  <a:moveTo>
                    <a:pt x="304" y="251"/>
                  </a:moveTo>
                  <a:lnTo>
                    <a:pt x="35" y="251"/>
                  </a:lnTo>
                  <a:lnTo>
                    <a:pt x="35" y="36"/>
                  </a:lnTo>
                  <a:lnTo>
                    <a:pt x="304" y="36"/>
                  </a:lnTo>
                  <a:lnTo>
                    <a:pt x="304" y="2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20" name="Freeform 60"/>
            <p:cNvSpPr/>
            <p:nvPr/>
          </p:nvSpPr>
          <p:spPr bwMode="auto">
            <a:xfrm>
              <a:off x="2060575" y="950913"/>
              <a:ext cx="631825" cy="569913"/>
            </a:xfrm>
            <a:custGeom>
              <a:avLst/>
              <a:gdLst>
                <a:gd name="T0" fmla="*/ 334 w 398"/>
                <a:gd name="T1" fmla="*/ 0 h 359"/>
                <a:gd name="T2" fmla="*/ 0 w 398"/>
                <a:gd name="T3" fmla="*/ 64 h 359"/>
                <a:gd name="T4" fmla="*/ 15 w 398"/>
                <a:gd name="T5" fmla="*/ 143 h 359"/>
                <a:gd name="T6" fmla="*/ 51 w 398"/>
                <a:gd name="T7" fmla="*/ 143 h 359"/>
                <a:gd name="T8" fmla="*/ 41 w 398"/>
                <a:gd name="T9" fmla="*/ 93 h 359"/>
                <a:gd name="T10" fmla="*/ 305 w 398"/>
                <a:gd name="T11" fmla="*/ 40 h 359"/>
                <a:gd name="T12" fmla="*/ 346 w 398"/>
                <a:gd name="T13" fmla="*/ 251 h 359"/>
                <a:gd name="T14" fmla="*/ 262 w 398"/>
                <a:gd name="T15" fmla="*/ 268 h 359"/>
                <a:gd name="T16" fmla="*/ 262 w 398"/>
                <a:gd name="T17" fmla="*/ 359 h 359"/>
                <a:gd name="T18" fmla="*/ 398 w 398"/>
                <a:gd name="T19" fmla="*/ 332 h 359"/>
                <a:gd name="T20" fmla="*/ 334 w 398"/>
                <a:gd name="T21"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8" h="359">
                  <a:moveTo>
                    <a:pt x="334" y="0"/>
                  </a:moveTo>
                  <a:lnTo>
                    <a:pt x="0" y="64"/>
                  </a:lnTo>
                  <a:lnTo>
                    <a:pt x="15" y="143"/>
                  </a:lnTo>
                  <a:lnTo>
                    <a:pt x="51" y="143"/>
                  </a:lnTo>
                  <a:lnTo>
                    <a:pt x="41" y="93"/>
                  </a:lnTo>
                  <a:lnTo>
                    <a:pt x="305" y="40"/>
                  </a:lnTo>
                  <a:lnTo>
                    <a:pt x="346" y="251"/>
                  </a:lnTo>
                  <a:lnTo>
                    <a:pt x="262" y="268"/>
                  </a:lnTo>
                  <a:lnTo>
                    <a:pt x="262" y="359"/>
                  </a:lnTo>
                  <a:lnTo>
                    <a:pt x="398" y="332"/>
                  </a:lnTo>
                  <a:lnTo>
                    <a:pt x="33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sp>
        <p:nvSpPr>
          <p:cNvPr id="21" name="Freeform 14"/>
          <p:cNvSpPr>
            <a:spLocks noEditPoints="1"/>
          </p:cNvSpPr>
          <p:nvPr/>
        </p:nvSpPr>
        <p:spPr bwMode="auto">
          <a:xfrm>
            <a:off x="1376151" y="2432228"/>
            <a:ext cx="387917" cy="389179"/>
          </a:xfrm>
          <a:custGeom>
            <a:avLst/>
            <a:gdLst>
              <a:gd name="T0" fmla="*/ 128 w 257"/>
              <a:gd name="T1" fmla="*/ 0 h 258"/>
              <a:gd name="T2" fmla="*/ 0 w 257"/>
              <a:gd name="T3" fmla="*/ 129 h 258"/>
              <a:gd name="T4" fmla="*/ 128 w 257"/>
              <a:gd name="T5" fmla="*/ 258 h 258"/>
              <a:gd name="T6" fmla="*/ 257 w 257"/>
              <a:gd name="T7" fmla="*/ 129 h 258"/>
              <a:gd name="T8" fmla="*/ 128 w 257"/>
              <a:gd name="T9" fmla="*/ 0 h 258"/>
              <a:gd name="T10" fmla="*/ 183 w 257"/>
              <a:gd name="T11" fmla="*/ 132 h 258"/>
              <a:gd name="T12" fmla="*/ 167 w 257"/>
              <a:gd name="T13" fmla="*/ 147 h 258"/>
              <a:gd name="T14" fmla="*/ 109 w 257"/>
              <a:gd name="T15" fmla="*/ 205 h 258"/>
              <a:gd name="T16" fmla="*/ 104 w 257"/>
              <a:gd name="T17" fmla="*/ 205 h 258"/>
              <a:gd name="T18" fmla="*/ 88 w 257"/>
              <a:gd name="T19" fmla="*/ 190 h 258"/>
              <a:gd name="T20" fmla="*/ 88 w 257"/>
              <a:gd name="T21" fmla="*/ 184 h 258"/>
              <a:gd name="T22" fmla="*/ 143 w 257"/>
              <a:gd name="T23" fmla="*/ 129 h 258"/>
              <a:gd name="T24" fmla="*/ 88 w 257"/>
              <a:gd name="T25" fmla="*/ 73 h 258"/>
              <a:gd name="T26" fmla="*/ 88 w 257"/>
              <a:gd name="T27" fmla="*/ 68 h 258"/>
              <a:gd name="T28" fmla="*/ 104 w 257"/>
              <a:gd name="T29" fmla="*/ 52 h 258"/>
              <a:gd name="T30" fmla="*/ 109 w 257"/>
              <a:gd name="T31" fmla="*/ 52 h 258"/>
              <a:gd name="T32" fmla="*/ 167 w 257"/>
              <a:gd name="T33" fmla="*/ 110 h 258"/>
              <a:gd name="T34" fmla="*/ 183 w 257"/>
              <a:gd name="T35" fmla="*/ 126 h 258"/>
              <a:gd name="T36" fmla="*/ 183 w 257"/>
              <a:gd name="T37" fmla="*/ 1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7" h="258">
                <a:moveTo>
                  <a:pt x="128" y="0"/>
                </a:moveTo>
                <a:cubicBezTo>
                  <a:pt x="57" y="0"/>
                  <a:pt x="0" y="58"/>
                  <a:pt x="0" y="129"/>
                </a:cubicBezTo>
                <a:cubicBezTo>
                  <a:pt x="0" y="200"/>
                  <a:pt x="57" y="258"/>
                  <a:pt x="128" y="258"/>
                </a:cubicBezTo>
                <a:cubicBezTo>
                  <a:pt x="200" y="258"/>
                  <a:pt x="257" y="200"/>
                  <a:pt x="257" y="129"/>
                </a:cubicBezTo>
                <a:cubicBezTo>
                  <a:pt x="257" y="58"/>
                  <a:pt x="200" y="0"/>
                  <a:pt x="128" y="0"/>
                </a:cubicBezTo>
                <a:close/>
                <a:moveTo>
                  <a:pt x="183" y="132"/>
                </a:moveTo>
                <a:cubicBezTo>
                  <a:pt x="167" y="147"/>
                  <a:pt x="167" y="147"/>
                  <a:pt x="167" y="147"/>
                </a:cubicBezTo>
                <a:cubicBezTo>
                  <a:pt x="109" y="205"/>
                  <a:pt x="109" y="205"/>
                  <a:pt x="109" y="205"/>
                </a:cubicBezTo>
                <a:cubicBezTo>
                  <a:pt x="108" y="207"/>
                  <a:pt x="105" y="207"/>
                  <a:pt x="104" y="205"/>
                </a:cubicBezTo>
                <a:cubicBezTo>
                  <a:pt x="88" y="190"/>
                  <a:pt x="88" y="190"/>
                  <a:pt x="88" y="190"/>
                </a:cubicBezTo>
                <a:cubicBezTo>
                  <a:pt x="86" y="188"/>
                  <a:pt x="86" y="185"/>
                  <a:pt x="88" y="184"/>
                </a:cubicBezTo>
                <a:cubicBezTo>
                  <a:pt x="143" y="129"/>
                  <a:pt x="143" y="129"/>
                  <a:pt x="143" y="129"/>
                </a:cubicBezTo>
                <a:cubicBezTo>
                  <a:pt x="88" y="73"/>
                  <a:pt x="88" y="73"/>
                  <a:pt x="88" y="73"/>
                </a:cubicBezTo>
                <a:cubicBezTo>
                  <a:pt x="86" y="72"/>
                  <a:pt x="86" y="69"/>
                  <a:pt x="88" y="68"/>
                </a:cubicBezTo>
                <a:cubicBezTo>
                  <a:pt x="104" y="52"/>
                  <a:pt x="104" y="52"/>
                  <a:pt x="104" y="52"/>
                </a:cubicBezTo>
                <a:cubicBezTo>
                  <a:pt x="105" y="50"/>
                  <a:pt x="108" y="50"/>
                  <a:pt x="109" y="52"/>
                </a:cubicBezTo>
                <a:cubicBezTo>
                  <a:pt x="167" y="110"/>
                  <a:pt x="167" y="110"/>
                  <a:pt x="167" y="110"/>
                </a:cubicBezTo>
                <a:cubicBezTo>
                  <a:pt x="183" y="126"/>
                  <a:pt x="183" y="126"/>
                  <a:pt x="183" y="126"/>
                </a:cubicBezTo>
                <a:cubicBezTo>
                  <a:pt x="185" y="127"/>
                  <a:pt x="185" y="130"/>
                  <a:pt x="183" y="132"/>
                </a:cubicBezTo>
                <a:close/>
              </a:path>
            </a:pathLst>
          </a:custGeom>
          <a:solidFill>
            <a:srgbClr val="FE8637"/>
          </a:solidFill>
          <a:ln>
            <a:noFill/>
          </a:ln>
          <a:effectLst>
            <a:outerShdw blurRad="50800" dist="38100" dir="2700000" algn="tl" rotWithShape="0">
              <a:prstClr val="black">
                <a:alpha val="40000"/>
              </a:prstClr>
            </a:outerShdw>
          </a:effectLst>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22" name="Freeform 14"/>
          <p:cNvSpPr>
            <a:spLocks noEditPoints="1"/>
          </p:cNvSpPr>
          <p:nvPr/>
        </p:nvSpPr>
        <p:spPr bwMode="auto">
          <a:xfrm>
            <a:off x="4274172" y="2058408"/>
            <a:ext cx="387917" cy="389179"/>
          </a:xfrm>
          <a:custGeom>
            <a:avLst/>
            <a:gdLst>
              <a:gd name="T0" fmla="*/ 128 w 257"/>
              <a:gd name="T1" fmla="*/ 0 h 258"/>
              <a:gd name="T2" fmla="*/ 0 w 257"/>
              <a:gd name="T3" fmla="*/ 129 h 258"/>
              <a:gd name="T4" fmla="*/ 128 w 257"/>
              <a:gd name="T5" fmla="*/ 258 h 258"/>
              <a:gd name="T6" fmla="*/ 257 w 257"/>
              <a:gd name="T7" fmla="*/ 129 h 258"/>
              <a:gd name="T8" fmla="*/ 128 w 257"/>
              <a:gd name="T9" fmla="*/ 0 h 258"/>
              <a:gd name="T10" fmla="*/ 183 w 257"/>
              <a:gd name="T11" fmla="*/ 132 h 258"/>
              <a:gd name="T12" fmla="*/ 167 w 257"/>
              <a:gd name="T13" fmla="*/ 147 h 258"/>
              <a:gd name="T14" fmla="*/ 109 w 257"/>
              <a:gd name="T15" fmla="*/ 205 h 258"/>
              <a:gd name="T16" fmla="*/ 104 w 257"/>
              <a:gd name="T17" fmla="*/ 205 h 258"/>
              <a:gd name="T18" fmla="*/ 88 w 257"/>
              <a:gd name="T19" fmla="*/ 190 h 258"/>
              <a:gd name="T20" fmla="*/ 88 w 257"/>
              <a:gd name="T21" fmla="*/ 184 h 258"/>
              <a:gd name="T22" fmla="*/ 143 w 257"/>
              <a:gd name="T23" fmla="*/ 129 h 258"/>
              <a:gd name="T24" fmla="*/ 88 w 257"/>
              <a:gd name="T25" fmla="*/ 73 h 258"/>
              <a:gd name="T26" fmla="*/ 88 w 257"/>
              <a:gd name="T27" fmla="*/ 68 h 258"/>
              <a:gd name="T28" fmla="*/ 104 w 257"/>
              <a:gd name="T29" fmla="*/ 52 h 258"/>
              <a:gd name="T30" fmla="*/ 109 w 257"/>
              <a:gd name="T31" fmla="*/ 52 h 258"/>
              <a:gd name="T32" fmla="*/ 167 w 257"/>
              <a:gd name="T33" fmla="*/ 110 h 258"/>
              <a:gd name="T34" fmla="*/ 183 w 257"/>
              <a:gd name="T35" fmla="*/ 126 h 258"/>
              <a:gd name="T36" fmla="*/ 183 w 257"/>
              <a:gd name="T37" fmla="*/ 1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7" h="258">
                <a:moveTo>
                  <a:pt x="128" y="0"/>
                </a:moveTo>
                <a:cubicBezTo>
                  <a:pt x="57" y="0"/>
                  <a:pt x="0" y="58"/>
                  <a:pt x="0" y="129"/>
                </a:cubicBezTo>
                <a:cubicBezTo>
                  <a:pt x="0" y="200"/>
                  <a:pt x="57" y="258"/>
                  <a:pt x="128" y="258"/>
                </a:cubicBezTo>
                <a:cubicBezTo>
                  <a:pt x="200" y="258"/>
                  <a:pt x="257" y="200"/>
                  <a:pt x="257" y="129"/>
                </a:cubicBezTo>
                <a:cubicBezTo>
                  <a:pt x="257" y="58"/>
                  <a:pt x="200" y="0"/>
                  <a:pt x="128" y="0"/>
                </a:cubicBezTo>
                <a:close/>
                <a:moveTo>
                  <a:pt x="183" y="132"/>
                </a:moveTo>
                <a:cubicBezTo>
                  <a:pt x="167" y="147"/>
                  <a:pt x="167" y="147"/>
                  <a:pt x="167" y="147"/>
                </a:cubicBezTo>
                <a:cubicBezTo>
                  <a:pt x="109" y="205"/>
                  <a:pt x="109" y="205"/>
                  <a:pt x="109" y="205"/>
                </a:cubicBezTo>
                <a:cubicBezTo>
                  <a:pt x="108" y="207"/>
                  <a:pt x="105" y="207"/>
                  <a:pt x="104" y="205"/>
                </a:cubicBezTo>
                <a:cubicBezTo>
                  <a:pt x="88" y="190"/>
                  <a:pt x="88" y="190"/>
                  <a:pt x="88" y="190"/>
                </a:cubicBezTo>
                <a:cubicBezTo>
                  <a:pt x="86" y="188"/>
                  <a:pt x="86" y="185"/>
                  <a:pt x="88" y="184"/>
                </a:cubicBezTo>
                <a:cubicBezTo>
                  <a:pt x="143" y="129"/>
                  <a:pt x="143" y="129"/>
                  <a:pt x="143" y="129"/>
                </a:cubicBezTo>
                <a:cubicBezTo>
                  <a:pt x="88" y="73"/>
                  <a:pt x="88" y="73"/>
                  <a:pt x="88" y="73"/>
                </a:cubicBezTo>
                <a:cubicBezTo>
                  <a:pt x="86" y="72"/>
                  <a:pt x="86" y="69"/>
                  <a:pt x="88" y="68"/>
                </a:cubicBezTo>
                <a:cubicBezTo>
                  <a:pt x="104" y="52"/>
                  <a:pt x="104" y="52"/>
                  <a:pt x="104" y="52"/>
                </a:cubicBezTo>
                <a:cubicBezTo>
                  <a:pt x="105" y="50"/>
                  <a:pt x="108" y="50"/>
                  <a:pt x="109" y="52"/>
                </a:cubicBezTo>
                <a:cubicBezTo>
                  <a:pt x="167" y="110"/>
                  <a:pt x="167" y="110"/>
                  <a:pt x="167" y="110"/>
                </a:cubicBezTo>
                <a:cubicBezTo>
                  <a:pt x="183" y="126"/>
                  <a:pt x="183" y="126"/>
                  <a:pt x="183" y="126"/>
                </a:cubicBezTo>
                <a:cubicBezTo>
                  <a:pt x="185" y="127"/>
                  <a:pt x="185" y="130"/>
                  <a:pt x="183" y="132"/>
                </a:cubicBezTo>
                <a:close/>
              </a:path>
            </a:pathLst>
          </a:custGeom>
          <a:solidFill>
            <a:schemeClr val="accent2"/>
          </a:solidFill>
          <a:ln>
            <a:noFill/>
          </a:ln>
          <a:effectLst>
            <a:outerShdw blurRad="50800" dist="38100" dir="2700000" algn="tl" rotWithShape="0">
              <a:prstClr val="black">
                <a:alpha val="40000"/>
              </a:prstClr>
            </a:outerShdw>
          </a:effectLst>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sp>
        <p:nvSpPr>
          <p:cNvPr id="23" name="Freeform 14"/>
          <p:cNvSpPr>
            <a:spLocks noEditPoints="1"/>
          </p:cNvSpPr>
          <p:nvPr/>
        </p:nvSpPr>
        <p:spPr bwMode="auto">
          <a:xfrm>
            <a:off x="7220353" y="1671172"/>
            <a:ext cx="387917" cy="389179"/>
          </a:xfrm>
          <a:custGeom>
            <a:avLst/>
            <a:gdLst>
              <a:gd name="T0" fmla="*/ 128 w 257"/>
              <a:gd name="T1" fmla="*/ 0 h 258"/>
              <a:gd name="T2" fmla="*/ 0 w 257"/>
              <a:gd name="T3" fmla="*/ 129 h 258"/>
              <a:gd name="T4" fmla="*/ 128 w 257"/>
              <a:gd name="T5" fmla="*/ 258 h 258"/>
              <a:gd name="T6" fmla="*/ 257 w 257"/>
              <a:gd name="T7" fmla="*/ 129 h 258"/>
              <a:gd name="T8" fmla="*/ 128 w 257"/>
              <a:gd name="T9" fmla="*/ 0 h 258"/>
              <a:gd name="T10" fmla="*/ 183 w 257"/>
              <a:gd name="T11" fmla="*/ 132 h 258"/>
              <a:gd name="T12" fmla="*/ 167 w 257"/>
              <a:gd name="T13" fmla="*/ 147 h 258"/>
              <a:gd name="T14" fmla="*/ 109 w 257"/>
              <a:gd name="T15" fmla="*/ 205 h 258"/>
              <a:gd name="T16" fmla="*/ 104 w 257"/>
              <a:gd name="T17" fmla="*/ 205 h 258"/>
              <a:gd name="T18" fmla="*/ 88 w 257"/>
              <a:gd name="T19" fmla="*/ 190 h 258"/>
              <a:gd name="T20" fmla="*/ 88 w 257"/>
              <a:gd name="T21" fmla="*/ 184 h 258"/>
              <a:gd name="T22" fmla="*/ 143 w 257"/>
              <a:gd name="T23" fmla="*/ 129 h 258"/>
              <a:gd name="T24" fmla="*/ 88 w 257"/>
              <a:gd name="T25" fmla="*/ 73 h 258"/>
              <a:gd name="T26" fmla="*/ 88 w 257"/>
              <a:gd name="T27" fmla="*/ 68 h 258"/>
              <a:gd name="T28" fmla="*/ 104 w 257"/>
              <a:gd name="T29" fmla="*/ 52 h 258"/>
              <a:gd name="T30" fmla="*/ 109 w 257"/>
              <a:gd name="T31" fmla="*/ 52 h 258"/>
              <a:gd name="T32" fmla="*/ 167 w 257"/>
              <a:gd name="T33" fmla="*/ 110 h 258"/>
              <a:gd name="T34" fmla="*/ 183 w 257"/>
              <a:gd name="T35" fmla="*/ 126 h 258"/>
              <a:gd name="T36" fmla="*/ 183 w 257"/>
              <a:gd name="T37" fmla="*/ 1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7" h="258">
                <a:moveTo>
                  <a:pt x="128" y="0"/>
                </a:moveTo>
                <a:cubicBezTo>
                  <a:pt x="57" y="0"/>
                  <a:pt x="0" y="58"/>
                  <a:pt x="0" y="129"/>
                </a:cubicBezTo>
                <a:cubicBezTo>
                  <a:pt x="0" y="200"/>
                  <a:pt x="57" y="258"/>
                  <a:pt x="128" y="258"/>
                </a:cubicBezTo>
                <a:cubicBezTo>
                  <a:pt x="200" y="258"/>
                  <a:pt x="257" y="200"/>
                  <a:pt x="257" y="129"/>
                </a:cubicBezTo>
                <a:cubicBezTo>
                  <a:pt x="257" y="58"/>
                  <a:pt x="200" y="0"/>
                  <a:pt x="128" y="0"/>
                </a:cubicBezTo>
                <a:close/>
                <a:moveTo>
                  <a:pt x="183" y="132"/>
                </a:moveTo>
                <a:cubicBezTo>
                  <a:pt x="167" y="147"/>
                  <a:pt x="167" y="147"/>
                  <a:pt x="167" y="147"/>
                </a:cubicBezTo>
                <a:cubicBezTo>
                  <a:pt x="109" y="205"/>
                  <a:pt x="109" y="205"/>
                  <a:pt x="109" y="205"/>
                </a:cubicBezTo>
                <a:cubicBezTo>
                  <a:pt x="108" y="207"/>
                  <a:pt x="105" y="207"/>
                  <a:pt x="104" y="205"/>
                </a:cubicBezTo>
                <a:cubicBezTo>
                  <a:pt x="88" y="190"/>
                  <a:pt x="88" y="190"/>
                  <a:pt x="88" y="190"/>
                </a:cubicBezTo>
                <a:cubicBezTo>
                  <a:pt x="86" y="188"/>
                  <a:pt x="86" y="185"/>
                  <a:pt x="88" y="184"/>
                </a:cubicBezTo>
                <a:cubicBezTo>
                  <a:pt x="143" y="129"/>
                  <a:pt x="143" y="129"/>
                  <a:pt x="143" y="129"/>
                </a:cubicBezTo>
                <a:cubicBezTo>
                  <a:pt x="88" y="73"/>
                  <a:pt x="88" y="73"/>
                  <a:pt x="88" y="73"/>
                </a:cubicBezTo>
                <a:cubicBezTo>
                  <a:pt x="86" y="72"/>
                  <a:pt x="86" y="69"/>
                  <a:pt x="88" y="68"/>
                </a:cubicBezTo>
                <a:cubicBezTo>
                  <a:pt x="104" y="52"/>
                  <a:pt x="104" y="52"/>
                  <a:pt x="104" y="52"/>
                </a:cubicBezTo>
                <a:cubicBezTo>
                  <a:pt x="105" y="50"/>
                  <a:pt x="108" y="50"/>
                  <a:pt x="109" y="52"/>
                </a:cubicBezTo>
                <a:cubicBezTo>
                  <a:pt x="167" y="110"/>
                  <a:pt x="167" y="110"/>
                  <a:pt x="167" y="110"/>
                </a:cubicBezTo>
                <a:cubicBezTo>
                  <a:pt x="183" y="126"/>
                  <a:pt x="183" y="126"/>
                  <a:pt x="183" y="126"/>
                </a:cubicBezTo>
                <a:cubicBezTo>
                  <a:pt x="185" y="127"/>
                  <a:pt x="185" y="130"/>
                  <a:pt x="183" y="132"/>
                </a:cubicBezTo>
                <a:close/>
              </a:path>
            </a:pathLst>
          </a:custGeom>
          <a:solidFill>
            <a:srgbClr val="FE5817"/>
          </a:solidFill>
          <a:ln>
            <a:noFill/>
          </a:ln>
          <a:effectLst>
            <a:outerShdw blurRad="50800" dist="38100" dir="2700000" algn="tl" rotWithShape="0">
              <a:prstClr val="black">
                <a:alpha val="40000"/>
              </a:prstClr>
            </a:outerShdw>
          </a:effectLst>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endParaRPr>
          </a:p>
        </p:txBody>
      </p:sp>
      <p:grpSp>
        <p:nvGrpSpPr>
          <p:cNvPr id="24" name="组 26"/>
          <p:cNvGrpSpPr/>
          <p:nvPr/>
        </p:nvGrpSpPr>
        <p:grpSpPr>
          <a:xfrm>
            <a:off x="4755089" y="4995697"/>
            <a:ext cx="1766459" cy="1162710"/>
            <a:chOff x="1961112" y="5304732"/>
            <a:chExt cx="1766868" cy="1162979"/>
          </a:xfrm>
        </p:grpSpPr>
        <p:cxnSp>
          <p:nvCxnSpPr>
            <p:cNvPr id="25" name="Straight Connector 175"/>
            <p:cNvCxnSpPr/>
            <p:nvPr/>
          </p:nvCxnSpPr>
          <p:spPr>
            <a:xfrm>
              <a:off x="2037403" y="6461434"/>
              <a:ext cx="1690577" cy="0"/>
            </a:xfrm>
            <a:prstGeom prst="line">
              <a:avLst/>
            </a:prstGeom>
            <a:ln w="19050">
              <a:solidFill>
                <a:schemeClr val="bg1">
                  <a:lumMod val="75000"/>
                </a:schemeClr>
              </a:solidFill>
              <a:prstDash val="sysDot"/>
              <a:tailEnd type="oval"/>
            </a:ln>
            <a:effectLst/>
          </p:spPr>
          <p:style>
            <a:lnRef idx="1">
              <a:schemeClr val="accent1"/>
            </a:lnRef>
            <a:fillRef idx="0">
              <a:schemeClr val="accent1"/>
            </a:fillRef>
            <a:effectRef idx="0">
              <a:schemeClr val="accent1"/>
            </a:effectRef>
            <a:fontRef idx="minor">
              <a:schemeClr val="tx1"/>
            </a:fontRef>
          </p:style>
        </p:cxnSp>
        <p:sp>
          <p:nvSpPr>
            <p:cNvPr id="26" name="TextBox 26"/>
            <p:cNvSpPr txBox="1"/>
            <p:nvPr/>
          </p:nvSpPr>
          <p:spPr>
            <a:xfrm>
              <a:off x="1961112" y="5530447"/>
              <a:ext cx="1114408" cy="369332"/>
            </a:xfrm>
            <a:prstGeom prst="rect">
              <a:avLst/>
            </a:prstGeom>
            <a:noFill/>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000000"/>
                  </a:solidFill>
                  <a:effectLst/>
                  <a:uLnTx/>
                  <a:uFillTx/>
                  <a:latin typeface="华文楷体" panose="02010600040101010101" charset="-122"/>
                  <a:ea typeface="华文楷体" panose="02010600040101010101" charset="-122"/>
                  <a:sym typeface="Impact" panose="020B0806030902050204" pitchFamily="34" charset="0"/>
                </a:rPr>
                <a:t>数字城市</a:t>
              </a:r>
              <a:endParaRPr kumimoji="0" lang="zh-CN" altLang="en-US" sz="1800"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sym typeface="Impact" panose="020B0806030902050204" pitchFamily="34" charset="0"/>
              </a:endParaRPr>
            </a:p>
          </p:txBody>
        </p:sp>
        <p:sp>
          <p:nvSpPr>
            <p:cNvPr id="27" name="TextBox 27"/>
            <p:cNvSpPr txBox="1"/>
            <p:nvPr/>
          </p:nvSpPr>
          <p:spPr>
            <a:xfrm>
              <a:off x="2018413" y="5855930"/>
              <a:ext cx="1609131" cy="584775"/>
            </a:xfrm>
            <a:prstGeom prst="rect">
              <a:avLst/>
            </a:prstGeom>
            <a:noFill/>
            <a:effectLst/>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rPr>
                <a:t>地理信息驱动</a:t>
              </a:r>
              <a:endPar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rPr>
                <a:t>专业机构引领</a:t>
              </a:r>
              <a:endParaRPr kumimoji="0" lang="en-US" altLang="en-US" sz="1600" b="0" i="0" u="none" strike="noStrike" kern="1200" cap="none" spc="-100" normalizeH="0" baseline="0" noProof="0" dirty="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endParaRPr>
            </a:p>
          </p:txBody>
        </p:sp>
        <p:cxnSp>
          <p:nvCxnSpPr>
            <p:cNvPr id="28" name="Straight Connector 178"/>
            <p:cNvCxnSpPr/>
            <p:nvPr/>
          </p:nvCxnSpPr>
          <p:spPr>
            <a:xfrm flipH="1" flipV="1">
              <a:off x="2028952" y="5304732"/>
              <a:ext cx="0" cy="1162979"/>
            </a:xfrm>
            <a:prstGeom prst="line">
              <a:avLst/>
            </a:prstGeom>
            <a:ln w="19050">
              <a:solidFill>
                <a:schemeClr val="bg1">
                  <a:lumMod val="75000"/>
                </a:schemeClr>
              </a:solidFill>
              <a:prstDash val="sysDot"/>
              <a:tailEnd type="oval"/>
            </a:ln>
            <a:effectLst/>
          </p:spPr>
          <p:style>
            <a:lnRef idx="1">
              <a:schemeClr val="accent1"/>
            </a:lnRef>
            <a:fillRef idx="0">
              <a:schemeClr val="accent1"/>
            </a:fillRef>
            <a:effectRef idx="0">
              <a:schemeClr val="accent1"/>
            </a:effectRef>
            <a:fontRef idx="minor">
              <a:schemeClr val="tx1"/>
            </a:fontRef>
          </p:style>
        </p:cxnSp>
      </p:grpSp>
      <p:grpSp>
        <p:nvGrpSpPr>
          <p:cNvPr id="29" name="组 31"/>
          <p:cNvGrpSpPr/>
          <p:nvPr/>
        </p:nvGrpSpPr>
        <p:grpSpPr>
          <a:xfrm>
            <a:off x="1896305" y="4943851"/>
            <a:ext cx="1690186" cy="1172360"/>
            <a:chOff x="4988413" y="5177393"/>
            <a:chExt cx="1690577" cy="1172631"/>
          </a:xfrm>
        </p:grpSpPr>
        <p:cxnSp>
          <p:nvCxnSpPr>
            <p:cNvPr id="30" name="Straight Connector 179"/>
            <p:cNvCxnSpPr/>
            <p:nvPr/>
          </p:nvCxnSpPr>
          <p:spPr>
            <a:xfrm>
              <a:off x="4988413" y="6342561"/>
              <a:ext cx="1690577" cy="0"/>
            </a:xfrm>
            <a:prstGeom prst="line">
              <a:avLst/>
            </a:prstGeom>
            <a:ln w="19050">
              <a:solidFill>
                <a:schemeClr val="bg1">
                  <a:lumMod val="75000"/>
                </a:schemeClr>
              </a:solidFill>
              <a:prstDash val="sysDot"/>
              <a:tailEnd type="oval"/>
            </a:ln>
            <a:effectLst/>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012558" y="5193545"/>
              <a:ext cx="1146468" cy="666977"/>
            </a:xfrm>
            <a:prstGeom prst="rect">
              <a:avLst/>
            </a:prstGeom>
            <a:noFill/>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smtClean="0">
                  <a:ln>
                    <a:noFill/>
                  </a:ln>
                  <a:solidFill>
                    <a:srgbClr val="000000"/>
                  </a:solidFill>
                  <a:effectLst/>
                  <a:uLnTx/>
                  <a:uFillTx/>
                  <a:latin typeface="华文楷体" panose="02010600040101010101" charset="-122"/>
                  <a:ea typeface="华文楷体" panose="02010600040101010101" charset="-122"/>
                  <a:sym typeface="Impact" panose="020B0806030902050204" pitchFamily="34" charset="0"/>
                </a:rPr>
                <a:t>无线城市</a:t>
              </a:r>
              <a:endParaRPr kumimoji="0" lang="zh-CN" altLang="en-US" sz="1800"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sym typeface="Impact" panose="020B080603090205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65" b="1" i="0" u="none" strike="noStrike" kern="1200" cap="none" spc="0" normalizeH="0" baseline="0" noProof="0" dirty="0">
                <a:ln>
                  <a:noFill/>
                </a:ln>
                <a:solidFill>
                  <a:srgbClr val="F6AC19"/>
                </a:solidFill>
                <a:effectLst/>
                <a:uLnTx/>
                <a:uFillTx/>
                <a:latin typeface="华文楷体" panose="02010600040101010101" charset="-122"/>
                <a:ea typeface="华文楷体" panose="02010600040101010101" charset="-122"/>
              </a:endParaRPr>
            </a:p>
          </p:txBody>
        </p:sp>
        <p:sp>
          <p:nvSpPr>
            <p:cNvPr id="32" name="TextBox 31"/>
            <p:cNvSpPr txBox="1"/>
            <p:nvPr/>
          </p:nvSpPr>
          <p:spPr>
            <a:xfrm>
              <a:off x="5044458" y="5519027"/>
              <a:ext cx="1609131" cy="830997"/>
            </a:xfrm>
            <a:prstGeom prst="rect">
              <a:avLst/>
            </a:prstGeom>
            <a:noFill/>
            <a:effectLst/>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rPr>
                <a:t>ICT</a:t>
              </a:r>
              <a:r>
                <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rPr>
                <a:t>技术引领</a:t>
              </a:r>
              <a:endPar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rPr>
                <a:t>行业应用驱动</a:t>
              </a:r>
              <a:endParaRPr kumimoji="0" lang="en-US" altLang="zh-CN"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rPr>
                <a:t>互联网</a:t>
              </a:r>
              <a:endParaRPr kumimoji="0" lang="zh-CN" altLang="en-US" sz="1600" b="0" i="0" u="none" strike="noStrike" kern="1200" cap="none" spc="-100" normalizeH="0" baseline="0" noProof="0" dirty="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endParaRPr>
            </a:p>
          </p:txBody>
        </p:sp>
        <p:cxnSp>
          <p:nvCxnSpPr>
            <p:cNvPr id="33" name="Straight Connector 182"/>
            <p:cNvCxnSpPr/>
            <p:nvPr/>
          </p:nvCxnSpPr>
          <p:spPr>
            <a:xfrm flipH="1" flipV="1">
              <a:off x="4988413" y="5177393"/>
              <a:ext cx="0" cy="1162979"/>
            </a:xfrm>
            <a:prstGeom prst="line">
              <a:avLst/>
            </a:prstGeom>
            <a:ln w="19050">
              <a:solidFill>
                <a:schemeClr val="bg1">
                  <a:lumMod val="75000"/>
                </a:schemeClr>
              </a:solidFill>
              <a:prstDash val="sysDot"/>
              <a:tailEnd type="oval"/>
            </a:ln>
            <a:effectLst/>
          </p:spPr>
          <p:style>
            <a:lnRef idx="1">
              <a:schemeClr val="accent1"/>
            </a:lnRef>
            <a:fillRef idx="0">
              <a:schemeClr val="accent1"/>
            </a:fillRef>
            <a:effectRef idx="0">
              <a:schemeClr val="accent1"/>
            </a:effectRef>
            <a:fontRef idx="minor">
              <a:schemeClr val="tx1"/>
            </a:fontRef>
          </p:style>
        </p:cxnSp>
      </p:grpSp>
      <p:cxnSp>
        <p:nvCxnSpPr>
          <p:cNvPr id="34" name="Straight Connector 183"/>
          <p:cNvCxnSpPr/>
          <p:nvPr/>
        </p:nvCxnSpPr>
        <p:spPr>
          <a:xfrm>
            <a:off x="7947725" y="5765958"/>
            <a:ext cx="1690186" cy="0"/>
          </a:xfrm>
          <a:prstGeom prst="line">
            <a:avLst/>
          </a:prstGeom>
          <a:ln w="19050">
            <a:solidFill>
              <a:schemeClr val="bg1">
                <a:lumMod val="75000"/>
              </a:schemeClr>
            </a:solidFill>
            <a:prstDash val="sysDot"/>
            <a:tailEnd type="oval"/>
          </a:ln>
          <a:effectLst/>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7954934" y="4369609"/>
            <a:ext cx="1114150" cy="369247"/>
          </a:xfrm>
          <a:prstGeom prst="rect">
            <a:avLst/>
          </a:prstGeom>
          <a:noFill/>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smtClean="0">
                <a:ln>
                  <a:noFill/>
                </a:ln>
                <a:solidFill>
                  <a:srgbClr val="000000"/>
                </a:solidFill>
                <a:effectLst/>
                <a:uLnTx/>
                <a:uFillTx/>
                <a:latin typeface="华文楷体" panose="02010600040101010101" charset="-122"/>
                <a:ea typeface="华文楷体" panose="02010600040101010101" charset="-122"/>
                <a:sym typeface="Impact" panose="020B0806030902050204" pitchFamily="34" charset="0"/>
              </a:rPr>
              <a:t>智慧城市</a:t>
            </a:r>
            <a:endParaRPr kumimoji="0" lang="id-ID" altLang="en-US" sz="1800" b="1"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sym typeface="Impact" panose="020B0806030902050204" pitchFamily="34" charset="0"/>
            </a:endParaRPr>
          </a:p>
        </p:txBody>
      </p:sp>
      <p:sp>
        <p:nvSpPr>
          <p:cNvPr id="36" name="TextBox 35"/>
          <p:cNvSpPr txBox="1"/>
          <p:nvPr/>
        </p:nvSpPr>
        <p:spPr>
          <a:xfrm>
            <a:off x="7986826" y="4695016"/>
            <a:ext cx="2373537" cy="1076969"/>
          </a:xfrm>
          <a:prstGeom prst="rect">
            <a:avLst/>
          </a:prstGeom>
          <a:noFill/>
          <a:effectLst/>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rPr>
              <a:t>文化引领     技术革新</a:t>
            </a:r>
            <a:endPar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rPr>
              <a:t>协同共享     数据运营</a:t>
            </a:r>
            <a:endPar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rPr>
              <a:t>范围扩展     重视内容</a:t>
            </a:r>
            <a:endParaRPr kumimoji="0" lang="en-US" altLang="zh-CN"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rPr>
              <a:t>模式开放</a:t>
            </a:r>
            <a:endParaRPr kumimoji="0" lang="zh-CN" altLang="en-US" sz="1600" b="0" i="0" u="none" strike="noStrike" kern="1200" cap="none" spc="-100" normalizeH="0" baseline="0" noProof="0" dirty="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Arial" panose="020B0604020202020204" pitchFamily="34" charset="0"/>
              <a:sym typeface="Impact" panose="020B0806030902050204" pitchFamily="34" charset="0"/>
            </a:endParaRPr>
          </a:p>
        </p:txBody>
      </p:sp>
      <p:cxnSp>
        <p:nvCxnSpPr>
          <p:cNvPr id="37" name="Straight Connector 186"/>
          <p:cNvCxnSpPr/>
          <p:nvPr/>
        </p:nvCxnSpPr>
        <p:spPr>
          <a:xfrm flipH="1" flipV="1">
            <a:off x="7922329" y="4584130"/>
            <a:ext cx="0" cy="1162710"/>
          </a:xfrm>
          <a:prstGeom prst="line">
            <a:avLst/>
          </a:prstGeom>
          <a:ln w="19050">
            <a:solidFill>
              <a:schemeClr val="bg1">
                <a:lumMod val="75000"/>
              </a:schemeClr>
            </a:solidFill>
            <a:prstDash val="sysDot"/>
            <a:tailEnd type="oval"/>
          </a:ln>
          <a:effectLst/>
        </p:spPr>
        <p:style>
          <a:lnRef idx="1">
            <a:schemeClr val="accent1"/>
          </a:lnRef>
          <a:fillRef idx="0">
            <a:schemeClr val="accent1"/>
          </a:fillRef>
          <a:effectRef idx="0">
            <a:schemeClr val="accent1"/>
          </a:effectRef>
          <a:fontRef idx="minor">
            <a:schemeClr val="tx1"/>
          </a:fontRef>
        </p:style>
      </p:cxnSp>
      <p:grpSp>
        <p:nvGrpSpPr>
          <p:cNvPr id="38" name="组 40"/>
          <p:cNvGrpSpPr/>
          <p:nvPr/>
        </p:nvGrpSpPr>
        <p:grpSpPr>
          <a:xfrm>
            <a:off x="9213396" y="2246427"/>
            <a:ext cx="2293936" cy="2243156"/>
            <a:chOff x="9516533" y="2200486"/>
            <a:chExt cx="2446866" cy="2439256"/>
          </a:xfrm>
        </p:grpSpPr>
        <p:sp>
          <p:nvSpPr>
            <p:cNvPr id="39" name="Freeform 7"/>
            <p:cNvSpPr/>
            <p:nvPr/>
          </p:nvSpPr>
          <p:spPr bwMode="auto">
            <a:xfrm flipV="1">
              <a:off x="9516533" y="3216482"/>
              <a:ext cx="2446866" cy="407270"/>
            </a:xfrm>
            <a:custGeom>
              <a:avLst/>
              <a:gdLst>
                <a:gd name="T0" fmla="*/ 3152 w 3410"/>
                <a:gd name="T1" fmla="*/ 0 h 753"/>
                <a:gd name="T2" fmla="*/ 0 w 3410"/>
                <a:gd name="T3" fmla="*/ 0 h 753"/>
                <a:gd name="T4" fmla="*/ 0 w 3410"/>
                <a:gd name="T5" fmla="*/ 753 h 753"/>
                <a:gd name="T6" fmla="*/ 3152 w 3410"/>
                <a:gd name="T7" fmla="*/ 753 h 753"/>
                <a:gd name="T8" fmla="*/ 3410 w 3410"/>
                <a:gd name="T9" fmla="*/ 376 h 753"/>
                <a:gd name="T10" fmla="*/ 3152 w 3410"/>
                <a:gd name="T11" fmla="*/ 0 h 753"/>
              </a:gdLst>
              <a:ahLst/>
              <a:cxnLst>
                <a:cxn ang="0">
                  <a:pos x="T0" y="T1"/>
                </a:cxn>
                <a:cxn ang="0">
                  <a:pos x="T2" y="T3"/>
                </a:cxn>
                <a:cxn ang="0">
                  <a:pos x="T4" y="T5"/>
                </a:cxn>
                <a:cxn ang="0">
                  <a:pos x="T6" y="T7"/>
                </a:cxn>
                <a:cxn ang="0">
                  <a:pos x="T8" y="T9"/>
                </a:cxn>
                <a:cxn ang="0">
                  <a:pos x="T10" y="T11"/>
                </a:cxn>
              </a:cxnLst>
              <a:rect l="0" t="0" r="r" b="b"/>
              <a:pathLst>
                <a:path w="3410" h="753">
                  <a:moveTo>
                    <a:pt x="3152" y="0"/>
                  </a:moveTo>
                  <a:lnTo>
                    <a:pt x="0" y="0"/>
                  </a:lnTo>
                  <a:lnTo>
                    <a:pt x="0" y="753"/>
                  </a:lnTo>
                  <a:lnTo>
                    <a:pt x="3152" y="753"/>
                  </a:lnTo>
                  <a:lnTo>
                    <a:pt x="3410" y="376"/>
                  </a:lnTo>
                  <a:lnTo>
                    <a:pt x="3152" y="0"/>
                  </a:lnTo>
                  <a:close/>
                </a:path>
              </a:pathLst>
            </a:custGeom>
            <a:solidFill>
              <a:srgbClr val="FE5817"/>
            </a:solidFill>
            <a:ln>
              <a:noFill/>
            </a:ln>
            <a:effectLst>
              <a:outerShdw blurRad="50800" dist="38100" dir="2700000" algn="tl" rotWithShape="0">
                <a:prstClr val="black">
                  <a:alpha val="40000"/>
                </a:prstClr>
              </a:outerShdw>
            </a:effectLst>
          </p:spPr>
          <p:txBody>
            <a:bodyPr vert="vert270"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4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40" name="Freeform 7"/>
            <p:cNvSpPr/>
            <p:nvPr/>
          </p:nvSpPr>
          <p:spPr bwMode="auto">
            <a:xfrm flipV="1">
              <a:off x="9516533" y="2708484"/>
              <a:ext cx="1930400" cy="407270"/>
            </a:xfrm>
            <a:custGeom>
              <a:avLst/>
              <a:gdLst>
                <a:gd name="T0" fmla="*/ 3152 w 3410"/>
                <a:gd name="T1" fmla="*/ 0 h 753"/>
                <a:gd name="T2" fmla="*/ 0 w 3410"/>
                <a:gd name="T3" fmla="*/ 0 h 753"/>
                <a:gd name="T4" fmla="*/ 0 w 3410"/>
                <a:gd name="T5" fmla="*/ 753 h 753"/>
                <a:gd name="T6" fmla="*/ 3152 w 3410"/>
                <a:gd name="T7" fmla="*/ 753 h 753"/>
                <a:gd name="T8" fmla="*/ 3410 w 3410"/>
                <a:gd name="T9" fmla="*/ 376 h 753"/>
                <a:gd name="T10" fmla="*/ 3152 w 3410"/>
                <a:gd name="T11" fmla="*/ 0 h 753"/>
              </a:gdLst>
              <a:ahLst/>
              <a:cxnLst>
                <a:cxn ang="0">
                  <a:pos x="T0" y="T1"/>
                </a:cxn>
                <a:cxn ang="0">
                  <a:pos x="T2" y="T3"/>
                </a:cxn>
                <a:cxn ang="0">
                  <a:pos x="T4" y="T5"/>
                </a:cxn>
                <a:cxn ang="0">
                  <a:pos x="T6" y="T7"/>
                </a:cxn>
                <a:cxn ang="0">
                  <a:pos x="T8" y="T9"/>
                </a:cxn>
                <a:cxn ang="0">
                  <a:pos x="T10" y="T11"/>
                </a:cxn>
              </a:cxnLst>
              <a:rect l="0" t="0" r="r" b="b"/>
              <a:pathLst>
                <a:path w="3410" h="753">
                  <a:moveTo>
                    <a:pt x="3152" y="0"/>
                  </a:moveTo>
                  <a:lnTo>
                    <a:pt x="0" y="0"/>
                  </a:lnTo>
                  <a:lnTo>
                    <a:pt x="0" y="753"/>
                  </a:lnTo>
                  <a:lnTo>
                    <a:pt x="3152" y="753"/>
                  </a:lnTo>
                  <a:lnTo>
                    <a:pt x="3410" y="376"/>
                  </a:lnTo>
                  <a:lnTo>
                    <a:pt x="3152" y="0"/>
                  </a:lnTo>
                  <a:close/>
                </a:path>
              </a:pathLst>
            </a:custGeom>
            <a:solidFill>
              <a:srgbClr val="FE8637"/>
            </a:solidFill>
            <a:ln>
              <a:noFill/>
            </a:ln>
            <a:effectLst>
              <a:outerShdw blurRad="50800" dist="38100" dir="2700000" algn="tl" rotWithShape="0">
                <a:prstClr val="black">
                  <a:alpha val="40000"/>
                </a:prstClr>
              </a:outerShdw>
            </a:effectLst>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41" name="Freeform 7"/>
            <p:cNvSpPr/>
            <p:nvPr/>
          </p:nvSpPr>
          <p:spPr bwMode="auto">
            <a:xfrm flipV="1">
              <a:off x="9516533" y="3724476"/>
              <a:ext cx="1930400" cy="407270"/>
            </a:xfrm>
            <a:custGeom>
              <a:avLst/>
              <a:gdLst>
                <a:gd name="T0" fmla="*/ 3152 w 3410"/>
                <a:gd name="T1" fmla="*/ 0 h 753"/>
                <a:gd name="T2" fmla="*/ 0 w 3410"/>
                <a:gd name="T3" fmla="*/ 0 h 753"/>
                <a:gd name="T4" fmla="*/ 0 w 3410"/>
                <a:gd name="T5" fmla="*/ 753 h 753"/>
                <a:gd name="T6" fmla="*/ 3152 w 3410"/>
                <a:gd name="T7" fmla="*/ 753 h 753"/>
                <a:gd name="T8" fmla="*/ 3410 w 3410"/>
                <a:gd name="T9" fmla="*/ 376 h 753"/>
                <a:gd name="T10" fmla="*/ 3152 w 3410"/>
                <a:gd name="T11" fmla="*/ 0 h 753"/>
              </a:gdLst>
              <a:ahLst/>
              <a:cxnLst>
                <a:cxn ang="0">
                  <a:pos x="T0" y="T1"/>
                </a:cxn>
                <a:cxn ang="0">
                  <a:pos x="T2" y="T3"/>
                </a:cxn>
                <a:cxn ang="0">
                  <a:pos x="T4" y="T5"/>
                </a:cxn>
                <a:cxn ang="0">
                  <a:pos x="T6" y="T7"/>
                </a:cxn>
                <a:cxn ang="0">
                  <a:pos x="T8" y="T9"/>
                </a:cxn>
                <a:cxn ang="0">
                  <a:pos x="T10" y="T11"/>
                </a:cxn>
              </a:cxnLst>
              <a:rect l="0" t="0" r="r" b="b"/>
              <a:pathLst>
                <a:path w="3410" h="753">
                  <a:moveTo>
                    <a:pt x="3152" y="0"/>
                  </a:moveTo>
                  <a:lnTo>
                    <a:pt x="0" y="0"/>
                  </a:lnTo>
                  <a:lnTo>
                    <a:pt x="0" y="753"/>
                  </a:lnTo>
                  <a:lnTo>
                    <a:pt x="3152" y="753"/>
                  </a:lnTo>
                  <a:lnTo>
                    <a:pt x="3410" y="376"/>
                  </a:lnTo>
                  <a:lnTo>
                    <a:pt x="3152" y="0"/>
                  </a:lnTo>
                  <a:close/>
                </a:path>
              </a:pathLst>
            </a:custGeom>
            <a:solidFill>
              <a:srgbClr val="FE8637"/>
            </a:solidFill>
            <a:ln>
              <a:noFill/>
            </a:ln>
            <a:effectLst>
              <a:outerShdw blurRad="50800" dist="38100" dir="2700000" algn="tl" rotWithShape="0">
                <a:prstClr val="black">
                  <a:alpha val="40000"/>
                </a:prstClr>
              </a:outerShdw>
            </a:effectLst>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42" name="Freeform 7"/>
            <p:cNvSpPr/>
            <p:nvPr/>
          </p:nvSpPr>
          <p:spPr bwMode="auto">
            <a:xfrm flipV="1">
              <a:off x="9516533" y="2200486"/>
              <a:ext cx="1422400" cy="407270"/>
            </a:xfrm>
            <a:custGeom>
              <a:avLst/>
              <a:gdLst>
                <a:gd name="T0" fmla="*/ 3152 w 3410"/>
                <a:gd name="T1" fmla="*/ 0 h 753"/>
                <a:gd name="T2" fmla="*/ 0 w 3410"/>
                <a:gd name="T3" fmla="*/ 0 h 753"/>
                <a:gd name="T4" fmla="*/ 0 w 3410"/>
                <a:gd name="T5" fmla="*/ 753 h 753"/>
                <a:gd name="T6" fmla="*/ 3152 w 3410"/>
                <a:gd name="T7" fmla="*/ 753 h 753"/>
                <a:gd name="T8" fmla="*/ 3410 w 3410"/>
                <a:gd name="T9" fmla="*/ 376 h 753"/>
                <a:gd name="T10" fmla="*/ 3152 w 3410"/>
                <a:gd name="T11" fmla="*/ 0 h 753"/>
              </a:gdLst>
              <a:ahLst/>
              <a:cxnLst>
                <a:cxn ang="0">
                  <a:pos x="T0" y="T1"/>
                </a:cxn>
                <a:cxn ang="0">
                  <a:pos x="T2" y="T3"/>
                </a:cxn>
                <a:cxn ang="0">
                  <a:pos x="T4" y="T5"/>
                </a:cxn>
                <a:cxn ang="0">
                  <a:pos x="T6" y="T7"/>
                </a:cxn>
                <a:cxn ang="0">
                  <a:pos x="T8" y="T9"/>
                </a:cxn>
                <a:cxn ang="0">
                  <a:pos x="T10" y="T11"/>
                </a:cxn>
              </a:cxnLst>
              <a:rect l="0" t="0" r="r" b="b"/>
              <a:pathLst>
                <a:path w="3410" h="753">
                  <a:moveTo>
                    <a:pt x="3152" y="0"/>
                  </a:moveTo>
                  <a:lnTo>
                    <a:pt x="0" y="0"/>
                  </a:lnTo>
                  <a:lnTo>
                    <a:pt x="0" y="753"/>
                  </a:lnTo>
                  <a:lnTo>
                    <a:pt x="3152" y="753"/>
                  </a:lnTo>
                  <a:lnTo>
                    <a:pt x="3410" y="376"/>
                  </a:lnTo>
                  <a:lnTo>
                    <a:pt x="3152" y="0"/>
                  </a:lnTo>
                  <a:close/>
                </a:path>
              </a:pathLst>
            </a:custGeom>
            <a:solidFill>
              <a:srgbClr val="FFC3AB"/>
            </a:solidFill>
            <a:ln>
              <a:noFill/>
            </a:ln>
            <a:effectLst>
              <a:outerShdw blurRad="50800" dist="38100" dir="2700000" algn="tl" rotWithShape="0">
                <a:prstClr val="black">
                  <a:alpha val="40000"/>
                </a:prstClr>
              </a:outerShdw>
            </a:effectLst>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43" name="Freeform 7"/>
            <p:cNvSpPr/>
            <p:nvPr/>
          </p:nvSpPr>
          <p:spPr bwMode="auto">
            <a:xfrm flipV="1">
              <a:off x="9516533" y="4232472"/>
              <a:ext cx="1422400" cy="407270"/>
            </a:xfrm>
            <a:custGeom>
              <a:avLst/>
              <a:gdLst>
                <a:gd name="T0" fmla="*/ 3152 w 3410"/>
                <a:gd name="T1" fmla="*/ 0 h 753"/>
                <a:gd name="T2" fmla="*/ 0 w 3410"/>
                <a:gd name="T3" fmla="*/ 0 h 753"/>
                <a:gd name="T4" fmla="*/ 0 w 3410"/>
                <a:gd name="T5" fmla="*/ 753 h 753"/>
                <a:gd name="T6" fmla="*/ 3152 w 3410"/>
                <a:gd name="T7" fmla="*/ 753 h 753"/>
                <a:gd name="T8" fmla="*/ 3410 w 3410"/>
                <a:gd name="T9" fmla="*/ 376 h 753"/>
                <a:gd name="T10" fmla="*/ 3152 w 3410"/>
                <a:gd name="T11" fmla="*/ 0 h 753"/>
              </a:gdLst>
              <a:ahLst/>
              <a:cxnLst>
                <a:cxn ang="0">
                  <a:pos x="T0" y="T1"/>
                </a:cxn>
                <a:cxn ang="0">
                  <a:pos x="T2" y="T3"/>
                </a:cxn>
                <a:cxn ang="0">
                  <a:pos x="T4" y="T5"/>
                </a:cxn>
                <a:cxn ang="0">
                  <a:pos x="T6" y="T7"/>
                </a:cxn>
                <a:cxn ang="0">
                  <a:pos x="T8" y="T9"/>
                </a:cxn>
                <a:cxn ang="0">
                  <a:pos x="T10" y="T11"/>
                </a:cxn>
              </a:cxnLst>
              <a:rect l="0" t="0" r="r" b="b"/>
              <a:pathLst>
                <a:path w="3410" h="753">
                  <a:moveTo>
                    <a:pt x="3152" y="0"/>
                  </a:moveTo>
                  <a:lnTo>
                    <a:pt x="0" y="0"/>
                  </a:lnTo>
                  <a:lnTo>
                    <a:pt x="0" y="753"/>
                  </a:lnTo>
                  <a:lnTo>
                    <a:pt x="3152" y="753"/>
                  </a:lnTo>
                  <a:lnTo>
                    <a:pt x="3410" y="376"/>
                  </a:lnTo>
                  <a:lnTo>
                    <a:pt x="3152" y="0"/>
                  </a:lnTo>
                  <a:close/>
                </a:path>
              </a:pathLst>
            </a:custGeom>
            <a:solidFill>
              <a:srgbClr val="FFC3AB"/>
            </a:solidFill>
            <a:ln>
              <a:noFill/>
            </a:ln>
            <a:effectLst>
              <a:outerShdw blurRad="50800" dist="38100" dir="2700000" algn="tl" rotWithShape="0">
                <a:prstClr val="black">
                  <a:alpha val="40000"/>
                </a:prstClr>
              </a:outerShdw>
            </a:effectLst>
          </p:spPr>
          <p:txBody>
            <a:bodyPr vert="horz" wrap="square" lIns="91419" tIns="45709" rIns="91419" bIns="4570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400" b="0" i="0" u="none" strike="noStrike" kern="1200" cap="none" spc="0" normalizeH="0" baseline="0" noProof="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44" name="矩形 43"/>
            <p:cNvSpPr/>
            <p:nvPr/>
          </p:nvSpPr>
          <p:spPr>
            <a:xfrm>
              <a:off x="9582905" y="2245277"/>
              <a:ext cx="595035" cy="33855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smtClean="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共享</a:t>
              </a:r>
              <a:endParaRPr kumimoji="0" lang="zh-CN" altLang="en-US" sz="14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45" name="矩形 44"/>
            <p:cNvSpPr/>
            <p:nvPr/>
          </p:nvSpPr>
          <p:spPr>
            <a:xfrm>
              <a:off x="9659105" y="4268811"/>
              <a:ext cx="59503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开放</a:t>
              </a:r>
              <a:endParaRPr kumimoji="0" lang="zh-CN" altLang="en-US" sz="14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46" name="矩形 45"/>
            <p:cNvSpPr/>
            <p:nvPr/>
          </p:nvSpPr>
          <p:spPr>
            <a:xfrm>
              <a:off x="9599839" y="2744810"/>
              <a:ext cx="59683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协调</a:t>
              </a:r>
              <a:endParaRPr kumimoji="0" lang="zh-CN" altLang="en-US" sz="14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47" name="矩形 46"/>
            <p:cNvSpPr/>
            <p:nvPr/>
          </p:nvSpPr>
          <p:spPr>
            <a:xfrm>
              <a:off x="9642172" y="3760810"/>
              <a:ext cx="59503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rPr>
                <a:t>绿色</a:t>
              </a:r>
              <a:endParaRPr kumimoji="0" lang="zh-CN" altLang="en-US" sz="1400" b="0" i="0" u="none" strike="noStrike" kern="1200" cap="none" spc="0" normalizeH="0" baseline="0" noProof="0" dirty="0">
                <a:ln>
                  <a:noFill/>
                </a:ln>
                <a:solidFill>
                  <a:srgbClr val="000000"/>
                </a:solidFill>
                <a:effectLst/>
                <a:uLnTx/>
                <a:uFillTx/>
                <a:latin typeface="华文楷体" panose="02010600040101010101" charset="-122"/>
                <a:ea typeface="华文楷体" panose="02010600040101010101" charset="-122"/>
                <a:cs typeface="微软雅黑" panose="020B0503020204020204" charset="-122"/>
              </a:endParaRPr>
            </a:p>
          </p:txBody>
        </p:sp>
        <p:sp>
          <p:nvSpPr>
            <p:cNvPr id="48" name="矩形 47"/>
            <p:cNvSpPr/>
            <p:nvPr/>
          </p:nvSpPr>
          <p:spPr>
            <a:xfrm>
              <a:off x="9659104" y="3244343"/>
              <a:ext cx="59503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微软雅黑" panose="020B0503020204020204" charset="-122"/>
                </a:rPr>
                <a:t>创新</a:t>
              </a:r>
              <a:endParaRPr kumimoji="0" lang="zh-CN" altLang="en-US" sz="1400" b="0" i="0" u="none" strike="noStrike" kern="1200" cap="none" spc="0" normalizeH="0" baseline="0" noProof="0" dirty="0">
                <a:ln>
                  <a:noFill/>
                </a:ln>
                <a:solidFill>
                  <a:srgbClr val="FFFFFF"/>
                </a:solidFill>
                <a:effectLst/>
                <a:uLnTx/>
                <a:uFillTx/>
                <a:latin typeface="华文楷体" panose="02010600040101010101" charset="-122"/>
                <a:ea typeface="华文楷体" panose="02010600040101010101" charset="-122"/>
                <a:cs typeface="微软雅黑" panose="020B0503020204020204" charset="-122"/>
              </a:endParaRPr>
            </a:p>
          </p:txBody>
        </p:sp>
      </p:grpSp>
      <p:sp>
        <p:nvSpPr>
          <p:cNvPr id="49" name="Rectangle 92"/>
          <p:cNvSpPr/>
          <p:nvPr/>
        </p:nvSpPr>
        <p:spPr>
          <a:xfrm>
            <a:off x="443619" y="697965"/>
            <a:ext cx="1125996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100" normalizeH="0" baseline="0" noProof="0" dirty="0" smtClean="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微软雅黑" panose="020B0503020204020204" charset="-122"/>
                <a:sym typeface="Impact" panose="020B0806030902050204" pitchFamily="34" charset="0"/>
              </a:rPr>
              <a:t>…</a:t>
            </a:r>
            <a:endParaRPr kumimoji="0" lang="zh-CN" altLang="en-US" sz="1800" b="0" i="0" u="none" strike="noStrike" kern="1200" cap="none" spc="-100" normalizeH="0" baseline="0" noProof="0" dirty="0">
              <a:ln w="3175">
                <a:noFill/>
              </a:ln>
              <a:gradFill flip="none" rotWithShape="1">
                <a:gsLst>
                  <a:gs pos="0">
                    <a:srgbClr val="000000"/>
                  </a:gs>
                  <a:gs pos="86000">
                    <a:srgbClr val="000000"/>
                  </a:gs>
                </a:gsLst>
                <a:lin ang="5400000" scaled="0"/>
                <a:tileRect/>
              </a:gradFill>
              <a:effectLst/>
              <a:uLnTx/>
              <a:uFillTx/>
              <a:latin typeface="华文楷体" panose="02010600040101010101" charset="-122"/>
              <a:ea typeface="华文楷体" panose="02010600040101010101" charset="-122"/>
              <a:cs typeface="微软雅黑" panose="020B0503020204020204" charset="-122"/>
              <a:sym typeface="Impact" panose="020B080603090205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881" name="think-cell Slide" r:id="rId2" imgW="12700" imgH="12700" progId="TCLayout.ActiveDocument.1">
                  <p:embed/>
                </p:oleObj>
              </mc:Choice>
              <mc:Fallback>
                <p:oleObj name="think-cell Slide" r:id="rId2" imgW="12700" imgH="12700" progId="TCLayout.ActiveDocument.1">
                  <p:embed/>
                  <p:pic>
                    <p:nvPicPr>
                      <p:cNvPr id="0" name="对象 9" hidden="1"/>
                      <p:cNvPicPr/>
                      <p:nvPr/>
                    </p:nvPicPr>
                    <p:blipFill>
                      <a:blip r:embed="rId3"/>
                      <a:stretch>
                        <a:fillRect/>
                      </a:stretch>
                    </p:blipFill>
                    <p:spPr>
                      <a:xfrm>
                        <a:off x="0" y="0"/>
                        <a:ext cx="158750" cy="158750"/>
                      </a:xfrm>
                      <a:prstGeom prst="rect">
                        <a:avLst/>
                      </a:prstGeom>
                    </p:spPr>
                  </p:pic>
                </p:oleObj>
              </mc:Fallback>
            </mc:AlternateContent>
          </a:graphicData>
        </a:graphic>
      </p:graphicFrame>
      <p:sp>
        <p:nvSpPr>
          <p:cNvPr id="106" name="矩形 105"/>
          <p:cNvSpPr/>
          <p:nvPr>
            <p:custDataLst>
              <p:tags r:id="rId4"/>
            </p:custDataLst>
          </p:nvPr>
        </p:nvSpPr>
        <p:spPr>
          <a:xfrm>
            <a:off x="1151581" y="1458687"/>
            <a:ext cx="10682343" cy="4736310"/>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endParaRPr lang="zh-CN" altLang="en-US" sz="2400" b="1" dirty="0">
              <a:solidFill>
                <a:schemeClr val="bg1"/>
              </a:solidFill>
            </a:endParaRPr>
          </a:p>
        </p:txBody>
      </p:sp>
      <p:sp>
        <p:nvSpPr>
          <p:cNvPr id="34" name="五边形 33"/>
          <p:cNvSpPr/>
          <p:nvPr/>
        </p:nvSpPr>
        <p:spPr>
          <a:xfrm>
            <a:off x="506122" y="1558451"/>
            <a:ext cx="11467652" cy="1194099"/>
          </a:xfrm>
          <a:prstGeom prst="homePlate">
            <a:avLst>
              <a:gd name="adj" fmla="val 25088"/>
            </a:avLst>
          </a:prstGeom>
          <a:solidFill>
            <a:srgbClr val="FFF3EB"/>
          </a:solidFill>
          <a:ln w="952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11" name="五边形 10"/>
          <p:cNvSpPr/>
          <p:nvPr/>
        </p:nvSpPr>
        <p:spPr>
          <a:xfrm>
            <a:off x="506122" y="2849369"/>
            <a:ext cx="11467652" cy="3238051"/>
          </a:xfrm>
          <a:prstGeom prst="homePlate">
            <a:avLst>
              <a:gd name="adj" fmla="val 9079"/>
            </a:avLst>
          </a:prstGeom>
          <a:solidFill>
            <a:srgbClr val="FFF3EB"/>
          </a:solidFill>
          <a:ln w="9525" cap="rnd" cmpd="sng" algn="ctr">
            <a:solidFill>
              <a:schemeClr val="accent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3" name="矩形 2"/>
          <p:cNvSpPr/>
          <p:nvPr>
            <p:custDataLst>
              <p:tags r:id="rId5"/>
            </p:custDataLst>
          </p:nvPr>
        </p:nvSpPr>
        <p:spPr>
          <a:xfrm>
            <a:off x="1151581" y="999224"/>
            <a:ext cx="10682343" cy="420657"/>
          </a:xfrm>
          <a:prstGeom prst="rect">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r>
              <a:rPr lang="en-US" altLang="zh-TW" sz="2400" b="1" smtClean="0">
                <a:solidFill>
                  <a:schemeClr val="bg1"/>
                </a:solidFill>
              </a:rPr>
              <a:t>XXX</a:t>
            </a:r>
            <a:endParaRPr lang="zh-CN" altLang="en-US" sz="2400" b="1" dirty="0">
              <a:solidFill>
                <a:schemeClr val="bg1"/>
              </a:solidFill>
            </a:endParaRPr>
          </a:p>
        </p:txBody>
      </p:sp>
      <p:sp>
        <p:nvSpPr>
          <p:cNvPr id="16" name="矩形 15"/>
          <p:cNvSpPr/>
          <p:nvPr>
            <p:custDataLst>
              <p:tags r:id="rId6"/>
            </p:custDataLst>
          </p:nvPr>
        </p:nvSpPr>
        <p:spPr>
          <a:xfrm>
            <a:off x="1280672" y="3661698"/>
            <a:ext cx="2440290" cy="409350"/>
          </a:xfrm>
          <a:prstGeom prst="rect">
            <a:avLst/>
          </a:prstGeom>
          <a:solidFill>
            <a:schemeClr val="accent5"/>
          </a:solidFill>
          <a:ln w="10795" cap="flat" cmpd="sng" algn="ctr">
            <a:noFill/>
            <a:prstDash val="soli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72000" rIns="36000" bIns="0" numCol="1" spcCol="0" rtlCol="0" fromWordArt="0" anchor="ctr" anchorCtr="0" forceAA="0" compatLnSpc="1">
            <a:noAutofit/>
          </a:bodyPr>
          <a:lstStyle/>
          <a:p>
            <a:pPr algn="ctr">
              <a:lnSpc>
                <a:spcPct val="90000"/>
              </a:lnSpc>
              <a:spcAft>
                <a:spcPts val="1000"/>
              </a:spcAft>
            </a:pPr>
            <a:r>
              <a:rPr lang="en-US" altLang="zh-TW" b="1" smtClean="0">
                <a:solidFill>
                  <a:schemeClr val="bg1"/>
                </a:solidFill>
              </a:rPr>
              <a:t>XXX</a:t>
            </a:r>
            <a:endParaRPr lang="en-US" altLang="zh-TW" b="1" dirty="0" smtClean="0">
              <a:solidFill>
                <a:schemeClr val="bg1"/>
              </a:solidFill>
            </a:endParaRPr>
          </a:p>
        </p:txBody>
      </p:sp>
      <p:sp>
        <p:nvSpPr>
          <p:cNvPr id="17" name="矩形 16"/>
          <p:cNvSpPr/>
          <p:nvPr>
            <p:custDataLst>
              <p:tags r:id="rId7"/>
            </p:custDataLst>
          </p:nvPr>
        </p:nvSpPr>
        <p:spPr>
          <a:xfrm>
            <a:off x="3830799" y="3661698"/>
            <a:ext cx="2440290" cy="409350"/>
          </a:xfrm>
          <a:prstGeom prst="rect">
            <a:avLst/>
          </a:prstGeom>
          <a:solidFill>
            <a:schemeClr val="accent5"/>
          </a:solidFill>
          <a:ln w="10795" cap="flat" cmpd="sng" algn="ctr">
            <a:noFill/>
            <a:prstDash val="soli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72000" rIns="36000" bIns="0" numCol="1" spcCol="0" rtlCol="0" fromWordArt="0" anchor="ctr" anchorCtr="0" forceAA="0" compatLnSpc="1">
            <a:noAutofit/>
          </a:bodyPr>
          <a:lstStyle/>
          <a:p>
            <a:pPr algn="ctr">
              <a:lnSpc>
                <a:spcPct val="90000"/>
              </a:lnSpc>
              <a:spcAft>
                <a:spcPts val="1000"/>
              </a:spcAft>
            </a:pPr>
            <a:r>
              <a:rPr lang="en-US" altLang="zh-TW" b="1" smtClean="0">
                <a:solidFill>
                  <a:schemeClr val="bg1"/>
                </a:solidFill>
              </a:rPr>
              <a:t>X</a:t>
            </a:r>
            <a:endParaRPr lang="en-US" altLang="zh-TW" b="1" dirty="0">
              <a:solidFill>
                <a:schemeClr val="bg1"/>
              </a:solidFill>
            </a:endParaRPr>
          </a:p>
        </p:txBody>
      </p:sp>
      <p:sp>
        <p:nvSpPr>
          <p:cNvPr id="18" name="矩形 17"/>
          <p:cNvSpPr/>
          <p:nvPr>
            <p:custDataLst>
              <p:tags r:id="rId8"/>
            </p:custDataLst>
          </p:nvPr>
        </p:nvSpPr>
        <p:spPr>
          <a:xfrm>
            <a:off x="8931055" y="3661698"/>
            <a:ext cx="2440290" cy="409350"/>
          </a:xfrm>
          <a:prstGeom prst="rect">
            <a:avLst/>
          </a:prstGeom>
          <a:solidFill>
            <a:schemeClr val="accent5"/>
          </a:solidFill>
          <a:ln w="10795" cap="flat" cmpd="sng" algn="ctr">
            <a:noFill/>
            <a:prstDash val="soli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72000" rIns="36000" bIns="0" numCol="1" spcCol="0" rtlCol="0" fromWordArt="0" anchor="ctr" anchorCtr="0" forceAA="0" compatLnSpc="1">
            <a:noAutofit/>
          </a:bodyPr>
          <a:lstStyle/>
          <a:p>
            <a:pPr algn="ctr">
              <a:lnSpc>
                <a:spcPct val="90000"/>
              </a:lnSpc>
              <a:spcAft>
                <a:spcPts val="1000"/>
              </a:spcAft>
            </a:pPr>
            <a:r>
              <a:rPr lang="en-US" altLang="zh-TW" b="1" smtClean="0">
                <a:solidFill>
                  <a:schemeClr val="bg1"/>
                </a:solidFill>
              </a:rPr>
              <a:t>X</a:t>
            </a:r>
            <a:endParaRPr lang="en-US" altLang="zh-TW" b="1" dirty="0">
              <a:solidFill>
                <a:schemeClr val="bg1"/>
              </a:solidFill>
            </a:endParaRPr>
          </a:p>
        </p:txBody>
      </p:sp>
      <p:sp>
        <p:nvSpPr>
          <p:cNvPr id="19" name="矩形 18"/>
          <p:cNvSpPr/>
          <p:nvPr>
            <p:custDataLst>
              <p:tags r:id="rId9"/>
            </p:custDataLst>
          </p:nvPr>
        </p:nvSpPr>
        <p:spPr>
          <a:xfrm>
            <a:off x="6380927" y="3661698"/>
            <a:ext cx="2440290" cy="409350"/>
          </a:xfrm>
          <a:prstGeom prst="rect">
            <a:avLst/>
          </a:prstGeom>
          <a:solidFill>
            <a:schemeClr val="accent5"/>
          </a:solidFill>
          <a:ln w="10795" cap="flat" cmpd="sng" algn="ctr">
            <a:noFill/>
            <a:prstDash val="soli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72000" rIns="36000" bIns="0" numCol="1" spcCol="0" rtlCol="0" fromWordArt="0" anchor="ctr" anchorCtr="0" forceAA="0" compatLnSpc="1">
            <a:noAutofit/>
          </a:bodyPr>
          <a:lstStyle/>
          <a:p>
            <a:pPr algn="ctr">
              <a:lnSpc>
                <a:spcPct val="90000"/>
              </a:lnSpc>
              <a:spcAft>
                <a:spcPts val="1000"/>
              </a:spcAft>
            </a:pPr>
            <a:r>
              <a:rPr lang="en-US" altLang="zh-CN" b="1">
                <a:solidFill>
                  <a:schemeClr val="bg1"/>
                </a:solidFill>
              </a:rPr>
              <a:t>X</a:t>
            </a:r>
            <a:endParaRPr lang="en-US" altLang="zh-CN" b="1" smtClean="0">
              <a:solidFill>
                <a:schemeClr val="bg1"/>
              </a:solidFill>
            </a:endParaRPr>
          </a:p>
        </p:txBody>
      </p:sp>
      <p:sp>
        <p:nvSpPr>
          <p:cNvPr id="24" name="矩形 23"/>
          <p:cNvSpPr/>
          <p:nvPr>
            <p:custDataLst>
              <p:tags r:id="rId10"/>
            </p:custDataLst>
          </p:nvPr>
        </p:nvSpPr>
        <p:spPr>
          <a:xfrm>
            <a:off x="1280672" y="4086498"/>
            <a:ext cx="2440290" cy="1861073"/>
          </a:xfrm>
          <a:prstGeom prst="rect">
            <a:avLst/>
          </a:prstGeom>
          <a:gradFill flip="none" rotWithShape="1">
            <a:gsLst>
              <a:gs pos="0">
                <a:schemeClr val="accent6">
                  <a:lumMod val="5000"/>
                  <a:lumOff val="95000"/>
                </a:schemeClr>
              </a:gs>
              <a:gs pos="100000">
                <a:schemeClr val="bg1">
                  <a:lumMod val="85000"/>
                </a:schemeClr>
              </a:gs>
            </a:gsLst>
            <a:lin ang="5400000" scaled="1"/>
            <a:tileRect/>
          </a:gradFill>
        </p:spPr>
        <p:txBody>
          <a:bodyPr wrap="square" lIns="72000" tIns="72000" rIns="72000" bIns="72000">
            <a:noAutofit/>
          </a:bodyPr>
          <a:lstStyle/>
          <a:p>
            <a:pPr marL="176530" indent="-176530">
              <a:spcBef>
                <a:spcPts val="400"/>
              </a:spcBef>
              <a:buFont typeface="Arial" panose="020B0604020202020204" pitchFamily="34" charset="0"/>
              <a:buChar char="•"/>
            </a:pPr>
            <a:r>
              <a:rPr lang="en-US" altLang="zh-CN" sz="1600" smtClean="0"/>
              <a:t>X</a:t>
            </a:r>
            <a:endParaRPr lang="zh-CN" altLang="en-US" sz="1600" dirty="0"/>
          </a:p>
        </p:txBody>
      </p:sp>
      <p:sp>
        <p:nvSpPr>
          <p:cNvPr id="25" name="矩形 24"/>
          <p:cNvSpPr/>
          <p:nvPr>
            <p:custDataLst>
              <p:tags r:id="rId11"/>
            </p:custDataLst>
          </p:nvPr>
        </p:nvSpPr>
        <p:spPr>
          <a:xfrm>
            <a:off x="3830799" y="4086498"/>
            <a:ext cx="2440290" cy="1861073"/>
          </a:xfrm>
          <a:prstGeom prst="rect">
            <a:avLst/>
          </a:prstGeom>
          <a:gradFill flip="none" rotWithShape="1">
            <a:gsLst>
              <a:gs pos="0">
                <a:schemeClr val="accent6">
                  <a:lumMod val="5000"/>
                  <a:lumOff val="95000"/>
                </a:schemeClr>
              </a:gs>
              <a:gs pos="100000">
                <a:schemeClr val="bg1">
                  <a:lumMod val="85000"/>
                </a:schemeClr>
              </a:gs>
            </a:gsLst>
            <a:lin ang="5400000" scaled="1"/>
            <a:tileRect/>
          </a:gradFill>
        </p:spPr>
        <p:txBody>
          <a:bodyPr wrap="square" lIns="72000" tIns="72000" rIns="72000" bIns="72000">
            <a:noAutofit/>
          </a:bodyPr>
          <a:lstStyle/>
          <a:p>
            <a:pPr marL="176530" indent="-176530">
              <a:spcBef>
                <a:spcPts val="400"/>
              </a:spcBef>
              <a:buFont typeface="Arial" panose="020B0604020202020204" pitchFamily="34" charset="0"/>
              <a:buChar char="•"/>
            </a:pPr>
            <a:r>
              <a:rPr lang="en-US" altLang="zh-CN" sz="1600" smtClean="0"/>
              <a:t>X</a:t>
            </a:r>
            <a:endParaRPr lang="en-US" altLang="zh-CN" sz="1600" dirty="0" smtClean="0"/>
          </a:p>
        </p:txBody>
      </p:sp>
      <p:sp>
        <p:nvSpPr>
          <p:cNvPr id="26" name="矩形 25"/>
          <p:cNvSpPr/>
          <p:nvPr>
            <p:custDataLst>
              <p:tags r:id="rId12"/>
            </p:custDataLst>
          </p:nvPr>
        </p:nvSpPr>
        <p:spPr>
          <a:xfrm>
            <a:off x="6380927" y="4086498"/>
            <a:ext cx="2440290" cy="1861073"/>
          </a:xfrm>
          <a:prstGeom prst="rect">
            <a:avLst/>
          </a:prstGeom>
          <a:gradFill flip="none" rotWithShape="1">
            <a:gsLst>
              <a:gs pos="0">
                <a:schemeClr val="accent6">
                  <a:lumMod val="5000"/>
                  <a:lumOff val="95000"/>
                </a:schemeClr>
              </a:gs>
              <a:gs pos="100000">
                <a:schemeClr val="bg1">
                  <a:lumMod val="85000"/>
                </a:schemeClr>
              </a:gs>
            </a:gsLst>
            <a:lin ang="5400000" scaled="1"/>
            <a:tileRect/>
          </a:gradFill>
        </p:spPr>
        <p:txBody>
          <a:bodyPr wrap="square" lIns="72000" tIns="72000" rIns="72000" bIns="72000">
            <a:noAutofit/>
          </a:bodyPr>
          <a:lstStyle/>
          <a:p>
            <a:pPr marL="176530" indent="-176530">
              <a:spcBef>
                <a:spcPts val="400"/>
              </a:spcBef>
              <a:buFont typeface="Arial" panose="020B0604020202020204" pitchFamily="34" charset="0"/>
              <a:buChar char="•"/>
            </a:pPr>
            <a:r>
              <a:rPr lang="en-US" altLang="zh-CN" sz="1600" smtClean="0"/>
              <a:t>X</a:t>
            </a:r>
            <a:endParaRPr lang="zh-CN" altLang="en-US" sz="1600" dirty="0"/>
          </a:p>
        </p:txBody>
      </p:sp>
      <p:sp>
        <p:nvSpPr>
          <p:cNvPr id="27" name="矩形 26"/>
          <p:cNvSpPr/>
          <p:nvPr>
            <p:custDataLst>
              <p:tags r:id="rId13"/>
            </p:custDataLst>
          </p:nvPr>
        </p:nvSpPr>
        <p:spPr>
          <a:xfrm>
            <a:off x="8931055" y="4086498"/>
            <a:ext cx="2440290" cy="1861073"/>
          </a:xfrm>
          <a:prstGeom prst="rect">
            <a:avLst/>
          </a:prstGeom>
          <a:gradFill flip="none" rotWithShape="1">
            <a:gsLst>
              <a:gs pos="0">
                <a:schemeClr val="accent6">
                  <a:lumMod val="5000"/>
                  <a:lumOff val="95000"/>
                </a:schemeClr>
              </a:gs>
              <a:gs pos="100000">
                <a:schemeClr val="bg1">
                  <a:lumMod val="85000"/>
                </a:schemeClr>
              </a:gs>
            </a:gsLst>
            <a:lin ang="5400000" scaled="1"/>
            <a:tileRect/>
          </a:gradFill>
        </p:spPr>
        <p:txBody>
          <a:bodyPr wrap="square" lIns="72000" tIns="72000" rIns="72000" bIns="72000">
            <a:noAutofit/>
          </a:bodyPr>
          <a:lstStyle/>
          <a:p>
            <a:pPr marL="176530" indent="-176530">
              <a:spcBef>
                <a:spcPts val="400"/>
              </a:spcBef>
              <a:buFont typeface="Arial" panose="020B0604020202020204" pitchFamily="34" charset="0"/>
              <a:buChar char="•"/>
            </a:pPr>
            <a:r>
              <a:rPr lang="en-US" altLang="zh-CN" sz="1600" smtClean="0"/>
              <a:t>X</a:t>
            </a:r>
            <a:endParaRPr lang="en-US" altLang="zh-CN" sz="1600" dirty="0" smtClean="0"/>
          </a:p>
          <a:p>
            <a:pPr marL="176530" indent="-176530">
              <a:spcBef>
                <a:spcPts val="400"/>
              </a:spcBef>
              <a:buFont typeface="Arial" panose="020B0604020202020204" pitchFamily="34" charset="0"/>
              <a:buChar char="•"/>
            </a:pPr>
            <a:endParaRPr lang="zh-CN" altLang="en-US" sz="1600" dirty="0"/>
          </a:p>
        </p:txBody>
      </p:sp>
      <p:sp>
        <p:nvSpPr>
          <p:cNvPr id="14" name="圆角矩形 13"/>
          <p:cNvSpPr/>
          <p:nvPr>
            <p:custDataLst>
              <p:tags r:id="rId14"/>
            </p:custDataLst>
          </p:nvPr>
        </p:nvSpPr>
        <p:spPr>
          <a:xfrm>
            <a:off x="280211" y="3010732"/>
            <a:ext cx="903642" cy="2926081"/>
          </a:xfrm>
          <a:prstGeom prst="roundRect">
            <a:avLst>
              <a:gd name="adj" fmla="val 9524"/>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algn="ctr">
              <a:lnSpc>
                <a:spcPct val="90000"/>
              </a:lnSpc>
              <a:spcAft>
                <a:spcPts val="1000"/>
              </a:spcAft>
            </a:pPr>
            <a:r>
              <a:rPr lang="en-US" altLang="zh-TW" sz="2000" b="1" smtClean="0">
                <a:solidFill>
                  <a:schemeClr val="bg1"/>
                </a:solidFill>
              </a:rPr>
              <a:t>XXXX</a:t>
            </a:r>
            <a:endParaRPr lang="zh-CN" altLang="en-US" sz="2000" b="1" dirty="0" smtClean="0">
              <a:solidFill>
                <a:schemeClr val="bg1"/>
              </a:solidFill>
            </a:endParaRPr>
          </a:p>
        </p:txBody>
      </p:sp>
      <p:sp>
        <p:nvSpPr>
          <p:cNvPr id="30" name="椭圆 29"/>
          <p:cNvSpPr/>
          <p:nvPr/>
        </p:nvSpPr>
        <p:spPr>
          <a:xfrm>
            <a:off x="2092027" y="2913916"/>
            <a:ext cx="817580" cy="817580"/>
          </a:xfrm>
          <a:prstGeom prst="ellipse">
            <a:avLst/>
          </a:prstGeom>
          <a:solidFill>
            <a:srgbClr val="FFFFFF"/>
          </a:solidFill>
          <a:ln w="28575">
            <a:gradFill flip="none" rotWithShape="1">
              <a:gsLst>
                <a:gs pos="0">
                  <a:schemeClr val="accent1">
                    <a:lumMod val="5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zh-CN" altLang="en-US" kern="0" dirty="0">
              <a:solidFill>
                <a:schemeClr val="bg1">
                  <a:lumMod val="50000"/>
                </a:schemeClr>
              </a:solidFill>
            </a:endParaRPr>
          </a:p>
        </p:txBody>
      </p:sp>
      <p:sp>
        <p:nvSpPr>
          <p:cNvPr id="31" name="椭圆 30"/>
          <p:cNvSpPr/>
          <p:nvPr/>
        </p:nvSpPr>
        <p:spPr>
          <a:xfrm>
            <a:off x="4642154" y="2913916"/>
            <a:ext cx="817580" cy="817580"/>
          </a:xfrm>
          <a:prstGeom prst="ellipse">
            <a:avLst/>
          </a:prstGeom>
          <a:solidFill>
            <a:srgbClr val="FFFFFF"/>
          </a:solidFill>
          <a:ln w="28575">
            <a:gradFill flip="none" rotWithShape="1">
              <a:gsLst>
                <a:gs pos="0">
                  <a:schemeClr val="accent1">
                    <a:lumMod val="5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zh-CN" altLang="en-US" kern="0" dirty="0">
              <a:solidFill>
                <a:schemeClr val="bg1">
                  <a:lumMod val="50000"/>
                </a:schemeClr>
              </a:solidFill>
            </a:endParaRPr>
          </a:p>
        </p:txBody>
      </p:sp>
      <p:sp>
        <p:nvSpPr>
          <p:cNvPr id="32" name="椭圆 31"/>
          <p:cNvSpPr/>
          <p:nvPr/>
        </p:nvSpPr>
        <p:spPr>
          <a:xfrm>
            <a:off x="7192282" y="2913916"/>
            <a:ext cx="817580" cy="817580"/>
          </a:xfrm>
          <a:prstGeom prst="ellipse">
            <a:avLst/>
          </a:prstGeom>
          <a:solidFill>
            <a:srgbClr val="FFFFFF"/>
          </a:solidFill>
          <a:ln w="28575">
            <a:gradFill flip="none" rotWithShape="1">
              <a:gsLst>
                <a:gs pos="0">
                  <a:schemeClr val="accent1">
                    <a:lumMod val="5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zh-CN" altLang="en-US" kern="0" dirty="0">
              <a:solidFill>
                <a:schemeClr val="bg1">
                  <a:lumMod val="50000"/>
                </a:schemeClr>
              </a:solidFill>
            </a:endParaRPr>
          </a:p>
        </p:txBody>
      </p:sp>
      <p:sp>
        <p:nvSpPr>
          <p:cNvPr id="33" name="椭圆 32"/>
          <p:cNvSpPr/>
          <p:nvPr/>
        </p:nvSpPr>
        <p:spPr>
          <a:xfrm>
            <a:off x="9742410" y="2913916"/>
            <a:ext cx="817580" cy="817580"/>
          </a:xfrm>
          <a:prstGeom prst="ellipse">
            <a:avLst/>
          </a:prstGeom>
          <a:solidFill>
            <a:srgbClr val="FFFFFF"/>
          </a:solidFill>
          <a:ln w="28575">
            <a:gradFill flip="none" rotWithShape="1">
              <a:gsLst>
                <a:gs pos="0">
                  <a:schemeClr val="accent1">
                    <a:lumMod val="5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zh-CN" altLang="en-US" kern="0" dirty="0">
              <a:solidFill>
                <a:schemeClr val="bg1">
                  <a:lumMod val="50000"/>
                </a:schemeClr>
              </a:solidFill>
            </a:endParaRPr>
          </a:p>
        </p:txBody>
      </p:sp>
      <p:sp>
        <p:nvSpPr>
          <p:cNvPr id="35" name="圆角矩形 34"/>
          <p:cNvSpPr/>
          <p:nvPr>
            <p:custDataLst>
              <p:tags r:id="rId15"/>
            </p:custDataLst>
          </p:nvPr>
        </p:nvSpPr>
        <p:spPr>
          <a:xfrm>
            <a:off x="280211" y="1752090"/>
            <a:ext cx="903642" cy="774551"/>
          </a:xfrm>
          <a:prstGeom prst="roundRect">
            <a:avLst>
              <a:gd name="adj" fmla="val 9524"/>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algn="ctr">
              <a:lnSpc>
                <a:spcPct val="90000"/>
              </a:lnSpc>
              <a:spcAft>
                <a:spcPts val="1000"/>
              </a:spcAft>
            </a:pPr>
            <a:r>
              <a:rPr lang="en-US" altLang="zh-TW" sz="2000" b="1" smtClean="0">
                <a:solidFill>
                  <a:schemeClr val="bg1"/>
                </a:solidFill>
              </a:rPr>
              <a:t>XXXX</a:t>
            </a:r>
            <a:endParaRPr lang="zh-TW" altLang="en-US" sz="2000" b="1" dirty="0">
              <a:solidFill>
                <a:schemeClr val="bg1"/>
              </a:solidFill>
            </a:endParaRPr>
          </a:p>
        </p:txBody>
      </p:sp>
      <p:sp>
        <p:nvSpPr>
          <p:cNvPr id="51" name="MH_Other_1"/>
          <p:cNvSpPr/>
          <p:nvPr>
            <p:custDataLst>
              <p:tags r:id="rId16"/>
            </p:custDataLst>
          </p:nvPr>
        </p:nvSpPr>
        <p:spPr>
          <a:xfrm>
            <a:off x="1591899" y="2033535"/>
            <a:ext cx="2020557" cy="652360"/>
          </a:xfrm>
          <a:custGeom>
            <a:avLst/>
            <a:gdLst>
              <a:gd name="connsiteX0" fmla="*/ 2305898 w 4611794"/>
              <a:gd name="connsiteY0" fmla="*/ 176915 h 639232"/>
              <a:gd name="connsiteX1" fmla="*/ 2894395 w 4611794"/>
              <a:gd name="connsiteY1" fmla="*/ 267120 h 639232"/>
              <a:gd name="connsiteX2" fmla="*/ 2305898 w 4611794"/>
              <a:gd name="connsiteY2" fmla="*/ 357325 h 639232"/>
              <a:gd name="connsiteX3" fmla="*/ 1717401 w 4611794"/>
              <a:gd name="connsiteY3" fmla="*/ 267120 h 639232"/>
              <a:gd name="connsiteX4" fmla="*/ 2305898 w 4611794"/>
              <a:gd name="connsiteY4" fmla="*/ 176915 h 639232"/>
              <a:gd name="connsiteX5" fmla="*/ 2305896 w 4611794"/>
              <a:gd name="connsiteY5" fmla="*/ 127061 h 639232"/>
              <a:gd name="connsiteX6" fmla="*/ 1004146 w 4611794"/>
              <a:gd name="connsiteY6" fmla="*/ 283089 h 639232"/>
              <a:gd name="connsiteX7" fmla="*/ 2305896 w 4611794"/>
              <a:gd name="connsiteY7" fmla="*/ 439117 h 639232"/>
              <a:gd name="connsiteX8" fmla="*/ 3607646 w 4611794"/>
              <a:gd name="connsiteY8" fmla="*/ 283089 h 639232"/>
              <a:gd name="connsiteX9" fmla="*/ 2305896 w 4611794"/>
              <a:gd name="connsiteY9" fmla="*/ 127061 h 639232"/>
              <a:gd name="connsiteX10" fmla="*/ 2305897 w 4611794"/>
              <a:gd name="connsiteY10" fmla="*/ 85624 h 639232"/>
              <a:gd name="connsiteX11" fmla="*/ 4116441 w 4611794"/>
              <a:gd name="connsiteY11" fmla="*/ 294807 h 639232"/>
              <a:gd name="connsiteX12" fmla="*/ 2305897 w 4611794"/>
              <a:gd name="connsiteY12" fmla="*/ 503990 h 639232"/>
              <a:gd name="connsiteX13" fmla="*/ 495353 w 4611794"/>
              <a:gd name="connsiteY13" fmla="*/ 294807 h 639232"/>
              <a:gd name="connsiteX14" fmla="*/ 2305897 w 4611794"/>
              <a:gd name="connsiteY14" fmla="*/ 85624 h 639232"/>
              <a:gd name="connsiteX15" fmla="*/ 2305897 w 4611794"/>
              <a:gd name="connsiteY15" fmla="*/ 31880 h 639232"/>
              <a:gd name="connsiteX16" fmla="*/ 184559 w 4611794"/>
              <a:gd name="connsiteY16" fmla="*/ 319548 h 639232"/>
              <a:gd name="connsiteX17" fmla="*/ 2305897 w 4611794"/>
              <a:gd name="connsiteY17" fmla="*/ 607216 h 639232"/>
              <a:gd name="connsiteX18" fmla="*/ 4427235 w 4611794"/>
              <a:gd name="connsiteY18" fmla="*/ 319548 h 639232"/>
              <a:gd name="connsiteX19" fmla="*/ 2305897 w 4611794"/>
              <a:gd name="connsiteY19" fmla="*/ 31880 h 639232"/>
              <a:gd name="connsiteX20" fmla="*/ 2305897 w 4611794"/>
              <a:gd name="connsiteY20" fmla="*/ 0 h 639232"/>
              <a:gd name="connsiteX21" fmla="*/ 4611794 w 4611794"/>
              <a:gd name="connsiteY21" fmla="*/ 319616 h 639232"/>
              <a:gd name="connsiteX22" fmla="*/ 2305897 w 4611794"/>
              <a:gd name="connsiteY22" fmla="*/ 639232 h 639232"/>
              <a:gd name="connsiteX23" fmla="*/ 0 w 4611794"/>
              <a:gd name="connsiteY23" fmla="*/ 319616 h 639232"/>
              <a:gd name="connsiteX24" fmla="*/ 2305897 w 4611794"/>
              <a:gd name="connsiteY24" fmla="*/ 0 h 63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11794" h="639232">
                <a:moveTo>
                  <a:pt x="2305898" y="176915"/>
                </a:moveTo>
                <a:cubicBezTo>
                  <a:pt x="2630916" y="176915"/>
                  <a:pt x="2894395" y="217301"/>
                  <a:pt x="2894395" y="267120"/>
                </a:cubicBezTo>
                <a:cubicBezTo>
                  <a:pt x="2894395" y="316939"/>
                  <a:pt x="2630916" y="357325"/>
                  <a:pt x="2305898" y="357325"/>
                </a:cubicBezTo>
                <a:cubicBezTo>
                  <a:pt x="1980880" y="357325"/>
                  <a:pt x="1717401" y="316939"/>
                  <a:pt x="1717401" y="267120"/>
                </a:cubicBezTo>
                <a:cubicBezTo>
                  <a:pt x="1717401" y="217301"/>
                  <a:pt x="1980880" y="176915"/>
                  <a:pt x="2305898" y="176915"/>
                </a:cubicBezTo>
                <a:close/>
                <a:moveTo>
                  <a:pt x="2305896" y="127061"/>
                </a:moveTo>
                <a:cubicBezTo>
                  <a:pt x="1586959" y="127061"/>
                  <a:pt x="1004146" y="196917"/>
                  <a:pt x="1004146" y="283089"/>
                </a:cubicBezTo>
                <a:cubicBezTo>
                  <a:pt x="1004146" y="369261"/>
                  <a:pt x="1586959" y="439117"/>
                  <a:pt x="2305896" y="439117"/>
                </a:cubicBezTo>
                <a:cubicBezTo>
                  <a:pt x="3024833" y="439117"/>
                  <a:pt x="3607646" y="369261"/>
                  <a:pt x="3607646" y="283089"/>
                </a:cubicBezTo>
                <a:cubicBezTo>
                  <a:pt x="3607646" y="196917"/>
                  <a:pt x="3024833" y="127061"/>
                  <a:pt x="2305896" y="127061"/>
                </a:cubicBezTo>
                <a:close/>
                <a:moveTo>
                  <a:pt x="2305897" y="85624"/>
                </a:moveTo>
                <a:cubicBezTo>
                  <a:pt x="3305833" y="85624"/>
                  <a:pt x="4116441" y="179278"/>
                  <a:pt x="4116441" y="294807"/>
                </a:cubicBezTo>
                <a:cubicBezTo>
                  <a:pt x="4116441" y="410336"/>
                  <a:pt x="3305833" y="503990"/>
                  <a:pt x="2305897" y="503990"/>
                </a:cubicBezTo>
                <a:cubicBezTo>
                  <a:pt x="1305961" y="503990"/>
                  <a:pt x="495353" y="410336"/>
                  <a:pt x="495353" y="294807"/>
                </a:cubicBezTo>
                <a:cubicBezTo>
                  <a:pt x="495353" y="179278"/>
                  <a:pt x="1305961" y="85624"/>
                  <a:pt x="2305897" y="85624"/>
                </a:cubicBezTo>
                <a:close/>
                <a:moveTo>
                  <a:pt x="2305897" y="31880"/>
                </a:moveTo>
                <a:cubicBezTo>
                  <a:pt x="1134314" y="31880"/>
                  <a:pt x="184559" y="160673"/>
                  <a:pt x="184559" y="319548"/>
                </a:cubicBezTo>
                <a:cubicBezTo>
                  <a:pt x="184559" y="478423"/>
                  <a:pt x="1134314" y="607216"/>
                  <a:pt x="2305897" y="607216"/>
                </a:cubicBezTo>
                <a:cubicBezTo>
                  <a:pt x="3477480" y="607216"/>
                  <a:pt x="4427235" y="478423"/>
                  <a:pt x="4427235" y="319548"/>
                </a:cubicBezTo>
                <a:cubicBezTo>
                  <a:pt x="4427235" y="160673"/>
                  <a:pt x="3477480" y="31880"/>
                  <a:pt x="2305897" y="31880"/>
                </a:cubicBezTo>
                <a:close/>
                <a:moveTo>
                  <a:pt x="2305897" y="0"/>
                </a:moveTo>
                <a:cubicBezTo>
                  <a:pt x="3579409" y="0"/>
                  <a:pt x="4611794" y="143097"/>
                  <a:pt x="4611794" y="319616"/>
                </a:cubicBezTo>
                <a:cubicBezTo>
                  <a:pt x="4611794" y="496135"/>
                  <a:pt x="3579409" y="639232"/>
                  <a:pt x="2305897" y="639232"/>
                </a:cubicBezTo>
                <a:cubicBezTo>
                  <a:pt x="1032385" y="639232"/>
                  <a:pt x="0" y="496135"/>
                  <a:pt x="0" y="319616"/>
                </a:cubicBezTo>
                <a:cubicBezTo>
                  <a:pt x="0" y="143097"/>
                  <a:pt x="1032385" y="0"/>
                  <a:pt x="2305897"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2" name="TextBox 133"/>
          <p:cNvSpPr txBox="1"/>
          <p:nvPr/>
        </p:nvSpPr>
        <p:spPr>
          <a:xfrm>
            <a:off x="2013400" y="2333755"/>
            <a:ext cx="1177554" cy="307777"/>
          </a:xfrm>
          <a:prstGeom prst="rect">
            <a:avLst/>
          </a:prstGeom>
          <a:noFill/>
        </p:spPr>
        <p:txBody>
          <a:bodyPr wrap="square" lIns="0" tIns="0" rIns="0" bIns="0" rtlCol="0">
            <a:spAutoFit/>
          </a:bodyPr>
          <a:lstStyle/>
          <a:p>
            <a:pPr algn="ctr"/>
            <a:r>
              <a:rPr lang="en-US" altLang="zh-CN" sz="2000" b="1" smtClean="0">
                <a:effectLst>
                  <a:glow rad="101600">
                    <a:schemeClr val="bg1">
                      <a:alpha val="75000"/>
                    </a:schemeClr>
                  </a:glow>
                </a:effectLst>
              </a:rPr>
              <a:t>XXXX</a:t>
            </a:r>
            <a:endParaRPr lang="zh-CN" altLang="en-US" sz="2000" b="1" dirty="0">
              <a:effectLst>
                <a:glow rad="101600">
                  <a:schemeClr val="bg1">
                    <a:alpha val="75000"/>
                  </a:schemeClr>
                </a:glow>
              </a:effectLst>
            </a:endParaRPr>
          </a:p>
        </p:txBody>
      </p:sp>
      <p:grpSp>
        <p:nvGrpSpPr>
          <p:cNvPr id="37" name="组合 36"/>
          <p:cNvGrpSpPr/>
          <p:nvPr/>
        </p:nvGrpSpPr>
        <p:grpSpPr>
          <a:xfrm>
            <a:off x="2272760" y="1750984"/>
            <a:ext cx="658834" cy="545182"/>
            <a:chOff x="10362580" y="1267485"/>
            <a:chExt cx="658834" cy="545182"/>
          </a:xfrm>
        </p:grpSpPr>
        <p:grpSp>
          <p:nvGrpSpPr>
            <p:cNvPr id="38" name="Group 25"/>
            <p:cNvGrpSpPr>
              <a:grpSpLocks noChangeAspect="1"/>
            </p:cNvGrpSpPr>
            <p:nvPr/>
          </p:nvGrpSpPr>
          <p:grpSpPr bwMode="auto">
            <a:xfrm>
              <a:off x="10362580" y="1267485"/>
              <a:ext cx="658834" cy="545182"/>
              <a:chOff x="2177" y="1383"/>
              <a:chExt cx="1884" cy="1559"/>
            </a:xfrm>
            <a:solidFill>
              <a:schemeClr val="accent1"/>
            </a:solidFill>
          </p:grpSpPr>
          <p:sp>
            <p:nvSpPr>
              <p:cNvPr id="40" name="Freeform 26"/>
              <p:cNvSpPr/>
              <p:nvPr/>
            </p:nvSpPr>
            <p:spPr bwMode="auto">
              <a:xfrm>
                <a:off x="2281" y="2195"/>
                <a:ext cx="344" cy="444"/>
              </a:xfrm>
              <a:custGeom>
                <a:avLst/>
                <a:gdLst>
                  <a:gd name="T0" fmla="*/ 125 w 145"/>
                  <a:gd name="T1" fmla="*/ 126 h 187"/>
                  <a:gd name="T2" fmla="*/ 145 w 145"/>
                  <a:gd name="T3" fmla="*/ 155 h 187"/>
                  <a:gd name="T4" fmla="*/ 114 w 145"/>
                  <a:gd name="T5" fmla="*/ 187 h 187"/>
                  <a:gd name="T6" fmla="*/ 88 w 145"/>
                  <a:gd name="T7" fmla="*/ 173 h 187"/>
                  <a:gd name="T8" fmla="*/ 74 w 145"/>
                  <a:gd name="T9" fmla="*/ 176 h 187"/>
                  <a:gd name="T10" fmla="*/ 64 w 145"/>
                  <a:gd name="T11" fmla="*/ 175 h 187"/>
                  <a:gd name="T12" fmla="*/ 41 w 145"/>
                  <a:gd name="T13" fmla="*/ 185 h 187"/>
                  <a:gd name="T14" fmla="*/ 10 w 145"/>
                  <a:gd name="T15" fmla="*/ 153 h 187"/>
                  <a:gd name="T16" fmla="*/ 16 w 145"/>
                  <a:gd name="T17" fmla="*/ 135 h 187"/>
                  <a:gd name="T18" fmla="*/ 15 w 145"/>
                  <a:gd name="T19" fmla="*/ 128 h 187"/>
                  <a:gd name="T20" fmla="*/ 23 w 145"/>
                  <a:gd name="T21" fmla="*/ 108 h 187"/>
                  <a:gd name="T22" fmla="*/ 0 w 145"/>
                  <a:gd name="T23" fmla="*/ 77 h 187"/>
                  <a:gd name="T24" fmla="*/ 30 w 145"/>
                  <a:gd name="T25" fmla="*/ 46 h 187"/>
                  <a:gd name="T26" fmla="*/ 27 w 145"/>
                  <a:gd name="T27" fmla="*/ 32 h 187"/>
                  <a:gd name="T28" fmla="*/ 58 w 145"/>
                  <a:gd name="T29" fmla="*/ 0 h 187"/>
                  <a:gd name="T30" fmla="*/ 90 w 145"/>
                  <a:gd name="T31" fmla="*/ 31 h 187"/>
                  <a:gd name="T32" fmla="*/ 100 w 145"/>
                  <a:gd name="T33" fmla="*/ 30 h 187"/>
                  <a:gd name="T34" fmla="*/ 132 w 145"/>
                  <a:gd name="T35" fmla="*/ 61 h 187"/>
                  <a:gd name="T36" fmla="*/ 122 w 145"/>
                  <a:gd name="T37" fmla="*/ 84 h 187"/>
                  <a:gd name="T38" fmla="*/ 132 w 145"/>
                  <a:gd name="T39" fmla="*/ 107 h 187"/>
                  <a:gd name="T40" fmla="*/ 125 w 145"/>
                  <a:gd name="T41"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5" h="187">
                    <a:moveTo>
                      <a:pt x="125" y="126"/>
                    </a:moveTo>
                    <a:cubicBezTo>
                      <a:pt x="137" y="130"/>
                      <a:pt x="145" y="142"/>
                      <a:pt x="145" y="155"/>
                    </a:cubicBezTo>
                    <a:cubicBezTo>
                      <a:pt x="145" y="173"/>
                      <a:pt x="131" y="187"/>
                      <a:pt x="114" y="187"/>
                    </a:cubicBezTo>
                    <a:cubicBezTo>
                      <a:pt x="103" y="187"/>
                      <a:pt x="93" y="182"/>
                      <a:pt x="88" y="173"/>
                    </a:cubicBezTo>
                    <a:cubicBezTo>
                      <a:pt x="84" y="175"/>
                      <a:pt x="79" y="176"/>
                      <a:pt x="74" y="176"/>
                    </a:cubicBezTo>
                    <a:cubicBezTo>
                      <a:pt x="71" y="176"/>
                      <a:pt x="67" y="176"/>
                      <a:pt x="64" y="175"/>
                    </a:cubicBezTo>
                    <a:cubicBezTo>
                      <a:pt x="58" y="181"/>
                      <a:pt x="50" y="185"/>
                      <a:pt x="41" y="185"/>
                    </a:cubicBezTo>
                    <a:cubicBezTo>
                      <a:pt x="24" y="185"/>
                      <a:pt x="10" y="170"/>
                      <a:pt x="10" y="153"/>
                    </a:cubicBezTo>
                    <a:cubicBezTo>
                      <a:pt x="10" y="146"/>
                      <a:pt x="12" y="140"/>
                      <a:pt x="16" y="135"/>
                    </a:cubicBezTo>
                    <a:cubicBezTo>
                      <a:pt x="15" y="133"/>
                      <a:pt x="15" y="131"/>
                      <a:pt x="15" y="128"/>
                    </a:cubicBezTo>
                    <a:cubicBezTo>
                      <a:pt x="15" y="120"/>
                      <a:pt x="18" y="113"/>
                      <a:pt x="23" y="108"/>
                    </a:cubicBezTo>
                    <a:cubicBezTo>
                      <a:pt x="9" y="104"/>
                      <a:pt x="0" y="92"/>
                      <a:pt x="0" y="77"/>
                    </a:cubicBezTo>
                    <a:cubicBezTo>
                      <a:pt x="0" y="60"/>
                      <a:pt x="13" y="46"/>
                      <a:pt x="30" y="46"/>
                    </a:cubicBezTo>
                    <a:cubicBezTo>
                      <a:pt x="28" y="41"/>
                      <a:pt x="27" y="37"/>
                      <a:pt x="27" y="32"/>
                    </a:cubicBezTo>
                    <a:cubicBezTo>
                      <a:pt x="27" y="14"/>
                      <a:pt x="41" y="0"/>
                      <a:pt x="58" y="0"/>
                    </a:cubicBezTo>
                    <a:cubicBezTo>
                      <a:pt x="76" y="0"/>
                      <a:pt x="90" y="14"/>
                      <a:pt x="90" y="31"/>
                    </a:cubicBezTo>
                    <a:cubicBezTo>
                      <a:pt x="93" y="30"/>
                      <a:pt x="97" y="30"/>
                      <a:pt x="100" y="30"/>
                    </a:cubicBezTo>
                    <a:cubicBezTo>
                      <a:pt x="118" y="30"/>
                      <a:pt x="132" y="44"/>
                      <a:pt x="132" y="61"/>
                    </a:cubicBezTo>
                    <a:cubicBezTo>
                      <a:pt x="132" y="70"/>
                      <a:pt x="128" y="78"/>
                      <a:pt x="122" y="84"/>
                    </a:cubicBezTo>
                    <a:cubicBezTo>
                      <a:pt x="128" y="90"/>
                      <a:pt x="132" y="98"/>
                      <a:pt x="132" y="107"/>
                    </a:cubicBezTo>
                    <a:cubicBezTo>
                      <a:pt x="132" y="114"/>
                      <a:pt x="129" y="121"/>
                      <a:pt x="125" y="1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n>
                    <a:solidFill>
                      <a:schemeClr val="bg1">
                        <a:lumMod val="75000"/>
                      </a:schemeClr>
                    </a:solidFill>
                  </a:ln>
                  <a:latin typeface="Arial" panose="020B0604020202020204" pitchFamily="34" charset="0"/>
                  <a:ea typeface="华文楷体" panose="02010600040101010101" charset="-122"/>
                  <a:cs typeface="Arial" panose="020B0604020202020204" pitchFamily="34" charset="0"/>
                </a:endParaRPr>
              </a:p>
            </p:txBody>
          </p:sp>
          <p:sp>
            <p:nvSpPr>
              <p:cNvPr id="41" name="Freeform 27"/>
              <p:cNvSpPr/>
              <p:nvPr/>
            </p:nvSpPr>
            <p:spPr bwMode="auto">
              <a:xfrm>
                <a:off x="3610" y="2225"/>
                <a:ext cx="313" cy="421"/>
              </a:xfrm>
              <a:custGeom>
                <a:avLst/>
                <a:gdLst>
                  <a:gd name="T0" fmla="*/ 58 w 132"/>
                  <a:gd name="T1" fmla="*/ 162 h 177"/>
                  <a:gd name="T2" fmla="*/ 35 w 132"/>
                  <a:gd name="T3" fmla="*/ 172 h 177"/>
                  <a:gd name="T4" fmla="*/ 4 w 132"/>
                  <a:gd name="T5" fmla="*/ 140 h 177"/>
                  <a:gd name="T6" fmla="*/ 8 w 132"/>
                  <a:gd name="T7" fmla="*/ 124 h 177"/>
                  <a:gd name="T8" fmla="*/ 2 w 132"/>
                  <a:gd name="T9" fmla="*/ 105 h 177"/>
                  <a:gd name="T10" fmla="*/ 14 w 132"/>
                  <a:gd name="T11" fmla="*/ 80 h 177"/>
                  <a:gd name="T12" fmla="*/ 0 w 132"/>
                  <a:gd name="T13" fmla="*/ 54 h 177"/>
                  <a:gd name="T14" fmla="*/ 31 w 132"/>
                  <a:gd name="T15" fmla="*/ 22 h 177"/>
                  <a:gd name="T16" fmla="*/ 36 w 132"/>
                  <a:gd name="T17" fmla="*/ 23 h 177"/>
                  <a:gd name="T18" fmla="*/ 66 w 132"/>
                  <a:gd name="T19" fmla="*/ 0 h 177"/>
                  <a:gd name="T20" fmla="*/ 98 w 132"/>
                  <a:gd name="T21" fmla="*/ 28 h 177"/>
                  <a:gd name="T22" fmla="*/ 121 w 132"/>
                  <a:gd name="T23" fmla="*/ 59 h 177"/>
                  <a:gd name="T24" fmla="*/ 118 w 132"/>
                  <a:gd name="T25" fmla="*/ 73 h 177"/>
                  <a:gd name="T26" fmla="*/ 126 w 132"/>
                  <a:gd name="T27" fmla="*/ 94 h 177"/>
                  <a:gd name="T28" fmla="*/ 115 w 132"/>
                  <a:gd name="T29" fmla="*/ 117 h 177"/>
                  <a:gd name="T30" fmla="*/ 132 w 132"/>
                  <a:gd name="T31" fmla="*/ 145 h 177"/>
                  <a:gd name="T32" fmla="*/ 100 w 132"/>
                  <a:gd name="T33" fmla="*/ 177 h 177"/>
                  <a:gd name="T34" fmla="*/ 74 w 132"/>
                  <a:gd name="T35" fmla="*/ 163 h 177"/>
                  <a:gd name="T36" fmla="*/ 68 w 132"/>
                  <a:gd name="T37" fmla="*/ 163 h 177"/>
                  <a:gd name="T38" fmla="*/ 58 w 132"/>
                  <a:gd name="T39" fmla="*/ 1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77">
                    <a:moveTo>
                      <a:pt x="58" y="162"/>
                    </a:moveTo>
                    <a:cubicBezTo>
                      <a:pt x="52" y="168"/>
                      <a:pt x="44" y="172"/>
                      <a:pt x="35" y="172"/>
                    </a:cubicBezTo>
                    <a:cubicBezTo>
                      <a:pt x="18" y="172"/>
                      <a:pt x="4" y="157"/>
                      <a:pt x="4" y="140"/>
                    </a:cubicBezTo>
                    <a:cubicBezTo>
                      <a:pt x="4" y="134"/>
                      <a:pt x="5" y="129"/>
                      <a:pt x="8" y="124"/>
                    </a:cubicBezTo>
                    <a:cubicBezTo>
                      <a:pt x="4" y="119"/>
                      <a:pt x="2" y="112"/>
                      <a:pt x="2" y="105"/>
                    </a:cubicBezTo>
                    <a:cubicBezTo>
                      <a:pt x="2" y="95"/>
                      <a:pt x="7" y="86"/>
                      <a:pt x="14" y="80"/>
                    </a:cubicBezTo>
                    <a:cubicBezTo>
                      <a:pt x="5" y="75"/>
                      <a:pt x="0" y="65"/>
                      <a:pt x="0" y="54"/>
                    </a:cubicBezTo>
                    <a:cubicBezTo>
                      <a:pt x="0" y="36"/>
                      <a:pt x="14" y="22"/>
                      <a:pt x="31" y="22"/>
                    </a:cubicBezTo>
                    <a:cubicBezTo>
                      <a:pt x="33" y="22"/>
                      <a:pt x="34" y="22"/>
                      <a:pt x="36" y="23"/>
                    </a:cubicBezTo>
                    <a:cubicBezTo>
                      <a:pt x="40" y="9"/>
                      <a:pt x="52" y="0"/>
                      <a:pt x="66" y="0"/>
                    </a:cubicBezTo>
                    <a:cubicBezTo>
                      <a:pt x="83" y="0"/>
                      <a:pt x="96" y="12"/>
                      <a:pt x="98" y="28"/>
                    </a:cubicBezTo>
                    <a:cubicBezTo>
                      <a:pt x="111" y="32"/>
                      <a:pt x="121" y="44"/>
                      <a:pt x="121" y="59"/>
                    </a:cubicBezTo>
                    <a:cubicBezTo>
                      <a:pt x="121" y="64"/>
                      <a:pt x="120" y="69"/>
                      <a:pt x="118" y="73"/>
                    </a:cubicBezTo>
                    <a:cubicBezTo>
                      <a:pt x="123" y="79"/>
                      <a:pt x="126" y="86"/>
                      <a:pt x="126" y="94"/>
                    </a:cubicBezTo>
                    <a:cubicBezTo>
                      <a:pt x="126" y="103"/>
                      <a:pt x="121" y="112"/>
                      <a:pt x="115" y="117"/>
                    </a:cubicBezTo>
                    <a:cubicBezTo>
                      <a:pt x="125" y="123"/>
                      <a:pt x="132" y="133"/>
                      <a:pt x="132" y="145"/>
                    </a:cubicBezTo>
                    <a:cubicBezTo>
                      <a:pt x="132" y="163"/>
                      <a:pt x="118" y="177"/>
                      <a:pt x="100" y="177"/>
                    </a:cubicBezTo>
                    <a:cubicBezTo>
                      <a:pt x="89" y="177"/>
                      <a:pt x="80" y="171"/>
                      <a:pt x="74" y="163"/>
                    </a:cubicBezTo>
                    <a:cubicBezTo>
                      <a:pt x="72" y="163"/>
                      <a:pt x="70" y="163"/>
                      <a:pt x="68" y="163"/>
                    </a:cubicBezTo>
                    <a:cubicBezTo>
                      <a:pt x="65" y="163"/>
                      <a:pt x="61" y="163"/>
                      <a:pt x="58"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n>
                    <a:solidFill>
                      <a:schemeClr val="bg1">
                        <a:lumMod val="75000"/>
                      </a:schemeClr>
                    </a:solidFill>
                  </a:ln>
                  <a:latin typeface="Arial" panose="020B0604020202020204" pitchFamily="34" charset="0"/>
                  <a:ea typeface="华文楷体" panose="02010600040101010101" charset="-122"/>
                  <a:cs typeface="Arial" panose="020B0604020202020204" pitchFamily="34" charset="0"/>
                </a:endParaRPr>
              </a:p>
            </p:txBody>
          </p:sp>
          <p:sp>
            <p:nvSpPr>
              <p:cNvPr id="42" name="Freeform 28"/>
              <p:cNvSpPr/>
              <p:nvPr/>
            </p:nvSpPr>
            <p:spPr bwMode="auto">
              <a:xfrm>
                <a:off x="3709" y="2639"/>
                <a:ext cx="129" cy="52"/>
              </a:xfrm>
              <a:custGeom>
                <a:avLst/>
                <a:gdLst>
                  <a:gd name="T0" fmla="*/ 53 w 54"/>
                  <a:gd name="T1" fmla="*/ 22 h 22"/>
                  <a:gd name="T2" fmla="*/ 54 w 54"/>
                  <a:gd name="T3" fmla="*/ 14 h 22"/>
                  <a:gd name="T4" fmla="*/ 38 w 54"/>
                  <a:gd name="T5" fmla="*/ 9 h 22"/>
                  <a:gd name="T6" fmla="*/ 27 w 54"/>
                  <a:gd name="T7" fmla="*/ 1 h 22"/>
                  <a:gd name="T8" fmla="*/ 26 w 54"/>
                  <a:gd name="T9" fmla="*/ 1 h 22"/>
                  <a:gd name="T10" fmla="*/ 19 w 54"/>
                  <a:gd name="T11" fmla="*/ 0 h 22"/>
                  <a:gd name="T12" fmla="*/ 10 w 54"/>
                  <a:gd name="T13" fmla="*/ 6 h 22"/>
                  <a:gd name="T14" fmla="*/ 0 w 54"/>
                  <a:gd name="T15" fmla="*/ 9 h 22"/>
                  <a:gd name="T16" fmla="*/ 3 w 54"/>
                  <a:gd name="T17" fmla="*/ 22 h 22"/>
                  <a:gd name="T18" fmla="*/ 53 w 54"/>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2">
                    <a:moveTo>
                      <a:pt x="53" y="22"/>
                    </a:moveTo>
                    <a:cubicBezTo>
                      <a:pt x="54" y="14"/>
                      <a:pt x="54" y="14"/>
                      <a:pt x="54" y="14"/>
                    </a:cubicBezTo>
                    <a:cubicBezTo>
                      <a:pt x="48" y="14"/>
                      <a:pt x="43" y="12"/>
                      <a:pt x="38" y="9"/>
                    </a:cubicBezTo>
                    <a:cubicBezTo>
                      <a:pt x="34" y="7"/>
                      <a:pt x="30" y="4"/>
                      <a:pt x="27" y="1"/>
                    </a:cubicBezTo>
                    <a:cubicBezTo>
                      <a:pt x="27" y="1"/>
                      <a:pt x="26" y="1"/>
                      <a:pt x="26" y="1"/>
                    </a:cubicBezTo>
                    <a:cubicBezTo>
                      <a:pt x="24" y="1"/>
                      <a:pt x="22" y="1"/>
                      <a:pt x="19" y="0"/>
                    </a:cubicBezTo>
                    <a:cubicBezTo>
                      <a:pt x="17" y="3"/>
                      <a:pt x="14" y="4"/>
                      <a:pt x="10" y="6"/>
                    </a:cubicBezTo>
                    <a:cubicBezTo>
                      <a:pt x="7" y="7"/>
                      <a:pt x="4" y="8"/>
                      <a:pt x="0" y="9"/>
                    </a:cubicBezTo>
                    <a:cubicBezTo>
                      <a:pt x="3" y="22"/>
                      <a:pt x="3" y="22"/>
                      <a:pt x="3" y="22"/>
                    </a:cubicBezTo>
                    <a:lnTo>
                      <a:pt x="53" y="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n>
                    <a:solidFill>
                      <a:schemeClr val="bg1">
                        <a:lumMod val="75000"/>
                      </a:schemeClr>
                    </a:solidFill>
                  </a:ln>
                  <a:latin typeface="Arial" panose="020B0604020202020204" pitchFamily="34" charset="0"/>
                  <a:ea typeface="华文楷体" panose="02010600040101010101" charset="-122"/>
                  <a:cs typeface="Arial" panose="020B0604020202020204" pitchFamily="34" charset="0"/>
                </a:endParaRPr>
              </a:p>
            </p:txBody>
          </p:sp>
          <p:sp>
            <p:nvSpPr>
              <p:cNvPr id="43" name="Freeform 29"/>
              <p:cNvSpPr/>
              <p:nvPr/>
            </p:nvSpPr>
            <p:spPr bwMode="auto">
              <a:xfrm>
                <a:off x="2395" y="2639"/>
                <a:ext cx="131" cy="52"/>
              </a:xfrm>
              <a:custGeom>
                <a:avLst/>
                <a:gdLst>
                  <a:gd name="T0" fmla="*/ 53 w 55"/>
                  <a:gd name="T1" fmla="*/ 22 h 22"/>
                  <a:gd name="T2" fmla="*/ 55 w 55"/>
                  <a:gd name="T3" fmla="*/ 10 h 22"/>
                  <a:gd name="T4" fmla="*/ 46 w 55"/>
                  <a:gd name="T5" fmla="*/ 7 h 22"/>
                  <a:gd name="T6" fmla="*/ 36 w 55"/>
                  <a:gd name="T7" fmla="*/ 0 h 22"/>
                  <a:gd name="T8" fmla="*/ 36 w 55"/>
                  <a:gd name="T9" fmla="*/ 0 h 22"/>
                  <a:gd name="T10" fmla="*/ 36 w 55"/>
                  <a:gd name="T11" fmla="*/ 0 h 22"/>
                  <a:gd name="T12" fmla="*/ 26 w 55"/>
                  <a:gd name="T13" fmla="*/ 1 h 22"/>
                  <a:gd name="T14" fmla="*/ 19 w 55"/>
                  <a:gd name="T15" fmla="*/ 0 h 22"/>
                  <a:gd name="T16" fmla="*/ 10 w 55"/>
                  <a:gd name="T17" fmla="*/ 6 h 22"/>
                  <a:gd name="T18" fmla="*/ 0 w 55"/>
                  <a:gd name="T19" fmla="*/ 9 h 22"/>
                  <a:gd name="T20" fmla="*/ 3 w 55"/>
                  <a:gd name="T21" fmla="*/ 22 h 22"/>
                  <a:gd name="T22" fmla="*/ 53 w 55"/>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22">
                    <a:moveTo>
                      <a:pt x="53" y="22"/>
                    </a:moveTo>
                    <a:cubicBezTo>
                      <a:pt x="55" y="10"/>
                      <a:pt x="55" y="10"/>
                      <a:pt x="55" y="10"/>
                    </a:cubicBezTo>
                    <a:cubicBezTo>
                      <a:pt x="52" y="10"/>
                      <a:pt x="49" y="8"/>
                      <a:pt x="46" y="7"/>
                    </a:cubicBezTo>
                    <a:cubicBezTo>
                      <a:pt x="42" y="5"/>
                      <a:pt x="39" y="3"/>
                      <a:pt x="36" y="0"/>
                    </a:cubicBezTo>
                    <a:cubicBezTo>
                      <a:pt x="36" y="0"/>
                      <a:pt x="36" y="0"/>
                      <a:pt x="36" y="0"/>
                    </a:cubicBezTo>
                    <a:cubicBezTo>
                      <a:pt x="36" y="0"/>
                      <a:pt x="36" y="0"/>
                      <a:pt x="36" y="0"/>
                    </a:cubicBezTo>
                    <a:cubicBezTo>
                      <a:pt x="33" y="1"/>
                      <a:pt x="29" y="1"/>
                      <a:pt x="26" y="1"/>
                    </a:cubicBezTo>
                    <a:cubicBezTo>
                      <a:pt x="24" y="1"/>
                      <a:pt x="22" y="1"/>
                      <a:pt x="19" y="0"/>
                    </a:cubicBezTo>
                    <a:cubicBezTo>
                      <a:pt x="17" y="3"/>
                      <a:pt x="14" y="4"/>
                      <a:pt x="10" y="6"/>
                    </a:cubicBezTo>
                    <a:cubicBezTo>
                      <a:pt x="7" y="7"/>
                      <a:pt x="4" y="8"/>
                      <a:pt x="0" y="9"/>
                    </a:cubicBezTo>
                    <a:cubicBezTo>
                      <a:pt x="3" y="22"/>
                      <a:pt x="3" y="22"/>
                      <a:pt x="3" y="22"/>
                    </a:cubicBezTo>
                    <a:cubicBezTo>
                      <a:pt x="53" y="22"/>
                      <a:pt x="53" y="22"/>
                      <a:pt x="53"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n>
                    <a:solidFill>
                      <a:schemeClr val="bg1">
                        <a:lumMod val="75000"/>
                      </a:schemeClr>
                    </a:solidFill>
                  </a:ln>
                  <a:latin typeface="Arial" panose="020B0604020202020204" pitchFamily="34" charset="0"/>
                  <a:ea typeface="华文楷体" panose="02010600040101010101" charset="-122"/>
                  <a:cs typeface="Arial" panose="020B0604020202020204" pitchFamily="34" charset="0"/>
                </a:endParaRPr>
              </a:p>
            </p:txBody>
          </p:sp>
          <p:sp>
            <p:nvSpPr>
              <p:cNvPr id="44" name="Rectangle 30"/>
              <p:cNvSpPr>
                <a:spLocks noChangeArrowheads="1"/>
              </p:cNvSpPr>
              <p:nvPr/>
            </p:nvSpPr>
            <p:spPr bwMode="auto">
              <a:xfrm>
                <a:off x="2315" y="2719"/>
                <a:ext cx="1608"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n>
                    <a:solidFill>
                      <a:schemeClr val="bg1">
                        <a:lumMod val="75000"/>
                      </a:schemeClr>
                    </a:solidFill>
                  </a:ln>
                  <a:latin typeface="Arial" panose="020B0604020202020204" pitchFamily="34" charset="0"/>
                  <a:ea typeface="华文楷体" panose="02010600040101010101" charset="-122"/>
                  <a:cs typeface="Arial" panose="020B0604020202020204" pitchFamily="34" charset="0"/>
                </a:endParaRPr>
              </a:p>
            </p:txBody>
          </p:sp>
          <p:sp>
            <p:nvSpPr>
              <p:cNvPr id="45" name="Rectangle 31"/>
              <p:cNvSpPr>
                <a:spLocks noChangeArrowheads="1"/>
              </p:cNvSpPr>
              <p:nvPr/>
            </p:nvSpPr>
            <p:spPr bwMode="auto">
              <a:xfrm>
                <a:off x="2177" y="2831"/>
                <a:ext cx="1884" cy="1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n>
                    <a:solidFill>
                      <a:schemeClr val="bg1">
                        <a:lumMod val="75000"/>
                      </a:schemeClr>
                    </a:solidFill>
                  </a:ln>
                  <a:latin typeface="Arial" panose="020B0604020202020204" pitchFamily="34" charset="0"/>
                  <a:ea typeface="华文楷体" panose="02010600040101010101" charset="-122"/>
                  <a:cs typeface="Arial" panose="020B0604020202020204" pitchFamily="34" charset="0"/>
                </a:endParaRPr>
              </a:p>
            </p:txBody>
          </p:sp>
          <p:sp>
            <p:nvSpPr>
              <p:cNvPr id="46" name="Rectangle 32"/>
              <p:cNvSpPr>
                <a:spLocks noChangeArrowheads="1"/>
              </p:cNvSpPr>
              <p:nvPr/>
            </p:nvSpPr>
            <p:spPr bwMode="auto">
              <a:xfrm>
                <a:off x="3562" y="244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n>
                    <a:solidFill>
                      <a:schemeClr val="bg1">
                        <a:lumMod val="75000"/>
                      </a:schemeClr>
                    </a:solidFill>
                  </a:ln>
                  <a:latin typeface="Arial" panose="020B0604020202020204" pitchFamily="34" charset="0"/>
                  <a:ea typeface="华文楷体" panose="02010600040101010101" charset="-122"/>
                  <a:cs typeface="Arial" panose="020B0604020202020204" pitchFamily="34" charset="0"/>
                </a:endParaRPr>
              </a:p>
            </p:txBody>
          </p:sp>
          <p:sp>
            <p:nvSpPr>
              <p:cNvPr id="47" name="Rectangle 33"/>
              <p:cNvSpPr>
                <a:spLocks noChangeArrowheads="1"/>
              </p:cNvSpPr>
              <p:nvPr/>
            </p:nvSpPr>
            <p:spPr bwMode="auto">
              <a:xfrm>
                <a:off x="3105" y="150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n>
                    <a:solidFill>
                      <a:schemeClr val="bg1">
                        <a:lumMod val="75000"/>
                      </a:schemeClr>
                    </a:solidFill>
                  </a:ln>
                  <a:latin typeface="Arial" panose="020B0604020202020204" pitchFamily="34" charset="0"/>
                  <a:ea typeface="华文楷体" panose="02010600040101010101" charset="-122"/>
                  <a:cs typeface="Arial" panose="020B0604020202020204" pitchFamily="34" charset="0"/>
                </a:endParaRPr>
              </a:p>
            </p:txBody>
          </p:sp>
          <p:sp>
            <p:nvSpPr>
              <p:cNvPr id="48" name="Freeform 34"/>
              <p:cNvSpPr/>
              <p:nvPr/>
            </p:nvSpPr>
            <p:spPr bwMode="auto">
              <a:xfrm>
                <a:off x="2540" y="2442"/>
                <a:ext cx="135" cy="249"/>
              </a:xfrm>
              <a:custGeom>
                <a:avLst/>
                <a:gdLst>
                  <a:gd name="T0" fmla="*/ 34 w 57"/>
                  <a:gd name="T1" fmla="*/ 3 h 105"/>
                  <a:gd name="T2" fmla="*/ 32 w 57"/>
                  <a:gd name="T3" fmla="*/ 17 h 105"/>
                  <a:gd name="T4" fmla="*/ 32 w 57"/>
                  <a:gd name="T5" fmla="*/ 18 h 105"/>
                  <a:gd name="T6" fmla="*/ 41 w 57"/>
                  <a:gd name="T7" fmla="*/ 27 h 105"/>
                  <a:gd name="T8" fmla="*/ 48 w 57"/>
                  <a:gd name="T9" fmla="*/ 51 h 105"/>
                  <a:gd name="T10" fmla="*/ 36 w 57"/>
                  <a:gd name="T11" fmla="*/ 82 h 105"/>
                  <a:gd name="T12" fmla="*/ 5 w 57"/>
                  <a:gd name="T13" fmla="*/ 95 h 105"/>
                  <a:gd name="T14" fmla="*/ 2 w 57"/>
                  <a:gd name="T15" fmla="*/ 95 h 105"/>
                  <a:gd name="T16" fmla="*/ 0 w 57"/>
                  <a:gd name="T17" fmla="*/ 105 h 105"/>
                  <a:gd name="T18" fmla="*/ 57 w 57"/>
                  <a:gd name="T19" fmla="*/ 105 h 105"/>
                  <a:gd name="T20" fmla="*/ 57 w 57"/>
                  <a:gd name="T21" fmla="*/ 105 h 105"/>
                  <a:gd name="T22" fmla="*/ 57 w 57"/>
                  <a:gd name="T23" fmla="*/ 0 h 105"/>
                  <a:gd name="T24" fmla="*/ 34 w 57"/>
                  <a:gd name="T25" fmla="*/ 0 h 105"/>
                  <a:gd name="T26" fmla="*/ 34 w 57"/>
                  <a:gd name="T27" fmla="*/ 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05">
                    <a:moveTo>
                      <a:pt x="34" y="3"/>
                    </a:moveTo>
                    <a:cubicBezTo>
                      <a:pt x="34" y="8"/>
                      <a:pt x="33" y="12"/>
                      <a:pt x="32" y="17"/>
                    </a:cubicBezTo>
                    <a:cubicBezTo>
                      <a:pt x="32" y="17"/>
                      <a:pt x="32" y="17"/>
                      <a:pt x="32" y="18"/>
                    </a:cubicBezTo>
                    <a:cubicBezTo>
                      <a:pt x="35" y="20"/>
                      <a:pt x="38" y="23"/>
                      <a:pt x="41" y="27"/>
                    </a:cubicBezTo>
                    <a:cubicBezTo>
                      <a:pt x="45" y="34"/>
                      <a:pt x="48" y="42"/>
                      <a:pt x="48" y="51"/>
                    </a:cubicBezTo>
                    <a:cubicBezTo>
                      <a:pt x="48" y="63"/>
                      <a:pt x="43" y="74"/>
                      <a:pt x="36" y="82"/>
                    </a:cubicBezTo>
                    <a:cubicBezTo>
                      <a:pt x="28" y="90"/>
                      <a:pt x="17" y="95"/>
                      <a:pt x="5" y="95"/>
                    </a:cubicBezTo>
                    <a:cubicBezTo>
                      <a:pt x="4" y="95"/>
                      <a:pt x="3" y="95"/>
                      <a:pt x="2" y="95"/>
                    </a:cubicBezTo>
                    <a:cubicBezTo>
                      <a:pt x="0" y="105"/>
                      <a:pt x="0" y="105"/>
                      <a:pt x="0" y="105"/>
                    </a:cubicBezTo>
                    <a:cubicBezTo>
                      <a:pt x="57" y="105"/>
                      <a:pt x="57" y="105"/>
                      <a:pt x="57" y="105"/>
                    </a:cubicBezTo>
                    <a:cubicBezTo>
                      <a:pt x="57" y="105"/>
                      <a:pt x="57" y="105"/>
                      <a:pt x="57" y="105"/>
                    </a:cubicBezTo>
                    <a:cubicBezTo>
                      <a:pt x="57" y="0"/>
                      <a:pt x="57" y="0"/>
                      <a:pt x="57" y="0"/>
                    </a:cubicBezTo>
                    <a:cubicBezTo>
                      <a:pt x="34" y="0"/>
                      <a:pt x="34" y="0"/>
                      <a:pt x="34" y="0"/>
                    </a:cubicBezTo>
                    <a:cubicBezTo>
                      <a:pt x="34" y="1"/>
                      <a:pt x="34" y="2"/>
                      <a:pt x="34"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n>
                    <a:solidFill>
                      <a:schemeClr val="bg1">
                        <a:lumMod val="75000"/>
                      </a:schemeClr>
                    </a:solidFill>
                  </a:ln>
                  <a:latin typeface="Arial" panose="020B0604020202020204" pitchFamily="34" charset="0"/>
                  <a:ea typeface="华文楷体" panose="02010600040101010101" charset="-122"/>
                  <a:cs typeface="Arial" panose="020B0604020202020204" pitchFamily="34" charset="0"/>
                </a:endParaRPr>
              </a:p>
            </p:txBody>
          </p:sp>
          <p:sp>
            <p:nvSpPr>
              <p:cNvPr id="49" name="Freeform 35"/>
              <p:cNvSpPr/>
              <p:nvPr/>
            </p:nvSpPr>
            <p:spPr bwMode="auto">
              <a:xfrm>
                <a:off x="3562" y="2442"/>
                <a:ext cx="136" cy="249"/>
              </a:xfrm>
              <a:custGeom>
                <a:avLst/>
                <a:gdLst>
                  <a:gd name="T0" fmla="*/ 57 w 57"/>
                  <a:gd name="T1" fmla="*/ 105 h 105"/>
                  <a:gd name="T2" fmla="*/ 54 w 57"/>
                  <a:gd name="T3" fmla="*/ 92 h 105"/>
                  <a:gd name="T4" fmla="*/ 25 w 57"/>
                  <a:gd name="T5" fmla="*/ 80 h 105"/>
                  <a:gd name="T6" fmla="*/ 12 w 57"/>
                  <a:gd name="T7" fmla="*/ 49 h 105"/>
                  <a:gd name="T8" fmla="*/ 14 w 57"/>
                  <a:gd name="T9" fmla="*/ 38 h 105"/>
                  <a:gd name="T10" fmla="*/ 15 w 57"/>
                  <a:gd name="T11" fmla="*/ 33 h 105"/>
                  <a:gd name="T12" fmla="*/ 12 w 57"/>
                  <a:gd name="T13" fmla="*/ 28 h 105"/>
                  <a:gd name="T14" fmla="*/ 10 w 57"/>
                  <a:gd name="T15" fmla="*/ 14 h 105"/>
                  <a:gd name="T16" fmla="*/ 12 w 57"/>
                  <a:gd name="T17" fmla="*/ 0 h 105"/>
                  <a:gd name="T18" fmla="*/ 0 w 57"/>
                  <a:gd name="T19" fmla="*/ 0 h 105"/>
                  <a:gd name="T20" fmla="*/ 0 w 57"/>
                  <a:gd name="T21" fmla="*/ 105 h 105"/>
                  <a:gd name="T22" fmla="*/ 57 w 57"/>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05">
                    <a:moveTo>
                      <a:pt x="57" y="105"/>
                    </a:moveTo>
                    <a:cubicBezTo>
                      <a:pt x="54" y="92"/>
                      <a:pt x="54" y="92"/>
                      <a:pt x="54" y="92"/>
                    </a:cubicBezTo>
                    <a:cubicBezTo>
                      <a:pt x="43" y="92"/>
                      <a:pt x="32" y="87"/>
                      <a:pt x="25" y="80"/>
                    </a:cubicBezTo>
                    <a:cubicBezTo>
                      <a:pt x="17" y="72"/>
                      <a:pt x="12" y="61"/>
                      <a:pt x="12" y="49"/>
                    </a:cubicBezTo>
                    <a:cubicBezTo>
                      <a:pt x="12" y="45"/>
                      <a:pt x="12" y="41"/>
                      <a:pt x="14" y="38"/>
                    </a:cubicBezTo>
                    <a:cubicBezTo>
                      <a:pt x="14" y="36"/>
                      <a:pt x="14" y="35"/>
                      <a:pt x="15" y="33"/>
                    </a:cubicBezTo>
                    <a:cubicBezTo>
                      <a:pt x="14" y="32"/>
                      <a:pt x="13" y="30"/>
                      <a:pt x="12" y="28"/>
                    </a:cubicBezTo>
                    <a:cubicBezTo>
                      <a:pt x="11" y="23"/>
                      <a:pt x="10" y="19"/>
                      <a:pt x="10" y="14"/>
                    </a:cubicBezTo>
                    <a:cubicBezTo>
                      <a:pt x="10" y="9"/>
                      <a:pt x="11" y="5"/>
                      <a:pt x="12" y="0"/>
                    </a:cubicBezTo>
                    <a:cubicBezTo>
                      <a:pt x="0" y="0"/>
                      <a:pt x="0" y="0"/>
                      <a:pt x="0" y="0"/>
                    </a:cubicBezTo>
                    <a:cubicBezTo>
                      <a:pt x="0" y="105"/>
                      <a:pt x="0" y="105"/>
                      <a:pt x="0" y="105"/>
                    </a:cubicBezTo>
                    <a:lnTo>
                      <a:pt x="57" y="10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n>
                    <a:solidFill>
                      <a:schemeClr val="bg1">
                        <a:lumMod val="75000"/>
                      </a:schemeClr>
                    </a:solidFill>
                  </a:ln>
                  <a:latin typeface="Arial" panose="020B0604020202020204" pitchFamily="34" charset="0"/>
                  <a:ea typeface="华文楷体" panose="02010600040101010101" charset="-122"/>
                  <a:cs typeface="Arial" panose="020B0604020202020204" pitchFamily="34" charset="0"/>
                </a:endParaRPr>
              </a:p>
            </p:txBody>
          </p:sp>
          <p:sp>
            <p:nvSpPr>
              <p:cNvPr id="50" name="Freeform 36"/>
              <p:cNvSpPr>
                <a:spLocks noEditPoints="1"/>
              </p:cNvSpPr>
              <p:nvPr/>
            </p:nvSpPr>
            <p:spPr bwMode="auto">
              <a:xfrm>
                <a:off x="2462" y="1383"/>
                <a:ext cx="1314" cy="1308"/>
              </a:xfrm>
              <a:custGeom>
                <a:avLst/>
                <a:gdLst>
                  <a:gd name="T0" fmla="*/ 339 w 554"/>
                  <a:gd name="T1" fmla="*/ 0 h 551"/>
                  <a:gd name="T2" fmla="*/ 116 w 554"/>
                  <a:gd name="T3" fmla="*/ 0 h 551"/>
                  <a:gd name="T4" fmla="*/ 90 w 554"/>
                  <a:gd name="T5" fmla="*/ 3 h 551"/>
                  <a:gd name="T6" fmla="*/ 13 w 554"/>
                  <a:gd name="T7" fmla="*/ 343 h 551"/>
                  <a:gd name="T8" fmla="*/ 55 w 554"/>
                  <a:gd name="T9" fmla="*/ 373 h 551"/>
                  <a:gd name="T10" fmla="*/ 90 w 554"/>
                  <a:gd name="T11" fmla="*/ 377 h 551"/>
                  <a:gd name="T12" fmla="*/ 132 w 554"/>
                  <a:gd name="T13" fmla="*/ 446 h 551"/>
                  <a:gd name="T14" fmla="*/ 215 w 554"/>
                  <a:gd name="T15" fmla="*/ 551 h 551"/>
                  <a:gd name="T16" fmla="*/ 339 w 554"/>
                  <a:gd name="T17" fmla="*/ 551 h 551"/>
                  <a:gd name="T18" fmla="*/ 422 w 554"/>
                  <a:gd name="T19" fmla="*/ 446 h 551"/>
                  <a:gd name="T20" fmla="*/ 486 w 554"/>
                  <a:gd name="T21" fmla="*/ 377 h 551"/>
                  <a:gd name="T22" fmla="*/ 550 w 554"/>
                  <a:gd name="T23" fmla="*/ 343 h 551"/>
                  <a:gd name="T24" fmla="*/ 464 w 554"/>
                  <a:gd name="T25" fmla="*/ 3 h 551"/>
                  <a:gd name="T26" fmla="*/ 330 w 554"/>
                  <a:gd name="T27" fmla="*/ 40 h 551"/>
                  <a:gd name="T28" fmla="*/ 338 w 554"/>
                  <a:gd name="T29" fmla="*/ 66 h 551"/>
                  <a:gd name="T30" fmla="*/ 316 w 554"/>
                  <a:gd name="T31" fmla="*/ 82 h 551"/>
                  <a:gd name="T32" fmla="*/ 324 w 554"/>
                  <a:gd name="T33" fmla="*/ 56 h 551"/>
                  <a:gd name="T34" fmla="*/ 339 w 554"/>
                  <a:gd name="T35" fmla="*/ 292 h 551"/>
                  <a:gd name="T36" fmla="*/ 380 w 554"/>
                  <a:gd name="T37" fmla="*/ 361 h 551"/>
                  <a:gd name="T38" fmla="*/ 298 w 554"/>
                  <a:gd name="T39" fmla="*/ 361 h 551"/>
                  <a:gd name="T40" fmla="*/ 298 w 554"/>
                  <a:gd name="T41" fmla="*/ 267 h 551"/>
                  <a:gd name="T42" fmla="*/ 339 w 554"/>
                  <a:gd name="T43" fmla="*/ 197 h 551"/>
                  <a:gd name="T44" fmla="*/ 339 w 554"/>
                  <a:gd name="T45" fmla="*/ 267 h 551"/>
                  <a:gd name="T46" fmla="*/ 325 w 554"/>
                  <a:gd name="T47" fmla="*/ 168 h 551"/>
                  <a:gd name="T48" fmla="*/ 302 w 554"/>
                  <a:gd name="T49" fmla="*/ 52 h 551"/>
                  <a:gd name="T50" fmla="*/ 277 w 554"/>
                  <a:gd name="T51" fmla="*/ 70 h 551"/>
                  <a:gd name="T52" fmla="*/ 251 w 554"/>
                  <a:gd name="T53" fmla="*/ 52 h 551"/>
                  <a:gd name="T54" fmla="*/ 174 w 554"/>
                  <a:gd name="T55" fmla="*/ 292 h 551"/>
                  <a:gd name="T56" fmla="*/ 256 w 554"/>
                  <a:gd name="T57" fmla="*/ 361 h 551"/>
                  <a:gd name="T58" fmla="*/ 174 w 554"/>
                  <a:gd name="T59" fmla="*/ 292 h 551"/>
                  <a:gd name="T60" fmla="*/ 174 w 554"/>
                  <a:gd name="T61" fmla="*/ 197 h 551"/>
                  <a:gd name="T62" fmla="*/ 256 w 554"/>
                  <a:gd name="T63" fmla="*/ 267 h 551"/>
                  <a:gd name="T64" fmla="*/ 224 w 554"/>
                  <a:gd name="T65" fmla="*/ 40 h 551"/>
                  <a:gd name="T66" fmla="*/ 232 w 554"/>
                  <a:gd name="T67" fmla="*/ 66 h 551"/>
                  <a:gd name="T68" fmla="*/ 210 w 554"/>
                  <a:gd name="T69" fmla="*/ 82 h 551"/>
                  <a:gd name="T70" fmla="*/ 219 w 554"/>
                  <a:gd name="T71" fmla="*/ 56 h 551"/>
                  <a:gd name="T72" fmla="*/ 182 w 554"/>
                  <a:gd name="T73" fmla="*/ 60 h 551"/>
                  <a:gd name="T74" fmla="*/ 189 w 554"/>
                  <a:gd name="T75" fmla="*/ 82 h 551"/>
                  <a:gd name="T76" fmla="*/ 170 w 554"/>
                  <a:gd name="T77" fmla="*/ 68 h 551"/>
                  <a:gd name="T78" fmla="*/ 132 w 554"/>
                  <a:gd name="T79" fmla="*/ 361 h 551"/>
                  <a:gd name="T80" fmla="*/ 49 w 554"/>
                  <a:gd name="T81" fmla="*/ 361 h 551"/>
                  <a:gd name="T82" fmla="*/ 90 w 554"/>
                  <a:gd name="T83" fmla="*/ 292 h 551"/>
                  <a:gd name="T84" fmla="*/ 132 w 554"/>
                  <a:gd name="T85" fmla="*/ 267 h 551"/>
                  <a:gd name="T86" fmla="*/ 49 w 554"/>
                  <a:gd name="T87" fmla="*/ 267 h 551"/>
                  <a:gd name="T88" fmla="*/ 90 w 554"/>
                  <a:gd name="T89" fmla="*/ 197 h 551"/>
                  <a:gd name="T90" fmla="*/ 386 w 554"/>
                  <a:gd name="T91" fmla="*/ 534 h 551"/>
                  <a:gd name="T92" fmla="*/ 215 w 554"/>
                  <a:gd name="T93" fmla="*/ 534 h 551"/>
                  <a:gd name="T94" fmla="*/ 168 w 554"/>
                  <a:gd name="T95" fmla="*/ 377 h 551"/>
                  <a:gd name="T96" fmla="*/ 339 w 554"/>
                  <a:gd name="T97" fmla="*/ 377 h 551"/>
                  <a:gd name="T98" fmla="*/ 386 w 554"/>
                  <a:gd name="T99" fmla="*/ 534 h 551"/>
                  <a:gd name="T100" fmla="*/ 369 w 554"/>
                  <a:gd name="T101" fmla="*/ 68 h 551"/>
                  <a:gd name="T102" fmla="*/ 372 w 554"/>
                  <a:gd name="T103" fmla="*/ 60 h 551"/>
                  <a:gd name="T104" fmla="*/ 395 w 554"/>
                  <a:gd name="T105" fmla="*/ 60 h 551"/>
                  <a:gd name="T106" fmla="*/ 376 w 554"/>
                  <a:gd name="T107" fmla="*/ 73 h 551"/>
                  <a:gd name="T108" fmla="*/ 422 w 554"/>
                  <a:gd name="T109" fmla="*/ 361 h 551"/>
                  <a:gd name="T110" fmla="*/ 505 w 554"/>
                  <a:gd name="T111" fmla="*/ 292 h 551"/>
                  <a:gd name="T112" fmla="*/ 464 w 554"/>
                  <a:gd name="T113" fmla="*/ 267 h 551"/>
                  <a:gd name="T114" fmla="*/ 464 w 554"/>
                  <a:gd name="T115" fmla="*/ 19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 h="551">
                    <a:moveTo>
                      <a:pt x="464" y="3"/>
                    </a:moveTo>
                    <a:cubicBezTo>
                      <a:pt x="455" y="1"/>
                      <a:pt x="447" y="0"/>
                      <a:pt x="438" y="0"/>
                    </a:cubicBezTo>
                    <a:cubicBezTo>
                      <a:pt x="339" y="0"/>
                      <a:pt x="339" y="0"/>
                      <a:pt x="339" y="0"/>
                    </a:cubicBezTo>
                    <a:cubicBezTo>
                      <a:pt x="277" y="0"/>
                      <a:pt x="277" y="0"/>
                      <a:pt x="277" y="0"/>
                    </a:cubicBezTo>
                    <a:cubicBezTo>
                      <a:pt x="215" y="0"/>
                      <a:pt x="215" y="0"/>
                      <a:pt x="215" y="0"/>
                    </a:cubicBezTo>
                    <a:cubicBezTo>
                      <a:pt x="116" y="0"/>
                      <a:pt x="116" y="0"/>
                      <a:pt x="116" y="0"/>
                    </a:cubicBezTo>
                    <a:cubicBezTo>
                      <a:pt x="116" y="0"/>
                      <a:pt x="116" y="0"/>
                      <a:pt x="116" y="0"/>
                    </a:cubicBezTo>
                    <a:cubicBezTo>
                      <a:pt x="107" y="0"/>
                      <a:pt x="99" y="1"/>
                      <a:pt x="90" y="3"/>
                    </a:cubicBezTo>
                    <a:cubicBezTo>
                      <a:pt x="90" y="3"/>
                      <a:pt x="90" y="3"/>
                      <a:pt x="90" y="3"/>
                    </a:cubicBezTo>
                    <a:cubicBezTo>
                      <a:pt x="39" y="14"/>
                      <a:pt x="0" y="61"/>
                      <a:pt x="0" y="116"/>
                    </a:cubicBezTo>
                    <a:cubicBezTo>
                      <a:pt x="0" y="334"/>
                      <a:pt x="0" y="334"/>
                      <a:pt x="0" y="334"/>
                    </a:cubicBezTo>
                    <a:cubicBezTo>
                      <a:pt x="5" y="336"/>
                      <a:pt x="9" y="339"/>
                      <a:pt x="13" y="343"/>
                    </a:cubicBezTo>
                    <a:cubicBezTo>
                      <a:pt x="18" y="348"/>
                      <a:pt x="21" y="353"/>
                      <a:pt x="23" y="360"/>
                    </a:cubicBezTo>
                    <a:cubicBezTo>
                      <a:pt x="24" y="360"/>
                      <a:pt x="24" y="360"/>
                      <a:pt x="24" y="360"/>
                    </a:cubicBezTo>
                    <a:cubicBezTo>
                      <a:pt x="36" y="360"/>
                      <a:pt x="47" y="365"/>
                      <a:pt x="55" y="373"/>
                    </a:cubicBezTo>
                    <a:cubicBezTo>
                      <a:pt x="56" y="374"/>
                      <a:pt x="57" y="375"/>
                      <a:pt x="58" y="377"/>
                    </a:cubicBezTo>
                    <a:cubicBezTo>
                      <a:pt x="90" y="377"/>
                      <a:pt x="90" y="377"/>
                      <a:pt x="90" y="377"/>
                    </a:cubicBezTo>
                    <a:cubicBezTo>
                      <a:pt x="90" y="377"/>
                      <a:pt x="90" y="377"/>
                      <a:pt x="90" y="377"/>
                    </a:cubicBezTo>
                    <a:cubicBezTo>
                      <a:pt x="90" y="377"/>
                      <a:pt x="90" y="377"/>
                      <a:pt x="90" y="377"/>
                    </a:cubicBezTo>
                    <a:cubicBezTo>
                      <a:pt x="132" y="377"/>
                      <a:pt x="132" y="377"/>
                      <a:pt x="132" y="377"/>
                    </a:cubicBezTo>
                    <a:cubicBezTo>
                      <a:pt x="132" y="446"/>
                      <a:pt x="132" y="446"/>
                      <a:pt x="132" y="446"/>
                    </a:cubicBezTo>
                    <a:cubicBezTo>
                      <a:pt x="90" y="446"/>
                      <a:pt x="90" y="446"/>
                      <a:pt x="90" y="446"/>
                    </a:cubicBezTo>
                    <a:cubicBezTo>
                      <a:pt x="90" y="551"/>
                      <a:pt x="90" y="551"/>
                      <a:pt x="90" y="551"/>
                    </a:cubicBezTo>
                    <a:cubicBezTo>
                      <a:pt x="215" y="551"/>
                      <a:pt x="215" y="551"/>
                      <a:pt x="215" y="551"/>
                    </a:cubicBezTo>
                    <a:cubicBezTo>
                      <a:pt x="215" y="551"/>
                      <a:pt x="215" y="551"/>
                      <a:pt x="215" y="551"/>
                    </a:cubicBezTo>
                    <a:cubicBezTo>
                      <a:pt x="277" y="551"/>
                      <a:pt x="277" y="551"/>
                      <a:pt x="277" y="551"/>
                    </a:cubicBezTo>
                    <a:cubicBezTo>
                      <a:pt x="339" y="551"/>
                      <a:pt x="339" y="551"/>
                      <a:pt x="339" y="551"/>
                    </a:cubicBezTo>
                    <a:cubicBezTo>
                      <a:pt x="464" y="551"/>
                      <a:pt x="464" y="551"/>
                      <a:pt x="464" y="551"/>
                    </a:cubicBezTo>
                    <a:cubicBezTo>
                      <a:pt x="464" y="446"/>
                      <a:pt x="464" y="446"/>
                      <a:pt x="464" y="446"/>
                    </a:cubicBezTo>
                    <a:cubicBezTo>
                      <a:pt x="422" y="446"/>
                      <a:pt x="422" y="446"/>
                      <a:pt x="422" y="446"/>
                    </a:cubicBezTo>
                    <a:cubicBezTo>
                      <a:pt x="422" y="377"/>
                      <a:pt x="422" y="377"/>
                      <a:pt x="422" y="377"/>
                    </a:cubicBezTo>
                    <a:cubicBezTo>
                      <a:pt x="464" y="377"/>
                      <a:pt x="464" y="377"/>
                      <a:pt x="464" y="377"/>
                    </a:cubicBezTo>
                    <a:cubicBezTo>
                      <a:pt x="486" y="377"/>
                      <a:pt x="486" y="377"/>
                      <a:pt x="486" y="377"/>
                    </a:cubicBezTo>
                    <a:cubicBezTo>
                      <a:pt x="493" y="370"/>
                      <a:pt x="502" y="366"/>
                      <a:pt x="512" y="366"/>
                    </a:cubicBezTo>
                    <a:cubicBezTo>
                      <a:pt x="515" y="360"/>
                      <a:pt x="519" y="355"/>
                      <a:pt x="524" y="352"/>
                    </a:cubicBezTo>
                    <a:cubicBezTo>
                      <a:pt x="532" y="346"/>
                      <a:pt x="541" y="343"/>
                      <a:pt x="550" y="343"/>
                    </a:cubicBezTo>
                    <a:cubicBezTo>
                      <a:pt x="552" y="343"/>
                      <a:pt x="553" y="343"/>
                      <a:pt x="554" y="343"/>
                    </a:cubicBezTo>
                    <a:cubicBezTo>
                      <a:pt x="554" y="116"/>
                      <a:pt x="554" y="116"/>
                      <a:pt x="554" y="116"/>
                    </a:cubicBezTo>
                    <a:cubicBezTo>
                      <a:pt x="554" y="61"/>
                      <a:pt x="515" y="14"/>
                      <a:pt x="464" y="3"/>
                    </a:cubicBezTo>
                    <a:close/>
                    <a:moveTo>
                      <a:pt x="324" y="56"/>
                    </a:moveTo>
                    <a:cubicBezTo>
                      <a:pt x="324" y="56"/>
                      <a:pt x="324" y="56"/>
                      <a:pt x="324" y="56"/>
                    </a:cubicBezTo>
                    <a:cubicBezTo>
                      <a:pt x="330" y="40"/>
                      <a:pt x="330" y="40"/>
                      <a:pt x="330" y="40"/>
                    </a:cubicBezTo>
                    <a:cubicBezTo>
                      <a:pt x="335" y="56"/>
                      <a:pt x="335" y="56"/>
                      <a:pt x="335" y="56"/>
                    </a:cubicBezTo>
                    <a:cubicBezTo>
                      <a:pt x="351" y="56"/>
                      <a:pt x="351" y="56"/>
                      <a:pt x="351" y="56"/>
                    </a:cubicBezTo>
                    <a:cubicBezTo>
                      <a:pt x="338" y="66"/>
                      <a:pt x="338" y="66"/>
                      <a:pt x="338" y="66"/>
                    </a:cubicBezTo>
                    <a:cubicBezTo>
                      <a:pt x="343" y="82"/>
                      <a:pt x="343" y="82"/>
                      <a:pt x="343" y="82"/>
                    </a:cubicBezTo>
                    <a:cubicBezTo>
                      <a:pt x="330" y="72"/>
                      <a:pt x="330" y="72"/>
                      <a:pt x="330" y="72"/>
                    </a:cubicBezTo>
                    <a:cubicBezTo>
                      <a:pt x="316" y="82"/>
                      <a:pt x="316" y="82"/>
                      <a:pt x="316" y="82"/>
                    </a:cubicBezTo>
                    <a:cubicBezTo>
                      <a:pt x="321" y="66"/>
                      <a:pt x="321" y="66"/>
                      <a:pt x="321" y="66"/>
                    </a:cubicBezTo>
                    <a:cubicBezTo>
                      <a:pt x="308" y="56"/>
                      <a:pt x="308" y="56"/>
                      <a:pt x="308" y="56"/>
                    </a:cubicBezTo>
                    <a:lnTo>
                      <a:pt x="324" y="56"/>
                    </a:lnTo>
                    <a:close/>
                    <a:moveTo>
                      <a:pt x="298" y="361"/>
                    </a:moveTo>
                    <a:cubicBezTo>
                      <a:pt x="298" y="292"/>
                      <a:pt x="298" y="292"/>
                      <a:pt x="298" y="292"/>
                    </a:cubicBezTo>
                    <a:cubicBezTo>
                      <a:pt x="339" y="292"/>
                      <a:pt x="339" y="292"/>
                      <a:pt x="339" y="292"/>
                    </a:cubicBezTo>
                    <a:cubicBezTo>
                      <a:pt x="339" y="292"/>
                      <a:pt x="339" y="292"/>
                      <a:pt x="339" y="292"/>
                    </a:cubicBezTo>
                    <a:cubicBezTo>
                      <a:pt x="380" y="292"/>
                      <a:pt x="380" y="292"/>
                      <a:pt x="380" y="292"/>
                    </a:cubicBezTo>
                    <a:cubicBezTo>
                      <a:pt x="380" y="361"/>
                      <a:pt x="380" y="361"/>
                      <a:pt x="380" y="361"/>
                    </a:cubicBezTo>
                    <a:cubicBezTo>
                      <a:pt x="339" y="361"/>
                      <a:pt x="339" y="361"/>
                      <a:pt x="339" y="361"/>
                    </a:cubicBezTo>
                    <a:cubicBezTo>
                      <a:pt x="339" y="361"/>
                      <a:pt x="339" y="361"/>
                      <a:pt x="339" y="361"/>
                    </a:cubicBezTo>
                    <a:lnTo>
                      <a:pt x="298" y="361"/>
                    </a:lnTo>
                    <a:close/>
                    <a:moveTo>
                      <a:pt x="339" y="267"/>
                    </a:moveTo>
                    <a:cubicBezTo>
                      <a:pt x="339" y="267"/>
                      <a:pt x="339" y="267"/>
                      <a:pt x="339" y="267"/>
                    </a:cubicBezTo>
                    <a:cubicBezTo>
                      <a:pt x="298" y="267"/>
                      <a:pt x="298" y="267"/>
                      <a:pt x="298" y="267"/>
                    </a:cubicBezTo>
                    <a:cubicBezTo>
                      <a:pt x="298" y="197"/>
                      <a:pt x="298" y="197"/>
                      <a:pt x="298" y="197"/>
                    </a:cubicBezTo>
                    <a:cubicBezTo>
                      <a:pt x="339" y="197"/>
                      <a:pt x="339" y="197"/>
                      <a:pt x="339" y="197"/>
                    </a:cubicBezTo>
                    <a:cubicBezTo>
                      <a:pt x="339" y="197"/>
                      <a:pt x="339" y="197"/>
                      <a:pt x="339" y="197"/>
                    </a:cubicBezTo>
                    <a:cubicBezTo>
                      <a:pt x="380" y="197"/>
                      <a:pt x="380" y="197"/>
                      <a:pt x="380" y="197"/>
                    </a:cubicBezTo>
                    <a:cubicBezTo>
                      <a:pt x="380" y="267"/>
                      <a:pt x="380" y="267"/>
                      <a:pt x="380" y="267"/>
                    </a:cubicBezTo>
                    <a:lnTo>
                      <a:pt x="339" y="267"/>
                    </a:lnTo>
                    <a:close/>
                    <a:moveTo>
                      <a:pt x="325" y="168"/>
                    </a:moveTo>
                    <a:cubicBezTo>
                      <a:pt x="325" y="168"/>
                      <a:pt x="325" y="168"/>
                      <a:pt x="325" y="168"/>
                    </a:cubicBezTo>
                    <a:cubicBezTo>
                      <a:pt x="325" y="168"/>
                      <a:pt x="325" y="168"/>
                      <a:pt x="325" y="168"/>
                    </a:cubicBezTo>
                    <a:close/>
                    <a:moveTo>
                      <a:pt x="277" y="34"/>
                    </a:moveTo>
                    <a:cubicBezTo>
                      <a:pt x="283" y="52"/>
                      <a:pt x="283" y="52"/>
                      <a:pt x="283" y="52"/>
                    </a:cubicBezTo>
                    <a:cubicBezTo>
                      <a:pt x="302" y="52"/>
                      <a:pt x="302" y="52"/>
                      <a:pt x="302" y="52"/>
                    </a:cubicBezTo>
                    <a:cubicBezTo>
                      <a:pt x="286" y="63"/>
                      <a:pt x="286" y="63"/>
                      <a:pt x="286" y="63"/>
                    </a:cubicBezTo>
                    <a:cubicBezTo>
                      <a:pt x="292" y="82"/>
                      <a:pt x="292" y="82"/>
                      <a:pt x="292" y="82"/>
                    </a:cubicBezTo>
                    <a:cubicBezTo>
                      <a:pt x="277" y="70"/>
                      <a:pt x="277" y="70"/>
                      <a:pt x="277" y="70"/>
                    </a:cubicBezTo>
                    <a:cubicBezTo>
                      <a:pt x="261" y="82"/>
                      <a:pt x="261" y="82"/>
                      <a:pt x="261" y="82"/>
                    </a:cubicBezTo>
                    <a:cubicBezTo>
                      <a:pt x="267" y="63"/>
                      <a:pt x="267" y="63"/>
                      <a:pt x="267" y="63"/>
                    </a:cubicBezTo>
                    <a:cubicBezTo>
                      <a:pt x="251" y="52"/>
                      <a:pt x="251" y="52"/>
                      <a:pt x="251" y="52"/>
                    </a:cubicBezTo>
                    <a:cubicBezTo>
                      <a:pt x="271" y="52"/>
                      <a:pt x="271" y="52"/>
                      <a:pt x="271" y="52"/>
                    </a:cubicBezTo>
                    <a:lnTo>
                      <a:pt x="277" y="34"/>
                    </a:lnTo>
                    <a:close/>
                    <a:moveTo>
                      <a:pt x="174" y="292"/>
                    </a:moveTo>
                    <a:cubicBezTo>
                      <a:pt x="215" y="292"/>
                      <a:pt x="215" y="292"/>
                      <a:pt x="215" y="292"/>
                    </a:cubicBezTo>
                    <a:cubicBezTo>
                      <a:pt x="256" y="292"/>
                      <a:pt x="256" y="292"/>
                      <a:pt x="256" y="292"/>
                    </a:cubicBezTo>
                    <a:cubicBezTo>
                      <a:pt x="256" y="361"/>
                      <a:pt x="256" y="361"/>
                      <a:pt x="256" y="361"/>
                    </a:cubicBezTo>
                    <a:cubicBezTo>
                      <a:pt x="215" y="361"/>
                      <a:pt x="215" y="361"/>
                      <a:pt x="215" y="361"/>
                    </a:cubicBezTo>
                    <a:cubicBezTo>
                      <a:pt x="174" y="361"/>
                      <a:pt x="174" y="361"/>
                      <a:pt x="174" y="361"/>
                    </a:cubicBezTo>
                    <a:lnTo>
                      <a:pt x="174" y="292"/>
                    </a:lnTo>
                    <a:close/>
                    <a:moveTo>
                      <a:pt x="215" y="267"/>
                    </a:moveTo>
                    <a:cubicBezTo>
                      <a:pt x="174" y="267"/>
                      <a:pt x="174" y="267"/>
                      <a:pt x="174" y="267"/>
                    </a:cubicBezTo>
                    <a:cubicBezTo>
                      <a:pt x="174" y="197"/>
                      <a:pt x="174" y="197"/>
                      <a:pt x="174" y="197"/>
                    </a:cubicBezTo>
                    <a:cubicBezTo>
                      <a:pt x="215" y="197"/>
                      <a:pt x="215" y="197"/>
                      <a:pt x="215" y="197"/>
                    </a:cubicBezTo>
                    <a:cubicBezTo>
                      <a:pt x="256" y="197"/>
                      <a:pt x="256" y="197"/>
                      <a:pt x="256" y="197"/>
                    </a:cubicBezTo>
                    <a:cubicBezTo>
                      <a:pt x="256" y="267"/>
                      <a:pt x="256" y="267"/>
                      <a:pt x="256" y="267"/>
                    </a:cubicBezTo>
                    <a:lnTo>
                      <a:pt x="215" y="267"/>
                    </a:lnTo>
                    <a:close/>
                    <a:moveTo>
                      <a:pt x="219" y="56"/>
                    </a:moveTo>
                    <a:cubicBezTo>
                      <a:pt x="224" y="40"/>
                      <a:pt x="224" y="40"/>
                      <a:pt x="224" y="40"/>
                    </a:cubicBezTo>
                    <a:cubicBezTo>
                      <a:pt x="229" y="56"/>
                      <a:pt x="229" y="56"/>
                      <a:pt x="229" y="56"/>
                    </a:cubicBezTo>
                    <a:cubicBezTo>
                      <a:pt x="246" y="56"/>
                      <a:pt x="246" y="56"/>
                      <a:pt x="246" y="56"/>
                    </a:cubicBezTo>
                    <a:cubicBezTo>
                      <a:pt x="232" y="66"/>
                      <a:pt x="232" y="66"/>
                      <a:pt x="232" y="66"/>
                    </a:cubicBezTo>
                    <a:cubicBezTo>
                      <a:pt x="237" y="82"/>
                      <a:pt x="237" y="82"/>
                      <a:pt x="237" y="82"/>
                    </a:cubicBezTo>
                    <a:cubicBezTo>
                      <a:pt x="224" y="72"/>
                      <a:pt x="224" y="72"/>
                      <a:pt x="224" y="72"/>
                    </a:cubicBezTo>
                    <a:cubicBezTo>
                      <a:pt x="210" y="82"/>
                      <a:pt x="210" y="82"/>
                      <a:pt x="210" y="82"/>
                    </a:cubicBezTo>
                    <a:cubicBezTo>
                      <a:pt x="216" y="66"/>
                      <a:pt x="216" y="66"/>
                      <a:pt x="216" y="66"/>
                    </a:cubicBezTo>
                    <a:cubicBezTo>
                      <a:pt x="202" y="56"/>
                      <a:pt x="202" y="56"/>
                      <a:pt x="202" y="56"/>
                    </a:cubicBezTo>
                    <a:lnTo>
                      <a:pt x="219" y="56"/>
                    </a:lnTo>
                    <a:close/>
                    <a:moveTo>
                      <a:pt x="173" y="60"/>
                    </a:moveTo>
                    <a:cubicBezTo>
                      <a:pt x="177" y="46"/>
                      <a:pt x="177" y="46"/>
                      <a:pt x="177" y="46"/>
                    </a:cubicBezTo>
                    <a:cubicBezTo>
                      <a:pt x="182" y="60"/>
                      <a:pt x="182" y="60"/>
                      <a:pt x="182" y="60"/>
                    </a:cubicBezTo>
                    <a:cubicBezTo>
                      <a:pt x="196" y="60"/>
                      <a:pt x="196" y="60"/>
                      <a:pt x="196" y="60"/>
                    </a:cubicBezTo>
                    <a:cubicBezTo>
                      <a:pt x="184" y="68"/>
                      <a:pt x="184" y="68"/>
                      <a:pt x="184" y="68"/>
                    </a:cubicBezTo>
                    <a:cubicBezTo>
                      <a:pt x="189" y="82"/>
                      <a:pt x="189" y="82"/>
                      <a:pt x="189" y="82"/>
                    </a:cubicBezTo>
                    <a:cubicBezTo>
                      <a:pt x="177" y="73"/>
                      <a:pt x="177" y="73"/>
                      <a:pt x="177" y="73"/>
                    </a:cubicBezTo>
                    <a:cubicBezTo>
                      <a:pt x="166" y="82"/>
                      <a:pt x="166" y="82"/>
                      <a:pt x="166" y="82"/>
                    </a:cubicBezTo>
                    <a:cubicBezTo>
                      <a:pt x="170" y="68"/>
                      <a:pt x="170" y="68"/>
                      <a:pt x="170" y="68"/>
                    </a:cubicBezTo>
                    <a:cubicBezTo>
                      <a:pt x="158" y="60"/>
                      <a:pt x="158" y="60"/>
                      <a:pt x="158" y="60"/>
                    </a:cubicBezTo>
                    <a:lnTo>
                      <a:pt x="173" y="60"/>
                    </a:lnTo>
                    <a:close/>
                    <a:moveTo>
                      <a:pt x="132" y="361"/>
                    </a:moveTo>
                    <a:cubicBezTo>
                      <a:pt x="90" y="361"/>
                      <a:pt x="90" y="361"/>
                      <a:pt x="90" y="361"/>
                    </a:cubicBezTo>
                    <a:cubicBezTo>
                      <a:pt x="90" y="361"/>
                      <a:pt x="90" y="361"/>
                      <a:pt x="90" y="361"/>
                    </a:cubicBezTo>
                    <a:cubicBezTo>
                      <a:pt x="49" y="361"/>
                      <a:pt x="49" y="361"/>
                      <a:pt x="49" y="361"/>
                    </a:cubicBezTo>
                    <a:cubicBezTo>
                      <a:pt x="49" y="292"/>
                      <a:pt x="49" y="292"/>
                      <a:pt x="49" y="292"/>
                    </a:cubicBezTo>
                    <a:cubicBezTo>
                      <a:pt x="90" y="292"/>
                      <a:pt x="90" y="292"/>
                      <a:pt x="90" y="292"/>
                    </a:cubicBezTo>
                    <a:cubicBezTo>
                      <a:pt x="90" y="292"/>
                      <a:pt x="90" y="292"/>
                      <a:pt x="90" y="292"/>
                    </a:cubicBezTo>
                    <a:cubicBezTo>
                      <a:pt x="132" y="292"/>
                      <a:pt x="132" y="292"/>
                      <a:pt x="132" y="292"/>
                    </a:cubicBezTo>
                    <a:lnTo>
                      <a:pt x="132" y="361"/>
                    </a:lnTo>
                    <a:close/>
                    <a:moveTo>
                      <a:pt x="132" y="267"/>
                    </a:moveTo>
                    <a:cubicBezTo>
                      <a:pt x="90" y="267"/>
                      <a:pt x="90" y="267"/>
                      <a:pt x="90" y="267"/>
                    </a:cubicBezTo>
                    <a:cubicBezTo>
                      <a:pt x="90" y="267"/>
                      <a:pt x="90" y="267"/>
                      <a:pt x="90" y="267"/>
                    </a:cubicBezTo>
                    <a:cubicBezTo>
                      <a:pt x="49" y="267"/>
                      <a:pt x="49" y="267"/>
                      <a:pt x="49" y="267"/>
                    </a:cubicBezTo>
                    <a:cubicBezTo>
                      <a:pt x="49" y="197"/>
                      <a:pt x="49" y="197"/>
                      <a:pt x="49" y="197"/>
                    </a:cubicBezTo>
                    <a:cubicBezTo>
                      <a:pt x="90" y="197"/>
                      <a:pt x="90" y="197"/>
                      <a:pt x="90" y="197"/>
                    </a:cubicBezTo>
                    <a:cubicBezTo>
                      <a:pt x="90" y="197"/>
                      <a:pt x="90" y="197"/>
                      <a:pt x="90" y="197"/>
                    </a:cubicBezTo>
                    <a:cubicBezTo>
                      <a:pt x="132" y="197"/>
                      <a:pt x="132" y="197"/>
                      <a:pt x="132" y="197"/>
                    </a:cubicBezTo>
                    <a:lnTo>
                      <a:pt x="132" y="267"/>
                    </a:lnTo>
                    <a:close/>
                    <a:moveTo>
                      <a:pt x="386" y="534"/>
                    </a:moveTo>
                    <a:cubicBezTo>
                      <a:pt x="339" y="534"/>
                      <a:pt x="339" y="534"/>
                      <a:pt x="339" y="534"/>
                    </a:cubicBezTo>
                    <a:cubicBezTo>
                      <a:pt x="277" y="534"/>
                      <a:pt x="277" y="534"/>
                      <a:pt x="277" y="534"/>
                    </a:cubicBezTo>
                    <a:cubicBezTo>
                      <a:pt x="215" y="534"/>
                      <a:pt x="215" y="534"/>
                      <a:pt x="215" y="534"/>
                    </a:cubicBezTo>
                    <a:cubicBezTo>
                      <a:pt x="215" y="534"/>
                      <a:pt x="215" y="534"/>
                      <a:pt x="215" y="534"/>
                    </a:cubicBezTo>
                    <a:cubicBezTo>
                      <a:pt x="168" y="534"/>
                      <a:pt x="168" y="534"/>
                      <a:pt x="168" y="534"/>
                    </a:cubicBezTo>
                    <a:cubicBezTo>
                      <a:pt x="168" y="377"/>
                      <a:pt x="168" y="377"/>
                      <a:pt x="168" y="377"/>
                    </a:cubicBezTo>
                    <a:cubicBezTo>
                      <a:pt x="215" y="377"/>
                      <a:pt x="215" y="377"/>
                      <a:pt x="215" y="377"/>
                    </a:cubicBezTo>
                    <a:cubicBezTo>
                      <a:pt x="277" y="377"/>
                      <a:pt x="277" y="377"/>
                      <a:pt x="277" y="377"/>
                    </a:cubicBezTo>
                    <a:cubicBezTo>
                      <a:pt x="339" y="377"/>
                      <a:pt x="339" y="377"/>
                      <a:pt x="339" y="377"/>
                    </a:cubicBezTo>
                    <a:cubicBezTo>
                      <a:pt x="339" y="377"/>
                      <a:pt x="339" y="377"/>
                      <a:pt x="339" y="377"/>
                    </a:cubicBezTo>
                    <a:cubicBezTo>
                      <a:pt x="386" y="377"/>
                      <a:pt x="386" y="377"/>
                      <a:pt x="386" y="377"/>
                    </a:cubicBezTo>
                    <a:lnTo>
                      <a:pt x="386" y="534"/>
                    </a:lnTo>
                    <a:close/>
                    <a:moveTo>
                      <a:pt x="376" y="73"/>
                    </a:moveTo>
                    <a:cubicBezTo>
                      <a:pt x="364" y="82"/>
                      <a:pt x="364" y="82"/>
                      <a:pt x="364" y="82"/>
                    </a:cubicBezTo>
                    <a:cubicBezTo>
                      <a:pt x="369" y="68"/>
                      <a:pt x="369" y="68"/>
                      <a:pt x="369" y="68"/>
                    </a:cubicBezTo>
                    <a:cubicBezTo>
                      <a:pt x="357" y="60"/>
                      <a:pt x="357" y="60"/>
                      <a:pt x="357" y="60"/>
                    </a:cubicBezTo>
                    <a:cubicBezTo>
                      <a:pt x="372" y="60"/>
                      <a:pt x="372" y="60"/>
                      <a:pt x="372" y="60"/>
                    </a:cubicBezTo>
                    <a:cubicBezTo>
                      <a:pt x="372" y="60"/>
                      <a:pt x="372" y="60"/>
                      <a:pt x="372" y="60"/>
                    </a:cubicBezTo>
                    <a:cubicBezTo>
                      <a:pt x="376" y="46"/>
                      <a:pt x="376" y="46"/>
                      <a:pt x="376" y="46"/>
                    </a:cubicBezTo>
                    <a:cubicBezTo>
                      <a:pt x="381" y="60"/>
                      <a:pt x="381" y="60"/>
                      <a:pt x="381" y="60"/>
                    </a:cubicBezTo>
                    <a:cubicBezTo>
                      <a:pt x="395" y="60"/>
                      <a:pt x="395" y="60"/>
                      <a:pt x="395" y="60"/>
                    </a:cubicBezTo>
                    <a:cubicBezTo>
                      <a:pt x="383" y="68"/>
                      <a:pt x="383" y="68"/>
                      <a:pt x="383" y="68"/>
                    </a:cubicBezTo>
                    <a:cubicBezTo>
                      <a:pt x="388" y="82"/>
                      <a:pt x="388" y="82"/>
                      <a:pt x="388" y="82"/>
                    </a:cubicBezTo>
                    <a:lnTo>
                      <a:pt x="376" y="73"/>
                    </a:lnTo>
                    <a:close/>
                    <a:moveTo>
                      <a:pt x="505" y="361"/>
                    </a:moveTo>
                    <a:cubicBezTo>
                      <a:pt x="464" y="361"/>
                      <a:pt x="464" y="361"/>
                      <a:pt x="464" y="361"/>
                    </a:cubicBezTo>
                    <a:cubicBezTo>
                      <a:pt x="422" y="361"/>
                      <a:pt x="422" y="361"/>
                      <a:pt x="422" y="361"/>
                    </a:cubicBezTo>
                    <a:cubicBezTo>
                      <a:pt x="422" y="292"/>
                      <a:pt x="422" y="292"/>
                      <a:pt x="422" y="292"/>
                    </a:cubicBezTo>
                    <a:cubicBezTo>
                      <a:pt x="464" y="292"/>
                      <a:pt x="464" y="292"/>
                      <a:pt x="464" y="292"/>
                    </a:cubicBezTo>
                    <a:cubicBezTo>
                      <a:pt x="505" y="292"/>
                      <a:pt x="505" y="292"/>
                      <a:pt x="505" y="292"/>
                    </a:cubicBezTo>
                    <a:lnTo>
                      <a:pt x="505" y="361"/>
                    </a:lnTo>
                    <a:close/>
                    <a:moveTo>
                      <a:pt x="505" y="267"/>
                    </a:moveTo>
                    <a:cubicBezTo>
                      <a:pt x="464" y="267"/>
                      <a:pt x="464" y="267"/>
                      <a:pt x="464" y="267"/>
                    </a:cubicBezTo>
                    <a:cubicBezTo>
                      <a:pt x="422" y="267"/>
                      <a:pt x="422" y="267"/>
                      <a:pt x="422" y="267"/>
                    </a:cubicBezTo>
                    <a:cubicBezTo>
                      <a:pt x="422" y="197"/>
                      <a:pt x="422" y="197"/>
                      <a:pt x="422" y="197"/>
                    </a:cubicBezTo>
                    <a:cubicBezTo>
                      <a:pt x="464" y="197"/>
                      <a:pt x="464" y="197"/>
                      <a:pt x="464" y="197"/>
                    </a:cubicBezTo>
                    <a:cubicBezTo>
                      <a:pt x="505" y="197"/>
                      <a:pt x="505" y="197"/>
                      <a:pt x="505" y="197"/>
                    </a:cubicBezTo>
                    <a:lnTo>
                      <a:pt x="505" y="2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n>
                    <a:solidFill>
                      <a:schemeClr val="bg1">
                        <a:lumMod val="75000"/>
                      </a:schemeClr>
                    </a:solidFill>
                  </a:ln>
                  <a:latin typeface="Arial" panose="020B0604020202020204" pitchFamily="34" charset="0"/>
                  <a:ea typeface="华文楷体" panose="02010600040101010101" charset="-122"/>
                  <a:cs typeface="Arial" panose="020B0604020202020204" pitchFamily="34" charset="0"/>
                </a:endParaRPr>
              </a:p>
            </p:txBody>
          </p:sp>
        </p:grpSp>
        <p:sp>
          <p:nvSpPr>
            <p:cNvPr id="39" name="矩形 38"/>
            <p:cNvSpPr/>
            <p:nvPr/>
          </p:nvSpPr>
          <p:spPr>
            <a:xfrm>
              <a:off x="10642485" y="1346756"/>
              <a:ext cx="101072" cy="803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800" dirty="0" smtClean="0">
                  <a:solidFill>
                    <a:schemeClr val="bg1"/>
                  </a:solidFill>
                </a:rPr>
                <a:t>卫</a:t>
              </a:r>
              <a:endParaRPr lang="zh-CN" altLang="en-US" sz="800" dirty="0" smtClean="0">
                <a:solidFill>
                  <a:schemeClr val="bg1"/>
                </a:solidFill>
              </a:endParaRPr>
            </a:p>
          </p:txBody>
        </p:sp>
      </p:grpSp>
      <p:sp>
        <p:nvSpPr>
          <p:cNvPr id="53" name="MH_Other_1"/>
          <p:cNvSpPr/>
          <p:nvPr>
            <p:custDataLst>
              <p:tags r:id="rId17"/>
            </p:custDataLst>
          </p:nvPr>
        </p:nvSpPr>
        <p:spPr>
          <a:xfrm>
            <a:off x="5346318" y="2033535"/>
            <a:ext cx="2020557" cy="652360"/>
          </a:xfrm>
          <a:custGeom>
            <a:avLst/>
            <a:gdLst>
              <a:gd name="connsiteX0" fmla="*/ 2305898 w 4611794"/>
              <a:gd name="connsiteY0" fmla="*/ 176915 h 639232"/>
              <a:gd name="connsiteX1" fmla="*/ 2894395 w 4611794"/>
              <a:gd name="connsiteY1" fmla="*/ 267120 h 639232"/>
              <a:gd name="connsiteX2" fmla="*/ 2305898 w 4611794"/>
              <a:gd name="connsiteY2" fmla="*/ 357325 h 639232"/>
              <a:gd name="connsiteX3" fmla="*/ 1717401 w 4611794"/>
              <a:gd name="connsiteY3" fmla="*/ 267120 h 639232"/>
              <a:gd name="connsiteX4" fmla="*/ 2305898 w 4611794"/>
              <a:gd name="connsiteY4" fmla="*/ 176915 h 639232"/>
              <a:gd name="connsiteX5" fmla="*/ 2305896 w 4611794"/>
              <a:gd name="connsiteY5" fmla="*/ 127061 h 639232"/>
              <a:gd name="connsiteX6" fmla="*/ 1004146 w 4611794"/>
              <a:gd name="connsiteY6" fmla="*/ 283089 h 639232"/>
              <a:gd name="connsiteX7" fmla="*/ 2305896 w 4611794"/>
              <a:gd name="connsiteY7" fmla="*/ 439117 h 639232"/>
              <a:gd name="connsiteX8" fmla="*/ 3607646 w 4611794"/>
              <a:gd name="connsiteY8" fmla="*/ 283089 h 639232"/>
              <a:gd name="connsiteX9" fmla="*/ 2305896 w 4611794"/>
              <a:gd name="connsiteY9" fmla="*/ 127061 h 639232"/>
              <a:gd name="connsiteX10" fmla="*/ 2305897 w 4611794"/>
              <a:gd name="connsiteY10" fmla="*/ 85624 h 639232"/>
              <a:gd name="connsiteX11" fmla="*/ 4116441 w 4611794"/>
              <a:gd name="connsiteY11" fmla="*/ 294807 h 639232"/>
              <a:gd name="connsiteX12" fmla="*/ 2305897 w 4611794"/>
              <a:gd name="connsiteY12" fmla="*/ 503990 h 639232"/>
              <a:gd name="connsiteX13" fmla="*/ 495353 w 4611794"/>
              <a:gd name="connsiteY13" fmla="*/ 294807 h 639232"/>
              <a:gd name="connsiteX14" fmla="*/ 2305897 w 4611794"/>
              <a:gd name="connsiteY14" fmla="*/ 85624 h 639232"/>
              <a:gd name="connsiteX15" fmla="*/ 2305897 w 4611794"/>
              <a:gd name="connsiteY15" fmla="*/ 31880 h 639232"/>
              <a:gd name="connsiteX16" fmla="*/ 184559 w 4611794"/>
              <a:gd name="connsiteY16" fmla="*/ 319548 h 639232"/>
              <a:gd name="connsiteX17" fmla="*/ 2305897 w 4611794"/>
              <a:gd name="connsiteY17" fmla="*/ 607216 h 639232"/>
              <a:gd name="connsiteX18" fmla="*/ 4427235 w 4611794"/>
              <a:gd name="connsiteY18" fmla="*/ 319548 h 639232"/>
              <a:gd name="connsiteX19" fmla="*/ 2305897 w 4611794"/>
              <a:gd name="connsiteY19" fmla="*/ 31880 h 639232"/>
              <a:gd name="connsiteX20" fmla="*/ 2305897 w 4611794"/>
              <a:gd name="connsiteY20" fmla="*/ 0 h 639232"/>
              <a:gd name="connsiteX21" fmla="*/ 4611794 w 4611794"/>
              <a:gd name="connsiteY21" fmla="*/ 319616 h 639232"/>
              <a:gd name="connsiteX22" fmla="*/ 2305897 w 4611794"/>
              <a:gd name="connsiteY22" fmla="*/ 639232 h 639232"/>
              <a:gd name="connsiteX23" fmla="*/ 0 w 4611794"/>
              <a:gd name="connsiteY23" fmla="*/ 319616 h 639232"/>
              <a:gd name="connsiteX24" fmla="*/ 2305897 w 4611794"/>
              <a:gd name="connsiteY24" fmla="*/ 0 h 63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11794" h="639232">
                <a:moveTo>
                  <a:pt x="2305898" y="176915"/>
                </a:moveTo>
                <a:cubicBezTo>
                  <a:pt x="2630916" y="176915"/>
                  <a:pt x="2894395" y="217301"/>
                  <a:pt x="2894395" y="267120"/>
                </a:cubicBezTo>
                <a:cubicBezTo>
                  <a:pt x="2894395" y="316939"/>
                  <a:pt x="2630916" y="357325"/>
                  <a:pt x="2305898" y="357325"/>
                </a:cubicBezTo>
                <a:cubicBezTo>
                  <a:pt x="1980880" y="357325"/>
                  <a:pt x="1717401" y="316939"/>
                  <a:pt x="1717401" y="267120"/>
                </a:cubicBezTo>
                <a:cubicBezTo>
                  <a:pt x="1717401" y="217301"/>
                  <a:pt x="1980880" y="176915"/>
                  <a:pt x="2305898" y="176915"/>
                </a:cubicBezTo>
                <a:close/>
                <a:moveTo>
                  <a:pt x="2305896" y="127061"/>
                </a:moveTo>
                <a:cubicBezTo>
                  <a:pt x="1586959" y="127061"/>
                  <a:pt x="1004146" y="196917"/>
                  <a:pt x="1004146" y="283089"/>
                </a:cubicBezTo>
                <a:cubicBezTo>
                  <a:pt x="1004146" y="369261"/>
                  <a:pt x="1586959" y="439117"/>
                  <a:pt x="2305896" y="439117"/>
                </a:cubicBezTo>
                <a:cubicBezTo>
                  <a:pt x="3024833" y="439117"/>
                  <a:pt x="3607646" y="369261"/>
                  <a:pt x="3607646" y="283089"/>
                </a:cubicBezTo>
                <a:cubicBezTo>
                  <a:pt x="3607646" y="196917"/>
                  <a:pt x="3024833" y="127061"/>
                  <a:pt x="2305896" y="127061"/>
                </a:cubicBezTo>
                <a:close/>
                <a:moveTo>
                  <a:pt x="2305897" y="85624"/>
                </a:moveTo>
                <a:cubicBezTo>
                  <a:pt x="3305833" y="85624"/>
                  <a:pt x="4116441" y="179278"/>
                  <a:pt x="4116441" y="294807"/>
                </a:cubicBezTo>
                <a:cubicBezTo>
                  <a:pt x="4116441" y="410336"/>
                  <a:pt x="3305833" y="503990"/>
                  <a:pt x="2305897" y="503990"/>
                </a:cubicBezTo>
                <a:cubicBezTo>
                  <a:pt x="1305961" y="503990"/>
                  <a:pt x="495353" y="410336"/>
                  <a:pt x="495353" y="294807"/>
                </a:cubicBezTo>
                <a:cubicBezTo>
                  <a:pt x="495353" y="179278"/>
                  <a:pt x="1305961" y="85624"/>
                  <a:pt x="2305897" y="85624"/>
                </a:cubicBezTo>
                <a:close/>
                <a:moveTo>
                  <a:pt x="2305897" y="31880"/>
                </a:moveTo>
                <a:cubicBezTo>
                  <a:pt x="1134314" y="31880"/>
                  <a:pt x="184559" y="160673"/>
                  <a:pt x="184559" y="319548"/>
                </a:cubicBezTo>
                <a:cubicBezTo>
                  <a:pt x="184559" y="478423"/>
                  <a:pt x="1134314" y="607216"/>
                  <a:pt x="2305897" y="607216"/>
                </a:cubicBezTo>
                <a:cubicBezTo>
                  <a:pt x="3477480" y="607216"/>
                  <a:pt x="4427235" y="478423"/>
                  <a:pt x="4427235" y="319548"/>
                </a:cubicBezTo>
                <a:cubicBezTo>
                  <a:pt x="4427235" y="160673"/>
                  <a:pt x="3477480" y="31880"/>
                  <a:pt x="2305897" y="31880"/>
                </a:cubicBezTo>
                <a:close/>
                <a:moveTo>
                  <a:pt x="2305897" y="0"/>
                </a:moveTo>
                <a:cubicBezTo>
                  <a:pt x="3579409" y="0"/>
                  <a:pt x="4611794" y="143097"/>
                  <a:pt x="4611794" y="319616"/>
                </a:cubicBezTo>
                <a:cubicBezTo>
                  <a:pt x="4611794" y="496135"/>
                  <a:pt x="3579409" y="639232"/>
                  <a:pt x="2305897" y="639232"/>
                </a:cubicBezTo>
                <a:cubicBezTo>
                  <a:pt x="1032385" y="639232"/>
                  <a:pt x="0" y="496135"/>
                  <a:pt x="0" y="319616"/>
                </a:cubicBezTo>
                <a:cubicBezTo>
                  <a:pt x="0" y="143097"/>
                  <a:pt x="1032385" y="0"/>
                  <a:pt x="2305897"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4" name="TextBox 133"/>
          <p:cNvSpPr txBox="1"/>
          <p:nvPr/>
        </p:nvSpPr>
        <p:spPr>
          <a:xfrm>
            <a:off x="5767819" y="2333755"/>
            <a:ext cx="1177554" cy="307777"/>
          </a:xfrm>
          <a:prstGeom prst="rect">
            <a:avLst/>
          </a:prstGeom>
          <a:noFill/>
        </p:spPr>
        <p:txBody>
          <a:bodyPr wrap="square" lIns="0" tIns="0" rIns="0" bIns="0" rtlCol="0">
            <a:spAutoFit/>
          </a:bodyPr>
          <a:lstStyle/>
          <a:p>
            <a:pPr algn="ctr"/>
            <a:r>
              <a:rPr lang="en-US" altLang="zh-CN" sz="2000" b="1" smtClean="0">
                <a:effectLst>
                  <a:glow rad="101600">
                    <a:schemeClr val="bg1">
                      <a:alpha val="75000"/>
                    </a:schemeClr>
                  </a:glow>
                </a:effectLst>
              </a:rPr>
              <a:t>XXX</a:t>
            </a:r>
            <a:endParaRPr lang="zh-CN" altLang="en-US" sz="2000" b="1" dirty="0">
              <a:effectLst>
                <a:glow rad="101600">
                  <a:schemeClr val="bg1">
                    <a:alpha val="75000"/>
                  </a:schemeClr>
                </a:glow>
              </a:effectLst>
            </a:endParaRPr>
          </a:p>
        </p:txBody>
      </p:sp>
      <p:sp>
        <p:nvSpPr>
          <p:cNvPr id="70" name="MH_Other_1"/>
          <p:cNvSpPr/>
          <p:nvPr>
            <p:custDataLst>
              <p:tags r:id="rId18"/>
            </p:custDataLst>
          </p:nvPr>
        </p:nvSpPr>
        <p:spPr>
          <a:xfrm>
            <a:off x="9111494" y="2033535"/>
            <a:ext cx="2020557" cy="652360"/>
          </a:xfrm>
          <a:custGeom>
            <a:avLst/>
            <a:gdLst>
              <a:gd name="connsiteX0" fmla="*/ 2305898 w 4611794"/>
              <a:gd name="connsiteY0" fmla="*/ 176915 h 639232"/>
              <a:gd name="connsiteX1" fmla="*/ 2894395 w 4611794"/>
              <a:gd name="connsiteY1" fmla="*/ 267120 h 639232"/>
              <a:gd name="connsiteX2" fmla="*/ 2305898 w 4611794"/>
              <a:gd name="connsiteY2" fmla="*/ 357325 h 639232"/>
              <a:gd name="connsiteX3" fmla="*/ 1717401 w 4611794"/>
              <a:gd name="connsiteY3" fmla="*/ 267120 h 639232"/>
              <a:gd name="connsiteX4" fmla="*/ 2305898 w 4611794"/>
              <a:gd name="connsiteY4" fmla="*/ 176915 h 639232"/>
              <a:gd name="connsiteX5" fmla="*/ 2305896 w 4611794"/>
              <a:gd name="connsiteY5" fmla="*/ 127061 h 639232"/>
              <a:gd name="connsiteX6" fmla="*/ 1004146 w 4611794"/>
              <a:gd name="connsiteY6" fmla="*/ 283089 h 639232"/>
              <a:gd name="connsiteX7" fmla="*/ 2305896 w 4611794"/>
              <a:gd name="connsiteY7" fmla="*/ 439117 h 639232"/>
              <a:gd name="connsiteX8" fmla="*/ 3607646 w 4611794"/>
              <a:gd name="connsiteY8" fmla="*/ 283089 h 639232"/>
              <a:gd name="connsiteX9" fmla="*/ 2305896 w 4611794"/>
              <a:gd name="connsiteY9" fmla="*/ 127061 h 639232"/>
              <a:gd name="connsiteX10" fmla="*/ 2305897 w 4611794"/>
              <a:gd name="connsiteY10" fmla="*/ 85624 h 639232"/>
              <a:gd name="connsiteX11" fmla="*/ 4116441 w 4611794"/>
              <a:gd name="connsiteY11" fmla="*/ 294807 h 639232"/>
              <a:gd name="connsiteX12" fmla="*/ 2305897 w 4611794"/>
              <a:gd name="connsiteY12" fmla="*/ 503990 h 639232"/>
              <a:gd name="connsiteX13" fmla="*/ 495353 w 4611794"/>
              <a:gd name="connsiteY13" fmla="*/ 294807 h 639232"/>
              <a:gd name="connsiteX14" fmla="*/ 2305897 w 4611794"/>
              <a:gd name="connsiteY14" fmla="*/ 85624 h 639232"/>
              <a:gd name="connsiteX15" fmla="*/ 2305897 w 4611794"/>
              <a:gd name="connsiteY15" fmla="*/ 31880 h 639232"/>
              <a:gd name="connsiteX16" fmla="*/ 184559 w 4611794"/>
              <a:gd name="connsiteY16" fmla="*/ 319548 h 639232"/>
              <a:gd name="connsiteX17" fmla="*/ 2305897 w 4611794"/>
              <a:gd name="connsiteY17" fmla="*/ 607216 h 639232"/>
              <a:gd name="connsiteX18" fmla="*/ 4427235 w 4611794"/>
              <a:gd name="connsiteY18" fmla="*/ 319548 h 639232"/>
              <a:gd name="connsiteX19" fmla="*/ 2305897 w 4611794"/>
              <a:gd name="connsiteY19" fmla="*/ 31880 h 639232"/>
              <a:gd name="connsiteX20" fmla="*/ 2305897 w 4611794"/>
              <a:gd name="connsiteY20" fmla="*/ 0 h 639232"/>
              <a:gd name="connsiteX21" fmla="*/ 4611794 w 4611794"/>
              <a:gd name="connsiteY21" fmla="*/ 319616 h 639232"/>
              <a:gd name="connsiteX22" fmla="*/ 2305897 w 4611794"/>
              <a:gd name="connsiteY22" fmla="*/ 639232 h 639232"/>
              <a:gd name="connsiteX23" fmla="*/ 0 w 4611794"/>
              <a:gd name="connsiteY23" fmla="*/ 319616 h 639232"/>
              <a:gd name="connsiteX24" fmla="*/ 2305897 w 4611794"/>
              <a:gd name="connsiteY24" fmla="*/ 0 h 63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11794" h="639232">
                <a:moveTo>
                  <a:pt x="2305898" y="176915"/>
                </a:moveTo>
                <a:cubicBezTo>
                  <a:pt x="2630916" y="176915"/>
                  <a:pt x="2894395" y="217301"/>
                  <a:pt x="2894395" y="267120"/>
                </a:cubicBezTo>
                <a:cubicBezTo>
                  <a:pt x="2894395" y="316939"/>
                  <a:pt x="2630916" y="357325"/>
                  <a:pt x="2305898" y="357325"/>
                </a:cubicBezTo>
                <a:cubicBezTo>
                  <a:pt x="1980880" y="357325"/>
                  <a:pt x="1717401" y="316939"/>
                  <a:pt x="1717401" y="267120"/>
                </a:cubicBezTo>
                <a:cubicBezTo>
                  <a:pt x="1717401" y="217301"/>
                  <a:pt x="1980880" y="176915"/>
                  <a:pt x="2305898" y="176915"/>
                </a:cubicBezTo>
                <a:close/>
                <a:moveTo>
                  <a:pt x="2305896" y="127061"/>
                </a:moveTo>
                <a:cubicBezTo>
                  <a:pt x="1586959" y="127061"/>
                  <a:pt x="1004146" y="196917"/>
                  <a:pt x="1004146" y="283089"/>
                </a:cubicBezTo>
                <a:cubicBezTo>
                  <a:pt x="1004146" y="369261"/>
                  <a:pt x="1586959" y="439117"/>
                  <a:pt x="2305896" y="439117"/>
                </a:cubicBezTo>
                <a:cubicBezTo>
                  <a:pt x="3024833" y="439117"/>
                  <a:pt x="3607646" y="369261"/>
                  <a:pt x="3607646" y="283089"/>
                </a:cubicBezTo>
                <a:cubicBezTo>
                  <a:pt x="3607646" y="196917"/>
                  <a:pt x="3024833" y="127061"/>
                  <a:pt x="2305896" y="127061"/>
                </a:cubicBezTo>
                <a:close/>
                <a:moveTo>
                  <a:pt x="2305897" y="85624"/>
                </a:moveTo>
                <a:cubicBezTo>
                  <a:pt x="3305833" y="85624"/>
                  <a:pt x="4116441" y="179278"/>
                  <a:pt x="4116441" y="294807"/>
                </a:cubicBezTo>
                <a:cubicBezTo>
                  <a:pt x="4116441" y="410336"/>
                  <a:pt x="3305833" y="503990"/>
                  <a:pt x="2305897" y="503990"/>
                </a:cubicBezTo>
                <a:cubicBezTo>
                  <a:pt x="1305961" y="503990"/>
                  <a:pt x="495353" y="410336"/>
                  <a:pt x="495353" y="294807"/>
                </a:cubicBezTo>
                <a:cubicBezTo>
                  <a:pt x="495353" y="179278"/>
                  <a:pt x="1305961" y="85624"/>
                  <a:pt x="2305897" y="85624"/>
                </a:cubicBezTo>
                <a:close/>
                <a:moveTo>
                  <a:pt x="2305897" y="31880"/>
                </a:moveTo>
                <a:cubicBezTo>
                  <a:pt x="1134314" y="31880"/>
                  <a:pt x="184559" y="160673"/>
                  <a:pt x="184559" y="319548"/>
                </a:cubicBezTo>
                <a:cubicBezTo>
                  <a:pt x="184559" y="478423"/>
                  <a:pt x="1134314" y="607216"/>
                  <a:pt x="2305897" y="607216"/>
                </a:cubicBezTo>
                <a:cubicBezTo>
                  <a:pt x="3477480" y="607216"/>
                  <a:pt x="4427235" y="478423"/>
                  <a:pt x="4427235" y="319548"/>
                </a:cubicBezTo>
                <a:cubicBezTo>
                  <a:pt x="4427235" y="160673"/>
                  <a:pt x="3477480" y="31880"/>
                  <a:pt x="2305897" y="31880"/>
                </a:cubicBezTo>
                <a:close/>
                <a:moveTo>
                  <a:pt x="2305897" y="0"/>
                </a:moveTo>
                <a:cubicBezTo>
                  <a:pt x="3579409" y="0"/>
                  <a:pt x="4611794" y="143097"/>
                  <a:pt x="4611794" y="319616"/>
                </a:cubicBezTo>
                <a:cubicBezTo>
                  <a:pt x="4611794" y="496135"/>
                  <a:pt x="3579409" y="639232"/>
                  <a:pt x="2305897" y="639232"/>
                </a:cubicBezTo>
                <a:cubicBezTo>
                  <a:pt x="1032385" y="639232"/>
                  <a:pt x="0" y="496135"/>
                  <a:pt x="0" y="319616"/>
                </a:cubicBezTo>
                <a:cubicBezTo>
                  <a:pt x="0" y="143097"/>
                  <a:pt x="1032385" y="0"/>
                  <a:pt x="2305897"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5" name="TextBox 133"/>
          <p:cNvSpPr txBox="1"/>
          <p:nvPr/>
        </p:nvSpPr>
        <p:spPr>
          <a:xfrm>
            <a:off x="9489965" y="2333755"/>
            <a:ext cx="1177554" cy="307777"/>
          </a:xfrm>
          <a:prstGeom prst="rect">
            <a:avLst/>
          </a:prstGeom>
          <a:noFill/>
        </p:spPr>
        <p:txBody>
          <a:bodyPr wrap="square" lIns="0" tIns="0" rIns="0" bIns="0" rtlCol="0">
            <a:spAutoFit/>
          </a:bodyPr>
          <a:lstStyle/>
          <a:p>
            <a:pPr algn="ctr"/>
            <a:r>
              <a:rPr lang="en-US" altLang="zh-CN" sz="2000" b="1" smtClean="0">
                <a:effectLst>
                  <a:glow rad="101600">
                    <a:schemeClr val="bg1">
                      <a:alpha val="75000"/>
                    </a:schemeClr>
                  </a:glow>
                </a:effectLst>
              </a:rPr>
              <a:t>XXX</a:t>
            </a:r>
            <a:endParaRPr lang="zh-CN" altLang="en-US" sz="2000" b="1" dirty="0">
              <a:effectLst>
                <a:glow rad="101600">
                  <a:schemeClr val="bg1">
                    <a:alpha val="75000"/>
                  </a:schemeClr>
                </a:glow>
              </a:effectLst>
            </a:endParaRPr>
          </a:p>
        </p:txBody>
      </p:sp>
      <p:sp>
        <p:nvSpPr>
          <p:cNvPr id="86" name="Freeform 11"/>
          <p:cNvSpPr>
            <a:spLocks noEditPoints="1"/>
          </p:cNvSpPr>
          <p:nvPr/>
        </p:nvSpPr>
        <p:spPr bwMode="auto">
          <a:xfrm>
            <a:off x="6048791" y="1840500"/>
            <a:ext cx="688455" cy="470986"/>
          </a:xfrm>
          <a:custGeom>
            <a:avLst/>
            <a:gdLst>
              <a:gd name="T0" fmla="*/ 3364 w 3557"/>
              <a:gd name="T1" fmla="*/ 672 h 2433"/>
              <a:gd name="T2" fmla="*/ 3317 w 3557"/>
              <a:gd name="T3" fmla="*/ 574 h 2433"/>
              <a:gd name="T4" fmla="*/ 2540 w 3557"/>
              <a:gd name="T5" fmla="*/ 546 h 2433"/>
              <a:gd name="T6" fmla="*/ 2446 w 3557"/>
              <a:gd name="T7" fmla="*/ 2173 h 2433"/>
              <a:gd name="T8" fmla="*/ 2449 w 3557"/>
              <a:gd name="T9" fmla="*/ 97 h 2433"/>
              <a:gd name="T10" fmla="*/ 2382 w 3557"/>
              <a:gd name="T11" fmla="*/ 13 h 2433"/>
              <a:gd name="T12" fmla="*/ 1202 w 3557"/>
              <a:gd name="T13" fmla="*/ 4 h 2433"/>
              <a:gd name="T14" fmla="*/ 1117 w 3557"/>
              <a:gd name="T15" fmla="*/ 71 h 2433"/>
              <a:gd name="T16" fmla="*/ 1106 w 3557"/>
              <a:gd name="T17" fmla="*/ 2154 h 2433"/>
              <a:gd name="T18" fmla="*/ 1017 w 3557"/>
              <a:gd name="T19" fmla="*/ 2102 h 2433"/>
              <a:gd name="T20" fmla="*/ 280 w 3557"/>
              <a:gd name="T21" fmla="*/ 558 h 2433"/>
              <a:gd name="T22" fmla="*/ 213 w 3557"/>
              <a:gd name="T23" fmla="*/ 643 h 2433"/>
              <a:gd name="T24" fmla="*/ 216 w 3557"/>
              <a:gd name="T25" fmla="*/ 2173 h 2433"/>
              <a:gd name="T26" fmla="*/ 3557 w 3557"/>
              <a:gd name="T27" fmla="*/ 2173 h 2433"/>
              <a:gd name="T28" fmla="*/ 405 w 3557"/>
              <a:gd name="T29" fmla="*/ 1481 h 2433"/>
              <a:gd name="T30" fmla="*/ 405 w 3557"/>
              <a:gd name="T31" fmla="*/ 1345 h 2433"/>
              <a:gd name="T32" fmla="*/ 586 w 3557"/>
              <a:gd name="T33" fmla="*/ 1040 h 2433"/>
              <a:gd name="T34" fmla="*/ 586 w 3557"/>
              <a:gd name="T35" fmla="*/ 1040 h 2433"/>
              <a:gd name="T36" fmla="*/ 866 w 3557"/>
              <a:gd name="T37" fmla="*/ 1481 h 2433"/>
              <a:gd name="T38" fmla="*/ 687 w 3557"/>
              <a:gd name="T39" fmla="*/ 1165 h 2433"/>
              <a:gd name="T40" fmla="*/ 687 w 3557"/>
              <a:gd name="T41" fmla="*/ 1040 h 2433"/>
              <a:gd name="T42" fmla="*/ 2057 w 3557"/>
              <a:gd name="T43" fmla="*/ 2164 h 2433"/>
              <a:gd name="T44" fmla="*/ 2057 w 3557"/>
              <a:gd name="T45" fmla="*/ 2164 h 2433"/>
              <a:gd name="T46" fmla="*/ 1629 w 3557"/>
              <a:gd name="T47" fmla="*/ 915 h 2433"/>
              <a:gd name="T48" fmla="*/ 1466 w 3557"/>
              <a:gd name="T49" fmla="*/ 811 h 2433"/>
              <a:gd name="T50" fmla="*/ 1362 w 3557"/>
              <a:gd name="T51" fmla="*/ 648 h 2433"/>
              <a:gd name="T52" fmla="*/ 1339 w 3557"/>
              <a:gd name="T53" fmla="*/ 447 h 2433"/>
              <a:gd name="T54" fmla="*/ 1405 w 3557"/>
              <a:gd name="T55" fmla="*/ 262 h 2433"/>
              <a:gd name="T56" fmla="*/ 1541 w 3557"/>
              <a:gd name="T57" fmla="*/ 126 h 2433"/>
              <a:gd name="T58" fmla="*/ 1726 w 3557"/>
              <a:gd name="T59" fmla="*/ 60 h 2433"/>
              <a:gd name="T60" fmla="*/ 1928 w 3557"/>
              <a:gd name="T61" fmla="*/ 83 h 2433"/>
              <a:gd name="T62" fmla="*/ 2091 w 3557"/>
              <a:gd name="T63" fmla="*/ 186 h 2433"/>
              <a:gd name="T64" fmla="*/ 2195 w 3557"/>
              <a:gd name="T65" fmla="*/ 350 h 2433"/>
              <a:gd name="T66" fmla="*/ 2217 w 3557"/>
              <a:gd name="T67" fmla="*/ 551 h 2433"/>
              <a:gd name="T68" fmla="*/ 2151 w 3557"/>
              <a:gd name="T69" fmla="*/ 736 h 2433"/>
              <a:gd name="T70" fmla="*/ 2015 w 3557"/>
              <a:gd name="T71" fmla="*/ 872 h 2433"/>
              <a:gd name="T72" fmla="*/ 1830 w 3557"/>
              <a:gd name="T73" fmla="*/ 938 h 2433"/>
              <a:gd name="T74" fmla="*/ 2741 w 3557"/>
              <a:gd name="T75" fmla="*/ 1481 h 2433"/>
              <a:gd name="T76" fmla="*/ 2741 w 3557"/>
              <a:gd name="T77" fmla="*/ 1345 h 2433"/>
              <a:gd name="T78" fmla="*/ 2921 w 3557"/>
              <a:gd name="T79" fmla="*/ 1040 h 2433"/>
              <a:gd name="T80" fmla="*/ 2921 w 3557"/>
              <a:gd name="T81" fmla="*/ 1040 h 2433"/>
              <a:gd name="T82" fmla="*/ 3201 w 3557"/>
              <a:gd name="T83" fmla="*/ 1481 h 2433"/>
              <a:gd name="T84" fmla="*/ 3021 w 3557"/>
              <a:gd name="T85" fmla="*/ 1165 h 2433"/>
              <a:gd name="T86" fmla="*/ 3021 w 3557"/>
              <a:gd name="T87" fmla="*/ 1040 h 2433"/>
              <a:gd name="T88" fmla="*/ 1888 w 3557"/>
              <a:gd name="T89" fmla="*/ 390 h 2433"/>
              <a:gd name="T90" fmla="*/ 1888 w 3557"/>
              <a:gd name="T91" fmla="*/ 778 h 2433"/>
              <a:gd name="T92" fmla="*/ 1499 w 3557"/>
              <a:gd name="T93" fmla="*/ 390 h 2433"/>
              <a:gd name="T94" fmla="*/ 1888 w 3557"/>
              <a:gd name="T95" fmla="*/ 390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7" h="2433">
                <a:moveTo>
                  <a:pt x="3358" y="2173"/>
                </a:moveTo>
                <a:lnTo>
                  <a:pt x="3362" y="2154"/>
                </a:lnTo>
                <a:lnTo>
                  <a:pt x="3364" y="2133"/>
                </a:lnTo>
                <a:lnTo>
                  <a:pt x="3364" y="672"/>
                </a:lnTo>
                <a:lnTo>
                  <a:pt x="3361" y="643"/>
                </a:lnTo>
                <a:lnTo>
                  <a:pt x="3351" y="617"/>
                </a:lnTo>
                <a:lnTo>
                  <a:pt x="3336" y="593"/>
                </a:lnTo>
                <a:lnTo>
                  <a:pt x="3317" y="574"/>
                </a:lnTo>
                <a:lnTo>
                  <a:pt x="3294" y="558"/>
                </a:lnTo>
                <a:lnTo>
                  <a:pt x="3267" y="550"/>
                </a:lnTo>
                <a:lnTo>
                  <a:pt x="3239" y="546"/>
                </a:lnTo>
                <a:lnTo>
                  <a:pt x="2540" y="546"/>
                </a:lnTo>
                <a:lnTo>
                  <a:pt x="2540" y="2102"/>
                </a:lnTo>
                <a:lnTo>
                  <a:pt x="2537" y="2138"/>
                </a:lnTo>
                <a:lnTo>
                  <a:pt x="2527" y="2173"/>
                </a:lnTo>
                <a:lnTo>
                  <a:pt x="2446" y="2173"/>
                </a:lnTo>
                <a:lnTo>
                  <a:pt x="2450" y="2154"/>
                </a:lnTo>
                <a:lnTo>
                  <a:pt x="2452" y="2133"/>
                </a:lnTo>
                <a:lnTo>
                  <a:pt x="2452" y="126"/>
                </a:lnTo>
                <a:lnTo>
                  <a:pt x="2449" y="97"/>
                </a:lnTo>
                <a:lnTo>
                  <a:pt x="2439" y="71"/>
                </a:lnTo>
                <a:lnTo>
                  <a:pt x="2424" y="47"/>
                </a:lnTo>
                <a:lnTo>
                  <a:pt x="2405" y="27"/>
                </a:lnTo>
                <a:lnTo>
                  <a:pt x="2382" y="13"/>
                </a:lnTo>
                <a:lnTo>
                  <a:pt x="2355" y="4"/>
                </a:lnTo>
                <a:lnTo>
                  <a:pt x="2327" y="0"/>
                </a:lnTo>
                <a:lnTo>
                  <a:pt x="1230" y="0"/>
                </a:lnTo>
                <a:lnTo>
                  <a:pt x="1202" y="4"/>
                </a:lnTo>
                <a:lnTo>
                  <a:pt x="1175" y="13"/>
                </a:lnTo>
                <a:lnTo>
                  <a:pt x="1152" y="27"/>
                </a:lnTo>
                <a:lnTo>
                  <a:pt x="1132" y="47"/>
                </a:lnTo>
                <a:lnTo>
                  <a:pt x="1117" y="71"/>
                </a:lnTo>
                <a:lnTo>
                  <a:pt x="1108" y="97"/>
                </a:lnTo>
                <a:lnTo>
                  <a:pt x="1104" y="126"/>
                </a:lnTo>
                <a:lnTo>
                  <a:pt x="1104" y="2133"/>
                </a:lnTo>
                <a:lnTo>
                  <a:pt x="1106" y="2154"/>
                </a:lnTo>
                <a:lnTo>
                  <a:pt x="1111" y="2173"/>
                </a:lnTo>
                <a:lnTo>
                  <a:pt x="1030" y="2173"/>
                </a:lnTo>
                <a:lnTo>
                  <a:pt x="1020" y="2138"/>
                </a:lnTo>
                <a:lnTo>
                  <a:pt x="1017" y="2102"/>
                </a:lnTo>
                <a:lnTo>
                  <a:pt x="1017" y="546"/>
                </a:lnTo>
                <a:lnTo>
                  <a:pt x="335" y="546"/>
                </a:lnTo>
                <a:lnTo>
                  <a:pt x="306" y="550"/>
                </a:lnTo>
                <a:lnTo>
                  <a:pt x="280" y="558"/>
                </a:lnTo>
                <a:lnTo>
                  <a:pt x="256" y="574"/>
                </a:lnTo>
                <a:lnTo>
                  <a:pt x="237" y="593"/>
                </a:lnTo>
                <a:lnTo>
                  <a:pt x="222" y="617"/>
                </a:lnTo>
                <a:lnTo>
                  <a:pt x="213" y="643"/>
                </a:lnTo>
                <a:lnTo>
                  <a:pt x="210" y="672"/>
                </a:lnTo>
                <a:lnTo>
                  <a:pt x="210" y="2133"/>
                </a:lnTo>
                <a:lnTo>
                  <a:pt x="211" y="2154"/>
                </a:lnTo>
                <a:lnTo>
                  <a:pt x="216" y="2173"/>
                </a:lnTo>
                <a:lnTo>
                  <a:pt x="0" y="2173"/>
                </a:lnTo>
                <a:lnTo>
                  <a:pt x="0" y="2433"/>
                </a:lnTo>
                <a:lnTo>
                  <a:pt x="3557" y="2433"/>
                </a:lnTo>
                <a:lnTo>
                  <a:pt x="3557" y="2173"/>
                </a:lnTo>
                <a:lnTo>
                  <a:pt x="3358" y="2173"/>
                </a:lnTo>
                <a:close/>
                <a:moveTo>
                  <a:pt x="586" y="1660"/>
                </a:moveTo>
                <a:lnTo>
                  <a:pt x="405" y="1660"/>
                </a:lnTo>
                <a:lnTo>
                  <a:pt x="405" y="1481"/>
                </a:lnTo>
                <a:lnTo>
                  <a:pt x="586" y="1481"/>
                </a:lnTo>
                <a:lnTo>
                  <a:pt x="586" y="1660"/>
                </a:lnTo>
                <a:close/>
                <a:moveTo>
                  <a:pt x="586" y="1345"/>
                </a:moveTo>
                <a:lnTo>
                  <a:pt x="405" y="1345"/>
                </a:lnTo>
                <a:lnTo>
                  <a:pt x="405" y="1165"/>
                </a:lnTo>
                <a:lnTo>
                  <a:pt x="586" y="1165"/>
                </a:lnTo>
                <a:lnTo>
                  <a:pt x="586" y="1345"/>
                </a:lnTo>
                <a:close/>
                <a:moveTo>
                  <a:pt x="586" y="1040"/>
                </a:moveTo>
                <a:lnTo>
                  <a:pt x="405" y="1040"/>
                </a:lnTo>
                <a:lnTo>
                  <a:pt x="405" y="860"/>
                </a:lnTo>
                <a:lnTo>
                  <a:pt x="586" y="860"/>
                </a:lnTo>
                <a:lnTo>
                  <a:pt x="586" y="1040"/>
                </a:lnTo>
                <a:close/>
                <a:moveTo>
                  <a:pt x="866" y="1660"/>
                </a:moveTo>
                <a:lnTo>
                  <a:pt x="687" y="1660"/>
                </a:lnTo>
                <a:lnTo>
                  <a:pt x="687" y="1481"/>
                </a:lnTo>
                <a:lnTo>
                  <a:pt x="866" y="1481"/>
                </a:lnTo>
                <a:lnTo>
                  <a:pt x="866" y="1660"/>
                </a:lnTo>
                <a:close/>
                <a:moveTo>
                  <a:pt x="866" y="1345"/>
                </a:moveTo>
                <a:lnTo>
                  <a:pt x="687" y="1345"/>
                </a:lnTo>
                <a:lnTo>
                  <a:pt x="687" y="1165"/>
                </a:lnTo>
                <a:lnTo>
                  <a:pt x="866" y="1165"/>
                </a:lnTo>
                <a:lnTo>
                  <a:pt x="866" y="1345"/>
                </a:lnTo>
                <a:close/>
                <a:moveTo>
                  <a:pt x="866" y="1040"/>
                </a:moveTo>
                <a:lnTo>
                  <a:pt x="687" y="1040"/>
                </a:lnTo>
                <a:lnTo>
                  <a:pt x="687" y="860"/>
                </a:lnTo>
                <a:lnTo>
                  <a:pt x="866" y="860"/>
                </a:lnTo>
                <a:lnTo>
                  <a:pt x="866" y="1040"/>
                </a:lnTo>
                <a:close/>
                <a:moveTo>
                  <a:pt x="2057" y="2164"/>
                </a:moveTo>
                <a:lnTo>
                  <a:pt x="1529" y="2164"/>
                </a:lnTo>
                <a:lnTo>
                  <a:pt x="1529" y="1506"/>
                </a:lnTo>
                <a:lnTo>
                  <a:pt x="2057" y="1506"/>
                </a:lnTo>
                <a:lnTo>
                  <a:pt x="2057" y="2164"/>
                </a:lnTo>
                <a:close/>
                <a:moveTo>
                  <a:pt x="1778" y="941"/>
                </a:moveTo>
                <a:lnTo>
                  <a:pt x="1726" y="938"/>
                </a:lnTo>
                <a:lnTo>
                  <a:pt x="1677" y="929"/>
                </a:lnTo>
                <a:lnTo>
                  <a:pt x="1629" y="915"/>
                </a:lnTo>
                <a:lnTo>
                  <a:pt x="1584" y="897"/>
                </a:lnTo>
                <a:lnTo>
                  <a:pt x="1541" y="872"/>
                </a:lnTo>
                <a:lnTo>
                  <a:pt x="1501" y="844"/>
                </a:lnTo>
                <a:lnTo>
                  <a:pt x="1466" y="811"/>
                </a:lnTo>
                <a:lnTo>
                  <a:pt x="1433" y="776"/>
                </a:lnTo>
                <a:lnTo>
                  <a:pt x="1405" y="736"/>
                </a:lnTo>
                <a:lnTo>
                  <a:pt x="1381" y="694"/>
                </a:lnTo>
                <a:lnTo>
                  <a:pt x="1362" y="648"/>
                </a:lnTo>
                <a:lnTo>
                  <a:pt x="1348" y="601"/>
                </a:lnTo>
                <a:lnTo>
                  <a:pt x="1339" y="551"/>
                </a:lnTo>
                <a:lnTo>
                  <a:pt x="1336" y="499"/>
                </a:lnTo>
                <a:lnTo>
                  <a:pt x="1339" y="447"/>
                </a:lnTo>
                <a:lnTo>
                  <a:pt x="1348" y="397"/>
                </a:lnTo>
                <a:lnTo>
                  <a:pt x="1362" y="350"/>
                </a:lnTo>
                <a:lnTo>
                  <a:pt x="1381" y="304"/>
                </a:lnTo>
                <a:lnTo>
                  <a:pt x="1405" y="262"/>
                </a:lnTo>
                <a:lnTo>
                  <a:pt x="1433" y="222"/>
                </a:lnTo>
                <a:lnTo>
                  <a:pt x="1466" y="186"/>
                </a:lnTo>
                <a:lnTo>
                  <a:pt x="1501" y="154"/>
                </a:lnTo>
                <a:lnTo>
                  <a:pt x="1541" y="126"/>
                </a:lnTo>
                <a:lnTo>
                  <a:pt x="1584" y="102"/>
                </a:lnTo>
                <a:lnTo>
                  <a:pt x="1629" y="83"/>
                </a:lnTo>
                <a:lnTo>
                  <a:pt x="1677" y="68"/>
                </a:lnTo>
                <a:lnTo>
                  <a:pt x="1726" y="60"/>
                </a:lnTo>
                <a:lnTo>
                  <a:pt x="1778" y="57"/>
                </a:lnTo>
                <a:lnTo>
                  <a:pt x="1830" y="60"/>
                </a:lnTo>
                <a:lnTo>
                  <a:pt x="1880" y="68"/>
                </a:lnTo>
                <a:lnTo>
                  <a:pt x="1928" y="83"/>
                </a:lnTo>
                <a:lnTo>
                  <a:pt x="1973" y="102"/>
                </a:lnTo>
                <a:lnTo>
                  <a:pt x="2015" y="126"/>
                </a:lnTo>
                <a:lnTo>
                  <a:pt x="2055" y="154"/>
                </a:lnTo>
                <a:lnTo>
                  <a:pt x="2091" y="186"/>
                </a:lnTo>
                <a:lnTo>
                  <a:pt x="2123" y="222"/>
                </a:lnTo>
                <a:lnTo>
                  <a:pt x="2151" y="262"/>
                </a:lnTo>
                <a:lnTo>
                  <a:pt x="2175" y="304"/>
                </a:lnTo>
                <a:lnTo>
                  <a:pt x="2195" y="350"/>
                </a:lnTo>
                <a:lnTo>
                  <a:pt x="2209" y="397"/>
                </a:lnTo>
                <a:lnTo>
                  <a:pt x="2217" y="447"/>
                </a:lnTo>
                <a:lnTo>
                  <a:pt x="2221" y="499"/>
                </a:lnTo>
                <a:lnTo>
                  <a:pt x="2217" y="551"/>
                </a:lnTo>
                <a:lnTo>
                  <a:pt x="2209" y="601"/>
                </a:lnTo>
                <a:lnTo>
                  <a:pt x="2195" y="648"/>
                </a:lnTo>
                <a:lnTo>
                  <a:pt x="2175" y="694"/>
                </a:lnTo>
                <a:lnTo>
                  <a:pt x="2151" y="736"/>
                </a:lnTo>
                <a:lnTo>
                  <a:pt x="2123" y="776"/>
                </a:lnTo>
                <a:lnTo>
                  <a:pt x="2091" y="811"/>
                </a:lnTo>
                <a:lnTo>
                  <a:pt x="2055" y="844"/>
                </a:lnTo>
                <a:lnTo>
                  <a:pt x="2015" y="872"/>
                </a:lnTo>
                <a:lnTo>
                  <a:pt x="1973" y="897"/>
                </a:lnTo>
                <a:lnTo>
                  <a:pt x="1928" y="915"/>
                </a:lnTo>
                <a:lnTo>
                  <a:pt x="1880" y="929"/>
                </a:lnTo>
                <a:lnTo>
                  <a:pt x="1830" y="938"/>
                </a:lnTo>
                <a:lnTo>
                  <a:pt x="1778" y="941"/>
                </a:lnTo>
                <a:close/>
                <a:moveTo>
                  <a:pt x="2921" y="1660"/>
                </a:moveTo>
                <a:lnTo>
                  <a:pt x="2741" y="1660"/>
                </a:lnTo>
                <a:lnTo>
                  <a:pt x="2741" y="1481"/>
                </a:lnTo>
                <a:lnTo>
                  <a:pt x="2921" y="1481"/>
                </a:lnTo>
                <a:lnTo>
                  <a:pt x="2921" y="1660"/>
                </a:lnTo>
                <a:close/>
                <a:moveTo>
                  <a:pt x="2921" y="1345"/>
                </a:moveTo>
                <a:lnTo>
                  <a:pt x="2741" y="1345"/>
                </a:lnTo>
                <a:lnTo>
                  <a:pt x="2741" y="1165"/>
                </a:lnTo>
                <a:lnTo>
                  <a:pt x="2921" y="1165"/>
                </a:lnTo>
                <a:lnTo>
                  <a:pt x="2921" y="1345"/>
                </a:lnTo>
                <a:close/>
                <a:moveTo>
                  <a:pt x="2921" y="1040"/>
                </a:moveTo>
                <a:lnTo>
                  <a:pt x="2741" y="1040"/>
                </a:lnTo>
                <a:lnTo>
                  <a:pt x="2741" y="860"/>
                </a:lnTo>
                <a:lnTo>
                  <a:pt x="2921" y="860"/>
                </a:lnTo>
                <a:lnTo>
                  <a:pt x="2921" y="1040"/>
                </a:lnTo>
                <a:close/>
                <a:moveTo>
                  <a:pt x="3201" y="1660"/>
                </a:moveTo>
                <a:lnTo>
                  <a:pt x="3021" y="1660"/>
                </a:lnTo>
                <a:lnTo>
                  <a:pt x="3021" y="1481"/>
                </a:lnTo>
                <a:lnTo>
                  <a:pt x="3201" y="1481"/>
                </a:lnTo>
                <a:lnTo>
                  <a:pt x="3201" y="1660"/>
                </a:lnTo>
                <a:close/>
                <a:moveTo>
                  <a:pt x="3201" y="1345"/>
                </a:moveTo>
                <a:lnTo>
                  <a:pt x="3021" y="1345"/>
                </a:lnTo>
                <a:lnTo>
                  <a:pt x="3021" y="1165"/>
                </a:lnTo>
                <a:lnTo>
                  <a:pt x="3201" y="1165"/>
                </a:lnTo>
                <a:lnTo>
                  <a:pt x="3201" y="1345"/>
                </a:lnTo>
                <a:close/>
                <a:moveTo>
                  <a:pt x="3201" y="1040"/>
                </a:moveTo>
                <a:lnTo>
                  <a:pt x="3021" y="1040"/>
                </a:lnTo>
                <a:lnTo>
                  <a:pt x="3021" y="860"/>
                </a:lnTo>
                <a:lnTo>
                  <a:pt x="3201" y="860"/>
                </a:lnTo>
                <a:lnTo>
                  <a:pt x="3201" y="1040"/>
                </a:lnTo>
                <a:close/>
                <a:moveTo>
                  <a:pt x="1888" y="390"/>
                </a:moveTo>
                <a:lnTo>
                  <a:pt x="2057" y="390"/>
                </a:lnTo>
                <a:lnTo>
                  <a:pt x="2057" y="609"/>
                </a:lnTo>
                <a:lnTo>
                  <a:pt x="1888" y="609"/>
                </a:lnTo>
                <a:lnTo>
                  <a:pt x="1888" y="778"/>
                </a:lnTo>
                <a:lnTo>
                  <a:pt x="1668" y="778"/>
                </a:lnTo>
                <a:lnTo>
                  <a:pt x="1668" y="609"/>
                </a:lnTo>
                <a:lnTo>
                  <a:pt x="1499" y="609"/>
                </a:lnTo>
                <a:lnTo>
                  <a:pt x="1499" y="390"/>
                </a:lnTo>
                <a:lnTo>
                  <a:pt x="1668" y="390"/>
                </a:lnTo>
                <a:lnTo>
                  <a:pt x="1668" y="220"/>
                </a:lnTo>
                <a:lnTo>
                  <a:pt x="1888" y="220"/>
                </a:lnTo>
                <a:lnTo>
                  <a:pt x="1888" y="390"/>
                </a:lnTo>
                <a:close/>
                <a:moveTo>
                  <a:pt x="1888" y="390"/>
                </a:moveTo>
                <a:lnTo>
                  <a:pt x="1888" y="390"/>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dirty="0"/>
          </a:p>
        </p:txBody>
      </p:sp>
      <p:grpSp>
        <p:nvGrpSpPr>
          <p:cNvPr id="87" name="Group 377"/>
          <p:cNvGrpSpPr/>
          <p:nvPr/>
        </p:nvGrpSpPr>
        <p:grpSpPr>
          <a:xfrm>
            <a:off x="9897306" y="1873303"/>
            <a:ext cx="462821" cy="461689"/>
            <a:chOff x="2822575" y="258763"/>
            <a:chExt cx="649288" cy="647700"/>
          </a:xfrm>
          <a:solidFill>
            <a:schemeClr val="accent1"/>
          </a:solidFill>
        </p:grpSpPr>
        <p:sp>
          <p:nvSpPr>
            <p:cNvPr id="88" name="Freeform 31"/>
            <p:cNvSpPr>
              <a:spLocks noEditPoints="1"/>
            </p:cNvSpPr>
            <p:nvPr/>
          </p:nvSpPr>
          <p:spPr bwMode="auto">
            <a:xfrm>
              <a:off x="2822575" y="258763"/>
              <a:ext cx="428625" cy="647699"/>
            </a:xfrm>
            <a:custGeom>
              <a:avLst/>
              <a:gdLst>
                <a:gd name="T0" fmla="*/ 463 w 512"/>
                <a:gd name="T1" fmla="*/ 0 h 772"/>
                <a:gd name="T2" fmla="*/ 49 w 512"/>
                <a:gd name="T3" fmla="*/ 0 h 772"/>
                <a:gd name="T4" fmla="*/ 0 w 512"/>
                <a:gd name="T5" fmla="*/ 50 h 772"/>
                <a:gd name="T6" fmla="*/ 0 w 512"/>
                <a:gd name="T7" fmla="*/ 722 h 772"/>
                <a:gd name="T8" fmla="*/ 49 w 512"/>
                <a:gd name="T9" fmla="*/ 772 h 772"/>
                <a:gd name="T10" fmla="*/ 463 w 512"/>
                <a:gd name="T11" fmla="*/ 772 h 772"/>
                <a:gd name="T12" fmla="*/ 512 w 512"/>
                <a:gd name="T13" fmla="*/ 722 h 772"/>
                <a:gd name="T14" fmla="*/ 512 w 512"/>
                <a:gd name="T15" fmla="*/ 50 h 772"/>
                <a:gd name="T16" fmla="*/ 463 w 512"/>
                <a:gd name="T17" fmla="*/ 0 h 772"/>
                <a:gd name="T18" fmla="*/ 229 w 512"/>
                <a:gd name="T19" fmla="*/ 662 h 772"/>
                <a:gd name="T20" fmla="*/ 214 w 512"/>
                <a:gd name="T21" fmla="*/ 677 h 772"/>
                <a:gd name="T22" fmla="*/ 114 w 512"/>
                <a:gd name="T23" fmla="*/ 677 h 772"/>
                <a:gd name="T24" fmla="*/ 99 w 512"/>
                <a:gd name="T25" fmla="*/ 662 h 772"/>
                <a:gd name="T26" fmla="*/ 99 w 512"/>
                <a:gd name="T27" fmla="*/ 562 h 772"/>
                <a:gd name="T28" fmla="*/ 114 w 512"/>
                <a:gd name="T29" fmla="*/ 547 h 772"/>
                <a:gd name="T30" fmla="*/ 214 w 512"/>
                <a:gd name="T31" fmla="*/ 547 h 772"/>
                <a:gd name="T32" fmla="*/ 229 w 512"/>
                <a:gd name="T33" fmla="*/ 562 h 772"/>
                <a:gd name="T34" fmla="*/ 229 w 512"/>
                <a:gd name="T35" fmla="*/ 662 h 772"/>
                <a:gd name="T36" fmla="*/ 229 w 512"/>
                <a:gd name="T37" fmla="*/ 479 h 772"/>
                <a:gd name="T38" fmla="*/ 214 w 512"/>
                <a:gd name="T39" fmla="*/ 494 h 772"/>
                <a:gd name="T40" fmla="*/ 114 w 512"/>
                <a:gd name="T41" fmla="*/ 494 h 772"/>
                <a:gd name="T42" fmla="*/ 99 w 512"/>
                <a:gd name="T43" fmla="*/ 479 h 772"/>
                <a:gd name="T44" fmla="*/ 99 w 512"/>
                <a:gd name="T45" fmla="*/ 379 h 772"/>
                <a:gd name="T46" fmla="*/ 114 w 512"/>
                <a:gd name="T47" fmla="*/ 364 h 772"/>
                <a:gd name="T48" fmla="*/ 214 w 512"/>
                <a:gd name="T49" fmla="*/ 364 h 772"/>
                <a:gd name="T50" fmla="*/ 229 w 512"/>
                <a:gd name="T51" fmla="*/ 379 h 772"/>
                <a:gd name="T52" fmla="*/ 229 w 512"/>
                <a:gd name="T53" fmla="*/ 479 h 772"/>
                <a:gd name="T54" fmla="*/ 254 w 512"/>
                <a:gd name="T55" fmla="*/ 278 h 772"/>
                <a:gd name="T56" fmla="*/ 229 w 512"/>
                <a:gd name="T57" fmla="*/ 255 h 772"/>
                <a:gd name="T58" fmla="*/ 229 w 512"/>
                <a:gd name="T59" fmla="*/ 205 h 772"/>
                <a:gd name="T60" fmla="*/ 179 w 512"/>
                <a:gd name="T61" fmla="*/ 205 h 772"/>
                <a:gd name="T62" fmla="*/ 156 w 512"/>
                <a:gd name="T63" fmla="*/ 180 h 772"/>
                <a:gd name="T64" fmla="*/ 179 w 512"/>
                <a:gd name="T65" fmla="*/ 156 h 772"/>
                <a:gd name="T66" fmla="*/ 229 w 512"/>
                <a:gd name="T67" fmla="*/ 156 h 772"/>
                <a:gd name="T68" fmla="*/ 229 w 512"/>
                <a:gd name="T69" fmla="*/ 106 h 772"/>
                <a:gd name="T70" fmla="*/ 254 w 512"/>
                <a:gd name="T71" fmla="*/ 83 h 772"/>
                <a:gd name="T72" fmla="*/ 279 w 512"/>
                <a:gd name="T73" fmla="*/ 106 h 772"/>
                <a:gd name="T74" fmla="*/ 279 w 512"/>
                <a:gd name="T75" fmla="*/ 156 h 772"/>
                <a:gd name="T76" fmla="*/ 328 w 512"/>
                <a:gd name="T77" fmla="*/ 156 h 772"/>
                <a:gd name="T78" fmla="*/ 351 w 512"/>
                <a:gd name="T79" fmla="*/ 180 h 772"/>
                <a:gd name="T80" fmla="*/ 328 w 512"/>
                <a:gd name="T81" fmla="*/ 205 h 772"/>
                <a:gd name="T82" fmla="*/ 279 w 512"/>
                <a:gd name="T83" fmla="*/ 205 h 772"/>
                <a:gd name="T84" fmla="*/ 279 w 512"/>
                <a:gd name="T85" fmla="*/ 255 h 772"/>
                <a:gd name="T86" fmla="*/ 254 w 512"/>
                <a:gd name="T87" fmla="*/ 278 h 772"/>
                <a:gd name="T88" fmla="*/ 407 w 512"/>
                <a:gd name="T89" fmla="*/ 662 h 772"/>
                <a:gd name="T90" fmla="*/ 392 w 512"/>
                <a:gd name="T91" fmla="*/ 677 h 772"/>
                <a:gd name="T92" fmla="*/ 292 w 512"/>
                <a:gd name="T93" fmla="*/ 677 h 772"/>
                <a:gd name="T94" fmla="*/ 277 w 512"/>
                <a:gd name="T95" fmla="*/ 662 h 772"/>
                <a:gd name="T96" fmla="*/ 277 w 512"/>
                <a:gd name="T97" fmla="*/ 562 h 772"/>
                <a:gd name="T98" fmla="*/ 292 w 512"/>
                <a:gd name="T99" fmla="*/ 547 h 772"/>
                <a:gd name="T100" fmla="*/ 392 w 512"/>
                <a:gd name="T101" fmla="*/ 547 h 772"/>
                <a:gd name="T102" fmla="*/ 407 w 512"/>
                <a:gd name="T103" fmla="*/ 562 h 772"/>
                <a:gd name="T104" fmla="*/ 407 w 512"/>
                <a:gd name="T105" fmla="*/ 662 h 772"/>
                <a:gd name="T106" fmla="*/ 407 w 512"/>
                <a:gd name="T107" fmla="*/ 479 h 772"/>
                <a:gd name="T108" fmla="*/ 392 w 512"/>
                <a:gd name="T109" fmla="*/ 494 h 772"/>
                <a:gd name="T110" fmla="*/ 292 w 512"/>
                <a:gd name="T111" fmla="*/ 494 h 772"/>
                <a:gd name="T112" fmla="*/ 277 w 512"/>
                <a:gd name="T113" fmla="*/ 479 h 772"/>
                <a:gd name="T114" fmla="*/ 277 w 512"/>
                <a:gd name="T115" fmla="*/ 379 h 772"/>
                <a:gd name="T116" fmla="*/ 292 w 512"/>
                <a:gd name="T117" fmla="*/ 364 h 772"/>
                <a:gd name="T118" fmla="*/ 392 w 512"/>
                <a:gd name="T119" fmla="*/ 364 h 772"/>
                <a:gd name="T120" fmla="*/ 407 w 512"/>
                <a:gd name="T121" fmla="*/ 379 h 772"/>
                <a:gd name="T122" fmla="*/ 407 w 512"/>
                <a:gd name="T123" fmla="*/ 479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772">
                  <a:moveTo>
                    <a:pt x="463" y="0"/>
                  </a:moveTo>
                  <a:cubicBezTo>
                    <a:pt x="49" y="0"/>
                    <a:pt x="49" y="0"/>
                    <a:pt x="49" y="0"/>
                  </a:cubicBezTo>
                  <a:cubicBezTo>
                    <a:pt x="22" y="0"/>
                    <a:pt x="0" y="22"/>
                    <a:pt x="0" y="50"/>
                  </a:cubicBezTo>
                  <a:cubicBezTo>
                    <a:pt x="0" y="722"/>
                    <a:pt x="0" y="722"/>
                    <a:pt x="0" y="722"/>
                  </a:cubicBezTo>
                  <a:cubicBezTo>
                    <a:pt x="0" y="750"/>
                    <a:pt x="22" y="772"/>
                    <a:pt x="49" y="772"/>
                  </a:cubicBezTo>
                  <a:cubicBezTo>
                    <a:pt x="463" y="772"/>
                    <a:pt x="463" y="772"/>
                    <a:pt x="463" y="772"/>
                  </a:cubicBezTo>
                  <a:cubicBezTo>
                    <a:pt x="490" y="772"/>
                    <a:pt x="512" y="750"/>
                    <a:pt x="512" y="722"/>
                  </a:cubicBezTo>
                  <a:cubicBezTo>
                    <a:pt x="512" y="50"/>
                    <a:pt x="512" y="50"/>
                    <a:pt x="512" y="50"/>
                  </a:cubicBezTo>
                  <a:cubicBezTo>
                    <a:pt x="512" y="22"/>
                    <a:pt x="490" y="0"/>
                    <a:pt x="463" y="0"/>
                  </a:cubicBezTo>
                  <a:close/>
                  <a:moveTo>
                    <a:pt x="229" y="662"/>
                  </a:moveTo>
                  <a:cubicBezTo>
                    <a:pt x="229" y="670"/>
                    <a:pt x="222" y="677"/>
                    <a:pt x="214" y="677"/>
                  </a:cubicBezTo>
                  <a:cubicBezTo>
                    <a:pt x="114" y="677"/>
                    <a:pt x="114" y="677"/>
                    <a:pt x="114" y="677"/>
                  </a:cubicBezTo>
                  <a:cubicBezTo>
                    <a:pt x="106" y="677"/>
                    <a:pt x="99" y="670"/>
                    <a:pt x="99" y="662"/>
                  </a:cubicBezTo>
                  <a:cubicBezTo>
                    <a:pt x="99" y="562"/>
                    <a:pt x="99" y="562"/>
                    <a:pt x="99" y="562"/>
                  </a:cubicBezTo>
                  <a:cubicBezTo>
                    <a:pt x="99" y="554"/>
                    <a:pt x="106" y="547"/>
                    <a:pt x="114" y="547"/>
                  </a:cubicBezTo>
                  <a:cubicBezTo>
                    <a:pt x="214" y="547"/>
                    <a:pt x="214" y="547"/>
                    <a:pt x="214" y="547"/>
                  </a:cubicBezTo>
                  <a:cubicBezTo>
                    <a:pt x="222" y="547"/>
                    <a:pt x="229" y="554"/>
                    <a:pt x="229" y="562"/>
                  </a:cubicBezTo>
                  <a:lnTo>
                    <a:pt x="229" y="662"/>
                  </a:lnTo>
                  <a:close/>
                  <a:moveTo>
                    <a:pt x="229" y="479"/>
                  </a:moveTo>
                  <a:cubicBezTo>
                    <a:pt x="229" y="487"/>
                    <a:pt x="222" y="494"/>
                    <a:pt x="214" y="494"/>
                  </a:cubicBezTo>
                  <a:cubicBezTo>
                    <a:pt x="114" y="494"/>
                    <a:pt x="114" y="494"/>
                    <a:pt x="114" y="494"/>
                  </a:cubicBezTo>
                  <a:cubicBezTo>
                    <a:pt x="106" y="494"/>
                    <a:pt x="99" y="487"/>
                    <a:pt x="99" y="479"/>
                  </a:cubicBezTo>
                  <a:cubicBezTo>
                    <a:pt x="99" y="379"/>
                    <a:pt x="99" y="379"/>
                    <a:pt x="99" y="379"/>
                  </a:cubicBezTo>
                  <a:cubicBezTo>
                    <a:pt x="99" y="371"/>
                    <a:pt x="106" y="364"/>
                    <a:pt x="114" y="364"/>
                  </a:cubicBezTo>
                  <a:cubicBezTo>
                    <a:pt x="214" y="364"/>
                    <a:pt x="214" y="364"/>
                    <a:pt x="214" y="364"/>
                  </a:cubicBezTo>
                  <a:cubicBezTo>
                    <a:pt x="222" y="364"/>
                    <a:pt x="229" y="371"/>
                    <a:pt x="229" y="379"/>
                  </a:cubicBezTo>
                  <a:lnTo>
                    <a:pt x="229" y="479"/>
                  </a:lnTo>
                  <a:close/>
                  <a:moveTo>
                    <a:pt x="254" y="278"/>
                  </a:moveTo>
                  <a:cubicBezTo>
                    <a:pt x="240" y="278"/>
                    <a:pt x="229" y="268"/>
                    <a:pt x="229" y="255"/>
                  </a:cubicBezTo>
                  <a:cubicBezTo>
                    <a:pt x="229" y="205"/>
                    <a:pt x="229" y="205"/>
                    <a:pt x="229" y="205"/>
                  </a:cubicBezTo>
                  <a:cubicBezTo>
                    <a:pt x="179" y="205"/>
                    <a:pt x="179" y="205"/>
                    <a:pt x="179" y="205"/>
                  </a:cubicBezTo>
                  <a:cubicBezTo>
                    <a:pt x="166" y="205"/>
                    <a:pt x="156" y="194"/>
                    <a:pt x="156" y="180"/>
                  </a:cubicBezTo>
                  <a:cubicBezTo>
                    <a:pt x="156" y="167"/>
                    <a:pt x="166" y="156"/>
                    <a:pt x="179" y="156"/>
                  </a:cubicBezTo>
                  <a:cubicBezTo>
                    <a:pt x="229" y="156"/>
                    <a:pt x="229" y="156"/>
                    <a:pt x="229" y="156"/>
                  </a:cubicBezTo>
                  <a:cubicBezTo>
                    <a:pt x="229" y="106"/>
                    <a:pt x="229" y="106"/>
                    <a:pt x="229" y="106"/>
                  </a:cubicBezTo>
                  <a:cubicBezTo>
                    <a:pt x="229" y="93"/>
                    <a:pt x="240" y="83"/>
                    <a:pt x="254" y="83"/>
                  </a:cubicBezTo>
                  <a:cubicBezTo>
                    <a:pt x="267" y="83"/>
                    <a:pt x="279" y="93"/>
                    <a:pt x="279" y="106"/>
                  </a:cubicBezTo>
                  <a:cubicBezTo>
                    <a:pt x="279" y="156"/>
                    <a:pt x="279" y="156"/>
                    <a:pt x="279" y="156"/>
                  </a:cubicBezTo>
                  <a:cubicBezTo>
                    <a:pt x="328" y="156"/>
                    <a:pt x="328" y="156"/>
                    <a:pt x="328" y="156"/>
                  </a:cubicBezTo>
                  <a:cubicBezTo>
                    <a:pt x="341" y="156"/>
                    <a:pt x="351" y="167"/>
                    <a:pt x="351" y="180"/>
                  </a:cubicBezTo>
                  <a:cubicBezTo>
                    <a:pt x="351" y="194"/>
                    <a:pt x="341" y="205"/>
                    <a:pt x="328" y="205"/>
                  </a:cubicBezTo>
                  <a:cubicBezTo>
                    <a:pt x="279" y="205"/>
                    <a:pt x="279" y="205"/>
                    <a:pt x="279" y="205"/>
                  </a:cubicBezTo>
                  <a:cubicBezTo>
                    <a:pt x="279" y="255"/>
                    <a:pt x="279" y="255"/>
                    <a:pt x="279" y="255"/>
                  </a:cubicBezTo>
                  <a:cubicBezTo>
                    <a:pt x="279" y="268"/>
                    <a:pt x="267" y="278"/>
                    <a:pt x="254" y="278"/>
                  </a:cubicBezTo>
                  <a:close/>
                  <a:moveTo>
                    <a:pt x="407" y="662"/>
                  </a:moveTo>
                  <a:cubicBezTo>
                    <a:pt x="407" y="670"/>
                    <a:pt x="400" y="677"/>
                    <a:pt x="392" y="677"/>
                  </a:cubicBezTo>
                  <a:cubicBezTo>
                    <a:pt x="292" y="677"/>
                    <a:pt x="292" y="677"/>
                    <a:pt x="292" y="677"/>
                  </a:cubicBezTo>
                  <a:cubicBezTo>
                    <a:pt x="284" y="677"/>
                    <a:pt x="277" y="670"/>
                    <a:pt x="277" y="662"/>
                  </a:cubicBezTo>
                  <a:cubicBezTo>
                    <a:pt x="277" y="562"/>
                    <a:pt x="277" y="562"/>
                    <a:pt x="277" y="562"/>
                  </a:cubicBezTo>
                  <a:cubicBezTo>
                    <a:pt x="277" y="554"/>
                    <a:pt x="284" y="547"/>
                    <a:pt x="292" y="547"/>
                  </a:cubicBezTo>
                  <a:cubicBezTo>
                    <a:pt x="392" y="547"/>
                    <a:pt x="392" y="547"/>
                    <a:pt x="392" y="547"/>
                  </a:cubicBezTo>
                  <a:cubicBezTo>
                    <a:pt x="400" y="547"/>
                    <a:pt x="407" y="554"/>
                    <a:pt x="407" y="562"/>
                  </a:cubicBezTo>
                  <a:lnTo>
                    <a:pt x="407" y="662"/>
                  </a:lnTo>
                  <a:close/>
                  <a:moveTo>
                    <a:pt x="407" y="479"/>
                  </a:moveTo>
                  <a:cubicBezTo>
                    <a:pt x="407" y="487"/>
                    <a:pt x="400" y="494"/>
                    <a:pt x="392" y="494"/>
                  </a:cubicBezTo>
                  <a:cubicBezTo>
                    <a:pt x="292" y="494"/>
                    <a:pt x="292" y="494"/>
                    <a:pt x="292" y="494"/>
                  </a:cubicBezTo>
                  <a:cubicBezTo>
                    <a:pt x="284" y="494"/>
                    <a:pt x="277" y="487"/>
                    <a:pt x="277" y="479"/>
                  </a:cubicBezTo>
                  <a:cubicBezTo>
                    <a:pt x="277" y="379"/>
                    <a:pt x="277" y="379"/>
                    <a:pt x="277" y="379"/>
                  </a:cubicBezTo>
                  <a:cubicBezTo>
                    <a:pt x="277" y="371"/>
                    <a:pt x="284" y="364"/>
                    <a:pt x="292" y="364"/>
                  </a:cubicBezTo>
                  <a:cubicBezTo>
                    <a:pt x="392" y="364"/>
                    <a:pt x="392" y="364"/>
                    <a:pt x="392" y="364"/>
                  </a:cubicBezTo>
                  <a:cubicBezTo>
                    <a:pt x="400" y="364"/>
                    <a:pt x="407" y="371"/>
                    <a:pt x="407" y="379"/>
                  </a:cubicBezTo>
                  <a:lnTo>
                    <a:pt x="407" y="4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89" name="Freeform 32"/>
            <p:cNvSpPr/>
            <p:nvPr/>
          </p:nvSpPr>
          <p:spPr bwMode="auto">
            <a:xfrm>
              <a:off x="3271838" y="582613"/>
              <a:ext cx="200025" cy="323850"/>
            </a:xfrm>
            <a:custGeom>
              <a:avLst/>
              <a:gdLst>
                <a:gd name="T0" fmla="*/ 189 w 240"/>
                <a:gd name="T1" fmla="*/ 0 h 386"/>
                <a:gd name="T2" fmla="*/ 51 w 240"/>
                <a:gd name="T3" fmla="*/ 0 h 386"/>
                <a:gd name="T4" fmla="*/ 49 w 240"/>
                <a:gd name="T5" fmla="*/ 0 h 386"/>
                <a:gd name="T6" fmla="*/ 0 w 240"/>
                <a:gd name="T7" fmla="*/ 0 h 386"/>
                <a:gd name="T8" fmla="*/ 0 w 240"/>
                <a:gd name="T9" fmla="*/ 50 h 386"/>
                <a:gd name="T10" fmla="*/ 0 w 240"/>
                <a:gd name="T11" fmla="*/ 336 h 386"/>
                <a:gd name="T12" fmla="*/ 0 w 240"/>
                <a:gd name="T13" fmla="*/ 386 h 386"/>
                <a:gd name="T14" fmla="*/ 49 w 240"/>
                <a:gd name="T15" fmla="*/ 386 h 386"/>
                <a:gd name="T16" fmla="*/ 51 w 240"/>
                <a:gd name="T17" fmla="*/ 386 h 386"/>
                <a:gd name="T18" fmla="*/ 189 w 240"/>
                <a:gd name="T19" fmla="*/ 386 h 386"/>
                <a:gd name="T20" fmla="*/ 240 w 240"/>
                <a:gd name="T21" fmla="*/ 336 h 386"/>
                <a:gd name="T22" fmla="*/ 240 w 240"/>
                <a:gd name="T23" fmla="*/ 50 h 386"/>
                <a:gd name="T24" fmla="*/ 189 w 240"/>
                <a:gd name="T25"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386">
                  <a:moveTo>
                    <a:pt x="189" y="0"/>
                  </a:moveTo>
                  <a:cubicBezTo>
                    <a:pt x="51" y="0"/>
                    <a:pt x="51" y="0"/>
                    <a:pt x="51" y="0"/>
                  </a:cubicBezTo>
                  <a:cubicBezTo>
                    <a:pt x="50" y="0"/>
                    <a:pt x="50" y="0"/>
                    <a:pt x="49" y="0"/>
                  </a:cubicBezTo>
                  <a:cubicBezTo>
                    <a:pt x="0" y="0"/>
                    <a:pt x="0" y="0"/>
                    <a:pt x="0" y="0"/>
                  </a:cubicBezTo>
                  <a:cubicBezTo>
                    <a:pt x="0" y="50"/>
                    <a:pt x="0" y="50"/>
                    <a:pt x="0" y="50"/>
                  </a:cubicBezTo>
                  <a:cubicBezTo>
                    <a:pt x="0" y="336"/>
                    <a:pt x="0" y="336"/>
                    <a:pt x="0" y="336"/>
                  </a:cubicBezTo>
                  <a:cubicBezTo>
                    <a:pt x="0" y="386"/>
                    <a:pt x="0" y="386"/>
                    <a:pt x="0" y="386"/>
                  </a:cubicBezTo>
                  <a:cubicBezTo>
                    <a:pt x="49" y="386"/>
                    <a:pt x="49" y="386"/>
                    <a:pt x="49" y="386"/>
                  </a:cubicBezTo>
                  <a:cubicBezTo>
                    <a:pt x="50" y="386"/>
                    <a:pt x="50" y="386"/>
                    <a:pt x="51" y="386"/>
                  </a:cubicBezTo>
                  <a:cubicBezTo>
                    <a:pt x="189" y="386"/>
                    <a:pt x="189" y="386"/>
                    <a:pt x="189" y="386"/>
                  </a:cubicBezTo>
                  <a:cubicBezTo>
                    <a:pt x="217" y="386"/>
                    <a:pt x="240" y="364"/>
                    <a:pt x="240" y="336"/>
                  </a:cubicBezTo>
                  <a:cubicBezTo>
                    <a:pt x="240" y="50"/>
                    <a:pt x="240" y="50"/>
                    <a:pt x="240" y="50"/>
                  </a:cubicBezTo>
                  <a:cubicBezTo>
                    <a:pt x="240" y="22"/>
                    <a:pt x="217" y="0"/>
                    <a:pt x="18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90" name="Group 284"/>
          <p:cNvGrpSpPr/>
          <p:nvPr/>
        </p:nvGrpSpPr>
        <p:grpSpPr>
          <a:xfrm>
            <a:off x="4780129" y="3073719"/>
            <a:ext cx="588254" cy="527774"/>
            <a:chOff x="3484563" y="2112963"/>
            <a:chExt cx="2933700" cy="2632075"/>
          </a:xfrm>
          <a:solidFill>
            <a:schemeClr val="accent1"/>
          </a:solidFill>
        </p:grpSpPr>
        <p:sp>
          <p:nvSpPr>
            <p:cNvPr id="91" name="Freeform 18"/>
            <p:cNvSpPr>
              <a:spLocks noEditPoints="1"/>
            </p:cNvSpPr>
            <p:nvPr/>
          </p:nvSpPr>
          <p:spPr bwMode="auto">
            <a:xfrm>
              <a:off x="3484563" y="2112963"/>
              <a:ext cx="2933700" cy="2632075"/>
            </a:xfrm>
            <a:custGeom>
              <a:avLst/>
              <a:gdLst>
                <a:gd name="T0" fmla="*/ 624 w 779"/>
                <a:gd name="T1" fmla="*/ 262 h 699"/>
                <a:gd name="T2" fmla="*/ 562 w 779"/>
                <a:gd name="T3" fmla="*/ 299 h 699"/>
                <a:gd name="T4" fmla="*/ 469 w 779"/>
                <a:gd name="T5" fmla="*/ 140 h 699"/>
                <a:gd name="T6" fmla="*/ 544 w 779"/>
                <a:gd name="T7" fmla="*/ 70 h 699"/>
                <a:gd name="T8" fmla="*/ 403 w 779"/>
                <a:gd name="T9" fmla="*/ 70 h 699"/>
                <a:gd name="T10" fmla="*/ 424 w 779"/>
                <a:gd name="T11" fmla="*/ 169 h 699"/>
                <a:gd name="T12" fmla="*/ 241 w 779"/>
                <a:gd name="T13" fmla="*/ 216 h 699"/>
                <a:gd name="T14" fmla="*/ 227 w 779"/>
                <a:gd name="T15" fmla="*/ 129 h 699"/>
                <a:gd name="T16" fmla="*/ 41 w 779"/>
                <a:gd name="T17" fmla="*/ 129 h 699"/>
                <a:gd name="T18" fmla="*/ 185 w 779"/>
                <a:gd name="T19" fmla="*/ 207 h 699"/>
                <a:gd name="T20" fmla="*/ 179 w 779"/>
                <a:gd name="T21" fmla="*/ 359 h 699"/>
                <a:gd name="T22" fmla="*/ 135 w 779"/>
                <a:gd name="T23" fmla="*/ 471 h 699"/>
                <a:gd name="T24" fmla="*/ 0 w 779"/>
                <a:gd name="T25" fmla="*/ 507 h 699"/>
                <a:gd name="T26" fmla="*/ 145 w 779"/>
                <a:gd name="T27" fmla="*/ 507 h 699"/>
                <a:gd name="T28" fmla="*/ 217 w 779"/>
                <a:gd name="T29" fmla="*/ 475 h 699"/>
                <a:gd name="T30" fmla="*/ 470 w 779"/>
                <a:gd name="T31" fmla="*/ 530 h 699"/>
                <a:gd name="T32" fmla="*/ 533 w 779"/>
                <a:gd name="T33" fmla="*/ 639 h 699"/>
                <a:gd name="T34" fmla="*/ 653 w 779"/>
                <a:gd name="T35" fmla="*/ 639 h 699"/>
                <a:gd name="T36" fmla="*/ 566 w 779"/>
                <a:gd name="T37" fmla="*/ 585 h 699"/>
                <a:gd name="T38" fmla="*/ 571 w 779"/>
                <a:gd name="T39" fmla="*/ 359 h 699"/>
                <a:gd name="T40" fmla="*/ 637 w 779"/>
                <a:gd name="T41" fmla="*/ 303 h 699"/>
                <a:gd name="T42" fmla="*/ 779 w 779"/>
                <a:gd name="T43" fmla="*/ 262 h 699"/>
                <a:gd name="T44" fmla="*/ 422 w 779"/>
                <a:gd name="T45" fmla="*/ 70 h 699"/>
                <a:gd name="T46" fmla="*/ 525 w 779"/>
                <a:gd name="T47" fmla="*/ 70 h 699"/>
                <a:gd name="T48" fmla="*/ 422 w 779"/>
                <a:gd name="T49" fmla="*/ 70 h 699"/>
                <a:gd name="T50" fmla="*/ 19 w 779"/>
                <a:gd name="T51" fmla="*/ 507 h 699"/>
                <a:gd name="T52" fmla="*/ 126 w 779"/>
                <a:gd name="T53" fmla="*/ 507 h 699"/>
                <a:gd name="T54" fmla="*/ 634 w 779"/>
                <a:gd name="T55" fmla="*/ 639 h 699"/>
                <a:gd name="T56" fmla="*/ 552 w 779"/>
                <a:gd name="T57" fmla="*/ 639 h 699"/>
                <a:gd name="T58" fmla="*/ 634 w 779"/>
                <a:gd name="T59" fmla="*/ 639 h 699"/>
                <a:gd name="T60" fmla="*/ 134 w 779"/>
                <a:gd name="T61" fmla="*/ 55 h 699"/>
                <a:gd name="T62" fmla="*/ 134 w 779"/>
                <a:gd name="T63" fmla="*/ 203 h 699"/>
                <a:gd name="T64" fmla="*/ 375 w 779"/>
                <a:gd name="T65" fmla="*/ 523 h 699"/>
                <a:gd name="T66" fmla="*/ 375 w 779"/>
                <a:gd name="T67" fmla="*/ 195 h 699"/>
                <a:gd name="T68" fmla="*/ 375 w 779"/>
                <a:gd name="T69" fmla="*/ 523 h 699"/>
                <a:gd name="T70" fmla="*/ 644 w 779"/>
                <a:gd name="T71" fmla="*/ 262 h 699"/>
                <a:gd name="T72" fmla="*/ 760 w 779"/>
                <a:gd name="T73" fmla="*/ 262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9" h="699">
                  <a:moveTo>
                    <a:pt x="702" y="184"/>
                  </a:moveTo>
                  <a:cubicBezTo>
                    <a:pt x="659" y="184"/>
                    <a:pt x="624" y="219"/>
                    <a:pt x="624" y="262"/>
                  </a:cubicBezTo>
                  <a:cubicBezTo>
                    <a:pt x="624" y="266"/>
                    <a:pt x="625" y="270"/>
                    <a:pt x="625" y="274"/>
                  </a:cubicBezTo>
                  <a:cubicBezTo>
                    <a:pt x="562" y="299"/>
                    <a:pt x="562" y="299"/>
                    <a:pt x="562" y="299"/>
                  </a:cubicBezTo>
                  <a:cubicBezTo>
                    <a:pt x="545" y="246"/>
                    <a:pt x="505" y="202"/>
                    <a:pt x="454" y="180"/>
                  </a:cubicBezTo>
                  <a:cubicBezTo>
                    <a:pt x="469" y="140"/>
                    <a:pt x="469" y="140"/>
                    <a:pt x="469" y="140"/>
                  </a:cubicBezTo>
                  <a:cubicBezTo>
                    <a:pt x="471" y="140"/>
                    <a:pt x="472" y="140"/>
                    <a:pt x="473" y="140"/>
                  </a:cubicBezTo>
                  <a:cubicBezTo>
                    <a:pt x="512" y="140"/>
                    <a:pt x="544" y="109"/>
                    <a:pt x="544" y="70"/>
                  </a:cubicBezTo>
                  <a:cubicBezTo>
                    <a:pt x="544" y="31"/>
                    <a:pt x="512" y="0"/>
                    <a:pt x="473" y="0"/>
                  </a:cubicBezTo>
                  <a:cubicBezTo>
                    <a:pt x="435" y="0"/>
                    <a:pt x="403" y="31"/>
                    <a:pt x="403" y="70"/>
                  </a:cubicBezTo>
                  <a:cubicBezTo>
                    <a:pt x="403" y="96"/>
                    <a:pt x="417" y="119"/>
                    <a:pt x="438" y="131"/>
                  </a:cubicBezTo>
                  <a:cubicBezTo>
                    <a:pt x="424" y="169"/>
                    <a:pt x="424" y="169"/>
                    <a:pt x="424" y="169"/>
                  </a:cubicBezTo>
                  <a:cubicBezTo>
                    <a:pt x="408" y="165"/>
                    <a:pt x="392" y="163"/>
                    <a:pt x="375" y="163"/>
                  </a:cubicBezTo>
                  <a:cubicBezTo>
                    <a:pt x="323" y="163"/>
                    <a:pt x="276" y="183"/>
                    <a:pt x="241" y="216"/>
                  </a:cubicBezTo>
                  <a:cubicBezTo>
                    <a:pt x="208" y="185"/>
                    <a:pt x="208" y="185"/>
                    <a:pt x="208" y="185"/>
                  </a:cubicBezTo>
                  <a:cubicBezTo>
                    <a:pt x="220" y="170"/>
                    <a:pt x="227" y="150"/>
                    <a:pt x="227" y="129"/>
                  </a:cubicBezTo>
                  <a:cubicBezTo>
                    <a:pt x="227" y="78"/>
                    <a:pt x="185" y="36"/>
                    <a:pt x="134" y="36"/>
                  </a:cubicBezTo>
                  <a:cubicBezTo>
                    <a:pt x="82" y="36"/>
                    <a:pt x="41" y="78"/>
                    <a:pt x="41" y="129"/>
                  </a:cubicBezTo>
                  <a:cubicBezTo>
                    <a:pt x="41" y="181"/>
                    <a:pt x="82" y="222"/>
                    <a:pt x="134" y="222"/>
                  </a:cubicBezTo>
                  <a:cubicBezTo>
                    <a:pt x="153" y="222"/>
                    <a:pt x="170" y="217"/>
                    <a:pt x="185" y="207"/>
                  </a:cubicBezTo>
                  <a:cubicBezTo>
                    <a:pt x="220" y="239"/>
                    <a:pt x="220" y="239"/>
                    <a:pt x="220" y="239"/>
                  </a:cubicBezTo>
                  <a:cubicBezTo>
                    <a:pt x="194" y="272"/>
                    <a:pt x="179" y="314"/>
                    <a:pt x="179" y="359"/>
                  </a:cubicBezTo>
                  <a:cubicBezTo>
                    <a:pt x="179" y="390"/>
                    <a:pt x="187" y="420"/>
                    <a:pt x="200" y="447"/>
                  </a:cubicBezTo>
                  <a:cubicBezTo>
                    <a:pt x="135" y="471"/>
                    <a:pt x="135" y="471"/>
                    <a:pt x="135" y="471"/>
                  </a:cubicBezTo>
                  <a:cubicBezTo>
                    <a:pt x="123" y="449"/>
                    <a:pt x="99" y="435"/>
                    <a:pt x="73" y="435"/>
                  </a:cubicBezTo>
                  <a:cubicBezTo>
                    <a:pt x="33" y="435"/>
                    <a:pt x="0" y="467"/>
                    <a:pt x="0" y="507"/>
                  </a:cubicBezTo>
                  <a:cubicBezTo>
                    <a:pt x="0" y="547"/>
                    <a:pt x="33" y="579"/>
                    <a:pt x="73" y="579"/>
                  </a:cubicBezTo>
                  <a:cubicBezTo>
                    <a:pt x="113" y="579"/>
                    <a:pt x="145" y="547"/>
                    <a:pt x="145" y="507"/>
                  </a:cubicBezTo>
                  <a:cubicBezTo>
                    <a:pt x="145" y="505"/>
                    <a:pt x="145" y="503"/>
                    <a:pt x="145" y="502"/>
                  </a:cubicBezTo>
                  <a:cubicBezTo>
                    <a:pt x="217" y="475"/>
                    <a:pt x="217" y="475"/>
                    <a:pt x="217" y="475"/>
                  </a:cubicBezTo>
                  <a:cubicBezTo>
                    <a:pt x="253" y="523"/>
                    <a:pt x="310" y="555"/>
                    <a:pt x="375" y="555"/>
                  </a:cubicBezTo>
                  <a:cubicBezTo>
                    <a:pt x="409" y="555"/>
                    <a:pt x="442" y="546"/>
                    <a:pt x="470" y="530"/>
                  </a:cubicBezTo>
                  <a:cubicBezTo>
                    <a:pt x="542" y="606"/>
                    <a:pt x="542" y="606"/>
                    <a:pt x="542" y="606"/>
                  </a:cubicBezTo>
                  <a:cubicBezTo>
                    <a:pt x="536" y="616"/>
                    <a:pt x="533" y="627"/>
                    <a:pt x="533" y="639"/>
                  </a:cubicBezTo>
                  <a:cubicBezTo>
                    <a:pt x="533" y="672"/>
                    <a:pt x="560" y="699"/>
                    <a:pt x="593" y="699"/>
                  </a:cubicBezTo>
                  <a:cubicBezTo>
                    <a:pt x="626" y="699"/>
                    <a:pt x="653" y="672"/>
                    <a:pt x="653" y="639"/>
                  </a:cubicBezTo>
                  <a:cubicBezTo>
                    <a:pt x="653" y="605"/>
                    <a:pt x="626" y="578"/>
                    <a:pt x="593" y="578"/>
                  </a:cubicBezTo>
                  <a:cubicBezTo>
                    <a:pt x="583" y="578"/>
                    <a:pt x="574" y="581"/>
                    <a:pt x="566" y="585"/>
                  </a:cubicBezTo>
                  <a:cubicBezTo>
                    <a:pt x="497" y="512"/>
                    <a:pt x="497" y="512"/>
                    <a:pt x="497" y="512"/>
                  </a:cubicBezTo>
                  <a:cubicBezTo>
                    <a:pt x="542" y="476"/>
                    <a:pt x="571" y="421"/>
                    <a:pt x="571" y="359"/>
                  </a:cubicBezTo>
                  <a:cubicBezTo>
                    <a:pt x="571" y="349"/>
                    <a:pt x="570" y="340"/>
                    <a:pt x="569" y="331"/>
                  </a:cubicBezTo>
                  <a:cubicBezTo>
                    <a:pt x="637" y="303"/>
                    <a:pt x="637" y="303"/>
                    <a:pt x="637" y="303"/>
                  </a:cubicBezTo>
                  <a:cubicBezTo>
                    <a:pt x="650" y="325"/>
                    <a:pt x="674" y="339"/>
                    <a:pt x="702" y="339"/>
                  </a:cubicBezTo>
                  <a:cubicBezTo>
                    <a:pt x="744" y="339"/>
                    <a:pt x="779" y="304"/>
                    <a:pt x="779" y="262"/>
                  </a:cubicBezTo>
                  <a:cubicBezTo>
                    <a:pt x="779" y="219"/>
                    <a:pt x="744" y="184"/>
                    <a:pt x="702" y="184"/>
                  </a:cubicBezTo>
                  <a:close/>
                  <a:moveTo>
                    <a:pt x="422" y="70"/>
                  </a:moveTo>
                  <a:cubicBezTo>
                    <a:pt x="422" y="42"/>
                    <a:pt x="445" y="19"/>
                    <a:pt x="473" y="19"/>
                  </a:cubicBezTo>
                  <a:cubicBezTo>
                    <a:pt x="502" y="19"/>
                    <a:pt x="525" y="42"/>
                    <a:pt x="525" y="70"/>
                  </a:cubicBezTo>
                  <a:cubicBezTo>
                    <a:pt x="525" y="98"/>
                    <a:pt x="502" y="121"/>
                    <a:pt x="473" y="121"/>
                  </a:cubicBezTo>
                  <a:cubicBezTo>
                    <a:pt x="445" y="121"/>
                    <a:pt x="422" y="98"/>
                    <a:pt x="422" y="70"/>
                  </a:cubicBezTo>
                  <a:close/>
                  <a:moveTo>
                    <a:pt x="73" y="560"/>
                  </a:moveTo>
                  <a:cubicBezTo>
                    <a:pt x="43" y="560"/>
                    <a:pt x="19" y="536"/>
                    <a:pt x="19" y="507"/>
                  </a:cubicBezTo>
                  <a:cubicBezTo>
                    <a:pt x="19" y="478"/>
                    <a:pt x="43" y="454"/>
                    <a:pt x="73" y="454"/>
                  </a:cubicBezTo>
                  <a:cubicBezTo>
                    <a:pt x="102" y="454"/>
                    <a:pt x="126" y="478"/>
                    <a:pt x="126" y="507"/>
                  </a:cubicBezTo>
                  <a:cubicBezTo>
                    <a:pt x="126" y="536"/>
                    <a:pt x="102" y="560"/>
                    <a:pt x="73" y="560"/>
                  </a:cubicBezTo>
                  <a:close/>
                  <a:moveTo>
                    <a:pt x="634" y="639"/>
                  </a:moveTo>
                  <a:cubicBezTo>
                    <a:pt x="634" y="661"/>
                    <a:pt x="616" y="680"/>
                    <a:pt x="593" y="680"/>
                  </a:cubicBezTo>
                  <a:cubicBezTo>
                    <a:pt x="570" y="680"/>
                    <a:pt x="552" y="661"/>
                    <a:pt x="552" y="639"/>
                  </a:cubicBezTo>
                  <a:cubicBezTo>
                    <a:pt x="552" y="616"/>
                    <a:pt x="570" y="597"/>
                    <a:pt x="593" y="597"/>
                  </a:cubicBezTo>
                  <a:cubicBezTo>
                    <a:pt x="616" y="597"/>
                    <a:pt x="634" y="616"/>
                    <a:pt x="634" y="639"/>
                  </a:cubicBezTo>
                  <a:close/>
                  <a:moveTo>
                    <a:pt x="60" y="129"/>
                  </a:moveTo>
                  <a:cubicBezTo>
                    <a:pt x="60" y="88"/>
                    <a:pt x="93" y="55"/>
                    <a:pt x="134" y="55"/>
                  </a:cubicBezTo>
                  <a:cubicBezTo>
                    <a:pt x="175" y="55"/>
                    <a:pt x="208" y="88"/>
                    <a:pt x="208" y="129"/>
                  </a:cubicBezTo>
                  <a:cubicBezTo>
                    <a:pt x="208" y="170"/>
                    <a:pt x="175" y="203"/>
                    <a:pt x="134" y="203"/>
                  </a:cubicBezTo>
                  <a:cubicBezTo>
                    <a:pt x="93" y="203"/>
                    <a:pt x="60" y="170"/>
                    <a:pt x="60" y="129"/>
                  </a:cubicBezTo>
                  <a:close/>
                  <a:moveTo>
                    <a:pt x="375" y="523"/>
                  </a:moveTo>
                  <a:cubicBezTo>
                    <a:pt x="285" y="523"/>
                    <a:pt x="211" y="449"/>
                    <a:pt x="211" y="359"/>
                  </a:cubicBezTo>
                  <a:cubicBezTo>
                    <a:pt x="211" y="268"/>
                    <a:pt x="285" y="195"/>
                    <a:pt x="375" y="195"/>
                  </a:cubicBezTo>
                  <a:cubicBezTo>
                    <a:pt x="465" y="195"/>
                    <a:pt x="539" y="268"/>
                    <a:pt x="539" y="359"/>
                  </a:cubicBezTo>
                  <a:cubicBezTo>
                    <a:pt x="539" y="449"/>
                    <a:pt x="465" y="523"/>
                    <a:pt x="375" y="523"/>
                  </a:cubicBezTo>
                  <a:close/>
                  <a:moveTo>
                    <a:pt x="702" y="320"/>
                  </a:moveTo>
                  <a:cubicBezTo>
                    <a:pt x="670" y="320"/>
                    <a:pt x="644" y="294"/>
                    <a:pt x="644" y="262"/>
                  </a:cubicBezTo>
                  <a:cubicBezTo>
                    <a:pt x="644" y="230"/>
                    <a:pt x="670" y="204"/>
                    <a:pt x="702" y="204"/>
                  </a:cubicBezTo>
                  <a:cubicBezTo>
                    <a:pt x="733" y="204"/>
                    <a:pt x="760" y="230"/>
                    <a:pt x="760" y="262"/>
                  </a:cubicBezTo>
                  <a:cubicBezTo>
                    <a:pt x="760" y="294"/>
                    <a:pt x="733" y="320"/>
                    <a:pt x="702" y="3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92" name="Oval 19"/>
            <p:cNvSpPr>
              <a:spLocks noChangeArrowheads="1"/>
            </p:cNvSpPr>
            <p:nvPr/>
          </p:nvSpPr>
          <p:spPr bwMode="auto">
            <a:xfrm>
              <a:off x="4379913" y="3227388"/>
              <a:ext cx="358775" cy="35401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93" name="Oval 20"/>
            <p:cNvSpPr>
              <a:spLocks noChangeArrowheads="1"/>
            </p:cNvSpPr>
            <p:nvPr/>
          </p:nvSpPr>
          <p:spPr bwMode="auto">
            <a:xfrm>
              <a:off x="4881563" y="3232151"/>
              <a:ext cx="247650" cy="24765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94" name="Oval 21"/>
            <p:cNvSpPr>
              <a:spLocks noChangeArrowheads="1"/>
            </p:cNvSpPr>
            <p:nvPr/>
          </p:nvSpPr>
          <p:spPr bwMode="auto">
            <a:xfrm>
              <a:off x="4881563" y="3641726"/>
              <a:ext cx="161925" cy="15875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95" name="Freeform 13"/>
          <p:cNvSpPr>
            <a:spLocks noEditPoints="1"/>
          </p:cNvSpPr>
          <p:nvPr/>
        </p:nvSpPr>
        <p:spPr bwMode="auto">
          <a:xfrm>
            <a:off x="9916553" y="3166208"/>
            <a:ext cx="495646" cy="364638"/>
          </a:xfrm>
          <a:custGeom>
            <a:avLst/>
            <a:gdLst>
              <a:gd name="T0" fmla="*/ 525 w 799"/>
              <a:gd name="T1" fmla="*/ 523 h 588"/>
              <a:gd name="T2" fmla="*/ 40 w 799"/>
              <a:gd name="T3" fmla="*/ 491 h 588"/>
              <a:gd name="T4" fmla="*/ 72 w 799"/>
              <a:gd name="T5" fmla="*/ 38 h 588"/>
              <a:gd name="T6" fmla="*/ 749 w 799"/>
              <a:gd name="T7" fmla="*/ 283 h 588"/>
              <a:gd name="T8" fmla="*/ 751 w 799"/>
              <a:gd name="T9" fmla="*/ 323 h 588"/>
              <a:gd name="T10" fmla="*/ 787 w 799"/>
              <a:gd name="T11" fmla="*/ 357 h 588"/>
              <a:gd name="T12" fmla="*/ 725 w 799"/>
              <a:gd name="T13" fmla="*/ 0 h 588"/>
              <a:gd name="T14" fmla="*/ 0 w 799"/>
              <a:gd name="T15" fmla="*/ 62 h 588"/>
              <a:gd name="T16" fmla="*/ 62 w 799"/>
              <a:gd name="T17" fmla="*/ 562 h 588"/>
              <a:gd name="T18" fmla="*/ 547 w 799"/>
              <a:gd name="T19" fmla="*/ 554 h 588"/>
              <a:gd name="T20" fmla="*/ 749 w 799"/>
              <a:gd name="T21" fmla="*/ 70 h 588"/>
              <a:gd name="T22" fmla="*/ 550 w 799"/>
              <a:gd name="T23" fmla="*/ 38 h 588"/>
              <a:gd name="T24" fmla="*/ 749 w 799"/>
              <a:gd name="T25" fmla="*/ 70 h 588"/>
              <a:gd name="T26" fmla="*/ 697 w 799"/>
              <a:gd name="T27" fmla="*/ 416 h 588"/>
              <a:gd name="T28" fmla="*/ 667 w 799"/>
              <a:gd name="T29" fmla="*/ 325 h 588"/>
              <a:gd name="T30" fmla="*/ 667 w 799"/>
              <a:gd name="T31" fmla="*/ 325 h 588"/>
              <a:gd name="T32" fmla="*/ 637 w 799"/>
              <a:gd name="T33" fmla="*/ 416 h 588"/>
              <a:gd name="T34" fmla="*/ 535 w 799"/>
              <a:gd name="T35" fmla="*/ 457 h 588"/>
              <a:gd name="T36" fmla="*/ 619 w 799"/>
              <a:gd name="T37" fmla="*/ 472 h 588"/>
              <a:gd name="T38" fmla="*/ 590 w 799"/>
              <a:gd name="T39" fmla="*/ 563 h 588"/>
              <a:gd name="T40" fmla="*/ 745 w 799"/>
              <a:gd name="T41" fmla="*/ 564 h 588"/>
              <a:gd name="T42" fmla="*/ 590 w 799"/>
              <a:gd name="T43" fmla="*/ 563 h 588"/>
              <a:gd name="T44" fmla="*/ 715 w 799"/>
              <a:gd name="T45" fmla="*/ 472 h 588"/>
              <a:gd name="T46" fmla="*/ 799 w 799"/>
              <a:gd name="T47" fmla="*/ 457 h 588"/>
              <a:gd name="T48" fmla="*/ 211 w 799"/>
              <a:gd name="T49" fmla="*/ 126 h 588"/>
              <a:gd name="T50" fmla="*/ 119 w 799"/>
              <a:gd name="T51" fmla="*/ 361 h 588"/>
              <a:gd name="T52" fmla="*/ 304 w 799"/>
              <a:gd name="T53" fmla="*/ 361 h 588"/>
              <a:gd name="T54" fmla="*/ 211 w 799"/>
              <a:gd name="T55" fmla="*/ 126 h 588"/>
              <a:gd name="T56" fmla="*/ 213 w 799"/>
              <a:gd name="T57" fmla="*/ 432 h 588"/>
              <a:gd name="T58" fmla="*/ 146 w 799"/>
              <a:gd name="T59" fmla="*/ 284 h 588"/>
              <a:gd name="T60" fmla="*/ 280 w 799"/>
              <a:gd name="T61" fmla="*/ 369 h 588"/>
              <a:gd name="T62" fmla="*/ 534 w 799"/>
              <a:gd name="T63" fmla="*/ 184 h 588"/>
              <a:gd name="T64" fmla="*/ 370 w 799"/>
              <a:gd name="T65" fmla="*/ 224 h 588"/>
              <a:gd name="T66" fmla="*/ 370 w 799"/>
              <a:gd name="T67" fmla="*/ 184 h 588"/>
              <a:gd name="T68" fmla="*/ 534 w 799"/>
              <a:gd name="T69" fmla="*/ 274 h 588"/>
              <a:gd name="T70" fmla="*/ 370 w 799"/>
              <a:gd name="T71" fmla="*/ 314 h 588"/>
              <a:gd name="T72" fmla="*/ 370 w 799"/>
              <a:gd name="T73" fmla="*/ 274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9" h="588">
                <a:moveTo>
                  <a:pt x="527" y="525"/>
                </a:moveTo>
                <a:cubicBezTo>
                  <a:pt x="525" y="523"/>
                  <a:pt x="525" y="523"/>
                  <a:pt x="525" y="523"/>
                </a:cubicBezTo>
                <a:cubicBezTo>
                  <a:pt x="72" y="523"/>
                  <a:pt x="72" y="523"/>
                  <a:pt x="72" y="523"/>
                </a:cubicBezTo>
                <a:cubicBezTo>
                  <a:pt x="54" y="523"/>
                  <a:pt x="40" y="509"/>
                  <a:pt x="40" y="491"/>
                </a:cubicBezTo>
                <a:cubicBezTo>
                  <a:pt x="40" y="72"/>
                  <a:pt x="40" y="72"/>
                  <a:pt x="40" y="72"/>
                </a:cubicBezTo>
                <a:cubicBezTo>
                  <a:pt x="40" y="54"/>
                  <a:pt x="54" y="38"/>
                  <a:pt x="72" y="38"/>
                </a:cubicBezTo>
                <a:cubicBezTo>
                  <a:pt x="505" y="38"/>
                  <a:pt x="505" y="38"/>
                  <a:pt x="505" y="38"/>
                </a:cubicBezTo>
                <a:cubicBezTo>
                  <a:pt x="749" y="283"/>
                  <a:pt x="749" y="283"/>
                  <a:pt x="749" y="283"/>
                </a:cubicBezTo>
                <a:cubicBezTo>
                  <a:pt x="749" y="321"/>
                  <a:pt x="749" y="321"/>
                  <a:pt x="749" y="321"/>
                </a:cubicBezTo>
                <a:cubicBezTo>
                  <a:pt x="751" y="323"/>
                  <a:pt x="751" y="323"/>
                  <a:pt x="751" y="323"/>
                </a:cubicBezTo>
                <a:cubicBezTo>
                  <a:pt x="761" y="329"/>
                  <a:pt x="771" y="337"/>
                  <a:pt x="779" y="347"/>
                </a:cubicBezTo>
                <a:cubicBezTo>
                  <a:pt x="787" y="357"/>
                  <a:pt x="787" y="357"/>
                  <a:pt x="787" y="357"/>
                </a:cubicBezTo>
                <a:cubicBezTo>
                  <a:pt x="787" y="62"/>
                  <a:pt x="787" y="62"/>
                  <a:pt x="787" y="62"/>
                </a:cubicBezTo>
                <a:cubicBezTo>
                  <a:pt x="787" y="28"/>
                  <a:pt x="759" y="0"/>
                  <a:pt x="725" y="0"/>
                </a:cubicBezTo>
                <a:cubicBezTo>
                  <a:pt x="62" y="0"/>
                  <a:pt x="62" y="0"/>
                  <a:pt x="62" y="0"/>
                </a:cubicBezTo>
                <a:cubicBezTo>
                  <a:pt x="28" y="0"/>
                  <a:pt x="0" y="28"/>
                  <a:pt x="0" y="62"/>
                </a:cubicBezTo>
                <a:cubicBezTo>
                  <a:pt x="0" y="501"/>
                  <a:pt x="0" y="501"/>
                  <a:pt x="0" y="501"/>
                </a:cubicBezTo>
                <a:cubicBezTo>
                  <a:pt x="0" y="534"/>
                  <a:pt x="28" y="562"/>
                  <a:pt x="62" y="562"/>
                </a:cubicBezTo>
                <a:cubicBezTo>
                  <a:pt x="553" y="562"/>
                  <a:pt x="553" y="562"/>
                  <a:pt x="553" y="562"/>
                </a:cubicBezTo>
                <a:cubicBezTo>
                  <a:pt x="547" y="554"/>
                  <a:pt x="547" y="554"/>
                  <a:pt x="547" y="554"/>
                </a:cubicBezTo>
                <a:cubicBezTo>
                  <a:pt x="539" y="544"/>
                  <a:pt x="533" y="534"/>
                  <a:pt x="527" y="525"/>
                </a:cubicBezTo>
                <a:close/>
                <a:moveTo>
                  <a:pt x="749" y="70"/>
                </a:moveTo>
                <a:cubicBezTo>
                  <a:pt x="749" y="237"/>
                  <a:pt x="749" y="237"/>
                  <a:pt x="749" y="237"/>
                </a:cubicBezTo>
                <a:cubicBezTo>
                  <a:pt x="550" y="38"/>
                  <a:pt x="550" y="38"/>
                  <a:pt x="550" y="38"/>
                </a:cubicBezTo>
                <a:cubicBezTo>
                  <a:pt x="717" y="38"/>
                  <a:pt x="717" y="38"/>
                  <a:pt x="717" y="38"/>
                </a:cubicBezTo>
                <a:cubicBezTo>
                  <a:pt x="735" y="38"/>
                  <a:pt x="749" y="52"/>
                  <a:pt x="749" y="70"/>
                </a:cubicBezTo>
                <a:close/>
                <a:moveTo>
                  <a:pt x="667" y="325"/>
                </a:moveTo>
                <a:cubicBezTo>
                  <a:pt x="697" y="416"/>
                  <a:pt x="697" y="416"/>
                  <a:pt x="697" y="416"/>
                </a:cubicBezTo>
                <a:cubicBezTo>
                  <a:pt x="793" y="416"/>
                  <a:pt x="793" y="416"/>
                  <a:pt x="793" y="416"/>
                </a:cubicBezTo>
                <a:cubicBezTo>
                  <a:pt x="775" y="363"/>
                  <a:pt x="725" y="325"/>
                  <a:pt x="667" y="325"/>
                </a:cubicBezTo>
                <a:close/>
                <a:moveTo>
                  <a:pt x="637" y="416"/>
                </a:moveTo>
                <a:cubicBezTo>
                  <a:pt x="667" y="325"/>
                  <a:pt x="667" y="325"/>
                  <a:pt x="667" y="325"/>
                </a:cubicBezTo>
                <a:cubicBezTo>
                  <a:pt x="607" y="325"/>
                  <a:pt x="558" y="363"/>
                  <a:pt x="541" y="416"/>
                </a:cubicBezTo>
                <a:lnTo>
                  <a:pt x="637" y="416"/>
                </a:lnTo>
                <a:close/>
                <a:moveTo>
                  <a:pt x="541" y="416"/>
                </a:moveTo>
                <a:cubicBezTo>
                  <a:pt x="537" y="429"/>
                  <a:pt x="535" y="442"/>
                  <a:pt x="535" y="457"/>
                </a:cubicBezTo>
                <a:cubicBezTo>
                  <a:pt x="535" y="500"/>
                  <a:pt x="557" y="539"/>
                  <a:pt x="590" y="563"/>
                </a:cubicBezTo>
                <a:cubicBezTo>
                  <a:pt x="619" y="472"/>
                  <a:pt x="619" y="472"/>
                  <a:pt x="619" y="472"/>
                </a:cubicBezTo>
                <a:lnTo>
                  <a:pt x="541" y="416"/>
                </a:lnTo>
                <a:close/>
                <a:moveTo>
                  <a:pt x="590" y="563"/>
                </a:moveTo>
                <a:cubicBezTo>
                  <a:pt x="612" y="579"/>
                  <a:pt x="639" y="588"/>
                  <a:pt x="667" y="588"/>
                </a:cubicBezTo>
                <a:cubicBezTo>
                  <a:pt x="696" y="588"/>
                  <a:pt x="723" y="579"/>
                  <a:pt x="745" y="564"/>
                </a:cubicBezTo>
                <a:cubicBezTo>
                  <a:pt x="667" y="507"/>
                  <a:pt x="667" y="507"/>
                  <a:pt x="667" y="507"/>
                </a:cubicBezTo>
                <a:lnTo>
                  <a:pt x="590" y="563"/>
                </a:lnTo>
                <a:close/>
                <a:moveTo>
                  <a:pt x="793" y="416"/>
                </a:moveTo>
                <a:cubicBezTo>
                  <a:pt x="715" y="472"/>
                  <a:pt x="715" y="472"/>
                  <a:pt x="715" y="472"/>
                </a:cubicBezTo>
                <a:cubicBezTo>
                  <a:pt x="745" y="564"/>
                  <a:pt x="745" y="564"/>
                  <a:pt x="745" y="564"/>
                </a:cubicBezTo>
                <a:cubicBezTo>
                  <a:pt x="778" y="540"/>
                  <a:pt x="799" y="501"/>
                  <a:pt x="799" y="457"/>
                </a:cubicBezTo>
                <a:cubicBezTo>
                  <a:pt x="799" y="442"/>
                  <a:pt x="797" y="429"/>
                  <a:pt x="793" y="416"/>
                </a:cubicBezTo>
                <a:close/>
                <a:moveTo>
                  <a:pt x="211" y="126"/>
                </a:moveTo>
                <a:cubicBezTo>
                  <a:pt x="160" y="126"/>
                  <a:pt x="119" y="170"/>
                  <a:pt x="119" y="225"/>
                </a:cubicBezTo>
                <a:cubicBezTo>
                  <a:pt x="119" y="361"/>
                  <a:pt x="119" y="361"/>
                  <a:pt x="119" y="361"/>
                </a:cubicBezTo>
                <a:cubicBezTo>
                  <a:pt x="119" y="416"/>
                  <a:pt x="160" y="460"/>
                  <a:pt x="211" y="460"/>
                </a:cubicBezTo>
                <a:cubicBezTo>
                  <a:pt x="263" y="460"/>
                  <a:pt x="304" y="416"/>
                  <a:pt x="304" y="361"/>
                </a:cubicBezTo>
                <a:cubicBezTo>
                  <a:pt x="304" y="225"/>
                  <a:pt x="304" y="225"/>
                  <a:pt x="304" y="225"/>
                </a:cubicBezTo>
                <a:cubicBezTo>
                  <a:pt x="304" y="170"/>
                  <a:pt x="263" y="126"/>
                  <a:pt x="211" y="126"/>
                </a:cubicBezTo>
                <a:close/>
                <a:moveTo>
                  <a:pt x="280" y="369"/>
                </a:moveTo>
                <a:cubicBezTo>
                  <a:pt x="280" y="404"/>
                  <a:pt x="250" y="432"/>
                  <a:pt x="213" y="432"/>
                </a:cubicBezTo>
                <a:cubicBezTo>
                  <a:pt x="176" y="432"/>
                  <a:pt x="146" y="404"/>
                  <a:pt x="146" y="369"/>
                </a:cubicBezTo>
                <a:cubicBezTo>
                  <a:pt x="146" y="284"/>
                  <a:pt x="146" y="284"/>
                  <a:pt x="146" y="284"/>
                </a:cubicBezTo>
                <a:cubicBezTo>
                  <a:pt x="280" y="284"/>
                  <a:pt x="280" y="284"/>
                  <a:pt x="280" y="284"/>
                </a:cubicBezTo>
                <a:cubicBezTo>
                  <a:pt x="280" y="369"/>
                  <a:pt x="280" y="369"/>
                  <a:pt x="280" y="369"/>
                </a:cubicBezTo>
                <a:close/>
                <a:moveTo>
                  <a:pt x="370" y="184"/>
                </a:moveTo>
                <a:cubicBezTo>
                  <a:pt x="534" y="184"/>
                  <a:pt x="534" y="184"/>
                  <a:pt x="534" y="184"/>
                </a:cubicBezTo>
                <a:cubicBezTo>
                  <a:pt x="534" y="224"/>
                  <a:pt x="534" y="224"/>
                  <a:pt x="534" y="224"/>
                </a:cubicBezTo>
                <a:cubicBezTo>
                  <a:pt x="370" y="224"/>
                  <a:pt x="370" y="224"/>
                  <a:pt x="370" y="224"/>
                </a:cubicBezTo>
                <a:cubicBezTo>
                  <a:pt x="370" y="184"/>
                  <a:pt x="370" y="184"/>
                  <a:pt x="370" y="184"/>
                </a:cubicBezTo>
                <a:cubicBezTo>
                  <a:pt x="370" y="184"/>
                  <a:pt x="370" y="184"/>
                  <a:pt x="370" y="184"/>
                </a:cubicBezTo>
                <a:close/>
                <a:moveTo>
                  <a:pt x="370" y="274"/>
                </a:moveTo>
                <a:cubicBezTo>
                  <a:pt x="534" y="274"/>
                  <a:pt x="534" y="274"/>
                  <a:pt x="534" y="274"/>
                </a:cubicBezTo>
                <a:cubicBezTo>
                  <a:pt x="534" y="314"/>
                  <a:pt x="534" y="314"/>
                  <a:pt x="534" y="314"/>
                </a:cubicBezTo>
                <a:cubicBezTo>
                  <a:pt x="370" y="314"/>
                  <a:pt x="370" y="314"/>
                  <a:pt x="370" y="314"/>
                </a:cubicBezTo>
                <a:cubicBezTo>
                  <a:pt x="370" y="274"/>
                  <a:pt x="370" y="274"/>
                  <a:pt x="370" y="274"/>
                </a:cubicBezTo>
                <a:cubicBezTo>
                  <a:pt x="370" y="274"/>
                  <a:pt x="370" y="274"/>
                  <a:pt x="370" y="274"/>
                </a:cubicBezTo>
                <a:close/>
              </a:path>
            </a:pathLst>
          </a:custGeom>
          <a:solidFill>
            <a:schemeClr val="accent1"/>
          </a:solidFill>
          <a:ln>
            <a:noFill/>
          </a:ln>
        </p:spPr>
        <p:txBody>
          <a:bodyPr vert="horz" wrap="square" lIns="91440" tIns="45720" rIns="91440" bIns="45720" numCol="1" anchor="t" anchorCtr="0" compatLnSpc="1"/>
          <a:lstStyle/>
          <a:p>
            <a:endParaRPr lang="en-US" dirty="0"/>
          </a:p>
        </p:txBody>
      </p:sp>
      <p:grpSp>
        <p:nvGrpSpPr>
          <p:cNvPr id="96" name="Group 223"/>
          <p:cNvGrpSpPr/>
          <p:nvPr/>
        </p:nvGrpSpPr>
        <p:grpSpPr>
          <a:xfrm>
            <a:off x="7394793" y="3053763"/>
            <a:ext cx="444283" cy="529723"/>
            <a:chOff x="4580259" y="1820863"/>
            <a:chExt cx="495300" cy="590551"/>
          </a:xfrm>
          <a:solidFill>
            <a:schemeClr val="accent1"/>
          </a:solidFill>
        </p:grpSpPr>
        <p:sp>
          <p:nvSpPr>
            <p:cNvPr id="97" name="Freeform 105"/>
            <p:cNvSpPr>
              <a:spLocks noEditPoints="1"/>
            </p:cNvSpPr>
            <p:nvPr/>
          </p:nvSpPr>
          <p:spPr bwMode="auto">
            <a:xfrm>
              <a:off x="4586609" y="2190751"/>
              <a:ext cx="482600" cy="165100"/>
            </a:xfrm>
            <a:custGeom>
              <a:avLst/>
              <a:gdLst>
                <a:gd name="T0" fmla="*/ 616 w 635"/>
                <a:gd name="T1" fmla="*/ 101 h 217"/>
                <a:gd name="T2" fmla="*/ 617 w 635"/>
                <a:gd name="T3" fmla="*/ 117 h 217"/>
                <a:gd name="T4" fmla="*/ 631 w 635"/>
                <a:gd name="T5" fmla="*/ 164 h 217"/>
                <a:gd name="T6" fmla="*/ 617 w 635"/>
                <a:gd name="T7" fmla="*/ 205 h 217"/>
                <a:gd name="T8" fmla="*/ 582 w 635"/>
                <a:gd name="T9" fmla="*/ 217 h 217"/>
                <a:gd name="T10" fmla="*/ 489 w 635"/>
                <a:gd name="T11" fmla="*/ 214 h 217"/>
                <a:gd name="T12" fmla="*/ 416 w 635"/>
                <a:gd name="T13" fmla="*/ 216 h 217"/>
                <a:gd name="T14" fmla="*/ 56 w 635"/>
                <a:gd name="T15" fmla="*/ 217 h 217"/>
                <a:gd name="T16" fmla="*/ 16 w 635"/>
                <a:gd name="T17" fmla="*/ 203 h 217"/>
                <a:gd name="T18" fmla="*/ 4 w 635"/>
                <a:gd name="T19" fmla="*/ 163 h 217"/>
                <a:gd name="T20" fmla="*/ 16 w 635"/>
                <a:gd name="T21" fmla="*/ 119 h 217"/>
                <a:gd name="T22" fmla="*/ 44 w 635"/>
                <a:gd name="T23" fmla="*/ 30 h 217"/>
                <a:gd name="T24" fmla="*/ 76 w 635"/>
                <a:gd name="T25" fmla="*/ 2 h 217"/>
                <a:gd name="T26" fmla="*/ 98 w 635"/>
                <a:gd name="T27" fmla="*/ 0 h 217"/>
                <a:gd name="T28" fmla="*/ 539 w 635"/>
                <a:gd name="T29" fmla="*/ 0 h 217"/>
                <a:gd name="T30" fmla="*/ 553 w 635"/>
                <a:gd name="T31" fmla="*/ 1 h 217"/>
                <a:gd name="T32" fmla="*/ 591 w 635"/>
                <a:gd name="T33" fmla="*/ 32 h 217"/>
                <a:gd name="T34" fmla="*/ 604 w 635"/>
                <a:gd name="T35" fmla="*/ 80 h 217"/>
                <a:gd name="T36" fmla="*/ 616 w 635"/>
                <a:gd name="T37" fmla="*/ 101 h 217"/>
                <a:gd name="T38" fmla="*/ 318 w 635"/>
                <a:gd name="T39" fmla="*/ 170 h 217"/>
                <a:gd name="T40" fmla="*/ 329 w 635"/>
                <a:gd name="T41" fmla="*/ 166 h 217"/>
                <a:gd name="T42" fmla="*/ 334 w 635"/>
                <a:gd name="T43" fmla="*/ 163 h 217"/>
                <a:gd name="T44" fmla="*/ 339 w 635"/>
                <a:gd name="T45" fmla="*/ 141 h 217"/>
                <a:gd name="T46" fmla="*/ 314 w 635"/>
                <a:gd name="T47" fmla="*/ 132 h 217"/>
                <a:gd name="T48" fmla="*/ 293 w 635"/>
                <a:gd name="T49" fmla="*/ 145 h 217"/>
                <a:gd name="T50" fmla="*/ 300 w 635"/>
                <a:gd name="T51" fmla="*/ 162 h 217"/>
                <a:gd name="T52" fmla="*/ 318 w 635"/>
                <a:gd name="T53" fmla="*/ 170 h 217"/>
                <a:gd name="T54" fmla="*/ 256 w 635"/>
                <a:gd name="T55" fmla="*/ 92 h 217"/>
                <a:gd name="T56" fmla="*/ 274 w 635"/>
                <a:gd name="T57" fmla="*/ 102 h 217"/>
                <a:gd name="T58" fmla="*/ 282 w 635"/>
                <a:gd name="T59" fmla="*/ 90 h 217"/>
                <a:gd name="T60" fmla="*/ 273 w 635"/>
                <a:gd name="T61" fmla="*/ 79 h 217"/>
                <a:gd name="T62" fmla="*/ 256 w 635"/>
                <a:gd name="T63" fmla="*/ 92 h 217"/>
                <a:gd name="T64" fmla="*/ 508 w 635"/>
                <a:gd name="T65" fmla="*/ 61 h 217"/>
                <a:gd name="T66" fmla="*/ 529 w 635"/>
                <a:gd name="T67" fmla="*/ 73 h 217"/>
                <a:gd name="T68" fmla="*/ 531 w 635"/>
                <a:gd name="T69" fmla="*/ 55 h 217"/>
                <a:gd name="T70" fmla="*/ 508 w 635"/>
                <a:gd name="T71" fmla="*/ 6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5" h="217">
                  <a:moveTo>
                    <a:pt x="616" y="101"/>
                  </a:moveTo>
                  <a:cubicBezTo>
                    <a:pt x="616" y="106"/>
                    <a:pt x="615" y="112"/>
                    <a:pt x="617" y="117"/>
                  </a:cubicBezTo>
                  <a:cubicBezTo>
                    <a:pt x="621" y="133"/>
                    <a:pt x="626" y="148"/>
                    <a:pt x="631" y="164"/>
                  </a:cubicBezTo>
                  <a:cubicBezTo>
                    <a:pt x="635" y="177"/>
                    <a:pt x="628" y="198"/>
                    <a:pt x="617" y="205"/>
                  </a:cubicBezTo>
                  <a:cubicBezTo>
                    <a:pt x="607" y="212"/>
                    <a:pt x="596" y="217"/>
                    <a:pt x="582" y="217"/>
                  </a:cubicBezTo>
                  <a:cubicBezTo>
                    <a:pt x="551" y="215"/>
                    <a:pt x="520" y="214"/>
                    <a:pt x="489" y="214"/>
                  </a:cubicBezTo>
                  <a:cubicBezTo>
                    <a:pt x="464" y="214"/>
                    <a:pt x="440" y="216"/>
                    <a:pt x="416" y="216"/>
                  </a:cubicBezTo>
                  <a:cubicBezTo>
                    <a:pt x="296" y="217"/>
                    <a:pt x="176" y="216"/>
                    <a:pt x="56" y="217"/>
                  </a:cubicBezTo>
                  <a:cubicBezTo>
                    <a:pt x="41" y="217"/>
                    <a:pt x="27" y="212"/>
                    <a:pt x="16" y="203"/>
                  </a:cubicBezTo>
                  <a:cubicBezTo>
                    <a:pt x="4" y="192"/>
                    <a:pt x="0" y="178"/>
                    <a:pt x="4" y="163"/>
                  </a:cubicBezTo>
                  <a:cubicBezTo>
                    <a:pt x="8" y="148"/>
                    <a:pt x="12" y="134"/>
                    <a:pt x="16" y="119"/>
                  </a:cubicBezTo>
                  <a:cubicBezTo>
                    <a:pt x="25" y="89"/>
                    <a:pt x="34" y="59"/>
                    <a:pt x="44" y="30"/>
                  </a:cubicBezTo>
                  <a:cubicBezTo>
                    <a:pt x="49" y="15"/>
                    <a:pt x="58" y="3"/>
                    <a:pt x="76" y="2"/>
                  </a:cubicBezTo>
                  <a:cubicBezTo>
                    <a:pt x="83" y="2"/>
                    <a:pt x="91" y="0"/>
                    <a:pt x="98" y="0"/>
                  </a:cubicBezTo>
                  <a:cubicBezTo>
                    <a:pt x="245" y="0"/>
                    <a:pt x="392" y="0"/>
                    <a:pt x="539" y="0"/>
                  </a:cubicBezTo>
                  <a:cubicBezTo>
                    <a:pt x="544" y="0"/>
                    <a:pt x="549" y="0"/>
                    <a:pt x="553" y="1"/>
                  </a:cubicBezTo>
                  <a:cubicBezTo>
                    <a:pt x="576" y="3"/>
                    <a:pt x="585" y="10"/>
                    <a:pt x="591" y="32"/>
                  </a:cubicBezTo>
                  <a:cubicBezTo>
                    <a:pt x="596" y="48"/>
                    <a:pt x="599" y="64"/>
                    <a:pt x="604" y="80"/>
                  </a:cubicBezTo>
                  <a:cubicBezTo>
                    <a:pt x="607" y="87"/>
                    <a:pt x="612" y="93"/>
                    <a:pt x="616" y="101"/>
                  </a:cubicBezTo>
                  <a:close/>
                  <a:moveTo>
                    <a:pt x="318" y="170"/>
                  </a:moveTo>
                  <a:cubicBezTo>
                    <a:pt x="321" y="169"/>
                    <a:pt x="325" y="167"/>
                    <a:pt x="329" y="166"/>
                  </a:cubicBezTo>
                  <a:cubicBezTo>
                    <a:pt x="331" y="165"/>
                    <a:pt x="333" y="165"/>
                    <a:pt x="334" y="163"/>
                  </a:cubicBezTo>
                  <a:cubicBezTo>
                    <a:pt x="342" y="158"/>
                    <a:pt x="344" y="149"/>
                    <a:pt x="339" y="141"/>
                  </a:cubicBezTo>
                  <a:cubicBezTo>
                    <a:pt x="333" y="131"/>
                    <a:pt x="323" y="132"/>
                    <a:pt x="314" y="132"/>
                  </a:cubicBezTo>
                  <a:cubicBezTo>
                    <a:pt x="305" y="132"/>
                    <a:pt x="297" y="136"/>
                    <a:pt x="293" y="145"/>
                  </a:cubicBezTo>
                  <a:cubicBezTo>
                    <a:pt x="290" y="152"/>
                    <a:pt x="293" y="158"/>
                    <a:pt x="300" y="162"/>
                  </a:cubicBezTo>
                  <a:cubicBezTo>
                    <a:pt x="305" y="165"/>
                    <a:pt x="311" y="168"/>
                    <a:pt x="318" y="170"/>
                  </a:cubicBezTo>
                  <a:close/>
                  <a:moveTo>
                    <a:pt x="256" y="92"/>
                  </a:moveTo>
                  <a:cubicBezTo>
                    <a:pt x="261" y="99"/>
                    <a:pt x="266" y="105"/>
                    <a:pt x="274" y="102"/>
                  </a:cubicBezTo>
                  <a:cubicBezTo>
                    <a:pt x="278" y="100"/>
                    <a:pt x="282" y="94"/>
                    <a:pt x="282" y="90"/>
                  </a:cubicBezTo>
                  <a:cubicBezTo>
                    <a:pt x="281" y="86"/>
                    <a:pt x="277" y="80"/>
                    <a:pt x="273" y="79"/>
                  </a:cubicBezTo>
                  <a:cubicBezTo>
                    <a:pt x="264" y="75"/>
                    <a:pt x="261" y="84"/>
                    <a:pt x="256" y="92"/>
                  </a:cubicBezTo>
                  <a:close/>
                  <a:moveTo>
                    <a:pt x="508" y="61"/>
                  </a:moveTo>
                  <a:cubicBezTo>
                    <a:pt x="518" y="75"/>
                    <a:pt x="523" y="78"/>
                    <a:pt x="529" y="73"/>
                  </a:cubicBezTo>
                  <a:cubicBezTo>
                    <a:pt x="534" y="69"/>
                    <a:pt x="535" y="60"/>
                    <a:pt x="531" y="55"/>
                  </a:cubicBezTo>
                  <a:cubicBezTo>
                    <a:pt x="525" y="49"/>
                    <a:pt x="519" y="50"/>
                    <a:pt x="508" y="6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116"/>
            <p:cNvSpPr>
              <a:spLocks noEditPoints="1"/>
            </p:cNvSpPr>
            <p:nvPr/>
          </p:nvSpPr>
          <p:spPr bwMode="auto">
            <a:xfrm>
              <a:off x="4637409" y="1820863"/>
              <a:ext cx="381000" cy="292100"/>
            </a:xfrm>
            <a:custGeom>
              <a:avLst/>
              <a:gdLst>
                <a:gd name="T0" fmla="*/ 253 w 502"/>
                <a:gd name="T1" fmla="*/ 0 h 385"/>
                <a:gd name="T2" fmla="*/ 465 w 502"/>
                <a:gd name="T3" fmla="*/ 0 h 385"/>
                <a:gd name="T4" fmla="*/ 481 w 502"/>
                <a:gd name="T5" fmla="*/ 0 h 385"/>
                <a:gd name="T6" fmla="*/ 501 w 502"/>
                <a:gd name="T7" fmla="*/ 21 h 385"/>
                <a:gd name="T8" fmla="*/ 502 w 502"/>
                <a:gd name="T9" fmla="*/ 39 h 385"/>
                <a:gd name="T10" fmla="*/ 502 w 502"/>
                <a:gd name="T11" fmla="*/ 347 h 385"/>
                <a:gd name="T12" fmla="*/ 502 w 502"/>
                <a:gd name="T13" fmla="*/ 357 h 385"/>
                <a:gd name="T14" fmla="*/ 474 w 502"/>
                <a:gd name="T15" fmla="*/ 385 h 385"/>
                <a:gd name="T16" fmla="*/ 466 w 502"/>
                <a:gd name="T17" fmla="*/ 385 h 385"/>
                <a:gd name="T18" fmla="*/ 37 w 502"/>
                <a:gd name="T19" fmla="*/ 385 h 385"/>
                <a:gd name="T20" fmla="*/ 31 w 502"/>
                <a:gd name="T21" fmla="*/ 385 h 385"/>
                <a:gd name="T22" fmla="*/ 1 w 502"/>
                <a:gd name="T23" fmla="*/ 354 h 385"/>
                <a:gd name="T24" fmla="*/ 0 w 502"/>
                <a:gd name="T25" fmla="*/ 330 h 385"/>
                <a:gd name="T26" fmla="*/ 0 w 502"/>
                <a:gd name="T27" fmla="*/ 45 h 385"/>
                <a:gd name="T28" fmla="*/ 1 w 502"/>
                <a:gd name="T29" fmla="*/ 31 h 385"/>
                <a:gd name="T30" fmla="*/ 31 w 502"/>
                <a:gd name="T31" fmla="*/ 0 h 385"/>
                <a:gd name="T32" fmla="*/ 161 w 502"/>
                <a:gd name="T33" fmla="*/ 0 h 385"/>
                <a:gd name="T34" fmla="*/ 253 w 502"/>
                <a:gd name="T35" fmla="*/ 0 h 385"/>
                <a:gd name="T36" fmla="*/ 251 w 502"/>
                <a:gd name="T37" fmla="*/ 345 h 385"/>
                <a:gd name="T38" fmla="*/ 431 w 502"/>
                <a:gd name="T39" fmla="*/ 345 h 385"/>
                <a:gd name="T40" fmla="*/ 464 w 502"/>
                <a:gd name="T41" fmla="*/ 313 h 385"/>
                <a:gd name="T42" fmla="*/ 464 w 502"/>
                <a:gd name="T43" fmla="*/ 75 h 385"/>
                <a:gd name="T44" fmla="*/ 432 w 502"/>
                <a:gd name="T45" fmla="*/ 41 h 385"/>
                <a:gd name="T46" fmla="*/ 418 w 502"/>
                <a:gd name="T47" fmla="*/ 41 h 385"/>
                <a:gd name="T48" fmla="*/ 250 w 502"/>
                <a:gd name="T49" fmla="*/ 41 h 385"/>
                <a:gd name="T50" fmla="*/ 80 w 502"/>
                <a:gd name="T51" fmla="*/ 41 h 385"/>
                <a:gd name="T52" fmla="*/ 41 w 502"/>
                <a:gd name="T53" fmla="*/ 79 h 385"/>
                <a:gd name="T54" fmla="*/ 41 w 502"/>
                <a:gd name="T55" fmla="*/ 298 h 385"/>
                <a:gd name="T56" fmla="*/ 41 w 502"/>
                <a:gd name="T57" fmla="*/ 324 h 385"/>
                <a:gd name="T58" fmla="*/ 57 w 502"/>
                <a:gd name="T59" fmla="*/ 344 h 385"/>
                <a:gd name="T60" fmla="*/ 75 w 502"/>
                <a:gd name="T61" fmla="*/ 345 h 385"/>
                <a:gd name="T62" fmla="*/ 251 w 502"/>
                <a:gd name="T63" fmla="*/ 34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2" h="385">
                  <a:moveTo>
                    <a:pt x="253" y="0"/>
                  </a:moveTo>
                  <a:cubicBezTo>
                    <a:pt x="323" y="0"/>
                    <a:pt x="394" y="0"/>
                    <a:pt x="465" y="0"/>
                  </a:cubicBezTo>
                  <a:cubicBezTo>
                    <a:pt x="470" y="0"/>
                    <a:pt x="475" y="0"/>
                    <a:pt x="481" y="0"/>
                  </a:cubicBezTo>
                  <a:cubicBezTo>
                    <a:pt x="493" y="2"/>
                    <a:pt x="500" y="9"/>
                    <a:pt x="501" y="21"/>
                  </a:cubicBezTo>
                  <a:cubicBezTo>
                    <a:pt x="502" y="27"/>
                    <a:pt x="502" y="33"/>
                    <a:pt x="502" y="39"/>
                  </a:cubicBezTo>
                  <a:cubicBezTo>
                    <a:pt x="502" y="142"/>
                    <a:pt x="502" y="244"/>
                    <a:pt x="502" y="347"/>
                  </a:cubicBezTo>
                  <a:cubicBezTo>
                    <a:pt x="502" y="350"/>
                    <a:pt x="502" y="353"/>
                    <a:pt x="502" y="357"/>
                  </a:cubicBezTo>
                  <a:cubicBezTo>
                    <a:pt x="501" y="377"/>
                    <a:pt x="494" y="384"/>
                    <a:pt x="474" y="385"/>
                  </a:cubicBezTo>
                  <a:cubicBezTo>
                    <a:pt x="472" y="385"/>
                    <a:pt x="469" y="385"/>
                    <a:pt x="466" y="385"/>
                  </a:cubicBezTo>
                  <a:cubicBezTo>
                    <a:pt x="323" y="385"/>
                    <a:pt x="180" y="385"/>
                    <a:pt x="37" y="385"/>
                  </a:cubicBezTo>
                  <a:cubicBezTo>
                    <a:pt x="35" y="385"/>
                    <a:pt x="33" y="385"/>
                    <a:pt x="31" y="385"/>
                  </a:cubicBezTo>
                  <a:cubicBezTo>
                    <a:pt x="10" y="385"/>
                    <a:pt x="1" y="376"/>
                    <a:pt x="1" y="354"/>
                  </a:cubicBezTo>
                  <a:cubicBezTo>
                    <a:pt x="0" y="346"/>
                    <a:pt x="0" y="338"/>
                    <a:pt x="0" y="330"/>
                  </a:cubicBezTo>
                  <a:cubicBezTo>
                    <a:pt x="0" y="235"/>
                    <a:pt x="0" y="140"/>
                    <a:pt x="0" y="45"/>
                  </a:cubicBezTo>
                  <a:cubicBezTo>
                    <a:pt x="0" y="40"/>
                    <a:pt x="0" y="35"/>
                    <a:pt x="1" y="31"/>
                  </a:cubicBezTo>
                  <a:cubicBezTo>
                    <a:pt x="1" y="9"/>
                    <a:pt x="10" y="0"/>
                    <a:pt x="31" y="0"/>
                  </a:cubicBezTo>
                  <a:cubicBezTo>
                    <a:pt x="74" y="0"/>
                    <a:pt x="118" y="0"/>
                    <a:pt x="161" y="0"/>
                  </a:cubicBezTo>
                  <a:cubicBezTo>
                    <a:pt x="192" y="0"/>
                    <a:pt x="222" y="0"/>
                    <a:pt x="253" y="0"/>
                  </a:cubicBezTo>
                  <a:close/>
                  <a:moveTo>
                    <a:pt x="251" y="345"/>
                  </a:moveTo>
                  <a:cubicBezTo>
                    <a:pt x="311" y="345"/>
                    <a:pt x="371" y="345"/>
                    <a:pt x="431" y="345"/>
                  </a:cubicBezTo>
                  <a:cubicBezTo>
                    <a:pt x="459" y="345"/>
                    <a:pt x="464" y="340"/>
                    <a:pt x="464" y="313"/>
                  </a:cubicBezTo>
                  <a:cubicBezTo>
                    <a:pt x="464" y="233"/>
                    <a:pt x="464" y="154"/>
                    <a:pt x="464" y="75"/>
                  </a:cubicBezTo>
                  <a:cubicBezTo>
                    <a:pt x="464" y="48"/>
                    <a:pt x="458" y="42"/>
                    <a:pt x="432" y="41"/>
                  </a:cubicBezTo>
                  <a:cubicBezTo>
                    <a:pt x="427" y="41"/>
                    <a:pt x="422" y="41"/>
                    <a:pt x="418" y="41"/>
                  </a:cubicBezTo>
                  <a:cubicBezTo>
                    <a:pt x="362" y="41"/>
                    <a:pt x="306" y="41"/>
                    <a:pt x="250" y="41"/>
                  </a:cubicBezTo>
                  <a:cubicBezTo>
                    <a:pt x="193" y="41"/>
                    <a:pt x="137" y="41"/>
                    <a:pt x="80" y="41"/>
                  </a:cubicBezTo>
                  <a:cubicBezTo>
                    <a:pt x="43" y="41"/>
                    <a:pt x="41" y="43"/>
                    <a:pt x="41" y="79"/>
                  </a:cubicBezTo>
                  <a:cubicBezTo>
                    <a:pt x="41" y="152"/>
                    <a:pt x="41" y="225"/>
                    <a:pt x="41" y="298"/>
                  </a:cubicBezTo>
                  <a:cubicBezTo>
                    <a:pt x="41" y="307"/>
                    <a:pt x="41" y="316"/>
                    <a:pt x="41" y="324"/>
                  </a:cubicBezTo>
                  <a:cubicBezTo>
                    <a:pt x="42" y="336"/>
                    <a:pt x="46" y="341"/>
                    <a:pt x="57" y="344"/>
                  </a:cubicBezTo>
                  <a:cubicBezTo>
                    <a:pt x="63" y="345"/>
                    <a:pt x="69" y="345"/>
                    <a:pt x="75" y="345"/>
                  </a:cubicBezTo>
                  <a:cubicBezTo>
                    <a:pt x="134" y="345"/>
                    <a:pt x="193" y="345"/>
                    <a:pt x="251" y="34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130"/>
            <p:cNvSpPr/>
            <p:nvPr/>
          </p:nvSpPr>
          <p:spPr bwMode="auto">
            <a:xfrm>
              <a:off x="4580259" y="2352676"/>
              <a:ext cx="495300" cy="58738"/>
            </a:xfrm>
            <a:custGeom>
              <a:avLst/>
              <a:gdLst>
                <a:gd name="T0" fmla="*/ 9 w 653"/>
                <a:gd name="T1" fmla="*/ 0 h 77"/>
                <a:gd name="T2" fmla="*/ 85 w 653"/>
                <a:gd name="T3" fmla="*/ 19 h 77"/>
                <a:gd name="T4" fmla="*/ 478 w 653"/>
                <a:gd name="T5" fmla="*/ 20 h 77"/>
                <a:gd name="T6" fmla="*/ 578 w 653"/>
                <a:gd name="T7" fmla="*/ 19 h 77"/>
                <a:gd name="T8" fmla="*/ 640 w 653"/>
                <a:gd name="T9" fmla="*/ 3 h 77"/>
                <a:gd name="T10" fmla="*/ 646 w 653"/>
                <a:gd name="T11" fmla="*/ 2 h 77"/>
                <a:gd name="T12" fmla="*/ 616 w 653"/>
                <a:gd name="T13" fmla="*/ 73 h 77"/>
                <a:gd name="T14" fmla="*/ 598 w 653"/>
                <a:gd name="T15" fmla="*/ 76 h 77"/>
                <a:gd name="T16" fmla="*/ 457 w 653"/>
                <a:gd name="T17" fmla="*/ 76 h 77"/>
                <a:gd name="T18" fmla="*/ 368 w 653"/>
                <a:gd name="T19" fmla="*/ 76 h 77"/>
                <a:gd name="T20" fmla="*/ 57 w 653"/>
                <a:gd name="T21" fmla="*/ 76 h 77"/>
                <a:gd name="T22" fmla="*/ 18 w 653"/>
                <a:gd name="T23" fmla="*/ 53 h 77"/>
                <a:gd name="T24" fmla="*/ 9 w 653"/>
                <a:gd name="T2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3" h="77">
                  <a:moveTo>
                    <a:pt x="9" y="0"/>
                  </a:moveTo>
                  <a:cubicBezTo>
                    <a:pt x="33" y="17"/>
                    <a:pt x="58" y="19"/>
                    <a:pt x="85" y="19"/>
                  </a:cubicBezTo>
                  <a:cubicBezTo>
                    <a:pt x="216" y="19"/>
                    <a:pt x="347" y="19"/>
                    <a:pt x="478" y="20"/>
                  </a:cubicBezTo>
                  <a:cubicBezTo>
                    <a:pt x="512" y="20"/>
                    <a:pt x="545" y="18"/>
                    <a:pt x="578" y="19"/>
                  </a:cubicBezTo>
                  <a:cubicBezTo>
                    <a:pt x="601" y="20"/>
                    <a:pt x="622" y="16"/>
                    <a:pt x="640" y="3"/>
                  </a:cubicBezTo>
                  <a:cubicBezTo>
                    <a:pt x="642" y="2"/>
                    <a:pt x="644" y="2"/>
                    <a:pt x="646" y="2"/>
                  </a:cubicBezTo>
                  <a:cubicBezTo>
                    <a:pt x="653" y="29"/>
                    <a:pt x="640" y="62"/>
                    <a:pt x="616" y="73"/>
                  </a:cubicBezTo>
                  <a:cubicBezTo>
                    <a:pt x="611" y="75"/>
                    <a:pt x="604" y="76"/>
                    <a:pt x="598" y="76"/>
                  </a:cubicBezTo>
                  <a:cubicBezTo>
                    <a:pt x="551" y="76"/>
                    <a:pt x="504" y="77"/>
                    <a:pt x="457" y="76"/>
                  </a:cubicBezTo>
                  <a:cubicBezTo>
                    <a:pt x="427" y="75"/>
                    <a:pt x="398" y="76"/>
                    <a:pt x="368" y="76"/>
                  </a:cubicBezTo>
                  <a:cubicBezTo>
                    <a:pt x="265" y="76"/>
                    <a:pt x="161" y="76"/>
                    <a:pt x="57" y="76"/>
                  </a:cubicBezTo>
                  <a:cubicBezTo>
                    <a:pt x="39" y="76"/>
                    <a:pt x="25" y="69"/>
                    <a:pt x="18" y="53"/>
                  </a:cubicBezTo>
                  <a:cubicBezTo>
                    <a:pt x="11" y="38"/>
                    <a:pt x="0" y="22"/>
                    <a:pt x="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153"/>
            <p:cNvSpPr/>
            <p:nvPr/>
          </p:nvSpPr>
          <p:spPr bwMode="auto">
            <a:xfrm>
              <a:off x="4783459" y="2125663"/>
              <a:ext cx="87313" cy="50800"/>
            </a:xfrm>
            <a:custGeom>
              <a:avLst/>
              <a:gdLst>
                <a:gd name="T0" fmla="*/ 116 w 116"/>
                <a:gd name="T1" fmla="*/ 68 h 68"/>
                <a:gd name="T2" fmla="*/ 1 w 116"/>
                <a:gd name="T3" fmla="*/ 68 h 68"/>
                <a:gd name="T4" fmla="*/ 1 w 116"/>
                <a:gd name="T5" fmla="*/ 11 h 68"/>
                <a:gd name="T6" fmla="*/ 19 w 116"/>
                <a:gd name="T7" fmla="*/ 0 h 68"/>
                <a:gd name="T8" fmla="*/ 95 w 116"/>
                <a:gd name="T9" fmla="*/ 0 h 68"/>
                <a:gd name="T10" fmla="*/ 116 w 116"/>
                <a:gd name="T11" fmla="*/ 1 h 68"/>
                <a:gd name="T12" fmla="*/ 116 w 116"/>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16" h="68">
                  <a:moveTo>
                    <a:pt x="116" y="68"/>
                  </a:moveTo>
                  <a:cubicBezTo>
                    <a:pt x="78" y="68"/>
                    <a:pt x="41" y="68"/>
                    <a:pt x="1" y="68"/>
                  </a:cubicBezTo>
                  <a:cubicBezTo>
                    <a:pt x="1" y="48"/>
                    <a:pt x="0" y="29"/>
                    <a:pt x="1" y="11"/>
                  </a:cubicBezTo>
                  <a:cubicBezTo>
                    <a:pt x="1" y="1"/>
                    <a:pt x="10" y="0"/>
                    <a:pt x="19" y="0"/>
                  </a:cubicBezTo>
                  <a:cubicBezTo>
                    <a:pt x="44" y="0"/>
                    <a:pt x="69" y="0"/>
                    <a:pt x="95" y="0"/>
                  </a:cubicBezTo>
                  <a:cubicBezTo>
                    <a:pt x="101" y="0"/>
                    <a:pt x="108" y="1"/>
                    <a:pt x="116" y="1"/>
                  </a:cubicBezTo>
                  <a:cubicBezTo>
                    <a:pt x="116" y="24"/>
                    <a:pt x="116" y="45"/>
                    <a:pt x="116" y="6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183"/>
            <p:cNvSpPr/>
            <p:nvPr/>
          </p:nvSpPr>
          <p:spPr bwMode="auto">
            <a:xfrm>
              <a:off x="4707259" y="1879601"/>
              <a:ext cx="241300" cy="174625"/>
            </a:xfrm>
            <a:custGeom>
              <a:avLst/>
              <a:gdLst>
                <a:gd name="T0" fmla="*/ 130 w 316"/>
                <a:gd name="T1" fmla="*/ 0 h 230"/>
                <a:gd name="T2" fmla="*/ 177 w 316"/>
                <a:gd name="T3" fmla="*/ 4 h 230"/>
                <a:gd name="T4" fmla="*/ 199 w 316"/>
                <a:gd name="T5" fmla="*/ 11 h 230"/>
                <a:gd name="T6" fmla="*/ 286 w 316"/>
                <a:gd name="T7" fmla="*/ 137 h 230"/>
                <a:gd name="T8" fmla="*/ 307 w 316"/>
                <a:gd name="T9" fmla="*/ 166 h 230"/>
                <a:gd name="T10" fmla="*/ 301 w 316"/>
                <a:gd name="T11" fmla="*/ 194 h 230"/>
                <a:gd name="T12" fmla="*/ 219 w 316"/>
                <a:gd name="T13" fmla="*/ 223 h 230"/>
                <a:gd name="T14" fmla="*/ 160 w 316"/>
                <a:gd name="T15" fmla="*/ 230 h 230"/>
                <a:gd name="T16" fmla="*/ 67 w 316"/>
                <a:gd name="T17" fmla="*/ 213 h 230"/>
                <a:gd name="T18" fmla="*/ 21 w 316"/>
                <a:gd name="T19" fmla="*/ 195 h 230"/>
                <a:gd name="T20" fmla="*/ 12 w 316"/>
                <a:gd name="T21" fmla="*/ 164 h 230"/>
                <a:gd name="T22" fmla="*/ 106 w 316"/>
                <a:gd name="T23" fmla="*/ 30 h 230"/>
                <a:gd name="T24" fmla="*/ 130 w 316"/>
                <a:gd name="T2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 h="230">
                  <a:moveTo>
                    <a:pt x="130" y="0"/>
                  </a:moveTo>
                  <a:cubicBezTo>
                    <a:pt x="147" y="7"/>
                    <a:pt x="163" y="9"/>
                    <a:pt x="177" y="4"/>
                  </a:cubicBezTo>
                  <a:cubicBezTo>
                    <a:pt x="188" y="0"/>
                    <a:pt x="194" y="4"/>
                    <a:pt x="199" y="11"/>
                  </a:cubicBezTo>
                  <a:cubicBezTo>
                    <a:pt x="228" y="53"/>
                    <a:pt x="257" y="95"/>
                    <a:pt x="286" y="137"/>
                  </a:cubicBezTo>
                  <a:cubicBezTo>
                    <a:pt x="293" y="147"/>
                    <a:pt x="300" y="156"/>
                    <a:pt x="307" y="166"/>
                  </a:cubicBezTo>
                  <a:cubicBezTo>
                    <a:pt x="316" y="178"/>
                    <a:pt x="314" y="187"/>
                    <a:pt x="301" y="194"/>
                  </a:cubicBezTo>
                  <a:cubicBezTo>
                    <a:pt x="275" y="207"/>
                    <a:pt x="248" y="218"/>
                    <a:pt x="219" y="223"/>
                  </a:cubicBezTo>
                  <a:cubicBezTo>
                    <a:pt x="199" y="226"/>
                    <a:pt x="179" y="230"/>
                    <a:pt x="160" y="230"/>
                  </a:cubicBezTo>
                  <a:cubicBezTo>
                    <a:pt x="128" y="229"/>
                    <a:pt x="97" y="225"/>
                    <a:pt x="67" y="213"/>
                  </a:cubicBezTo>
                  <a:cubicBezTo>
                    <a:pt x="51" y="207"/>
                    <a:pt x="36" y="202"/>
                    <a:pt x="21" y="195"/>
                  </a:cubicBezTo>
                  <a:cubicBezTo>
                    <a:pt x="2" y="187"/>
                    <a:pt x="0" y="180"/>
                    <a:pt x="12" y="164"/>
                  </a:cubicBezTo>
                  <a:cubicBezTo>
                    <a:pt x="43" y="119"/>
                    <a:pt x="74" y="75"/>
                    <a:pt x="106" y="30"/>
                  </a:cubicBezTo>
                  <a:cubicBezTo>
                    <a:pt x="113" y="20"/>
                    <a:pt x="122" y="10"/>
                    <a:pt x="13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02" name="Group 224"/>
          <p:cNvGrpSpPr/>
          <p:nvPr/>
        </p:nvGrpSpPr>
        <p:grpSpPr>
          <a:xfrm>
            <a:off x="2227820" y="3166823"/>
            <a:ext cx="494378" cy="362176"/>
            <a:chOff x="5604196" y="1924051"/>
            <a:chExt cx="569913" cy="417513"/>
          </a:xfrm>
          <a:solidFill>
            <a:schemeClr val="accent1"/>
          </a:solidFill>
        </p:grpSpPr>
        <p:sp>
          <p:nvSpPr>
            <p:cNvPr id="103" name="Freeform 109"/>
            <p:cNvSpPr>
              <a:spLocks noEditPoints="1"/>
            </p:cNvSpPr>
            <p:nvPr/>
          </p:nvSpPr>
          <p:spPr bwMode="auto">
            <a:xfrm>
              <a:off x="5604196" y="1974851"/>
              <a:ext cx="282575" cy="211138"/>
            </a:xfrm>
            <a:custGeom>
              <a:avLst/>
              <a:gdLst>
                <a:gd name="T0" fmla="*/ 188 w 372"/>
                <a:gd name="T1" fmla="*/ 0 h 277"/>
                <a:gd name="T2" fmla="*/ 344 w 372"/>
                <a:gd name="T3" fmla="*/ 0 h 277"/>
                <a:gd name="T4" fmla="*/ 371 w 372"/>
                <a:gd name="T5" fmla="*/ 23 h 277"/>
                <a:gd name="T6" fmla="*/ 372 w 372"/>
                <a:gd name="T7" fmla="*/ 41 h 277"/>
                <a:gd name="T8" fmla="*/ 372 w 372"/>
                <a:gd name="T9" fmla="*/ 235 h 277"/>
                <a:gd name="T10" fmla="*/ 330 w 372"/>
                <a:gd name="T11" fmla="*/ 277 h 277"/>
                <a:gd name="T12" fmla="*/ 42 w 372"/>
                <a:gd name="T13" fmla="*/ 277 h 277"/>
                <a:gd name="T14" fmla="*/ 28 w 372"/>
                <a:gd name="T15" fmla="*/ 277 h 277"/>
                <a:gd name="T16" fmla="*/ 0 w 372"/>
                <a:gd name="T17" fmla="*/ 250 h 277"/>
                <a:gd name="T18" fmla="*/ 0 w 372"/>
                <a:gd name="T19" fmla="*/ 28 h 277"/>
                <a:gd name="T20" fmla="*/ 30 w 372"/>
                <a:gd name="T21" fmla="*/ 0 h 277"/>
                <a:gd name="T22" fmla="*/ 188 w 372"/>
                <a:gd name="T23" fmla="*/ 0 h 277"/>
                <a:gd name="T24" fmla="*/ 137 w 372"/>
                <a:gd name="T25" fmla="*/ 178 h 277"/>
                <a:gd name="T26" fmla="*/ 130 w 372"/>
                <a:gd name="T27" fmla="*/ 171 h 277"/>
                <a:gd name="T28" fmla="*/ 115 w 372"/>
                <a:gd name="T29" fmla="*/ 115 h 277"/>
                <a:gd name="T30" fmla="*/ 110 w 372"/>
                <a:gd name="T31" fmla="*/ 98 h 277"/>
                <a:gd name="T32" fmla="*/ 86 w 372"/>
                <a:gd name="T33" fmla="*/ 85 h 277"/>
                <a:gd name="T34" fmla="*/ 67 w 372"/>
                <a:gd name="T35" fmla="*/ 102 h 277"/>
                <a:gd name="T36" fmla="*/ 64 w 372"/>
                <a:gd name="T37" fmla="*/ 111 h 277"/>
                <a:gd name="T38" fmla="*/ 32 w 372"/>
                <a:gd name="T39" fmla="*/ 141 h 277"/>
                <a:gd name="T40" fmla="*/ 23 w 372"/>
                <a:gd name="T41" fmla="*/ 146 h 277"/>
                <a:gd name="T42" fmla="*/ 50 w 372"/>
                <a:gd name="T43" fmla="*/ 155 h 277"/>
                <a:gd name="T44" fmla="*/ 71 w 372"/>
                <a:gd name="T45" fmla="*/ 139 h 277"/>
                <a:gd name="T46" fmla="*/ 80 w 372"/>
                <a:gd name="T47" fmla="*/ 111 h 277"/>
                <a:gd name="T48" fmla="*/ 90 w 372"/>
                <a:gd name="T49" fmla="*/ 97 h 277"/>
                <a:gd name="T50" fmla="*/ 100 w 372"/>
                <a:gd name="T51" fmla="*/ 119 h 277"/>
                <a:gd name="T52" fmla="*/ 113 w 372"/>
                <a:gd name="T53" fmla="*/ 171 h 277"/>
                <a:gd name="T54" fmla="*/ 134 w 372"/>
                <a:gd name="T55" fmla="*/ 192 h 277"/>
                <a:gd name="T56" fmla="*/ 157 w 372"/>
                <a:gd name="T57" fmla="*/ 177 h 277"/>
                <a:gd name="T58" fmla="*/ 168 w 372"/>
                <a:gd name="T59" fmla="*/ 156 h 277"/>
                <a:gd name="T60" fmla="*/ 197 w 372"/>
                <a:gd name="T61" fmla="*/ 156 h 277"/>
                <a:gd name="T62" fmla="*/ 212 w 372"/>
                <a:gd name="T63" fmla="*/ 167 h 277"/>
                <a:gd name="T64" fmla="*/ 220 w 372"/>
                <a:gd name="T65" fmla="*/ 182 h 277"/>
                <a:gd name="T66" fmla="*/ 258 w 372"/>
                <a:gd name="T67" fmla="*/ 178 h 277"/>
                <a:gd name="T68" fmla="*/ 264 w 372"/>
                <a:gd name="T69" fmla="*/ 159 h 277"/>
                <a:gd name="T70" fmla="*/ 275 w 372"/>
                <a:gd name="T71" fmla="*/ 113 h 277"/>
                <a:gd name="T72" fmla="*/ 290 w 372"/>
                <a:gd name="T73" fmla="*/ 103 h 277"/>
                <a:gd name="T74" fmla="*/ 297 w 372"/>
                <a:gd name="T75" fmla="*/ 126 h 277"/>
                <a:gd name="T76" fmla="*/ 346 w 372"/>
                <a:gd name="T77" fmla="*/ 152 h 277"/>
                <a:gd name="T78" fmla="*/ 336 w 372"/>
                <a:gd name="T79" fmla="*/ 140 h 277"/>
                <a:gd name="T80" fmla="*/ 312 w 372"/>
                <a:gd name="T81" fmla="*/ 119 h 277"/>
                <a:gd name="T82" fmla="*/ 306 w 372"/>
                <a:gd name="T83" fmla="*/ 98 h 277"/>
                <a:gd name="T84" fmla="*/ 282 w 372"/>
                <a:gd name="T85" fmla="*/ 85 h 277"/>
                <a:gd name="T86" fmla="*/ 260 w 372"/>
                <a:gd name="T87" fmla="*/ 105 h 277"/>
                <a:gd name="T88" fmla="*/ 248 w 372"/>
                <a:gd name="T89" fmla="*/ 159 h 277"/>
                <a:gd name="T90" fmla="*/ 238 w 372"/>
                <a:gd name="T91" fmla="*/ 178 h 277"/>
                <a:gd name="T92" fmla="*/ 228 w 372"/>
                <a:gd name="T93" fmla="*/ 164 h 277"/>
                <a:gd name="T94" fmla="*/ 192 w 372"/>
                <a:gd name="T95" fmla="*/ 140 h 277"/>
                <a:gd name="T96" fmla="*/ 172 w 372"/>
                <a:gd name="T97" fmla="*/ 140 h 277"/>
                <a:gd name="T98" fmla="*/ 148 w 372"/>
                <a:gd name="T99" fmla="*/ 158 h 277"/>
                <a:gd name="T100" fmla="*/ 137 w 372"/>
                <a:gd name="T101" fmla="*/ 17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2" h="277">
                  <a:moveTo>
                    <a:pt x="188" y="0"/>
                  </a:moveTo>
                  <a:cubicBezTo>
                    <a:pt x="240" y="0"/>
                    <a:pt x="292" y="0"/>
                    <a:pt x="344" y="0"/>
                  </a:cubicBezTo>
                  <a:cubicBezTo>
                    <a:pt x="365" y="0"/>
                    <a:pt x="367" y="2"/>
                    <a:pt x="371" y="23"/>
                  </a:cubicBezTo>
                  <a:cubicBezTo>
                    <a:pt x="372" y="29"/>
                    <a:pt x="372" y="35"/>
                    <a:pt x="372" y="41"/>
                  </a:cubicBezTo>
                  <a:cubicBezTo>
                    <a:pt x="372" y="106"/>
                    <a:pt x="372" y="171"/>
                    <a:pt x="372" y="235"/>
                  </a:cubicBezTo>
                  <a:cubicBezTo>
                    <a:pt x="372" y="274"/>
                    <a:pt x="369" y="277"/>
                    <a:pt x="330" y="277"/>
                  </a:cubicBezTo>
                  <a:cubicBezTo>
                    <a:pt x="234" y="277"/>
                    <a:pt x="138" y="277"/>
                    <a:pt x="42" y="277"/>
                  </a:cubicBezTo>
                  <a:cubicBezTo>
                    <a:pt x="37" y="277"/>
                    <a:pt x="32" y="277"/>
                    <a:pt x="28" y="277"/>
                  </a:cubicBezTo>
                  <a:cubicBezTo>
                    <a:pt x="9" y="276"/>
                    <a:pt x="0" y="268"/>
                    <a:pt x="0" y="250"/>
                  </a:cubicBezTo>
                  <a:cubicBezTo>
                    <a:pt x="0" y="176"/>
                    <a:pt x="0" y="102"/>
                    <a:pt x="0" y="28"/>
                  </a:cubicBezTo>
                  <a:cubicBezTo>
                    <a:pt x="0" y="7"/>
                    <a:pt x="8" y="0"/>
                    <a:pt x="30" y="0"/>
                  </a:cubicBezTo>
                  <a:cubicBezTo>
                    <a:pt x="83" y="0"/>
                    <a:pt x="135" y="0"/>
                    <a:pt x="188" y="0"/>
                  </a:cubicBezTo>
                  <a:close/>
                  <a:moveTo>
                    <a:pt x="137" y="178"/>
                  </a:moveTo>
                  <a:cubicBezTo>
                    <a:pt x="133" y="173"/>
                    <a:pt x="130" y="172"/>
                    <a:pt x="130" y="171"/>
                  </a:cubicBezTo>
                  <a:cubicBezTo>
                    <a:pt x="125" y="152"/>
                    <a:pt x="120" y="134"/>
                    <a:pt x="115" y="115"/>
                  </a:cubicBezTo>
                  <a:cubicBezTo>
                    <a:pt x="114" y="109"/>
                    <a:pt x="112" y="103"/>
                    <a:pt x="110" y="98"/>
                  </a:cubicBezTo>
                  <a:cubicBezTo>
                    <a:pt x="105" y="88"/>
                    <a:pt x="98" y="84"/>
                    <a:pt x="86" y="85"/>
                  </a:cubicBezTo>
                  <a:cubicBezTo>
                    <a:pt x="75" y="86"/>
                    <a:pt x="70" y="92"/>
                    <a:pt x="67" y="102"/>
                  </a:cubicBezTo>
                  <a:cubicBezTo>
                    <a:pt x="66" y="105"/>
                    <a:pt x="65" y="108"/>
                    <a:pt x="64" y="111"/>
                  </a:cubicBezTo>
                  <a:cubicBezTo>
                    <a:pt x="59" y="128"/>
                    <a:pt x="54" y="144"/>
                    <a:pt x="32" y="141"/>
                  </a:cubicBezTo>
                  <a:cubicBezTo>
                    <a:pt x="29" y="141"/>
                    <a:pt x="26" y="144"/>
                    <a:pt x="23" y="146"/>
                  </a:cubicBezTo>
                  <a:cubicBezTo>
                    <a:pt x="29" y="159"/>
                    <a:pt x="40" y="156"/>
                    <a:pt x="50" y="155"/>
                  </a:cubicBezTo>
                  <a:cubicBezTo>
                    <a:pt x="59" y="154"/>
                    <a:pt x="67" y="149"/>
                    <a:pt x="71" y="139"/>
                  </a:cubicBezTo>
                  <a:cubicBezTo>
                    <a:pt x="74" y="130"/>
                    <a:pt x="77" y="120"/>
                    <a:pt x="80" y="111"/>
                  </a:cubicBezTo>
                  <a:cubicBezTo>
                    <a:pt x="82" y="107"/>
                    <a:pt x="85" y="104"/>
                    <a:pt x="90" y="97"/>
                  </a:cubicBezTo>
                  <a:cubicBezTo>
                    <a:pt x="94" y="107"/>
                    <a:pt x="98" y="113"/>
                    <a:pt x="100" y="119"/>
                  </a:cubicBezTo>
                  <a:cubicBezTo>
                    <a:pt x="105" y="136"/>
                    <a:pt x="108" y="154"/>
                    <a:pt x="113" y="171"/>
                  </a:cubicBezTo>
                  <a:cubicBezTo>
                    <a:pt x="116" y="183"/>
                    <a:pt x="124" y="191"/>
                    <a:pt x="134" y="192"/>
                  </a:cubicBezTo>
                  <a:cubicBezTo>
                    <a:pt x="146" y="193"/>
                    <a:pt x="153" y="188"/>
                    <a:pt x="157" y="177"/>
                  </a:cubicBezTo>
                  <a:cubicBezTo>
                    <a:pt x="159" y="170"/>
                    <a:pt x="163" y="164"/>
                    <a:pt x="168" y="156"/>
                  </a:cubicBezTo>
                  <a:cubicBezTo>
                    <a:pt x="177" y="156"/>
                    <a:pt x="187" y="156"/>
                    <a:pt x="197" y="156"/>
                  </a:cubicBezTo>
                  <a:cubicBezTo>
                    <a:pt x="205" y="156"/>
                    <a:pt x="209" y="159"/>
                    <a:pt x="212" y="167"/>
                  </a:cubicBezTo>
                  <a:cubicBezTo>
                    <a:pt x="214" y="172"/>
                    <a:pt x="216" y="178"/>
                    <a:pt x="220" y="182"/>
                  </a:cubicBezTo>
                  <a:cubicBezTo>
                    <a:pt x="231" y="197"/>
                    <a:pt x="250" y="195"/>
                    <a:pt x="258" y="178"/>
                  </a:cubicBezTo>
                  <a:cubicBezTo>
                    <a:pt x="261" y="172"/>
                    <a:pt x="262" y="166"/>
                    <a:pt x="264" y="159"/>
                  </a:cubicBezTo>
                  <a:cubicBezTo>
                    <a:pt x="268" y="144"/>
                    <a:pt x="271" y="128"/>
                    <a:pt x="275" y="113"/>
                  </a:cubicBezTo>
                  <a:cubicBezTo>
                    <a:pt x="277" y="107"/>
                    <a:pt x="279" y="100"/>
                    <a:pt x="290" y="103"/>
                  </a:cubicBezTo>
                  <a:cubicBezTo>
                    <a:pt x="292" y="110"/>
                    <a:pt x="295" y="118"/>
                    <a:pt x="297" y="126"/>
                  </a:cubicBezTo>
                  <a:cubicBezTo>
                    <a:pt x="304" y="152"/>
                    <a:pt x="320" y="161"/>
                    <a:pt x="346" y="152"/>
                  </a:cubicBezTo>
                  <a:cubicBezTo>
                    <a:pt x="344" y="142"/>
                    <a:pt x="344" y="142"/>
                    <a:pt x="336" y="140"/>
                  </a:cubicBezTo>
                  <a:cubicBezTo>
                    <a:pt x="319" y="138"/>
                    <a:pt x="316" y="135"/>
                    <a:pt x="312" y="119"/>
                  </a:cubicBezTo>
                  <a:cubicBezTo>
                    <a:pt x="310" y="112"/>
                    <a:pt x="309" y="105"/>
                    <a:pt x="306" y="98"/>
                  </a:cubicBezTo>
                  <a:cubicBezTo>
                    <a:pt x="301" y="87"/>
                    <a:pt x="294" y="84"/>
                    <a:pt x="282" y="85"/>
                  </a:cubicBezTo>
                  <a:cubicBezTo>
                    <a:pt x="272" y="86"/>
                    <a:pt x="263" y="93"/>
                    <a:pt x="260" y="105"/>
                  </a:cubicBezTo>
                  <a:cubicBezTo>
                    <a:pt x="256" y="123"/>
                    <a:pt x="252" y="142"/>
                    <a:pt x="248" y="159"/>
                  </a:cubicBezTo>
                  <a:cubicBezTo>
                    <a:pt x="246" y="165"/>
                    <a:pt x="242" y="170"/>
                    <a:pt x="238" y="178"/>
                  </a:cubicBezTo>
                  <a:cubicBezTo>
                    <a:pt x="233" y="171"/>
                    <a:pt x="229" y="168"/>
                    <a:pt x="228" y="164"/>
                  </a:cubicBezTo>
                  <a:cubicBezTo>
                    <a:pt x="223" y="145"/>
                    <a:pt x="210" y="139"/>
                    <a:pt x="192" y="140"/>
                  </a:cubicBezTo>
                  <a:cubicBezTo>
                    <a:pt x="186" y="141"/>
                    <a:pt x="179" y="140"/>
                    <a:pt x="172" y="140"/>
                  </a:cubicBezTo>
                  <a:cubicBezTo>
                    <a:pt x="160" y="140"/>
                    <a:pt x="152" y="146"/>
                    <a:pt x="148" y="158"/>
                  </a:cubicBezTo>
                  <a:cubicBezTo>
                    <a:pt x="146" y="164"/>
                    <a:pt x="142" y="170"/>
                    <a:pt x="137" y="17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170"/>
            <p:cNvSpPr/>
            <p:nvPr/>
          </p:nvSpPr>
          <p:spPr bwMode="auto">
            <a:xfrm>
              <a:off x="5978846" y="2005013"/>
              <a:ext cx="115888" cy="77788"/>
            </a:xfrm>
            <a:custGeom>
              <a:avLst/>
              <a:gdLst>
                <a:gd name="T0" fmla="*/ 101 w 152"/>
                <a:gd name="T1" fmla="*/ 79 h 101"/>
                <a:gd name="T2" fmla="*/ 108 w 152"/>
                <a:gd name="T3" fmla="*/ 65 h 101"/>
                <a:gd name="T4" fmla="*/ 141 w 152"/>
                <a:gd name="T5" fmla="*/ 49 h 101"/>
                <a:gd name="T6" fmla="*/ 151 w 152"/>
                <a:gd name="T7" fmla="*/ 59 h 101"/>
                <a:gd name="T8" fmla="*/ 143 w 152"/>
                <a:gd name="T9" fmla="*/ 68 h 101"/>
                <a:gd name="T10" fmla="*/ 128 w 152"/>
                <a:gd name="T11" fmla="*/ 70 h 101"/>
                <a:gd name="T12" fmla="*/ 122 w 152"/>
                <a:gd name="T13" fmla="*/ 85 h 101"/>
                <a:gd name="T14" fmla="*/ 99 w 152"/>
                <a:gd name="T15" fmla="*/ 101 h 101"/>
                <a:gd name="T16" fmla="*/ 77 w 152"/>
                <a:gd name="T17" fmla="*/ 83 h 101"/>
                <a:gd name="T18" fmla="*/ 66 w 152"/>
                <a:gd name="T19" fmla="*/ 41 h 101"/>
                <a:gd name="T20" fmla="*/ 61 w 152"/>
                <a:gd name="T21" fmla="*/ 23 h 101"/>
                <a:gd name="T22" fmla="*/ 57 w 152"/>
                <a:gd name="T23" fmla="*/ 23 h 101"/>
                <a:gd name="T24" fmla="*/ 45 w 152"/>
                <a:gd name="T25" fmla="*/ 51 h 101"/>
                <a:gd name="T26" fmla="*/ 9 w 152"/>
                <a:gd name="T27" fmla="*/ 68 h 101"/>
                <a:gd name="T28" fmla="*/ 0 w 152"/>
                <a:gd name="T29" fmla="*/ 60 h 101"/>
                <a:gd name="T30" fmla="*/ 9 w 152"/>
                <a:gd name="T31" fmla="*/ 50 h 101"/>
                <a:gd name="T32" fmla="*/ 33 w 152"/>
                <a:gd name="T33" fmla="*/ 26 h 101"/>
                <a:gd name="T34" fmla="*/ 36 w 152"/>
                <a:gd name="T35" fmla="*/ 17 h 101"/>
                <a:gd name="T36" fmla="*/ 59 w 152"/>
                <a:gd name="T37" fmla="*/ 1 h 101"/>
                <a:gd name="T38" fmla="*/ 80 w 152"/>
                <a:gd name="T39" fmla="*/ 19 h 101"/>
                <a:gd name="T40" fmla="*/ 92 w 152"/>
                <a:gd name="T41" fmla="*/ 67 h 101"/>
                <a:gd name="T42" fmla="*/ 96 w 152"/>
                <a:gd name="T43" fmla="*/ 79 h 101"/>
                <a:gd name="T44" fmla="*/ 101 w 152"/>
                <a:gd name="T45" fmla="*/ 7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2" h="101">
                  <a:moveTo>
                    <a:pt x="101" y="79"/>
                  </a:moveTo>
                  <a:cubicBezTo>
                    <a:pt x="103" y="74"/>
                    <a:pt x="105" y="69"/>
                    <a:pt x="108" y="65"/>
                  </a:cubicBezTo>
                  <a:cubicBezTo>
                    <a:pt x="116" y="52"/>
                    <a:pt x="128" y="47"/>
                    <a:pt x="141" y="49"/>
                  </a:cubicBezTo>
                  <a:cubicBezTo>
                    <a:pt x="148" y="50"/>
                    <a:pt x="152" y="53"/>
                    <a:pt x="151" y="59"/>
                  </a:cubicBezTo>
                  <a:cubicBezTo>
                    <a:pt x="150" y="62"/>
                    <a:pt x="146" y="66"/>
                    <a:pt x="143" y="68"/>
                  </a:cubicBezTo>
                  <a:cubicBezTo>
                    <a:pt x="139" y="70"/>
                    <a:pt x="134" y="70"/>
                    <a:pt x="128" y="70"/>
                  </a:cubicBezTo>
                  <a:cubicBezTo>
                    <a:pt x="126" y="75"/>
                    <a:pt x="124" y="80"/>
                    <a:pt x="122" y="85"/>
                  </a:cubicBezTo>
                  <a:cubicBezTo>
                    <a:pt x="117" y="94"/>
                    <a:pt x="110" y="101"/>
                    <a:pt x="99" y="101"/>
                  </a:cubicBezTo>
                  <a:cubicBezTo>
                    <a:pt x="87" y="100"/>
                    <a:pt x="80" y="94"/>
                    <a:pt x="77" y="83"/>
                  </a:cubicBezTo>
                  <a:cubicBezTo>
                    <a:pt x="74" y="69"/>
                    <a:pt x="70" y="55"/>
                    <a:pt x="66" y="41"/>
                  </a:cubicBezTo>
                  <a:cubicBezTo>
                    <a:pt x="65" y="35"/>
                    <a:pt x="63" y="29"/>
                    <a:pt x="61" y="23"/>
                  </a:cubicBezTo>
                  <a:cubicBezTo>
                    <a:pt x="60" y="23"/>
                    <a:pt x="58" y="23"/>
                    <a:pt x="57" y="23"/>
                  </a:cubicBezTo>
                  <a:cubicBezTo>
                    <a:pt x="53" y="32"/>
                    <a:pt x="49" y="42"/>
                    <a:pt x="45" y="51"/>
                  </a:cubicBezTo>
                  <a:cubicBezTo>
                    <a:pt x="38" y="66"/>
                    <a:pt x="25" y="72"/>
                    <a:pt x="9" y="68"/>
                  </a:cubicBezTo>
                  <a:cubicBezTo>
                    <a:pt x="6" y="67"/>
                    <a:pt x="0" y="62"/>
                    <a:pt x="0" y="60"/>
                  </a:cubicBezTo>
                  <a:cubicBezTo>
                    <a:pt x="1" y="56"/>
                    <a:pt x="6" y="50"/>
                    <a:pt x="9" y="50"/>
                  </a:cubicBezTo>
                  <a:cubicBezTo>
                    <a:pt x="25" y="49"/>
                    <a:pt x="31" y="41"/>
                    <a:pt x="33" y="26"/>
                  </a:cubicBezTo>
                  <a:cubicBezTo>
                    <a:pt x="33" y="23"/>
                    <a:pt x="34" y="20"/>
                    <a:pt x="36" y="17"/>
                  </a:cubicBezTo>
                  <a:cubicBezTo>
                    <a:pt x="41" y="6"/>
                    <a:pt x="49" y="0"/>
                    <a:pt x="59" y="1"/>
                  </a:cubicBezTo>
                  <a:cubicBezTo>
                    <a:pt x="69" y="3"/>
                    <a:pt x="77" y="7"/>
                    <a:pt x="80" y="19"/>
                  </a:cubicBezTo>
                  <a:cubicBezTo>
                    <a:pt x="84" y="35"/>
                    <a:pt x="88" y="51"/>
                    <a:pt x="92" y="67"/>
                  </a:cubicBezTo>
                  <a:cubicBezTo>
                    <a:pt x="93" y="71"/>
                    <a:pt x="95" y="75"/>
                    <a:pt x="96" y="79"/>
                  </a:cubicBezTo>
                  <a:cubicBezTo>
                    <a:pt x="98" y="79"/>
                    <a:pt x="99" y="79"/>
                    <a:pt x="101"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85"/>
            <p:cNvSpPr>
              <a:spLocks noEditPoints="1"/>
            </p:cNvSpPr>
            <p:nvPr/>
          </p:nvSpPr>
          <p:spPr bwMode="auto">
            <a:xfrm>
              <a:off x="5680396" y="1924051"/>
              <a:ext cx="493713" cy="417513"/>
            </a:xfrm>
            <a:custGeom>
              <a:avLst/>
              <a:gdLst>
                <a:gd name="T0" fmla="*/ 633 w 650"/>
                <a:gd name="T1" fmla="*/ 5 h 548"/>
                <a:gd name="T2" fmla="*/ 42 w 650"/>
                <a:gd name="T3" fmla="*/ 0 h 548"/>
                <a:gd name="T4" fmla="*/ 1 w 650"/>
                <a:gd name="T5" fmla="*/ 35 h 548"/>
                <a:gd name="T6" fmla="*/ 248 w 650"/>
                <a:gd name="T7" fmla="*/ 51 h 548"/>
                <a:gd name="T8" fmla="*/ 289 w 650"/>
                <a:gd name="T9" fmla="*/ 104 h 548"/>
                <a:gd name="T10" fmla="*/ 287 w 650"/>
                <a:gd name="T11" fmla="*/ 329 h 548"/>
                <a:gd name="T12" fmla="*/ 239 w 650"/>
                <a:gd name="T13" fmla="*/ 360 h 548"/>
                <a:gd name="T14" fmla="*/ 1 w 650"/>
                <a:gd name="T15" fmla="*/ 381 h 548"/>
                <a:gd name="T16" fmla="*/ 3 w 650"/>
                <a:gd name="T17" fmla="*/ 525 h 548"/>
                <a:gd name="T18" fmla="*/ 46 w 650"/>
                <a:gd name="T19" fmla="*/ 548 h 548"/>
                <a:gd name="T20" fmla="*/ 604 w 650"/>
                <a:gd name="T21" fmla="*/ 548 h 548"/>
                <a:gd name="T22" fmla="*/ 650 w 650"/>
                <a:gd name="T23" fmla="*/ 517 h 548"/>
                <a:gd name="T24" fmla="*/ 50 w 650"/>
                <a:gd name="T25" fmla="*/ 516 h 548"/>
                <a:gd name="T26" fmla="*/ 50 w 650"/>
                <a:gd name="T27" fmla="*/ 468 h 548"/>
                <a:gd name="T28" fmla="*/ 50 w 650"/>
                <a:gd name="T29" fmla="*/ 516 h 548"/>
                <a:gd name="T30" fmla="*/ 88 w 650"/>
                <a:gd name="T31" fmla="*/ 492 h 548"/>
                <a:gd name="T32" fmla="*/ 136 w 650"/>
                <a:gd name="T33" fmla="*/ 492 h 548"/>
                <a:gd name="T34" fmla="*/ 174 w 650"/>
                <a:gd name="T35" fmla="*/ 516 h 548"/>
                <a:gd name="T36" fmla="*/ 174 w 650"/>
                <a:gd name="T37" fmla="*/ 468 h 548"/>
                <a:gd name="T38" fmla="*/ 174 w 650"/>
                <a:gd name="T39" fmla="*/ 516 h 548"/>
                <a:gd name="T40" fmla="*/ 213 w 650"/>
                <a:gd name="T41" fmla="*/ 492 h 548"/>
                <a:gd name="T42" fmla="*/ 261 w 650"/>
                <a:gd name="T43" fmla="*/ 492 h 548"/>
                <a:gd name="T44" fmla="*/ 299 w 650"/>
                <a:gd name="T45" fmla="*/ 516 h 548"/>
                <a:gd name="T46" fmla="*/ 299 w 650"/>
                <a:gd name="T47" fmla="*/ 468 h 548"/>
                <a:gd name="T48" fmla="*/ 299 w 650"/>
                <a:gd name="T49" fmla="*/ 516 h 548"/>
                <a:gd name="T50" fmla="*/ 556 w 650"/>
                <a:gd name="T51" fmla="*/ 82 h 548"/>
                <a:gd name="T52" fmla="*/ 382 w 650"/>
                <a:gd name="T53" fmla="*/ 234 h 548"/>
                <a:gd name="T54" fmla="*/ 362 w 650"/>
                <a:gd name="T55" fmla="*/ 516 h 548"/>
                <a:gd name="T56" fmla="*/ 362 w 650"/>
                <a:gd name="T57" fmla="*/ 468 h 548"/>
                <a:gd name="T58" fmla="*/ 362 w 650"/>
                <a:gd name="T59" fmla="*/ 516 h 548"/>
                <a:gd name="T60" fmla="*/ 400 w 650"/>
                <a:gd name="T61" fmla="*/ 492 h 548"/>
                <a:gd name="T62" fmla="*/ 448 w 650"/>
                <a:gd name="T63" fmla="*/ 492 h 548"/>
                <a:gd name="T64" fmla="*/ 486 w 650"/>
                <a:gd name="T65" fmla="*/ 516 h 548"/>
                <a:gd name="T66" fmla="*/ 486 w 650"/>
                <a:gd name="T67" fmla="*/ 468 h 548"/>
                <a:gd name="T68" fmla="*/ 486 w 650"/>
                <a:gd name="T69" fmla="*/ 516 h 548"/>
                <a:gd name="T70" fmla="*/ 525 w 650"/>
                <a:gd name="T71" fmla="*/ 492 h 548"/>
                <a:gd name="T72" fmla="*/ 573 w 650"/>
                <a:gd name="T73" fmla="*/ 492 h 548"/>
                <a:gd name="T74" fmla="*/ 611 w 650"/>
                <a:gd name="T75" fmla="*/ 516 h 548"/>
                <a:gd name="T76" fmla="*/ 611 w 650"/>
                <a:gd name="T77" fmla="*/ 468 h 548"/>
                <a:gd name="T78" fmla="*/ 611 w 650"/>
                <a:gd name="T79" fmla="*/ 516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0" h="548">
                  <a:moveTo>
                    <a:pt x="649" y="32"/>
                  </a:moveTo>
                  <a:cubicBezTo>
                    <a:pt x="649" y="19"/>
                    <a:pt x="645" y="9"/>
                    <a:pt x="633" y="5"/>
                  </a:cubicBezTo>
                  <a:cubicBezTo>
                    <a:pt x="625" y="2"/>
                    <a:pt x="616" y="0"/>
                    <a:pt x="608" y="0"/>
                  </a:cubicBezTo>
                  <a:cubicBezTo>
                    <a:pt x="419" y="0"/>
                    <a:pt x="231" y="0"/>
                    <a:pt x="42" y="0"/>
                  </a:cubicBezTo>
                  <a:cubicBezTo>
                    <a:pt x="38" y="0"/>
                    <a:pt x="34" y="0"/>
                    <a:pt x="30" y="0"/>
                  </a:cubicBezTo>
                  <a:cubicBezTo>
                    <a:pt x="12" y="2"/>
                    <a:pt x="0" y="17"/>
                    <a:pt x="1" y="35"/>
                  </a:cubicBezTo>
                  <a:cubicBezTo>
                    <a:pt x="2" y="49"/>
                    <a:pt x="6" y="51"/>
                    <a:pt x="30" y="51"/>
                  </a:cubicBezTo>
                  <a:cubicBezTo>
                    <a:pt x="103" y="51"/>
                    <a:pt x="176" y="52"/>
                    <a:pt x="248" y="51"/>
                  </a:cubicBezTo>
                  <a:cubicBezTo>
                    <a:pt x="279" y="51"/>
                    <a:pt x="284" y="63"/>
                    <a:pt x="288" y="88"/>
                  </a:cubicBezTo>
                  <a:cubicBezTo>
                    <a:pt x="289" y="93"/>
                    <a:pt x="289" y="98"/>
                    <a:pt x="289" y="104"/>
                  </a:cubicBezTo>
                  <a:cubicBezTo>
                    <a:pt x="289" y="172"/>
                    <a:pt x="289" y="240"/>
                    <a:pt x="289" y="308"/>
                  </a:cubicBezTo>
                  <a:cubicBezTo>
                    <a:pt x="289" y="315"/>
                    <a:pt x="289" y="322"/>
                    <a:pt x="287" y="329"/>
                  </a:cubicBezTo>
                  <a:cubicBezTo>
                    <a:pt x="284" y="345"/>
                    <a:pt x="275" y="356"/>
                    <a:pt x="259" y="359"/>
                  </a:cubicBezTo>
                  <a:cubicBezTo>
                    <a:pt x="252" y="360"/>
                    <a:pt x="245" y="360"/>
                    <a:pt x="239" y="360"/>
                  </a:cubicBezTo>
                  <a:cubicBezTo>
                    <a:pt x="167" y="360"/>
                    <a:pt x="95" y="360"/>
                    <a:pt x="23" y="360"/>
                  </a:cubicBezTo>
                  <a:cubicBezTo>
                    <a:pt x="3" y="360"/>
                    <a:pt x="1" y="361"/>
                    <a:pt x="1" y="381"/>
                  </a:cubicBezTo>
                  <a:cubicBezTo>
                    <a:pt x="1" y="423"/>
                    <a:pt x="1" y="465"/>
                    <a:pt x="1" y="507"/>
                  </a:cubicBezTo>
                  <a:cubicBezTo>
                    <a:pt x="1" y="513"/>
                    <a:pt x="2" y="519"/>
                    <a:pt x="3" y="525"/>
                  </a:cubicBezTo>
                  <a:cubicBezTo>
                    <a:pt x="5" y="539"/>
                    <a:pt x="15" y="545"/>
                    <a:pt x="28" y="547"/>
                  </a:cubicBezTo>
                  <a:cubicBezTo>
                    <a:pt x="34" y="548"/>
                    <a:pt x="40" y="548"/>
                    <a:pt x="46" y="548"/>
                  </a:cubicBezTo>
                  <a:cubicBezTo>
                    <a:pt x="138" y="548"/>
                    <a:pt x="231" y="548"/>
                    <a:pt x="324" y="548"/>
                  </a:cubicBezTo>
                  <a:cubicBezTo>
                    <a:pt x="417" y="548"/>
                    <a:pt x="510" y="548"/>
                    <a:pt x="604" y="548"/>
                  </a:cubicBezTo>
                  <a:cubicBezTo>
                    <a:pt x="610" y="548"/>
                    <a:pt x="617" y="548"/>
                    <a:pt x="623" y="547"/>
                  </a:cubicBezTo>
                  <a:cubicBezTo>
                    <a:pt x="639" y="544"/>
                    <a:pt x="650" y="535"/>
                    <a:pt x="650" y="517"/>
                  </a:cubicBezTo>
                  <a:cubicBezTo>
                    <a:pt x="649" y="355"/>
                    <a:pt x="649" y="193"/>
                    <a:pt x="649" y="32"/>
                  </a:cubicBezTo>
                  <a:close/>
                  <a:moveTo>
                    <a:pt x="50" y="516"/>
                  </a:moveTo>
                  <a:cubicBezTo>
                    <a:pt x="36" y="516"/>
                    <a:pt x="26" y="505"/>
                    <a:pt x="26" y="492"/>
                  </a:cubicBezTo>
                  <a:cubicBezTo>
                    <a:pt x="26" y="478"/>
                    <a:pt x="36" y="468"/>
                    <a:pt x="50" y="468"/>
                  </a:cubicBezTo>
                  <a:cubicBezTo>
                    <a:pt x="63" y="468"/>
                    <a:pt x="74" y="478"/>
                    <a:pt x="74" y="492"/>
                  </a:cubicBezTo>
                  <a:cubicBezTo>
                    <a:pt x="74" y="505"/>
                    <a:pt x="63" y="516"/>
                    <a:pt x="50" y="516"/>
                  </a:cubicBezTo>
                  <a:close/>
                  <a:moveTo>
                    <a:pt x="112" y="516"/>
                  </a:moveTo>
                  <a:cubicBezTo>
                    <a:pt x="99" y="516"/>
                    <a:pt x="88" y="505"/>
                    <a:pt x="88" y="492"/>
                  </a:cubicBezTo>
                  <a:cubicBezTo>
                    <a:pt x="88" y="478"/>
                    <a:pt x="99" y="468"/>
                    <a:pt x="112" y="468"/>
                  </a:cubicBezTo>
                  <a:cubicBezTo>
                    <a:pt x="125" y="468"/>
                    <a:pt x="136" y="478"/>
                    <a:pt x="136" y="492"/>
                  </a:cubicBezTo>
                  <a:cubicBezTo>
                    <a:pt x="136" y="505"/>
                    <a:pt x="125" y="516"/>
                    <a:pt x="112" y="516"/>
                  </a:cubicBezTo>
                  <a:close/>
                  <a:moveTo>
                    <a:pt x="174" y="516"/>
                  </a:moveTo>
                  <a:cubicBezTo>
                    <a:pt x="161" y="516"/>
                    <a:pt x="150" y="505"/>
                    <a:pt x="150" y="492"/>
                  </a:cubicBezTo>
                  <a:cubicBezTo>
                    <a:pt x="150" y="478"/>
                    <a:pt x="161" y="468"/>
                    <a:pt x="174" y="468"/>
                  </a:cubicBezTo>
                  <a:cubicBezTo>
                    <a:pt x="188" y="468"/>
                    <a:pt x="198" y="478"/>
                    <a:pt x="198" y="492"/>
                  </a:cubicBezTo>
                  <a:cubicBezTo>
                    <a:pt x="198" y="505"/>
                    <a:pt x="188" y="516"/>
                    <a:pt x="174" y="516"/>
                  </a:cubicBezTo>
                  <a:close/>
                  <a:moveTo>
                    <a:pt x="237" y="516"/>
                  </a:moveTo>
                  <a:cubicBezTo>
                    <a:pt x="224" y="516"/>
                    <a:pt x="213" y="505"/>
                    <a:pt x="213" y="492"/>
                  </a:cubicBezTo>
                  <a:cubicBezTo>
                    <a:pt x="213" y="478"/>
                    <a:pt x="224" y="468"/>
                    <a:pt x="237" y="468"/>
                  </a:cubicBezTo>
                  <a:cubicBezTo>
                    <a:pt x="250" y="468"/>
                    <a:pt x="261" y="478"/>
                    <a:pt x="261" y="492"/>
                  </a:cubicBezTo>
                  <a:cubicBezTo>
                    <a:pt x="261" y="505"/>
                    <a:pt x="250" y="516"/>
                    <a:pt x="237" y="516"/>
                  </a:cubicBezTo>
                  <a:close/>
                  <a:moveTo>
                    <a:pt x="299" y="516"/>
                  </a:moveTo>
                  <a:cubicBezTo>
                    <a:pt x="286" y="516"/>
                    <a:pt x="275" y="505"/>
                    <a:pt x="275" y="492"/>
                  </a:cubicBezTo>
                  <a:cubicBezTo>
                    <a:pt x="275" y="478"/>
                    <a:pt x="286" y="468"/>
                    <a:pt x="299" y="468"/>
                  </a:cubicBezTo>
                  <a:cubicBezTo>
                    <a:pt x="312" y="468"/>
                    <a:pt x="323" y="478"/>
                    <a:pt x="323" y="492"/>
                  </a:cubicBezTo>
                  <a:cubicBezTo>
                    <a:pt x="323" y="505"/>
                    <a:pt x="312" y="516"/>
                    <a:pt x="299" y="516"/>
                  </a:cubicBezTo>
                  <a:close/>
                  <a:moveTo>
                    <a:pt x="381" y="82"/>
                  </a:moveTo>
                  <a:cubicBezTo>
                    <a:pt x="440" y="82"/>
                    <a:pt x="499" y="82"/>
                    <a:pt x="556" y="82"/>
                  </a:cubicBezTo>
                  <a:cubicBezTo>
                    <a:pt x="563" y="100"/>
                    <a:pt x="563" y="217"/>
                    <a:pt x="556" y="234"/>
                  </a:cubicBezTo>
                  <a:cubicBezTo>
                    <a:pt x="498" y="234"/>
                    <a:pt x="440" y="234"/>
                    <a:pt x="382" y="234"/>
                  </a:cubicBezTo>
                  <a:cubicBezTo>
                    <a:pt x="376" y="219"/>
                    <a:pt x="376" y="102"/>
                    <a:pt x="381" y="82"/>
                  </a:cubicBezTo>
                  <a:close/>
                  <a:moveTo>
                    <a:pt x="362" y="516"/>
                  </a:moveTo>
                  <a:cubicBezTo>
                    <a:pt x="348" y="516"/>
                    <a:pt x="338" y="505"/>
                    <a:pt x="338" y="492"/>
                  </a:cubicBezTo>
                  <a:cubicBezTo>
                    <a:pt x="338" y="478"/>
                    <a:pt x="348" y="468"/>
                    <a:pt x="362" y="468"/>
                  </a:cubicBezTo>
                  <a:cubicBezTo>
                    <a:pt x="375" y="468"/>
                    <a:pt x="386" y="478"/>
                    <a:pt x="386" y="492"/>
                  </a:cubicBezTo>
                  <a:cubicBezTo>
                    <a:pt x="386" y="505"/>
                    <a:pt x="375" y="516"/>
                    <a:pt x="362" y="516"/>
                  </a:cubicBezTo>
                  <a:close/>
                  <a:moveTo>
                    <a:pt x="424" y="516"/>
                  </a:moveTo>
                  <a:cubicBezTo>
                    <a:pt x="411" y="516"/>
                    <a:pt x="400" y="505"/>
                    <a:pt x="400" y="492"/>
                  </a:cubicBezTo>
                  <a:cubicBezTo>
                    <a:pt x="400" y="478"/>
                    <a:pt x="411" y="468"/>
                    <a:pt x="424" y="468"/>
                  </a:cubicBezTo>
                  <a:cubicBezTo>
                    <a:pt x="437" y="468"/>
                    <a:pt x="448" y="478"/>
                    <a:pt x="448" y="492"/>
                  </a:cubicBezTo>
                  <a:cubicBezTo>
                    <a:pt x="448" y="505"/>
                    <a:pt x="437" y="516"/>
                    <a:pt x="424" y="516"/>
                  </a:cubicBezTo>
                  <a:close/>
                  <a:moveTo>
                    <a:pt x="486" y="516"/>
                  </a:moveTo>
                  <a:cubicBezTo>
                    <a:pt x="473" y="516"/>
                    <a:pt x="462" y="505"/>
                    <a:pt x="462" y="492"/>
                  </a:cubicBezTo>
                  <a:cubicBezTo>
                    <a:pt x="462" y="478"/>
                    <a:pt x="473" y="468"/>
                    <a:pt x="486" y="468"/>
                  </a:cubicBezTo>
                  <a:cubicBezTo>
                    <a:pt x="500" y="468"/>
                    <a:pt x="510" y="478"/>
                    <a:pt x="510" y="492"/>
                  </a:cubicBezTo>
                  <a:cubicBezTo>
                    <a:pt x="510" y="505"/>
                    <a:pt x="500" y="516"/>
                    <a:pt x="486" y="516"/>
                  </a:cubicBezTo>
                  <a:close/>
                  <a:moveTo>
                    <a:pt x="549" y="516"/>
                  </a:moveTo>
                  <a:cubicBezTo>
                    <a:pt x="535" y="516"/>
                    <a:pt x="525" y="505"/>
                    <a:pt x="525" y="492"/>
                  </a:cubicBezTo>
                  <a:cubicBezTo>
                    <a:pt x="525" y="478"/>
                    <a:pt x="535" y="468"/>
                    <a:pt x="549" y="468"/>
                  </a:cubicBezTo>
                  <a:cubicBezTo>
                    <a:pt x="562" y="468"/>
                    <a:pt x="573" y="478"/>
                    <a:pt x="573" y="492"/>
                  </a:cubicBezTo>
                  <a:cubicBezTo>
                    <a:pt x="573" y="505"/>
                    <a:pt x="562" y="516"/>
                    <a:pt x="549" y="516"/>
                  </a:cubicBezTo>
                  <a:close/>
                  <a:moveTo>
                    <a:pt x="611" y="516"/>
                  </a:moveTo>
                  <a:cubicBezTo>
                    <a:pt x="598" y="516"/>
                    <a:pt x="587" y="505"/>
                    <a:pt x="587" y="492"/>
                  </a:cubicBezTo>
                  <a:cubicBezTo>
                    <a:pt x="587" y="478"/>
                    <a:pt x="598" y="468"/>
                    <a:pt x="611" y="468"/>
                  </a:cubicBezTo>
                  <a:cubicBezTo>
                    <a:pt x="624" y="468"/>
                    <a:pt x="635" y="478"/>
                    <a:pt x="635" y="492"/>
                  </a:cubicBezTo>
                  <a:cubicBezTo>
                    <a:pt x="635" y="505"/>
                    <a:pt x="624" y="516"/>
                    <a:pt x="611" y="5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6"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综合</a:t>
            </a:r>
            <a:endParaRPr lang="zh-CN" altLang="en-US" sz="2400" dirty="0">
              <a:latin typeface="+mj-ea"/>
            </a:endParaRPr>
          </a:p>
        </p:txBody>
      </p:sp>
      <p:pic>
        <p:nvPicPr>
          <p:cNvPr id="65" name="图片 64"/>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对象 40" hidden="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97" name="think-cell Slide" r:id="rId2" imgW="12700" imgH="12700" progId="TCLayout.ActiveDocument.1">
                  <p:embed/>
                </p:oleObj>
              </mc:Choice>
              <mc:Fallback>
                <p:oleObj name="think-cell Slide" r:id="rId2" imgW="12700" imgH="12700" progId="TCLayout.ActiveDocument.1">
                  <p:embed/>
                  <p:pic>
                    <p:nvPicPr>
                      <p:cNvPr id="0" name="对象 40"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10" name="矩形 9"/>
          <p:cNvSpPr/>
          <p:nvPr/>
        </p:nvSpPr>
        <p:spPr>
          <a:xfrm>
            <a:off x="1269507" y="2929892"/>
            <a:ext cx="10386874" cy="175640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600" b="1" i="1" dirty="0" smtClean="0">
              <a:solidFill>
                <a:schemeClr val="tx1"/>
              </a:solidFill>
            </a:endParaRPr>
          </a:p>
        </p:txBody>
      </p:sp>
      <p:grpSp>
        <p:nvGrpSpPr>
          <p:cNvPr id="9" name="组合 8"/>
          <p:cNvGrpSpPr/>
          <p:nvPr/>
        </p:nvGrpSpPr>
        <p:grpSpPr>
          <a:xfrm>
            <a:off x="1422374" y="3094561"/>
            <a:ext cx="10109225" cy="1429715"/>
            <a:chOff x="1422375" y="3094561"/>
            <a:chExt cx="8399132" cy="1429715"/>
          </a:xfrm>
        </p:grpSpPr>
        <p:sp>
          <p:nvSpPr>
            <p:cNvPr id="22" name="矩形 21"/>
            <p:cNvSpPr/>
            <p:nvPr/>
          </p:nvSpPr>
          <p:spPr>
            <a:xfrm>
              <a:off x="1422375" y="3094561"/>
              <a:ext cx="1591085" cy="1429715"/>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a:solidFill>
                    <a:schemeClr val="tx1">
                      <a:lumMod val="100000"/>
                    </a:schemeClr>
                  </a:solidFill>
                </a:rPr>
                <a:t>XXXXX</a:t>
              </a:r>
              <a:endParaRPr lang="zh-CN" altLang="en-US" sz="1600" b="1" dirty="0">
                <a:solidFill>
                  <a:schemeClr val="tx1">
                    <a:lumMod val="100000"/>
                  </a:schemeClr>
                </a:solidFill>
              </a:endParaRPr>
            </a:p>
          </p:txBody>
        </p:sp>
        <p:sp>
          <p:nvSpPr>
            <p:cNvPr id="23" name="矩形 22"/>
            <p:cNvSpPr/>
            <p:nvPr/>
          </p:nvSpPr>
          <p:spPr>
            <a:xfrm>
              <a:off x="3124387" y="3094561"/>
              <a:ext cx="1591085" cy="1429715"/>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a:solidFill>
                    <a:schemeClr val="tx1">
                      <a:lumMod val="100000"/>
                    </a:schemeClr>
                  </a:solidFill>
                </a:rPr>
                <a:t>XXXXXX</a:t>
              </a:r>
              <a:endParaRPr lang="zh-CN" altLang="en-US" sz="1600" b="1" dirty="0">
                <a:solidFill>
                  <a:schemeClr val="tx1">
                    <a:lumMod val="100000"/>
                  </a:schemeClr>
                </a:solidFill>
              </a:endParaRPr>
            </a:p>
          </p:txBody>
        </p:sp>
        <p:sp>
          <p:nvSpPr>
            <p:cNvPr id="24" name="矩形 23"/>
            <p:cNvSpPr/>
            <p:nvPr/>
          </p:nvSpPr>
          <p:spPr>
            <a:xfrm>
              <a:off x="4826398" y="3094561"/>
              <a:ext cx="1591085" cy="1429715"/>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a:solidFill>
                    <a:schemeClr val="tx1">
                      <a:lumMod val="100000"/>
                    </a:schemeClr>
                  </a:solidFill>
                </a:rPr>
                <a:t>XXXXXX</a:t>
              </a:r>
              <a:endParaRPr lang="zh-CN" altLang="en-US" sz="1600" b="1" dirty="0">
                <a:solidFill>
                  <a:schemeClr val="tx1">
                    <a:lumMod val="100000"/>
                  </a:schemeClr>
                </a:solidFill>
              </a:endParaRPr>
            </a:p>
          </p:txBody>
        </p:sp>
        <p:sp>
          <p:nvSpPr>
            <p:cNvPr id="25" name="矩形 24"/>
            <p:cNvSpPr/>
            <p:nvPr/>
          </p:nvSpPr>
          <p:spPr>
            <a:xfrm>
              <a:off x="6528410" y="3094561"/>
              <a:ext cx="1591085" cy="1429715"/>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a:solidFill>
                    <a:schemeClr val="tx1">
                      <a:lumMod val="100000"/>
                    </a:schemeClr>
                  </a:solidFill>
                </a:rPr>
                <a:t>XXXXX</a:t>
              </a:r>
              <a:endParaRPr lang="zh-CN" altLang="en-US" sz="1600" b="1" dirty="0">
                <a:solidFill>
                  <a:schemeClr val="tx1">
                    <a:lumMod val="100000"/>
                  </a:schemeClr>
                </a:solidFill>
              </a:endParaRPr>
            </a:p>
          </p:txBody>
        </p:sp>
        <p:sp>
          <p:nvSpPr>
            <p:cNvPr id="27" name="矩形 26"/>
            <p:cNvSpPr/>
            <p:nvPr/>
          </p:nvSpPr>
          <p:spPr>
            <a:xfrm>
              <a:off x="8230422" y="3094561"/>
              <a:ext cx="1591085" cy="1429715"/>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a:solidFill>
                    <a:schemeClr val="tx1">
                      <a:lumMod val="100000"/>
                    </a:schemeClr>
                  </a:solidFill>
                </a:rPr>
                <a:t>XXXXX</a:t>
              </a:r>
              <a:endParaRPr lang="zh-CN" altLang="en-US" sz="1600" b="1" dirty="0">
                <a:solidFill>
                  <a:schemeClr val="tx1">
                    <a:lumMod val="100000"/>
                  </a:schemeClr>
                </a:solidFill>
              </a:endParaRPr>
            </a:p>
          </p:txBody>
        </p:sp>
      </p:grpSp>
      <p:sp>
        <p:nvSpPr>
          <p:cNvPr id="11" name="矩形 10"/>
          <p:cNvSpPr/>
          <p:nvPr/>
        </p:nvSpPr>
        <p:spPr>
          <a:xfrm>
            <a:off x="1269507" y="4831772"/>
            <a:ext cx="10386874" cy="129381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600" b="1" i="1" dirty="0" smtClean="0">
              <a:solidFill>
                <a:schemeClr val="tx1"/>
              </a:solidFill>
            </a:endParaRPr>
          </a:p>
        </p:txBody>
      </p:sp>
      <p:sp>
        <p:nvSpPr>
          <p:cNvPr id="31" name="矩形 30"/>
          <p:cNvSpPr/>
          <p:nvPr/>
        </p:nvSpPr>
        <p:spPr>
          <a:xfrm>
            <a:off x="4835989" y="4952098"/>
            <a:ext cx="3273915" cy="1053166"/>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a:solidFill>
                  <a:schemeClr val="tx1">
                    <a:lumMod val="100000"/>
                  </a:schemeClr>
                </a:solidFill>
              </a:rPr>
              <a:t>XXXXXXX</a:t>
            </a:r>
            <a:endParaRPr lang="zh-CN" altLang="en-US" sz="1600" b="1" dirty="0">
              <a:solidFill>
                <a:schemeClr val="tx1">
                  <a:lumMod val="100000"/>
                </a:schemeClr>
              </a:solidFill>
            </a:endParaRPr>
          </a:p>
        </p:txBody>
      </p:sp>
      <p:sp>
        <p:nvSpPr>
          <p:cNvPr id="43" name="矩形 42"/>
          <p:cNvSpPr/>
          <p:nvPr/>
        </p:nvSpPr>
        <p:spPr>
          <a:xfrm>
            <a:off x="8249603" y="4952098"/>
            <a:ext cx="3273915" cy="1053166"/>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zh-CN" altLang="en-US" sz="1600" b="1">
                <a:solidFill>
                  <a:schemeClr val="tx1">
                    <a:lumMod val="100000"/>
                  </a:schemeClr>
                </a:solidFill>
              </a:rPr>
              <a:t>红星美凯龙供应链金融平台</a:t>
            </a:r>
            <a:endParaRPr lang="zh-CN" altLang="en-US" sz="1600" b="1" dirty="0">
              <a:solidFill>
                <a:schemeClr val="tx1">
                  <a:lumMod val="100000"/>
                </a:schemeClr>
              </a:solidFill>
            </a:endParaRPr>
          </a:p>
        </p:txBody>
      </p:sp>
      <p:sp>
        <p:nvSpPr>
          <p:cNvPr id="7" name="矩形 6"/>
          <p:cNvSpPr/>
          <p:nvPr/>
        </p:nvSpPr>
        <p:spPr>
          <a:xfrm>
            <a:off x="381740" y="4831772"/>
            <a:ext cx="834501" cy="1293817"/>
          </a:xfrm>
          <a:prstGeom prst="rect">
            <a:avLst/>
          </a:prstGeom>
          <a:solidFill>
            <a:srgbClr val="FF976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b="1" smtClean="0">
                <a:solidFill>
                  <a:schemeClr val="tx1"/>
                </a:solidFill>
              </a:rPr>
              <a:t>XXXX</a:t>
            </a:r>
            <a:endParaRPr lang="zh-CN" altLang="en-US" sz="1600" b="1" dirty="0">
              <a:solidFill>
                <a:schemeClr val="tx1"/>
              </a:solidFill>
            </a:endParaRPr>
          </a:p>
        </p:txBody>
      </p:sp>
      <p:sp>
        <p:nvSpPr>
          <p:cNvPr id="30" name="矩形 29"/>
          <p:cNvSpPr/>
          <p:nvPr/>
        </p:nvSpPr>
        <p:spPr>
          <a:xfrm>
            <a:off x="1422375" y="4952098"/>
            <a:ext cx="3273915" cy="1053166"/>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a:solidFill>
                  <a:schemeClr val="tx1">
                    <a:lumMod val="100000"/>
                  </a:schemeClr>
                </a:solidFill>
              </a:rPr>
              <a:t>XXXXXX</a:t>
            </a:r>
            <a:endParaRPr lang="zh-CN" altLang="en-US" sz="1600" b="1" dirty="0">
              <a:solidFill>
                <a:schemeClr val="tx1">
                  <a:lumMod val="100000"/>
                </a:schemeClr>
              </a:solidFill>
            </a:endParaRPr>
          </a:p>
        </p:txBody>
      </p:sp>
      <p:sp>
        <p:nvSpPr>
          <p:cNvPr id="4" name="矩形 3"/>
          <p:cNvSpPr/>
          <p:nvPr/>
        </p:nvSpPr>
        <p:spPr>
          <a:xfrm>
            <a:off x="381740" y="1020931"/>
            <a:ext cx="834501" cy="1756408"/>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b="1" smtClean="0">
                <a:solidFill>
                  <a:schemeClr val="bg1"/>
                </a:solidFill>
              </a:rPr>
              <a:t>XXXX</a:t>
            </a:r>
            <a:endParaRPr lang="zh-CN" altLang="en-US" sz="1600" b="1" dirty="0" smtClean="0">
              <a:solidFill>
                <a:schemeClr val="bg1"/>
              </a:solidFill>
            </a:endParaRPr>
          </a:p>
        </p:txBody>
      </p:sp>
      <p:sp>
        <p:nvSpPr>
          <p:cNvPr id="6" name="矩形 5"/>
          <p:cNvSpPr/>
          <p:nvPr/>
        </p:nvSpPr>
        <p:spPr>
          <a:xfrm>
            <a:off x="381740" y="2929892"/>
            <a:ext cx="834501" cy="1756408"/>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b="1" dirty="0" smtClean="0">
                <a:solidFill>
                  <a:schemeClr val="tx1"/>
                </a:solidFill>
              </a:rPr>
              <a:t>XXXX</a:t>
            </a:r>
            <a:endParaRPr lang="zh-CN" altLang="en-US" sz="1600" b="1" dirty="0">
              <a:solidFill>
                <a:schemeClr val="tx1"/>
              </a:solidFill>
            </a:endParaRPr>
          </a:p>
        </p:txBody>
      </p:sp>
      <p:sp>
        <p:nvSpPr>
          <p:cNvPr id="8" name="矩形 7"/>
          <p:cNvSpPr/>
          <p:nvPr/>
        </p:nvSpPr>
        <p:spPr>
          <a:xfrm>
            <a:off x="1269507" y="1020931"/>
            <a:ext cx="10386874" cy="175640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600" b="1" i="1" dirty="0" smtClean="0">
              <a:solidFill>
                <a:schemeClr val="tx1"/>
              </a:solidFill>
            </a:endParaRPr>
          </a:p>
        </p:txBody>
      </p:sp>
      <p:sp>
        <p:nvSpPr>
          <p:cNvPr id="58" name="矩形 57"/>
          <p:cNvSpPr/>
          <p:nvPr/>
        </p:nvSpPr>
        <p:spPr>
          <a:xfrm>
            <a:off x="1422375" y="1184278"/>
            <a:ext cx="1567107" cy="1429715"/>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dirty="0" smtClean="0">
                <a:solidFill>
                  <a:schemeClr val="tx1">
                    <a:lumMod val="100000"/>
                  </a:schemeClr>
                </a:solidFill>
              </a:rPr>
              <a:t>XXXXX</a:t>
            </a:r>
            <a:endParaRPr lang="zh-CN" altLang="en-US" sz="1600" b="1" dirty="0">
              <a:solidFill>
                <a:schemeClr val="tx1">
                  <a:lumMod val="100000"/>
                </a:schemeClr>
              </a:solidFill>
            </a:endParaRPr>
          </a:p>
        </p:txBody>
      </p:sp>
      <p:sp>
        <p:nvSpPr>
          <p:cNvPr id="59" name="矩形 58"/>
          <p:cNvSpPr/>
          <p:nvPr/>
        </p:nvSpPr>
        <p:spPr>
          <a:xfrm>
            <a:off x="3129182" y="1184278"/>
            <a:ext cx="1567107" cy="1429715"/>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dirty="0" smtClean="0">
                <a:solidFill>
                  <a:schemeClr val="tx1">
                    <a:lumMod val="100000"/>
                  </a:schemeClr>
                </a:solidFill>
              </a:rPr>
              <a:t>XXXXX</a:t>
            </a:r>
            <a:endParaRPr lang="zh-CN" altLang="en-US" sz="1600" b="1" dirty="0">
              <a:solidFill>
                <a:schemeClr val="tx1">
                  <a:lumMod val="100000"/>
                </a:schemeClr>
              </a:solidFill>
            </a:endParaRPr>
          </a:p>
        </p:txBody>
      </p:sp>
      <p:sp>
        <p:nvSpPr>
          <p:cNvPr id="60" name="矩形 59"/>
          <p:cNvSpPr/>
          <p:nvPr/>
        </p:nvSpPr>
        <p:spPr>
          <a:xfrm>
            <a:off x="4835989" y="1184278"/>
            <a:ext cx="1567107" cy="1429715"/>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dirty="0" smtClean="0">
                <a:solidFill>
                  <a:schemeClr val="tx1">
                    <a:lumMod val="100000"/>
                  </a:schemeClr>
                </a:solidFill>
              </a:rPr>
              <a:t>XXXXX</a:t>
            </a:r>
            <a:endParaRPr lang="zh-CN" altLang="en-US" sz="1600" b="1" dirty="0">
              <a:solidFill>
                <a:schemeClr val="tx1">
                  <a:lumMod val="100000"/>
                </a:schemeClr>
              </a:solidFill>
            </a:endParaRPr>
          </a:p>
        </p:txBody>
      </p:sp>
      <p:sp>
        <p:nvSpPr>
          <p:cNvPr id="61" name="矩形 60"/>
          <p:cNvSpPr/>
          <p:nvPr/>
        </p:nvSpPr>
        <p:spPr>
          <a:xfrm>
            <a:off x="6542796" y="1184278"/>
            <a:ext cx="1567107" cy="1429715"/>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dirty="0" smtClean="0">
                <a:solidFill>
                  <a:schemeClr val="tx1">
                    <a:lumMod val="100000"/>
                  </a:schemeClr>
                </a:solidFill>
              </a:rPr>
              <a:t>XXXXX</a:t>
            </a:r>
            <a:endParaRPr lang="zh-CN" altLang="en-US" sz="1600" b="1" dirty="0">
              <a:solidFill>
                <a:schemeClr val="tx1">
                  <a:lumMod val="100000"/>
                </a:schemeClr>
              </a:solidFill>
            </a:endParaRPr>
          </a:p>
        </p:txBody>
      </p:sp>
      <p:sp>
        <p:nvSpPr>
          <p:cNvPr id="62" name="矩形 61"/>
          <p:cNvSpPr/>
          <p:nvPr/>
        </p:nvSpPr>
        <p:spPr>
          <a:xfrm>
            <a:off x="9956411" y="1184278"/>
            <a:ext cx="1567107" cy="1429715"/>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smtClean="0">
                <a:solidFill>
                  <a:schemeClr val="tx1">
                    <a:lumMod val="100000"/>
                  </a:schemeClr>
                </a:solidFill>
              </a:rPr>
              <a:t>XXXXXX</a:t>
            </a:r>
            <a:endParaRPr lang="zh-CN" altLang="en-US" sz="1600" b="1" dirty="0">
              <a:solidFill>
                <a:schemeClr val="tx1">
                  <a:lumMod val="100000"/>
                </a:schemeClr>
              </a:solidFill>
            </a:endParaRPr>
          </a:p>
        </p:txBody>
      </p:sp>
      <p:sp>
        <p:nvSpPr>
          <p:cNvPr id="63" name="矩形 62"/>
          <p:cNvSpPr/>
          <p:nvPr/>
        </p:nvSpPr>
        <p:spPr>
          <a:xfrm>
            <a:off x="8249603" y="1184278"/>
            <a:ext cx="1567107" cy="1429715"/>
          </a:xfrm>
          <a:prstGeom prst="rect">
            <a:avLst/>
          </a:prstGeom>
          <a:solidFill>
            <a:schemeClr val="bg1"/>
          </a:solidFill>
          <a:ln>
            <a:solidFill>
              <a:schemeClr val="bg1">
                <a:lumMod val="50000"/>
              </a:schemeClr>
            </a:solidFill>
            <a:prstDash val="sysDash"/>
          </a:ln>
          <a:effectLst/>
        </p:spPr>
        <p:txBody>
          <a:bodyPr wrap="square" lIns="36000" tIns="72000" rIns="36000" bIns="0" anchor="t">
            <a:noAutofit/>
          </a:bodyPr>
          <a:lstStyle/>
          <a:p>
            <a:pPr marL="0" lvl="1" algn="ctr" fontAlgn="ctr">
              <a:buClr>
                <a:schemeClr val="tx2">
                  <a:lumMod val="100000"/>
                </a:schemeClr>
              </a:buClr>
              <a:buSzPct val="100000"/>
            </a:pPr>
            <a:r>
              <a:rPr lang="en-US" altLang="zh-CN" sz="1600" b="1" smtClean="0">
                <a:solidFill>
                  <a:schemeClr val="tx1">
                    <a:lumMod val="100000"/>
                  </a:schemeClr>
                </a:solidFill>
              </a:rPr>
              <a:t>XXXXX</a:t>
            </a:r>
            <a:endParaRPr lang="zh-CN" altLang="en-US" sz="1600" b="1" dirty="0">
              <a:solidFill>
                <a:schemeClr val="tx1">
                  <a:lumMod val="100000"/>
                </a:schemeClr>
              </a:solidFill>
            </a:endParaRPr>
          </a:p>
        </p:txBody>
      </p:sp>
      <p:pic>
        <p:nvPicPr>
          <p:cNvPr id="1157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2933" y="1921165"/>
            <a:ext cx="779606" cy="56874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47298" y="1822912"/>
            <a:ext cx="717261" cy="783255"/>
          </a:xfrm>
          <a:prstGeom prst="rect">
            <a:avLst/>
          </a:prstGeom>
          <a:noFill/>
          <a:extLst>
            <a:ext uri="{909E8E84-426E-40DD-AFC4-6F175D3DCCD1}">
              <a14:hiddenFill xmlns:a14="http://schemas.microsoft.com/office/drawing/2010/main">
                <a:solidFill>
                  <a:srgbClr val="FFFFFF"/>
                </a:solidFill>
              </a14:hiddenFill>
            </a:ext>
          </a:extLst>
        </p:spPr>
      </p:pic>
      <p:sp>
        <p:nvSpPr>
          <p:cNvPr id="46"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综合</a:t>
            </a:r>
            <a:endParaRPr lang="zh-CN" altLang="en-US" sz="2400" dirty="0">
              <a:latin typeface="+mj-ea"/>
            </a:endParaRPr>
          </a:p>
        </p:txBody>
      </p:sp>
      <p:pic>
        <p:nvPicPr>
          <p:cNvPr id="45" name="图片 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对象 5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469" name="think-cell Slide" r:id="rId2" imgW="12700" imgH="12700" progId="TCLayout.ActiveDocument.1">
                  <p:embed/>
                </p:oleObj>
              </mc:Choice>
              <mc:Fallback>
                <p:oleObj name="think-cell Slide" r:id="rId2" imgW="12700" imgH="12700" progId="TCLayout.ActiveDocument.1">
                  <p:embed/>
                  <p:pic>
                    <p:nvPicPr>
                      <p:cNvPr id="0" name="对象 51"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 name="Rectangle 184"/>
          <p:cNvSpPr/>
          <p:nvPr/>
        </p:nvSpPr>
        <p:spPr>
          <a:xfrm>
            <a:off x="2520175" y="1978168"/>
            <a:ext cx="9129140" cy="1285279"/>
          </a:xfrm>
          <a:prstGeom prst="rect">
            <a:avLst/>
          </a:prstGeom>
          <a:solidFill>
            <a:srgbClr val="F3F3F3"/>
          </a:solidFill>
        </p:spPr>
        <p:txBody>
          <a:bodyPr wrap="square" lIns="0" tIns="89999" rIns="0" bIns="89999" anchor="ctr">
            <a:noAutofit/>
          </a:bodyPr>
          <a:lstStyle/>
          <a:p>
            <a:pPr algn="ctr" fontAlgn="base">
              <a:spcBef>
                <a:spcPct val="0"/>
              </a:spcBef>
              <a:spcAft>
                <a:spcPct val="0"/>
              </a:spcAft>
              <a:buClr>
                <a:srgbClr val="177B57"/>
              </a:buClr>
            </a:pPr>
            <a:endParaRPr lang="en-US" sz="1200" dirty="0">
              <a:solidFill>
                <a:srgbClr val="FFFFFF"/>
              </a:solidFill>
              <a:cs typeface="Arial" panose="020B0604020202020204" pitchFamily="34" charset="0"/>
            </a:endParaRPr>
          </a:p>
        </p:txBody>
      </p:sp>
      <p:sp>
        <p:nvSpPr>
          <p:cNvPr id="14" name="Rectangle 30"/>
          <p:cNvSpPr>
            <a:spLocks noChangeArrowheads="1"/>
          </p:cNvSpPr>
          <p:nvPr/>
        </p:nvSpPr>
        <p:spPr bwMode="auto">
          <a:xfrm>
            <a:off x="5648501" y="1978168"/>
            <a:ext cx="2916651" cy="1285279"/>
          </a:xfrm>
          <a:prstGeom prst="rect">
            <a:avLst/>
          </a:prstGeom>
          <a:noFill/>
          <a:ln>
            <a:noFill/>
          </a:ln>
        </p:spPr>
        <p:txBody>
          <a:bodyPr vert="horz" wrap="none" lIns="91440" tIns="91440" rIns="91440" bIns="91440" numCol="1" anchor="t" anchorCtr="0" compatLnSpc="1">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323850" lvl="1" indent="-215900">
              <a:spcBef>
                <a:spcPts val="0"/>
              </a:spcBef>
              <a:spcAft>
                <a:spcPts val="0"/>
              </a:spcAft>
              <a:buClr>
                <a:schemeClr val="tx2">
                  <a:lumMod val="100000"/>
                </a:schemeClr>
              </a:buClr>
              <a:buSzPct val="100000"/>
              <a:buFont typeface="Trebuchet MS" panose="020B0603020202020204" pitchFamily="34" charset="0"/>
              <a:buChar char="•"/>
              <a:defRPr/>
            </a:pPr>
            <a:r>
              <a:rPr kumimoji="0" lang="en-US" altLang="en-US" sz="1200" strike="noStrike" cap="none" normalizeH="0" noProof="0" dirty="0" smtClean="0">
                <a:ln>
                  <a:noFill/>
                </a:ln>
                <a:solidFill>
                  <a:schemeClr val="tx1">
                    <a:lumMod val="100000"/>
                  </a:schemeClr>
                </a:solidFill>
                <a:effectLst/>
                <a:uLnTx/>
                <a:uFillTx/>
                <a:latin typeface="+mn-lt"/>
              </a:rPr>
              <a:t>XXX</a:t>
            </a:r>
            <a:endParaRPr kumimoji="0" lang="en-US" altLang="en-US" sz="1200" strike="noStrike" cap="none" normalizeH="0" noProof="0" dirty="0" smtClean="0">
              <a:ln>
                <a:noFill/>
              </a:ln>
              <a:solidFill>
                <a:schemeClr val="tx1">
                  <a:lumMod val="100000"/>
                </a:schemeClr>
              </a:solidFill>
              <a:effectLst/>
              <a:uLnTx/>
              <a:uFillTx/>
              <a:latin typeface="+mn-lt"/>
            </a:endParaRPr>
          </a:p>
        </p:txBody>
      </p:sp>
      <p:sp>
        <p:nvSpPr>
          <p:cNvPr id="15" name="Pentagon 38"/>
          <p:cNvSpPr/>
          <p:nvPr/>
        </p:nvSpPr>
        <p:spPr>
          <a:xfrm>
            <a:off x="2564338" y="1978168"/>
            <a:ext cx="2916651" cy="1285279"/>
          </a:xfrm>
          <a:prstGeom prst="rect">
            <a:avLst/>
          </a:prstGeom>
          <a:noFill/>
          <a:ln w="19050">
            <a:noFill/>
          </a:ln>
        </p:spPr>
        <p:txBody>
          <a:bodyPr wrap="square" lIns="91440" tIns="91440" rIns="91440" bIns="91440" anchor="t">
            <a:noAutofit/>
          </a:bodyPr>
          <a:lstStyle/>
          <a:p>
            <a:pPr marL="323850" lvl="1" indent="-215900">
              <a:buClr>
                <a:schemeClr val="tx2">
                  <a:lumMod val="100000"/>
                </a:schemeClr>
              </a:buClr>
              <a:buSzPct val="100000"/>
              <a:buFont typeface="Trebuchet MS" panose="020B0603020202020204" pitchFamily="34" charset="0"/>
              <a:buChar char="•"/>
              <a:defRPr/>
            </a:pPr>
            <a:r>
              <a:rPr kumimoji="0" lang="en-US" altLang="en-US" sz="1200" strike="noStrike" cap="none" normalizeH="0" noProof="0" dirty="0" smtClean="0">
                <a:ln>
                  <a:noFill/>
                </a:ln>
                <a:solidFill>
                  <a:schemeClr val="tx1">
                    <a:lumMod val="100000"/>
                  </a:schemeClr>
                </a:solidFill>
                <a:effectLst/>
                <a:uLnTx/>
                <a:uFillTx/>
              </a:rPr>
              <a:t>XXXX</a:t>
            </a:r>
            <a:endParaRPr kumimoji="0" lang="en-US" altLang="en-US" sz="1200" strike="noStrike" cap="none" normalizeH="0" noProof="0" dirty="0" smtClean="0">
              <a:ln>
                <a:noFill/>
              </a:ln>
              <a:solidFill>
                <a:schemeClr val="tx1">
                  <a:lumMod val="100000"/>
                </a:schemeClr>
              </a:solidFill>
              <a:effectLst/>
              <a:uLnTx/>
              <a:uFillTx/>
            </a:endParaRPr>
          </a:p>
        </p:txBody>
      </p:sp>
      <p:sp>
        <p:nvSpPr>
          <p:cNvPr id="16" name="Rectangle 30"/>
          <p:cNvSpPr>
            <a:spLocks noChangeArrowheads="1"/>
          </p:cNvSpPr>
          <p:nvPr/>
        </p:nvSpPr>
        <p:spPr bwMode="auto">
          <a:xfrm>
            <a:off x="8732665" y="1978168"/>
            <a:ext cx="2916651" cy="1285279"/>
          </a:xfrm>
          <a:prstGeom prst="rect">
            <a:avLst/>
          </a:prstGeom>
          <a:noFill/>
          <a:ln>
            <a:noFill/>
          </a:ln>
        </p:spPr>
        <p:txBody>
          <a:bodyPr vert="horz" wrap="none" lIns="91440" tIns="91440" rIns="91440" bIns="91440" numCol="1" anchor="t" anchorCtr="0" compatLnSpc="1">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323850" lvl="1" indent="-215900">
              <a:spcBef>
                <a:spcPts val="0"/>
              </a:spcBef>
              <a:spcAft>
                <a:spcPts val="0"/>
              </a:spcAft>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latin typeface="+mn-lt"/>
              </a:rPr>
              <a:t>XXX</a:t>
            </a:r>
            <a:endParaRPr kumimoji="0" lang="en-US" altLang="en-US" sz="1200" strike="noStrike" cap="none" normalizeH="0" noProof="0" dirty="0" smtClean="0">
              <a:ln>
                <a:noFill/>
              </a:ln>
              <a:solidFill>
                <a:schemeClr val="tx1">
                  <a:lumMod val="100000"/>
                </a:schemeClr>
              </a:solidFill>
              <a:effectLst/>
              <a:uLnTx/>
              <a:uFillTx/>
              <a:latin typeface="+mn-lt"/>
            </a:endParaRPr>
          </a:p>
        </p:txBody>
      </p:sp>
      <p:sp>
        <p:nvSpPr>
          <p:cNvPr id="34" name="Rectangle 147"/>
          <p:cNvSpPr/>
          <p:nvPr/>
        </p:nvSpPr>
        <p:spPr>
          <a:xfrm>
            <a:off x="480951" y="1978168"/>
            <a:ext cx="1966414" cy="1285279"/>
          </a:xfrm>
          <a:prstGeom prst="rect">
            <a:avLst/>
          </a:prstGeom>
          <a:solidFill>
            <a:srgbClr val="FE5817"/>
          </a:solidFill>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7" name="Rectangle 187"/>
          <p:cNvSpPr/>
          <p:nvPr/>
        </p:nvSpPr>
        <p:spPr>
          <a:xfrm>
            <a:off x="2520175" y="4816757"/>
            <a:ext cx="9129140" cy="1285279"/>
          </a:xfrm>
          <a:prstGeom prst="rect">
            <a:avLst/>
          </a:prstGeom>
          <a:solidFill>
            <a:srgbClr val="F3F3F3"/>
          </a:solidFill>
        </p:spPr>
        <p:txBody>
          <a:bodyPr wrap="square" lIns="0" tIns="89999" rIns="0" bIns="89999" anchor="ctr">
            <a:noAutofit/>
          </a:bodyPr>
          <a:lstStyle/>
          <a:p>
            <a:pPr lvl="1"/>
            <a:endParaRPr lang="en-US" dirty="0"/>
          </a:p>
        </p:txBody>
      </p:sp>
      <p:sp>
        <p:nvSpPr>
          <p:cNvPr id="23" name="Pentagon 38"/>
          <p:cNvSpPr/>
          <p:nvPr/>
        </p:nvSpPr>
        <p:spPr>
          <a:xfrm>
            <a:off x="5648501" y="4816757"/>
            <a:ext cx="2916651" cy="1285279"/>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endParaRPr>
          </a:p>
        </p:txBody>
      </p:sp>
      <p:sp>
        <p:nvSpPr>
          <p:cNvPr id="24" name="Pentagon 38"/>
          <p:cNvSpPr/>
          <p:nvPr/>
        </p:nvSpPr>
        <p:spPr>
          <a:xfrm>
            <a:off x="2564338" y="4816757"/>
            <a:ext cx="2916651" cy="1285279"/>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cs typeface="Arial" panose="020B0604020202020204" pitchFamily="34" charset="0"/>
            </a:endParaRPr>
          </a:p>
        </p:txBody>
      </p:sp>
      <p:sp>
        <p:nvSpPr>
          <p:cNvPr id="25" name="Pentagon 38"/>
          <p:cNvSpPr/>
          <p:nvPr/>
        </p:nvSpPr>
        <p:spPr>
          <a:xfrm>
            <a:off x="8732665" y="4816757"/>
            <a:ext cx="2916651" cy="1285279"/>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smtClean="0">
              <a:solidFill>
                <a:schemeClr val="tx1">
                  <a:lumMod val="100000"/>
                </a:schemeClr>
              </a:solidFill>
              <a:cs typeface="Arial" panose="020B0604020202020204" pitchFamily="34" charset="0"/>
            </a:endParaRPr>
          </a:p>
        </p:txBody>
      </p:sp>
      <p:sp>
        <p:nvSpPr>
          <p:cNvPr id="37" name="Rectangle 148"/>
          <p:cNvSpPr/>
          <p:nvPr/>
        </p:nvSpPr>
        <p:spPr>
          <a:xfrm>
            <a:off x="480951" y="4816757"/>
            <a:ext cx="1966414" cy="1285279"/>
          </a:xfrm>
          <a:prstGeom prst="rect">
            <a:avLst/>
          </a:prstGeom>
          <a:solidFill>
            <a:srgbClr val="FE5817"/>
          </a:solidFill>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27" name="Rectangle 187"/>
          <p:cNvSpPr/>
          <p:nvPr/>
        </p:nvSpPr>
        <p:spPr>
          <a:xfrm>
            <a:off x="2520175" y="3397463"/>
            <a:ext cx="9129140" cy="1285279"/>
          </a:xfrm>
          <a:prstGeom prst="rect">
            <a:avLst/>
          </a:prstGeom>
          <a:solidFill>
            <a:srgbClr val="E8E8E8"/>
          </a:solidFill>
        </p:spPr>
        <p:txBody>
          <a:bodyPr wrap="square" lIns="0" tIns="89999" rIns="0" bIns="89999" anchor="t">
            <a:noAutofit/>
          </a:bodyPr>
          <a:lstStyle/>
          <a:p>
            <a:pPr lvl="1" fontAlgn="base">
              <a:buClr>
                <a:srgbClr val="177B57"/>
              </a:buClr>
            </a:pPr>
            <a:endParaRPr lang="en-US" sz="1200" i="1" dirty="0">
              <a:solidFill>
                <a:srgbClr val="FFFFFF"/>
              </a:solidFill>
              <a:cs typeface="Arial" panose="020B0604020202020204" pitchFamily="34" charset="0"/>
            </a:endParaRPr>
          </a:p>
        </p:txBody>
      </p:sp>
      <p:sp>
        <p:nvSpPr>
          <p:cNvPr id="28" name="Pentagon 38"/>
          <p:cNvSpPr/>
          <p:nvPr/>
        </p:nvSpPr>
        <p:spPr>
          <a:xfrm>
            <a:off x="5648501" y="3397463"/>
            <a:ext cx="2916651" cy="1285279"/>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endParaRPr>
          </a:p>
        </p:txBody>
      </p:sp>
      <p:sp>
        <p:nvSpPr>
          <p:cNvPr id="29" name="Pentagon 38"/>
          <p:cNvSpPr/>
          <p:nvPr/>
        </p:nvSpPr>
        <p:spPr>
          <a:xfrm>
            <a:off x="2564338" y="3397463"/>
            <a:ext cx="2916651" cy="1285279"/>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cs typeface="Arial" panose="020B0604020202020204" pitchFamily="34" charset="0"/>
            </a:endParaRPr>
          </a:p>
        </p:txBody>
      </p:sp>
      <p:sp>
        <p:nvSpPr>
          <p:cNvPr id="30" name="Pentagon 38"/>
          <p:cNvSpPr/>
          <p:nvPr/>
        </p:nvSpPr>
        <p:spPr>
          <a:xfrm>
            <a:off x="8732665" y="3397463"/>
            <a:ext cx="2916651" cy="1285279"/>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smtClean="0">
              <a:solidFill>
                <a:schemeClr val="tx1">
                  <a:lumMod val="100000"/>
                </a:schemeClr>
              </a:solidFill>
              <a:cs typeface="Arial" panose="020B0604020202020204" pitchFamily="34" charset="0"/>
            </a:endParaRPr>
          </a:p>
        </p:txBody>
      </p:sp>
      <p:sp>
        <p:nvSpPr>
          <p:cNvPr id="31" name="Rectangle 148"/>
          <p:cNvSpPr/>
          <p:nvPr/>
        </p:nvSpPr>
        <p:spPr>
          <a:xfrm>
            <a:off x="480951" y="3397463"/>
            <a:ext cx="1966414" cy="1285279"/>
          </a:xfrm>
          <a:prstGeom prst="rect">
            <a:avLst/>
          </a:prstGeom>
          <a:solidFill>
            <a:srgbClr val="FE5817"/>
          </a:solidFill>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10" name="ColumnHeader"/>
          <p:cNvSpPr>
            <a:spLocks noChangeArrowheads="1"/>
          </p:cNvSpPr>
          <p:nvPr/>
        </p:nvSpPr>
        <p:spPr bwMode="gray">
          <a:xfrm>
            <a:off x="5648501" y="1104523"/>
            <a:ext cx="2916651" cy="796387"/>
          </a:xfrm>
          <a:prstGeom prst="rect">
            <a:avLst/>
          </a:prstGeom>
          <a:solidFill>
            <a:schemeClr val="tx2"/>
          </a:solidFill>
          <a:ln w="9525" algn="ctr">
            <a:noFill/>
            <a:miter lim="800000"/>
            <a:headEnd type="none" w="lg" len="lg"/>
            <a:tailEnd type="none" w="lg" len="lg"/>
          </a:ln>
          <a:effectLst/>
        </p:spPr>
        <p:txBody>
          <a:bodyPr wrap="square" lIns="91439" tIns="89999" rIns="91439" bIns="45720"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11" name="ColumnHeader"/>
          <p:cNvSpPr>
            <a:spLocks noChangeArrowheads="1"/>
          </p:cNvSpPr>
          <p:nvPr/>
        </p:nvSpPr>
        <p:spPr bwMode="gray">
          <a:xfrm>
            <a:off x="2564338" y="1104523"/>
            <a:ext cx="2916651" cy="796387"/>
          </a:xfrm>
          <a:prstGeom prst="rect">
            <a:avLst/>
          </a:prstGeom>
          <a:solidFill>
            <a:schemeClr val="bg1">
              <a:lumMod val="65000"/>
            </a:schemeClr>
          </a:solidFill>
          <a:ln w="9525" algn="ctr">
            <a:noFill/>
            <a:miter lim="800000"/>
            <a:headEnd type="none" w="lg" len="lg"/>
            <a:tailEnd type="none" w="lg" len="lg"/>
          </a:ln>
          <a:effectLst/>
        </p:spPr>
        <p:txBody>
          <a:bodyPr wrap="square" lIns="91439" tIns="89999" rIns="91439"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200" b="1" i="0" u="none" strike="noStrike" kern="0" cap="none" spc="0" normalizeH="0" baseline="0" noProof="0" dirty="0" smtClean="0">
                <a:ln>
                  <a:noFill/>
                </a:ln>
                <a:solidFill>
                  <a:srgbClr val="FFFFFF"/>
                </a:solidFill>
                <a:effectLst/>
                <a:uLnTx/>
                <a:uFillTx/>
              </a:rPr>
              <a:t>XXXXXXXXX</a:t>
            </a:r>
            <a:endParaRPr kumimoji="0" lang="en-US" sz="1200" b="1" i="0" u="none" strike="noStrike" kern="0" cap="none" spc="0" normalizeH="0" baseline="0" noProof="0" dirty="0" smtClean="0">
              <a:ln>
                <a:noFill/>
              </a:ln>
              <a:solidFill>
                <a:srgbClr val="FFFFF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defRPr/>
            </a:pPr>
            <a:r>
              <a:rPr lang="en-US" sz="1200" b="1" kern="0" dirty="0" smtClean="0">
                <a:solidFill>
                  <a:srgbClr val="FFFFFF"/>
                </a:solidFill>
                <a:cs typeface="Arial" panose="020B0604020202020204" pitchFamily="34" charset="0"/>
              </a:rPr>
              <a:t>XXXXXXXXXXXXX</a:t>
            </a:r>
            <a:endParaRPr kumimoji="0" lang="en-US" sz="1200" b="0" i="0" u="none" strike="noStrike" kern="0" cap="none" spc="0" normalizeH="0" baseline="0" noProof="0" dirty="0" smtClean="0">
              <a:ln>
                <a:noFill/>
              </a:ln>
              <a:solidFill>
                <a:srgbClr val="FFFFFF"/>
              </a:solidFill>
              <a:effectLst/>
              <a:uLnTx/>
              <a:uFillTx/>
              <a:cs typeface="Arial" panose="020B0604020202020204" pitchFamily="34" charset="0"/>
            </a:endParaRPr>
          </a:p>
        </p:txBody>
      </p:sp>
      <p:sp>
        <p:nvSpPr>
          <p:cNvPr id="12" name="ColumnHeader"/>
          <p:cNvSpPr>
            <a:spLocks noChangeArrowheads="1"/>
          </p:cNvSpPr>
          <p:nvPr/>
        </p:nvSpPr>
        <p:spPr bwMode="gray">
          <a:xfrm>
            <a:off x="8732665" y="1104523"/>
            <a:ext cx="2916651" cy="796387"/>
          </a:xfrm>
          <a:prstGeom prst="rect">
            <a:avLst/>
          </a:prstGeom>
          <a:solidFill>
            <a:schemeClr val="tx2">
              <a:lumMod val="75000"/>
            </a:schemeClr>
          </a:solidFill>
          <a:ln w="9525" algn="ctr">
            <a:noFill/>
            <a:miter lim="800000"/>
            <a:headEnd type="none" w="lg" len="lg"/>
            <a:tailEnd type="none" w="lg" len="lg"/>
          </a:ln>
          <a:effectLst/>
        </p:spPr>
        <p:txBody>
          <a:bodyPr wrap="square" lIns="91439" tIns="89999" rIns="91439" bIns="45720"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40" name="Oval 161"/>
          <p:cNvSpPr/>
          <p:nvPr/>
        </p:nvSpPr>
        <p:spPr>
          <a:xfrm>
            <a:off x="2446032"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77723" tIns="76499" rIns="77723" bIns="764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1</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sp>
        <p:nvSpPr>
          <p:cNvPr id="41" name="Oval 162"/>
          <p:cNvSpPr/>
          <p:nvPr/>
        </p:nvSpPr>
        <p:spPr>
          <a:xfrm>
            <a:off x="5584319"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77723" tIns="76499" rIns="77723" bIns="764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2</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sp>
        <p:nvSpPr>
          <p:cNvPr id="43" name="Oval 163"/>
          <p:cNvSpPr/>
          <p:nvPr/>
        </p:nvSpPr>
        <p:spPr>
          <a:xfrm>
            <a:off x="8688058"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0" tIns="89999" rIns="0" bIns="899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3</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grpSp>
        <p:nvGrpSpPr>
          <p:cNvPr id="35" name="组合 34"/>
          <p:cNvGrpSpPr/>
          <p:nvPr/>
        </p:nvGrpSpPr>
        <p:grpSpPr>
          <a:xfrm>
            <a:off x="5550308" y="2068868"/>
            <a:ext cx="3081268" cy="3933580"/>
            <a:chOff x="5550308" y="2068868"/>
            <a:chExt cx="3081268" cy="3780711"/>
          </a:xfrm>
        </p:grpSpPr>
        <p:cxnSp>
          <p:nvCxnSpPr>
            <p:cNvPr id="36" name="Straight Connector 32"/>
            <p:cNvCxnSpPr/>
            <p:nvPr/>
          </p:nvCxnSpPr>
          <p:spPr>
            <a:xfrm>
              <a:off x="5550308" y="2068868"/>
              <a:ext cx="0" cy="3780711"/>
            </a:xfrm>
            <a:prstGeom prst="line">
              <a:avLst/>
            </a:prstGeom>
            <a:noFill/>
            <a:ln w="9525" cap="flat" cmpd="sng" algn="ctr">
              <a:solidFill>
                <a:srgbClr val="FFFFFF">
                  <a:lumMod val="75000"/>
                </a:srgbClr>
              </a:solidFill>
              <a:prstDash val="dash"/>
            </a:ln>
            <a:effectLst/>
          </p:spPr>
        </p:cxnSp>
        <p:cxnSp>
          <p:nvCxnSpPr>
            <p:cNvPr id="38" name="Straight Connector 190"/>
            <p:cNvCxnSpPr/>
            <p:nvPr/>
          </p:nvCxnSpPr>
          <p:spPr>
            <a:xfrm>
              <a:off x="8631576" y="2068868"/>
              <a:ext cx="0" cy="3780710"/>
            </a:xfrm>
            <a:prstGeom prst="line">
              <a:avLst/>
            </a:prstGeom>
            <a:noFill/>
            <a:ln w="9525" cap="flat" cmpd="sng" algn="ctr">
              <a:solidFill>
                <a:srgbClr val="FFFFFF">
                  <a:lumMod val="75000"/>
                </a:srgbClr>
              </a:solidFill>
              <a:prstDash val="dash"/>
            </a:ln>
            <a:effectLst/>
          </p:spPr>
        </p:cxnSp>
      </p:grpSp>
      <p:sp>
        <p:nvSpPr>
          <p:cNvPr id="3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图表</a:t>
            </a:r>
            <a:endParaRPr lang="zh-CN" altLang="en-US" sz="2400" dirty="0">
              <a:solidFill>
                <a:prstClr val="black"/>
              </a:solidFill>
              <a:latin typeface="华文楷体" panose="02010600040101010101" charset="-122"/>
              <a:ea typeface="华文楷体" panose="02010600040101010101" charset="-122"/>
            </a:endParaRPr>
          </a:p>
        </p:txBody>
      </p:sp>
      <p:pic>
        <p:nvPicPr>
          <p:cNvPr id="33" name="图片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对象 117" hidden="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324" name="think-cell Slide" r:id="rId2" imgW="12700" imgH="12700" progId="TCLayout.ActiveDocument.1">
                  <p:embed/>
                </p:oleObj>
              </mc:Choice>
              <mc:Fallback>
                <p:oleObj name="think-cell Slide" r:id="rId2" imgW="12700" imgH="12700" progId="TCLayout.ActiveDocument.1">
                  <p:embed/>
                  <p:pic>
                    <p:nvPicPr>
                      <p:cNvPr id="0" name="对象 117"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5" name="任意多边形 46"/>
          <p:cNvSpPr/>
          <p:nvPr/>
        </p:nvSpPr>
        <p:spPr>
          <a:xfrm>
            <a:off x="525320" y="1128809"/>
            <a:ext cx="5210623" cy="1394406"/>
          </a:xfrm>
          <a:prstGeom prst="roundRect">
            <a:avLst>
              <a:gd name="adj" fmla="val 6196"/>
            </a:avLst>
          </a:prstGeom>
          <a:solidFill>
            <a:srgbClr val="FFFFFF"/>
          </a:solidFill>
          <a:ln w="28575" cap="flat" cmpd="sng" algn="ctr">
            <a:solidFill>
              <a:srgbClr val="FE5817"/>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lvl="0" defTabSz="444500" eaLnBrk="1" hangingPunct="1">
              <a:lnSpc>
                <a:spcPts val="2300"/>
              </a:lnSpc>
              <a:spcAft>
                <a:spcPts val="0"/>
              </a:spcAft>
            </a:pPr>
            <a:r>
              <a:rPr lang="en-US" altLang="zh-CN" kern="1200" spc="5" smtClean="0">
                <a:solidFill>
                  <a:srgbClr val="6E6F73"/>
                </a:solidFill>
                <a:cs typeface="Microsoft JhengHei UI" panose="020B0604030504040204" charset="-120"/>
                <a:sym typeface="微软雅黑" panose="020B0503020204020204" charset="-122"/>
              </a:rPr>
              <a:t>XXXXX</a:t>
            </a:r>
            <a:endParaRPr lang="zh-CN" altLang="en-US" dirty="0">
              <a:solidFill>
                <a:srgbClr val="6E6F73"/>
              </a:solidFill>
            </a:endParaRPr>
          </a:p>
        </p:txBody>
      </p:sp>
      <p:sp>
        <p:nvSpPr>
          <p:cNvPr id="6" name="任意多边形 46"/>
          <p:cNvSpPr/>
          <p:nvPr/>
        </p:nvSpPr>
        <p:spPr>
          <a:xfrm>
            <a:off x="6491038" y="1128809"/>
            <a:ext cx="5272047" cy="1394406"/>
          </a:xfrm>
          <a:prstGeom prst="roundRect">
            <a:avLst>
              <a:gd name="adj" fmla="val 6196"/>
            </a:avLst>
          </a:prstGeom>
          <a:solidFill>
            <a:srgbClr val="FFFFFF"/>
          </a:solidFill>
          <a:ln w="28575" cap="flat" cmpd="sng" algn="ctr">
            <a:solidFill>
              <a:srgbClr val="FE5817"/>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defTabSz="266700">
              <a:lnSpc>
                <a:spcPts val="2300"/>
              </a:lnSpc>
            </a:pPr>
            <a:r>
              <a:rPr lang="en-US" altLang="zh-CN" spc="5" smtClean="0">
                <a:solidFill>
                  <a:srgbClr val="6E6F73"/>
                </a:solidFill>
                <a:cs typeface="Microsoft JhengHei UI" panose="020B0604030504040204" charset="-120"/>
                <a:sym typeface="微软雅黑" panose="020B0503020204020204" charset="-122"/>
              </a:rPr>
              <a:t>XXXXX</a:t>
            </a:r>
            <a:endParaRPr lang="en-US" altLang="zh-CN" spc="5" dirty="0">
              <a:solidFill>
                <a:srgbClr val="6E6F73"/>
              </a:solidFill>
              <a:cs typeface="Microsoft JhengHei UI" panose="020B0604030504040204" charset="-120"/>
              <a:sym typeface="微软雅黑" panose="020B0503020204020204" charset="-122"/>
            </a:endParaRPr>
          </a:p>
          <a:p>
            <a:pPr algn="r" defTabSz="444500">
              <a:lnSpc>
                <a:spcPts val="2300"/>
              </a:lnSpc>
            </a:pPr>
            <a:r>
              <a:rPr lang="en-US" altLang="zh-CN" spc="5" dirty="0" smtClean="0">
                <a:solidFill>
                  <a:srgbClr val="6E6F73"/>
                </a:solidFill>
                <a:sym typeface="微软雅黑" panose="020B0503020204020204" charset="-122"/>
              </a:rPr>
              <a:t>——</a:t>
            </a:r>
            <a:r>
              <a:rPr lang="zh-CN" altLang="en-US" spc="5" dirty="0" smtClean="0">
                <a:solidFill>
                  <a:srgbClr val="6E6F73"/>
                </a:solidFill>
                <a:sym typeface="微软雅黑" panose="020B0503020204020204" charset="-122"/>
              </a:rPr>
              <a:t>陈</a:t>
            </a:r>
            <a:r>
              <a:rPr lang="en-US" altLang="zh-CN" spc="5" dirty="0" smtClean="0">
                <a:solidFill>
                  <a:srgbClr val="6E6F73"/>
                </a:solidFill>
                <a:sym typeface="微软雅黑" panose="020B0503020204020204" charset="-122"/>
              </a:rPr>
              <a:t>XX</a:t>
            </a:r>
            <a:r>
              <a:rPr lang="en-US" altLang="zh-CN" spc="5" dirty="0">
                <a:solidFill>
                  <a:srgbClr val="6E6F73"/>
                </a:solidFill>
                <a:sym typeface="微软雅黑" panose="020B0503020204020204" charset="-122"/>
              </a:rPr>
              <a:t>, </a:t>
            </a:r>
            <a:r>
              <a:rPr lang="zh-CN" altLang="en-US" spc="5" dirty="0" smtClean="0">
                <a:solidFill>
                  <a:srgbClr val="6E6F73"/>
                </a:solidFill>
                <a:sym typeface="微软雅黑" panose="020B0503020204020204" charset="-122"/>
              </a:rPr>
              <a:t>总经理助理</a:t>
            </a:r>
            <a:endParaRPr lang="zh-CN" altLang="en-US" dirty="0">
              <a:solidFill>
                <a:srgbClr val="6E6F73"/>
              </a:solidFill>
            </a:endParaRPr>
          </a:p>
        </p:txBody>
      </p:sp>
      <p:sp>
        <p:nvSpPr>
          <p:cNvPr id="7" name="任意多边形 49"/>
          <p:cNvSpPr/>
          <p:nvPr/>
        </p:nvSpPr>
        <p:spPr>
          <a:xfrm>
            <a:off x="525320" y="2833925"/>
            <a:ext cx="5210623" cy="1394406"/>
          </a:xfrm>
          <a:prstGeom prst="roundRect">
            <a:avLst>
              <a:gd name="adj" fmla="val 6196"/>
            </a:avLst>
          </a:prstGeom>
          <a:solidFill>
            <a:srgbClr val="FFFFFF"/>
          </a:solidFill>
          <a:ln w="28575" cap="flat" cmpd="sng" algn="ctr">
            <a:solidFill>
              <a:srgbClr val="FE5817"/>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lvl="0" algn="l" defTabSz="266700" eaLnBrk="1" hangingPunct="1">
              <a:lnSpc>
                <a:spcPts val="2300"/>
              </a:lnSpc>
              <a:spcAft>
                <a:spcPts val="0"/>
              </a:spcAft>
            </a:pPr>
            <a:r>
              <a:rPr lang="en-US" altLang="zh-CN" kern="1200" spc="5" smtClean="0">
                <a:solidFill>
                  <a:srgbClr val="6E6F73"/>
                </a:solidFill>
                <a:cs typeface="Microsoft JhengHei UI" panose="020B0604030504040204" charset="-120"/>
                <a:sym typeface="微软雅黑" panose="020B0503020204020204" charset="-122"/>
              </a:rPr>
              <a:t>XXXX</a:t>
            </a:r>
            <a:endParaRPr lang="en-US" altLang="zh-CN" kern="1200" spc="5" dirty="0" smtClean="0">
              <a:solidFill>
                <a:srgbClr val="6E6F73"/>
              </a:solidFill>
              <a:cs typeface="Microsoft JhengHei UI" panose="020B0604030504040204" charset="-120"/>
              <a:sym typeface="微软雅黑" panose="020B0503020204020204" charset="-122"/>
            </a:endParaRPr>
          </a:p>
          <a:p>
            <a:pPr lvl="0" algn="r" defTabSz="266700">
              <a:lnSpc>
                <a:spcPts val="2300"/>
              </a:lnSpc>
            </a:pPr>
            <a:r>
              <a:rPr lang="en-US" altLang="zh-CN" spc="5" dirty="0" smtClean="0">
                <a:solidFill>
                  <a:srgbClr val="6E6F73"/>
                </a:solidFill>
                <a:sym typeface="微软雅黑" panose="020B0503020204020204" charset="-122"/>
              </a:rPr>
              <a:t>——</a:t>
            </a:r>
            <a:r>
              <a:rPr lang="zh-CN" altLang="en-US" spc="5" dirty="0" smtClean="0">
                <a:solidFill>
                  <a:srgbClr val="6E6F73"/>
                </a:solidFill>
                <a:sym typeface="微软雅黑" panose="020B0503020204020204" charset="-122"/>
              </a:rPr>
              <a:t>王</a:t>
            </a:r>
            <a:r>
              <a:rPr lang="en-US" altLang="zh-CN" spc="5" dirty="0" smtClean="0">
                <a:solidFill>
                  <a:srgbClr val="6E6F73"/>
                </a:solidFill>
                <a:sym typeface="微软雅黑" panose="020B0503020204020204" charset="-122"/>
              </a:rPr>
              <a:t>XX, </a:t>
            </a:r>
            <a:r>
              <a:rPr lang="zh-CN" altLang="en-US" spc="5" dirty="0" smtClean="0">
                <a:solidFill>
                  <a:srgbClr val="6E6F73"/>
                </a:solidFill>
                <a:sym typeface="微软雅黑" panose="020B0503020204020204" charset="-122"/>
              </a:rPr>
              <a:t>部门主管</a:t>
            </a:r>
            <a:endParaRPr lang="zh-CN" altLang="en-US" kern="1200" dirty="0">
              <a:solidFill>
                <a:srgbClr val="6E6F73"/>
              </a:solidFill>
            </a:endParaRPr>
          </a:p>
        </p:txBody>
      </p:sp>
      <p:sp>
        <p:nvSpPr>
          <p:cNvPr id="8" name="任意多边形 49"/>
          <p:cNvSpPr/>
          <p:nvPr/>
        </p:nvSpPr>
        <p:spPr>
          <a:xfrm>
            <a:off x="6491038" y="2833925"/>
            <a:ext cx="5272047" cy="1394406"/>
          </a:xfrm>
          <a:prstGeom prst="roundRect">
            <a:avLst>
              <a:gd name="adj" fmla="val 6196"/>
            </a:avLst>
          </a:prstGeom>
          <a:solidFill>
            <a:srgbClr val="FFFFFF"/>
          </a:solidFill>
          <a:ln w="28575" cap="flat" cmpd="sng" algn="ctr">
            <a:solidFill>
              <a:srgbClr val="FE5817"/>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defTabSz="266700">
              <a:lnSpc>
                <a:spcPts val="2300"/>
              </a:lnSpc>
            </a:pPr>
            <a:r>
              <a:rPr lang="en-US" altLang="zh-CN" spc="5" smtClean="0">
                <a:solidFill>
                  <a:srgbClr val="6E6F73"/>
                </a:solidFill>
                <a:cs typeface="Microsoft JhengHei UI" panose="020B0604030504040204" charset="-120"/>
                <a:sym typeface="微软雅黑" panose="020B0503020204020204" charset="-122"/>
              </a:rPr>
              <a:t>XXXXX</a:t>
            </a:r>
            <a:endParaRPr lang="en-US" altLang="zh-CN" spc="5" dirty="0">
              <a:solidFill>
                <a:srgbClr val="6E6F73"/>
              </a:solidFill>
              <a:cs typeface="Microsoft JhengHei UI" panose="020B0604030504040204" charset="-120"/>
              <a:sym typeface="微软雅黑" panose="020B0503020204020204" charset="-122"/>
            </a:endParaRPr>
          </a:p>
          <a:p>
            <a:pPr algn="r" defTabSz="266700">
              <a:lnSpc>
                <a:spcPts val="2300"/>
              </a:lnSpc>
            </a:pPr>
            <a:r>
              <a:rPr lang="en-US" altLang="zh-CN" spc="5" dirty="0" smtClean="0">
                <a:solidFill>
                  <a:srgbClr val="6E6F73"/>
                </a:solidFill>
                <a:sym typeface="微软雅黑" panose="020B0503020204020204" charset="-122"/>
              </a:rPr>
              <a:t>——</a:t>
            </a:r>
            <a:r>
              <a:rPr lang="zh-CN" altLang="en-US" spc="5" dirty="0" smtClean="0">
                <a:solidFill>
                  <a:srgbClr val="6E6F73"/>
                </a:solidFill>
                <a:sym typeface="微软雅黑" panose="020B0503020204020204" charset="-122"/>
              </a:rPr>
              <a:t>郑</a:t>
            </a:r>
            <a:r>
              <a:rPr lang="en-US" altLang="zh-CN" spc="5" dirty="0" smtClean="0">
                <a:solidFill>
                  <a:srgbClr val="6E6F73"/>
                </a:solidFill>
                <a:sym typeface="微软雅黑" panose="020B0503020204020204" charset="-122"/>
              </a:rPr>
              <a:t>XX</a:t>
            </a:r>
            <a:r>
              <a:rPr lang="en-US" altLang="zh-CN" spc="5" dirty="0">
                <a:solidFill>
                  <a:srgbClr val="6E6F73"/>
                </a:solidFill>
                <a:sym typeface="微软雅黑" panose="020B0503020204020204" charset="-122"/>
              </a:rPr>
              <a:t>, </a:t>
            </a:r>
            <a:r>
              <a:rPr lang="zh-CN" altLang="en-US" spc="5" dirty="0" smtClean="0">
                <a:solidFill>
                  <a:srgbClr val="6E6F73"/>
                </a:solidFill>
                <a:sym typeface="微软雅黑" panose="020B0503020204020204" charset="-122"/>
              </a:rPr>
              <a:t>部门经</a:t>
            </a:r>
            <a:r>
              <a:rPr lang="zh-CN" altLang="en-US" spc="5" dirty="0">
                <a:solidFill>
                  <a:srgbClr val="6E6F73"/>
                </a:solidFill>
                <a:sym typeface="微软雅黑" panose="020B0503020204020204" charset="-122"/>
              </a:rPr>
              <a:t>理</a:t>
            </a:r>
            <a:r>
              <a:rPr lang="en-US" altLang="zh-CN" spc="5" dirty="0">
                <a:solidFill>
                  <a:srgbClr val="6E6F73"/>
                </a:solidFill>
                <a:sym typeface="微软雅黑" panose="020B0503020204020204" charset="-122"/>
              </a:rPr>
              <a:t> </a:t>
            </a:r>
            <a:endParaRPr lang="zh-CN" altLang="en-US" dirty="0">
              <a:solidFill>
                <a:srgbClr val="6E6F73"/>
              </a:solidFill>
            </a:endParaRPr>
          </a:p>
        </p:txBody>
      </p:sp>
      <p:sp>
        <p:nvSpPr>
          <p:cNvPr id="9" name="任意多边形 52"/>
          <p:cNvSpPr/>
          <p:nvPr/>
        </p:nvSpPr>
        <p:spPr>
          <a:xfrm>
            <a:off x="525320" y="4539039"/>
            <a:ext cx="5210623" cy="1394406"/>
          </a:xfrm>
          <a:prstGeom prst="roundRect">
            <a:avLst>
              <a:gd name="adj" fmla="val 6196"/>
            </a:avLst>
          </a:prstGeom>
          <a:solidFill>
            <a:srgbClr val="FFFFFF"/>
          </a:solidFill>
          <a:ln w="28575" cap="flat" cmpd="sng" algn="ctr">
            <a:solidFill>
              <a:srgbClr val="FE5817"/>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defTabSz="266700" eaLnBrk="1" hangingPunct="1">
              <a:lnSpc>
                <a:spcPts val="2300"/>
              </a:lnSpc>
              <a:spcAft>
                <a:spcPts val="0"/>
              </a:spcAft>
            </a:pPr>
            <a:r>
              <a:rPr lang="en-US" altLang="zh-CN" spc="5" smtClean="0">
                <a:solidFill>
                  <a:srgbClr val="6E6F73"/>
                </a:solidFill>
                <a:cs typeface="Microsoft JhengHei UI" panose="020B0604030504040204" charset="-120"/>
                <a:sym typeface="微软雅黑" panose="020B0503020204020204" charset="-122"/>
              </a:rPr>
              <a:t>XXXX</a:t>
            </a:r>
            <a:endParaRPr lang="en-US" altLang="zh-CN" kern="1200" spc="5" dirty="0" smtClean="0">
              <a:solidFill>
                <a:srgbClr val="6E6F73"/>
              </a:solidFill>
              <a:cs typeface="Microsoft JhengHei UI" panose="020B0604030504040204" charset="-120"/>
              <a:sym typeface="微软雅黑" panose="020B0503020204020204" charset="-122"/>
            </a:endParaRPr>
          </a:p>
          <a:p>
            <a:pPr lvl="0" algn="r" defTabSz="266700">
              <a:lnSpc>
                <a:spcPts val="2300"/>
              </a:lnSpc>
            </a:pPr>
            <a:r>
              <a:rPr lang="en-US" altLang="zh-CN" spc="5" dirty="0" smtClean="0">
                <a:solidFill>
                  <a:srgbClr val="6E6F73"/>
                </a:solidFill>
                <a:sym typeface="微软雅黑" panose="020B0503020204020204" charset="-122"/>
              </a:rPr>
              <a:t>——</a:t>
            </a:r>
            <a:r>
              <a:rPr lang="zh-CN" altLang="en-US" spc="5" dirty="0" smtClean="0">
                <a:solidFill>
                  <a:srgbClr val="6E6F73"/>
                </a:solidFill>
                <a:sym typeface="微软雅黑" panose="020B0503020204020204" charset="-122"/>
              </a:rPr>
              <a:t>赵</a:t>
            </a:r>
            <a:r>
              <a:rPr lang="en-US" altLang="zh-CN" spc="5" dirty="0" smtClean="0">
                <a:solidFill>
                  <a:srgbClr val="6E6F73"/>
                </a:solidFill>
                <a:sym typeface="微软雅黑" panose="020B0503020204020204" charset="-122"/>
              </a:rPr>
              <a:t>XX</a:t>
            </a:r>
            <a:r>
              <a:rPr lang="en-US" altLang="zh-CN" spc="5" dirty="0">
                <a:solidFill>
                  <a:srgbClr val="6E6F73"/>
                </a:solidFill>
                <a:sym typeface="微软雅黑" panose="020B0503020204020204" charset="-122"/>
              </a:rPr>
              <a:t>, </a:t>
            </a:r>
            <a:r>
              <a:rPr lang="zh-CN" altLang="en-US" spc="5" dirty="0" smtClean="0">
                <a:solidFill>
                  <a:srgbClr val="6E6F73"/>
                </a:solidFill>
                <a:sym typeface="微软雅黑" panose="020B0503020204020204" charset="-122"/>
              </a:rPr>
              <a:t>首席分析师</a:t>
            </a:r>
            <a:endParaRPr lang="zh-CN" altLang="en-US" dirty="0">
              <a:solidFill>
                <a:srgbClr val="6E6F73"/>
              </a:solidFill>
            </a:endParaRPr>
          </a:p>
        </p:txBody>
      </p:sp>
      <p:sp>
        <p:nvSpPr>
          <p:cNvPr id="10" name="任意多边形 52"/>
          <p:cNvSpPr/>
          <p:nvPr/>
        </p:nvSpPr>
        <p:spPr>
          <a:xfrm>
            <a:off x="6491038" y="4539039"/>
            <a:ext cx="5272047" cy="1394406"/>
          </a:xfrm>
          <a:prstGeom prst="roundRect">
            <a:avLst>
              <a:gd name="adj" fmla="val 6196"/>
            </a:avLst>
          </a:prstGeom>
          <a:solidFill>
            <a:srgbClr val="FFFFFF"/>
          </a:solidFill>
          <a:ln w="28575" cap="flat" cmpd="sng" algn="ctr">
            <a:solidFill>
              <a:srgbClr val="FE5817"/>
            </a:solidFill>
            <a:prstDash val="solid"/>
            <a:round/>
            <a:headEnd type="none" w="med" len="med"/>
            <a:tailEnd type="none" w="med" len="med"/>
          </a:ln>
          <a:effectLst/>
        </p:spPr>
        <p:style>
          <a:lnRef idx="2">
            <a:schemeClr val="accent4"/>
          </a:lnRef>
          <a:fillRef idx="1">
            <a:schemeClr val="lt1"/>
          </a:fillRef>
          <a:effectRef idx="0">
            <a:schemeClr val="accent4"/>
          </a:effectRef>
          <a:fontRef idx="minor">
            <a:schemeClr val="dk1"/>
          </a:fontRef>
        </p:style>
        <p:txBody>
          <a:bodyPr spcFirstLastPara="0" vert="horz" wrap="square" lIns="91440" tIns="0" rIns="91440" bIns="0" numCol="1" spcCol="1270" anchor="ctr" anchorCtr="0">
            <a:noAutofit/>
          </a:bodyPr>
          <a:lstStyle/>
          <a:p>
            <a:pPr defTabSz="266700">
              <a:lnSpc>
                <a:spcPts val="2300"/>
              </a:lnSpc>
            </a:pPr>
            <a:r>
              <a:rPr lang="en-US" altLang="zh-CN" spc="5" smtClean="0">
                <a:solidFill>
                  <a:srgbClr val="6E6F73"/>
                </a:solidFill>
                <a:cs typeface="Microsoft JhengHei UI" panose="020B0604030504040204" charset="-120"/>
                <a:sym typeface="微软雅黑" panose="020B0503020204020204" charset="-122"/>
              </a:rPr>
              <a:t>XXXX</a:t>
            </a:r>
            <a:r>
              <a:rPr lang="zh-CN" altLang="en-US" spc="5" smtClean="0">
                <a:solidFill>
                  <a:srgbClr val="6E6F73"/>
                </a:solidFill>
                <a:cs typeface="Microsoft JhengHei UI" panose="020B0604030504040204" charset="-120"/>
                <a:sym typeface="微软雅黑" panose="020B0503020204020204" charset="-122"/>
              </a:rPr>
              <a:t>；</a:t>
            </a:r>
            <a:endParaRPr lang="en-US" altLang="zh-CN" spc="5" dirty="0">
              <a:solidFill>
                <a:srgbClr val="6E6F73"/>
              </a:solidFill>
              <a:cs typeface="Microsoft JhengHei UI" panose="020B0604030504040204" charset="-120"/>
              <a:sym typeface="微软雅黑" panose="020B0503020204020204" charset="-122"/>
            </a:endParaRPr>
          </a:p>
          <a:p>
            <a:pPr algn="r" defTabSz="266700">
              <a:lnSpc>
                <a:spcPts val="2300"/>
              </a:lnSpc>
            </a:pPr>
            <a:r>
              <a:rPr lang="en-US" altLang="zh-CN" spc="5" dirty="0" smtClean="0">
                <a:solidFill>
                  <a:srgbClr val="6E6F73"/>
                </a:solidFill>
                <a:sym typeface="微软雅黑" panose="020B0503020204020204" charset="-122"/>
              </a:rPr>
              <a:t>——</a:t>
            </a:r>
            <a:r>
              <a:rPr lang="zh-CN" altLang="en-US" spc="5" dirty="0" smtClean="0">
                <a:solidFill>
                  <a:srgbClr val="6E6F73"/>
                </a:solidFill>
                <a:sym typeface="微软雅黑" panose="020B0503020204020204" charset="-122"/>
              </a:rPr>
              <a:t>孙</a:t>
            </a:r>
            <a:r>
              <a:rPr lang="en-US" altLang="zh-CN" spc="5" dirty="0" smtClean="0">
                <a:solidFill>
                  <a:srgbClr val="6E6F73"/>
                </a:solidFill>
                <a:sym typeface="微软雅黑" panose="020B0503020204020204" charset="-122"/>
              </a:rPr>
              <a:t>XX</a:t>
            </a:r>
            <a:r>
              <a:rPr lang="en-US" altLang="zh-CN" spc="5" dirty="0">
                <a:solidFill>
                  <a:srgbClr val="6E6F73"/>
                </a:solidFill>
                <a:sym typeface="微软雅黑" panose="020B0503020204020204" charset="-122"/>
              </a:rPr>
              <a:t>, </a:t>
            </a:r>
            <a:r>
              <a:rPr lang="zh-CN" altLang="en-US" spc="5" dirty="0">
                <a:solidFill>
                  <a:srgbClr val="6E6F73"/>
                </a:solidFill>
                <a:sym typeface="微软雅黑" panose="020B0503020204020204" charset="-122"/>
              </a:rPr>
              <a:t>研发</a:t>
            </a:r>
            <a:r>
              <a:rPr lang="zh-CN" altLang="en-US" spc="5" dirty="0" smtClean="0">
                <a:solidFill>
                  <a:srgbClr val="6E6F73"/>
                </a:solidFill>
                <a:sym typeface="微软雅黑" panose="020B0503020204020204" charset="-122"/>
              </a:rPr>
              <a:t>部经</a:t>
            </a:r>
            <a:r>
              <a:rPr lang="zh-CN" altLang="en-US" spc="5" dirty="0">
                <a:solidFill>
                  <a:srgbClr val="6E6F73"/>
                </a:solidFill>
                <a:sym typeface="微软雅黑" panose="020B0503020204020204" charset="-122"/>
              </a:rPr>
              <a:t>理</a:t>
            </a:r>
            <a:r>
              <a:rPr lang="en-US" altLang="zh-CN" spc="5" dirty="0">
                <a:solidFill>
                  <a:srgbClr val="6E6F73"/>
                </a:solidFill>
                <a:sym typeface="微软雅黑" panose="020B0503020204020204" charset="-122"/>
              </a:rPr>
              <a:t> </a:t>
            </a:r>
            <a:endParaRPr lang="zh-CN" altLang="en-US" dirty="0">
              <a:solidFill>
                <a:srgbClr val="6E6F73"/>
              </a:solidFill>
            </a:endParaRPr>
          </a:p>
        </p:txBody>
      </p:sp>
      <p:sp>
        <p:nvSpPr>
          <p:cNvPr id="12" name="矩形 11"/>
          <p:cNvSpPr/>
          <p:nvPr/>
        </p:nvSpPr>
        <p:spPr>
          <a:xfrm>
            <a:off x="341821" y="918582"/>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13" name="íśḻîde"/>
          <p:cNvSpPr/>
          <p:nvPr/>
        </p:nvSpPr>
        <p:spPr bwMode="auto">
          <a:xfrm>
            <a:off x="415882" y="984708"/>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p:spPr>
        <p:txBody>
          <a:bodyPr anchor="ctr"/>
          <a:lstStyle/>
          <a:p>
            <a:pPr algn="ctr"/>
          </a:p>
        </p:txBody>
      </p:sp>
      <p:sp>
        <p:nvSpPr>
          <p:cNvPr id="15" name="矩形 14"/>
          <p:cNvSpPr/>
          <p:nvPr/>
        </p:nvSpPr>
        <p:spPr>
          <a:xfrm flipH="1" flipV="1">
            <a:off x="5435197" y="2228307"/>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16" name="íśḻîde"/>
          <p:cNvSpPr/>
          <p:nvPr/>
        </p:nvSpPr>
        <p:spPr bwMode="auto">
          <a:xfrm flipH="1" flipV="1">
            <a:off x="5509260" y="2294433"/>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p:spPr>
        <p:txBody>
          <a:bodyPr anchor="ctr"/>
          <a:lstStyle/>
          <a:p>
            <a:pPr algn="ctr"/>
          </a:p>
        </p:txBody>
      </p:sp>
      <p:sp>
        <p:nvSpPr>
          <p:cNvPr id="18" name="矩形 17"/>
          <p:cNvSpPr/>
          <p:nvPr/>
        </p:nvSpPr>
        <p:spPr>
          <a:xfrm>
            <a:off x="341821" y="2648713"/>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19" name="íśḻîde"/>
          <p:cNvSpPr/>
          <p:nvPr/>
        </p:nvSpPr>
        <p:spPr bwMode="auto">
          <a:xfrm>
            <a:off x="415882" y="2714839"/>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矩形 20"/>
          <p:cNvSpPr/>
          <p:nvPr/>
        </p:nvSpPr>
        <p:spPr>
          <a:xfrm flipH="1" flipV="1">
            <a:off x="5435197" y="3958438"/>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22" name="íśḻîde"/>
          <p:cNvSpPr/>
          <p:nvPr/>
        </p:nvSpPr>
        <p:spPr bwMode="auto">
          <a:xfrm flipH="1" flipV="1">
            <a:off x="5509260" y="4024564"/>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p:spPr>
        <p:txBody>
          <a:bodyPr anchor="ctr"/>
          <a:lstStyle/>
          <a:p>
            <a:pPr algn="ctr"/>
          </a:p>
        </p:txBody>
      </p:sp>
      <p:sp>
        <p:nvSpPr>
          <p:cNvPr id="24" name="矩形 23"/>
          <p:cNvSpPr/>
          <p:nvPr/>
        </p:nvSpPr>
        <p:spPr>
          <a:xfrm>
            <a:off x="341821" y="4362674"/>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25" name="íśḻîde"/>
          <p:cNvSpPr/>
          <p:nvPr/>
        </p:nvSpPr>
        <p:spPr bwMode="auto">
          <a:xfrm>
            <a:off x="415882" y="4428800"/>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p:spPr>
        <p:txBody>
          <a:bodyPr anchor="ctr"/>
          <a:lstStyle/>
          <a:p>
            <a:pPr algn="ctr"/>
          </a:p>
        </p:txBody>
      </p:sp>
      <p:sp>
        <p:nvSpPr>
          <p:cNvPr id="27" name="矩形 26"/>
          <p:cNvSpPr/>
          <p:nvPr/>
        </p:nvSpPr>
        <p:spPr>
          <a:xfrm flipH="1" flipV="1">
            <a:off x="5435197" y="5656230"/>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28" name="íśḻîde"/>
          <p:cNvSpPr/>
          <p:nvPr/>
        </p:nvSpPr>
        <p:spPr bwMode="auto">
          <a:xfrm flipH="1" flipV="1">
            <a:off x="5509260" y="5722356"/>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p:spPr>
        <p:txBody>
          <a:bodyPr anchor="ctr"/>
          <a:lstStyle/>
          <a:p>
            <a:pPr algn="ctr"/>
          </a:p>
        </p:txBody>
      </p:sp>
      <p:sp>
        <p:nvSpPr>
          <p:cNvPr id="30" name="矩形 29"/>
          <p:cNvSpPr/>
          <p:nvPr/>
        </p:nvSpPr>
        <p:spPr>
          <a:xfrm>
            <a:off x="6356855" y="918582"/>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31" name="íśḻîde"/>
          <p:cNvSpPr/>
          <p:nvPr/>
        </p:nvSpPr>
        <p:spPr bwMode="auto">
          <a:xfrm>
            <a:off x="6430916" y="984708"/>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3" name="矩形 32"/>
          <p:cNvSpPr/>
          <p:nvPr/>
        </p:nvSpPr>
        <p:spPr>
          <a:xfrm flipH="1" flipV="1">
            <a:off x="11450231" y="2228307"/>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34" name="íśḻîde"/>
          <p:cNvSpPr/>
          <p:nvPr/>
        </p:nvSpPr>
        <p:spPr bwMode="auto">
          <a:xfrm flipH="1" flipV="1">
            <a:off x="11524294" y="2294433"/>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p:spPr>
        <p:txBody>
          <a:bodyPr anchor="ctr"/>
          <a:lstStyle/>
          <a:p>
            <a:pPr algn="ctr"/>
          </a:p>
        </p:txBody>
      </p:sp>
      <p:sp>
        <p:nvSpPr>
          <p:cNvPr id="36" name="矩形 35"/>
          <p:cNvSpPr/>
          <p:nvPr/>
        </p:nvSpPr>
        <p:spPr>
          <a:xfrm>
            <a:off x="6356855" y="2648713"/>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37" name="íśḻîde"/>
          <p:cNvSpPr/>
          <p:nvPr/>
        </p:nvSpPr>
        <p:spPr bwMode="auto">
          <a:xfrm>
            <a:off x="6430916" y="2714839"/>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p:spPr>
        <p:txBody>
          <a:bodyPr anchor="ctr"/>
          <a:lstStyle/>
          <a:p>
            <a:pPr algn="ctr"/>
          </a:p>
        </p:txBody>
      </p:sp>
      <p:sp>
        <p:nvSpPr>
          <p:cNvPr id="39" name="矩形 38"/>
          <p:cNvSpPr/>
          <p:nvPr/>
        </p:nvSpPr>
        <p:spPr>
          <a:xfrm flipH="1" flipV="1">
            <a:off x="11450231" y="3958438"/>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40" name="íśḻîde"/>
          <p:cNvSpPr/>
          <p:nvPr/>
        </p:nvSpPr>
        <p:spPr bwMode="auto">
          <a:xfrm flipH="1" flipV="1">
            <a:off x="11524294" y="4024564"/>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p:spPr>
        <p:txBody>
          <a:bodyPr anchor="ctr"/>
          <a:lstStyle/>
          <a:p>
            <a:pPr algn="ctr"/>
          </a:p>
        </p:txBody>
      </p:sp>
      <p:sp>
        <p:nvSpPr>
          <p:cNvPr id="42" name="矩形 41"/>
          <p:cNvSpPr/>
          <p:nvPr/>
        </p:nvSpPr>
        <p:spPr>
          <a:xfrm>
            <a:off x="6356855" y="4362674"/>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43" name="íśḻîde"/>
          <p:cNvSpPr/>
          <p:nvPr/>
        </p:nvSpPr>
        <p:spPr bwMode="auto">
          <a:xfrm>
            <a:off x="6430916" y="4428800"/>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p:spPr>
        <p:txBody>
          <a:bodyPr anchor="ctr"/>
          <a:lstStyle/>
          <a:p>
            <a:pPr algn="ctr"/>
          </a:p>
        </p:txBody>
      </p:sp>
      <p:sp>
        <p:nvSpPr>
          <p:cNvPr id="45" name="矩形 44"/>
          <p:cNvSpPr/>
          <p:nvPr/>
        </p:nvSpPr>
        <p:spPr>
          <a:xfrm flipH="1" flipV="1">
            <a:off x="11450231" y="5656230"/>
            <a:ext cx="475891" cy="42490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46" name="íśḻîde"/>
          <p:cNvSpPr/>
          <p:nvPr/>
        </p:nvSpPr>
        <p:spPr bwMode="auto">
          <a:xfrm flipH="1" flipV="1">
            <a:off x="11524294" y="5722356"/>
            <a:ext cx="327767" cy="292649"/>
          </a:xfrm>
          <a:custGeom>
            <a:avLst/>
            <a:gdLst>
              <a:gd name="T0" fmla="*/ 115 w 158"/>
              <a:gd name="T1" fmla="*/ 72 h 141"/>
              <a:gd name="T2" fmla="*/ 124 w 158"/>
              <a:gd name="T3" fmla="*/ 80 h 141"/>
              <a:gd name="T4" fmla="*/ 134 w 158"/>
              <a:gd name="T5" fmla="*/ 80 h 141"/>
              <a:gd name="T6" fmla="*/ 151 w 158"/>
              <a:gd name="T7" fmla="*/ 89 h 141"/>
              <a:gd name="T8" fmla="*/ 158 w 158"/>
              <a:gd name="T9" fmla="*/ 109 h 141"/>
              <a:gd name="T10" fmla="*/ 149 w 158"/>
              <a:gd name="T11" fmla="*/ 132 h 141"/>
              <a:gd name="T12" fmla="*/ 125 w 158"/>
              <a:gd name="T13" fmla="*/ 141 h 141"/>
              <a:gd name="T14" fmla="*/ 98 w 158"/>
              <a:gd name="T15" fmla="*/ 128 h 141"/>
              <a:gd name="T16" fmla="*/ 87 w 158"/>
              <a:gd name="T17" fmla="*/ 94 h 141"/>
              <a:gd name="T18" fmla="*/ 117 w 158"/>
              <a:gd name="T19" fmla="*/ 15 h 141"/>
              <a:gd name="T20" fmla="*/ 136 w 158"/>
              <a:gd name="T21" fmla="*/ 0 h 141"/>
              <a:gd name="T22" fmla="*/ 145 w 158"/>
              <a:gd name="T23" fmla="*/ 10 h 141"/>
              <a:gd name="T24" fmla="*/ 140 w 158"/>
              <a:gd name="T25" fmla="*/ 21 h 141"/>
              <a:gd name="T26" fmla="*/ 123 w 158"/>
              <a:gd name="T27" fmla="*/ 48 h 141"/>
              <a:gd name="T28" fmla="*/ 115 w 158"/>
              <a:gd name="T29" fmla="*/ 72 h 141"/>
              <a:gd name="T30" fmla="*/ 28 w 158"/>
              <a:gd name="T31" fmla="*/ 72 h 141"/>
              <a:gd name="T32" fmla="*/ 37 w 158"/>
              <a:gd name="T33" fmla="*/ 80 h 141"/>
              <a:gd name="T34" fmla="*/ 47 w 158"/>
              <a:gd name="T35" fmla="*/ 80 h 141"/>
              <a:gd name="T36" fmla="*/ 64 w 158"/>
              <a:gd name="T37" fmla="*/ 89 h 141"/>
              <a:gd name="T38" fmla="*/ 72 w 158"/>
              <a:gd name="T39" fmla="*/ 109 h 141"/>
              <a:gd name="T40" fmla="*/ 62 w 158"/>
              <a:gd name="T41" fmla="*/ 132 h 141"/>
              <a:gd name="T42" fmla="*/ 38 w 158"/>
              <a:gd name="T43" fmla="*/ 141 h 141"/>
              <a:gd name="T44" fmla="*/ 10 w 158"/>
              <a:gd name="T45" fmla="*/ 128 h 141"/>
              <a:gd name="T46" fmla="*/ 0 w 158"/>
              <a:gd name="T47" fmla="*/ 94 h 141"/>
              <a:gd name="T48" fmla="*/ 30 w 158"/>
              <a:gd name="T49" fmla="*/ 15 h 141"/>
              <a:gd name="T50" fmla="*/ 49 w 158"/>
              <a:gd name="T51" fmla="*/ 0 h 141"/>
              <a:gd name="T52" fmla="*/ 58 w 158"/>
              <a:gd name="T53" fmla="*/ 10 h 141"/>
              <a:gd name="T54" fmla="*/ 53 w 158"/>
              <a:gd name="T55" fmla="*/ 21 h 141"/>
              <a:gd name="T56" fmla="*/ 36 w 158"/>
              <a:gd name="T57" fmla="*/ 48 h 141"/>
              <a:gd name="T58" fmla="*/ 28 w 158"/>
              <a:gd name="T59" fmla="*/ 7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8" h="141">
                <a:moveTo>
                  <a:pt x="115" y="72"/>
                </a:moveTo>
                <a:cubicBezTo>
                  <a:pt x="115" y="77"/>
                  <a:pt x="118" y="80"/>
                  <a:pt x="124" y="80"/>
                </a:cubicBezTo>
                <a:cubicBezTo>
                  <a:pt x="134" y="80"/>
                  <a:pt x="134" y="80"/>
                  <a:pt x="134" y="80"/>
                </a:cubicBezTo>
                <a:cubicBezTo>
                  <a:pt x="140" y="80"/>
                  <a:pt x="146" y="83"/>
                  <a:pt x="151" y="89"/>
                </a:cubicBezTo>
                <a:cubicBezTo>
                  <a:pt x="156" y="95"/>
                  <a:pt x="158" y="101"/>
                  <a:pt x="158" y="109"/>
                </a:cubicBezTo>
                <a:cubicBezTo>
                  <a:pt x="158" y="118"/>
                  <a:pt x="155" y="126"/>
                  <a:pt x="149" y="132"/>
                </a:cubicBezTo>
                <a:cubicBezTo>
                  <a:pt x="142" y="138"/>
                  <a:pt x="134" y="141"/>
                  <a:pt x="125" y="141"/>
                </a:cubicBezTo>
                <a:cubicBezTo>
                  <a:pt x="114" y="141"/>
                  <a:pt x="105" y="137"/>
                  <a:pt x="98" y="128"/>
                </a:cubicBezTo>
                <a:cubicBezTo>
                  <a:pt x="90" y="119"/>
                  <a:pt x="87" y="108"/>
                  <a:pt x="87" y="94"/>
                </a:cubicBezTo>
                <a:cubicBezTo>
                  <a:pt x="87" y="68"/>
                  <a:pt x="97" y="42"/>
                  <a:pt x="117" y="15"/>
                </a:cubicBezTo>
                <a:cubicBezTo>
                  <a:pt x="124" y="5"/>
                  <a:pt x="130" y="0"/>
                  <a:pt x="136" y="0"/>
                </a:cubicBezTo>
                <a:cubicBezTo>
                  <a:pt x="142" y="0"/>
                  <a:pt x="145" y="4"/>
                  <a:pt x="145" y="10"/>
                </a:cubicBezTo>
                <a:cubicBezTo>
                  <a:pt x="145" y="13"/>
                  <a:pt x="144" y="16"/>
                  <a:pt x="140" y="21"/>
                </a:cubicBezTo>
                <a:cubicBezTo>
                  <a:pt x="134" y="29"/>
                  <a:pt x="128" y="38"/>
                  <a:pt x="123" y="48"/>
                </a:cubicBezTo>
                <a:cubicBezTo>
                  <a:pt x="118" y="59"/>
                  <a:pt x="115" y="67"/>
                  <a:pt x="115" y="72"/>
                </a:cubicBezTo>
                <a:close/>
                <a:moveTo>
                  <a:pt x="28" y="72"/>
                </a:moveTo>
                <a:cubicBezTo>
                  <a:pt x="28" y="77"/>
                  <a:pt x="31" y="80"/>
                  <a:pt x="37" y="80"/>
                </a:cubicBezTo>
                <a:cubicBezTo>
                  <a:pt x="47" y="80"/>
                  <a:pt x="47" y="80"/>
                  <a:pt x="47" y="80"/>
                </a:cubicBezTo>
                <a:cubicBezTo>
                  <a:pt x="53" y="80"/>
                  <a:pt x="59" y="83"/>
                  <a:pt x="64" y="89"/>
                </a:cubicBezTo>
                <a:cubicBezTo>
                  <a:pt x="69" y="95"/>
                  <a:pt x="72" y="101"/>
                  <a:pt x="72" y="109"/>
                </a:cubicBezTo>
                <a:cubicBezTo>
                  <a:pt x="72" y="118"/>
                  <a:pt x="68" y="126"/>
                  <a:pt x="62" y="132"/>
                </a:cubicBezTo>
                <a:cubicBezTo>
                  <a:pt x="56" y="138"/>
                  <a:pt x="48" y="141"/>
                  <a:pt x="38" y="141"/>
                </a:cubicBezTo>
                <a:cubicBezTo>
                  <a:pt x="27" y="141"/>
                  <a:pt x="18" y="137"/>
                  <a:pt x="10" y="128"/>
                </a:cubicBezTo>
                <a:cubicBezTo>
                  <a:pt x="3" y="119"/>
                  <a:pt x="0" y="108"/>
                  <a:pt x="0" y="94"/>
                </a:cubicBezTo>
                <a:cubicBezTo>
                  <a:pt x="0" y="68"/>
                  <a:pt x="10" y="42"/>
                  <a:pt x="30" y="15"/>
                </a:cubicBezTo>
                <a:cubicBezTo>
                  <a:pt x="37" y="5"/>
                  <a:pt x="44" y="0"/>
                  <a:pt x="49" y="0"/>
                </a:cubicBezTo>
                <a:cubicBezTo>
                  <a:pt x="55" y="0"/>
                  <a:pt x="58" y="4"/>
                  <a:pt x="58" y="10"/>
                </a:cubicBezTo>
                <a:cubicBezTo>
                  <a:pt x="58" y="13"/>
                  <a:pt x="56" y="16"/>
                  <a:pt x="53" y="21"/>
                </a:cubicBezTo>
                <a:cubicBezTo>
                  <a:pt x="47" y="29"/>
                  <a:pt x="41" y="38"/>
                  <a:pt x="36" y="48"/>
                </a:cubicBezTo>
                <a:cubicBezTo>
                  <a:pt x="31" y="59"/>
                  <a:pt x="28" y="67"/>
                  <a:pt x="28" y="72"/>
                </a:cubicBezTo>
                <a:close/>
              </a:path>
            </a:pathLst>
          </a:custGeom>
          <a:solidFill>
            <a:srgbClr val="FE5817"/>
          </a:solidFill>
          <a:ln>
            <a:noFill/>
          </a:ln>
        </p:spPr>
        <p:txBody>
          <a:bodyPr anchor="ctr"/>
          <a:lstStyle/>
          <a:p>
            <a:pPr algn="ctr"/>
          </a:p>
        </p:txBody>
      </p:sp>
      <p:sp>
        <p:nvSpPr>
          <p:cNvPr id="4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综合</a:t>
            </a:r>
            <a:endParaRPr lang="zh-CN" altLang="en-US" sz="2400" dirty="0">
              <a:latin typeface="+mj-ea"/>
            </a:endParaRPr>
          </a:p>
        </p:txBody>
      </p:sp>
      <p:pic>
        <p:nvPicPr>
          <p:cNvPr id="41" name="图片 4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对象 1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209" name="think-cell Slide" r:id="rId2" imgW="12700" imgH="12700" progId="TCLayout.ActiveDocument.1">
                  <p:embed/>
                </p:oleObj>
              </mc:Choice>
              <mc:Fallback>
                <p:oleObj name="think-cell Slide" r:id="rId2" imgW="12700" imgH="12700" progId="TCLayout.ActiveDocument.1">
                  <p:embed/>
                  <p:pic>
                    <p:nvPicPr>
                      <p:cNvPr id="0" name="对象 18"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33" name="竖排文字占位符 2"/>
          <p:cNvSpPr txBox="1"/>
          <p:nvPr/>
        </p:nvSpPr>
        <p:spPr>
          <a:xfrm>
            <a:off x="6716486" y="3906218"/>
            <a:ext cx="3831771" cy="1069675"/>
          </a:xfrm>
          <a:prstGeom prst="rect">
            <a:avLst/>
          </a:prstGeom>
          <a:solidFill>
            <a:schemeClr val="bg1">
              <a:lumMod val="95000"/>
            </a:schemeClr>
          </a:solidFill>
        </p:spPr>
        <p:txBody>
          <a:bodyPr vert="horz" wrap="square" lIns="144000" anchor="ctr">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rPr>
              <a:t>XXXX</a:t>
            </a:r>
            <a:endParaRPr kumimoji="0" lang="en-US" altLang="zh-CN"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endParaRPr>
          </a:p>
        </p:txBody>
      </p:sp>
      <p:sp>
        <p:nvSpPr>
          <p:cNvPr id="29" name="竖排文字占位符 2"/>
          <p:cNvSpPr txBox="1"/>
          <p:nvPr/>
        </p:nvSpPr>
        <p:spPr>
          <a:xfrm>
            <a:off x="6716486" y="2724196"/>
            <a:ext cx="3831771" cy="1069675"/>
          </a:xfrm>
          <a:prstGeom prst="rect">
            <a:avLst/>
          </a:prstGeom>
          <a:solidFill>
            <a:schemeClr val="bg1">
              <a:lumMod val="95000"/>
            </a:schemeClr>
          </a:solidFill>
        </p:spPr>
        <p:txBody>
          <a:bodyPr vert="horz" wrap="square" lIns="144000" anchor="ctr">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rPr>
              <a:t>XXXX</a:t>
            </a:r>
            <a:endParaRPr kumimoji="0" lang="en-US" altLang="zh-CN"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endParaRPr>
          </a:p>
        </p:txBody>
      </p:sp>
      <p:sp>
        <p:nvSpPr>
          <p:cNvPr id="34" name="竖排文字占位符 2"/>
          <p:cNvSpPr txBox="1"/>
          <p:nvPr/>
        </p:nvSpPr>
        <p:spPr>
          <a:xfrm>
            <a:off x="6716486" y="5088239"/>
            <a:ext cx="3831771" cy="1069675"/>
          </a:xfrm>
          <a:prstGeom prst="rect">
            <a:avLst/>
          </a:prstGeom>
          <a:solidFill>
            <a:schemeClr val="bg1">
              <a:lumMod val="95000"/>
            </a:schemeClr>
          </a:solidFill>
        </p:spPr>
        <p:txBody>
          <a:bodyPr vert="horz" wrap="square" lIns="144000" anchor="ctr">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rPr>
              <a:t>XXXX</a:t>
            </a:r>
            <a:endParaRPr kumimoji="0" lang="en-US" altLang="zh-CN"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endParaRPr>
          </a:p>
        </p:txBody>
      </p:sp>
      <p:sp>
        <p:nvSpPr>
          <p:cNvPr id="4" name="矩形 3"/>
          <p:cNvSpPr/>
          <p:nvPr/>
        </p:nvSpPr>
        <p:spPr>
          <a:xfrm>
            <a:off x="684155" y="2724196"/>
            <a:ext cx="665027" cy="3433718"/>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1" lang="en-US" altLang="zh-CN"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XXX</a:t>
            </a:r>
            <a:endParaRPr kumimoji="1" lang="zh-CN" altLang="en-US" sz="18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5" name="矩形 4"/>
          <p:cNvSpPr/>
          <p:nvPr/>
        </p:nvSpPr>
        <p:spPr>
          <a:xfrm>
            <a:off x="1420427" y="2724196"/>
            <a:ext cx="1665661" cy="1069675"/>
          </a:xfrm>
          <a:prstGeom prst="rect">
            <a:avLst/>
          </a:prstGeom>
          <a:solidFill>
            <a:schemeClr val="accent1"/>
          </a:solidFill>
          <a:ln w="9525" cap="flat" cmpd="sng" algn="ctr">
            <a:noFill/>
            <a:prstDash val="solid"/>
            <a:round/>
            <a:headEnd type="none" w="med" len="med"/>
            <a:tailEnd type="none" w="med" len="med"/>
          </a:ln>
          <a:effectLst/>
        </p:spPr>
        <p:txBody>
          <a:bodyPr tIns="108000" rtlCol="0" anchor="t"/>
          <a:lstStyle/>
          <a:p>
            <a:pPr marL="0" marR="0" lvl="0" indent="0" algn="ctr" defTabSz="914400" rtl="0" eaLnBrk="1" fontAlgn="auto" latinLnBrk="1" hangingPunct="1">
              <a:lnSpc>
                <a:spcPct val="100000"/>
              </a:lnSpc>
              <a:spcBef>
                <a:spcPts val="0"/>
              </a:spcBef>
              <a:spcAft>
                <a:spcPts val="0"/>
              </a:spcAft>
              <a:buClrTx/>
              <a:buSzTx/>
              <a:buFontTx/>
              <a:buNone/>
              <a:defRPr/>
            </a:pPr>
            <a:r>
              <a:rPr kumimoji="1" lang="en-US" altLang="zh-CN"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XX</a:t>
            </a:r>
            <a:endParaRPr kumimoji="1" lang="en-US" altLang="zh-CN"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sp>
        <p:nvSpPr>
          <p:cNvPr id="6" name="矩形 5"/>
          <p:cNvSpPr/>
          <p:nvPr/>
        </p:nvSpPr>
        <p:spPr>
          <a:xfrm>
            <a:off x="1420427" y="3906218"/>
            <a:ext cx="1665661" cy="1069675"/>
          </a:xfrm>
          <a:prstGeom prst="rect">
            <a:avLst/>
          </a:prstGeom>
          <a:solidFill>
            <a:schemeClr val="accent1"/>
          </a:solidFill>
          <a:ln w="9525" cap="flat" cmpd="sng" algn="ctr">
            <a:noFill/>
            <a:prstDash val="solid"/>
            <a:round/>
            <a:headEnd type="none" w="med" len="med"/>
            <a:tailEnd type="none" w="med" len="med"/>
          </a:ln>
          <a:effectLst/>
        </p:spPr>
        <p:txBody>
          <a:bodyPr tIns="108000" rtlCol="0" anchor="t"/>
          <a:lstStyle/>
          <a:p>
            <a:pPr marL="0" marR="0" lvl="0" indent="0" algn="ctr" defTabSz="914400" rtl="0" eaLnBrk="1" fontAlgn="auto" latinLnBrk="1" hangingPunct="1">
              <a:lnSpc>
                <a:spcPct val="100000"/>
              </a:lnSpc>
              <a:spcBef>
                <a:spcPts val="0"/>
              </a:spcBef>
              <a:spcAft>
                <a:spcPts val="0"/>
              </a:spcAft>
              <a:buClrTx/>
              <a:buSzTx/>
              <a:buFontTx/>
              <a:buNone/>
              <a:defRPr/>
            </a:pPr>
            <a:r>
              <a:rPr kumimoji="1" lang="en-US" altLang="zh-CN"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XX</a:t>
            </a:r>
            <a:endParaRPr kumimoji="1"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7" name="矩形 6"/>
          <p:cNvSpPr/>
          <p:nvPr/>
        </p:nvSpPr>
        <p:spPr>
          <a:xfrm>
            <a:off x="1420427" y="5088239"/>
            <a:ext cx="1665661" cy="1069675"/>
          </a:xfrm>
          <a:prstGeom prst="rect">
            <a:avLst/>
          </a:prstGeom>
          <a:solidFill>
            <a:schemeClr val="accent1"/>
          </a:solidFill>
          <a:ln w="9525" cap="flat" cmpd="sng" algn="ctr">
            <a:noFill/>
            <a:prstDash val="solid"/>
            <a:round/>
            <a:headEnd type="none" w="med" len="med"/>
            <a:tailEnd type="none" w="med" len="med"/>
          </a:ln>
          <a:effectLst/>
        </p:spPr>
        <p:txBody>
          <a:bodyPr tIns="108000" rtlCol="0" anchor="t"/>
          <a:lstStyle/>
          <a:p>
            <a:pPr marL="0" marR="0" lvl="0" indent="0" algn="ctr" defTabSz="914400" rtl="0" eaLnBrk="1" fontAlgn="auto" latinLnBrk="1" hangingPunct="1">
              <a:lnSpc>
                <a:spcPct val="100000"/>
              </a:lnSpc>
              <a:spcBef>
                <a:spcPts val="0"/>
              </a:spcBef>
              <a:spcAft>
                <a:spcPts val="0"/>
              </a:spcAft>
              <a:buClrTx/>
              <a:buSzTx/>
              <a:buFontTx/>
              <a:buNone/>
              <a:defRPr/>
            </a:pPr>
            <a:r>
              <a:rPr kumimoji="1" lang="en-US" altLang="zh-CN"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XX</a:t>
            </a:r>
            <a:endParaRPr kumimoji="1" lang="zh-CN" altLang="en-US" sz="1600" b="0"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8" name="矩形 7"/>
          <p:cNvSpPr/>
          <p:nvPr/>
        </p:nvSpPr>
        <p:spPr>
          <a:xfrm>
            <a:off x="684155" y="1436914"/>
            <a:ext cx="2401933" cy="830997"/>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1" lang="en-US" altLang="zh-CN"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XXXX</a:t>
            </a:r>
            <a:endParaRPr kumimoji="1" lang="en-US" altLang="zh-CN"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cxnSp>
        <p:nvCxnSpPr>
          <p:cNvPr id="12" name="直接连接符 11"/>
          <p:cNvCxnSpPr/>
          <p:nvPr/>
        </p:nvCxnSpPr>
        <p:spPr>
          <a:xfrm>
            <a:off x="684155" y="1344214"/>
            <a:ext cx="2401933" cy="0"/>
          </a:xfrm>
          <a:prstGeom prst="line">
            <a:avLst/>
          </a:prstGeom>
          <a:ln w="9525" cap="rnd">
            <a:solidFill>
              <a:schemeClr val="tx1">
                <a:lumMod val="60000"/>
                <a:lumOff val="40000"/>
              </a:schemeClr>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3158535" y="1344214"/>
            <a:ext cx="8630694" cy="0"/>
          </a:xfrm>
          <a:prstGeom prst="line">
            <a:avLst/>
          </a:prstGeom>
          <a:ln w="9525" cap="rnd">
            <a:solidFill>
              <a:schemeClr val="tx1">
                <a:lumMod val="60000"/>
                <a:lumOff val="40000"/>
              </a:schemeClr>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竖排文字占位符 2"/>
          <p:cNvSpPr txBox="1"/>
          <p:nvPr/>
        </p:nvSpPr>
        <p:spPr>
          <a:xfrm>
            <a:off x="3158535" y="1436914"/>
            <a:ext cx="8630694" cy="338554"/>
          </a:xfrm>
          <a:prstGeom prst="rect">
            <a:avLst/>
          </a:prstGeom>
          <a:solidFill>
            <a:schemeClr val="bg1">
              <a:lumMod val="95000"/>
            </a:schemeClr>
          </a:solidFill>
        </p:spPr>
        <p:txBody>
          <a:bodyPr vert="horz" wrap="square">
            <a:sp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905"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rPr>
              <a:t>X</a:t>
            </a:r>
            <a:endPar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endParaRPr>
          </a:p>
        </p:txBody>
      </p:sp>
      <p:sp>
        <p:nvSpPr>
          <p:cNvPr id="21" name="竖排文字占位符 2"/>
          <p:cNvSpPr txBox="1"/>
          <p:nvPr/>
        </p:nvSpPr>
        <p:spPr>
          <a:xfrm>
            <a:off x="663008" y="976110"/>
            <a:ext cx="2422525" cy="369332"/>
          </a:xfrm>
          <a:prstGeom prst="rect">
            <a:avLst/>
          </a:prstGeom>
        </p:spPr>
        <p:txBody>
          <a:bodyPr vert="horz" wrap="square">
            <a:sp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905"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defRPr/>
            </a:pPr>
            <a:r>
              <a:rPr kumimoji="0" lang="en-US" altLang="zh-CN"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rPr>
              <a:t>XXXX</a:t>
            </a:r>
            <a:endParaRPr kumimoji="0" lang="zh-CN" altLang="en-US" sz="18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sym typeface="Trebuchet MS" panose="020B0603020202020204" pitchFamily="34" charset="0"/>
            </a:endParaRPr>
          </a:p>
        </p:txBody>
      </p:sp>
      <p:sp>
        <p:nvSpPr>
          <p:cNvPr id="23" name="竖排文字占位符 2"/>
          <p:cNvSpPr txBox="1"/>
          <p:nvPr/>
        </p:nvSpPr>
        <p:spPr>
          <a:xfrm>
            <a:off x="3593223" y="976110"/>
            <a:ext cx="8082104" cy="369332"/>
          </a:xfrm>
          <a:prstGeom prst="rect">
            <a:avLst/>
          </a:prstGeom>
        </p:spPr>
        <p:txBody>
          <a:bodyPr vert="horz" wrap="square">
            <a:sp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905"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defRPr/>
            </a:pPr>
            <a:r>
              <a:rPr kumimoji="0" lang="en-US" altLang="zh-CN"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sym typeface="Trebuchet MS" panose="020B0603020202020204" pitchFamily="34" charset="0"/>
              </a:rPr>
              <a:t>XXXXX</a:t>
            </a:r>
            <a:endParaRPr kumimoji="0" lang="zh-CN" altLang="en-US" sz="18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sym typeface="Trebuchet MS" panose="020B0603020202020204" pitchFamily="34" charset="0"/>
            </a:endParaRPr>
          </a:p>
        </p:txBody>
      </p:sp>
      <p:sp>
        <p:nvSpPr>
          <p:cNvPr id="24" name="椭圆 23"/>
          <p:cNvSpPr/>
          <p:nvPr/>
        </p:nvSpPr>
        <p:spPr>
          <a:xfrm>
            <a:off x="389593" y="967719"/>
            <a:ext cx="326554" cy="326554"/>
          </a:xfrm>
          <a:prstGeom prst="ellipse">
            <a:avLst/>
          </a:prstGeom>
          <a:solidFill>
            <a:schemeClr val="accent1">
              <a:lumMod val="75000"/>
            </a:schemeClr>
          </a:solidFill>
          <a:ln w="19050" cap="rnd"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1</a:t>
            </a:r>
            <a:endParaRPr kumimoji="0" lang="zh-CN" altLang="en-US"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sp>
        <p:nvSpPr>
          <p:cNvPr id="25" name="椭圆 24"/>
          <p:cNvSpPr/>
          <p:nvPr/>
        </p:nvSpPr>
        <p:spPr>
          <a:xfrm>
            <a:off x="3167760" y="967719"/>
            <a:ext cx="326554" cy="326554"/>
          </a:xfrm>
          <a:prstGeom prst="ellipse">
            <a:avLst/>
          </a:prstGeom>
          <a:solidFill>
            <a:schemeClr val="accent1">
              <a:lumMod val="75000"/>
            </a:schemeClr>
          </a:solidFill>
          <a:ln w="19050" cap="rnd"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2</a:t>
            </a:r>
            <a:endParaRPr kumimoji="0" lang="zh-CN" altLang="en-US" sz="16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sp>
        <p:nvSpPr>
          <p:cNvPr id="28" name="竖排文字占位符 2"/>
          <p:cNvSpPr txBox="1"/>
          <p:nvPr/>
        </p:nvSpPr>
        <p:spPr>
          <a:xfrm>
            <a:off x="3158535" y="2724196"/>
            <a:ext cx="3753894" cy="1069675"/>
          </a:xfrm>
          <a:prstGeom prst="homePlate">
            <a:avLst>
              <a:gd name="adj" fmla="val 18452"/>
            </a:avLst>
          </a:prstGeom>
          <a:solidFill>
            <a:schemeClr val="bg1"/>
          </a:solidFill>
          <a:ln>
            <a:solidFill>
              <a:schemeClr val="tx1">
                <a:lumMod val="85000"/>
                <a:lumOff val="15000"/>
              </a:schemeClr>
            </a:solidFill>
          </a:ln>
        </p:spPr>
        <p:txBody>
          <a:bodyPr vert="horz" wrap="square" lIns="72000" tIns="0" rIns="72000" bIns="0" anchor="ctr">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rPr>
              <a:t>XXXX</a:t>
            </a:r>
            <a:endParaRPr kumimoji="0" lang="en-US" altLang="zh-CN"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endParaRPr>
          </a:p>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rPr>
              <a:t>XXXX</a:t>
            </a:r>
            <a:endParaRPr kumimoji="0" lang="en-US" altLang="zh-CN"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endParaRPr>
          </a:p>
        </p:txBody>
      </p:sp>
      <p:sp>
        <p:nvSpPr>
          <p:cNvPr id="31" name="竖排文字占位符 2"/>
          <p:cNvSpPr txBox="1"/>
          <p:nvPr/>
        </p:nvSpPr>
        <p:spPr>
          <a:xfrm>
            <a:off x="3158535" y="3906218"/>
            <a:ext cx="3753894" cy="1069675"/>
          </a:xfrm>
          <a:prstGeom prst="homePlate">
            <a:avLst>
              <a:gd name="adj" fmla="val 18452"/>
            </a:avLst>
          </a:prstGeom>
          <a:solidFill>
            <a:schemeClr val="bg1"/>
          </a:solidFill>
          <a:ln>
            <a:solidFill>
              <a:schemeClr val="tx1">
                <a:lumMod val="85000"/>
                <a:lumOff val="15000"/>
              </a:schemeClr>
            </a:solidFill>
          </a:ln>
        </p:spPr>
        <p:txBody>
          <a:bodyPr vert="horz" wrap="square" lIns="72000" tIns="0" rIns="72000" bIns="0" anchor="ctr">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rPr>
              <a:t>XXXX</a:t>
            </a:r>
            <a:endParaRPr kumimoji="0" lang="en-US" altLang="zh-CN"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endParaRPr>
          </a:p>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rPr>
              <a:t>XXXX</a:t>
            </a:r>
            <a:endParaRPr kumimoji="0" lang="en-US" altLang="zh-CN"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endParaRPr>
          </a:p>
        </p:txBody>
      </p:sp>
      <p:sp>
        <p:nvSpPr>
          <p:cNvPr id="32" name="竖排文字占位符 2"/>
          <p:cNvSpPr txBox="1"/>
          <p:nvPr/>
        </p:nvSpPr>
        <p:spPr>
          <a:xfrm>
            <a:off x="3158535" y="5088239"/>
            <a:ext cx="3753894" cy="1069675"/>
          </a:xfrm>
          <a:prstGeom prst="homePlate">
            <a:avLst>
              <a:gd name="adj" fmla="val 18452"/>
            </a:avLst>
          </a:prstGeom>
          <a:solidFill>
            <a:schemeClr val="bg1"/>
          </a:solidFill>
          <a:ln>
            <a:solidFill>
              <a:schemeClr val="tx1">
                <a:lumMod val="85000"/>
                <a:lumOff val="15000"/>
              </a:schemeClr>
            </a:solidFill>
          </a:ln>
        </p:spPr>
        <p:txBody>
          <a:bodyPr vert="horz" wrap="square" lIns="72000" tIns="0" rIns="72000" bIns="0" anchor="ctr">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323850" marR="0" lvl="1" indent="-215900" algn="l" defTabSz="914400" rtl="0" eaLnBrk="1" fontAlgn="auto" latinLnBrk="0" hangingPunct="1">
              <a:lnSpc>
                <a:spcPct val="100000"/>
              </a:lnSpc>
              <a:spcBef>
                <a:spcPts val="0"/>
              </a:spcBef>
              <a:spcAft>
                <a:spcPts val="0"/>
              </a:spcAft>
              <a:buClr>
                <a:srgbClr val="575F6D">
                  <a:lumMod val="100000"/>
                </a:srgbClr>
              </a:buClr>
              <a:buSzPct val="100000"/>
              <a:buFont typeface="Trebuchet MS" panose="020B0603020202020204" pitchFamily="34" charset="0"/>
              <a:buChar char="•"/>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rPr>
              <a:t>XXXX</a:t>
            </a:r>
            <a:endParaRPr kumimoji="0" lang="en-US" altLang="zh-CN"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endParaRPr>
          </a:p>
        </p:txBody>
      </p:sp>
      <p:sp>
        <p:nvSpPr>
          <p:cNvPr id="38" name="竖排文字占位符 2"/>
          <p:cNvSpPr txBox="1"/>
          <p:nvPr/>
        </p:nvSpPr>
        <p:spPr>
          <a:xfrm>
            <a:off x="10640247" y="2724196"/>
            <a:ext cx="1147621" cy="3433718"/>
          </a:xfrm>
          <a:prstGeom prst="rect">
            <a:avLst/>
          </a:prstGeom>
          <a:solidFill>
            <a:schemeClr val="bg1">
              <a:lumMod val="95000"/>
            </a:schemeClr>
          </a:solidFill>
          <a:effectLst/>
        </p:spPr>
        <p:txBody>
          <a:bodyPr vert="horz" wrap="square" lIns="72000" tIns="36000" rIns="72000" bIns="36000">
            <a:noAutofit/>
          </a:bodyPr>
          <a:lstStyle>
            <a:lvl1pPr marL="171450" indent="-170815" algn="l" defTabSz="914400" rtl="0" eaLnBrk="1" latinLnBrk="0" hangingPunct="1">
              <a:lnSpc>
                <a:spcPct val="110000"/>
              </a:lnSpc>
              <a:spcBef>
                <a:spcPts val="600"/>
              </a:spcBef>
              <a:spcAft>
                <a:spcPts val="300"/>
              </a:spcAft>
              <a:buFont typeface="Wingdings" panose="05000000000000000000" pitchFamily="2" charset="2"/>
              <a:buChar char="l"/>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1pPr>
            <a:lvl2pPr marL="357505" indent="-176530" algn="l" defTabSz="914400" rtl="0" eaLnBrk="1" latinLnBrk="0" hangingPunct="1">
              <a:lnSpc>
                <a:spcPct val="90000"/>
              </a:lnSpc>
              <a:spcBef>
                <a:spcPts val="0"/>
              </a:spcBef>
              <a:spcAft>
                <a:spcPts val="300"/>
              </a:spcAft>
              <a:buClr>
                <a:schemeClr val="tx2"/>
              </a:buClr>
              <a:buFont typeface="Wingdings" panose="05000000000000000000" pitchFamily="2" charset="2"/>
              <a:buChar char="n"/>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2pPr>
            <a:lvl3pPr marL="538480" indent="-180975" algn="l" defTabSz="914400" rtl="0" eaLnBrk="1" latinLnBrk="0" hangingPunct="1">
              <a:lnSpc>
                <a:spcPct val="90000"/>
              </a:lnSpc>
              <a:spcBef>
                <a:spcPts val="0"/>
              </a:spcBef>
              <a:spcAft>
                <a:spcPts val="300"/>
              </a:spcAft>
              <a:buClr>
                <a:schemeClr val="tx2"/>
              </a:buClr>
              <a:buFont typeface="Wingdings" panose="05000000000000000000" pitchFamily="2" charset="2"/>
              <a:buChar char="Ø"/>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3pPr>
            <a:lvl4pPr marL="720725" indent="-18288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400" b="0" i="0" kern="1200">
                <a:solidFill>
                  <a:schemeClr val="tx2"/>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4pPr>
            <a:lvl5pPr marL="895350" indent="-174625" algn="l" defTabSz="914400" rtl="0" eaLnBrk="1" latinLnBrk="0" hangingPunct="1">
              <a:lnSpc>
                <a:spcPct val="100000"/>
              </a:lnSpc>
              <a:spcBef>
                <a:spcPts val="0"/>
              </a:spcBef>
              <a:spcAft>
                <a:spcPts val="300"/>
              </a:spcAft>
              <a:buClrTx/>
              <a:buFont typeface="Wingdings" panose="05000000000000000000" pitchFamily="2" charset="2"/>
              <a:buChar char="ü"/>
              <a:defRPr lang="en-US" sz="1400" b="0" i="0" kern="1200">
                <a:solidFill>
                  <a:schemeClr val="tx1"/>
                </a:solidFill>
                <a:latin typeface="微软雅黑 Light" panose="020B0502040204020203" charset="-122"/>
                <a:ea typeface="微软雅黑 Light" panose="020B0502040204020203" charset="-122"/>
                <a:cs typeface="微软雅黑 Light" panose="020B0502040204020203" charset="-122"/>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905"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defRPr/>
            </a:pPr>
            <a:r>
              <a:rPr kumimoji="0" lang="en-US" altLang="zh-CN" sz="1600" b="0" i="0" u="none" strike="noStrike" kern="1200" cap="none" spc="0" normalizeH="0" baseline="0" noProof="0" dirty="0" smtClean="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rPr>
              <a:t>XX</a:t>
            </a:r>
            <a:endParaRPr kumimoji="0" lang="en-US" altLang="zh-CN" sz="1600" b="0" i="0" u="none" strike="noStrike" kern="1200" cap="none" spc="0" normalizeH="0" baseline="0" noProof="0" dirty="0">
              <a:ln>
                <a:noFill/>
              </a:ln>
              <a:solidFill>
                <a:prstClr val="black">
                  <a:lumMod val="100000"/>
                </a:prstClr>
              </a:solidFill>
              <a:effectLst/>
              <a:uLnTx/>
              <a:uFillTx/>
              <a:latin typeface="Arial" panose="020B0604020202020204"/>
              <a:ea typeface="华文楷体" panose="02010600040101010101" charset="-122"/>
              <a:sym typeface="Trebuchet MS" panose="020B0603020202020204" pitchFamily="34" charset="0"/>
            </a:endParaRPr>
          </a:p>
        </p:txBody>
      </p:sp>
      <p:cxnSp>
        <p:nvCxnSpPr>
          <p:cNvPr id="16" name="直接连接符 15"/>
          <p:cNvCxnSpPr/>
          <p:nvPr/>
        </p:nvCxnSpPr>
        <p:spPr>
          <a:xfrm>
            <a:off x="3136764" y="2536175"/>
            <a:ext cx="3547065" cy="0"/>
          </a:xfrm>
          <a:prstGeom prst="line">
            <a:avLst/>
          </a:prstGeom>
          <a:ln w="9525" cap="rnd">
            <a:solidFill>
              <a:schemeClr val="accent1">
                <a:lumMod val="75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37" name="矩形 36"/>
          <p:cNvSpPr/>
          <p:nvPr/>
        </p:nvSpPr>
        <p:spPr>
          <a:xfrm>
            <a:off x="4394064" y="2383971"/>
            <a:ext cx="1032465" cy="304409"/>
          </a:xfrm>
          <a:prstGeom prst="rect">
            <a:avLst/>
          </a:prstGeom>
          <a:solidFill>
            <a:srgbClr val="FFFFFF"/>
          </a:solidFill>
        </p:spPr>
        <p:txBody>
          <a:bodyPr wrap="square" lIns="0" tIns="0" rIns="0" bIns="0" anchor="ctr">
            <a:noAutofit/>
          </a:bodyPr>
          <a:lstStyle/>
          <a:p>
            <a:pPr marL="1905"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XX</a:t>
            </a:r>
            <a:endParaRPr kumimoji="0" lang="zh-CN" altLang="en-US" sz="1800" b="1" i="0" u="none" strike="noStrike" kern="120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endParaRPr>
          </a:p>
        </p:txBody>
      </p:sp>
      <p:cxnSp>
        <p:nvCxnSpPr>
          <p:cNvPr id="39" name="直接连接符 38"/>
          <p:cNvCxnSpPr/>
          <p:nvPr/>
        </p:nvCxnSpPr>
        <p:spPr>
          <a:xfrm>
            <a:off x="6914106" y="2536175"/>
            <a:ext cx="3547065" cy="0"/>
          </a:xfrm>
          <a:prstGeom prst="line">
            <a:avLst/>
          </a:prstGeom>
          <a:ln w="9525" cap="rnd">
            <a:solidFill>
              <a:schemeClr val="accent1">
                <a:lumMod val="75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7913914" y="2383971"/>
            <a:ext cx="1436916" cy="304409"/>
          </a:xfrm>
          <a:prstGeom prst="rect">
            <a:avLst/>
          </a:prstGeom>
          <a:solidFill>
            <a:srgbClr val="FFFFFF"/>
          </a:solidFill>
        </p:spPr>
        <p:txBody>
          <a:bodyPr wrap="square" lIns="0" tIns="0" rIns="0" bIns="0" anchor="ctr">
            <a:noAutofit/>
          </a:bodyPr>
          <a:lstStyle/>
          <a:p>
            <a:pPr marL="1905"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XX</a:t>
            </a:r>
            <a:endParaRPr kumimoji="0" lang="en-US" altLang="zh-CN" sz="1800" b="1" i="0" u="none" strike="noStrike" kern="1200" cap="none" spc="0" normalizeH="0" baseline="0" noProof="0" dirty="0">
              <a:ln>
                <a:noFill/>
              </a:ln>
              <a:solidFill>
                <a:srgbClr val="FE8637">
                  <a:lumMod val="75000"/>
                </a:srgbClr>
              </a:solidFill>
              <a:effectLst/>
              <a:uLnTx/>
              <a:uFillTx/>
              <a:latin typeface="Arial" panose="020B0604020202020204"/>
              <a:ea typeface="华文楷体" panose="02010600040101010101" charset="-122"/>
              <a:cs typeface="+mn-cs"/>
            </a:endParaRPr>
          </a:p>
        </p:txBody>
      </p:sp>
      <p:grpSp>
        <p:nvGrpSpPr>
          <p:cNvPr id="40" name="组合 39"/>
          <p:cNvGrpSpPr/>
          <p:nvPr/>
        </p:nvGrpSpPr>
        <p:grpSpPr>
          <a:xfrm>
            <a:off x="2013216" y="4345258"/>
            <a:ext cx="480082" cy="486954"/>
            <a:chOff x="1930218" y="3953373"/>
            <a:chExt cx="480082" cy="486954"/>
          </a:xfrm>
          <a:solidFill>
            <a:schemeClr val="bg1"/>
          </a:solidFill>
        </p:grpSpPr>
        <p:sp>
          <p:nvSpPr>
            <p:cNvPr id="41" name="Freeform 14"/>
            <p:cNvSpPr>
              <a:spLocks noEditPoints="1"/>
            </p:cNvSpPr>
            <p:nvPr/>
          </p:nvSpPr>
          <p:spPr bwMode="auto">
            <a:xfrm>
              <a:off x="1930218" y="4015715"/>
              <a:ext cx="480082" cy="424612"/>
            </a:xfrm>
            <a:custGeom>
              <a:avLst/>
              <a:gdLst>
                <a:gd name="T0" fmla="*/ 888 w 978"/>
                <a:gd name="T1" fmla="*/ 348 h 865"/>
                <a:gd name="T2" fmla="*/ 810 w 978"/>
                <a:gd name="T3" fmla="*/ 211 h 865"/>
                <a:gd name="T4" fmla="*/ 715 w 978"/>
                <a:gd name="T5" fmla="*/ 133 h 865"/>
                <a:gd name="T6" fmla="*/ 646 w 978"/>
                <a:gd name="T7" fmla="*/ 191 h 865"/>
                <a:gd name="T8" fmla="*/ 556 w 978"/>
                <a:gd name="T9" fmla="*/ 213 h 865"/>
                <a:gd name="T10" fmla="*/ 508 w 978"/>
                <a:gd name="T11" fmla="*/ 207 h 865"/>
                <a:gd name="T12" fmla="*/ 416 w 978"/>
                <a:gd name="T13" fmla="*/ 156 h 865"/>
                <a:gd name="T14" fmla="*/ 271 w 978"/>
                <a:gd name="T15" fmla="*/ 4 h 865"/>
                <a:gd name="T16" fmla="*/ 254 w 978"/>
                <a:gd name="T17" fmla="*/ 0 h 865"/>
                <a:gd name="T18" fmla="*/ 230 w 978"/>
                <a:gd name="T19" fmla="*/ 162 h 865"/>
                <a:gd name="T20" fmla="*/ 176 w 978"/>
                <a:gd name="T21" fmla="*/ 211 h 865"/>
                <a:gd name="T22" fmla="*/ 123 w 978"/>
                <a:gd name="T23" fmla="*/ 291 h 865"/>
                <a:gd name="T24" fmla="*/ 37 w 978"/>
                <a:gd name="T25" fmla="*/ 314 h 865"/>
                <a:gd name="T26" fmla="*/ 8 w 978"/>
                <a:gd name="T27" fmla="*/ 332 h 865"/>
                <a:gd name="T28" fmla="*/ 0 w 978"/>
                <a:gd name="T29" fmla="*/ 502 h 865"/>
                <a:gd name="T30" fmla="*/ 8 w 978"/>
                <a:gd name="T31" fmla="*/ 529 h 865"/>
                <a:gd name="T32" fmla="*/ 37 w 978"/>
                <a:gd name="T33" fmla="*/ 549 h 865"/>
                <a:gd name="T34" fmla="*/ 115 w 978"/>
                <a:gd name="T35" fmla="*/ 580 h 865"/>
                <a:gd name="T36" fmla="*/ 189 w 978"/>
                <a:gd name="T37" fmla="*/ 689 h 865"/>
                <a:gd name="T38" fmla="*/ 267 w 978"/>
                <a:gd name="T39" fmla="*/ 842 h 865"/>
                <a:gd name="T40" fmla="*/ 279 w 978"/>
                <a:gd name="T41" fmla="*/ 863 h 865"/>
                <a:gd name="T42" fmla="*/ 400 w 978"/>
                <a:gd name="T43" fmla="*/ 863 h 865"/>
                <a:gd name="T44" fmla="*/ 412 w 978"/>
                <a:gd name="T45" fmla="*/ 808 h 865"/>
                <a:gd name="T46" fmla="*/ 494 w 978"/>
                <a:gd name="T47" fmla="*/ 814 h 865"/>
                <a:gd name="T48" fmla="*/ 574 w 978"/>
                <a:gd name="T49" fmla="*/ 842 h 865"/>
                <a:gd name="T50" fmla="*/ 595 w 978"/>
                <a:gd name="T51" fmla="*/ 865 h 865"/>
                <a:gd name="T52" fmla="*/ 713 w 978"/>
                <a:gd name="T53" fmla="*/ 859 h 865"/>
                <a:gd name="T54" fmla="*/ 720 w 978"/>
                <a:gd name="T55" fmla="*/ 752 h 865"/>
                <a:gd name="T56" fmla="*/ 843 w 978"/>
                <a:gd name="T57" fmla="*/ 637 h 865"/>
                <a:gd name="T58" fmla="*/ 892 w 978"/>
                <a:gd name="T59" fmla="*/ 525 h 865"/>
                <a:gd name="T60" fmla="*/ 931 w 978"/>
                <a:gd name="T61" fmla="*/ 484 h 865"/>
                <a:gd name="T62" fmla="*/ 963 w 978"/>
                <a:gd name="T63" fmla="*/ 469 h 865"/>
                <a:gd name="T64" fmla="*/ 978 w 978"/>
                <a:gd name="T65" fmla="*/ 437 h 865"/>
                <a:gd name="T66" fmla="*/ 970 w 978"/>
                <a:gd name="T67" fmla="*/ 410 h 865"/>
                <a:gd name="T68" fmla="*/ 939 w 978"/>
                <a:gd name="T69" fmla="*/ 389 h 865"/>
                <a:gd name="T70" fmla="*/ 275 w 978"/>
                <a:gd name="T71" fmla="*/ 346 h 865"/>
                <a:gd name="T72" fmla="*/ 236 w 978"/>
                <a:gd name="T73" fmla="*/ 334 h 865"/>
                <a:gd name="T74" fmla="*/ 215 w 978"/>
                <a:gd name="T75" fmla="*/ 299 h 865"/>
                <a:gd name="T76" fmla="*/ 240 w 978"/>
                <a:gd name="T77" fmla="*/ 318 h 865"/>
                <a:gd name="T78" fmla="*/ 267 w 978"/>
                <a:gd name="T79" fmla="*/ 316 h 865"/>
                <a:gd name="T80" fmla="*/ 289 w 978"/>
                <a:gd name="T81" fmla="*/ 291 h 865"/>
                <a:gd name="T82" fmla="*/ 293 w 978"/>
                <a:gd name="T83" fmla="*/ 266 h 865"/>
                <a:gd name="T84" fmla="*/ 275 w 978"/>
                <a:gd name="T85" fmla="*/ 240 h 865"/>
                <a:gd name="T86" fmla="*/ 250 w 978"/>
                <a:gd name="T87" fmla="*/ 232 h 865"/>
                <a:gd name="T88" fmla="*/ 275 w 978"/>
                <a:gd name="T89" fmla="*/ 223 h 865"/>
                <a:gd name="T90" fmla="*/ 310 w 978"/>
                <a:gd name="T91" fmla="*/ 234 h 865"/>
                <a:gd name="T92" fmla="*/ 334 w 978"/>
                <a:gd name="T93" fmla="*/ 273 h 865"/>
                <a:gd name="T94" fmla="*/ 330 w 978"/>
                <a:gd name="T95" fmla="*/ 310 h 865"/>
                <a:gd name="T96" fmla="*/ 299 w 978"/>
                <a:gd name="T97" fmla="*/ 342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78" h="865">
                  <a:moveTo>
                    <a:pt x="931" y="387"/>
                  </a:moveTo>
                  <a:lnTo>
                    <a:pt x="896" y="387"/>
                  </a:lnTo>
                  <a:lnTo>
                    <a:pt x="896" y="387"/>
                  </a:lnTo>
                  <a:lnTo>
                    <a:pt x="888" y="348"/>
                  </a:lnTo>
                  <a:lnTo>
                    <a:pt x="873" y="312"/>
                  </a:lnTo>
                  <a:lnTo>
                    <a:pt x="857" y="275"/>
                  </a:lnTo>
                  <a:lnTo>
                    <a:pt x="834" y="242"/>
                  </a:lnTo>
                  <a:lnTo>
                    <a:pt x="810" y="211"/>
                  </a:lnTo>
                  <a:lnTo>
                    <a:pt x="781" y="182"/>
                  </a:lnTo>
                  <a:lnTo>
                    <a:pt x="750" y="156"/>
                  </a:lnTo>
                  <a:lnTo>
                    <a:pt x="715" y="133"/>
                  </a:lnTo>
                  <a:lnTo>
                    <a:pt x="715" y="133"/>
                  </a:lnTo>
                  <a:lnTo>
                    <a:pt x="701" y="150"/>
                  </a:lnTo>
                  <a:lnTo>
                    <a:pt x="685" y="166"/>
                  </a:lnTo>
                  <a:lnTo>
                    <a:pt x="666" y="180"/>
                  </a:lnTo>
                  <a:lnTo>
                    <a:pt x="646" y="191"/>
                  </a:lnTo>
                  <a:lnTo>
                    <a:pt x="625" y="201"/>
                  </a:lnTo>
                  <a:lnTo>
                    <a:pt x="603" y="207"/>
                  </a:lnTo>
                  <a:lnTo>
                    <a:pt x="580" y="213"/>
                  </a:lnTo>
                  <a:lnTo>
                    <a:pt x="556" y="213"/>
                  </a:lnTo>
                  <a:lnTo>
                    <a:pt x="556" y="213"/>
                  </a:lnTo>
                  <a:lnTo>
                    <a:pt x="541" y="213"/>
                  </a:lnTo>
                  <a:lnTo>
                    <a:pt x="525" y="211"/>
                  </a:lnTo>
                  <a:lnTo>
                    <a:pt x="508" y="207"/>
                  </a:lnTo>
                  <a:lnTo>
                    <a:pt x="494" y="203"/>
                  </a:lnTo>
                  <a:lnTo>
                    <a:pt x="465" y="191"/>
                  </a:lnTo>
                  <a:lnTo>
                    <a:pt x="441" y="176"/>
                  </a:lnTo>
                  <a:lnTo>
                    <a:pt x="416" y="156"/>
                  </a:lnTo>
                  <a:lnTo>
                    <a:pt x="398" y="133"/>
                  </a:lnTo>
                  <a:lnTo>
                    <a:pt x="381" y="107"/>
                  </a:lnTo>
                  <a:lnTo>
                    <a:pt x="369" y="78"/>
                  </a:lnTo>
                  <a:lnTo>
                    <a:pt x="271" y="4"/>
                  </a:lnTo>
                  <a:lnTo>
                    <a:pt x="271" y="4"/>
                  </a:lnTo>
                  <a:lnTo>
                    <a:pt x="260" y="0"/>
                  </a:lnTo>
                  <a:lnTo>
                    <a:pt x="256" y="0"/>
                  </a:lnTo>
                  <a:lnTo>
                    <a:pt x="254" y="0"/>
                  </a:lnTo>
                  <a:lnTo>
                    <a:pt x="250" y="2"/>
                  </a:lnTo>
                  <a:lnTo>
                    <a:pt x="248" y="6"/>
                  </a:lnTo>
                  <a:lnTo>
                    <a:pt x="244" y="14"/>
                  </a:lnTo>
                  <a:lnTo>
                    <a:pt x="230" y="162"/>
                  </a:lnTo>
                  <a:lnTo>
                    <a:pt x="230" y="162"/>
                  </a:lnTo>
                  <a:lnTo>
                    <a:pt x="211" y="176"/>
                  </a:lnTo>
                  <a:lnTo>
                    <a:pt x="193" y="193"/>
                  </a:lnTo>
                  <a:lnTo>
                    <a:pt x="176" y="211"/>
                  </a:lnTo>
                  <a:lnTo>
                    <a:pt x="160" y="230"/>
                  </a:lnTo>
                  <a:lnTo>
                    <a:pt x="146" y="248"/>
                  </a:lnTo>
                  <a:lnTo>
                    <a:pt x="133" y="269"/>
                  </a:lnTo>
                  <a:lnTo>
                    <a:pt x="123" y="291"/>
                  </a:lnTo>
                  <a:lnTo>
                    <a:pt x="113" y="312"/>
                  </a:lnTo>
                  <a:lnTo>
                    <a:pt x="47" y="312"/>
                  </a:lnTo>
                  <a:lnTo>
                    <a:pt x="47" y="312"/>
                  </a:lnTo>
                  <a:lnTo>
                    <a:pt x="37" y="314"/>
                  </a:lnTo>
                  <a:lnTo>
                    <a:pt x="29" y="316"/>
                  </a:lnTo>
                  <a:lnTo>
                    <a:pt x="21" y="320"/>
                  </a:lnTo>
                  <a:lnTo>
                    <a:pt x="13" y="326"/>
                  </a:lnTo>
                  <a:lnTo>
                    <a:pt x="8" y="332"/>
                  </a:lnTo>
                  <a:lnTo>
                    <a:pt x="2" y="340"/>
                  </a:lnTo>
                  <a:lnTo>
                    <a:pt x="0" y="351"/>
                  </a:lnTo>
                  <a:lnTo>
                    <a:pt x="0" y="359"/>
                  </a:lnTo>
                  <a:lnTo>
                    <a:pt x="0" y="502"/>
                  </a:lnTo>
                  <a:lnTo>
                    <a:pt x="0" y="502"/>
                  </a:lnTo>
                  <a:lnTo>
                    <a:pt x="0" y="512"/>
                  </a:lnTo>
                  <a:lnTo>
                    <a:pt x="2" y="521"/>
                  </a:lnTo>
                  <a:lnTo>
                    <a:pt x="8" y="529"/>
                  </a:lnTo>
                  <a:lnTo>
                    <a:pt x="13" y="537"/>
                  </a:lnTo>
                  <a:lnTo>
                    <a:pt x="21" y="541"/>
                  </a:lnTo>
                  <a:lnTo>
                    <a:pt x="29" y="547"/>
                  </a:lnTo>
                  <a:lnTo>
                    <a:pt x="37" y="549"/>
                  </a:lnTo>
                  <a:lnTo>
                    <a:pt x="47" y="549"/>
                  </a:lnTo>
                  <a:lnTo>
                    <a:pt x="103" y="549"/>
                  </a:lnTo>
                  <a:lnTo>
                    <a:pt x="103" y="549"/>
                  </a:lnTo>
                  <a:lnTo>
                    <a:pt x="115" y="580"/>
                  </a:lnTo>
                  <a:lnTo>
                    <a:pt x="129" y="611"/>
                  </a:lnTo>
                  <a:lnTo>
                    <a:pt x="146" y="637"/>
                  </a:lnTo>
                  <a:lnTo>
                    <a:pt x="166" y="664"/>
                  </a:lnTo>
                  <a:lnTo>
                    <a:pt x="189" y="689"/>
                  </a:lnTo>
                  <a:lnTo>
                    <a:pt x="211" y="711"/>
                  </a:lnTo>
                  <a:lnTo>
                    <a:pt x="238" y="734"/>
                  </a:lnTo>
                  <a:lnTo>
                    <a:pt x="267" y="752"/>
                  </a:lnTo>
                  <a:lnTo>
                    <a:pt x="267" y="842"/>
                  </a:lnTo>
                  <a:lnTo>
                    <a:pt x="267" y="842"/>
                  </a:lnTo>
                  <a:lnTo>
                    <a:pt x="269" y="851"/>
                  </a:lnTo>
                  <a:lnTo>
                    <a:pt x="273" y="859"/>
                  </a:lnTo>
                  <a:lnTo>
                    <a:pt x="279" y="863"/>
                  </a:lnTo>
                  <a:lnTo>
                    <a:pt x="287" y="865"/>
                  </a:lnTo>
                  <a:lnTo>
                    <a:pt x="392" y="865"/>
                  </a:lnTo>
                  <a:lnTo>
                    <a:pt x="392" y="865"/>
                  </a:lnTo>
                  <a:lnTo>
                    <a:pt x="400" y="863"/>
                  </a:lnTo>
                  <a:lnTo>
                    <a:pt x="406" y="859"/>
                  </a:lnTo>
                  <a:lnTo>
                    <a:pt x="412" y="851"/>
                  </a:lnTo>
                  <a:lnTo>
                    <a:pt x="412" y="842"/>
                  </a:lnTo>
                  <a:lnTo>
                    <a:pt x="412" y="808"/>
                  </a:lnTo>
                  <a:lnTo>
                    <a:pt x="412" y="808"/>
                  </a:lnTo>
                  <a:lnTo>
                    <a:pt x="453" y="812"/>
                  </a:lnTo>
                  <a:lnTo>
                    <a:pt x="494" y="814"/>
                  </a:lnTo>
                  <a:lnTo>
                    <a:pt x="494" y="814"/>
                  </a:lnTo>
                  <a:lnTo>
                    <a:pt x="535" y="812"/>
                  </a:lnTo>
                  <a:lnTo>
                    <a:pt x="574" y="808"/>
                  </a:lnTo>
                  <a:lnTo>
                    <a:pt x="574" y="842"/>
                  </a:lnTo>
                  <a:lnTo>
                    <a:pt x="574" y="842"/>
                  </a:lnTo>
                  <a:lnTo>
                    <a:pt x="576" y="851"/>
                  </a:lnTo>
                  <a:lnTo>
                    <a:pt x="580" y="859"/>
                  </a:lnTo>
                  <a:lnTo>
                    <a:pt x="586" y="863"/>
                  </a:lnTo>
                  <a:lnTo>
                    <a:pt x="595" y="865"/>
                  </a:lnTo>
                  <a:lnTo>
                    <a:pt x="699" y="865"/>
                  </a:lnTo>
                  <a:lnTo>
                    <a:pt x="699" y="865"/>
                  </a:lnTo>
                  <a:lnTo>
                    <a:pt x="707" y="863"/>
                  </a:lnTo>
                  <a:lnTo>
                    <a:pt x="713" y="859"/>
                  </a:lnTo>
                  <a:lnTo>
                    <a:pt x="718" y="851"/>
                  </a:lnTo>
                  <a:lnTo>
                    <a:pt x="720" y="842"/>
                  </a:lnTo>
                  <a:lnTo>
                    <a:pt x="720" y="752"/>
                  </a:lnTo>
                  <a:lnTo>
                    <a:pt x="720" y="752"/>
                  </a:lnTo>
                  <a:lnTo>
                    <a:pt x="754" y="728"/>
                  </a:lnTo>
                  <a:lnTo>
                    <a:pt x="787" y="701"/>
                  </a:lnTo>
                  <a:lnTo>
                    <a:pt x="816" y="670"/>
                  </a:lnTo>
                  <a:lnTo>
                    <a:pt x="843" y="637"/>
                  </a:lnTo>
                  <a:lnTo>
                    <a:pt x="863" y="601"/>
                  </a:lnTo>
                  <a:lnTo>
                    <a:pt x="879" y="564"/>
                  </a:lnTo>
                  <a:lnTo>
                    <a:pt x="886" y="545"/>
                  </a:lnTo>
                  <a:lnTo>
                    <a:pt x="892" y="525"/>
                  </a:lnTo>
                  <a:lnTo>
                    <a:pt x="896" y="504"/>
                  </a:lnTo>
                  <a:lnTo>
                    <a:pt x="900" y="484"/>
                  </a:lnTo>
                  <a:lnTo>
                    <a:pt x="931" y="484"/>
                  </a:lnTo>
                  <a:lnTo>
                    <a:pt x="931" y="484"/>
                  </a:lnTo>
                  <a:lnTo>
                    <a:pt x="939" y="482"/>
                  </a:lnTo>
                  <a:lnTo>
                    <a:pt x="947" y="480"/>
                  </a:lnTo>
                  <a:lnTo>
                    <a:pt x="955" y="476"/>
                  </a:lnTo>
                  <a:lnTo>
                    <a:pt x="963" y="469"/>
                  </a:lnTo>
                  <a:lnTo>
                    <a:pt x="970" y="461"/>
                  </a:lnTo>
                  <a:lnTo>
                    <a:pt x="974" y="453"/>
                  </a:lnTo>
                  <a:lnTo>
                    <a:pt x="976" y="445"/>
                  </a:lnTo>
                  <a:lnTo>
                    <a:pt x="978" y="437"/>
                  </a:lnTo>
                  <a:lnTo>
                    <a:pt x="978" y="437"/>
                  </a:lnTo>
                  <a:lnTo>
                    <a:pt x="976" y="426"/>
                  </a:lnTo>
                  <a:lnTo>
                    <a:pt x="974" y="418"/>
                  </a:lnTo>
                  <a:lnTo>
                    <a:pt x="970" y="410"/>
                  </a:lnTo>
                  <a:lnTo>
                    <a:pt x="963" y="402"/>
                  </a:lnTo>
                  <a:lnTo>
                    <a:pt x="955" y="396"/>
                  </a:lnTo>
                  <a:lnTo>
                    <a:pt x="947" y="392"/>
                  </a:lnTo>
                  <a:lnTo>
                    <a:pt x="939" y="389"/>
                  </a:lnTo>
                  <a:lnTo>
                    <a:pt x="931" y="387"/>
                  </a:lnTo>
                  <a:lnTo>
                    <a:pt x="931" y="387"/>
                  </a:lnTo>
                  <a:close/>
                  <a:moveTo>
                    <a:pt x="275" y="346"/>
                  </a:moveTo>
                  <a:lnTo>
                    <a:pt x="275" y="346"/>
                  </a:lnTo>
                  <a:lnTo>
                    <a:pt x="265" y="346"/>
                  </a:lnTo>
                  <a:lnTo>
                    <a:pt x="254" y="342"/>
                  </a:lnTo>
                  <a:lnTo>
                    <a:pt x="244" y="338"/>
                  </a:lnTo>
                  <a:lnTo>
                    <a:pt x="236" y="334"/>
                  </a:lnTo>
                  <a:lnTo>
                    <a:pt x="230" y="326"/>
                  </a:lnTo>
                  <a:lnTo>
                    <a:pt x="224" y="318"/>
                  </a:lnTo>
                  <a:lnTo>
                    <a:pt x="217" y="310"/>
                  </a:lnTo>
                  <a:lnTo>
                    <a:pt x="215" y="299"/>
                  </a:lnTo>
                  <a:lnTo>
                    <a:pt x="215" y="299"/>
                  </a:lnTo>
                  <a:lnTo>
                    <a:pt x="222" y="307"/>
                  </a:lnTo>
                  <a:lnTo>
                    <a:pt x="230" y="314"/>
                  </a:lnTo>
                  <a:lnTo>
                    <a:pt x="240" y="318"/>
                  </a:lnTo>
                  <a:lnTo>
                    <a:pt x="250" y="318"/>
                  </a:lnTo>
                  <a:lnTo>
                    <a:pt x="250" y="318"/>
                  </a:lnTo>
                  <a:lnTo>
                    <a:pt x="258" y="318"/>
                  </a:lnTo>
                  <a:lnTo>
                    <a:pt x="267" y="316"/>
                  </a:lnTo>
                  <a:lnTo>
                    <a:pt x="275" y="312"/>
                  </a:lnTo>
                  <a:lnTo>
                    <a:pt x="281" y="305"/>
                  </a:lnTo>
                  <a:lnTo>
                    <a:pt x="285" y="299"/>
                  </a:lnTo>
                  <a:lnTo>
                    <a:pt x="289" y="291"/>
                  </a:lnTo>
                  <a:lnTo>
                    <a:pt x="293" y="283"/>
                  </a:lnTo>
                  <a:lnTo>
                    <a:pt x="293" y="275"/>
                  </a:lnTo>
                  <a:lnTo>
                    <a:pt x="293" y="275"/>
                  </a:lnTo>
                  <a:lnTo>
                    <a:pt x="293" y="266"/>
                  </a:lnTo>
                  <a:lnTo>
                    <a:pt x="289" y="258"/>
                  </a:lnTo>
                  <a:lnTo>
                    <a:pt x="285" y="250"/>
                  </a:lnTo>
                  <a:lnTo>
                    <a:pt x="281" y="244"/>
                  </a:lnTo>
                  <a:lnTo>
                    <a:pt x="275" y="240"/>
                  </a:lnTo>
                  <a:lnTo>
                    <a:pt x="267" y="236"/>
                  </a:lnTo>
                  <a:lnTo>
                    <a:pt x="258" y="232"/>
                  </a:lnTo>
                  <a:lnTo>
                    <a:pt x="250" y="232"/>
                  </a:lnTo>
                  <a:lnTo>
                    <a:pt x="250" y="232"/>
                  </a:lnTo>
                  <a:lnTo>
                    <a:pt x="244" y="232"/>
                  </a:lnTo>
                  <a:lnTo>
                    <a:pt x="244" y="232"/>
                  </a:lnTo>
                  <a:lnTo>
                    <a:pt x="258" y="226"/>
                  </a:lnTo>
                  <a:lnTo>
                    <a:pt x="275" y="223"/>
                  </a:lnTo>
                  <a:lnTo>
                    <a:pt x="275" y="223"/>
                  </a:lnTo>
                  <a:lnTo>
                    <a:pt x="287" y="226"/>
                  </a:lnTo>
                  <a:lnTo>
                    <a:pt x="299" y="230"/>
                  </a:lnTo>
                  <a:lnTo>
                    <a:pt x="310" y="234"/>
                  </a:lnTo>
                  <a:lnTo>
                    <a:pt x="318" y="242"/>
                  </a:lnTo>
                  <a:lnTo>
                    <a:pt x="326" y="252"/>
                  </a:lnTo>
                  <a:lnTo>
                    <a:pt x="330" y="262"/>
                  </a:lnTo>
                  <a:lnTo>
                    <a:pt x="334" y="273"/>
                  </a:lnTo>
                  <a:lnTo>
                    <a:pt x="336" y="285"/>
                  </a:lnTo>
                  <a:lnTo>
                    <a:pt x="336" y="285"/>
                  </a:lnTo>
                  <a:lnTo>
                    <a:pt x="334" y="297"/>
                  </a:lnTo>
                  <a:lnTo>
                    <a:pt x="330" y="310"/>
                  </a:lnTo>
                  <a:lnTo>
                    <a:pt x="326" y="320"/>
                  </a:lnTo>
                  <a:lnTo>
                    <a:pt x="318" y="328"/>
                  </a:lnTo>
                  <a:lnTo>
                    <a:pt x="310" y="336"/>
                  </a:lnTo>
                  <a:lnTo>
                    <a:pt x="299" y="342"/>
                  </a:lnTo>
                  <a:lnTo>
                    <a:pt x="287" y="346"/>
                  </a:lnTo>
                  <a:lnTo>
                    <a:pt x="275" y="346"/>
                  </a:lnTo>
                  <a:lnTo>
                    <a:pt x="275" y="346"/>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2" name="Freeform 15"/>
            <p:cNvSpPr>
              <a:spLocks noEditPoints="1"/>
            </p:cNvSpPr>
            <p:nvPr/>
          </p:nvSpPr>
          <p:spPr bwMode="auto">
            <a:xfrm>
              <a:off x="2133443" y="3953373"/>
              <a:ext cx="139901" cy="139901"/>
            </a:xfrm>
            <a:custGeom>
              <a:avLst/>
              <a:gdLst>
                <a:gd name="T0" fmla="*/ 127 w 285"/>
                <a:gd name="T1" fmla="*/ 2 h 285"/>
                <a:gd name="T2" fmla="*/ 86 w 285"/>
                <a:gd name="T3" fmla="*/ 12 h 285"/>
                <a:gd name="T4" fmla="*/ 51 w 285"/>
                <a:gd name="T5" fmla="*/ 33 h 285"/>
                <a:gd name="T6" fmla="*/ 25 w 285"/>
                <a:gd name="T7" fmla="*/ 64 h 285"/>
                <a:gd name="T8" fmla="*/ 6 w 285"/>
                <a:gd name="T9" fmla="*/ 100 h 285"/>
                <a:gd name="T10" fmla="*/ 0 w 285"/>
                <a:gd name="T11" fmla="*/ 143 h 285"/>
                <a:gd name="T12" fmla="*/ 2 w 285"/>
                <a:gd name="T13" fmla="*/ 172 h 285"/>
                <a:gd name="T14" fmla="*/ 17 w 285"/>
                <a:gd name="T15" fmla="*/ 211 h 285"/>
                <a:gd name="T16" fmla="*/ 41 w 285"/>
                <a:gd name="T17" fmla="*/ 244 h 285"/>
                <a:gd name="T18" fmla="*/ 74 w 285"/>
                <a:gd name="T19" fmla="*/ 268 h 285"/>
                <a:gd name="T20" fmla="*/ 113 w 285"/>
                <a:gd name="T21" fmla="*/ 283 h 285"/>
                <a:gd name="T22" fmla="*/ 142 w 285"/>
                <a:gd name="T23" fmla="*/ 285 h 285"/>
                <a:gd name="T24" fmla="*/ 185 w 285"/>
                <a:gd name="T25" fmla="*/ 279 h 285"/>
                <a:gd name="T26" fmla="*/ 222 w 285"/>
                <a:gd name="T27" fmla="*/ 260 h 285"/>
                <a:gd name="T28" fmla="*/ 252 w 285"/>
                <a:gd name="T29" fmla="*/ 234 h 285"/>
                <a:gd name="T30" fmla="*/ 273 w 285"/>
                <a:gd name="T31" fmla="*/ 199 h 285"/>
                <a:gd name="T32" fmla="*/ 285 w 285"/>
                <a:gd name="T33" fmla="*/ 158 h 285"/>
                <a:gd name="T34" fmla="*/ 285 w 285"/>
                <a:gd name="T35" fmla="*/ 129 h 285"/>
                <a:gd name="T36" fmla="*/ 273 w 285"/>
                <a:gd name="T37" fmla="*/ 88 h 285"/>
                <a:gd name="T38" fmla="*/ 252 w 285"/>
                <a:gd name="T39" fmla="*/ 53 h 285"/>
                <a:gd name="T40" fmla="*/ 222 w 285"/>
                <a:gd name="T41" fmla="*/ 25 h 285"/>
                <a:gd name="T42" fmla="*/ 185 w 285"/>
                <a:gd name="T43" fmla="*/ 8 h 285"/>
                <a:gd name="T44" fmla="*/ 142 w 285"/>
                <a:gd name="T45" fmla="*/ 0 h 285"/>
                <a:gd name="T46" fmla="*/ 154 w 285"/>
                <a:gd name="T47" fmla="*/ 238 h 285"/>
                <a:gd name="T48" fmla="*/ 125 w 285"/>
                <a:gd name="T49" fmla="*/ 217 h 285"/>
                <a:gd name="T50" fmla="*/ 88 w 285"/>
                <a:gd name="T51" fmla="*/ 174 h 285"/>
                <a:gd name="T52" fmla="*/ 119 w 285"/>
                <a:gd name="T53" fmla="*/ 182 h 285"/>
                <a:gd name="T54" fmla="*/ 142 w 285"/>
                <a:gd name="T55" fmla="*/ 182 h 285"/>
                <a:gd name="T56" fmla="*/ 156 w 285"/>
                <a:gd name="T57" fmla="*/ 172 h 285"/>
                <a:gd name="T58" fmla="*/ 150 w 285"/>
                <a:gd name="T59" fmla="*/ 164 h 285"/>
                <a:gd name="T60" fmla="*/ 129 w 285"/>
                <a:gd name="T61" fmla="*/ 156 h 285"/>
                <a:gd name="T62" fmla="*/ 88 w 285"/>
                <a:gd name="T63" fmla="*/ 133 h 285"/>
                <a:gd name="T64" fmla="*/ 80 w 285"/>
                <a:gd name="T65" fmla="*/ 111 h 285"/>
                <a:gd name="T66" fmla="*/ 84 w 285"/>
                <a:gd name="T67" fmla="*/ 96 h 285"/>
                <a:gd name="T68" fmla="*/ 99 w 285"/>
                <a:gd name="T69" fmla="*/ 78 h 285"/>
                <a:gd name="T70" fmla="*/ 125 w 285"/>
                <a:gd name="T71" fmla="*/ 68 h 285"/>
                <a:gd name="T72" fmla="*/ 156 w 285"/>
                <a:gd name="T73" fmla="*/ 66 h 285"/>
                <a:gd name="T74" fmla="*/ 195 w 285"/>
                <a:gd name="T75" fmla="*/ 74 h 285"/>
                <a:gd name="T76" fmla="*/ 170 w 285"/>
                <a:gd name="T77" fmla="*/ 100 h 285"/>
                <a:gd name="T78" fmla="*/ 148 w 285"/>
                <a:gd name="T79" fmla="*/ 96 h 285"/>
                <a:gd name="T80" fmla="*/ 127 w 285"/>
                <a:gd name="T81" fmla="*/ 102 h 285"/>
                <a:gd name="T82" fmla="*/ 129 w 285"/>
                <a:gd name="T83" fmla="*/ 111 h 285"/>
                <a:gd name="T84" fmla="*/ 158 w 285"/>
                <a:gd name="T85" fmla="*/ 123 h 285"/>
                <a:gd name="T86" fmla="*/ 191 w 285"/>
                <a:gd name="T87" fmla="*/ 141 h 285"/>
                <a:gd name="T88" fmla="*/ 201 w 285"/>
                <a:gd name="T89" fmla="*/ 162 h 285"/>
                <a:gd name="T90" fmla="*/ 201 w 285"/>
                <a:gd name="T91" fmla="*/ 176 h 285"/>
                <a:gd name="T92" fmla="*/ 189 w 285"/>
                <a:gd name="T93" fmla="*/ 199 h 285"/>
                <a:gd name="T94" fmla="*/ 164 w 285"/>
                <a:gd name="T95"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5" h="285">
                  <a:moveTo>
                    <a:pt x="142" y="0"/>
                  </a:moveTo>
                  <a:lnTo>
                    <a:pt x="142" y="0"/>
                  </a:lnTo>
                  <a:lnTo>
                    <a:pt x="127" y="2"/>
                  </a:lnTo>
                  <a:lnTo>
                    <a:pt x="113" y="4"/>
                  </a:lnTo>
                  <a:lnTo>
                    <a:pt x="101" y="8"/>
                  </a:lnTo>
                  <a:lnTo>
                    <a:pt x="86" y="12"/>
                  </a:lnTo>
                  <a:lnTo>
                    <a:pt x="74" y="18"/>
                  </a:lnTo>
                  <a:lnTo>
                    <a:pt x="64" y="25"/>
                  </a:lnTo>
                  <a:lnTo>
                    <a:pt x="51" y="33"/>
                  </a:lnTo>
                  <a:lnTo>
                    <a:pt x="41" y="43"/>
                  </a:lnTo>
                  <a:lnTo>
                    <a:pt x="33" y="53"/>
                  </a:lnTo>
                  <a:lnTo>
                    <a:pt x="25" y="64"/>
                  </a:lnTo>
                  <a:lnTo>
                    <a:pt x="17" y="76"/>
                  </a:lnTo>
                  <a:lnTo>
                    <a:pt x="10" y="88"/>
                  </a:lnTo>
                  <a:lnTo>
                    <a:pt x="6" y="100"/>
                  </a:lnTo>
                  <a:lnTo>
                    <a:pt x="2" y="115"/>
                  </a:lnTo>
                  <a:lnTo>
                    <a:pt x="0" y="129"/>
                  </a:lnTo>
                  <a:lnTo>
                    <a:pt x="0" y="143"/>
                  </a:lnTo>
                  <a:lnTo>
                    <a:pt x="0" y="143"/>
                  </a:lnTo>
                  <a:lnTo>
                    <a:pt x="0" y="158"/>
                  </a:lnTo>
                  <a:lnTo>
                    <a:pt x="2" y="172"/>
                  </a:lnTo>
                  <a:lnTo>
                    <a:pt x="6" y="186"/>
                  </a:lnTo>
                  <a:lnTo>
                    <a:pt x="10" y="199"/>
                  </a:lnTo>
                  <a:lnTo>
                    <a:pt x="17" y="211"/>
                  </a:lnTo>
                  <a:lnTo>
                    <a:pt x="25" y="223"/>
                  </a:lnTo>
                  <a:lnTo>
                    <a:pt x="33" y="234"/>
                  </a:lnTo>
                  <a:lnTo>
                    <a:pt x="41" y="244"/>
                  </a:lnTo>
                  <a:lnTo>
                    <a:pt x="51" y="252"/>
                  </a:lnTo>
                  <a:lnTo>
                    <a:pt x="64" y="260"/>
                  </a:lnTo>
                  <a:lnTo>
                    <a:pt x="74" y="268"/>
                  </a:lnTo>
                  <a:lnTo>
                    <a:pt x="86" y="275"/>
                  </a:lnTo>
                  <a:lnTo>
                    <a:pt x="101" y="279"/>
                  </a:lnTo>
                  <a:lnTo>
                    <a:pt x="113" y="283"/>
                  </a:lnTo>
                  <a:lnTo>
                    <a:pt x="127" y="285"/>
                  </a:lnTo>
                  <a:lnTo>
                    <a:pt x="142" y="285"/>
                  </a:lnTo>
                  <a:lnTo>
                    <a:pt x="142" y="285"/>
                  </a:lnTo>
                  <a:lnTo>
                    <a:pt x="156" y="285"/>
                  </a:lnTo>
                  <a:lnTo>
                    <a:pt x="170" y="283"/>
                  </a:lnTo>
                  <a:lnTo>
                    <a:pt x="185" y="279"/>
                  </a:lnTo>
                  <a:lnTo>
                    <a:pt x="197" y="275"/>
                  </a:lnTo>
                  <a:lnTo>
                    <a:pt x="209" y="268"/>
                  </a:lnTo>
                  <a:lnTo>
                    <a:pt x="222" y="260"/>
                  </a:lnTo>
                  <a:lnTo>
                    <a:pt x="234" y="252"/>
                  </a:lnTo>
                  <a:lnTo>
                    <a:pt x="242" y="244"/>
                  </a:lnTo>
                  <a:lnTo>
                    <a:pt x="252" y="234"/>
                  </a:lnTo>
                  <a:lnTo>
                    <a:pt x="260" y="223"/>
                  </a:lnTo>
                  <a:lnTo>
                    <a:pt x="267" y="211"/>
                  </a:lnTo>
                  <a:lnTo>
                    <a:pt x="273" y="199"/>
                  </a:lnTo>
                  <a:lnTo>
                    <a:pt x="279" y="186"/>
                  </a:lnTo>
                  <a:lnTo>
                    <a:pt x="281" y="172"/>
                  </a:lnTo>
                  <a:lnTo>
                    <a:pt x="285" y="158"/>
                  </a:lnTo>
                  <a:lnTo>
                    <a:pt x="285" y="143"/>
                  </a:lnTo>
                  <a:lnTo>
                    <a:pt x="285" y="143"/>
                  </a:lnTo>
                  <a:lnTo>
                    <a:pt x="285" y="129"/>
                  </a:lnTo>
                  <a:lnTo>
                    <a:pt x="281" y="115"/>
                  </a:lnTo>
                  <a:lnTo>
                    <a:pt x="279" y="100"/>
                  </a:lnTo>
                  <a:lnTo>
                    <a:pt x="273" y="88"/>
                  </a:lnTo>
                  <a:lnTo>
                    <a:pt x="267" y="76"/>
                  </a:lnTo>
                  <a:lnTo>
                    <a:pt x="260" y="64"/>
                  </a:lnTo>
                  <a:lnTo>
                    <a:pt x="252" y="53"/>
                  </a:lnTo>
                  <a:lnTo>
                    <a:pt x="242" y="43"/>
                  </a:lnTo>
                  <a:lnTo>
                    <a:pt x="234" y="33"/>
                  </a:lnTo>
                  <a:lnTo>
                    <a:pt x="222" y="25"/>
                  </a:lnTo>
                  <a:lnTo>
                    <a:pt x="209" y="18"/>
                  </a:lnTo>
                  <a:lnTo>
                    <a:pt x="197" y="12"/>
                  </a:lnTo>
                  <a:lnTo>
                    <a:pt x="185" y="8"/>
                  </a:lnTo>
                  <a:lnTo>
                    <a:pt x="170" y="4"/>
                  </a:lnTo>
                  <a:lnTo>
                    <a:pt x="156" y="2"/>
                  </a:lnTo>
                  <a:lnTo>
                    <a:pt x="142" y="0"/>
                  </a:lnTo>
                  <a:lnTo>
                    <a:pt x="142" y="0"/>
                  </a:lnTo>
                  <a:close/>
                  <a:moveTo>
                    <a:pt x="154" y="215"/>
                  </a:moveTo>
                  <a:lnTo>
                    <a:pt x="154" y="238"/>
                  </a:lnTo>
                  <a:lnTo>
                    <a:pt x="125" y="238"/>
                  </a:lnTo>
                  <a:lnTo>
                    <a:pt x="125" y="217"/>
                  </a:lnTo>
                  <a:lnTo>
                    <a:pt x="125" y="217"/>
                  </a:lnTo>
                  <a:lnTo>
                    <a:pt x="99" y="213"/>
                  </a:lnTo>
                  <a:lnTo>
                    <a:pt x="80" y="207"/>
                  </a:lnTo>
                  <a:lnTo>
                    <a:pt x="88" y="174"/>
                  </a:lnTo>
                  <a:lnTo>
                    <a:pt x="88" y="174"/>
                  </a:lnTo>
                  <a:lnTo>
                    <a:pt x="107" y="180"/>
                  </a:lnTo>
                  <a:lnTo>
                    <a:pt x="119" y="182"/>
                  </a:lnTo>
                  <a:lnTo>
                    <a:pt x="133" y="184"/>
                  </a:lnTo>
                  <a:lnTo>
                    <a:pt x="133" y="184"/>
                  </a:lnTo>
                  <a:lnTo>
                    <a:pt x="142" y="182"/>
                  </a:lnTo>
                  <a:lnTo>
                    <a:pt x="150" y="182"/>
                  </a:lnTo>
                  <a:lnTo>
                    <a:pt x="154" y="178"/>
                  </a:lnTo>
                  <a:lnTo>
                    <a:pt x="156" y="172"/>
                  </a:lnTo>
                  <a:lnTo>
                    <a:pt x="156" y="172"/>
                  </a:lnTo>
                  <a:lnTo>
                    <a:pt x="154" y="168"/>
                  </a:lnTo>
                  <a:lnTo>
                    <a:pt x="150" y="164"/>
                  </a:lnTo>
                  <a:lnTo>
                    <a:pt x="140" y="160"/>
                  </a:lnTo>
                  <a:lnTo>
                    <a:pt x="129" y="156"/>
                  </a:lnTo>
                  <a:lnTo>
                    <a:pt x="129" y="156"/>
                  </a:lnTo>
                  <a:lnTo>
                    <a:pt x="109" y="150"/>
                  </a:lnTo>
                  <a:lnTo>
                    <a:pt x="94" y="139"/>
                  </a:lnTo>
                  <a:lnTo>
                    <a:pt x="88" y="133"/>
                  </a:lnTo>
                  <a:lnTo>
                    <a:pt x="84" y="127"/>
                  </a:lnTo>
                  <a:lnTo>
                    <a:pt x="82" y="119"/>
                  </a:lnTo>
                  <a:lnTo>
                    <a:pt x="80" y="111"/>
                  </a:lnTo>
                  <a:lnTo>
                    <a:pt x="80" y="111"/>
                  </a:lnTo>
                  <a:lnTo>
                    <a:pt x="82" y="102"/>
                  </a:lnTo>
                  <a:lnTo>
                    <a:pt x="84" y="96"/>
                  </a:lnTo>
                  <a:lnTo>
                    <a:pt x="86" y="90"/>
                  </a:lnTo>
                  <a:lnTo>
                    <a:pt x="92" y="84"/>
                  </a:lnTo>
                  <a:lnTo>
                    <a:pt x="99" y="78"/>
                  </a:lnTo>
                  <a:lnTo>
                    <a:pt x="107" y="74"/>
                  </a:lnTo>
                  <a:lnTo>
                    <a:pt x="115" y="70"/>
                  </a:lnTo>
                  <a:lnTo>
                    <a:pt x="125" y="68"/>
                  </a:lnTo>
                  <a:lnTo>
                    <a:pt x="125" y="45"/>
                  </a:lnTo>
                  <a:lnTo>
                    <a:pt x="156" y="45"/>
                  </a:lnTo>
                  <a:lnTo>
                    <a:pt x="156" y="66"/>
                  </a:lnTo>
                  <a:lnTo>
                    <a:pt x="156" y="66"/>
                  </a:lnTo>
                  <a:lnTo>
                    <a:pt x="178" y="68"/>
                  </a:lnTo>
                  <a:lnTo>
                    <a:pt x="195" y="74"/>
                  </a:lnTo>
                  <a:lnTo>
                    <a:pt x="187" y="104"/>
                  </a:lnTo>
                  <a:lnTo>
                    <a:pt x="187" y="104"/>
                  </a:lnTo>
                  <a:lnTo>
                    <a:pt x="170" y="100"/>
                  </a:lnTo>
                  <a:lnTo>
                    <a:pt x="160" y="96"/>
                  </a:lnTo>
                  <a:lnTo>
                    <a:pt x="148" y="96"/>
                  </a:lnTo>
                  <a:lnTo>
                    <a:pt x="148" y="96"/>
                  </a:lnTo>
                  <a:lnTo>
                    <a:pt x="138" y="96"/>
                  </a:lnTo>
                  <a:lnTo>
                    <a:pt x="131" y="100"/>
                  </a:lnTo>
                  <a:lnTo>
                    <a:pt x="127" y="102"/>
                  </a:lnTo>
                  <a:lnTo>
                    <a:pt x="127" y="107"/>
                  </a:lnTo>
                  <a:lnTo>
                    <a:pt x="127" y="107"/>
                  </a:lnTo>
                  <a:lnTo>
                    <a:pt x="129" y="111"/>
                  </a:lnTo>
                  <a:lnTo>
                    <a:pt x="133" y="115"/>
                  </a:lnTo>
                  <a:lnTo>
                    <a:pt x="158" y="123"/>
                  </a:lnTo>
                  <a:lnTo>
                    <a:pt x="158" y="123"/>
                  </a:lnTo>
                  <a:lnTo>
                    <a:pt x="178" y="131"/>
                  </a:lnTo>
                  <a:lnTo>
                    <a:pt x="187" y="137"/>
                  </a:lnTo>
                  <a:lnTo>
                    <a:pt x="191" y="141"/>
                  </a:lnTo>
                  <a:lnTo>
                    <a:pt x="197" y="148"/>
                  </a:lnTo>
                  <a:lnTo>
                    <a:pt x="199" y="154"/>
                  </a:lnTo>
                  <a:lnTo>
                    <a:pt x="201" y="162"/>
                  </a:lnTo>
                  <a:lnTo>
                    <a:pt x="201" y="168"/>
                  </a:lnTo>
                  <a:lnTo>
                    <a:pt x="201" y="168"/>
                  </a:lnTo>
                  <a:lnTo>
                    <a:pt x="201" y="176"/>
                  </a:lnTo>
                  <a:lnTo>
                    <a:pt x="199" y="184"/>
                  </a:lnTo>
                  <a:lnTo>
                    <a:pt x="195" y="193"/>
                  </a:lnTo>
                  <a:lnTo>
                    <a:pt x="189" y="199"/>
                  </a:lnTo>
                  <a:lnTo>
                    <a:pt x="183" y="203"/>
                  </a:lnTo>
                  <a:lnTo>
                    <a:pt x="174" y="209"/>
                  </a:lnTo>
                  <a:lnTo>
                    <a:pt x="164" y="211"/>
                  </a:lnTo>
                  <a:lnTo>
                    <a:pt x="154" y="215"/>
                  </a:lnTo>
                  <a:lnTo>
                    <a:pt x="154" y="215"/>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nvGrpSpPr>
          <p:cNvPr id="43" name="组合 42"/>
          <p:cNvGrpSpPr/>
          <p:nvPr/>
        </p:nvGrpSpPr>
        <p:grpSpPr>
          <a:xfrm>
            <a:off x="1981166" y="5617119"/>
            <a:ext cx="544183" cy="375283"/>
            <a:chOff x="5200167" y="4920434"/>
            <a:chExt cx="544183" cy="375283"/>
          </a:xfrm>
          <a:solidFill>
            <a:schemeClr val="bg1"/>
          </a:solidFill>
        </p:grpSpPr>
        <p:sp>
          <p:nvSpPr>
            <p:cNvPr id="44" name="Freeform 40"/>
            <p:cNvSpPr>
              <a:spLocks noEditPoints="1"/>
            </p:cNvSpPr>
            <p:nvPr/>
          </p:nvSpPr>
          <p:spPr bwMode="auto">
            <a:xfrm>
              <a:off x="5200167" y="5185074"/>
              <a:ext cx="381154" cy="110643"/>
            </a:xfrm>
            <a:custGeom>
              <a:avLst/>
              <a:gdLst>
                <a:gd name="T0" fmla="*/ 669 w 844"/>
                <a:gd name="T1" fmla="*/ 43 h 245"/>
                <a:gd name="T2" fmla="*/ 652 w 844"/>
                <a:gd name="T3" fmla="*/ 0 h 245"/>
                <a:gd name="T4" fmla="*/ 115 w 844"/>
                <a:gd name="T5" fmla="*/ 0 h 245"/>
                <a:gd name="T6" fmla="*/ 70 w 844"/>
                <a:gd name="T7" fmla="*/ 7 h 245"/>
                <a:gd name="T8" fmla="*/ 34 w 844"/>
                <a:gd name="T9" fmla="*/ 30 h 245"/>
                <a:gd name="T10" fmla="*/ 8 w 844"/>
                <a:gd name="T11" fmla="*/ 62 h 245"/>
                <a:gd name="T12" fmla="*/ 0 w 844"/>
                <a:gd name="T13" fmla="*/ 103 h 245"/>
                <a:gd name="T14" fmla="*/ 0 w 844"/>
                <a:gd name="T15" fmla="*/ 143 h 245"/>
                <a:gd name="T16" fmla="*/ 8 w 844"/>
                <a:gd name="T17" fmla="*/ 184 h 245"/>
                <a:gd name="T18" fmla="*/ 34 w 844"/>
                <a:gd name="T19" fmla="*/ 216 h 245"/>
                <a:gd name="T20" fmla="*/ 70 w 844"/>
                <a:gd name="T21" fmla="*/ 239 h 245"/>
                <a:gd name="T22" fmla="*/ 115 w 844"/>
                <a:gd name="T23" fmla="*/ 245 h 245"/>
                <a:gd name="T24" fmla="*/ 832 w 844"/>
                <a:gd name="T25" fmla="*/ 245 h 245"/>
                <a:gd name="T26" fmla="*/ 844 w 844"/>
                <a:gd name="T27" fmla="*/ 245 h 245"/>
                <a:gd name="T28" fmla="*/ 787 w 844"/>
                <a:gd name="T29" fmla="*/ 201 h 245"/>
                <a:gd name="T30" fmla="*/ 740 w 844"/>
                <a:gd name="T31" fmla="*/ 152 h 245"/>
                <a:gd name="T32" fmla="*/ 699 w 844"/>
                <a:gd name="T33" fmla="*/ 98 h 245"/>
                <a:gd name="T34" fmla="*/ 669 w 844"/>
                <a:gd name="T35" fmla="*/ 43 h 245"/>
                <a:gd name="T36" fmla="*/ 143 w 844"/>
                <a:gd name="T37" fmla="*/ 162 h 245"/>
                <a:gd name="T38" fmla="*/ 136 w 844"/>
                <a:gd name="T39" fmla="*/ 162 h 245"/>
                <a:gd name="T40" fmla="*/ 121 w 844"/>
                <a:gd name="T41" fmla="*/ 156 h 245"/>
                <a:gd name="T42" fmla="*/ 111 w 844"/>
                <a:gd name="T43" fmla="*/ 145 h 245"/>
                <a:gd name="T44" fmla="*/ 104 w 844"/>
                <a:gd name="T45" fmla="*/ 130 h 245"/>
                <a:gd name="T46" fmla="*/ 104 w 844"/>
                <a:gd name="T47" fmla="*/ 122 h 245"/>
                <a:gd name="T48" fmla="*/ 107 w 844"/>
                <a:gd name="T49" fmla="*/ 107 h 245"/>
                <a:gd name="T50" fmla="*/ 115 w 844"/>
                <a:gd name="T51" fmla="*/ 94 h 245"/>
                <a:gd name="T52" fmla="*/ 128 w 844"/>
                <a:gd name="T53" fmla="*/ 86 h 245"/>
                <a:gd name="T54" fmla="*/ 143 w 844"/>
                <a:gd name="T55" fmla="*/ 83 h 245"/>
                <a:gd name="T56" fmla="*/ 151 w 844"/>
                <a:gd name="T57" fmla="*/ 83 h 245"/>
                <a:gd name="T58" fmla="*/ 166 w 844"/>
                <a:gd name="T59" fmla="*/ 90 h 245"/>
                <a:gd name="T60" fmla="*/ 177 w 844"/>
                <a:gd name="T61" fmla="*/ 100 h 245"/>
                <a:gd name="T62" fmla="*/ 183 w 844"/>
                <a:gd name="T63" fmla="*/ 115 h 245"/>
                <a:gd name="T64" fmla="*/ 183 w 844"/>
                <a:gd name="T65" fmla="*/ 122 h 245"/>
                <a:gd name="T66" fmla="*/ 181 w 844"/>
                <a:gd name="T67" fmla="*/ 139 h 245"/>
                <a:gd name="T68" fmla="*/ 173 w 844"/>
                <a:gd name="T69" fmla="*/ 152 h 245"/>
                <a:gd name="T70" fmla="*/ 160 w 844"/>
                <a:gd name="T71" fmla="*/ 160 h 245"/>
                <a:gd name="T72" fmla="*/ 143 w 844"/>
                <a:gd name="T73" fmla="*/ 16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4" h="245">
                  <a:moveTo>
                    <a:pt x="669" y="43"/>
                  </a:moveTo>
                  <a:lnTo>
                    <a:pt x="669" y="43"/>
                  </a:lnTo>
                  <a:lnTo>
                    <a:pt x="661" y="22"/>
                  </a:lnTo>
                  <a:lnTo>
                    <a:pt x="652" y="0"/>
                  </a:lnTo>
                  <a:lnTo>
                    <a:pt x="115" y="0"/>
                  </a:lnTo>
                  <a:lnTo>
                    <a:pt x="115" y="0"/>
                  </a:lnTo>
                  <a:lnTo>
                    <a:pt x="92" y="2"/>
                  </a:lnTo>
                  <a:lnTo>
                    <a:pt x="70" y="7"/>
                  </a:lnTo>
                  <a:lnTo>
                    <a:pt x="51" y="17"/>
                  </a:lnTo>
                  <a:lnTo>
                    <a:pt x="34" y="30"/>
                  </a:lnTo>
                  <a:lnTo>
                    <a:pt x="19" y="45"/>
                  </a:lnTo>
                  <a:lnTo>
                    <a:pt x="8" y="62"/>
                  </a:lnTo>
                  <a:lnTo>
                    <a:pt x="2" y="81"/>
                  </a:lnTo>
                  <a:lnTo>
                    <a:pt x="0" y="103"/>
                  </a:lnTo>
                  <a:lnTo>
                    <a:pt x="0" y="143"/>
                  </a:lnTo>
                  <a:lnTo>
                    <a:pt x="0" y="143"/>
                  </a:lnTo>
                  <a:lnTo>
                    <a:pt x="2" y="164"/>
                  </a:lnTo>
                  <a:lnTo>
                    <a:pt x="8" y="184"/>
                  </a:lnTo>
                  <a:lnTo>
                    <a:pt x="19" y="201"/>
                  </a:lnTo>
                  <a:lnTo>
                    <a:pt x="34" y="216"/>
                  </a:lnTo>
                  <a:lnTo>
                    <a:pt x="51" y="228"/>
                  </a:lnTo>
                  <a:lnTo>
                    <a:pt x="70" y="239"/>
                  </a:lnTo>
                  <a:lnTo>
                    <a:pt x="92" y="243"/>
                  </a:lnTo>
                  <a:lnTo>
                    <a:pt x="115" y="245"/>
                  </a:lnTo>
                  <a:lnTo>
                    <a:pt x="832" y="245"/>
                  </a:lnTo>
                  <a:lnTo>
                    <a:pt x="832" y="245"/>
                  </a:lnTo>
                  <a:lnTo>
                    <a:pt x="844" y="245"/>
                  </a:lnTo>
                  <a:lnTo>
                    <a:pt x="844" y="245"/>
                  </a:lnTo>
                  <a:lnTo>
                    <a:pt x="814" y="224"/>
                  </a:lnTo>
                  <a:lnTo>
                    <a:pt x="787" y="201"/>
                  </a:lnTo>
                  <a:lnTo>
                    <a:pt x="761" y="177"/>
                  </a:lnTo>
                  <a:lnTo>
                    <a:pt x="740" y="152"/>
                  </a:lnTo>
                  <a:lnTo>
                    <a:pt x="719" y="124"/>
                  </a:lnTo>
                  <a:lnTo>
                    <a:pt x="699" y="98"/>
                  </a:lnTo>
                  <a:lnTo>
                    <a:pt x="684" y="71"/>
                  </a:lnTo>
                  <a:lnTo>
                    <a:pt x="669" y="43"/>
                  </a:lnTo>
                  <a:lnTo>
                    <a:pt x="669" y="43"/>
                  </a:lnTo>
                  <a:close/>
                  <a:moveTo>
                    <a:pt x="143" y="162"/>
                  </a:moveTo>
                  <a:lnTo>
                    <a:pt x="143" y="162"/>
                  </a:lnTo>
                  <a:lnTo>
                    <a:pt x="136" y="162"/>
                  </a:lnTo>
                  <a:lnTo>
                    <a:pt x="128" y="160"/>
                  </a:lnTo>
                  <a:lnTo>
                    <a:pt x="121" y="156"/>
                  </a:lnTo>
                  <a:lnTo>
                    <a:pt x="115" y="152"/>
                  </a:lnTo>
                  <a:lnTo>
                    <a:pt x="111" y="145"/>
                  </a:lnTo>
                  <a:lnTo>
                    <a:pt x="107" y="139"/>
                  </a:lnTo>
                  <a:lnTo>
                    <a:pt x="104" y="130"/>
                  </a:lnTo>
                  <a:lnTo>
                    <a:pt x="104" y="122"/>
                  </a:lnTo>
                  <a:lnTo>
                    <a:pt x="104" y="122"/>
                  </a:lnTo>
                  <a:lnTo>
                    <a:pt x="104" y="115"/>
                  </a:lnTo>
                  <a:lnTo>
                    <a:pt x="107" y="107"/>
                  </a:lnTo>
                  <a:lnTo>
                    <a:pt x="111" y="100"/>
                  </a:lnTo>
                  <a:lnTo>
                    <a:pt x="115" y="94"/>
                  </a:lnTo>
                  <a:lnTo>
                    <a:pt x="121" y="90"/>
                  </a:lnTo>
                  <a:lnTo>
                    <a:pt x="128" y="86"/>
                  </a:lnTo>
                  <a:lnTo>
                    <a:pt x="136" y="83"/>
                  </a:lnTo>
                  <a:lnTo>
                    <a:pt x="143" y="83"/>
                  </a:lnTo>
                  <a:lnTo>
                    <a:pt x="143" y="83"/>
                  </a:lnTo>
                  <a:lnTo>
                    <a:pt x="151" y="83"/>
                  </a:lnTo>
                  <a:lnTo>
                    <a:pt x="160" y="86"/>
                  </a:lnTo>
                  <a:lnTo>
                    <a:pt x="166" y="90"/>
                  </a:lnTo>
                  <a:lnTo>
                    <a:pt x="173" y="94"/>
                  </a:lnTo>
                  <a:lnTo>
                    <a:pt x="177" y="100"/>
                  </a:lnTo>
                  <a:lnTo>
                    <a:pt x="181" y="107"/>
                  </a:lnTo>
                  <a:lnTo>
                    <a:pt x="183" y="115"/>
                  </a:lnTo>
                  <a:lnTo>
                    <a:pt x="183" y="122"/>
                  </a:lnTo>
                  <a:lnTo>
                    <a:pt x="183" y="122"/>
                  </a:lnTo>
                  <a:lnTo>
                    <a:pt x="183" y="130"/>
                  </a:lnTo>
                  <a:lnTo>
                    <a:pt x="181" y="139"/>
                  </a:lnTo>
                  <a:lnTo>
                    <a:pt x="177" y="145"/>
                  </a:lnTo>
                  <a:lnTo>
                    <a:pt x="173" y="152"/>
                  </a:lnTo>
                  <a:lnTo>
                    <a:pt x="166" y="156"/>
                  </a:lnTo>
                  <a:lnTo>
                    <a:pt x="160" y="160"/>
                  </a:lnTo>
                  <a:lnTo>
                    <a:pt x="151" y="162"/>
                  </a:lnTo>
                  <a:lnTo>
                    <a:pt x="143" y="162"/>
                  </a:lnTo>
                  <a:lnTo>
                    <a:pt x="143" y="162"/>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5" name="Freeform 41"/>
            <p:cNvSpPr>
              <a:spLocks noEditPoints="1"/>
            </p:cNvSpPr>
            <p:nvPr/>
          </p:nvSpPr>
          <p:spPr bwMode="auto">
            <a:xfrm>
              <a:off x="5200167" y="5052302"/>
              <a:ext cx="289930" cy="111546"/>
            </a:xfrm>
            <a:custGeom>
              <a:avLst/>
              <a:gdLst>
                <a:gd name="T0" fmla="*/ 115 w 642"/>
                <a:gd name="T1" fmla="*/ 0 h 247"/>
                <a:gd name="T2" fmla="*/ 92 w 642"/>
                <a:gd name="T3" fmla="*/ 2 h 247"/>
                <a:gd name="T4" fmla="*/ 51 w 642"/>
                <a:gd name="T5" fmla="*/ 19 h 247"/>
                <a:gd name="T6" fmla="*/ 19 w 642"/>
                <a:gd name="T7" fmla="*/ 47 h 247"/>
                <a:gd name="T8" fmla="*/ 2 w 642"/>
                <a:gd name="T9" fmla="*/ 83 h 247"/>
                <a:gd name="T10" fmla="*/ 0 w 642"/>
                <a:gd name="T11" fmla="*/ 143 h 247"/>
                <a:gd name="T12" fmla="*/ 2 w 642"/>
                <a:gd name="T13" fmla="*/ 164 h 247"/>
                <a:gd name="T14" fmla="*/ 19 w 642"/>
                <a:gd name="T15" fmla="*/ 203 h 247"/>
                <a:gd name="T16" fmla="*/ 51 w 642"/>
                <a:gd name="T17" fmla="*/ 230 h 247"/>
                <a:gd name="T18" fmla="*/ 92 w 642"/>
                <a:gd name="T19" fmla="*/ 245 h 247"/>
                <a:gd name="T20" fmla="*/ 642 w 642"/>
                <a:gd name="T21" fmla="*/ 247 h 247"/>
                <a:gd name="T22" fmla="*/ 635 w 642"/>
                <a:gd name="T23" fmla="*/ 213 h 247"/>
                <a:gd name="T24" fmla="*/ 625 w 642"/>
                <a:gd name="T25" fmla="*/ 113 h 247"/>
                <a:gd name="T26" fmla="*/ 623 w 642"/>
                <a:gd name="T27" fmla="*/ 0 h 247"/>
                <a:gd name="T28" fmla="*/ 143 w 642"/>
                <a:gd name="T29" fmla="*/ 164 h 247"/>
                <a:gd name="T30" fmla="*/ 136 w 642"/>
                <a:gd name="T31" fmla="*/ 164 h 247"/>
                <a:gd name="T32" fmla="*/ 121 w 642"/>
                <a:gd name="T33" fmla="*/ 158 h 247"/>
                <a:gd name="T34" fmla="*/ 111 w 642"/>
                <a:gd name="T35" fmla="*/ 147 h 247"/>
                <a:gd name="T36" fmla="*/ 104 w 642"/>
                <a:gd name="T37" fmla="*/ 132 h 247"/>
                <a:gd name="T38" fmla="*/ 104 w 642"/>
                <a:gd name="T39" fmla="*/ 124 h 247"/>
                <a:gd name="T40" fmla="*/ 107 w 642"/>
                <a:gd name="T41" fmla="*/ 109 h 247"/>
                <a:gd name="T42" fmla="*/ 115 w 642"/>
                <a:gd name="T43" fmla="*/ 96 h 247"/>
                <a:gd name="T44" fmla="*/ 128 w 642"/>
                <a:gd name="T45" fmla="*/ 87 h 247"/>
                <a:gd name="T46" fmla="*/ 143 w 642"/>
                <a:gd name="T47" fmla="*/ 83 h 247"/>
                <a:gd name="T48" fmla="*/ 151 w 642"/>
                <a:gd name="T49" fmla="*/ 85 h 247"/>
                <a:gd name="T50" fmla="*/ 166 w 642"/>
                <a:gd name="T51" fmla="*/ 92 h 247"/>
                <a:gd name="T52" fmla="*/ 177 w 642"/>
                <a:gd name="T53" fmla="*/ 102 h 247"/>
                <a:gd name="T54" fmla="*/ 183 w 642"/>
                <a:gd name="T55" fmla="*/ 115 h 247"/>
                <a:gd name="T56" fmla="*/ 183 w 642"/>
                <a:gd name="T57" fmla="*/ 124 h 247"/>
                <a:gd name="T58" fmla="*/ 181 w 642"/>
                <a:gd name="T59" fmla="*/ 141 h 247"/>
                <a:gd name="T60" fmla="*/ 173 w 642"/>
                <a:gd name="T61" fmla="*/ 154 h 247"/>
                <a:gd name="T62" fmla="*/ 160 w 642"/>
                <a:gd name="T63" fmla="*/ 162 h 247"/>
                <a:gd name="T64" fmla="*/ 143 w 642"/>
                <a:gd name="T65" fmla="*/ 16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2" h="247">
                  <a:moveTo>
                    <a:pt x="623" y="0"/>
                  </a:moveTo>
                  <a:lnTo>
                    <a:pt x="115" y="0"/>
                  </a:lnTo>
                  <a:lnTo>
                    <a:pt x="115" y="0"/>
                  </a:lnTo>
                  <a:lnTo>
                    <a:pt x="92" y="2"/>
                  </a:lnTo>
                  <a:lnTo>
                    <a:pt x="70" y="9"/>
                  </a:lnTo>
                  <a:lnTo>
                    <a:pt x="51" y="19"/>
                  </a:lnTo>
                  <a:lnTo>
                    <a:pt x="34" y="32"/>
                  </a:lnTo>
                  <a:lnTo>
                    <a:pt x="19" y="47"/>
                  </a:lnTo>
                  <a:lnTo>
                    <a:pt x="8" y="64"/>
                  </a:lnTo>
                  <a:lnTo>
                    <a:pt x="2" y="83"/>
                  </a:lnTo>
                  <a:lnTo>
                    <a:pt x="0" y="105"/>
                  </a:lnTo>
                  <a:lnTo>
                    <a:pt x="0" y="143"/>
                  </a:lnTo>
                  <a:lnTo>
                    <a:pt x="0" y="143"/>
                  </a:lnTo>
                  <a:lnTo>
                    <a:pt x="2" y="164"/>
                  </a:lnTo>
                  <a:lnTo>
                    <a:pt x="8" y="183"/>
                  </a:lnTo>
                  <a:lnTo>
                    <a:pt x="19" y="203"/>
                  </a:lnTo>
                  <a:lnTo>
                    <a:pt x="34" y="218"/>
                  </a:lnTo>
                  <a:lnTo>
                    <a:pt x="51" y="230"/>
                  </a:lnTo>
                  <a:lnTo>
                    <a:pt x="70" y="239"/>
                  </a:lnTo>
                  <a:lnTo>
                    <a:pt x="92" y="245"/>
                  </a:lnTo>
                  <a:lnTo>
                    <a:pt x="115" y="247"/>
                  </a:lnTo>
                  <a:lnTo>
                    <a:pt x="642" y="247"/>
                  </a:lnTo>
                  <a:lnTo>
                    <a:pt x="642" y="247"/>
                  </a:lnTo>
                  <a:lnTo>
                    <a:pt x="635" y="213"/>
                  </a:lnTo>
                  <a:lnTo>
                    <a:pt x="631" y="179"/>
                  </a:lnTo>
                  <a:lnTo>
                    <a:pt x="625" y="113"/>
                  </a:lnTo>
                  <a:lnTo>
                    <a:pt x="623" y="51"/>
                  </a:lnTo>
                  <a:lnTo>
                    <a:pt x="623" y="0"/>
                  </a:lnTo>
                  <a:lnTo>
                    <a:pt x="623" y="0"/>
                  </a:lnTo>
                  <a:close/>
                  <a:moveTo>
                    <a:pt x="143" y="164"/>
                  </a:moveTo>
                  <a:lnTo>
                    <a:pt x="143" y="164"/>
                  </a:lnTo>
                  <a:lnTo>
                    <a:pt x="136" y="164"/>
                  </a:lnTo>
                  <a:lnTo>
                    <a:pt x="128" y="162"/>
                  </a:lnTo>
                  <a:lnTo>
                    <a:pt x="121" y="158"/>
                  </a:lnTo>
                  <a:lnTo>
                    <a:pt x="115" y="154"/>
                  </a:lnTo>
                  <a:lnTo>
                    <a:pt x="111" y="147"/>
                  </a:lnTo>
                  <a:lnTo>
                    <a:pt x="107" y="141"/>
                  </a:lnTo>
                  <a:lnTo>
                    <a:pt x="104" y="132"/>
                  </a:lnTo>
                  <a:lnTo>
                    <a:pt x="104" y="124"/>
                  </a:lnTo>
                  <a:lnTo>
                    <a:pt x="104" y="124"/>
                  </a:lnTo>
                  <a:lnTo>
                    <a:pt x="104" y="115"/>
                  </a:lnTo>
                  <a:lnTo>
                    <a:pt x="107" y="109"/>
                  </a:lnTo>
                  <a:lnTo>
                    <a:pt x="111" y="102"/>
                  </a:lnTo>
                  <a:lnTo>
                    <a:pt x="115" y="96"/>
                  </a:lnTo>
                  <a:lnTo>
                    <a:pt x="121" y="92"/>
                  </a:lnTo>
                  <a:lnTo>
                    <a:pt x="128" y="87"/>
                  </a:lnTo>
                  <a:lnTo>
                    <a:pt x="136" y="85"/>
                  </a:lnTo>
                  <a:lnTo>
                    <a:pt x="143" y="83"/>
                  </a:lnTo>
                  <a:lnTo>
                    <a:pt x="143" y="83"/>
                  </a:lnTo>
                  <a:lnTo>
                    <a:pt x="151" y="85"/>
                  </a:lnTo>
                  <a:lnTo>
                    <a:pt x="160" y="87"/>
                  </a:lnTo>
                  <a:lnTo>
                    <a:pt x="166" y="92"/>
                  </a:lnTo>
                  <a:lnTo>
                    <a:pt x="173" y="96"/>
                  </a:lnTo>
                  <a:lnTo>
                    <a:pt x="177" y="102"/>
                  </a:lnTo>
                  <a:lnTo>
                    <a:pt x="181" y="109"/>
                  </a:lnTo>
                  <a:lnTo>
                    <a:pt x="183" y="115"/>
                  </a:lnTo>
                  <a:lnTo>
                    <a:pt x="183" y="124"/>
                  </a:lnTo>
                  <a:lnTo>
                    <a:pt x="183" y="124"/>
                  </a:lnTo>
                  <a:lnTo>
                    <a:pt x="183" y="132"/>
                  </a:lnTo>
                  <a:lnTo>
                    <a:pt x="181" y="141"/>
                  </a:lnTo>
                  <a:lnTo>
                    <a:pt x="177" y="147"/>
                  </a:lnTo>
                  <a:lnTo>
                    <a:pt x="173" y="154"/>
                  </a:lnTo>
                  <a:lnTo>
                    <a:pt x="166" y="158"/>
                  </a:lnTo>
                  <a:lnTo>
                    <a:pt x="160" y="162"/>
                  </a:lnTo>
                  <a:lnTo>
                    <a:pt x="151" y="164"/>
                  </a:lnTo>
                  <a:lnTo>
                    <a:pt x="143" y="164"/>
                  </a:lnTo>
                  <a:lnTo>
                    <a:pt x="143" y="164"/>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6" name="Freeform 42"/>
            <p:cNvSpPr>
              <a:spLocks noEditPoints="1"/>
            </p:cNvSpPr>
            <p:nvPr/>
          </p:nvSpPr>
          <p:spPr bwMode="auto">
            <a:xfrm>
              <a:off x="5200167" y="4920434"/>
              <a:ext cx="427669" cy="111546"/>
            </a:xfrm>
            <a:custGeom>
              <a:avLst/>
              <a:gdLst>
                <a:gd name="T0" fmla="*/ 942 w 947"/>
                <a:gd name="T1" fmla="*/ 168 h 247"/>
                <a:gd name="T2" fmla="*/ 947 w 947"/>
                <a:gd name="T3" fmla="*/ 156 h 247"/>
                <a:gd name="T4" fmla="*/ 947 w 947"/>
                <a:gd name="T5" fmla="*/ 104 h 247"/>
                <a:gd name="T6" fmla="*/ 945 w 947"/>
                <a:gd name="T7" fmla="*/ 83 h 247"/>
                <a:gd name="T8" fmla="*/ 927 w 947"/>
                <a:gd name="T9" fmla="*/ 45 h 247"/>
                <a:gd name="T10" fmla="*/ 895 w 947"/>
                <a:gd name="T11" fmla="*/ 17 h 247"/>
                <a:gd name="T12" fmla="*/ 855 w 947"/>
                <a:gd name="T13" fmla="*/ 2 h 247"/>
                <a:gd name="T14" fmla="*/ 115 w 947"/>
                <a:gd name="T15" fmla="*/ 0 h 247"/>
                <a:gd name="T16" fmla="*/ 92 w 947"/>
                <a:gd name="T17" fmla="*/ 2 h 247"/>
                <a:gd name="T18" fmla="*/ 51 w 947"/>
                <a:gd name="T19" fmla="*/ 17 h 247"/>
                <a:gd name="T20" fmla="*/ 19 w 947"/>
                <a:gd name="T21" fmla="*/ 45 h 247"/>
                <a:gd name="T22" fmla="*/ 2 w 947"/>
                <a:gd name="T23" fmla="*/ 83 h 247"/>
                <a:gd name="T24" fmla="*/ 0 w 947"/>
                <a:gd name="T25" fmla="*/ 143 h 247"/>
                <a:gd name="T26" fmla="*/ 2 w 947"/>
                <a:gd name="T27" fmla="*/ 164 h 247"/>
                <a:gd name="T28" fmla="*/ 19 w 947"/>
                <a:gd name="T29" fmla="*/ 200 h 247"/>
                <a:gd name="T30" fmla="*/ 51 w 947"/>
                <a:gd name="T31" fmla="*/ 228 h 247"/>
                <a:gd name="T32" fmla="*/ 92 w 947"/>
                <a:gd name="T33" fmla="*/ 245 h 247"/>
                <a:gd name="T34" fmla="*/ 723 w 947"/>
                <a:gd name="T35" fmla="*/ 247 h 247"/>
                <a:gd name="T36" fmla="*/ 143 w 947"/>
                <a:gd name="T37" fmla="*/ 164 h 247"/>
                <a:gd name="T38" fmla="*/ 136 w 947"/>
                <a:gd name="T39" fmla="*/ 162 h 247"/>
                <a:gd name="T40" fmla="*/ 121 w 947"/>
                <a:gd name="T41" fmla="*/ 158 h 247"/>
                <a:gd name="T42" fmla="*/ 111 w 947"/>
                <a:gd name="T43" fmla="*/ 145 h 247"/>
                <a:gd name="T44" fmla="*/ 104 w 947"/>
                <a:gd name="T45" fmla="*/ 132 h 247"/>
                <a:gd name="T46" fmla="*/ 104 w 947"/>
                <a:gd name="T47" fmla="*/ 124 h 247"/>
                <a:gd name="T48" fmla="*/ 107 w 947"/>
                <a:gd name="T49" fmla="*/ 109 h 247"/>
                <a:gd name="T50" fmla="*/ 115 w 947"/>
                <a:gd name="T51" fmla="*/ 96 h 247"/>
                <a:gd name="T52" fmla="*/ 128 w 947"/>
                <a:gd name="T53" fmla="*/ 87 h 247"/>
                <a:gd name="T54" fmla="*/ 143 w 947"/>
                <a:gd name="T55" fmla="*/ 83 h 247"/>
                <a:gd name="T56" fmla="*/ 151 w 947"/>
                <a:gd name="T57" fmla="*/ 83 h 247"/>
                <a:gd name="T58" fmla="*/ 166 w 947"/>
                <a:gd name="T59" fmla="*/ 90 h 247"/>
                <a:gd name="T60" fmla="*/ 177 w 947"/>
                <a:gd name="T61" fmla="*/ 100 h 247"/>
                <a:gd name="T62" fmla="*/ 183 w 947"/>
                <a:gd name="T63" fmla="*/ 115 h 247"/>
                <a:gd name="T64" fmla="*/ 183 w 947"/>
                <a:gd name="T65" fmla="*/ 124 h 247"/>
                <a:gd name="T66" fmla="*/ 181 w 947"/>
                <a:gd name="T67" fmla="*/ 139 h 247"/>
                <a:gd name="T68" fmla="*/ 173 w 947"/>
                <a:gd name="T69" fmla="*/ 151 h 247"/>
                <a:gd name="T70" fmla="*/ 160 w 947"/>
                <a:gd name="T71" fmla="*/ 160 h 247"/>
                <a:gd name="T72" fmla="*/ 143 w 947"/>
                <a:gd name="T73" fmla="*/ 16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7" h="247">
                  <a:moveTo>
                    <a:pt x="936" y="166"/>
                  </a:moveTo>
                  <a:lnTo>
                    <a:pt x="942" y="168"/>
                  </a:lnTo>
                  <a:lnTo>
                    <a:pt x="942" y="168"/>
                  </a:lnTo>
                  <a:lnTo>
                    <a:pt x="947" y="156"/>
                  </a:lnTo>
                  <a:lnTo>
                    <a:pt x="947" y="143"/>
                  </a:lnTo>
                  <a:lnTo>
                    <a:pt x="947" y="104"/>
                  </a:lnTo>
                  <a:lnTo>
                    <a:pt x="947" y="104"/>
                  </a:lnTo>
                  <a:lnTo>
                    <a:pt x="945" y="83"/>
                  </a:lnTo>
                  <a:lnTo>
                    <a:pt x="938" y="64"/>
                  </a:lnTo>
                  <a:lnTo>
                    <a:pt x="927" y="45"/>
                  </a:lnTo>
                  <a:lnTo>
                    <a:pt x="913" y="30"/>
                  </a:lnTo>
                  <a:lnTo>
                    <a:pt x="895" y="17"/>
                  </a:lnTo>
                  <a:lnTo>
                    <a:pt x="876" y="9"/>
                  </a:lnTo>
                  <a:lnTo>
                    <a:pt x="855" y="2"/>
                  </a:lnTo>
                  <a:lnTo>
                    <a:pt x="832" y="0"/>
                  </a:lnTo>
                  <a:lnTo>
                    <a:pt x="115" y="0"/>
                  </a:lnTo>
                  <a:lnTo>
                    <a:pt x="115" y="0"/>
                  </a:lnTo>
                  <a:lnTo>
                    <a:pt x="92" y="2"/>
                  </a:lnTo>
                  <a:lnTo>
                    <a:pt x="70" y="9"/>
                  </a:lnTo>
                  <a:lnTo>
                    <a:pt x="51" y="17"/>
                  </a:lnTo>
                  <a:lnTo>
                    <a:pt x="34" y="30"/>
                  </a:lnTo>
                  <a:lnTo>
                    <a:pt x="19" y="45"/>
                  </a:lnTo>
                  <a:lnTo>
                    <a:pt x="8" y="64"/>
                  </a:lnTo>
                  <a:lnTo>
                    <a:pt x="2" y="83"/>
                  </a:lnTo>
                  <a:lnTo>
                    <a:pt x="0" y="104"/>
                  </a:lnTo>
                  <a:lnTo>
                    <a:pt x="0" y="143"/>
                  </a:lnTo>
                  <a:lnTo>
                    <a:pt x="0" y="143"/>
                  </a:lnTo>
                  <a:lnTo>
                    <a:pt x="2" y="164"/>
                  </a:lnTo>
                  <a:lnTo>
                    <a:pt x="8" y="183"/>
                  </a:lnTo>
                  <a:lnTo>
                    <a:pt x="19" y="200"/>
                  </a:lnTo>
                  <a:lnTo>
                    <a:pt x="34" y="217"/>
                  </a:lnTo>
                  <a:lnTo>
                    <a:pt x="51" y="228"/>
                  </a:lnTo>
                  <a:lnTo>
                    <a:pt x="70" y="239"/>
                  </a:lnTo>
                  <a:lnTo>
                    <a:pt x="92" y="245"/>
                  </a:lnTo>
                  <a:lnTo>
                    <a:pt x="115" y="247"/>
                  </a:lnTo>
                  <a:lnTo>
                    <a:pt x="723" y="247"/>
                  </a:lnTo>
                  <a:lnTo>
                    <a:pt x="936" y="166"/>
                  </a:lnTo>
                  <a:close/>
                  <a:moveTo>
                    <a:pt x="143" y="164"/>
                  </a:moveTo>
                  <a:lnTo>
                    <a:pt x="143" y="164"/>
                  </a:lnTo>
                  <a:lnTo>
                    <a:pt x="136" y="162"/>
                  </a:lnTo>
                  <a:lnTo>
                    <a:pt x="128" y="160"/>
                  </a:lnTo>
                  <a:lnTo>
                    <a:pt x="121" y="158"/>
                  </a:lnTo>
                  <a:lnTo>
                    <a:pt x="115" y="151"/>
                  </a:lnTo>
                  <a:lnTo>
                    <a:pt x="111" y="145"/>
                  </a:lnTo>
                  <a:lnTo>
                    <a:pt x="107" y="139"/>
                  </a:lnTo>
                  <a:lnTo>
                    <a:pt x="104" y="132"/>
                  </a:lnTo>
                  <a:lnTo>
                    <a:pt x="104" y="124"/>
                  </a:lnTo>
                  <a:lnTo>
                    <a:pt x="104" y="124"/>
                  </a:lnTo>
                  <a:lnTo>
                    <a:pt x="104" y="115"/>
                  </a:lnTo>
                  <a:lnTo>
                    <a:pt x="107" y="109"/>
                  </a:lnTo>
                  <a:lnTo>
                    <a:pt x="111" y="100"/>
                  </a:lnTo>
                  <a:lnTo>
                    <a:pt x="115" y="96"/>
                  </a:lnTo>
                  <a:lnTo>
                    <a:pt x="121" y="90"/>
                  </a:lnTo>
                  <a:lnTo>
                    <a:pt x="128" y="87"/>
                  </a:lnTo>
                  <a:lnTo>
                    <a:pt x="136" y="83"/>
                  </a:lnTo>
                  <a:lnTo>
                    <a:pt x="143" y="83"/>
                  </a:lnTo>
                  <a:lnTo>
                    <a:pt x="143" y="83"/>
                  </a:lnTo>
                  <a:lnTo>
                    <a:pt x="151" y="83"/>
                  </a:lnTo>
                  <a:lnTo>
                    <a:pt x="160" y="87"/>
                  </a:lnTo>
                  <a:lnTo>
                    <a:pt x="166" y="90"/>
                  </a:lnTo>
                  <a:lnTo>
                    <a:pt x="173" y="96"/>
                  </a:lnTo>
                  <a:lnTo>
                    <a:pt x="177" y="100"/>
                  </a:lnTo>
                  <a:lnTo>
                    <a:pt x="181" y="109"/>
                  </a:lnTo>
                  <a:lnTo>
                    <a:pt x="183" y="115"/>
                  </a:lnTo>
                  <a:lnTo>
                    <a:pt x="183" y="124"/>
                  </a:lnTo>
                  <a:lnTo>
                    <a:pt x="183" y="124"/>
                  </a:lnTo>
                  <a:lnTo>
                    <a:pt x="183" y="132"/>
                  </a:lnTo>
                  <a:lnTo>
                    <a:pt x="181" y="139"/>
                  </a:lnTo>
                  <a:lnTo>
                    <a:pt x="177" y="145"/>
                  </a:lnTo>
                  <a:lnTo>
                    <a:pt x="173" y="151"/>
                  </a:lnTo>
                  <a:lnTo>
                    <a:pt x="166" y="158"/>
                  </a:lnTo>
                  <a:lnTo>
                    <a:pt x="160" y="160"/>
                  </a:lnTo>
                  <a:lnTo>
                    <a:pt x="151" y="162"/>
                  </a:lnTo>
                  <a:lnTo>
                    <a:pt x="143" y="164"/>
                  </a:lnTo>
                  <a:lnTo>
                    <a:pt x="143" y="164"/>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nvGrpSpPr>
            <p:cNvPr id="47" name="组合 46"/>
            <p:cNvGrpSpPr/>
            <p:nvPr/>
          </p:nvGrpSpPr>
          <p:grpSpPr>
            <a:xfrm>
              <a:off x="5502290" y="5016626"/>
              <a:ext cx="242060" cy="279091"/>
              <a:chOff x="5502290" y="5016626"/>
              <a:chExt cx="242060" cy="279091"/>
            </a:xfrm>
            <a:grpFill/>
          </p:grpSpPr>
          <p:sp>
            <p:nvSpPr>
              <p:cNvPr id="48" name="Freeform 43"/>
              <p:cNvSpPr>
                <a:spLocks noEditPoints="1"/>
              </p:cNvSpPr>
              <p:nvPr/>
            </p:nvSpPr>
            <p:spPr bwMode="auto">
              <a:xfrm>
                <a:off x="5502290" y="5016626"/>
                <a:ext cx="242060" cy="279091"/>
              </a:xfrm>
              <a:custGeom>
                <a:avLst/>
                <a:gdLst>
                  <a:gd name="T0" fmla="*/ 536 w 536"/>
                  <a:gd name="T1" fmla="*/ 103 h 618"/>
                  <a:gd name="T2" fmla="*/ 0 w 536"/>
                  <a:gd name="T3" fmla="*/ 103 h 618"/>
                  <a:gd name="T4" fmla="*/ 0 w 536"/>
                  <a:gd name="T5" fmla="*/ 164 h 618"/>
                  <a:gd name="T6" fmla="*/ 5 w 536"/>
                  <a:gd name="T7" fmla="*/ 241 h 618"/>
                  <a:gd name="T8" fmla="*/ 18 w 536"/>
                  <a:gd name="T9" fmla="*/ 326 h 618"/>
                  <a:gd name="T10" fmla="*/ 32 w 536"/>
                  <a:gd name="T11" fmla="*/ 384 h 618"/>
                  <a:gd name="T12" fmla="*/ 41 w 536"/>
                  <a:gd name="T13" fmla="*/ 401 h 618"/>
                  <a:gd name="T14" fmla="*/ 77 w 536"/>
                  <a:gd name="T15" fmla="*/ 465 h 618"/>
                  <a:gd name="T16" fmla="*/ 126 w 536"/>
                  <a:gd name="T17" fmla="*/ 527 h 618"/>
                  <a:gd name="T18" fmla="*/ 190 w 536"/>
                  <a:gd name="T19" fmla="*/ 578 h 618"/>
                  <a:gd name="T20" fmla="*/ 248 w 536"/>
                  <a:gd name="T21" fmla="*/ 610 h 618"/>
                  <a:gd name="T22" fmla="*/ 267 w 536"/>
                  <a:gd name="T23" fmla="*/ 618 h 618"/>
                  <a:gd name="T24" fmla="*/ 310 w 536"/>
                  <a:gd name="T25" fmla="*/ 599 h 618"/>
                  <a:gd name="T26" fmla="*/ 380 w 536"/>
                  <a:gd name="T27" fmla="*/ 554 h 618"/>
                  <a:gd name="T28" fmla="*/ 435 w 536"/>
                  <a:gd name="T29" fmla="*/ 497 h 618"/>
                  <a:gd name="T30" fmla="*/ 478 w 536"/>
                  <a:gd name="T31" fmla="*/ 433 h 618"/>
                  <a:gd name="T32" fmla="*/ 495 w 536"/>
                  <a:gd name="T33" fmla="*/ 401 h 618"/>
                  <a:gd name="T34" fmla="*/ 508 w 536"/>
                  <a:gd name="T35" fmla="*/ 365 h 618"/>
                  <a:gd name="T36" fmla="*/ 527 w 536"/>
                  <a:gd name="T37" fmla="*/ 284 h 618"/>
                  <a:gd name="T38" fmla="*/ 534 w 536"/>
                  <a:gd name="T39" fmla="*/ 201 h 618"/>
                  <a:gd name="T40" fmla="*/ 534 w 536"/>
                  <a:gd name="T41" fmla="*/ 103 h 618"/>
                  <a:gd name="T42" fmla="*/ 478 w 536"/>
                  <a:gd name="T43" fmla="*/ 143 h 618"/>
                  <a:gd name="T44" fmla="*/ 476 w 536"/>
                  <a:gd name="T45" fmla="*/ 203 h 618"/>
                  <a:gd name="T46" fmla="*/ 467 w 536"/>
                  <a:gd name="T47" fmla="*/ 294 h 618"/>
                  <a:gd name="T48" fmla="*/ 455 w 536"/>
                  <a:gd name="T49" fmla="*/ 352 h 618"/>
                  <a:gd name="T50" fmla="*/ 444 w 536"/>
                  <a:gd name="T51" fmla="*/ 378 h 618"/>
                  <a:gd name="T52" fmla="*/ 414 w 536"/>
                  <a:gd name="T53" fmla="*/ 433 h 618"/>
                  <a:gd name="T54" fmla="*/ 374 w 536"/>
                  <a:gd name="T55" fmla="*/ 484 h 618"/>
                  <a:gd name="T56" fmla="*/ 327 w 536"/>
                  <a:gd name="T57" fmla="*/ 527 h 618"/>
                  <a:gd name="T58" fmla="*/ 267 w 536"/>
                  <a:gd name="T59" fmla="*/ 559 h 618"/>
                  <a:gd name="T60" fmla="*/ 237 w 536"/>
                  <a:gd name="T61" fmla="*/ 544 h 618"/>
                  <a:gd name="T62" fmla="*/ 184 w 536"/>
                  <a:gd name="T63" fmla="*/ 505 h 618"/>
                  <a:gd name="T64" fmla="*/ 141 w 536"/>
                  <a:gd name="T65" fmla="*/ 459 h 618"/>
                  <a:gd name="T66" fmla="*/ 105 w 536"/>
                  <a:gd name="T67" fmla="*/ 405 h 618"/>
                  <a:gd name="T68" fmla="*/ 92 w 536"/>
                  <a:gd name="T69" fmla="*/ 378 h 618"/>
                  <a:gd name="T70" fmla="*/ 73 w 536"/>
                  <a:gd name="T71" fmla="*/ 324 h 618"/>
                  <a:gd name="T72" fmla="*/ 64 w 536"/>
                  <a:gd name="T73" fmla="*/ 265 h 618"/>
                  <a:gd name="T74" fmla="*/ 58 w 536"/>
                  <a:gd name="T75" fmla="*/ 143 h 618"/>
                  <a:gd name="T76" fmla="*/ 480 w 536"/>
                  <a:gd name="T77" fmla="*/ 143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6" h="618">
                    <a:moveTo>
                      <a:pt x="534" y="103"/>
                    </a:moveTo>
                    <a:lnTo>
                      <a:pt x="536" y="103"/>
                    </a:lnTo>
                    <a:lnTo>
                      <a:pt x="267" y="0"/>
                    </a:lnTo>
                    <a:lnTo>
                      <a:pt x="0" y="103"/>
                    </a:lnTo>
                    <a:lnTo>
                      <a:pt x="0" y="103"/>
                    </a:lnTo>
                    <a:lnTo>
                      <a:pt x="0" y="164"/>
                    </a:lnTo>
                    <a:lnTo>
                      <a:pt x="3" y="201"/>
                    </a:lnTo>
                    <a:lnTo>
                      <a:pt x="5" y="241"/>
                    </a:lnTo>
                    <a:lnTo>
                      <a:pt x="9" y="284"/>
                    </a:lnTo>
                    <a:lnTo>
                      <a:pt x="18" y="326"/>
                    </a:lnTo>
                    <a:lnTo>
                      <a:pt x="26" y="365"/>
                    </a:lnTo>
                    <a:lnTo>
                      <a:pt x="32" y="384"/>
                    </a:lnTo>
                    <a:lnTo>
                      <a:pt x="41" y="401"/>
                    </a:lnTo>
                    <a:lnTo>
                      <a:pt x="41" y="401"/>
                    </a:lnTo>
                    <a:lnTo>
                      <a:pt x="58" y="433"/>
                    </a:lnTo>
                    <a:lnTo>
                      <a:pt x="77" y="465"/>
                    </a:lnTo>
                    <a:lnTo>
                      <a:pt x="101" y="497"/>
                    </a:lnTo>
                    <a:lnTo>
                      <a:pt x="126" y="527"/>
                    </a:lnTo>
                    <a:lnTo>
                      <a:pt x="156" y="554"/>
                    </a:lnTo>
                    <a:lnTo>
                      <a:pt x="190" y="578"/>
                    </a:lnTo>
                    <a:lnTo>
                      <a:pt x="226" y="599"/>
                    </a:lnTo>
                    <a:lnTo>
                      <a:pt x="248" y="610"/>
                    </a:lnTo>
                    <a:lnTo>
                      <a:pt x="267" y="618"/>
                    </a:lnTo>
                    <a:lnTo>
                      <a:pt x="267" y="618"/>
                    </a:lnTo>
                    <a:lnTo>
                      <a:pt x="288" y="610"/>
                    </a:lnTo>
                    <a:lnTo>
                      <a:pt x="310" y="599"/>
                    </a:lnTo>
                    <a:lnTo>
                      <a:pt x="346" y="578"/>
                    </a:lnTo>
                    <a:lnTo>
                      <a:pt x="380" y="554"/>
                    </a:lnTo>
                    <a:lnTo>
                      <a:pt x="410" y="527"/>
                    </a:lnTo>
                    <a:lnTo>
                      <a:pt x="435" y="497"/>
                    </a:lnTo>
                    <a:lnTo>
                      <a:pt x="459" y="465"/>
                    </a:lnTo>
                    <a:lnTo>
                      <a:pt x="478" y="433"/>
                    </a:lnTo>
                    <a:lnTo>
                      <a:pt x="495" y="401"/>
                    </a:lnTo>
                    <a:lnTo>
                      <a:pt x="495" y="401"/>
                    </a:lnTo>
                    <a:lnTo>
                      <a:pt x="502" y="384"/>
                    </a:lnTo>
                    <a:lnTo>
                      <a:pt x="508" y="365"/>
                    </a:lnTo>
                    <a:lnTo>
                      <a:pt x="519" y="326"/>
                    </a:lnTo>
                    <a:lnTo>
                      <a:pt x="527" y="284"/>
                    </a:lnTo>
                    <a:lnTo>
                      <a:pt x="531" y="241"/>
                    </a:lnTo>
                    <a:lnTo>
                      <a:pt x="534" y="201"/>
                    </a:lnTo>
                    <a:lnTo>
                      <a:pt x="534" y="164"/>
                    </a:lnTo>
                    <a:lnTo>
                      <a:pt x="534" y="103"/>
                    </a:lnTo>
                    <a:lnTo>
                      <a:pt x="534" y="103"/>
                    </a:lnTo>
                    <a:close/>
                    <a:moveTo>
                      <a:pt x="478" y="143"/>
                    </a:moveTo>
                    <a:lnTo>
                      <a:pt x="478" y="143"/>
                    </a:lnTo>
                    <a:lnTo>
                      <a:pt x="476" y="203"/>
                    </a:lnTo>
                    <a:lnTo>
                      <a:pt x="472" y="265"/>
                    </a:lnTo>
                    <a:lnTo>
                      <a:pt x="467" y="294"/>
                    </a:lnTo>
                    <a:lnTo>
                      <a:pt x="461" y="324"/>
                    </a:lnTo>
                    <a:lnTo>
                      <a:pt x="455" y="352"/>
                    </a:lnTo>
                    <a:lnTo>
                      <a:pt x="444" y="378"/>
                    </a:lnTo>
                    <a:lnTo>
                      <a:pt x="444" y="378"/>
                    </a:lnTo>
                    <a:lnTo>
                      <a:pt x="431" y="405"/>
                    </a:lnTo>
                    <a:lnTo>
                      <a:pt x="414" y="433"/>
                    </a:lnTo>
                    <a:lnTo>
                      <a:pt x="395" y="459"/>
                    </a:lnTo>
                    <a:lnTo>
                      <a:pt x="374" y="484"/>
                    </a:lnTo>
                    <a:lnTo>
                      <a:pt x="350" y="505"/>
                    </a:lnTo>
                    <a:lnTo>
                      <a:pt x="327" y="527"/>
                    </a:lnTo>
                    <a:lnTo>
                      <a:pt x="297" y="544"/>
                    </a:lnTo>
                    <a:lnTo>
                      <a:pt x="267" y="559"/>
                    </a:lnTo>
                    <a:lnTo>
                      <a:pt x="267" y="559"/>
                    </a:lnTo>
                    <a:lnTo>
                      <a:pt x="237" y="544"/>
                    </a:lnTo>
                    <a:lnTo>
                      <a:pt x="209" y="527"/>
                    </a:lnTo>
                    <a:lnTo>
                      <a:pt x="184" y="505"/>
                    </a:lnTo>
                    <a:lnTo>
                      <a:pt x="160" y="484"/>
                    </a:lnTo>
                    <a:lnTo>
                      <a:pt x="141" y="459"/>
                    </a:lnTo>
                    <a:lnTo>
                      <a:pt x="122" y="433"/>
                    </a:lnTo>
                    <a:lnTo>
                      <a:pt x="105" y="405"/>
                    </a:lnTo>
                    <a:lnTo>
                      <a:pt x="92" y="378"/>
                    </a:lnTo>
                    <a:lnTo>
                      <a:pt x="92" y="378"/>
                    </a:lnTo>
                    <a:lnTo>
                      <a:pt x="81" y="352"/>
                    </a:lnTo>
                    <a:lnTo>
                      <a:pt x="73" y="324"/>
                    </a:lnTo>
                    <a:lnTo>
                      <a:pt x="69" y="294"/>
                    </a:lnTo>
                    <a:lnTo>
                      <a:pt x="64" y="265"/>
                    </a:lnTo>
                    <a:lnTo>
                      <a:pt x="60" y="203"/>
                    </a:lnTo>
                    <a:lnTo>
                      <a:pt x="58" y="143"/>
                    </a:lnTo>
                    <a:lnTo>
                      <a:pt x="269" y="62"/>
                    </a:lnTo>
                    <a:lnTo>
                      <a:pt x="480" y="143"/>
                    </a:lnTo>
                    <a:lnTo>
                      <a:pt x="478" y="143"/>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49" name="Freeform 44"/>
              <p:cNvSpPr/>
              <p:nvPr/>
            </p:nvSpPr>
            <p:spPr bwMode="auto">
              <a:xfrm>
                <a:off x="5546999" y="5065850"/>
                <a:ext cx="142255" cy="121482"/>
              </a:xfrm>
              <a:custGeom>
                <a:avLst/>
                <a:gdLst>
                  <a:gd name="T0" fmla="*/ 170 w 315"/>
                  <a:gd name="T1" fmla="*/ 0 h 269"/>
                  <a:gd name="T2" fmla="*/ 0 w 315"/>
                  <a:gd name="T3" fmla="*/ 66 h 269"/>
                  <a:gd name="T4" fmla="*/ 0 w 315"/>
                  <a:gd name="T5" fmla="*/ 66 h 269"/>
                  <a:gd name="T6" fmla="*/ 2 w 315"/>
                  <a:gd name="T7" fmla="*/ 111 h 269"/>
                  <a:gd name="T8" fmla="*/ 6 w 315"/>
                  <a:gd name="T9" fmla="*/ 160 h 269"/>
                  <a:gd name="T10" fmla="*/ 10 w 315"/>
                  <a:gd name="T11" fmla="*/ 185 h 269"/>
                  <a:gd name="T12" fmla="*/ 14 w 315"/>
                  <a:gd name="T13" fmla="*/ 209 h 269"/>
                  <a:gd name="T14" fmla="*/ 21 w 315"/>
                  <a:gd name="T15" fmla="*/ 232 h 269"/>
                  <a:gd name="T16" fmla="*/ 27 w 315"/>
                  <a:gd name="T17" fmla="*/ 254 h 269"/>
                  <a:gd name="T18" fmla="*/ 27 w 315"/>
                  <a:gd name="T19" fmla="*/ 254 h 269"/>
                  <a:gd name="T20" fmla="*/ 36 w 315"/>
                  <a:gd name="T21" fmla="*/ 269 h 269"/>
                  <a:gd name="T22" fmla="*/ 315 w 315"/>
                  <a:gd name="T23" fmla="*/ 55 h 269"/>
                  <a:gd name="T24" fmla="*/ 170 w 315"/>
                  <a:gd name="T25"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5" h="269">
                    <a:moveTo>
                      <a:pt x="170" y="0"/>
                    </a:moveTo>
                    <a:lnTo>
                      <a:pt x="0" y="66"/>
                    </a:lnTo>
                    <a:lnTo>
                      <a:pt x="0" y="66"/>
                    </a:lnTo>
                    <a:lnTo>
                      <a:pt x="2" y="111"/>
                    </a:lnTo>
                    <a:lnTo>
                      <a:pt x="6" y="160"/>
                    </a:lnTo>
                    <a:lnTo>
                      <a:pt x="10" y="185"/>
                    </a:lnTo>
                    <a:lnTo>
                      <a:pt x="14" y="209"/>
                    </a:lnTo>
                    <a:lnTo>
                      <a:pt x="21" y="232"/>
                    </a:lnTo>
                    <a:lnTo>
                      <a:pt x="27" y="254"/>
                    </a:lnTo>
                    <a:lnTo>
                      <a:pt x="27" y="254"/>
                    </a:lnTo>
                    <a:lnTo>
                      <a:pt x="36" y="269"/>
                    </a:lnTo>
                    <a:lnTo>
                      <a:pt x="315" y="55"/>
                    </a:lnTo>
                    <a:lnTo>
                      <a:pt x="170" y="0"/>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0" name="Freeform 45"/>
              <p:cNvSpPr/>
              <p:nvPr/>
            </p:nvSpPr>
            <p:spPr bwMode="auto">
              <a:xfrm>
                <a:off x="5574547" y="5111914"/>
                <a:ext cx="124191" cy="135933"/>
              </a:xfrm>
              <a:custGeom>
                <a:avLst/>
                <a:gdLst>
                  <a:gd name="T0" fmla="*/ 0 w 275"/>
                  <a:gd name="T1" fmla="*/ 209 h 301"/>
                  <a:gd name="T2" fmla="*/ 0 w 275"/>
                  <a:gd name="T3" fmla="*/ 209 h 301"/>
                  <a:gd name="T4" fmla="*/ 24 w 275"/>
                  <a:gd name="T5" fmla="*/ 237 h 301"/>
                  <a:gd name="T6" fmla="*/ 47 w 275"/>
                  <a:gd name="T7" fmla="*/ 260 h 301"/>
                  <a:gd name="T8" fmla="*/ 77 w 275"/>
                  <a:gd name="T9" fmla="*/ 282 h 301"/>
                  <a:gd name="T10" fmla="*/ 92 w 275"/>
                  <a:gd name="T11" fmla="*/ 292 h 301"/>
                  <a:gd name="T12" fmla="*/ 107 w 275"/>
                  <a:gd name="T13" fmla="*/ 301 h 301"/>
                  <a:gd name="T14" fmla="*/ 107 w 275"/>
                  <a:gd name="T15" fmla="*/ 301 h 301"/>
                  <a:gd name="T16" fmla="*/ 133 w 275"/>
                  <a:gd name="T17" fmla="*/ 288 h 301"/>
                  <a:gd name="T18" fmla="*/ 154 w 275"/>
                  <a:gd name="T19" fmla="*/ 273 h 301"/>
                  <a:gd name="T20" fmla="*/ 175 w 275"/>
                  <a:gd name="T21" fmla="*/ 256 h 301"/>
                  <a:gd name="T22" fmla="*/ 192 w 275"/>
                  <a:gd name="T23" fmla="*/ 237 h 301"/>
                  <a:gd name="T24" fmla="*/ 209 w 275"/>
                  <a:gd name="T25" fmla="*/ 218 h 301"/>
                  <a:gd name="T26" fmla="*/ 224 w 275"/>
                  <a:gd name="T27" fmla="*/ 196 h 301"/>
                  <a:gd name="T28" fmla="*/ 237 w 275"/>
                  <a:gd name="T29" fmla="*/ 175 h 301"/>
                  <a:gd name="T30" fmla="*/ 248 w 275"/>
                  <a:gd name="T31" fmla="*/ 152 h 301"/>
                  <a:gd name="T32" fmla="*/ 248 w 275"/>
                  <a:gd name="T33" fmla="*/ 152 h 301"/>
                  <a:gd name="T34" fmla="*/ 256 w 275"/>
                  <a:gd name="T35" fmla="*/ 135 h 301"/>
                  <a:gd name="T36" fmla="*/ 261 w 275"/>
                  <a:gd name="T37" fmla="*/ 117 h 301"/>
                  <a:gd name="T38" fmla="*/ 269 w 275"/>
                  <a:gd name="T39" fmla="*/ 79 h 301"/>
                  <a:gd name="T40" fmla="*/ 273 w 275"/>
                  <a:gd name="T41" fmla="*/ 39 h 301"/>
                  <a:gd name="T42" fmla="*/ 275 w 275"/>
                  <a:gd name="T43" fmla="*/ 0 h 301"/>
                  <a:gd name="T44" fmla="*/ 0 w 275"/>
                  <a:gd name="T45" fmla="*/ 20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5" h="301">
                    <a:moveTo>
                      <a:pt x="0" y="209"/>
                    </a:moveTo>
                    <a:lnTo>
                      <a:pt x="0" y="209"/>
                    </a:lnTo>
                    <a:lnTo>
                      <a:pt x="24" y="237"/>
                    </a:lnTo>
                    <a:lnTo>
                      <a:pt x="47" y="260"/>
                    </a:lnTo>
                    <a:lnTo>
                      <a:pt x="77" y="282"/>
                    </a:lnTo>
                    <a:lnTo>
                      <a:pt x="92" y="292"/>
                    </a:lnTo>
                    <a:lnTo>
                      <a:pt x="107" y="301"/>
                    </a:lnTo>
                    <a:lnTo>
                      <a:pt x="107" y="301"/>
                    </a:lnTo>
                    <a:lnTo>
                      <a:pt x="133" y="288"/>
                    </a:lnTo>
                    <a:lnTo>
                      <a:pt x="154" y="273"/>
                    </a:lnTo>
                    <a:lnTo>
                      <a:pt x="175" y="256"/>
                    </a:lnTo>
                    <a:lnTo>
                      <a:pt x="192" y="237"/>
                    </a:lnTo>
                    <a:lnTo>
                      <a:pt x="209" y="218"/>
                    </a:lnTo>
                    <a:lnTo>
                      <a:pt x="224" y="196"/>
                    </a:lnTo>
                    <a:lnTo>
                      <a:pt x="237" y="175"/>
                    </a:lnTo>
                    <a:lnTo>
                      <a:pt x="248" y="152"/>
                    </a:lnTo>
                    <a:lnTo>
                      <a:pt x="248" y="152"/>
                    </a:lnTo>
                    <a:lnTo>
                      <a:pt x="256" y="135"/>
                    </a:lnTo>
                    <a:lnTo>
                      <a:pt x="261" y="117"/>
                    </a:lnTo>
                    <a:lnTo>
                      <a:pt x="269" y="79"/>
                    </a:lnTo>
                    <a:lnTo>
                      <a:pt x="273" y="39"/>
                    </a:lnTo>
                    <a:lnTo>
                      <a:pt x="275" y="0"/>
                    </a:lnTo>
                    <a:lnTo>
                      <a:pt x="0" y="209"/>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grpSp>
      <p:grpSp>
        <p:nvGrpSpPr>
          <p:cNvPr id="51" name="组合 50"/>
          <p:cNvGrpSpPr/>
          <p:nvPr/>
        </p:nvGrpSpPr>
        <p:grpSpPr>
          <a:xfrm>
            <a:off x="1983764" y="3162803"/>
            <a:ext cx="538987" cy="457010"/>
            <a:chOff x="2726266" y="1148946"/>
            <a:chExt cx="538987" cy="457010"/>
          </a:xfrm>
          <a:solidFill>
            <a:schemeClr val="bg1"/>
          </a:solidFill>
        </p:grpSpPr>
        <p:sp>
          <p:nvSpPr>
            <p:cNvPr id="52" name="Freeform 31"/>
            <p:cNvSpPr/>
            <p:nvPr/>
          </p:nvSpPr>
          <p:spPr bwMode="auto">
            <a:xfrm>
              <a:off x="2726266" y="1148946"/>
              <a:ext cx="538987" cy="457010"/>
            </a:xfrm>
            <a:custGeom>
              <a:avLst/>
              <a:gdLst>
                <a:gd name="T0" fmla="*/ 23 w 1098"/>
                <a:gd name="T1" fmla="*/ 931 h 931"/>
                <a:gd name="T2" fmla="*/ 23 w 1098"/>
                <a:gd name="T3" fmla="*/ 931 h 931"/>
                <a:gd name="T4" fmla="*/ 12 w 1098"/>
                <a:gd name="T5" fmla="*/ 929 h 931"/>
                <a:gd name="T6" fmla="*/ 6 w 1098"/>
                <a:gd name="T7" fmla="*/ 923 h 931"/>
                <a:gd name="T8" fmla="*/ 6 w 1098"/>
                <a:gd name="T9" fmla="*/ 923 h 931"/>
                <a:gd name="T10" fmla="*/ 6 w 1098"/>
                <a:gd name="T11" fmla="*/ 923 h 931"/>
                <a:gd name="T12" fmla="*/ 0 w 1098"/>
                <a:gd name="T13" fmla="*/ 917 h 931"/>
                <a:gd name="T14" fmla="*/ 0 w 1098"/>
                <a:gd name="T15" fmla="*/ 908 h 931"/>
                <a:gd name="T16" fmla="*/ 0 w 1098"/>
                <a:gd name="T17" fmla="*/ 908 h 931"/>
                <a:gd name="T18" fmla="*/ 0 w 1098"/>
                <a:gd name="T19" fmla="*/ 23 h 931"/>
                <a:gd name="T20" fmla="*/ 0 w 1098"/>
                <a:gd name="T21" fmla="*/ 23 h 931"/>
                <a:gd name="T22" fmla="*/ 0 w 1098"/>
                <a:gd name="T23" fmla="*/ 23 h 931"/>
                <a:gd name="T24" fmla="*/ 0 w 1098"/>
                <a:gd name="T25" fmla="*/ 15 h 931"/>
                <a:gd name="T26" fmla="*/ 6 w 1098"/>
                <a:gd name="T27" fmla="*/ 9 h 931"/>
                <a:gd name="T28" fmla="*/ 12 w 1098"/>
                <a:gd name="T29" fmla="*/ 3 h 931"/>
                <a:gd name="T30" fmla="*/ 23 w 1098"/>
                <a:gd name="T31" fmla="*/ 0 h 931"/>
                <a:gd name="T32" fmla="*/ 23 w 1098"/>
                <a:gd name="T33" fmla="*/ 0 h 931"/>
                <a:gd name="T34" fmla="*/ 23 w 1098"/>
                <a:gd name="T35" fmla="*/ 0 h 931"/>
                <a:gd name="T36" fmla="*/ 31 w 1098"/>
                <a:gd name="T37" fmla="*/ 3 h 931"/>
                <a:gd name="T38" fmla="*/ 39 w 1098"/>
                <a:gd name="T39" fmla="*/ 9 h 931"/>
                <a:gd name="T40" fmla="*/ 43 w 1098"/>
                <a:gd name="T41" fmla="*/ 15 h 931"/>
                <a:gd name="T42" fmla="*/ 45 w 1098"/>
                <a:gd name="T43" fmla="*/ 23 h 931"/>
                <a:gd name="T44" fmla="*/ 45 w 1098"/>
                <a:gd name="T45" fmla="*/ 23 h 931"/>
                <a:gd name="T46" fmla="*/ 45 w 1098"/>
                <a:gd name="T47" fmla="*/ 884 h 931"/>
                <a:gd name="T48" fmla="*/ 1074 w 1098"/>
                <a:gd name="T49" fmla="*/ 884 h 931"/>
                <a:gd name="T50" fmla="*/ 1074 w 1098"/>
                <a:gd name="T51" fmla="*/ 884 h 931"/>
                <a:gd name="T52" fmla="*/ 1084 w 1098"/>
                <a:gd name="T53" fmla="*/ 886 h 931"/>
                <a:gd name="T54" fmla="*/ 1090 w 1098"/>
                <a:gd name="T55" fmla="*/ 892 h 931"/>
                <a:gd name="T56" fmla="*/ 1096 w 1098"/>
                <a:gd name="T57" fmla="*/ 898 h 931"/>
                <a:gd name="T58" fmla="*/ 1098 w 1098"/>
                <a:gd name="T59" fmla="*/ 908 h 931"/>
                <a:gd name="T60" fmla="*/ 1098 w 1098"/>
                <a:gd name="T61" fmla="*/ 908 h 931"/>
                <a:gd name="T62" fmla="*/ 1098 w 1098"/>
                <a:gd name="T63" fmla="*/ 908 h 931"/>
                <a:gd name="T64" fmla="*/ 1096 w 1098"/>
                <a:gd name="T65" fmla="*/ 917 h 931"/>
                <a:gd name="T66" fmla="*/ 1090 w 1098"/>
                <a:gd name="T67" fmla="*/ 923 h 931"/>
                <a:gd name="T68" fmla="*/ 1084 w 1098"/>
                <a:gd name="T69" fmla="*/ 929 h 931"/>
                <a:gd name="T70" fmla="*/ 1074 w 1098"/>
                <a:gd name="T71" fmla="*/ 931 h 931"/>
                <a:gd name="T72" fmla="*/ 1074 w 1098"/>
                <a:gd name="T73" fmla="*/ 931 h 931"/>
                <a:gd name="T74" fmla="*/ 23 w 1098"/>
                <a:gd name="T75" fmla="*/ 931 h 931"/>
                <a:gd name="T76" fmla="*/ 23 w 1098"/>
                <a:gd name="T77" fmla="*/ 9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8" h="931">
                  <a:moveTo>
                    <a:pt x="23" y="931"/>
                  </a:moveTo>
                  <a:lnTo>
                    <a:pt x="23" y="931"/>
                  </a:lnTo>
                  <a:lnTo>
                    <a:pt x="12" y="929"/>
                  </a:lnTo>
                  <a:lnTo>
                    <a:pt x="6" y="923"/>
                  </a:lnTo>
                  <a:lnTo>
                    <a:pt x="6" y="923"/>
                  </a:lnTo>
                  <a:lnTo>
                    <a:pt x="6" y="923"/>
                  </a:lnTo>
                  <a:lnTo>
                    <a:pt x="0" y="917"/>
                  </a:lnTo>
                  <a:lnTo>
                    <a:pt x="0" y="908"/>
                  </a:lnTo>
                  <a:lnTo>
                    <a:pt x="0" y="908"/>
                  </a:lnTo>
                  <a:lnTo>
                    <a:pt x="0" y="23"/>
                  </a:lnTo>
                  <a:lnTo>
                    <a:pt x="0" y="23"/>
                  </a:lnTo>
                  <a:lnTo>
                    <a:pt x="0" y="23"/>
                  </a:lnTo>
                  <a:lnTo>
                    <a:pt x="0" y="15"/>
                  </a:lnTo>
                  <a:lnTo>
                    <a:pt x="6" y="9"/>
                  </a:lnTo>
                  <a:lnTo>
                    <a:pt x="12" y="3"/>
                  </a:lnTo>
                  <a:lnTo>
                    <a:pt x="23" y="0"/>
                  </a:lnTo>
                  <a:lnTo>
                    <a:pt x="23" y="0"/>
                  </a:lnTo>
                  <a:lnTo>
                    <a:pt x="23" y="0"/>
                  </a:lnTo>
                  <a:lnTo>
                    <a:pt x="31" y="3"/>
                  </a:lnTo>
                  <a:lnTo>
                    <a:pt x="39" y="9"/>
                  </a:lnTo>
                  <a:lnTo>
                    <a:pt x="43" y="15"/>
                  </a:lnTo>
                  <a:lnTo>
                    <a:pt x="45" y="23"/>
                  </a:lnTo>
                  <a:lnTo>
                    <a:pt x="45" y="23"/>
                  </a:lnTo>
                  <a:lnTo>
                    <a:pt x="45" y="884"/>
                  </a:lnTo>
                  <a:lnTo>
                    <a:pt x="1074" y="884"/>
                  </a:lnTo>
                  <a:lnTo>
                    <a:pt x="1074" y="884"/>
                  </a:lnTo>
                  <a:lnTo>
                    <a:pt x="1084" y="886"/>
                  </a:lnTo>
                  <a:lnTo>
                    <a:pt x="1090" y="892"/>
                  </a:lnTo>
                  <a:lnTo>
                    <a:pt x="1096" y="898"/>
                  </a:lnTo>
                  <a:lnTo>
                    <a:pt x="1098" y="908"/>
                  </a:lnTo>
                  <a:lnTo>
                    <a:pt x="1098" y="908"/>
                  </a:lnTo>
                  <a:lnTo>
                    <a:pt x="1098" y="908"/>
                  </a:lnTo>
                  <a:lnTo>
                    <a:pt x="1096" y="917"/>
                  </a:lnTo>
                  <a:lnTo>
                    <a:pt x="1090" y="923"/>
                  </a:lnTo>
                  <a:lnTo>
                    <a:pt x="1084" y="929"/>
                  </a:lnTo>
                  <a:lnTo>
                    <a:pt x="1074" y="931"/>
                  </a:lnTo>
                  <a:lnTo>
                    <a:pt x="1074" y="931"/>
                  </a:lnTo>
                  <a:lnTo>
                    <a:pt x="23" y="931"/>
                  </a:lnTo>
                  <a:lnTo>
                    <a:pt x="23" y="931"/>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3" name="Freeform 32"/>
            <p:cNvSpPr/>
            <p:nvPr/>
          </p:nvSpPr>
          <p:spPr bwMode="auto">
            <a:xfrm>
              <a:off x="2783699" y="1464091"/>
              <a:ext cx="85413" cy="89340"/>
            </a:xfrm>
            <a:custGeom>
              <a:avLst/>
              <a:gdLst>
                <a:gd name="T0" fmla="*/ 174 w 174"/>
                <a:gd name="T1" fmla="*/ 137 h 182"/>
                <a:gd name="T2" fmla="*/ 174 w 174"/>
                <a:gd name="T3" fmla="*/ 137 h 182"/>
                <a:gd name="T4" fmla="*/ 174 w 174"/>
                <a:gd name="T5" fmla="*/ 148 h 182"/>
                <a:gd name="T6" fmla="*/ 170 w 174"/>
                <a:gd name="T7" fmla="*/ 156 h 182"/>
                <a:gd name="T8" fmla="*/ 166 w 174"/>
                <a:gd name="T9" fmla="*/ 162 h 182"/>
                <a:gd name="T10" fmla="*/ 162 w 174"/>
                <a:gd name="T11" fmla="*/ 168 h 182"/>
                <a:gd name="T12" fmla="*/ 156 w 174"/>
                <a:gd name="T13" fmla="*/ 174 h 182"/>
                <a:gd name="T14" fmla="*/ 147 w 174"/>
                <a:gd name="T15" fmla="*/ 178 h 182"/>
                <a:gd name="T16" fmla="*/ 139 w 174"/>
                <a:gd name="T17" fmla="*/ 180 h 182"/>
                <a:gd name="T18" fmla="*/ 129 w 174"/>
                <a:gd name="T19" fmla="*/ 182 h 182"/>
                <a:gd name="T20" fmla="*/ 45 w 174"/>
                <a:gd name="T21" fmla="*/ 182 h 182"/>
                <a:gd name="T22" fmla="*/ 45 w 174"/>
                <a:gd name="T23" fmla="*/ 182 h 182"/>
                <a:gd name="T24" fmla="*/ 37 w 174"/>
                <a:gd name="T25" fmla="*/ 180 h 182"/>
                <a:gd name="T26" fmla="*/ 28 w 174"/>
                <a:gd name="T27" fmla="*/ 178 h 182"/>
                <a:gd name="T28" fmla="*/ 20 w 174"/>
                <a:gd name="T29" fmla="*/ 174 h 182"/>
                <a:gd name="T30" fmla="*/ 14 w 174"/>
                <a:gd name="T31" fmla="*/ 168 h 182"/>
                <a:gd name="T32" fmla="*/ 8 w 174"/>
                <a:gd name="T33" fmla="*/ 162 h 182"/>
                <a:gd name="T34" fmla="*/ 4 w 174"/>
                <a:gd name="T35" fmla="*/ 156 h 182"/>
                <a:gd name="T36" fmla="*/ 2 w 174"/>
                <a:gd name="T37" fmla="*/ 148 h 182"/>
                <a:gd name="T38" fmla="*/ 0 w 174"/>
                <a:gd name="T39" fmla="*/ 137 h 182"/>
                <a:gd name="T40" fmla="*/ 0 w 174"/>
                <a:gd name="T41" fmla="*/ 43 h 182"/>
                <a:gd name="T42" fmla="*/ 0 w 174"/>
                <a:gd name="T43" fmla="*/ 43 h 182"/>
                <a:gd name="T44" fmla="*/ 2 w 174"/>
                <a:gd name="T45" fmla="*/ 35 h 182"/>
                <a:gd name="T46" fmla="*/ 4 w 174"/>
                <a:gd name="T47" fmla="*/ 27 h 182"/>
                <a:gd name="T48" fmla="*/ 8 w 174"/>
                <a:gd name="T49" fmla="*/ 18 h 182"/>
                <a:gd name="T50" fmla="*/ 14 w 174"/>
                <a:gd name="T51" fmla="*/ 12 h 182"/>
                <a:gd name="T52" fmla="*/ 20 w 174"/>
                <a:gd name="T53" fmla="*/ 6 h 182"/>
                <a:gd name="T54" fmla="*/ 28 w 174"/>
                <a:gd name="T55" fmla="*/ 2 h 182"/>
                <a:gd name="T56" fmla="*/ 37 w 174"/>
                <a:gd name="T57" fmla="*/ 0 h 182"/>
                <a:gd name="T58" fmla="*/ 45 w 174"/>
                <a:gd name="T59" fmla="*/ 0 h 182"/>
                <a:gd name="T60" fmla="*/ 129 w 174"/>
                <a:gd name="T61" fmla="*/ 0 h 182"/>
                <a:gd name="T62" fmla="*/ 129 w 174"/>
                <a:gd name="T63" fmla="*/ 0 h 182"/>
                <a:gd name="T64" fmla="*/ 139 w 174"/>
                <a:gd name="T65" fmla="*/ 0 h 182"/>
                <a:gd name="T66" fmla="*/ 147 w 174"/>
                <a:gd name="T67" fmla="*/ 2 h 182"/>
                <a:gd name="T68" fmla="*/ 156 w 174"/>
                <a:gd name="T69" fmla="*/ 6 h 182"/>
                <a:gd name="T70" fmla="*/ 162 w 174"/>
                <a:gd name="T71" fmla="*/ 12 h 182"/>
                <a:gd name="T72" fmla="*/ 166 w 174"/>
                <a:gd name="T73" fmla="*/ 18 h 182"/>
                <a:gd name="T74" fmla="*/ 170 w 174"/>
                <a:gd name="T75" fmla="*/ 27 h 182"/>
                <a:gd name="T76" fmla="*/ 174 w 174"/>
                <a:gd name="T77" fmla="*/ 35 h 182"/>
                <a:gd name="T78" fmla="*/ 174 w 174"/>
                <a:gd name="T79" fmla="*/ 43 h 182"/>
                <a:gd name="T80" fmla="*/ 174 w 174"/>
                <a:gd name="T81" fmla="*/ 13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4" h="182">
                  <a:moveTo>
                    <a:pt x="174" y="137"/>
                  </a:moveTo>
                  <a:lnTo>
                    <a:pt x="174" y="137"/>
                  </a:lnTo>
                  <a:lnTo>
                    <a:pt x="174" y="148"/>
                  </a:lnTo>
                  <a:lnTo>
                    <a:pt x="170" y="156"/>
                  </a:lnTo>
                  <a:lnTo>
                    <a:pt x="166" y="162"/>
                  </a:lnTo>
                  <a:lnTo>
                    <a:pt x="162" y="168"/>
                  </a:lnTo>
                  <a:lnTo>
                    <a:pt x="156" y="174"/>
                  </a:lnTo>
                  <a:lnTo>
                    <a:pt x="147" y="178"/>
                  </a:lnTo>
                  <a:lnTo>
                    <a:pt x="139" y="180"/>
                  </a:lnTo>
                  <a:lnTo>
                    <a:pt x="129" y="182"/>
                  </a:lnTo>
                  <a:lnTo>
                    <a:pt x="45" y="182"/>
                  </a:lnTo>
                  <a:lnTo>
                    <a:pt x="45" y="182"/>
                  </a:lnTo>
                  <a:lnTo>
                    <a:pt x="37" y="180"/>
                  </a:lnTo>
                  <a:lnTo>
                    <a:pt x="28" y="178"/>
                  </a:lnTo>
                  <a:lnTo>
                    <a:pt x="20" y="174"/>
                  </a:lnTo>
                  <a:lnTo>
                    <a:pt x="14" y="168"/>
                  </a:lnTo>
                  <a:lnTo>
                    <a:pt x="8" y="162"/>
                  </a:lnTo>
                  <a:lnTo>
                    <a:pt x="4" y="156"/>
                  </a:lnTo>
                  <a:lnTo>
                    <a:pt x="2" y="148"/>
                  </a:lnTo>
                  <a:lnTo>
                    <a:pt x="0" y="137"/>
                  </a:lnTo>
                  <a:lnTo>
                    <a:pt x="0" y="43"/>
                  </a:lnTo>
                  <a:lnTo>
                    <a:pt x="0" y="43"/>
                  </a:lnTo>
                  <a:lnTo>
                    <a:pt x="2" y="35"/>
                  </a:lnTo>
                  <a:lnTo>
                    <a:pt x="4" y="27"/>
                  </a:lnTo>
                  <a:lnTo>
                    <a:pt x="8" y="18"/>
                  </a:lnTo>
                  <a:lnTo>
                    <a:pt x="14" y="12"/>
                  </a:lnTo>
                  <a:lnTo>
                    <a:pt x="20" y="6"/>
                  </a:lnTo>
                  <a:lnTo>
                    <a:pt x="28" y="2"/>
                  </a:lnTo>
                  <a:lnTo>
                    <a:pt x="37" y="0"/>
                  </a:lnTo>
                  <a:lnTo>
                    <a:pt x="45" y="0"/>
                  </a:lnTo>
                  <a:lnTo>
                    <a:pt x="129" y="0"/>
                  </a:lnTo>
                  <a:lnTo>
                    <a:pt x="129" y="0"/>
                  </a:lnTo>
                  <a:lnTo>
                    <a:pt x="139" y="0"/>
                  </a:lnTo>
                  <a:lnTo>
                    <a:pt x="147" y="2"/>
                  </a:lnTo>
                  <a:lnTo>
                    <a:pt x="156" y="6"/>
                  </a:lnTo>
                  <a:lnTo>
                    <a:pt x="162" y="12"/>
                  </a:lnTo>
                  <a:lnTo>
                    <a:pt x="166" y="18"/>
                  </a:lnTo>
                  <a:lnTo>
                    <a:pt x="170" y="27"/>
                  </a:lnTo>
                  <a:lnTo>
                    <a:pt x="174" y="35"/>
                  </a:lnTo>
                  <a:lnTo>
                    <a:pt x="174" y="43"/>
                  </a:lnTo>
                  <a:lnTo>
                    <a:pt x="174" y="137"/>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4" name="Freeform 33"/>
            <p:cNvSpPr/>
            <p:nvPr/>
          </p:nvSpPr>
          <p:spPr bwMode="auto">
            <a:xfrm>
              <a:off x="2892184" y="1365425"/>
              <a:ext cx="85413" cy="188007"/>
            </a:xfrm>
            <a:custGeom>
              <a:avLst/>
              <a:gdLst>
                <a:gd name="T0" fmla="*/ 174 w 174"/>
                <a:gd name="T1" fmla="*/ 338 h 383"/>
                <a:gd name="T2" fmla="*/ 174 w 174"/>
                <a:gd name="T3" fmla="*/ 338 h 383"/>
                <a:gd name="T4" fmla="*/ 172 w 174"/>
                <a:gd name="T5" fmla="*/ 349 h 383"/>
                <a:gd name="T6" fmla="*/ 170 w 174"/>
                <a:gd name="T7" fmla="*/ 357 h 383"/>
                <a:gd name="T8" fmla="*/ 166 w 174"/>
                <a:gd name="T9" fmla="*/ 363 h 383"/>
                <a:gd name="T10" fmla="*/ 160 w 174"/>
                <a:gd name="T11" fmla="*/ 369 h 383"/>
                <a:gd name="T12" fmla="*/ 154 w 174"/>
                <a:gd name="T13" fmla="*/ 375 h 383"/>
                <a:gd name="T14" fmla="*/ 148 w 174"/>
                <a:gd name="T15" fmla="*/ 379 h 383"/>
                <a:gd name="T16" fmla="*/ 139 w 174"/>
                <a:gd name="T17" fmla="*/ 381 h 383"/>
                <a:gd name="T18" fmla="*/ 129 w 174"/>
                <a:gd name="T19" fmla="*/ 383 h 383"/>
                <a:gd name="T20" fmla="*/ 45 w 174"/>
                <a:gd name="T21" fmla="*/ 383 h 383"/>
                <a:gd name="T22" fmla="*/ 45 w 174"/>
                <a:gd name="T23" fmla="*/ 383 h 383"/>
                <a:gd name="T24" fmla="*/ 35 w 174"/>
                <a:gd name="T25" fmla="*/ 381 h 383"/>
                <a:gd name="T26" fmla="*/ 27 w 174"/>
                <a:gd name="T27" fmla="*/ 379 h 383"/>
                <a:gd name="T28" fmla="*/ 21 w 174"/>
                <a:gd name="T29" fmla="*/ 375 h 383"/>
                <a:gd name="T30" fmla="*/ 12 w 174"/>
                <a:gd name="T31" fmla="*/ 369 h 383"/>
                <a:gd name="T32" fmla="*/ 8 w 174"/>
                <a:gd name="T33" fmla="*/ 363 h 383"/>
                <a:gd name="T34" fmla="*/ 4 w 174"/>
                <a:gd name="T35" fmla="*/ 357 h 383"/>
                <a:gd name="T36" fmla="*/ 2 w 174"/>
                <a:gd name="T37" fmla="*/ 349 h 383"/>
                <a:gd name="T38" fmla="*/ 0 w 174"/>
                <a:gd name="T39" fmla="*/ 338 h 383"/>
                <a:gd name="T40" fmla="*/ 0 w 174"/>
                <a:gd name="T41" fmla="*/ 43 h 383"/>
                <a:gd name="T42" fmla="*/ 0 w 174"/>
                <a:gd name="T43" fmla="*/ 43 h 383"/>
                <a:gd name="T44" fmla="*/ 2 w 174"/>
                <a:gd name="T45" fmla="*/ 35 h 383"/>
                <a:gd name="T46" fmla="*/ 4 w 174"/>
                <a:gd name="T47" fmla="*/ 27 h 383"/>
                <a:gd name="T48" fmla="*/ 8 w 174"/>
                <a:gd name="T49" fmla="*/ 19 h 383"/>
                <a:gd name="T50" fmla="*/ 12 w 174"/>
                <a:gd name="T51" fmla="*/ 12 h 383"/>
                <a:gd name="T52" fmla="*/ 21 w 174"/>
                <a:gd name="T53" fmla="*/ 6 h 383"/>
                <a:gd name="T54" fmla="*/ 27 w 174"/>
                <a:gd name="T55" fmla="*/ 2 h 383"/>
                <a:gd name="T56" fmla="*/ 35 w 174"/>
                <a:gd name="T57" fmla="*/ 0 h 383"/>
                <a:gd name="T58" fmla="*/ 45 w 174"/>
                <a:gd name="T59" fmla="*/ 0 h 383"/>
                <a:gd name="T60" fmla="*/ 129 w 174"/>
                <a:gd name="T61" fmla="*/ 0 h 383"/>
                <a:gd name="T62" fmla="*/ 129 w 174"/>
                <a:gd name="T63" fmla="*/ 0 h 383"/>
                <a:gd name="T64" fmla="*/ 139 w 174"/>
                <a:gd name="T65" fmla="*/ 0 h 383"/>
                <a:gd name="T66" fmla="*/ 148 w 174"/>
                <a:gd name="T67" fmla="*/ 2 h 383"/>
                <a:gd name="T68" fmla="*/ 154 w 174"/>
                <a:gd name="T69" fmla="*/ 6 h 383"/>
                <a:gd name="T70" fmla="*/ 160 w 174"/>
                <a:gd name="T71" fmla="*/ 12 h 383"/>
                <a:gd name="T72" fmla="*/ 166 w 174"/>
                <a:gd name="T73" fmla="*/ 19 h 383"/>
                <a:gd name="T74" fmla="*/ 170 w 174"/>
                <a:gd name="T75" fmla="*/ 27 h 383"/>
                <a:gd name="T76" fmla="*/ 172 w 174"/>
                <a:gd name="T77" fmla="*/ 35 h 383"/>
                <a:gd name="T78" fmla="*/ 174 w 174"/>
                <a:gd name="T79" fmla="*/ 43 h 383"/>
                <a:gd name="T80" fmla="*/ 174 w 174"/>
                <a:gd name="T81" fmla="*/ 338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4" h="383">
                  <a:moveTo>
                    <a:pt x="174" y="338"/>
                  </a:moveTo>
                  <a:lnTo>
                    <a:pt x="174" y="338"/>
                  </a:lnTo>
                  <a:lnTo>
                    <a:pt x="172" y="349"/>
                  </a:lnTo>
                  <a:lnTo>
                    <a:pt x="170" y="357"/>
                  </a:lnTo>
                  <a:lnTo>
                    <a:pt x="166" y="363"/>
                  </a:lnTo>
                  <a:lnTo>
                    <a:pt x="160" y="369"/>
                  </a:lnTo>
                  <a:lnTo>
                    <a:pt x="154" y="375"/>
                  </a:lnTo>
                  <a:lnTo>
                    <a:pt x="148" y="379"/>
                  </a:lnTo>
                  <a:lnTo>
                    <a:pt x="139" y="381"/>
                  </a:lnTo>
                  <a:lnTo>
                    <a:pt x="129" y="383"/>
                  </a:lnTo>
                  <a:lnTo>
                    <a:pt x="45" y="383"/>
                  </a:lnTo>
                  <a:lnTo>
                    <a:pt x="45" y="383"/>
                  </a:lnTo>
                  <a:lnTo>
                    <a:pt x="35" y="381"/>
                  </a:lnTo>
                  <a:lnTo>
                    <a:pt x="27" y="379"/>
                  </a:lnTo>
                  <a:lnTo>
                    <a:pt x="21" y="375"/>
                  </a:lnTo>
                  <a:lnTo>
                    <a:pt x="12" y="369"/>
                  </a:lnTo>
                  <a:lnTo>
                    <a:pt x="8" y="363"/>
                  </a:lnTo>
                  <a:lnTo>
                    <a:pt x="4" y="357"/>
                  </a:lnTo>
                  <a:lnTo>
                    <a:pt x="2" y="349"/>
                  </a:lnTo>
                  <a:lnTo>
                    <a:pt x="0" y="338"/>
                  </a:lnTo>
                  <a:lnTo>
                    <a:pt x="0" y="43"/>
                  </a:lnTo>
                  <a:lnTo>
                    <a:pt x="0" y="43"/>
                  </a:lnTo>
                  <a:lnTo>
                    <a:pt x="2" y="35"/>
                  </a:lnTo>
                  <a:lnTo>
                    <a:pt x="4" y="27"/>
                  </a:lnTo>
                  <a:lnTo>
                    <a:pt x="8" y="19"/>
                  </a:lnTo>
                  <a:lnTo>
                    <a:pt x="12" y="12"/>
                  </a:lnTo>
                  <a:lnTo>
                    <a:pt x="21" y="6"/>
                  </a:lnTo>
                  <a:lnTo>
                    <a:pt x="27" y="2"/>
                  </a:lnTo>
                  <a:lnTo>
                    <a:pt x="35" y="0"/>
                  </a:lnTo>
                  <a:lnTo>
                    <a:pt x="45" y="0"/>
                  </a:lnTo>
                  <a:lnTo>
                    <a:pt x="129" y="0"/>
                  </a:lnTo>
                  <a:lnTo>
                    <a:pt x="129" y="0"/>
                  </a:lnTo>
                  <a:lnTo>
                    <a:pt x="139" y="0"/>
                  </a:lnTo>
                  <a:lnTo>
                    <a:pt x="148" y="2"/>
                  </a:lnTo>
                  <a:lnTo>
                    <a:pt x="154" y="6"/>
                  </a:lnTo>
                  <a:lnTo>
                    <a:pt x="160" y="12"/>
                  </a:lnTo>
                  <a:lnTo>
                    <a:pt x="166" y="19"/>
                  </a:lnTo>
                  <a:lnTo>
                    <a:pt x="170" y="27"/>
                  </a:lnTo>
                  <a:lnTo>
                    <a:pt x="172" y="35"/>
                  </a:lnTo>
                  <a:lnTo>
                    <a:pt x="174" y="43"/>
                  </a:lnTo>
                  <a:lnTo>
                    <a:pt x="174" y="338"/>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5" name="Freeform 34"/>
            <p:cNvSpPr/>
            <p:nvPr/>
          </p:nvSpPr>
          <p:spPr bwMode="auto">
            <a:xfrm>
              <a:off x="3114552" y="1319282"/>
              <a:ext cx="85413" cy="234150"/>
            </a:xfrm>
            <a:custGeom>
              <a:avLst/>
              <a:gdLst>
                <a:gd name="T0" fmla="*/ 174 w 174"/>
                <a:gd name="T1" fmla="*/ 430 h 477"/>
                <a:gd name="T2" fmla="*/ 174 w 174"/>
                <a:gd name="T3" fmla="*/ 430 h 477"/>
                <a:gd name="T4" fmla="*/ 172 w 174"/>
                <a:gd name="T5" fmla="*/ 441 h 477"/>
                <a:gd name="T6" fmla="*/ 170 w 174"/>
                <a:gd name="T7" fmla="*/ 449 h 477"/>
                <a:gd name="T8" fmla="*/ 166 w 174"/>
                <a:gd name="T9" fmla="*/ 457 h 477"/>
                <a:gd name="T10" fmla="*/ 160 w 174"/>
                <a:gd name="T11" fmla="*/ 463 h 477"/>
                <a:gd name="T12" fmla="*/ 154 w 174"/>
                <a:gd name="T13" fmla="*/ 469 h 477"/>
                <a:gd name="T14" fmla="*/ 146 w 174"/>
                <a:gd name="T15" fmla="*/ 473 h 477"/>
                <a:gd name="T16" fmla="*/ 137 w 174"/>
                <a:gd name="T17" fmla="*/ 475 h 477"/>
                <a:gd name="T18" fmla="*/ 127 w 174"/>
                <a:gd name="T19" fmla="*/ 477 h 477"/>
                <a:gd name="T20" fmla="*/ 47 w 174"/>
                <a:gd name="T21" fmla="*/ 477 h 477"/>
                <a:gd name="T22" fmla="*/ 47 w 174"/>
                <a:gd name="T23" fmla="*/ 477 h 477"/>
                <a:gd name="T24" fmla="*/ 37 w 174"/>
                <a:gd name="T25" fmla="*/ 475 h 477"/>
                <a:gd name="T26" fmla="*/ 29 w 174"/>
                <a:gd name="T27" fmla="*/ 473 h 477"/>
                <a:gd name="T28" fmla="*/ 20 w 174"/>
                <a:gd name="T29" fmla="*/ 469 h 477"/>
                <a:gd name="T30" fmla="*/ 14 w 174"/>
                <a:gd name="T31" fmla="*/ 463 h 477"/>
                <a:gd name="T32" fmla="*/ 8 w 174"/>
                <a:gd name="T33" fmla="*/ 457 h 477"/>
                <a:gd name="T34" fmla="*/ 4 w 174"/>
                <a:gd name="T35" fmla="*/ 449 h 477"/>
                <a:gd name="T36" fmla="*/ 2 w 174"/>
                <a:gd name="T37" fmla="*/ 441 h 477"/>
                <a:gd name="T38" fmla="*/ 0 w 174"/>
                <a:gd name="T39" fmla="*/ 430 h 477"/>
                <a:gd name="T40" fmla="*/ 0 w 174"/>
                <a:gd name="T41" fmla="*/ 47 h 477"/>
                <a:gd name="T42" fmla="*/ 0 w 174"/>
                <a:gd name="T43" fmla="*/ 47 h 477"/>
                <a:gd name="T44" fmla="*/ 2 w 174"/>
                <a:gd name="T45" fmla="*/ 37 h 477"/>
                <a:gd name="T46" fmla="*/ 4 w 174"/>
                <a:gd name="T47" fmla="*/ 29 h 477"/>
                <a:gd name="T48" fmla="*/ 8 w 174"/>
                <a:gd name="T49" fmla="*/ 20 h 477"/>
                <a:gd name="T50" fmla="*/ 14 w 174"/>
                <a:gd name="T51" fmla="*/ 12 h 477"/>
                <a:gd name="T52" fmla="*/ 20 w 174"/>
                <a:gd name="T53" fmla="*/ 8 h 477"/>
                <a:gd name="T54" fmla="*/ 29 w 174"/>
                <a:gd name="T55" fmla="*/ 4 h 477"/>
                <a:gd name="T56" fmla="*/ 37 w 174"/>
                <a:gd name="T57" fmla="*/ 0 h 477"/>
                <a:gd name="T58" fmla="*/ 47 w 174"/>
                <a:gd name="T59" fmla="*/ 0 h 477"/>
                <a:gd name="T60" fmla="*/ 127 w 174"/>
                <a:gd name="T61" fmla="*/ 0 h 477"/>
                <a:gd name="T62" fmla="*/ 127 w 174"/>
                <a:gd name="T63" fmla="*/ 0 h 477"/>
                <a:gd name="T64" fmla="*/ 137 w 174"/>
                <a:gd name="T65" fmla="*/ 0 h 477"/>
                <a:gd name="T66" fmla="*/ 146 w 174"/>
                <a:gd name="T67" fmla="*/ 4 h 477"/>
                <a:gd name="T68" fmla="*/ 154 w 174"/>
                <a:gd name="T69" fmla="*/ 8 h 477"/>
                <a:gd name="T70" fmla="*/ 160 w 174"/>
                <a:gd name="T71" fmla="*/ 12 h 477"/>
                <a:gd name="T72" fmla="*/ 166 w 174"/>
                <a:gd name="T73" fmla="*/ 20 h 477"/>
                <a:gd name="T74" fmla="*/ 170 w 174"/>
                <a:gd name="T75" fmla="*/ 29 h 477"/>
                <a:gd name="T76" fmla="*/ 172 w 174"/>
                <a:gd name="T77" fmla="*/ 37 h 477"/>
                <a:gd name="T78" fmla="*/ 174 w 174"/>
                <a:gd name="T79" fmla="*/ 47 h 477"/>
                <a:gd name="T80" fmla="*/ 174 w 174"/>
                <a:gd name="T81" fmla="*/ 43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4" h="477">
                  <a:moveTo>
                    <a:pt x="174" y="430"/>
                  </a:moveTo>
                  <a:lnTo>
                    <a:pt x="174" y="430"/>
                  </a:lnTo>
                  <a:lnTo>
                    <a:pt x="172" y="441"/>
                  </a:lnTo>
                  <a:lnTo>
                    <a:pt x="170" y="449"/>
                  </a:lnTo>
                  <a:lnTo>
                    <a:pt x="166" y="457"/>
                  </a:lnTo>
                  <a:lnTo>
                    <a:pt x="160" y="463"/>
                  </a:lnTo>
                  <a:lnTo>
                    <a:pt x="154" y="469"/>
                  </a:lnTo>
                  <a:lnTo>
                    <a:pt x="146" y="473"/>
                  </a:lnTo>
                  <a:lnTo>
                    <a:pt x="137" y="475"/>
                  </a:lnTo>
                  <a:lnTo>
                    <a:pt x="127" y="477"/>
                  </a:lnTo>
                  <a:lnTo>
                    <a:pt x="47" y="477"/>
                  </a:lnTo>
                  <a:lnTo>
                    <a:pt x="47" y="477"/>
                  </a:lnTo>
                  <a:lnTo>
                    <a:pt x="37" y="475"/>
                  </a:lnTo>
                  <a:lnTo>
                    <a:pt x="29" y="473"/>
                  </a:lnTo>
                  <a:lnTo>
                    <a:pt x="20" y="469"/>
                  </a:lnTo>
                  <a:lnTo>
                    <a:pt x="14" y="463"/>
                  </a:lnTo>
                  <a:lnTo>
                    <a:pt x="8" y="457"/>
                  </a:lnTo>
                  <a:lnTo>
                    <a:pt x="4" y="449"/>
                  </a:lnTo>
                  <a:lnTo>
                    <a:pt x="2" y="441"/>
                  </a:lnTo>
                  <a:lnTo>
                    <a:pt x="0" y="430"/>
                  </a:lnTo>
                  <a:lnTo>
                    <a:pt x="0" y="47"/>
                  </a:lnTo>
                  <a:lnTo>
                    <a:pt x="0" y="47"/>
                  </a:lnTo>
                  <a:lnTo>
                    <a:pt x="2" y="37"/>
                  </a:lnTo>
                  <a:lnTo>
                    <a:pt x="4" y="29"/>
                  </a:lnTo>
                  <a:lnTo>
                    <a:pt x="8" y="20"/>
                  </a:lnTo>
                  <a:lnTo>
                    <a:pt x="14" y="12"/>
                  </a:lnTo>
                  <a:lnTo>
                    <a:pt x="20" y="8"/>
                  </a:lnTo>
                  <a:lnTo>
                    <a:pt x="29" y="4"/>
                  </a:lnTo>
                  <a:lnTo>
                    <a:pt x="37" y="0"/>
                  </a:lnTo>
                  <a:lnTo>
                    <a:pt x="47" y="0"/>
                  </a:lnTo>
                  <a:lnTo>
                    <a:pt x="127" y="0"/>
                  </a:lnTo>
                  <a:lnTo>
                    <a:pt x="127" y="0"/>
                  </a:lnTo>
                  <a:lnTo>
                    <a:pt x="137" y="0"/>
                  </a:lnTo>
                  <a:lnTo>
                    <a:pt x="146" y="4"/>
                  </a:lnTo>
                  <a:lnTo>
                    <a:pt x="154" y="8"/>
                  </a:lnTo>
                  <a:lnTo>
                    <a:pt x="160" y="12"/>
                  </a:lnTo>
                  <a:lnTo>
                    <a:pt x="166" y="20"/>
                  </a:lnTo>
                  <a:lnTo>
                    <a:pt x="170" y="29"/>
                  </a:lnTo>
                  <a:lnTo>
                    <a:pt x="172" y="37"/>
                  </a:lnTo>
                  <a:lnTo>
                    <a:pt x="174" y="47"/>
                  </a:lnTo>
                  <a:lnTo>
                    <a:pt x="174" y="430"/>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6" name="Freeform 35"/>
            <p:cNvSpPr/>
            <p:nvPr/>
          </p:nvSpPr>
          <p:spPr bwMode="auto">
            <a:xfrm>
              <a:off x="3000668" y="1409604"/>
              <a:ext cx="85904" cy="143828"/>
            </a:xfrm>
            <a:custGeom>
              <a:avLst/>
              <a:gdLst>
                <a:gd name="T0" fmla="*/ 175 w 175"/>
                <a:gd name="T1" fmla="*/ 248 h 293"/>
                <a:gd name="T2" fmla="*/ 175 w 175"/>
                <a:gd name="T3" fmla="*/ 248 h 293"/>
                <a:gd name="T4" fmla="*/ 173 w 175"/>
                <a:gd name="T5" fmla="*/ 259 h 293"/>
                <a:gd name="T6" fmla="*/ 171 w 175"/>
                <a:gd name="T7" fmla="*/ 267 h 293"/>
                <a:gd name="T8" fmla="*/ 166 w 175"/>
                <a:gd name="T9" fmla="*/ 273 h 293"/>
                <a:gd name="T10" fmla="*/ 160 w 175"/>
                <a:gd name="T11" fmla="*/ 279 h 293"/>
                <a:gd name="T12" fmla="*/ 154 w 175"/>
                <a:gd name="T13" fmla="*/ 285 h 293"/>
                <a:gd name="T14" fmla="*/ 146 w 175"/>
                <a:gd name="T15" fmla="*/ 289 h 293"/>
                <a:gd name="T16" fmla="*/ 138 w 175"/>
                <a:gd name="T17" fmla="*/ 291 h 293"/>
                <a:gd name="T18" fmla="*/ 130 w 175"/>
                <a:gd name="T19" fmla="*/ 293 h 293"/>
                <a:gd name="T20" fmla="*/ 46 w 175"/>
                <a:gd name="T21" fmla="*/ 293 h 293"/>
                <a:gd name="T22" fmla="*/ 46 w 175"/>
                <a:gd name="T23" fmla="*/ 293 h 293"/>
                <a:gd name="T24" fmla="*/ 35 w 175"/>
                <a:gd name="T25" fmla="*/ 291 h 293"/>
                <a:gd name="T26" fmla="*/ 27 w 175"/>
                <a:gd name="T27" fmla="*/ 289 h 293"/>
                <a:gd name="T28" fmla="*/ 19 w 175"/>
                <a:gd name="T29" fmla="*/ 285 h 293"/>
                <a:gd name="T30" fmla="*/ 13 w 175"/>
                <a:gd name="T31" fmla="*/ 279 h 293"/>
                <a:gd name="T32" fmla="*/ 9 w 175"/>
                <a:gd name="T33" fmla="*/ 273 h 293"/>
                <a:gd name="T34" fmla="*/ 5 w 175"/>
                <a:gd name="T35" fmla="*/ 267 h 293"/>
                <a:gd name="T36" fmla="*/ 0 w 175"/>
                <a:gd name="T37" fmla="*/ 259 h 293"/>
                <a:gd name="T38" fmla="*/ 0 w 175"/>
                <a:gd name="T39" fmla="*/ 248 h 293"/>
                <a:gd name="T40" fmla="*/ 0 w 175"/>
                <a:gd name="T41" fmla="*/ 45 h 293"/>
                <a:gd name="T42" fmla="*/ 0 w 175"/>
                <a:gd name="T43" fmla="*/ 45 h 293"/>
                <a:gd name="T44" fmla="*/ 0 w 175"/>
                <a:gd name="T45" fmla="*/ 35 h 293"/>
                <a:gd name="T46" fmla="*/ 5 w 175"/>
                <a:gd name="T47" fmla="*/ 27 h 293"/>
                <a:gd name="T48" fmla="*/ 9 w 175"/>
                <a:gd name="T49" fmla="*/ 21 h 293"/>
                <a:gd name="T50" fmla="*/ 13 w 175"/>
                <a:gd name="T51" fmla="*/ 13 h 293"/>
                <a:gd name="T52" fmla="*/ 19 w 175"/>
                <a:gd name="T53" fmla="*/ 9 h 293"/>
                <a:gd name="T54" fmla="*/ 27 w 175"/>
                <a:gd name="T55" fmla="*/ 4 h 293"/>
                <a:gd name="T56" fmla="*/ 35 w 175"/>
                <a:gd name="T57" fmla="*/ 2 h 293"/>
                <a:gd name="T58" fmla="*/ 46 w 175"/>
                <a:gd name="T59" fmla="*/ 0 h 293"/>
                <a:gd name="T60" fmla="*/ 130 w 175"/>
                <a:gd name="T61" fmla="*/ 0 h 293"/>
                <a:gd name="T62" fmla="*/ 130 w 175"/>
                <a:gd name="T63" fmla="*/ 0 h 293"/>
                <a:gd name="T64" fmla="*/ 138 w 175"/>
                <a:gd name="T65" fmla="*/ 2 h 293"/>
                <a:gd name="T66" fmla="*/ 146 w 175"/>
                <a:gd name="T67" fmla="*/ 4 h 293"/>
                <a:gd name="T68" fmla="*/ 154 w 175"/>
                <a:gd name="T69" fmla="*/ 9 h 293"/>
                <a:gd name="T70" fmla="*/ 160 w 175"/>
                <a:gd name="T71" fmla="*/ 13 h 293"/>
                <a:gd name="T72" fmla="*/ 166 w 175"/>
                <a:gd name="T73" fmla="*/ 21 h 293"/>
                <a:gd name="T74" fmla="*/ 171 w 175"/>
                <a:gd name="T75" fmla="*/ 27 h 293"/>
                <a:gd name="T76" fmla="*/ 173 w 175"/>
                <a:gd name="T77" fmla="*/ 35 h 293"/>
                <a:gd name="T78" fmla="*/ 175 w 175"/>
                <a:gd name="T79" fmla="*/ 45 h 293"/>
                <a:gd name="T80" fmla="*/ 175 w 175"/>
                <a:gd name="T81" fmla="*/ 24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5" h="293">
                  <a:moveTo>
                    <a:pt x="175" y="248"/>
                  </a:moveTo>
                  <a:lnTo>
                    <a:pt x="175" y="248"/>
                  </a:lnTo>
                  <a:lnTo>
                    <a:pt x="173" y="259"/>
                  </a:lnTo>
                  <a:lnTo>
                    <a:pt x="171" y="267"/>
                  </a:lnTo>
                  <a:lnTo>
                    <a:pt x="166" y="273"/>
                  </a:lnTo>
                  <a:lnTo>
                    <a:pt x="160" y="279"/>
                  </a:lnTo>
                  <a:lnTo>
                    <a:pt x="154" y="285"/>
                  </a:lnTo>
                  <a:lnTo>
                    <a:pt x="146" y="289"/>
                  </a:lnTo>
                  <a:lnTo>
                    <a:pt x="138" y="291"/>
                  </a:lnTo>
                  <a:lnTo>
                    <a:pt x="130" y="293"/>
                  </a:lnTo>
                  <a:lnTo>
                    <a:pt x="46" y="293"/>
                  </a:lnTo>
                  <a:lnTo>
                    <a:pt x="46" y="293"/>
                  </a:lnTo>
                  <a:lnTo>
                    <a:pt x="35" y="291"/>
                  </a:lnTo>
                  <a:lnTo>
                    <a:pt x="27" y="289"/>
                  </a:lnTo>
                  <a:lnTo>
                    <a:pt x="19" y="285"/>
                  </a:lnTo>
                  <a:lnTo>
                    <a:pt x="13" y="279"/>
                  </a:lnTo>
                  <a:lnTo>
                    <a:pt x="9" y="273"/>
                  </a:lnTo>
                  <a:lnTo>
                    <a:pt x="5" y="267"/>
                  </a:lnTo>
                  <a:lnTo>
                    <a:pt x="0" y="259"/>
                  </a:lnTo>
                  <a:lnTo>
                    <a:pt x="0" y="248"/>
                  </a:lnTo>
                  <a:lnTo>
                    <a:pt x="0" y="45"/>
                  </a:lnTo>
                  <a:lnTo>
                    <a:pt x="0" y="45"/>
                  </a:lnTo>
                  <a:lnTo>
                    <a:pt x="0" y="35"/>
                  </a:lnTo>
                  <a:lnTo>
                    <a:pt x="5" y="27"/>
                  </a:lnTo>
                  <a:lnTo>
                    <a:pt x="9" y="21"/>
                  </a:lnTo>
                  <a:lnTo>
                    <a:pt x="13" y="13"/>
                  </a:lnTo>
                  <a:lnTo>
                    <a:pt x="19" y="9"/>
                  </a:lnTo>
                  <a:lnTo>
                    <a:pt x="27" y="4"/>
                  </a:lnTo>
                  <a:lnTo>
                    <a:pt x="35" y="2"/>
                  </a:lnTo>
                  <a:lnTo>
                    <a:pt x="46" y="0"/>
                  </a:lnTo>
                  <a:lnTo>
                    <a:pt x="130" y="0"/>
                  </a:lnTo>
                  <a:lnTo>
                    <a:pt x="130" y="0"/>
                  </a:lnTo>
                  <a:lnTo>
                    <a:pt x="138" y="2"/>
                  </a:lnTo>
                  <a:lnTo>
                    <a:pt x="146" y="4"/>
                  </a:lnTo>
                  <a:lnTo>
                    <a:pt x="154" y="9"/>
                  </a:lnTo>
                  <a:lnTo>
                    <a:pt x="160" y="13"/>
                  </a:lnTo>
                  <a:lnTo>
                    <a:pt x="166" y="21"/>
                  </a:lnTo>
                  <a:lnTo>
                    <a:pt x="171" y="27"/>
                  </a:lnTo>
                  <a:lnTo>
                    <a:pt x="173" y="35"/>
                  </a:lnTo>
                  <a:lnTo>
                    <a:pt x="175" y="45"/>
                  </a:lnTo>
                  <a:lnTo>
                    <a:pt x="175" y="248"/>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sp>
          <p:nvSpPr>
            <p:cNvPr id="57" name="Freeform 36"/>
            <p:cNvSpPr/>
            <p:nvPr/>
          </p:nvSpPr>
          <p:spPr bwMode="auto">
            <a:xfrm>
              <a:off x="2777318" y="1183308"/>
              <a:ext cx="405467" cy="213533"/>
            </a:xfrm>
            <a:custGeom>
              <a:avLst/>
              <a:gdLst>
                <a:gd name="T0" fmla="*/ 826 w 826"/>
                <a:gd name="T1" fmla="*/ 0 h 435"/>
                <a:gd name="T2" fmla="*/ 656 w 826"/>
                <a:gd name="T3" fmla="*/ 19 h 435"/>
                <a:gd name="T4" fmla="*/ 712 w 826"/>
                <a:gd name="T5" fmla="*/ 76 h 435"/>
                <a:gd name="T6" fmla="*/ 529 w 826"/>
                <a:gd name="T7" fmla="*/ 299 h 435"/>
                <a:gd name="T8" fmla="*/ 339 w 826"/>
                <a:gd name="T9" fmla="*/ 123 h 435"/>
                <a:gd name="T10" fmla="*/ 339 w 826"/>
                <a:gd name="T11" fmla="*/ 123 h 435"/>
                <a:gd name="T12" fmla="*/ 332 w 826"/>
                <a:gd name="T13" fmla="*/ 119 h 435"/>
                <a:gd name="T14" fmla="*/ 328 w 826"/>
                <a:gd name="T15" fmla="*/ 117 h 435"/>
                <a:gd name="T16" fmla="*/ 316 w 826"/>
                <a:gd name="T17" fmla="*/ 115 h 435"/>
                <a:gd name="T18" fmla="*/ 304 w 826"/>
                <a:gd name="T19" fmla="*/ 117 h 435"/>
                <a:gd name="T20" fmla="*/ 298 w 826"/>
                <a:gd name="T21" fmla="*/ 119 h 435"/>
                <a:gd name="T22" fmla="*/ 291 w 826"/>
                <a:gd name="T23" fmla="*/ 123 h 435"/>
                <a:gd name="T24" fmla="*/ 13 w 826"/>
                <a:gd name="T25" fmla="*/ 375 h 435"/>
                <a:gd name="T26" fmla="*/ 13 w 826"/>
                <a:gd name="T27" fmla="*/ 375 h 435"/>
                <a:gd name="T28" fmla="*/ 9 w 826"/>
                <a:gd name="T29" fmla="*/ 381 h 435"/>
                <a:gd name="T30" fmla="*/ 5 w 826"/>
                <a:gd name="T31" fmla="*/ 388 h 435"/>
                <a:gd name="T32" fmla="*/ 3 w 826"/>
                <a:gd name="T33" fmla="*/ 394 h 435"/>
                <a:gd name="T34" fmla="*/ 0 w 826"/>
                <a:gd name="T35" fmla="*/ 400 h 435"/>
                <a:gd name="T36" fmla="*/ 3 w 826"/>
                <a:gd name="T37" fmla="*/ 406 h 435"/>
                <a:gd name="T38" fmla="*/ 3 w 826"/>
                <a:gd name="T39" fmla="*/ 412 h 435"/>
                <a:gd name="T40" fmla="*/ 7 w 826"/>
                <a:gd name="T41" fmla="*/ 418 h 435"/>
                <a:gd name="T42" fmla="*/ 11 w 826"/>
                <a:gd name="T43" fmla="*/ 424 h 435"/>
                <a:gd name="T44" fmla="*/ 11 w 826"/>
                <a:gd name="T45" fmla="*/ 424 h 435"/>
                <a:gd name="T46" fmla="*/ 15 w 826"/>
                <a:gd name="T47" fmla="*/ 429 h 435"/>
                <a:gd name="T48" fmla="*/ 21 w 826"/>
                <a:gd name="T49" fmla="*/ 433 h 435"/>
                <a:gd name="T50" fmla="*/ 29 w 826"/>
                <a:gd name="T51" fmla="*/ 435 h 435"/>
                <a:gd name="T52" fmla="*/ 35 w 826"/>
                <a:gd name="T53" fmla="*/ 435 h 435"/>
                <a:gd name="T54" fmla="*/ 35 w 826"/>
                <a:gd name="T55" fmla="*/ 435 h 435"/>
                <a:gd name="T56" fmla="*/ 48 w 826"/>
                <a:gd name="T57" fmla="*/ 433 h 435"/>
                <a:gd name="T58" fmla="*/ 58 w 826"/>
                <a:gd name="T59" fmla="*/ 426 h 435"/>
                <a:gd name="T60" fmla="*/ 58 w 826"/>
                <a:gd name="T61" fmla="*/ 426 h 435"/>
                <a:gd name="T62" fmla="*/ 314 w 826"/>
                <a:gd name="T63" fmla="*/ 195 h 435"/>
                <a:gd name="T64" fmla="*/ 509 w 826"/>
                <a:gd name="T65" fmla="*/ 375 h 435"/>
                <a:gd name="T66" fmla="*/ 509 w 826"/>
                <a:gd name="T67" fmla="*/ 375 h 435"/>
                <a:gd name="T68" fmla="*/ 515 w 826"/>
                <a:gd name="T69" fmla="*/ 379 h 435"/>
                <a:gd name="T70" fmla="*/ 521 w 826"/>
                <a:gd name="T71" fmla="*/ 381 h 435"/>
                <a:gd name="T72" fmla="*/ 527 w 826"/>
                <a:gd name="T73" fmla="*/ 383 h 435"/>
                <a:gd name="T74" fmla="*/ 535 w 826"/>
                <a:gd name="T75" fmla="*/ 383 h 435"/>
                <a:gd name="T76" fmla="*/ 535 w 826"/>
                <a:gd name="T77" fmla="*/ 383 h 435"/>
                <a:gd name="T78" fmla="*/ 541 w 826"/>
                <a:gd name="T79" fmla="*/ 381 h 435"/>
                <a:gd name="T80" fmla="*/ 548 w 826"/>
                <a:gd name="T81" fmla="*/ 379 h 435"/>
                <a:gd name="T82" fmla="*/ 554 w 826"/>
                <a:gd name="T83" fmla="*/ 375 h 435"/>
                <a:gd name="T84" fmla="*/ 558 w 826"/>
                <a:gd name="T85" fmla="*/ 371 h 435"/>
                <a:gd name="T86" fmla="*/ 761 w 826"/>
                <a:gd name="T87" fmla="*/ 123 h 435"/>
                <a:gd name="T88" fmla="*/ 808 w 826"/>
                <a:gd name="T89" fmla="*/ 170 h 435"/>
                <a:gd name="T90" fmla="*/ 826 w 826"/>
                <a:gd name="T9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6" h="435">
                  <a:moveTo>
                    <a:pt x="826" y="0"/>
                  </a:moveTo>
                  <a:lnTo>
                    <a:pt x="656" y="19"/>
                  </a:lnTo>
                  <a:lnTo>
                    <a:pt x="712" y="76"/>
                  </a:lnTo>
                  <a:lnTo>
                    <a:pt x="529" y="299"/>
                  </a:lnTo>
                  <a:lnTo>
                    <a:pt x="339" y="123"/>
                  </a:lnTo>
                  <a:lnTo>
                    <a:pt x="339" y="123"/>
                  </a:lnTo>
                  <a:lnTo>
                    <a:pt x="332" y="119"/>
                  </a:lnTo>
                  <a:lnTo>
                    <a:pt x="328" y="117"/>
                  </a:lnTo>
                  <a:lnTo>
                    <a:pt x="316" y="115"/>
                  </a:lnTo>
                  <a:lnTo>
                    <a:pt x="304" y="117"/>
                  </a:lnTo>
                  <a:lnTo>
                    <a:pt x="298" y="119"/>
                  </a:lnTo>
                  <a:lnTo>
                    <a:pt x="291" y="123"/>
                  </a:lnTo>
                  <a:lnTo>
                    <a:pt x="13" y="375"/>
                  </a:lnTo>
                  <a:lnTo>
                    <a:pt x="13" y="375"/>
                  </a:lnTo>
                  <a:lnTo>
                    <a:pt x="9" y="381"/>
                  </a:lnTo>
                  <a:lnTo>
                    <a:pt x="5" y="388"/>
                  </a:lnTo>
                  <a:lnTo>
                    <a:pt x="3" y="394"/>
                  </a:lnTo>
                  <a:lnTo>
                    <a:pt x="0" y="400"/>
                  </a:lnTo>
                  <a:lnTo>
                    <a:pt x="3" y="406"/>
                  </a:lnTo>
                  <a:lnTo>
                    <a:pt x="3" y="412"/>
                  </a:lnTo>
                  <a:lnTo>
                    <a:pt x="7" y="418"/>
                  </a:lnTo>
                  <a:lnTo>
                    <a:pt x="11" y="424"/>
                  </a:lnTo>
                  <a:lnTo>
                    <a:pt x="11" y="424"/>
                  </a:lnTo>
                  <a:lnTo>
                    <a:pt x="15" y="429"/>
                  </a:lnTo>
                  <a:lnTo>
                    <a:pt x="21" y="433"/>
                  </a:lnTo>
                  <a:lnTo>
                    <a:pt x="29" y="435"/>
                  </a:lnTo>
                  <a:lnTo>
                    <a:pt x="35" y="435"/>
                  </a:lnTo>
                  <a:lnTo>
                    <a:pt x="35" y="435"/>
                  </a:lnTo>
                  <a:lnTo>
                    <a:pt x="48" y="433"/>
                  </a:lnTo>
                  <a:lnTo>
                    <a:pt x="58" y="426"/>
                  </a:lnTo>
                  <a:lnTo>
                    <a:pt x="58" y="426"/>
                  </a:lnTo>
                  <a:lnTo>
                    <a:pt x="314" y="195"/>
                  </a:lnTo>
                  <a:lnTo>
                    <a:pt x="509" y="375"/>
                  </a:lnTo>
                  <a:lnTo>
                    <a:pt x="509" y="375"/>
                  </a:lnTo>
                  <a:lnTo>
                    <a:pt x="515" y="379"/>
                  </a:lnTo>
                  <a:lnTo>
                    <a:pt x="521" y="381"/>
                  </a:lnTo>
                  <a:lnTo>
                    <a:pt x="527" y="383"/>
                  </a:lnTo>
                  <a:lnTo>
                    <a:pt x="535" y="383"/>
                  </a:lnTo>
                  <a:lnTo>
                    <a:pt x="535" y="383"/>
                  </a:lnTo>
                  <a:lnTo>
                    <a:pt x="541" y="381"/>
                  </a:lnTo>
                  <a:lnTo>
                    <a:pt x="548" y="379"/>
                  </a:lnTo>
                  <a:lnTo>
                    <a:pt x="554" y="375"/>
                  </a:lnTo>
                  <a:lnTo>
                    <a:pt x="558" y="371"/>
                  </a:lnTo>
                  <a:lnTo>
                    <a:pt x="761" y="123"/>
                  </a:lnTo>
                  <a:lnTo>
                    <a:pt x="808" y="170"/>
                  </a:lnTo>
                  <a:lnTo>
                    <a:pt x="826" y="0"/>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华文楷体" panose="02010600040101010101" charset="-122"/>
                <a:cs typeface="+mn-cs"/>
              </a:endParaRPr>
            </a:p>
          </p:txBody>
        </p:sp>
      </p:grpSp>
      <p:sp>
        <p:nvSpPr>
          <p:cNvPr id="6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综合</a:t>
            </a:r>
            <a:endParaRPr lang="zh-CN" altLang="en-US" sz="2400" dirty="0">
              <a:latin typeface="+mj-ea"/>
            </a:endParaRPr>
          </a:p>
        </p:txBody>
      </p:sp>
      <p:pic>
        <p:nvPicPr>
          <p:cNvPr id="60" name="图片 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377" name="think-cell Slide" r:id="rId2" imgW="12700" imgH="12700" progId="TCLayout.ActiveDocument.1">
                  <p:embed/>
                </p:oleObj>
              </mc:Choice>
              <mc:Fallback>
                <p:oleObj name="think-cell Slide" r:id="rId2" imgW="12700" imgH="12700" progId="TCLayout.ActiveDocument.1">
                  <p:embed/>
                  <p:pic>
                    <p:nvPicPr>
                      <p:cNvPr id="0" name="对象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7" name="矩形 26" hidden="1"/>
          <p:cNvSpPr/>
          <p:nvPr>
            <p:custDataLst>
              <p:tags r:id="rId4"/>
            </p:custDataLst>
          </p:nvPr>
        </p:nvSpPr>
        <p:spPr>
          <a:xfrm>
            <a:off x="0" y="0"/>
            <a:ext cx="158750"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lgn="ctr">
              <a:lnSpc>
                <a:spcPct val="90000"/>
              </a:lnSpc>
              <a:spcBef>
                <a:spcPct val="0"/>
              </a:spcBef>
              <a:spcAft>
                <a:spcPct val="0"/>
              </a:spcAft>
            </a:pPr>
            <a:endParaRPr lang="zh-CN" altLang="en-US" sz="1400" dirty="0" smtClean="0">
              <a:solidFill>
                <a:srgbClr val="000000"/>
              </a:solidFill>
              <a:sym typeface="+mn-lt"/>
            </a:endParaRPr>
          </a:p>
        </p:txBody>
      </p:sp>
      <p:sp>
        <p:nvSpPr>
          <p:cNvPr id="42" name="右箭头 41"/>
          <p:cNvSpPr/>
          <p:nvPr/>
        </p:nvSpPr>
        <p:spPr>
          <a:xfrm>
            <a:off x="5100243" y="1684421"/>
            <a:ext cx="1840832" cy="348916"/>
          </a:xfrm>
          <a:prstGeom prst="rightArrow">
            <a:avLst/>
          </a:prstGeom>
          <a:gradFill flip="none" rotWithShape="1">
            <a:gsLst>
              <a:gs pos="78000">
                <a:schemeClr val="accent1">
                  <a:lumMod val="75000"/>
                </a:schemeClr>
              </a:gs>
              <a:gs pos="0">
                <a:schemeClr val="accent1">
                  <a:lumMod val="20000"/>
                  <a:lumOff val="80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38" name="矩形 37"/>
          <p:cNvSpPr/>
          <p:nvPr/>
        </p:nvSpPr>
        <p:spPr>
          <a:xfrm>
            <a:off x="7683631" y="1506071"/>
            <a:ext cx="1418224" cy="596266"/>
          </a:xfrm>
          <a:prstGeom prst="rect">
            <a:avLst/>
          </a:prstGeom>
          <a:noFill/>
          <a:ln w="9525">
            <a:noFill/>
            <a:round/>
          </a:ln>
          <a:extLst>
            <a:ext uri="{909E8E84-426E-40DD-AFC4-6F175D3DCCD1}">
              <a14:hiddenFill xmlns:a14="http://schemas.microsoft.com/office/drawing/2010/main">
                <a:gradFill>
                  <a:gsLst>
                    <a:gs pos="0">
                      <a:schemeClr val="bg1"/>
                    </a:gs>
                    <a:gs pos="50000">
                      <a:schemeClr val="bg1">
                        <a:lumMod val="85000"/>
                      </a:schemeClr>
                    </a:gs>
                  </a:gsLst>
                  <a:lin ang="5400000" scaled="0"/>
                </a:gradFill>
              </a14:hiddenFill>
            </a:ext>
          </a:extLst>
        </p:spPr>
        <p:txBody>
          <a:bodyPr anchor="ctr"/>
          <a:lstStyle/>
          <a:p>
            <a:r>
              <a:rPr lang="en-US" altLang="zh-CN" dirty="0" smtClean="0">
                <a:solidFill>
                  <a:srgbClr val="000000"/>
                </a:solidFill>
              </a:rPr>
              <a:t>XXX</a:t>
            </a:r>
            <a:endParaRPr lang="zh-CN" altLang="en-US" dirty="0">
              <a:solidFill>
                <a:srgbClr val="000000"/>
              </a:solidFill>
            </a:endParaRPr>
          </a:p>
        </p:txBody>
      </p:sp>
      <p:sp>
        <p:nvSpPr>
          <p:cNvPr id="18" name="矩形 17"/>
          <p:cNvSpPr/>
          <p:nvPr/>
        </p:nvSpPr>
        <p:spPr>
          <a:xfrm>
            <a:off x="407987" y="836156"/>
            <a:ext cx="11401365" cy="5413723"/>
          </a:xfrm>
          <a:prstGeom prst="rect">
            <a:avLst/>
          </a:prstGeom>
          <a:noFill/>
          <a:ln w="9525" cap="rnd" cmpd="sng" algn="ctr">
            <a:solidFill>
              <a:srgbClr val="EA540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nSpc>
                <a:spcPct val="90000"/>
              </a:lnSpc>
              <a:spcAft>
                <a:spcPts val="1000"/>
              </a:spcAft>
            </a:pPr>
            <a:endParaRPr lang="en-US" altLang="zh-CN" sz="1600" dirty="0" smtClean="0">
              <a:solidFill>
                <a:srgbClr val="000000"/>
              </a:solidFill>
            </a:endParaRPr>
          </a:p>
        </p:txBody>
      </p:sp>
      <p:sp>
        <p:nvSpPr>
          <p:cNvPr id="29" name="五边形 28"/>
          <p:cNvSpPr/>
          <p:nvPr/>
        </p:nvSpPr>
        <p:spPr>
          <a:xfrm rot="5400000">
            <a:off x="119920" y="1875210"/>
            <a:ext cx="1764696" cy="869291"/>
          </a:xfrm>
          <a:prstGeom prst="homePlate">
            <a:avLst>
              <a:gd name="adj" fmla="val 15743"/>
            </a:avLst>
          </a:prstGeom>
          <a:solidFill>
            <a:srgbClr val="FE58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2000" b="1" dirty="0">
              <a:solidFill>
                <a:srgbClr val="FFFFFF"/>
              </a:solidFill>
            </a:endParaRPr>
          </a:p>
        </p:txBody>
      </p:sp>
      <p:sp>
        <p:nvSpPr>
          <p:cNvPr id="30" name="燕尾形 29"/>
          <p:cNvSpPr/>
          <p:nvPr/>
        </p:nvSpPr>
        <p:spPr>
          <a:xfrm rot="5400000">
            <a:off x="98405" y="3556221"/>
            <a:ext cx="1807726" cy="869291"/>
          </a:xfrm>
          <a:prstGeom prst="chevron">
            <a:avLst>
              <a:gd name="adj" fmla="val 15743"/>
            </a:avLst>
          </a:prstGeom>
          <a:solidFill>
            <a:srgbClr val="FE58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2000" b="1" dirty="0">
              <a:solidFill>
                <a:srgbClr val="FFFFFF"/>
              </a:solidFill>
            </a:endParaRPr>
          </a:p>
        </p:txBody>
      </p:sp>
      <p:sp>
        <p:nvSpPr>
          <p:cNvPr id="31" name="燕尾形 30"/>
          <p:cNvSpPr/>
          <p:nvPr/>
        </p:nvSpPr>
        <p:spPr>
          <a:xfrm rot="5400000">
            <a:off x="319733" y="5035046"/>
            <a:ext cx="1365070" cy="869291"/>
          </a:xfrm>
          <a:prstGeom prst="chevron">
            <a:avLst>
              <a:gd name="adj" fmla="val 15743"/>
            </a:avLst>
          </a:prstGeom>
          <a:solidFill>
            <a:srgbClr val="FE581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2000" b="1" dirty="0">
              <a:solidFill>
                <a:srgbClr val="FFFFFF"/>
              </a:solidFill>
            </a:endParaRPr>
          </a:p>
        </p:txBody>
      </p:sp>
      <p:sp>
        <p:nvSpPr>
          <p:cNvPr id="6" name="TextBox 5"/>
          <p:cNvSpPr txBox="1"/>
          <p:nvPr/>
        </p:nvSpPr>
        <p:spPr>
          <a:xfrm>
            <a:off x="701289" y="2033385"/>
            <a:ext cx="601959" cy="276999"/>
          </a:xfrm>
          <a:prstGeom prst="rect">
            <a:avLst/>
          </a:prstGeom>
          <a:noFill/>
          <a:ln>
            <a:noFill/>
          </a:ln>
          <a:extLst>
            <a:ext uri="{909E8E84-426E-40DD-AFC4-6F175D3DCCD1}">
              <a14:hiddenFill xmlns:a14="http://schemas.microsoft.com/office/drawing/2010/main">
                <a:solidFill>
                  <a:schemeClr val="accent2">
                    <a:lumMod val="75000"/>
                  </a:schemeClr>
                </a:solidFill>
              </a14:hiddenFill>
            </a:ext>
          </a:extLst>
        </p:spPr>
        <p:txBody>
          <a:bodyPr wrap="square" lIns="0" tIns="0" rIns="0" bIns="0" rtlCol="0">
            <a:spAutoFit/>
          </a:bodyPr>
          <a:lstStyle/>
          <a:p>
            <a:pPr algn="ctr"/>
            <a:r>
              <a:rPr lang="en-US" altLang="zh-CN" b="1" dirty="0" smtClean="0">
                <a:solidFill>
                  <a:srgbClr val="FFFFFF"/>
                </a:solidFill>
              </a:rPr>
              <a:t>XX</a:t>
            </a:r>
            <a:endParaRPr lang="zh-CN" altLang="en-US" b="1" dirty="0">
              <a:solidFill>
                <a:srgbClr val="FFFFFF"/>
              </a:solidFill>
            </a:endParaRPr>
          </a:p>
        </p:txBody>
      </p:sp>
      <p:sp>
        <p:nvSpPr>
          <p:cNvPr id="36" name="TextBox 35"/>
          <p:cNvSpPr txBox="1"/>
          <p:nvPr/>
        </p:nvSpPr>
        <p:spPr>
          <a:xfrm>
            <a:off x="701289" y="3748908"/>
            <a:ext cx="601959" cy="276999"/>
          </a:xfrm>
          <a:prstGeom prst="rect">
            <a:avLst/>
          </a:prstGeom>
          <a:noFill/>
          <a:ln>
            <a:noFill/>
          </a:ln>
          <a:extLst>
            <a:ext uri="{909E8E84-426E-40DD-AFC4-6F175D3DCCD1}">
              <a14:hiddenFill xmlns:a14="http://schemas.microsoft.com/office/drawing/2010/main">
                <a:solidFill>
                  <a:schemeClr val="accent2">
                    <a:lumMod val="75000"/>
                  </a:schemeClr>
                </a:solidFill>
              </a14:hiddenFill>
            </a:ext>
          </a:extLst>
        </p:spPr>
        <p:txBody>
          <a:bodyPr wrap="square" lIns="0" tIns="0" rIns="0" bIns="0" rtlCol="0">
            <a:spAutoFit/>
          </a:bodyPr>
          <a:lstStyle/>
          <a:p>
            <a:pPr algn="ctr"/>
            <a:r>
              <a:rPr lang="en-US" altLang="zh-CN" b="1" dirty="0" smtClean="0">
                <a:solidFill>
                  <a:srgbClr val="FFFFFF"/>
                </a:solidFill>
              </a:rPr>
              <a:t>XX</a:t>
            </a:r>
            <a:endParaRPr lang="zh-CN" altLang="en-US" b="1" dirty="0">
              <a:solidFill>
                <a:srgbClr val="FFFFFF"/>
              </a:solidFill>
            </a:endParaRPr>
          </a:p>
        </p:txBody>
      </p:sp>
      <p:sp>
        <p:nvSpPr>
          <p:cNvPr id="41" name="TextBox 40"/>
          <p:cNvSpPr txBox="1"/>
          <p:nvPr/>
        </p:nvSpPr>
        <p:spPr>
          <a:xfrm>
            <a:off x="701289" y="5324580"/>
            <a:ext cx="601959" cy="276999"/>
          </a:xfrm>
          <a:prstGeom prst="rect">
            <a:avLst/>
          </a:prstGeom>
          <a:noFill/>
          <a:ln>
            <a:noFill/>
          </a:ln>
          <a:extLst>
            <a:ext uri="{909E8E84-426E-40DD-AFC4-6F175D3DCCD1}">
              <a14:hiddenFill xmlns:a14="http://schemas.microsoft.com/office/drawing/2010/main">
                <a:solidFill>
                  <a:schemeClr val="accent2">
                    <a:lumMod val="75000"/>
                  </a:schemeClr>
                </a:solidFill>
              </a14:hiddenFill>
            </a:ext>
          </a:extLst>
        </p:spPr>
        <p:txBody>
          <a:bodyPr wrap="square" lIns="0" tIns="0" rIns="0" bIns="0" rtlCol="0">
            <a:spAutoFit/>
          </a:bodyPr>
          <a:lstStyle/>
          <a:p>
            <a:pPr algn="ctr"/>
            <a:r>
              <a:rPr lang="en-US" altLang="zh-CN" b="1" dirty="0" smtClean="0">
                <a:solidFill>
                  <a:srgbClr val="FFFFFF"/>
                </a:solidFill>
              </a:rPr>
              <a:t>XX</a:t>
            </a:r>
            <a:endParaRPr lang="zh-CN" altLang="en-US" b="1" dirty="0">
              <a:solidFill>
                <a:srgbClr val="FFFFFF"/>
              </a:solidFill>
            </a:endParaRPr>
          </a:p>
        </p:txBody>
      </p:sp>
      <p:sp>
        <p:nvSpPr>
          <p:cNvPr id="88" name="文本框 5"/>
          <p:cNvSpPr txBox="1"/>
          <p:nvPr/>
        </p:nvSpPr>
        <p:spPr>
          <a:xfrm>
            <a:off x="9179265" y="1619538"/>
            <a:ext cx="2309348" cy="369332"/>
          </a:xfrm>
          <a:prstGeom prst="rect">
            <a:avLst/>
          </a:prstGeom>
          <a:noFill/>
        </p:spPr>
        <p:txBody>
          <a:bodyPr wrap="square" lIns="0" rIns="0" rtlCol="0">
            <a:spAutoFit/>
          </a:bodyPr>
          <a:lstStyle/>
          <a:p>
            <a:pPr marL="285750" indent="-285750">
              <a:buFont typeface="Arial" panose="020B0604020202020204" pitchFamily="34" charset="0"/>
              <a:buChar char="•"/>
            </a:pPr>
            <a:r>
              <a:rPr kumimoji="1" lang="en-US" altLang="zh-CN" dirty="0" smtClean="0">
                <a:solidFill>
                  <a:srgbClr val="000000"/>
                </a:solidFill>
              </a:rPr>
              <a:t>XX</a:t>
            </a:r>
            <a:endParaRPr kumimoji="1" lang="en-US" altLang="zh-CN" dirty="0">
              <a:solidFill>
                <a:srgbClr val="000000"/>
              </a:solidFill>
            </a:endParaRPr>
          </a:p>
        </p:txBody>
      </p:sp>
      <p:sp>
        <p:nvSpPr>
          <p:cNvPr id="89" name="文本框 5"/>
          <p:cNvSpPr txBox="1"/>
          <p:nvPr/>
        </p:nvSpPr>
        <p:spPr>
          <a:xfrm>
            <a:off x="9179265" y="2414341"/>
            <a:ext cx="2309348" cy="369332"/>
          </a:xfrm>
          <a:prstGeom prst="rect">
            <a:avLst/>
          </a:prstGeom>
          <a:noFill/>
        </p:spPr>
        <p:txBody>
          <a:bodyPr wrap="square" lIns="0" rIns="0" rtlCol="0">
            <a:spAutoFit/>
          </a:bodyPr>
          <a:lstStyle/>
          <a:p>
            <a:pPr marL="285750" indent="-285750">
              <a:buFont typeface="Arial" panose="020B0604020202020204" pitchFamily="34" charset="0"/>
              <a:buChar char="•"/>
            </a:pPr>
            <a:r>
              <a:rPr kumimoji="1" lang="en-US" altLang="zh-CN" dirty="0" smtClean="0">
                <a:solidFill>
                  <a:srgbClr val="000000"/>
                </a:solidFill>
              </a:rPr>
              <a:t>XX</a:t>
            </a:r>
            <a:endParaRPr kumimoji="1" lang="en-US" altLang="zh-CN" dirty="0">
              <a:solidFill>
                <a:srgbClr val="000000"/>
              </a:solidFill>
            </a:endParaRPr>
          </a:p>
        </p:txBody>
      </p:sp>
      <p:sp>
        <p:nvSpPr>
          <p:cNvPr id="95" name="文本框 5"/>
          <p:cNvSpPr txBox="1"/>
          <p:nvPr/>
        </p:nvSpPr>
        <p:spPr>
          <a:xfrm>
            <a:off x="9179265" y="4822919"/>
            <a:ext cx="2309348" cy="369332"/>
          </a:xfrm>
          <a:prstGeom prst="rect">
            <a:avLst/>
          </a:prstGeom>
          <a:noFill/>
        </p:spPr>
        <p:txBody>
          <a:bodyPr wrap="square" lIns="0" rIns="0" rtlCol="0">
            <a:spAutoFit/>
          </a:bodyPr>
          <a:lstStyle/>
          <a:p>
            <a:pPr marL="285750" indent="-285750">
              <a:spcBef>
                <a:spcPts val="600"/>
              </a:spcBef>
              <a:buFont typeface="Arial" panose="020B0604020202020204" pitchFamily="34" charset="0"/>
              <a:buChar char="•"/>
            </a:pPr>
            <a:r>
              <a:rPr kumimoji="1" lang="en-US" altLang="zh-CN" dirty="0" smtClean="0">
                <a:solidFill>
                  <a:srgbClr val="000000"/>
                </a:solidFill>
              </a:rPr>
              <a:t>XXX</a:t>
            </a:r>
            <a:endParaRPr kumimoji="1" lang="en-US" altLang="zh-CN" dirty="0">
              <a:solidFill>
                <a:srgbClr val="000000"/>
              </a:solidFill>
            </a:endParaRPr>
          </a:p>
        </p:txBody>
      </p:sp>
      <p:sp>
        <p:nvSpPr>
          <p:cNvPr id="90" name="文本框 5"/>
          <p:cNvSpPr txBox="1"/>
          <p:nvPr/>
        </p:nvSpPr>
        <p:spPr>
          <a:xfrm>
            <a:off x="9179265" y="3262432"/>
            <a:ext cx="2309348" cy="369332"/>
          </a:xfrm>
          <a:prstGeom prst="rect">
            <a:avLst/>
          </a:prstGeom>
          <a:noFill/>
        </p:spPr>
        <p:txBody>
          <a:bodyPr wrap="square" lIns="0" rIns="0" rtlCol="0" anchor="ctr">
            <a:spAutoFit/>
          </a:bodyPr>
          <a:lstStyle/>
          <a:p>
            <a:pPr marL="285750" indent="-285750">
              <a:buFont typeface="Arial" panose="020B0604020202020204" pitchFamily="34" charset="0"/>
              <a:buChar char="•"/>
            </a:pPr>
            <a:r>
              <a:rPr kumimoji="1" lang="en-US" altLang="zh-CN" dirty="0" smtClean="0">
                <a:solidFill>
                  <a:srgbClr val="000000"/>
                </a:solidFill>
              </a:rPr>
              <a:t>XX</a:t>
            </a:r>
            <a:endParaRPr kumimoji="1" lang="en-US" altLang="zh-CN" dirty="0">
              <a:solidFill>
                <a:srgbClr val="000000"/>
              </a:solidFill>
            </a:endParaRPr>
          </a:p>
        </p:txBody>
      </p:sp>
      <p:sp>
        <p:nvSpPr>
          <p:cNvPr id="93" name="文本框 5"/>
          <p:cNvSpPr txBox="1"/>
          <p:nvPr/>
        </p:nvSpPr>
        <p:spPr>
          <a:xfrm>
            <a:off x="9179265" y="4149651"/>
            <a:ext cx="2309348" cy="369332"/>
          </a:xfrm>
          <a:prstGeom prst="rect">
            <a:avLst/>
          </a:prstGeom>
          <a:noFill/>
        </p:spPr>
        <p:txBody>
          <a:bodyPr wrap="square" lIns="0" rIns="0" rtlCol="0" anchor="ctr">
            <a:spAutoFit/>
          </a:bodyPr>
          <a:lstStyle/>
          <a:p>
            <a:pPr marL="285750" indent="-285750">
              <a:buFont typeface="Arial" panose="020B0604020202020204" pitchFamily="34" charset="0"/>
              <a:buChar char="•"/>
            </a:pPr>
            <a:r>
              <a:rPr kumimoji="1" lang="en-US" altLang="zh-CN" dirty="0" smtClean="0">
                <a:solidFill>
                  <a:srgbClr val="000000"/>
                </a:solidFill>
              </a:rPr>
              <a:t>XXX</a:t>
            </a:r>
            <a:endParaRPr kumimoji="1" lang="en-US" altLang="zh-CN" dirty="0">
              <a:solidFill>
                <a:srgbClr val="000000"/>
              </a:solidFill>
            </a:endParaRPr>
          </a:p>
        </p:txBody>
      </p:sp>
      <p:sp>
        <p:nvSpPr>
          <p:cNvPr id="33" name="文本框 5"/>
          <p:cNvSpPr txBox="1"/>
          <p:nvPr/>
        </p:nvSpPr>
        <p:spPr>
          <a:xfrm>
            <a:off x="9179265" y="3706041"/>
            <a:ext cx="2309348" cy="369332"/>
          </a:xfrm>
          <a:prstGeom prst="rect">
            <a:avLst/>
          </a:prstGeom>
          <a:noFill/>
        </p:spPr>
        <p:txBody>
          <a:bodyPr wrap="square" lIns="0" rIns="0" rtlCol="0" anchor="ctr">
            <a:spAutoFit/>
          </a:bodyPr>
          <a:lstStyle/>
          <a:p>
            <a:pPr marL="285750" indent="-285750">
              <a:buFont typeface="Arial" panose="020B0604020202020204" pitchFamily="34" charset="0"/>
              <a:buChar char="•"/>
            </a:pPr>
            <a:r>
              <a:rPr kumimoji="1" lang="en-US" altLang="zh-CN" dirty="0" smtClean="0">
                <a:solidFill>
                  <a:srgbClr val="000000"/>
                </a:solidFill>
              </a:rPr>
              <a:t>XXX</a:t>
            </a:r>
            <a:endParaRPr kumimoji="1" lang="en-US" altLang="zh-CN" dirty="0">
              <a:solidFill>
                <a:srgbClr val="000000"/>
              </a:solidFill>
            </a:endParaRPr>
          </a:p>
        </p:txBody>
      </p:sp>
      <p:cxnSp>
        <p:nvCxnSpPr>
          <p:cNvPr id="9" name="直接连接符 8"/>
          <p:cNvCxnSpPr/>
          <p:nvPr/>
        </p:nvCxnSpPr>
        <p:spPr>
          <a:xfrm>
            <a:off x="1479471" y="3091720"/>
            <a:ext cx="992523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1479471" y="4757605"/>
            <a:ext cx="992523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81" name="文本框 5"/>
          <p:cNvSpPr txBox="1"/>
          <p:nvPr/>
        </p:nvSpPr>
        <p:spPr>
          <a:xfrm>
            <a:off x="1546962" y="1662033"/>
            <a:ext cx="1676356" cy="369332"/>
          </a:xfrm>
          <a:prstGeom prst="rect">
            <a:avLst/>
          </a:prstGeom>
          <a:noFill/>
        </p:spPr>
        <p:txBody>
          <a:bodyPr wrap="square" lIns="0" rIns="0" rtlCol="0">
            <a:spAutoFit/>
          </a:bodyPr>
          <a:lstStyle/>
          <a:p>
            <a:r>
              <a:rPr lang="en-US" altLang="zh-CN" b="1" dirty="0" smtClean="0">
                <a:solidFill>
                  <a:srgbClr val="000000"/>
                </a:solidFill>
              </a:rPr>
              <a:t>XX</a:t>
            </a:r>
            <a:endParaRPr lang="zh-CN" altLang="en-US" dirty="0">
              <a:solidFill>
                <a:srgbClr val="000000"/>
              </a:solidFill>
            </a:endParaRPr>
          </a:p>
        </p:txBody>
      </p:sp>
      <p:sp>
        <p:nvSpPr>
          <p:cNvPr id="37" name="矩形 36"/>
          <p:cNvSpPr/>
          <p:nvPr/>
        </p:nvSpPr>
        <p:spPr>
          <a:xfrm>
            <a:off x="4048724" y="1506071"/>
            <a:ext cx="1171838" cy="596266"/>
          </a:xfrm>
          <a:prstGeom prst="rect">
            <a:avLst/>
          </a:prstGeom>
          <a:noFill/>
          <a:ln w="9525">
            <a:noFill/>
            <a:round/>
          </a:ln>
          <a:extLst>
            <a:ext uri="{909E8E84-426E-40DD-AFC4-6F175D3DCCD1}">
              <a14:hiddenFill xmlns:a14="http://schemas.microsoft.com/office/drawing/2010/main">
                <a:gradFill>
                  <a:gsLst>
                    <a:gs pos="0">
                      <a:schemeClr val="bg1"/>
                    </a:gs>
                    <a:gs pos="50000">
                      <a:schemeClr val="bg1">
                        <a:lumMod val="85000"/>
                      </a:schemeClr>
                    </a:gs>
                  </a:gsLst>
                  <a:lin ang="5400000" scaled="0"/>
                </a:gradFill>
              </a14:hiddenFill>
            </a:ext>
          </a:extLst>
        </p:spPr>
        <p:txBody>
          <a:bodyPr lIns="0" rIns="0" anchor="ctr"/>
          <a:lstStyle/>
          <a:p>
            <a:r>
              <a:rPr lang="en-US" altLang="zh-CN" dirty="0" smtClean="0">
                <a:solidFill>
                  <a:srgbClr val="000000"/>
                </a:solidFill>
              </a:rPr>
              <a:t>XXX</a:t>
            </a:r>
            <a:endParaRPr lang="zh-CN" altLang="en-US" dirty="0">
              <a:solidFill>
                <a:srgbClr val="000000"/>
              </a:solidFill>
            </a:endParaRPr>
          </a:p>
        </p:txBody>
      </p:sp>
      <p:sp>
        <p:nvSpPr>
          <p:cNvPr id="82" name="文本框 5"/>
          <p:cNvSpPr txBox="1"/>
          <p:nvPr/>
        </p:nvSpPr>
        <p:spPr>
          <a:xfrm>
            <a:off x="1546962" y="2414341"/>
            <a:ext cx="1676356" cy="369332"/>
          </a:xfrm>
          <a:prstGeom prst="rect">
            <a:avLst/>
          </a:prstGeom>
          <a:noFill/>
        </p:spPr>
        <p:txBody>
          <a:bodyPr wrap="square" lIns="0" rIns="0" rtlCol="0">
            <a:spAutoFit/>
          </a:bodyPr>
          <a:lstStyle/>
          <a:p>
            <a:r>
              <a:rPr lang="en-US" altLang="zh-CN" b="1" dirty="0" smtClean="0">
                <a:solidFill>
                  <a:srgbClr val="000000"/>
                </a:solidFill>
              </a:rPr>
              <a:t>XXX</a:t>
            </a:r>
            <a:endParaRPr lang="zh-CN" altLang="en-US" b="1" dirty="0">
              <a:solidFill>
                <a:srgbClr val="000000"/>
              </a:solidFill>
            </a:endParaRPr>
          </a:p>
        </p:txBody>
      </p:sp>
      <p:sp>
        <p:nvSpPr>
          <p:cNvPr id="39" name="矩形 38"/>
          <p:cNvSpPr/>
          <p:nvPr/>
        </p:nvSpPr>
        <p:spPr>
          <a:xfrm>
            <a:off x="4048724" y="2300874"/>
            <a:ext cx="1171838" cy="596266"/>
          </a:xfrm>
          <a:prstGeom prst="rect">
            <a:avLst/>
          </a:prstGeom>
          <a:noFill/>
          <a:ln w="9525">
            <a:noFill/>
            <a:round/>
          </a:ln>
          <a:extLst>
            <a:ext uri="{909E8E84-426E-40DD-AFC4-6F175D3DCCD1}">
              <a14:hiddenFill xmlns:a14="http://schemas.microsoft.com/office/drawing/2010/main">
                <a:gradFill>
                  <a:gsLst>
                    <a:gs pos="0">
                      <a:schemeClr val="bg1"/>
                    </a:gs>
                    <a:gs pos="50000">
                      <a:schemeClr val="bg1">
                        <a:lumMod val="85000"/>
                      </a:schemeClr>
                    </a:gs>
                  </a:gsLst>
                  <a:lin ang="5400000" scaled="0"/>
                </a:gradFill>
              </a14:hiddenFill>
            </a:ext>
          </a:extLst>
        </p:spPr>
        <p:txBody>
          <a:bodyPr lIns="0" rIns="0" anchor="ctr"/>
          <a:lstStyle/>
          <a:p>
            <a:r>
              <a:rPr lang="en-US" altLang="zh-CN" dirty="0" smtClean="0">
                <a:solidFill>
                  <a:srgbClr val="000000"/>
                </a:solidFill>
              </a:rPr>
              <a:t>XX</a:t>
            </a:r>
            <a:endParaRPr lang="zh-CN" altLang="en-US" dirty="0">
              <a:solidFill>
                <a:srgbClr val="000000"/>
              </a:solidFill>
            </a:endParaRPr>
          </a:p>
        </p:txBody>
      </p:sp>
      <p:sp>
        <p:nvSpPr>
          <p:cNvPr id="40" name="矩形 39"/>
          <p:cNvSpPr/>
          <p:nvPr/>
        </p:nvSpPr>
        <p:spPr>
          <a:xfrm>
            <a:off x="7683631" y="2300874"/>
            <a:ext cx="1418224" cy="596266"/>
          </a:xfrm>
          <a:prstGeom prst="rect">
            <a:avLst/>
          </a:prstGeom>
          <a:noFill/>
          <a:ln w="9525">
            <a:noFill/>
            <a:round/>
          </a:ln>
          <a:extLst>
            <a:ext uri="{909E8E84-426E-40DD-AFC4-6F175D3DCCD1}">
              <a14:hiddenFill xmlns:a14="http://schemas.microsoft.com/office/drawing/2010/main">
                <a:gradFill>
                  <a:gsLst>
                    <a:gs pos="0">
                      <a:schemeClr val="bg1"/>
                    </a:gs>
                    <a:gs pos="50000">
                      <a:schemeClr val="bg1">
                        <a:lumMod val="85000"/>
                      </a:schemeClr>
                    </a:gs>
                  </a:gsLst>
                  <a:lin ang="5400000" scaled="0"/>
                </a:gradFill>
              </a14:hiddenFill>
            </a:ext>
          </a:extLst>
        </p:spPr>
        <p:txBody>
          <a:bodyPr anchor="ctr"/>
          <a:lstStyle/>
          <a:p>
            <a:r>
              <a:rPr lang="en-US" altLang="zh-CN" dirty="0" smtClean="0">
                <a:solidFill>
                  <a:srgbClr val="000000"/>
                </a:solidFill>
              </a:rPr>
              <a:t>XXX</a:t>
            </a:r>
            <a:endParaRPr lang="zh-CN" altLang="en-US" dirty="0">
              <a:solidFill>
                <a:srgbClr val="000000"/>
              </a:solidFill>
            </a:endParaRPr>
          </a:p>
        </p:txBody>
      </p:sp>
      <p:sp>
        <p:nvSpPr>
          <p:cNvPr id="55" name="文本框 5"/>
          <p:cNvSpPr txBox="1"/>
          <p:nvPr/>
        </p:nvSpPr>
        <p:spPr>
          <a:xfrm>
            <a:off x="1546962" y="3394015"/>
            <a:ext cx="1676356" cy="369332"/>
          </a:xfrm>
          <a:prstGeom prst="rect">
            <a:avLst/>
          </a:prstGeom>
          <a:noFill/>
        </p:spPr>
        <p:txBody>
          <a:bodyPr wrap="square" lIns="0" rIns="0" rtlCol="0">
            <a:spAutoFit/>
          </a:bodyPr>
          <a:lstStyle/>
          <a:p>
            <a:r>
              <a:rPr lang="en-US" altLang="zh-CN" b="1" dirty="0" smtClean="0">
                <a:solidFill>
                  <a:srgbClr val="000000"/>
                </a:solidFill>
              </a:rPr>
              <a:t>XX</a:t>
            </a:r>
            <a:endParaRPr lang="zh-CN" altLang="en-US" dirty="0">
              <a:solidFill>
                <a:srgbClr val="000000"/>
              </a:solidFill>
            </a:endParaRPr>
          </a:p>
        </p:txBody>
      </p:sp>
      <p:sp>
        <p:nvSpPr>
          <p:cNvPr id="57" name="矩形 56"/>
          <p:cNvSpPr/>
          <p:nvPr/>
        </p:nvSpPr>
        <p:spPr>
          <a:xfrm>
            <a:off x="4048724" y="3238053"/>
            <a:ext cx="1171838" cy="513676"/>
          </a:xfrm>
          <a:prstGeom prst="rect">
            <a:avLst/>
          </a:prstGeom>
          <a:noFill/>
          <a:ln w="9525">
            <a:noFill/>
            <a:round/>
          </a:ln>
          <a:extLst>
            <a:ext uri="{909E8E84-426E-40DD-AFC4-6F175D3DCCD1}">
              <a14:hiddenFill xmlns:a14="http://schemas.microsoft.com/office/drawing/2010/main">
                <a:gradFill>
                  <a:gsLst>
                    <a:gs pos="0">
                      <a:schemeClr val="bg1"/>
                    </a:gs>
                    <a:gs pos="50000">
                      <a:schemeClr val="bg1">
                        <a:lumMod val="85000"/>
                      </a:schemeClr>
                    </a:gs>
                  </a:gsLst>
                  <a:lin ang="5400000" scaled="0"/>
                </a:gradFill>
              </a14:hiddenFill>
            </a:ext>
          </a:extLst>
        </p:spPr>
        <p:txBody>
          <a:bodyPr lIns="0" rIns="0" anchor="ctr"/>
          <a:lstStyle/>
          <a:p>
            <a:r>
              <a:rPr lang="en-US" altLang="zh-CN" dirty="0" smtClean="0">
                <a:solidFill>
                  <a:srgbClr val="000000"/>
                </a:solidFill>
              </a:rPr>
              <a:t>XX</a:t>
            </a:r>
            <a:endParaRPr lang="zh-CN" altLang="en-US" dirty="0">
              <a:solidFill>
                <a:srgbClr val="000000"/>
              </a:solidFill>
            </a:endParaRPr>
          </a:p>
        </p:txBody>
      </p:sp>
      <p:sp>
        <p:nvSpPr>
          <p:cNvPr id="58" name="矩形 57"/>
          <p:cNvSpPr/>
          <p:nvPr/>
        </p:nvSpPr>
        <p:spPr>
          <a:xfrm>
            <a:off x="7683631" y="3238053"/>
            <a:ext cx="1418224" cy="513676"/>
          </a:xfrm>
          <a:prstGeom prst="rect">
            <a:avLst/>
          </a:prstGeom>
          <a:noFill/>
          <a:ln w="9525">
            <a:noFill/>
            <a:round/>
          </a:ln>
          <a:extLst>
            <a:ext uri="{909E8E84-426E-40DD-AFC4-6F175D3DCCD1}">
              <a14:hiddenFill xmlns:a14="http://schemas.microsoft.com/office/drawing/2010/main">
                <a:gradFill>
                  <a:gsLst>
                    <a:gs pos="0">
                      <a:schemeClr val="bg1"/>
                    </a:gs>
                    <a:gs pos="50000">
                      <a:schemeClr val="bg1">
                        <a:lumMod val="85000"/>
                      </a:schemeClr>
                    </a:gs>
                  </a:gsLst>
                  <a:lin ang="5400000" scaled="0"/>
                </a:gradFill>
              </a14:hiddenFill>
            </a:ext>
          </a:extLst>
        </p:spPr>
        <p:txBody>
          <a:bodyPr anchor="ctr"/>
          <a:lstStyle/>
          <a:p>
            <a:r>
              <a:rPr lang="en-US" altLang="zh-CN" dirty="0" smtClean="0">
                <a:solidFill>
                  <a:srgbClr val="000000"/>
                </a:solidFill>
              </a:rPr>
              <a:t>XX</a:t>
            </a:r>
            <a:endParaRPr lang="zh-CN" altLang="en-US" dirty="0">
              <a:solidFill>
                <a:srgbClr val="000000"/>
              </a:solidFill>
            </a:endParaRPr>
          </a:p>
        </p:txBody>
      </p:sp>
      <p:sp>
        <p:nvSpPr>
          <p:cNvPr id="56" name="文本框 5"/>
          <p:cNvSpPr txBox="1"/>
          <p:nvPr/>
        </p:nvSpPr>
        <p:spPr>
          <a:xfrm>
            <a:off x="1546962" y="4179323"/>
            <a:ext cx="1676356" cy="369332"/>
          </a:xfrm>
          <a:prstGeom prst="rect">
            <a:avLst/>
          </a:prstGeom>
          <a:noFill/>
        </p:spPr>
        <p:txBody>
          <a:bodyPr wrap="square" lIns="0" rIns="0" rtlCol="0">
            <a:spAutoFit/>
          </a:bodyPr>
          <a:lstStyle/>
          <a:p>
            <a:r>
              <a:rPr lang="en-US" altLang="zh-CN" b="1" dirty="0" smtClean="0">
                <a:solidFill>
                  <a:srgbClr val="000000"/>
                </a:solidFill>
              </a:rPr>
              <a:t>XX</a:t>
            </a:r>
            <a:endParaRPr lang="zh-CN" altLang="en-US" b="1" dirty="0">
              <a:solidFill>
                <a:srgbClr val="000000"/>
              </a:solidFill>
            </a:endParaRPr>
          </a:p>
        </p:txBody>
      </p:sp>
      <p:sp>
        <p:nvSpPr>
          <p:cNvPr id="10" name="矩形 9"/>
          <p:cNvSpPr/>
          <p:nvPr/>
        </p:nvSpPr>
        <p:spPr>
          <a:xfrm>
            <a:off x="4043569" y="5645402"/>
            <a:ext cx="3986530" cy="276999"/>
          </a:xfrm>
          <a:prstGeom prst="rect">
            <a:avLst/>
          </a:prstGeom>
        </p:spPr>
        <p:txBody>
          <a:bodyPr wrap="square" lIns="0" tIns="0" rIns="0" bIns="0">
            <a:spAutoFit/>
          </a:bodyPr>
          <a:lstStyle/>
          <a:p>
            <a:pPr algn="ctr"/>
            <a:r>
              <a:rPr lang="en-US" altLang="zh-CN" dirty="0" smtClean="0">
                <a:solidFill>
                  <a:srgbClr val="000000"/>
                </a:solidFill>
              </a:rPr>
              <a:t>XX</a:t>
            </a:r>
            <a:endParaRPr lang="zh-CN" altLang="en-US" dirty="0">
              <a:solidFill>
                <a:srgbClr val="000000"/>
              </a:solidFill>
            </a:endParaRPr>
          </a:p>
        </p:txBody>
      </p:sp>
      <p:grpSp>
        <p:nvGrpSpPr>
          <p:cNvPr id="148" name="组合 147"/>
          <p:cNvGrpSpPr/>
          <p:nvPr/>
        </p:nvGrpSpPr>
        <p:grpSpPr>
          <a:xfrm>
            <a:off x="1521181" y="970705"/>
            <a:ext cx="7593087" cy="372140"/>
            <a:chOff x="3519378" y="946297"/>
            <a:chExt cx="4051003" cy="372140"/>
          </a:xfrm>
        </p:grpSpPr>
        <p:sp>
          <p:nvSpPr>
            <p:cNvPr id="149" name="文本框 7"/>
            <p:cNvSpPr txBox="1"/>
            <p:nvPr/>
          </p:nvSpPr>
          <p:spPr>
            <a:xfrm>
              <a:off x="3519378" y="946297"/>
              <a:ext cx="4046987" cy="369332"/>
            </a:xfrm>
            <a:prstGeom prst="rect">
              <a:avLst/>
            </a:prstGeom>
            <a:noFill/>
          </p:spPr>
          <p:txBody>
            <a:bodyPr wrap="square" rtlCol="0">
              <a:spAutoFit/>
            </a:bodyPr>
            <a:lstStyle/>
            <a:p>
              <a:r>
                <a:rPr lang="en-US" altLang="zh-CN" b="1" dirty="0" smtClean="0">
                  <a:solidFill>
                    <a:srgbClr val="000000"/>
                  </a:solidFill>
                </a:rPr>
                <a:t>XX</a:t>
              </a:r>
              <a:endParaRPr lang="zh-CN" altLang="en-US" b="1" dirty="0">
                <a:solidFill>
                  <a:srgbClr val="000000"/>
                </a:solidFill>
              </a:endParaRPr>
            </a:p>
          </p:txBody>
        </p:sp>
        <p:cxnSp>
          <p:nvCxnSpPr>
            <p:cNvPr id="150" name="直接连接符 149"/>
            <p:cNvCxnSpPr/>
            <p:nvPr/>
          </p:nvCxnSpPr>
          <p:spPr>
            <a:xfrm>
              <a:off x="3572540" y="1318437"/>
              <a:ext cx="399784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组合 150"/>
          <p:cNvGrpSpPr/>
          <p:nvPr/>
        </p:nvGrpSpPr>
        <p:grpSpPr>
          <a:xfrm>
            <a:off x="9179265" y="970705"/>
            <a:ext cx="2309348" cy="372140"/>
            <a:chOff x="3519378" y="946297"/>
            <a:chExt cx="4114800" cy="372140"/>
          </a:xfrm>
        </p:grpSpPr>
        <p:sp>
          <p:nvSpPr>
            <p:cNvPr id="152" name="文本框 7"/>
            <p:cNvSpPr txBox="1"/>
            <p:nvPr/>
          </p:nvSpPr>
          <p:spPr>
            <a:xfrm>
              <a:off x="3519378" y="946297"/>
              <a:ext cx="4114800" cy="369332"/>
            </a:xfrm>
            <a:prstGeom prst="rect">
              <a:avLst/>
            </a:prstGeom>
            <a:noFill/>
          </p:spPr>
          <p:txBody>
            <a:bodyPr wrap="square" rtlCol="0">
              <a:spAutoFit/>
            </a:bodyPr>
            <a:lstStyle/>
            <a:p>
              <a:r>
                <a:rPr lang="en-US" altLang="zh-CN" b="1" dirty="0" smtClean="0">
                  <a:solidFill>
                    <a:srgbClr val="000000"/>
                  </a:solidFill>
                </a:rPr>
                <a:t>XX</a:t>
              </a:r>
              <a:endParaRPr lang="zh-CN" altLang="en-US" b="1" dirty="0">
                <a:solidFill>
                  <a:srgbClr val="000000"/>
                </a:solidFill>
              </a:endParaRPr>
            </a:p>
          </p:txBody>
        </p:sp>
        <p:cxnSp>
          <p:nvCxnSpPr>
            <p:cNvPr id="153" name="直接连接符 152"/>
            <p:cNvCxnSpPr/>
            <p:nvPr/>
          </p:nvCxnSpPr>
          <p:spPr>
            <a:xfrm>
              <a:off x="3572540" y="1318437"/>
              <a:ext cx="399784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7" name="文本框 5"/>
          <p:cNvSpPr txBox="1"/>
          <p:nvPr/>
        </p:nvSpPr>
        <p:spPr>
          <a:xfrm>
            <a:off x="1537100" y="5202903"/>
            <a:ext cx="1676356" cy="369332"/>
          </a:xfrm>
          <a:prstGeom prst="rect">
            <a:avLst/>
          </a:prstGeom>
          <a:noFill/>
        </p:spPr>
        <p:txBody>
          <a:bodyPr wrap="square" lIns="0" rIns="0" rtlCol="0">
            <a:spAutoFit/>
          </a:bodyPr>
          <a:lstStyle/>
          <a:p>
            <a:r>
              <a:rPr lang="en-US" altLang="zh-CN" b="1" dirty="0" smtClean="0">
                <a:solidFill>
                  <a:srgbClr val="000000"/>
                </a:solidFill>
              </a:rPr>
              <a:t>XXX</a:t>
            </a:r>
            <a:endParaRPr lang="zh-CN" altLang="en-US" b="1" dirty="0">
              <a:solidFill>
                <a:srgbClr val="000000"/>
              </a:solidFill>
            </a:endParaRPr>
          </a:p>
        </p:txBody>
      </p:sp>
      <p:sp>
        <p:nvSpPr>
          <p:cNvPr id="154" name="time-left_183263"/>
          <p:cNvSpPr>
            <a:spLocks noChangeAspect="1"/>
          </p:cNvSpPr>
          <p:nvPr/>
        </p:nvSpPr>
        <p:spPr bwMode="auto">
          <a:xfrm>
            <a:off x="3563069" y="1638140"/>
            <a:ext cx="418238" cy="417604"/>
          </a:xfrm>
          <a:custGeom>
            <a:avLst/>
            <a:gdLst>
              <a:gd name="connsiteX0" fmla="*/ 478844 w 607639"/>
              <a:gd name="connsiteY0" fmla="*/ 289671 h 606722"/>
              <a:gd name="connsiteX1" fmla="*/ 490923 w 607639"/>
              <a:gd name="connsiteY1" fmla="*/ 301742 h 606722"/>
              <a:gd name="connsiteX2" fmla="*/ 489946 w 607639"/>
              <a:gd name="connsiteY2" fmla="*/ 321535 h 606722"/>
              <a:gd name="connsiteX3" fmla="*/ 477867 w 607639"/>
              <a:gd name="connsiteY3" fmla="*/ 332363 h 606722"/>
              <a:gd name="connsiteX4" fmla="*/ 476624 w 607639"/>
              <a:gd name="connsiteY4" fmla="*/ 332274 h 606722"/>
              <a:gd name="connsiteX5" fmla="*/ 465878 w 607639"/>
              <a:gd name="connsiteY5" fmla="*/ 318961 h 606722"/>
              <a:gd name="connsiteX6" fmla="*/ 466766 w 607639"/>
              <a:gd name="connsiteY6" fmla="*/ 301742 h 606722"/>
              <a:gd name="connsiteX7" fmla="*/ 478844 w 607639"/>
              <a:gd name="connsiteY7" fmla="*/ 289671 h 606722"/>
              <a:gd name="connsiteX8" fmla="*/ 303787 w 607639"/>
              <a:gd name="connsiteY8" fmla="*/ 287331 h 606722"/>
              <a:gd name="connsiteX9" fmla="*/ 287768 w 607639"/>
              <a:gd name="connsiteY9" fmla="*/ 303327 h 606722"/>
              <a:gd name="connsiteX10" fmla="*/ 303787 w 607639"/>
              <a:gd name="connsiteY10" fmla="*/ 319411 h 606722"/>
              <a:gd name="connsiteX11" fmla="*/ 319894 w 607639"/>
              <a:gd name="connsiteY11" fmla="*/ 303327 h 606722"/>
              <a:gd name="connsiteX12" fmla="*/ 303787 w 607639"/>
              <a:gd name="connsiteY12" fmla="*/ 287331 h 606722"/>
              <a:gd name="connsiteX13" fmla="*/ 215058 w 607639"/>
              <a:gd name="connsiteY13" fmla="*/ 125562 h 606722"/>
              <a:gd name="connsiteX14" fmla="*/ 242828 w 607639"/>
              <a:gd name="connsiteY14" fmla="*/ 129028 h 606722"/>
              <a:gd name="connsiteX15" fmla="*/ 251461 w 607639"/>
              <a:gd name="connsiteY15" fmla="*/ 149468 h 606722"/>
              <a:gd name="connsiteX16" fmla="*/ 234639 w 607639"/>
              <a:gd name="connsiteY16" fmla="*/ 171775 h 606722"/>
              <a:gd name="connsiteX17" fmla="*/ 212566 w 607639"/>
              <a:gd name="connsiteY17" fmla="*/ 169020 h 606722"/>
              <a:gd name="connsiteX18" fmla="*/ 212121 w 607639"/>
              <a:gd name="connsiteY18" fmla="*/ 167954 h 606722"/>
              <a:gd name="connsiteX19" fmla="*/ 141630 w 607639"/>
              <a:gd name="connsiteY19" fmla="*/ 301704 h 606722"/>
              <a:gd name="connsiteX20" fmla="*/ 304240 w 607639"/>
              <a:gd name="connsiteY20" fmla="*/ 464070 h 606722"/>
              <a:gd name="connsiteX21" fmla="*/ 454924 w 607639"/>
              <a:gd name="connsiteY21" fmla="*/ 362847 h 606722"/>
              <a:gd name="connsiteX22" fmla="*/ 470678 w 607639"/>
              <a:gd name="connsiteY22" fmla="*/ 356181 h 606722"/>
              <a:gd name="connsiteX23" fmla="*/ 477264 w 607639"/>
              <a:gd name="connsiteY23" fmla="*/ 371911 h 606722"/>
              <a:gd name="connsiteX24" fmla="*/ 409710 w 607639"/>
              <a:gd name="connsiteY24" fmla="*/ 455627 h 606722"/>
              <a:gd name="connsiteX25" fmla="*/ 304240 w 607639"/>
              <a:gd name="connsiteY25" fmla="*/ 488243 h 606722"/>
              <a:gd name="connsiteX26" fmla="*/ 117421 w 607639"/>
              <a:gd name="connsiteY26" fmla="*/ 301704 h 606722"/>
              <a:gd name="connsiteX27" fmla="*/ 143054 w 607639"/>
              <a:gd name="connsiteY27" fmla="*/ 207412 h 606722"/>
              <a:gd name="connsiteX28" fmla="*/ 202509 w 607639"/>
              <a:gd name="connsiteY28" fmla="*/ 145292 h 606722"/>
              <a:gd name="connsiteX29" fmla="*/ 201708 w 607639"/>
              <a:gd name="connsiteY29" fmla="*/ 143336 h 606722"/>
              <a:gd name="connsiteX30" fmla="*/ 215058 w 607639"/>
              <a:gd name="connsiteY30" fmla="*/ 125562 h 606722"/>
              <a:gd name="connsiteX31" fmla="*/ 303787 w 607639"/>
              <a:gd name="connsiteY31" fmla="*/ 100979 h 606722"/>
              <a:gd name="connsiteX32" fmla="*/ 315890 w 607639"/>
              <a:gd name="connsiteY32" fmla="*/ 113065 h 606722"/>
              <a:gd name="connsiteX33" fmla="*/ 315890 w 607639"/>
              <a:gd name="connsiteY33" fmla="*/ 265026 h 606722"/>
              <a:gd name="connsiteX34" fmla="*/ 342232 w 607639"/>
              <a:gd name="connsiteY34" fmla="*/ 291241 h 606722"/>
              <a:gd name="connsiteX35" fmla="*/ 411290 w 607639"/>
              <a:gd name="connsiteY35" fmla="*/ 291241 h 606722"/>
              <a:gd name="connsiteX36" fmla="*/ 423393 w 607639"/>
              <a:gd name="connsiteY36" fmla="*/ 303327 h 606722"/>
              <a:gd name="connsiteX37" fmla="*/ 411290 w 607639"/>
              <a:gd name="connsiteY37" fmla="*/ 315413 h 606722"/>
              <a:gd name="connsiteX38" fmla="*/ 342232 w 607639"/>
              <a:gd name="connsiteY38" fmla="*/ 315413 h 606722"/>
              <a:gd name="connsiteX39" fmla="*/ 303787 w 607639"/>
              <a:gd name="connsiteY39" fmla="*/ 343583 h 606722"/>
              <a:gd name="connsiteX40" fmla="*/ 263562 w 607639"/>
              <a:gd name="connsiteY40" fmla="*/ 303327 h 606722"/>
              <a:gd name="connsiteX41" fmla="*/ 291684 w 607639"/>
              <a:gd name="connsiteY41" fmla="*/ 265026 h 606722"/>
              <a:gd name="connsiteX42" fmla="*/ 291684 w 607639"/>
              <a:gd name="connsiteY42" fmla="*/ 113065 h 606722"/>
              <a:gd name="connsiteX43" fmla="*/ 303787 w 607639"/>
              <a:gd name="connsiteY43" fmla="*/ 100979 h 606722"/>
              <a:gd name="connsiteX44" fmla="*/ 303775 w 607639"/>
              <a:gd name="connsiteY44" fmla="*/ 81683 h 606722"/>
              <a:gd name="connsiteX45" fmla="*/ 81791 w 607639"/>
              <a:gd name="connsiteY45" fmla="*/ 303317 h 606722"/>
              <a:gd name="connsiteX46" fmla="*/ 303775 w 607639"/>
              <a:gd name="connsiteY46" fmla="*/ 525039 h 606722"/>
              <a:gd name="connsiteX47" fmla="*/ 525847 w 607639"/>
              <a:gd name="connsiteY47" fmla="*/ 303317 h 606722"/>
              <a:gd name="connsiteX48" fmla="*/ 303775 w 607639"/>
              <a:gd name="connsiteY48" fmla="*/ 81683 h 606722"/>
              <a:gd name="connsiteX49" fmla="*/ 303775 w 607639"/>
              <a:gd name="connsiteY49" fmla="*/ 57511 h 606722"/>
              <a:gd name="connsiteX50" fmla="*/ 550057 w 607639"/>
              <a:gd name="connsiteY50" fmla="*/ 303317 h 606722"/>
              <a:gd name="connsiteX51" fmla="*/ 303775 w 607639"/>
              <a:gd name="connsiteY51" fmla="*/ 549211 h 606722"/>
              <a:gd name="connsiteX52" fmla="*/ 57581 w 607639"/>
              <a:gd name="connsiteY52" fmla="*/ 303317 h 606722"/>
              <a:gd name="connsiteX53" fmla="*/ 303775 w 607639"/>
              <a:gd name="connsiteY53" fmla="*/ 57511 h 606722"/>
              <a:gd name="connsiteX54" fmla="*/ 303775 w 607639"/>
              <a:gd name="connsiteY54" fmla="*/ 24173 h 606722"/>
              <a:gd name="connsiteX55" fmla="*/ 24209 w 607639"/>
              <a:gd name="connsiteY55" fmla="*/ 303317 h 606722"/>
              <a:gd name="connsiteX56" fmla="*/ 303775 w 607639"/>
              <a:gd name="connsiteY56" fmla="*/ 582549 h 606722"/>
              <a:gd name="connsiteX57" fmla="*/ 583430 w 607639"/>
              <a:gd name="connsiteY57" fmla="*/ 303317 h 606722"/>
              <a:gd name="connsiteX58" fmla="*/ 303775 w 607639"/>
              <a:gd name="connsiteY58" fmla="*/ 24173 h 606722"/>
              <a:gd name="connsiteX59" fmla="*/ 303775 w 607639"/>
              <a:gd name="connsiteY59" fmla="*/ 0 h 606722"/>
              <a:gd name="connsiteX60" fmla="*/ 518634 w 607639"/>
              <a:gd name="connsiteY60" fmla="*/ 88871 h 606722"/>
              <a:gd name="connsiteX61" fmla="*/ 607639 w 607639"/>
              <a:gd name="connsiteY61" fmla="*/ 303317 h 606722"/>
              <a:gd name="connsiteX62" fmla="*/ 518634 w 607639"/>
              <a:gd name="connsiteY62" fmla="*/ 517851 h 606722"/>
              <a:gd name="connsiteX63" fmla="*/ 303775 w 607639"/>
              <a:gd name="connsiteY63" fmla="*/ 606722 h 606722"/>
              <a:gd name="connsiteX64" fmla="*/ 89005 w 607639"/>
              <a:gd name="connsiteY64" fmla="*/ 517851 h 606722"/>
              <a:gd name="connsiteX65" fmla="*/ 0 w 607639"/>
              <a:gd name="connsiteY65" fmla="*/ 303317 h 606722"/>
              <a:gd name="connsiteX66" fmla="*/ 89005 w 607639"/>
              <a:gd name="connsiteY66" fmla="*/ 88871 h 606722"/>
              <a:gd name="connsiteX67" fmla="*/ 303775 w 607639"/>
              <a:gd name="connsiteY6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7639" h="606722">
                <a:moveTo>
                  <a:pt x="478844" y="289671"/>
                </a:moveTo>
                <a:cubicBezTo>
                  <a:pt x="485505" y="289671"/>
                  <a:pt x="490923" y="295085"/>
                  <a:pt x="490923" y="301742"/>
                </a:cubicBezTo>
                <a:cubicBezTo>
                  <a:pt x="490923" y="308399"/>
                  <a:pt x="490568" y="315055"/>
                  <a:pt x="489946" y="321535"/>
                </a:cubicBezTo>
                <a:cubicBezTo>
                  <a:pt x="489236" y="327748"/>
                  <a:pt x="483996" y="332363"/>
                  <a:pt x="477867" y="332363"/>
                </a:cubicBezTo>
                <a:cubicBezTo>
                  <a:pt x="477512" y="332363"/>
                  <a:pt x="477068" y="332274"/>
                  <a:pt x="476624" y="332274"/>
                </a:cubicBezTo>
                <a:cubicBezTo>
                  <a:pt x="469963" y="331564"/>
                  <a:pt x="465167" y="325617"/>
                  <a:pt x="465878" y="318961"/>
                </a:cubicBezTo>
                <a:cubicBezTo>
                  <a:pt x="466499" y="313280"/>
                  <a:pt x="466766" y="307511"/>
                  <a:pt x="466766" y="301742"/>
                </a:cubicBezTo>
                <a:cubicBezTo>
                  <a:pt x="466766" y="295085"/>
                  <a:pt x="472183" y="289671"/>
                  <a:pt x="478844" y="289671"/>
                </a:cubicBezTo>
                <a:close/>
                <a:moveTo>
                  <a:pt x="303787" y="287331"/>
                </a:moveTo>
                <a:cubicBezTo>
                  <a:pt x="294976" y="287331"/>
                  <a:pt x="287768" y="294529"/>
                  <a:pt x="287768" y="303327"/>
                </a:cubicBezTo>
                <a:cubicBezTo>
                  <a:pt x="287768" y="312213"/>
                  <a:pt x="294976" y="319411"/>
                  <a:pt x="303787" y="319411"/>
                </a:cubicBezTo>
                <a:cubicBezTo>
                  <a:pt x="312686" y="319411"/>
                  <a:pt x="319894" y="312213"/>
                  <a:pt x="319894" y="303327"/>
                </a:cubicBezTo>
                <a:cubicBezTo>
                  <a:pt x="319894" y="294529"/>
                  <a:pt x="312686" y="287331"/>
                  <a:pt x="303787" y="287331"/>
                </a:cubicBezTo>
                <a:close/>
                <a:moveTo>
                  <a:pt x="215058" y="125562"/>
                </a:moveTo>
                <a:lnTo>
                  <a:pt x="242828" y="129028"/>
                </a:lnTo>
                <a:cubicBezTo>
                  <a:pt x="252618" y="130272"/>
                  <a:pt x="257424" y="141648"/>
                  <a:pt x="251461" y="149468"/>
                </a:cubicBezTo>
                <a:lnTo>
                  <a:pt x="234639" y="171775"/>
                </a:lnTo>
                <a:cubicBezTo>
                  <a:pt x="228676" y="179596"/>
                  <a:pt x="216393" y="178085"/>
                  <a:pt x="212566" y="169020"/>
                </a:cubicBezTo>
                <a:lnTo>
                  <a:pt x="212121" y="167954"/>
                </a:lnTo>
                <a:cubicBezTo>
                  <a:pt x="168331" y="198081"/>
                  <a:pt x="141630" y="248293"/>
                  <a:pt x="141630" y="301704"/>
                </a:cubicBezTo>
                <a:cubicBezTo>
                  <a:pt x="141630" y="391285"/>
                  <a:pt x="214524" y="464070"/>
                  <a:pt x="304240" y="464070"/>
                </a:cubicBezTo>
                <a:cubicBezTo>
                  <a:pt x="370726" y="464070"/>
                  <a:pt x="429825" y="424345"/>
                  <a:pt x="454924" y="362847"/>
                </a:cubicBezTo>
                <a:cubicBezTo>
                  <a:pt x="457416" y="356626"/>
                  <a:pt x="464447" y="353693"/>
                  <a:pt x="470678" y="356181"/>
                </a:cubicBezTo>
                <a:cubicBezTo>
                  <a:pt x="476819" y="358670"/>
                  <a:pt x="479845" y="365779"/>
                  <a:pt x="477264" y="371911"/>
                </a:cubicBezTo>
                <a:cubicBezTo>
                  <a:pt x="463468" y="405860"/>
                  <a:pt x="440060" y="434832"/>
                  <a:pt x="409710" y="455627"/>
                </a:cubicBezTo>
                <a:cubicBezTo>
                  <a:pt x="378559" y="476956"/>
                  <a:pt x="342067" y="488243"/>
                  <a:pt x="304240" y="488243"/>
                </a:cubicBezTo>
                <a:cubicBezTo>
                  <a:pt x="201174" y="488243"/>
                  <a:pt x="117421" y="404616"/>
                  <a:pt x="117421" y="301704"/>
                </a:cubicBezTo>
                <a:cubicBezTo>
                  <a:pt x="117421" y="268555"/>
                  <a:pt x="126321" y="235940"/>
                  <a:pt x="143054" y="207412"/>
                </a:cubicBezTo>
                <a:cubicBezTo>
                  <a:pt x="157740" y="182351"/>
                  <a:pt x="178211" y="161111"/>
                  <a:pt x="202509" y="145292"/>
                </a:cubicBezTo>
                <a:lnTo>
                  <a:pt x="201708" y="143336"/>
                </a:lnTo>
                <a:cubicBezTo>
                  <a:pt x="197792" y="134272"/>
                  <a:pt x="205268" y="124407"/>
                  <a:pt x="215058" y="125562"/>
                </a:cubicBezTo>
                <a:close/>
                <a:moveTo>
                  <a:pt x="303787" y="100979"/>
                </a:moveTo>
                <a:cubicBezTo>
                  <a:pt x="310461" y="100979"/>
                  <a:pt x="315890" y="106311"/>
                  <a:pt x="315890" y="113065"/>
                </a:cubicBezTo>
                <a:lnTo>
                  <a:pt x="315890" y="265026"/>
                </a:lnTo>
                <a:cubicBezTo>
                  <a:pt x="328349" y="268936"/>
                  <a:pt x="338227" y="278800"/>
                  <a:pt x="342232" y="291241"/>
                </a:cubicBezTo>
                <a:lnTo>
                  <a:pt x="411290" y="291241"/>
                </a:lnTo>
                <a:cubicBezTo>
                  <a:pt x="417964" y="291241"/>
                  <a:pt x="423393" y="296662"/>
                  <a:pt x="423393" y="303327"/>
                </a:cubicBezTo>
                <a:cubicBezTo>
                  <a:pt x="423393" y="309992"/>
                  <a:pt x="417964" y="315413"/>
                  <a:pt x="411290" y="315413"/>
                </a:cubicBezTo>
                <a:lnTo>
                  <a:pt x="342232" y="315413"/>
                </a:lnTo>
                <a:cubicBezTo>
                  <a:pt x="337070" y="331675"/>
                  <a:pt x="321763" y="343583"/>
                  <a:pt x="303787" y="343583"/>
                </a:cubicBezTo>
                <a:cubicBezTo>
                  <a:pt x="281628" y="343583"/>
                  <a:pt x="263562" y="325543"/>
                  <a:pt x="263562" y="303327"/>
                </a:cubicBezTo>
                <a:cubicBezTo>
                  <a:pt x="263562" y="285376"/>
                  <a:pt x="275398" y="270180"/>
                  <a:pt x="291684" y="265026"/>
                </a:cubicBezTo>
                <a:lnTo>
                  <a:pt x="291684" y="113065"/>
                </a:lnTo>
                <a:cubicBezTo>
                  <a:pt x="291684" y="106311"/>
                  <a:pt x="297112" y="100979"/>
                  <a:pt x="303787" y="100979"/>
                </a:cubicBezTo>
                <a:close/>
                <a:moveTo>
                  <a:pt x="303775" y="81683"/>
                </a:moveTo>
                <a:cubicBezTo>
                  <a:pt x="181390" y="81683"/>
                  <a:pt x="81791" y="181125"/>
                  <a:pt x="81791" y="303317"/>
                </a:cubicBezTo>
                <a:cubicBezTo>
                  <a:pt x="81791" y="425597"/>
                  <a:pt x="181390" y="525039"/>
                  <a:pt x="303775" y="525039"/>
                </a:cubicBezTo>
                <a:cubicBezTo>
                  <a:pt x="426248" y="525039"/>
                  <a:pt x="525847" y="425597"/>
                  <a:pt x="525847" y="303317"/>
                </a:cubicBezTo>
                <a:cubicBezTo>
                  <a:pt x="525847" y="181125"/>
                  <a:pt x="426248" y="81683"/>
                  <a:pt x="303775" y="81683"/>
                </a:cubicBezTo>
                <a:close/>
                <a:moveTo>
                  <a:pt x="303775" y="57511"/>
                </a:moveTo>
                <a:cubicBezTo>
                  <a:pt x="439599" y="57511"/>
                  <a:pt x="550057" y="167795"/>
                  <a:pt x="550057" y="303317"/>
                </a:cubicBezTo>
                <a:cubicBezTo>
                  <a:pt x="550057" y="438927"/>
                  <a:pt x="439599" y="549211"/>
                  <a:pt x="303775" y="549211"/>
                </a:cubicBezTo>
                <a:cubicBezTo>
                  <a:pt x="168039" y="549211"/>
                  <a:pt x="57581" y="438927"/>
                  <a:pt x="57581" y="303317"/>
                </a:cubicBezTo>
                <a:cubicBezTo>
                  <a:pt x="57581" y="167795"/>
                  <a:pt x="168039" y="57511"/>
                  <a:pt x="303775" y="57511"/>
                </a:cubicBezTo>
                <a:close/>
                <a:moveTo>
                  <a:pt x="303775" y="24173"/>
                </a:moveTo>
                <a:cubicBezTo>
                  <a:pt x="149618" y="24173"/>
                  <a:pt x="24209" y="149392"/>
                  <a:pt x="24209" y="303317"/>
                </a:cubicBezTo>
                <a:cubicBezTo>
                  <a:pt x="24209" y="457241"/>
                  <a:pt x="149618" y="582549"/>
                  <a:pt x="303775" y="582549"/>
                </a:cubicBezTo>
                <a:cubicBezTo>
                  <a:pt x="457932" y="582549"/>
                  <a:pt x="583430" y="457241"/>
                  <a:pt x="583430" y="303317"/>
                </a:cubicBezTo>
                <a:cubicBezTo>
                  <a:pt x="583430" y="149392"/>
                  <a:pt x="457932" y="24173"/>
                  <a:pt x="303775" y="24173"/>
                </a:cubicBezTo>
                <a:close/>
                <a:moveTo>
                  <a:pt x="303775" y="0"/>
                </a:moveTo>
                <a:cubicBezTo>
                  <a:pt x="384948" y="0"/>
                  <a:pt x="461225" y="31549"/>
                  <a:pt x="518634" y="88871"/>
                </a:cubicBezTo>
                <a:cubicBezTo>
                  <a:pt x="576042" y="146104"/>
                  <a:pt x="607639" y="222355"/>
                  <a:pt x="607639" y="303317"/>
                </a:cubicBezTo>
                <a:cubicBezTo>
                  <a:pt x="607639" y="384367"/>
                  <a:pt x="576042" y="460529"/>
                  <a:pt x="518634" y="517851"/>
                </a:cubicBezTo>
                <a:cubicBezTo>
                  <a:pt x="461225" y="575173"/>
                  <a:pt x="384948" y="606722"/>
                  <a:pt x="303775" y="606722"/>
                </a:cubicBezTo>
                <a:cubicBezTo>
                  <a:pt x="222691" y="606722"/>
                  <a:pt x="146325" y="575173"/>
                  <a:pt x="89005" y="517851"/>
                </a:cubicBezTo>
                <a:cubicBezTo>
                  <a:pt x="31597" y="460529"/>
                  <a:pt x="0" y="384367"/>
                  <a:pt x="0" y="303317"/>
                </a:cubicBezTo>
                <a:cubicBezTo>
                  <a:pt x="0" y="222355"/>
                  <a:pt x="31597" y="146104"/>
                  <a:pt x="89005" y="88871"/>
                </a:cubicBezTo>
                <a:cubicBezTo>
                  <a:pt x="146325" y="31549"/>
                  <a:pt x="222691" y="0"/>
                  <a:pt x="303775" y="0"/>
                </a:cubicBezTo>
                <a:close/>
              </a:path>
            </a:pathLst>
          </a:custGeom>
          <a:solidFill>
            <a:schemeClr val="accent1"/>
          </a:solidFill>
          <a:ln>
            <a:noFill/>
          </a:ln>
        </p:spPr>
      </p:sp>
      <p:sp>
        <p:nvSpPr>
          <p:cNvPr id="164" name="hospital-buildings_33777"/>
          <p:cNvSpPr>
            <a:spLocks noChangeAspect="1"/>
          </p:cNvSpPr>
          <p:nvPr/>
        </p:nvSpPr>
        <p:spPr bwMode="auto">
          <a:xfrm>
            <a:off x="3474738" y="2423624"/>
            <a:ext cx="513490" cy="350766"/>
          </a:xfrm>
          <a:custGeom>
            <a:avLst/>
            <a:gdLst>
              <a:gd name="T0" fmla="*/ 1192 w 1260"/>
              <a:gd name="T1" fmla="*/ 756 h 862"/>
              <a:gd name="T2" fmla="*/ 1147 w 1260"/>
              <a:gd name="T3" fmla="*/ 193 h 862"/>
              <a:gd name="T4" fmla="*/ 900 w 1260"/>
              <a:gd name="T5" fmla="*/ 745 h 862"/>
              <a:gd name="T6" fmla="*/ 866 w 1260"/>
              <a:gd name="T7" fmla="*/ 770 h 862"/>
              <a:gd name="T8" fmla="*/ 869 w 1260"/>
              <a:gd name="T9" fmla="*/ 44 h 862"/>
              <a:gd name="T10" fmla="*/ 436 w 1260"/>
              <a:gd name="T11" fmla="*/ 0 h 862"/>
              <a:gd name="T12" fmla="*/ 391 w 1260"/>
              <a:gd name="T13" fmla="*/ 756 h 862"/>
              <a:gd name="T14" fmla="*/ 365 w 1260"/>
              <a:gd name="T15" fmla="*/ 770 h 862"/>
              <a:gd name="T16" fmla="*/ 360 w 1260"/>
              <a:gd name="T17" fmla="*/ 193 h 862"/>
              <a:gd name="T18" fmla="*/ 74 w 1260"/>
              <a:gd name="T19" fmla="*/ 238 h 862"/>
              <a:gd name="T20" fmla="*/ 76 w 1260"/>
              <a:gd name="T21" fmla="*/ 770 h 862"/>
              <a:gd name="T22" fmla="*/ 0 w 1260"/>
              <a:gd name="T23" fmla="*/ 862 h 862"/>
              <a:gd name="T24" fmla="*/ 1260 w 1260"/>
              <a:gd name="T25" fmla="*/ 770 h 862"/>
              <a:gd name="T26" fmla="*/ 1190 w 1260"/>
              <a:gd name="T27" fmla="*/ 770 h 862"/>
              <a:gd name="T28" fmla="*/ 144 w 1260"/>
              <a:gd name="T29" fmla="*/ 589 h 862"/>
              <a:gd name="T30" fmla="*/ 208 w 1260"/>
              <a:gd name="T31" fmla="*/ 525 h 862"/>
              <a:gd name="T32" fmla="*/ 208 w 1260"/>
              <a:gd name="T33" fmla="*/ 477 h 862"/>
              <a:gd name="T34" fmla="*/ 144 w 1260"/>
              <a:gd name="T35" fmla="*/ 413 h 862"/>
              <a:gd name="T36" fmla="*/ 208 w 1260"/>
              <a:gd name="T37" fmla="*/ 477 h 862"/>
              <a:gd name="T38" fmla="*/ 144 w 1260"/>
              <a:gd name="T39" fmla="*/ 368 h 862"/>
              <a:gd name="T40" fmla="*/ 208 w 1260"/>
              <a:gd name="T41" fmla="*/ 305 h 862"/>
              <a:gd name="T42" fmla="*/ 307 w 1260"/>
              <a:gd name="T43" fmla="*/ 589 h 862"/>
              <a:gd name="T44" fmla="*/ 243 w 1260"/>
              <a:gd name="T45" fmla="*/ 525 h 862"/>
              <a:gd name="T46" fmla="*/ 307 w 1260"/>
              <a:gd name="T47" fmla="*/ 589 h 862"/>
              <a:gd name="T48" fmla="*/ 243 w 1260"/>
              <a:gd name="T49" fmla="*/ 477 h 862"/>
              <a:gd name="T50" fmla="*/ 307 w 1260"/>
              <a:gd name="T51" fmla="*/ 413 h 862"/>
              <a:gd name="T52" fmla="*/ 307 w 1260"/>
              <a:gd name="T53" fmla="*/ 368 h 862"/>
              <a:gd name="T54" fmla="*/ 243 w 1260"/>
              <a:gd name="T55" fmla="*/ 305 h 862"/>
              <a:gd name="T56" fmla="*/ 307 w 1260"/>
              <a:gd name="T57" fmla="*/ 368 h 862"/>
              <a:gd name="T58" fmla="*/ 542 w 1260"/>
              <a:gd name="T59" fmla="*/ 767 h 862"/>
              <a:gd name="T60" fmla="*/ 729 w 1260"/>
              <a:gd name="T61" fmla="*/ 534 h 862"/>
              <a:gd name="T62" fmla="*/ 630 w 1260"/>
              <a:gd name="T63" fmla="*/ 334 h 862"/>
              <a:gd name="T64" fmla="*/ 630 w 1260"/>
              <a:gd name="T65" fmla="*/ 20 h 862"/>
              <a:gd name="T66" fmla="*/ 630 w 1260"/>
              <a:gd name="T67" fmla="*/ 334 h 862"/>
              <a:gd name="T68" fmla="*/ 971 w 1260"/>
              <a:gd name="T69" fmla="*/ 589 h 862"/>
              <a:gd name="T70" fmla="*/ 1035 w 1260"/>
              <a:gd name="T71" fmla="*/ 525 h 862"/>
              <a:gd name="T72" fmla="*/ 1035 w 1260"/>
              <a:gd name="T73" fmla="*/ 477 h 862"/>
              <a:gd name="T74" fmla="*/ 971 w 1260"/>
              <a:gd name="T75" fmla="*/ 413 h 862"/>
              <a:gd name="T76" fmla="*/ 1035 w 1260"/>
              <a:gd name="T77" fmla="*/ 477 h 862"/>
              <a:gd name="T78" fmla="*/ 971 w 1260"/>
              <a:gd name="T79" fmla="*/ 368 h 862"/>
              <a:gd name="T80" fmla="*/ 1035 w 1260"/>
              <a:gd name="T81" fmla="*/ 305 h 862"/>
              <a:gd name="T82" fmla="*/ 1134 w 1260"/>
              <a:gd name="T83" fmla="*/ 589 h 862"/>
              <a:gd name="T84" fmla="*/ 1070 w 1260"/>
              <a:gd name="T85" fmla="*/ 525 h 862"/>
              <a:gd name="T86" fmla="*/ 1134 w 1260"/>
              <a:gd name="T87" fmla="*/ 589 h 862"/>
              <a:gd name="T88" fmla="*/ 1070 w 1260"/>
              <a:gd name="T89" fmla="*/ 477 h 862"/>
              <a:gd name="T90" fmla="*/ 1134 w 1260"/>
              <a:gd name="T91" fmla="*/ 413 h 862"/>
              <a:gd name="T92" fmla="*/ 1134 w 1260"/>
              <a:gd name="T93" fmla="*/ 368 h 862"/>
              <a:gd name="T94" fmla="*/ 1070 w 1260"/>
              <a:gd name="T95" fmla="*/ 305 h 862"/>
              <a:gd name="T96" fmla="*/ 1134 w 1260"/>
              <a:gd name="T97" fmla="*/ 368 h 862"/>
              <a:gd name="T98" fmla="*/ 729 w 1260"/>
              <a:gd name="T99" fmla="*/ 138 h 862"/>
              <a:gd name="T100" fmla="*/ 669 w 1260"/>
              <a:gd name="T101" fmla="*/ 216 h 862"/>
              <a:gd name="T102" fmla="*/ 591 w 1260"/>
              <a:gd name="T103" fmla="*/ 276 h 862"/>
              <a:gd name="T104" fmla="*/ 531 w 1260"/>
              <a:gd name="T105" fmla="*/ 216 h 862"/>
              <a:gd name="T106" fmla="*/ 591 w 1260"/>
              <a:gd name="T107" fmla="*/ 138 h 862"/>
              <a:gd name="T108" fmla="*/ 669 w 1260"/>
              <a:gd name="T109" fmla="*/ 7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60" h="862">
                <a:moveTo>
                  <a:pt x="1190" y="770"/>
                </a:moveTo>
                <a:cubicBezTo>
                  <a:pt x="1191" y="766"/>
                  <a:pt x="1192" y="761"/>
                  <a:pt x="1192" y="756"/>
                </a:cubicBezTo>
                <a:lnTo>
                  <a:pt x="1192" y="238"/>
                </a:lnTo>
                <a:cubicBezTo>
                  <a:pt x="1192" y="213"/>
                  <a:pt x="1172" y="193"/>
                  <a:pt x="1147" y="193"/>
                </a:cubicBezTo>
                <a:lnTo>
                  <a:pt x="900" y="193"/>
                </a:lnTo>
                <a:lnTo>
                  <a:pt x="900" y="745"/>
                </a:lnTo>
                <a:cubicBezTo>
                  <a:pt x="900" y="754"/>
                  <a:pt x="898" y="762"/>
                  <a:pt x="895" y="770"/>
                </a:cubicBezTo>
                <a:lnTo>
                  <a:pt x="866" y="770"/>
                </a:lnTo>
                <a:cubicBezTo>
                  <a:pt x="868" y="766"/>
                  <a:pt x="869" y="761"/>
                  <a:pt x="869" y="756"/>
                </a:cubicBezTo>
                <a:lnTo>
                  <a:pt x="869" y="44"/>
                </a:lnTo>
                <a:cubicBezTo>
                  <a:pt x="869" y="20"/>
                  <a:pt x="849" y="0"/>
                  <a:pt x="824" y="0"/>
                </a:cubicBezTo>
                <a:lnTo>
                  <a:pt x="436" y="0"/>
                </a:lnTo>
                <a:cubicBezTo>
                  <a:pt x="411" y="0"/>
                  <a:pt x="391" y="20"/>
                  <a:pt x="391" y="44"/>
                </a:cubicBezTo>
                <a:lnTo>
                  <a:pt x="391" y="756"/>
                </a:lnTo>
                <a:cubicBezTo>
                  <a:pt x="391" y="761"/>
                  <a:pt x="392" y="766"/>
                  <a:pt x="394" y="770"/>
                </a:cubicBezTo>
                <a:lnTo>
                  <a:pt x="365" y="770"/>
                </a:lnTo>
                <a:cubicBezTo>
                  <a:pt x="362" y="762"/>
                  <a:pt x="360" y="754"/>
                  <a:pt x="360" y="745"/>
                </a:cubicBezTo>
                <a:lnTo>
                  <a:pt x="360" y="193"/>
                </a:lnTo>
                <a:lnTo>
                  <a:pt x="119" y="193"/>
                </a:lnTo>
                <a:cubicBezTo>
                  <a:pt x="94" y="193"/>
                  <a:pt x="74" y="213"/>
                  <a:pt x="74" y="238"/>
                </a:cubicBezTo>
                <a:lnTo>
                  <a:pt x="74" y="756"/>
                </a:lnTo>
                <a:cubicBezTo>
                  <a:pt x="74" y="761"/>
                  <a:pt x="75" y="766"/>
                  <a:pt x="76" y="770"/>
                </a:cubicBezTo>
                <a:lnTo>
                  <a:pt x="0" y="770"/>
                </a:lnTo>
                <a:lnTo>
                  <a:pt x="0" y="862"/>
                </a:lnTo>
                <a:lnTo>
                  <a:pt x="1260" y="862"/>
                </a:lnTo>
                <a:lnTo>
                  <a:pt x="1260" y="770"/>
                </a:lnTo>
                <a:lnTo>
                  <a:pt x="1190" y="770"/>
                </a:lnTo>
                <a:lnTo>
                  <a:pt x="1190" y="770"/>
                </a:lnTo>
                <a:close/>
                <a:moveTo>
                  <a:pt x="208" y="589"/>
                </a:moveTo>
                <a:lnTo>
                  <a:pt x="144" y="589"/>
                </a:lnTo>
                <a:lnTo>
                  <a:pt x="144" y="525"/>
                </a:lnTo>
                <a:lnTo>
                  <a:pt x="208" y="525"/>
                </a:lnTo>
                <a:lnTo>
                  <a:pt x="208" y="589"/>
                </a:lnTo>
                <a:close/>
                <a:moveTo>
                  <a:pt x="208" y="477"/>
                </a:moveTo>
                <a:lnTo>
                  <a:pt x="144" y="477"/>
                </a:lnTo>
                <a:lnTo>
                  <a:pt x="144" y="413"/>
                </a:lnTo>
                <a:lnTo>
                  <a:pt x="208" y="413"/>
                </a:lnTo>
                <a:lnTo>
                  <a:pt x="208" y="477"/>
                </a:lnTo>
                <a:close/>
                <a:moveTo>
                  <a:pt x="208" y="368"/>
                </a:moveTo>
                <a:lnTo>
                  <a:pt x="144" y="368"/>
                </a:lnTo>
                <a:lnTo>
                  <a:pt x="144" y="305"/>
                </a:lnTo>
                <a:lnTo>
                  <a:pt x="208" y="305"/>
                </a:lnTo>
                <a:lnTo>
                  <a:pt x="208" y="368"/>
                </a:lnTo>
                <a:close/>
                <a:moveTo>
                  <a:pt x="307" y="589"/>
                </a:moveTo>
                <a:lnTo>
                  <a:pt x="243" y="589"/>
                </a:lnTo>
                <a:lnTo>
                  <a:pt x="243" y="525"/>
                </a:lnTo>
                <a:lnTo>
                  <a:pt x="307" y="525"/>
                </a:lnTo>
                <a:lnTo>
                  <a:pt x="307" y="589"/>
                </a:lnTo>
                <a:close/>
                <a:moveTo>
                  <a:pt x="307" y="477"/>
                </a:moveTo>
                <a:lnTo>
                  <a:pt x="243" y="477"/>
                </a:lnTo>
                <a:lnTo>
                  <a:pt x="243" y="413"/>
                </a:lnTo>
                <a:lnTo>
                  <a:pt x="307" y="413"/>
                </a:lnTo>
                <a:lnTo>
                  <a:pt x="307" y="477"/>
                </a:lnTo>
                <a:close/>
                <a:moveTo>
                  <a:pt x="307" y="368"/>
                </a:moveTo>
                <a:lnTo>
                  <a:pt x="243" y="368"/>
                </a:lnTo>
                <a:lnTo>
                  <a:pt x="243" y="305"/>
                </a:lnTo>
                <a:lnTo>
                  <a:pt x="307" y="305"/>
                </a:lnTo>
                <a:lnTo>
                  <a:pt x="307" y="368"/>
                </a:lnTo>
                <a:close/>
                <a:moveTo>
                  <a:pt x="729" y="767"/>
                </a:moveTo>
                <a:lnTo>
                  <a:pt x="542" y="767"/>
                </a:lnTo>
                <a:lnTo>
                  <a:pt x="542" y="534"/>
                </a:lnTo>
                <a:lnTo>
                  <a:pt x="729" y="534"/>
                </a:lnTo>
                <a:lnTo>
                  <a:pt x="729" y="767"/>
                </a:lnTo>
                <a:close/>
                <a:moveTo>
                  <a:pt x="630" y="334"/>
                </a:moveTo>
                <a:cubicBezTo>
                  <a:pt x="543" y="334"/>
                  <a:pt x="473" y="263"/>
                  <a:pt x="473" y="177"/>
                </a:cubicBezTo>
                <a:cubicBezTo>
                  <a:pt x="473" y="90"/>
                  <a:pt x="543" y="20"/>
                  <a:pt x="630" y="20"/>
                </a:cubicBezTo>
                <a:cubicBezTo>
                  <a:pt x="717" y="20"/>
                  <a:pt x="787" y="90"/>
                  <a:pt x="787" y="177"/>
                </a:cubicBezTo>
                <a:cubicBezTo>
                  <a:pt x="787" y="263"/>
                  <a:pt x="717" y="334"/>
                  <a:pt x="630" y="334"/>
                </a:cubicBezTo>
                <a:close/>
                <a:moveTo>
                  <a:pt x="1035" y="589"/>
                </a:moveTo>
                <a:lnTo>
                  <a:pt x="971" y="589"/>
                </a:lnTo>
                <a:lnTo>
                  <a:pt x="971" y="525"/>
                </a:lnTo>
                <a:lnTo>
                  <a:pt x="1035" y="525"/>
                </a:lnTo>
                <a:lnTo>
                  <a:pt x="1035" y="589"/>
                </a:lnTo>
                <a:close/>
                <a:moveTo>
                  <a:pt x="1035" y="477"/>
                </a:moveTo>
                <a:lnTo>
                  <a:pt x="971" y="477"/>
                </a:lnTo>
                <a:lnTo>
                  <a:pt x="971" y="413"/>
                </a:lnTo>
                <a:lnTo>
                  <a:pt x="1035" y="413"/>
                </a:lnTo>
                <a:lnTo>
                  <a:pt x="1035" y="477"/>
                </a:lnTo>
                <a:close/>
                <a:moveTo>
                  <a:pt x="1035" y="368"/>
                </a:moveTo>
                <a:lnTo>
                  <a:pt x="971" y="368"/>
                </a:lnTo>
                <a:lnTo>
                  <a:pt x="971" y="305"/>
                </a:lnTo>
                <a:lnTo>
                  <a:pt x="1035" y="305"/>
                </a:lnTo>
                <a:lnTo>
                  <a:pt x="1035" y="368"/>
                </a:lnTo>
                <a:close/>
                <a:moveTo>
                  <a:pt x="1134" y="589"/>
                </a:moveTo>
                <a:lnTo>
                  <a:pt x="1070" y="589"/>
                </a:lnTo>
                <a:lnTo>
                  <a:pt x="1070" y="525"/>
                </a:lnTo>
                <a:lnTo>
                  <a:pt x="1134" y="525"/>
                </a:lnTo>
                <a:lnTo>
                  <a:pt x="1134" y="589"/>
                </a:lnTo>
                <a:close/>
                <a:moveTo>
                  <a:pt x="1134" y="477"/>
                </a:moveTo>
                <a:lnTo>
                  <a:pt x="1070" y="477"/>
                </a:lnTo>
                <a:lnTo>
                  <a:pt x="1070" y="413"/>
                </a:lnTo>
                <a:lnTo>
                  <a:pt x="1134" y="413"/>
                </a:lnTo>
                <a:lnTo>
                  <a:pt x="1134" y="477"/>
                </a:lnTo>
                <a:close/>
                <a:moveTo>
                  <a:pt x="1134" y="368"/>
                </a:moveTo>
                <a:lnTo>
                  <a:pt x="1070" y="368"/>
                </a:lnTo>
                <a:lnTo>
                  <a:pt x="1070" y="305"/>
                </a:lnTo>
                <a:lnTo>
                  <a:pt x="1134" y="305"/>
                </a:lnTo>
                <a:lnTo>
                  <a:pt x="1134" y="368"/>
                </a:lnTo>
                <a:close/>
                <a:moveTo>
                  <a:pt x="669" y="138"/>
                </a:moveTo>
                <a:lnTo>
                  <a:pt x="729" y="138"/>
                </a:lnTo>
                <a:lnTo>
                  <a:pt x="729" y="216"/>
                </a:lnTo>
                <a:lnTo>
                  <a:pt x="669" y="216"/>
                </a:lnTo>
                <a:lnTo>
                  <a:pt x="669" y="276"/>
                </a:lnTo>
                <a:lnTo>
                  <a:pt x="591" y="276"/>
                </a:lnTo>
                <a:lnTo>
                  <a:pt x="591" y="216"/>
                </a:lnTo>
                <a:lnTo>
                  <a:pt x="531" y="216"/>
                </a:lnTo>
                <a:lnTo>
                  <a:pt x="531" y="138"/>
                </a:lnTo>
                <a:lnTo>
                  <a:pt x="591" y="138"/>
                </a:lnTo>
                <a:lnTo>
                  <a:pt x="591" y="78"/>
                </a:lnTo>
                <a:lnTo>
                  <a:pt x="669" y="78"/>
                </a:lnTo>
                <a:lnTo>
                  <a:pt x="669" y="138"/>
                </a:lnTo>
                <a:close/>
              </a:path>
            </a:pathLst>
          </a:custGeom>
          <a:solidFill>
            <a:schemeClr val="accent1"/>
          </a:solidFill>
          <a:ln>
            <a:noFill/>
          </a:ln>
        </p:spPr>
      </p:sp>
      <p:sp>
        <p:nvSpPr>
          <p:cNvPr id="165" name="clinic_88977"/>
          <p:cNvSpPr>
            <a:spLocks noChangeAspect="1"/>
          </p:cNvSpPr>
          <p:nvPr/>
        </p:nvSpPr>
        <p:spPr bwMode="auto">
          <a:xfrm>
            <a:off x="7132551" y="2453616"/>
            <a:ext cx="554483" cy="290782"/>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605874" h="288965">
                <a:moveTo>
                  <a:pt x="114107" y="136245"/>
                </a:moveTo>
                <a:lnTo>
                  <a:pt x="114107" y="260017"/>
                </a:lnTo>
                <a:lnTo>
                  <a:pt x="156411" y="260017"/>
                </a:lnTo>
                <a:lnTo>
                  <a:pt x="156411" y="136245"/>
                </a:lnTo>
                <a:close/>
                <a:moveTo>
                  <a:pt x="55312" y="136245"/>
                </a:moveTo>
                <a:lnTo>
                  <a:pt x="55312" y="260017"/>
                </a:lnTo>
                <a:lnTo>
                  <a:pt x="97718" y="260017"/>
                </a:lnTo>
                <a:lnTo>
                  <a:pt x="97718" y="136245"/>
                </a:lnTo>
                <a:close/>
                <a:moveTo>
                  <a:pt x="305139" y="114457"/>
                </a:moveTo>
                <a:lnTo>
                  <a:pt x="305139" y="147190"/>
                </a:lnTo>
                <a:lnTo>
                  <a:pt x="323986" y="147190"/>
                </a:lnTo>
                <a:lnTo>
                  <a:pt x="323986" y="260017"/>
                </a:lnTo>
                <a:lnTo>
                  <a:pt x="347853" y="260017"/>
                </a:lnTo>
                <a:lnTo>
                  <a:pt x="347853" y="147190"/>
                </a:lnTo>
                <a:lnTo>
                  <a:pt x="459194" y="147190"/>
                </a:lnTo>
                <a:lnTo>
                  <a:pt x="459194" y="260017"/>
                </a:lnTo>
                <a:lnTo>
                  <a:pt x="483060" y="260017"/>
                </a:lnTo>
                <a:lnTo>
                  <a:pt x="483060" y="147190"/>
                </a:lnTo>
                <a:lnTo>
                  <a:pt x="501805" y="147190"/>
                </a:lnTo>
                <a:lnTo>
                  <a:pt x="501805" y="114457"/>
                </a:lnTo>
                <a:close/>
                <a:moveTo>
                  <a:pt x="505902" y="28226"/>
                </a:moveTo>
                <a:lnTo>
                  <a:pt x="505902" y="97170"/>
                </a:lnTo>
                <a:lnTo>
                  <a:pt x="546874" y="97170"/>
                </a:lnTo>
                <a:lnTo>
                  <a:pt x="546874" y="28226"/>
                </a:lnTo>
                <a:close/>
                <a:moveTo>
                  <a:pt x="423958" y="28226"/>
                </a:moveTo>
                <a:lnTo>
                  <a:pt x="423958" y="97170"/>
                </a:lnTo>
                <a:lnTo>
                  <a:pt x="464930" y="97170"/>
                </a:lnTo>
                <a:lnTo>
                  <a:pt x="464930" y="28226"/>
                </a:lnTo>
                <a:close/>
                <a:moveTo>
                  <a:pt x="342014" y="28226"/>
                </a:moveTo>
                <a:lnTo>
                  <a:pt x="342014" y="97170"/>
                </a:lnTo>
                <a:lnTo>
                  <a:pt x="382986" y="97170"/>
                </a:lnTo>
                <a:lnTo>
                  <a:pt x="382986" y="28226"/>
                </a:lnTo>
                <a:close/>
                <a:moveTo>
                  <a:pt x="260070" y="28226"/>
                </a:moveTo>
                <a:lnTo>
                  <a:pt x="260070" y="97170"/>
                </a:lnTo>
                <a:lnTo>
                  <a:pt x="301042" y="97170"/>
                </a:lnTo>
                <a:lnTo>
                  <a:pt x="301042" y="28226"/>
                </a:lnTo>
                <a:close/>
                <a:moveTo>
                  <a:pt x="215001" y="5927"/>
                </a:moveTo>
                <a:lnTo>
                  <a:pt x="591944" y="5927"/>
                </a:lnTo>
                <a:lnTo>
                  <a:pt x="591944" y="260017"/>
                </a:lnTo>
                <a:lnTo>
                  <a:pt x="605669" y="260017"/>
                </a:lnTo>
                <a:lnTo>
                  <a:pt x="605874" y="260017"/>
                </a:lnTo>
                <a:lnTo>
                  <a:pt x="605874" y="288965"/>
                </a:lnTo>
                <a:lnTo>
                  <a:pt x="0" y="288965"/>
                </a:lnTo>
                <a:lnTo>
                  <a:pt x="0" y="260017"/>
                </a:lnTo>
                <a:lnTo>
                  <a:pt x="13930" y="260017"/>
                </a:lnTo>
                <a:lnTo>
                  <a:pt x="13930" y="54617"/>
                </a:lnTo>
                <a:lnTo>
                  <a:pt x="201378" y="54617"/>
                </a:lnTo>
                <a:lnTo>
                  <a:pt x="201378" y="260017"/>
                </a:lnTo>
                <a:lnTo>
                  <a:pt x="215001" y="260017"/>
                </a:lnTo>
                <a:close/>
                <a:moveTo>
                  <a:pt x="137320" y="847"/>
                </a:moveTo>
                <a:lnTo>
                  <a:pt x="146705" y="847"/>
                </a:lnTo>
                <a:lnTo>
                  <a:pt x="146705" y="45656"/>
                </a:lnTo>
                <a:lnTo>
                  <a:pt x="137320" y="45656"/>
                </a:lnTo>
                <a:close/>
                <a:moveTo>
                  <a:pt x="100344" y="847"/>
                </a:moveTo>
                <a:lnTo>
                  <a:pt x="110178" y="847"/>
                </a:lnTo>
                <a:lnTo>
                  <a:pt x="124622" y="28571"/>
                </a:lnTo>
                <a:lnTo>
                  <a:pt x="124315" y="19569"/>
                </a:lnTo>
                <a:lnTo>
                  <a:pt x="124315" y="847"/>
                </a:lnTo>
                <a:lnTo>
                  <a:pt x="133227" y="847"/>
                </a:lnTo>
                <a:lnTo>
                  <a:pt x="133227" y="45656"/>
                </a:lnTo>
                <a:lnTo>
                  <a:pt x="123393" y="45656"/>
                </a:lnTo>
                <a:lnTo>
                  <a:pt x="108846" y="17829"/>
                </a:lnTo>
                <a:lnTo>
                  <a:pt x="109154" y="26832"/>
                </a:lnTo>
                <a:lnTo>
                  <a:pt x="109154" y="45656"/>
                </a:lnTo>
                <a:lnTo>
                  <a:pt x="100344" y="45656"/>
                </a:lnTo>
                <a:close/>
                <a:moveTo>
                  <a:pt x="86936" y="847"/>
                </a:moveTo>
                <a:lnTo>
                  <a:pt x="96251" y="847"/>
                </a:lnTo>
                <a:lnTo>
                  <a:pt x="96251" y="45656"/>
                </a:lnTo>
                <a:lnTo>
                  <a:pt x="86936" y="45656"/>
                </a:lnTo>
                <a:close/>
                <a:moveTo>
                  <a:pt x="59275" y="847"/>
                </a:moveTo>
                <a:lnTo>
                  <a:pt x="68615" y="847"/>
                </a:lnTo>
                <a:lnTo>
                  <a:pt x="68615" y="37574"/>
                </a:lnTo>
                <a:lnTo>
                  <a:pt x="85243" y="37574"/>
                </a:lnTo>
                <a:lnTo>
                  <a:pt x="85243" y="45656"/>
                </a:lnTo>
                <a:lnTo>
                  <a:pt x="59275" y="45656"/>
                </a:lnTo>
                <a:close/>
                <a:moveTo>
                  <a:pt x="166645" y="0"/>
                </a:moveTo>
                <a:cubicBezTo>
                  <a:pt x="177276" y="0"/>
                  <a:pt x="182694" y="4503"/>
                  <a:pt x="182694" y="15761"/>
                </a:cubicBezTo>
                <a:lnTo>
                  <a:pt x="182694" y="17808"/>
                </a:lnTo>
                <a:lnTo>
                  <a:pt x="173392" y="17808"/>
                </a:lnTo>
                <a:cubicBezTo>
                  <a:pt x="173392" y="11667"/>
                  <a:pt x="172063" y="8085"/>
                  <a:pt x="167156" y="8085"/>
                </a:cubicBezTo>
                <a:lnTo>
                  <a:pt x="166645" y="8085"/>
                </a:lnTo>
                <a:cubicBezTo>
                  <a:pt x="160716" y="8085"/>
                  <a:pt x="159285" y="13100"/>
                  <a:pt x="159285" y="22004"/>
                </a:cubicBezTo>
                <a:lnTo>
                  <a:pt x="159285" y="24357"/>
                </a:lnTo>
                <a:cubicBezTo>
                  <a:pt x="159285" y="33261"/>
                  <a:pt x="160716" y="38276"/>
                  <a:pt x="166645" y="38276"/>
                </a:cubicBezTo>
                <a:lnTo>
                  <a:pt x="167156" y="38276"/>
                </a:lnTo>
                <a:cubicBezTo>
                  <a:pt x="171654" y="38276"/>
                  <a:pt x="173392" y="35103"/>
                  <a:pt x="173392" y="30293"/>
                </a:cubicBezTo>
                <a:lnTo>
                  <a:pt x="182694" y="30293"/>
                </a:lnTo>
                <a:lnTo>
                  <a:pt x="182694" y="30805"/>
                </a:lnTo>
                <a:cubicBezTo>
                  <a:pt x="182694" y="41858"/>
                  <a:pt x="177276" y="46361"/>
                  <a:pt x="166645" y="46361"/>
                </a:cubicBezTo>
                <a:cubicBezTo>
                  <a:pt x="154992" y="46361"/>
                  <a:pt x="149881" y="39811"/>
                  <a:pt x="149881" y="24357"/>
                </a:cubicBezTo>
                <a:lnTo>
                  <a:pt x="149881" y="22004"/>
                </a:lnTo>
                <a:cubicBezTo>
                  <a:pt x="149881" y="6550"/>
                  <a:pt x="154992" y="0"/>
                  <a:pt x="166645" y="0"/>
                </a:cubicBezTo>
                <a:close/>
                <a:moveTo>
                  <a:pt x="40471" y="0"/>
                </a:moveTo>
                <a:cubicBezTo>
                  <a:pt x="51125" y="0"/>
                  <a:pt x="56452" y="4503"/>
                  <a:pt x="56452" y="15761"/>
                </a:cubicBezTo>
                <a:lnTo>
                  <a:pt x="56452" y="17808"/>
                </a:lnTo>
                <a:lnTo>
                  <a:pt x="47130" y="17808"/>
                </a:lnTo>
                <a:cubicBezTo>
                  <a:pt x="47130" y="11667"/>
                  <a:pt x="45901" y="8085"/>
                  <a:pt x="40984" y="8085"/>
                </a:cubicBezTo>
                <a:lnTo>
                  <a:pt x="40471" y="8085"/>
                </a:lnTo>
                <a:cubicBezTo>
                  <a:pt x="34428" y="8085"/>
                  <a:pt x="32993" y="13100"/>
                  <a:pt x="32993" y="22004"/>
                </a:cubicBezTo>
                <a:lnTo>
                  <a:pt x="32993" y="24357"/>
                </a:lnTo>
                <a:cubicBezTo>
                  <a:pt x="32993" y="33261"/>
                  <a:pt x="34428" y="38276"/>
                  <a:pt x="40471" y="38276"/>
                </a:cubicBezTo>
                <a:lnTo>
                  <a:pt x="40984" y="38276"/>
                </a:lnTo>
                <a:cubicBezTo>
                  <a:pt x="45491" y="38276"/>
                  <a:pt x="47130" y="35103"/>
                  <a:pt x="47130" y="30293"/>
                </a:cubicBezTo>
                <a:lnTo>
                  <a:pt x="56452" y="30293"/>
                </a:lnTo>
                <a:lnTo>
                  <a:pt x="56452" y="30805"/>
                </a:lnTo>
                <a:cubicBezTo>
                  <a:pt x="56452" y="41858"/>
                  <a:pt x="51125" y="46361"/>
                  <a:pt x="40471" y="46361"/>
                </a:cubicBezTo>
                <a:cubicBezTo>
                  <a:pt x="28793" y="46361"/>
                  <a:pt x="23569" y="39811"/>
                  <a:pt x="23569" y="24357"/>
                </a:cubicBezTo>
                <a:lnTo>
                  <a:pt x="23569" y="22004"/>
                </a:lnTo>
                <a:cubicBezTo>
                  <a:pt x="23569" y="6550"/>
                  <a:pt x="28793" y="0"/>
                  <a:pt x="40471" y="0"/>
                </a:cubicBezTo>
                <a:close/>
              </a:path>
            </a:pathLst>
          </a:custGeom>
          <a:solidFill>
            <a:schemeClr val="accent1"/>
          </a:solidFill>
          <a:ln>
            <a:noFill/>
          </a:ln>
        </p:spPr>
      </p:sp>
      <p:grpSp>
        <p:nvGrpSpPr>
          <p:cNvPr id="17" name="组合 16"/>
          <p:cNvGrpSpPr/>
          <p:nvPr/>
        </p:nvGrpSpPr>
        <p:grpSpPr>
          <a:xfrm>
            <a:off x="3502848" y="3307247"/>
            <a:ext cx="412152" cy="412322"/>
            <a:chOff x="3413844" y="3208565"/>
            <a:chExt cx="609435" cy="609685"/>
          </a:xfrm>
        </p:grpSpPr>
        <p:sp>
          <p:nvSpPr>
            <p:cNvPr id="170" name="任意多边形 169"/>
            <p:cNvSpPr/>
            <p:nvPr/>
          </p:nvSpPr>
          <p:spPr>
            <a:xfrm>
              <a:off x="3413844" y="3208565"/>
              <a:ext cx="609435" cy="609685"/>
            </a:xfrm>
            <a:custGeom>
              <a:avLst/>
              <a:gdLst>
                <a:gd name="connsiteX0" fmla="*/ 333441 w 609435"/>
                <a:gd name="connsiteY0" fmla="*/ 1365 h 609685"/>
                <a:gd name="connsiteX1" fmla="*/ 607646 w 609435"/>
                <a:gd name="connsiteY1" fmla="*/ 272488 h 609685"/>
                <a:gd name="connsiteX2" fmla="*/ 336525 w 609435"/>
                <a:gd name="connsiteY2" fmla="*/ 607993 h 609685"/>
                <a:gd name="connsiteX3" fmla="*/ 58576 w 609435"/>
                <a:gd name="connsiteY3" fmla="*/ 486135 h 609685"/>
                <a:gd name="connsiteX4" fmla="*/ 51095 w 609435"/>
                <a:gd name="connsiteY4" fmla="*/ 519844 h 609685"/>
                <a:gd name="connsiteX5" fmla="*/ 19952 w 609435"/>
                <a:gd name="connsiteY5" fmla="*/ 540574 h 609685"/>
                <a:gd name="connsiteX6" fmla="*/ 499 w 609435"/>
                <a:gd name="connsiteY6" fmla="*/ 510787 h 609685"/>
                <a:gd name="connsiteX7" fmla="*/ 22570 w 609435"/>
                <a:gd name="connsiteY7" fmla="*/ 408445 h 609685"/>
                <a:gd name="connsiteX8" fmla="*/ 53713 w 609435"/>
                <a:gd name="connsiteY8" fmla="*/ 389023 h 609685"/>
                <a:gd name="connsiteX9" fmla="*/ 154811 w 609435"/>
                <a:gd name="connsiteY9" fmla="*/ 411060 h 609685"/>
                <a:gd name="connsiteX10" fmla="*/ 174263 w 609435"/>
                <a:gd name="connsiteY10" fmla="*/ 440847 h 609685"/>
                <a:gd name="connsiteX11" fmla="*/ 144524 w 609435"/>
                <a:gd name="connsiteY11" fmla="*/ 460269 h 609685"/>
                <a:gd name="connsiteX12" fmla="*/ 94957 w 609435"/>
                <a:gd name="connsiteY12" fmla="*/ 449438 h 609685"/>
                <a:gd name="connsiteX13" fmla="*/ 331287 w 609435"/>
                <a:gd name="connsiteY13" fmla="*/ 557475 h 609685"/>
                <a:gd name="connsiteX14" fmla="*/ 556957 w 609435"/>
                <a:gd name="connsiteY14" fmla="*/ 278931 h 609685"/>
                <a:gd name="connsiteX15" fmla="*/ 276764 w 609435"/>
                <a:gd name="connsiteY15" fmla="*/ 52396 h 609685"/>
                <a:gd name="connsiteX16" fmla="*/ 91216 w 609435"/>
                <a:gd name="connsiteY16" fmla="*/ 165010 h 609685"/>
                <a:gd name="connsiteX17" fmla="*/ 56238 w 609435"/>
                <a:gd name="connsiteY17" fmla="*/ 172760 h 609685"/>
                <a:gd name="connsiteX18" fmla="*/ 48476 w 609435"/>
                <a:gd name="connsiteY18" fmla="*/ 137744 h 609685"/>
                <a:gd name="connsiteX19" fmla="*/ 271714 w 609435"/>
                <a:gd name="connsiteY19" fmla="*/ 1786 h 609685"/>
                <a:gd name="connsiteX20" fmla="*/ 333441 w 609435"/>
                <a:gd name="connsiteY20" fmla="*/ 1365 h 609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9435" h="609685">
                  <a:moveTo>
                    <a:pt x="333441" y="1365"/>
                  </a:moveTo>
                  <a:cubicBezTo>
                    <a:pt x="474578" y="14820"/>
                    <a:pt x="591771" y="126317"/>
                    <a:pt x="607646" y="272488"/>
                  </a:cubicBezTo>
                  <a:cubicBezTo>
                    <a:pt x="625789" y="439540"/>
                    <a:pt x="503837" y="589877"/>
                    <a:pt x="336525" y="607993"/>
                  </a:cubicBezTo>
                  <a:cubicBezTo>
                    <a:pt x="326144" y="609300"/>
                    <a:pt x="169961" y="629563"/>
                    <a:pt x="58576" y="486135"/>
                  </a:cubicBezTo>
                  <a:lnTo>
                    <a:pt x="51095" y="519844"/>
                  </a:lnTo>
                  <a:cubicBezTo>
                    <a:pt x="47073" y="531423"/>
                    <a:pt x="36879" y="541882"/>
                    <a:pt x="19952" y="540574"/>
                  </a:cubicBezTo>
                  <a:cubicBezTo>
                    <a:pt x="5737" y="537959"/>
                    <a:pt x="-2119" y="523766"/>
                    <a:pt x="499" y="510787"/>
                  </a:cubicBezTo>
                  <a:lnTo>
                    <a:pt x="22570" y="408445"/>
                  </a:lnTo>
                  <a:cubicBezTo>
                    <a:pt x="23880" y="402003"/>
                    <a:pt x="32110" y="386314"/>
                    <a:pt x="53713" y="389023"/>
                  </a:cubicBezTo>
                  <a:lnTo>
                    <a:pt x="154811" y="411060"/>
                  </a:lnTo>
                  <a:cubicBezTo>
                    <a:pt x="169026" y="413674"/>
                    <a:pt x="176882" y="427867"/>
                    <a:pt x="174263" y="440847"/>
                  </a:cubicBezTo>
                  <a:cubicBezTo>
                    <a:pt x="171645" y="455041"/>
                    <a:pt x="157430" y="462884"/>
                    <a:pt x="144524" y="460269"/>
                  </a:cubicBezTo>
                  <a:lnTo>
                    <a:pt x="94957" y="449438"/>
                  </a:lnTo>
                  <a:cubicBezTo>
                    <a:pt x="147329" y="525073"/>
                    <a:pt x="238139" y="567280"/>
                    <a:pt x="331287" y="557475"/>
                  </a:cubicBezTo>
                  <a:cubicBezTo>
                    <a:pt x="470075" y="543189"/>
                    <a:pt x="571173" y="417503"/>
                    <a:pt x="556957" y="278931"/>
                  </a:cubicBezTo>
                  <a:cubicBezTo>
                    <a:pt x="542742" y="139051"/>
                    <a:pt x="416954" y="38017"/>
                    <a:pt x="276764" y="52396"/>
                  </a:cubicBezTo>
                  <a:cubicBezTo>
                    <a:pt x="201479" y="60054"/>
                    <a:pt x="134049" y="101513"/>
                    <a:pt x="91216" y="165010"/>
                  </a:cubicBezTo>
                  <a:cubicBezTo>
                    <a:pt x="83360" y="176589"/>
                    <a:pt x="67835" y="180604"/>
                    <a:pt x="56238" y="172760"/>
                  </a:cubicBezTo>
                  <a:cubicBezTo>
                    <a:pt x="44641" y="164917"/>
                    <a:pt x="40714" y="149510"/>
                    <a:pt x="48476" y="137744"/>
                  </a:cubicBezTo>
                  <a:cubicBezTo>
                    <a:pt x="100381" y="61361"/>
                    <a:pt x="180811" y="12151"/>
                    <a:pt x="271714" y="1786"/>
                  </a:cubicBezTo>
                  <a:cubicBezTo>
                    <a:pt x="292628" y="-478"/>
                    <a:pt x="313278" y="-557"/>
                    <a:pt x="333441" y="136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nvGrpSpPr>
            <p:cNvPr id="12" name="组合 11"/>
            <p:cNvGrpSpPr/>
            <p:nvPr/>
          </p:nvGrpSpPr>
          <p:grpSpPr>
            <a:xfrm>
              <a:off x="3598634" y="3386923"/>
              <a:ext cx="291800" cy="216038"/>
              <a:chOff x="3632596" y="3412067"/>
              <a:chExt cx="223875" cy="165750"/>
            </a:xfrm>
          </p:grpSpPr>
          <p:sp>
            <p:nvSpPr>
              <p:cNvPr id="168" name="任意多边形 167"/>
              <p:cNvSpPr/>
              <p:nvPr/>
            </p:nvSpPr>
            <p:spPr>
              <a:xfrm>
                <a:off x="3743478" y="3417201"/>
                <a:ext cx="112993" cy="159571"/>
              </a:xfrm>
              <a:custGeom>
                <a:avLst/>
                <a:gdLst>
                  <a:gd name="connsiteX0" fmla="*/ 16650 w 112993"/>
                  <a:gd name="connsiteY0" fmla="*/ 0 h 159571"/>
                  <a:gd name="connsiteX1" fmla="*/ 33393 w 112993"/>
                  <a:gd name="connsiteY1" fmla="*/ 16713 h 159571"/>
                  <a:gd name="connsiteX2" fmla="*/ 33393 w 112993"/>
                  <a:gd name="connsiteY2" fmla="*/ 60411 h 159571"/>
                  <a:gd name="connsiteX3" fmla="*/ 56497 w 112993"/>
                  <a:gd name="connsiteY3" fmla="*/ 55369 h 159571"/>
                  <a:gd name="connsiteX4" fmla="*/ 112992 w 112993"/>
                  <a:gd name="connsiteY4" fmla="*/ 111952 h 159571"/>
                  <a:gd name="connsiteX5" fmla="*/ 112992 w 112993"/>
                  <a:gd name="connsiteY5" fmla="*/ 142951 h 159571"/>
                  <a:gd name="connsiteX6" fmla="*/ 96250 w 112993"/>
                  <a:gd name="connsiteY6" fmla="*/ 159571 h 159571"/>
                  <a:gd name="connsiteX7" fmla="*/ 79507 w 112993"/>
                  <a:gd name="connsiteY7" fmla="*/ 142951 h 159571"/>
                  <a:gd name="connsiteX8" fmla="*/ 79507 w 112993"/>
                  <a:gd name="connsiteY8" fmla="*/ 111952 h 159571"/>
                  <a:gd name="connsiteX9" fmla="*/ 56497 w 112993"/>
                  <a:gd name="connsiteY9" fmla="*/ 88889 h 159571"/>
                  <a:gd name="connsiteX10" fmla="*/ 33393 w 112993"/>
                  <a:gd name="connsiteY10" fmla="*/ 111952 h 159571"/>
                  <a:gd name="connsiteX11" fmla="*/ 33393 w 112993"/>
                  <a:gd name="connsiteY11" fmla="*/ 142951 h 159571"/>
                  <a:gd name="connsiteX12" fmla="*/ 16650 w 112993"/>
                  <a:gd name="connsiteY12" fmla="*/ 159571 h 159571"/>
                  <a:gd name="connsiteX13" fmla="*/ 0 w 112993"/>
                  <a:gd name="connsiteY13" fmla="*/ 142951 h 159571"/>
                  <a:gd name="connsiteX14" fmla="*/ 0 w 112993"/>
                  <a:gd name="connsiteY14" fmla="*/ 16713 h 159571"/>
                  <a:gd name="connsiteX15" fmla="*/ 16650 w 112993"/>
                  <a:gd name="connsiteY15" fmla="*/ 0 h 15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2993" h="159571">
                    <a:moveTo>
                      <a:pt x="16650" y="0"/>
                    </a:moveTo>
                    <a:cubicBezTo>
                      <a:pt x="25910" y="0"/>
                      <a:pt x="33393" y="7469"/>
                      <a:pt x="33393" y="16713"/>
                    </a:cubicBezTo>
                    <a:lnTo>
                      <a:pt x="33393" y="60411"/>
                    </a:lnTo>
                    <a:cubicBezTo>
                      <a:pt x="40408" y="57143"/>
                      <a:pt x="48265" y="55369"/>
                      <a:pt x="56497" y="55369"/>
                    </a:cubicBezTo>
                    <a:cubicBezTo>
                      <a:pt x="87644" y="55369"/>
                      <a:pt x="113086" y="80766"/>
                      <a:pt x="112992" y="111952"/>
                    </a:cubicBezTo>
                    <a:lnTo>
                      <a:pt x="112992" y="142951"/>
                    </a:lnTo>
                    <a:cubicBezTo>
                      <a:pt x="112992" y="152101"/>
                      <a:pt x="105509" y="159571"/>
                      <a:pt x="96250" y="159571"/>
                    </a:cubicBezTo>
                    <a:cubicBezTo>
                      <a:pt x="86990" y="159571"/>
                      <a:pt x="79507" y="152101"/>
                      <a:pt x="79507" y="142951"/>
                    </a:cubicBezTo>
                    <a:lnTo>
                      <a:pt x="79507" y="111952"/>
                    </a:lnTo>
                    <a:cubicBezTo>
                      <a:pt x="79507" y="99253"/>
                      <a:pt x="69217" y="88889"/>
                      <a:pt x="56497" y="88889"/>
                    </a:cubicBezTo>
                    <a:cubicBezTo>
                      <a:pt x="43776" y="88889"/>
                      <a:pt x="33393" y="99253"/>
                      <a:pt x="33393" y="111952"/>
                    </a:cubicBezTo>
                    <a:lnTo>
                      <a:pt x="33393" y="142951"/>
                    </a:lnTo>
                    <a:cubicBezTo>
                      <a:pt x="33393" y="152101"/>
                      <a:pt x="25910" y="159571"/>
                      <a:pt x="16650" y="159571"/>
                    </a:cubicBezTo>
                    <a:cubicBezTo>
                      <a:pt x="7483" y="159571"/>
                      <a:pt x="0" y="152101"/>
                      <a:pt x="0" y="142951"/>
                    </a:cubicBezTo>
                    <a:lnTo>
                      <a:pt x="0" y="16713"/>
                    </a:lnTo>
                    <a:cubicBezTo>
                      <a:pt x="0" y="7469"/>
                      <a:pt x="7483" y="0"/>
                      <a:pt x="1665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175" name="任意多边形 174"/>
              <p:cNvSpPr/>
              <p:nvPr/>
            </p:nvSpPr>
            <p:spPr>
              <a:xfrm>
                <a:off x="3632596" y="3412067"/>
                <a:ext cx="93857" cy="165750"/>
              </a:xfrm>
              <a:custGeom>
                <a:avLst/>
                <a:gdLst/>
                <a:ahLst/>
                <a:cxnLst/>
                <a:rect l="l" t="t" r="r" b="b"/>
                <a:pathLst>
                  <a:path w="106375" h="187858">
                    <a:moveTo>
                      <a:pt x="49448" y="0"/>
                    </a:moveTo>
                    <a:cubicBezTo>
                      <a:pt x="70954" y="0"/>
                      <a:pt x="85539" y="4201"/>
                      <a:pt x="93204" y="12604"/>
                    </a:cubicBezTo>
                    <a:cubicBezTo>
                      <a:pt x="100868" y="21007"/>
                      <a:pt x="104700" y="32682"/>
                      <a:pt x="104700" y="47629"/>
                    </a:cubicBezTo>
                    <a:cubicBezTo>
                      <a:pt x="104700" y="57742"/>
                      <a:pt x="103324" y="65048"/>
                      <a:pt x="100570" y="69547"/>
                    </a:cubicBezTo>
                    <a:cubicBezTo>
                      <a:pt x="97817" y="74047"/>
                      <a:pt x="92980" y="78155"/>
                      <a:pt x="86060" y="81874"/>
                    </a:cubicBezTo>
                    <a:cubicBezTo>
                      <a:pt x="92906" y="84182"/>
                      <a:pt x="98003" y="87960"/>
                      <a:pt x="101352" y="93209"/>
                    </a:cubicBezTo>
                    <a:cubicBezTo>
                      <a:pt x="104700" y="98459"/>
                      <a:pt x="106375" y="110762"/>
                      <a:pt x="106375" y="130120"/>
                    </a:cubicBezTo>
                    <a:cubicBezTo>
                      <a:pt x="106375" y="144489"/>
                      <a:pt x="104738" y="155638"/>
                      <a:pt x="101463" y="163567"/>
                    </a:cubicBezTo>
                    <a:cubicBezTo>
                      <a:pt x="98189" y="171497"/>
                      <a:pt x="92534" y="177527"/>
                      <a:pt x="84497" y="181660"/>
                    </a:cubicBezTo>
                    <a:cubicBezTo>
                      <a:pt x="76460" y="185792"/>
                      <a:pt x="66154" y="187858"/>
                      <a:pt x="53578" y="187858"/>
                    </a:cubicBezTo>
                    <a:cubicBezTo>
                      <a:pt x="39291" y="187858"/>
                      <a:pt x="28073" y="185458"/>
                      <a:pt x="19924" y="180658"/>
                    </a:cubicBezTo>
                    <a:cubicBezTo>
                      <a:pt x="11776" y="175859"/>
                      <a:pt x="6418" y="169980"/>
                      <a:pt x="3851" y="163022"/>
                    </a:cubicBezTo>
                    <a:cubicBezTo>
                      <a:pt x="1284" y="156065"/>
                      <a:pt x="0" y="143991"/>
                      <a:pt x="0" y="126801"/>
                    </a:cubicBezTo>
                    <a:lnTo>
                      <a:pt x="0" y="112514"/>
                    </a:lnTo>
                    <a:lnTo>
                      <a:pt x="45095" y="112514"/>
                    </a:lnTo>
                    <a:lnTo>
                      <a:pt x="45095" y="141870"/>
                    </a:lnTo>
                    <a:cubicBezTo>
                      <a:pt x="45095" y="149684"/>
                      <a:pt x="45560" y="154651"/>
                      <a:pt x="46490" y="156772"/>
                    </a:cubicBezTo>
                    <a:cubicBezTo>
                      <a:pt x="47420" y="158892"/>
                      <a:pt x="49485" y="159953"/>
                      <a:pt x="52685" y="159953"/>
                    </a:cubicBezTo>
                    <a:cubicBezTo>
                      <a:pt x="56183" y="159953"/>
                      <a:pt x="58489" y="158613"/>
                      <a:pt x="59606" y="155934"/>
                    </a:cubicBezTo>
                    <a:cubicBezTo>
                      <a:pt x="60722" y="153255"/>
                      <a:pt x="61280" y="146261"/>
                      <a:pt x="61280" y="134950"/>
                    </a:cubicBezTo>
                    <a:lnTo>
                      <a:pt x="61280" y="122448"/>
                    </a:lnTo>
                    <a:cubicBezTo>
                      <a:pt x="61280" y="115528"/>
                      <a:pt x="60499" y="110467"/>
                      <a:pt x="58936" y="107268"/>
                    </a:cubicBezTo>
                    <a:cubicBezTo>
                      <a:pt x="57373" y="104068"/>
                      <a:pt x="55066" y="101966"/>
                      <a:pt x="52015" y="100961"/>
                    </a:cubicBezTo>
                    <a:cubicBezTo>
                      <a:pt x="48964" y="99956"/>
                      <a:pt x="43048" y="99380"/>
                      <a:pt x="34268" y="99231"/>
                    </a:cubicBezTo>
                    <a:lnTo>
                      <a:pt x="34268" y="73000"/>
                    </a:lnTo>
                    <a:cubicBezTo>
                      <a:pt x="44983" y="73000"/>
                      <a:pt x="51606" y="72591"/>
                      <a:pt x="54136" y="71772"/>
                    </a:cubicBezTo>
                    <a:cubicBezTo>
                      <a:pt x="56666" y="70954"/>
                      <a:pt x="58489" y="69168"/>
                      <a:pt x="59606" y="66414"/>
                    </a:cubicBezTo>
                    <a:cubicBezTo>
                      <a:pt x="60722" y="63661"/>
                      <a:pt x="61280" y="59345"/>
                      <a:pt x="61280" y="53466"/>
                    </a:cubicBezTo>
                    <a:lnTo>
                      <a:pt x="61280" y="43420"/>
                    </a:lnTo>
                    <a:cubicBezTo>
                      <a:pt x="61280" y="37095"/>
                      <a:pt x="60629" y="32928"/>
                      <a:pt x="59327" y="30919"/>
                    </a:cubicBezTo>
                    <a:cubicBezTo>
                      <a:pt x="58024" y="28910"/>
                      <a:pt x="55996" y="27905"/>
                      <a:pt x="53243" y="27905"/>
                    </a:cubicBezTo>
                    <a:cubicBezTo>
                      <a:pt x="50118" y="27905"/>
                      <a:pt x="47978" y="28965"/>
                      <a:pt x="46825" y="31086"/>
                    </a:cubicBezTo>
                    <a:cubicBezTo>
                      <a:pt x="45672" y="33207"/>
                      <a:pt x="45095" y="37728"/>
                      <a:pt x="45095" y="44648"/>
                    </a:cubicBezTo>
                    <a:lnTo>
                      <a:pt x="45095" y="59494"/>
                    </a:lnTo>
                    <a:lnTo>
                      <a:pt x="0" y="59494"/>
                    </a:lnTo>
                    <a:lnTo>
                      <a:pt x="0" y="44090"/>
                    </a:lnTo>
                    <a:cubicBezTo>
                      <a:pt x="0" y="26826"/>
                      <a:pt x="3944" y="15162"/>
                      <a:pt x="11832" y="9097"/>
                    </a:cubicBezTo>
                    <a:cubicBezTo>
                      <a:pt x="19720" y="3032"/>
                      <a:pt x="32258" y="0"/>
                      <a:pt x="49448"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endParaRPr kumimoji="1" lang="zh-CN" altLang="en-US" dirty="0">
                  <a:solidFill>
                    <a:schemeClr val="tx1"/>
                  </a:solidFill>
                  <a:latin typeface="Impact" panose="020B0806030902050204" pitchFamily="34" charset="0"/>
                </a:endParaRPr>
              </a:p>
            </p:txBody>
          </p:sp>
        </p:grpSp>
      </p:grpSp>
      <p:grpSp>
        <p:nvGrpSpPr>
          <p:cNvPr id="16" name="组合 15"/>
          <p:cNvGrpSpPr/>
          <p:nvPr/>
        </p:nvGrpSpPr>
        <p:grpSpPr>
          <a:xfrm>
            <a:off x="7207364" y="3307247"/>
            <a:ext cx="412152" cy="412322"/>
            <a:chOff x="7182057" y="3208565"/>
            <a:chExt cx="609435" cy="609685"/>
          </a:xfrm>
        </p:grpSpPr>
        <p:sp>
          <p:nvSpPr>
            <p:cNvPr id="177" name="任意多边形 176"/>
            <p:cNvSpPr/>
            <p:nvPr/>
          </p:nvSpPr>
          <p:spPr>
            <a:xfrm>
              <a:off x="7182057" y="3208565"/>
              <a:ext cx="609435" cy="609685"/>
            </a:xfrm>
            <a:custGeom>
              <a:avLst/>
              <a:gdLst>
                <a:gd name="connsiteX0" fmla="*/ 333441 w 609435"/>
                <a:gd name="connsiteY0" fmla="*/ 1365 h 609685"/>
                <a:gd name="connsiteX1" fmla="*/ 607646 w 609435"/>
                <a:gd name="connsiteY1" fmla="*/ 272488 h 609685"/>
                <a:gd name="connsiteX2" fmla="*/ 336525 w 609435"/>
                <a:gd name="connsiteY2" fmla="*/ 607993 h 609685"/>
                <a:gd name="connsiteX3" fmla="*/ 58576 w 609435"/>
                <a:gd name="connsiteY3" fmla="*/ 486135 h 609685"/>
                <a:gd name="connsiteX4" fmla="*/ 51095 w 609435"/>
                <a:gd name="connsiteY4" fmla="*/ 519844 h 609685"/>
                <a:gd name="connsiteX5" fmla="*/ 19952 w 609435"/>
                <a:gd name="connsiteY5" fmla="*/ 540574 h 609685"/>
                <a:gd name="connsiteX6" fmla="*/ 499 w 609435"/>
                <a:gd name="connsiteY6" fmla="*/ 510787 h 609685"/>
                <a:gd name="connsiteX7" fmla="*/ 22570 w 609435"/>
                <a:gd name="connsiteY7" fmla="*/ 408445 h 609685"/>
                <a:gd name="connsiteX8" fmla="*/ 53713 w 609435"/>
                <a:gd name="connsiteY8" fmla="*/ 389023 h 609685"/>
                <a:gd name="connsiteX9" fmla="*/ 154811 w 609435"/>
                <a:gd name="connsiteY9" fmla="*/ 411060 h 609685"/>
                <a:gd name="connsiteX10" fmla="*/ 174263 w 609435"/>
                <a:gd name="connsiteY10" fmla="*/ 440847 h 609685"/>
                <a:gd name="connsiteX11" fmla="*/ 144524 w 609435"/>
                <a:gd name="connsiteY11" fmla="*/ 460269 h 609685"/>
                <a:gd name="connsiteX12" fmla="*/ 94957 w 609435"/>
                <a:gd name="connsiteY12" fmla="*/ 449438 h 609685"/>
                <a:gd name="connsiteX13" fmla="*/ 331287 w 609435"/>
                <a:gd name="connsiteY13" fmla="*/ 557475 h 609685"/>
                <a:gd name="connsiteX14" fmla="*/ 556957 w 609435"/>
                <a:gd name="connsiteY14" fmla="*/ 278931 h 609685"/>
                <a:gd name="connsiteX15" fmla="*/ 276764 w 609435"/>
                <a:gd name="connsiteY15" fmla="*/ 52396 h 609685"/>
                <a:gd name="connsiteX16" fmla="*/ 91216 w 609435"/>
                <a:gd name="connsiteY16" fmla="*/ 165010 h 609685"/>
                <a:gd name="connsiteX17" fmla="*/ 56238 w 609435"/>
                <a:gd name="connsiteY17" fmla="*/ 172760 h 609685"/>
                <a:gd name="connsiteX18" fmla="*/ 48476 w 609435"/>
                <a:gd name="connsiteY18" fmla="*/ 137744 h 609685"/>
                <a:gd name="connsiteX19" fmla="*/ 271714 w 609435"/>
                <a:gd name="connsiteY19" fmla="*/ 1786 h 609685"/>
                <a:gd name="connsiteX20" fmla="*/ 333441 w 609435"/>
                <a:gd name="connsiteY20" fmla="*/ 1365 h 609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9435" h="609685">
                  <a:moveTo>
                    <a:pt x="333441" y="1365"/>
                  </a:moveTo>
                  <a:cubicBezTo>
                    <a:pt x="474578" y="14820"/>
                    <a:pt x="591771" y="126317"/>
                    <a:pt x="607646" y="272488"/>
                  </a:cubicBezTo>
                  <a:cubicBezTo>
                    <a:pt x="625789" y="439540"/>
                    <a:pt x="503837" y="589877"/>
                    <a:pt x="336525" y="607993"/>
                  </a:cubicBezTo>
                  <a:cubicBezTo>
                    <a:pt x="326144" y="609300"/>
                    <a:pt x="169961" y="629563"/>
                    <a:pt x="58576" y="486135"/>
                  </a:cubicBezTo>
                  <a:lnTo>
                    <a:pt x="51095" y="519844"/>
                  </a:lnTo>
                  <a:cubicBezTo>
                    <a:pt x="47073" y="531423"/>
                    <a:pt x="36879" y="541882"/>
                    <a:pt x="19952" y="540574"/>
                  </a:cubicBezTo>
                  <a:cubicBezTo>
                    <a:pt x="5737" y="537959"/>
                    <a:pt x="-2119" y="523766"/>
                    <a:pt x="499" y="510787"/>
                  </a:cubicBezTo>
                  <a:lnTo>
                    <a:pt x="22570" y="408445"/>
                  </a:lnTo>
                  <a:cubicBezTo>
                    <a:pt x="23880" y="402003"/>
                    <a:pt x="32110" y="386314"/>
                    <a:pt x="53713" y="389023"/>
                  </a:cubicBezTo>
                  <a:lnTo>
                    <a:pt x="154811" y="411060"/>
                  </a:lnTo>
                  <a:cubicBezTo>
                    <a:pt x="169026" y="413674"/>
                    <a:pt x="176882" y="427867"/>
                    <a:pt x="174263" y="440847"/>
                  </a:cubicBezTo>
                  <a:cubicBezTo>
                    <a:pt x="171645" y="455041"/>
                    <a:pt x="157430" y="462884"/>
                    <a:pt x="144524" y="460269"/>
                  </a:cubicBezTo>
                  <a:lnTo>
                    <a:pt x="94957" y="449438"/>
                  </a:lnTo>
                  <a:cubicBezTo>
                    <a:pt x="147329" y="525073"/>
                    <a:pt x="238139" y="567280"/>
                    <a:pt x="331287" y="557475"/>
                  </a:cubicBezTo>
                  <a:cubicBezTo>
                    <a:pt x="470075" y="543189"/>
                    <a:pt x="571173" y="417503"/>
                    <a:pt x="556957" y="278931"/>
                  </a:cubicBezTo>
                  <a:cubicBezTo>
                    <a:pt x="542742" y="139051"/>
                    <a:pt x="416954" y="38017"/>
                    <a:pt x="276764" y="52396"/>
                  </a:cubicBezTo>
                  <a:cubicBezTo>
                    <a:pt x="201479" y="60054"/>
                    <a:pt x="134049" y="101513"/>
                    <a:pt x="91216" y="165010"/>
                  </a:cubicBezTo>
                  <a:cubicBezTo>
                    <a:pt x="83360" y="176589"/>
                    <a:pt x="67835" y="180604"/>
                    <a:pt x="56238" y="172760"/>
                  </a:cubicBezTo>
                  <a:cubicBezTo>
                    <a:pt x="44641" y="164917"/>
                    <a:pt x="40714" y="149510"/>
                    <a:pt x="48476" y="137744"/>
                  </a:cubicBezTo>
                  <a:cubicBezTo>
                    <a:pt x="100381" y="61361"/>
                    <a:pt x="180811" y="12151"/>
                    <a:pt x="271714" y="1786"/>
                  </a:cubicBezTo>
                  <a:cubicBezTo>
                    <a:pt x="292628" y="-478"/>
                    <a:pt x="313278" y="-557"/>
                    <a:pt x="333441" y="136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nvGrpSpPr>
            <p:cNvPr id="15" name="组合 14"/>
            <p:cNvGrpSpPr/>
            <p:nvPr/>
          </p:nvGrpSpPr>
          <p:grpSpPr>
            <a:xfrm>
              <a:off x="7365953" y="3389974"/>
              <a:ext cx="276717" cy="211618"/>
              <a:chOff x="7365953" y="3389974"/>
              <a:chExt cx="276717" cy="211618"/>
            </a:xfrm>
          </p:grpSpPr>
          <p:sp>
            <p:nvSpPr>
              <p:cNvPr id="179" name="任意多边形 178"/>
              <p:cNvSpPr/>
              <p:nvPr/>
            </p:nvSpPr>
            <p:spPr>
              <a:xfrm>
                <a:off x="7495394" y="3393608"/>
                <a:ext cx="147276" cy="207984"/>
              </a:xfrm>
              <a:custGeom>
                <a:avLst/>
                <a:gdLst>
                  <a:gd name="connsiteX0" fmla="*/ 16650 w 112993"/>
                  <a:gd name="connsiteY0" fmla="*/ 0 h 159571"/>
                  <a:gd name="connsiteX1" fmla="*/ 33393 w 112993"/>
                  <a:gd name="connsiteY1" fmla="*/ 16713 h 159571"/>
                  <a:gd name="connsiteX2" fmla="*/ 33393 w 112993"/>
                  <a:gd name="connsiteY2" fmla="*/ 60411 h 159571"/>
                  <a:gd name="connsiteX3" fmla="*/ 56497 w 112993"/>
                  <a:gd name="connsiteY3" fmla="*/ 55369 h 159571"/>
                  <a:gd name="connsiteX4" fmla="*/ 112992 w 112993"/>
                  <a:gd name="connsiteY4" fmla="*/ 111952 h 159571"/>
                  <a:gd name="connsiteX5" fmla="*/ 112992 w 112993"/>
                  <a:gd name="connsiteY5" fmla="*/ 142951 h 159571"/>
                  <a:gd name="connsiteX6" fmla="*/ 96250 w 112993"/>
                  <a:gd name="connsiteY6" fmla="*/ 159571 h 159571"/>
                  <a:gd name="connsiteX7" fmla="*/ 79507 w 112993"/>
                  <a:gd name="connsiteY7" fmla="*/ 142951 h 159571"/>
                  <a:gd name="connsiteX8" fmla="*/ 79507 w 112993"/>
                  <a:gd name="connsiteY8" fmla="*/ 111952 h 159571"/>
                  <a:gd name="connsiteX9" fmla="*/ 56497 w 112993"/>
                  <a:gd name="connsiteY9" fmla="*/ 88889 h 159571"/>
                  <a:gd name="connsiteX10" fmla="*/ 33393 w 112993"/>
                  <a:gd name="connsiteY10" fmla="*/ 111952 h 159571"/>
                  <a:gd name="connsiteX11" fmla="*/ 33393 w 112993"/>
                  <a:gd name="connsiteY11" fmla="*/ 142951 h 159571"/>
                  <a:gd name="connsiteX12" fmla="*/ 16650 w 112993"/>
                  <a:gd name="connsiteY12" fmla="*/ 159571 h 159571"/>
                  <a:gd name="connsiteX13" fmla="*/ 0 w 112993"/>
                  <a:gd name="connsiteY13" fmla="*/ 142951 h 159571"/>
                  <a:gd name="connsiteX14" fmla="*/ 0 w 112993"/>
                  <a:gd name="connsiteY14" fmla="*/ 16713 h 159571"/>
                  <a:gd name="connsiteX15" fmla="*/ 16650 w 112993"/>
                  <a:gd name="connsiteY15" fmla="*/ 0 h 15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2993" h="159571">
                    <a:moveTo>
                      <a:pt x="16650" y="0"/>
                    </a:moveTo>
                    <a:cubicBezTo>
                      <a:pt x="25910" y="0"/>
                      <a:pt x="33393" y="7469"/>
                      <a:pt x="33393" y="16713"/>
                    </a:cubicBezTo>
                    <a:lnTo>
                      <a:pt x="33393" y="60411"/>
                    </a:lnTo>
                    <a:cubicBezTo>
                      <a:pt x="40408" y="57143"/>
                      <a:pt x="48265" y="55369"/>
                      <a:pt x="56497" y="55369"/>
                    </a:cubicBezTo>
                    <a:cubicBezTo>
                      <a:pt x="87644" y="55369"/>
                      <a:pt x="113086" y="80766"/>
                      <a:pt x="112992" y="111952"/>
                    </a:cubicBezTo>
                    <a:lnTo>
                      <a:pt x="112992" y="142951"/>
                    </a:lnTo>
                    <a:cubicBezTo>
                      <a:pt x="112992" y="152101"/>
                      <a:pt x="105509" y="159571"/>
                      <a:pt x="96250" y="159571"/>
                    </a:cubicBezTo>
                    <a:cubicBezTo>
                      <a:pt x="86990" y="159571"/>
                      <a:pt x="79507" y="152101"/>
                      <a:pt x="79507" y="142951"/>
                    </a:cubicBezTo>
                    <a:lnTo>
                      <a:pt x="79507" y="111952"/>
                    </a:lnTo>
                    <a:cubicBezTo>
                      <a:pt x="79507" y="99253"/>
                      <a:pt x="69217" y="88889"/>
                      <a:pt x="56497" y="88889"/>
                    </a:cubicBezTo>
                    <a:cubicBezTo>
                      <a:pt x="43776" y="88889"/>
                      <a:pt x="33393" y="99253"/>
                      <a:pt x="33393" y="111952"/>
                    </a:cubicBezTo>
                    <a:lnTo>
                      <a:pt x="33393" y="142951"/>
                    </a:lnTo>
                    <a:cubicBezTo>
                      <a:pt x="33393" y="152101"/>
                      <a:pt x="25910" y="159571"/>
                      <a:pt x="16650" y="159571"/>
                    </a:cubicBezTo>
                    <a:cubicBezTo>
                      <a:pt x="7483" y="159571"/>
                      <a:pt x="0" y="152101"/>
                      <a:pt x="0" y="142951"/>
                    </a:cubicBezTo>
                    <a:lnTo>
                      <a:pt x="0" y="16713"/>
                    </a:lnTo>
                    <a:cubicBezTo>
                      <a:pt x="0" y="7469"/>
                      <a:pt x="7483" y="0"/>
                      <a:pt x="1665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183" name="任意多边形 182"/>
              <p:cNvSpPr/>
              <p:nvPr/>
            </p:nvSpPr>
            <p:spPr>
              <a:xfrm>
                <a:off x="7365953" y="3389974"/>
                <a:ext cx="86728" cy="205580"/>
              </a:xfrm>
              <a:custGeom>
                <a:avLst/>
                <a:gdLst/>
                <a:ahLst/>
                <a:cxnLst/>
                <a:rect l="l" t="t" r="r" b="b"/>
                <a:pathLst>
                  <a:path w="76237" h="180714">
                    <a:moveTo>
                      <a:pt x="49672" y="0"/>
                    </a:moveTo>
                    <a:lnTo>
                      <a:pt x="76237" y="0"/>
                    </a:lnTo>
                    <a:lnTo>
                      <a:pt x="76237" y="180714"/>
                    </a:lnTo>
                    <a:lnTo>
                      <a:pt x="31142" y="180714"/>
                    </a:lnTo>
                    <a:lnTo>
                      <a:pt x="31142" y="83827"/>
                    </a:lnTo>
                    <a:cubicBezTo>
                      <a:pt x="31142" y="69837"/>
                      <a:pt x="30808" y="61428"/>
                      <a:pt x="30138" y="58601"/>
                    </a:cubicBezTo>
                    <a:cubicBezTo>
                      <a:pt x="29468" y="55773"/>
                      <a:pt x="27626" y="53634"/>
                      <a:pt x="24613" y="52182"/>
                    </a:cubicBezTo>
                    <a:cubicBezTo>
                      <a:pt x="21599" y="50731"/>
                      <a:pt x="14883" y="50006"/>
                      <a:pt x="4465" y="50006"/>
                    </a:cubicBezTo>
                    <a:lnTo>
                      <a:pt x="0" y="50006"/>
                    </a:lnTo>
                    <a:lnTo>
                      <a:pt x="0" y="28937"/>
                    </a:lnTo>
                    <a:cubicBezTo>
                      <a:pt x="21804" y="24245"/>
                      <a:pt x="38361" y="14599"/>
                      <a:pt x="49672"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endParaRPr kumimoji="1" lang="zh-CN" altLang="en-US" dirty="0">
                  <a:solidFill>
                    <a:schemeClr val="tx1"/>
                  </a:solidFill>
                  <a:latin typeface="Impact" panose="020B0806030902050204" pitchFamily="34" charset="0"/>
                </a:endParaRPr>
              </a:p>
            </p:txBody>
          </p:sp>
        </p:grpSp>
      </p:grpSp>
      <p:grpSp>
        <p:nvGrpSpPr>
          <p:cNvPr id="35" name="组合 34"/>
          <p:cNvGrpSpPr/>
          <p:nvPr/>
        </p:nvGrpSpPr>
        <p:grpSpPr>
          <a:xfrm>
            <a:off x="3259412" y="1588169"/>
            <a:ext cx="1804737" cy="625642"/>
            <a:chOff x="3537284" y="1612232"/>
            <a:chExt cx="1804737" cy="625642"/>
          </a:xfrm>
        </p:grpSpPr>
        <p:cxnSp>
          <p:nvCxnSpPr>
            <p:cNvPr id="25" name="直接连接符 24"/>
            <p:cNvCxnSpPr/>
            <p:nvPr/>
          </p:nvCxnSpPr>
          <p:spPr>
            <a:xfrm>
              <a:off x="3537284" y="2141621"/>
              <a:ext cx="1804737"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矩形 25"/>
            <p:cNvSpPr/>
            <p:nvPr/>
          </p:nvSpPr>
          <p:spPr>
            <a:xfrm>
              <a:off x="3621505" y="1612232"/>
              <a:ext cx="45719" cy="625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grpSp>
        <p:nvGrpSpPr>
          <p:cNvPr id="187" name="组合 186"/>
          <p:cNvGrpSpPr/>
          <p:nvPr/>
        </p:nvGrpSpPr>
        <p:grpSpPr>
          <a:xfrm>
            <a:off x="6904980" y="1588169"/>
            <a:ext cx="2057401" cy="625642"/>
            <a:chOff x="3537284" y="1612232"/>
            <a:chExt cx="2057401" cy="625642"/>
          </a:xfrm>
        </p:grpSpPr>
        <p:cxnSp>
          <p:nvCxnSpPr>
            <p:cNvPr id="188" name="直接连接符 187"/>
            <p:cNvCxnSpPr/>
            <p:nvPr/>
          </p:nvCxnSpPr>
          <p:spPr>
            <a:xfrm>
              <a:off x="3537284" y="2141621"/>
              <a:ext cx="2057401" cy="0"/>
            </a:xfrm>
            <a:prstGeom prst="line">
              <a:avLst/>
            </a:prstGeom>
          </p:spPr>
          <p:style>
            <a:lnRef idx="1">
              <a:schemeClr val="accent1"/>
            </a:lnRef>
            <a:fillRef idx="0">
              <a:schemeClr val="accent1"/>
            </a:fillRef>
            <a:effectRef idx="0">
              <a:schemeClr val="accent1"/>
            </a:effectRef>
            <a:fontRef idx="minor">
              <a:schemeClr val="tx1"/>
            </a:fontRef>
          </p:style>
        </p:cxnSp>
        <p:sp>
          <p:nvSpPr>
            <p:cNvPr id="189" name="矩形 188"/>
            <p:cNvSpPr/>
            <p:nvPr/>
          </p:nvSpPr>
          <p:spPr>
            <a:xfrm>
              <a:off x="3621505" y="1612232"/>
              <a:ext cx="45719" cy="625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sp>
        <p:nvSpPr>
          <p:cNvPr id="190" name="time-left_183263"/>
          <p:cNvSpPr>
            <a:spLocks noChangeAspect="1"/>
          </p:cNvSpPr>
          <p:nvPr/>
        </p:nvSpPr>
        <p:spPr bwMode="auto">
          <a:xfrm>
            <a:off x="7160511" y="1638140"/>
            <a:ext cx="418238" cy="417604"/>
          </a:xfrm>
          <a:custGeom>
            <a:avLst/>
            <a:gdLst>
              <a:gd name="connsiteX0" fmla="*/ 478844 w 607639"/>
              <a:gd name="connsiteY0" fmla="*/ 289671 h 606722"/>
              <a:gd name="connsiteX1" fmla="*/ 490923 w 607639"/>
              <a:gd name="connsiteY1" fmla="*/ 301742 h 606722"/>
              <a:gd name="connsiteX2" fmla="*/ 489946 w 607639"/>
              <a:gd name="connsiteY2" fmla="*/ 321535 h 606722"/>
              <a:gd name="connsiteX3" fmla="*/ 477867 w 607639"/>
              <a:gd name="connsiteY3" fmla="*/ 332363 h 606722"/>
              <a:gd name="connsiteX4" fmla="*/ 476624 w 607639"/>
              <a:gd name="connsiteY4" fmla="*/ 332274 h 606722"/>
              <a:gd name="connsiteX5" fmla="*/ 465878 w 607639"/>
              <a:gd name="connsiteY5" fmla="*/ 318961 h 606722"/>
              <a:gd name="connsiteX6" fmla="*/ 466766 w 607639"/>
              <a:gd name="connsiteY6" fmla="*/ 301742 h 606722"/>
              <a:gd name="connsiteX7" fmla="*/ 478844 w 607639"/>
              <a:gd name="connsiteY7" fmla="*/ 289671 h 606722"/>
              <a:gd name="connsiteX8" fmla="*/ 303787 w 607639"/>
              <a:gd name="connsiteY8" fmla="*/ 287331 h 606722"/>
              <a:gd name="connsiteX9" fmla="*/ 287768 w 607639"/>
              <a:gd name="connsiteY9" fmla="*/ 303327 h 606722"/>
              <a:gd name="connsiteX10" fmla="*/ 303787 w 607639"/>
              <a:gd name="connsiteY10" fmla="*/ 319411 h 606722"/>
              <a:gd name="connsiteX11" fmla="*/ 319894 w 607639"/>
              <a:gd name="connsiteY11" fmla="*/ 303327 h 606722"/>
              <a:gd name="connsiteX12" fmla="*/ 303787 w 607639"/>
              <a:gd name="connsiteY12" fmla="*/ 287331 h 606722"/>
              <a:gd name="connsiteX13" fmla="*/ 215058 w 607639"/>
              <a:gd name="connsiteY13" fmla="*/ 125562 h 606722"/>
              <a:gd name="connsiteX14" fmla="*/ 242828 w 607639"/>
              <a:gd name="connsiteY14" fmla="*/ 129028 h 606722"/>
              <a:gd name="connsiteX15" fmla="*/ 251461 w 607639"/>
              <a:gd name="connsiteY15" fmla="*/ 149468 h 606722"/>
              <a:gd name="connsiteX16" fmla="*/ 234639 w 607639"/>
              <a:gd name="connsiteY16" fmla="*/ 171775 h 606722"/>
              <a:gd name="connsiteX17" fmla="*/ 212566 w 607639"/>
              <a:gd name="connsiteY17" fmla="*/ 169020 h 606722"/>
              <a:gd name="connsiteX18" fmla="*/ 212121 w 607639"/>
              <a:gd name="connsiteY18" fmla="*/ 167954 h 606722"/>
              <a:gd name="connsiteX19" fmla="*/ 141630 w 607639"/>
              <a:gd name="connsiteY19" fmla="*/ 301704 h 606722"/>
              <a:gd name="connsiteX20" fmla="*/ 304240 w 607639"/>
              <a:gd name="connsiteY20" fmla="*/ 464070 h 606722"/>
              <a:gd name="connsiteX21" fmla="*/ 454924 w 607639"/>
              <a:gd name="connsiteY21" fmla="*/ 362847 h 606722"/>
              <a:gd name="connsiteX22" fmla="*/ 470678 w 607639"/>
              <a:gd name="connsiteY22" fmla="*/ 356181 h 606722"/>
              <a:gd name="connsiteX23" fmla="*/ 477264 w 607639"/>
              <a:gd name="connsiteY23" fmla="*/ 371911 h 606722"/>
              <a:gd name="connsiteX24" fmla="*/ 409710 w 607639"/>
              <a:gd name="connsiteY24" fmla="*/ 455627 h 606722"/>
              <a:gd name="connsiteX25" fmla="*/ 304240 w 607639"/>
              <a:gd name="connsiteY25" fmla="*/ 488243 h 606722"/>
              <a:gd name="connsiteX26" fmla="*/ 117421 w 607639"/>
              <a:gd name="connsiteY26" fmla="*/ 301704 h 606722"/>
              <a:gd name="connsiteX27" fmla="*/ 143054 w 607639"/>
              <a:gd name="connsiteY27" fmla="*/ 207412 h 606722"/>
              <a:gd name="connsiteX28" fmla="*/ 202509 w 607639"/>
              <a:gd name="connsiteY28" fmla="*/ 145292 h 606722"/>
              <a:gd name="connsiteX29" fmla="*/ 201708 w 607639"/>
              <a:gd name="connsiteY29" fmla="*/ 143336 h 606722"/>
              <a:gd name="connsiteX30" fmla="*/ 215058 w 607639"/>
              <a:gd name="connsiteY30" fmla="*/ 125562 h 606722"/>
              <a:gd name="connsiteX31" fmla="*/ 303787 w 607639"/>
              <a:gd name="connsiteY31" fmla="*/ 100979 h 606722"/>
              <a:gd name="connsiteX32" fmla="*/ 315890 w 607639"/>
              <a:gd name="connsiteY32" fmla="*/ 113065 h 606722"/>
              <a:gd name="connsiteX33" fmla="*/ 315890 w 607639"/>
              <a:gd name="connsiteY33" fmla="*/ 265026 h 606722"/>
              <a:gd name="connsiteX34" fmla="*/ 342232 w 607639"/>
              <a:gd name="connsiteY34" fmla="*/ 291241 h 606722"/>
              <a:gd name="connsiteX35" fmla="*/ 411290 w 607639"/>
              <a:gd name="connsiteY35" fmla="*/ 291241 h 606722"/>
              <a:gd name="connsiteX36" fmla="*/ 423393 w 607639"/>
              <a:gd name="connsiteY36" fmla="*/ 303327 h 606722"/>
              <a:gd name="connsiteX37" fmla="*/ 411290 w 607639"/>
              <a:gd name="connsiteY37" fmla="*/ 315413 h 606722"/>
              <a:gd name="connsiteX38" fmla="*/ 342232 w 607639"/>
              <a:gd name="connsiteY38" fmla="*/ 315413 h 606722"/>
              <a:gd name="connsiteX39" fmla="*/ 303787 w 607639"/>
              <a:gd name="connsiteY39" fmla="*/ 343583 h 606722"/>
              <a:gd name="connsiteX40" fmla="*/ 263562 w 607639"/>
              <a:gd name="connsiteY40" fmla="*/ 303327 h 606722"/>
              <a:gd name="connsiteX41" fmla="*/ 291684 w 607639"/>
              <a:gd name="connsiteY41" fmla="*/ 265026 h 606722"/>
              <a:gd name="connsiteX42" fmla="*/ 291684 w 607639"/>
              <a:gd name="connsiteY42" fmla="*/ 113065 h 606722"/>
              <a:gd name="connsiteX43" fmla="*/ 303787 w 607639"/>
              <a:gd name="connsiteY43" fmla="*/ 100979 h 606722"/>
              <a:gd name="connsiteX44" fmla="*/ 303775 w 607639"/>
              <a:gd name="connsiteY44" fmla="*/ 81683 h 606722"/>
              <a:gd name="connsiteX45" fmla="*/ 81791 w 607639"/>
              <a:gd name="connsiteY45" fmla="*/ 303317 h 606722"/>
              <a:gd name="connsiteX46" fmla="*/ 303775 w 607639"/>
              <a:gd name="connsiteY46" fmla="*/ 525039 h 606722"/>
              <a:gd name="connsiteX47" fmla="*/ 525847 w 607639"/>
              <a:gd name="connsiteY47" fmla="*/ 303317 h 606722"/>
              <a:gd name="connsiteX48" fmla="*/ 303775 w 607639"/>
              <a:gd name="connsiteY48" fmla="*/ 81683 h 606722"/>
              <a:gd name="connsiteX49" fmla="*/ 303775 w 607639"/>
              <a:gd name="connsiteY49" fmla="*/ 57511 h 606722"/>
              <a:gd name="connsiteX50" fmla="*/ 550057 w 607639"/>
              <a:gd name="connsiteY50" fmla="*/ 303317 h 606722"/>
              <a:gd name="connsiteX51" fmla="*/ 303775 w 607639"/>
              <a:gd name="connsiteY51" fmla="*/ 549211 h 606722"/>
              <a:gd name="connsiteX52" fmla="*/ 57581 w 607639"/>
              <a:gd name="connsiteY52" fmla="*/ 303317 h 606722"/>
              <a:gd name="connsiteX53" fmla="*/ 303775 w 607639"/>
              <a:gd name="connsiteY53" fmla="*/ 57511 h 606722"/>
              <a:gd name="connsiteX54" fmla="*/ 303775 w 607639"/>
              <a:gd name="connsiteY54" fmla="*/ 24173 h 606722"/>
              <a:gd name="connsiteX55" fmla="*/ 24209 w 607639"/>
              <a:gd name="connsiteY55" fmla="*/ 303317 h 606722"/>
              <a:gd name="connsiteX56" fmla="*/ 303775 w 607639"/>
              <a:gd name="connsiteY56" fmla="*/ 582549 h 606722"/>
              <a:gd name="connsiteX57" fmla="*/ 583430 w 607639"/>
              <a:gd name="connsiteY57" fmla="*/ 303317 h 606722"/>
              <a:gd name="connsiteX58" fmla="*/ 303775 w 607639"/>
              <a:gd name="connsiteY58" fmla="*/ 24173 h 606722"/>
              <a:gd name="connsiteX59" fmla="*/ 303775 w 607639"/>
              <a:gd name="connsiteY59" fmla="*/ 0 h 606722"/>
              <a:gd name="connsiteX60" fmla="*/ 518634 w 607639"/>
              <a:gd name="connsiteY60" fmla="*/ 88871 h 606722"/>
              <a:gd name="connsiteX61" fmla="*/ 607639 w 607639"/>
              <a:gd name="connsiteY61" fmla="*/ 303317 h 606722"/>
              <a:gd name="connsiteX62" fmla="*/ 518634 w 607639"/>
              <a:gd name="connsiteY62" fmla="*/ 517851 h 606722"/>
              <a:gd name="connsiteX63" fmla="*/ 303775 w 607639"/>
              <a:gd name="connsiteY63" fmla="*/ 606722 h 606722"/>
              <a:gd name="connsiteX64" fmla="*/ 89005 w 607639"/>
              <a:gd name="connsiteY64" fmla="*/ 517851 h 606722"/>
              <a:gd name="connsiteX65" fmla="*/ 0 w 607639"/>
              <a:gd name="connsiteY65" fmla="*/ 303317 h 606722"/>
              <a:gd name="connsiteX66" fmla="*/ 89005 w 607639"/>
              <a:gd name="connsiteY66" fmla="*/ 88871 h 606722"/>
              <a:gd name="connsiteX67" fmla="*/ 303775 w 607639"/>
              <a:gd name="connsiteY6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7639" h="606722">
                <a:moveTo>
                  <a:pt x="478844" y="289671"/>
                </a:moveTo>
                <a:cubicBezTo>
                  <a:pt x="485505" y="289671"/>
                  <a:pt x="490923" y="295085"/>
                  <a:pt x="490923" y="301742"/>
                </a:cubicBezTo>
                <a:cubicBezTo>
                  <a:pt x="490923" y="308399"/>
                  <a:pt x="490568" y="315055"/>
                  <a:pt x="489946" y="321535"/>
                </a:cubicBezTo>
                <a:cubicBezTo>
                  <a:pt x="489236" y="327748"/>
                  <a:pt x="483996" y="332363"/>
                  <a:pt x="477867" y="332363"/>
                </a:cubicBezTo>
                <a:cubicBezTo>
                  <a:pt x="477512" y="332363"/>
                  <a:pt x="477068" y="332274"/>
                  <a:pt x="476624" y="332274"/>
                </a:cubicBezTo>
                <a:cubicBezTo>
                  <a:pt x="469963" y="331564"/>
                  <a:pt x="465167" y="325617"/>
                  <a:pt x="465878" y="318961"/>
                </a:cubicBezTo>
                <a:cubicBezTo>
                  <a:pt x="466499" y="313280"/>
                  <a:pt x="466766" y="307511"/>
                  <a:pt x="466766" y="301742"/>
                </a:cubicBezTo>
                <a:cubicBezTo>
                  <a:pt x="466766" y="295085"/>
                  <a:pt x="472183" y="289671"/>
                  <a:pt x="478844" y="289671"/>
                </a:cubicBezTo>
                <a:close/>
                <a:moveTo>
                  <a:pt x="303787" y="287331"/>
                </a:moveTo>
                <a:cubicBezTo>
                  <a:pt x="294976" y="287331"/>
                  <a:pt x="287768" y="294529"/>
                  <a:pt x="287768" y="303327"/>
                </a:cubicBezTo>
                <a:cubicBezTo>
                  <a:pt x="287768" y="312213"/>
                  <a:pt x="294976" y="319411"/>
                  <a:pt x="303787" y="319411"/>
                </a:cubicBezTo>
                <a:cubicBezTo>
                  <a:pt x="312686" y="319411"/>
                  <a:pt x="319894" y="312213"/>
                  <a:pt x="319894" y="303327"/>
                </a:cubicBezTo>
                <a:cubicBezTo>
                  <a:pt x="319894" y="294529"/>
                  <a:pt x="312686" y="287331"/>
                  <a:pt x="303787" y="287331"/>
                </a:cubicBezTo>
                <a:close/>
                <a:moveTo>
                  <a:pt x="215058" y="125562"/>
                </a:moveTo>
                <a:lnTo>
                  <a:pt x="242828" y="129028"/>
                </a:lnTo>
                <a:cubicBezTo>
                  <a:pt x="252618" y="130272"/>
                  <a:pt x="257424" y="141648"/>
                  <a:pt x="251461" y="149468"/>
                </a:cubicBezTo>
                <a:lnTo>
                  <a:pt x="234639" y="171775"/>
                </a:lnTo>
                <a:cubicBezTo>
                  <a:pt x="228676" y="179596"/>
                  <a:pt x="216393" y="178085"/>
                  <a:pt x="212566" y="169020"/>
                </a:cubicBezTo>
                <a:lnTo>
                  <a:pt x="212121" y="167954"/>
                </a:lnTo>
                <a:cubicBezTo>
                  <a:pt x="168331" y="198081"/>
                  <a:pt x="141630" y="248293"/>
                  <a:pt x="141630" y="301704"/>
                </a:cubicBezTo>
                <a:cubicBezTo>
                  <a:pt x="141630" y="391285"/>
                  <a:pt x="214524" y="464070"/>
                  <a:pt x="304240" y="464070"/>
                </a:cubicBezTo>
                <a:cubicBezTo>
                  <a:pt x="370726" y="464070"/>
                  <a:pt x="429825" y="424345"/>
                  <a:pt x="454924" y="362847"/>
                </a:cubicBezTo>
                <a:cubicBezTo>
                  <a:pt x="457416" y="356626"/>
                  <a:pt x="464447" y="353693"/>
                  <a:pt x="470678" y="356181"/>
                </a:cubicBezTo>
                <a:cubicBezTo>
                  <a:pt x="476819" y="358670"/>
                  <a:pt x="479845" y="365779"/>
                  <a:pt x="477264" y="371911"/>
                </a:cubicBezTo>
                <a:cubicBezTo>
                  <a:pt x="463468" y="405860"/>
                  <a:pt x="440060" y="434832"/>
                  <a:pt x="409710" y="455627"/>
                </a:cubicBezTo>
                <a:cubicBezTo>
                  <a:pt x="378559" y="476956"/>
                  <a:pt x="342067" y="488243"/>
                  <a:pt x="304240" y="488243"/>
                </a:cubicBezTo>
                <a:cubicBezTo>
                  <a:pt x="201174" y="488243"/>
                  <a:pt x="117421" y="404616"/>
                  <a:pt x="117421" y="301704"/>
                </a:cubicBezTo>
                <a:cubicBezTo>
                  <a:pt x="117421" y="268555"/>
                  <a:pt x="126321" y="235940"/>
                  <a:pt x="143054" y="207412"/>
                </a:cubicBezTo>
                <a:cubicBezTo>
                  <a:pt x="157740" y="182351"/>
                  <a:pt x="178211" y="161111"/>
                  <a:pt x="202509" y="145292"/>
                </a:cubicBezTo>
                <a:lnTo>
                  <a:pt x="201708" y="143336"/>
                </a:lnTo>
                <a:cubicBezTo>
                  <a:pt x="197792" y="134272"/>
                  <a:pt x="205268" y="124407"/>
                  <a:pt x="215058" y="125562"/>
                </a:cubicBezTo>
                <a:close/>
                <a:moveTo>
                  <a:pt x="303787" y="100979"/>
                </a:moveTo>
                <a:cubicBezTo>
                  <a:pt x="310461" y="100979"/>
                  <a:pt x="315890" y="106311"/>
                  <a:pt x="315890" y="113065"/>
                </a:cubicBezTo>
                <a:lnTo>
                  <a:pt x="315890" y="265026"/>
                </a:lnTo>
                <a:cubicBezTo>
                  <a:pt x="328349" y="268936"/>
                  <a:pt x="338227" y="278800"/>
                  <a:pt x="342232" y="291241"/>
                </a:cubicBezTo>
                <a:lnTo>
                  <a:pt x="411290" y="291241"/>
                </a:lnTo>
                <a:cubicBezTo>
                  <a:pt x="417964" y="291241"/>
                  <a:pt x="423393" y="296662"/>
                  <a:pt x="423393" y="303327"/>
                </a:cubicBezTo>
                <a:cubicBezTo>
                  <a:pt x="423393" y="309992"/>
                  <a:pt x="417964" y="315413"/>
                  <a:pt x="411290" y="315413"/>
                </a:cubicBezTo>
                <a:lnTo>
                  <a:pt x="342232" y="315413"/>
                </a:lnTo>
                <a:cubicBezTo>
                  <a:pt x="337070" y="331675"/>
                  <a:pt x="321763" y="343583"/>
                  <a:pt x="303787" y="343583"/>
                </a:cubicBezTo>
                <a:cubicBezTo>
                  <a:pt x="281628" y="343583"/>
                  <a:pt x="263562" y="325543"/>
                  <a:pt x="263562" y="303327"/>
                </a:cubicBezTo>
                <a:cubicBezTo>
                  <a:pt x="263562" y="285376"/>
                  <a:pt x="275398" y="270180"/>
                  <a:pt x="291684" y="265026"/>
                </a:cubicBezTo>
                <a:lnTo>
                  <a:pt x="291684" y="113065"/>
                </a:lnTo>
                <a:cubicBezTo>
                  <a:pt x="291684" y="106311"/>
                  <a:pt x="297112" y="100979"/>
                  <a:pt x="303787" y="100979"/>
                </a:cubicBezTo>
                <a:close/>
                <a:moveTo>
                  <a:pt x="303775" y="81683"/>
                </a:moveTo>
                <a:cubicBezTo>
                  <a:pt x="181390" y="81683"/>
                  <a:pt x="81791" y="181125"/>
                  <a:pt x="81791" y="303317"/>
                </a:cubicBezTo>
                <a:cubicBezTo>
                  <a:pt x="81791" y="425597"/>
                  <a:pt x="181390" y="525039"/>
                  <a:pt x="303775" y="525039"/>
                </a:cubicBezTo>
                <a:cubicBezTo>
                  <a:pt x="426248" y="525039"/>
                  <a:pt x="525847" y="425597"/>
                  <a:pt x="525847" y="303317"/>
                </a:cubicBezTo>
                <a:cubicBezTo>
                  <a:pt x="525847" y="181125"/>
                  <a:pt x="426248" y="81683"/>
                  <a:pt x="303775" y="81683"/>
                </a:cubicBezTo>
                <a:close/>
                <a:moveTo>
                  <a:pt x="303775" y="57511"/>
                </a:moveTo>
                <a:cubicBezTo>
                  <a:pt x="439599" y="57511"/>
                  <a:pt x="550057" y="167795"/>
                  <a:pt x="550057" y="303317"/>
                </a:cubicBezTo>
                <a:cubicBezTo>
                  <a:pt x="550057" y="438927"/>
                  <a:pt x="439599" y="549211"/>
                  <a:pt x="303775" y="549211"/>
                </a:cubicBezTo>
                <a:cubicBezTo>
                  <a:pt x="168039" y="549211"/>
                  <a:pt x="57581" y="438927"/>
                  <a:pt x="57581" y="303317"/>
                </a:cubicBezTo>
                <a:cubicBezTo>
                  <a:pt x="57581" y="167795"/>
                  <a:pt x="168039" y="57511"/>
                  <a:pt x="303775" y="57511"/>
                </a:cubicBezTo>
                <a:close/>
                <a:moveTo>
                  <a:pt x="303775" y="24173"/>
                </a:moveTo>
                <a:cubicBezTo>
                  <a:pt x="149618" y="24173"/>
                  <a:pt x="24209" y="149392"/>
                  <a:pt x="24209" y="303317"/>
                </a:cubicBezTo>
                <a:cubicBezTo>
                  <a:pt x="24209" y="457241"/>
                  <a:pt x="149618" y="582549"/>
                  <a:pt x="303775" y="582549"/>
                </a:cubicBezTo>
                <a:cubicBezTo>
                  <a:pt x="457932" y="582549"/>
                  <a:pt x="583430" y="457241"/>
                  <a:pt x="583430" y="303317"/>
                </a:cubicBezTo>
                <a:cubicBezTo>
                  <a:pt x="583430" y="149392"/>
                  <a:pt x="457932" y="24173"/>
                  <a:pt x="303775" y="24173"/>
                </a:cubicBezTo>
                <a:close/>
                <a:moveTo>
                  <a:pt x="303775" y="0"/>
                </a:moveTo>
                <a:cubicBezTo>
                  <a:pt x="384948" y="0"/>
                  <a:pt x="461225" y="31549"/>
                  <a:pt x="518634" y="88871"/>
                </a:cubicBezTo>
                <a:cubicBezTo>
                  <a:pt x="576042" y="146104"/>
                  <a:pt x="607639" y="222355"/>
                  <a:pt x="607639" y="303317"/>
                </a:cubicBezTo>
                <a:cubicBezTo>
                  <a:pt x="607639" y="384367"/>
                  <a:pt x="576042" y="460529"/>
                  <a:pt x="518634" y="517851"/>
                </a:cubicBezTo>
                <a:cubicBezTo>
                  <a:pt x="461225" y="575173"/>
                  <a:pt x="384948" y="606722"/>
                  <a:pt x="303775" y="606722"/>
                </a:cubicBezTo>
                <a:cubicBezTo>
                  <a:pt x="222691" y="606722"/>
                  <a:pt x="146325" y="575173"/>
                  <a:pt x="89005" y="517851"/>
                </a:cubicBezTo>
                <a:cubicBezTo>
                  <a:pt x="31597" y="460529"/>
                  <a:pt x="0" y="384367"/>
                  <a:pt x="0" y="303317"/>
                </a:cubicBezTo>
                <a:cubicBezTo>
                  <a:pt x="0" y="222355"/>
                  <a:pt x="31597" y="146104"/>
                  <a:pt x="89005" y="88871"/>
                </a:cubicBezTo>
                <a:cubicBezTo>
                  <a:pt x="146325" y="31549"/>
                  <a:pt x="222691" y="0"/>
                  <a:pt x="303775" y="0"/>
                </a:cubicBezTo>
                <a:close/>
              </a:path>
            </a:pathLst>
          </a:custGeom>
          <a:solidFill>
            <a:schemeClr val="accent1"/>
          </a:solidFill>
          <a:ln>
            <a:noFill/>
          </a:ln>
        </p:spPr>
      </p:sp>
      <p:grpSp>
        <p:nvGrpSpPr>
          <p:cNvPr id="191" name="组合 190"/>
          <p:cNvGrpSpPr/>
          <p:nvPr/>
        </p:nvGrpSpPr>
        <p:grpSpPr>
          <a:xfrm>
            <a:off x="3259412" y="2358190"/>
            <a:ext cx="1804737" cy="625642"/>
            <a:chOff x="3537284" y="1612232"/>
            <a:chExt cx="1804737" cy="625642"/>
          </a:xfrm>
        </p:grpSpPr>
        <p:cxnSp>
          <p:nvCxnSpPr>
            <p:cNvPr id="192" name="直接连接符 191"/>
            <p:cNvCxnSpPr/>
            <p:nvPr/>
          </p:nvCxnSpPr>
          <p:spPr>
            <a:xfrm>
              <a:off x="3537284" y="2141621"/>
              <a:ext cx="1804737" cy="0"/>
            </a:xfrm>
            <a:prstGeom prst="line">
              <a:avLst/>
            </a:prstGeom>
          </p:spPr>
          <p:style>
            <a:lnRef idx="1">
              <a:schemeClr val="accent1"/>
            </a:lnRef>
            <a:fillRef idx="0">
              <a:schemeClr val="accent1"/>
            </a:fillRef>
            <a:effectRef idx="0">
              <a:schemeClr val="accent1"/>
            </a:effectRef>
            <a:fontRef idx="minor">
              <a:schemeClr val="tx1"/>
            </a:fontRef>
          </p:style>
        </p:cxnSp>
        <p:sp>
          <p:nvSpPr>
            <p:cNvPr id="193" name="矩形 192"/>
            <p:cNvSpPr/>
            <p:nvPr/>
          </p:nvSpPr>
          <p:spPr>
            <a:xfrm>
              <a:off x="3621505" y="1612232"/>
              <a:ext cx="45719" cy="625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grpSp>
        <p:nvGrpSpPr>
          <p:cNvPr id="194" name="组合 193"/>
          <p:cNvGrpSpPr/>
          <p:nvPr/>
        </p:nvGrpSpPr>
        <p:grpSpPr>
          <a:xfrm>
            <a:off x="3259412" y="3272590"/>
            <a:ext cx="1804737" cy="625642"/>
            <a:chOff x="3537284" y="1612232"/>
            <a:chExt cx="1804737" cy="625642"/>
          </a:xfrm>
        </p:grpSpPr>
        <p:cxnSp>
          <p:nvCxnSpPr>
            <p:cNvPr id="195" name="直接连接符 194"/>
            <p:cNvCxnSpPr/>
            <p:nvPr/>
          </p:nvCxnSpPr>
          <p:spPr>
            <a:xfrm>
              <a:off x="3537284" y="2141621"/>
              <a:ext cx="1804737" cy="0"/>
            </a:xfrm>
            <a:prstGeom prst="line">
              <a:avLst/>
            </a:prstGeom>
          </p:spPr>
          <p:style>
            <a:lnRef idx="1">
              <a:schemeClr val="accent1"/>
            </a:lnRef>
            <a:fillRef idx="0">
              <a:schemeClr val="accent1"/>
            </a:fillRef>
            <a:effectRef idx="0">
              <a:schemeClr val="accent1"/>
            </a:effectRef>
            <a:fontRef idx="minor">
              <a:schemeClr val="tx1"/>
            </a:fontRef>
          </p:style>
        </p:cxnSp>
        <p:sp>
          <p:nvSpPr>
            <p:cNvPr id="196" name="矩形 195"/>
            <p:cNvSpPr/>
            <p:nvPr/>
          </p:nvSpPr>
          <p:spPr>
            <a:xfrm>
              <a:off x="3621505" y="1612232"/>
              <a:ext cx="45719" cy="625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sp>
        <p:nvSpPr>
          <p:cNvPr id="8" name="矩形 7"/>
          <p:cNvSpPr/>
          <p:nvPr/>
        </p:nvSpPr>
        <p:spPr>
          <a:xfrm>
            <a:off x="5420430" y="1702167"/>
            <a:ext cx="1242648" cy="369332"/>
          </a:xfrm>
          <a:prstGeom prst="rect">
            <a:avLst/>
          </a:prstGeom>
        </p:spPr>
        <p:txBody>
          <a:bodyPr wrap="none">
            <a:noAutofit/>
          </a:bodyPr>
          <a:lstStyle/>
          <a:p>
            <a:pPr algn="ctr"/>
            <a:r>
              <a:rPr lang="en-US" altLang="zh-CN" dirty="0" smtClean="0">
                <a:solidFill>
                  <a:srgbClr val="000000"/>
                </a:solidFill>
                <a:effectLst>
                  <a:glow rad="127000">
                    <a:srgbClr val="FFFFFF"/>
                  </a:glow>
                </a:effectLst>
              </a:rPr>
              <a:t>XX</a:t>
            </a:r>
            <a:endParaRPr lang="zh-CN" altLang="en-US" dirty="0">
              <a:solidFill>
                <a:srgbClr val="000000"/>
              </a:solidFill>
              <a:effectLst>
                <a:glow rad="127000">
                  <a:srgbClr val="FFFFFF"/>
                </a:glow>
              </a:effectLst>
            </a:endParaRPr>
          </a:p>
        </p:txBody>
      </p:sp>
      <p:sp>
        <p:nvSpPr>
          <p:cNvPr id="200" name="右箭头 199"/>
          <p:cNvSpPr/>
          <p:nvPr/>
        </p:nvSpPr>
        <p:spPr>
          <a:xfrm>
            <a:off x="5100243" y="2442410"/>
            <a:ext cx="1840832" cy="348916"/>
          </a:xfrm>
          <a:prstGeom prst="rightArrow">
            <a:avLst/>
          </a:prstGeom>
          <a:gradFill flip="none" rotWithShape="1">
            <a:gsLst>
              <a:gs pos="78000">
                <a:schemeClr val="accent1">
                  <a:lumMod val="75000"/>
                </a:schemeClr>
              </a:gs>
              <a:gs pos="0">
                <a:schemeClr val="accent1">
                  <a:lumMod val="20000"/>
                  <a:lumOff val="80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nvGrpSpPr>
          <p:cNvPr id="201" name="组合 200"/>
          <p:cNvGrpSpPr/>
          <p:nvPr/>
        </p:nvGrpSpPr>
        <p:grpSpPr>
          <a:xfrm>
            <a:off x="6904980" y="2358190"/>
            <a:ext cx="2057401" cy="625642"/>
            <a:chOff x="3537284" y="1612232"/>
            <a:chExt cx="2057401" cy="625642"/>
          </a:xfrm>
        </p:grpSpPr>
        <p:cxnSp>
          <p:nvCxnSpPr>
            <p:cNvPr id="202" name="直接连接符 201"/>
            <p:cNvCxnSpPr/>
            <p:nvPr/>
          </p:nvCxnSpPr>
          <p:spPr>
            <a:xfrm>
              <a:off x="3537284" y="2141621"/>
              <a:ext cx="2057401" cy="0"/>
            </a:xfrm>
            <a:prstGeom prst="line">
              <a:avLst/>
            </a:prstGeom>
          </p:spPr>
          <p:style>
            <a:lnRef idx="1">
              <a:schemeClr val="accent1"/>
            </a:lnRef>
            <a:fillRef idx="0">
              <a:schemeClr val="accent1"/>
            </a:fillRef>
            <a:effectRef idx="0">
              <a:schemeClr val="accent1"/>
            </a:effectRef>
            <a:fontRef idx="minor">
              <a:schemeClr val="tx1"/>
            </a:fontRef>
          </p:style>
        </p:cxnSp>
        <p:sp>
          <p:nvSpPr>
            <p:cNvPr id="203" name="矩形 202"/>
            <p:cNvSpPr/>
            <p:nvPr/>
          </p:nvSpPr>
          <p:spPr>
            <a:xfrm>
              <a:off x="3621505" y="1612232"/>
              <a:ext cx="45719" cy="625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grpSp>
        <p:nvGrpSpPr>
          <p:cNvPr id="204" name="组合 203"/>
          <p:cNvGrpSpPr/>
          <p:nvPr/>
        </p:nvGrpSpPr>
        <p:grpSpPr>
          <a:xfrm>
            <a:off x="6904980" y="3272590"/>
            <a:ext cx="2057401" cy="625642"/>
            <a:chOff x="3537284" y="1612232"/>
            <a:chExt cx="2057401" cy="625642"/>
          </a:xfrm>
        </p:grpSpPr>
        <p:cxnSp>
          <p:nvCxnSpPr>
            <p:cNvPr id="205" name="直接连接符 204"/>
            <p:cNvCxnSpPr/>
            <p:nvPr/>
          </p:nvCxnSpPr>
          <p:spPr>
            <a:xfrm>
              <a:off x="3537284" y="2141621"/>
              <a:ext cx="2057401" cy="0"/>
            </a:xfrm>
            <a:prstGeom prst="line">
              <a:avLst/>
            </a:prstGeom>
          </p:spPr>
          <p:style>
            <a:lnRef idx="1">
              <a:schemeClr val="accent1"/>
            </a:lnRef>
            <a:fillRef idx="0">
              <a:schemeClr val="accent1"/>
            </a:fillRef>
            <a:effectRef idx="0">
              <a:schemeClr val="accent1"/>
            </a:effectRef>
            <a:fontRef idx="minor">
              <a:schemeClr val="tx1"/>
            </a:fontRef>
          </p:style>
        </p:cxnSp>
        <p:sp>
          <p:nvSpPr>
            <p:cNvPr id="206" name="矩形 205"/>
            <p:cNvSpPr/>
            <p:nvPr/>
          </p:nvSpPr>
          <p:spPr>
            <a:xfrm>
              <a:off x="3621505" y="1612232"/>
              <a:ext cx="45719" cy="625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sp>
        <p:nvSpPr>
          <p:cNvPr id="210" name="右箭头 209"/>
          <p:cNvSpPr/>
          <p:nvPr/>
        </p:nvSpPr>
        <p:spPr>
          <a:xfrm>
            <a:off x="5100243" y="3338409"/>
            <a:ext cx="1840832" cy="348916"/>
          </a:xfrm>
          <a:prstGeom prst="rightArrow">
            <a:avLst/>
          </a:prstGeom>
          <a:gradFill flip="none" rotWithShape="1">
            <a:gsLst>
              <a:gs pos="78000">
                <a:schemeClr val="accent1">
                  <a:lumMod val="75000"/>
                </a:schemeClr>
              </a:gs>
              <a:gs pos="0">
                <a:schemeClr val="accent1">
                  <a:lumMod val="20000"/>
                  <a:lumOff val="80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211" name="矩形 210"/>
          <p:cNvSpPr/>
          <p:nvPr/>
        </p:nvSpPr>
        <p:spPr>
          <a:xfrm>
            <a:off x="5420430" y="3329261"/>
            <a:ext cx="1242648" cy="369332"/>
          </a:xfrm>
          <a:prstGeom prst="rect">
            <a:avLst/>
          </a:prstGeom>
        </p:spPr>
        <p:txBody>
          <a:bodyPr wrap="none">
            <a:noAutofit/>
          </a:bodyPr>
          <a:lstStyle/>
          <a:p>
            <a:pPr algn="ctr"/>
            <a:r>
              <a:rPr lang="en-US" altLang="zh-CN" dirty="0" smtClean="0">
                <a:solidFill>
                  <a:srgbClr val="000000"/>
                </a:solidFill>
                <a:effectLst>
                  <a:glow rad="127000">
                    <a:srgbClr val="FFFFFF"/>
                  </a:glow>
                </a:effectLst>
              </a:rPr>
              <a:t>XX</a:t>
            </a:r>
            <a:endParaRPr lang="zh-CN" altLang="en-US" dirty="0">
              <a:solidFill>
                <a:srgbClr val="000000"/>
              </a:solidFill>
              <a:effectLst>
                <a:glow rad="127000">
                  <a:srgbClr val="FFFFFF"/>
                </a:glow>
              </a:effectLst>
            </a:endParaRPr>
          </a:p>
        </p:txBody>
      </p:sp>
      <p:grpSp>
        <p:nvGrpSpPr>
          <p:cNvPr id="47" name="组合 46"/>
          <p:cNvGrpSpPr/>
          <p:nvPr/>
        </p:nvGrpSpPr>
        <p:grpSpPr>
          <a:xfrm>
            <a:off x="3259412" y="4006516"/>
            <a:ext cx="5842443" cy="625642"/>
            <a:chOff x="3477126" y="4006516"/>
            <a:chExt cx="5842443" cy="625642"/>
          </a:xfrm>
        </p:grpSpPr>
        <p:sp>
          <p:nvSpPr>
            <p:cNvPr id="64" name="矩形 63"/>
            <p:cNvSpPr/>
            <p:nvPr/>
          </p:nvSpPr>
          <p:spPr>
            <a:xfrm>
              <a:off x="4266438" y="4023361"/>
              <a:ext cx="1171838" cy="441063"/>
            </a:xfrm>
            <a:prstGeom prst="rect">
              <a:avLst/>
            </a:prstGeom>
            <a:noFill/>
            <a:ln w="9525">
              <a:noFill/>
              <a:round/>
            </a:ln>
            <a:extLst>
              <a:ext uri="{909E8E84-426E-40DD-AFC4-6F175D3DCCD1}">
                <a14:hiddenFill xmlns:a14="http://schemas.microsoft.com/office/drawing/2010/main">
                  <a:gradFill>
                    <a:gsLst>
                      <a:gs pos="0">
                        <a:schemeClr val="bg1"/>
                      </a:gs>
                      <a:gs pos="50000">
                        <a:schemeClr val="bg1">
                          <a:lumMod val="85000"/>
                        </a:schemeClr>
                      </a:gs>
                    </a:gsLst>
                    <a:lin ang="5400000" scaled="0"/>
                  </a:gradFill>
                </a14:hiddenFill>
              </a:ext>
            </a:extLst>
          </p:spPr>
          <p:txBody>
            <a:bodyPr lIns="0" rIns="0" anchor="ctr"/>
            <a:lstStyle/>
            <a:p>
              <a:r>
                <a:rPr lang="en-US" altLang="zh-CN" dirty="0" smtClean="0">
                  <a:solidFill>
                    <a:srgbClr val="000000"/>
                  </a:solidFill>
                </a:rPr>
                <a:t>XX</a:t>
              </a:r>
              <a:endParaRPr lang="zh-CN" altLang="en-US" dirty="0">
                <a:solidFill>
                  <a:srgbClr val="000000"/>
                </a:solidFill>
              </a:endParaRPr>
            </a:p>
          </p:txBody>
        </p:sp>
        <p:sp>
          <p:nvSpPr>
            <p:cNvPr id="65" name="矩形 64"/>
            <p:cNvSpPr/>
            <p:nvPr/>
          </p:nvSpPr>
          <p:spPr>
            <a:xfrm>
              <a:off x="7901345" y="4023361"/>
              <a:ext cx="1418224" cy="441063"/>
            </a:xfrm>
            <a:prstGeom prst="rect">
              <a:avLst/>
            </a:prstGeom>
            <a:noFill/>
            <a:ln w="9525">
              <a:noFill/>
              <a:round/>
            </a:ln>
            <a:extLst>
              <a:ext uri="{909E8E84-426E-40DD-AFC4-6F175D3DCCD1}">
                <a14:hiddenFill xmlns:a14="http://schemas.microsoft.com/office/drawing/2010/main">
                  <a:gradFill>
                    <a:gsLst>
                      <a:gs pos="0">
                        <a:schemeClr val="bg1"/>
                      </a:gs>
                      <a:gs pos="50000">
                        <a:schemeClr val="bg1">
                          <a:lumMod val="85000"/>
                        </a:schemeClr>
                      </a:gs>
                    </a:gsLst>
                    <a:lin ang="5400000" scaled="0"/>
                  </a:gradFill>
                </a14:hiddenFill>
              </a:ext>
            </a:extLst>
          </p:spPr>
          <p:txBody>
            <a:bodyPr anchor="ctr"/>
            <a:lstStyle/>
            <a:p>
              <a:r>
                <a:rPr lang="en-US" altLang="zh-CN" dirty="0" smtClean="0">
                  <a:solidFill>
                    <a:srgbClr val="000000"/>
                  </a:solidFill>
                </a:rPr>
                <a:t>XX</a:t>
              </a:r>
              <a:endParaRPr lang="zh-CN" altLang="en-US" dirty="0">
                <a:solidFill>
                  <a:srgbClr val="000000"/>
                </a:solidFill>
              </a:endParaRPr>
            </a:p>
          </p:txBody>
        </p:sp>
        <p:grpSp>
          <p:nvGrpSpPr>
            <p:cNvPr id="197" name="组合 196"/>
            <p:cNvGrpSpPr/>
            <p:nvPr/>
          </p:nvGrpSpPr>
          <p:grpSpPr>
            <a:xfrm>
              <a:off x="3477126" y="4006516"/>
              <a:ext cx="1804737" cy="625642"/>
              <a:chOff x="3537284" y="1612232"/>
              <a:chExt cx="1804737" cy="625642"/>
            </a:xfrm>
          </p:grpSpPr>
          <p:cxnSp>
            <p:nvCxnSpPr>
              <p:cNvPr id="198" name="直接连接符 197"/>
              <p:cNvCxnSpPr/>
              <p:nvPr/>
            </p:nvCxnSpPr>
            <p:spPr>
              <a:xfrm>
                <a:off x="3537284" y="2141621"/>
                <a:ext cx="1804737" cy="0"/>
              </a:xfrm>
              <a:prstGeom prst="line">
                <a:avLst/>
              </a:prstGeom>
            </p:spPr>
            <p:style>
              <a:lnRef idx="1">
                <a:schemeClr val="accent1"/>
              </a:lnRef>
              <a:fillRef idx="0">
                <a:schemeClr val="accent1"/>
              </a:fillRef>
              <a:effectRef idx="0">
                <a:schemeClr val="accent1"/>
              </a:effectRef>
              <a:fontRef idx="minor">
                <a:schemeClr val="tx1"/>
              </a:fontRef>
            </p:style>
          </p:cxnSp>
          <p:sp>
            <p:nvSpPr>
              <p:cNvPr id="199" name="矩形 198"/>
              <p:cNvSpPr/>
              <p:nvPr/>
            </p:nvSpPr>
            <p:spPr>
              <a:xfrm>
                <a:off x="3621505" y="1612232"/>
                <a:ext cx="45719" cy="625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grpSp>
          <p:nvGrpSpPr>
            <p:cNvPr id="207" name="组合 206"/>
            <p:cNvGrpSpPr/>
            <p:nvPr/>
          </p:nvGrpSpPr>
          <p:grpSpPr>
            <a:xfrm>
              <a:off x="7122694" y="4006516"/>
              <a:ext cx="2057401" cy="625642"/>
              <a:chOff x="3537284" y="1612232"/>
              <a:chExt cx="2057401" cy="625642"/>
            </a:xfrm>
          </p:grpSpPr>
          <p:cxnSp>
            <p:nvCxnSpPr>
              <p:cNvPr id="208" name="直接连接符 207"/>
              <p:cNvCxnSpPr/>
              <p:nvPr/>
            </p:nvCxnSpPr>
            <p:spPr>
              <a:xfrm>
                <a:off x="3537284" y="2141621"/>
                <a:ext cx="2057401" cy="0"/>
              </a:xfrm>
              <a:prstGeom prst="line">
                <a:avLst/>
              </a:prstGeom>
            </p:spPr>
            <p:style>
              <a:lnRef idx="1">
                <a:schemeClr val="accent1"/>
              </a:lnRef>
              <a:fillRef idx="0">
                <a:schemeClr val="accent1"/>
              </a:fillRef>
              <a:effectRef idx="0">
                <a:schemeClr val="accent1"/>
              </a:effectRef>
              <a:fontRef idx="minor">
                <a:schemeClr val="tx1"/>
              </a:fontRef>
            </p:style>
          </p:cxnSp>
          <p:sp>
            <p:nvSpPr>
              <p:cNvPr id="209" name="矩形 208"/>
              <p:cNvSpPr/>
              <p:nvPr/>
            </p:nvSpPr>
            <p:spPr>
              <a:xfrm>
                <a:off x="3621505" y="1612232"/>
                <a:ext cx="45719" cy="625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sp>
          <p:nvSpPr>
            <p:cNvPr id="212" name="右箭头 211"/>
            <p:cNvSpPr/>
            <p:nvPr/>
          </p:nvSpPr>
          <p:spPr>
            <a:xfrm>
              <a:off x="5317957" y="4091445"/>
              <a:ext cx="1840832" cy="348916"/>
            </a:xfrm>
            <a:prstGeom prst="rightArrow">
              <a:avLst/>
            </a:prstGeom>
            <a:gradFill flip="none" rotWithShape="1">
              <a:gsLst>
                <a:gs pos="78000">
                  <a:schemeClr val="accent1">
                    <a:lumMod val="75000"/>
                  </a:schemeClr>
                </a:gs>
                <a:gs pos="0">
                  <a:schemeClr val="accent1">
                    <a:lumMod val="20000"/>
                    <a:lumOff val="80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213" name="矩形 212"/>
            <p:cNvSpPr/>
            <p:nvPr/>
          </p:nvSpPr>
          <p:spPr>
            <a:xfrm>
              <a:off x="5486400" y="4082297"/>
              <a:ext cx="1546136" cy="369332"/>
            </a:xfrm>
            <a:prstGeom prst="rect">
              <a:avLst/>
            </a:prstGeom>
          </p:spPr>
          <p:txBody>
            <a:bodyPr wrap="none">
              <a:noAutofit/>
            </a:bodyPr>
            <a:lstStyle/>
            <a:p>
              <a:pPr algn="ctr"/>
              <a:r>
                <a:rPr lang="en-US" altLang="zh-CN" dirty="0" smtClean="0">
                  <a:solidFill>
                    <a:srgbClr val="000000"/>
                  </a:solidFill>
                  <a:effectLst>
                    <a:glow rad="127000">
                      <a:srgbClr val="FFFFFF"/>
                    </a:glow>
                  </a:effectLst>
                </a:rPr>
                <a:t>XX</a:t>
              </a:r>
              <a:endParaRPr lang="zh-CN" altLang="en-US" dirty="0">
                <a:solidFill>
                  <a:srgbClr val="000000"/>
                </a:solidFill>
                <a:effectLst>
                  <a:glow rad="127000">
                    <a:srgbClr val="FFFFFF"/>
                  </a:glow>
                </a:effectLst>
              </a:endParaRPr>
            </a:p>
          </p:txBody>
        </p:sp>
        <p:sp>
          <p:nvSpPr>
            <p:cNvPr id="232" name="任意多边形 231"/>
            <p:cNvSpPr/>
            <p:nvPr/>
          </p:nvSpPr>
          <p:spPr bwMode="auto">
            <a:xfrm>
              <a:off x="7431510" y="4045953"/>
              <a:ext cx="385938" cy="385938"/>
            </a:xfrm>
            <a:custGeom>
              <a:avLst/>
              <a:gdLst>
                <a:gd name="connsiteX0" fmla="*/ 269265 w 538529"/>
                <a:gd name="connsiteY0" fmla="*/ 0 h 538529"/>
                <a:gd name="connsiteX1" fmla="*/ 285593 w 538529"/>
                <a:gd name="connsiteY1" fmla="*/ 471 h 538529"/>
                <a:gd name="connsiteX2" fmla="*/ 301922 w 538529"/>
                <a:gd name="connsiteY2" fmla="*/ 2042 h 538529"/>
                <a:gd name="connsiteX3" fmla="*/ 317622 w 538529"/>
                <a:gd name="connsiteY3" fmla="*/ 4399 h 538529"/>
                <a:gd name="connsiteX4" fmla="*/ 333166 w 538529"/>
                <a:gd name="connsiteY4" fmla="*/ 7698 h 538529"/>
                <a:gd name="connsiteX5" fmla="*/ 348395 w 538529"/>
                <a:gd name="connsiteY5" fmla="*/ 11782 h 538529"/>
                <a:gd name="connsiteX6" fmla="*/ 363154 w 538529"/>
                <a:gd name="connsiteY6" fmla="*/ 16967 h 538529"/>
                <a:gd name="connsiteX7" fmla="*/ 377598 w 538529"/>
                <a:gd name="connsiteY7" fmla="*/ 22779 h 538529"/>
                <a:gd name="connsiteX8" fmla="*/ 391572 w 538529"/>
                <a:gd name="connsiteY8" fmla="*/ 29377 h 538529"/>
                <a:gd name="connsiteX9" fmla="*/ 405231 w 538529"/>
                <a:gd name="connsiteY9" fmla="*/ 36918 h 538529"/>
                <a:gd name="connsiteX10" fmla="*/ 418263 w 538529"/>
                <a:gd name="connsiteY10" fmla="*/ 44930 h 538529"/>
                <a:gd name="connsiteX11" fmla="*/ 430666 w 538529"/>
                <a:gd name="connsiteY11" fmla="*/ 53884 h 538529"/>
                <a:gd name="connsiteX12" fmla="*/ 442756 w 538529"/>
                <a:gd name="connsiteY12" fmla="*/ 63467 h 538529"/>
                <a:gd name="connsiteX13" fmla="*/ 454217 w 538529"/>
                <a:gd name="connsiteY13" fmla="*/ 73679 h 538529"/>
                <a:gd name="connsiteX14" fmla="*/ 465051 w 538529"/>
                <a:gd name="connsiteY14" fmla="*/ 84518 h 538529"/>
                <a:gd name="connsiteX15" fmla="*/ 475256 w 538529"/>
                <a:gd name="connsiteY15" fmla="*/ 95829 h 538529"/>
                <a:gd name="connsiteX16" fmla="*/ 484676 w 538529"/>
                <a:gd name="connsiteY16" fmla="*/ 107926 h 538529"/>
                <a:gd name="connsiteX17" fmla="*/ 493469 w 538529"/>
                <a:gd name="connsiteY17" fmla="*/ 120337 h 538529"/>
                <a:gd name="connsiteX18" fmla="*/ 501790 w 538529"/>
                <a:gd name="connsiteY18" fmla="*/ 133533 h 538529"/>
                <a:gd name="connsiteX19" fmla="*/ 509169 w 538529"/>
                <a:gd name="connsiteY19" fmla="*/ 146886 h 538529"/>
                <a:gd name="connsiteX20" fmla="*/ 515920 w 538529"/>
                <a:gd name="connsiteY20" fmla="*/ 161025 h 538529"/>
                <a:gd name="connsiteX21" fmla="*/ 521730 w 538529"/>
                <a:gd name="connsiteY21" fmla="*/ 175321 h 538529"/>
                <a:gd name="connsiteX22" fmla="*/ 526597 w 538529"/>
                <a:gd name="connsiteY22" fmla="*/ 190245 h 538529"/>
                <a:gd name="connsiteX23" fmla="*/ 530993 w 538529"/>
                <a:gd name="connsiteY23" fmla="*/ 205326 h 538529"/>
                <a:gd name="connsiteX24" fmla="*/ 534133 w 538529"/>
                <a:gd name="connsiteY24" fmla="*/ 220879 h 538529"/>
                <a:gd name="connsiteX25" fmla="*/ 536488 w 538529"/>
                <a:gd name="connsiteY25" fmla="*/ 236746 h 538529"/>
                <a:gd name="connsiteX26" fmla="*/ 538058 w 538529"/>
                <a:gd name="connsiteY26" fmla="*/ 252927 h 538529"/>
                <a:gd name="connsiteX27" fmla="*/ 538529 w 538529"/>
                <a:gd name="connsiteY27" fmla="*/ 269265 h 538529"/>
                <a:gd name="connsiteX28" fmla="*/ 538058 w 538529"/>
                <a:gd name="connsiteY28" fmla="*/ 285603 h 538529"/>
                <a:gd name="connsiteX29" fmla="*/ 536488 w 538529"/>
                <a:gd name="connsiteY29" fmla="*/ 301941 h 538529"/>
                <a:gd name="connsiteX30" fmla="*/ 534133 w 538529"/>
                <a:gd name="connsiteY30" fmla="*/ 317808 h 538529"/>
                <a:gd name="connsiteX31" fmla="*/ 530993 w 538529"/>
                <a:gd name="connsiteY31" fmla="*/ 333203 h 538529"/>
                <a:gd name="connsiteX32" fmla="*/ 526597 w 538529"/>
                <a:gd name="connsiteY32" fmla="*/ 348442 h 538529"/>
                <a:gd name="connsiteX33" fmla="*/ 521730 w 538529"/>
                <a:gd name="connsiteY33" fmla="*/ 363209 h 538529"/>
                <a:gd name="connsiteX34" fmla="*/ 515920 w 538529"/>
                <a:gd name="connsiteY34" fmla="*/ 377662 h 538529"/>
                <a:gd name="connsiteX35" fmla="*/ 509169 w 538529"/>
                <a:gd name="connsiteY35" fmla="*/ 391801 h 538529"/>
                <a:gd name="connsiteX36" fmla="*/ 501790 w 538529"/>
                <a:gd name="connsiteY36" fmla="*/ 405154 h 538529"/>
                <a:gd name="connsiteX37" fmla="*/ 493469 w 538529"/>
                <a:gd name="connsiteY37" fmla="*/ 418350 h 538529"/>
                <a:gd name="connsiteX38" fmla="*/ 484676 w 538529"/>
                <a:gd name="connsiteY38" fmla="*/ 430761 h 538529"/>
                <a:gd name="connsiteX39" fmla="*/ 475256 w 538529"/>
                <a:gd name="connsiteY39" fmla="*/ 442700 h 538529"/>
                <a:gd name="connsiteX40" fmla="*/ 465051 w 538529"/>
                <a:gd name="connsiteY40" fmla="*/ 454168 h 538529"/>
                <a:gd name="connsiteX41" fmla="*/ 454217 w 538529"/>
                <a:gd name="connsiteY41" fmla="*/ 465008 h 538529"/>
                <a:gd name="connsiteX42" fmla="*/ 442756 w 538529"/>
                <a:gd name="connsiteY42" fmla="*/ 475219 h 538529"/>
                <a:gd name="connsiteX43" fmla="*/ 430666 w 538529"/>
                <a:gd name="connsiteY43" fmla="*/ 484645 h 538529"/>
                <a:gd name="connsiteX44" fmla="*/ 418263 w 538529"/>
                <a:gd name="connsiteY44" fmla="*/ 493599 h 538529"/>
                <a:gd name="connsiteX45" fmla="*/ 405231 w 538529"/>
                <a:gd name="connsiteY45" fmla="*/ 501769 h 538529"/>
                <a:gd name="connsiteX46" fmla="*/ 391572 w 538529"/>
                <a:gd name="connsiteY46" fmla="*/ 509152 h 538529"/>
                <a:gd name="connsiteX47" fmla="*/ 377598 w 538529"/>
                <a:gd name="connsiteY47" fmla="*/ 515907 h 538529"/>
                <a:gd name="connsiteX48" fmla="*/ 363154 w 538529"/>
                <a:gd name="connsiteY48" fmla="*/ 521720 h 538529"/>
                <a:gd name="connsiteX49" fmla="*/ 348395 w 538529"/>
                <a:gd name="connsiteY49" fmla="*/ 526590 h 538529"/>
                <a:gd name="connsiteX50" fmla="*/ 333166 w 538529"/>
                <a:gd name="connsiteY50" fmla="*/ 530989 h 538529"/>
                <a:gd name="connsiteX51" fmla="*/ 317622 w 538529"/>
                <a:gd name="connsiteY51" fmla="*/ 534130 h 538529"/>
                <a:gd name="connsiteX52" fmla="*/ 301922 w 538529"/>
                <a:gd name="connsiteY52" fmla="*/ 536487 h 538529"/>
                <a:gd name="connsiteX53" fmla="*/ 285593 w 538529"/>
                <a:gd name="connsiteY53" fmla="*/ 537901 h 538529"/>
                <a:gd name="connsiteX54" fmla="*/ 269265 w 538529"/>
                <a:gd name="connsiteY54" fmla="*/ 538529 h 538529"/>
                <a:gd name="connsiteX55" fmla="*/ 252779 w 538529"/>
                <a:gd name="connsiteY55" fmla="*/ 537901 h 538529"/>
                <a:gd name="connsiteX56" fmla="*/ 236764 w 538529"/>
                <a:gd name="connsiteY56" fmla="*/ 536487 h 538529"/>
                <a:gd name="connsiteX57" fmla="*/ 220907 w 538529"/>
                <a:gd name="connsiteY57" fmla="*/ 534130 h 538529"/>
                <a:gd name="connsiteX58" fmla="*/ 205206 w 538529"/>
                <a:gd name="connsiteY58" fmla="*/ 530989 h 538529"/>
                <a:gd name="connsiteX59" fmla="*/ 190134 w 538529"/>
                <a:gd name="connsiteY59" fmla="*/ 526590 h 538529"/>
                <a:gd name="connsiteX60" fmla="*/ 175218 w 538529"/>
                <a:gd name="connsiteY60" fmla="*/ 521720 h 538529"/>
                <a:gd name="connsiteX61" fmla="*/ 160774 w 538529"/>
                <a:gd name="connsiteY61" fmla="*/ 515907 h 538529"/>
                <a:gd name="connsiteX62" fmla="*/ 146957 w 538529"/>
                <a:gd name="connsiteY62" fmla="*/ 509152 h 538529"/>
                <a:gd name="connsiteX63" fmla="*/ 133455 w 538529"/>
                <a:gd name="connsiteY63" fmla="*/ 501769 h 538529"/>
                <a:gd name="connsiteX64" fmla="*/ 120423 w 538529"/>
                <a:gd name="connsiteY64" fmla="*/ 493599 h 538529"/>
                <a:gd name="connsiteX65" fmla="*/ 107863 w 538529"/>
                <a:gd name="connsiteY65" fmla="*/ 484645 h 538529"/>
                <a:gd name="connsiteX66" fmla="*/ 95774 w 538529"/>
                <a:gd name="connsiteY66" fmla="*/ 475219 h 538529"/>
                <a:gd name="connsiteX67" fmla="*/ 84469 w 538529"/>
                <a:gd name="connsiteY67" fmla="*/ 465008 h 538529"/>
                <a:gd name="connsiteX68" fmla="*/ 73636 w 538529"/>
                <a:gd name="connsiteY68" fmla="*/ 454168 h 538529"/>
                <a:gd name="connsiteX69" fmla="*/ 63430 w 538529"/>
                <a:gd name="connsiteY69" fmla="*/ 442700 h 538529"/>
                <a:gd name="connsiteX70" fmla="*/ 53853 w 538529"/>
                <a:gd name="connsiteY70" fmla="*/ 430761 h 538529"/>
                <a:gd name="connsiteX71" fmla="*/ 44904 w 538529"/>
                <a:gd name="connsiteY71" fmla="*/ 418350 h 538529"/>
                <a:gd name="connsiteX72" fmla="*/ 36896 w 538529"/>
                <a:gd name="connsiteY72" fmla="*/ 405154 h 538529"/>
                <a:gd name="connsiteX73" fmla="*/ 29360 w 538529"/>
                <a:gd name="connsiteY73" fmla="*/ 391801 h 538529"/>
                <a:gd name="connsiteX74" fmla="*/ 22766 w 538529"/>
                <a:gd name="connsiteY74" fmla="*/ 377662 h 538529"/>
                <a:gd name="connsiteX75" fmla="*/ 16957 w 538529"/>
                <a:gd name="connsiteY75" fmla="*/ 363209 h 538529"/>
                <a:gd name="connsiteX76" fmla="*/ 11776 w 538529"/>
                <a:gd name="connsiteY76" fmla="*/ 348442 h 538529"/>
                <a:gd name="connsiteX77" fmla="*/ 7693 w 538529"/>
                <a:gd name="connsiteY77" fmla="*/ 333203 h 538529"/>
                <a:gd name="connsiteX78" fmla="*/ 4396 w 538529"/>
                <a:gd name="connsiteY78" fmla="*/ 317808 h 538529"/>
                <a:gd name="connsiteX79" fmla="*/ 1884 w 538529"/>
                <a:gd name="connsiteY79" fmla="*/ 301941 h 538529"/>
                <a:gd name="connsiteX80" fmla="*/ 471 w 538529"/>
                <a:gd name="connsiteY80" fmla="*/ 285603 h 538529"/>
                <a:gd name="connsiteX81" fmla="*/ 0 w 538529"/>
                <a:gd name="connsiteY81" fmla="*/ 269265 h 538529"/>
                <a:gd name="connsiteX82" fmla="*/ 471 w 538529"/>
                <a:gd name="connsiteY82" fmla="*/ 252927 h 538529"/>
                <a:gd name="connsiteX83" fmla="*/ 1884 w 538529"/>
                <a:gd name="connsiteY83" fmla="*/ 236746 h 538529"/>
                <a:gd name="connsiteX84" fmla="*/ 4396 w 538529"/>
                <a:gd name="connsiteY84" fmla="*/ 220879 h 538529"/>
                <a:gd name="connsiteX85" fmla="*/ 7693 w 538529"/>
                <a:gd name="connsiteY85" fmla="*/ 205326 h 538529"/>
                <a:gd name="connsiteX86" fmla="*/ 11776 w 538529"/>
                <a:gd name="connsiteY86" fmla="*/ 190245 h 538529"/>
                <a:gd name="connsiteX87" fmla="*/ 16957 w 538529"/>
                <a:gd name="connsiteY87" fmla="*/ 175321 h 538529"/>
                <a:gd name="connsiteX88" fmla="*/ 22766 w 538529"/>
                <a:gd name="connsiteY88" fmla="*/ 161025 h 538529"/>
                <a:gd name="connsiteX89" fmla="*/ 29360 w 538529"/>
                <a:gd name="connsiteY89" fmla="*/ 146886 h 538529"/>
                <a:gd name="connsiteX90" fmla="*/ 36896 w 538529"/>
                <a:gd name="connsiteY90" fmla="*/ 133533 h 538529"/>
                <a:gd name="connsiteX91" fmla="*/ 44904 w 538529"/>
                <a:gd name="connsiteY91" fmla="*/ 120337 h 538529"/>
                <a:gd name="connsiteX92" fmla="*/ 53853 w 538529"/>
                <a:gd name="connsiteY92" fmla="*/ 107926 h 538529"/>
                <a:gd name="connsiteX93" fmla="*/ 63430 w 538529"/>
                <a:gd name="connsiteY93" fmla="*/ 95829 h 538529"/>
                <a:gd name="connsiteX94" fmla="*/ 73636 w 538529"/>
                <a:gd name="connsiteY94" fmla="*/ 84518 h 538529"/>
                <a:gd name="connsiteX95" fmla="*/ 84469 w 538529"/>
                <a:gd name="connsiteY95" fmla="*/ 73679 h 538529"/>
                <a:gd name="connsiteX96" fmla="*/ 95774 w 538529"/>
                <a:gd name="connsiteY96" fmla="*/ 63467 h 538529"/>
                <a:gd name="connsiteX97" fmla="*/ 107863 w 538529"/>
                <a:gd name="connsiteY97" fmla="*/ 53884 h 538529"/>
                <a:gd name="connsiteX98" fmla="*/ 120423 w 538529"/>
                <a:gd name="connsiteY98" fmla="*/ 44930 h 538529"/>
                <a:gd name="connsiteX99" fmla="*/ 133455 w 538529"/>
                <a:gd name="connsiteY99" fmla="*/ 36918 h 538529"/>
                <a:gd name="connsiteX100" fmla="*/ 146957 w 538529"/>
                <a:gd name="connsiteY100" fmla="*/ 29377 h 538529"/>
                <a:gd name="connsiteX101" fmla="*/ 160774 w 538529"/>
                <a:gd name="connsiteY101" fmla="*/ 22779 h 538529"/>
                <a:gd name="connsiteX102" fmla="*/ 175218 w 538529"/>
                <a:gd name="connsiteY102" fmla="*/ 16967 h 538529"/>
                <a:gd name="connsiteX103" fmla="*/ 190134 w 538529"/>
                <a:gd name="connsiteY103" fmla="*/ 11782 h 538529"/>
                <a:gd name="connsiteX104" fmla="*/ 205206 w 538529"/>
                <a:gd name="connsiteY104" fmla="*/ 7698 h 538529"/>
                <a:gd name="connsiteX105" fmla="*/ 220907 w 538529"/>
                <a:gd name="connsiteY105" fmla="*/ 4399 h 538529"/>
                <a:gd name="connsiteX106" fmla="*/ 236764 w 538529"/>
                <a:gd name="connsiteY106" fmla="*/ 2042 h 538529"/>
                <a:gd name="connsiteX107" fmla="*/ 252779 w 538529"/>
                <a:gd name="connsiteY107" fmla="*/ 471 h 538529"/>
                <a:gd name="connsiteX108" fmla="*/ 269265 w 538529"/>
                <a:gd name="connsiteY108" fmla="*/ 0 h 538529"/>
                <a:gd name="connsiteX109" fmla="*/ 187465 w 538529"/>
                <a:gd name="connsiteY109" fmla="*/ 134083 h 538529"/>
                <a:gd name="connsiteX110" fmla="*/ 181184 w 538529"/>
                <a:gd name="connsiteY110" fmla="*/ 134555 h 538529"/>
                <a:gd name="connsiteX111" fmla="*/ 175218 w 538529"/>
                <a:gd name="connsiteY111" fmla="*/ 135813 h 538529"/>
                <a:gd name="connsiteX112" fmla="*/ 169566 w 538529"/>
                <a:gd name="connsiteY112" fmla="*/ 138016 h 538529"/>
                <a:gd name="connsiteX113" fmla="*/ 164385 w 538529"/>
                <a:gd name="connsiteY113" fmla="*/ 141004 h 538529"/>
                <a:gd name="connsiteX114" fmla="*/ 159675 w 538529"/>
                <a:gd name="connsiteY114" fmla="*/ 144465 h 538529"/>
                <a:gd name="connsiteX115" fmla="*/ 155592 w 538529"/>
                <a:gd name="connsiteY115" fmla="*/ 148712 h 538529"/>
                <a:gd name="connsiteX116" fmla="*/ 151981 w 538529"/>
                <a:gd name="connsiteY116" fmla="*/ 153431 h 538529"/>
                <a:gd name="connsiteX117" fmla="*/ 148998 w 538529"/>
                <a:gd name="connsiteY117" fmla="*/ 158464 h 538529"/>
                <a:gd name="connsiteX118" fmla="*/ 146957 w 538529"/>
                <a:gd name="connsiteY118" fmla="*/ 164284 h 538529"/>
                <a:gd name="connsiteX119" fmla="*/ 145544 w 538529"/>
                <a:gd name="connsiteY119" fmla="*/ 170262 h 538529"/>
                <a:gd name="connsiteX120" fmla="*/ 145073 w 538529"/>
                <a:gd name="connsiteY120" fmla="*/ 176396 h 538529"/>
                <a:gd name="connsiteX121" fmla="*/ 145544 w 538529"/>
                <a:gd name="connsiteY121" fmla="*/ 182688 h 538529"/>
                <a:gd name="connsiteX122" fmla="*/ 146957 w 538529"/>
                <a:gd name="connsiteY122" fmla="*/ 188508 h 538529"/>
                <a:gd name="connsiteX123" fmla="*/ 148998 w 538529"/>
                <a:gd name="connsiteY123" fmla="*/ 194328 h 538529"/>
                <a:gd name="connsiteX124" fmla="*/ 151981 w 538529"/>
                <a:gd name="connsiteY124" fmla="*/ 199362 h 538529"/>
                <a:gd name="connsiteX125" fmla="*/ 155592 w 538529"/>
                <a:gd name="connsiteY125" fmla="*/ 204238 h 538529"/>
                <a:gd name="connsiteX126" fmla="*/ 159675 w 538529"/>
                <a:gd name="connsiteY126" fmla="*/ 208485 h 538529"/>
                <a:gd name="connsiteX127" fmla="*/ 164385 w 538529"/>
                <a:gd name="connsiteY127" fmla="*/ 211945 h 538529"/>
                <a:gd name="connsiteX128" fmla="*/ 169566 w 538529"/>
                <a:gd name="connsiteY128" fmla="*/ 214777 h 538529"/>
                <a:gd name="connsiteX129" fmla="*/ 175218 w 538529"/>
                <a:gd name="connsiteY129" fmla="*/ 216979 h 538529"/>
                <a:gd name="connsiteX130" fmla="*/ 181184 w 538529"/>
                <a:gd name="connsiteY130" fmla="*/ 218237 h 538529"/>
                <a:gd name="connsiteX131" fmla="*/ 187465 w 538529"/>
                <a:gd name="connsiteY131" fmla="*/ 218709 h 538529"/>
                <a:gd name="connsiteX132" fmla="*/ 193588 w 538529"/>
                <a:gd name="connsiteY132" fmla="*/ 218237 h 538529"/>
                <a:gd name="connsiteX133" fmla="*/ 199711 w 538529"/>
                <a:gd name="connsiteY133" fmla="*/ 216979 h 538529"/>
                <a:gd name="connsiteX134" fmla="*/ 205206 w 538529"/>
                <a:gd name="connsiteY134" fmla="*/ 214777 h 538529"/>
                <a:gd name="connsiteX135" fmla="*/ 210544 w 538529"/>
                <a:gd name="connsiteY135" fmla="*/ 211945 h 538529"/>
                <a:gd name="connsiteX136" fmla="*/ 215098 w 538529"/>
                <a:gd name="connsiteY136" fmla="*/ 208485 h 538529"/>
                <a:gd name="connsiteX137" fmla="*/ 219337 w 538529"/>
                <a:gd name="connsiteY137" fmla="*/ 204238 h 538529"/>
                <a:gd name="connsiteX138" fmla="*/ 222948 w 538529"/>
                <a:gd name="connsiteY138" fmla="*/ 199362 h 538529"/>
                <a:gd name="connsiteX139" fmla="*/ 225774 w 538529"/>
                <a:gd name="connsiteY139" fmla="*/ 194328 h 538529"/>
                <a:gd name="connsiteX140" fmla="*/ 227972 w 538529"/>
                <a:gd name="connsiteY140" fmla="*/ 188508 h 538529"/>
                <a:gd name="connsiteX141" fmla="*/ 229228 w 538529"/>
                <a:gd name="connsiteY141" fmla="*/ 182688 h 538529"/>
                <a:gd name="connsiteX142" fmla="*/ 229699 w 538529"/>
                <a:gd name="connsiteY142" fmla="*/ 176396 h 538529"/>
                <a:gd name="connsiteX143" fmla="*/ 229228 w 538529"/>
                <a:gd name="connsiteY143" fmla="*/ 170262 h 538529"/>
                <a:gd name="connsiteX144" fmla="*/ 227972 w 538529"/>
                <a:gd name="connsiteY144" fmla="*/ 164284 h 538529"/>
                <a:gd name="connsiteX145" fmla="*/ 225774 w 538529"/>
                <a:gd name="connsiteY145" fmla="*/ 158464 h 538529"/>
                <a:gd name="connsiteX146" fmla="*/ 222948 w 538529"/>
                <a:gd name="connsiteY146" fmla="*/ 153431 h 538529"/>
                <a:gd name="connsiteX147" fmla="*/ 219337 w 538529"/>
                <a:gd name="connsiteY147" fmla="*/ 148712 h 538529"/>
                <a:gd name="connsiteX148" fmla="*/ 215098 w 538529"/>
                <a:gd name="connsiteY148" fmla="*/ 144465 h 538529"/>
                <a:gd name="connsiteX149" fmla="*/ 210544 w 538529"/>
                <a:gd name="connsiteY149" fmla="*/ 141004 h 538529"/>
                <a:gd name="connsiteX150" fmla="*/ 205206 w 538529"/>
                <a:gd name="connsiteY150" fmla="*/ 138016 h 538529"/>
                <a:gd name="connsiteX151" fmla="*/ 199711 w 538529"/>
                <a:gd name="connsiteY151" fmla="*/ 135813 h 538529"/>
                <a:gd name="connsiteX152" fmla="*/ 193588 w 538529"/>
                <a:gd name="connsiteY152" fmla="*/ 134555 h 538529"/>
                <a:gd name="connsiteX153" fmla="*/ 187465 w 538529"/>
                <a:gd name="connsiteY153" fmla="*/ 134083 h 538529"/>
                <a:gd name="connsiteX154" fmla="*/ 346826 w 538529"/>
                <a:gd name="connsiteY154" fmla="*/ 134083 h 538529"/>
                <a:gd name="connsiteX155" fmla="*/ 340545 w 538529"/>
                <a:gd name="connsiteY155" fmla="*/ 134555 h 538529"/>
                <a:gd name="connsiteX156" fmla="*/ 334736 w 538529"/>
                <a:gd name="connsiteY156" fmla="*/ 135813 h 538529"/>
                <a:gd name="connsiteX157" fmla="*/ 329084 w 538529"/>
                <a:gd name="connsiteY157" fmla="*/ 138016 h 538529"/>
                <a:gd name="connsiteX158" fmla="*/ 323903 w 538529"/>
                <a:gd name="connsiteY158" fmla="*/ 141004 h 538529"/>
                <a:gd name="connsiteX159" fmla="*/ 319036 w 538529"/>
                <a:gd name="connsiteY159" fmla="*/ 144465 h 538529"/>
                <a:gd name="connsiteX160" fmla="*/ 314953 w 538529"/>
                <a:gd name="connsiteY160" fmla="*/ 148712 h 538529"/>
                <a:gd name="connsiteX161" fmla="*/ 311342 w 538529"/>
                <a:gd name="connsiteY161" fmla="*/ 153431 h 538529"/>
                <a:gd name="connsiteX162" fmla="*/ 308516 w 538529"/>
                <a:gd name="connsiteY162" fmla="*/ 158464 h 538529"/>
                <a:gd name="connsiteX163" fmla="*/ 306318 w 538529"/>
                <a:gd name="connsiteY163" fmla="*/ 164284 h 538529"/>
                <a:gd name="connsiteX164" fmla="*/ 305062 w 538529"/>
                <a:gd name="connsiteY164" fmla="*/ 170262 h 538529"/>
                <a:gd name="connsiteX165" fmla="*/ 304434 w 538529"/>
                <a:gd name="connsiteY165" fmla="*/ 176396 h 538529"/>
                <a:gd name="connsiteX166" fmla="*/ 305062 w 538529"/>
                <a:gd name="connsiteY166" fmla="*/ 182688 h 538529"/>
                <a:gd name="connsiteX167" fmla="*/ 306318 w 538529"/>
                <a:gd name="connsiteY167" fmla="*/ 188508 h 538529"/>
                <a:gd name="connsiteX168" fmla="*/ 308516 w 538529"/>
                <a:gd name="connsiteY168" fmla="*/ 194328 h 538529"/>
                <a:gd name="connsiteX169" fmla="*/ 311342 w 538529"/>
                <a:gd name="connsiteY169" fmla="*/ 199362 h 538529"/>
                <a:gd name="connsiteX170" fmla="*/ 314953 w 538529"/>
                <a:gd name="connsiteY170" fmla="*/ 204238 h 538529"/>
                <a:gd name="connsiteX171" fmla="*/ 319036 w 538529"/>
                <a:gd name="connsiteY171" fmla="*/ 208485 h 538529"/>
                <a:gd name="connsiteX172" fmla="*/ 323903 w 538529"/>
                <a:gd name="connsiteY172" fmla="*/ 211945 h 538529"/>
                <a:gd name="connsiteX173" fmla="*/ 329084 w 538529"/>
                <a:gd name="connsiteY173" fmla="*/ 214777 h 538529"/>
                <a:gd name="connsiteX174" fmla="*/ 334736 w 538529"/>
                <a:gd name="connsiteY174" fmla="*/ 216979 h 538529"/>
                <a:gd name="connsiteX175" fmla="*/ 340545 w 538529"/>
                <a:gd name="connsiteY175" fmla="*/ 218237 h 538529"/>
                <a:gd name="connsiteX176" fmla="*/ 346826 w 538529"/>
                <a:gd name="connsiteY176" fmla="*/ 218709 h 538529"/>
                <a:gd name="connsiteX177" fmla="*/ 353106 w 538529"/>
                <a:gd name="connsiteY177" fmla="*/ 218237 h 538529"/>
                <a:gd name="connsiteX178" fmla="*/ 359072 w 538529"/>
                <a:gd name="connsiteY178" fmla="*/ 216979 h 538529"/>
                <a:gd name="connsiteX179" fmla="*/ 364724 w 538529"/>
                <a:gd name="connsiteY179" fmla="*/ 214777 h 538529"/>
                <a:gd name="connsiteX180" fmla="*/ 369905 w 538529"/>
                <a:gd name="connsiteY180" fmla="*/ 211945 h 538529"/>
                <a:gd name="connsiteX181" fmla="*/ 374616 w 538529"/>
                <a:gd name="connsiteY181" fmla="*/ 208485 h 538529"/>
                <a:gd name="connsiteX182" fmla="*/ 378855 w 538529"/>
                <a:gd name="connsiteY182" fmla="*/ 204238 h 538529"/>
                <a:gd name="connsiteX183" fmla="*/ 382466 w 538529"/>
                <a:gd name="connsiteY183" fmla="*/ 199362 h 538529"/>
                <a:gd name="connsiteX184" fmla="*/ 385135 w 538529"/>
                <a:gd name="connsiteY184" fmla="*/ 194328 h 538529"/>
                <a:gd name="connsiteX185" fmla="*/ 387333 w 538529"/>
                <a:gd name="connsiteY185" fmla="*/ 188508 h 538529"/>
                <a:gd name="connsiteX186" fmla="*/ 388589 w 538529"/>
                <a:gd name="connsiteY186" fmla="*/ 182688 h 538529"/>
                <a:gd name="connsiteX187" fmla="*/ 389060 w 538529"/>
                <a:gd name="connsiteY187" fmla="*/ 176396 h 538529"/>
                <a:gd name="connsiteX188" fmla="*/ 388589 w 538529"/>
                <a:gd name="connsiteY188" fmla="*/ 170262 h 538529"/>
                <a:gd name="connsiteX189" fmla="*/ 387333 w 538529"/>
                <a:gd name="connsiteY189" fmla="*/ 164284 h 538529"/>
                <a:gd name="connsiteX190" fmla="*/ 385135 w 538529"/>
                <a:gd name="connsiteY190" fmla="*/ 158464 h 538529"/>
                <a:gd name="connsiteX191" fmla="*/ 382466 w 538529"/>
                <a:gd name="connsiteY191" fmla="*/ 153431 h 538529"/>
                <a:gd name="connsiteX192" fmla="*/ 378855 w 538529"/>
                <a:gd name="connsiteY192" fmla="*/ 148712 h 538529"/>
                <a:gd name="connsiteX193" fmla="*/ 374616 w 538529"/>
                <a:gd name="connsiteY193" fmla="*/ 144465 h 538529"/>
                <a:gd name="connsiteX194" fmla="*/ 369905 w 538529"/>
                <a:gd name="connsiteY194" fmla="*/ 141004 h 538529"/>
                <a:gd name="connsiteX195" fmla="*/ 364724 w 538529"/>
                <a:gd name="connsiteY195" fmla="*/ 138016 h 538529"/>
                <a:gd name="connsiteX196" fmla="*/ 359072 w 538529"/>
                <a:gd name="connsiteY196" fmla="*/ 135813 h 538529"/>
                <a:gd name="connsiteX197" fmla="*/ 353106 w 538529"/>
                <a:gd name="connsiteY197" fmla="*/ 134555 h 538529"/>
                <a:gd name="connsiteX198" fmla="*/ 346826 w 538529"/>
                <a:gd name="connsiteY198" fmla="*/ 134083 h 538529"/>
                <a:gd name="connsiteX199" fmla="*/ 90746 w 538529"/>
                <a:gd name="connsiteY199" fmla="*/ 259373 h 538529"/>
                <a:gd name="connsiteX200" fmla="*/ 88234 w 538529"/>
                <a:gd name="connsiteY200" fmla="*/ 259842 h 538529"/>
                <a:gd name="connsiteX201" fmla="*/ 86037 w 538529"/>
                <a:gd name="connsiteY201" fmla="*/ 260937 h 538529"/>
                <a:gd name="connsiteX202" fmla="*/ 84154 w 538529"/>
                <a:gd name="connsiteY202" fmla="*/ 262344 h 538529"/>
                <a:gd name="connsiteX203" fmla="*/ 82585 w 538529"/>
                <a:gd name="connsiteY203" fmla="*/ 264377 h 538529"/>
                <a:gd name="connsiteX204" fmla="*/ 81643 w 538529"/>
                <a:gd name="connsiteY204" fmla="*/ 266723 h 538529"/>
                <a:gd name="connsiteX205" fmla="*/ 81329 w 538529"/>
                <a:gd name="connsiteY205" fmla="*/ 269538 h 538529"/>
                <a:gd name="connsiteX206" fmla="*/ 82114 w 538529"/>
                <a:gd name="connsiteY206" fmla="*/ 283612 h 538529"/>
                <a:gd name="connsiteX207" fmla="*/ 83840 w 538529"/>
                <a:gd name="connsiteY207" fmla="*/ 297061 h 538529"/>
                <a:gd name="connsiteX208" fmla="*/ 86351 w 538529"/>
                <a:gd name="connsiteY208" fmla="*/ 310354 h 538529"/>
                <a:gd name="connsiteX209" fmla="*/ 89961 w 538529"/>
                <a:gd name="connsiteY209" fmla="*/ 323177 h 538529"/>
                <a:gd name="connsiteX210" fmla="*/ 94512 w 538529"/>
                <a:gd name="connsiteY210" fmla="*/ 335844 h 538529"/>
                <a:gd name="connsiteX211" fmla="*/ 99534 w 538529"/>
                <a:gd name="connsiteY211" fmla="*/ 347885 h 538529"/>
                <a:gd name="connsiteX212" fmla="*/ 105655 w 538529"/>
                <a:gd name="connsiteY212" fmla="*/ 359457 h 538529"/>
                <a:gd name="connsiteX213" fmla="*/ 112246 w 538529"/>
                <a:gd name="connsiteY213" fmla="*/ 370717 h 538529"/>
                <a:gd name="connsiteX214" fmla="*/ 119936 w 538529"/>
                <a:gd name="connsiteY214" fmla="*/ 381351 h 538529"/>
                <a:gd name="connsiteX215" fmla="*/ 128097 w 538529"/>
                <a:gd name="connsiteY215" fmla="*/ 391359 h 538529"/>
                <a:gd name="connsiteX216" fmla="*/ 136886 w 538529"/>
                <a:gd name="connsiteY216" fmla="*/ 400742 h 538529"/>
                <a:gd name="connsiteX217" fmla="*/ 146459 w 538529"/>
                <a:gd name="connsiteY217" fmla="*/ 409500 h 538529"/>
                <a:gd name="connsiteX218" fmla="*/ 156503 w 538529"/>
                <a:gd name="connsiteY218" fmla="*/ 417788 h 538529"/>
                <a:gd name="connsiteX219" fmla="*/ 167175 w 538529"/>
                <a:gd name="connsiteY219" fmla="*/ 425294 h 538529"/>
                <a:gd name="connsiteX220" fmla="*/ 178318 w 538529"/>
                <a:gd name="connsiteY220" fmla="*/ 432018 h 538529"/>
                <a:gd name="connsiteX221" fmla="*/ 190246 w 538529"/>
                <a:gd name="connsiteY221" fmla="*/ 437961 h 538529"/>
                <a:gd name="connsiteX222" fmla="*/ 202330 w 538529"/>
                <a:gd name="connsiteY222" fmla="*/ 443122 h 538529"/>
                <a:gd name="connsiteX223" fmla="*/ 214728 w 538529"/>
                <a:gd name="connsiteY223" fmla="*/ 447657 h 538529"/>
                <a:gd name="connsiteX224" fmla="*/ 227911 w 538529"/>
                <a:gd name="connsiteY224" fmla="*/ 450941 h 538529"/>
                <a:gd name="connsiteX225" fmla="*/ 241094 w 538529"/>
                <a:gd name="connsiteY225" fmla="*/ 453599 h 538529"/>
                <a:gd name="connsiteX226" fmla="*/ 254748 w 538529"/>
                <a:gd name="connsiteY226" fmla="*/ 455476 h 538529"/>
                <a:gd name="connsiteX227" fmla="*/ 268716 w 538529"/>
                <a:gd name="connsiteY227" fmla="*/ 456101 h 538529"/>
                <a:gd name="connsiteX228" fmla="*/ 282056 w 538529"/>
                <a:gd name="connsiteY228" fmla="*/ 455788 h 538529"/>
                <a:gd name="connsiteX229" fmla="*/ 295082 w 538529"/>
                <a:gd name="connsiteY229" fmla="*/ 454537 h 538529"/>
                <a:gd name="connsiteX230" fmla="*/ 307794 w 538529"/>
                <a:gd name="connsiteY230" fmla="*/ 452348 h 538529"/>
                <a:gd name="connsiteX231" fmla="*/ 320349 w 538529"/>
                <a:gd name="connsiteY231" fmla="*/ 449220 h 538529"/>
                <a:gd name="connsiteX232" fmla="*/ 332433 w 538529"/>
                <a:gd name="connsiteY232" fmla="*/ 445311 h 538529"/>
                <a:gd name="connsiteX233" fmla="*/ 344204 w 538529"/>
                <a:gd name="connsiteY233" fmla="*/ 440619 h 538529"/>
                <a:gd name="connsiteX234" fmla="*/ 355504 w 538529"/>
                <a:gd name="connsiteY234" fmla="*/ 434833 h 538529"/>
                <a:gd name="connsiteX235" fmla="*/ 366332 w 538529"/>
                <a:gd name="connsiteY235" fmla="*/ 428734 h 538529"/>
                <a:gd name="connsiteX236" fmla="*/ 376690 w 538529"/>
                <a:gd name="connsiteY236" fmla="*/ 421541 h 538529"/>
                <a:gd name="connsiteX237" fmla="*/ 386735 w 538529"/>
                <a:gd name="connsiteY237" fmla="*/ 413878 h 538529"/>
                <a:gd name="connsiteX238" fmla="*/ 395994 w 538529"/>
                <a:gd name="connsiteY238" fmla="*/ 405434 h 538529"/>
                <a:gd name="connsiteX239" fmla="*/ 404783 w 538529"/>
                <a:gd name="connsiteY239" fmla="*/ 396520 h 538529"/>
                <a:gd name="connsiteX240" fmla="*/ 412944 w 538529"/>
                <a:gd name="connsiteY240" fmla="*/ 386981 h 538529"/>
                <a:gd name="connsiteX241" fmla="*/ 420634 w 538529"/>
                <a:gd name="connsiteY241" fmla="*/ 377129 h 538529"/>
                <a:gd name="connsiteX242" fmla="*/ 427539 w 538529"/>
                <a:gd name="connsiteY242" fmla="*/ 366495 h 538529"/>
                <a:gd name="connsiteX243" fmla="*/ 433660 w 538529"/>
                <a:gd name="connsiteY243" fmla="*/ 355548 h 538529"/>
                <a:gd name="connsiteX244" fmla="*/ 439310 w 538529"/>
                <a:gd name="connsiteY244" fmla="*/ 344132 h 538529"/>
                <a:gd name="connsiteX245" fmla="*/ 444018 w 538529"/>
                <a:gd name="connsiteY245" fmla="*/ 332560 h 538529"/>
                <a:gd name="connsiteX246" fmla="*/ 448098 w 538529"/>
                <a:gd name="connsiteY246" fmla="*/ 320518 h 538529"/>
                <a:gd name="connsiteX247" fmla="*/ 451394 w 538529"/>
                <a:gd name="connsiteY247" fmla="*/ 308008 h 538529"/>
                <a:gd name="connsiteX248" fmla="*/ 453748 w 538529"/>
                <a:gd name="connsiteY248" fmla="*/ 295497 h 538529"/>
                <a:gd name="connsiteX249" fmla="*/ 455317 w 538529"/>
                <a:gd name="connsiteY249" fmla="*/ 282518 h 538529"/>
                <a:gd name="connsiteX250" fmla="*/ 456102 w 538529"/>
                <a:gd name="connsiteY250" fmla="*/ 269538 h 538529"/>
                <a:gd name="connsiteX251" fmla="*/ 455631 w 538529"/>
                <a:gd name="connsiteY251" fmla="*/ 266723 h 538529"/>
                <a:gd name="connsiteX252" fmla="*/ 454690 w 538529"/>
                <a:gd name="connsiteY252" fmla="*/ 264377 h 538529"/>
                <a:gd name="connsiteX253" fmla="*/ 453277 w 538529"/>
                <a:gd name="connsiteY253" fmla="*/ 262344 h 538529"/>
                <a:gd name="connsiteX254" fmla="*/ 451394 w 538529"/>
                <a:gd name="connsiteY254" fmla="*/ 260937 h 538529"/>
                <a:gd name="connsiteX255" fmla="*/ 449197 w 538529"/>
                <a:gd name="connsiteY255" fmla="*/ 259842 h 538529"/>
                <a:gd name="connsiteX256" fmla="*/ 446843 w 538529"/>
                <a:gd name="connsiteY256" fmla="*/ 259373 h 538529"/>
                <a:gd name="connsiteX257" fmla="*/ 444332 w 538529"/>
                <a:gd name="connsiteY257" fmla="*/ 259373 h 538529"/>
                <a:gd name="connsiteX258" fmla="*/ 441978 w 538529"/>
                <a:gd name="connsiteY258" fmla="*/ 259842 h 538529"/>
                <a:gd name="connsiteX259" fmla="*/ 439623 w 538529"/>
                <a:gd name="connsiteY259" fmla="*/ 260937 h 538529"/>
                <a:gd name="connsiteX260" fmla="*/ 437897 w 538529"/>
                <a:gd name="connsiteY260" fmla="*/ 262344 h 538529"/>
                <a:gd name="connsiteX261" fmla="*/ 436171 w 538529"/>
                <a:gd name="connsiteY261" fmla="*/ 264377 h 538529"/>
                <a:gd name="connsiteX262" fmla="*/ 435229 w 538529"/>
                <a:gd name="connsiteY262" fmla="*/ 266723 h 538529"/>
                <a:gd name="connsiteX263" fmla="*/ 434758 w 538529"/>
                <a:gd name="connsiteY263" fmla="*/ 269538 h 538529"/>
                <a:gd name="connsiteX264" fmla="*/ 434131 w 538529"/>
                <a:gd name="connsiteY264" fmla="*/ 282518 h 538529"/>
                <a:gd name="connsiteX265" fmla="*/ 432404 w 538529"/>
                <a:gd name="connsiteY265" fmla="*/ 295185 h 538529"/>
                <a:gd name="connsiteX266" fmla="*/ 429893 w 538529"/>
                <a:gd name="connsiteY266" fmla="*/ 307382 h 538529"/>
                <a:gd name="connsiteX267" fmla="*/ 426597 w 538529"/>
                <a:gd name="connsiteY267" fmla="*/ 319267 h 538529"/>
                <a:gd name="connsiteX268" fmla="*/ 422203 w 538529"/>
                <a:gd name="connsiteY268" fmla="*/ 330840 h 538529"/>
                <a:gd name="connsiteX269" fmla="*/ 417181 w 538529"/>
                <a:gd name="connsiteY269" fmla="*/ 341943 h 538529"/>
                <a:gd name="connsiteX270" fmla="*/ 411374 w 538529"/>
                <a:gd name="connsiteY270" fmla="*/ 352733 h 538529"/>
                <a:gd name="connsiteX271" fmla="*/ 404940 w 538529"/>
                <a:gd name="connsiteY271" fmla="*/ 362898 h 538529"/>
                <a:gd name="connsiteX272" fmla="*/ 397720 w 538529"/>
                <a:gd name="connsiteY272" fmla="*/ 372437 h 538529"/>
                <a:gd name="connsiteX273" fmla="*/ 389873 w 538529"/>
                <a:gd name="connsiteY273" fmla="*/ 381664 h 538529"/>
                <a:gd name="connsiteX274" fmla="*/ 381085 w 538529"/>
                <a:gd name="connsiteY274" fmla="*/ 390108 h 538529"/>
                <a:gd name="connsiteX275" fmla="*/ 372139 w 538529"/>
                <a:gd name="connsiteY275" fmla="*/ 397927 h 538529"/>
                <a:gd name="connsiteX276" fmla="*/ 362409 w 538529"/>
                <a:gd name="connsiteY276" fmla="*/ 405121 h 538529"/>
                <a:gd name="connsiteX277" fmla="*/ 352051 w 538529"/>
                <a:gd name="connsiteY277" fmla="*/ 411689 h 538529"/>
                <a:gd name="connsiteX278" fmla="*/ 341379 w 538529"/>
                <a:gd name="connsiteY278" fmla="*/ 417319 h 538529"/>
                <a:gd name="connsiteX279" fmla="*/ 330236 w 538529"/>
                <a:gd name="connsiteY279" fmla="*/ 422479 h 538529"/>
                <a:gd name="connsiteX280" fmla="*/ 318623 w 538529"/>
                <a:gd name="connsiteY280" fmla="*/ 426702 h 538529"/>
                <a:gd name="connsiteX281" fmla="*/ 306695 w 538529"/>
                <a:gd name="connsiteY281" fmla="*/ 430142 h 538529"/>
                <a:gd name="connsiteX282" fmla="*/ 294454 w 538529"/>
                <a:gd name="connsiteY282" fmla="*/ 432644 h 538529"/>
                <a:gd name="connsiteX283" fmla="*/ 281585 w 538529"/>
                <a:gd name="connsiteY283" fmla="*/ 434208 h 538529"/>
                <a:gd name="connsiteX284" fmla="*/ 268716 w 538529"/>
                <a:gd name="connsiteY284" fmla="*/ 434990 h 538529"/>
                <a:gd name="connsiteX285" fmla="*/ 256317 w 538529"/>
                <a:gd name="connsiteY285" fmla="*/ 434677 h 538529"/>
                <a:gd name="connsiteX286" fmla="*/ 244233 w 538529"/>
                <a:gd name="connsiteY286" fmla="*/ 433426 h 538529"/>
                <a:gd name="connsiteX287" fmla="*/ 232462 w 538529"/>
                <a:gd name="connsiteY287" fmla="*/ 431237 h 538529"/>
                <a:gd name="connsiteX288" fmla="*/ 220849 w 538529"/>
                <a:gd name="connsiteY288" fmla="*/ 428265 h 538529"/>
                <a:gd name="connsiteX289" fmla="*/ 209706 w 538529"/>
                <a:gd name="connsiteY289" fmla="*/ 424356 h 538529"/>
                <a:gd name="connsiteX290" fmla="*/ 199034 w 538529"/>
                <a:gd name="connsiteY290" fmla="*/ 419821 h 538529"/>
                <a:gd name="connsiteX291" fmla="*/ 188676 w 538529"/>
                <a:gd name="connsiteY291" fmla="*/ 414504 h 538529"/>
                <a:gd name="connsiteX292" fmla="*/ 178632 w 538529"/>
                <a:gd name="connsiteY292" fmla="*/ 408405 h 538529"/>
                <a:gd name="connsiteX293" fmla="*/ 169216 w 538529"/>
                <a:gd name="connsiteY293" fmla="*/ 401524 h 538529"/>
                <a:gd name="connsiteX294" fmla="*/ 160270 w 538529"/>
                <a:gd name="connsiteY294" fmla="*/ 394174 h 538529"/>
                <a:gd name="connsiteX295" fmla="*/ 151795 w 538529"/>
                <a:gd name="connsiteY295" fmla="*/ 386199 h 538529"/>
                <a:gd name="connsiteX296" fmla="*/ 143948 w 538529"/>
                <a:gd name="connsiteY296" fmla="*/ 377598 h 538529"/>
                <a:gd name="connsiteX297" fmla="*/ 136729 w 538529"/>
                <a:gd name="connsiteY297" fmla="*/ 368528 h 538529"/>
                <a:gd name="connsiteX298" fmla="*/ 129981 w 538529"/>
                <a:gd name="connsiteY298" fmla="*/ 358988 h 538529"/>
                <a:gd name="connsiteX299" fmla="*/ 124174 w 538529"/>
                <a:gd name="connsiteY299" fmla="*/ 348980 h 538529"/>
                <a:gd name="connsiteX300" fmla="*/ 118681 w 538529"/>
                <a:gd name="connsiteY300" fmla="*/ 338502 h 538529"/>
                <a:gd name="connsiteX301" fmla="*/ 114130 w 538529"/>
                <a:gd name="connsiteY301" fmla="*/ 327868 h 538529"/>
                <a:gd name="connsiteX302" fmla="*/ 110206 w 538529"/>
                <a:gd name="connsiteY302" fmla="*/ 316765 h 538529"/>
                <a:gd name="connsiteX303" fmla="*/ 107067 w 538529"/>
                <a:gd name="connsiteY303" fmla="*/ 305349 h 538529"/>
                <a:gd name="connsiteX304" fmla="*/ 104713 w 538529"/>
                <a:gd name="connsiteY304" fmla="*/ 293464 h 538529"/>
                <a:gd name="connsiteX305" fmla="*/ 103301 w 538529"/>
                <a:gd name="connsiteY305" fmla="*/ 281579 h 538529"/>
                <a:gd name="connsiteX306" fmla="*/ 102673 w 538529"/>
                <a:gd name="connsiteY306" fmla="*/ 269538 h 538529"/>
                <a:gd name="connsiteX307" fmla="*/ 102359 w 538529"/>
                <a:gd name="connsiteY307" fmla="*/ 266723 h 538529"/>
                <a:gd name="connsiteX308" fmla="*/ 101104 w 538529"/>
                <a:gd name="connsiteY308" fmla="*/ 264377 h 538529"/>
                <a:gd name="connsiteX309" fmla="*/ 99691 w 538529"/>
                <a:gd name="connsiteY309" fmla="*/ 262344 h 538529"/>
                <a:gd name="connsiteX310" fmla="*/ 97808 w 538529"/>
                <a:gd name="connsiteY310" fmla="*/ 260937 h 538529"/>
                <a:gd name="connsiteX311" fmla="*/ 95454 w 538529"/>
                <a:gd name="connsiteY311" fmla="*/ 259842 h 538529"/>
                <a:gd name="connsiteX312" fmla="*/ 93100 w 538529"/>
                <a:gd name="connsiteY312" fmla="*/ 259373 h 538529"/>
                <a:gd name="connsiteX313" fmla="*/ 90746 w 538529"/>
                <a:gd name="connsiteY313" fmla="*/ 259373 h 538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538529" h="538529">
                  <a:moveTo>
                    <a:pt x="269265" y="0"/>
                  </a:moveTo>
                  <a:lnTo>
                    <a:pt x="285593" y="471"/>
                  </a:lnTo>
                  <a:lnTo>
                    <a:pt x="301922" y="2042"/>
                  </a:lnTo>
                  <a:lnTo>
                    <a:pt x="317622" y="4399"/>
                  </a:lnTo>
                  <a:lnTo>
                    <a:pt x="333166" y="7698"/>
                  </a:lnTo>
                  <a:lnTo>
                    <a:pt x="348395" y="11782"/>
                  </a:lnTo>
                  <a:lnTo>
                    <a:pt x="363154" y="16967"/>
                  </a:lnTo>
                  <a:lnTo>
                    <a:pt x="377598" y="22779"/>
                  </a:lnTo>
                  <a:lnTo>
                    <a:pt x="391572" y="29377"/>
                  </a:lnTo>
                  <a:lnTo>
                    <a:pt x="405231" y="36918"/>
                  </a:lnTo>
                  <a:lnTo>
                    <a:pt x="418263" y="44930"/>
                  </a:lnTo>
                  <a:lnTo>
                    <a:pt x="430666" y="53884"/>
                  </a:lnTo>
                  <a:lnTo>
                    <a:pt x="442756" y="63467"/>
                  </a:lnTo>
                  <a:lnTo>
                    <a:pt x="454217" y="73679"/>
                  </a:lnTo>
                  <a:lnTo>
                    <a:pt x="465051" y="84518"/>
                  </a:lnTo>
                  <a:lnTo>
                    <a:pt x="475256" y="95829"/>
                  </a:lnTo>
                  <a:lnTo>
                    <a:pt x="484676" y="107926"/>
                  </a:lnTo>
                  <a:lnTo>
                    <a:pt x="493469" y="120337"/>
                  </a:lnTo>
                  <a:lnTo>
                    <a:pt x="501790" y="133533"/>
                  </a:lnTo>
                  <a:lnTo>
                    <a:pt x="509169" y="146886"/>
                  </a:lnTo>
                  <a:lnTo>
                    <a:pt x="515920" y="161025"/>
                  </a:lnTo>
                  <a:lnTo>
                    <a:pt x="521730" y="175321"/>
                  </a:lnTo>
                  <a:lnTo>
                    <a:pt x="526597" y="190245"/>
                  </a:lnTo>
                  <a:lnTo>
                    <a:pt x="530993" y="205326"/>
                  </a:lnTo>
                  <a:lnTo>
                    <a:pt x="534133" y="220879"/>
                  </a:lnTo>
                  <a:lnTo>
                    <a:pt x="536488" y="236746"/>
                  </a:lnTo>
                  <a:lnTo>
                    <a:pt x="538058" y="252927"/>
                  </a:lnTo>
                  <a:lnTo>
                    <a:pt x="538529" y="269265"/>
                  </a:lnTo>
                  <a:lnTo>
                    <a:pt x="538058" y="285603"/>
                  </a:lnTo>
                  <a:lnTo>
                    <a:pt x="536488" y="301941"/>
                  </a:lnTo>
                  <a:lnTo>
                    <a:pt x="534133" y="317808"/>
                  </a:lnTo>
                  <a:lnTo>
                    <a:pt x="530993" y="333203"/>
                  </a:lnTo>
                  <a:lnTo>
                    <a:pt x="526597" y="348442"/>
                  </a:lnTo>
                  <a:lnTo>
                    <a:pt x="521730" y="363209"/>
                  </a:lnTo>
                  <a:lnTo>
                    <a:pt x="515920" y="377662"/>
                  </a:lnTo>
                  <a:lnTo>
                    <a:pt x="509169" y="391801"/>
                  </a:lnTo>
                  <a:lnTo>
                    <a:pt x="501790" y="405154"/>
                  </a:lnTo>
                  <a:lnTo>
                    <a:pt x="493469" y="418350"/>
                  </a:lnTo>
                  <a:lnTo>
                    <a:pt x="484676" y="430761"/>
                  </a:lnTo>
                  <a:lnTo>
                    <a:pt x="475256" y="442700"/>
                  </a:lnTo>
                  <a:lnTo>
                    <a:pt x="465051" y="454168"/>
                  </a:lnTo>
                  <a:lnTo>
                    <a:pt x="454217" y="465008"/>
                  </a:lnTo>
                  <a:lnTo>
                    <a:pt x="442756" y="475219"/>
                  </a:lnTo>
                  <a:lnTo>
                    <a:pt x="430666" y="484645"/>
                  </a:lnTo>
                  <a:lnTo>
                    <a:pt x="418263" y="493599"/>
                  </a:lnTo>
                  <a:lnTo>
                    <a:pt x="405231" y="501769"/>
                  </a:lnTo>
                  <a:lnTo>
                    <a:pt x="391572" y="509152"/>
                  </a:lnTo>
                  <a:lnTo>
                    <a:pt x="377598" y="515907"/>
                  </a:lnTo>
                  <a:lnTo>
                    <a:pt x="363154" y="521720"/>
                  </a:lnTo>
                  <a:lnTo>
                    <a:pt x="348395" y="526590"/>
                  </a:lnTo>
                  <a:lnTo>
                    <a:pt x="333166" y="530989"/>
                  </a:lnTo>
                  <a:lnTo>
                    <a:pt x="317622" y="534130"/>
                  </a:lnTo>
                  <a:lnTo>
                    <a:pt x="301922" y="536487"/>
                  </a:lnTo>
                  <a:lnTo>
                    <a:pt x="285593" y="537901"/>
                  </a:lnTo>
                  <a:lnTo>
                    <a:pt x="269265" y="538529"/>
                  </a:lnTo>
                  <a:lnTo>
                    <a:pt x="252779" y="537901"/>
                  </a:lnTo>
                  <a:lnTo>
                    <a:pt x="236764" y="536487"/>
                  </a:lnTo>
                  <a:lnTo>
                    <a:pt x="220907" y="534130"/>
                  </a:lnTo>
                  <a:lnTo>
                    <a:pt x="205206" y="530989"/>
                  </a:lnTo>
                  <a:lnTo>
                    <a:pt x="190134" y="526590"/>
                  </a:lnTo>
                  <a:lnTo>
                    <a:pt x="175218" y="521720"/>
                  </a:lnTo>
                  <a:lnTo>
                    <a:pt x="160774" y="515907"/>
                  </a:lnTo>
                  <a:lnTo>
                    <a:pt x="146957" y="509152"/>
                  </a:lnTo>
                  <a:lnTo>
                    <a:pt x="133455" y="501769"/>
                  </a:lnTo>
                  <a:lnTo>
                    <a:pt x="120423" y="493599"/>
                  </a:lnTo>
                  <a:lnTo>
                    <a:pt x="107863" y="484645"/>
                  </a:lnTo>
                  <a:lnTo>
                    <a:pt x="95774" y="475219"/>
                  </a:lnTo>
                  <a:lnTo>
                    <a:pt x="84469" y="465008"/>
                  </a:lnTo>
                  <a:lnTo>
                    <a:pt x="73636" y="454168"/>
                  </a:lnTo>
                  <a:lnTo>
                    <a:pt x="63430" y="442700"/>
                  </a:lnTo>
                  <a:lnTo>
                    <a:pt x="53853" y="430761"/>
                  </a:lnTo>
                  <a:lnTo>
                    <a:pt x="44904" y="418350"/>
                  </a:lnTo>
                  <a:lnTo>
                    <a:pt x="36896" y="405154"/>
                  </a:lnTo>
                  <a:lnTo>
                    <a:pt x="29360" y="391801"/>
                  </a:lnTo>
                  <a:lnTo>
                    <a:pt x="22766" y="377662"/>
                  </a:lnTo>
                  <a:lnTo>
                    <a:pt x="16957" y="363209"/>
                  </a:lnTo>
                  <a:lnTo>
                    <a:pt x="11776" y="348442"/>
                  </a:lnTo>
                  <a:lnTo>
                    <a:pt x="7693" y="333203"/>
                  </a:lnTo>
                  <a:lnTo>
                    <a:pt x="4396" y="317808"/>
                  </a:lnTo>
                  <a:lnTo>
                    <a:pt x="1884" y="301941"/>
                  </a:lnTo>
                  <a:lnTo>
                    <a:pt x="471" y="285603"/>
                  </a:lnTo>
                  <a:lnTo>
                    <a:pt x="0" y="269265"/>
                  </a:lnTo>
                  <a:lnTo>
                    <a:pt x="471" y="252927"/>
                  </a:lnTo>
                  <a:lnTo>
                    <a:pt x="1884" y="236746"/>
                  </a:lnTo>
                  <a:lnTo>
                    <a:pt x="4396" y="220879"/>
                  </a:lnTo>
                  <a:lnTo>
                    <a:pt x="7693" y="205326"/>
                  </a:lnTo>
                  <a:lnTo>
                    <a:pt x="11776" y="190245"/>
                  </a:lnTo>
                  <a:lnTo>
                    <a:pt x="16957" y="175321"/>
                  </a:lnTo>
                  <a:lnTo>
                    <a:pt x="22766" y="161025"/>
                  </a:lnTo>
                  <a:lnTo>
                    <a:pt x="29360" y="146886"/>
                  </a:lnTo>
                  <a:lnTo>
                    <a:pt x="36896" y="133533"/>
                  </a:lnTo>
                  <a:lnTo>
                    <a:pt x="44904" y="120337"/>
                  </a:lnTo>
                  <a:lnTo>
                    <a:pt x="53853" y="107926"/>
                  </a:lnTo>
                  <a:lnTo>
                    <a:pt x="63430" y="95829"/>
                  </a:lnTo>
                  <a:lnTo>
                    <a:pt x="73636" y="84518"/>
                  </a:lnTo>
                  <a:lnTo>
                    <a:pt x="84469" y="73679"/>
                  </a:lnTo>
                  <a:lnTo>
                    <a:pt x="95774" y="63467"/>
                  </a:lnTo>
                  <a:lnTo>
                    <a:pt x="107863" y="53884"/>
                  </a:lnTo>
                  <a:lnTo>
                    <a:pt x="120423" y="44930"/>
                  </a:lnTo>
                  <a:lnTo>
                    <a:pt x="133455" y="36918"/>
                  </a:lnTo>
                  <a:lnTo>
                    <a:pt x="146957" y="29377"/>
                  </a:lnTo>
                  <a:lnTo>
                    <a:pt x="160774" y="22779"/>
                  </a:lnTo>
                  <a:lnTo>
                    <a:pt x="175218" y="16967"/>
                  </a:lnTo>
                  <a:lnTo>
                    <a:pt x="190134" y="11782"/>
                  </a:lnTo>
                  <a:lnTo>
                    <a:pt x="205206" y="7698"/>
                  </a:lnTo>
                  <a:lnTo>
                    <a:pt x="220907" y="4399"/>
                  </a:lnTo>
                  <a:lnTo>
                    <a:pt x="236764" y="2042"/>
                  </a:lnTo>
                  <a:lnTo>
                    <a:pt x="252779" y="471"/>
                  </a:lnTo>
                  <a:lnTo>
                    <a:pt x="269265" y="0"/>
                  </a:lnTo>
                  <a:close/>
                  <a:moveTo>
                    <a:pt x="187465" y="134083"/>
                  </a:moveTo>
                  <a:lnTo>
                    <a:pt x="181184" y="134555"/>
                  </a:lnTo>
                  <a:lnTo>
                    <a:pt x="175218" y="135813"/>
                  </a:lnTo>
                  <a:lnTo>
                    <a:pt x="169566" y="138016"/>
                  </a:lnTo>
                  <a:lnTo>
                    <a:pt x="164385" y="141004"/>
                  </a:lnTo>
                  <a:lnTo>
                    <a:pt x="159675" y="144465"/>
                  </a:lnTo>
                  <a:lnTo>
                    <a:pt x="155592" y="148712"/>
                  </a:lnTo>
                  <a:lnTo>
                    <a:pt x="151981" y="153431"/>
                  </a:lnTo>
                  <a:lnTo>
                    <a:pt x="148998" y="158464"/>
                  </a:lnTo>
                  <a:lnTo>
                    <a:pt x="146957" y="164284"/>
                  </a:lnTo>
                  <a:lnTo>
                    <a:pt x="145544" y="170262"/>
                  </a:lnTo>
                  <a:lnTo>
                    <a:pt x="145073" y="176396"/>
                  </a:lnTo>
                  <a:lnTo>
                    <a:pt x="145544" y="182688"/>
                  </a:lnTo>
                  <a:lnTo>
                    <a:pt x="146957" y="188508"/>
                  </a:lnTo>
                  <a:lnTo>
                    <a:pt x="148998" y="194328"/>
                  </a:lnTo>
                  <a:lnTo>
                    <a:pt x="151981" y="199362"/>
                  </a:lnTo>
                  <a:lnTo>
                    <a:pt x="155592" y="204238"/>
                  </a:lnTo>
                  <a:lnTo>
                    <a:pt x="159675" y="208485"/>
                  </a:lnTo>
                  <a:lnTo>
                    <a:pt x="164385" y="211945"/>
                  </a:lnTo>
                  <a:lnTo>
                    <a:pt x="169566" y="214777"/>
                  </a:lnTo>
                  <a:lnTo>
                    <a:pt x="175218" y="216979"/>
                  </a:lnTo>
                  <a:lnTo>
                    <a:pt x="181184" y="218237"/>
                  </a:lnTo>
                  <a:lnTo>
                    <a:pt x="187465" y="218709"/>
                  </a:lnTo>
                  <a:lnTo>
                    <a:pt x="193588" y="218237"/>
                  </a:lnTo>
                  <a:lnTo>
                    <a:pt x="199711" y="216979"/>
                  </a:lnTo>
                  <a:lnTo>
                    <a:pt x="205206" y="214777"/>
                  </a:lnTo>
                  <a:lnTo>
                    <a:pt x="210544" y="211945"/>
                  </a:lnTo>
                  <a:lnTo>
                    <a:pt x="215098" y="208485"/>
                  </a:lnTo>
                  <a:lnTo>
                    <a:pt x="219337" y="204238"/>
                  </a:lnTo>
                  <a:lnTo>
                    <a:pt x="222948" y="199362"/>
                  </a:lnTo>
                  <a:lnTo>
                    <a:pt x="225774" y="194328"/>
                  </a:lnTo>
                  <a:lnTo>
                    <a:pt x="227972" y="188508"/>
                  </a:lnTo>
                  <a:lnTo>
                    <a:pt x="229228" y="182688"/>
                  </a:lnTo>
                  <a:lnTo>
                    <a:pt x="229699" y="176396"/>
                  </a:lnTo>
                  <a:lnTo>
                    <a:pt x="229228" y="170262"/>
                  </a:lnTo>
                  <a:lnTo>
                    <a:pt x="227972" y="164284"/>
                  </a:lnTo>
                  <a:lnTo>
                    <a:pt x="225774" y="158464"/>
                  </a:lnTo>
                  <a:lnTo>
                    <a:pt x="222948" y="153431"/>
                  </a:lnTo>
                  <a:lnTo>
                    <a:pt x="219337" y="148712"/>
                  </a:lnTo>
                  <a:lnTo>
                    <a:pt x="215098" y="144465"/>
                  </a:lnTo>
                  <a:lnTo>
                    <a:pt x="210544" y="141004"/>
                  </a:lnTo>
                  <a:lnTo>
                    <a:pt x="205206" y="138016"/>
                  </a:lnTo>
                  <a:lnTo>
                    <a:pt x="199711" y="135813"/>
                  </a:lnTo>
                  <a:lnTo>
                    <a:pt x="193588" y="134555"/>
                  </a:lnTo>
                  <a:lnTo>
                    <a:pt x="187465" y="134083"/>
                  </a:lnTo>
                  <a:close/>
                  <a:moveTo>
                    <a:pt x="346826" y="134083"/>
                  </a:moveTo>
                  <a:lnTo>
                    <a:pt x="340545" y="134555"/>
                  </a:lnTo>
                  <a:lnTo>
                    <a:pt x="334736" y="135813"/>
                  </a:lnTo>
                  <a:lnTo>
                    <a:pt x="329084" y="138016"/>
                  </a:lnTo>
                  <a:lnTo>
                    <a:pt x="323903" y="141004"/>
                  </a:lnTo>
                  <a:lnTo>
                    <a:pt x="319036" y="144465"/>
                  </a:lnTo>
                  <a:lnTo>
                    <a:pt x="314953" y="148712"/>
                  </a:lnTo>
                  <a:lnTo>
                    <a:pt x="311342" y="153431"/>
                  </a:lnTo>
                  <a:lnTo>
                    <a:pt x="308516" y="158464"/>
                  </a:lnTo>
                  <a:lnTo>
                    <a:pt x="306318" y="164284"/>
                  </a:lnTo>
                  <a:lnTo>
                    <a:pt x="305062" y="170262"/>
                  </a:lnTo>
                  <a:lnTo>
                    <a:pt x="304434" y="176396"/>
                  </a:lnTo>
                  <a:lnTo>
                    <a:pt x="305062" y="182688"/>
                  </a:lnTo>
                  <a:lnTo>
                    <a:pt x="306318" y="188508"/>
                  </a:lnTo>
                  <a:lnTo>
                    <a:pt x="308516" y="194328"/>
                  </a:lnTo>
                  <a:lnTo>
                    <a:pt x="311342" y="199362"/>
                  </a:lnTo>
                  <a:lnTo>
                    <a:pt x="314953" y="204238"/>
                  </a:lnTo>
                  <a:lnTo>
                    <a:pt x="319036" y="208485"/>
                  </a:lnTo>
                  <a:lnTo>
                    <a:pt x="323903" y="211945"/>
                  </a:lnTo>
                  <a:lnTo>
                    <a:pt x="329084" y="214777"/>
                  </a:lnTo>
                  <a:lnTo>
                    <a:pt x="334736" y="216979"/>
                  </a:lnTo>
                  <a:lnTo>
                    <a:pt x="340545" y="218237"/>
                  </a:lnTo>
                  <a:lnTo>
                    <a:pt x="346826" y="218709"/>
                  </a:lnTo>
                  <a:lnTo>
                    <a:pt x="353106" y="218237"/>
                  </a:lnTo>
                  <a:lnTo>
                    <a:pt x="359072" y="216979"/>
                  </a:lnTo>
                  <a:lnTo>
                    <a:pt x="364724" y="214777"/>
                  </a:lnTo>
                  <a:lnTo>
                    <a:pt x="369905" y="211945"/>
                  </a:lnTo>
                  <a:lnTo>
                    <a:pt x="374616" y="208485"/>
                  </a:lnTo>
                  <a:lnTo>
                    <a:pt x="378855" y="204238"/>
                  </a:lnTo>
                  <a:lnTo>
                    <a:pt x="382466" y="199362"/>
                  </a:lnTo>
                  <a:lnTo>
                    <a:pt x="385135" y="194328"/>
                  </a:lnTo>
                  <a:lnTo>
                    <a:pt x="387333" y="188508"/>
                  </a:lnTo>
                  <a:lnTo>
                    <a:pt x="388589" y="182688"/>
                  </a:lnTo>
                  <a:lnTo>
                    <a:pt x="389060" y="176396"/>
                  </a:lnTo>
                  <a:lnTo>
                    <a:pt x="388589" y="170262"/>
                  </a:lnTo>
                  <a:lnTo>
                    <a:pt x="387333" y="164284"/>
                  </a:lnTo>
                  <a:lnTo>
                    <a:pt x="385135" y="158464"/>
                  </a:lnTo>
                  <a:lnTo>
                    <a:pt x="382466" y="153431"/>
                  </a:lnTo>
                  <a:lnTo>
                    <a:pt x="378855" y="148712"/>
                  </a:lnTo>
                  <a:lnTo>
                    <a:pt x="374616" y="144465"/>
                  </a:lnTo>
                  <a:lnTo>
                    <a:pt x="369905" y="141004"/>
                  </a:lnTo>
                  <a:lnTo>
                    <a:pt x="364724" y="138016"/>
                  </a:lnTo>
                  <a:lnTo>
                    <a:pt x="359072" y="135813"/>
                  </a:lnTo>
                  <a:lnTo>
                    <a:pt x="353106" y="134555"/>
                  </a:lnTo>
                  <a:lnTo>
                    <a:pt x="346826" y="134083"/>
                  </a:lnTo>
                  <a:close/>
                  <a:moveTo>
                    <a:pt x="90746" y="259373"/>
                  </a:moveTo>
                  <a:lnTo>
                    <a:pt x="88234" y="259842"/>
                  </a:lnTo>
                  <a:lnTo>
                    <a:pt x="86037" y="260937"/>
                  </a:lnTo>
                  <a:lnTo>
                    <a:pt x="84154" y="262344"/>
                  </a:lnTo>
                  <a:lnTo>
                    <a:pt x="82585" y="264377"/>
                  </a:lnTo>
                  <a:lnTo>
                    <a:pt x="81643" y="266723"/>
                  </a:lnTo>
                  <a:lnTo>
                    <a:pt x="81329" y="269538"/>
                  </a:lnTo>
                  <a:lnTo>
                    <a:pt x="82114" y="283612"/>
                  </a:lnTo>
                  <a:lnTo>
                    <a:pt x="83840" y="297061"/>
                  </a:lnTo>
                  <a:lnTo>
                    <a:pt x="86351" y="310354"/>
                  </a:lnTo>
                  <a:lnTo>
                    <a:pt x="89961" y="323177"/>
                  </a:lnTo>
                  <a:lnTo>
                    <a:pt x="94512" y="335844"/>
                  </a:lnTo>
                  <a:lnTo>
                    <a:pt x="99534" y="347885"/>
                  </a:lnTo>
                  <a:lnTo>
                    <a:pt x="105655" y="359457"/>
                  </a:lnTo>
                  <a:lnTo>
                    <a:pt x="112246" y="370717"/>
                  </a:lnTo>
                  <a:lnTo>
                    <a:pt x="119936" y="381351"/>
                  </a:lnTo>
                  <a:lnTo>
                    <a:pt x="128097" y="391359"/>
                  </a:lnTo>
                  <a:lnTo>
                    <a:pt x="136886" y="400742"/>
                  </a:lnTo>
                  <a:lnTo>
                    <a:pt x="146459" y="409500"/>
                  </a:lnTo>
                  <a:lnTo>
                    <a:pt x="156503" y="417788"/>
                  </a:lnTo>
                  <a:lnTo>
                    <a:pt x="167175" y="425294"/>
                  </a:lnTo>
                  <a:lnTo>
                    <a:pt x="178318" y="432018"/>
                  </a:lnTo>
                  <a:lnTo>
                    <a:pt x="190246" y="437961"/>
                  </a:lnTo>
                  <a:lnTo>
                    <a:pt x="202330" y="443122"/>
                  </a:lnTo>
                  <a:lnTo>
                    <a:pt x="214728" y="447657"/>
                  </a:lnTo>
                  <a:lnTo>
                    <a:pt x="227911" y="450941"/>
                  </a:lnTo>
                  <a:lnTo>
                    <a:pt x="241094" y="453599"/>
                  </a:lnTo>
                  <a:lnTo>
                    <a:pt x="254748" y="455476"/>
                  </a:lnTo>
                  <a:lnTo>
                    <a:pt x="268716" y="456101"/>
                  </a:lnTo>
                  <a:lnTo>
                    <a:pt x="282056" y="455788"/>
                  </a:lnTo>
                  <a:lnTo>
                    <a:pt x="295082" y="454537"/>
                  </a:lnTo>
                  <a:lnTo>
                    <a:pt x="307794" y="452348"/>
                  </a:lnTo>
                  <a:lnTo>
                    <a:pt x="320349" y="449220"/>
                  </a:lnTo>
                  <a:lnTo>
                    <a:pt x="332433" y="445311"/>
                  </a:lnTo>
                  <a:lnTo>
                    <a:pt x="344204" y="440619"/>
                  </a:lnTo>
                  <a:lnTo>
                    <a:pt x="355504" y="434833"/>
                  </a:lnTo>
                  <a:lnTo>
                    <a:pt x="366332" y="428734"/>
                  </a:lnTo>
                  <a:lnTo>
                    <a:pt x="376690" y="421541"/>
                  </a:lnTo>
                  <a:lnTo>
                    <a:pt x="386735" y="413878"/>
                  </a:lnTo>
                  <a:lnTo>
                    <a:pt x="395994" y="405434"/>
                  </a:lnTo>
                  <a:lnTo>
                    <a:pt x="404783" y="396520"/>
                  </a:lnTo>
                  <a:lnTo>
                    <a:pt x="412944" y="386981"/>
                  </a:lnTo>
                  <a:lnTo>
                    <a:pt x="420634" y="377129"/>
                  </a:lnTo>
                  <a:lnTo>
                    <a:pt x="427539" y="366495"/>
                  </a:lnTo>
                  <a:lnTo>
                    <a:pt x="433660" y="355548"/>
                  </a:lnTo>
                  <a:lnTo>
                    <a:pt x="439310" y="344132"/>
                  </a:lnTo>
                  <a:lnTo>
                    <a:pt x="444018" y="332560"/>
                  </a:lnTo>
                  <a:lnTo>
                    <a:pt x="448098" y="320518"/>
                  </a:lnTo>
                  <a:lnTo>
                    <a:pt x="451394" y="308008"/>
                  </a:lnTo>
                  <a:lnTo>
                    <a:pt x="453748" y="295497"/>
                  </a:lnTo>
                  <a:lnTo>
                    <a:pt x="455317" y="282518"/>
                  </a:lnTo>
                  <a:lnTo>
                    <a:pt x="456102" y="269538"/>
                  </a:lnTo>
                  <a:lnTo>
                    <a:pt x="455631" y="266723"/>
                  </a:lnTo>
                  <a:lnTo>
                    <a:pt x="454690" y="264377"/>
                  </a:lnTo>
                  <a:lnTo>
                    <a:pt x="453277" y="262344"/>
                  </a:lnTo>
                  <a:lnTo>
                    <a:pt x="451394" y="260937"/>
                  </a:lnTo>
                  <a:lnTo>
                    <a:pt x="449197" y="259842"/>
                  </a:lnTo>
                  <a:lnTo>
                    <a:pt x="446843" y="259373"/>
                  </a:lnTo>
                  <a:lnTo>
                    <a:pt x="444332" y="259373"/>
                  </a:lnTo>
                  <a:lnTo>
                    <a:pt x="441978" y="259842"/>
                  </a:lnTo>
                  <a:lnTo>
                    <a:pt x="439623" y="260937"/>
                  </a:lnTo>
                  <a:lnTo>
                    <a:pt x="437897" y="262344"/>
                  </a:lnTo>
                  <a:lnTo>
                    <a:pt x="436171" y="264377"/>
                  </a:lnTo>
                  <a:lnTo>
                    <a:pt x="435229" y="266723"/>
                  </a:lnTo>
                  <a:lnTo>
                    <a:pt x="434758" y="269538"/>
                  </a:lnTo>
                  <a:lnTo>
                    <a:pt x="434131" y="282518"/>
                  </a:lnTo>
                  <a:lnTo>
                    <a:pt x="432404" y="295185"/>
                  </a:lnTo>
                  <a:lnTo>
                    <a:pt x="429893" y="307382"/>
                  </a:lnTo>
                  <a:lnTo>
                    <a:pt x="426597" y="319267"/>
                  </a:lnTo>
                  <a:lnTo>
                    <a:pt x="422203" y="330840"/>
                  </a:lnTo>
                  <a:lnTo>
                    <a:pt x="417181" y="341943"/>
                  </a:lnTo>
                  <a:lnTo>
                    <a:pt x="411374" y="352733"/>
                  </a:lnTo>
                  <a:lnTo>
                    <a:pt x="404940" y="362898"/>
                  </a:lnTo>
                  <a:lnTo>
                    <a:pt x="397720" y="372437"/>
                  </a:lnTo>
                  <a:lnTo>
                    <a:pt x="389873" y="381664"/>
                  </a:lnTo>
                  <a:lnTo>
                    <a:pt x="381085" y="390108"/>
                  </a:lnTo>
                  <a:lnTo>
                    <a:pt x="372139" y="397927"/>
                  </a:lnTo>
                  <a:lnTo>
                    <a:pt x="362409" y="405121"/>
                  </a:lnTo>
                  <a:lnTo>
                    <a:pt x="352051" y="411689"/>
                  </a:lnTo>
                  <a:lnTo>
                    <a:pt x="341379" y="417319"/>
                  </a:lnTo>
                  <a:lnTo>
                    <a:pt x="330236" y="422479"/>
                  </a:lnTo>
                  <a:lnTo>
                    <a:pt x="318623" y="426702"/>
                  </a:lnTo>
                  <a:lnTo>
                    <a:pt x="306695" y="430142"/>
                  </a:lnTo>
                  <a:lnTo>
                    <a:pt x="294454" y="432644"/>
                  </a:lnTo>
                  <a:lnTo>
                    <a:pt x="281585" y="434208"/>
                  </a:lnTo>
                  <a:lnTo>
                    <a:pt x="268716" y="434990"/>
                  </a:lnTo>
                  <a:lnTo>
                    <a:pt x="256317" y="434677"/>
                  </a:lnTo>
                  <a:lnTo>
                    <a:pt x="244233" y="433426"/>
                  </a:lnTo>
                  <a:lnTo>
                    <a:pt x="232462" y="431237"/>
                  </a:lnTo>
                  <a:lnTo>
                    <a:pt x="220849" y="428265"/>
                  </a:lnTo>
                  <a:lnTo>
                    <a:pt x="209706" y="424356"/>
                  </a:lnTo>
                  <a:lnTo>
                    <a:pt x="199034" y="419821"/>
                  </a:lnTo>
                  <a:lnTo>
                    <a:pt x="188676" y="414504"/>
                  </a:lnTo>
                  <a:lnTo>
                    <a:pt x="178632" y="408405"/>
                  </a:lnTo>
                  <a:lnTo>
                    <a:pt x="169216" y="401524"/>
                  </a:lnTo>
                  <a:lnTo>
                    <a:pt x="160270" y="394174"/>
                  </a:lnTo>
                  <a:lnTo>
                    <a:pt x="151795" y="386199"/>
                  </a:lnTo>
                  <a:lnTo>
                    <a:pt x="143948" y="377598"/>
                  </a:lnTo>
                  <a:lnTo>
                    <a:pt x="136729" y="368528"/>
                  </a:lnTo>
                  <a:lnTo>
                    <a:pt x="129981" y="358988"/>
                  </a:lnTo>
                  <a:lnTo>
                    <a:pt x="124174" y="348980"/>
                  </a:lnTo>
                  <a:lnTo>
                    <a:pt x="118681" y="338502"/>
                  </a:lnTo>
                  <a:lnTo>
                    <a:pt x="114130" y="327868"/>
                  </a:lnTo>
                  <a:lnTo>
                    <a:pt x="110206" y="316765"/>
                  </a:lnTo>
                  <a:lnTo>
                    <a:pt x="107067" y="305349"/>
                  </a:lnTo>
                  <a:lnTo>
                    <a:pt x="104713" y="293464"/>
                  </a:lnTo>
                  <a:lnTo>
                    <a:pt x="103301" y="281579"/>
                  </a:lnTo>
                  <a:lnTo>
                    <a:pt x="102673" y="269538"/>
                  </a:lnTo>
                  <a:lnTo>
                    <a:pt x="102359" y="266723"/>
                  </a:lnTo>
                  <a:lnTo>
                    <a:pt x="101104" y="264377"/>
                  </a:lnTo>
                  <a:lnTo>
                    <a:pt x="99691" y="262344"/>
                  </a:lnTo>
                  <a:lnTo>
                    <a:pt x="97808" y="260937"/>
                  </a:lnTo>
                  <a:lnTo>
                    <a:pt x="95454" y="259842"/>
                  </a:lnTo>
                  <a:lnTo>
                    <a:pt x="93100" y="259373"/>
                  </a:lnTo>
                  <a:lnTo>
                    <a:pt x="90746" y="259373"/>
                  </a:lnTo>
                  <a:close/>
                </a:path>
              </a:pathLst>
            </a:custGeom>
            <a:solidFill>
              <a:schemeClr val="accent1"/>
            </a:solidFill>
            <a:ln w="0">
              <a:noFill/>
              <a:prstDash val="solid"/>
              <a:round/>
            </a:ln>
            <a:extLst>
              <a:ext uri="{91240B29-F687-4F45-9708-019B960494DF}">
                <a14:hiddenLine xmlns:a14="http://schemas.microsoft.com/office/drawing/2010/main" w="0">
                  <a:solidFill>
                    <a:srgbClr val="333333"/>
                  </a:solidFill>
                  <a:prstDash val="solid"/>
                  <a:round/>
                </a14:hiddenLine>
              </a:ext>
            </a:extLst>
          </p:spPr>
          <p:txBody>
            <a:bodyPr vert="horz" wrap="square" lIns="63305" tIns="31652" rIns="63305" bIns="31652" numCol="1" anchor="t" anchorCtr="0" compatLnSpc="1">
              <a:noAutofit/>
            </a:bodyPr>
            <a:lstStyle/>
            <a:p>
              <a:endParaRPr lang="en-US" sz="1245"/>
            </a:p>
          </p:txBody>
        </p:sp>
        <p:sp>
          <p:nvSpPr>
            <p:cNvPr id="226" name="任意多边形 225"/>
            <p:cNvSpPr/>
            <p:nvPr/>
          </p:nvSpPr>
          <p:spPr bwMode="auto">
            <a:xfrm>
              <a:off x="3744413" y="4059957"/>
              <a:ext cx="385938" cy="385938"/>
            </a:xfrm>
            <a:custGeom>
              <a:avLst/>
              <a:gdLst>
                <a:gd name="connsiteX0" fmla="*/ 269265 w 538529"/>
                <a:gd name="connsiteY0" fmla="*/ 0 h 538529"/>
                <a:gd name="connsiteX1" fmla="*/ 285593 w 538529"/>
                <a:gd name="connsiteY1" fmla="*/ 472 h 538529"/>
                <a:gd name="connsiteX2" fmla="*/ 301922 w 538529"/>
                <a:gd name="connsiteY2" fmla="*/ 2043 h 538529"/>
                <a:gd name="connsiteX3" fmla="*/ 317622 w 538529"/>
                <a:gd name="connsiteY3" fmla="*/ 4399 h 538529"/>
                <a:gd name="connsiteX4" fmla="*/ 333166 w 538529"/>
                <a:gd name="connsiteY4" fmla="*/ 7698 h 538529"/>
                <a:gd name="connsiteX5" fmla="*/ 348395 w 538529"/>
                <a:gd name="connsiteY5" fmla="*/ 11783 h 538529"/>
                <a:gd name="connsiteX6" fmla="*/ 363154 w 538529"/>
                <a:gd name="connsiteY6" fmla="*/ 16967 h 538529"/>
                <a:gd name="connsiteX7" fmla="*/ 377598 w 538529"/>
                <a:gd name="connsiteY7" fmla="*/ 22779 h 538529"/>
                <a:gd name="connsiteX8" fmla="*/ 391729 w 538529"/>
                <a:gd name="connsiteY8" fmla="*/ 29377 h 538529"/>
                <a:gd name="connsiteX9" fmla="*/ 405231 w 538529"/>
                <a:gd name="connsiteY9" fmla="*/ 36918 h 538529"/>
                <a:gd name="connsiteX10" fmla="*/ 418263 w 538529"/>
                <a:gd name="connsiteY10" fmla="*/ 44930 h 538529"/>
                <a:gd name="connsiteX11" fmla="*/ 430666 w 538529"/>
                <a:gd name="connsiteY11" fmla="*/ 53885 h 538529"/>
                <a:gd name="connsiteX12" fmla="*/ 442756 w 538529"/>
                <a:gd name="connsiteY12" fmla="*/ 63467 h 538529"/>
                <a:gd name="connsiteX13" fmla="*/ 454217 w 538529"/>
                <a:gd name="connsiteY13" fmla="*/ 73679 h 538529"/>
                <a:gd name="connsiteX14" fmla="*/ 465051 w 538529"/>
                <a:gd name="connsiteY14" fmla="*/ 84519 h 538529"/>
                <a:gd name="connsiteX15" fmla="*/ 475256 w 538529"/>
                <a:gd name="connsiteY15" fmla="*/ 95830 h 538529"/>
                <a:gd name="connsiteX16" fmla="*/ 484676 w 538529"/>
                <a:gd name="connsiteY16" fmla="*/ 107926 h 538529"/>
                <a:gd name="connsiteX17" fmla="*/ 493469 w 538529"/>
                <a:gd name="connsiteY17" fmla="*/ 120337 h 538529"/>
                <a:gd name="connsiteX18" fmla="*/ 501790 w 538529"/>
                <a:gd name="connsiteY18" fmla="*/ 133533 h 538529"/>
                <a:gd name="connsiteX19" fmla="*/ 509169 w 538529"/>
                <a:gd name="connsiteY19" fmla="*/ 146886 h 538529"/>
                <a:gd name="connsiteX20" fmla="*/ 515920 w 538529"/>
                <a:gd name="connsiteY20" fmla="*/ 160868 h 538529"/>
                <a:gd name="connsiteX21" fmla="*/ 521730 w 538529"/>
                <a:gd name="connsiteY21" fmla="*/ 175321 h 538529"/>
                <a:gd name="connsiteX22" fmla="*/ 526597 w 538529"/>
                <a:gd name="connsiteY22" fmla="*/ 190245 h 538529"/>
                <a:gd name="connsiteX23" fmla="*/ 530993 w 538529"/>
                <a:gd name="connsiteY23" fmla="*/ 205326 h 538529"/>
                <a:gd name="connsiteX24" fmla="*/ 534133 w 538529"/>
                <a:gd name="connsiteY24" fmla="*/ 220879 h 538529"/>
                <a:gd name="connsiteX25" fmla="*/ 536488 w 538529"/>
                <a:gd name="connsiteY25" fmla="*/ 236746 h 538529"/>
                <a:gd name="connsiteX26" fmla="*/ 538058 w 538529"/>
                <a:gd name="connsiteY26" fmla="*/ 252927 h 538529"/>
                <a:gd name="connsiteX27" fmla="*/ 538529 w 538529"/>
                <a:gd name="connsiteY27" fmla="*/ 269265 h 538529"/>
                <a:gd name="connsiteX28" fmla="*/ 538058 w 538529"/>
                <a:gd name="connsiteY28" fmla="*/ 285603 h 538529"/>
                <a:gd name="connsiteX29" fmla="*/ 536488 w 538529"/>
                <a:gd name="connsiteY29" fmla="*/ 301941 h 538529"/>
                <a:gd name="connsiteX30" fmla="*/ 534133 w 538529"/>
                <a:gd name="connsiteY30" fmla="*/ 317808 h 538529"/>
                <a:gd name="connsiteX31" fmla="*/ 530993 w 538529"/>
                <a:gd name="connsiteY31" fmla="*/ 333203 h 538529"/>
                <a:gd name="connsiteX32" fmla="*/ 526597 w 538529"/>
                <a:gd name="connsiteY32" fmla="*/ 348442 h 538529"/>
                <a:gd name="connsiteX33" fmla="*/ 521730 w 538529"/>
                <a:gd name="connsiteY33" fmla="*/ 363209 h 538529"/>
                <a:gd name="connsiteX34" fmla="*/ 515920 w 538529"/>
                <a:gd name="connsiteY34" fmla="*/ 377662 h 538529"/>
                <a:gd name="connsiteX35" fmla="*/ 509169 w 538529"/>
                <a:gd name="connsiteY35" fmla="*/ 391801 h 538529"/>
                <a:gd name="connsiteX36" fmla="*/ 501790 w 538529"/>
                <a:gd name="connsiteY36" fmla="*/ 405154 h 538529"/>
                <a:gd name="connsiteX37" fmla="*/ 493469 w 538529"/>
                <a:gd name="connsiteY37" fmla="*/ 418350 h 538529"/>
                <a:gd name="connsiteX38" fmla="*/ 484676 w 538529"/>
                <a:gd name="connsiteY38" fmla="*/ 430761 h 538529"/>
                <a:gd name="connsiteX39" fmla="*/ 475256 w 538529"/>
                <a:gd name="connsiteY39" fmla="*/ 442700 h 538529"/>
                <a:gd name="connsiteX40" fmla="*/ 465051 w 538529"/>
                <a:gd name="connsiteY40" fmla="*/ 454168 h 538529"/>
                <a:gd name="connsiteX41" fmla="*/ 454217 w 538529"/>
                <a:gd name="connsiteY41" fmla="*/ 465008 h 538529"/>
                <a:gd name="connsiteX42" fmla="*/ 442756 w 538529"/>
                <a:gd name="connsiteY42" fmla="*/ 475219 h 538529"/>
                <a:gd name="connsiteX43" fmla="*/ 430666 w 538529"/>
                <a:gd name="connsiteY43" fmla="*/ 484645 h 538529"/>
                <a:gd name="connsiteX44" fmla="*/ 418263 w 538529"/>
                <a:gd name="connsiteY44" fmla="*/ 493599 h 538529"/>
                <a:gd name="connsiteX45" fmla="*/ 405231 w 538529"/>
                <a:gd name="connsiteY45" fmla="*/ 501769 h 538529"/>
                <a:gd name="connsiteX46" fmla="*/ 391729 w 538529"/>
                <a:gd name="connsiteY46" fmla="*/ 509152 h 538529"/>
                <a:gd name="connsiteX47" fmla="*/ 377598 w 538529"/>
                <a:gd name="connsiteY47" fmla="*/ 515907 h 538529"/>
                <a:gd name="connsiteX48" fmla="*/ 363154 w 538529"/>
                <a:gd name="connsiteY48" fmla="*/ 521720 h 538529"/>
                <a:gd name="connsiteX49" fmla="*/ 348395 w 538529"/>
                <a:gd name="connsiteY49" fmla="*/ 526590 h 538529"/>
                <a:gd name="connsiteX50" fmla="*/ 333166 w 538529"/>
                <a:gd name="connsiteY50" fmla="*/ 530989 h 538529"/>
                <a:gd name="connsiteX51" fmla="*/ 317622 w 538529"/>
                <a:gd name="connsiteY51" fmla="*/ 534130 h 538529"/>
                <a:gd name="connsiteX52" fmla="*/ 301922 w 538529"/>
                <a:gd name="connsiteY52" fmla="*/ 536487 h 538529"/>
                <a:gd name="connsiteX53" fmla="*/ 285593 w 538529"/>
                <a:gd name="connsiteY53" fmla="*/ 537901 h 538529"/>
                <a:gd name="connsiteX54" fmla="*/ 269265 w 538529"/>
                <a:gd name="connsiteY54" fmla="*/ 538529 h 538529"/>
                <a:gd name="connsiteX55" fmla="*/ 252779 w 538529"/>
                <a:gd name="connsiteY55" fmla="*/ 537901 h 538529"/>
                <a:gd name="connsiteX56" fmla="*/ 236764 w 538529"/>
                <a:gd name="connsiteY56" fmla="*/ 536487 h 538529"/>
                <a:gd name="connsiteX57" fmla="*/ 220907 w 538529"/>
                <a:gd name="connsiteY57" fmla="*/ 534130 h 538529"/>
                <a:gd name="connsiteX58" fmla="*/ 205206 w 538529"/>
                <a:gd name="connsiteY58" fmla="*/ 530989 h 538529"/>
                <a:gd name="connsiteX59" fmla="*/ 190134 w 538529"/>
                <a:gd name="connsiteY59" fmla="*/ 526590 h 538529"/>
                <a:gd name="connsiteX60" fmla="*/ 175218 w 538529"/>
                <a:gd name="connsiteY60" fmla="*/ 521720 h 538529"/>
                <a:gd name="connsiteX61" fmla="*/ 160774 w 538529"/>
                <a:gd name="connsiteY61" fmla="*/ 515907 h 538529"/>
                <a:gd name="connsiteX62" fmla="*/ 146957 w 538529"/>
                <a:gd name="connsiteY62" fmla="*/ 509152 h 538529"/>
                <a:gd name="connsiteX63" fmla="*/ 133455 w 538529"/>
                <a:gd name="connsiteY63" fmla="*/ 501769 h 538529"/>
                <a:gd name="connsiteX64" fmla="*/ 120423 w 538529"/>
                <a:gd name="connsiteY64" fmla="*/ 493599 h 538529"/>
                <a:gd name="connsiteX65" fmla="*/ 107863 w 538529"/>
                <a:gd name="connsiteY65" fmla="*/ 484645 h 538529"/>
                <a:gd name="connsiteX66" fmla="*/ 95774 w 538529"/>
                <a:gd name="connsiteY66" fmla="*/ 475219 h 538529"/>
                <a:gd name="connsiteX67" fmla="*/ 84469 w 538529"/>
                <a:gd name="connsiteY67" fmla="*/ 465008 h 538529"/>
                <a:gd name="connsiteX68" fmla="*/ 73636 w 538529"/>
                <a:gd name="connsiteY68" fmla="*/ 454168 h 538529"/>
                <a:gd name="connsiteX69" fmla="*/ 63430 w 538529"/>
                <a:gd name="connsiteY69" fmla="*/ 442700 h 538529"/>
                <a:gd name="connsiteX70" fmla="*/ 53853 w 538529"/>
                <a:gd name="connsiteY70" fmla="*/ 430761 h 538529"/>
                <a:gd name="connsiteX71" fmla="*/ 44904 w 538529"/>
                <a:gd name="connsiteY71" fmla="*/ 418350 h 538529"/>
                <a:gd name="connsiteX72" fmla="*/ 36896 w 538529"/>
                <a:gd name="connsiteY72" fmla="*/ 405154 h 538529"/>
                <a:gd name="connsiteX73" fmla="*/ 29360 w 538529"/>
                <a:gd name="connsiteY73" fmla="*/ 391801 h 538529"/>
                <a:gd name="connsiteX74" fmla="*/ 22766 w 538529"/>
                <a:gd name="connsiteY74" fmla="*/ 377662 h 538529"/>
                <a:gd name="connsiteX75" fmla="*/ 16957 w 538529"/>
                <a:gd name="connsiteY75" fmla="*/ 363209 h 538529"/>
                <a:gd name="connsiteX76" fmla="*/ 11776 w 538529"/>
                <a:gd name="connsiteY76" fmla="*/ 348442 h 538529"/>
                <a:gd name="connsiteX77" fmla="*/ 7693 w 538529"/>
                <a:gd name="connsiteY77" fmla="*/ 333203 h 538529"/>
                <a:gd name="connsiteX78" fmla="*/ 4396 w 538529"/>
                <a:gd name="connsiteY78" fmla="*/ 317808 h 538529"/>
                <a:gd name="connsiteX79" fmla="*/ 1884 w 538529"/>
                <a:gd name="connsiteY79" fmla="*/ 301941 h 538529"/>
                <a:gd name="connsiteX80" fmla="*/ 471 w 538529"/>
                <a:gd name="connsiteY80" fmla="*/ 285603 h 538529"/>
                <a:gd name="connsiteX81" fmla="*/ 0 w 538529"/>
                <a:gd name="connsiteY81" fmla="*/ 269265 h 538529"/>
                <a:gd name="connsiteX82" fmla="*/ 471 w 538529"/>
                <a:gd name="connsiteY82" fmla="*/ 252927 h 538529"/>
                <a:gd name="connsiteX83" fmla="*/ 1884 w 538529"/>
                <a:gd name="connsiteY83" fmla="*/ 236746 h 538529"/>
                <a:gd name="connsiteX84" fmla="*/ 4396 w 538529"/>
                <a:gd name="connsiteY84" fmla="*/ 220879 h 538529"/>
                <a:gd name="connsiteX85" fmla="*/ 7693 w 538529"/>
                <a:gd name="connsiteY85" fmla="*/ 205326 h 538529"/>
                <a:gd name="connsiteX86" fmla="*/ 11776 w 538529"/>
                <a:gd name="connsiteY86" fmla="*/ 190245 h 538529"/>
                <a:gd name="connsiteX87" fmla="*/ 16957 w 538529"/>
                <a:gd name="connsiteY87" fmla="*/ 175321 h 538529"/>
                <a:gd name="connsiteX88" fmla="*/ 22766 w 538529"/>
                <a:gd name="connsiteY88" fmla="*/ 160868 h 538529"/>
                <a:gd name="connsiteX89" fmla="*/ 29360 w 538529"/>
                <a:gd name="connsiteY89" fmla="*/ 146886 h 538529"/>
                <a:gd name="connsiteX90" fmla="*/ 36896 w 538529"/>
                <a:gd name="connsiteY90" fmla="*/ 133533 h 538529"/>
                <a:gd name="connsiteX91" fmla="*/ 44904 w 538529"/>
                <a:gd name="connsiteY91" fmla="*/ 120337 h 538529"/>
                <a:gd name="connsiteX92" fmla="*/ 53853 w 538529"/>
                <a:gd name="connsiteY92" fmla="*/ 107926 h 538529"/>
                <a:gd name="connsiteX93" fmla="*/ 63430 w 538529"/>
                <a:gd name="connsiteY93" fmla="*/ 95830 h 538529"/>
                <a:gd name="connsiteX94" fmla="*/ 73636 w 538529"/>
                <a:gd name="connsiteY94" fmla="*/ 84519 h 538529"/>
                <a:gd name="connsiteX95" fmla="*/ 84469 w 538529"/>
                <a:gd name="connsiteY95" fmla="*/ 73679 h 538529"/>
                <a:gd name="connsiteX96" fmla="*/ 95774 w 538529"/>
                <a:gd name="connsiteY96" fmla="*/ 63467 h 538529"/>
                <a:gd name="connsiteX97" fmla="*/ 107863 w 538529"/>
                <a:gd name="connsiteY97" fmla="*/ 53885 h 538529"/>
                <a:gd name="connsiteX98" fmla="*/ 120423 w 538529"/>
                <a:gd name="connsiteY98" fmla="*/ 44930 h 538529"/>
                <a:gd name="connsiteX99" fmla="*/ 133455 w 538529"/>
                <a:gd name="connsiteY99" fmla="*/ 36918 h 538529"/>
                <a:gd name="connsiteX100" fmla="*/ 146957 w 538529"/>
                <a:gd name="connsiteY100" fmla="*/ 29377 h 538529"/>
                <a:gd name="connsiteX101" fmla="*/ 160774 w 538529"/>
                <a:gd name="connsiteY101" fmla="*/ 22779 h 538529"/>
                <a:gd name="connsiteX102" fmla="*/ 175218 w 538529"/>
                <a:gd name="connsiteY102" fmla="*/ 16967 h 538529"/>
                <a:gd name="connsiteX103" fmla="*/ 190134 w 538529"/>
                <a:gd name="connsiteY103" fmla="*/ 11783 h 538529"/>
                <a:gd name="connsiteX104" fmla="*/ 205206 w 538529"/>
                <a:gd name="connsiteY104" fmla="*/ 7698 h 538529"/>
                <a:gd name="connsiteX105" fmla="*/ 220907 w 538529"/>
                <a:gd name="connsiteY105" fmla="*/ 4399 h 538529"/>
                <a:gd name="connsiteX106" fmla="*/ 236764 w 538529"/>
                <a:gd name="connsiteY106" fmla="*/ 2043 h 538529"/>
                <a:gd name="connsiteX107" fmla="*/ 252779 w 538529"/>
                <a:gd name="connsiteY107" fmla="*/ 472 h 538529"/>
                <a:gd name="connsiteX108" fmla="*/ 269265 w 538529"/>
                <a:gd name="connsiteY108" fmla="*/ 0 h 538529"/>
                <a:gd name="connsiteX109" fmla="*/ 352581 w 538529"/>
                <a:gd name="connsiteY109" fmla="*/ 73635 h 538529"/>
                <a:gd name="connsiteX110" fmla="*/ 350385 w 538529"/>
                <a:gd name="connsiteY110" fmla="*/ 73952 h 538529"/>
                <a:gd name="connsiteX111" fmla="*/ 348189 w 538529"/>
                <a:gd name="connsiteY111" fmla="*/ 74902 h 538529"/>
                <a:gd name="connsiteX112" fmla="*/ 346464 w 538529"/>
                <a:gd name="connsiteY112" fmla="*/ 76645 h 538529"/>
                <a:gd name="connsiteX113" fmla="*/ 303960 w 538529"/>
                <a:gd name="connsiteY113" fmla="*/ 126694 h 538529"/>
                <a:gd name="connsiteX114" fmla="*/ 302392 w 538529"/>
                <a:gd name="connsiteY114" fmla="*/ 129228 h 538529"/>
                <a:gd name="connsiteX115" fmla="*/ 301451 w 538529"/>
                <a:gd name="connsiteY115" fmla="*/ 131763 h 538529"/>
                <a:gd name="connsiteX116" fmla="*/ 301137 w 538529"/>
                <a:gd name="connsiteY116" fmla="*/ 134297 h 538529"/>
                <a:gd name="connsiteX117" fmla="*/ 301608 w 538529"/>
                <a:gd name="connsiteY117" fmla="*/ 136831 h 538529"/>
                <a:gd name="connsiteX118" fmla="*/ 302706 w 538529"/>
                <a:gd name="connsiteY118" fmla="*/ 139048 h 538529"/>
                <a:gd name="connsiteX119" fmla="*/ 303960 w 538529"/>
                <a:gd name="connsiteY119" fmla="*/ 141266 h 538529"/>
                <a:gd name="connsiteX120" fmla="*/ 305842 w 538529"/>
                <a:gd name="connsiteY120" fmla="*/ 143008 h 538529"/>
                <a:gd name="connsiteX121" fmla="*/ 307724 w 538529"/>
                <a:gd name="connsiteY121" fmla="*/ 144433 h 538529"/>
                <a:gd name="connsiteX122" fmla="*/ 309920 w 538529"/>
                <a:gd name="connsiteY122" fmla="*/ 145225 h 538529"/>
                <a:gd name="connsiteX123" fmla="*/ 312116 w 538529"/>
                <a:gd name="connsiteY123" fmla="*/ 145384 h 538529"/>
                <a:gd name="connsiteX124" fmla="*/ 314469 w 538529"/>
                <a:gd name="connsiteY124" fmla="*/ 145067 h 538529"/>
                <a:gd name="connsiteX125" fmla="*/ 316821 w 538529"/>
                <a:gd name="connsiteY125" fmla="*/ 143958 h 538529"/>
                <a:gd name="connsiteX126" fmla="*/ 318860 w 538529"/>
                <a:gd name="connsiteY126" fmla="*/ 141899 h 538529"/>
                <a:gd name="connsiteX127" fmla="*/ 355247 w 538529"/>
                <a:gd name="connsiteY127" fmla="*/ 99135 h 538529"/>
                <a:gd name="connsiteX128" fmla="*/ 431942 w 538529"/>
                <a:gd name="connsiteY128" fmla="*/ 161064 h 538529"/>
                <a:gd name="connsiteX129" fmla="*/ 434452 w 538529"/>
                <a:gd name="connsiteY129" fmla="*/ 162806 h 538529"/>
                <a:gd name="connsiteX130" fmla="*/ 436961 w 538529"/>
                <a:gd name="connsiteY130" fmla="*/ 163598 h 538529"/>
                <a:gd name="connsiteX131" fmla="*/ 439627 w 538529"/>
                <a:gd name="connsiteY131" fmla="*/ 163756 h 538529"/>
                <a:gd name="connsiteX132" fmla="*/ 442137 w 538529"/>
                <a:gd name="connsiteY132" fmla="*/ 163281 h 538529"/>
                <a:gd name="connsiteX133" fmla="*/ 444489 w 538529"/>
                <a:gd name="connsiteY133" fmla="*/ 162172 h 538529"/>
                <a:gd name="connsiteX134" fmla="*/ 446528 w 538529"/>
                <a:gd name="connsiteY134" fmla="*/ 160905 h 538529"/>
                <a:gd name="connsiteX135" fmla="*/ 448254 w 538529"/>
                <a:gd name="connsiteY135" fmla="*/ 159163 h 538529"/>
                <a:gd name="connsiteX136" fmla="*/ 449665 w 538529"/>
                <a:gd name="connsiteY136" fmla="*/ 157104 h 538529"/>
                <a:gd name="connsiteX137" fmla="*/ 450449 w 538529"/>
                <a:gd name="connsiteY137" fmla="*/ 154887 h 538529"/>
                <a:gd name="connsiteX138" fmla="*/ 450606 w 538529"/>
                <a:gd name="connsiteY138" fmla="*/ 152669 h 538529"/>
                <a:gd name="connsiteX139" fmla="*/ 450292 w 538529"/>
                <a:gd name="connsiteY139" fmla="*/ 150294 h 538529"/>
                <a:gd name="connsiteX140" fmla="*/ 448881 w 538529"/>
                <a:gd name="connsiteY140" fmla="*/ 148076 h 538529"/>
                <a:gd name="connsiteX141" fmla="*/ 446999 w 538529"/>
                <a:gd name="connsiteY141" fmla="*/ 146017 h 538529"/>
                <a:gd name="connsiteX142" fmla="*/ 361364 w 538529"/>
                <a:gd name="connsiteY142" fmla="*/ 76645 h 538529"/>
                <a:gd name="connsiteX143" fmla="*/ 359325 w 538529"/>
                <a:gd name="connsiteY143" fmla="*/ 75219 h 538529"/>
                <a:gd name="connsiteX144" fmla="*/ 357286 w 538529"/>
                <a:gd name="connsiteY144" fmla="*/ 74269 h 538529"/>
                <a:gd name="connsiteX145" fmla="*/ 354933 w 538529"/>
                <a:gd name="connsiteY145" fmla="*/ 73635 h 538529"/>
                <a:gd name="connsiteX146" fmla="*/ 352581 w 538529"/>
                <a:gd name="connsiteY146" fmla="*/ 73635 h 538529"/>
                <a:gd name="connsiteX147" fmla="*/ 101100 w 538529"/>
                <a:gd name="connsiteY147" fmla="*/ 94517 h 538529"/>
                <a:gd name="connsiteX148" fmla="*/ 98747 w 538529"/>
                <a:gd name="connsiteY148" fmla="*/ 94993 h 538529"/>
                <a:gd name="connsiteX149" fmla="*/ 96395 w 538529"/>
                <a:gd name="connsiteY149" fmla="*/ 95945 h 538529"/>
                <a:gd name="connsiteX150" fmla="*/ 94199 w 538529"/>
                <a:gd name="connsiteY150" fmla="*/ 97215 h 538529"/>
                <a:gd name="connsiteX151" fmla="*/ 92631 w 538529"/>
                <a:gd name="connsiteY151" fmla="*/ 99118 h 538529"/>
                <a:gd name="connsiteX152" fmla="*/ 91376 w 538529"/>
                <a:gd name="connsiteY152" fmla="*/ 101022 h 538529"/>
                <a:gd name="connsiteX153" fmla="*/ 90435 w 538529"/>
                <a:gd name="connsiteY153" fmla="*/ 103244 h 538529"/>
                <a:gd name="connsiteX154" fmla="*/ 90121 w 538529"/>
                <a:gd name="connsiteY154" fmla="*/ 105465 h 538529"/>
                <a:gd name="connsiteX155" fmla="*/ 90592 w 538529"/>
                <a:gd name="connsiteY155" fmla="*/ 107845 h 538529"/>
                <a:gd name="connsiteX156" fmla="*/ 91846 w 538529"/>
                <a:gd name="connsiteY156" fmla="*/ 110225 h 538529"/>
                <a:gd name="connsiteX157" fmla="*/ 93728 w 538529"/>
                <a:gd name="connsiteY157" fmla="*/ 112129 h 538529"/>
                <a:gd name="connsiteX158" fmla="*/ 179520 w 538529"/>
                <a:gd name="connsiteY158" fmla="*/ 181782 h 538529"/>
                <a:gd name="connsiteX159" fmla="*/ 181402 w 538529"/>
                <a:gd name="connsiteY159" fmla="*/ 183052 h 538529"/>
                <a:gd name="connsiteX160" fmla="*/ 183598 w 538529"/>
                <a:gd name="connsiteY160" fmla="*/ 184004 h 538529"/>
                <a:gd name="connsiteX161" fmla="*/ 185794 w 538529"/>
                <a:gd name="connsiteY161" fmla="*/ 184480 h 538529"/>
                <a:gd name="connsiteX162" fmla="*/ 188146 w 538529"/>
                <a:gd name="connsiteY162" fmla="*/ 184638 h 538529"/>
                <a:gd name="connsiteX163" fmla="*/ 190499 w 538529"/>
                <a:gd name="connsiteY163" fmla="*/ 184321 h 538529"/>
                <a:gd name="connsiteX164" fmla="*/ 192538 w 538529"/>
                <a:gd name="connsiteY164" fmla="*/ 183369 h 538529"/>
                <a:gd name="connsiteX165" fmla="*/ 194577 w 538529"/>
                <a:gd name="connsiteY165" fmla="*/ 181782 h 538529"/>
                <a:gd name="connsiteX166" fmla="*/ 236924 w 538529"/>
                <a:gd name="connsiteY166" fmla="*/ 131486 h 538529"/>
                <a:gd name="connsiteX167" fmla="*/ 238649 w 538529"/>
                <a:gd name="connsiteY167" fmla="*/ 129106 h 538529"/>
                <a:gd name="connsiteX168" fmla="*/ 239433 w 538529"/>
                <a:gd name="connsiteY168" fmla="*/ 126409 h 538529"/>
                <a:gd name="connsiteX169" fmla="*/ 239590 w 538529"/>
                <a:gd name="connsiteY169" fmla="*/ 123870 h 538529"/>
                <a:gd name="connsiteX170" fmla="*/ 239120 w 538529"/>
                <a:gd name="connsiteY170" fmla="*/ 121490 h 538529"/>
                <a:gd name="connsiteX171" fmla="*/ 238179 w 538529"/>
                <a:gd name="connsiteY171" fmla="*/ 119110 h 538529"/>
                <a:gd name="connsiteX172" fmla="*/ 236767 w 538529"/>
                <a:gd name="connsiteY172" fmla="*/ 117047 h 538529"/>
                <a:gd name="connsiteX173" fmla="*/ 235199 w 538529"/>
                <a:gd name="connsiteY173" fmla="*/ 115144 h 538529"/>
                <a:gd name="connsiteX174" fmla="*/ 233160 w 538529"/>
                <a:gd name="connsiteY174" fmla="*/ 113874 h 538529"/>
                <a:gd name="connsiteX175" fmla="*/ 230807 w 538529"/>
                <a:gd name="connsiteY175" fmla="*/ 112922 h 538529"/>
                <a:gd name="connsiteX176" fmla="*/ 228611 w 538529"/>
                <a:gd name="connsiteY176" fmla="*/ 112764 h 538529"/>
                <a:gd name="connsiteX177" fmla="*/ 226259 w 538529"/>
                <a:gd name="connsiteY177" fmla="*/ 113240 h 538529"/>
                <a:gd name="connsiteX178" fmla="*/ 224063 w 538529"/>
                <a:gd name="connsiteY178" fmla="*/ 114350 h 538529"/>
                <a:gd name="connsiteX179" fmla="*/ 221867 w 538529"/>
                <a:gd name="connsiteY179" fmla="*/ 116254 h 538529"/>
                <a:gd name="connsiteX180" fmla="*/ 185480 w 538529"/>
                <a:gd name="connsiteY180" fmla="*/ 159252 h 538529"/>
                <a:gd name="connsiteX181" fmla="*/ 108785 w 538529"/>
                <a:gd name="connsiteY181" fmla="*/ 97056 h 538529"/>
                <a:gd name="connsiteX182" fmla="*/ 106433 w 538529"/>
                <a:gd name="connsiteY182" fmla="*/ 95469 h 538529"/>
                <a:gd name="connsiteX183" fmla="*/ 103766 w 538529"/>
                <a:gd name="connsiteY183" fmla="*/ 94676 h 538529"/>
                <a:gd name="connsiteX184" fmla="*/ 101100 w 538529"/>
                <a:gd name="connsiteY184" fmla="*/ 94517 h 538529"/>
                <a:gd name="connsiteX185" fmla="*/ 356638 w 538529"/>
                <a:gd name="connsiteY185" fmla="*/ 149469 h 538529"/>
                <a:gd name="connsiteX186" fmla="*/ 351290 w 538529"/>
                <a:gd name="connsiteY186" fmla="*/ 149941 h 538529"/>
                <a:gd name="connsiteX187" fmla="*/ 346256 w 538529"/>
                <a:gd name="connsiteY187" fmla="*/ 151515 h 538529"/>
                <a:gd name="connsiteX188" fmla="*/ 341223 w 538529"/>
                <a:gd name="connsiteY188" fmla="*/ 153719 h 538529"/>
                <a:gd name="connsiteX189" fmla="*/ 336661 w 538529"/>
                <a:gd name="connsiteY189" fmla="*/ 157024 h 538529"/>
                <a:gd name="connsiteX190" fmla="*/ 332414 w 538529"/>
                <a:gd name="connsiteY190" fmla="*/ 160959 h 538529"/>
                <a:gd name="connsiteX191" fmla="*/ 328482 w 538529"/>
                <a:gd name="connsiteY191" fmla="*/ 165680 h 538529"/>
                <a:gd name="connsiteX192" fmla="*/ 325021 w 538529"/>
                <a:gd name="connsiteY192" fmla="*/ 171032 h 538529"/>
                <a:gd name="connsiteX193" fmla="*/ 321875 w 538529"/>
                <a:gd name="connsiteY193" fmla="*/ 177013 h 538529"/>
                <a:gd name="connsiteX194" fmla="*/ 319201 w 538529"/>
                <a:gd name="connsiteY194" fmla="*/ 183466 h 538529"/>
                <a:gd name="connsiteX195" fmla="*/ 317156 w 538529"/>
                <a:gd name="connsiteY195" fmla="*/ 190548 h 538529"/>
                <a:gd name="connsiteX196" fmla="*/ 315584 w 538529"/>
                <a:gd name="connsiteY196" fmla="*/ 197946 h 538529"/>
                <a:gd name="connsiteX197" fmla="*/ 314640 w 538529"/>
                <a:gd name="connsiteY197" fmla="*/ 205658 h 538529"/>
                <a:gd name="connsiteX198" fmla="*/ 314325 w 538529"/>
                <a:gd name="connsiteY198" fmla="*/ 213685 h 538529"/>
                <a:gd name="connsiteX199" fmla="*/ 314640 w 538529"/>
                <a:gd name="connsiteY199" fmla="*/ 221711 h 538529"/>
                <a:gd name="connsiteX200" fmla="*/ 315584 w 538529"/>
                <a:gd name="connsiteY200" fmla="*/ 229581 h 538529"/>
                <a:gd name="connsiteX201" fmla="*/ 317156 w 538529"/>
                <a:gd name="connsiteY201" fmla="*/ 236978 h 538529"/>
                <a:gd name="connsiteX202" fmla="*/ 319201 w 538529"/>
                <a:gd name="connsiteY202" fmla="*/ 243904 h 538529"/>
                <a:gd name="connsiteX203" fmla="*/ 321875 w 538529"/>
                <a:gd name="connsiteY203" fmla="*/ 250514 h 538529"/>
                <a:gd name="connsiteX204" fmla="*/ 325021 w 538529"/>
                <a:gd name="connsiteY204" fmla="*/ 256495 h 538529"/>
                <a:gd name="connsiteX205" fmla="*/ 328482 w 538529"/>
                <a:gd name="connsiteY205" fmla="*/ 261846 h 538529"/>
                <a:gd name="connsiteX206" fmla="*/ 332414 w 538529"/>
                <a:gd name="connsiteY206" fmla="*/ 266568 h 538529"/>
                <a:gd name="connsiteX207" fmla="*/ 336661 w 538529"/>
                <a:gd name="connsiteY207" fmla="*/ 270503 h 538529"/>
                <a:gd name="connsiteX208" fmla="*/ 341223 w 538529"/>
                <a:gd name="connsiteY208" fmla="*/ 273650 h 538529"/>
                <a:gd name="connsiteX209" fmla="*/ 346256 w 538529"/>
                <a:gd name="connsiteY209" fmla="*/ 276169 h 538529"/>
                <a:gd name="connsiteX210" fmla="*/ 351290 w 538529"/>
                <a:gd name="connsiteY210" fmla="*/ 277585 h 538529"/>
                <a:gd name="connsiteX211" fmla="*/ 356638 w 538529"/>
                <a:gd name="connsiteY211" fmla="*/ 278057 h 538529"/>
                <a:gd name="connsiteX212" fmla="*/ 361986 w 538529"/>
                <a:gd name="connsiteY212" fmla="*/ 277585 h 538529"/>
                <a:gd name="connsiteX213" fmla="*/ 367020 w 538529"/>
                <a:gd name="connsiteY213" fmla="*/ 276169 h 538529"/>
                <a:gd name="connsiteX214" fmla="*/ 372053 w 538529"/>
                <a:gd name="connsiteY214" fmla="*/ 273650 h 538529"/>
                <a:gd name="connsiteX215" fmla="*/ 376615 w 538529"/>
                <a:gd name="connsiteY215" fmla="*/ 270503 h 538529"/>
                <a:gd name="connsiteX216" fmla="*/ 380862 w 538529"/>
                <a:gd name="connsiteY216" fmla="*/ 266568 h 538529"/>
                <a:gd name="connsiteX217" fmla="*/ 384794 w 538529"/>
                <a:gd name="connsiteY217" fmla="*/ 261846 h 538529"/>
                <a:gd name="connsiteX218" fmla="*/ 388255 w 538529"/>
                <a:gd name="connsiteY218" fmla="*/ 256495 h 538529"/>
                <a:gd name="connsiteX219" fmla="*/ 391401 w 538529"/>
                <a:gd name="connsiteY219" fmla="*/ 250514 h 538529"/>
                <a:gd name="connsiteX220" fmla="*/ 393918 w 538529"/>
                <a:gd name="connsiteY220" fmla="*/ 243904 h 538529"/>
                <a:gd name="connsiteX221" fmla="*/ 396120 w 538529"/>
                <a:gd name="connsiteY221" fmla="*/ 236978 h 538529"/>
                <a:gd name="connsiteX222" fmla="*/ 397693 w 538529"/>
                <a:gd name="connsiteY222" fmla="*/ 229581 h 538529"/>
                <a:gd name="connsiteX223" fmla="*/ 398637 w 538529"/>
                <a:gd name="connsiteY223" fmla="*/ 221711 h 538529"/>
                <a:gd name="connsiteX224" fmla="*/ 398951 w 538529"/>
                <a:gd name="connsiteY224" fmla="*/ 213685 h 538529"/>
                <a:gd name="connsiteX225" fmla="*/ 398637 w 538529"/>
                <a:gd name="connsiteY225" fmla="*/ 205658 h 538529"/>
                <a:gd name="connsiteX226" fmla="*/ 397693 w 538529"/>
                <a:gd name="connsiteY226" fmla="*/ 197946 h 538529"/>
                <a:gd name="connsiteX227" fmla="*/ 396120 w 538529"/>
                <a:gd name="connsiteY227" fmla="*/ 190548 h 538529"/>
                <a:gd name="connsiteX228" fmla="*/ 393918 w 538529"/>
                <a:gd name="connsiteY228" fmla="*/ 183466 h 538529"/>
                <a:gd name="connsiteX229" fmla="*/ 391401 w 538529"/>
                <a:gd name="connsiteY229" fmla="*/ 177013 h 538529"/>
                <a:gd name="connsiteX230" fmla="*/ 388255 w 538529"/>
                <a:gd name="connsiteY230" fmla="*/ 171032 h 538529"/>
                <a:gd name="connsiteX231" fmla="*/ 384794 w 538529"/>
                <a:gd name="connsiteY231" fmla="*/ 165680 h 538529"/>
                <a:gd name="connsiteX232" fmla="*/ 380862 w 538529"/>
                <a:gd name="connsiteY232" fmla="*/ 160959 h 538529"/>
                <a:gd name="connsiteX233" fmla="*/ 376615 w 538529"/>
                <a:gd name="connsiteY233" fmla="*/ 157024 h 538529"/>
                <a:gd name="connsiteX234" fmla="*/ 372053 w 538529"/>
                <a:gd name="connsiteY234" fmla="*/ 153719 h 538529"/>
                <a:gd name="connsiteX235" fmla="*/ 367020 w 538529"/>
                <a:gd name="connsiteY235" fmla="*/ 151515 h 538529"/>
                <a:gd name="connsiteX236" fmla="*/ 361986 w 538529"/>
                <a:gd name="connsiteY236" fmla="*/ 149941 h 538529"/>
                <a:gd name="connsiteX237" fmla="*/ 356638 w 538529"/>
                <a:gd name="connsiteY237" fmla="*/ 149469 h 538529"/>
                <a:gd name="connsiteX238" fmla="*/ 187465 w 538529"/>
                <a:gd name="connsiteY238" fmla="*/ 193431 h 538529"/>
                <a:gd name="connsiteX239" fmla="*/ 181184 w 538529"/>
                <a:gd name="connsiteY239" fmla="*/ 193903 h 538529"/>
                <a:gd name="connsiteX240" fmla="*/ 175218 w 538529"/>
                <a:gd name="connsiteY240" fmla="*/ 195162 h 538529"/>
                <a:gd name="connsiteX241" fmla="*/ 169566 w 538529"/>
                <a:gd name="connsiteY241" fmla="*/ 197364 h 538529"/>
                <a:gd name="connsiteX242" fmla="*/ 164385 w 538529"/>
                <a:gd name="connsiteY242" fmla="*/ 200352 h 538529"/>
                <a:gd name="connsiteX243" fmla="*/ 159675 w 538529"/>
                <a:gd name="connsiteY243" fmla="*/ 203813 h 538529"/>
                <a:gd name="connsiteX244" fmla="*/ 155592 w 538529"/>
                <a:gd name="connsiteY244" fmla="*/ 208060 h 538529"/>
                <a:gd name="connsiteX245" fmla="*/ 151981 w 538529"/>
                <a:gd name="connsiteY245" fmla="*/ 212779 h 538529"/>
                <a:gd name="connsiteX246" fmla="*/ 148998 w 538529"/>
                <a:gd name="connsiteY246" fmla="*/ 217812 h 538529"/>
                <a:gd name="connsiteX247" fmla="*/ 146957 w 538529"/>
                <a:gd name="connsiteY247" fmla="*/ 223632 h 538529"/>
                <a:gd name="connsiteX248" fmla="*/ 145544 w 538529"/>
                <a:gd name="connsiteY248" fmla="*/ 229452 h 538529"/>
                <a:gd name="connsiteX249" fmla="*/ 145073 w 538529"/>
                <a:gd name="connsiteY249" fmla="*/ 235744 h 538529"/>
                <a:gd name="connsiteX250" fmla="*/ 145544 w 538529"/>
                <a:gd name="connsiteY250" fmla="*/ 242036 h 538529"/>
                <a:gd name="connsiteX251" fmla="*/ 146957 w 538529"/>
                <a:gd name="connsiteY251" fmla="*/ 248013 h 538529"/>
                <a:gd name="connsiteX252" fmla="*/ 148998 w 538529"/>
                <a:gd name="connsiteY252" fmla="*/ 253676 h 538529"/>
                <a:gd name="connsiteX253" fmla="*/ 151981 w 538529"/>
                <a:gd name="connsiteY253" fmla="*/ 258867 h 538529"/>
                <a:gd name="connsiteX254" fmla="*/ 155592 w 538529"/>
                <a:gd name="connsiteY254" fmla="*/ 263429 h 538529"/>
                <a:gd name="connsiteX255" fmla="*/ 159675 w 538529"/>
                <a:gd name="connsiteY255" fmla="*/ 267833 h 538529"/>
                <a:gd name="connsiteX256" fmla="*/ 164385 w 538529"/>
                <a:gd name="connsiteY256" fmla="*/ 271136 h 538529"/>
                <a:gd name="connsiteX257" fmla="*/ 169566 w 538529"/>
                <a:gd name="connsiteY257" fmla="*/ 274125 h 538529"/>
                <a:gd name="connsiteX258" fmla="*/ 175218 w 538529"/>
                <a:gd name="connsiteY258" fmla="*/ 276327 h 538529"/>
                <a:gd name="connsiteX259" fmla="*/ 181184 w 538529"/>
                <a:gd name="connsiteY259" fmla="*/ 277585 h 538529"/>
                <a:gd name="connsiteX260" fmla="*/ 187465 w 538529"/>
                <a:gd name="connsiteY260" fmla="*/ 278057 h 538529"/>
                <a:gd name="connsiteX261" fmla="*/ 193588 w 538529"/>
                <a:gd name="connsiteY261" fmla="*/ 277585 h 538529"/>
                <a:gd name="connsiteX262" fmla="*/ 199711 w 538529"/>
                <a:gd name="connsiteY262" fmla="*/ 276327 h 538529"/>
                <a:gd name="connsiteX263" fmla="*/ 205206 w 538529"/>
                <a:gd name="connsiteY263" fmla="*/ 274125 h 538529"/>
                <a:gd name="connsiteX264" fmla="*/ 210544 w 538529"/>
                <a:gd name="connsiteY264" fmla="*/ 271136 h 538529"/>
                <a:gd name="connsiteX265" fmla="*/ 215098 w 538529"/>
                <a:gd name="connsiteY265" fmla="*/ 267833 h 538529"/>
                <a:gd name="connsiteX266" fmla="*/ 219337 w 538529"/>
                <a:gd name="connsiteY266" fmla="*/ 263429 h 538529"/>
                <a:gd name="connsiteX267" fmla="*/ 222948 w 538529"/>
                <a:gd name="connsiteY267" fmla="*/ 258867 h 538529"/>
                <a:gd name="connsiteX268" fmla="*/ 225774 w 538529"/>
                <a:gd name="connsiteY268" fmla="*/ 253676 h 538529"/>
                <a:gd name="connsiteX269" fmla="*/ 227972 w 538529"/>
                <a:gd name="connsiteY269" fmla="*/ 248013 h 538529"/>
                <a:gd name="connsiteX270" fmla="*/ 229228 w 538529"/>
                <a:gd name="connsiteY270" fmla="*/ 242036 h 538529"/>
                <a:gd name="connsiteX271" fmla="*/ 229699 w 538529"/>
                <a:gd name="connsiteY271" fmla="*/ 235744 h 538529"/>
                <a:gd name="connsiteX272" fmla="*/ 229228 w 538529"/>
                <a:gd name="connsiteY272" fmla="*/ 229452 h 538529"/>
                <a:gd name="connsiteX273" fmla="*/ 227972 w 538529"/>
                <a:gd name="connsiteY273" fmla="*/ 223632 h 538529"/>
                <a:gd name="connsiteX274" fmla="*/ 225774 w 538529"/>
                <a:gd name="connsiteY274" fmla="*/ 217812 h 538529"/>
                <a:gd name="connsiteX275" fmla="*/ 222948 w 538529"/>
                <a:gd name="connsiteY275" fmla="*/ 212779 h 538529"/>
                <a:gd name="connsiteX276" fmla="*/ 219337 w 538529"/>
                <a:gd name="connsiteY276" fmla="*/ 208060 h 538529"/>
                <a:gd name="connsiteX277" fmla="*/ 215098 w 538529"/>
                <a:gd name="connsiteY277" fmla="*/ 203813 h 538529"/>
                <a:gd name="connsiteX278" fmla="*/ 210544 w 538529"/>
                <a:gd name="connsiteY278" fmla="*/ 200352 h 538529"/>
                <a:gd name="connsiteX279" fmla="*/ 205206 w 538529"/>
                <a:gd name="connsiteY279" fmla="*/ 197364 h 538529"/>
                <a:gd name="connsiteX280" fmla="*/ 199711 w 538529"/>
                <a:gd name="connsiteY280" fmla="*/ 195162 h 538529"/>
                <a:gd name="connsiteX281" fmla="*/ 193588 w 538529"/>
                <a:gd name="connsiteY281" fmla="*/ 193903 h 538529"/>
                <a:gd name="connsiteX282" fmla="*/ 187465 w 538529"/>
                <a:gd name="connsiteY282" fmla="*/ 193431 h 538529"/>
                <a:gd name="connsiteX283" fmla="*/ 202538 w 538529"/>
                <a:gd name="connsiteY283" fmla="*/ 417635 h 538529"/>
                <a:gd name="connsiteX284" fmla="*/ 199554 w 538529"/>
                <a:gd name="connsiteY284" fmla="*/ 418099 h 538529"/>
                <a:gd name="connsiteX285" fmla="*/ 197042 w 538529"/>
                <a:gd name="connsiteY285" fmla="*/ 419027 h 538529"/>
                <a:gd name="connsiteX286" fmla="*/ 195158 w 538529"/>
                <a:gd name="connsiteY286" fmla="*/ 420420 h 538529"/>
                <a:gd name="connsiteX287" fmla="*/ 193588 w 538529"/>
                <a:gd name="connsiteY287" fmla="*/ 422430 h 538529"/>
                <a:gd name="connsiteX288" fmla="*/ 192803 w 538529"/>
                <a:gd name="connsiteY288" fmla="*/ 424441 h 538529"/>
                <a:gd name="connsiteX289" fmla="*/ 192332 w 538529"/>
                <a:gd name="connsiteY289" fmla="*/ 426916 h 538529"/>
                <a:gd name="connsiteX290" fmla="*/ 192332 w 538529"/>
                <a:gd name="connsiteY290" fmla="*/ 429391 h 538529"/>
                <a:gd name="connsiteX291" fmla="*/ 192803 w 538529"/>
                <a:gd name="connsiteY291" fmla="*/ 431557 h 538529"/>
                <a:gd name="connsiteX292" fmla="*/ 193588 w 538529"/>
                <a:gd name="connsiteY292" fmla="*/ 433877 h 538529"/>
                <a:gd name="connsiteX293" fmla="*/ 195158 w 538529"/>
                <a:gd name="connsiteY293" fmla="*/ 435733 h 538529"/>
                <a:gd name="connsiteX294" fmla="*/ 197042 w 538529"/>
                <a:gd name="connsiteY294" fmla="*/ 437280 h 538529"/>
                <a:gd name="connsiteX295" fmla="*/ 199554 w 538529"/>
                <a:gd name="connsiteY295" fmla="*/ 438208 h 538529"/>
                <a:gd name="connsiteX296" fmla="*/ 202538 w 538529"/>
                <a:gd name="connsiteY296" fmla="*/ 438517 h 538529"/>
                <a:gd name="connsiteX297" fmla="*/ 330498 w 538529"/>
                <a:gd name="connsiteY297" fmla="*/ 438517 h 538529"/>
                <a:gd name="connsiteX298" fmla="*/ 333481 w 538529"/>
                <a:gd name="connsiteY298" fmla="*/ 438208 h 538529"/>
                <a:gd name="connsiteX299" fmla="*/ 335993 w 538529"/>
                <a:gd name="connsiteY299" fmla="*/ 437280 h 538529"/>
                <a:gd name="connsiteX300" fmla="*/ 337877 w 538529"/>
                <a:gd name="connsiteY300" fmla="*/ 435733 h 538529"/>
                <a:gd name="connsiteX301" fmla="*/ 339290 w 538529"/>
                <a:gd name="connsiteY301" fmla="*/ 433877 h 538529"/>
                <a:gd name="connsiteX302" fmla="*/ 340232 w 538529"/>
                <a:gd name="connsiteY302" fmla="*/ 431557 h 538529"/>
                <a:gd name="connsiteX303" fmla="*/ 340703 w 538529"/>
                <a:gd name="connsiteY303" fmla="*/ 429391 h 538529"/>
                <a:gd name="connsiteX304" fmla="*/ 340703 w 538529"/>
                <a:gd name="connsiteY304" fmla="*/ 426916 h 538529"/>
                <a:gd name="connsiteX305" fmla="*/ 340232 w 538529"/>
                <a:gd name="connsiteY305" fmla="*/ 424441 h 538529"/>
                <a:gd name="connsiteX306" fmla="*/ 339290 w 538529"/>
                <a:gd name="connsiteY306" fmla="*/ 422430 h 538529"/>
                <a:gd name="connsiteX307" fmla="*/ 337877 w 538529"/>
                <a:gd name="connsiteY307" fmla="*/ 420420 h 538529"/>
                <a:gd name="connsiteX308" fmla="*/ 335993 w 538529"/>
                <a:gd name="connsiteY308" fmla="*/ 419027 h 538529"/>
                <a:gd name="connsiteX309" fmla="*/ 333481 w 538529"/>
                <a:gd name="connsiteY309" fmla="*/ 418099 h 538529"/>
                <a:gd name="connsiteX310" fmla="*/ 330498 w 538529"/>
                <a:gd name="connsiteY310" fmla="*/ 417635 h 538529"/>
                <a:gd name="connsiteX311" fmla="*/ 202538 w 538529"/>
                <a:gd name="connsiteY311" fmla="*/ 417635 h 538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538529" h="538529">
                  <a:moveTo>
                    <a:pt x="269265" y="0"/>
                  </a:moveTo>
                  <a:lnTo>
                    <a:pt x="285593" y="472"/>
                  </a:lnTo>
                  <a:lnTo>
                    <a:pt x="301922" y="2043"/>
                  </a:lnTo>
                  <a:lnTo>
                    <a:pt x="317622" y="4399"/>
                  </a:lnTo>
                  <a:lnTo>
                    <a:pt x="333166" y="7698"/>
                  </a:lnTo>
                  <a:lnTo>
                    <a:pt x="348395" y="11783"/>
                  </a:lnTo>
                  <a:lnTo>
                    <a:pt x="363154" y="16967"/>
                  </a:lnTo>
                  <a:lnTo>
                    <a:pt x="377598" y="22779"/>
                  </a:lnTo>
                  <a:lnTo>
                    <a:pt x="391729" y="29377"/>
                  </a:lnTo>
                  <a:lnTo>
                    <a:pt x="405231" y="36918"/>
                  </a:lnTo>
                  <a:lnTo>
                    <a:pt x="418263" y="44930"/>
                  </a:lnTo>
                  <a:lnTo>
                    <a:pt x="430666" y="53885"/>
                  </a:lnTo>
                  <a:lnTo>
                    <a:pt x="442756" y="63467"/>
                  </a:lnTo>
                  <a:lnTo>
                    <a:pt x="454217" y="73679"/>
                  </a:lnTo>
                  <a:lnTo>
                    <a:pt x="465051" y="84519"/>
                  </a:lnTo>
                  <a:lnTo>
                    <a:pt x="475256" y="95830"/>
                  </a:lnTo>
                  <a:lnTo>
                    <a:pt x="484676" y="107926"/>
                  </a:lnTo>
                  <a:lnTo>
                    <a:pt x="493469" y="120337"/>
                  </a:lnTo>
                  <a:lnTo>
                    <a:pt x="501790" y="133533"/>
                  </a:lnTo>
                  <a:lnTo>
                    <a:pt x="509169" y="146886"/>
                  </a:lnTo>
                  <a:lnTo>
                    <a:pt x="515920" y="160868"/>
                  </a:lnTo>
                  <a:lnTo>
                    <a:pt x="521730" y="175321"/>
                  </a:lnTo>
                  <a:lnTo>
                    <a:pt x="526597" y="190245"/>
                  </a:lnTo>
                  <a:lnTo>
                    <a:pt x="530993" y="205326"/>
                  </a:lnTo>
                  <a:lnTo>
                    <a:pt x="534133" y="220879"/>
                  </a:lnTo>
                  <a:lnTo>
                    <a:pt x="536488" y="236746"/>
                  </a:lnTo>
                  <a:lnTo>
                    <a:pt x="538058" y="252927"/>
                  </a:lnTo>
                  <a:lnTo>
                    <a:pt x="538529" y="269265"/>
                  </a:lnTo>
                  <a:lnTo>
                    <a:pt x="538058" y="285603"/>
                  </a:lnTo>
                  <a:lnTo>
                    <a:pt x="536488" y="301941"/>
                  </a:lnTo>
                  <a:lnTo>
                    <a:pt x="534133" y="317808"/>
                  </a:lnTo>
                  <a:lnTo>
                    <a:pt x="530993" y="333203"/>
                  </a:lnTo>
                  <a:lnTo>
                    <a:pt x="526597" y="348442"/>
                  </a:lnTo>
                  <a:lnTo>
                    <a:pt x="521730" y="363209"/>
                  </a:lnTo>
                  <a:lnTo>
                    <a:pt x="515920" y="377662"/>
                  </a:lnTo>
                  <a:lnTo>
                    <a:pt x="509169" y="391801"/>
                  </a:lnTo>
                  <a:lnTo>
                    <a:pt x="501790" y="405154"/>
                  </a:lnTo>
                  <a:lnTo>
                    <a:pt x="493469" y="418350"/>
                  </a:lnTo>
                  <a:lnTo>
                    <a:pt x="484676" y="430761"/>
                  </a:lnTo>
                  <a:lnTo>
                    <a:pt x="475256" y="442700"/>
                  </a:lnTo>
                  <a:lnTo>
                    <a:pt x="465051" y="454168"/>
                  </a:lnTo>
                  <a:lnTo>
                    <a:pt x="454217" y="465008"/>
                  </a:lnTo>
                  <a:lnTo>
                    <a:pt x="442756" y="475219"/>
                  </a:lnTo>
                  <a:lnTo>
                    <a:pt x="430666" y="484645"/>
                  </a:lnTo>
                  <a:lnTo>
                    <a:pt x="418263" y="493599"/>
                  </a:lnTo>
                  <a:lnTo>
                    <a:pt x="405231" y="501769"/>
                  </a:lnTo>
                  <a:lnTo>
                    <a:pt x="391729" y="509152"/>
                  </a:lnTo>
                  <a:lnTo>
                    <a:pt x="377598" y="515907"/>
                  </a:lnTo>
                  <a:lnTo>
                    <a:pt x="363154" y="521720"/>
                  </a:lnTo>
                  <a:lnTo>
                    <a:pt x="348395" y="526590"/>
                  </a:lnTo>
                  <a:lnTo>
                    <a:pt x="333166" y="530989"/>
                  </a:lnTo>
                  <a:lnTo>
                    <a:pt x="317622" y="534130"/>
                  </a:lnTo>
                  <a:lnTo>
                    <a:pt x="301922" y="536487"/>
                  </a:lnTo>
                  <a:lnTo>
                    <a:pt x="285593" y="537901"/>
                  </a:lnTo>
                  <a:lnTo>
                    <a:pt x="269265" y="538529"/>
                  </a:lnTo>
                  <a:lnTo>
                    <a:pt x="252779" y="537901"/>
                  </a:lnTo>
                  <a:lnTo>
                    <a:pt x="236764" y="536487"/>
                  </a:lnTo>
                  <a:lnTo>
                    <a:pt x="220907" y="534130"/>
                  </a:lnTo>
                  <a:lnTo>
                    <a:pt x="205206" y="530989"/>
                  </a:lnTo>
                  <a:lnTo>
                    <a:pt x="190134" y="526590"/>
                  </a:lnTo>
                  <a:lnTo>
                    <a:pt x="175218" y="521720"/>
                  </a:lnTo>
                  <a:lnTo>
                    <a:pt x="160774" y="515907"/>
                  </a:lnTo>
                  <a:lnTo>
                    <a:pt x="146957" y="509152"/>
                  </a:lnTo>
                  <a:lnTo>
                    <a:pt x="133455" y="501769"/>
                  </a:lnTo>
                  <a:lnTo>
                    <a:pt x="120423" y="493599"/>
                  </a:lnTo>
                  <a:lnTo>
                    <a:pt x="107863" y="484645"/>
                  </a:lnTo>
                  <a:lnTo>
                    <a:pt x="95774" y="475219"/>
                  </a:lnTo>
                  <a:lnTo>
                    <a:pt x="84469" y="465008"/>
                  </a:lnTo>
                  <a:lnTo>
                    <a:pt x="73636" y="454168"/>
                  </a:lnTo>
                  <a:lnTo>
                    <a:pt x="63430" y="442700"/>
                  </a:lnTo>
                  <a:lnTo>
                    <a:pt x="53853" y="430761"/>
                  </a:lnTo>
                  <a:lnTo>
                    <a:pt x="44904" y="418350"/>
                  </a:lnTo>
                  <a:lnTo>
                    <a:pt x="36896" y="405154"/>
                  </a:lnTo>
                  <a:lnTo>
                    <a:pt x="29360" y="391801"/>
                  </a:lnTo>
                  <a:lnTo>
                    <a:pt x="22766" y="377662"/>
                  </a:lnTo>
                  <a:lnTo>
                    <a:pt x="16957" y="363209"/>
                  </a:lnTo>
                  <a:lnTo>
                    <a:pt x="11776" y="348442"/>
                  </a:lnTo>
                  <a:lnTo>
                    <a:pt x="7693" y="333203"/>
                  </a:lnTo>
                  <a:lnTo>
                    <a:pt x="4396" y="317808"/>
                  </a:lnTo>
                  <a:lnTo>
                    <a:pt x="1884" y="301941"/>
                  </a:lnTo>
                  <a:lnTo>
                    <a:pt x="471" y="285603"/>
                  </a:lnTo>
                  <a:lnTo>
                    <a:pt x="0" y="269265"/>
                  </a:lnTo>
                  <a:lnTo>
                    <a:pt x="471" y="252927"/>
                  </a:lnTo>
                  <a:lnTo>
                    <a:pt x="1884" y="236746"/>
                  </a:lnTo>
                  <a:lnTo>
                    <a:pt x="4396" y="220879"/>
                  </a:lnTo>
                  <a:lnTo>
                    <a:pt x="7693" y="205326"/>
                  </a:lnTo>
                  <a:lnTo>
                    <a:pt x="11776" y="190245"/>
                  </a:lnTo>
                  <a:lnTo>
                    <a:pt x="16957" y="175321"/>
                  </a:lnTo>
                  <a:lnTo>
                    <a:pt x="22766" y="160868"/>
                  </a:lnTo>
                  <a:lnTo>
                    <a:pt x="29360" y="146886"/>
                  </a:lnTo>
                  <a:lnTo>
                    <a:pt x="36896" y="133533"/>
                  </a:lnTo>
                  <a:lnTo>
                    <a:pt x="44904" y="120337"/>
                  </a:lnTo>
                  <a:lnTo>
                    <a:pt x="53853" y="107926"/>
                  </a:lnTo>
                  <a:lnTo>
                    <a:pt x="63430" y="95830"/>
                  </a:lnTo>
                  <a:lnTo>
                    <a:pt x="73636" y="84519"/>
                  </a:lnTo>
                  <a:lnTo>
                    <a:pt x="84469" y="73679"/>
                  </a:lnTo>
                  <a:lnTo>
                    <a:pt x="95774" y="63467"/>
                  </a:lnTo>
                  <a:lnTo>
                    <a:pt x="107863" y="53885"/>
                  </a:lnTo>
                  <a:lnTo>
                    <a:pt x="120423" y="44930"/>
                  </a:lnTo>
                  <a:lnTo>
                    <a:pt x="133455" y="36918"/>
                  </a:lnTo>
                  <a:lnTo>
                    <a:pt x="146957" y="29377"/>
                  </a:lnTo>
                  <a:lnTo>
                    <a:pt x="160774" y="22779"/>
                  </a:lnTo>
                  <a:lnTo>
                    <a:pt x="175218" y="16967"/>
                  </a:lnTo>
                  <a:lnTo>
                    <a:pt x="190134" y="11783"/>
                  </a:lnTo>
                  <a:lnTo>
                    <a:pt x="205206" y="7698"/>
                  </a:lnTo>
                  <a:lnTo>
                    <a:pt x="220907" y="4399"/>
                  </a:lnTo>
                  <a:lnTo>
                    <a:pt x="236764" y="2043"/>
                  </a:lnTo>
                  <a:lnTo>
                    <a:pt x="252779" y="472"/>
                  </a:lnTo>
                  <a:lnTo>
                    <a:pt x="269265" y="0"/>
                  </a:lnTo>
                  <a:close/>
                  <a:moveTo>
                    <a:pt x="352581" y="73635"/>
                  </a:moveTo>
                  <a:lnTo>
                    <a:pt x="350385" y="73952"/>
                  </a:lnTo>
                  <a:lnTo>
                    <a:pt x="348189" y="74902"/>
                  </a:lnTo>
                  <a:lnTo>
                    <a:pt x="346464" y="76645"/>
                  </a:lnTo>
                  <a:lnTo>
                    <a:pt x="303960" y="126694"/>
                  </a:lnTo>
                  <a:lnTo>
                    <a:pt x="302392" y="129228"/>
                  </a:lnTo>
                  <a:lnTo>
                    <a:pt x="301451" y="131763"/>
                  </a:lnTo>
                  <a:lnTo>
                    <a:pt x="301137" y="134297"/>
                  </a:lnTo>
                  <a:lnTo>
                    <a:pt x="301608" y="136831"/>
                  </a:lnTo>
                  <a:lnTo>
                    <a:pt x="302706" y="139048"/>
                  </a:lnTo>
                  <a:lnTo>
                    <a:pt x="303960" y="141266"/>
                  </a:lnTo>
                  <a:lnTo>
                    <a:pt x="305842" y="143008"/>
                  </a:lnTo>
                  <a:lnTo>
                    <a:pt x="307724" y="144433"/>
                  </a:lnTo>
                  <a:lnTo>
                    <a:pt x="309920" y="145225"/>
                  </a:lnTo>
                  <a:lnTo>
                    <a:pt x="312116" y="145384"/>
                  </a:lnTo>
                  <a:lnTo>
                    <a:pt x="314469" y="145067"/>
                  </a:lnTo>
                  <a:lnTo>
                    <a:pt x="316821" y="143958"/>
                  </a:lnTo>
                  <a:lnTo>
                    <a:pt x="318860" y="141899"/>
                  </a:lnTo>
                  <a:lnTo>
                    <a:pt x="355247" y="99135"/>
                  </a:lnTo>
                  <a:lnTo>
                    <a:pt x="431942" y="161064"/>
                  </a:lnTo>
                  <a:lnTo>
                    <a:pt x="434452" y="162806"/>
                  </a:lnTo>
                  <a:lnTo>
                    <a:pt x="436961" y="163598"/>
                  </a:lnTo>
                  <a:lnTo>
                    <a:pt x="439627" y="163756"/>
                  </a:lnTo>
                  <a:lnTo>
                    <a:pt x="442137" y="163281"/>
                  </a:lnTo>
                  <a:lnTo>
                    <a:pt x="444489" y="162172"/>
                  </a:lnTo>
                  <a:lnTo>
                    <a:pt x="446528" y="160905"/>
                  </a:lnTo>
                  <a:lnTo>
                    <a:pt x="448254" y="159163"/>
                  </a:lnTo>
                  <a:lnTo>
                    <a:pt x="449665" y="157104"/>
                  </a:lnTo>
                  <a:lnTo>
                    <a:pt x="450449" y="154887"/>
                  </a:lnTo>
                  <a:lnTo>
                    <a:pt x="450606" y="152669"/>
                  </a:lnTo>
                  <a:lnTo>
                    <a:pt x="450292" y="150294"/>
                  </a:lnTo>
                  <a:lnTo>
                    <a:pt x="448881" y="148076"/>
                  </a:lnTo>
                  <a:lnTo>
                    <a:pt x="446999" y="146017"/>
                  </a:lnTo>
                  <a:lnTo>
                    <a:pt x="361364" y="76645"/>
                  </a:lnTo>
                  <a:lnTo>
                    <a:pt x="359325" y="75219"/>
                  </a:lnTo>
                  <a:lnTo>
                    <a:pt x="357286" y="74269"/>
                  </a:lnTo>
                  <a:lnTo>
                    <a:pt x="354933" y="73635"/>
                  </a:lnTo>
                  <a:lnTo>
                    <a:pt x="352581" y="73635"/>
                  </a:lnTo>
                  <a:close/>
                  <a:moveTo>
                    <a:pt x="101100" y="94517"/>
                  </a:moveTo>
                  <a:lnTo>
                    <a:pt x="98747" y="94993"/>
                  </a:lnTo>
                  <a:lnTo>
                    <a:pt x="96395" y="95945"/>
                  </a:lnTo>
                  <a:lnTo>
                    <a:pt x="94199" y="97215"/>
                  </a:lnTo>
                  <a:lnTo>
                    <a:pt x="92631" y="99118"/>
                  </a:lnTo>
                  <a:lnTo>
                    <a:pt x="91376" y="101022"/>
                  </a:lnTo>
                  <a:lnTo>
                    <a:pt x="90435" y="103244"/>
                  </a:lnTo>
                  <a:lnTo>
                    <a:pt x="90121" y="105465"/>
                  </a:lnTo>
                  <a:lnTo>
                    <a:pt x="90592" y="107845"/>
                  </a:lnTo>
                  <a:lnTo>
                    <a:pt x="91846" y="110225"/>
                  </a:lnTo>
                  <a:lnTo>
                    <a:pt x="93728" y="112129"/>
                  </a:lnTo>
                  <a:lnTo>
                    <a:pt x="179520" y="181782"/>
                  </a:lnTo>
                  <a:lnTo>
                    <a:pt x="181402" y="183052"/>
                  </a:lnTo>
                  <a:lnTo>
                    <a:pt x="183598" y="184004"/>
                  </a:lnTo>
                  <a:lnTo>
                    <a:pt x="185794" y="184480"/>
                  </a:lnTo>
                  <a:lnTo>
                    <a:pt x="188146" y="184638"/>
                  </a:lnTo>
                  <a:lnTo>
                    <a:pt x="190499" y="184321"/>
                  </a:lnTo>
                  <a:lnTo>
                    <a:pt x="192538" y="183369"/>
                  </a:lnTo>
                  <a:lnTo>
                    <a:pt x="194577" y="181782"/>
                  </a:lnTo>
                  <a:lnTo>
                    <a:pt x="236924" y="131486"/>
                  </a:lnTo>
                  <a:lnTo>
                    <a:pt x="238649" y="129106"/>
                  </a:lnTo>
                  <a:lnTo>
                    <a:pt x="239433" y="126409"/>
                  </a:lnTo>
                  <a:lnTo>
                    <a:pt x="239590" y="123870"/>
                  </a:lnTo>
                  <a:lnTo>
                    <a:pt x="239120" y="121490"/>
                  </a:lnTo>
                  <a:lnTo>
                    <a:pt x="238179" y="119110"/>
                  </a:lnTo>
                  <a:lnTo>
                    <a:pt x="236767" y="117047"/>
                  </a:lnTo>
                  <a:lnTo>
                    <a:pt x="235199" y="115144"/>
                  </a:lnTo>
                  <a:lnTo>
                    <a:pt x="233160" y="113874"/>
                  </a:lnTo>
                  <a:lnTo>
                    <a:pt x="230807" y="112922"/>
                  </a:lnTo>
                  <a:lnTo>
                    <a:pt x="228611" y="112764"/>
                  </a:lnTo>
                  <a:lnTo>
                    <a:pt x="226259" y="113240"/>
                  </a:lnTo>
                  <a:lnTo>
                    <a:pt x="224063" y="114350"/>
                  </a:lnTo>
                  <a:lnTo>
                    <a:pt x="221867" y="116254"/>
                  </a:lnTo>
                  <a:lnTo>
                    <a:pt x="185480" y="159252"/>
                  </a:lnTo>
                  <a:lnTo>
                    <a:pt x="108785" y="97056"/>
                  </a:lnTo>
                  <a:lnTo>
                    <a:pt x="106433" y="95469"/>
                  </a:lnTo>
                  <a:lnTo>
                    <a:pt x="103766" y="94676"/>
                  </a:lnTo>
                  <a:lnTo>
                    <a:pt x="101100" y="94517"/>
                  </a:lnTo>
                  <a:close/>
                  <a:moveTo>
                    <a:pt x="356638" y="149469"/>
                  </a:moveTo>
                  <a:lnTo>
                    <a:pt x="351290" y="149941"/>
                  </a:lnTo>
                  <a:lnTo>
                    <a:pt x="346256" y="151515"/>
                  </a:lnTo>
                  <a:lnTo>
                    <a:pt x="341223" y="153719"/>
                  </a:lnTo>
                  <a:lnTo>
                    <a:pt x="336661" y="157024"/>
                  </a:lnTo>
                  <a:lnTo>
                    <a:pt x="332414" y="160959"/>
                  </a:lnTo>
                  <a:lnTo>
                    <a:pt x="328482" y="165680"/>
                  </a:lnTo>
                  <a:lnTo>
                    <a:pt x="325021" y="171032"/>
                  </a:lnTo>
                  <a:lnTo>
                    <a:pt x="321875" y="177013"/>
                  </a:lnTo>
                  <a:lnTo>
                    <a:pt x="319201" y="183466"/>
                  </a:lnTo>
                  <a:lnTo>
                    <a:pt x="317156" y="190548"/>
                  </a:lnTo>
                  <a:lnTo>
                    <a:pt x="315584" y="197946"/>
                  </a:lnTo>
                  <a:lnTo>
                    <a:pt x="314640" y="205658"/>
                  </a:lnTo>
                  <a:lnTo>
                    <a:pt x="314325" y="213685"/>
                  </a:lnTo>
                  <a:lnTo>
                    <a:pt x="314640" y="221711"/>
                  </a:lnTo>
                  <a:lnTo>
                    <a:pt x="315584" y="229581"/>
                  </a:lnTo>
                  <a:lnTo>
                    <a:pt x="317156" y="236978"/>
                  </a:lnTo>
                  <a:lnTo>
                    <a:pt x="319201" y="243904"/>
                  </a:lnTo>
                  <a:lnTo>
                    <a:pt x="321875" y="250514"/>
                  </a:lnTo>
                  <a:lnTo>
                    <a:pt x="325021" y="256495"/>
                  </a:lnTo>
                  <a:lnTo>
                    <a:pt x="328482" y="261846"/>
                  </a:lnTo>
                  <a:lnTo>
                    <a:pt x="332414" y="266568"/>
                  </a:lnTo>
                  <a:lnTo>
                    <a:pt x="336661" y="270503"/>
                  </a:lnTo>
                  <a:lnTo>
                    <a:pt x="341223" y="273650"/>
                  </a:lnTo>
                  <a:lnTo>
                    <a:pt x="346256" y="276169"/>
                  </a:lnTo>
                  <a:lnTo>
                    <a:pt x="351290" y="277585"/>
                  </a:lnTo>
                  <a:lnTo>
                    <a:pt x="356638" y="278057"/>
                  </a:lnTo>
                  <a:lnTo>
                    <a:pt x="361986" y="277585"/>
                  </a:lnTo>
                  <a:lnTo>
                    <a:pt x="367020" y="276169"/>
                  </a:lnTo>
                  <a:lnTo>
                    <a:pt x="372053" y="273650"/>
                  </a:lnTo>
                  <a:lnTo>
                    <a:pt x="376615" y="270503"/>
                  </a:lnTo>
                  <a:lnTo>
                    <a:pt x="380862" y="266568"/>
                  </a:lnTo>
                  <a:lnTo>
                    <a:pt x="384794" y="261846"/>
                  </a:lnTo>
                  <a:lnTo>
                    <a:pt x="388255" y="256495"/>
                  </a:lnTo>
                  <a:lnTo>
                    <a:pt x="391401" y="250514"/>
                  </a:lnTo>
                  <a:lnTo>
                    <a:pt x="393918" y="243904"/>
                  </a:lnTo>
                  <a:lnTo>
                    <a:pt x="396120" y="236978"/>
                  </a:lnTo>
                  <a:lnTo>
                    <a:pt x="397693" y="229581"/>
                  </a:lnTo>
                  <a:lnTo>
                    <a:pt x="398637" y="221711"/>
                  </a:lnTo>
                  <a:lnTo>
                    <a:pt x="398951" y="213685"/>
                  </a:lnTo>
                  <a:lnTo>
                    <a:pt x="398637" y="205658"/>
                  </a:lnTo>
                  <a:lnTo>
                    <a:pt x="397693" y="197946"/>
                  </a:lnTo>
                  <a:lnTo>
                    <a:pt x="396120" y="190548"/>
                  </a:lnTo>
                  <a:lnTo>
                    <a:pt x="393918" y="183466"/>
                  </a:lnTo>
                  <a:lnTo>
                    <a:pt x="391401" y="177013"/>
                  </a:lnTo>
                  <a:lnTo>
                    <a:pt x="388255" y="171032"/>
                  </a:lnTo>
                  <a:lnTo>
                    <a:pt x="384794" y="165680"/>
                  </a:lnTo>
                  <a:lnTo>
                    <a:pt x="380862" y="160959"/>
                  </a:lnTo>
                  <a:lnTo>
                    <a:pt x="376615" y="157024"/>
                  </a:lnTo>
                  <a:lnTo>
                    <a:pt x="372053" y="153719"/>
                  </a:lnTo>
                  <a:lnTo>
                    <a:pt x="367020" y="151515"/>
                  </a:lnTo>
                  <a:lnTo>
                    <a:pt x="361986" y="149941"/>
                  </a:lnTo>
                  <a:lnTo>
                    <a:pt x="356638" y="149469"/>
                  </a:lnTo>
                  <a:close/>
                  <a:moveTo>
                    <a:pt x="187465" y="193431"/>
                  </a:moveTo>
                  <a:lnTo>
                    <a:pt x="181184" y="193903"/>
                  </a:lnTo>
                  <a:lnTo>
                    <a:pt x="175218" y="195162"/>
                  </a:lnTo>
                  <a:lnTo>
                    <a:pt x="169566" y="197364"/>
                  </a:lnTo>
                  <a:lnTo>
                    <a:pt x="164385" y="200352"/>
                  </a:lnTo>
                  <a:lnTo>
                    <a:pt x="159675" y="203813"/>
                  </a:lnTo>
                  <a:lnTo>
                    <a:pt x="155592" y="208060"/>
                  </a:lnTo>
                  <a:lnTo>
                    <a:pt x="151981" y="212779"/>
                  </a:lnTo>
                  <a:lnTo>
                    <a:pt x="148998" y="217812"/>
                  </a:lnTo>
                  <a:lnTo>
                    <a:pt x="146957" y="223632"/>
                  </a:lnTo>
                  <a:lnTo>
                    <a:pt x="145544" y="229452"/>
                  </a:lnTo>
                  <a:lnTo>
                    <a:pt x="145073" y="235744"/>
                  </a:lnTo>
                  <a:lnTo>
                    <a:pt x="145544" y="242036"/>
                  </a:lnTo>
                  <a:lnTo>
                    <a:pt x="146957" y="248013"/>
                  </a:lnTo>
                  <a:lnTo>
                    <a:pt x="148998" y="253676"/>
                  </a:lnTo>
                  <a:lnTo>
                    <a:pt x="151981" y="258867"/>
                  </a:lnTo>
                  <a:lnTo>
                    <a:pt x="155592" y="263429"/>
                  </a:lnTo>
                  <a:lnTo>
                    <a:pt x="159675" y="267833"/>
                  </a:lnTo>
                  <a:lnTo>
                    <a:pt x="164385" y="271136"/>
                  </a:lnTo>
                  <a:lnTo>
                    <a:pt x="169566" y="274125"/>
                  </a:lnTo>
                  <a:lnTo>
                    <a:pt x="175218" y="276327"/>
                  </a:lnTo>
                  <a:lnTo>
                    <a:pt x="181184" y="277585"/>
                  </a:lnTo>
                  <a:lnTo>
                    <a:pt x="187465" y="278057"/>
                  </a:lnTo>
                  <a:lnTo>
                    <a:pt x="193588" y="277585"/>
                  </a:lnTo>
                  <a:lnTo>
                    <a:pt x="199711" y="276327"/>
                  </a:lnTo>
                  <a:lnTo>
                    <a:pt x="205206" y="274125"/>
                  </a:lnTo>
                  <a:lnTo>
                    <a:pt x="210544" y="271136"/>
                  </a:lnTo>
                  <a:lnTo>
                    <a:pt x="215098" y="267833"/>
                  </a:lnTo>
                  <a:lnTo>
                    <a:pt x="219337" y="263429"/>
                  </a:lnTo>
                  <a:lnTo>
                    <a:pt x="222948" y="258867"/>
                  </a:lnTo>
                  <a:lnTo>
                    <a:pt x="225774" y="253676"/>
                  </a:lnTo>
                  <a:lnTo>
                    <a:pt x="227972" y="248013"/>
                  </a:lnTo>
                  <a:lnTo>
                    <a:pt x="229228" y="242036"/>
                  </a:lnTo>
                  <a:lnTo>
                    <a:pt x="229699" y="235744"/>
                  </a:lnTo>
                  <a:lnTo>
                    <a:pt x="229228" y="229452"/>
                  </a:lnTo>
                  <a:lnTo>
                    <a:pt x="227972" y="223632"/>
                  </a:lnTo>
                  <a:lnTo>
                    <a:pt x="225774" y="217812"/>
                  </a:lnTo>
                  <a:lnTo>
                    <a:pt x="222948" y="212779"/>
                  </a:lnTo>
                  <a:lnTo>
                    <a:pt x="219337" y="208060"/>
                  </a:lnTo>
                  <a:lnTo>
                    <a:pt x="215098" y="203813"/>
                  </a:lnTo>
                  <a:lnTo>
                    <a:pt x="210544" y="200352"/>
                  </a:lnTo>
                  <a:lnTo>
                    <a:pt x="205206" y="197364"/>
                  </a:lnTo>
                  <a:lnTo>
                    <a:pt x="199711" y="195162"/>
                  </a:lnTo>
                  <a:lnTo>
                    <a:pt x="193588" y="193903"/>
                  </a:lnTo>
                  <a:lnTo>
                    <a:pt x="187465" y="193431"/>
                  </a:lnTo>
                  <a:close/>
                  <a:moveTo>
                    <a:pt x="202538" y="417635"/>
                  </a:moveTo>
                  <a:lnTo>
                    <a:pt x="199554" y="418099"/>
                  </a:lnTo>
                  <a:lnTo>
                    <a:pt x="197042" y="419027"/>
                  </a:lnTo>
                  <a:lnTo>
                    <a:pt x="195158" y="420420"/>
                  </a:lnTo>
                  <a:lnTo>
                    <a:pt x="193588" y="422430"/>
                  </a:lnTo>
                  <a:lnTo>
                    <a:pt x="192803" y="424441"/>
                  </a:lnTo>
                  <a:lnTo>
                    <a:pt x="192332" y="426916"/>
                  </a:lnTo>
                  <a:lnTo>
                    <a:pt x="192332" y="429391"/>
                  </a:lnTo>
                  <a:lnTo>
                    <a:pt x="192803" y="431557"/>
                  </a:lnTo>
                  <a:lnTo>
                    <a:pt x="193588" y="433877"/>
                  </a:lnTo>
                  <a:lnTo>
                    <a:pt x="195158" y="435733"/>
                  </a:lnTo>
                  <a:lnTo>
                    <a:pt x="197042" y="437280"/>
                  </a:lnTo>
                  <a:lnTo>
                    <a:pt x="199554" y="438208"/>
                  </a:lnTo>
                  <a:lnTo>
                    <a:pt x="202538" y="438517"/>
                  </a:lnTo>
                  <a:lnTo>
                    <a:pt x="330498" y="438517"/>
                  </a:lnTo>
                  <a:lnTo>
                    <a:pt x="333481" y="438208"/>
                  </a:lnTo>
                  <a:lnTo>
                    <a:pt x="335993" y="437280"/>
                  </a:lnTo>
                  <a:lnTo>
                    <a:pt x="337877" y="435733"/>
                  </a:lnTo>
                  <a:lnTo>
                    <a:pt x="339290" y="433877"/>
                  </a:lnTo>
                  <a:lnTo>
                    <a:pt x="340232" y="431557"/>
                  </a:lnTo>
                  <a:lnTo>
                    <a:pt x="340703" y="429391"/>
                  </a:lnTo>
                  <a:lnTo>
                    <a:pt x="340703" y="426916"/>
                  </a:lnTo>
                  <a:lnTo>
                    <a:pt x="340232" y="424441"/>
                  </a:lnTo>
                  <a:lnTo>
                    <a:pt x="339290" y="422430"/>
                  </a:lnTo>
                  <a:lnTo>
                    <a:pt x="337877" y="420420"/>
                  </a:lnTo>
                  <a:lnTo>
                    <a:pt x="335993" y="419027"/>
                  </a:lnTo>
                  <a:lnTo>
                    <a:pt x="333481" y="418099"/>
                  </a:lnTo>
                  <a:lnTo>
                    <a:pt x="330498" y="417635"/>
                  </a:lnTo>
                  <a:lnTo>
                    <a:pt x="202538" y="417635"/>
                  </a:lnTo>
                  <a:close/>
                </a:path>
              </a:pathLst>
            </a:custGeom>
            <a:solidFill>
              <a:schemeClr val="accent1"/>
            </a:solidFill>
            <a:ln w="0">
              <a:noFill/>
              <a:prstDash val="solid"/>
              <a:round/>
            </a:ln>
            <a:extLst>
              <a:ext uri="{91240B29-F687-4F45-9708-019B960494DF}">
                <a14:hiddenLine xmlns:a14="http://schemas.microsoft.com/office/drawing/2010/main" w="0">
                  <a:solidFill>
                    <a:srgbClr val="FFC10E"/>
                  </a:solidFill>
                  <a:prstDash val="solid"/>
                  <a:round/>
                </a14:hiddenLine>
              </a:ext>
            </a:extLst>
          </p:spPr>
          <p:txBody>
            <a:bodyPr vert="horz" wrap="square" lIns="63305" tIns="31652" rIns="63305" bIns="31652" numCol="1" anchor="t" anchorCtr="0" compatLnSpc="1">
              <a:noAutofit/>
            </a:bodyPr>
            <a:lstStyle/>
            <a:p>
              <a:endParaRPr lang="en-US" sz="1245"/>
            </a:p>
          </p:txBody>
        </p:sp>
      </p:grpSp>
      <p:sp>
        <p:nvSpPr>
          <p:cNvPr id="237" name="矩形 236"/>
          <p:cNvSpPr/>
          <p:nvPr/>
        </p:nvSpPr>
        <p:spPr>
          <a:xfrm>
            <a:off x="4048724" y="5028584"/>
            <a:ext cx="1171838" cy="441063"/>
          </a:xfrm>
          <a:prstGeom prst="rect">
            <a:avLst/>
          </a:prstGeom>
          <a:noFill/>
          <a:ln w="9525">
            <a:noFill/>
            <a:round/>
          </a:ln>
          <a:extLst>
            <a:ext uri="{909E8E84-426E-40DD-AFC4-6F175D3DCCD1}">
              <a14:hiddenFill xmlns:a14="http://schemas.microsoft.com/office/drawing/2010/main">
                <a:gradFill>
                  <a:gsLst>
                    <a:gs pos="0">
                      <a:schemeClr val="bg1"/>
                    </a:gs>
                    <a:gs pos="50000">
                      <a:schemeClr val="bg1">
                        <a:lumMod val="85000"/>
                      </a:schemeClr>
                    </a:gs>
                  </a:gsLst>
                  <a:lin ang="5400000" scaled="0"/>
                </a:gradFill>
              </a14:hiddenFill>
            </a:ext>
          </a:extLst>
        </p:spPr>
        <p:txBody>
          <a:bodyPr lIns="0" rIns="0" anchor="ctr"/>
          <a:lstStyle/>
          <a:p>
            <a:r>
              <a:rPr lang="en-US" altLang="zh-CN" dirty="0" smtClean="0">
                <a:solidFill>
                  <a:srgbClr val="000000"/>
                </a:solidFill>
              </a:rPr>
              <a:t>XX</a:t>
            </a:r>
            <a:endParaRPr lang="zh-CN" altLang="en-US" dirty="0">
              <a:solidFill>
                <a:srgbClr val="000000"/>
              </a:solidFill>
            </a:endParaRPr>
          </a:p>
        </p:txBody>
      </p:sp>
      <p:sp>
        <p:nvSpPr>
          <p:cNvPr id="238" name="矩形 237"/>
          <p:cNvSpPr/>
          <p:nvPr/>
        </p:nvSpPr>
        <p:spPr>
          <a:xfrm>
            <a:off x="7683631" y="5028584"/>
            <a:ext cx="1418224" cy="441063"/>
          </a:xfrm>
          <a:prstGeom prst="rect">
            <a:avLst/>
          </a:prstGeom>
          <a:noFill/>
          <a:ln w="9525">
            <a:noFill/>
            <a:round/>
          </a:ln>
          <a:extLst>
            <a:ext uri="{909E8E84-426E-40DD-AFC4-6F175D3DCCD1}">
              <a14:hiddenFill xmlns:a14="http://schemas.microsoft.com/office/drawing/2010/main">
                <a:gradFill>
                  <a:gsLst>
                    <a:gs pos="0">
                      <a:schemeClr val="bg1"/>
                    </a:gs>
                    <a:gs pos="50000">
                      <a:schemeClr val="bg1">
                        <a:lumMod val="85000"/>
                      </a:schemeClr>
                    </a:gs>
                  </a:gsLst>
                  <a:lin ang="5400000" scaled="0"/>
                </a:gradFill>
              </a14:hiddenFill>
            </a:ext>
          </a:extLst>
        </p:spPr>
        <p:txBody>
          <a:bodyPr anchor="ctr"/>
          <a:lstStyle/>
          <a:p>
            <a:r>
              <a:rPr lang="en-US" altLang="zh-CN" dirty="0" smtClean="0">
                <a:solidFill>
                  <a:srgbClr val="000000"/>
                </a:solidFill>
              </a:rPr>
              <a:t>XXX</a:t>
            </a:r>
            <a:endParaRPr lang="zh-CN" altLang="en-US" dirty="0">
              <a:solidFill>
                <a:srgbClr val="000000"/>
              </a:solidFill>
            </a:endParaRPr>
          </a:p>
        </p:txBody>
      </p:sp>
      <p:grpSp>
        <p:nvGrpSpPr>
          <p:cNvPr id="239" name="组合 238"/>
          <p:cNvGrpSpPr/>
          <p:nvPr/>
        </p:nvGrpSpPr>
        <p:grpSpPr>
          <a:xfrm>
            <a:off x="3259412" y="5011739"/>
            <a:ext cx="1804737" cy="625642"/>
            <a:chOff x="3537284" y="1612232"/>
            <a:chExt cx="1804737" cy="625642"/>
          </a:xfrm>
        </p:grpSpPr>
        <p:cxnSp>
          <p:nvCxnSpPr>
            <p:cNvPr id="247" name="直接连接符 246"/>
            <p:cNvCxnSpPr/>
            <p:nvPr/>
          </p:nvCxnSpPr>
          <p:spPr>
            <a:xfrm>
              <a:off x="3537284" y="2141621"/>
              <a:ext cx="1804737" cy="0"/>
            </a:xfrm>
            <a:prstGeom prst="line">
              <a:avLst/>
            </a:prstGeom>
          </p:spPr>
          <p:style>
            <a:lnRef idx="1">
              <a:schemeClr val="accent1"/>
            </a:lnRef>
            <a:fillRef idx="0">
              <a:schemeClr val="accent1"/>
            </a:fillRef>
            <a:effectRef idx="0">
              <a:schemeClr val="accent1"/>
            </a:effectRef>
            <a:fontRef idx="minor">
              <a:schemeClr val="tx1"/>
            </a:fontRef>
          </p:style>
        </p:cxnSp>
        <p:sp>
          <p:nvSpPr>
            <p:cNvPr id="248" name="矩形 247"/>
            <p:cNvSpPr/>
            <p:nvPr/>
          </p:nvSpPr>
          <p:spPr>
            <a:xfrm>
              <a:off x="3621505" y="1612232"/>
              <a:ext cx="45719" cy="625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grpSp>
        <p:nvGrpSpPr>
          <p:cNvPr id="240" name="组合 239"/>
          <p:cNvGrpSpPr/>
          <p:nvPr/>
        </p:nvGrpSpPr>
        <p:grpSpPr>
          <a:xfrm>
            <a:off x="6904980" y="5011739"/>
            <a:ext cx="2057401" cy="625642"/>
            <a:chOff x="3537284" y="1612232"/>
            <a:chExt cx="2057401" cy="625642"/>
          </a:xfrm>
        </p:grpSpPr>
        <p:cxnSp>
          <p:nvCxnSpPr>
            <p:cNvPr id="245" name="直接连接符 244"/>
            <p:cNvCxnSpPr/>
            <p:nvPr/>
          </p:nvCxnSpPr>
          <p:spPr>
            <a:xfrm>
              <a:off x="3537284" y="2141621"/>
              <a:ext cx="2057401" cy="0"/>
            </a:xfrm>
            <a:prstGeom prst="line">
              <a:avLst/>
            </a:prstGeom>
          </p:spPr>
          <p:style>
            <a:lnRef idx="1">
              <a:schemeClr val="accent1"/>
            </a:lnRef>
            <a:fillRef idx="0">
              <a:schemeClr val="accent1"/>
            </a:fillRef>
            <a:effectRef idx="0">
              <a:schemeClr val="accent1"/>
            </a:effectRef>
            <a:fontRef idx="minor">
              <a:schemeClr val="tx1"/>
            </a:fontRef>
          </p:style>
        </p:cxnSp>
        <p:sp>
          <p:nvSpPr>
            <p:cNvPr id="246" name="矩形 245"/>
            <p:cNvSpPr/>
            <p:nvPr/>
          </p:nvSpPr>
          <p:spPr>
            <a:xfrm>
              <a:off x="3621505" y="1612232"/>
              <a:ext cx="45719" cy="625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sp>
        <p:nvSpPr>
          <p:cNvPr id="241" name="右箭头 240"/>
          <p:cNvSpPr/>
          <p:nvPr/>
        </p:nvSpPr>
        <p:spPr>
          <a:xfrm>
            <a:off x="5100243" y="5096668"/>
            <a:ext cx="1840832" cy="348916"/>
          </a:xfrm>
          <a:prstGeom prst="rightArrow">
            <a:avLst/>
          </a:prstGeom>
          <a:gradFill flip="none" rotWithShape="1">
            <a:gsLst>
              <a:gs pos="78000">
                <a:schemeClr val="accent1">
                  <a:lumMod val="75000"/>
                </a:schemeClr>
              </a:gs>
              <a:gs pos="0">
                <a:schemeClr val="accent1">
                  <a:lumMod val="20000"/>
                  <a:lumOff val="80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242" name="矩形 241"/>
          <p:cNvSpPr/>
          <p:nvPr/>
        </p:nvSpPr>
        <p:spPr>
          <a:xfrm>
            <a:off x="5268686" y="5064450"/>
            <a:ext cx="1546136" cy="369332"/>
          </a:xfrm>
          <a:prstGeom prst="rect">
            <a:avLst/>
          </a:prstGeom>
        </p:spPr>
        <p:txBody>
          <a:bodyPr wrap="none">
            <a:noAutofit/>
          </a:bodyPr>
          <a:lstStyle/>
          <a:p>
            <a:pPr algn="ctr"/>
            <a:r>
              <a:rPr lang="en-US" altLang="zh-CN" dirty="0" smtClean="0">
                <a:solidFill>
                  <a:srgbClr val="000000"/>
                </a:solidFill>
                <a:effectLst>
                  <a:glow rad="127000">
                    <a:srgbClr val="FFFFFF"/>
                  </a:glow>
                </a:effectLst>
              </a:rPr>
              <a:t>XX</a:t>
            </a:r>
            <a:endParaRPr lang="zh-CN" altLang="en-US" dirty="0">
              <a:solidFill>
                <a:srgbClr val="000000"/>
              </a:solidFill>
              <a:effectLst>
                <a:glow rad="127000">
                  <a:srgbClr val="FFFFFF"/>
                </a:glow>
              </a:effectLst>
            </a:endParaRPr>
          </a:p>
        </p:txBody>
      </p:sp>
      <p:sp>
        <p:nvSpPr>
          <p:cNvPr id="249" name="Freeform 31"/>
          <p:cNvSpPr>
            <a:spLocks noChangeAspect="1" noEditPoints="1"/>
          </p:cNvSpPr>
          <p:nvPr/>
        </p:nvSpPr>
        <p:spPr bwMode="auto">
          <a:xfrm>
            <a:off x="7200682" y="5067584"/>
            <a:ext cx="439575" cy="363062"/>
          </a:xfrm>
          <a:custGeom>
            <a:avLst/>
            <a:gdLst>
              <a:gd name="T0" fmla="*/ 470 w 672"/>
              <a:gd name="T1" fmla="*/ 258 h 602"/>
              <a:gd name="T2" fmla="*/ 532 w 672"/>
              <a:gd name="T3" fmla="*/ 198 h 602"/>
              <a:gd name="T4" fmla="*/ 416 w 672"/>
              <a:gd name="T5" fmla="*/ 80 h 602"/>
              <a:gd name="T6" fmla="*/ 480 w 672"/>
              <a:gd name="T7" fmla="*/ 94 h 602"/>
              <a:gd name="T8" fmla="*/ 566 w 672"/>
              <a:gd name="T9" fmla="*/ 108 h 602"/>
              <a:gd name="T10" fmla="*/ 626 w 672"/>
              <a:gd name="T11" fmla="*/ 176 h 602"/>
              <a:gd name="T12" fmla="*/ 628 w 672"/>
              <a:gd name="T13" fmla="*/ 274 h 602"/>
              <a:gd name="T14" fmla="*/ 530 w 672"/>
              <a:gd name="T15" fmla="*/ 360 h 602"/>
              <a:gd name="T16" fmla="*/ 598 w 672"/>
              <a:gd name="T17" fmla="*/ 368 h 602"/>
              <a:gd name="T18" fmla="*/ 672 w 672"/>
              <a:gd name="T19" fmla="*/ 228 h 602"/>
              <a:gd name="T20" fmla="*/ 642 w 672"/>
              <a:gd name="T21" fmla="*/ 132 h 602"/>
              <a:gd name="T22" fmla="*/ 552 w 672"/>
              <a:gd name="T23" fmla="*/ 66 h 602"/>
              <a:gd name="T24" fmla="*/ 334 w 672"/>
              <a:gd name="T25" fmla="*/ 476 h 602"/>
              <a:gd name="T26" fmla="*/ 328 w 672"/>
              <a:gd name="T27" fmla="*/ 494 h 602"/>
              <a:gd name="T28" fmla="*/ 318 w 672"/>
              <a:gd name="T29" fmla="*/ 482 h 602"/>
              <a:gd name="T30" fmla="*/ 332 w 672"/>
              <a:gd name="T31" fmla="*/ 468 h 602"/>
              <a:gd name="T32" fmla="*/ 312 w 672"/>
              <a:gd name="T33" fmla="*/ 492 h 602"/>
              <a:gd name="T34" fmla="*/ 344 w 672"/>
              <a:gd name="T35" fmla="*/ 490 h 602"/>
              <a:gd name="T36" fmla="*/ 346 w 672"/>
              <a:gd name="T37" fmla="*/ 284 h 602"/>
              <a:gd name="T38" fmla="*/ 384 w 672"/>
              <a:gd name="T39" fmla="*/ 222 h 602"/>
              <a:gd name="T40" fmla="*/ 388 w 672"/>
              <a:gd name="T41" fmla="*/ 108 h 602"/>
              <a:gd name="T42" fmla="*/ 360 w 672"/>
              <a:gd name="T43" fmla="*/ 32 h 602"/>
              <a:gd name="T44" fmla="*/ 274 w 672"/>
              <a:gd name="T45" fmla="*/ 0 h 602"/>
              <a:gd name="T46" fmla="*/ 180 w 672"/>
              <a:gd name="T47" fmla="*/ 42 h 602"/>
              <a:gd name="T48" fmla="*/ 162 w 672"/>
              <a:gd name="T49" fmla="*/ 134 h 602"/>
              <a:gd name="T50" fmla="*/ 166 w 672"/>
              <a:gd name="T51" fmla="*/ 224 h 602"/>
              <a:gd name="T52" fmla="*/ 196 w 672"/>
              <a:gd name="T53" fmla="*/ 298 h 602"/>
              <a:gd name="T54" fmla="*/ 172 w 672"/>
              <a:gd name="T55" fmla="*/ 370 h 602"/>
              <a:gd name="T56" fmla="*/ 208 w 672"/>
              <a:gd name="T57" fmla="*/ 410 h 602"/>
              <a:gd name="T58" fmla="*/ 194 w 672"/>
              <a:gd name="T59" fmla="*/ 420 h 602"/>
              <a:gd name="T60" fmla="*/ 168 w 672"/>
              <a:gd name="T61" fmla="*/ 402 h 602"/>
              <a:gd name="T62" fmla="*/ 146 w 672"/>
              <a:gd name="T63" fmla="*/ 448 h 602"/>
              <a:gd name="T64" fmla="*/ 140 w 672"/>
              <a:gd name="T65" fmla="*/ 408 h 602"/>
              <a:gd name="T66" fmla="*/ 158 w 672"/>
              <a:gd name="T67" fmla="*/ 336 h 602"/>
              <a:gd name="T68" fmla="*/ 30 w 672"/>
              <a:gd name="T69" fmla="*/ 406 h 602"/>
              <a:gd name="T70" fmla="*/ 512 w 672"/>
              <a:gd name="T71" fmla="*/ 384 h 602"/>
              <a:gd name="T72" fmla="*/ 392 w 672"/>
              <a:gd name="T73" fmla="*/ 362 h 602"/>
              <a:gd name="T74" fmla="*/ 344 w 672"/>
              <a:gd name="T75" fmla="*/ 432 h 602"/>
              <a:gd name="T76" fmla="*/ 356 w 672"/>
              <a:gd name="T77" fmla="*/ 476 h 602"/>
              <a:gd name="T78" fmla="*/ 336 w 672"/>
              <a:gd name="T79" fmla="*/ 514 h 602"/>
              <a:gd name="T80" fmla="*/ 298 w 672"/>
              <a:gd name="T81" fmla="*/ 492 h 602"/>
              <a:gd name="T82" fmla="*/ 322 w 672"/>
              <a:gd name="T83" fmla="*/ 454 h 602"/>
              <a:gd name="T84" fmla="*/ 368 w 672"/>
              <a:gd name="T85" fmla="*/ 378 h 602"/>
              <a:gd name="T86" fmla="*/ 360 w 672"/>
              <a:gd name="T87" fmla="*/ 310 h 602"/>
              <a:gd name="T88" fmla="*/ 154 w 672"/>
              <a:gd name="T89" fmla="*/ 538 h 602"/>
              <a:gd name="T90" fmla="*/ 190 w 672"/>
              <a:gd name="T91" fmla="*/ 542 h 602"/>
              <a:gd name="T92" fmla="*/ 158 w 672"/>
              <a:gd name="T93" fmla="*/ 554 h 602"/>
              <a:gd name="T94" fmla="*/ 138 w 672"/>
              <a:gd name="T95" fmla="*/ 560 h 602"/>
              <a:gd name="T96" fmla="*/ 142 w 672"/>
              <a:gd name="T97" fmla="*/ 538 h 602"/>
              <a:gd name="T98" fmla="*/ 166 w 672"/>
              <a:gd name="T99" fmla="*/ 490 h 602"/>
              <a:gd name="T100" fmla="*/ 198 w 672"/>
              <a:gd name="T101" fmla="*/ 522 h 602"/>
              <a:gd name="T102" fmla="*/ 212 w 672"/>
              <a:gd name="T103" fmla="*/ 438 h 602"/>
              <a:gd name="T104" fmla="*/ 208 w 672"/>
              <a:gd name="T105" fmla="*/ 528 h 602"/>
              <a:gd name="T106" fmla="*/ 246 w 672"/>
              <a:gd name="T107" fmla="*/ 512 h 602"/>
              <a:gd name="T108" fmla="*/ 260 w 672"/>
              <a:gd name="T109" fmla="*/ 526 h 602"/>
              <a:gd name="T110" fmla="*/ 246 w 672"/>
              <a:gd name="T111" fmla="*/ 532 h 602"/>
              <a:gd name="T112" fmla="*/ 202 w 672"/>
              <a:gd name="T113" fmla="*/ 538 h 602"/>
              <a:gd name="T114" fmla="*/ 158 w 672"/>
              <a:gd name="T115" fmla="*/ 494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2" h="602">
                <a:moveTo>
                  <a:pt x="532" y="198"/>
                </a:moveTo>
                <a:lnTo>
                  <a:pt x="588" y="198"/>
                </a:lnTo>
                <a:lnTo>
                  <a:pt x="588" y="258"/>
                </a:lnTo>
                <a:lnTo>
                  <a:pt x="532" y="258"/>
                </a:lnTo>
                <a:lnTo>
                  <a:pt x="532" y="314"/>
                </a:lnTo>
                <a:lnTo>
                  <a:pt x="470" y="314"/>
                </a:lnTo>
                <a:lnTo>
                  <a:pt x="470" y="258"/>
                </a:lnTo>
                <a:lnTo>
                  <a:pt x="414" y="258"/>
                </a:lnTo>
                <a:lnTo>
                  <a:pt x="414" y="198"/>
                </a:lnTo>
                <a:lnTo>
                  <a:pt x="470" y="198"/>
                </a:lnTo>
                <a:lnTo>
                  <a:pt x="470" y="142"/>
                </a:lnTo>
                <a:lnTo>
                  <a:pt x="532" y="142"/>
                </a:lnTo>
                <a:lnTo>
                  <a:pt x="532" y="198"/>
                </a:lnTo>
                <a:lnTo>
                  <a:pt x="532" y="198"/>
                </a:lnTo>
                <a:close/>
                <a:moveTo>
                  <a:pt x="502" y="58"/>
                </a:moveTo>
                <a:lnTo>
                  <a:pt x="502" y="58"/>
                </a:lnTo>
                <a:lnTo>
                  <a:pt x="478" y="60"/>
                </a:lnTo>
                <a:lnTo>
                  <a:pt x="456" y="64"/>
                </a:lnTo>
                <a:lnTo>
                  <a:pt x="436" y="70"/>
                </a:lnTo>
                <a:lnTo>
                  <a:pt x="416" y="80"/>
                </a:lnTo>
                <a:lnTo>
                  <a:pt x="416" y="80"/>
                </a:lnTo>
                <a:lnTo>
                  <a:pt x="418" y="100"/>
                </a:lnTo>
                <a:lnTo>
                  <a:pt x="420" y="118"/>
                </a:lnTo>
                <a:lnTo>
                  <a:pt x="420" y="120"/>
                </a:lnTo>
                <a:lnTo>
                  <a:pt x="420" y="120"/>
                </a:lnTo>
                <a:lnTo>
                  <a:pt x="438" y="108"/>
                </a:lnTo>
                <a:lnTo>
                  <a:pt x="458" y="100"/>
                </a:lnTo>
                <a:lnTo>
                  <a:pt x="480" y="94"/>
                </a:lnTo>
                <a:lnTo>
                  <a:pt x="502" y="92"/>
                </a:lnTo>
                <a:lnTo>
                  <a:pt x="502" y="92"/>
                </a:lnTo>
                <a:lnTo>
                  <a:pt x="516" y="94"/>
                </a:lnTo>
                <a:lnTo>
                  <a:pt x="528" y="96"/>
                </a:lnTo>
                <a:lnTo>
                  <a:pt x="542" y="98"/>
                </a:lnTo>
                <a:lnTo>
                  <a:pt x="554" y="104"/>
                </a:lnTo>
                <a:lnTo>
                  <a:pt x="566" y="108"/>
                </a:lnTo>
                <a:lnTo>
                  <a:pt x="578" y="116"/>
                </a:lnTo>
                <a:lnTo>
                  <a:pt x="588" y="124"/>
                </a:lnTo>
                <a:lnTo>
                  <a:pt x="598" y="132"/>
                </a:lnTo>
                <a:lnTo>
                  <a:pt x="606" y="142"/>
                </a:lnTo>
                <a:lnTo>
                  <a:pt x="614" y="152"/>
                </a:lnTo>
                <a:lnTo>
                  <a:pt x="620" y="164"/>
                </a:lnTo>
                <a:lnTo>
                  <a:pt x="626" y="176"/>
                </a:lnTo>
                <a:lnTo>
                  <a:pt x="630" y="188"/>
                </a:lnTo>
                <a:lnTo>
                  <a:pt x="634" y="200"/>
                </a:lnTo>
                <a:lnTo>
                  <a:pt x="636" y="214"/>
                </a:lnTo>
                <a:lnTo>
                  <a:pt x="636" y="228"/>
                </a:lnTo>
                <a:lnTo>
                  <a:pt x="636" y="228"/>
                </a:lnTo>
                <a:lnTo>
                  <a:pt x="634" y="252"/>
                </a:lnTo>
                <a:lnTo>
                  <a:pt x="628" y="274"/>
                </a:lnTo>
                <a:lnTo>
                  <a:pt x="620" y="296"/>
                </a:lnTo>
                <a:lnTo>
                  <a:pt x="606" y="314"/>
                </a:lnTo>
                <a:lnTo>
                  <a:pt x="590" y="330"/>
                </a:lnTo>
                <a:lnTo>
                  <a:pt x="572" y="344"/>
                </a:lnTo>
                <a:lnTo>
                  <a:pt x="552" y="354"/>
                </a:lnTo>
                <a:lnTo>
                  <a:pt x="530" y="360"/>
                </a:lnTo>
                <a:lnTo>
                  <a:pt x="530" y="360"/>
                </a:lnTo>
                <a:lnTo>
                  <a:pt x="536" y="368"/>
                </a:lnTo>
                <a:lnTo>
                  <a:pt x="542" y="374"/>
                </a:lnTo>
                <a:lnTo>
                  <a:pt x="546" y="384"/>
                </a:lnTo>
                <a:lnTo>
                  <a:pt x="548" y="392"/>
                </a:lnTo>
                <a:lnTo>
                  <a:pt x="548" y="392"/>
                </a:lnTo>
                <a:lnTo>
                  <a:pt x="574" y="382"/>
                </a:lnTo>
                <a:lnTo>
                  <a:pt x="598" y="368"/>
                </a:lnTo>
                <a:lnTo>
                  <a:pt x="618" y="352"/>
                </a:lnTo>
                <a:lnTo>
                  <a:pt x="636" y="332"/>
                </a:lnTo>
                <a:lnTo>
                  <a:pt x="652" y="308"/>
                </a:lnTo>
                <a:lnTo>
                  <a:pt x="662" y="284"/>
                </a:lnTo>
                <a:lnTo>
                  <a:pt x="670" y="256"/>
                </a:lnTo>
                <a:lnTo>
                  <a:pt x="670" y="242"/>
                </a:lnTo>
                <a:lnTo>
                  <a:pt x="672" y="228"/>
                </a:lnTo>
                <a:lnTo>
                  <a:pt x="672" y="228"/>
                </a:lnTo>
                <a:lnTo>
                  <a:pt x="670" y="210"/>
                </a:lnTo>
                <a:lnTo>
                  <a:pt x="668" y="194"/>
                </a:lnTo>
                <a:lnTo>
                  <a:pt x="664" y="178"/>
                </a:lnTo>
                <a:lnTo>
                  <a:pt x="658" y="162"/>
                </a:lnTo>
                <a:lnTo>
                  <a:pt x="652" y="148"/>
                </a:lnTo>
                <a:lnTo>
                  <a:pt x="642" y="132"/>
                </a:lnTo>
                <a:lnTo>
                  <a:pt x="632" y="120"/>
                </a:lnTo>
                <a:lnTo>
                  <a:pt x="622" y="108"/>
                </a:lnTo>
                <a:lnTo>
                  <a:pt x="610" y="96"/>
                </a:lnTo>
                <a:lnTo>
                  <a:pt x="596" y="86"/>
                </a:lnTo>
                <a:lnTo>
                  <a:pt x="582" y="78"/>
                </a:lnTo>
                <a:lnTo>
                  <a:pt x="568" y="72"/>
                </a:lnTo>
                <a:lnTo>
                  <a:pt x="552" y="66"/>
                </a:lnTo>
                <a:lnTo>
                  <a:pt x="536" y="62"/>
                </a:lnTo>
                <a:lnTo>
                  <a:pt x="518" y="58"/>
                </a:lnTo>
                <a:lnTo>
                  <a:pt x="502" y="58"/>
                </a:lnTo>
                <a:lnTo>
                  <a:pt x="502" y="58"/>
                </a:lnTo>
                <a:close/>
                <a:moveTo>
                  <a:pt x="330" y="474"/>
                </a:moveTo>
                <a:lnTo>
                  <a:pt x="330" y="474"/>
                </a:lnTo>
                <a:lnTo>
                  <a:pt x="334" y="476"/>
                </a:lnTo>
                <a:lnTo>
                  <a:pt x="336" y="480"/>
                </a:lnTo>
                <a:lnTo>
                  <a:pt x="338" y="484"/>
                </a:lnTo>
                <a:lnTo>
                  <a:pt x="336" y="488"/>
                </a:lnTo>
                <a:lnTo>
                  <a:pt x="336" y="488"/>
                </a:lnTo>
                <a:lnTo>
                  <a:pt x="334" y="490"/>
                </a:lnTo>
                <a:lnTo>
                  <a:pt x="332" y="494"/>
                </a:lnTo>
                <a:lnTo>
                  <a:pt x="328" y="494"/>
                </a:lnTo>
                <a:lnTo>
                  <a:pt x="324" y="494"/>
                </a:lnTo>
                <a:lnTo>
                  <a:pt x="324" y="494"/>
                </a:lnTo>
                <a:lnTo>
                  <a:pt x="320" y="492"/>
                </a:lnTo>
                <a:lnTo>
                  <a:pt x="318" y="488"/>
                </a:lnTo>
                <a:lnTo>
                  <a:pt x="316" y="486"/>
                </a:lnTo>
                <a:lnTo>
                  <a:pt x="318" y="482"/>
                </a:lnTo>
                <a:lnTo>
                  <a:pt x="318" y="482"/>
                </a:lnTo>
                <a:lnTo>
                  <a:pt x="320" y="478"/>
                </a:lnTo>
                <a:lnTo>
                  <a:pt x="322" y="476"/>
                </a:lnTo>
                <a:lnTo>
                  <a:pt x="326" y="474"/>
                </a:lnTo>
                <a:lnTo>
                  <a:pt x="330" y="474"/>
                </a:lnTo>
                <a:lnTo>
                  <a:pt x="330" y="474"/>
                </a:lnTo>
                <a:close/>
                <a:moveTo>
                  <a:pt x="332" y="468"/>
                </a:moveTo>
                <a:lnTo>
                  <a:pt x="332" y="468"/>
                </a:lnTo>
                <a:lnTo>
                  <a:pt x="326" y="466"/>
                </a:lnTo>
                <a:lnTo>
                  <a:pt x="318" y="468"/>
                </a:lnTo>
                <a:lnTo>
                  <a:pt x="314" y="472"/>
                </a:lnTo>
                <a:lnTo>
                  <a:pt x="310" y="478"/>
                </a:lnTo>
                <a:lnTo>
                  <a:pt x="310" y="478"/>
                </a:lnTo>
                <a:lnTo>
                  <a:pt x="310" y="486"/>
                </a:lnTo>
                <a:lnTo>
                  <a:pt x="312" y="492"/>
                </a:lnTo>
                <a:lnTo>
                  <a:pt x="316" y="498"/>
                </a:lnTo>
                <a:lnTo>
                  <a:pt x="322" y="500"/>
                </a:lnTo>
                <a:lnTo>
                  <a:pt x="322" y="500"/>
                </a:lnTo>
                <a:lnTo>
                  <a:pt x="328" y="502"/>
                </a:lnTo>
                <a:lnTo>
                  <a:pt x="334" y="500"/>
                </a:lnTo>
                <a:lnTo>
                  <a:pt x="340" y="496"/>
                </a:lnTo>
                <a:lnTo>
                  <a:pt x="344" y="490"/>
                </a:lnTo>
                <a:lnTo>
                  <a:pt x="344" y="490"/>
                </a:lnTo>
                <a:lnTo>
                  <a:pt x="344" y="482"/>
                </a:lnTo>
                <a:lnTo>
                  <a:pt x="342" y="476"/>
                </a:lnTo>
                <a:lnTo>
                  <a:pt x="338" y="470"/>
                </a:lnTo>
                <a:lnTo>
                  <a:pt x="332" y="468"/>
                </a:lnTo>
                <a:lnTo>
                  <a:pt x="332" y="468"/>
                </a:lnTo>
                <a:close/>
                <a:moveTo>
                  <a:pt x="346" y="284"/>
                </a:moveTo>
                <a:lnTo>
                  <a:pt x="346" y="284"/>
                </a:lnTo>
                <a:lnTo>
                  <a:pt x="362" y="260"/>
                </a:lnTo>
                <a:lnTo>
                  <a:pt x="372" y="236"/>
                </a:lnTo>
                <a:lnTo>
                  <a:pt x="372" y="236"/>
                </a:lnTo>
                <a:lnTo>
                  <a:pt x="380" y="230"/>
                </a:lnTo>
                <a:lnTo>
                  <a:pt x="384" y="222"/>
                </a:lnTo>
                <a:lnTo>
                  <a:pt x="384" y="222"/>
                </a:lnTo>
                <a:lnTo>
                  <a:pt x="388" y="200"/>
                </a:lnTo>
                <a:lnTo>
                  <a:pt x="392" y="180"/>
                </a:lnTo>
                <a:lnTo>
                  <a:pt x="394" y="158"/>
                </a:lnTo>
                <a:lnTo>
                  <a:pt x="394" y="136"/>
                </a:lnTo>
                <a:lnTo>
                  <a:pt x="388" y="134"/>
                </a:lnTo>
                <a:lnTo>
                  <a:pt x="388" y="134"/>
                </a:lnTo>
                <a:lnTo>
                  <a:pt x="388" y="108"/>
                </a:lnTo>
                <a:lnTo>
                  <a:pt x="388" y="108"/>
                </a:lnTo>
                <a:lnTo>
                  <a:pt x="386" y="88"/>
                </a:lnTo>
                <a:lnTo>
                  <a:pt x="382" y="70"/>
                </a:lnTo>
                <a:lnTo>
                  <a:pt x="382" y="70"/>
                </a:lnTo>
                <a:lnTo>
                  <a:pt x="376" y="56"/>
                </a:lnTo>
                <a:lnTo>
                  <a:pt x="370" y="42"/>
                </a:lnTo>
                <a:lnTo>
                  <a:pt x="360" y="32"/>
                </a:lnTo>
                <a:lnTo>
                  <a:pt x="348" y="22"/>
                </a:lnTo>
                <a:lnTo>
                  <a:pt x="348" y="22"/>
                </a:lnTo>
                <a:lnTo>
                  <a:pt x="332" y="12"/>
                </a:lnTo>
                <a:lnTo>
                  <a:pt x="314" y="6"/>
                </a:lnTo>
                <a:lnTo>
                  <a:pt x="294" y="2"/>
                </a:lnTo>
                <a:lnTo>
                  <a:pt x="274" y="0"/>
                </a:lnTo>
                <a:lnTo>
                  <a:pt x="274" y="0"/>
                </a:lnTo>
                <a:lnTo>
                  <a:pt x="256" y="2"/>
                </a:lnTo>
                <a:lnTo>
                  <a:pt x="236" y="6"/>
                </a:lnTo>
                <a:lnTo>
                  <a:pt x="218" y="12"/>
                </a:lnTo>
                <a:lnTo>
                  <a:pt x="202" y="22"/>
                </a:lnTo>
                <a:lnTo>
                  <a:pt x="202" y="22"/>
                </a:lnTo>
                <a:lnTo>
                  <a:pt x="190" y="32"/>
                </a:lnTo>
                <a:lnTo>
                  <a:pt x="180" y="42"/>
                </a:lnTo>
                <a:lnTo>
                  <a:pt x="174" y="56"/>
                </a:lnTo>
                <a:lnTo>
                  <a:pt x="168" y="70"/>
                </a:lnTo>
                <a:lnTo>
                  <a:pt x="168" y="70"/>
                </a:lnTo>
                <a:lnTo>
                  <a:pt x="164" y="88"/>
                </a:lnTo>
                <a:lnTo>
                  <a:pt x="162" y="108"/>
                </a:lnTo>
                <a:lnTo>
                  <a:pt x="162" y="108"/>
                </a:lnTo>
                <a:lnTo>
                  <a:pt x="162" y="134"/>
                </a:lnTo>
                <a:lnTo>
                  <a:pt x="156" y="136"/>
                </a:lnTo>
                <a:lnTo>
                  <a:pt x="156" y="136"/>
                </a:lnTo>
                <a:lnTo>
                  <a:pt x="156" y="158"/>
                </a:lnTo>
                <a:lnTo>
                  <a:pt x="156" y="182"/>
                </a:lnTo>
                <a:lnTo>
                  <a:pt x="160" y="204"/>
                </a:lnTo>
                <a:lnTo>
                  <a:pt x="166" y="224"/>
                </a:lnTo>
                <a:lnTo>
                  <a:pt x="166" y="224"/>
                </a:lnTo>
                <a:lnTo>
                  <a:pt x="170" y="232"/>
                </a:lnTo>
                <a:lnTo>
                  <a:pt x="176" y="236"/>
                </a:lnTo>
                <a:lnTo>
                  <a:pt x="176" y="236"/>
                </a:lnTo>
                <a:lnTo>
                  <a:pt x="188" y="262"/>
                </a:lnTo>
                <a:lnTo>
                  <a:pt x="202" y="284"/>
                </a:lnTo>
                <a:lnTo>
                  <a:pt x="202" y="284"/>
                </a:lnTo>
                <a:lnTo>
                  <a:pt x="196" y="298"/>
                </a:lnTo>
                <a:lnTo>
                  <a:pt x="188" y="312"/>
                </a:lnTo>
                <a:lnTo>
                  <a:pt x="188" y="312"/>
                </a:lnTo>
                <a:lnTo>
                  <a:pt x="182" y="322"/>
                </a:lnTo>
                <a:lnTo>
                  <a:pt x="176" y="338"/>
                </a:lnTo>
                <a:lnTo>
                  <a:pt x="172" y="348"/>
                </a:lnTo>
                <a:lnTo>
                  <a:pt x="172" y="358"/>
                </a:lnTo>
                <a:lnTo>
                  <a:pt x="172" y="370"/>
                </a:lnTo>
                <a:lnTo>
                  <a:pt x="174" y="384"/>
                </a:lnTo>
                <a:lnTo>
                  <a:pt x="174" y="384"/>
                </a:lnTo>
                <a:lnTo>
                  <a:pt x="186" y="386"/>
                </a:lnTo>
                <a:lnTo>
                  <a:pt x="196" y="394"/>
                </a:lnTo>
                <a:lnTo>
                  <a:pt x="196" y="394"/>
                </a:lnTo>
                <a:lnTo>
                  <a:pt x="204" y="402"/>
                </a:lnTo>
                <a:lnTo>
                  <a:pt x="208" y="410"/>
                </a:lnTo>
                <a:lnTo>
                  <a:pt x="212" y="420"/>
                </a:lnTo>
                <a:lnTo>
                  <a:pt x="214" y="430"/>
                </a:lnTo>
                <a:lnTo>
                  <a:pt x="214" y="430"/>
                </a:lnTo>
                <a:lnTo>
                  <a:pt x="206" y="434"/>
                </a:lnTo>
                <a:lnTo>
                  <a:pt x="198" y="434"/>
                </a:lnTo>
                <a:lnTo>
                  <a:pt x="198" y="434"/>
                </a:lnTo>
                <a:lnTo>
                  <a:pt x="194" y="420"/>
                </a:lnTo>
                <a:lnTo>
                  <a:pt x="190" y="412"/>
                </a:lnTo>
                <a:lnTo>
                  <a:pt x="184" y="406"/>
                </a:lnTo>
                <a:lnTo>
                  <a:pt x="184" y="406"/>
                </a:lnTo>
                <a:lnTo>
                  <a:pt x="180" y="404"/>
                </a:lnTo>
                <a:lnTo>
                  <a:pt x="176" y="402"/>
                </a:lnTo>
                <a:lnTo>
                  <a:pt x="172" y="400"/>
                </a:lnTo>
                <a:lnTo>
                  <a:pt x="168" y="402"/>
                </a:lnTo>
                <a:lnTo>
                  <a:pt x="162" y="406"/>
                </a:lnTo>
                <a:lnTo>
                  <a:pt x="156" y="414"/>
                </a:lnTo>
                <a:lnTo>
                  <a:pt x="156" y="414"/>
                </a:lnTo>
                <a:lnTo>
                  <a:pt x="154" y="430"/>
                </a:lnTo>
                <a:lnTo>
                  <a:pt x="154" y="446"/>
                </a:lnTo>
                <a:lnTo>
                  <a:pt x="154" y="446"/>
                </a:lnTo>
                <a:lnTo>
                  <a:pt x="146" y="448"/>
                </a:lnTo>
                <a:lnTo>
                  <a:pt x="142" y="450"/>
                </a:lnTo>
                <a:lnTo>
                  <a:pt x="138" y="448"/>
                </a:lnTo>
                <a:lnTo>
                  <a:pt x="138" y="448"/>
                </a:lnTo>
                <a:lnTo>
                  <a:pt x="136" y="438"/>
                </a:lnTo>
                <a:lnTo>
                  <a:pt x="136" y="428"/>
                </a:lnTo>
                <a:lnTo>
                  <a:pt x="138" y="418"/>
                </a:lnTo>
                <a:lnTo>
                  <a:pt x="140" y="408"/>
                </a:lnTo>
                <a:lnTo>
                  <a:pt x="140" y="408"/>
                </a:lnTo>
                <a:lnTo>
                  <a:pt x="148" y="396"/>
                </a:lnTo>
                <a:lnTo>
                  <a:pt x="158" y="388"/>
                </a:lnTo>
                <a:lnTo>
                  <a:pt x="158" y="388"/>
                </a:lnTo>
                <a:lnTo>
                  <a:pt x="154" y="368"/>
                </a:lnTo>
                <a:lnTo>
                  <a:pt x="154" y="350"/>
                </a:lnTo>
                <a:lnTo>
                  <a:pt x="158" y="336"/>
                </a:lnTo>
                <a:lnTo>
                  <a:pt x="162" y="324"/>
                </a:lnTo>
                <a:lnTo>
                  <a:pt x="44" y="380"/>
                </a:lnTo>
                <a:lnTo>
                  <a:pt x="44" y="380"/>
                </a:lnTo>
                <a:lnTo>
                  <a:pt x="38" y="384"/>
                </a:lnTo>
                <a:lnTo>
                  <a:pt x="34" y="390"/>
                </a:lnTo>
                <a:lnTo>
                  <a:pt x="30" y="398"/>
                </a:lnTo>
                <a:lnTo>
                  <a:pt x="30" y="406"/>
                </a:lnTo>
                <a:lnTo>
                  <a:pt x="0" y="602"/>
                </a:lnTo>
                <a:lnTo>
                  <a:pt x="550" y="602"/>
                </a:lnTo>
                <a:lnTo>
                  <a:pt x="520" y="406"/>
                </a:lnTo>
                <a:lnTo>
                  <a:pt x="520" y="406"/>
                </a:lnTo>
                <a:lnTo>
                  <a:pt x="518" y="398"/>
                </a:lnTo>
                <a:lnTo>
                  <a:pt x="516" y="390"/>
                </a:lnTo>
                <a:lnTo>
                  <a:pt x="512" y="384"/>
                </a:lnTo>
                <a:lnTo>
                  <a:pt x="506" y="380"/>
                </a:lnTo>
                <a:lnTo>
                  <a:pt x="388" y="324"/>
                </a:lnTo>
                <a:lnTo>
                  <a:pt x="388" y="324"/>
                </a:lnTo>
                <a:lnTo>
                  <a:pt x="392" y="334"/>
                </a:lnTo>
                <a:lnTo>
                  <a:pt x="394" y="342"/>
                </a:lnTo>
                <a:lnTo>
                  <a:pt x="394" y="352"/>
                </a:lnTo>
                <a:lnTo>
                  <a:pt x="392" y="362"/>
                </a:lnTo>
                <a:lnTo>
                  <a:pt x="390" y="372"/>
                </a:lnTo>
                <a:lnTo>
                  <a:pt x="386" y="382"/>
                </a:lnTo>
                <a:lnTo>
                  <a:pt x="380" y="390"/>
                </a:lnTo>
                <a:lnTo>
                  <a:pt x="372" y="400"/>
                </a:lnTo>
                <a:lnTo>
                  <a:pt x="372" y="400"/>
                </a:lnTo>
                <a:lnTo>
                  <a:pt x="356" y="418"/>
                </a:lnTo>
                <a:lnTo>
                  <a:pt x="344" y="432"/>
                </a:lnTo>
                <a:lnTo>
                  <a:pt x="340" y="446"/>
                </a:lnTo>
                <a:lnTo>
                  <a:pt x="338" y="456"/>
                </a:lnTo>
                <a:lnTo>
                  <a:pt x="338" y="456"/>
                </a:lnTo>
                <a:lnTo>
                  <a:pt x="348" y="462"/>
                </a:lnTo>
                <a:lnTo>
                  <a:pt x="354" y="470"/>
                </a:lnTo>
                <a:lnTo>
                  <a:pt x="354" y="470"/>
                </a:lnTo>
                <a:lnTo>
                  <a:pt x="356" y="476"/>
                </a:lnTo>
                <a:lnTo>
                  <a:pt x="358" y="482"/>
                </a:lnTo>
                <a:lnTo>
                  <a:pt x="356" y="494"/>
                </a:lnTo>
                <a:lnTo>
                  <a:pt x="350" y="504"/>
                </a:lnTo>
                <a:lnTo>
                  <a:pt x="346" y="508"/>
                </a:lnTo>
                <a:lnTo>
                  <a:pt x="342" y="512"/>
                </a:lnTo>
                <a:lnTo>
                  <a:pt x="342" y="512"/>
                </a:lnTo>
                <a:lnTo>
                  <a:pt x="336" y="514"/>
                </a:lnTo>
                <a:lnTo>
                  <a:pt x="330" y="516"/>
                </a:lnTo>
                <a:lnTo>
                  <a:pt x="318" y="514"/>
                </a:lnTo>
                <a:lnTo>
                  <a:pt x="308" y="508"/>
                </a:lnTo>
                <a:lnTo>
                  <a:pt x="302" y="504"/>
                </a:lnTo>
                <a:lnTo>
                  <a:pt x="300" y="498"/>
                </a:lnTo>
                <a:lnTo>
                  <a:pt x="300" y="498"/>
                </a:lnTo>
                <a:lnTo>
                  <a:pt x="298" y="492"/>
                </a:lnTo>
                <a:lnTo>
                  <a:pt x="296" y="486"/>
                </a:lnTo>
                <a:lnTo>
                  <a:pt x="298" y="474"/>
                </a:lnTo>
                <a:lnTo>
                  <a:pt x="302" y="464"/>
                </a:lnTo>
                <a:lnTo>
                  <a:pt x="308" y="460"/>
                </a:lnTo>
                <a:lnTo>
                  <a:pt x="312" y="456"/>
                </a:lnTo>
                <a:lnTo>
                  <a:pt x="312" y="456"/>
                </a:lnTo>
                <a:lnTo>
                  <a:pt x="322" y="454"/>
                </a:lnTo>
                <a:lnTo>
                  <a:pt x="322" y="454"/>
                </a:lnTo>
                <a:lnTo>
                  <a:pt x="324" y="442"/>
                </a:lnTo>
                <a:lnTo>
                  <a:pt x="328" y="426"/>
                </a:lnTo>
                <a:lnTo>
                  <a:pt x="340" y="408"/>
                </a:lnTo>
                <a:lnTo>
                  <a:pt x="360" y="386"/>
                </a:lnTo>
                <a:lnTo>
                  <a:pt x="360" y="386"/>
                </a:lnTo>
                <a:lnTo>
                  <a:pt x="368" y="378"/>
                </a:lnTo>
                <a:lnTo>
                  <a:pt x="374" y="368"/>
                </a:lnTo>
                <a:lnTo>
                  <a:pt x="376" y="358"/>
                </a:lnTo>
                <a:lnTo>
                  <a:pt x="376" y="348"/>
                </a:lnTo>
                <a:lnTo>
                  <a:pt x="374" y="340"/>
                </a:lnTo>
                <a:lnTo>
                  <a:pt x="372" y="330"/>
                </a:lnTo>
                <a:lnTo>
                  <a:pt x="366" y="320"/>
                </a:lnTo>
                <a:lnTo>
                  <a:pt x="360" y="310"/>
                </a:lnTo>
                <a:lnTo>
                  <a:pt x="360" y="310"/>
                </a:lnTo>
                <a:lnTo>
                  <a:pt x="352" y="298"/>
                </a:lnTo>
                <a:lnTo>
                  <a:pt x="346" y="284"/>
                </a:lnTo>
                <a:lnTo>
                  <a:pt x="346" y="284"/>
                </a:lnTo>
                <a:close/>
                <a:moveTo>
                  <a:pt x="150" y="538"/>
                </a:moveTo>
                <a:lnTo>
                  <a:pt x="150" y="538"/>
                </a:lnTo>
                <a:lnTo>
                  <a:pt x="154" y="538"/>
                </a:lnTo>
                <a:lnTo>
                  <a:pt x="158" y="540"/>
                </a:lnTo>
                <a:lnTo>
                  <a:pt x="158" y="540"/>
                </a:lnTo>
                <a:lnTo>
                  <a:pt x="178" y="536"/>
                </a:lnTo>
                <a:lnTo>
                  <a:pt x="178" y="536"/>
                </a:lnTo>
                <a:lnTo>
                  <a:pt x="188" y="540"/>
                </a:lnTo>
                <a:lnTo>
                  <a:pt x="188" y="540"/>
                </a:lnTo>
                <a:lnTo>
                  <a:pt x="190" y="542"/>
                </a:lnTo>
                <a:lnTo>
                  <a:pt x="190" y="542"/>
                </a:lnTo>
                <a:lnTo>
                  <a:pt x="178" y="546"/>
                </a:lnTo>
                <a:lnTo>
                  <a:pt x="164" y="550"/>
                </a:lnTo>
                <a:lnTo>
                  <a:pt x="164" y="550"/>
                </a:lnTo>
                <a:lnTo>
                  <a:pt x="160" y="550"/>
                </a:lnTo>
                <a:lnTo>
                  <a:pt x="160" y="550"/>
                </a:lnTo>
                <a:lnTo>
                  <a:pt x="158" y="554"/>
                </a:lnTo>
                <a:lnTo>
                  <a:pt x="152" y="556"/>
                </a:lnTo>
                <a:lnTo>
                  <a:pt x="152" y="556"/>
                </a:lnTo>
                <a:lnTo>
                  <a:pt x="148" y="558"/>
                </a:lnTo>
                <a:lnTo>
                  <a:pt x="144" y="560"/>
                </a:lnTo>
                <a:lnTo>
                  <a:pt x="140" y="560"/>
                </a:lnTo>
                <a:lnTo>
                  <a:pt x="140" y="560"/>
                </a:lnTo>
                <a:lnTo>
                  <a:pt x="138" y="560"/>
                </a:lnTo>
                <a:lnTo>
                  <a:pt x="136" y="556"/>
                </a:lnTo>
                <a:lnTo>
                  <a:pt x="134" y="550"/>
                </a:lnTo>
                <a:lnTo>
                  <a:pt x="134" y="542"/>
                </a:lnTo>
                <a:lnTo>
                  <a:pt x="136" y="540"/>
                </a:lnTo>
                <a:lnTo>
                  <a:pt x="138" y="538"/>
                </a:lnTo>
                <a:lnTo>
                  <a:pt x="142" y="538"/>
                </a:lnTo>
                <a:lnTo>
                  <a:pt x="142" y="538"/>
                </a:lnTo>
                <a:lnTo>
                  <a:pt x="144" y="538"/>
                </a:lnTo>
                <a:lnTo>
                  <a:pt x="150" y="538"/>
                </a:lnTo>
                <a:lnTo>
                  <a:pt x="150" y="538"/>
                </a:lnTo>
                <a:close/>
                <a:moveTo>
                  <a:pt x="152" y="454"/>
                </a:moveTo>
                <a:lnTo>
                  <a:pt x="152" y="454"/>
                </a:lnTo>
                <a:lnTo>
                  <a:pt x="158" y="470"/>
                </a:lnTo>
                <a:lnTo>
                  <a:pt x="166" y="490"/>
                </a:lnTo>
                <a:lnTo>
                  <a:pt x="176" y="508"/>
                </a:lnTo>
                <a:lnTo>
                  <a:pt x="186" y="522"/>
                </a:lnTo>
                <a:lnTo>
                  <a:pt x="186" y="522"/>
                </a:lnTo>
                <a:lnTo>
                  <a:pt x="190" y="524"/>
                </a:lnTo>
                <a:lnTo>
                  <a:pt x="196" y="526"/>
                </a:lnTo>
                <a:lnTo>
                  <a:pt x="196" y="526"/>
                </a:lnTo>
                <a:lnTo>
                  <a:pt x="198" y="522"/>
                </a:lnTo>
                <a:lnTo>
                  <a:pt x="200" y="518"/>
                </a:lnTo>
                <a:lnTo>
                  <a:pt x="200" y="518"/>
                </a:lnTo>
                <a:lnTo>
                  <a:pt x="204" y="500"/>
                </a:lnTo>
                <a:lnTo>
                  <a:pt x="206" y="480"/>
                </a:lnTo>
                <a:lnTo>
                  <a:pt x="204" y="440"/>
                </a:lnTo>
                <a:lnTo>
                  <a:pt x="204" y="440"/>
                </a:lnTo>
                <a:lnTo>
                  <a:pt x="212" y="438"/>
                </a:lnTo>
                <a:lnTo>
                  <a:pt x="212" y="438"/>
                </a:lnTo>
                <a:lnTo>
                  <a:pt x="214" y="480"/>
                </a:lnTo>
                <a:lnTo>
                  <a:pt x="214" y="504"/>
                </a:lnTo>
                <a:lnTo>
                  <a:pt x="210" y="522"/>
                </a:lnTo>
                <a:lnTo>
                  <a:pt x="210" y="522"/>
                </a:lnTo>
                <a:lnTo>
                  <a:pt x="208" y="528"/>
                </a:lnTo>
                <a:lnTo>
                  <a:pt x="208" y="528"/>
                </a:lnTo>
                <a:lnTo>
                  <a:pt x="222" y="524"/>
                </a:lnTo>
                <a:lnTo>
                  <a:pt x="234" y="520"/>
                </a:lnTo>
                <a:lnTo>
                  <a:pt x="234" y="520"/>
                </a:lnTo>
                <a:lnTo>
                  <a:pt x="236" y="516"/>
                </a:lnTo>
                <a:lnTo>
                  <a:pt x="242" y="514"/>
                </a:lnTo>
                <a:lnTo>
                  <a:pt x="242" y="514"/>
                </a:lnTo>
                <a:lnTo>
                  <a:pt x="246" y="512"/>
                </a:lnTo>
                <a:lnTo>
                  <a:pt x="248" y="510"/>
                </a:lnTo>
                <a:lnTo>
                  <a:pt x="252" y="508"/>
                </a:lnTo>
                <a:lnTo>
                  <a:pt x="252" y="508"/>
                </a:lnTo>
                <a:lnTo>
                  <a:pt x="254" y="510"/>
                </a:lnTo>
                <a:lnTo>
                  <a:pt x="256" y="512"/>
                </a:lnTo>
                <a:lnTo>
                  <a:pt x="260" y="518"/>
                </a:lnTo>
                <a:lnTo>
                  <a:pt x="260" y="526"/>
                </a:lnTo>
                <a:lnTo>
                  <a:pt x="260" y="528"/>
                </a:lnTo>
                <a:lnTo>
                  <a:pt x="258" y="530"/>
                </a:lnTo>
                <a:lnTo>
                  <a:pt x="254" y="532"/>
                </a:lnTo>
                <a:lnTo>
                  <a:pt x="254" y="532"/>
                </a:lnTo>
                <a:lnTo>
                  <a:pt x="252" y="532"/>
                </a:lnTo>
                <a:lnTo>
                  <a:pt x="246" y="532"/>
                </a:lnTo>
                <a:lnTo>
                  <a:pt x="246" y="532"/>
                </a:lnTo>
                <a:lnTo>
                  <a:pt x="240" y="532"/>
                </a:lnTo>
                <a:lnTo>
                  <a:pt x="238" y="530"/>
                </a:lnTo>
                <a:lnTo>
                  <a:pt x="238" y="530"/>
                </a:lnTo>
                <a:lnTo>
                  <a:pt x="234" y="532"/>
                </a:lnTo>
                <a:lnTo>
                  <a:pt x="234" y="532"/>
                </a:lnTo>
                <a:lnTo>
                  <a:pt x="212" y="536"/>
                </a:lnTo>
                <a:lnTo>
                  <a:pt x="202" y="538"/>
                </a:lnTo>
                <a:lnTo>
                  <a:pt x="192" y="536"/>
                </a:lnTo>
                <a:lnTo>
                  <a:pt x="192" y="536"/>
                </a:lnTo>
                <a:lnTo>
                  <a:pt x="186" y="534"/>
                </a:lnTo>
                <a:lnTo>
                  <a:pt x="180" y="528"/>
                </a:lnTo>
                <a:lnTo>
                  <a:pt x="180" y="528"/>
                </a:lnTo>
                <a:lnTo>
                  <a:pt x="168" y="514"/>
                </a:lnTo>
                <a:lnTo>
                  <a:pt x="158" y="494"/>
                </a:lnTo>
                <a:lnTo>
                  <a:pt x="148" y="474"/>
                </a:lnTo>
                <a:lnTo>
                  <a:pt x="142" y="456"/>
                </a:lnTo>
                <a:lnTo>
                  <a:pt x="142" y="456"/>
                </a:lnTo>
                <a:lnTo>
                  <a:pt x="152" y="454"/>
                </a:lnTo>
                <a:lnTo>
                  <a:pt x="152" y="454"/>
                </a:lnTo>
                <a:close/>
              </a:path>
            </a:pathLst>
          </a:custGeom>
          <a:solidFill>
            <a:schemeClr val="accent1"/>
          </a:solidFill>
          <a:ln w="9525">
            <a:solidFill>
              <a:schemeClr val="bg1"/>
            </a:solidFill>
            <a:round/>
          </a:ln>
        </p:spPr>
        <p:txBody>
          <a:bodyPr vert="horz" wrap="square" lIns="91440" tIns="45720" rIns="91440" bIns="45720" numCol="1" anchor="t" anchorCtr="0" compatLnSpc="1"/>
          <a:lstStyle/>
          <a:p>
            <a:endParaRPr lang="ru-RU" dirty="0">
              <a:cs typeface="Arial" panose="020B0604020202020204"/>
              <a:sym typeface="Arial" panose="020B0604020202020204"/>
            </a:endParaRPr>
          </a:p>
        </p:txBody>
      </p:sp>
      <p:sp>
        <p:nvSpPr>
          <p:cNvPr id="250" name="Freeform 182"/>
          <p:cNvSpPr>
            <a:spLocks noEditPoints="1"/>
          </p:cNvSpPr>
          <p:nvPr/>
        </p:nvSpPr>
        <p:spPr bwMode="auto">
          <a:xfrm>
            <a:off x="3534322" y="5036535"/>
            <a:ext cx="340130" cy="425162"/>
          </a:xfrm>
          <a:custGeom>
            <a:avLst/>
            <a:gdLst>
              <a:gd name="T0" fmla="*/ 177 w 208"/>
              <a:gd name="T1" fmla="*/ 156 h 260"/>
              <a:gd name="T2" fmla="*/ 176 w 208"/>
              <a:gd name="T3" fmla="*/ 152 h 260"/>
              <a:gd name="T4" fmla="*/ 170 w 208"/>
              <a:gd name="T5" fmla="*/ 146 h 260"/>
              <a:gd name="T6" fmla="*/ 167 w 208"/>
              <a:gd name="T7" fmla="*/ 146 h 260"/>
              <a:gd name="T8" fmla="*/ 159 w 208"/>
              <a:gd name="T9" fmla="*/ 148 h 260"/>
              <a:gd name="T10" fmla="*/ 156 w 208"/>
              <a:gd name="T11" fmla="*/ 156 h 260"/>
              <a:gd name="T12" fmla="*/ 31 w 208"/>
              <a:gd name="T13" fmla="*/ 260 h 260"/>
              <a:gd name="T14" fmla="*/ 26 w 208"/>
              <a:gd name="T15" fmla="*/ 224 h 260"/>
              <a:gd name="T16" fmla="*/ 20 w 208"/>
              <a:gd name="T17" fmla="*/ 223 h 260"/>
              <a:gd name="T18" fmla="*/ 11 w 208"/>
              <a:gd name="T19" fmla="*/ 219 h 260"/>
              <a:gd name="T20" fmla="*/ 4 w 208"/>
              <a:gd name="T21" fmla="*/ 212 h 260"/>
              <a:gd name="T22" fmla="*/ 0 w 208"/>
              <a:gd name="T23" fmla="*/ 203 h 260"/>
              <a:gd name="T24" fmla="*/ 0 w 208"/>
              <a:gd name="T25" fmla="*/ 151 h 260"/>
              <a:gd name="T26" fmla="*/ 0 w 208"/>
              <a:gd name="T27" fmla="*/ 115 h 260"/>
              <a:gd name="T28" fmla="*/ 0 w 208"/>
              <a:gd name="T29" fmla="*/ 115 h 260"/>
              <a:gd name="T30" fmla="*/ 9 w 208"/>
              <a:gd name="T31" fmla="*/ 99 h 260"/>
              <a:gd name="T32" fmla="*/ 21 w 208"/>
              <a:gd name="T33" fmla="*/ 94 h 260"/>
              <a:gd name="T34" fmla="*/ 117 w 208"/>
              <a:gd name="T35" fmla="*/ 94 h 260"/>
              <a:gd name="T36" fmla="*/ 39 w 208"/>
              <a:gd name="T37" fmla="*/ 221 h 260"/>
              <a:gd name="T38" fmla="*/ 56 w 208"/>
              <a:gd name="T39" fmla="*/ 221 h 260"/>
              <a:gd name="T40" fmla="*/ 73 w 208"/>
              <a:gd name="T41" fmla="*/ 219 h 260"/>
              <a:gd name="T42" fmla="*/ 92 w 208"/>
              <a:gd name="T43" fmla="*/ 211 h 260"/>
              <a:gd name="T44" fmla="*/ 113 w 208"/>
              <a:gd name="T45" fmla="*/ 197 h 260"/>
              <a:gd name="T46" fmla="*/ 131 w 208"/>
              <a:gd name="T47" fmla="*/ 173 h 260"/>
              <a:gd name="T48" fmla="*/ 146 w 208"/>
              <a:gd name="T49" fmla="*/ 139 h 260"/>
              <a:gd name="T50" fmla="*/ 154 w 208"/>
              <a:gd name="T51" fmla="*/ 94 h 260"/>
              <a:gd name="T52" fmla="*/ 182 w 208"/>
              <a:gd name="T53" fmla="*/ 94 h 260"/>
              <a:gd name="T54" fmla="*/ 191 w 208"/>
              <a:gd name="T55" fmla="*/ 95 h 260"/>
              <a:gd name="T56" fmla="*/ 200 w 208"/>
              <a:gd name="T57" fmla="*/ 102 h 260"/>
              <a:gd name="T58" fmla="*/ 206 w 208"/>
              <a:gd name="T59" fmla="*/ 109 h 260"/>
              <a:gd name="T60" fmla="*/ 208 w 208"/>
              <a:gd name="T61" fmla="*/ 120 h 260"/>
              <a:gd name="T62" fmla="*/ 177 w 208"/>
              <a:gd name="T63" fmla="*/ 260 h 260"/>
              <a:gd name="T64" fmla="*/ 47 w 208"/>
              <a:gd name="T65" fmla="*/ 146 h 260"/>
              <a:gd name="T66" fmla="*/ 31 w 208"/>
              <a:gd name="T67" fmla="*/ 177 h 260"/>
              <a:gd name="T68" fmla="*/ 103 w 208"/>
              <a:gd name="T69" fmla="*/ 82 h 260"/>
              <a:gd name="T70" fmla="*/ 94 w 208"/>
              <a:gd name="T71" fmla="*/ 81 h 260"/>
              <a:gd name="T72" fmla="*/ 79 w 208"/>
              <a:gd name="T73" fmla="*/ 76 h 260"/>
              <a:gd name="T74" fmla="*/ 69 w 208"/>
              <a:gd name="T75" fmla="*/ 64 h 260"/>
              <a:gd name="T76" fmla="*/ 63 w 208"/>
              <a:gd name="T77" fmla="*/ 50 h 260"/>
              <a:gd name="T78" fmla="*/ 61 w 208"/>
              <a:gd name="T79" fmla="*/ 41 h 260"/>
              <a:gd name="T80" fmla="*/ 65 w 208"/>
              <a:gd name="T81" fmla="*/ 25 h 260"/>
              <a:gd name="T82" fmla="*/ 73 w 208"/>
              <a:gd name="T83" fmla="*/ 12 h 260"/>
              <a:gd name="T84" fmla="*/ 87 w 208"/>
              <a:gd name="T85" fmla="*/ 3 h 260"/>
              <a:gd name="T86" fmla="*/ 103 w 208"/>
              <a:gd name="T87" fmla="*/ 0 h 260"/>
              <a:gd name="T88" fmla="*/ 111 w 208"/>
              <a:gd name="T89" fmla="*/ 0 h 260"/>
              <a:gd name="T90" fmla="*/ 126 w 208"/>
              <a:gd name="T91" fmla="*/ 7 h 260"/>
              <a:gd name="T92" fmla="*/ 137 w 208"/>
              <a:gd name="T93" fmla="*/ 19 h 260"/>
              <a:gd name="T94" fmla="*/ 143 w 208"/>
              <a:gd name="T95" fmla="*/ 33 h 260"/>
              <a:gd name="T96" fmla="*/ 144 w 208"/>
              <a:gd name="T97" fmla="*/ 41 h 260"/>
              <a:gd name="T98" fmla="*/ 141 w 208"/>
              <a:gd name="T99" fmla="*/ 57 h 260"/>
              <a:gd name="T100" fmla="*/ 131 w 208"/>
              <a:gd name="T101" fmla="*/ 70 h 260"/>
              <a:gd name="T102" fmla="*/ 118 w 208"/>
              <a:gd name="T103" fmla="*/ 80 h 260"/>
              <a:gd name="T104" fmla="*/ 103 w 208"/>
              <a:gd name="T105" fmla="*/ 8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260">
                <a:moveTo>
                  <a:pt x="177" y="260"/>
                </a:moveTo>
                <a:lnTo>
                  <a:pt x="177" y="156"/>
                </a:lnTo>
                <a:lnTo>
                  <a:pt x="177" y="156"/>
                </a:lnTo>
                <a:lnTo>
                  <a:pt x="176" y="152"/>
                </a:lnTo>
                <a:lnTo>
                  <a:pt x="173" y="148"/>
                </a:lnTo>
                <a:lnTo>
                  <a:pt x="170" y="146"/>
                </a:lnTo>
                <a:lnTo>
                  <a:pt x="167" y="146"/>
                </a:lnTo>
                <a:lnTo>
                  <a:pt x="167" y="146"/>
                </a:lnTo>
                <a:lnTo>
                  <a:pt x="161" y="146"/>
                </a:lnTo>
                <a:lnTo>
                  <a:pt x="159" y="148"/>
                </a:lnTo>
                <a:lnTo>
                  <a:pt x="156" y="152"/>
                </a:lnTo>
                <a:lnTo>
                  <a:pt x="156" y="156"/>
                </a:lnTo>
                <a:lnTo>
                  <a:pt x="156" y="260"/>
                </a:lnTo>
                <a:lnTo>
                  <a:pt x="31" y="260"/>
                </a:lnTo>
                <a:lnTo>
                  <a:pt x="31" y="224"/>
                </a:lnTo>
                <a:lnTo>
                  <a:pt x="26" y="224"/>
                </a:lnTo>
                <a:lnTo>
                  <a:pt x="26" y="224"/>
                </a:lnTo>
                <a:lnTo>
                  <a:pt x="20" y="223"/>
                </a:lnTo>
                <a:lnTo>
                  <a:pt x="16" y="221"/>
                </a:lnTo>
                <a:lnTo>
                  <a:pt x="11" y="219"/>
                </a:lnTo>
                <a:lnTo>
                  <a:pt x="7" y="216"/>
                </a:lnTo>
                <a:lnTo>
                  <a:pt x="4" y="212"/>
                </a:lnTo>
                <a:lnTo>
                  <a:pt x="1" y="207"/>
                </a:lnTo>
                <a:lnTo>
                  <a:pt x="0" y="203"/>
                </a:lnTo>
                <a:lnTo>
                  <a:pt x="0" y="198"/>
                </a:lnTo>
                <a:lnTo>
                  <a:pt x="0" y="151"/>
                </a:lnTo>
                <a:lnTo>
                  <a:pt x="0" y="120"/>
                </a:lnTo>
                <a:lnTo>
                  <a:pt x="0" y="115"/>
                </a:lnTo>
                <a:lnTo>
                  <a:pt x="0" y="115"/>
                </a:lnTo>
                <a:lnTo>
                  <a:pt x="0" y="115"/>
                </a:lnTo>
                <a:lnTo>
                  <a:pt x="3" y="106"/>
                </a:lnTo>
                <a:lnTo>
                  <a:pt x="9" y="99"/>
                </a:lnTo>
                <a:lnTo>
                  <a:pt x="17" y="95"/>
                </a:lnTo>
                <a:lnTo>
                  <a:pt x="21" y="94"/>
                </a:lnTo>
                <a:lnTo>
                  <a:pt x="26" y="94"/>
                </a:lnTo>
                <a:lnTo>
                  <a:pt x="117" y="94"/>
                </a:lnTo>
                <a:lnTo>
                  <a:pt x="39" y="221"/>
                </a:lnTo>
                <a:lnTo>
                  <a:pt x="39" y="221"/>
                </a:lnTo>
                <a:lnTo>
                  <a:pt x="44" y="223"/>
                </a:lnTo>
                <a:lnTo>
                  <a:pt x="56" y="221"/>
                </a:lnTo>
                <a:lnTo>
                  <a:pt x="64" y="221"/>
                </a:lnTo>
                <a:lnTo>
                  <a:pt x="73" y="219"/>
                </a:lnTo>
                <a:lnTo>
                  <a:pt x="82" y="216"/>
                </a:lnTo>
                <a:lnTo>
                  <a:pt x="92" y="211"/>
                </a:lnTo>
                <a:lnTo>
                  <a:pt x="103" y="204"/>
                </a:lnTo>
                <a:lnTo>
                  <a:pt x="113" y="197"/>
                </a:lnTo>
                <a:lnTo>
                  <a:pt x="122" y="186"/>
                </a:lnTo>
                <a:lnTo>
                  <a:pt x="131" y="173"/>
                </a:lnTo>
                <a:lnTo>
                  <a:pt x="139" y="158"/>
                </a:lnTo>
                <a:lnTo>
                  <a:pt x="146" y="139"/>
                </a:lnTo>
                <a:lnTo>
                  <a:pt x="150" y="119"/>
                </a:lnTo>
                <a:lnTo>
                  <a:pt x="154" y="94"/>
                </a:lnTo>
                <a:lnTo>
                  <a:pt x="182" y="94"/>
                </a:lnTo>
                <a:lnTo>
                  <a:pt x="182" y="94"/>
                </a:lnTo>
                <a:lnTo>
                  <a:pt x="187" y="94"/>
                </a:lnTo>
                <a:lnTo>
                  <a:pt x="191" y="95"/>
                </a:lnTo>
                <a:lnTo>
                  <a:pt x="196" y="98"/>
                </a:lnTo>
                <a:lnTo>
                  <a:pt x="200" y="102"/>
                </a:lnTo>
                <a:lnTo>
                  <a:pt x="203" y="104"/>
                </a:lnTo>
                <a:lnTo>
                  <a:pt x="206" y="109"/>
                </a:lnTo>
                <a:lnTo>
                  <a:pt x="207" y="115"/>
                </a:lnTo>
                <a:lnTo>
                  <a:pt x="208" y="120"/>
                </a:lnTo>
                <a:lnTo>
                  <a:pt x="208" y="260"/>
                </a:lnTo>
                <a:lnTo>
                  <a:pt x="177" y="260"/>
                </a:lnTo>
                <a:close/>
                <a:moveTo>
                  <a:pt x="47" y="177"/>
                </a:moveTo>
                <a:lnTo>
                  <a:pt x="47" y="146"/>
                </a:lnTo>
                <a:lnTo>
                  <a:pt x="31" y="146"/>
                </a:lnTo>
                <a:lnTo>
                  <a:pt x="31" y="177"/>
                </a:lnTo>
                <a:lnTo>
                  <a:pt x="47" y="177"/>
                </a:lnTo>
                <a:close/>
                <a:moveTo>
                  <a:pt x="103" y="82"/>
                </a:moveTo>
                <a:lnTo>
                  <a:pt x="103" y="82"/>
                </a:lnTo>
                <a:lnTo>
                  <a:pt x="94" y="81"/>
                </a:lnTo>
                <a:lnTo>
                  <a:pt x="87" y="80"/>
                </a:lnTo>
                <a:lnTo>
                  <a:pt x="79" y="76"/>
                </a:lnTo>
                <a:lnTo>
                  <a:pt x="73" y="70"/>
                </a:lnTo>
                <a:lnTo>
                  <a:pt x="69" y="64"/>
                </a:lnTo>
                <a:lnTo>
                  <a:pt x="65" y="57"/>
                </a:lnTo>
                <a:lnTo>
                  <a:pt x="63" y="50"/>
                </a:lnTo>
                <a:lnTo>
                  <a:pt x="61" y="41"/>
                </a:lnTo>
                <a:lnTo>
                  <a:pt x="61" y="41"/>
                </a:lnTo>
                <a:lnTo>
                  <a:pt x="63" y="33"/>
                </a:lnTo>
                <a:lnTo>
                  <a:pt x="65" y="25"/>
                </a:lnTo>
                <a:lnTo>
                  <a:pt x="69" y="19"/>
                </a:lnTo>
                <a:lnTo>
                  <a:pt x="73" y="12"/>
                </a:lnTo>
                <a:lnTo>
                  <a:pt x="79" y="7"/>
                </a:lnTo>
                <a:lnTo>
                  <a:pt x="87" y="3"/>
                </a:lnTo>
                <a:lnTo>
                  <a:pt x="94" y="0"/>
                </a:lnTo>
                <a:lnTo>
                  <a:pt x="103" y="0"/>
                </a:lnTo>
                <a:lnTo>
                  <a:pt x="103" y="0"/>
                </a:lnTo>
                <a:lnTo>
                  <a:pt x="111" y="0"/>
                </a:lnTo>
                <a:lnTo>
                  <a:pt x="118" y="3"/>
                </a:lnTo>
                <a:lnTo>
                  <a:pt x="126" y="7"/>
                </a:lnTo>
                <a:lnTo>
                  <a:pt x="131" y="12"/>
                </a:lnTo>
                <a:lnTo>
                  <a:pt x="137" y="19"/>
                </a:lnTo>
                <a:lnTo>
                  <a:pt x="141" y="25"/>
                </a:lnTo>
                <a:lnTo>
                  <a:pt x="143" y="33"/>
                </a:lnTo>
                <a:lnTo>
                  <a:pt x="144" y="41"/>
                </a:lnTo>
                <a:lnTo>
                  <a:pt x="144" y="41"/>
                </a:lnTo>
                <a:lnTo>
                  <a:pt x="143" y="50"/>
                </a:lnTo>
                <a:lnTo>
                  <a:pt x="141" y="57"/>
                </a:lnTo>
                <a:lnTo>
                  <a:pt x="137" y="64"/>
                </a:lnTo>
                <a:lnTo>
                  <a:pt x="131" y="70"/>
                </a:lnTo>
                <a:lnTo>
                  <a:pt x="126" y="76"/>
                </a:lnTo>
                <a:lnTo>
                  <a:pt x="118" y="80"/>
                </a:lnTo>
                <a:lnTo>
                  <a:pt x="111" y="81"/>
                </a:lnTo>
                <a:lnTo>
                  <a:pt x="103" y="82"/>
                </a:lnTo>
                <a:lnTo>
                  <a:pt x="103" y="82"/>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10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综合</a:t>
            </a:r>
            <a:endParaRPr lang="zh-CN" altLang="en-US" sz="2400" dirty="0">
              <a:latin typeface="+mj-ea"/>
            </a:endParaRPr>
          </a:p>
        </p:txBody>
      </p:sp>
      <p:pic>
        <p:nvPicPr>
          <p:cNvPr id="103" name="图片 10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629" name="think-cell Slide" r:id="rId2" imgW="12700" imgH="12700" progId="TCLayout.ActiveDocument.1">
                  <p:embed/>
                </p:oleObj>
              </mc:Choice>
              <mc:Fallback>
                <p:oleObj name="think-cell Slide" r:id="rId2" imgW="12700" imgH="12700" progId="TCLayout.ActiveDocument.1">
                  <p:embed/>
                  <p:pic>
                    <p:nvPicPr>
                      <p:cNvPr id="0" name="对象 3"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8" name="AutoShape 4"/>
          <p:cNvSpPr>
            <a:spLocks noChangeArrowheads="1"/>
          </p:cNvSpPr>
          <p:nvPr>
            <p:custDataLst>
              <p:tags r:id="rId4"/>
            </p:custDataLst>
          </p:nvPr>
        </p:nvSpPr>
        <p:spPr bwMode="gray">
          <a:xfrm>
            <a:off x="3494314" y="2397383"/>
            <a:ext cx="8100629" cy="972000"/>
          </a:xfrm>
          <a:prstGeom prst="roundRect">
            <a:avLst>
              <a:gd name="adj" fmla="val 16667"/>
            </a:avLst>
          </a:prstGeom>
          <a:solidFill>
            <a:schemeClr val="bg1"/>
          </a:solidFill>
          <a:ln w="19050">
            <a:solidFill>
              <a:schemeClr val="accent1">
                <a:lumMod val="75000"/>
              </a:schemeClr>
            </a:solidFill>
            <a:round/>
          </a:ln>
          <a:effectLst/>
        </p:spPr>
        <p:txBody>
          <a:bodyPr wrap="square" lIns="468000" tIns="0" rIns="0" bIns="0" anchor="ctr"/>
          <a:lstStyle/>
          <a:p>
            <a:r>
              <a:rPr lang="en-US" altLang="zh-CN" sz="1900" smtClean="0">
                <a:solidFill>
                  <a:prstClr val="black"/>
                </a:solidFill>
                <a:cs typeface="Arial" panose="020B0604020202020204" pitchFamily="34" charset="0"/>
              </a:rPr>
              <a:t>XXXX</a:t>
            </a:r>
            <a:endParaRPr lang="zh-CN" altLang="en-US" sz="1900" dirty="0">
              <a:solidFill>
                <a:prstClr val="black"/>
              </a:solidFill>
              <a:cs typeface="Arial" panose="020B0604020202020204" pitchFamily="34" charset="0"/>
            </a:endParaRPr>
          </a:p>
        </p:txBody>
      </p:sp>
      <p:sp>
        <p:nvSpPr>
          <p:cNvPr id="50" name="AutoShape 4"/>
          <p:cNvSpPr>
            <a:spLocks noChangeArrowheads="1"/>
          </p:cNvSpPr>
          <p:nvPr>
            <p:custDataLst>
              <p:tags r:id="rId5"/>
            </p:custDataLst>
          </p:nvPr>
        </p:nvSpPr>
        <p:spPr bwMode="gray">
          <a:xfrm>
            <a:off x="3494314" y="3780482"/>
            <a:ext cx="8100629" cy="972000"/>
          </a:xfrm>
          <a:prstGeom prst="roundRect">
            <a:avLst>
              <a:gd name="adj" fmla="val 16667"/>
            </a:avLst>
          </a:prstGeom>
          <a:solidFill>
            <a:schemeClr val="bg1"/>
          </a:solidFill>
          <a:ln w="19050">
            <a:solidFill>
              <a:schemeClr val="accent1">
                <a:lumMod val="75000"/>
              </a:schemeClr>
            </a:solidFill>
            <a:round/>
          </a:ln>
          <a:effectLst/>
        </p:spPr>
        <p:txBody>
          <a:bodyPr wrap="square" lIns="468000" tIns="0" rIns="0" bIns="0" anchor="ctr"/>
          <a:lstStyle/>
          <a:p>
            <a:r>
              <a:rPr lang="en-US" altLang="zh-CN" sz="1900" smtClean="0">
                <a:solidFill>
                  <a:prstClr val="black"/>
                </a:solidFill>
                <a:cs typeface="Arial" panose="020B0604020202020204" pitchFamily="34" charset="0"/>
              </a:rPr>
              <a:t>XXX</a:t>
            </a:r>
            <a:endParaRPr lang="zh-CN" altLang="en-US" sz="1900" dirty="0">
              <a:solidFill>
                <a:prstClr val="black"/>
              </a:solidFill>
              <a:cs typeface="Arial" panose="020B0604020202020204" pitchFamily="34" charset="0"/>
            </a:endParaRPr>
          </a:p>
        </p:txBody>
      </p:sp>
      <p:sp>
        <p:nvSpPr>
          <p:cNvPr id="53" name="AutoShape 4"/>
          <p:cNvSpPr>
            <a:spLocks noChangeArrowheads="1"/>
          </p:cNvSpPr>
          <p:nvPr>
            <p:custDataLst>
              <p:tags r:id="rId6"/>
            </p:custDataLst>
          </p:nvPr>
        </p:nvSpPr>
        <p:spPr bwMode="gray">
          <a:xfrm>
            <a:off x="2774194" y="1054988"/>
            <a:ext cx="8801280" cy="972000"/>
          </a:xfrm>
          <a:prstGeom prst="roundRect">
            <a:avLst>
              <a:gd name="adj" fmla="val 16667"/>
            </a:avLst>
          </a:prstGeom>
          <a:solidFill>
            <a:schemeClr val="bg1"/>
          </a:solidFill>
          <a:ln w="19050">
            <a:solidFill>
              <a:schemeClr val="accent1">
                <a:lumMod val="75000"/>
              </a:schemeClr>
            </a:solidFill>
            <a:round/>
          </a:ln>
          <a:effectLst/>
        </p:spPr>
        <p:txBody>
          <a:bodyPr wrap="square" lIns="684000" tIns="0" rIns="0" bIns="0" anchor="ctr"/>
          <a:lstStyle/>
          <a:p>
            <a:r>
              <a:rPr lang="en-US" altLang="zh-CN" sz="1900" smtClean="0">
                <a:solidFill>
                  <a:prstClr val="black"/>
                </a:solidFill>
                <a:cs typeface="Arial" panose="020B0604020202020204" pitchFamily="34" charset="0"/>
              </a:rPr>
              <a:t>XXXXX</a:t>
            </a:r>
            <a:endParaRPr lang="zh-CN" altLang="en-US" sz="1900" dirty="0">
              <a:solidFill>
                <a:prstClr val="black"/>
              </a:solidFill>
              <a:cs typeface="Arial" panose="020B0604020202020204" pitchFamily="34" charset="0"/>
            </a:endParaRPr>
          </a:p>
        </p:txBody>
      </p:sp>
      <p:sp>
        <p:nvSpPr>
          <p:cNvPr id="55" name="AutoShape 4"/>
          <p:cNvSpPr>
            <a:spLocks noChangeArrowheads="1"/>
          </p:cNvSpPr>
          <p:nvPr>
            <p:custDataLst>
              <p:tags r:id="rId7"/>
            </p:custDataLst>
          </p:nvPr>
        </p:nvSpPr>
        <p:spPr bwMode="gray">
          <a:xfrm>
            <a:off x="2774194" y="5150053"/>
            <a:ext cx="8801280" cy="972000"/>
          </a:xfrm>
          <a:prstGeom prst="roundRect">
            <a:avLst>
              <a:gd name="adj" fmla="val 16667"/>
            </a:avLst>
          </a:prstGeom>
          <a:solidFill>
            <a:schemeClr val="bg1"/>
          </a:solidFill>
          <a:ln w="19050">
            <a:solidFill>
              <a:schemeClr val="accent1">
                <a:lumMod val="75000"/>
              </a:schemeClr>
            </a:solidFill>
            <a:round/>
          </a:ln>
          <a:effectLst/>
        </p:spPr>
        <p:txBody>
          <a:bodyPr wrap="square" lIns="684000" tIns="0" rIns="0" bIns="0" anchor="ctr"/>
          <a:lstStyle/>
          <a:p>
            <a:r>
              <a:rPr lang="en-US" altLang="zh-CN" sz="1900" smtClean="0">
                <a:solidFill>
                  <a:prstClr val="black"/>
                </a:solidFill>
                <a:cs typeface="Arial" panose="020B0604020202020204" pitchFamily="34" charset="0"/>
              </a:rPr>
              <a:t>XXXX</a:t>
            </a:r>
            <a:endParaRPr lang="zh-CN" altLang="en-US" sz="1900" dirty="0">
              <a:solidFill>
                <a:prstClr val="black"/>
              </a:solidFill>
              <a:cs typeface="Arial" panose="020B0604020202020204" pitchFamily="34" charset="0"/>
            </a:endParaRPr>
          </a:p>
        </p:txBody>
      </p:sp>
      <p:sp>
        <p:nvSpPr>
          <p:cNvPr id="22" name="任意多边形 21"/>
          <p:cNvSpPr/>
          <p:nvPr/>
        </p:nvSpPr>
        <p:spPr>
          <a:xfrm>
            <a:off x="1" y="746474"/>
            <a:ext cx="3505201" cy="5564418"/>
          </a:xfrm>
          <a:custGeom>
            <a:avLst/>
            <a:gdLst>
              <a:gd name="connsiteX0" fmla="*/ 621523 w 3505201"/>
              <a:gd name="connsiteY0" fmla="*/ 1809 h 5564418"/>
              <a:gd name="connsiteX1" fmla="*/ 2905697 w 3505201"/>
              <a:gd name="connsiteY1" fmla="*/ 1057039 h 5564418"/>
              <a:gd name="connsiteX2" fmla="*/ 2847500 w 3505201"/>
              <a:gd name="connsiteY2" fmla="*/ 4578597 h 5564418"/>
              <a:gd name="connsiteX3" fmla="*/ 61726 w 3505201"/>
              <a:gd name="connsiteY3" fmla="*/ 5484841 h 5564418"/>
              <a:gd name="connsiteX4" fmla="*/ 0 w 3505201"/>
              <a:gd name="connsiteY4" fmla="*/ 5466858 h 5564418"/>
              <a:gd name="connsiteX5" fmla="*/ 0 w 3505201"/>
              <a:gd name="connsiteY5" fmla="*/ 5318791 h 5564418"/>
              <a:gd name="connsiteX6" fmla="*/ 95552 w 3505201"/>
              <a:gd name="connsiteY6" fmla="*/ 5346629 h 5564418"/>
              <a:gd name="connsiteX7" fmla="*/ 2738861 w 3505201"/>
              <a:gd name="connsiteY7" fmla="*/ 4486730 h 5564418"/>
              <a:gd name="connsiteX8" fmla="*/ 2794081 w 3505201"/>
              <a:gd name="connsiteY8" fmla="*/ 1145265 h 5564418"/>
              <a:gd name="connsiteX9" fmla="*/ 180629 w 3505201"/>
              <a:gd name="connsiteY9" fmla="*/ 198494 h 5564418"/>
              <a:gd name="connsiteX10" fmla="*/ 0 w 3505201"/>
              <a:gd name="connsiteY10" fmla="*/ 244702 h 5564418"/>
              <a:gd name="connsiteX11" fmla="*/ 0 w 3505201"/>
              <a:gd name="connsiteY11" fmla="*/ 97969 h 5564418"/>
              <a:gd name="connsiteX12" fmla="*/ 151390 w 3505201"/>
              <a:gd name="connsiteY12" fmla="*/ 59241 h 5564418"/>
              <a:gd name="connsiteX13" fmla="*/ 621523 w 3505201"/>
              <a:gd name="connsiteY13" fmla="*/ 1809 h 556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05201" h="5564418">
                <a:moveTo>
                  <a:pt x="621523" y="1809"/>
                </a:moveTo>
                <a:cubicBezTo>
                  <a:pt x="1485216" y="-29376"/>
                  <a:pt x="2341467" y="343230"/>
                  <a:pt x="2905697" y="1057039"/>
                </a:cubicBezTo>
                <a:cubicBezTo>
                  <a:pt x="3726397" y="2095307"/>
                  <a:pt x="3702059" y="3568014"/>
                  <a:pt x="2847500" y="4578597"/>
                </a:cubicBezTo>
                <a:cubicBezTo>
                  <a:pt x="2153171" y="5399696"/>
                  <a:pt x="1066949" y="5731022"/>
                  <a:pt x="61726" y="5484841"/>
                </a:cubicBezTo>
                <a:lnTo>
                  <a:pt x="0" y="5466858"/>
                </a:lnTo>
                <a:lnTo>
                  <a:pt x="0" y="5318791"/>
                </a:lnTo>
                <a:lnTo>
                  <a:pt x="95552" y="5346629"/>
                </a:lnTo>
                <a:cubicBezTo>
                  <a:pt x="1049368" y="5580219"/>
                  <a:pt x="2080040" y="5265837"/>
                  <a:pt x="2738861" y="4486730"/>
                </a:cubicBezTo>
                <a:cubicBezTo>
                  <a:pt x="3549717" y="3527829"/>
                  <a:pt x="3572810" y="2130436"/>
                  <a:pt x="2794081" y="1145265"/>
                </a:cubicBezTo>
                <a:cubicBezTo>
                  <a:pt x="2161364" y="344814"/>
                  <a:pt x="1141642" y="-3453"/>
                  <a:pt x="180629" y="198494"/>
                </a:cubicBezTo>
                <a:lnTo>
                  <a:pt x="0" y="244702"/>
                </a:lnTo>
                <a:lnTo>
                  <a:pt x="0" y="97969"/>
                </a:lnTo>
                <a:lnTo>
                  <a:pt x="151390" y="59241"/>
                </a:lnTo>
                <a:cubicBezTo>
                  <a:pt x="307206" y="26497"/>
                  <a:pt x="464487" y="7479"/>
                  <a:pt x="621523" y="1809"/>
                </a:cubicBezTo>
                <a:close/>
              </a:path>
            </a:pathLst>
          </a:custGeom>
          <a:solidFill>
            <a:schemeClr val="accent1">
              <a:lumMod val="7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050" dirty="0">
              <a:solidFill>
                <a:srgbClr val="FFFFFF"/>
              </a:solidFill>
              <a:cs typeface="+mn-ea"/>
            </a:endParaRPr>
          </a:p>
        </p:txBody>
      </p:sp>
      <p:sp>
        <p:nvSpPr>
          <p:cNvPr id="49" name="椭圆 48"/>
          <p:cNvSpPr/>
          <p:nvPr/>
        </p:nvSpPr>
        <p:spPr bwMode="auto">
          <a:xfrm>
            <a:off x="2849816" y="2347272"/>
            <a:ext cx="1080000" cy="1080000"/>
          </a:xfrm>
          <a:prstGeom prst="ellipse">
            <a:avLst/>
          </a:prstGeom>
          <a:solidFill>
            <a:srgbClr val="FE5817"/>
          </a:solidFill>
          <a:ln w="19050" cap="flat" cmpd="sng" algn="ctr">
            <a:solidFill>
              <a:sysClr val="window" lastClr="FFFFFF"/>
            </a:solidFill>
            <a:prstDash val="solid"/>
            <a:miter lim="800000"/>
            <a:tailEnd type="triangle" w="med" len="me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rPr>
              <a:t>提升</a:t>
            </a:r>
            <a:endParaRPr kumimoji="0" lang="en-US" altLang="zh-CN"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rPr>
              <a:t>效率</a:t>
            </a:r>
            <a:endParaRPr kumimoji="0" lang="en-US" altLang="zh-CN"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endParaRPr>
          </a:p>
        </p:txBody>
      </p:sp>
      <p:sp>
        <p:nvSpPr>
          <p:cNvPr id="51" name="椭圆 50"/>
          <p:cNvSpPr/>
          <p:nvPr/>
        </p:nvSpPr>
        <p:spPr bwMode="auto">
          <a:xfrm>
            <a:off x="2904408" y="3710875"/>
            <a:ext cx="1080000" cy="1080000"/>
          </a:xfrm>
          <a:prstGeom prst="ellipse">
            <a:avLst/>
          </a:prstGeom>
          <a:solidFill>
            <a:srgbClr val="FE5817"/>
          </a:solidFill>
          <a:ln w="19050" cap="flat" cmpd="sng" algn="ctr">
            <a:solidFill>
              <a:sysClr val="window" lastClr="FFFFFF"/>
            </a:solidFill>
            <a:prstDash val="solid"/>
            <a:miter lim="800000"/>
            <a:tailEnd type="triangle" w="med" len="me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rPr>
              <a:t>数字化</a:t>
            </a:r>
            <a:endParaRPr kumimoji="0" lang="en-US" altLang="zh-CN"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endParaRPr>
          </a:p>
        </p:txBody>
      </p:sp>
      <p:sp>
        <p:nvSpPr>
          <p:cNvPr id="54" name="椭圆 53"/>
          <p:cNvSpPr/>
          <p:nvPr/>
        </p:nvSpPr>
        <p:spPr bwMode="auto">
          <a:xfrm>
            <a:off x="2076956" y="983669"/>
            <a:ext cx="1080000" cy="1080000"/>
          </a:xfrm>
          <a:prstGeom prst="ellipse">
            <a:avLst/>
          </a:prstGeom>
          <a:solidFill>
            <a:srgbClr val="FE5817"/>
          </a:solidFill>
          <a:ln w="19050" cap="flat" cmpd="sng" algn="ctr">
            <a:solidFill>
              <a:sysClr val="window" lastClr="FFFFFF"/>
            </a:solidFill>
            <a:prstDash val="solid"/>
            <a:miter lim="800000"/>
            <a:tailEnd type="triangle" w="med" len="me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rPr>
              <a:t>可追</a:t>
            </a:r>
            <a:endParaRPr kumimoji="0" lang="en-US" altLang="zh-CN"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rPr>
              <a:t>溯性</a:t>
            </a:r>
            <a:endParaRPr kumimoji="0" lang="en-US" altLang="zh-CN"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endParaRPr>
          </a:p>
        </p:txBody>
      </p:sp>
      <p:sp>
        <p:nvSpPr>
          <p:cNvPr id="56" name="椭圆 55"/>
          <p:cNvSpPr/>
          <p:nvPr/>
        </p:nvSpPr>
        <p:spPr bwMode="auto">
          <a:xfrm>
            <a:off x="2076956" y="5074477"/>
            <a:ext cx="1080000" cy="1080000"/>
          </a:xfrm>
          <a:prstGeom prst="ellipse">
            <a:avLst/>
          </a:prstGeom>
          <a:solidFill>
            <a:srgbClr val="FE5817"/>
          </a:solidFill>
          <a:ln w="19050" cap="flat" cmpd="sng" algn="ctr">
            <a:solidFill>
              <a:sysClr val="window" lastClr="FFFFFF"/>
            </a:solidFill>
            <a:prstDash val="solid"/>
            <a:miter lim="800000"/>
            <a:tailEnd type="triangle" w="med" len="me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rPr>
              <a:t>信息透明共享</a:t>
            </a:r>
            <a:endParaRPr kumimoji="0" lang="en-US" altLang="zh-CN" sz="2000" b="1" i="0" u="none" strike="noStrike" kern="0" cap="none" spc="0" normalizeH="0" baseline="0" noProof="0" dirty="0" smtClean="0">
              <a:ln>
                <a:noFill/>
              </a:ln>
              <a:solidFill>
                <a:prstClr val="white"/>
              </a:solidFill>
              <a:uLnTx/>
              <a:uFillTx/>
              <a:latin typeface="Arial" panose="020B0604020202020204"/>
              <a:ea typeface="华文楷体" panose="02010600040101010101" charset="-122"/>
              <a:cs typeface="Arial" panose="020B0604020202020204" pitchFamily="34" charset="0"/>
            </a:endParaRPr>
          </a:p>
        </p:txBody>
      </p:sp>
      <p:sp>
        <p:nvSpPr>
          <p:cNvPr id="61" name="TextBox 60"/>
          <p:cNvSpPr txBox="1"/>
          <p:nvPr/>
        </p:nvSpPr>
        <p:spPr>
          <a:xfrm>
            <a:off x="218934" y="3888366"/>
            <a:ext cx="2452548" cy="276999"/>
          </a:xfrm>
          <a:prstGeom prst="rect">
            <a:avLst/>
          </a:prstGeom>
          <a:noFill/>
          <a:extLst>
            <a:ext uri="{909E8E84-426E-40DD-AFC4-6F175D3DCCD1}">
              <a14:hiddenFill xmlns:a14="http://schemas.microsoft.com/office/drawing/2010/main">
                <a:solidFill>
                  <a:srgbClr val="5B9BD5">
                    <a:lumMod val="20000"/>
                    <a:lumOff val="80000"/>
                  </a:srgbClr>
                </a:solidFill>
              </a14:hiddenFill>
            </a:ext>
          </a:extLst>
        </p:spPr>
        <p:txBody>
          <a:bodyPr wrap="square" lIns="0" tIns="0" rIns="0" bIns="0" rtlCol="0">
            <a:spAutoFit/>
          </a:bodyPr>
          <a:lstStyle/>
          <a:p>
            <a:pPr lvl="0" algn="ctr">
              <a:tabLst>
                <a:tab pos="355600" algn="l"/>
              </a:tabLst>
            </a:pPr>
            <a:r>
              <a:rPr lang="en-US" altLang="zh-CN" kern="0" smtClean="0">
                <a:solidFill>
                  <a:prstClr val="black"/>
                </a:solidFill>
                <a:cs typeface="Arial" panose="020B0604020202020204" pitchFamily="34" charset="0"/>
              </a:rPr>
              <a:t>XXXX</a:t>
            </a:r>
            <a:endParaRPr kumimoji="0" lang="zh-CN" altLang="en-US" i="0" u="none" strike="noStrike" kern="0" cap="none" spc="0" normalizeH="0" baseline="0" noProof="0" dirty="0" smtClean="0">
              <a:ln>
                <a:noFill/>
              </a:ln>
              <a:solidFill>
                <a:prstClr val="black"/>
              </a:solidFill>
              <a:effectLst/>
              <a:uLnTx/>
              <a:uFillTx/>
              <a:cs typeface="Arial" panose="020B0604020202020204" pitchFamily="34" charset="0"/>
            </a:endParaRPr>
          </a:p>
        </p:txBody>
      </p:sp>
      <p:pic>
        <p:nvPicPr>
          <p:cNvPr id="62" name="图片 61"/>
          <p:cNvPicPr>
            <a:picLocks noChangeAspect="1"/>
          </p:cNvPicPr>
          <p:nvPr/>
        </p:nvPicPr>
        <p:blipFill rotWithShape="1">
          <a:blip r:embed="rId8" cstate="email">
            <a:clrChange>
              <a:clrFrom>
                <a:srgbClr val="FFFFFF"/>
              </a:clrFrom>
              <a:clrTo>
                <a:srgbClr val="FFFFFF">
                  <a:alpha val="0"/>
                </a:srgbClr>
              </a:clrTo>
            </a:clrChange>
          </a:blip>
          <a:srcRect/>
          <a:stretch>
            <a:fillRect/>
          </a:stretch>
        </p:blipFill>
        <p:spPr>
          <a:xfrm>
            <a:off x="401973" y="1986963"/>
            <a:ext cx="1926599" cy="1842451"/>
          </a:xfrm>
          <a:prstGeom prst="rect">
            <a:avLst/>
          </a:prstGeom>
        </p:spPr>
      </p:pic>
      <p:sp>
        <p:nvSpPr>
          <p:cNvPr id="20"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latin typeface="+mj-ea"/>
              </a:rPr>
              <a:t>综合</a:t>
            </a:r>
            <a:endParaRPr lang="zh-CN" altLang="en-US" sz="2400" dirty="0">
              <a:latin typeface="+mj-ea"/>
            </a:endParaRPr>
          </a:p>
        </p:txBody>
      </p:sp>
      <p:pic>
        <p:nvPicPr>
          <p:cNvPr id="19" name="图片 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2946983" y="3231931"/>
            <a:ext cx="5762297" cy="772510"/>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4" name="文本框 3"/>
          <p:cNvSpPr txBox="1"/>
          <p:nvPr/>
        </p:nvSpPr>
        <p:spPr>
          <a:xfrm>
            <a:off x="494643" y="11824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zh-CN" altLang="en-US" sz="3200" b="1" dirty="0" smtClean="0">
                <a:solidFill>
                  <a:schemeClr val="tx1"/>
                </a:solidFill>
              </a:rPr>
              <a:t>目录</a:t>
            </a:r>
            <a:endParaRPr lang="zh-CN" altLang="en-US" sz="3200" b="1" dirty="0" smtClean="0">
              <a:solidFill>
                <a:schemeClr val="tx1"/>
              </a:solidFill>
            </a:endParaRPr>
          </a:p>
        </p:txBody>
      </p:sp>
      <p:sp>
        <p:nvSpPr>
          <p:cNvPr id="5" name="文本框 4"/>
          <p:cNvSpPr txBox="1"/>
          <p:nvPr/>
        </p:nvSpPr>
        <p:spPr>
          <a:xfrm>
            <a:off x="3570889" y="2774731"/>
            <a:ext cx="4895193"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r>
              <a:rPr lang="en-US" altLang="zh-CN" sz="2800" b="1" dirty="0" smtClean="0">
                <a:solidFill>
                  <a:schemeClr val="tx1"/>
                </a:solidFill>
              </a:rPr>
              <a:t>1. </a:t>
            </a:r>
            <a:r>
              <a:rPr lang="zh-CN" altLang="en-US" sz="2800" b="1" dirty="0" smtClean="0">
                <a:solidFill>
                  <a:schemeClr val="tx1"/>
                </a:solidFill>
              </a:rPr>
              <a:t>工具模板</a:t>
            </a:r>
            <a:endParaRPr lang="en-US" altLang="zh-CN" sz="2800" b="1" dirty="0" smtClean="0">
              <a:solidFill>
                <a:schemeClr val="tx1"/>
              </a:solidFill>
            </a:endParaRPr>
          </a:p>
          <a:p>
            <a:endParaRPr lang="en-US" altLang="zh-CN" sz="2800" b="1" dirty="0" smtClean="0">
              <a:solidFill>
                <a:schemeClr val="tx1"/>
              </a:solidFill>
            </a:endParaRPr>
          </a:p>
          <a:p>
            <a:r>
              <a:rPr lang="en-US" altLang="zh-CN" sz="2800" b="1" dirty="0" smtClean="0">
                <a:solidFill>
                  <a:schemeClr val="bg1"/>
                </a:solidFill>
              </a:rPr>
              <a:t>2. </a:t>
            </a:r>
            <a:r>
              <a:rPr lang="zh-CN" altLang="en-US" sz="2800" b="1" dirty="0" smtClean="0">
                <a:solidFill>
                  <a:schemeClr val="bg1"/>
                </a:solidFill>
              </a:rPr>
              <a:t>分析模板</a:t>
            </a:r>
            <a:endParaRPr lang="zh-CN" altLang="en-US" sz="2800" b="1" dirty="0" smtClean="0">
              <a:solidFill>
                <a:schemeClr val="bg1"/>
              </a:solidFill>
            </a:endParaRPr>
          </a:p>
        </p:txBody>
      </p:sp>
      <p:pic>
        <p:nvPicPr>
          <p:cNvPr id="7" name="图片 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080705" y="2305505"/>
            <a:ext cx="738875" cy="751139"/>
            <a:chOff x="2498710" y="2311467"/>
            <a:chExt cx="1748840" cy="1777866"/>
          </a:xfrm>
        </p:grpSpPr>
        <p:sp>
          <p:nvSpPr>
            <p:cNvPr id="5" name="椭圆 4"/>
            <p:cNvSpPr/>
            <p:nvPr/>
          </p:nvSpPr>
          <p:spPr>
            <a:xfrm>
              <a:off x="2644792" y="2457549"/>
              <a:ext cx="1456676" cy="1456676"/>
            </a:xfrm>
            <a:prstGeom prst="ellips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200" dirty="0" smtClean="0">
                  <a:latin typeface="Arial" panose="020B0604020202020204" pitchFamily="34" charset="0"/>
                  <a:ea typeface="华文楷体" panose="02010600040101010101" charset="-122"/>
                  <a:cs typeface="Arial" panose="020B0604020202020204" pitchFamily="34" charset="0"/>
                </a:rPr>
                <a:t>1</a:t>
              </a:r>
              <a:endParaRPr lang="zh-CN" altLang="en-US" sz="3200" dirty="0">
                <a:latin typeface="Arial" panose="020B0604020202020204" pitchFamily="34" charset="0"/>
                <a:ea typeface="华文楷体" panose="02010600040101010101" charset="-122"/>
                <a:cs typeface="Arial" panose="020B0604020202020204" pitchFamily="34" charset="0"/>
              </a:endParaRPr>
            </a:p>
          </p:txBody>
        </p:sp>
        <p:sp>
          <p:nvSpPr>
            <p:cNvPr id="6" name="椭圆 5"/>
            <p:cNvSpPr/>
            <p:nvPr/>
          </p:nvSpPr>
          <p:spPr>
            <a:xfrm>
              <a:off x="2498710" y="2311467"/>
              <a:ext cx="1748840" cy="1748840"/>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6600" dirty="0">
                <a:latin typeface="华文楷体" panose="02010600040101010101" charset="-122"/>
                <a:ea typeface="华文楷体" panose="02010600040101010101" charset="-122"/>
              </a:endParaRPr>
            </a:p>
          </p:txBody>
        </p:sp>
        <p:sp>
          <p:nvSpPr>
            <p:cNvPr id="7" name="椭圆 6"/>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sp>
          <p:nvSpPr>
            <p:cNvPr id="8" name="椭圆 7"/>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grpSp>
      <p:sp>
        <p:nvSpPr>
          <p:cNvPr id="9" name="文本框 8"/>
          <p:cNvSpPr txBox="1"/>
          <p:nvPr/>
        </p:nvSpPr>
        <p:spPr>
          <a:xfrm>
            <a:off x="1885051" y="2427398"/>
            <a:ext cx="2256815" cy="52322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0"/>
              </a:spcBef>
              <a:spcAft>
                <a:spcPts val="0"/>
              </a:spcAft>
              <a:buClrTx/>
              <a:buSzTx/>
              <a:buFontTx/>
              <a:buNone/>
              <a:defRPr/>
            </a:pPr>
            <a:r>
              <a:rPr kumimoji="1" lang="zh-CN" altLang="en-US" sz="28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hlinkClick r:id="rId1" action="ppaction://hlinksldjump"/>
              </a:rPr>
              <a:t>竞调</a:t>
            </a:r>
            <a:endParaRPr kumimoji="1" lang="zh-CN" altLang="en-US" sz="2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endParaRPr>
          </a:p>
        </p:txBody>
      </p:sp>
      <p:cxnSp>
        <p:nvCxnSpPr>
          <p:cNvPr id="10" name="直接连接符 9"/>
          <p:cNvCxnSpPr/>
          <p:nvPr/>
        </p:nvCxnSpPr>
        <p:spPr>
          <a:xfrm>
            <a:off x="1885050" y="2370974"/>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 name="组合 10"/>
          <p:cNvGrpSpPr/>
          <p:nvPr/>
        </p:nvGrpSpPr>
        <p:grpSpPr>
          <a:xfrm>
            <a:off x="5045676" y="2305505"/>
            <a:ext cx="738875" cy="751139"/>
            <a:chOff x="2498710" y="2311467"/>
            <a:chExt cx="1748840" cy="1777866"/>
          </a:xfrm>
        </p:grpSpPr>
        <p:sp>
          <p:nvSpPr>
            <p:cNvPr id="12" name="椭圆 11"/>
            <p:cNvSpPr/>
            <p:nvPr/>
          </p:nvSpPr>
          <p:spPr>
            <a:xfrm>
              <a:off x="2644792" y="2457549"/>
              <a:ext cx="1456676" cy="1456676"/>
            </a:xfrm>
            <a:prstGeom prst="ellips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200" dirty="0">
                  <a:latin typeface="Arial" panose="020B0604020202020204" pitchFamily="34" charset="0"/>
                  <a:ea typeface="华文楷体" panose="02010600040101010101" charset="-122"/>
                  <a:cs typeface="Arial" panose="020B0604020202020204" pitchFamily="34" charset="0"/>
                </a:rPr>
                <a:t>2</a:t>
              </a:r>
              <a:endParaRPr lang="zh-CN" altLang="en-US" sz="3200" dirty="0">
                <a:latin typeface="Arial" panose="020B0604020202020204" pitchFamily="34" charset="0"/>
                <a:ea typeface="华文楷体" panose="02010600040101010101" charset="-122"/>
                <a:cs typeface="Arial" panose="020B0604020202020204" pitchFamily="34" charset="0"/>
              </a:endParaRPr>
            </a:p>
          </p:txBody>
        </p:sp>
        <p:sp>
          <p:nvSpPr>
            <p:cNvPr id="13" name="椭圆 12"/>
            <p:cNvSpPr/>
            <p:nvPr/>
          </p:nvSpPr>
          <p:spPr>
            <a:xfrm>
              <a:off x="2498710" y="2311467"/>
              <a:ext cx="1748840" cy="1748840"/>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6600" dirty="0">
                <a:latin typeface="华文楷体" panose="02010600040101010101" charset="-122"/>
                <a:ea typeface="华文楷体" panose="02010600040101010101" charset="-122"/>
              </a:endParaRPr>
            </a:p>
          </p:txBody>
        </p:sp>
        <p:sp>
          <p:nvSpPr>
            <p:cNvPr id="14" name="椭圆 13"/>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sp>
          <p:nvSpPr>
            <p:cNvPr id="15" name="椭圆 14"/>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grpSp>
      <p:sp>
        <p:nvSpPr>
          <p:cNvPr id="16" name="文本框 8"/>
          <p:cNvSpPr txBox="1"/>
          <p:nvPr/>
        </p:nvSpPr>
        <p:spPr>
          <a:xfrm>
            <a:off x="5850022" y="2427398"/>
            <a:ext cx="2256815" cy="52322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0"/>
              </a:spcBef>
              <a:spcAft>
                <a:spcPts val="0"/>
              </a:spcAft>
              <a:buClrTx/>
              <a:buSzTx/>
              <a:buFontTx/>
              <a:buNone/>
              <a:defRPr/>
            </a:pPr>
            <a:r>
              <a:rPr kumimoji="1" lang="zh-CN" altLang="en-US" sz="28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hlinkClick r:id="rId2" action="ppaction://hlinksldjump"/>
              </a:rPr>
              <a:t>行研</a:t>
            </a:r>
            <a:endParaRPr kumimoji="1" lang="zh-CN" altLang="en-US" sz="2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endParaRPr>
          </a:p>
        </p:txBody>
      </p:sp>
      <p:cxnSp>
        <p:nvCxnSpPr>
          <p:cNvPr id="17" name="直接连接符 16"/>
          <p:cNvCxnSpPr/>
          <p:nvPr/>
        </p:nvCxnSpPr>
        <p:spPr>
          <a:xfrm>
            <a:off x="5850021" y="2370974"/>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p:cNvGrpSpPr/>
          <p:nvPr/>
        </p:nvGrpSpPr>
        <p:grpSpPr>
          <a:xfrm>
            <a:off x="8639300" y="2305505"/>
            <a:ext cx="738875" cy="751139"/>
            <a:chOff x="2498710" y="2311467"/>
            <a:chExt cx="1748840" cy="1777866"/>
          </a:xfrm>
        </p:grpSpPr>
        <p:sp>
          <p:nvSpPr>
            <p:cNvPr id="19" name="椭圆 18"/>
            <p:cNvSpPr/>
            <p:nvPr/>
          </p:nvSpPr>
          <p:spPr>
            <a:xfrm>
              <a:off x="2644792" y="2457549"/>
              <a:ext cx="1456676" cy="1456676"/>
            </a:xfrm>
            <a:prstGeom prst="ellips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200" dirty="0">
                  <a:latin typeface="Arial" panose="020B0604020202020204" pitchFamily="34" charset="0"/>
                  <a:ea typeface="华文楷体" panose="02010600040101010101" charset="-122"/>
                  <a:cs typeface="Arial" panose="020B0604020202020204" pitchFamily="34" charset="0"/>
                </a:rPr>
                <a:t>3</a:t>
              </a:r>
              <a:endParaRPr lang="zh-CN" altLang="en-US" sz="3200" dirty="0">
                <a:latin typeface="Arial" panose="020B0604020202020204" pitchFamily="34" charset="0"/>
                <a:ea typeface="华文楷体" panose="02010600040101010101" charset="-122"/>
                <a:cs typeface="Arial" panose="020B0604020202020204" pitchFamily="34" charset="0"/>
              </a:endParaRPr>
            </a:p>
          </p:txBody>
        </p:sp>
        <p:sp>
          <p:nvSpPr>
            <p:cNvPr id="20" name="椭圆 19"/>
            <p:cNvSpPr/>
            <p:nvPr/>
          </p:nvSpPr>
          <p:spPr>
            <a:xfrm>
              <a:off x="2498710" y="2311467"/>
              <a:ext cx="1748840" cy="1748840"/>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6600" dirty="0">
                <a:latin typeface="华文楷体" panose="02010600040101010101" charset="-122"/>
                <a:ea typeface="华文楷体" panose="02010600040101010101" charset="-122"/>
              </a:endParaRPr>
            </a:p>
          </p:txBody>
        </p:sp>
        <p:sp>
          <p:nvSpPr>
            <p:cNvPr id="21" name="椭圆 20"/>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sp>
          <p:nvSpPr>
            <p:cNvPr id="22" name="椭圆 21"/>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grpSp>
      <p:sp>
        <p:nvSpPr>
          <p:cNvPr id="23" name="文本框 8"/>
          <p:cNvSpPr txBox="1"/>
          <p:nvPr/>
        </p:nvSpPr>
        <p:spPr>
          <a:xfrm>
            <a:off x="9443646" y="2427398"/>
            <a:ext cx="2256815" cy="52322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0"/>
              </a:spcBef>
              <a:spcAft>
                <a:spcPts val="0"/>
              </a:spcAft>
              <a:buClrTx/>
              <a:buSzTx/>
              <a:buFontTx/>
              <a:buNone/>
              <a:defRPr/>
            </a:pPr>
            <a:r>
              <a:rPr kumimoji="1" lang="zh-CN" altLang="en-US" sz="28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hlinkClick r:id="rId3" action="ppaction://hlinksldjump"/>
              </a:rPr>
              <a:t>内诊</a:t>
            </a:r>
            <a:endParaRPr kumimoji="1" lang="zh-CN" altLang="en-US" sz="2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endParaRPr>
          </a:p>
        </p:txBody>
      </p:sp>
      <p:cxnSp>
        <p:nvCxnSpPr>
          <p:cNvPr id="24" name="直接连接符 23"/>
          <p:cNvCxnSpPr/>
          <p:nvPr/>
        </p:nvCxnSpPr>
        <p:spPr>
          <a:xfrm>
            <a:off x="9443645" y="2370974"/>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5" name="组合 24"/>
          <p:cNvGrpSpPr/>
          <p:nvPr/>
        </p:nvGrpSpPr>
        <p:grpSpPr>
          <a:xfrm>
            <a:off x="3297866" y="4064360"/>
            <a:ext cx="738875" cy="751139"/>
            <a:chOff x="2498710" y="2311467"/>
            <a:chExt cx="1748840" cy="1777866"/>
          </a:xfrm>
        </p:grpSpPr>
        <p:sp>
          <p:nvSpPr>
            <p:cNvPr id="26" name="椭圆 25"/>
            <p:cNvSpPr/>
            <p:nvPr/>
          </p:nvSpPr>
          <p:spPr>
            <a:xfrm>
              <a:off x="2644792" y="2457549"/>
              <a:ext cx="1456676" cy="1456676"/>
            </a:xfrm>
            <a:prstGeom prst="ellips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200" dirty="0">
                  <a:latin typeface="Arial" panose="020B0604020202020204" pitchFamily="34" charset="0"/>
                  <a:ea typeface="华文楷体" panose="02010600040101010101" charset="-122"/>
                  <a:cs typeface="Arial" panose="020B0604020202020204" pitchFamily="34" charset="0"/>
                </a:rPr>
                <a:t>4</a:t>
              </a:r>
              <a:endParaRPr lang="zh-CN" altLang="en-US" sz="3200" dirty="0">
                <a:latin typeface="Arial" panose="020B0604020202020204" pitchFamily="34" charset="0"/>
                <a:ea typeface="华文楷体" panose="02010600040101010101" charset="-122"/>
                <a:cs typeface="Arial" panose="020B0604020202020204" pitchFamily="34" charset="0"/>
              </a:endParaRPr>
            </a:p>
          </p:txBody>
        </p:sp>
        <p:sp>
          <p:nvSpPr>
            <p:cNvPr id="27" name="椭圆 26"/>
            <p:cNvSpPr/>
            <p:nvPr/>
          </p:nvSpPr>
          <p:spPr>
            <a:xfrm>
              <a:off x="2498710" y="2311467"/>
              <a:ext cx="1748840" cy="1748840"/>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6600" dirty="0">
                <a:latin typeface="华文楷体" panose="02010600040101010101" charset="-122"/>
                <a:ea typeface="华文楷体" panose="02010600040101010101" charset="-122"/>
              </a:endParaRPr>
            </a:p>
          </p:txBody>
        </p:sp>
        <p:sp>
          <p:nvSpPr>
            <p:cNvPr id="28" name="椭圆 27"/>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sp>
          <p:nvSpPr>
            <p:cNvPr id="29" name="椭圆 28"/>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grpSp>
      <p:sp>
        <p:nvSpPr>
          <p:cNvPr id="30" name="文本框 8"/>
          <p:cNvSpPr txBox="1"/>
          <p:nvPr/>
        </p:nvSpPr>
        <p:spPr>
          <a:xfrm>
            <a:off x="4102212" y="4186253"/>
            <a:ext cx="2256815" cy="52322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0"/>
              </a:spcBef>
              <a:spcAft>
                <a:spcPts val="0"/>
              </a:spcAft>
              <a:buClrTx/>
              <a:buSzTx/>
              <a:buFontTx/>
              <a:buNone/>
              <a:defRPr/>
            </a:pPr>
            <a:r>
              <a:rPr kumimoji="1" lang="zh-CN" altLang="en-US" sz="28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hlinkClick r:id="rId4" action="ppaction://hlinksldjump"/>
              </a:rPr>
              <a:t>规划</a:t>
            </a:r>
            <a:endParaRPr kumimoji="1" lang="zh-CN" altLang="en-US" sz="2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endParaRPr>
          </a:p>
        </p:txBody>
      </p:sp>
      <p:cxnSp>
        <p:nvCxnSpPr>
          <p:cNvPr id="31" name="直接连接符 30"/>
          <p:cNvCxnSpPr/>
          <p:nvPr/>
        </p:nvCxnSpPr>
        <p:spPr>
          <a:xfrm>
            <a:off x="4102211" y="4129829"/>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矩形 31"/>
          <p:cNvSpPr/>
          <p:nvPr/>
        </p:nvSpPr>
        <p:spPr>
          <a:xfrm>
            <a:off x="4088006" y="674025"/>
            <a:ext cx="2954655" cy="646331"/>
          </a:xfrm>
          <a:prstGeom prst="rect">
            <a:avLst/>
          </a:prstGeom>
        </p:spPr>
        <p:txBody>
          <a:bodyPr wrap="none">
            <a:spAutoFit/>
          </a:bodyPr>
          <a:lstStyle/>
          <a:p>
            <a:pPr lvl="0" algn="ctr"/>
            <a:r>
              <a:rPr lang="zh-CN" altLang="en-US" sz="3600" b="1" dirty="0" smtClean="0">
                <a:solidFill>
                  <a:srgbClr val="FE5817"/>
                </a:solidFill>
                <a:latin typeface="华文楷体" panose="02010600040101010101" charset="-122"/>
                <a:ea typeface="华文楷体" panose="02010600040101010101" charset="-122"/>
              </a:rPr>
              <a:t>常用分析模板</a:t>
            </a:r>
            <a:endParaRPr lang="zh-CN" altLang="en-US" sz="3600" b="1" dirty="0">
              <a:solidFill>
                <a:srgbClr val="FE5817"/>
              </a:solidFill>
              <a:latin typeface="华文楷体" panose="02010600040101010101" charset="-122"/>
              <a:ea typeface="华文楷体" panose="02010600040101010101" charset="-122"/>
            </a:endParaRPr>
          </a:p>
        </p:txBody>
      </p:sp>
      <p:grpSp>
        <p:nvGrpSpPr>
          <p:cNvPr id="33" name="组合 32"/>
          <p:cNvGrpSpPr/>
          <p:nvPr/>
        </p:nvGrpSpPr>
        <p:grpSpPr>
          <a:xfrm>
            <a:off x="6756002" y="4080753"/>
            <a:ext cx="738875" cy="751139"/>
            <a:chOff x="2498710" y="2311467"/>
            <a:chExt cx="1748840" cy="1777866"/>
          </a:xfrm>
        </p:grpSpPr>
        <p:sp>
          <p:nvSpPr>
            <p:cNvPr id="34" name="椭圆 33"/>
            <p:cNvSpPr/>
            <p:nvPr/>
          </p:nvSpPr>
          <p:spPr>
            <a:xfrm>
              <a:off x="2644792" y="2457549"/>
              <a:ext cx="1456676" cy="1456676"/>
            </a:xfrm>
            <a:prstGeom prst="ellipse">
              <a:avLst/>
            </a:prstGeom>
            <a:solidFill>
              <a:srgbClr val="FD67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3200" dirty="0" smtClean="0">
                  <a:latin typeface="Arial" panose="020B0604020202020204" pitchFamily="34" charset="0"/>
                  <a:ea typeface="华文楷体" panose="02010600040101010101" charset="-122"/>
                  <a:cs typeface="Arial" panose="020B0604020202020204" pitchFamily="34" charset="0"/>
                </a:rPr>
                <a:t>5</a:t>
              </a:r>
              <a:endParaRPr lang="zh-CN" altLang="en-US" sz="3200" dirty="0">
                <a:latin typeface="Arial" panose="020B0604020202020204" pitchFamily="34" charset="0"/>
                <a:ea typeface="华文楷体" panose="02010600040101010101" charset="-122"/>
                <a:cs typeface="Arial" panose="020B0604020202020204" pitchFamily="34" charset="0"/>
              </a:endParaRPr>
            </a:p>
          </p:txBody>
        </p:sp>
        <p:sp>
          <p:nvSpPr>
            <p:cNvPr id="35" name="椭圆 34"/>
            <p:cNvSpPr/>
            <p:nvPr/>
          </p:nvSpPr>
          <p:spPr>
            <a:xfrm>
              <a:off x="2498710" y="2311467"/>
              <a:ext cx="1748840" cy="1748840"/>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6600" dirty="0">
                <a:latin typeface="华文楷体" panose="02010600040101010101" charset="-122"/>
                <a:ea typeface="华文楷体" panose="02010600040101010101" charset="-122"/>
              </a:endParaRPr>
            </a:p>
          </p:txBody>
        </p:sp>
        <p:sp>
          <p:nvSpPr>
            <p:cNvPr id="36" name="椭圆 35"/>
            <p:cNvSpPr/>
            <p:nvPr/>
          </p:nvSpPr>
          <p:spPr>
            <a:xfrm>
              <a:off x="3758995" y="3683265"/>
              <a:ext cx="406068" cy="4060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sp>
          <p:nvSpPr>
            <p:cNvPr id="37" name="椭圆 36"/>
            <p:cNvSpPr/>
            <p:nvPr/>
          </p:nvSpPr>
          <p:spPr>
            <a:xfrm>
              <a:off x="2644791" y="2350267"/>
              <a:ext cx="255468" cy="255468"/>
            </a:xfrm>
            <a:prstGeom prst="ellipse">
              <a:avLst/>
            </a:prstGeom>
            <a:solidFill>
              <a:schemeClr val="tx2">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a:latin typeface="华文楷体" panose="02010600040101010101" charset="-122"/>
                <a:ea typeface="华文楷体" panose="02010600040101010101" charset="-122"/>
                <a:cs typeface="+mn-ea"/>
                <a:sym typeface="+mn-lt"/>
              </a:endParaRPr>
            </a:p>
          </p:txBody>
        </p:sp>
      </p:grpSp>
      <p:sp>
        <p:nvSpPr>
          <p:cNvPr id="38" name="文本框 8"/>
          <p:cNvSpPr txBox="1"/>
          <p:nvPr/>
        </p:nvSpPr>
        <p:spPr>
          <a:xfrm>
            <a:off x="7560348" y="4202646"/>
            <a:ext cx="2256815" cy="52322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0"/>
              </a:spcBef>
              <a:spcAft>
                <a:spcPts val="0"/>
              </a:spcAft>
              <a:buClrTx/>
              <a:buSzTx/>
              <a:buFontTx/>
              <a:buNone/>
              <a:defRPr/>
            </a:pPr>
            <a:r>
              <a:rPr kumimoji="1" lang="zh-CN" altLang="en-US" sz="2800" b="1" dirty="0" smtClean="0">
                <a:solidFill>
                  <a:schemeClr val="tx1">
                    <a:lumMod val="75000"/>
                    <a:lumOff val="25000"/>
                  </a:schemeClr>
                </a:solidFill>
                <a:latin typeface="华文楷体" panose="02010600040101010101" charset="-122"/>
                <a:ea typeface="华文楷体" panose="02010600040101010101" charset="-122"/>
                <a:cs typeface="+mn-ea"/>
                <a:sym typeface="+mn-lt"/>
                <a:hlinkClick r:id="rId5" action="ppaction://hlinksldjump"/>
              </a:rPr>
              <a:t>管理</a:t>
            </a:r>
            <a:endParaRPr kumimoji="1" lang="zh-CN" altLang="en-US" sz="28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ea"/>
              <a:sym typeface="+mn-lt"/>
            </a:endParaRPr>
          </a:p>
        </p:txBody>
      </p:sp>
      <p:cxnSp>
        <p:nvCxnSpPr>
          <p:cNvPr id="39" name="直接连接符 38"/>
          <p:cNvCxnSpPr/>
          <p:nvPr/>
        </p:nvCxnSpPr>
        <p:spPr>
          <a:xfrm>
            <a:off x="7560347" y="4146222"/>
            <a:ext cx="0" cy="57986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0" name="图片 3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cxnSp>
        <p:nvCxnSpPr>
          <p:cNvPr id="115" name="直接连接符 114"/>
          <p:cNvCxnSpPr/>
          <p:nvPr/>
        </p:nvCxnSpPr>
        <p:spPr>
          <a:xfrm>
            <a:off x="2147198" y="1300165"/>
            <a:ext cx="5689600" cy="0"/>
          </a:xfrm>
          <a:prstGeom prst="line">
            <a:avLst/>
          </a:prstGeom>
          <a:noFill/>
          <a:ln w="9525" cap="flat" cmpd="sng" algn="ctr">
            <a:solidFill>
              <a:srgbClr val="FE5817"/>
            </a:solidFill>
            <a:prstDash val="solid"/>
            <a:headEnd type="oval"/>
            <a:tailEnd type="oval"/>
          </a:ln>
          <a:effectLst/>
        </p:spPr>
      </p:cxnSp>
      <p:cxnSp>
        <p:nvCxnSpPr>
          <p:cNvPr id="116" name="直接连接符 115"/>
          <p:cNvCxnSpPr/>
          <p:nvPr/>
        </p:nvCxnSpPr>
        <p:spPr>
          <a:xfrm>
            <a:off x="8215478" y="1300166"/>
            <a:ext cx="2778773" cy="0"/>
          </a:xfrm>
          <a:prstGeom prst="line">
            <a:avLst/>
          </a:prstGeom>
          <a:noFill/>
          <a:ln w="9525" cap="flat" cmpd="sng" algn="ctr">
            <a:solidFill>
              <a:srgbClr val="FE5817"/>
            </a:solidFill>
            <a:prstDash val="solid"/>
            <a:headEnd type="oval"/>
            <a:tailEnd type="oval"/>
          </a:ln>
          <a:effectLst/>
        </p:spPr>
      </p:cxnSp>
      <p:sp>
        <p:nvSpPr>
          <p:cNvPr id="117" name="Rectangle 124"/>
          <p:cNvSpPr/>
          <p:nvPr/>
        </p:nvSpPr>
        <p:spPr>
          <a:xfrm>
            <a:off x="3809739" y="1123654"/>
            <a:ext cx="2364513" cy="354593"/>
          </a:xfrm>
          <a:prstGeom prst="rect">
            <a:avLst/>
          </a:prstGeom>
          <a:solidFill>
            <a:sysClr val="window" lastClr="FFFFFF"/>
          </a:solidFill>
        </p:spPr>
        <p:txBody>
          <a:bodyPr wrap="square"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prstClr val="black">
                    <a:lumMod val="75000"/>
                    <a:lumOff val="25000"/>
                  </a:prstClr>
                </a:solidFill>
                <a:effectLst/>
                <a:uLnTx/>
                <a:uFillTx/>
                <a:latin typeface="Arial" panose="020B0604020202020204"/>
                <a:ea typeface="华文楷体" panose="02010600040101010101" charset="-122"/>
              </a:rPr>
              <a:t>工作事项</a:t>
            </a:r>
            <a:endParaRPr kumimoji="0" lang="en-US" altLang="zh-TW" sz="2000" b="1" i="0" u="none" strike="noStrike" kern="0" cap="none" spc="0" normalizeH="0" baseline="0" noProof="0" dirty="0" smtClean="0">
              <a:ln>
                <a:noFill/>
              </a:ln>
              <a:solidFill>
                <a:prstClr val="black">
                  <a:lumMod val="75000"/>
                  <a:lumOff val="25000"/>
                </a:prstClr>
              </a:solidFill>
              <a:effectLst/>
              <a:uLnTx/>
              <a:uFillTx/>
              <a:latin typeface="Arial" panose="020B0604020202020204"/>
              <a:ea typeface="华文楷体" panose="02010600040101010101" charset="-122"/>
            </a:endParaRPr>
          </a:p>
        </p:txBody>
      </p:sp>
      <p:sp>
        <p:nvSpPr>
          <p:cNvPr id="118" name="Rectangle 124"/>
          <p:cNvSpPr/>
          <p:nvPr/>
        </p:nvSpPr>
        <p:spPr>
          <a:xfrm>
            <a:off x="8757980" y="1123654"/>
            <a:ext cx="1693767" cy="354593"/>
          </a:xfrm>
          <a:prstGeom prst="rect">
            <a:avLst/>
          </a:prstGeom>
          <a:solidFill>
            <a:sysClr val="window" lastClr="FFFFFF"/>
          </a:solidFill>
        </p:spPr>
        <p:txBody>
          <a:bodyPr wrap="square"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prstClr val="black">
                    <a:lumMod val="75000"/>
                    <a:lumOff val="25000"/>
                  </a:prstClr>
                </a:solidFill>
                <a:effectLst/>
                <a:uLnTx/>
                <a:uFillTx/>
                <a:latin typeface="Arial" panose="020B0604020202020204"/>
                <a:ea typeface="华文楷体" panose="02010600040101010101" charset="-122"/>
              </a:rPr>
              <a:t>参与方</a:t>
            </a:r>
            <a:endParaRPr kumimoji="0" lang="en-US" altLang="zh-TW" sz="2000" b="1" i="0" u="none" strike="noStrike" kern="0" cap="none" spc="0" normalizeH="0" baseline="0" noProof="0" dirty="0" smtClean="0">
              <a:ln>
                <a:noFill/>
              </a:ln>
              <a:solidFill>
                <a:prstClr val="black">
                  <a:lumMod val="75000"/>
                  <a:lumOff val="25000"/>
                </a:prstClr>
              </a:solidFill>
              <a:effectLst/>
              <a:uLnTx/>
              <a:uFillTx/>
              <a:latin typeface="Arial" panose="020B0604020202020204"/>
              <a:ea typeface="华文楷体" panose="02010600040101010101" charset="-122"/>
            </a:endParaRPr>
          </a:p>
        </p:txBody>
      </p:sp>
      <p:sp>
        <p:nvSpPr>
          <p:cNvPr id="119" name="右箭头 118"/>
          <p:cNvSpPr/>
          <p:nvPr/>
        </p:nvSpPr>
        <p:spPr>
          <a:xfrm rot="5400000">
            <a:off x="-1808602" y="3517711"/>
            <a:ext cx="5153105" cy="511200"/>
          </a:xfrm>
          <a:prstGeom prst="rightArrow">
            <a:avLst/>
          </a:prstGeom>
          <a:solidFill>
            <a:srgbClr val="FEA07A"/>
          </a:solidFill>
          <a:ln w="9525" cap="flat" cmpd="sng" algn="ctr">
            <a:solidFill>
              <a:sysClr val="window" lastClr="FFFFFF"/>
            </a:solidFill>
            <a:prstDash val="solid"/>
          </a:ln>
          <a:effectLst/>
        </p:spPr>
        <p:txBody>
          <a:bodyPr lIns="96000" tIns="96000" rIns="96000" bIns="144000" rtlCol="0" anchor="t" anchorCtr="0">
            <a:noAutofit/>
          </a:bodyPr>
          <a:lstStyle/>
          <a:p>
            <a:pPr marL="0" marR="0" lvl="0" indent="0" defTabSz="1219200" eaLnBrk="1" fontAlgn="auto" latinLnBrk="0" hangingPunct="1">
              <a:lnSpc>
                <a:spcPct val="100000"/>
              </a:lnSpc>
              <a:spcBef>
                <a:spcPts val="535"/>
              </a:spcBef>
              <a:spcAft>
                <a:spcPts val="0"/>
              </a:spcAft>
              <a:buClrTx/>
              <a:buSzTx/>
              <a:buFontTx/>
              <a:buNone/>
              <a:defRPr/>
            </a:pPr>
            <a:endParaRPr kumimoji="0" lang="zh-CN" altLang="en-US" sz="2000" b="0" i="0" u="none" strike="noStrike" kern="0" cap="none" spc="0" normalizeH="0" baseline="0" noProof="0" dirty="0">
              <a:ln>
                <a:noFill/>
              </a:ln>
              <a:solidFill>
                <a:srgbClr val="000000"/>
              </a:solidFill>
              <a:effectLst/>
              <a:uLnTx/>
              <a:uFillTx/>
              <a:latin typeface="Arial" panose="020B0604020202020204"/>
              <a:ea typeface="华文楷体" panose="02010600040101010101" charset="-122"/>
              <a:cs typeface="+mn-ea"/>
              <a:sym typeface="+mn-lt"/>
            </a:endParaRPr>
          </a:p>
        </p:txBody>
      </p:sp>
      <p:grpSp>
        <p:nvGrpSpPr>
          <p:cNvPr id="120" name="组合 119"/>
          <p:cNvGrpSpPr/>
          <p:nvPr/>
        </p:nvGrpSpPr>
        <p:grpSpPr>
          <a:xfrm>
            <a:off x="658444" y="1602183"/>
            <a:ext cx="1047827" cy="216000"/>
            <a:chOff x="958893" y="1773187"/>
            <a:chExt cx="1047827" cy="216000"/>
          </a:xfrm>
        </p:grpSpPr>
        <p:sp>
          <p:nvSpPr>
            <p:cNvPr id="121" name="椭圆 120"/>
            <p:cNvSpPr/>
            <p:nvPr/>
          </p:nvSpPr>
          <p:spPr>
            <a:xfrm>
              <a:off x="958893" y="1773187"/>
              <a:ext cx="216000" cy="216000"/>
            </a:xfrm>
            <a:prstGeom prst="ellipse">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2" name="椭圆 121"/>
            <p:cNvSpPr/>
            <p:nvPr/>
          </p:nvSpPr>
          <p:spPr>
            <a:xfrm>
              <a:off x="990986" y="1805280"/>
              <a:ext cx="151813" cy="151813"/>
            </a:xfrm>
            <a:prstGeom prst="ellipse">
              <a:avLst/>
            </a:prstGeom>
            <a:solidFill>
              <a:sysClr val="window" lastClr="FFFFFF">
                <a:lumMod val="6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3" name="文本框 122"/>
            <p:cNvSpPr txBox="1"/>
            <p:nvPr/>
          </p:nvSpPr>
          <p:spPr>
            <a:xfrm>
              <a:off x="1092320" y="1809469"/>
              <a:ext cx="914400" cy="15181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3.15</a:t>
              </a:r>
              <a:endParaRPr kumimoji="0" lang="zh-CN" altLang="en-US" sz="1800" b="0" i="0" u="none" strike="noStrike" kern="0" cap="none" spc="0" normalizeH="0" baseline="0" noProof="0" dirty="0" err="1" smtClean="0">
                <a:ln>
                  <a:noFill/>
                </a:ln>
                <a:solidFill>
                  <a:srgbClr val="575757"/>
                </a:solidFill>
                <a:effectLst/>
                <a:uLnTx/>
                <a:uFillTx/>
                <a:latin typeface="Arial" panose="020B0604020202020204"/>
                <a:ea typeface="华文楷体" panose="02010600040101010101" charset="-122"/>
                <a:cs typeface="+mn-cs"/>
              </a:endParaRPr>
            </a:p>
          </p:txBody>
        </p:sp>
      </p:grpSp>
      <p:grpSp>
        <p:nvGrpSpPr>
          <p:cNvPr id="124" name="组合 123"/>
          <p:cNvGrpSpPr/>
          <p:nvPr/>
        </p:nvGrpSpPr>
        <p:grpSpPr>
          <a:xfrm>
            <a:off x="657483" y="2296756"/>
            <a:ext cx="1048788" cy="216000"/>
            <a:chOff x="957932" y="2431710"/>
            <a:chExt cx="1048788" cy="216000"/>
          </a:xfrm>
        </p:grpSpPr>
        <p:sp>
          <p:nvSpPr>
            <p:cNvPr id="125" name="椭圆 124"/>
            <p:cNvSpPr/>
            <p:nvPr/>
          </p:nvSpPr>
          <p:spPr>
            <a:xfrm>
              <a:off x="957932" y="2431710"/>
              <a:ext cx="216000" cy="216000"/>
            </a:xfrm>
            <a:prstGeom prst="ellipse">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6" name="椭圆 125"/>
            <p:cNvSpPr/>
            <p:nvPr/>
          </p:nvSpPr>
          <p:spPr>
            <a:xfrm>
              <a:off x="990025" y="2463803"/>
              <a:ext cx="151813" cy="151813"/>
            </a:xfrm>
            <a:prstGeom prst="ellipse">
              <a:avLst/>
            </a:prstGeom>
            <a:solidFill>
              <a:sysClr val="window" lastClr="FFFFFF">
                <a:lumMod val="6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27" name="文本框 126"/>
            <p:cNvSpPr txBox="1"/>
            <p:nvPr/>
          </p:nvSpPr>
          <p:spPr>
            <a:xfrm>
              <a:off x="1092320" y="2470363"/>
              <a:ext cx="914400" cy="15181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3.19</a:t>
              </a:r>
              <a:endParaRPr kumimoji="0" lang="zh-CN" altLang="en-US" sz="1800" b="0" i="0" u="none" strike="noStrike" kern="0" cap="none" spc="0" normalizeH="0" baseline="0" noProof="0" dirty="0" err="1" smtClean="0">
                <a:ln>
                  <a:noFill/>
                </a:ln>
                <a:solidFill>
                  <a:srgbClr val="575757"/>
                </a:solidFill>
                <a:effectLst/>
                <a:uLnTx/>
                <a:uFillTx/>
                <a:latin typeface="Arial" panose="020B0604020202020204"/>
                <a:ea typeface="华文楷体" panose="02010600040101010101" charset="-122"/>
                <a:cs typeface="+mn-cs"/>
              </a:endParaRPr>
            </a:p>
          </p:txBody>
        </p:sp>
      </p:grpSp>
      <p:grpSp>
        <p:nvGrpSpPr>
          <p:cNvPr id="128" name="组合 127"/>
          <p:cNvGrpSpPr/>
          <p:nvPr/>
        </p:nvGrpSpPr>
        <p:grpSpPr>
          <a:xfrm>
            <a:off x="657483" y="2991329"/>
            <a:ext cx="1048788" cy="216000"/>
            <a:chOff x="957932" y="3090233"/>
            <a:chExt cx="1048788" cy="216000"/>
          </a:xfrm>
        </p:grpSpPr>
        <p:sp>
          <p:nvSpPr>
            <p:cNvPr id="129" name="椭圆 128"/>
            <p:cNvSpPr/>
            <p:nvPr/>
          </p:nvSpPr>
          <p:spPr>
            <a:xfrm>
              <a:off x="957932" y="3090233"/>
              <a:ext cx="216000" cy="216000"/>
            </a:xfrm>
            <a:prstGeom prst="ellipse">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30" name="椭圆 129"/>
            <p:cNvSpPr/>
            <p:nvPr/>
          </p:nvSpPr>
          <p:spPr>
            <a:xfrm>
              <a:off x="990025" y="3122326"/>
              <a:ext cx="151813" cy="151813"/>
            </a:xfrm>
            <a:prstGeom prst="ellipse">
              <a:avLst/>
            </a:prstGeom>
            <a:solidFill>
              <a:sysClr val="window" lastClr="FFFFFF">
                <a:lumMod val="6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31" name="文本框 130"/>
            <p:cNvSpPr txBox="1"/>
            <p:nvPr/>
          </p:nvSpPr>
          <p:spPr>
            <a:xfrm>
              <a:off x="1092320" y="3131257"/>
              <a:ext cx="914400" cy="15181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3.20</a:t>
              </a:r>
              <a:endParaRPr kumimoji="0" lang="zh-CN" altLang="en-US" sz="1800" b="0" i="0" u="none" strike="noStrike" kern="0" cap="none" spc="0" normalizeH="0" baseline="0" noProof="0" dirty="0" err="1" smtClean="0">
                <a:ln>
                  <a:noFill/>
                </a:ln>
                <a:solidFill>
                  <a:srgbClr val="575757"/>
                </a:solidFill>
                <a:effectLst/>
                <a:uLnTx/>
                <a:uFillTx/>
                <a:latin typeface="Arial" panose="020B0604020202020204"/>
                <a:ea typeface="华文楷体" panose="02010600040101010101" charset="-122"/>
                <a:cs typeface="+mn-cs"/>
              </a:endParaRPr>
            </a:p>
          </p:txBody>
        </p:sp>
      </p:grpSp>
      <p:grpSp>
        <p:nvGrpSpPr>
          <p:cNvPr id="132" name="组合 131"/>
          <p:cNvGrpSpPr/>
          <p:nvPr/>
        </p:nvGrpSpPr>
        <p:grpSpPr>
          <a:xfrm>
            <a:off x="657483" y="3685902"/>
            <a:ext cx="1048788" cy="216000"/>
            <a:chOff x="957932" y="3748756"/>
            <a:chExt cx="1048788" cy="216000"/>
          </a:xfrm>
        </p:grpSpPr>
        <p:sp>
          <p:nvSpPr>
            <p:cNvPr id="133" name="椭圆 132"/>
            <p:cNvSpPr/>
            <p:nvPr/>
          </p:nvSpPr>
          <p:spPr>
            <a:xfrm>
              <a:off x="957932" y="3748756"/>
              <a:ext cx="216000" cy="216000"/>
            </a:xfrm>
            <a:prstGeom prst="ellipse">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34" name="椭圆 133"/>
            <p:cNvSpPr/>
            <p:nvPr/>
          </p:nvSpPr>
          <p:spPr>
            <a:xfrm>
              <a:off x="990025" y="3780849"/>
              <a:ext cx="151813" cy="151813"/>
            </a:xfrm>
            <a:prstGeom prst="ellipse">
              <a:avLst/>
            </a:prstGeom>
            <a:solidFill>
              <a:sysClr val="window" lastClr="FFFFFF">
                <a:lumMod val="6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35" name="文本框 134"/>
            <p:cNvSpPr txBox="1"/>
            <p:nvPr/>
          </p:nvSpPr>
          <p:spPr>
            <a:xfrm>
              <a:off x="1092320" y="3792151"/>
              <a:ext cx="914400" cy="15181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3.22</a:t>
              </a:r>
              <a:endParaRPr kumimoji="0" lang="zh-CN" altLang="en-US" sz="1800" b="0" i="0" u="none" strike="noStrike" kern="0" cap="none" spc="0" normalizeH="0" baseline="0" noProof="0" dirty="0" err="1" smtClean="0">
                <a:ln>
                  <a:noFill/>
                </a:ln>
                <a:solidFill>
                  <a:srgbClr val="575757"/>
                </a:solidFill>
                <a:effectLst/>
                <a:uLnTx/>
                <a:uFillTx/>
                <a:latin typeface="Arial" panose="020B0604020202020204"/>
                <a:ea typeface="华文楷体" panose="02010600040101010101" charset="-122"/>
                <a:cs typeface="+mn-cs"/>
              </a:endParaRPr>
            </a:p>
          </p:txBody>
        </p:sp>
      </p:grpSp>
      <p:grpSp>
        <p:nvGrpSpPr>
          <p:cNvPr id="136" name="组合 135"/>
          <p:cNvGrpSpPr/>
          <p:nvPr/>
        </p:nvGrpSpPr>
        <p:grpSpPr>
          <a:xfrm>
            <a:off x="657483" y="4380475"/>
            <a:ext cx="1048788" cy="216000"/>
            <a:chOff x="957932" y="4407279"/>
            <a:chExt cx="1048788" cy="216000"/>
          </a:xfrm>
        </p:grpSpPr>
        <p:sp>
          <p:nvSpPr>
            <p:cNvPr id="137" name="椭圆 136"/>
            <p:cNvSpPr/>
            <p:nvPr/>
          </p:nvSpPr>
          <p:spPr>
            <a:xfrm>
              <a:off x="957932" y="4407279"/>
              <a:ext cx="216000" cy="216000"/>
            </a:xfrm>
            <a:prstGeom prst="ellipse">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38" name="椭圆 137"/>
            <p:cNvSpPr/>
            <p:nvPr/>
          </p:nvSpPr>
          <p:spPr>
            <a:xfrm>
              <a:off x="990025" y="4439372"/>
              <a:ext cx="151813" cy="151813"/>
            </a:xfrm>
            <a:prstGeom prst="ellipse">
              <a:avLst/>
            </a:prstGeom>
            <a:solidFill>
              <a:sysClr val="window" lastClr="FFFFFF">
                <a:lumMod val="6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39" name="文本框 138"/>
            <p:cNvSpPr txBox="1"/>
            <p:nvPr/>
          </p:nvSpPr>
          <p:spPr>
            <a:xfrm>
              <a:off x="1092320" y="4453045"/>
              <a:ext cx="914400" cy="15181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3.26</a:t>
              </a:r>
              <a:endParaRPr kumimoji="0" lang="zh-CN" altLang="en-US" sz="1800" b="0" i="0" u="none" strike="noStrike" kern="0" cap="none" spc="0" normalizeH="0" baseline="0" noProof="0" dirty="0" err="1" smtClean="0">
                <a:ln>
                  <a:noFill/>
                </a:ln>
                <a:solidFill>
                  <a:srgbClr val="575757"/>
                </a:solidFill>
                <a:effectLst/>
                <a:uLnTx/>
                <a:uFillTx/>
                <a:latin typeface="Arial" panose="020B0604020202020204"/>
                <a:ea typeface="华文楷体" panose="02010600040101010101" charset="-122"/>
                <a:cs typeface="+mn-cs"/>
              </a:endParaRPr>
            </a:p>
          </p:txBody>
        </p:sp>
      </p:grpSp>
      <p:grpSp>
        <p:nvGrpSpPr>
          <p:cNvPr id="140" name="组合 139"/>
          <p:cNvGrpSpPr/>
          <p:nvPr/>
        </p:nvGrpSpPr>
        <p:grpSpPr>
          <a:xfrm>
            <a:off x="659373" y="5075048"/>
            <a:ext cx="1046898" cy="216000"/>
            <a:chOff x="959822" y="5065800"/>
            <a:chExt cx="1046898" cy="216000"/>
          </a:xfrm>
        </p:grpSpPr>
        <p:sp>
          <p:nvSpPr>
            <p:cNvPr id="141" name="椭圆 140"/>
            <p:cNvSpPr/>
            <p:nvPr/>
          </p:nvSpPr>
          <p:spPr>
            <a:xfrm>
              <a:off x="959822" y="5065800"/>
              <a:ext cx="216000" cy="216000"/>
            </a:xfrm>
            <a:prstGeom prst="ellipse">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42" name="椭圆 141"/>
            <p:cNvSpPr/>
            <p:nvPr/>
          </p:nvSpPr>
          <p:spPr>
            <a:xfrm>
              <a:off x="991915" y="5097893"/>
              <a:ext cx="151813" cy="151813"/>
            </a:xfrm>
            <a:prstGeom prst="ellipse">
              <a:avLst/>
            </a:prstGeom>
            <a:solidFill>
              <a:sysClr val="window" lastClr="FFFFFF">
                <a:lumMod val="6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43" name="文本框 142"/>
            <p:cNvSpPr txBox="1"/>
            <p:nvPr/>
          </p:nvSpPr>
          <p:spPr>
            <a:xfrm>
              <a:off x="1092320" y="5113940"/>
              <a:ext cx="914400" cy="15181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3.26</a:t>
              </a:r>
              <a:endParaRPr kumimoji="0" lang="zh-CN" altLang="en-US" sz="1800" b="0" i="0" u="none" strike="noStrike" kern="0" cap="none" spc="0" normalizeH="0" baseline="0" noProof="0" dirty="0" err="1" smtClean="0">
                <a:ln>
                  <a:noFill/>
                </a:ln>
                <a:solidFill>
                  <a:srgbClr val="575757"/>
                </a:solidFill>
                <a:effectLst/>
                <a:uLnTx/>
                <a:uFillTx/>
                <a:latin typeface="Arial" panose="020B0604020202020204"/>
                <a:ea typeface="华文楷体" panose="02010600040101010101" charset="-122"/>
                <a:cs typeface="+mn-cs"/>
              </a:endParaRPr>
            </a:p>
          </p:txBody>
        </p:sp>
      </p:grpSp>
      <p:sp>
        <p:nvSpPr>
          <p:cNvPr id="144" name="文本框 143"/>
          <p:cNvSpPr txBox="1"/>
          <p:nvPr/>
        </p:nvSpPr>
        <p:spPr>
          <a:xfrm>
            <a:off x="2147198" y="1488945"/>
            <a:ext cx="5800426"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1"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r>
              <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a:t>
            </a: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45" name="文本框 144"/>
          <p:cNvSpPr txBox="1"/>
          <p:nvPr/>
        </p:nvSpPr>
        <p:spPr>
          <a:xfrm>
            <a:off x="8215478" y="1488945"/>
            <a:ext cx="3117273"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146" name="直接连接符 145"/>
          <p:cNvCxnSpPr/>
          <p:nvPr/>
        </p:nvCxnSpPr>
        <p:spPr>
          <a:xfrm>
            <a:off x="2147198" y="2039805"/>
            <a:ext cx="8847053" cy="0"/>
          </a:xfrm>
          <a:prstGeom prst="line">
            <a:avLst/>
          </a:prstGeom>
          <a:noFill/>
          <a:ln w="9525" cap="rnd" cmpd="sng" algn="ctr">
            <a:solidFill>
              <a:sysClr val="window" lastClr="FFFFFF">
                <a:lumMod val="65000"/>
              </a:sysClr>
            </a:solidFill>
            <a:prstDash val="solid"/>
            <a:round/>
          </a:ln>
          <a:effectLst/>
        </p:spPr>
      </p:cxnSp>
      <p:sp>
        <p:nvSpPr>
          <p:cNvPr id="147" name="文本框 146"/>
          <p:cNvSpPr txBox="1"/>
          <p:nvPr/>
        </p:nvSpPr>
        <p:spPr>
          <a:xfrm>
            <a:off x="2147198" y="2287094"/>
            <a:ext cx="5800426"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1"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r>
              <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a:t>
            </a: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48" name="文本框 147"/>
          <p:cNvSpPr txBox="1"/>
          <p:nvPr/>
        </p:nvSpPr>
        <p:spPr>
          <a:xfrm>
            <a:off x="8215478" y="2287094"/>
            <a:ext cx="3117273"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149" name="直接连接符 148"/>
          <p:cNvCxnSpPr/>
          <p:nvPr/>
        </p:nvCxnSpPr>
        <p:spPr>
          <a:xfrm>
            <a:off x="2147198" y="2967258"/>
            <a:ext cx="8847053" cy="0"/>
          </a:xfrm>
          <a:prstGeom prst="line">
            <a:avLst/>
          </a:prstGeom>
          <a:noFill/>
          <a:ln w="9525" cap="rnd" cmpd="sng" algn="ctr">
            <a:solidFill>
              <a:sysClr val="window" lastClr="FFFFFF">
                <a:lumMod val="65000"/>
              </a:sysClr>
            </a:solidFill>
            <a:prstDash val="solid"/>
            <a:round/>
          </a:ln>
          <a:effectLst/>
        </p:spPr>
      </p:cxnSp>
      <p:grpSp>
        <p:nvGrpSpPr>
          <p:cNvPr id="150" name="组合 149"/>
          <p:cNvGrpSpPr/>
          <p:nvPr/>
        </p:nvGrpSpPr>
        <p:grpSpPr>
          <a:xfrm>
            <a:off x="657483" y="5769624"/>
            <a:ext cx="1046898" cy="216000"/>
            <a:chOff x="959822" y="5065800"/>
            <a:chExt cx="1046898" cy="216000"/>
          </a:xfrm>
        </p:grpSpPr>
        <p:sp>
          <p:nvSpPr>
            <p:cNvPr id="151" name="椭圆 150"/>
            <p:cNvSpPr/>
            <p:nvPr/>
          </p:nvSpPr>
          <p:spPr>
            <a:xfrm>
              <a:off x="959822" y="5065800"/>
              <a:ext cx="216000" cy="216000"/>
            </a:xfrm>
            <a:prstGeom prst="ellipse">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52" name="椭圆 151"/>
            <p:cNvSpPr/>
            <p:nvPr/>
          </p:nvSpPr>
          <p:spPr>
            <a:xfrm>
              <a:off x="991915" y="5097893"/>
              <a:ext cx="151813" cy="151813"/>
            </a:xfrm>
            <a:prstGeom prst="ellipse">
              <a:avLst/>
            </a:prstGeom>
            <a:solidFill>
              <a:sysClr val="window" lastClr="FFFFFF">
                <a:lumMod val="6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auto" latinLnBrk="0" hangingPunct="1">
                <a:lnSpc>
                  <a:spcPct val="90000"/>
                </a:lnSpc>
                <a:spcBef>
                  <a:spcPts val="0"/>
                </a:spcBef>
                <a:spcAft>
                  <a:spcPts val="1000"/>
                </a:spcAft>
                <a:buClrTx/>
                <a:buSzTx/>
                <a:buFontTx/>
                <a:buNone/>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53" name="文本框 152"/>
            <p:cNvSpPr txBox="1"/>
            <p:nvPr/>
          </p:nvSpPr>
          <p:spPr>
            <a:xfrm>
              <a:off x="1092320" y="5113940"/>
              <a:ext cx="914400" cy="15181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3.27</a:t>
              </a:r>
              <a:endParaRPr kumimoji="0" lang="zh-CN" altLang="en-US" sz="1800" b="0" i="0" u="none" strike="noStrike" kern="0" cap="none" spc="0" normalizeH="0" baseline="0" noProof="0" dirty="0" err="1" smtClean="0">
                <a:ln>
                  <a:noFill/>
                </a:ln>
                <a:solidFill>
                  <a:srgbClr val="575757"/>
                </a:solidFill>
                <a:effectLst/>
                <a:uLnTx/>
                <a:uFillTx/>
                <a:latin typeface="Arial" panose="020B0604020202020204"/>
                <a:ea typeface="华文楷体" panose="02010600040101010101" charset="-122"/>
                <a:cs typeface="+mn-cs"/>
              </a:endParaRPr>
            </a:p>
          </p:txBody>
        </p:sp>
      </p:grpSp>
      <p:sp>
        <p:nvSpPr>
          <p:cNvPr id="154" name="文本框 153"/>
          <p:cNvSpPr txBox="1"/>
          <p:nvPr/>
        </p:nvSpPr>
        <p:spPr>
          <a:xfrm>
            <a:off x="2147198" y="3066999"/>
            <a:ext cx="5800426"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1"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r>
              <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a:t>
            </a: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55" name="文本框 154"/>
          <p:cNvSpPr txBox="1"/>
          <p:nvPr/>
        </p:nvSpPr>
        <p:spPr>
          <a:xfrm>
            <a:off x="8215478" y="3066999"/>
            <a:ext cx="3117273"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156" name="直接连接符 155"/>
          <p:cNvCxnSpPr/>
          <p:nvPr/>
        </p:nvCxnSpPr>
        <p:spPr>
          <a:xfrm>
            <a:off x="2147198" y="3534735"/>
            <a:ext cx="8847053" cy="0"/>
          </a:xfrm>
          <a:prstGeom prst="line">
            <a:avLst/>
          </a:prstGeom>
          <a:noFill/>
          <a:ln w="9525" cap="rnd" cmpd="sng" algn="ctr">
            <a:solidFill>
              <a:sysClr val="window" lastClr="FFFFFF">
                <a:lumMod val="65000"/>
              </a:sysClr>
            </a:solidFill>
            <a:prstDash val="solid"/>
            <a:round/>
          </a:ln>
          <a:effectLst/>
        </p:spPr>
      </p:cxnSp>
      <p:sp>
        <p:nvSpPr>
          <p:cNvPr id="157" name="文本框 156"/>
          <p:cNvSpPr txBox="1"/>
          <p:nvPr/>
        </p:nvSpPr>
        <p:spPr>
          <a:xfrm>
            <a:off x="2147198" y="3644828"/>
            <a:ext cx="5800426"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1"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r>
              <a:rPr kumimoji="0" lang="zh-CN" altLang="en-US" sz="1400" b="1"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会议</a:t>
            </a:r>
            <a:r>
              <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a:t>
            </a: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400" b="0" i="0" u="none" strike="noStrike" kern="0" cap="none" spc="0" normalizeH="0" baseline="0" noProof="0" dirty="0" smtClean="0">
              <a:ln>
                <a:noFill/>
              </a:ln>
              <a:solidFill>
                <a:prstClr val="black">
                  <a:lumMod val="75000"/>
                  <a:lumOff val="25000"/>
                </a:prstClr>
              </a:solidFill>
              <a:effectLst/>
              <a:uLnTx/>
              <a:uFillTx/>
              <a:latin typeface="Arial" panose="020B0604020202020204"/>
              <a:ea typeface="华文楷体" panose="02010600040101010101" charset="-122"/>
              <a:cs typeface="+mn-cs"/>
            </a:endParaRPr>
          </a:p>
        </p:txBody>
      </p:sp>
      <p:sp>
        <p:nvSpPr>
          <p:cNvPr id="158" name="文本框 157"/>
          <p:cNvSpPr txBox="1"/>
          <p:nvPr/>
        </p:nvSpPr>
        <p:spPr>
          <a:xfrm>
            <a:off x="8215478" y="3644828"/>
            <a:ext cx="3117273"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defTabSz="914400" eaLnBrk="1" fontAlgn="auto" latinLnBrk="0" hangingPunct="1">
              <a:lnSpc>
                <a:spcPct val="100000"/>
              </a:lnSpc>
              <a:spcBef>
                <a:spcPts val="0"/>
              </a:spcBef>
              <a:spcAft>
                <a:spcPts val="0"/>
              </a:spcAft>
              <a:buClrTx/>
              <a:buSzTx/>
              <a:buFontTx/>
              <a:buNone/>
              <a:defRPr/>
            </a:pPr>
            <a:endPar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endPar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159" name="直接连接符 158"/>
          <p:cNvCxnSpPr/>
          <p:nvPr/>
        </p:nvCxnSpPr>
        <p:spPr>
          <a:xfrm>
            <a:off x="2147198" y="4195688"/>
            <a:ext cx="8847053" cy="0"/>
          </a:xfrm>
          <a:prstGeom prst="line">
            <a:avLst/>
          </a:prstGeom>
          <a:noFill/>
          <a:ln w="9525" cap="rnd" cmpd="sng" algn="ctr">
            <a:solidFill>
              <a:sysClr val="window" lastClr="FFFFFF">
                <a:lumMod val="65000"/>
              </a:sysClr>
            </a:solidFill>
            <a:prstDash val="solid"/>
            <a:round/>
          </a:ln>
          <a:effectLst/>
        </p:spPr>
      </p:cxnSp>
      <p:sp>
        <p:nvSpPr>
          <p:cNvPr id="160" name="文本框 159"/>
          <p:cNvSpPr txBox="1"/>
          <p:nvPr/>
        </p:nvSpPr>
        <p:spPr>
          <a:xfrm>
            <a:off x="2147198" y="4307400"/>
            <a:ext cx="5800426"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1"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r>
              <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a:t>
            </a: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400" b="0" i="0" u="none" strike="noStrike" kern="0" cap="none" spc="0" normalizeH="0" baseline="0" noProof="0" dirty="0" smtClean="0">
              <a:ln>
                <a:noFill/>
              </a:ln>
              <a:solidFill>
                <a:prstClr val="black">
                  <a:lumMod val="75000"/>
                  <a:lumOff val="25000"/>
                </a:prstClr>
              </a:solidFill>
              <a:effectLst/>
              <a:uLnTx/>
              <a:uFillTx/>
              <a:latin typeface="Arial" panose="020B0604020202020204"/>
              <a:ea typeface="华文楷体" panose="02010600040101010101" charset="-122"/>
              <a:cs typeface="+mn-cs"/>
            </a:endParaRPr>
          </a:p>
        </p:txBody>
      </p:sp>
      <p:sp>
        <p:nvSpPr>
          <p:cNvPr id="161" name="文本框 160"/>
          <p:cNvSpPr txBox="1"/>
          <p:nvPr/>
        </p:nvSpPr>
        <p:spPr>
          <a:xfrm>
            <a:off x="8215478" y="4307400"/>
            <a:ext cx="3117273"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162" name="直接连接符 161"/>
          <p:cNvCxnSpPr/>
          <p:nvPr/>
        </p:nvCxnSpPr>
        <p:spPr>
          <a:xfrm>
            <a:off x="2147198" y="4876732"/>
            <a:ext cx="8847053" cy="0"/>
          </a:xfrm>
          <a:prstGeom prst="line">
            <a:avLst/>
          </a:prstGeom>
          <a:noFill/>
          <a:ln w="9525" cap="rnd" cmpd="sng" algn="ctr">
            <a:solidFill>
              <a:sysClr val="window" lastClr="FFFFFF">
                <a:lumMod val="65000"/>
              </a:sysClr>
            </a:solidFill>
            <a:prstDash val="solid"/>
            <a:round/>
          </a:ln>
          <a:effectLst/>
        </p:spPr>
      </p:cxnSp>
      <p:sp>
        <p:nvSpPr>
          <p:cNvPr id="163" name="文本框 162"/>
          <p:cNvSpPr txBox="1"/>
          <p:nvPr/>
        </p:nvSpPr>
        <p:spPr>
          <a:xfrm>
            <a:off x="2147198" y="5006998"/>
            <a:ext cx="5800426"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1"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r>
              <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a:t>
            </a:r>
            <a:r>
              <a:rPr kumimoji="0" lang="en-US" altLang="zh-CN" sz="14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1400" b="0" i="0" u="none" strike="noStrike" kern="0" cap="none" spc="0" normalizeH="0" baseline="0" noProof="0" dirty="0" smtClean="0">
              <a:ln>
                <a:noFill/>
              </a:ln>
              <a:solidFill>
                <a:prstClr val="black">
                  <a:lumMod val="75000"/>
                  <a:lumOff val="25000"/>
                </a:prstClr>
              </a:solidFill>
              <a:effectLst/>
              <a:uLnTx/>
              <a:uFillTx/>
              <a:latin typeface="Arial" panose="020B0604020202020204"/>
              <a:ea typeface="华文楷体" panose="02010600040101010101" charset="-122"/>
              <a:cs typeface="+mn-cs"/>
            </a:endParaRPr>
          </a:p>
        </p:txBody>
      </p:sp>
      <p:sp>
        <p:nvSpPr>
          <p:cNvPr id="164" name="文本框 163"/>
          <p:cNvSpPr txBox="1"/>
          <p:nvPr/>
        </p:nvSpPr>
        <p:spPr>
          <a:xfrm>
            <a:off x="8215478" y="5006998"/>
            <a:ext cx="3117273"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165" name="直接连接符 164"/>
          <p:cNvCxnSpPr/>
          <p:nvPr/>
        </p:nvCxnSpPr>
        <p:spPr>
          <a:xfrm>
            <a:off x="2147198" y="5557858"/>
            <a:ext cx="8847053" cy="0"/>
          </a:xfrm>
          <a:prstGeom prst="line">
            <a:avLst/>
          </a:prstGeom>
          <a:noFill/>
          <a:ln w="9525" cap="rnd" cmpd="sng" algn="ctr">
            <a:solidFill>
              <a:sysClr val="window" lastClr="FFFFFF">
                <a:lumMod val="65000"/>
              </a:sysClr>
            </a:solidFill>
            <a:prstDash val="solid"/>
            <a:round/>
          </a:ln>
          <a:effectLst/>
        </p:spPr>
      </p:cxnSp>
      <p:sp>
        <p:nvSpPr>
          <p:cNvPr id="166" name="文本框 165"/>
          <p:cNvSpPr txBox="1"/>
          <p:nvPr/>
        </p:nvSpPr>
        <p:spPr>
          <a:xfrm>
            <a:off x="2147198" y="5647917"/>
            <a:ext cx="5800426"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1"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r>
              <a:rPr kumimoji="0" lang="zh-CN" altLang="en-US"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a:t>
            </a:r>
            <a:r>
              <a:rPr kumimoji="0" lang="en-US" altLang="zh-CN" sz="1400" b="0" i="0" u="none" strike="noStrike" kern="0" cap="none" spc="0" normalizeH="0" baseline="0" noProof="0" dirty="0" err="1" smtClean="0">
                <a:ln>
                  <a:noFill/>
                </a:ln>
                <a:solidFill>
                  <a:prstClr val="black"/>
                </a:solidFill>
                <a:effectLst/>
                <a:uLnTx/>
                <a:uFillTx/>
                <a:latin typeface="Arial" panose="020B0604020202020204"/>
                <a:ea typeface="华文楷体" panose="02010600040101010101" charset="-122"/>
                <a:cs typeface="+mn-cs"/>
              </a:rPr>
              <a:t>xxxx</a:t>
            </a:r>
            <a:endParaRPr kumimoji="0" lang="zh-CN" altLang="en-US" sz="1400" b="0" i="0" u="none" strike="noStrike" kern="0" cap="none" spc="0" normalizeH="0" baseline="0" noProof="0" dirty="0" smtClean="0">
              <a:ln>
                <a:noFill/>
              </a:ln>
              <a:solidFill>
                <a:prstClr val="black">
                  <a:lumMod val="75000"/>
                  <a:lumOff val="25000"/>
                </a:prstClr>
              </a:solidFill>
              <a:effectLst/>
              <a:uLnTx/>
              <a:uFillTx/>
              <a:latin typeface="Arial" panose="020B0604020202020204"/>
              <a:ea typeface="华文楷体" panose="02010600040101010101" charset="-122"/>
              <a:cs typeface="+mn-cs"/>
            </a:endParaRPr>
          </a:p>
        </p:txBody>
      </p:sp>
      <p:sp>
        <p:nvSpPr>
          <p:cNvPr id="167" name="文本框 166"/>
          <p:cNvSpPr txBox="1"/>
          <p:nvPr/>
        </p:nvSpPr>
        <p:spPr>
          <a:xfrm>
            <a:off x="8215478" y="5647917"/>
            <a:ext cx="3117273" cy="46080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en-US" altLang="zh-CN" sz="1400" b="0" i="0" u="none" strike="noStrike" kern="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168" name="直接连接符 167"/>
          <p:cNvCxnSpPr/>
          <p:nvPr/>
        </p:nvCxnSpPr>
        <p:spPr>
          <a:xfrm>
            <a:off x="2147198" y="6198777"/>
            <a:ext cx="8847053" cy="0"/>
          </a:xfrm>
          <a:prstGeom prst="line">
            <a:avLst/>
          </a:prstGeom>
          <a:noFill/>
          <a:ln w="9525" cap="rnd" cmpd="sng" algn="ctr">
            <a:solidFill>
              <a:sysClr val="window" lastClr="FFFFFF">
                <a:lumMod val="65000"/>
              </a:sysClr>
            </a:solidFill>
            <a:prstDash val="solid"/>
            <a:round/>
          </a:ln>
          <a:effectLst/>
        </p:spPr>
      </p:cxnSp>
      <p:sp>
        <p:nvSpPr>
          <p:cNvPr id="170"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r>
              <a:rPr lang="zh-CN" altLang="zh-CN" sz="2400" dirty="0">
                <a:solidFill>
                  <a:sysClr val="windowText" lastClr="000000"/>
                </a:solidFill>
                <a:latin typeface="Arial" panose="020B0604020202020204"/>
                <a:ea typeface="华文楷体" panose="02010600040101010101" charset="-122"/>
              </a:rPr>
              <a:t>近期工作</a:t>
            </a:r>
            <a:r>
              <a:rPr lang="zh-CN" altLang="en-US" sz="2400" dirty="0" smtClean="0">
                <a:solidFill>
                  <a:sysClr val="windowText" lastClr="000000"/>
                </a:solidFill>
                <a:latin typeface="Arial" panose="020B0604020202020204"/>
                <a:ea typeface="华文楷体" panose="02010600040101010101" charset="-122"/>
              </a:rPr>
              <a:t>事项</a:t>
            </a:r>
            <a:endParaRPr lang="zh-CN" altLang="en-US" sz="1800" dirty="0">
              <a:solidFill>
                <a:prstClr val="black"/>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6372215" y="816034"/>
            <a:ext cx="5392272" cy="5676168"/>
            <a:chOff x="6372215" y="981637"/>
            <a:chExt cx="5392272" cy="1650098"/>
          </a:xfrm>
        </p:grpSpPr>
        <p:sp>
          <p:nvSpPr>
            <p:cNvPr id="17" name="矩形 16"/>
            <p:cNvSpPr/>
            <p:nvPr/>
          </p:nvSpPr>
          <p:spPr>
            <a:xfrm>
              <a:off x="6372215" y="1101653"/>
              <a:ext cx="5392272" cy="1480184"/>
            </a:xfrm>
            <a:prstGeom prst="rect">
              <a:avLst/>
            </a:prstGeom>
            <a:noFill/>
            <a:ln w="19050" cap="rnd" cmpd="sng" algn="ctr">
              <a:solidFill>
                <a:srgbClr val="FE581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8" name="矩形 17"/>
            <p:cNvSpPr/>
            <p:nvPr/>
          </p:nvSpPr>
          <p:spPr>
            <a:xfrm>
              <a:off x="6372215" y="981637"/>
              <a:ext cx="5392272" cy="120016"/>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800"/>
                </a:spcAft>
                <a:buClrTx/>
                <a:buSzTx/>
                <a:buFontTx/>
                <a:buNone/>
                <a:defRPr/>
              </a:pPr>
              <a:r>
                <a:rPr kumimoji="0" lang="zh-CN" altLang="en-US" sz="14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工作事项</a:t>
              </a:r>
              <a:endParaRPr kumimoji="0" lang="zh-CN" altLang="en-US" sz="14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sp>
          <p:nvSpPr>
            <p:cNvPr id="19" name="文本框 18"/>
            <p:cNvSpPr txBox="1"/>
            <p:nvPr/>
          </p:nvSpPr>
          <p:spPr>
            <a:xfrm>
              <a:off x="6761340" y="1151551"/>
              <a:ext cx="4923783" cy="14801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285750" marR="0" lvl="0" indent="-285750" algn="l" defTabSz="914400" rtl="0" eaLnBrk="1" fontAlgn="auto" latinLnBrk="0" hangingPunct="1">
                <a:lnSpc>
                  <a:spcPct val="150000"/>
                </a:lnSpc>
                <a:spcBef>
                  <a:spcPts val="0"/>
                </a:spcBef>
                <a:spcAft>
                  <a:spcPts val="2400"/>
                </a:spcAft>
                <a:buClrTx/>
                <a:buSzTx/>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3</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15</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日    </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访谈</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xx</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团队</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的商务</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人员的现状</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和</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需求</a:t>
              </a:r>
              <a:endPar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endParaRPr>
            </a:p>
            <a:p>
              <a:pPr marL="285750" marR="0" lvl="0" indent="-285750" algn="l" defTabSz="914400" rtl="0" eaLnBrk="1" fontAlgn="auto" latinLnBrk="0" hangingPunct="1">
                <a:lnSpc>
                  <a:spcPct val="150000"/>
                </a:lnSpc>
                <a:spcBef>
                  <a:spcPts val="0"/>
                </a:spcBef>
                <a:spcAft>
                  <a:spcPts val="2400"/>
                </a:spcAft>
                <a:buClrTx/>
                <a:buSzTx/>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3</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19</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日    召开项目启动会，邀请</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xxx</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三方共同参与</a:t>
              </a:r>
              <a:endPar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endParaRPr>
            </a:p>
            <a:p>
              <a:pPr marL="285750" marR="0" lvl="0" indent="-285750" algn="l" defTabSz="914400" rtl="0" eaLnBrk="1" fontAlgn="auto" latinLnBrk="0" hangingPunct="1">
                <a:lnSpc>
                  <a:spcPct val="150000"/>
                </a:lnSpc>
                <a:spcBef>
                  <a:spcPts val="0"/>
                </a:spcBef>
                <a:spcAft>
                  <a:spcPts val="2400"/>
                </a:spcAft>
                <a:buClrTx/>
                <a:buSzTx/>
                <a:buFont typeface="Arial" panose="020B0604020202020204" pitchFamily="34" charset="0"/>
                <a:buChar char="•"/>
                <a:defRPr/>
              </a:pPr>
              <a:r>
                <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3</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20</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日    </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以</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xx</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项目</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为例，调研业务</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流程</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现状</a:t>
              </a:r>
              <a:endPar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endParaRPr>
            </a:p>
            <a:p>
              <a:pPr marL="285750" marR="0" lvl="0" indent="-285750" algn="l" defTabSz="914400" rtl="0" eaLnBrk="1" fontAlgn="auto" latinLnBrk="0" hangingPunct="1">
                <a:lnSpc>
                  <a:spcPct val="150000"/>
                </a:lnSpc>
                <a:spcBef>
                  <a:spcPts val="0"/>
                </a:spcBef>
                <a:spcAft>
                  <a:spcPts val="2400"/>
                </a:spcAft>
                <a:buClrTx/>
                <a:buSzTx/>
                <a:buFont typeface="Arial" panose="020B0604020202020204" pitchFamily="34" charset="0"/>
                <a:buChar char="•"/>
                <a:defRPr/>
              </a:pPr>
              <a:r>
                <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3</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22</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日    针对</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公司</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招投标及商务需求，</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召开</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xx</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建设会议</a:t>
              </a:r>
              <a:endPar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endParaRPr>
            </a:p>
            <a:p>
              <a:pPr marL="285750" marR="0" lvl="0" indent="-285750" algn="l" defTabSz="914400" rtl="0" eaLnBrk="1" fontAlgn="auto" latinLnBrk="0" hangingPunct="1">
                <a:lnSpc>
                  <a:spcPct val="150000"/>
                </a:lnSpc>
                <a:spcBef>
                  <a:spcPts val="0"/>
                </a:spcBef>
                <a:spcAft>
                  <a:spcPts val="2400"/>
                </a:spcAft>
                <a:buClrTx/>
                <a:buSzTx/>
                <a:buFont typeface="Arial" panose="020B0604020202020204" pitchFamily="34" charset="0"/>
                <a:buChar char="•"/>
                <a:defRPr/>
              </a:pPr>
              <a:r>
                <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3</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26</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日    </a:t>
              </a:r>
              <a:r>
                <a:rPr kumimoji="0" lang="en-US" altLang="zh-CN" sz="1400" b="0" i="0" u="none" strike="noStrike" kern="1200" cap="none" spc="0" normalizeH="0" baseline="0" noProof="0" dirty="0" err="1" smtClean="0">
                  <a:ln>
                    <a:noFill/>
                  </a:ln>
                  <a:solidFill>
                    <a:prstClr val="black">
                      <a:lumMod val="85000"/>
                      <a:lumOff val="15000"/>
                    </a:prstClr>
                  </a:solidFill>
                  <a:effectLst/>
                  <a:uLnTx/>
                  <a:uFillTx/>
                  <a:latin typeface="Arial" panose="020B0604020202020204"/>
                  <a:ea typeface="华文楷体" panose="02010600040101010101" charset="-122"/>
                  <a:cs typeface="+mn-cs"/>
                </a:rPr>
                <a:t>xxxx</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	    </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讨论会</a:t>
              </a:r>
              <a:endPar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endParaRPr>
            </a:p>
            <a:p>
              <a:pPr marL="285750" marR="0" lvl="0" indent="-285750" algn="l" defTabSz="914400" rtl="0" eaLnBrk="1" fontAlgn="auto" latinLnBrk="0" hangingPunct="1">
                <a:lnSpc>
                  <a:spcPct val="150000"/>
                </a:lnSpc>
                <a:spcBef>
                  <a:spcPts val="0"/>
                </a:spcBef>
                <a:spcAft>
                  <a:spcPts val="2400"/>
                </a:spcAft>
                <a:buClrTx/>
                <a:buSzTx/>
                <a:buFont typeface="Arial" panose="020B0604020202020204" pitchFamily="34" charset="0"/>
                <a:buChar char="•"/>
                <a:defRPr/>
              </a:pPr>
              <a:r>
                <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3</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月</a:t>
              </a:r>
              <a:r>
                <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27</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日    </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召开</a:t>
              </a:r>
              <a:r>
                <a:rPr kumimoji="0" lang="en-US" altLang="zh-CN" sz="1400" b="0" i="0" u="none" strike="noStrike" kern="1200" cap="none" spc="0" normalizeH="0" baseline="0" noProof="0" dirty="0" err="1" smtClean="0">
                  <a:ln>
                    <a:noFill/>
                  </a:ln>
                  <a:solidFill>
                    <a:prstClr val="black">
                      <a:lumMod val="85000"/>
                      <a:lumOff val="15000"/>
                    </a:prstClr>
                  </a:solidFill>
                  <a:effectLst/>
                  <a:uLnTx/>
                  <a:uFillTx/>
                  <a:latin typeface="Arial" panose="020B0604020202020204"/>
                  <a:ea typeface="华文楷体" panose="02010600040101010101" charset="-122"/>
                  <a:cs typeface="+mn-cs"/>
                </a:rPr>
                <a:t>xxxx</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讨论会</a:t>
              </a:r>
              <a:endPar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endParaRPr>
            </a:p>
          </p:txBody>
        </p:sp>
      </p:grpSp>
      <p:grpSp>
        <p:nvGrpSpPr>
          <p:cNvPr id="33" name="组合 32"/>
          <p:cNvGrpSpPr/>
          <p:nvPr/>
        </p:nvGrpSpPr>
        <p:grpSpPr>
          <a:xfrm>
            <a:off x="287383" y="816034"/>
            <a:ext cx="6664457" cy="5504524"/>
            <a:chOff x="798939" y="816034"/>
            <a:chExt cx="6152901" cy="5504524"/>
          </a:xfrm>
        </p:grpSpPr>
        <p:sp>
          <p:nvSpPr>
            <p:cNvPr id="2" name="矩形 1"/>
            <p:cNvSpPr/>
            <p:nvPr/>
          </p:nvSpPr>
          <p:spPr>
            <a:xfrm>
              <a:off x="806822" y="1188495"/>
              <a:ext cx="5392272" cy="1227739"/>
            </a:xfrm>
            <a:prstGeom prst="rect">
              <a:avLst/>
            </a:prstGeom>
            <a:noFill/>
            <a:ln w="19050" cap="rnd" cmpd="sng" algn="ctr">
              <a:solidFill>
                <a:srgbClr val="FE581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3" name="矩形 2"/>
            <p:cNvSpPr/>
            <p:nvPr/>
          </p:nvSpPr>
          <p:spPr>
            <a:xfrm>
              <a:off x="798939" y="816034"/>
              <a:ext cx="5400155" cy="372461"/>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访谈调研</a:t>
              </a:r>
              <a:endParaRPr kumimoji="0" lang="zh-CN" altLang="en-US"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sp>
          <p:nvSpPr>
            <p:cNvPr id="4" name="矩形 3"/>
            <p:cNvSpPr/>
            <p:nvPr/>
          </p:nvSpPr>
          <p:spPr>
            <a:xfrm>
              <a:off x="979943" y="1285059"/>
              <a:ext cx="1104351" cy="562917"/>
            </a:xfrm>
            <a:prstGeom prst="rect">
              <a:avLst/>
            </a:prstGeom>
            <a:solidFill>
              <a:srgbClr val="FFCFA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深度访谈</a:t>
              </a: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5" name="矩形 4"/>
            <p:cNvSpPr/>
            <p:nvPr/>
          </p:nvSpPr>
          <p:spPr>
            <a:xfrm>
              <a:off x="979941" y="1979497"/>
              <a:ext cx="1104351" cy="347539"/>
            </a:xfrm>
            <a:prstGeom prst="rect">
              <a:avLst/>
            </a:prstGeom>
            <a:solidFill>
              <a:srgbClr val="FFCFA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随机访谈</a:t>
              </a: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6" name="矩形 5"/>
            <p:cNvSpPr/>
            <p:nvPr/>
          </p:nvSpPr>
          <p:spPr>
            <a:xfrm>
              <a:off x="806822" y="2954742"/>
              <a:ext cx="5392272" cy="1437069"/>
            </a:xfrm>
            <a:prstGeom prst="rect">
              <a:avLst/>
            </a:prstGeom>
            <a:noFill/>
            <a:ln w="19050" cap="rnd" cmpd="sng" algn="ctr">
              <a:solidFill>
                <a:srgbClr val="FE581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7" name="矩形 6"/>
            <p:cNvSpPr/>
            <p:nvPr/>
          </p:nvSpPr>
          <p:spPr>
            <a:xfrm>
              <a:off x="798939" y="2499511"/>
              <a:ext cx="5400155" cy="372461"/>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8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组织会议</a:t>
              </a:r>
              <a:endParaRPr kumimoji="0" lang="zh-CN" altLang="en-US" sz="18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8" name="矩形 7"/>
            <p:cNvSpPr/>
            <p:nvPr/>
          </p:nvSpPr>
          <p:spPr>
            <a:xfrm>
              <a:off x="979943" y="3033530"/>
              <a:ext cx="1104351" cy="509775"/>
            </a:xfrm>
            <a:prstGeom prst="rect">
              <a:avLst/>
            </a:prstGeom>
            <a:solidFill>
              <a:srgbClr val="FFCFA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流程梳理</a:t>
              </a: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9" name="矩形 8"/>
            <p:cNvSpPr/>
            <p:nvPr/>
          </p:nvSpPr>
          <p:spPr>
            <a:xfrm>
              <a:off x="979941" y="3771343"/>
              <a:ext cx="1104351" cy="528350"/>
            </a:xfrm>
            <a:prstGeom prst="rect">
              <a:avLst/>
            </a:prstGeom>
            <a:solidFill>
              <a:srgbClr val="FFCFA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能力建设</a:t>
              </a: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0" name="矩形 9"/>
            <p:cNvSpPr/>
            <p:nvPr/>
          </p:nvSpPr>
          <p:spPr>
            <a:xfrm>
              <a:off x="806822" y="4847042"/>
              <a:ext cx="5392272" cy="1473516"/>
            </a:xfrm>
            <a:prstGeom prst="rect">
              <a:avLst/>
            </a:prstGeom>
            <a:noFill/>
            <a:ln w="19050" cap="rnd" cmpd="sng" algn="ctr">
              <a:solidFill>
                <a:srgbClr val="FE581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1" name="矩形 10"/>
            <p:cNvSpPr/>
            <p:nvPr/>
          </p:nvSpPr>
          <p:spPr>
            <a:xfrm>
              <a:off x="798939" y="4474581"/>
              <a:ext cx="5400155" cy="372461"/>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需求调研</a:t>
              </a:r>
              <a:endParaRPr kumimoji="0" lang="zh-CN" altLang="en-US" sz="18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12" name="矩形 11"/>
            <p:cNvSpPr/>
            <p:nvPr/>
          </p:nvSpPr>
          <p:spPr>
            <a:xfrm>
              <a:off x="979943" y="4943604"/>
              <a:ext cx="1104351" cy="1239451"/>
            </a:xfrm>
            <a:prstGeom prst="rect">
              <a:avLst/>
            </a:prstGeom>
            <a:solidFill>
              <a:srgbClr val="FFCFA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zh-CN" altLang="en-US" sz="1400"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梳理</a:t>
              </a:r>
              <a:r>
                <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整合</a:t>
              </a:r>
              <a:endParaRPr kumimoji="0" lang="zh-CN" altLang="en-US" sz="14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13" name="文本框 12"/>
            <p:cNvSpPr txBox="1"/>
            <p:nvPr/>
          </p:nvSpPr>
          <p:spPr>
            <a:xfrm>
              <a:off x="2084292" y="1310459"/>
              <a:ext cx="3775730" cy="9794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调研</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xx</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项目成员</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2</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人</a:t>
              </a:r>
              <a:endPar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调研</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xx</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团队成员</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1</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人</a:t>
              </a:r>
              <a:endPar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endParaRPr>
            </a:p>
          </p:txBody>
        </p:sp>
        <p:sp>
          <p:nvSpPr>
            <p:cNvPr id="14" name="文本框 13"/>
            <p:cNvSpPr txBox="1"/>
            <p:nvPr/>
          </p:nvSpPr>
          <p:spPr>
            <a:xfrm>
              <a:off x="2084292" y="3018347"/>
              <a:ext cx="4161241" cy="5612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召集</a:t>
              </a:r>
              <a:r>
                <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8</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个部门参与项目启动</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会</a:t>
              </a:r>
              <a:endPar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召开</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3</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场</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xx</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讨论会</a:t>
              </a:r>
              <a:endPar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endParaRPr>
            </a:p>
          </p:txBody>
        </p:sp>
        <p:sp>
          <p:nvSpPr>
            <p:cNvPr id="15" name="文本框 14"/>
            <p:cNvSpPr txBox="1"/>
            <p:nvPr/>
          </p:nvSpPr>
          <p:spPr>
            <a:xfrm>
              <a:off x="2084292" y="4967912"/>
              <a:ext cx="4024407" cy="12532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向</a:t>
              </a:r>
              <a:r>
                <a:rPr kumimoji="0" lang="en-US" altLang="zh-CN" sz="1400" b="0" i="0" u="none" strike="noStrike" kern="1200" cap="none" spc="0" normalizeH="0" baseline="0" noProof="0" dirty="0" err="1" smtClean="0">
                  <a:ln>
                    <a:noFill/>
                  </a:ln>
                  <a:solidFill>
                    <a:prstClr val="black">
                      <a:lumMod val="85000"/>
                      <a:lumOff val="15000"/>
                    </a:prstClr>
                  </a:solidFill>
                  <a:effectLst/>
                  <a:uLnTx/>
                  <a:uFillTx/>
                  <a:latin typeface="Arial" panose="020B0604020202020204"/>
                  <a:ea typeface="华文楷体" panose="02010600040101010101" charset="-122"/>
                  <a:cs typeface="+mn-cs"/>
                </a:rPr>
                <a:t>xxxxx</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中心共</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8</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个部门收集跨部门流程需求清单；</a:t>
              </a:r>
              <a:endPar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形成七步成诗体系，梳理</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13</a:t>
              </a:r>
              <a:r>
                <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rPr>
                <a:t>个业务主</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流程</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63</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个二级流程</a:t>
              </a:r>
              <a:endParaRPr kumimoji="0" lang="en-US" altLang="zh-CN"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endParaRPr>
            </a:p>
          </p:txBody>
        </p:sp>
        <p:cxnSp>
          <p:nvCxnSpPr>
            <p:cNvPr id="20" name="直接连接符 19"/>
            <p:cNvCxnSpPr/>
            <p:nvPr/>
          </p:nvCxnSpPr>
          <p:spPr>
            <a:xfrm>
              <a:off x="979943" y="1911476"/>
              <a:ext cx="5027157"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2092175" y="2017597"/>
              <a:ext cx="3775730" cy="3815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访谈公司相关人员</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11</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人</a:t>
              </a:r>
              <a:endPar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endParaRPr>
            </a:p>
          </p:txBody>
        </p:sp>
        <p:sp>
          <p:nvSpPr>
            <p:cNvPr id="22" name="矩形 21"/>
            <p:cNvSpPr/>
            <p:nvPr/>
          </p:nvSpPr>
          <p:spPr>
            <a:xfrm>
              <a:off x="2092175" y="3791551"/>
              <a:ext cx="3914925" cy="307777"/>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召开</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xx</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建设会议，向</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5</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部门收集</a:t>
              </a:r>
              <a:r>
                <a:rPr kumimoji="0" lang="en-US" altLang="zh-CN"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xx</a:t>
              </a:r>
              <a:r>
                <a:rPr kumimoji="0" lang="zh-CN" altLang="en-US" sz="1400" b="0" i="0" u="none" strike="noStrike" kern="1200" cap="none" spc="0" normalizeH="0" baseline="0" noProof="0" dirty="0" smtClean="0">
                  <a:ln>
                    <a:noFill/>
                  </a:ln>
                  <a:solidFill>
                    <a:prstClr val="black">
                      <a:lumMod val="85000"/>
                      <a:lumOff val="15000"/>
                    </a:prstClr>
                  </a:solidFill>
                  <a:effectLst/>
                  <a:uLnTx/>
                  <a:uFillTx/>
                  <a:latin typeface="Arial" panose="020B0604020202020204"/>
                  <a:ea typeface="华文楷体" panose="02010600040101010101" charset="-122"/>
                  <a:cs typeface="+mn-cs"/>
                </a:rPr>
                <a:t>信息</a:t>
              </a:r>
              <a:endParaRPr kumimoji="0" lang="zh-CN" altLang="en-US" sz="1400" b="0" i="0" u="none" strike="noStrike" kern="1200" cap="none" spc="0" normalizeH="0" baseline="0" noProof="0" dirty="0">
                <a:ln>
                  <a:noFill/>
                </a:ln>
                <a:solidFill>
                  <a:prstClr val="black">
                    <a:lumMod val="85000"/>
                    <a:lumOff val="15000"/>
                  </a:prstClr>
                </a:solidFill>
                <a:effectLst/>
                <a:uLnTx/>
                <a:uFillTx/>
                <a:latin typeface="Arial" panose="020B0604020202020204"/>
                <a:ea typeface="华文楷体" panose="02010600040101010101" charset="-122"/>
                <a:cs typeface="+mn-cs"/>
              </a:endParaRPr>
            </a:p>
          </p:txBody>
        </p:sp>
        <p:cxnSp>
          <p:nvCxnSpPr>
            <p:cNvPr id="23" name="直接连接符 22"/>
            <p:cNvCxnSpPr/>
            <p:nvPr/>
          </p:nvCxnSpPr>
          <p:spPr>
            <a:xfrm>
              <a:off x="985437" y="3675463"/>
              <a:ext cx="5027157"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6888340" y="1344684"/>
              <a:ext cx="0" cy="4872596"/>
            </a:xfrm>
            <a:prstGeom prst="line">
              <a:avLst/>
            </a:prstGeom>
            <a:ln>
              <a:solidFill>
                <a:srgbClr val="FE5817"/>
              </a:solidFill>
            </a:ln>
          </p:spPr>
          <p:style>
            <a:lnRef idx="1">
              <a:schemeClr val="accent4"/>
            </a:lnRef>
            <a:fillRef idx="0">
              <a:schemeClr val="accent4"/>
            </a:fillRef>
            <a:effectRef idx="0">
              <a:schemeClr val="accent4"/>
            </a:effectRef>
            <a:fontRef idx="minor">
              <a:schemeClr val="tx1"/>
            </a:fontRef>
          </p:style>
        </p:cxnSp>
        <p:sp>
          <p:nvSpPr>
            <p:cNvPr id="25" name="椭圆 24"/>
            <p:cNvSpPr/>
            <p:nvPr/>
          </p:nvSpPr>
          <p:spPr>
            <a:xfrm>
              <a:off x="6824840" y="1545530"/>
              <a:ext cx="127000" cy="127000"/>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26" name="椭圆 25"/>
            <p:cNvSpPr/>
            <p:nvPr/>
          </p:nvSpPr>
          <p:spPr>
            <a:xfrm>
              <a:off x="6824840" y="2178822"/>
              <a:ext cx="127000" cy="127000"/>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27" name="椭圆 26"/>
            <p:cNvSpPr/>
            <p:nvPr/>
          </p:nvSpPr>
          <p:spPr>
            <a:xfrm>
              <a:off x="6824840" y="3131255"/>
              <a:ext cx="127000" cy="127000"/>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28" name="椭圆 27"/>
            <p:cNvSpPr/>
            <p:nvPr/>
          </p:nvSpPr>
          <p:spPr>
            <a:xfrm>
              <a:off x="6824840" y="3771001"/>
              <a:ext cx="127000" cy="127000"/>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29" name="椭圆 28"/>
            <p:cNvSpPr/>
            <p:nvPr/>
          </p:nvSpPr>
          <p:spPr>
            <a:xfrm>
              <a:off x="6824840" y="4695190"/>
              <a:ext cx="127000" cy="127000"/>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30" name="椭圆 29"/>
            <p:cNvSpPr/>
            <p:nvPr/>
          </p:nvSpPr>
          <p:spPr>
            <a:xfrm>
              <a:off x="6824840" y="5661054"/>
              <a:ext cx="127000" cy="127000"/>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grpSp>
      <p:sp>
        <p:nvSpPr>
          <p:cNvPr id="3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r>
              <a:rPr lang="zh-CN" altLang="zh-CN" sz="2400" dirty="0">
                <a:solidFill>
                  <a:sysClr val="windowText" lastClr="000000"/>
                </a:solidFill>
                <a:latin typeface="Arial" panose="020B0604020202020204"/>
                <a:ea typeface="华文楷体" panose="02010600040101010101" charset="-122"/>
              </a:rPr>
              <a:t>近期工作</a:t>
            </a:r>
            <a:r>
              <a:rPr lang="zh-CN" altLang="en-US" sz="2400" dirty="0" smtClean="0">
                <a:solidFill>
                  <a:sysClr val="windowText" lastClr="000000"/>
                </a:solidFill>
                <a:latin typeface="Arial" panose="020B0604020202020204"/>
                <a:ea typeface="华文楷体" panose="02010600040101010101" charset="-122"/>
              </a:rPr>
              <a:t>事项</a:t>
            </a:r>
            <a:endParaRPr lang="zh-CN" altLang="en-US" sz="1800" dirty="0">
              <a:solidFill>
                <a:prstClr val="black"/>
              </a:solidFill>
              <a:latin typeface="华文楷体" panose="02010600040101010101" charset="-122"/>
              <a:ea typeface="华文楷体" panose="02010600040101010101" charset="-122"/>
            </a:endParaRPr>
          </a:p>
        </p:txBody>
      </p:sp>
      <p:pic>
        <p:nvPicPr>
          <p:cNvPr id="32" name="图片 3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r>
              <a:rPr lang="zh-CN" altLang="en-US" sz="2400" dirty="0" smtClean="0">
                <a:solidFill>
                  <a:sysClr val="windowText" lastClr="000000"/>
                </a:solidFill>
                <a:latin typeface="Arial" panose="020B0604020202020204"/>
                <a:ea typeface="华文楷体" panose="02010600040101010101" charset="-122"/>
              </a:rPr>
              <a:t>竞争对手分析卡片</a:t>
            </a:r>
            <a:endParaRPr lang="zh-CN" altLang="en-US" sz="1800" dirty="0">
              <a:solidFill>
                <a:prstClr val="black"/>
              </a:solidFill>
              <a:latin typeface="华文楷体" panose="02010600040101010101" charset="-122"/>
              <a:ea typeface="华文楷体" panose="02010600040101010101" charset="-122"/>
            </a:endParaRPr>
          </a:p>
        </p:txBody>
      </p:sp>
      <p:sp>
        <p:nvSpPr>
          <p:cNvPr id="52" name="Rectangle 2"/>
          <p:cNvSpPr>
            <a:spLocks noChangeArrowheads="1"/>
          </p:cNvSpPr>
          <p:nvPr/>
        </p:nvSpPr>
        <p:spPr bwMode="auto">
          <a:xfrm>
            <a:off x="5509435" y="1503157"/>
            <a:ext cx="6299200" cy="2117331"/>
          </a:xfrm>
          <a:prstGeom prst="rect">
            <a:avLst/>
          </a:prstGeom>
          <a:noFill/>
          <a:ln w="19050">
            <a:solidFill>
              <a:srgbClr val="FE5817"/>
            </a:solidFill>
            <a:miter lim="800000"/>
          </a:ln>
          <a:effectLst/>
        </p:spPr>
        <p:txBody>
          <a:bodyPr wrap="none" anchor="ctr"/>
          <a:lstStyle/>
          <a:p>
            <a:pPr defTabSz="1219200"/>
            <a:endParaRPr lang="en-US" sz="1865" dirty="0">
              <a:solidFill>
                <a:prstClr val="black"/>
              </a:solidFill>
              <a:latin typeface="华文楷体" panose="02010600040101010101" charset="-122"/>
              <a:ea typeface="华文楷体" panose="02010600040101010101" charset="-122"/>
            </a:endParaRPr>
          </a:p>
        </p:txBody>
      </p:sp>
      <p:sp>
        <p:nvSpPr>
          <p:cNvPr id="53" name="Rectangle 11"/>
          <p:cNvSpPr txBox="1">
            <a:spLocks noChangeArrowheads="1"/>
          </p:cNvSpPr>
          <p:nvPr/>
        </p:nvSpPr>
        <p:spPr bwMode="auto">
          <a:xfrm>
            <a:off x="5509435" y="1503157"/>
            <a:ext cx="6299200" cy="303856"/>
          </a:xfrm>
          <a:prstGeom prst="rect">
            <a:avLst/>
          </a:prstGeom>
          <a:solidFill>
            <a:srgbClr val="FE5817"/>
          </a:solidFill>
          <a:ln w="9525">
            <a:solidFill>
              <a:srgbClr val="FF0000"/>
            </a:solidFill>
            <a:miter lim="800000"/>
          </a:ln>
          <a:effectLst/>
        </p:spPr>
        <p:txBody>
          <a:bodyPr vert="horz" wrap="square" lIns="96012" tIns="96012" rIns="96012" bIns="96012" numCol="1" anchor="ctr" anchorCtr="0" compatLnSpc="1">
            <a:noAutofit/>
          </a:bodyPr>
          <a:lstStyle>
            <a:defPPr>
              <a:defRPr lang="zh-CN"/>
            </a:defPPr>
            <a:lvl1pPr indent="0" defTabSz="895350" fontAlgn="base">
              <a:spcBef>
                <a:spcPct val="0"/>
              </a:spcBef>
              <a:spcAft>
                <a:spcPct val="0"/>
              </a:spcAft>
              <a:buClr>
                <a:schemeClr val="tx2"/>
              </a:buClr>
              <a:defRPr sz="1600" baseline="0"/>
            </a:lvl1pPr>
            <a:lvl2pPr marL="1270" lvl="1" indent="0" defTabSz="895350" fontAlgn="base">
              <a:spcBef>
                <a:spcPct val="0"/>
              </a:spcBef>
              <a:spcAft>
                <a:spcPct val="0"/>
              </a:spcAft>
              <a:buClr>
                <a:schemeClr val="tx2"/>
              </a:buClr>
              <a:buSzPct val="125000"/>
              <a:buFont typeface="Arial" panose="020B0604020202020204" pitchFamily="34" charset="0"/>
              <a:buNone/>
              <a:defRPr sz="1400" b="1" baseline="0">
                <a:solidFill>
                  <a:schemeClr val="bg1"/>
                </a:solidFill>
              </a:defRPr>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marL="1905" lvl="1" defTabSz="1193800">
              <a:buClr>
                <a:srgbClr val="1F497D"/>
              </a:buClr>
            </a:pPr>
            <a:r>
              <a:rPr lang="zh-CN" altLang="en-US" sz="1865" dirty="0">
                <a:solidFill>
                  <a:prstClr val="white"/>
                </a:solidFill>
                <a:latin typeface="华文楷体" panose="02010600040101010101" charset="-122"/>
                <a:ea typeface="华文楷体" panose="02010600040101010101" charset="-122"/>
              </a:rPr>
              <a:t>商业模式</a:t>
            </a:r>
            <a:endParaRPr lang="en-US" altLang="ko-KR" sz="1865" dirty="0">
              <a:solidFill>
                <a:prstClr val="white"/>
              </a:solidFill>
              <a:latin typeface="华文楷体" panose="02010600040101010101" charset="-122"/>
              <a:ea typeface="华文楷体" panose="02010600040101010101" charset="-122"/>
            </a:endParaRPr>
          </a:p>
        </p:txBody>
      </p:sp>
      <p:sp>
        <p:nvSpPr>
          <p:cNvPr id="54" name="Rectangle 2"/>
          <p:cNvSpPr>
            <a:spLocks noChangeArrowheads="1"/>
          </p:cNvSpPr>
          <p:nvPr/>
        </p:nvSpPr>
        <p:spPr bwMode="auto">
          <a:xfrm>
            <a:off x="5509435" y="3745457"/>
            <a:ext cx="6299200" cy="2565891"/>
          </a:xfrm>
          <a:prstGeom prst="rect">
            <a:avLst/>
          </a:prstGeom>
          <a:noFill/>
          <a:ln w="19050">
            <a:solidFill>
              <a:srgbClr val="FF0000"/>
            </a:solidFill>
            <a:miter lim="800000"/>
          </a:ln>
          <a:effectLst/>
        </p:spPr>
        <p:txBody>
          <a:bodyPr wrap="none" anchor="ctr"/>
          <a:lstStyle/>
          <a:p>
            <a:pPr defTabSz="1219200"/>
            <a:endParaRPr lang="en-US" sz="1865" dirty="0">
              <a:solidFill>
                <a:prstClr val="black"/>
              </a:solidFill>
              <a:latin typeface="华文楷体" panose="02010600040101010101" charset="-122"/>
              <a:ea typeface="华文楷体" panose="02010600040101010101" charset="-122"/>
            </a:endParaRPr>
          </a:p>
        </p:txBody>
      </p:sp>
      <p:sp>
        <p:nvSpPr>
          <p:cNvPr id="55" name="Rectangle 11"/>
          <p:cNvSpPr txBox="1">
            <a:spLocks noChangeArrowheads="1"/>
          </p:cNvSpPr>
          <p:nvPr/>
        </p:nvSpPr>
        <p:spPr bwMode="auto">
          <a:xfrm>
            <a:off x="5509435" y="3740042"/>
            <a:ext cx="6299200" cy="382493"/>
          </a:xfrm>
          <a:prstGeom prst="rect">
            <a:avLst/>
          </a:prstGeom>
          <a:solidFill>
            <a:srgbClr val="FE5817"/>
          </a:solidFill>
          <a:ln w="9525">
            <a:noFill/>
            <a:miter lim="800000"/>
          </a:ln>
          <a:effectLst/>
        </p:spPr>
        <p:txBody>
          <a:bodyPr vert="horz" wrap="square" lIns="96012" tIns="96012" rIns="96012" bIns="96012" numCol="1" anchor="ctr"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defTabSz="1193800">
              <a:buClr>
                <a:srgbClr val="1F497D"/>
              </a:buClr>
              <a:buNone/>
            </a:pPr>
            <a:r>
              <a:rPr lang="zh-CN" altLang="en-US" sz="1865" b="1" dirty="0">
                <a:solidFill>
                  <a:prstClr val="white"/>
                </a:solidFill>
                <a:latin typeface="华文楷体" panose="02010600040101010101" charset="-122"/>
                <a:ea typeface="华文楷体" panose="02010600040101010101" charset="-122"/>
              </a:rPr>
              <a:t>优势与劣势</a:t>
            </a:r>
            <a:endParaRPr lang="en-US" altLang="ko-KR" sz="1865" b="1" dirty="0">
              <a:solidFill>
                <a:prstClr val="white"/>
              </a:solidFill>
              <a:latin typeface="华文楷体" panose="02010600040101010101" charset="-122"/>
              <a:ea typeface="华文楷体" panose="02010600040101010101" charset="-122"/>
            </a:endParaRPr>
          </a:p>
        </p:txBody>
      </p:sp>
      <p:sp>
        <p:nvSpPr>
          <p:cNvPr id="56" name="Rectangle 2"/>
          <p:cNvSpPr>
            <a:spLocks noChangeArrowheads="1"/>
          </p:cNvSpPr>
          <p:nvPr/>
        </p:nvSpPr>
        <p:spPr bwMode="auto">
          <a:xfrm>
            <a:off x="499103" y="1369641"/>
            <a:ext cx="4780807" cy="4941707"/>
          </a:xfrm>
          <a:prstGeom prst="rect">
            <a:avLst/>
          </a:prstGeom>
          <a:noFill/>
          <a:ln w="19050">
            <a:solidFill>
              <a:srgbClr val="FE5817"/>
            </a:solidFill>
            <a:miter lim="800000"/>
          </a:ln>
          <a:effectLst/>
        </p:spPr>
        <p:txBody>
          <a:bodyPr wrap="none" anchor="ctr"/>
          <a:lstStyle/>
          <a:p>
            <a:pPr defTabSz="1219200"/>
            <a:endParaRPr lang="en-US" sz="1865" dirty="0">
              <a:solidFill>
                <a:prstClr val="black"/>
              </a:solidFill>
              <a:latin typeface="华文楷体" panose="02010600040101010101" charset="-122"/>
              <a:ea typeface="华文楷体" panose="02010600040101010101" charset="-122"/>
            </a:endParaRPr>
          </a:p>
        </p:txBody>
      </p:sp>
      <p:sp>
        <p:nvSpPr>
          <p:cNvPr id="57" name="Rectangle 2"/>
          <p:cNvSpPr>
            <a:spLocks noChangeArrowheads="1"/>
          </p:cNvSpPr>
          <p:nvPr/>
        </p:nvSpPr>
        <p:spPr bwMode="auto">
          <a:xfrm>
            <a:off x="5495312" y="217911"/>
            <a:ext cx="6313323" cy="1180047"/>
          </a:xfrm>
          <a:prstGeom prst="rect">
            <a:avLst/>
          </a:prstGeom>
          <a:noFill/>
          <a:ln w="19050">
            <a:solidFill>
              <a:srgbClr val="FE5817"/>
            </a:solidFill>
            <a:miter lim="800000"/>
          </a:ln>
          <a:effectLst/>
        </p:spPr>
        <p:txBody>
          <a:bodyPr wrap="none" anchor="ctr"/>
          <a:lstStyle/>
          <a:p>
            <a:pPr defTabSz="1219200"/>
            <a:endParaRPr lang="en-US" sz="1865" dirty="0">
              <a:solidFill>
                <a:prstClr val="black"/>
              </a:solidFill>
              <a:latin typeface="华文楷体" panose="02010600040101010101" charset="-122"/>
              <a:ea typeface="华文楷体" panose="02010600040101010101" charset="-122"/>
            </a:endParaRPr>
          </a:p>
        </p:txBody>
      </p:sp>
      <p:sp>
        <p:nvSpPr>
          <p:cNvPr id="58" name="Rectangle 11"/>
          <p:cNvSpPr txBox="1">
            <a:spLocks noChangeArrowheads="1"/>
          </p:cNvSpPr>
          <p:nvPr/>
        </p:nvSpPr>
        <p:spPr bwMode="auto">
          <a:xfrm>
            <a:off x="5495312" y="217911"/>
            <a:ext cx="6313323" cy="349279"/>
          </a:xfrm>
          <a:prstGeom prst="rect">
            <a:avLst/>
          </a:prstGeom>
          <a:solidFill>
            <a:srgbClr val="FE5817"/>
          </a:solidFill>
          <a:ln w="9525">
            <a:solidFill>
              <a:srgbClr val="FF0000"/>
            </a:solidFill>
            <a:miter lim="800000"/>
          </a:ln>
          <a:effectLst/>
        </p:spPr>
        <p:txBody>
          <a:bodyPr vert="horz" wrap="square" lIns="96012" tIns="96012" rIns="96012" bIns="96012" numCol="1" anchor="ctr" anchorCtr="0" compatLnSpc="1">
            <a:noAutofit/>
          </a:bodyPr>
          <a:lstStyle>
            <a:defPPr>
              <a:defRPr lang="zh-CN"/>
            </a:defPPr>
            <a:lvl1pPr indent="0" defTabSz="895350" fontAlgn="base">
              <a:spcBef>
                <a:spcPct val="0"/>
              </a:spcBef>
              <a:spcAft>
                <a:spcPct val="0"/>
              </a:spcAft>
              <a:buClr>
                <a:schemeClr val="tx2"/>
              </a:buClr>
              <a:defRPr sz="1600" baseline="0"/>
            </a:lvl1pPr>
            <a:lvl2pPr marL="1270" lvl="1" indent="0" defTabSz="895350" fontAlgn="base">
              <a:spcBef>
                <a:spcPct val="0"/>
              </a:spcBef>
              <a:spcAft>
                <a:spcPct val="0"/>
              </a:spcAft>
              <a:buClr>
                <a:schemeClr val="tx2"/>
              </a:buClr>
              <a:buSzPct val="125000"/>
              <a:buFont typeface="Arial" panose="020B0604020202020204" pitchFamily="34" charset="0"/>
              <a:buNone/>
              <a:defRPr sz="1400" b="1" baseline="0">
                <a:solidFill>
                  <a:schemeClr val="bg1"/>
                </a:solidFill>
              </a:defRPr>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marL="1905" lvl="1" defTabSz="1193800">
              <a:buClr>
                <a:srgbClr val="1F497D"/>
              </a:buClr>
            </a:pPr>
            <a:r>
              <a:rPr lang="zh-CN" altLang="en-US" sz="1865" dirty="0">
                <a:solidFill>
                  <a:prstClr val="white"/>
                </a:solidFill>
                <a:latin typeface="华文楷体" panose="02010600040101010101" charset="-122"/>
                <a:ea typeface="华文楷体" panose="02010600040101010101" charset="-122"/>
              </a:rPr>
              <a:t>基本信息</a:t>
            </a:r>
            <a:endParaRPr lang="en-US" altLang="ko-KR" sz="1865" dirty="0">
              <a:solidFill>
                <a:prstClr val="white"/>
              </a:solidFill>
              <a:latin typeface="华文楷体" panose="02010600040101010101" charset="-122"/>
              <a:ea typeface="华文楷体" panose="02010600040101010101" charset="-122"/>
            </a:endParaRPr>
          </a:p>
        </p:txBody>
      </p:sp>
      <p:sp>
        <p:nvSpPr>
          <p:cNvPr id="59" name="Rectangle 11"/>
          <p:cNvSpPr txBox="1">
            <a:spLocks noChangeArrowheads="1"/>
          </p:cNvSpPr>
          <p:nvPr/>
        </p:nvSpPr>
        <p:spPr bwMode="auto">
          <a:xfrm>
            <a:off x="3887755" y="217910"/>
            <a:ext cx="1968219" cy="28732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lgn="ctr" defTabSz="1193800">
              <a:buClr>
                <a:srgbClr val="1F497D"/>
              </a:buClr>
              <a:buNone/>
            </a:pPr>
            <a:r>
              <a:rPr lang="en-US" altLang="zh-CN" sz="1865" b="1" dirty="0">
                <a:solidFill>
                  <a:srgbClr val="FE5817"/>
                </a:solidFill>
                <a:latin typeface="华文楷体" panose="02010600040101010101" charset="-122"/>
                <a:ea typeface="华文楷体" panose="02010600040101010101" charset="-122"/>
              </a:rPr>
              <a:t>[</a:t>
            </a:r>
            <a:r>
              <a:rPr lang="zh-CN" altLang="en-US" sz="1865" b="1" dirty="0">
                <a:solidFill>
                  <a:srgbClr val="FE5817"/>
                </a:solidFill>
                <a:latin typeface="华文楷体" panose="02010600040101010101" charset="-122"/>
                <a:ea typeface="华文楷体" panose="02010600040101010101" charset="-122"/>
              </a:rPr>
              <a:t>企业</a:t>
            </a:r>
            <a:r>
              <a:rPr lang="en-US" altLang="zh-CN" sz="1865" b="1" dirty="0">
                <a:solidFill>
                  <a:srgbClr val="FE5817"/>
                </a:solidFill>
                <a:latin typeface="华文楷体" panose="02010600040101010101" charset="-122"/>
                <a:ea typeface="华文楷体" panose="02010600040101010101" charset="-122"/>
              </a:rPr>
              <a:t>Logo]</a:t>
            </a:r>
            <a:endParaRPr lang="en-US" altLang="ko-KR" sz="1865" b="1" dirty="0">
              <a:solidFill>
                <a:srgbClr val="FE5817"/>
              </a:solidFill>
              <a:latin typeface="华文楷体" panose="02010600040101010101" charset="-122"/>
              <a:ea typeface="华文楷体" panose="02010600040101010101" charset="-122"/>
            </a:endParaRPr>
          </a:p>
        </p:txBody>
      </p:sp>
      <p:sp>
        <p:nvSpPr>
          <p:cNvPr id="60" name="Rectangle 11"/>
          <p:cNvSpPr txBox="1">
            <a:spLocks noChangeArrowheads="1"/>
          </p:cNvSpPr>
          <p:nvPr/>
        </p:nvSpPr>
        <p:spPr bwMode="auto">
          <a:xfrm>
            <a:off x="499103" y="1364012"/>
            <a:ext cx="4780807" cy="298225"/>
          </a:xfrm>
          <a:prstGeom prst="rect">
            <a:avLst/>
          </a:prstGeom>
          <a:solidFill>
            <a:srgbClr val="FE5817"/>
          </a:solidFill>
          <a:ln w="9525">
            <a:solidFill>
              <a:srgbClr val="FF0000"/>
            </a:solidFill>
            <a:miter lim="800000"/>
          </a:ln>
          <a:effectLst/>
        </p:spPr>
        <p:txBody>
          <a:bodyPr vert="horz" wrap="square" lIns="96012" tIns="96012" rIns="96012" bIns="96012" numCol="1" anchor="ctr" anchorCtr="0" compatLnSpc="1">
            <a:noAutofit/>
          </a:bodyPr>
          <a:lstStyle>
            <a:defPPr>
              <a:defRPr lang="zh-CN"/>
            </a:defPPr>
            <a:lvl1pPr indent="0" defTabSz="895350" fontAlgn="base">
              <a:spcBef>
                <a:spcPct val="0"/>
              </a:spcBef>
              <a:spcAft>
                <a:spcPct val="0"/>
              </a:spcAft>
              <a:buClr>
                <a:schemeClr val="tx2"/>
              </a:buClr>
              <a:defRPr sz="1600" baseline="0"/>
            </a:lvl1pPr>
            <a:lvl2pPr marL="1270" lvl="1" indent="0" defTabSz="895350" fontAlgn="base">
              <a:spcBef>
                <a:spcPct val="0"/>
              </a:spcBef>
              <a:spcAft>
                <a:spcPct val="0"/>
              </a:spcAft>
              <a:buClr>
                <a:schemeClr val="tx2"/>
              </a:buClr>
              <a:buSzPct val="125000"/>
              <a:buFont typeface="Arial" panose="020B0604020202020204" pitchFamily="34" charset="0"/>
              <a:buNone/>
              <a:defRPr sz="1400" b="1" baseline="0">
                <a:solidFill>
                  <a:schemeClr val="bg1"/>
                </a:solidFill>
              </a:defRPr>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marL="1905" lvl="1" defTabSz="1193800">
              <a:buClr>
                <a:srgbClr val="1F497D"/>
              </a:buClr>
            </a:pPr>
            <a:r>
              <a:rPr lang="zh-CN" altLang="en-US" sz="1865" dirty="0">
                <a:solidFill>
                  <a:prstClr val="white"/>
                </a:solidFill>
                <a:latin typeface="华文楷体" panose="02010600040101010101" charset="-122"/>
                <a:ea typeface="华文楷体" panose="02010600040101010101" charset="-122"/>
              </a:rPr>
              <a:t>财务信息</a:t>
            </a:r>
            <a:endParaRPr lang="en-US" altLang="ko-KR" sz="1865" dirty="0">
              <a:solidFill>
                <a:prstClr val="white"/>
              </a:solidFill>
              <a:latin typeface="华文楷体" panose="02010600040101010101" charset="-122"/>
              <a:ea typeface="华文楷体" panose="02010600040101010101" charset="-122"/>
            </a:endParaRPr>
          </a:p>
        </p:txBody>
      </p:sp>
      <p:sp>
        <p:nvSpPr>
          <p:cNvPr id="61" name="Rectangle 11"/>
          <p:cNvSpPr txBox="1">
            <a:spLocks noChangeArrowheads="1"/>
          </p:cNvSpPr>
          <p:nvPr/>
        </p:nvSpPr>
        <p:spPr bwMode="auto">
          <a:xfrm>
            <a:off x="667204" y="1757749"/>
            <a:ext cx="731520" cy="1341120"/>
          </a:xfrm>
          <a:prstGeom prst="rect">
            <a:avLst/>
          </a:prstGeom>
          <a:solidFill>
            <a:srgbClr val="FE5817"/>
          </a:solidFill>
          <a:ln w="9525">
            <a:solidFill>
              <a:srgbClr val="FE5817"/>
            </a:solidFill>
            <a:miter lim="800000"/>
          </a:ln>
          <a:effectLst/>
        </p:spPr>
        <p:txBody>
          <a:bodyPr vert="horz" wrap="square" lIns="96012" tIns="96012" rIns="96012" bIns="96012" numCol="1" anchor="ctr" anchorCtr="0" compatLnSpc="1">
            <a:noAutofit/>
          </a:bodyPr>
          <a:lstStyle>
            <a:defPPr>
              <a:defRPr lang="zh-CN"/>
            </a:defPPr>
            <a:lvl1pPr indent="0" defTabSz="895350" fontAlgn="base">
              <a:spcBef>
                <a:spcPct val="0"/>
              </a:spcBef>
              <a:spcAft>
                <a:spcPct val="0"/>
              </a:spcAft>
              <a:buClr>
                <a:schemeClr val="tx2"/>
              </a:buClr>
              <a:defRPr sz="1600" baseline="0"/>
            </a:lvl1pPr>
            <a:lvl2pPr marL="1270" lvl="1" indent="0" defTabSz="895350" fontAlgn="base">
              <a:spcBef>
                <a:spcPct val="0"/>
              </a:spcBef>
              <a:spcAft>
                <a:spcPct val="0"/>
              </a:spcAft>
              <a:buClr>
                <a:schemeClr val="tx2"/>
              </a:buClr>
              <a:buSzPct val="125000"/>
              <a:buFont typeface="Arial" panose="020B0604020202020204" pitchFamily="34" charset="0"/>
              <a:buNone/>
              <a:defRPr sz="1400" b="1" baseline="0">
                <a:solidFill>
                  <a:schemeClr val="bg1"/>
                </a:solidFill>
              </a:defRPr>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marL="1905" lvl="1" defTabSz="1193800">
              <a:buClr>
                <a:srgbClr val="1F497D"/>
              </a:buClr>
            </a:pPr>
            <a:r>
              <a:rPr lang="zh-CN" altLang="en-US" sz="1865" dirty="0">
                <a:solidFill>
                  <a:prstClr val="white"/>
                </a:solidFill>
                <a:latin typeface="华文楷体" panose="02010600040101010101" charset="-122"/>
                <a:ea typeface="华文楷体" panose="02010600040101010101" charset="-122"/>
              </a:rPr>
              <a:t>公司资产规模</a:t>
            </a:r>
            <a:endParaRPr lang="en-US" altLang="ko-KR" sz="1865" dirty="0">
              <a:solidFill>
                <a:prstClr val="white"/>
              </a:solidFill>
              <a:latin typeface="华文楷体" panose="02010600040101010101" charset="-122"/>
              <a:ea typeface="华文楷体" panose="02010600040101010101" charset="-122"/>
            </a:endParaRPr>
          </a:p>
        </p:txBody>
      </p:sp>
      <p:sp>
        <p:nvSpPr>
          <p:cNvPr id="62" name="Rectangle 11"/>
          <p:cNvSpPr txBox="1">
            <a:spLocks noChangeArrowheads="1"/>
          </p:cNvSpPr>
          <p:nvPr/>
        </p:nvSpPr>
        <p:spPr bwMode="auto">
          <a:xfrm>
            <a:off x="667204" y="3257407"/>
            <a:ext cx="731520" cy="1341120"/>
          </a:xfrm>
          <a:prstGeom prst="rect">
            <a:avLst/>
          </a:prstGeom>
          <a:solidFill>
            <a:srgbClr val="FE5817"/>
          </a:solidFill>
          <a:ln w="9525">
            <a:solidFill>
              <a:srgbClr val="FE5817"/>
            </a:solidFill>
            <a:miter lim="800000"/>
          </a:ln>
          <a:effectLst/>
        </p:spPr>
        <p:txBody>
          <a:bodyPr vert="horz" wrap="square" lIns="96012" tIns="96012" rIns="96012" bIns="96012" numCol="1" anchor="ctr" anchorCtr="0" compatLnSpc="1">
            <a:noAutofit/>
          </a:bodyPr>
          <a:lstStyle>
            <a:defPPr>
              <a:defRPr lang="zh-CN"/>
            </a:defPPr>
            <a:lvl1pPr indent="0" defTabSz="895350" fontAlgn="base">
              <a:spcBef>
                <a:spcPct val="0"/>
              </a:spcBef>
              <a:spcAft>
                <a:spcPct val="0"/>
              </a:spcAft>
              <a:buClr>
                <a:schemeClr val="tx2"/>
              </a:buClr>
              <a:defRPr sz="1600" baseline="0"/>
            </a:lvl1pPr>
            <a:lvl2pPr marL="1270" lvl="1" indent="0" defTabSz="895350" fontAlgn="base">
              <a:spcBef>
                <a:spcPct val="0"/>
              </a:spcBef>
              <a:spcAft>
                <a:spcPct val="0"/>
              </a:spcAft>
              <a:buClr>
                <a:schemeClr val="tx2"/>
              </a:buClr>
              <a:buSzPct val="125000"/>
              <a:buFont typeface="Arial" panose="020B0604020202020204" pitchFamily="34" charset="0"/>
              <a:buNone/>
              <a:defRPr sz="1400" b="1" baseline="0">
                <a:solidFill>
                  <a:schemeClr val="bg1"/>
                </a:solidFill>
              </a:defRPr>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marL="1905" lvl="1" defTabSz="1193800">
              <a:buClr>
                <a:srgbClr val="1F497D"/>
              </a:buClr>
            </a:pPr>
            <a:r>
              <a:rPr lang="zh-CN" altLang="en-US" sz="1865" dirty="0">
                <a:solidFill>
                  <a:prstClr val="white"/>
                </a:solidFill>
                <a:latin typeface="华文楷体" panose="02010600040101010101" charset="-122"/>
                <a:ea typeface="华文楷体" panose="02010600040101010101" charset="-122"/>
              </a:rPr>
              <a:t>公司收入规模</a:t>
            </a:r>
            <a:endParaRPr lang="en-US" altLang="ko-KR" sz="1865" dirty="0">
              <a:solidFill>
                <a:prstClr val="white"/>
              </a:solidFill>
              <a:latin typeface="华文楷体" panose="02010600040101010101" charset="-122"/>
              <a:ea typeface="华文楷体" panose="02010600040101010101" charset="-122"/>
            </a:endParaRPr>
          </a:p>
        </p:txBody>
      </p:sp>
      <p:sp>
        <p:nvSpPr>
          <p:cNvPr id="63" name="Rectangle 11"/>
          <p:cNvSpPr txBox="1">
            <a:spLocks noChangeArrowheads="1"/>
          </p:cNvSpPr>
          <p:nvPr/>
        </p:nvSpPr>
        <p:spPr bwMode="auto">
          <a:xfrm>
            <a:off x="667204" y="4757066"/>
            <a:ext cx="731520" cy="1341120"/>
          </a:xfrm>
          <a:prstGeom prst="rect">
            <a:avLst/>
          </a:prstGeom>
          <a:solidFill>
            <a:srgbClr val="FE5817"/>
          </a:solidFill>
          <a:ln w="9525">
            <a:solidFill>
              <a:srgbClr val="FE5817"/>
            </a:solidFill>
            <a:miter lim="800000"/>
          </a:ln>
          <a:effectLst/>
        </p:spPr>
        <p:txBody>
          <a:bodyPr vert="horz" wrap="square" lIns="96012" tIns="96012" rIns="96012" bIns="96012" numCol="1" anchor="ctr" anchorCtr="0" compatLnSpc="1">
            <a:noAutofit/>
          </a:bodyPr>
          <a:lstStyle>
            <a:defPPr>
              <a:defRPr lang="zh-CN"/>
            </a:defPPr>
            <a:lvl1pPr indent="0" defTabSz="895350" fontAlgn="base">
              <a:spcBef>
                <a:spcPct val="0"/>
              </a:spcBef>
              <a:spcAft>
                <a:spcPct val="0"/>
              </a:spcAft>
              <a:buClr>
                <a:schemeClr val="tx2"/>
              </a:buClr>
              <a:defRPr sz="1600" baseline="0"/>
            </a:lvl1pPr>
            <a:lvl2pPr marL="1270" lvl="1" indent="0" defTabSz="895350" fontAlgn="base">
              <a:spcBef>
                <a:spcPct val="0"/>
              </a:spcBef>
              <a:spcAft>
                <a:spcPct val="0"/>
              </a:spcAft>
              <a:buClr>
                <a:schemeClr val="tx2"/>
              </a:buClr>
              <a:buSzPct val="125000"/>
              <a:buFont typeface="Arial" panose="020B0604020202020204" pitchFamily="34" charset="0"/>
              <a:buNone/>
              <a:defRPr sz="1400" b="1" baseline="0">
                <a:solidFill>
                  <a:schemeClr val="bg1"/>
                </a:solidFill>
              </a:defRPr>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marL="1905" lvl="1" defTabSz="1193800">
              <a:buClr>
                <a:srgbClr val="1F497D"/>
              </a:buClr>
            </a:pPr>
            <a:r>
              <a:rPr lang="zh-CN" altLang="en-US" sz="1865" dirty="0">
                <a:solidFill>
                  <a:prstClr val="white"/>
                </a:solidFill>
                <a:latin typeface="华文楷体" panose="02010600040101010101" charset="-122"/>
                <a:ea typeface="华文楷体" panose="02010600040101010101" charset="-122"/>
              </a:rPr>
              <a:t>公司利润规模</a:t>
            </a:r>
            <a:endParaRPr lang="en-US" altLang="ko-KR" sz="1865" dirty="0">
              <a:solidFill>
                <a:prstClr val="white"/>
              </a:solidFill>
              <a:latin typeface="华文楷体" panose="02010600040101010101" charset="-122"/>
              <a:ea typeface="华文楷体" panose="02010600040101010101" charset="-122"/>
            </a:endParaRPr>
          </a:p>
        </p:txBody>
      </p:sp>
      <p:cxnSp>
        <p:nvCxnSpPr>
          <p:cNvPr id="64" name="Straight Connector 6"/>
          <p:cNvCxnSpPr/>
          <p:nvPr>
            <p:custDataLst>
              <p:tags r:id="rId4"/>
            </p:custDataLst>
          </p:nvPr>
        </p:nvCxnSpPr>
        <p:spPr bwMode="gray">
          <a:xfrm flipV="1">
            <a:off x="2013823" y="1869933"/>
            <a:ext cx="2641600" cy="139700"/>
          </a:xfrm>
          <a:prstGeom prst="line">
            <a:avLst/>
          </a:prstGeom>
          <a:ln w="38100">
            <a:solidFill>
              <a:srgbClr val="FE5817"/>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65" name="Text Placeholder 14"/>
          <p:cNvSpPr>
            <a:spLocks noGrp="1"/>
          </p:cNvSpPr>
          <p:nvPr>
            <p:custDataLst>
              <p:tags r:id="rId5"/>
            </p:custDataLst>
          </p:nvPr>
        </p:nvSpPr>
        <p:spPr bwMode="auto">
          <a:xfrm>
            <a:off x="2428689" y="1757749"/>
            <a:ext cx="1811867" cy="364067"/>
          </a:xfrm>
          <a:prstGeom prst="ellipse">
            <a:avLst/>
          </a:prstGeom>
          <a:solidFill>
            <a:srgbClr val="FE5817"/>
          </a:solidFill>
          <a:ln w="9525">
            <a:solidFill>
              <a:srgbClr val="FE5817"/>
            </a:solidFill>
            <a:miter lim="800000"/>
          </a:ln>
          <a:effectLst/>
        </p:spPr>
        <p:txBody>
          <a:bodyPr vert="horz" wrap="square" lIns="96012" tIns="96012" rIns="96012" bIns="96012" numCol="1" anchor="ctr" anchorCtr="0" compatLnSpc="1">
            <a:noAutofit/>
          </a:bodyPr>
          <a:lstStyle/>
          <a:p>
            <a:pPr defTabSz="1193800" fontAlgn="base">
              <a:spcBef>
                <a:spcPct val="0"/>
              </a:spcBef>
              <a:spcAft>
                <a:spcPct val="0"/>
              </a:spcAft>
              <a:buClr>
                <a:srgbClr val="1F497D"/>
              </a:buClr>
            </a:pPr>
            <a:r>
              <a:rPr lang="en-US" sz="1400" b="1" dirty="0">
                <a:solidFill>
                  <a:prstClr val="white"/>
                </a:solidFill>
                <a:latin typeface="华文楷体" panose="02010600040101010101" charset="-122"/>
                <a:ea typeface="华文楷体" panose="02010600040101010101" charset="-122"/>
                <a:sym typeface="+mn-lt"/>
              </a:rPr>
              <a:t>+55.5% p.a.</a:t>
            </a:r>
            <a:endParaRPr lang="en-US" sz="1400" b="1" dirty="0">
              <a:solidFill>
                <a:prstClr val="white"/>
              </a:solidFill>
              <a:latin typeface="华文楷体" panose="02010600040101010101" charset="-122"/>
              <a:ea typeface="华文楷体" panose="02010600040101010101" charset="-122"/>
              <a:sym typeface="+mn-lt"/>
            </a:endParaRPr>
          </a:p>
        </p:txBody>
      </p:sp>
      <p:cxnSp>
        <p:nvCxnSpPr>
          <p:cNvPr id="66" name="Straight Connector 52"/>
          <p:cNvCxnSpPr/>
          <p:nvPr>
            <p:custDataLst>
              <p:tags r:id="rId6"/>
            </p:custDataLst>
          </p:nvPr>
        </p:nvCxnSpPr>
        <p:spPr bwMode="gray">
          <a:xfrm flipV="1">
            <a:off x="2013823" y="3330433"/>
            <a:ext cx="2641600" cy="139700"/>
          </a:xfrm>
          <a:prstGeom prst="line">
            <a:avLst/>
          </a:prstGeom>
          <a:ln w="38100">
            <a:solidFill>
              <a:srgbClr val="FE5817"/>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67" name="Text Placeholder 14"/>
          <p:cNvSpPr>
            <a:spLocks noGrp="1"/>
          </p:cNvSpPr>
          <p:nvPr>
            <p:custDataLst>
              <p:tags r:id="rId7"/>
            </p:custDataLst>
          </p:nvPr>
        </p:nvSpPr>
        <p:spPr bwMode="auto">
          <a:xfrm>
            <a:off x="2428689" y="3218249"/>
            <a:ext cx="1811867" cy="364067"/>
          </a:xfrm>
          <a:prstGeom prst="ellipse">
            <a:avLst/>
          </a:prstGeom>
          <a:solidFill>
            <a:srgbClr val="FE5817"/>
          </a:solidFill>
          <a:ln w="9525">
            <a:solidFill>
              <a:srgbClr val="FF0000"/>
            </a:solidFill>
            <a:miter lim="800000"/>
          </a:ln>
          <a:effectLst/>
        </p:spPr>
        <p:txBody>
          <a:bodyPr vert="horz" wrap="square" lIns="96012" tIns="96012" rIns="96012" bIns="96012" numCol="1" anchor="ctr" anchorCtr="0" compatLnSpc="1">
            <a:noAutofit/>
          </a:bodyPr>
          <a:lstStyle/>
          <a:p>
            <a:pPr defTabSz="1193800" fontAlgn="base">
              <a:spcBef>
                <a:spcPct val="0"/>
              </a:spcBef>
              <a:spcAft>
                <a:spcPct val="0"/>
              </a:spcAft>
              <a:buClr>
                <a:srgbClr val="1F497D"/>
              </a:buClr>
            </a:pPr>
            <a:fld id="{A5BADAD8-C9F6-4232-A65A-BB66145D6B7F}" type="datetime'''+''''''4''3.''0''''''''''''''''''''''''''''''''''''''%'''''">
              <a:rPr lang="en-US" sz="1465" b="1">
                <a:solidFill>
                  <a:prstClr val="white"/>
                </a:solidFill>
                <a:latin typeface="华文楷体" panose="02010600040101010101" charset="-122"/>
                <a:ea typeface="华文楷体" panose="02010600040101010101" charset="-122"/>
              </a:rPr>
            </a:fld>
            <a:r>
              <a:rPr lang="en-US" sz="1465" b="1" dirty="0">
                <a:solidFill>
                  <a:prstClr val="white"/>
                </a:solidFill>
                <a:latin typeface="华文楷体" panose="02010600040101010101" charset="-122"/>
                <a:ea typeface="华文楷体" panose="02010600040101010101" charset="-122"/>
                <a:sym typeface="+mn-lt"/>
              </a:rPr>
              <a:t> p.a.</a:t>
            </a:r>
            <a:endParaRPr lang="en-US" sz="1465" b="1" dirty="0">
              <a:solidFill>
                <a:prstClr val="white"/>
              </a:solidFill>
              <a:latin typeface="华文楷体" panose="02010600040101010101" charset="-122"/>
              <a:ea typeface="华文楷体" panose="02010600040101010101" charset="-122"/>
              <a:sym typeface="+mn-lt"/>
            </a:endParaRPr>
          </a:p>
        </p:txBody>
      </p:sp>
      <p:cxnSp>
        <p:nvCxnSpPr>
          <p:cNvPr id="68" name="Straight Connector 59"/>
          <p:cNvCxnSpPr/>
          <p:nvPr>
            <p:custDataLst>
              <p:tags r:id="rId8"/>
            </p:custDataLst>
          </p:nvPr>
        </p:nvCxnSpPr>
        <p:spPr bwMode="gray">
          <a:xfrm flipV="1">
            <a:off x="2013823" y="4803633"/>
            <a:ext cx="2641600" cy="139700"/>
          </a:xfrm>
          <a:prstGeom prst="line">
            <a:avLst/>
          </a:prstGeom>
          <a:ln w="38100">
            <a:solidFill>
              <a:srgbClr val="FE5817"/>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69" name="Text Placeholder 14"/>
          <p:cNvSpPr>
            <a:spLocks noGrp="1"/>
          </p:cNvSpPr>
          <p:nvPr>
            <p:custDataLst>
              <p:tags r:id="rId9"/>
            </p:custDataLst>
          </p:nvPr>
        </p:nvSpPr>
        <p:spPr bwMode="auto">
          <a:xfrm>
            <a:off x="2428689" y="4691449"/>
            <a:ext cx="1811867" cy="364067"/>
          </a:xfrm>
          <a:prstGeom prst="ellipse">
            <a:avLst/>
          </a:prstGeom>
          <a:solidFill>
            <a:srgbClr val="FE5817"/>
          </a:solidFill>
          <a:ln w="9525">
            <a:solidFill>
              <a:srgbClr val="FE5817"/>
            </a:solidFill>
            <a:miter lim="800000"/>
          </a:ln>
          <a:effectLst/>
        </p:spPr>
        <p:txBody>
          <a:bodyPr vert="horz" wrap="none" lIns="0" tIns="0" rIns="0" bIns="0" numCol="1" anchor="ctr"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algn="ctr" defTabSz="1193800">
              <a:lnSpc>
                <a:spcPct val="90000"/>
              </a:lnSpc>
              <a:buClr>
                <a:srgbClr val="1F497D"/>
              </a:buClr>
            </a:pPr>
            <a:fld id="{002A7851-4214-4439-A667-2A0B184D5011}" type="datetime'''+''''''''''''4''''''''''''3''''''''''''''''.''0''%'''">
              <a:rPr lang="en-US" sz="1400" b="1">
                <a:solidFill>
                  <a:prstClr val="white"/>
                </a:solidFill>
                <a:latin typeface="华文楷体" panose="02010600040101010101" charset="-122"/>
                <a:ea typeface="华文楷体" panose="02010600040101010101" charset="-122"/>
              </a:rPr>
            </a:fld>
            <a:r>
              <a:rPr lang="en-US" b="1" dirty="0">
                <a:solidFill>
                  <a:prstClr val="white"/>
                </a:solidFill>
                <a:latin typeface="华文楷体" panose="02010600040101010101" charset="-122"/>
                <a:ea typeface="华文楷体" panose="02010600040101010101" charset="-122"/>
                <a:sym typeface="+mn-lt"/>
              </a:rPr>
              <a:t> p.a.</a:t>
            </a:r>
            <a:endParaRPr lang="en-US" b="1" dirty="0">
              <a:solidFill>
                <a:prstClr val="white"/>
              </a:solidFill>
              <a:latin typeface="华文楷体" panose="02010600040101010101" charset="-122"/>
              <a:ea typeface="华文楷体" panose="02010600040101010101" charset="-122"/>
              <a:sym typeface="+mn-lt"/>
            </a:endParaRPr>
          </a:p>
        </p:txBody>
      </p:sp>
      <p:graphicFrame>
        <p:nvGraphicFramePr>
          <p:cNvPr id="70" name="图表 69"/>
          <p:cNvGraphicFramePr/>
          <p:nvPr/>
        </p:nvGraphicFramePr>
        <p:xfrm>
          <a:off x="1398725" y="2017900"/>
          <a:ext cx="3881185" cy="1317625"/>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71" name="图表 70"/>
          <p:cNvGraphicFramePr/>
          <p:nvPr/>
        </p:nvGraphicFramePr>
        <p:xfrm>
          <a:off x="1398725" y="3507339"/>
          <a:ext cx="3881185" cy="13176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2" name="图表 71"/>
          <p:cNvGraphicFramePr/>
          <p:nvPr/>
        </p:nvGraphicFramePr>
        <p:xfrm>
          <a:off x="1398725" y="5055516"/>
          <a:ext cx="3881185" cy="1317625"/>
        </p:xfrm>
        <a:graphic>
          <a:graphicData uri="http://schemas.openxmlformats.org/drawingml/2006/chart">
            <c:chart xmlns:c="http://schemas.openxmlformats.org/drawingml/2006/chart" xmlns:r="http://schemas.openxmlformats.org/officeDocument/2006/relationships" r:id="rId3"/>
          </a:graphicData>
        </a:graphic>
      </p:graphicFrame>
      <p:sp>
        <p:nvSpPr>
          <p:cNvPr id="73" name="矩形 72"/>
          <p:cNvSpPr/>
          <p:nvPr/>
        </p:nvSpPr>
        <p:spPr>
          <a:xfrm>
            <a:off x="5516291" y="596685"/>
            <a:ext cx="4778096" cy="647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000" indent="-381000" defTabSz="1219200">
              <a:buFont typeface="Arial" panose="020B0604020202020204" pitchFamily="34" charset="0"/>
              <a:buChar char="•"/>
            </a:pPr>
            <a:r>
              <a:rPr lang="zh-CN" altLang="en-US" sz="1600" dirty="0">
                <a:solidFill>
                  <a:schemeClr val="tx1"/>
                </a:solidFill>
                <a:latin typeface="华文楷体" panose="02010600040101010101" charset="-122"/>
                <a:ea typeface="华文楷体" panose="02010600040101010101" charset="-122"/>
              </a:rPr>
              <a:t>成立时间：</a:t>
            </a:r>
            <a:r>
              <a:rPr lang="en-US" altLang="zh-CN" sz="1600" dirty="0">
                <a:solidFill>
                  <a:schemeClr val="tx1"/>
                </a:solidFill>
                <a:latin typeface="华文楷体" panose="02010600040101010101" charset="-122"/>
                <a:ea typeface="华文楷体" panose="02010600040101010101" charset="-122"/>
              </a:rPr>
              <a:t>xxx</a:t>
            </a:r>
            <a:endParaRPr lang="en-US" altLang="zh-CN" sz="1600" dirty="0">
              <a:solidFill>
                <a:schemeClr val="tx1"/>
              </a:solidFill>
              <a:latin typeface="华文楷体" panose="02010600040101010101" charset="-122"/>
              <a:ea typeface="华文楷体" panose="02010600040101010101" charset="-122"/>
            </a:endParaRPr>
          </a:p>
          <a:p>
            <a:pPr marL="381000" indent="-381000" defTabSz="1219200">
              <a:buFont typeface="Arial" panose="020B0604020202020204" pitchFamily="34" charset="0"/>
              <a:buChar char="•"/>
            </a:pPr>
            <a:r>
              <a:rPr lang="zh-CN" altLang="en-US" sz="1600" dirty="0">
                <a:solidFill>
                  <a:schemeClr val="tx1"/>
                </a:solidFill>
                <a:latin typeface="华文楷体" panose="02010600040101010101" charset="-122"/>
                <a:ea typeface="华文楷体" panose="02010600040101010101" charset="-122"/>
              </a:rPr>
              <a:t>股权结构：</a:t>
            </a:r>
            <a:r>
              <a:rPr lang="en-US" altLang="zh-CN" sz="1600" dirty="0">
                <a:solidFill>
                  <a:schemeClr val="tx1"/>
                </a:solidFill>
                <a:latin typeface="华文楷体" panose="02010600040101010101" charset="-122"/>
                <a:ea typeface="华文楷体" panose="02010600040101010101" charset="-122"/>
              </a:rPr>
              <a:t>xxx</a:t>
            </a:r>
            <a:endParaRPr lang="en-US" altLang="zh-CN" sz="1600" dirty="0">
              <a:solidFill>
                <a:schemeClr val="tx1"/>
              </a:solidFill>
              <a:latin typeface="华文楷体" panose="02010600040101010101" charset="-122"/>
              <a:ea typeface="华文楷体" panose="02010600040101010101" charset="-122"/>
            </a:endParaRPr>
          </a:p>
        </p:txBody>
      </p:sp>
      <p:sp>
        <p:nvSpPr>
          <p:cNvPr id="74" name="矩形 73"/>
          <p:cNvSpPr/>
          <p:nvPr/>
        </p:nvSpPr>
        <p:spPr>
          <a:xfrm>
            <a:off x="5516291" y="1871005"/>
            <a:ext cx="4778096" cy="131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000" indent="-381000" defTabSz="1219200">
              <a:buFont typeface="Arial" panose="020B0604020202020204" pitchFamily="34" charset="0"/>
              <a:buChar char="•"/>
            </a:pPr>
            <a:r>
              <a:rPr lang="zh-CN" altLang="en-US" sz="1600" dirty="0">
                <a:solidFill>
                  <a:schemeClr val="tx1"/>
                </a:solidFill>
                <a:latin typeface="华文楷体" panose="02010600040101010101" charset="-122"/>
                <a:ea typeface="华文楷体" panose="02010600040101010101" charset="-122"/>
              </a:rPr>
              <a:t>核心产品：</a:t>
            </a:r>
            <a:r>
              <a:rPr lang="en-US" altLang="zh-CN" sz="1600" dirty="0">
                <a:solidFill>
                  <a:schemeClr val="tx1"/>
                </a:solidFill>
                <a:latin typeface="华文楷体" panose="02010600040101010101" charset="-122"/>
                <a:ea typeface="华文楷体" panose="02010600040101010101" charset="-122"/>
              </a:rPr>
              <a:t>xxx</a:t>
            </a:r>
            <a:endParaRPr lang="en-US" altLang="zh-CN" sz="1600" dirty="0">
              <a:solidFill>
                <a:schemeClr val="tx1"/>
              </a:solidFill>
              <a:latin typeface="华文楷体" panose="02010600040101010101" charset="-122"/>
              <a:ea typeface="华文楷体" panose="02010600040101010101" charset="-122"/>
            </a:endParaRPr>
          </a:p>
          <a:p>
            <a:pPr marL="381000" indent="-381000" defTabSz="1219200">
              <a:buFont typeface="Arial" panose="020B0604020202020204" pitchFamily="34" charset="0"/>
              <a:buChar char="•"/>
            </a:pPr>
            <a:r>
              <a:rPr lang="zh-CN" altLang="en-US" sz="1600" dirty="0">
                <a:solidFill>
                  <a:schemeClr val="tx1"/>
                </a:solidFill>
                <a:latin typeface="华文楷体" panose="02010600040101010101" charset="-122"/>
                <a:ea typeface="华文楷体" panose="02010600040101010101" charset="-122"/>
              </a:rPr>
              <a:t>收入来源：</a:t>
            </a:r>
            <a:r>
              <a:rPr lang="en-US" altLang="zh-CN" sz="1600" dirty="0">
                <a:solidFill>
                  <a:schemeClr val="tx1"/>
                </a:solidFill>
                <a:latin typeface="华文楷体" panose="02010600040101010101" charset="-122"/>
                <a:ea typeface="华文楷体" panose="02010600040101010101" charset="-122"/>
              </a:rPr>
              <a:t>xxx</a:t>
            </a:r>
            <a:endParaRPr lang="en-US" altLang="zh-CN" sz="1600" dirty="0">
              <a:solidFill>
                <a:schemeClr val="tx1"/>
              </a:solidFill>
              <a:latin typeface="华文楷体" panose="02010600040101010101" charset="-122"/>
              <a:ea typeface="华文楷体" panose="02010600040101010101" charset="-122"/>
            </a:endParaRPr>
          </a:p>
          <a:p>
            <a:pPr marL="381000" indent="-381000" defTabSz="1219200">
              <a:buFont typeface="Arial" panose="020B0604020202020204" pitchFamily="34" charset="0"/>
              <a:buChar char="•"/>
            </a:pPr>
            <a:r>
              <a:rPr lang="zh-CN" altLang="en-US" sz="1600" dirty="0">
                <a:solidFill>
                  <a:schemeClr val="tx1"/>
                </a:solidFill>
                <a:latin typeface="华文楷体" panose="02010600040101010101" charset="-122"/>
                <a:ea typeface="华文楷体" panose="02010600040101010101" charset="-122"/>
              </a:rPr>
              <a:t>目标客户：</a:t>
            </a:r>
            <a:r>
              <a:rPr lang="en-US" altLang="zh-CN" sz="1600" dirty="0">
                <a:solidFill>
                  <a:schemeClr val="tx1"/>
                </a:solidFill>
                <a:latin typeface="华文楷体" panose="02010600040101010101" charset="-122"/>
                <a:ea typeface="华文楷体" panose="02010600040101010101" charset="-122"/>
              </a:rPr>
              <a:t>xxx</a:t>
            </a:r>
            <a:endParaRPr lang="en-US" altLang="zh-CN" sz="1600" dirty="0">
              <a:solidFill>
                <a:schemeClr val="tx1"/>
              </a:solidFill>
              <a:latin typeface="华文楷体" panose="02010600040101010101" charset="-122"/>
              <a:ea typeface="华文楷体" panose="02010600040101010101" charset="-122"/>
            </a:endParaRPr>
          </a:p>
          <a:p>
            <a:pPr marL="381000" indent="-381000" defTabSz="1219200">
              <a:buFont typeface="Arial" panose="020B0604020202020204" pitchFamily="34" charset="0"/>
              <a:buChar char="•"/>
            </a:pPr>
            <a:r>
              <a:rPr lang="zh-CN" altLang="en-US" sz="1600" dirty="0">
                <a:solidFill>
                  <a:schemeClr val="tx1"/>
                </a:solidFill>
                <a:latin typeface="华文楷体" panose="02010600040101010101" charset="-122"/>
                <a:ea typeface="华文楷体" panose="02010600040101010101" charset="-122"/>
              </a:rPr>
              <a:t>营销渠道：</a:t>
            </a:r>
            <a:r>
              <a:rPr lang="en-US" altLang="zh-CN" sz="1600" dirty="0">
                <a:solidFill>
                  <a:schemeClr val="tx1"/>
                </a:solidFill>
                <a:latin typeface="华文楷体" panose="02010600040101010101" charset="-122"/>
                <a:ea typeface="华文楷体" panose="02010600040101010101" charset="-122"/>
              </a:rPr>
              <a:t>xxx</a:t>
            </a:r>
            <a:endParaRPr lang="en-US" altLang="zh-CN" sz="1600" dirty="0">
              <a:solidFill>
                <a:schemeClr val="tx1"/>
              </a:solidFill>
              <a:latin typeface="华文楷体" panose="02010600040101010101" charset="-122"/>
              <a:ea typeface="华文楷体" panose="02010600040101010101" charset="-122"/>
            </a:endParaRPr>
          </a:p>
          <a:p>
            <a:pPr marL="381000" indent="-381000" defTabSz="1219200">
              <a:buFont typeface="Arial" panose="020B0604020202020204" pitchFamily="34" charset="0"/>
              <a:buChar char="•"/>
            </a:pPr>
            <a:r>
              <a:rPr lang="zh-CN" altLang="en-US" sz="1600" dirty="0">
                <a:solidFill>
                  <a:schemeClr val="tx1"/>
                </a:solidFill>
                <a:latin typeface="华文楷体" panose="02010600040101010101" charset="-122"/>
                <a:ea typeface="华文楷体" panose="02010600040101010101" charset="-122"/>
              </a:rPr>
              <a:t>服务特点：</a:t>
            </a:r>
            <a:r>
              <a:rPr lang="en-US" altLang="zh-CN" sz="1600" dirty="0">
                <a:solidFill>
                  <a:schemeClr val="tx1"/>
                </a:solidFill>
                <a:latin typeface="华文楷体" panose="02010600040101010101" charset="-122"/>
                <a:ea typeface="华文楷体" panose="02010600040101010101" charset="-122"/>
              </a:rPr>
              <a:t>xxx</a:t>
            </a:r>
            <a:endParaRPr lang="en-US" altLang="zh-CN" sz="1600" dirty="0">
              <a:solidFill>
                <a:schemeClr val="tx1"/>
              </a:solidFill>
              <a:latin typeface="华文楷体" panose="02010600040101010101" charset="-122"/>
              <a:ea typeface="华文楷体" panose="02010600040101010101" charset="-122"/>
            </a:endParaRPr>
          </a:p>
        </p:txBody>
      </p:sp>
      <p:sp>
        <p:nvSpPr>
          <p:cNvPr id="75" name="矩形 74"/>
          <p:cNvSpPr/>
          <p:nvPr/>
        </p:nvSpPr>
        <p:spPr>
          <a:xfrm>
            <a:off x="5516291" y="4160149"/>
            <a:ext cx="4778096" cy="1717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000" indent="-381000" defTabSz="1219200">
              <a:buFont typeface="Arial" panose="020B0604020202020204" pitchFamily="34" charset="0"/>
              <a:buChar char="•"/>
            </a:pPr>
            <a:r>
              <a:rPr lang="zh-CN" altLang="en-US" sz="1600" dirty="0">
                <a:solidFill>
                  <a:schemeClr val="tx1"/>
                </a:solidFill>
                <a:latin typeface="华文楷体" panose="02010600040101010101" charset="-122"/>
                <a:ea typeface="华文楷体" panose="02010600040101010101" charset="-122"/>
              </a:rPr>
              <a:t>优势</a:t>
            </a:r>
            <a:endParaRPr lang="zh-CN" altLang="en-US" sz="1600" dirty="0">
              <a:solidFill>
                <a:schemeClr val="tx1"/>
              </a:solidFill>
              <a:latin typeface="华文楷体" panose="02010600040101010101" charset="-122"/>
              <a:ea typeface="华文楷体" panose="02010600040101010101" charset="-122"/>
            </a:endParaRPr>
          </a:p>
          <a:p>
            <a:pPr marL="990600" lvl="1" indent="-381000" defTabSz="1219200">
              <a:buFont typeface="Arial" panose="020B0604020202020204" pitchFamily="34" charset="0"/>
              <a:buChar char="•"/>
            </a:pPr>
            <a:r>
              <a:rPr lang="en-US" altLang="zh-CN" sz="1600" dirty="0">
                <a:solidFill>
                  <a:schemeClr val="tx1"/>
                </a:solidFill>
                <a:latin typeface="华文楷体" panose="02010600040101010101" charset="-122"/>
                <a:ea typeface="华文楷体" panose="02010600040101010101" charset="-122"/>
              </a:rPr>
              <a:t>xxx</a:t>
            </a:r>
            <a:endParaRPr lang="en-US" altLang="zh-CN" sz="1600" dirty="0">
              <a:solidFill>
                <a:schemeClr val="tx1"/>
              </a:solidFill>
              <a:latin typeface="华文楷体" panose="02010600040101010101" charset="-122"/>
              <a:ea typeface="华文楷体" panose="02010600040101010101" charset="-122"/>
            </a:endParaRPr>
          </a:p>
          <a:p>
            <a:pPr marL="990600" lvl="1" indent="-381000" defTabSz="1219200">
              <a:buFont typeface="Arial" panose="020B0604020202020204" pitchFamily="34" charset="0"/>
              <a:buChar char="•"/>
            </a:pPr>
            <a:r>
              <a:rPr lang="en-US" altLang="zh-CN" sz="1600" dirty="0">
                <a:solidFill>
                  <a:schemeClr val="tx1"/>
                </a:solidFill>
                <a:latin typeface="华文楷体" panose="02010600040101010101" charset="-122"/>
                <a:ea typeface="华文楷体" panose="02010600040101010101" charset="-122"/>
              </a:rPr>
              <a:t>xxx</a:t>
            </a:r>
            <a:endParaRPr lang="en-US" altLang="zh-CN" sz="1600" dirty="0">
              <a:solidFill>
                <a:schemeClr val="tx1"/>
              </a:solidFill>
              <a:latin typeface="华文楷体" panose="02010600040101010101" charset="-122"/>
              <a:ea typeface="华文楷体" panose="02010600040101010101" charset="-122"/>
            </a:endParaRPr>
          </a:p>
          <a:p>
            <a:pPr marL="381000" indent="-381000" defTabSz="1219200">
              <a:buFont typeface="Arial" panose="020B0604020202020204" pitchFamily="34" charset="0"/>
              <a:buChar char="•"/>
            </a:pPr>
            <a:r>
              <a:rPr lang="zh-CN" altLang="en-US" sz="1600" dirty="0">
                <a:solidFill>
                  <a:schemeClr val="tx1"/>
                </a:solidFill>
                <a:latin typeface="华文楷体" panose="02010600040101010101" charset="-122"/>
                <a:ea typeface="华文楷体" panose="02010600040101010101" charset="-122"/>
              </a:rPr>
              <a:t>劣势</a:t>
            </a:r>
            <a:endParaRPr lang="zh-CN" altLang="en-US" sz="1600" dirty="0">
              <a:solidFill>
                <a:schemeClr val="tx1"/>
              </a:solidFill>
              <a:latin typeface="华文楷体" panose="02010600040101010101" charset="-122"/>
              <a:ea typeface="华文楷体" panose="02010600040101010101" charset="-122"/>
            </a:endParaRPr>
          </a:p>
          <a:p>
            <a:pPr marL="990600" lvl="1" indent="-381000" defTabSz="1219200">
              <a:buFont typeface="Arial" panose="020B0604020202020204" pitchFamily="34" charset="0"/>
              <a:buChar char="•"/>
            </a:pPr>
            <a:r>
              <a:rPr lang="en-US" altLang="zh-CN" sz="1600" dirty="0">
                <a:solidFill>
                  <a:schemeClr val="tx1"/>
                </a:solidFill>
                <a:latin typeface="华文楷体" panose="02010600040101010101" charset="-122"/>
                <a:ea typeface="华文楷体" panose="02010600040101010101" charset="-122"/>
              </a:rPr>
              <a:t>xxx</a:t>
            </a:r>
            <a:endParaRPr lang="en-US" altLang="zh-CN" sz="1600" dirty="0">
              <a:solidFill>
                <a:schemeClr val="tx1"/>
              </a:solidFill>
              <a:latin typeface="华文楷体" panose="02010600040101010101" charset="-122"/>
              <a:ea typeface="华文楷体" panose="02010600040101010101" charset="-122"/>
            </a:endParaRPr>
          </a:p>
          <a:p>
            <a:pPr marL="990600" lvl="1" indent="-381000" defTabSz="1219200">
              <a:buFont typeface="Arial" panose="020B0604020202020204" pitchFamily="34" charset="0"/>
              <a:buChar char="•"/>
            </a:pPr>
            <a:r>
              <a:rPr lang="en-US" altLang="zh-CN" sz="1600" dirty="0">
                <a:solidFill>
                  <a:schemeClr val="tx1"/>
                </a:solidFill>
                <a:latin typeface="华文楷体" panose="02010600040101010101" charset="-122"/>
                <a:ea typeface="华文楷体" panose="02010600040101010101" charset="-122"/>
              </a:rPr>
              <a:t>xxx</a:t>
            </a:r>
            <a:endParaRPr lang="en-US" altLang="zh-CN" sz="1600" dirty="0">
              <a:solidFill>
                <a:schemeClr val="tx1"/>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r>
              <a:rPr lang="en-US" altLang="zh-CN" sz="2400" dirty="0" smtClean="0">
                <a:solidFill>
                  <a:sysClr val="windowText" lastClr="000000"/>
                </a:solidFill>
                <a:latin typeface="Arial" panose="020B0604020202020204"/>
                <a:ea typeface="华文楷体" panose="02010600040101010101" charset="-122"/>
              </a:rPr>
              <a:t>xx</a:t>
            </a:r>
            <a:r>
              <a:rPr lang="zh-CN" altLang="en-US" sz="2400" dirty="0" smtClean="0">
                <a:solidFill>
                  <a:sysClr val="windowText" lastClr="000000"/>
                </a:solidFill>
                <a:latin typeface="Arial" panose="020B0604020202020204"/>
                <a:ea typeface="华文楷体" panose="02010600040101010101" charset="-122"/>
              </a:rPr>
              <a:t>公司基本情况</a:t>
            </a:r>
            <a:endParaRPr lang="zh-CN" altLang="en-US" sz="1800" dirty="0">
              <a:solidFill>
                <a:prstClr val="black"/>
              </a:solidFill>
              <a:latin typeface="华文楷体" panose="02010600040101010101" charset="-122"/>
              <a:ea typeface="华文楷体" panose="02010600040101010101" charset="-122"/>
            </a:endParaRPr>
          </a:p>
        </p:txBody>
      </p:sp>
      <p:grpSp>
        <p:nvGrpSpPr>
          <p:cNvPr id="3" name="Group 5"/>
          <p:cNvGrpSpPr/>
          <p:nvPr/>
        </p:nvGrpSpPr>
        <p:grpSpPr bwMode="auto">
          <a:xfrm>
            <a:off x="671399" y="1126235"/>
            <a:ext cx="1824203" cy="593725"/>
            <a:chOff x="2400" y="1968"/>
            <a:chExt cx="1152" cy="576"/>
          </a:xfrm>
          <a:solidFill>
            <a:srgbClr val="FE5817"/>
          </a:solidFill>
          <a:effectLst/>
        </p:grpSpPr>
        <p:sp>
          <p:nvSpPr>
            <p:cNvPr id="4" name="Freeform 6"/>
            <p:cNvSpPr/>
            <p:nvPr>
              <p:custDataLst>
                <p:tags r:id="rId1"/>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grpFill/>
            <a:ln w="9525">
              <a:solidFill>
                <a:srgbClr val="FE5817"/>
              </a:solidFill>
              <a:round/>
            </a:ln>
            <a:effectLst>
              <a:outerShdw dist="35921" dir="2700000" algn="ctr" rotWithShape="0">
                <a:schemeClr val="bg2"/>
              </a:outerShdw>
            </a:effectLst>
          </p:spPr>
          <p:txBody>
            <a:bodyPr wrap="none" anchor="ctr"/>
            <a:lstStyle/>
            <a:p>
              <a:pPr defTabSz="1219200"/>
              <a:endParaRPr lang="zh-CN" altLang="en-US" sz="2400" dirty="0">
                <a:solidFill>
                  <a:prstClr val="white"/>
                </a:solidFill>
                <a:latin typeface="华文楷体" panose="02010600040101010101" charset="-122"/>
                <a:ea typeface="华文楷体" panose="02010600040101010101" charset="-122"/>
              </a:endParaRPr>
            </a:p>
          </p:txBody>
        </p:sp>
        <p:sp>
          <p:nvSpPr>
            <p:cNvPr id="5" name="Rectangle 7"/>
            <p:cNvSpPr>
              <a:spLocks noChangeArrowheads="1"/>
            </p:cNvSpPr>
            <p:nvPr>
              <p:custDataLst>
                <p:tags r:id="rId2"/>
              </p:custDataLst>
            </p:nvPr>
          </p:nvSpPr>
          <p:spPr bwMode="blackWhite">
            <a:xfrm>
              <a:off x="2440" y="2000"/>
              <a:ext cx="960" cy="496"/>
            </a:xfrm>
            <a:prstGeom prst="rect">
              <a:avLst/>
            </a:prstGeom>
            <a:grpFill/>
            <a:ln w="9525">
              <a:solidFill>
                <a:srgbClr val="FE5817"/>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080" tIns="0" rIns="5080" bIns="0" anchor="ct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defTabSz="1193800"/>
              <a:r>
                <a:rPr lang="zh-CN" altLang="en-US" sz="2135" b="1" dirty="0">
                  <a:solidFill>
                    <a:prstClr val="white"/>
                  </a:solidFill>
                  <a:latin typeface="华文楷体" panose="02010600040101010101" charset="-122"/>
                  <a:ea typeface="华文楷体" panose="02010600040101010101" charset="-122"/>
                </a:rPr>
                <a:t>重大事项</a:t>
              </a:r>
              <a:endParaRPr lang="en-US" altLang="ko-KR" sz="2135" b="1" dirty="0">
                <a:solidFill>
                  <a:prstClr val="white"/>
                </a:solidFill>
                <a:latin typeface="华文楷体" panose="02010600040101010101" charset="-122"/>
                <a:ea typeface="华文楷体" panose="02010600040101010101" charset="-122"/>
              </a:endParaRPr>
            </a:p>
          </p:txBody>
        </p:sp>
      </p:grpSp>
      <p:grpSp>
        <p:nvGrpSpPr>
          <p:cNvPr id="6" name="Group 9"/>
          <p:cNvGrpSpPr/>
          <p:nvPr/>
        </p:nvGrpSpPr>
        <p:grpSpPr bwMode="auto">
          <a:xfrm>
            <a:off x="671399" y="2418812"/>
            <a:ext cx="1824203" cy="593725"/>
            <a:chOff x="2400" y="1968"/>
            <a:chExt cx="1152" cy="576"/>
          </a:xfrm>
          <a:solidFill>
            <a:srgbClr val="FE5817"/>
          </a:solidFill>
          <a:effectLst/>
        </p:grpSpPr>
        <p:sp>
          <p:nvSpPr>
            <p:cNvPr id="7" name="Freeform 10"/>
            <p:cNvSpPr/>
            <p:nvPr>
              <p:custDataLst>
                <p:tags r:id="rId3"/>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grpFill/>
            <a:ln w="9525">
              <a:solidFill>
                <a:srgbClr val="FE5817"/>
              </a:solidFill>
              <a:round/>
            </a:ln>
            <a:effectLst>
              <a:outerShdw dist="35921" dir="2700000" algn="ctr" rotWithShape="0">
                <a:schemeClr val="bg2"/>
              </a:outerShdw>
            </a:effectLst>
          </p:spPr>
          <p:txBody>
            <a:bodyPr wrap="none" anchor="ctr"/>
            <a:lstStyle/>
            <a:p>
              <a:pPr defTabSz="1219200"/>
              <a:endParaRPr lang="zh-CN" altLang="en-US" sz="2400" dirty="0">
                <a:solidFill>
                  <a:prstClr val="white"/>
                </a:solidFill>
                <a:latin typeface="华文楷体" panose="02010600040101010101" charset="-122"/>
                <a:ea typeface="华文楷体" panose="02010600040101010101" charset="-122"/>
              </a:endParaRPr>
            </a:p>
          </p:txBody>
        </p:sp>
        <p:sp>
          <p:nvSpPr>
            <p:cNvPr id="8" name="Rectangle 11"/>
            <p:cNvSpPr>
              <a:spLocks noChangeArrowheads="1"/>
            </p:cNvSpPr>
            <p:nvPr>
              <p:custDataLst>
                <p:tags r:id="rId4"/>
              </p:custDataLst>
            </p:nvPr>
          </p:nvSpPr>
          <p:spPr bwMode="blackWhite">
            <a:xfrm>
              <a:off x="2440" y="2000"/>
              <a:ext cx="960" cy="496"/>
            </a:xfrm>
            <a:prstGeom prst="rect">
              <a:avLst/>
            </a:prstGeom>
            <a:grpFill/>
            <a:ln w="9525">
              <a:solidFill>
                <a:srgbClr val="FE5817"/>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080" tIns="0" rIns="5080" bIns="0" anchor="ct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defTabSz="1193800"/>
              <a:r>
                <a:rPr lang="zh-CN" altLang="en-US" sz="2135" b="1" dirty="0">
                  <a:solidFill>
                    <a:prstClr val="white"/>
                  </a:solidFill>
                  <a:latin typeface="华文楷体" panose="02010600040101010101" charset="-122"/>
                  <a:ea typeface="华文楷体" panose="02010600040101010101" charset="-122"/>
                </a:rPr>
                <a:t>股权结构</a:t>
              </a:r>
              <a:endParaRPr lang="en-US" altLang="ko-KR" sz="2135" b="1" dirty="0">
                <a:solidFill>
                  <a:prstClr val="white"/>
                </a:solidFill>
                <a:latin typeface="华文楷体" panose="02010600040101010101" charset="-122"/>
                <a:ea typeface="华文楷体" panose="02010600040101010101" charset="-122"/>
              </a:endParaRPr>
            </a:p>
          </p:txBody>
        </p:sp>
      </p:grpSp>
      <p:grpSp>
        <p:nvGrpSpPr>
          <p:cNvPr id="9" name="Group 13"/>
          <p:cNvGrpSpPr/>
          <p:nvPr/>
        </p:nvGrpSpPr>
        <p:grpSpPr bwMode="auto">
          <a:xfrm>
            <a:off x="671399" y="5003968"/>
            <a:ext cx="1824203" cy="593725"/>
            <a:chOff x="2400" y="1968"/>
            <a:chExt cx="1152" cy="576"/>
          </a:xfrm>
          <a:solidFill>
            <a:srgbClr val="FE5817"/>
          </a:solidFill>
          <a:effectLst/>
        </p:grpSpPr>
        <p:sp>
          <p:nvSpPr>
            <p:cNvPr id="10" name="Freeform 14"/>
            <p:cNvSpPr/>
            <p:nvPr>
              <p:custDataLst>
                <p:tags r:id="rId5"/>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grpFill/>
            <a:ln w="9525">
              <a:solidFill>
                <a:srgbClr val="FE5817"/>
              </a:solidFill>
              <a:round/>
            </a:ln>
            <a:effectLst>
              <a:outerShdw dist="35921" dir="2700000" algn="ctr" rotWithShape="0">
                <a:schemeClr val="bg2"/>
              </a:outerShdw>
            </a:effectLst>
          </p:spPr>
          <p:txBody>
            <a:bodyPr wrap="none" anchor="ctr"/>
            <a:lstStyle/>
            <a:p>
              <a:pPr defTabSz="1219200"/>
              <a:endParaRPr lang="zh-CN" altLang="en-US" sz="2400" dirty="0">
                <a:solidFill>
                  <a:prstClr val="white"/>
                </a:solidFill>
                <a:latin typeface="华文楷体" panose="02010600040101010101" charset="-122"/>
                <a:ea typeface="华文楷体" panose="02010600040101010101" charset="-122"/>
              </a:endParaRPr>
            </a:p>
          </p:txBody>
        </p:sp>
        <p:sp>
          <p:nvSpPr>
            <p:cNvPr id="11" name="Rectangle 15"/>
            <p:cNvSpPr>
              <a:spLocks noChangeArrowheads="1"/>
            </p:cNvSpPr>
            <p:nvPr>
              <p:custDataLst>
                <p:tags r:id="rId6"/>
              </p:custDataLst>
            </p:nvPr>
          </p:nvSpPr>
          <p:spPr bwMode="blackWhite">
            <a:xfrm>
              <a:off x="2440" y="2000"/>
              <a:ext cx="960" cy="496"/>
            </a:xfrm>
            <a:prstGeom prst="rect">
              <a:avLst/>
            </a:prstGeom>
            <a:grpFill/>
            <a:ln w="9525">
              <a:solidFill>
                <a:srgbClr val="FE5817"/>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080" tIns="0" rIns="5080" bIns="0" anchor="ct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defTabSz="1193800"/>
              <a:r>
                <a:rPr lang="zh-CN" altLang="en-US" sz="2135" b="1" dirty="0">
                  <a:solidFill>
                    <a:prstClr val="white"/>
                  </a:solidFill>
                  <a:latin typeface="华文楷体" panose="02010600040101010101" charset="-122"/>
                  <a:ea typeface="华文楷体" panose="02010600040101010101" charset="-122"/>
                </a:rPr>
                <a:t>其它信息</a:t>
              </a:r>
              <a:endParaRPr lang="en-US" altLang="ko-KR" sz="2135" b="1" dirty="0">
                <a:solidFill>
                  <a:prstClr val="white"/>
                </a:solidFill>
                <a:latin typeface="华文楷体" panose="02010600040101010101" charset="-122"/>
                <a:ea typeface="华文楷体" panose="02010600040101010101" charset="-122"/>
              </a:endParaRPr>
            </a:p>
          </p:txBody>
        </p:sp>
      </p:grpSp>
      <p:grpSp>
        <p:nvGrpSpPr>
          <p:cNvPr id="12" name="Group 9"/>
          <p:cNvGrpSpPr/>
          <p:nvPr/>
        </p:nvGrpSpPr>
        <p:grpSpPr bwMode="auto">
          <a:xfrm>
            <a:off x="671399" y="3711390"/>
            <a:ext cx="1824203" cy="593725"/>
            <a:chOff x="2400" y="1968"/>
            <a:chExt cx="1152" cy="576"/>
          </a:xfrm>
          <a:solidFill>
            <a:srgbClr val="FE5817"/>
          </a:solidFill>
          <a:effectLst/>
        </p:grpSpPr>
        <p:sp>
          <p:nvSpPr>
            <p:cNvPr id="13" name="Freeform 10"/>
            <p:cNvSpPr/>
            <p:nvPr>
              <p:custDataLst>
                <p:tags r:id="rId7"/>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grpFill/>
            <a:ln w="9525">
              <a:solidFill>
                <a:srgbClr val="FE5817"/>
              </a:solidFill>
              <a:round/>
            </a:ln>
            <a:effectLst>
              <a:outerShdw dist="35921" dir="2700000" algn="ctr" rotWithShape="0">
                <a:schemeClr val="bg2"/>
              </a:outerShdw>
            </a:effectLst>
          </p:spPr>
          <p:txBody>
            <a:bodyPr wrap="none" anchor="ctr"/>
            <a:lstStyle/>
            <a:p>
              <a:pPr defTabSz="1219200"/>
              <a:endParaRPr lang="zh-CN" altLang="en-US" sz="2400" dirty="0">
                <a:solidFill>
                  <a:prstClr val="white"/>
                </a:solidFill>
                <a:latin typeface="华文楷体" panose="02010600040101010101" charset="-122"/>
                <a:ea typeface="华文楷体" panose="02010600040101010101" charset="-122"/>
              </a:endParaRPr>
            </a:p>
          </p:txBody>
        </p:sp>
        <p:sp>
          <p:nvSpPr>
            <p:cNvPr id="14" name="Rectangle 11"/>
            <p:cNvSpPr>
              <a:spLocks noChangeArrowheads="1"/>
            </p:cNvSpPr>
            <p:nvPr>
              <p:custDataLst>
                <p:tags r:id="rId8"/>
              </p:custDataLst>
            </p:nvPr>
          </p:nvSpPr>
          <p:spPr bwMode="blackWhite">
            <a:xfrm>
              <a:off x="2440" y="2000"/>
              <a:ext cx="960" cy="496"/>
            </a:xfrm>
            <a:prstGeom prst="rect">
              <a:avLst/>
            </a:prstGeom>
            <a:grpFill/>
            <a:ln w="9525">
              <a:solidFill>
                <a:srgbClr val="FE5817"/>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080" tIns="0" rIns="5080" bIns="0" anchor="ct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defTabSz="1193800"/>
              <a:r>
                <a:rPr lang="zh-CN" altLang="en-US" sz="2135" b="1" dirty="0">
                  <a:solidFill>
                    <a:prstClr val="white"/>
                  </a:solidFill>
                  <a:latin typeface="华文楷体" panose="02010600040101010101" charset="-122"/>
                  <a:ea typeface="华文楷体" panose="02010600040101010101" charset="-122"/>
                </a:rPr>
                <a:t>主营业务</a:t>
              </a:r>
              <a:endParaRPr lang="en-US" altLang="ko-KR" sz="2135" b="1" dirty="0">
                <a:solidFill>
                  <a:prstClr val="white"/>
                </a:solidFill>
                <a:latin typeface="华文楷体" panose="02010600040101010101" charset="-122"/>
                <a:ea typeface="华文楷体" panose="02010600040101010101" charset="-122"/>
              </a:endParaRPr>
            </a:p>
          </p:txBody>
        </p:sp>
      </p:grpSp>
      <p:sp>
        <p:nvSpPr>
          <p:cNvPr id="15" name="矩形 14"/>
          <p:cNvSpPr/>
          <p:nvPr/>
        </p:nvSpPr>
        <p:spPr>
          <a:xfrm>
            <a:off x="2735627" y="1123703"/>
            <a:ext cx="8736971" cy="1209275"/>
          </a:xfrm>
          <a:prstGeom prst="rect">
            <a:avLst/>
          </a:prstGeom>
          <a:no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81000" indent="-381000" defTabSz="1219200">
              <a:buFont typeface="Arial" panose="020B0604020202020204" pitchFamily="34" charset="0"/>
              <a:buChar char="•"/>
            </a:pPr>
            <a:r>
              <a:rPr lang="zh-CN" altLang="en-US" sz="1865" dirty="0">
                <a:solidFill>
                  <a:srgbClr val="394A57"/>
                </a:solidFill>
                <a:latin typeface="华文楷体" panose="02010600040101010101" charset="-122"/>
                <a:ea typeface="华文楷体" panose="02010600040101010101" charset="-122"/>
              </a:rPr>
              <a:t>成立、风投、上市、进入竞争业务领域等重大事项（时间、规模等重要信息）</a:t>
            </a:r>
            <a:endParaRPr lang="en-US" altLang="zh-CN" sz="1865" dirty="0">
              <a:solidFill>
                <a:srgbClr val="394A57"/>
              </a:solidFill>
              <a:latin typeface="华文楷体" panose="02010600040101010101" charset="-122"/>
              <a:ea typeface="华文楷体" panose="02010600040101010101" charset="-122"/>
            </a:endParaRPr>
          </a:p>
        </p:txBody>
      </p:sp>
      <p:sp>
        <p:nvSpPr>
          <p:cNvPr id="16" name="矩形 15"/>
          <p:cNvSpPr/>
          <p:nvPr/>
        </p:nvSpPr>
        <p:spPr>
          <a:xfrm>
            <a:off x="2735627" y="2417644"/>
            <a:ext cx="8736971" cy="1209275"/>
          </a:xfrm>
          <a:prstGeom prst="rect">
            <a:avLst/>
          </a:prstGeom>
          <a:no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81000" indent="-381000" defTabSz="1219200">
              <a:buFont typeface="Arial" panose="020B0604020202020204" pitchFamily="34" charset="0"/>
              <a:buChar char="•"/>
            </a:pPr>
            <a:r>
              <a:rPr lang="zh-CN" altLang="en-US" sz="1865" dirty="0">
                <a:solidFill>
                  <a:srgbClr val="394A57"/>
                </a:solidFill>
                <a:latin typeface="华文楷体" panose="02010600040101010101" charset="-122"/>
                <a:ea typeface="华文楷体" panose="02010600040101010101" charset="-122"/>
              </a:rPr>
              <a:t>主要股东背景及持股比例、重大持股变动等重要事项</a:t>
            </a:r>
            <a:endParaRPr lang="zh-CN" altLang="en-US" sz="1865" dirty="0">
              <a:solidFill>
                <a:srgbClr val="394A57"/>
              </a:solidFill>
              <a:latin typeface="华文楷体" panose="02010600040101010101" charset="-122"/>
              <a:ea typeface="华文楷体" panose="02010600040101010101" charset="-122"/>
            </a:endParaRPr>
          </a:p>
        </p:txBody>
      </p:sp>
      <p:sp>
        <p:nvSpPr>
          <p:cNvPr id="17" name="矩形 16"/>
          <p:cNvSpPr/>
          <p:nvPr/>
        </p:nvSpPr>
        <p:spPr>
          <a:xfrm>
            <a:off x="2735627" y="3711585"/>
            <a:ext cx="8736971" cy="1209275"/>
          </a:xfrm>
          <a:prstGeom prst="rect">
            <a:avLst/>
          </a:prstGeom>
          <a:no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81000" indent="-381000" defTabSz="1219200">
              <a:buFont typeface="Arial" panose="020B0604020202020204" pitchFamily="34" charset="0"/>
              <a:buChar char="•"/>
            </a:pPr>
            <a:r>
              <a:rPr lang="zh-CN" altLang="en-US" sz="1865" dirty="0">
                <a:solidFill>
                  <a:srgbClr val="394A57"/>
                </a:solidFill>
                <a:latin typeface="华文楷体" panose="02010600040101010101" charset="-122"/>
                <a:ea typeface="华文楷体" panose="02010600040101010101" charset="-122"/>
              </a:rPr>
              <a:t>主营业务类型、业务发展路径简述</a:t>
            </a:r>
            <a:endParaRPr lang="zh-CN" altLang="en-US" sz="1865" dirty="0">
              <a:solidFill>
                <a:srgbClr val="394A57"/>
              </a:solidFill>
              <a:latin typeface="华文楷体" panose="02010600040101010101" charset="-122"/>
              <a:ea typeface="华文楷体" panose="02010600040101010101" charset="-122"/>
            </a:endParaRPr>
          </a:p>
        </p:txBody>
      </p:sp>
      <p:sp>
        <p:nvSpPr>
          <p:cNvPr id="18" name="矩形 17"/>
          <p:cNvSpPr/>
          <p:nvPr/>
        </p:nvSpPr>
        <p:spPr>
          <a:xfrm>
            <a:off x="2735755" y="5005525"/>
            <a:ext cx="8736971" cy="1209275"/>
          </a:xfrm>
          <a:prstGeom prst="rect">
            <a:avLst/>
          </a:prstGeom>
          <a:no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81000" indent="-381000" defTabSz="1219200">
              <a:buFont typeface="Arial" panose="020B0604020202020204" pitchFamily="34" charset="0"/>
              <a:buChar char="•"/>
            </a:pPr>
            <a:r>
              <a:rPr lang="zh-CN" altLang="en-US" sz="1865" dirty="0">
                <a:solidFill>
                  <a:srgbClr val="394A57"/>
                </a:solidFill>
                <a:latin typeface="华文楷体" panose="02010600040101010101" charset="-122"/>
                <a:ea typeface="华文楷体" panose="02010600040101010101" charset="-122"/>
              </a:rPr>
              <a:t>如核心或竞争领域相关的高管、专家资源、员工构成等其它重要补充信息</a:t>
            </a:r>
            <a:endParaRPr lang="zh-CN" altLang="en-US" sz="1865" dirty="0">
              <a:solidFill>
                <a:srgbClr val="394A57"/>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对象 5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494" name="think-cell Slide" r:id="rId2" imgW="12700" imgH="12700" progId="TCLayout.ActiveDocument.1">
                  <p:embed/>
                </p:oleObj>
              </mc:Choice>
              <mc:Fallback>
                <p:oleObj name="think-cell Slide" r:id="rId2" imgW="12700" imgH="12700" progId="TCLayout.ActiveDocument.1">
                  <p:embed/>
                  <p:pic>
                    <p:nvPicPr>
                      <p:cNvPr id="0" name="对象 51"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 name="Rectangle 184"/>
          <p:cNvSpPr/>
          <p:nvPr/>
        </p:nvSpPr>
        <p:spPr>
          <a:xfrm>
            <a:off x="2520175" y="1978168"/>
            <a:ext cx="9129140" cy="974107"/>
          </a:xfrm>
          <a:prstGeom prst="rect">
            <a:avLst/>
          </a:prstGeom>
          <a:solidFill>
            <a:srgbClr val="F3F3F3"/>
          </a:solidFill>
        </p:spPr>
        <p:txBody>
          <a:bodyPr wrap="square" lIns="0" tIns="89999" rIns="0" bIns="89999" anchor="ctr">
            <a:noAutofit/>
          </a:bodyPr>
          <a:lstStyle/>
          <a:p>
            <a:pPr algn="ctr" fontAlgn="base">
              <a:spcBef>
                <a:spcPct val="0"/>
              </a:spcBef>
              <a:spcAft>
                <a:spcPct val="0"/>
              </a:spcAft>
              <a:buClr>
                <a:srgbClr val="177B57"/>
              </a:buClr>
            </a:pPr>
            <a:endParaRPr lang="en-US" sz="1200" dirty="0">
              <a:solidFill>
                <a:srgbClr val="FFFFFF"/>
              </a:solidFill>
              <a:cs typeface="Arial" panose="020B0604020202020204" pitchFamily="34" charset="0"/>
            </a:endParaRPr>
          </a:p>
        </p:txBody>
      </p:sp>
      <p:sp>
        <p:nvSpPr>
          <p:cNvPr id="14" name="Rectangle 30"/>
          <p:cNvSpPr>
            <a:spLocks noChangeArrowheads="1"/>
          </p:cNvSpPr>
          <p:nvPr/>
        </p:nvSpPr>
        <p:spPr bwMode="auto">
          <a:xfrm>
            <a:off x="5648501" y="1978168"/>
            <a:ext cx="2916651" cy="974107"/>
          </a:xfrm>
          <a:prstGeom prst="rect">
            <a:avLst/>
          </a:prstGeom>
          <a:noFill/>
          <a:ln>
            <a:noFill/>
          </a:ln>
        </p:spPr>
        <p:txBody>
          <a:bodyPr vert="horz" wrap="none" lIns="91440" tIns="91440" rIns="91440" bIns="91440" numCol="1" anchor="t" anchorCtr="0" compatLnSpc="1">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323850" lvl="1" indent="-215900">
              <a:spcBef>
                <a:spcPts val="0"/>
              </a:spcBef>
              <a:spcAft>
                <a:spcPts val="0"/>
              </a:spcAft>
              <a:buClr>
                <a:schemeClr val="tx2">
                  <a:lumMod val="100000"/>
                </a:schemeClr>
              </a:buClr>
              <a:buSzPct val="100000"/>
              <a:buFont typeface="Trebuchet MS" panose="020B0603020202020204" pitchFamily="34" charset="0"/>
              <a:buChar char="•"/>
              <a:defRPr/>
            </a:pPr>
            <a:r>
              <a:rPr kumimoji="0" lang="en-US" altLang="en-US" sz="1200" strike="noStrike" cap="none" normalizeH="0" noProof="0" dirty="0" smtClean="0">
                <a:ln>
                  <a:noFill/>
                </a:ln>
                <a:solidFill>
                  <a:schemeClr val="tx1">
                    <a:lumMod val="100000"/>
                  </a:schemeClr>
                </a:solidFill>
                <a:effectLst/>
                <a:uLnTx/>
                <a:uFillTx/>
                <a:latin typeface="+mn-lt"/>
              </a:rPr>
              <a:t>XXX</a:t>
            </a:r>
            <a:endParaRPr kumimoji="0" lang="en-US" altLang="en-US" sz="1200" strike="noStrike" cap="none" normalizeH="0" noProof="0" dirty="0" smtClean="0">
              <a:ln>
                <a:noFill/>
              </a:ln>
              <a:solidFill>
                <a:schemeClr val="tx1">
                  <a:lumMod val="100000"/>
                </a:schemeClr>
              </a:solidFill>
              <a:effectLst/>
              <a:uLnTx/>
              <a:uFillTx/>
              <a:latin typeface="+mn-lt"/>
            </a:endParaRPr>
          </a:p>
        </p:txBody>
      </p:sp>
      <p:sp>
        <p:nvSpPr>
          <p:cNvPr id="15" name="Pentagon 38"/>
          <p:cNvSpPr/>
          <p:nvPr/>
        </p:nvSpPr>
        <p:spPr>
          <a:xfrm>
            <a:off x="2564338" y="1978168"/>
            <a:ext cx="2916651" cy="974107"/>
          </a:xfrm>
          <a:prstGeom prst="rect">
            <a:avLst/>
          </a:prstGeom>
          <a:noFill/>
          <a:ln w="19050">
            <a:noFill/>
          </a:ln>
        </p:spPr>
        <p:txBody>
          <a:bodyPr wrap="square" lIns="91440" tIns="91440" rIns="91440" bIns="91440" anchor="t">
            <a:noAutofit/>
          </a:bodyPr>
          <a:lstStyle/>
          <a:p>
            <a:pPr marL="323850" lvl="1" indent="-215900">
              <a:buClr>
                <a:schemeClr val="tx2">
                  <a:lumMod val="100000"/>
                </a:schemeClr>
              </a:buClr>
              <a:buSzPct val="100000"/>
              <a:buFont typeface="Trebuchet MS" panose="020B0603020202020204" pitchFamily="34" charset="0"/>
              <a:buChar char="•"/>
              <a:defRPr/>
            </a:pPr>
            <a:r>
              <a:rPr kumimoji="0" lang="en-US" altLang="en-US" sz="1200" strike="noStrike" cap="none" normalizeH="0" noProof="0" dirty="0" smtClean="0">
                <a:ln>
                  <a:noFill/>
                </a:ln>
                <a:solidFill>
                  <a:schemeClr val="tx1">
                    <a:lumMod val="100000"/>
                  </a:schemeClr>
                </a:solidFill>
                <a:effectLst/>
                <a:uLnTx/>
                <a:uFillTx/>
              </a:rPr>
              <a:t>XXXX</a:t>
            </a:r>
            <a:endParaRPr kumimoji="0" lang="en-US" altLang="en-US" sz="1200" strike="noStrike" cap="none" normalizeH="0" noProof="0" dirty="0" smtClean="0">
              <a:ln>
                <a:noFill/>
              </a:ln>
              <a:solidFill>
                <a:schemeClr val="tx1">
                  <a:lumMod val="100000"/>
                </a:schemeClr>
              </a:solidFill>
              <a:effectLst/>
              <a:uLnTx/>
              <a:uFillTx/>
            </a:endParaRPr>
          </a:p>
        </p:txBody>
      </p:sp>
      <p:sp>
        <p:nvSpPr>
          <p:cNvPr id="16" name="Rectangle 30"/>
          <p:cNvSpPr>
            <a:spLocks noChangeArrowheads="1"/>
          </p:cNvSpPr>
          <p:nvPr/>
        </p:nvSpPr>
        <p:spPr bwMode="auto">
          <a:xfrm>
            <a:off x="8732665" y="1978168"/>
            <a:ext cx="2916651" cy="974107"/>
          </a:xfrm>
          <a:prstGeom prst="rect">
            <a:avLst/>
          </a:prstGeom>
          <a:noFill/>
          <a:ln>
            <a:noFill/>
          </a:ln>
        </p:spPr>
        <p:txBody>
          <a:bodyPr vert="horz" wrap="none" lIns="91440" tIns="91440" rIns="91440" bIns="91440" numCol="1" anchor="t" anchorCtr="0" compatLnSpc="1">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323850" lvl="1" indent="-215900">
              <a:spcBef>
                <a:spcPts val="0"/>
              </a:spcBef>
              <a:spcAft>
                <a:spcPts val="0"/>
              </a:spcAft>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latin typeface="+mn-lt"/>
              </a:rPr>
              <a:t>XXX</a:t>
            </a:r>
            <a:endParaRPr kumimoji="0" lang="en-US" altLang="en-US" sz="1200" strike="noStrike" cap="none" normalizeH="0" noProof="0" dirty="0" smtClean="0">
              <a:ln>
                <a:noFill/>
              </a:ln>
              <a:solidFill>
                <a:schemeClr val="tx1">
                  <a:lumMod val="100000"/>
                </a:schemeClr>
              </a:solidFill>
              <a:effectLst/>
              <a:uLnTx/>
              <a:uFillTx/>
              <a:latin typeface="+mn-lt"/>
            </a:endParaRPr>
          </a:p>
        </p:txBody>
      </p:sp>
      <p:sp>
        <p:nvSpPr>
          <p:cNvPr id="34" name="Rectangle 147"/>
          <p:cNvSpPr/>
          <p:nvPr/>
        </p:nvSpPr>
        <p:spPr>
          <a:xfrm>
            <a:off x="480951" y="1978168"/>
            <a:ext cx="1966414" cy="974107"/>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cs typeface="+mn-ea"/>
              </a:rPr>
              <a:t>XXXXXXXXX</a:t>
            </a:r>
            <a:endParaRPr lang="en-US" altLang="zh-CN" sz="1200" b="1" dirty="0">
              <a:solidFill>
                <a:schemeClr val="bg1"/>
              </a:solidFill>
              <a:cs typeface="+mn-ea"/>
            </a:endParaRPr>
          </a:p>
          <a:p>
            <a:pPr algn="ctr"/>
            <a:r>
              <a:rPr lang="en-US" altLang="zh-CN" sz="1200" b="1" dirty="0">
                <a:solidFill>
                  <a:schemeClr val="bg1"/>
                </a:solidFill>
                <a:cs typeface="+mn-ea"/>
              </a:rPr>
              <a:t>XXXXXXXXXXXXX</a:t>
            </a:r>
            <a:endParaRPr lang="en-US" altLang="zh-CN" sz="1200" b="1" dirty="0">
              <a:solidFill>
                <a:schemeClr val="bg1"/>
              </a:solidFill>
              <a:cs typeface="+mn-ea"/>
            </a:endParaRPr>
          </a:p>
        </p:txBody>
      </p:sp>
      <p:sp>
        <p:nvSpPr>
          <p:cNvPr id="7" name="Rectangle 187"/>
          <p:cNvSpPr/>
          <p:nvPr/>
        </p:nvSpPr>
        <p:spPr>
          <a:xfrm>
            <a:off x="2520175" y="5127929"/>
            <a:ext cx="9129140" cy="974107"/>
          </a:xfrm>
          <a:prstGeom prst="rect">
            <a:avLst/>
          </a:prstGeom>
          <a:solidFill>
            <a:srgbClr val="E8E8E8"/>
          </a:solidFill>
        </p:spPr>
        <p:txBody>
          <a:bodyPr wrap="square" lIns="0" tIns="89999" rIns="0" bIns="89999" anchor="ctr">
            <a:noAutofit/>
          </a:bodyPr>
          <a:lstStyle/>
          <a:p>
            <a:pPr lvl="1"/>
            <a:endParaRPr lang="en-US" dirty="0"/>
          </a:p>
        </p:txBody>
      </p:sp>
      <p:sp>
        <p:nvSpPr>
          <p:cNvPr id="23" name="Pentagon 38"/>
          <p:cNvSpPr/>
          <p:nvPr/>
        </p:nvSpPr>
        <p:spPr>
          <a:xfrm>
            <a:off x="5648501" y="5127929"/>
            <a:ext cx="2916651" cy="974107"/>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endParaRPr>
          </a:p>
        </p:txBody>
      </p:sp>
      <p:sp>
        <p:nvSpPr>
          <p:cNvPr id="24" name="Pentagon 38"/>
          <p:cNvSpPr/>
          <p:nvPr/>
        </p:nvSpPr>
        <p:spPr>
          <a:xfrm>
            <a:off x="2564338" y="5127929"/>
            <a:ext cx="2916651" cy="974107"/>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cs typeface="Arial" panose="020B0604020202020204" pitchFamily="34" charset="0"/>
            </a:endParaRPr>
          </a:p>
        </p:txBody>
      </p:sp>
      <p:sp>
        <p:nvSpPr>
          <p:cNvPr id="25" name="Pentagon 38"/>
          <p:cNvSpPr/>
          <p:nvPr/>
        </p:nvSpPr>
        <p:spPr>
          <a:xfrm>
            <a:off x="8732665" y="5127929"/>
            <a:ext cx="2916651" cy="974107"/>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smtClean="0">
              <a:solidFill>
                <a:schemeClr val="tx1">
                  <a:lumMod val="100000"/>
                </a:schemeClr>
              </a:solidFill>
              <a:cs typeface="Arial" panose="020B0604020202020204" pitchFamily="34" charset="0"/>
            </a:endParaRPr>
          </a:p>
        </p:txBody>
      </p:sp>
      <p:sp>
        <p:nvSpPr>
          <p:cNvPr id="37" name="Rectangle 148"/>
          <p:cNvSpPr/>
          <p:nvPr/>
        </p:nvSpPr>
        <p:spPr>
          <a:xfrm>
            <a:off x="480951" y="5127929"/>
            <a:ext cx="1966414" cy="974107"/>
          </a:xfrm>
          <a:prstGeom prst="rect">
            <a:avLst/>
          </a:prstGeom>
          <a:solidFill>
            <a:srgbClr val="FE5817"/>
          </a:solidFill>
          <a:ln>
            <a:solidFill>
              <a:srgbClr val="FE5817"/>
            </a:solidFill>
          </a:ln>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27" name="Rectangle 187"/>
          <p:cNvSpPr/>
          <p:nvPr/>
        </p:nvSpPr>
        <p:spPr>
          <a:xfrm>
            <a:off x="2520175" y="3028088"/>
            <a:ext cx="9129140" cy="974107"/>
          </a:xfrm>
          <a:prstGeom prst="rect">
            <a:avLst/>
          </a:prstGeom>
          <a:solidFill>
            <a:srgbClr val="E8E8E8"/>
          </a:solidFill>
        </p:spPr>
        <p:txBody>
          <a:bodyPr wrap="square" lIns="0" tIns="89999" rIns="0" bIns="89999" anchor="t">
            <a:noAutofit/>
          </a:bodyPr>
          <a:lstStyle/>
          <a:p>
            <a:pPr lvl="1" fontAlgn="base">
              <a:buClr>
                <a:srgbClr val="177B57"/>
              </a:buClr>
            </a:pPr>
            <a:endParaRPr lang="en-US" sz="1200" i="1" dirty="0">
              <a:solidFill>
                <a:srgbClr val="FFFFFF"/>
              </a:solidFill>
              <a:cs typeface="Arial" panose="020B0604020202020204" pitchFamily="34" charset="0"/>
            </a:endParaRPr>
          </a:p>
        </p:txBody>
      </p:sp>
      <p:sp>
        <p:nvSpPr>
          <p:cNvPr id="28" name="Pentagon 38"/>
          <p:cNvSpPr/>
          <p:nvPr/>
        </p:nvSpPr>
        <p:spPr>
          <a:xfrm>
            <a:off x="5648501" y="3028088"/>
            <a:ext cx="2916651" cy="974107"/>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endParaRPr>
          </a:p>
        </p:txBody>
      </p:sp>
      <p:sp>
        <p:nvSpPr>
          <p:cNvPr id="29" name="Pentagon 38"/>
          <p:cNvSpPr/>
          <p:nvPr/>
        </p:nvSpPr>
        <p:spPr>
          <a:xfrm>
            <a:off x="2564338" y="3028088"/>
            <a:ext cx="2916651" cy="974107"/>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cs typeface="Arial" panose="020B0604020202020204" pitchFamily="34" charset="0"/>
            </a:endParaRPr>
          </a:p>
        </p:txBody>
      </p:sp>
      <p:sp>
        <p:nvSpPr>
          <p:cNvPr id="30" name="Pentagon 38"/>
          <p:cNvSpPr/>
          <p:nvPr/>
        </p:nvSpPr>
        <p:spPr>
          <a:xfrm>
            <a:off x="8732665" y="3028088"/>
            <a:ext cx="2916651" cy="974107"/>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smtClean="0">
              <a:solidFill>
                <a:schemeClr val="tx1">
                  <a:lumMod val="100000"/>
                </a:schemeClr>
              </a:solidFill>
              <a:cs typeface="Arial" panose="020B0604020202020204" pitchFamily="34" charset="0"/>
            </a:endParaRPr>
          </a:p>
        </p:txBody>
      </p:sp>
      <p:sp>
        <p:nvSpPr>
          <p:cNvPr id="31" name="Rectangle 148"/>
          <p:cNvSpPr/>
          <p:nvPr/>
        </p:nvSpPr>
        <p:spPr>
          <a:xfrm>
            <a:off x="480951" y="3028088"/>
            <a:ext cx="1966414" cy="974107"/>
          </a:xfrm>
          <a:prstGeom prst="rect">
            <a:avLst/>
          </a:prstGeom>
          <a:solidFill>
            <a:srgbClr val="FE5817"/>
          </a:solidFill>
          <a:ln>
            <a:solidFill>
              <a:srgbClr val="FE5817"/>
            </a:solidFill>
          </a:ln>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36" name="Rectangle 187"/>
          <p:cNvSpPr/>
          <p:nvPr/>
        </p:nvSpPr>
        <p:spPr>
          <a:xfrm>
            <a:off x="2520175" y="4078008"/>
            <a:ext cx="9129140" cy="974107"/>
          </a:xfrm>
          <a:prstGeom prst="rect">
            <a:avLst/>
          </a:prstGeom>
          <a:solidFill>
            <a:srgbClr val="F3F3F3"/>
          </a:solidFill>
        </p:spPr>
        <p:txBody>
          <a:bodyPr wrap="square" lIns="0" tIns="89999" rIns="0" bIns="89999" anchor="ctr">
            <a:noAutofit/>
          </a:bodyPr>
          <a:lstStyle/>
          <a:p>
            <a:pPr lvl="1"/>
            <a:endParaRPr lang="en-US" dirty="0"/>
          </a:p>
        </p:txBody>
      </p:sp>
      <p:sp>
        <p:nvSpPr>
          <p:cNvPr id="38" name="Pentagon 38"/>
          <p:cNvSpPr/>
          <p:nvPr/>
        </p:nvSpPr>
        <p:spPr>
          <a:xfrm>
            <a:off x="5648501" y="4078008"/>
            <a:ext cx="2916651" cy="974107"/>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endParaRPr>
          </a:p>
        </p:txBody>
      </p:sp>
      <p:sp>
        <p:nvSpPr>
          <p:cNvPr id="39" name="Pentagon 38"/>
          <p:cNvSpPr/>
          <p:nvPr/>
        </p:nvSpPr>
        <p:spPr>
          <a:xfrm>
            <a:off x="2564338" y="4078008"/>
            <a:ext cx="2916651" cy="974107"/>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cs typeface="Arial" panose="020B0604020202020204" pitchFamily="34" charset="0"/>
            </a:endParaRPr>
          </a:p>
        </p:txBody>
      </p:sp>
      <p:sp>
        <p:nvSpPr>
          <p:cNvPr id="42" name="Pentagon 38"/>
          <p:cNvSpPr/>
          <p:nvPr/>
        </p:nvSpPr>
        <p:spPr>
          <a:xfrm>
            <a:off x="8732665" y="4078008"/>
            <a:ext cx="2916651" cy="974107"/>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smtClean="0">
              <a:solidFill>
                <a:schemeClr val="tx1">
                  <a:lumMod val="100000"/>
                </a:schemeClr>
              </a:solidFill>
              <a:cs typeface="Arial" panose="020B0604020202020204" pitchFamily="34" charset="0"/>
            </a:endParaRPr>
          </a:p>
        </p:txBody>
      </p:sp>
      <p:sp>
        <p:nvSpPr>
          <p:cNvPr id="44" name="Rectangle 148"/>
          <p:cNvSpPr/>
          <p:nvPr/>
        </p:nvSpPr>
        <p:spPr>
          <a:xfrm>
            <a:off x="480951" y="4078008"/>
            <a:ext cx="1966414" cy="974107"/>
          </a:xfrm>
          <a:prstGeom prst="rect">
            <a:avLst/>
          </a:prstGeom>
          <a:solidFill>
            <a:srgbClr val="FE5817"/>
          </a:solidFill>
          <a:ln>
            <a:solidFill>
              <a:srgbClr val="FE5817"/>
            </a:solidFill>
          </a:ln>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10" name="ColumnHeader"/>
          <p:cNvSpPr>
            <a:spLocks noChangeArrowheads="1"/>
          </p:cNvSpPr>
          <p:nvPr/>
        </p:nvSpPr>
        <p:spPr bwMode="gray">
          <a:xfrm>
            <a:off x="5648501" y="1104523"/>
            <a:ext cx="2916651" cy="796387"/>
          </a:xfrm>
          <a:prstGeom prst="rect">
            <a:avLst/>
          </a:prstGeom>
          <a:solidFill>
            <a:schemeClr val="tx2"/>
          </a:solidFill>
          <a:ln w="9525" algn="ctr">
            <a:noFill/>
            <a:miter lim="800000"/>
            <a:headEnd type="none" w="lg" len="lg"/>
            <a:tailEnd type="none" w="lg" len="lg"/>
          </a:ln>
          <a:effectLst/>
        </p:spPr>
        <p:txBody>
          <a:bodyPr wrap="square" lIns="91439" tIns="89999" rIns="91439" bIns="45720"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11" name="ColumnHeader"/>
          <p:cNvSpPr>
            <a:spLocks noChangeArrowheads="1"/>
          </p:cNvSpPr>
          <p:nvPr/>
        </p:nvSpPr>
        <p:spPr bwMode="gray">
          <a:xfrm>
            <a:off x="2564338" y="1104523"/>
            <a:ext cx="2916651" cy="796387"/>
          </a:xfrm>
          <a:prstGeom prst="rect">
            <a:avLst/>
          </a:prstGeom>
          <a:solidFill>
            <a:schemeClr val="bg1">
              <a:lumMod val="65000"/>
            </a:schemeClr>
          </a:solidFill>
          <a:ln w="9525" algn="ctr">
            <a:noFill/>
            <a:miter lim="800000"/>
            <a:headEnd type="none" w="lg" len="lg"/>
            <a:tailEnd type="none" w="lg" len="lg"/>
          </a:ln>
          <a:effectLst/>
        </p:spPr>
        <p:txBody>
          <a:bodyPr wrap="square" lIns="91439" tIns="89999" rIns="91439"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200" b="1" i="0" u="none" strike="noStrike" kern="0" cap="none" spc="0" normalizeH="0" baseline="0" noProof="0" dirty="0" smtClean="0">
                <a:ln>
                  <a:noFill/>
                </a:ln>
                <a:solidFill>
                  <a:srgbClr val="FFFFFF"/>
                </a:solidFill>
                <a:effectLst/>
                <a:uLnTx/>
                <a:uFillTx/>
              </a:rPr>
              <a:t>XXXXXXXXX</a:t>
            </a:r>
            <a:endParaRPr kumimoji="0" lang="en-US" sz="1200" b="1" i="0" u="none" strike="noStrike" kern="0" cap="none" spc="0" normalizeH="0" baseline="0" noProof="0" dirty="0" smtClean="0">
              <a:ln>
                <a:noFill/>
              </a:ln>
              <a:solidFill>
                <a:srgbClr val="FFFFF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defRPr/>
            </a:pPr>
            <a:r>
              <a:rPr lang="en-US" sz="1200" b="1" kern="0" dirty="0" smtClean="0">
                <a:solidFill>
                  <a:srgbClr val="FFFFFF"/>
                </a:solidFill>
                <a:cs typeface="Arial" panose="020B0604020202020204" pitchFamily="34" charset="0"/>
              </a:rPr>
              <a:t>XXXXXXXXXXXXX</a:t>
            </a:r>
            <a:endParaRPr kumimoji="0" lang="en-US" sz="1200" b="0" i="0" u="none" strike="noStrike" kern="0" cap="none" spc="0" normalizeH="0" baseline="0" noProof="0" dirty="0" smtClean="0">
              <a:ln>
                <a:noFill/>
              </a:ln>
              <a:solidFill>
                <a:srgbClr val="FFFFFF"/>
              </a:solidFill>
              <a:effectLst/>
              <a:uLnTx/>
              <a:uFillTx/>
              <a:cs typeface="Arial" panose="020B0604020202020204" pitchFamily="34" charset="0"/>
            </a:endParaRPr>
          </a:p>
        </p:txBody>
      </p:sp>
      <p:sp>
        <p:nvSpPr>
          <p:cNvPr id="12" name="ColumnHeader"/>
          <p:cNvSpPr>
            <a:spLocks noChangeArrowheads="1"/>
          </p:cNvSpPr>
          <p:nvPr/>
        </p:nvSpPr>
        <p:spPr bwMode="gray">
          <a:xfrm>
            <a:off x="8732665" y="1104523"/>
            <a:ext cx="2916651" cy="796387"/>
          </a:xfrm>
          <a:prstGeom prst="rect">
            <a:avLst/>
          </a:prstGeom>
          <a:solidFill>
            <a:schemeClr val="tx2">
              <a:lumMod val="75000"/>
            </a:schemeClr>
          </a:solidFill>
          <a:ln w="9525" algn="ctr">
            <a:noFill/>
            <a:miter lim="800000"/>
            <a:headEnd type="none" w="lg" len="lg"/>
            <a:tailEnd type="none" w="lg" len="lg"/>
          </a:ln>
          <a:effectLst/>
        </p:spPr>
        <p:txBody>
          <a:bodyPr wrap="square" lIns="91439" tIns="89999" rIns="91439" bIns="45720"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40" name="Oval 161"/>
          <p:cNvSpPr/>
          <p:nvPr/>
        </p:nvSpPr>
        <p:spPr>
          <a:xfrm>
            <a:off x="2446032"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77723" tIns="76499" rIns="77723" bIns="764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1</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sp>
        <p:nvSpPr>
          <p:cNvPr id="41" name="Oval 162"/>
          <p:cNvSpPr/>
          <p:nvPr/>
        </p:nvSpPr>
        <p:spPr>
          <a:xfrm>
            <a:off x="5584319"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77723" tIns="76499" rIns="77723" bIns="764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2</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sp>
        <p:nvSpPr>
          <p:cNvPr id="43" name="Oval 163"/>
          <p:cNvSpPr/>
          <p:nvPr/>
        </p:nvSpPr>
        <p:spPr>
          <a:xfrm>
            <a:off x="8688058"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0" tIns="89999" rIns="0" bIns="899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3</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cxnSp>
        <p:nvCxnSpPr>
          <p:cNvPr id="46" name="Straight Connector 32"/>
          <p:cNvCxnSpPr/>
          <p:nvPr/>
        </p:nvCxnSpPr>
        <p:spPr>
          <a:xfrm>
            <a:off x="5550308" y="2068868"/>
            <a:ext cx="0" cy="3933580"/>
          </a:xfrm>
          <a:prstGeom prst="line">
            <a:avLst/>
          </a:prstGeom>
          <a:noFill/>
          <a:ln w="9525" cap="flat" cmpd="sng" algn="ctr">
            <a:solidFill>
              <a:srgbClr val="FFFFFF">
                <a:lumMod val="75000"/>
              </a:srgbClr>
            </a:solidFill>
            <a:prstDash val="dash"/>
          </a:ln>
          <a:effectLst/>
        </p:spPr>
      </p:cxnSp>
      <p:cxnSp>
        <p:nvCxnSpPr>
          <p:cNvPr id="48" name="Straight Connector 190"/>
          <p:cNvCxnSpPr/>
          <p:nvPr/>
        </p:nvCxnSpPr>
        <p:spPr>
          <a:xfrm>
            <a:off x="8631576" y="2068868"/>
            <a:ext cx="0" cy="3933579"/>
          </a:xfrm>
          <a:prstGeom prst="line">
            <a:avLst/>
          </a:prstGeom>
          <a:noFill/>
          <a:ln w="9525" cap="flat" cmpd="sng" algn="ctr">
            <a:solidFill>
              <a:srgbClr val="FFFFFF">
                <a:lumMod val="75000"/>
              </a:srgbClr>
            </a:solidFill>
            <a:prstDash val="dash"/>
          </a:ln>
          <a:effectLst/>
        </p:spPr>
      </p:cxnSp>
      <p:sp>
        <p:nvSpPr>
          <p:cNvPr id="35"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图表</a:t>
            </a:r>
            <a:endParaRPr lang="zh-CN" altLang="en-US" sz="2400" dirty="0">
              <a:solidFill>
                <a:prstClr val="black"/>
              </a:solidFill>
              <a:latin typeface="华文楷体" panose="02010600040101010101" charset="-122"/>
              <a:ea typeface="华文楷体" panose="02010600040101010101" charset="-122"/>
            </a:endParaRPr>
          </a:p>
        </p:txBody>
      </p:sp>
      <p:pic>
        <p:nvPicPr>
          <p:cNvPr id="49" name="图片 4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defTabSz="1219200">
              <a:spcBef>
                <a:spcPts val="0"/>
              </a:spcBef>
            </a:pPr>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r>
              <a:rPr lang="zh-CN" altLang="en-US" sz="2400" dirty="0" smtClean="0">
                <a:solidFill>
                  <a:prstClr val="black"/>
                </a:solidFill>
                <a:latin typeface="华文楷体" panose="02010600040101010101" charset="-122"/>
              </a:rPr>
              <a:t>经营</a:t>
            </a:r>
            <a:r>
              <a:rPr lang="zh-CN" altLang="en-US" sz="2400" dirty="0">
                <a:solidFill>
                  <a:prstClr val="black"/>
                </a:solidFill>
                <a:latin typeface="华文楷体" panose="02010600040101010101" charset="-122"/>
              </a:rPr>
              <a:t>情况</a:t>
            </a:r>
            <a:endParaRPr lang="zh-CN" altLang="en-US" sz="2400" dirty="0">
              <a:solidFill>
                <a:prstClr val="black"/>
              </a:solidFill>
              <a:latin typeface="华文楷体" panose="02010600040101010101" charset="-122"/>
            </a:endParaRPr>
          </a:p>
        </p:txBody>
      </p:sp>
      <p:sp>
        <p:nvSpPr>
          <p:cNvPr id="3" name="Rectangle 4"/>
          <p:cNvSpPr>
            <a:spLocks noChangeArrowheads="1"/>
          </p:cNvSpPr>
          <p:nvPr/>
        </p:nvSpPr>
        <p:spPr bwMode="auto">
          <a:xfrm>
            <a:off x="479378" y="1442152"/>
            <a:ext cx="353493" cy="4667476"/>
          </a:xfrm>
          <a:prstGeom prst="rect">
            <a:avLst/>
          </a:prstGeom>
          <a:solidFill>
            <a:srgbClr val="FE5817"/>
          </a:solidFill>
          <a:ln w="9525">
            <a:solidFill>
              <a:srgbClr val="FE5817"/>
            </a:solidFill>
            <a:miter lim="800000"/>
          </a:ln>
          <a:effectLst/>
        </p:spPr>
        <p:txBody>
          <a:bodyPr wrap="none" anchor="ctr"/>
          <a:lstStyle/>
          <a:p>
            <a:pPr defTabSz="1219200"/>
            <a:endParaRPr lang="zh-CN" altLang="en-US" sz="1865" dirty="0">
              <a:solidFill>
                <a:srgbClr val="FE5817"/>
              </a:solidFill>
              <a:latin typeface="华文楷体" panose="02010600040101010101" charset="-122"/>
              <a:ea typeface="华文楷体" panose="02010600040101010101" charset="-122"/>
            </a:endParaRPr>
          </a:p>
        </p:txBody>
      </p:sp>
      <p:sp>
        <p:nvSpPr>
          <p:cNvPr id="4" name="Rectangle 6"/>
          <p:cNvSpPr>
            <a:spLocks noChangeArrowheads="1"/>
          </p:cNvSpPr>
          <p:nvPr>
            <p:custDataLst>
              <p:tags r:id="rId1"/>
            </p:custDataLst>
          </p:nvPr>
        </p:nvSpPr>
        <p:spPr bwMode="blackWhite">
          <a:xfrm>
            <a:off x="671400" y="1722254"/>
            <a:ext cx="864093" cy="430232"/>
          </a:xfrm>
          <a:prstGeom prst="rect">
            <a:avLst/>
          </a:prstGeom>
          <a:solidFill>
            <a:schemeClr val="bg1">
              <a:lumMod val="95000"/>
            </a:schemeClr>
          </a:solidFill>
          <a:ln w="9525">
            <a:solidFill>
              <a:schemeClr val="bg1">
                <a:lumMod val="65000"/>
              </a:schemeClr>
            </a:solidFill>
            <a:miter lim="800000"/>
          </a:ln>
          <a:effectLst/>
        </p:spPr>
        <p:txBody>
          <a:bodyPr wrap="none" anchor="ctr"/>
          <a:lstStyle/>
          <a:p>
            <a:pPr defTabSz="1219200"/>
            <a:r>
              <a:rPr lang="zh-CN" altLang="en-US" sz="1865" dirty="0">
                <a:solidFill>
                  <a:schemeClr val="tx1">
                    <a:lumMod val="75000"/>
                    <a:lumOff val="25000"/>
                  </a:schemeClr>
                </a:solidFill>
                <a:latin typeface="华文楷体" panose="02010600040101010101" charset="-122"/>
                <a:ea typeface="华文楷体" panose="02010600040101010101" charset="-122"/>
              </a:rPr>
              <a:t>产品</a:t>
            </a:r>
            <a:r>
              <a:rPr lang="en-US" altLang="zh-CN" sz="1865" dirty="0">
                <a:solidFill>
                  <a:schemeClr val="tx1">
                    <a:lumMod val="75000"/>
                    <a:lumOff val="25000"/>
                  </a:schemeClr>
                </a:solidFill>
                <a:latin typeface="华文楷体" panose="02010600040101010101" charset="-122"/>
                <a:ea typeface="华文楷体" panose="02010600040101010101" charset="-122"/>
              </a:rPr>
              <a:t>1</a:t>
            </a:r>
            <a:endParaRPr lang="zh-CN" altLang="en-US" sz="1865" dirty="0">
              <a:solidFill>
                <a:schemeClr val="tx1">
                  <a:lumMod val="75000"/>
                  <a:lumOff val="25000"/>
                </a:schemeClr>
              </a:solidFill>
              <a:latin typeface="华文楷体" panose="02010600040101010101" charset="-122"/>
              <a:ea typeface="华文楷体" panose="02010600040101010101" charset="-122"/>
            </a:endParaRPr>
          </a:p>
        </p:txBody>
      </p:sp>
      <p:sp>
        <p:nvSpPr>
          <p:cNvPr id="5" name="Line 14"/>
          <p:cNvSpPr>
            <a:spLocks noChangeShapeType="1"/>
          </p:cNvSpPr>
          <p:nvPr/>
        </p:nvSpPr>
        <p:spPr bwMode="auto">
          <a:xfrm>
            <a:off x="1727515" y="1502182"/>
            <a:ext cx="1680000" cy="1807"/>
          </a:xfrm>
          <a:prstGeom prst="line">
            <a:avLst/>
          </a:prstGeom>
        </p:spPr>
        <p:style>
          <a:lnRef idx="1">
            <a:schemeClr val="accent6"/>
          </a:lnRef>
          <a:fillRef idx="0">
            <a:schemeClr val="accent6"/>
          </a:fillRef>
          <a:effectRef idx="0">
            <a:schemeClr val="accent6"/>
          </a:effectRef>
          <a:fontRef idx="minor">
            <a:schemeClr val="tx1"/>
          </a:fontRef>
        </p:style>
        <p:txBody>
          <a:bodyPr wrap="none" anchor="ctr"/>
          <a:lstStyle/>
          <a:p>
            <a:pPr defTabSz="1219200"/>
            <a:endParaRPr lang="zh-CN" altLang="en-US" sz="1865" dirty="0">
              <a:solidFill>
                <a:srgbClr val="394A57"/>
              </a:solidFill>
              <a:latin typeface="华文楷体" panose="02010600040101010101" charset="-122"/>
              <a:ea typeface="华文楷体" panose="02010600040101010101" charset="-122"/>
            </a:endParaRPr>
          </a:p>
        </p:txBody>
      </p:sp>
      <p:sp>
        <p:nvSpPr>
          <p:cNvPr id="6" name="Rectangle 15"/>
          <p:cNvSpPr>
            <a:spLocks noChangeArrowheads="1"/>
          </p:cNvSpPr>
          <p:nvPr/>
        </p:nvSpPr>
        <p:spPr bwMode="auto">
          <a:xfrm>
            <a:off x="1679511" y="1130181"/>
            <a:ext cx="1722775"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defTabSz="1193800"/>
            <a:r>
              <a:rPr lang="zh-CN" altLang="en-US" sz="1865" b="1" dirty="0">
                <a:solidFill>
                  <a:srgbClr val="FE5817"/>
                </a:solidFill>
                <a:latin typeface="华文楷体" panose="02010600040101010101" charset="-122"/>
                <a:ea typeface="华文楷体" panose="02010600040101010101" charset="-122"/>
              </a:rPr>
              <a:t>主要功能及特色</a:t>
            </a:r>
            <a:endParaRPr lang="en-US" altLang="ko-KR" sz="1865" b="1" dirty="0">
              <a:solidFill>
                <a:srgbClr val="FE5817"/>
              </a:solidFill>
              <a:latin typeface="华文楷体" panose="02010600040101010101" charset="-122"/>
              <a:ea typeface="华文楷体" panose="02010600040101010101" charset="-122"/>
            </a:endParaRPr>
          </a:p>
        </p:txBody>
      </p:sp>
      <p:sp>
        <p:nvSpPr>
          <p:cNvPr id="7" name="Rectangle 16"/>
          <p:cNvSpPr>
            <a:spLocks noChangeArrowheads="1"/>
          </p:cNvSpPr>
          <p:nvPr/>
        </p:nvSpPr>
        <p:spPr bwMode="auto">
          <a:xfrm>
            <a:off x="1681557" y="1714391"/>
            <a:ext cx="1822156" cy="861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zh-CN" altLang="en-US" sz="1800" dirty="0">
                <a:solidFill>
                  <a:srgbClr val="394A57"/>
                </a:solidFill>
                <a:latin typeface="华文楷体" panose="02010600040101010101" charset="-122"/>
                <a:ea typeface="华文楷体" panose="02010600040101010101" charset="-122"/>
              </a:rPr>
              <a:t>主要功能</a:t>
            </a:r>
            <a:endParaRPr lang="en-US" altLang="zh-CN" sz="1800" dirty="0">
              <a:solidFill>
                <a:srgbClr val="394A57"/>
              </a:solidFill>
              <a:latin typeface="华文楷体" panose="02010600040101010101" charset="-122"/>
              <a:ea typeface="华文楷体" panose="02010600040101010101" charset="-122"/>
            </a:endParaRPr>
          </a:p>
          <a:p>
            <a:pPr marL="192405" lvl="1" indent="-190500" defTabSz="1193800"/>
            <a:r>
              <a:rPr lang="zh-CN" altLang="en-US" sz="1800" dirty="0">
                <a:solidFill>
                  <a:srgbClr val="394A57"/>
                </a:solidFill>
                <a:latin typeface="华文楷体" panose="02010600040101010101" charset="-122"/>
                <a:ea typeface="华文楷体" panose="02010600040101010101" charset="-122"/>
              </a:rPr>
              <a:t>产品特色</a:t>
            </a:r>
            <a:endParaRPr lang="en-US" altLang="zh-CN" sz="1800" dirty="0">
              <a:solidFill>
                <a:srgbClr val="394A57"/>
              </a:solidFill>
              <a:latin typeface="华文楷体" panose="02010600040101010101" charset="-122"/>
              <a:ea typeface="华文楷体" panose="02010600040101010101" charset="-122"/>
            </a:endParaRPr>
          </a:p>
          <a:p>
            <a:pPr marL="192405" lvl="1" indent="-190500" defTabSz="1193800"/>
            <a:r>
              <a:rPr lang="zh-CN" altLang="en-US" sz="1800" dirty="0">
                <a:solidFill>
                  <a:srgbClr val="394A57"/>
                </a:solidFill>
                <a:latin typeface="华文楷体" panose="02010600040101010101" charset="-122"/>
                <a:ea typeface="华文楷体" panose="02010600040101010101" charset="-122"/>
              </a:rPr>
              <a:t>服务特色</a:t>
            </a:r>
            <a:r>
              <a:rPr lang="en-US" altLang="ko-KR" sz="1800" dirty="0">
                <a:solidFill>
                  <a:srgbClr val="394A57"/>
                </a:solidFill>
                <a:latin typeface="华文楷体" panose="02010600040101010101" charset="-122"/>
                <a:ea typeface="华文楷体" panose="02010600040101010101" charset="-122"/>
              </a:rPr>
              <a:t> </a:t>
            </a:r>
            <a:endParaRPr lang="en-US" altLang="ko-KR" sz="1800" dirty="0">
              <a:solidFill>
                <a:srgbClr val="394A57"/>
              </a:solidFill>
              <a:latin typeface="华文楷体" panose="02010600040101010101" charset="-122"/>
              <a:ea typeface="华文楷体" panose="02010600040101010101" charset="-122"/>
            </a:endParaRPr>
          </a:p>
        </p:txBody>
      </p:sp>
      <p:sp>
        <p:nvSpPr>
          <p:cNvPr id="8" name="Rectangle 17"/>
          <p:cNvSpPr>
            <a:spLocks noChangeArrowheads="1"/>
          </p:cNvSpPr>
          <p:nvPr/>
        </p:nvSpPr>
        <p:spPr bwMode="auto">
          <a:xfrm>
            <a:off x="1681557" y="3342273"/>
            <a:ext cx="1725588"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en-US" altLang="ko-KR" sz="1865" dirty="0">
                <a:solidFill>
                  <a:srgbClr val="394A57"/>
                </a:solidFill>
                <a:latin typeface="华文楷体" panose="02010600040101010101" charset="-122"/>
                <a:ea typeface="华文楷体" panose="02010600040101010101" charset="-122"/>
              </a:rPr>
              <a:t> </a:t>
            </a:r>
            <a:endParaRPr lang="en-US" altLang="ko-KR" sz="1865" dirty="0">
              <a:solidFill>
                <a:srgbClr val="394A57"/>
              </a:solidFill>
              <a:latin typeface="华文楷体" panose="02010600040101010101" charset="-122"/>
              <a:ea typeface="华文楷体" panose="02010600040101010101" charset="-122"/>
            </a:endParaRPr>
          </a:p>
        </p:txBody>
      </p:sp>
      <p:sp>
        <p:nvSpPr>
          <p:cNvPr id="9" name="Rectangle 18"/>
          <p:cNvSpPr>
            <a:spLocks noChangeArrowheads="1"/>
          </p:cNvSpPr>
          <p:nvPr/>
        </p:nvSpPr>
        <p:spPr bwMode="auto">
          <a:xfrm>
            <a:off x="1679510" y="4874245"/>
            <a:ext cx="1726993"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en-US" altLang="ko-KR" sz="1865" dirty="0">
                <a:solidFill>
                  <a:srgbClr val="394A57"/>
                </a:solidFill>
                <a:latin typeface="华文楷体" panose="02010600040101010101" charset="-122"/>
                <a:ea typeface="华文楷体" panose="02010600040101010101" charset="-122"/>
              </a:rPr>
              <a:t> </a:t>
            </a:r>
            <a:endParaRPr lang="en-US" altLang="ko-KR" sz="1865" dirty="0">
              <a:solidFill>
                <a:srgbClr val="394A57"/>
              </a:solidFill>
              <a:latin typeface="华文楷体" panose="02010600040101010101" charset="-122"/>
              <a:ea typeface="华文楷体" panose="02010600040101010101" charset="-122"/>
            </a:endParaRPr>
          </a:p>
        </p:txBody>
      </p:sp>
      <p:sp>
        <p:nvSpPr>
          <p:cNvPr id="10" name="Rectangle 20"/>
          <p:cNvSpPr>
            <a:spLocks noChangeArrowheads="1"/>
          </p:cNvSpPr>
          <p:nvPr/>
        </p:nvSpPr>
        <p:spPr bwMode="auto">
          <a:xfrm>
            <a:off x="3599723" y="1130181"/>
            <a:ext cx="1705435"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defTabSz="1193800"/>
            <a:r>
              <a:rPr lang="zh-CN" altLang="en-US" sz="1865" b="1" dirty="0">
                <a:solidFill>
                  <a:srgbClr val="FE5817"/>
                </a:solidFill>
                <a:latin typeface="华文楷体" panose="02010600040101010101" charset="-122"/>
                <a:ea typeface="华文楷体" panose="02010600040101010101" charset="-122"/>
              </a:rPr>
              <a:t>市场占有情况</a:t>
            </a:r>
            <a:endParaRPr lang="en-US" altLang="ko-KR" sz="1865" b="1" dirty="0">
              <a:solidFill>
                <a:srgbClr val="FE5817"/>
              </a:solidFill>
              <a:latin typeface="华文楷体" panose="02010600040101010101" charset="-122"/>
              <a:ea typeface="华文楷体" panose="02010600040101010101" charset="-122"/>
            </a:endParaRPr>
          </a:p>
        </p:txBody>
      </p:sp>
      <p:sp>
        <p:nvSpPr>
          <p:cNvPr id="11" name="Rectangle 22"/>
          <p:cNvSpPr>
            <a:spLocks noChangeArrowheads="1"/>
          </p:cNvSpPr>
          <p:nvPr/>
        </p:nvSpPr>
        <p:spPr bwMode="auto">
          <a:xfrm>
            <a:off x="3618951" y="3342273"/>
            <a:ext cx="1995991"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en-US" altLang="ko-KR" sz="1865" dirty="0">
                <a:solidFill>
                  <a:srgbClr val="394A57"/>
                </a:solidFill>
                <a:latin typeface="华文楷体" panose="02010600040101010101" charset="-122"/>
                <a:ea typeface="华文楷体" panose="02010600040101010101" charset="-122"/>
              </a:rPr>
              <a:t> </a:t>
            </a:r>
            <a:endParaRPr lang="en-US" altLang="ko-KR" sz="1865" dirty="0">
              <a:solidFill>
                <a:srgbClr val="394A57"/>
              </a:solidFill>
              <a:latin typeface="华文楷体" panose="02010600040101010101" charset="-122"/>
              <a:ea typeface="华文楷体" panose="02010600040101010101" charset="-122"/>
            </a:endParaRPr>
          </a:p>
        </p:txBody>
      </p:sp>
      <p:sp>
        <p:nvSpPr>
          <p:cNvPr id="12" name="Rectangle 23"/>
          <p:cNvSpPr>
            <a:spLocks noChangeArrowheads="1"/>
          </p:cNvSpPr>
          <p:nvPr/>
        </p:nvSpPr>
        <p:spPr bwMode="auto">
          <a:xfrm>
            <a:off x="3618951" y="4874245"/>
            <a:ext cx="1995991"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en-US" altLang="ko-KR" sz="1865" dirty="0">
                <a:solidFill>
                  <a:srgbClr val="394A57"/>
                </a:solidFill>
                <a:latin typeface="华文楷体" panose="02010600040101010101" charset="-122"/>
                <a:ea typeface="华文楷体" panose="02010600040101010101" charset="-122"/>
              </a:rPr>
              <a:t> </a:t>
            </a:r>
            <a:endParaRPr lang="en-US" altLang="ko-KR" sz="1865" dirty="0">
              <a:solidFill>
                <a:srgbClr val="394A57"/>
              </a:solidFill>
              <a:latin typeface="华文楷体" panose="02010600040101010101" charset="-122"/>
              <a:ea typeface="华文楷体" panose="02010600040101010101" charset="-122"/>
            </a:endParaRPr>
          </a:p>
        </p:txBody>
      </p:sp>
      <p:sp>
        <p:nvSpPr>
          <p:cNvPr id="13" name="Rectangle 26"/>
          <p:cNvSpPr>
            <a:spLocks noChangeArrowheads="1"/>
          </p:cNvSpPr>
          <p:nvPr/>
        </p:nvSpPr>
        <p:spPr bwMode="auto">
          <a:xfrm>
            <a:off x="5525135" y="1714390"/>
            <a:ext cx="1713327" cy="1723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zh-CN" altLang="en-US" sz="1800" dirty="0">
                <a:solidFill>
                  <a:srgbClr val="394A57"/>
                </a:solidFill>
                <a:latin typeface="华文楷体" panose="02010600040101010101" charset="-122"/>
                <a:ea typeface="华文楷体" panose="02010600040101010101" charset="-122"/>
              </a:rPr>
              <a:t>如：主要销售渠道、渠道占有率、渠道集中度、客户关系、营销手段等</a:t>
            </a:r>
            <a:endParaRPr lang="en-US" altLang="ko-KR" sz="1800" dirty="0">
              <a:solidFill>
                <a:srgbClr val="394A57"/>
              </a:solidFill>
              <a:latin typeface="华文楷体" panose="02010600040101010101" charset="-122"/>
              <a:ea typeface="华文楷体" panose="02010600040101010101" charset="-122"/>
            </a:endParaRPr>
          </a:p>
        </p:txBody>
      </p:sp>
      <p:sp>
        <p:nvSpPr>
          <p:cNvPr id="14" name="Rectangle 27"/>
          <p:cNvSpPr>
            <a:spLocks noChangeArrowheads="1"/>
          </p:cNvSpPr>
          <p:nvPr/>
        </p:nvSpPr>
        <p:spPr bwMode="auto">
          <a:xfrm>
            <a:off x="5525135" y="3342273"/>
            <a:ext cx="1680363"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en-US" altLang="ko-KR" sz="1865" dirty="0">
                <a:solidFill>
                  <a:srgbClr val="394A57"/>
                </a:solidFill>
                <a:latin typeface="华文楷体" panose="02010600040101010101" charset="-122"/>
                <a:ea typeface="华文楷体" panose="02010600040101010101" charset="-122"/>
              </a:rPr>
              <a:t> </a:t>
            </a:r>
            <a:endParaRPr lang="en-US" altLang="ko-KR" sz="1865" dirty="0">
              <a:solidFill>
                <a:srgbClr val="394A57"/>
              </a:solidFill>
              <a:latin typeface="华文楷体" panose="02010600040101010101" charset="-122"/>
              <a:ea typeface="华文楷体" panose="02010600040101010101" charset="-122"/>
            </a:endParaRPr>
          </a:p>
        </p:txBody>
      </p:sp>
      <p:sp>
        <p:nvSpPr>
          <p:cNvPr id="15" name="Rectangle 28"/>
          <p:cNvSpPr>
            <a:spLocks noChangeArrowheads="1"/>
          </p:cNvSpPr>
          <p:nvPr/>
        </p:nvSpPr>
        <p:spPr bwMode="auto">
          <a:xfrm>
            <a:off x="5525135" y="4874245"/>
            <a:ext cx="1680363"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en-US" altLang="ko-KR" sz="1865" dirty="0">
                <a:solidFill>
                  <a:srgbClr val="394A57"/>
                </a:solidFill>
                <a:latin typeface="华文楷体" panose="02010600040101010101" charset="-122"/>
                <a:ea typeface="华文楷体" panose="02010600040101010101" charset="-122"/>
              </a:rPr>
              <a:t> </a:t>
            </a:r>
            <a:endParaRPr lang="en-US" altLang="ko-KR" sz="1865" dirty="0">
              <a:solidFill>
                <a:srgbClr val="394A57"/>
              </a:solidFill>
              <a:latin typeface="华文楷体" panose="02010600040101010101" charset="-122"/>
              <a:ea typeface="华文楷体" panose="02010600040101010101" charset="-122"/>
            </a:endParaRPr>
          </a:p>
        </p:txBody>
      </p:sp>
      <p:sp>
        <p:nvSpPr>
          <p:cNvPr id="16" name="Rectangle 6"/>
          <p:cNvSpPr>
            <a:spLocks noChangeArrowheads="1"/>
          </p:cNvSpPr>
          <p:nvPr>
            <p:custDataLst>
              <p:tags r:id="rId2"/>
            </p:custDataLst>
          </p:nvPr>
        </p:nvSpPr>
        <p:spPr bwMode="blackWhite">
          <a:xfrm>
            <a:off x="671400" y="3350852"/>
            <a:ext cx="864093" cy="430232"/>
          </a:xfrm>
          <a:prstGeom prst="rect">
            <a:avLst/>
          </a:prstGeom>
          <a:solidFill>
            <a:schemeClr val="bg1">
              <a:lumMod val="95000"/>
            </a:schemeClr>
          </a:solidFill>
          <a:ln w="9525">
            <a:solidFill>
              <a:schemeClr val="bg1">
                <a:lumMod val="65000"/>
              </a:schemeClr>
            </a:solidFill>
            <a:miter lim="800000"/>
          </a:ln>
          <a:effectLst/>
        </p:spPr>
        <p:txBody>
          <a:bodyPr wrap="none" anchor="ctr"/>
          <a:lstStyle/>
          <a:p>
            <a:pPr defTabSz="1219200"/>
            <a:r>
              <a:rPr lang="zh-CN" altLang="en-US" sz="1865" dirty="0">
                <a:solidFill>
                  <a:schemeClr val="tx1">
                    <a:lumMod val="75000"/>
                    <a:lumOff val="25000"/>
                  </a:schemeClr>
                </a:solidFill>
                <a:latin typeface="华文楷体" panose="02010600040101010101" charset="-122"/>
                <a:ea typeface="华文楷体" panose="02010600040101010101" charset="-122"/>
              </a:rPr>
              <a:t>产品</a:t>
            </a:r>
            <a:r>
              <a:rPr lang="en-US" altLang="zh-CN" sz="1865" dirty="0">
                <a:solidFill>
                  <a:schemeClr val="tx1">
                    <a:lumMod val="75000"/>
                    <a:lumOff val="25000"/>
                  </a:schemeClr>
                </a:solidFill>
                <a:latin typeface="华文楷体" panose="02010600040101010101" charset="-122"/>
                <a:ea typeface="华文楷体" panose="02010600040101010101" charset="-122"/>
              </a:rPr>
              <a:t>2</a:t>
            </a:r>
            <a:endParaRPr lang="zh-CN" altLang="en-US" sz="1865" dirty="0">
              <a:solidFill>
                <a:schemeClr val="tx1">
                  <a:lumMod val="75000"/>
                  <a:lumOff val="25000"/>
                </a:schemeClr>
              </a:solidFill>
              <a:latin typeface="华文楷体" panose="02010600040101010101" charset="-122"/>
              <a:ea typeface="华文楷体" panose="02010600040101010101" charset="-122"/>
            </a:endParaRPr>
          </a:p>
        </p:txBody>
      </p:sp>
      <p:sp>
        <p:nvSpPr>
          <p:cNvPr id="17" name="Rectangle 6"/>
          <p:cNvSpPr>
            <a:spLocks noChangeArrowheads="1"/>
          </p:cNvSpPr>
          <p:nvPr>
            <p:custDataLst>
              <p:tags r:id="rId3"/>
            </p:custDataLst>
          </p:nvPr>
        </p:nvSpPr>
        <p:spPr bwMode="blackWhite">
          <a:xfrm>
            <a:off x="671400" y="4890655"/>
            <a:ext cx="864093" cy="430232"/>
          </a:xfrm>
          <a:prstGeom prst="rect">
            <a:avLst/>
          </a:prstGeom>
          <a:solidFill>
            <a:schemeClr val="bg1">
              <a:lumMod val="95000"/>
            </a:schemeClr>
          </a:solidFill>
          <a:ln w="9525">
            <a:solidFill>
              <a:schemeClr val="bg1">
                <a:lumMod val="65000"/>
              </a:schemeClr>
            </a:solidFill>
            <a:miter lim="800000"/>
          </a:ln>
          <a:effectLst/>
        </p:spPr>
        <p:txBody>
          <a:bodyPr wrap="none" anchor="ctr"/>
          <a:lstStyle/>
          <a:p>
            <a:pPr defTabSz="1219200"/>
            <a:r>
              <a:rPr lang="zh-CN" altLang="en-US" sz="1865" dirty="0">
                <a:solidFill>
                  <a:schemeClr val="tx1">
                    <a:lumMod val="75000"/>
                    <a:lumOff val="25000"/>
                  </a:schemeClr>
                </a:solidFill>
                <a:latin typeface="华文楷体" panose="02010600040101010101" charset="-122"/>
                <a:ea typeface="华文楷体" panose="02010600040101010101" charset="-122"/>
              </a:rPr>
              <a:t>产品</a:t>
            </a:r>
            <a:r>
              <a:rPr lang="en-US" altLang="zh-CN" sz="1865" dirty="0">
                <a:solidFill>
                  <a:schemeClr val="tx1">
                    <a:lumMod val="75000"/>
                    <a:lumOff val="25000"/>
                  </a:schemeClr>
                </a:solidFill>
                <a:latin typeface="华文楷体" panose="02010600040101010101" charset="-122"/>
                <a:ea typeface="华文楷体" panose="02010600040101010101" charset="-122"/>
              </a:rPr>
              <a:t>3</a:t>
            </a:r>
            <a:endParaRPr lang="zh-CN" altLang="en-US" sz="1865" dirty="0">
              <a:solidFill>
                <a:schemeClr val="tx1">
                  <a:lumMod val="75000"/>
                  <a:lumOff val="25000"/>
                </a:schemeClr>
              </a:solidFill>
              <a:latin typeface="华文楷体" panose="02010600040101010101" charset="-122"/>
              <a:ea typeface="华文楷体" panose="02010600040101010101" charset="-122"/>
            </a:endParaRPr>
          </a:p>
        </p:txBody>
      </p:sp>
      <p:sp>
        <p:nvSpPr>
          <p:cNvPr id="18" name="Line 19"/>
          <p:cNvSpPr>
            <a:spLocks noChangeShapeType="1"/>
          </p:cNvSpPr>
          <p:nvPr/>
        </p:nvSpPr>
        <p:spPr bwMode="auto">
          <a:xfrm>
            <a:off x="3634317" y="1502182"/>
            <a:ext cx="1680000" cy="2349"/>
          </a:xfrm>
          <a:prstGeom prst="line">
            <a:avLst/>
          </a:prstGeom>
        </p:spPr>
        <p:style>
          <a:lnRef idx="1">
            <a:schemeClr val="accent6"/>
          </a:lnRef>
          <a:fillRef idx="0">
            <a:schemeClr val="accent6"/>
          </a:fillRef>
          <a:effectRef idx="0">
            <a:schemeClr val="accent6"/>
          </a:effectRef>
          <a:fontRef idx="minor">
            <a:schemeClr val="tx1"/>
          </a:fontRef>
        </p:style>
        <p:txBody>
          <a:bodyPr wrap="none" anchor="ctr"/>
          <a:lstStyle/>
          <a:p>
            <a:pPr defTabSz="1219200"/>
            <a:endParaRPr lang="zh-CN" altLang="en-US" sz="1865" dirty="0">
              <a:solidFill>
                <a:srgbClr val="394A57"/>
              </a:solidFill>
              <a:latin typeface="华文楷体" panose="02010600040101010101" charset="-122"/>
              <a:ea typeface="华文楷体" panose="02010600040101010101" charset="-122"/>
            </a:endParaRPr>
          </a:p>
        </p:txBody>
      </p:sp>
      <p:sp>
        <p:nvSpPr>
          <p:cNvPr id="19" name="Line 24"/>
          <p:cNvSpPr>
            <a:spLocks noChangeShapeType="1"/>
          </p:cNvSpPr>
          <p:nvPr/>
        </p:nvSpPr>
        <p:spPr bwMode="auto">
          <a:xfrm>
            <a:off x="5558461" y="1502182"/>
            <a:ext cx="1680000" cy="2060"/>
          </a:xfrm>
          <a:prstGeom prst="line">
            <a:avLst/>
          </a:prstGeom>
        </p:spPr>
        <p:style>
          <a:lnRef idx="1">
            <a:schemeClr val="accent6"/>
          </a:lnRef>
          <a:fillRef idx="0">
            <a:schemeClr val="accent6"/>
          </a:fillRef>
          <a:effectRef idx="0">
            <a:schemeClr val="accent6"/>
          </a:effectRef>
          <a:fontRef idx="minor">
            <a:schemeClr val="tx1"/>
          </a:fontRef>
        </p:style>
        <p:txBody>
          <a:bodyPr wrap="none" anchor="ctr"/>
          <a:lstStyle/>
          <a:p>
            <a:pPr defTabSz="1219200"/>
            <a:endParaRPr lang="zh-CN" altLang="en-US" sz="1865" dirty="0">
              <a:solidFill>
                <a:srgbClr val="394A57"/>
              </a:solidFill>
              <a:latin typeface="华文楷体" panose="02010600040101010101" charset="-122"/>
              <a:ea typeface="华文楷体" panose="02010600040101010101" charset="-122"/>
            </a:endParaRPr>
          </a:p>
        </p:txBody>
      </p:sp>
      <p:sp>
        <p:nvSpPr>
          <p:cNvPr id="20" name="Rectangle 20"/>
          <p:cNvSpPr>
            <a:spLocks noChangeArrowheads="1"/>
          </p:cNvSpPr>
          <p:nvPr/>
        </p:nvSpPr>
        <p:spPr bwMode="auto">
          <a:xfrm>
            <a:off x="5519936" y="1130182"/>
            <a:ext cx="1705435"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defTabSz="1193800"/>
            <a:r>
              <a:rPr lang="zh-CN" altLang="en-US" sz="1865" b="1" dirty="0">
                <a:solidFill>
                  <a:srgbClr val="FE5817"/>
                </a:solidFill>
                <a:latin typeface="华文楷体" panose="02010600040101010101" charset="-122"/>
                <a:ea typeface="华文楷体" panose="02010600040101010101" charset="-122"/>
              </a:rPr>
              <a:t>渠道特点</a:t>
            </a:r>
            <a:endParaRPr lang="en-US" altLang="ko-KR" sz="1865" b="1" dirty="0">
              <a:solidFill>
                <a:srgbClr val="FE5817"/>
              </a:solidFill>
              <a:latin typeface="华文楷体" panose="02010600040101010101" charset="-122"/>
              <a:ea typeface="华文楷体" panose="02010600040101010101" charset="-122"/>
            </a:endParaRPr>
          </a:p>
        </p:txBody>
      </p:sp>
      <p:sp>
        <p:nvSpPr>
          <p:cNvPr id="21" name="Rectangle 26"/>
          <p:cNvSpPr>
            <a:spLocks noChangeArrowheads="1"/>
          </p:cNvSpPr>
          <p:nvPr/>
        </p:nvSpPr>
        <p:spPr bwMode="auto">
          <a:xfrm>
            <a:off x="3618952" y="1714390"/>
            <a:ext cx="1803969"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zh-CN" altLang="en-US" sz="1800" dirty="0">
                <a:solidFill>
                  <a:srgbClr val="394A57"/>
                </a:solidFill>
                <a:latin typeface="华文楷体" panose="02010600040101010101" charset="-122"/>
                <a:ea typeface="华文楷体" panose="02010600040101010101" charset="-122"/>
              </a:rPr>
              <a:t>如市场占有率、用户数、用户增量、覆盖城市数、活跃度、等</a:t>
            </a:r>
            <a:endParaRPr lang="en-US" altLang="ko-KR" sz="1800" dirty="0">
              <a:solidFill>
                <a:srgbClr val="394A57"/>
              </a:solidFill>
              <a:latin typeface="华文楷体" panose="02010600040101010101" charset="-122"/>
              <a:ea typeface="华文楷体" panose="02010600040101010101" charset="-122"/>
            </a:endParaRPr>
          </a:p>
        </p:txBody>
      </p:sp>
      <p:sp>
        <p:nvSpPr>
          <p:cNvPr id="22" name="Rectangle 26"/>
          <p:cNvSpPr>
            <a:spLocks noChangeArrowheads="1"/>
          </p:cNvSpPr>
          <p:nvPr/>
        </p:nvSpPr>
        <p:spPr bwMode="auto">
          <a:xfrm>
            <a:off x="9984433" y="1714390"/>
            <a:ext cx="1824201"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zh-CN" altLang="en-US" sz="1800" dirty="0">
                <a:solidFill>
                  <a:srgbClr val="394A57"/>
                </a:solidFill>
                <a:latin typeface="华文楷体" panose="02010600040101010101" charset="-122"/>
                <a:ea typeface="华文楷体" panose="02010600040101010101" charset="-122"/>
              </a:rPr>
              <a:t>如供应商类型、重要供应商、成本结构、单位获客成本、等</a:t>
            </a:r>
            <a:endParaRPr lang="en-US" altLang="ko-KR" sz="1800" dirty="0">
              <a:solidFill>
                <a:srgbClr val="394A57"/>
              </a:solidFill>
              <a:latin typeface="华文楷体" panose="02010600040101010101" charset="-122"/>
              <a:ea typeface="华文楷体" panose="02010600040101010101" charset="-122"/>
            </a:endParaRPr>
          </a:p>
        </p:txBody>
      </p:sp>
      <p:sp>
        <p:nvSpPr>
          <p:cNvPr id="23" name="Rectangle 27"/>
          <p:cNvSpPr>
            <a:spLocks noChangeArrowheads="1"/>
          </p:cNvSpPr>
          <p:nvPr/>
        </p:nvSpPr>
        <p:spPr bwMode="auto">
          <a:xfrm>
            <a:off x="9984432" y="3342273"/>
            <a:ext cx="2112235"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en-US" altLang="ko-KR" sz="1865" dirty="0">
                <a:solidFill>
                  <a:srgbClr val="394A57"/>
                </a:solidFill>
                <a:latin typeface="华文楷体" panose="02010600040101010101" charset="-122"/>
                <a:ea typeface="华文楷体" panose="02010600040101010101" charset="-122"/>
              </a:rPr>
              <a:t> </a:t>
            </a:r>
            <a:endParaRPr lang="en-US" altLang="ko-KR" sz="1865" dirty="0">
              <a:solidFill>
                <a:srgbClr val="394A57"/>
              </a:solidFill>
              <a:latin typeface="华文楷体" panose="02010600040101010101" charset="-122"/>
              <a:ea typeface="华文楷体" panose="02010600040101010101" charset="-122"/>
            </a:endParaRPr>
          </a:p>
        </p:txBody>
      </p:sp>
      <p:sp>
        <p:nvSpPr>
          <p:cNvPr id="24" name="Rectangle 28"/>
          <p:cNvSpPr>
            <a:spLocks noChangeArrowheads="1"/>
          </p:cNvSpPr>
          <p:nvPr/>
        </p:nvSpPr>
        <p:spPr bwMode="auto">
          <a:xfrm>
            <a:off x="9984432" y="4874245"/>
            <a:ext cx="2112235"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en-US" altLang="ko-KR" sz="1865" dirty="0">
                <a:solidFill>
                  <a:srgbClr val="394A57"/>
                </a:solidFill>
                <a:latin typeface="华文楷体" panose="02010600040101010101" charset="-122"/>
                <a:ea typeface="华文楷体" panose="02010600040101010101" charset="-122"/>
              </a:rPr>
              <a:t> </a:t>
            </a:r>
            <a:endParaRPr lang="en-US" altLang="ko-KR" sz="1865" dirty="0">
              <a:solidFill>
                <a:srgbClr val="394A57"/>
              </a:solidFill>
              <a:latin typeface="华文楷体" panose="02010600040101010101" charset="-122"/>
              <a:ea typeface="华文楷体" panose="02010600040101010101" charset="-122"/>
            </a:endParaRPr>
          </a:p>
        </p:txBody>
      </p:sp>
      <p:sp>
        <p:nvSpPr>
          <p:cNvPr id="25" name="Line 24"/>
          <p:cNvSpPr>
            <a:spLocks noChangeShapeType="1"/>
          </p:cNvSpPr>
          <p:nvPr/>
        </p:nvSpPr>
        <p:spPr bwMode="auto">
          <a:xfrm>
            <a:off x="10032624" y="1502182"/>
            <a:ext cx="1680000" cy="2060"/>
          </a:xfrm>
          <a:prstGeom prst="line">
            <a:avLst/>
          </a:prstGeom>
        </p:spPr>
        <p:style>
          <a:lnRef idx="1">
            <a:schemeClr val="accent6"/>
          </a:lnRef>
          <a:fillRef idx="0">
            <a:schemeClr val="accent6"/>
          </a:fillRef>
          <a:effectRef idx="0">
            <a:schemeClr val="accent6"/>
          </a:effectRef>
          <a:fontRef idx="minor">
            <a:schemeClr val="tx1"/>
          </a:fontRef>
        </p:style>
        <p:txBody>
          <a:bodyPr wrap="none" anchor="ctr"/>
          <a:lstStyle/>
          <a:p>
            <a:pPr defTabSz="1219200"/>
            <a:endParaRPr lang="zh-CN" altLang="en-US" sz="1865" dirty="0">
              <a:solidFill>
                <a:srgbClr val="394A57"/>
              </a:solidFill>
              <a:latin typeface="华文楷体" panose="02010600040101010101" charset="-122"/>
              <a:ea typeface="华文楷体" panose="02010600040101010101" charset="-122"/>
            </a:endParaRPr>
          </a:p>
        </p:txBody>
      </p:sp>
      <p:sp>
        <p:nvSpPr>
          <p:cNvPr id="26" name="Rectangle 20"/>
          <p:cNvSpPr>
            <a:spLocks noChangeArrowheads="1"/>
          </p:cNvSpPr>
          <p:nvPr/>
        </p:nvSpPr>
        <p:spPr bwMode="auto">
          <a:xfrm>
            <a:off x="9986233" y="1130182"/>
            <a:ext cx="1705435"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defTabSz="1193800"/>
            <a:r>
              <a:rPr lang="zh-CN" altLang="en-US" sz="1865" b="1" dirty="0">
                <a:solidFill>
                  <a:srgbClr val="FE5817"/>
                </a:solidFill>
                <a:latin typeface="华文楷体" panose="02010600040101010101" charset="-122"/>
                <a:ea typeface="华文楷体" panose="02010600040101010101" charset="-122"/>
              </a:rPr>
              <a:t>成本来源</a:t>
            </a:r>
            <a:endParaRPr lang="en-US" altLang="ko-KR" sz="1865" b="1" dirty="0">
              <a:solidFill>
                <a:srgbClr val="FE5817"/>
              </a:solidFill>
              <a:latin typeface="华文楷体" panose="02010600040101010101" charset="-122"/>
              <a:ea typeface="华文楷体" panose="02010600040101010101" charset="-122"/>
            </a:endParaRPr>
          </a:p>
        </p:txBody>
      </p:sp>
      <p:sp>
        <p:nvSpPr>
          <p:cNvPr id="27" name="Rectangle 27"/>
          <p:cNvSpPr>
            <a:spLocks noChangeArrowheads="1"/>
          </p:cNvSpPr>
          <p:nvPr/>
        </p:nvSpPr>
        <p:spPr bwMode="auto">
          <a:xfrm>
            <a:off x="7425488" y="1714390"/>
            <a:ext cx="2447563"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zh-CN" altLang="en-US" sz="1800" dirty="0">
                <a:solidFill>
                  <a:srgbClr val="394A57"/>
                </a:solidFill>
                <a:latin typeface="华文楷体" panose="02010600040101010101" charset="-122"/>
                <a:ea typeface="华文楷体" panose="02010600040101010101" charset="-122"/>
              </a:rPr>
              <a:t>如收入模式、付费方、收入规模、产品单价、股权合作规模等</a:t>
            </a:r>
            <a:endParaRPr lang="en-US" altLang="ko-KR" sz="1800" dirty="0">
              <a:solidFill>
                <a:srgbClr val="394A57"/>
              </a:solidFill>
              <a:latin typeface="华文楷体" panose="02010600040101010101" charset="-122"/>
              <a:ea typeface="华文楷体" panose="02010600040101010101" charset="-122"/>
            </a:endParaRPr>
          </a:p>
        </p:txBody>
      </p:sp>
      <p:sp>
        <p:nvSpPr>
          <p:cNvPr id="28" name="Rectangle 28"/>
          <p:cNvSpPr>
            <a:spLocks noChangeArrowheads="1"/>
          </p:cNvSpPr>
          <p:nvPr/>
        </p:nvSpPr>
        <p:spPr bwMode="auto">
          <a:xfrm>
            <a:off x="7429835" y="4874245"/>
            <a:ext cx="2443216"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en-US" altLang="ko-KR" sz="1865" dirty="0">
                <a:solidFill>
                  <a:srgbClr val="394A57"/>
                </a:solidFill>
                <a:latin typeface="华文楷体" panose="02010600040101010101" charset="-122"/>
                <a:ea typeface="华文楷体" panose="02010600040101010101" charset="-122"/>
              </a:rPr>
              <a:t> </a:t>
            </a:r>
            <a:endParaRPr lang="en-US" altLang="ko-KR" sz="1865" dirty="0">
              <a:solidFill>
                <a:srgbClr val="394A57"/>
              </a:solidFill>
              <a:latin typeface="华文楷体" panose="02010600040101010101" charset="-122"/>
              <a:ea typeface="华文楷体" panose="02010600040101010101" charset="-122"/>
            </a:endParaRPr>
          </a:p>
        </p:txBody>
      </p:sp>
      <p:sp>
        <p:nvSpPr>
          <p:cNvPr id="29" name="Line 24"/>
          <p:cNvSpPr>
            <a:spLocks noChangeShapeType="1"/>
          </p:cNvSpPr>
          <p:nvPr/>
        </p:nvSpPr>
        <p:spPr bwMode="auto">
          <a:xfrm>
            <a:off x="7441285" y="1502182"/>
            <a:ext cx="2256000" cy="2060"/>
          </a:xfrm>
          <a:prstGeom prst="line">
            <a:avLst/>
          </a:prstGeom>
          <a:ln w="19050"/>
        </p:spPr>
        <p:style>
          <a:lnRef idx="1">
            <a:schemeClr val="accent6"/>
          </a:lnRef>
          <a:fillRef idx="0">
            <a:schemeClr val="accent6"/>
          </a:fillRef>
          <a:effectRef idx="0">
            <a:schemeClr val="accent6"/>
          </a:effectRef>
          <a:fontRef idx="minor">
            <a:schemeClr val="tx1"/>
          </a:fontRef>
        </p:style>
        <p:txBody>
          <a:bodyPr wrap="none" anchor="ctr"/>
          <a:lstStyle/>
          <a:p>
            <a:pPr defTabSz="1219200"/>
            <a:endParaRPr lang="zh-CN" altLang="en-US" sz="1865" dirty="0">
              <a:solidFill>
                <a:srgbClr val="394A57"/>
              </a:solidFill>
              <a:latin typeface="华文楷体" panose="02010600040101010101" charset="-122"/>
              <a:ea typeface="华文楷体" panose="02010600040101010101" charset="-122"/>
            </a:endParaRPr>
          </a:p>
        </p:txBody>
      </p:sp>
      <p:sp>
        <p:nvSpPr>
          <p:cNvPr id="30" name="Rectangle 20"/>
          <p:cNvSpPr>
            <a:spLocks noChangeArrowheads="1"/>
          </p:cNvSpPr>
          <p:nvPr/>
        </p:nvSpPr>
        <p:spPr bwMode="auto">
          <a:xfrm>
            <a:off x="7446568" y="1130182"/>
            <a:ext cx="2153821"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defTabSz="1193800"/>
            <a:r>
              <a:rPr lang="zh-CN" altLang="en-US" sz="1865" b="1" dirty="0">
                <a:solidFill>
                  <a:srgbClr val="FE5817"/>
                </a:solidFill>
                <a:latin typeface="华文楷体" panose="02010600040101010101" charset="-122"/>
                <a:ea typeface="华文楷体" panose="02010600040101010101" charset="-122"/>
              </a:rPr>
              <a:t>盈利模式</a:t>
            </a:r>
            <a:endParaRPr lang="en-US" altLang="ko-KR" sz="1865" b="1" dirty="0">
              <a:solidFill>
                <a:srgbClr val="FE5817"/>
              </a:solidFill>
              <a:latin typeface="华文楷体" panose="02010600040101010101" charset="-122"/>
              <a:ea typeface="华文楷体" panose="02010600040101010101" charset="-122"/>
            </a:endParaRPr>
          </a:p>
        </p:txBody>
      </p:sp>
      <p:sp>
        <p:nvSpPr>
          <p:cNvPr id="31" name="Rectangle 27"/>
          <p:cNvSpPr>
            <a:spLocks noChangeArrowheads="1"/>
          </p:cNvSpPr>
          <p:nvPr/>
        </p:nvSpPr>
        <p:spPr bwMode="auto">
          <a:xfrm>
            <a:off x="7425488" y="3342273"/>
            <a:ext cx="2462933"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780"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5255" defTabSz="895350">
              <a:buSzPct val="89000"/>
              <a:buChar char="•"/>
              <a:defRPr sz="1600">
                <a:solidFill>
                  <a:schemeClr val="tx1"/>
                </a:solidFill>
                <a:latin typeface="Arial" panose="020B0604020202020204" pitchFamily="34" charset="0"/>
                <a:ea typeface="-윤고딕130" pitchFamily="18" charset="-127"/>
              </a:defRPr>
            </a:lvl4pPr>
            <a:lvl5pPr marL="582930" indent="-149225" defTabSz="895350">
              <a:buSzPct val="75000"/>
              <a:buChar char="–"/>
              <a:defRPr sz="1600">
                <a:solidFill>
                  <a:schemeClr val="tx1"/>
                </a:solidFill>
                <a:latin typeface="Arial" panose="020B0604020202020204" pitchFamily="34" charset="0"/>
                <a:ea typeface="-윤고딕130" pitchFamily="18" charset="-127"/>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192405" lvl="1" indent="-190500" defTabSz="1193800"/>
            <a:r>
              <a:rPr lang="en-US" altLang="ko-KR" sz="1865" dirty="0">
                <a:solidFill>
                  <a:srgbClr val="394A57"/>
                </a:solidFill>
                <a:latin typeface="华文楷体" panose="02010600040101010101" charset="-122"/>
                <a:ea typeface="华文楷体" panose="02010600040101010101" charset="-122"/>
              </a:rPr>
              <a:t> </a:t>
            </a:r>
            <a:endParaRPr lang="en-US" altLang="ko-KR" sz="1865" dirty="0">
              <a:solidFill>
                <a:srgbClr val="394A57"/>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defTabSz="1219200">
              <a:spcBef>
                <a:spcPts val="0"/>
              </a:spcBef>
            </a:pPr>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r>
              <a:rPr lang="zh-CN" altLang="en-US" sz="2400" dirty="0" smtClean="0">
                <a:solidFill>
                  <a:prstClr val="black"/>
                </a:solidFill>
                <a:latin typeface="华文楷体" panose="02010600040101010101" charset="-122"/>
              </a:rPr>
              <a:t>业务</a:t>
            </a:r>
            <a:r>
              <a:rPr lang="zh-CN" altLang="en-US" sz="2400" dirty="0">
                <a:solidFill>
                  <a:prstClr val="black"/>
                </a:solidFill>
                <a:latin typeface="华文楷体" panose="02010600040101010101" charset="-122"/>
              </a:rPr>
              <a:t>财务指标</a:t>
            </a:r>
            <a:endParaRPr lang="zh-CN" altLang="en-US" sz="2400" dirty="0">
              <a:solidFill>
                <a:prstClr val="black"/>
              </a:solidFill>
              <a:latin typeface="华文楷体" panose="02010600040101010101" charset="-122"/>
            </a:endParaRPr>
          </a:p>
        </p:txBody>
      </p:sp>
      <p:sp>
        <p:nvSpPr>
          <p:cNvPr id="3" name="矩形 2"/>
          <p:cNvSpPr/>
          <p:nvPr/>
        </p:nvSpPr>
        <p:spPr>
          <a:xfrm>
            <a:off x="719403" y="1194966"/>
            <a:ext cx="3648405" cy="4034980"/>
          </a:xfrm>
          <a:prstGeom prst="rect">
            <a:avLst/>
          </a:prstGeom>
          <a:no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135" dirty="0">
              <a:solidFill>
                <a:prstClr val="white"/>
              </a:solidFill>
              <a:latin typeface="华文楷体" panose="02010600040101010101" charset="-122"/>
              <a:ea typeface="华文楷体" panose="02010600040101010101" charset="-122"/>
            </a:endParaRPr>
          </a:p>
        </p:txBody>
      </p:sp>
      <p:sp>
        <p:nvSpPr>
          <p:cNvPr id="4" name="矩形 3"/>
          <p:cNvSpPr/>
          <p:nvPr/>
        </p:nvSpPr>
        <p:spPr>
          <a:xfrm>
            <a:off x="719403" y="1050949"/>
            <a:ext cx="3648405" cy="498473"/>
          </a:xfrm>
          <a:prstGeom prst="rect">
            <a:avLst/>
          </a:prstGeom>
          <a:solidFill>
            <a:srgbClr val="FE5817"/>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r>
              <a:rPr lang="zh-CN" altLang="en-US" sz="2135" dirty="0">
                <a:solidFill>
                  <a:prstClr val="white"/>
                </a:solidFill>
                <a:latin typeface="华文楷体" panose="02010600040101010101" charset="-122"/>
                <a:ea typeface="华文楷体" panose="02010600040101010101" charset="-122"/>
              </a:rPr>
              <a:t>营业收入及净利润增长</a:t>
            </a:r>
            <a:endParaRPr lang="en-US" altLang="zh-CN" sz="2135" dirty="0">
              <a:solidFill>
                <a:prstClr val="white"/>
              </a:solidFill>
              <a:latin typeface="华文楷体" panose="02010600040101010101" charset="-122"/>
              <a:ea typeface="华文楷体" panose="02010600040101010101" charset="-122"/>
            </a:endParaRPr>
          </a:p>
          <a:p>
            <a:pPr algn="ctr" defTabSz="1219200"/>
            <a:r>
              <a:rPr lang="zh-CN" altLang="en-US" sz="1600" dirty="0">
                <a:solidFill>
                  <a:prstClr val="white"/>
                </a:solidFill>
                <a:latin typeface="华文楷体" panose="02010600040101010101" charset="-122"/>
                <a:ea typeface="华文楷体" panose="02010600040101010101" charset="-122"/>
              </a:rPr>
              <a:t>（单位）</a:t>
            </a:r>
            <a:endParaRPr lang="zh-CN" altLang="en-US" sz="2135" dirty="0">
              <a:solidFill>
                <a:prstClr val="white"/>
              </a:solidFill>
              <a:latin typeface="华文楷体" panose="02010600040101010101" charset="-122"/>
              <a:ea typeface="华文楷体" panose="02010600040101010101" charset="-122"/>
            </a:endParaRPr>
          </a:p>
        </p:txBody>
      </p:sp>
      <p:graphicFrame>
        <p:nvGraphicFramePr>
          <p:cNvPr id="5" name="图表 4"/>
          <p:cNvGraphicFramePr/>
          <p:nvPr/>
        </p:nvGraphicFramePr>
        <p:xfrm>
          <a:off x="719403" y="1549422"/>
          <a:ext cx="3579568" cy="3680524"/>
        </p:xfrm>
        <a:graphic>
          <a:graphicData uri="http://schemas.openxmlformats.org/drawingml/2006/chart">
            <c:chart xmlns:c="http://schemas.openxmlformats.org/drawingml/2006/chart" xmlns:r="http://schemas.openxmlformats.org/officeDocument/2006/relationships" r:id="rId1"/>
          </a:graphicData>
        </a:graphic>
      </p:graphicFrame>
      <p:sp>
        <p:nvSpPr>
          <p:cNvPr id="6" name="矩形 5"/>
          <p:cNvSpPr/>
          <p:nvPr/>
        </p:nvSpPr>
        <p:spPr>
          <a:xfrm>
            <a:off x="726341" y="5373961"/>
            <a:ext cx="3640872" cy="864096"/>
          </a:xfrm>
          <a:prstGeom prst="rect">
            <a:avLst/>
          </a:prstGeom>
          <a:no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81000" indent="-381000" defTabSz="1219200">
              <a:buFont typeface="Arial" panose="020B0604020202020204" pitchFamily="34" charset="0"/>
              <a:buChar char="•"/>
            </a:pPr>
            <a:r>
              <a:rPr lang="zh-CN" altLang="en-US" sz="1865" dirty="0">
                <a:solidFill>
                  <a:srgbClr val="394A57"/>
                </a:solidFill>
                <a:latin typeface="Arial" panose="020B0604020202020204"/>
                <a:ea typeface="华文楷体" panose="02010600040101010101" charset="-122"/>
              </a:rPr>
              <a:t>说明</a:t>
            </a:r>
            <a:endParaRPr lang="zh-CN" altLang="en-US" sz="1865" dirty="0">
              <a:solidFill>
                <a:srgbClr val="394A57"/>
              </a:solidFill>
              <a:latin typeface="Arial" panose="020B0604020202020204"/>
              <a:ea typeface="华文楷体" panose="02010600040101010101" charset="-122"/>
            </a:endParaRPr>
          </a:p>
        </p:txBody>
      </p:sp>
      <p:sp>
        <p:nvSpPr>
          <p:cNvPr id="7" name="矩形 6"/>
          <p:cNvSpPr/>
          <p:nvPr/>
        </p:nvSpPr>
        <p:spPr>
          <a:xfrm>
            <a:off x="4619014" y="1197498"/>
            <a:ext cx="3360373" cy="4034980"/>
          </a:xfrm>
          <a:prstGeom prst="rect">
            <a:avLst/>
          </a:prstGeom>
          <a:no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135" dirty="0">
              <a:solidFill>
                <a:prstClr val="white"/>
              </a:solidFill>
              <a:latin typeface="华文楷体" panose="02010600040101010101" charset="-122"/>
              <a:ea typeface="华文楷体" panose="02010600040101010101" charset="-122"/>
            </a:endParaRPr>
          </a:p>
        </p:txBody>
      </p:sp>
      <p:sp>
        <p:nvSpPr>
          <p:cNvPr id="8" name="矩形 7"/>
          <p:cNvSpPr/>
          <p:nvPr/>
        </p:nvSpPr>
        <p:spPr>
          <a:xfrm>
            <a:off x="4619014" y="1053481"/>
            <a:ext cx="3360373" cy="498473"/>
          </a:xfrm>
          <a:prstGeom prst="rect">
            <a:avLst/>
          </a:prstGeom>
          <a:solidFill>
            <a:srgbClr val="FE5817"/>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r>
              <a:rPr lang="zh-CN" altLang="en-US" sz="2135" dirty="0">
                <a:solidFill>
                  <a:prstClr val="white"/>
                </a:solidFill>
                <a:latin typeface="华文楷体" panose="02010600040101010101" charset="-122"/>
                <a:ea typeface="华文楷体" panose="02010600040101010101" charset="-122"/>
              </a:rPr>
              <a:t>行业收入对标</a:t>
            </a:r>
            <a:endParaRPr lang="en-US" altLang="zh-CN" sz="2135" dirty="0">
              <a:solidFill>
                <a:prstClr val="white"/>
              </a:solidFill>
              <a:latin typeface="华文楷体" panose="02010600040101010101" charset="-122"/>
              <a:ea typeface="华文楷体" panose="02010600040101010101" charset="-122"/>
            </a:endParaRPr>
          </a:p>
          <a:p>
            <a:pPr algn="ctr" defTabSz="1219200"/>
            <a:r>
              <a:rPr lang="zh-CN" altLang="en-US" sz="1600" dirty="0">
                <a:solidFill>
                  <a:prstClr val="white"/>
                </a:solidFill>
                <a:latin typeface="华文楷体" panose="02010600040101010101" charset="-122"/>
                <a:ea typeface="华文楷体" panose="02010600040101010101" charset="-122"/>
              </a:rPr>
              <a:t>（单位）</a:t>
            </a:r>
            <a:endParaRPr lang="zh-CN" altLang="en-US" sz="1600" dirty="0">
              <a:solidFill>
                <a:prstClr val="white"/>
              </a:solidFill>
              <a:latin typeface="华文楷体" panose="02010600040101010101" charset="-122"/>
              <a:ea typeface="华文楷体" panose="02010600040101010101" charset="-122"/>
            </a:endParaRPr>
          </a:p>
        </p:txBody>
      </p:sp>
      <p:graphicFrame>
        <p:nvGraphicFramePr>
          <p:cNvPr id="9" name="图表 8"/>
          <p:cNvGraphicFramePr/>
          <p:nvPr/>
        </p:nvGraphicFramePr>
        <p:xfrm>
          <a:off x="4619013" y="1551954"/>
          <a:ext cx="3296971" cy="3680524"/>
        </p:xfrm>
        <a:graphic>
          <a:graphicData uri="http://schemas.openxmlformats.org/drawingml/2006/chart">
            <c:chart xmlns:c="http://schemas.openxmlformats.org/drawingml/2006/chart" xmlns:r="http://schemas.openxmlformats.org/officeDocument/2006/relationships" r:id="rId2"/>
          </a:graphicData>
        </a:graphic>
      </p:graphicFrame>
      <p:sp>
        <p:nvSpPr>
          <p:cNvPr id="10" name="矩形 9"/>
          <p:cNvSpPr/>
          <p:nvPr/>
        </p:nvSpPr>
        <p:spPr>
          <a:xfrm>
            <a:off x="4625952" y="5376493"/>
            <a:ext cx="3353435" cy="864096"/>
          </a:xfrm>
          <a:prstGeom prst="rect">
            <a:avLst/>
          </a:prstGeom>
          <a:no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81000" indent="-381000" defTabSz="1219200">
              <a:buFont typeface="Arial" panose="020B0604020202020204" pitchFamily="34" charset="0"/>
              <a:buChar char="•"/>
            </a:pPr>
            <a:r>
              <a:rPr lang="zh-CN" altLang="en-US" sz="1865" dirty="0">
                <a:solidFill>
                  <a:srgbClr val="394A57"/>
                </a:solidFill>
                <a:latin typeface="Arial" panose="020B0604020202020204"/>
                <a:ea typeface="华文楷体" panose="02010600040101010101" charset="-122"/>
              </a:rPr>
              <a:t>说明</a:t>
            </a:r>
            <a:endParaRPr lang="zh-CN" altLang="en-US" sz="1865" dirty="0">
              <a:solidFill>
                <a:srgbClr val="394A57"/>
              </a:solidFill>
              <a:latin typeface="Arial" panose="020B0604020202020204"/>
              <a:ea typeface="华文楷体" panose="02010600040101010101" charset="-122"/>
            </a:endParaRPr>
          </a:p>
        </p:txBody>
      </p:sp>
      <p:sp>
        <p:nvSpPr>
          <p:cNvPr id="11" name="矩形 10"/>
          <p:cNvSpPr/>
          <p:nvPr/>
        </p:nvSpPr>
        <p:spPr>
          <a:xfrm>
            <a:off x="8208235" y="1197499"/>
            <a:ext cx="3360373" cy="4034980"/>
          </a:xfrm>
          <a:prstGeom prst="rect">
            <a:avLst/>
          </a:prstGeom>
          <a:no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135" dirty="0">
              <a:solidFill>
                <a:prstClr val="white"/>
              </a:solidFill>
              <a:latin typeface="华文楷体" panose="02010600040101010101" charset="-122"/>
              <a:ea typeface="华文楷体" panose="02010600040101010101" charset="-122"/>
            </a:endParaRPr>
          </a:p>
        </p:txBody>
      </p:sp>
      <p:sp>
        <p:nvSpPr>
          <p:cNvPr id="12" name="矩形 11"/>
          <p:cNvSpPr/>
          <p:nvPr/>
        </p:nvSpPr>
        <p:spPr>
          <a:xfrm>
            <a:off x="8208235" y="1053482"/>
            <a:ext cx="3360373" cy="498473"/>
          </a:xfrm>
          <a:prstGeom prst="rect">
            <a:avLst/>
          </a:prstGeom>
          <a:solidFill>
            <a:srgbClr val="FE5817"/>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r>
              <a:rPr lang="zh-CN" altLang="en-US" sz="2135" dirty="0">
                <a:solidFill>
                  <a:prstClr val="white"/>
                </a:solidFill>
                <a:latin typeface="华文楷体" panose="02010600040101010101" charset="-122"/>
                <a:ea typeface="华文楷体" panose="02010600040101010101" charset="-122"/>
              </a:rPr>
              <a:t>行业毛利率对标</a:t>
            </a:r>
            <a:endParaRPr lang="en-US" altLang="zh-CN" sz="2135" dirty="0">
              <a:solidFill>
                <a:prstClr val="white"/>
              </a:solidFill>
              <a:latin typeface="华文楷体" panose="02010600040101010101" charset="-122"/>
              <a:ea typeface="华文楷体" panose="02010600040101010101" charset="-122"/>
            </a:endParaRPr>
          </a:p>
          <a:p>
            <a:pPr algn="ctr" defTabSz="1219200"/>
            <a:r>
              <a:rPr lang="zh-CN" altLang="en-US" sz="1600" dirty="0">
                <a:solidFill>
                  <a:prstClr val="white"/>
                </a:solidFill>
                <a:latin typeface="华文楷体" panose="02010600040101010101" charset="-122"/>
                <a:ea typeface="华文楷体" panose="02010600040101010101" charset="-122"/>
              </a:rPr>
              <a:t>（</a:t>
            </a:r>
            <a:r>
              <a:rPr lang="en-US" altLang="zh-CN" sz="1600" dirty="0">
                <a:solidFill>
                  <a:prstClr val="white"/>
                </a:solidFill>
                <a:latin typeface="华文楷体" panose="02010600040101010101" charset="-122"/>
                <a:ea typeface="华文楷体" panose="02010600040101010101" charset="-122"/>
              </a:rPr>
              <a:t>%</a:t>
            </a:r>
            <a:r>
              <a:rPr lang="zh-CN" altLang="en-US" sz="1600" dirty="0">
                <a:solidFill>
                  <a:prstClr val="white"/>
                </a:solidFill>
                <a:latin typeface="华文楷体" panose="02010600040101010101" charset="-122"/>
                <a:ea typeface="华文楷体" panose="02010600040101010101" charset="-122"/>
              </a:rPr>
              <a:t>）</a:t>
            </a:r>
            <a:endParaRPr lang="zh-CN" altLang="en-US" sz="1600" dirty="0">
              <a:solidFill>
                <a:prstClr val="white"/>
              </a:solidFill>
              <a:latin typeface="华文楷体" panose="02010600040101010101" charset="-122"/>
              <a:ea typeface="华文楷体" panose="02010600040101010101" charset="-122"/>
            </a:endParaRPr>
          </a:p>
        </p:txBody>
      </p:sp>
      <p:sp>
        <p:nvSpPr>
          <p:cNvPr id="13" name="矩形 12"/>
          <p:cNvSpPr/>
          <p:nvPr/>
        </p:nvSpPr>
        <p:spPr>
          <a:xfrm>
            <a:off x="8215173" y="5376495"/>
            <a:ext cx="3353435" cy="864096"/>
          </a:xfrm>
          <a:prstGeom prst="rect">
            <a:avLst/>
          </a:prstGeom>
          <a:no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81000" indent="-381000" defTabSz="1219200">
              <a:buFont typeface="Arial" panose="020B0604020202020204" pitchFamily="34" charset="0"/>
              <a:buChar char="•"/>
            </a:pPr>
            <a:r>
              <a:rPr lang="zh-CN" altLang="en-US" sz="1865" dirty="0">
                <a:solidFill>
                  <a:srgbClr val="394A57"/>
                </a:solidFill>
                <a:latin typeface="Arial" panose="020B0604020202020204"/>
                <a:ea typeface="华文楷体" panose="02010600040101010101" charset="-122"/>
              </a:rPr>
              <a:t>说明</a:t>
            </a:r>
            <a:endParaRPr lang="zh-CN" altLang="en-US" sz="1865" dirty="0">
              <a:solidFill>
                <a:srgbClr val="394A57"/>
              </a:solidFill>
              <a:latin typeface="Arial" panose="020B0604020202020204"/>
              <a:ea typeface="华文楷体" panose="02010600040101010101" charset="-122"/>
            </a:endParaRPr>
          </a:p>
        </p:txBody>
      </p:sp>
      <p:graphicFrame>
        <p:nvGraphicFramePr>
          <p:cNvPr id="14" name="图表 13"/>
          <p:cNvGraphicFramePr/>
          <p:nvPr/>
        </p:nvGraphicFramePr>
        <p:xfrm>
          <a:off x="8208235" y="1549422"/>
          <a:ext cx="3296971" cy="3680524"/>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19403" y="1016059"/>
            <a:ext cx="5088565" cy="4851071"/>
          </a:xfrm>
          <a:prstGeom prst="rect">
            <a:avLst/>
          </a:prstGeom>
          <a:solidFill>
            <a:schemeClr val="bg1">
              <a:lumMod val="95000"/>
            </a:schemeClr>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000" indent="-381000" algn="ctr" defTabSz="1219200">
              <a:buFont typeface="Arial" panose="020B0604020202020204" pitchFamily="34" charset="0"/>
              <a:buChar char="•"/>
            </a:pPr>
            <a:endParaRPr lang="zh-CN" altLang="en-US" sz="1865" dirty="0">
              <a:solidFill>
                <a:srgbClr val="394A57"/>
              </a:solidFill>
              <a:latin typeface="华文楷体" panose="02010600040101010101" charset="-122"/>
              <a:ea typeface="华文楷体" panose="02010600040101010101" charset="-122"/>
            </a:endParaRPr>
          </a:p>
        </p:txBody>
      </p:sp>
      <p:sp>
        <p:nvSpPr>
          <p:cNvPr id="3" name="矩形 2"/>
          <p:cNvSpPr/>
          <p:nvPr/>
        </p:nvSpPr>
        <p:spPr>
          <a:xfrm>
            <a:off x="719403" y="1016059"/>
            <a:ext cx="5088565" cy="434580"/>
          </a:xfrm>
          <a:prstGeom prst="rect">
            <a:avLst/>
          </a:prstGeom>
          <a:solidFill>
            <a:srgbClr val="FE5817"/>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r>
              <a:rPr lang="zh-CN" altLang="en-US" sz="2135" dirty="0">
                <a:solidFill>
                  <a:prstClr val="white"/>
                </a:solidFill>
                <a:latin typeface="华文楷体" panose="02010600040101010101" charset="-122"/>
                <a:ea typeface="华文楷体" panose="02010600040101010101" charset="-122"/>
              </a:rPr>
              <a:t>竞争优势</a:t>
            </a:r>
            <a:endParaRPr lang="zh-CN" altLang="en-US" sz="2135" dirty="0">
              <a:solidFill>
                <a:prstClr val="white"/>
              </a:solidFill>
              <a:latin typeface="华文楷体" panose="02010600040101010101" charset="-122"/>
              <a:ea typeface="华文楷体" panose="02010600040101010101" charset="-122"/>
            </a:endParaRPr>
          </a:p>
        </p:txBody>
      </p:sp>
      <p:sp>
        <p:nvSpPr>
          <p:cNvPr id="4" name="矩形 3"/>
          <p:cNvSpPr/>
          <p:nvPr/>
        </p:nvSpPr>
        <p:spPr>
          <a:xfrm>
            <a:off x="6144006" y="1016058"/>
            <a:ext cx="5088565" cy="4851071"/>
          </a:xfrm>
          <a:prstGeom prst="rect">
            <a:avLst/>
          </a:prstGeom>
          <a:solidFill>
            <a:schemeClr val="bg1">
              <a:lumMod val="95000"/>
            </a:schemeClr>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000" indent="-381000" algn="ctr" defTabSz="1219200">
              <a:buFont typeface="Arial" panose="020B0604020202020204" pitchFamily="34" charset="0"/>
              <a:buChar char="•"/>
            </a:pPr>
            <a:endParaRPr lang="zh-CN" altLang="en-US" sz="1865" dirty="0">
              <a:solidFill>
                <a:srgbClr val="394A57"/>
              </a:solidFill>
              <a:latin typeface="华文楷体" panose="02010600040101010101" charset="-122"/>
              <a:ea typeface="华文楷体" panose="02010600040101010101" charset="-122"/>
            </a:endParaRPr>
          </a:p>
        </p:txBody>
      </p:sp>
      <p:sp>
        <p:nvSpPr>
          <p:cNvPr id="5" name="矩形 4"/>
          <p:cNvSpPr/>
          <p:nvPr/>
        </p:nvSpPr>
        <p:spPr>
          <a:xfrm>
            <a:off x="6144006" y="1016058"/>
            <a:ext cx="5088565" cy="434580"/>
          </a:xfrm>
          <a:prstGeom prst="rect">
            <a:avLst/>
          </a:prstGeom>
          <a:solidFill>
            <a:srgbClr val="FE5817"/>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r>
              <a:rPr lang="zh-CN" altLang="en-US" sz="2135" dirty="0">
                <a:solidFill>
                  <a:prstClr val="white"/>
                </a:solidFill>
                <a:latin typeface="华文楷体" panose="02010600040101010101" charset="-122"/>
                <a:ea typeface="华文楷体" panose="02010600040101010101" charset="-122"/>
              </a:rPr>
              <a:t>竞争劣势</a:t>
            </a:r>
            <a:endParaRPr lang="zh-CN" altLang="en-US" sz="2135" dirty="0">
              <a:solidFill>
                <a:prstClr val="white"/>
              </a:solidFill>
              <a:latin typeface="华文楷体" panose="02010600040101010101" charset="-122"/>
              <a:ea typeface="华文楷体" panose="02010600040101010101" charset="-122"/>
            </a:endParaRPr>
          </a:p>
        </p:txBody>
      </p:sp>
      <p:sp>
        <p:nvSpPr>
          <p:cNvPr id="6" name="上箭头 5"/>
          <p:cNvSpPr/>
          <p:nvPr/>
        </p:nvSpPr>
        <p:spPr>
          <a:xfrm>
            <a:off x="4895867" y="5000407"/>
            <a:ext cx="864096" cy="866628"/>
          </a:xfrm>
          <a:prstGeom prst="upArrow">
            <a:avLst/>
          </a:prstGeom>
          <a:solidFill>
            <a:srgbClr val="394A57"/>
          </a:solidFill>
          <a:ln>
            <a:solidFill>
              <a:srgbClr val="394A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400">
              <a:solidFill>
                <a:prstClr val="white"/>
              </a:solidFill>
              <a:latin typeface="Arial" panose="020B0604020202020204"/>
              <a:ea typeface="华文楷体" panose="02010600040101010101" charset="-122"/>
            </a:endParaRPr>
          </a:p>
        </p:txBody>
      </p:sp>
      <p:sp>
        <p:nvSpPr>
          <p:cNvPr id="7" name="下箭头 6"/>
          <p:cNvSpPr/>
          <p:nvPr/>
        </p:nvSpPr>
        <p:spPr>
          <a:xfrm>
            <a:off x="6192011" y="5435082"/>
            <a:ext cx="912101" cy="914633"/>
          </a:xfrm>
          <a:prstGeom prst="downArrow">
            <a:avLst/>
          </a:prstGeom>
          <a:solidFill>
            <a:srgbClr val="394A57"/>
          </a:solidFill>
          <a:ln>
            <a:solidFill>
              <a:srgbClr val="394A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400">
              <a:solidFill>
                <a:prstClr val="white"/>
              </a:solidFill>
              <a:latin typeface="Arial" panose="020B0604020202020204"/>
              <a:ea typeface="华文楷体" panose="02010600040101010101" charset="-122"/>
            </a:endParaRPr>
          </a:p>
        </p:txBody>
      </p:sp>
      <p:sp>
        <p:nvSpPr>
          <p:cNvPr id="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defTabSz="1219200">
              <a:spcBef>
                <a:spcPts val="0"/>
              </a:spcBef>
            </a:pPr>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r>
              <a:rPr lang="zh-CN" altLang="en-US" sz="2400" dirty="0">
                <a:solidFill>
                  <a:prstClr val="black"/>
                </a:solidFill>
                <a:latin typeface="华文楷体" panose="02010600040101010101" charset="-122"/>
              </a:rPr>
              <a:t>竞争优劣势分析</a:t>
            </a:r>
            <a:r>
              <a:rPr lang="zh-CN" altLang="en-US" sz="2400" dirty="0" smtClean="0">
                <a:solidFill>
                  <a:prstClr val="black"/>
                </a:solidFill>
                <a:latin typeface="华文楷体" panose="02010600040101010101" charset="-122"/>
              </a:rPr>
              <a:t>总结</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4827338" y="128725"/>
            <a:ext cx="506372" cy="908824"/>
          </a:xfrm>
          <a:prstGeom prst="rect">
            <a:avLst/>
          </a:prstGeom>
          <a:solidFill>
            <a:schemeClr val="bg1"/>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基本信息</a:t>
            </a:r>
            <a:endParaRPr kumimoji="0" lang="zh-CN" altLang="en-US" sz="14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cs"/>
            </a:endParaRPr>
          </a:p>
        </p:txBody>
      </p:sp>
      <p:sp>
        <p:nvSpPr>
          <p:cNvPr id="7" name="矩形 6"/>
          <p:cNvSpPr/>
          <p:nvPr/>
        </p:nvSpPr>
        <p:spPr>
          <a:xfrm>
            <a:off x="5333710" y="125832"/>
            <a:ext cx="6242939" cy="908824"/>
          </a:xfrm>
          <a:prstGeom prst="rect">
            <a:avLst/>
          </a:prstGeom>
          <a:no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4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成立时间：</a:t>
            </a:r>
            <a:r>
              <a:rPr kumimoji="0" lang="en-US" altLang="zh-CN" sz="1400" b="0" i="0" u="none" strike="noStrike" kern="1200" cap="none" spc="0" normalizeH="0" baseline="0" noProof="0" dirty="0" err="1" smtClean="0">
                <a:ln>
                  <a:noFill/>
                </a:ln>
                <a:solidFill>
                  <a:prstClr val="black"/>
                </a:solidFill>
                <a:effectLst/>
                <a:uLnTx/>
                <a:uFillTx/>
                <a:latin typeface="华文楷体" panose="02010600040101010101" charset="-122"/>
                <a:ea typeface="华文楷体" panose="02010600040101010101" charset="-122"/>
                <a:cs typeface="+mn-cs"/>
              </a:rPr>
              <a:t>xxxx</a:t>
            </a:r>
            <a:r>
              <a:rPr kumimoji="0" lang="zh-CN" altLang="zh-CN"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年</a:t>
            </a:r>
            <a:r>
              <a:rPr kumimoji="0" lang="en-US" altLang="zh-CN"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        </a:t>
            </a:r>
            <a:r>
              <a:rPr kumimoji="0" lang="en-US" altLang="zh-CN" sz="14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zh-CN" sz="14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注册资本</a:t>
            </a:r>
            <a:r>
              <a:rPr kumimoji="0" lang="zh-CN" altLang="en-US" sz="14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en-US" altLang="zh-CN" sz="1400" b="0" i="0" u="none" strike="noStrike" kern="1200" cap="none" spc="0" normalizeH="0" baseline="0" noProof="0" dirty="0" err="1" smtClean="0">
                <a:ln>
                  <a:noFill/>
                </a:ln>
                <a:solidFill>
                  <a:prstClr val="black"/>
                </a:solidFill>
                <a:effectLst/>
                <a:uLnTx/>
                <a:uFillTx/>
                <a:latin typeface="华文楷体" panose="02010600040101010101" charset="-122"/>
                <a:ea typeface="华文楷体" panose="02010600040101010101" charset="-122"/>
                <a:cs typeface="+mn-cs"/>
              </a:rPr>
              <a:t>xxxx</a:t>
            </a:r>
            <a:r>
              <a:rPr kumimoji="0" lang="zh-CN" altLang="zh-CN"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万元</a:t>
            </a:r>
            <a:endParaRPr kumimoji="0" lang="en-US" altLang="zh-CN"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4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主营业务：</a:t>
            </a:r>
            <a:r>
              <a:rPr kumimoji="0" lang="en-US" altLang="zh-CN" sz="1400" b="1" i="0" u="none" strike="noStrike" kern="1200" cap="none" spc="0" normalizeH="0" baseline="0" noProof="0" dirty="0" err="1" smtClean="0">
                <a:ln>
                  <a:noFill/>
                </a:ln>
                <a:solidFill>
                  <a:prstClr val="black"/>
                </a:solidFill>
                <a:effectLst/>
                <a:uLnTx/>
                <a:uFillTx/>
                <a:latin typeface="华文楷体" panose="02010600040101010101" charset="-122"/>
                <a:ea typeface="华文楷体" panose="02010600040101010101" charset="-122"/>
                <a:cs typeface="+mn-cs"/>
              </a:rPr>
              <a:t>xxxx</a:t>
            </a:r>
            <a:endParaRPr kumimoji="0" lang="en-US" altLang="zh-CN" sz="14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40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核心产品</a:t>
            </a:r>
            <a:r>
              <a:rPr kumimoji="0" lang="zh-CN" altLang="en-US" sz="14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en-US" altLang="zh-CN" sz="1400" b="1" i="0" u="none" strike="noStrike" kern="1200" cap="none" spc="0" normalizeH="0" baseline="0" noProof="0" dirty="0" err="1" smtClean="0">
                <a:ln>
                  <a:noFill/>
                </a:ln>
                <a:solidFill>
                  <a:prstClr val="black"/>
                </a:solidFill>
                <a:effectLst/>
                <a:uLnTx/>
                <a:uFillTx/>
                <a:latin typeface="华文楷体" panose="02010600040101010101" charset="-122"/>
                <a:ea typeface="华文楷体" panose="02010600040101010101" charset="-122"/>
                <a:cs typeface="+mn-cs"/>
              </a:rPr>
              <a:t>xxxx</a:t>
            </a:r>
            <a:endParaRPr kumimoji="0" lang="zh-CN" altLang="en-US" sz="14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grpSp>
        <p:nvGrpSpPr>
          <p:cNvPr id="37" name="组合 36"/>
          <p:cNvGrpSpPr/>
          <p:nvPr/>
        </p:nvGrpSpPr>
        <p:grpSpPr>
          <a:xfrm>
            <a:off x="353683" y="2774971"/>
            <a:ext cx="3260324" cy="3702662"/>
            <a:chOff x="3718847" y="1651085"/>
            <a:chExt cx="3260324" cy="3702662"/>
          </a:xfrm>
        </p:grpSpPr>
        <p:sp>
          <p:nvSpPr>
            <p:cNvPr id="27" name="矩形 26"/>
            <p:cNvSpPr/>
            <p:nvPr/>
          </p:nvSpPr>
          <p:spPr>
            <a:xfrm>
              <a:off x="3718847" y="1891018"/>
              <a:ext cx="3134623" cy="3462729"/>
            </a:xfrm>
            <a:prstGeom prst="rect">
              <a:avLst/>
            </a:prstGeom>
            <a:solidFill>
              <a:schemeClr val="bg1"/>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等线" panose="02010600030101010101" charset="-122"/>
                <a:ea typeface="等线" panose="02010600030101010101" charset="-122"/>
                <a:cs typeface="+mn-cs"/>
              </a:endParaRPr>
            </a:p>
          </p:txBody>
        </p:sp>
        <p:sp>
          <p:nvSpPr>
            <p:cNvPr id="13" name="矩形 12"/>
            <p:cNvSpPr/>
            <p:nvPr/>
          </p:nvSpPr>
          <p:spPr>
            <a:xfrm>
              <a:off x="3718847" y="1651085"/>
              <a:ext cx="3134623" cy="247650"/>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财务信息                                    </a:t>
              </a:r>
              <a:r>
                <a:rPr kumimoji="0" lang="zh-CN" altLang="en-US" sz="8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单位：亿元</a:t>
              </a:r>
              <a:endParaRPr kumimoji="0" lang="zh-CN" altLang="en-US" sz="8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graphicFrame>
          <p:nvGraphicFramePr>
            <p:cNvPr id="21" name="图表 20"/>
            <p:cNvGraphicFramePr/>
            <p:nvPr/>
          </p:nvGraphicFramePr>
          <p:xfrm>
            <a:off x="4065881" y="3950202"/>
            <a:ext cx="2880000" cy="540000"/>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4" name="图表 13"/>
            <p:cNvGraphicFramePr/>
            <p:nvPr/>
          </p:nvGraphicFramePr>
          <p:xfrm>
            <a:off x="4099170" y="3064960"/>
            <a:ext cx="2880000" cy="540000"/>
          </p:xfrm>
          <a:graphic>
            <a:graphicData uri="http://schemas.openxmlformats.org/drawingml/2006/chart">
              <c:chart xmlns:c="http://schemas.openxmlformats.org/drawingml/2006/chart" xmlns:r="http://schemas.openxmlformats.org/officeDocument/2006/relationships" r:id="rId2"/>
            </a:graphicData>
          </a:graphic>
        </p:graphicFrame>
        <p:sp>
          <p:nvSpPr>
            <p:cNvPr id="15" name="矩形 14"/>
            <p:cNvSpPr/>
            <p:nvPr/>
          </p:nvSpPr>
          <p:spPr>
            <a:xfrm>
              <a:off x="3811258" y="2009776"/>
              <a:ext cx="291680" cy="74721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总资产</a:t>
              </a:r>
              <a:endParaRPr kumimoji="0" lang="zh-CN" altLang="en-US" sz="12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graphicFrame>
          <p:nvGraphicFramePr>
            <p:cNvPr id="19" name="图表 18"/>
            <p:cNvGraphicFramePr/>
            <p:nvPr/>
          </p:nvGraphicFramePr>
          <p:xfrm>
            <a:off x="4099171" y="2254248"/>
            <a:ext cx="2880000" cy="540000"/>
          </p:xfrm>
          <a:graphic>
            <a:graphicData uri="http://schemas.openxmlformats.org/drawingml/2006/chart">
              <c:chart xmlns:c="http://schemas.openxmlformats.org/drawingml/2006/chart" xmlns:r="http://schemas.openxmlformats.org/officeDocument/2006/relationships" r:id="rId3"/>
            </a:graphicData>
          </a:graphic>
        </p:graphicFrame>
        <p:sp>
          <p:nvSpPr>
            <p:cNvPr id="22" name="矩形 21"/>
            <p:cNvSpPr/>
            <p:nvPr/>
          </p:nvSpPr>
          <p:spPr>
            <a:xfrm>
              <a:off x="3807491" y="3690829"/>
              <a:ext cx="291680" cy="74721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营业收入</a:t>
              </a:r>
              <a:endParaRPr kumimoji="0" lang="zh-CN" altLang="en-US" sz="12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23" name="矩形 22"/>
            <p:cNvSpPr/>
            <p:nvPr/>
          </p:nvSpPr>
          <p:spPr>
            <a:xfrm>
              <a:off x="3811258" y="2844218"/>
              <a:ext cx="291680" cy="74721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总负债</a:t>
              </a:r>
              <a:endParaRPr kumimoji="0" lang="zh-CN" altLang="en-US" sz="12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graphicFrame>
          <p:nvGraphicFramePr>
            <p:cNvPr id="25" name="图表 24"/>
            <p:cNvGraphicFramePr/>
            <p:nvPr/>
          </p:nvGraphicFramePr>
          <p:xfrm>
            <a:off x="4099170" y="4733844"/>
            <a:ext cx="2880000" cy="540000"/>
          </p:xfrm>
          <a:graphic>
            <a:graphicData uri="http://schemas.openxmlformats.org/drawingml/2006/chart">
              <c:chart xmlns:c="http://schemas.openxmlformats.org/drawingml/2006/chart" xmlns:r="http://schemas.openxmlformats.org/officeDocument/2006/relationships" r:id="rId4"/>
            </a:graphicData>
          </a:graphic>
        </p:graphicFrame>
        <p:sp>
          <p:nvSpPr>
            <p:cNvPr id="26" name="矩形 25"/>
            <p:cNvSpPr/>
            <p:nvPr/>
          </p:nvSpPr>
          <p:spPr>
            <a:xfrm>
              <a:off x="3807490" y="4537440"/>
              <a:ext cx="291680" cy="74721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rPr>
                <a:t>净利润</a:t>
              </a:r>
              <a:endParaRPr kumimoji="0" lang="zh-CN" altLang="en-US" sz="12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cxnSp>
          <p:nvCxnSpPr>
            <p:cNvPr id="29" name="直接箭头连接符 28"/>
            <p:cNvCxnSpPr/>
            <p:nvPr/>
          </p:nvCxnSpPr>
          <p:spPr>
            <a:xfrm flipV="1">
              <a:off x="4464050" y="2190750"/>
              <a:ext cx="1377950" cy="634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p:nvPr/>
          </p:nvCxnSpPr>
          <p:spPr>
            <a:xfrm flipV="1">
              <a:off x="4464050" y="3008785"/>
              <a:ext cx="1377950" cy="634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p:nvPr/>
          </p:nvCxnSpPr>
          <p:spPr>
            <a:xfrm flipV="1">
              <a:off x="4464050" y="3824729"/>
              <a:ext cx="1377950" cy="634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p:nvPr/>
          </p:nvCxnSpPr>
          <p:spPr>
            <a:xfrm flipV="1">
              <a:off x="4464050" y="4647586"/>
              <a:ext cx="1377950" cy="634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文本框 32"/>
            <p:cNvSpPr txBox="1"/>
            <p:nvPr/>
          </p:nvSpPr>
          <p:spPr>
            <a:xfrm>
              <a:off x="4910535" y="2039711"/>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err="1" smtClean="0">
                  <a:ln>
                    <a:noFill/>
                  </a:ln>
                  <a:solidFill>
                    <a:srgbClr val="FE5817"/>
                  </a:solidFill>
                  <a:effectLst/>
                  <a:uLnTx/>
                  <a:uFillTx/>
                  <a:latin typeface="华文楷体" panose="02010600040101010101" charset="-122"/>
                  <a:ea typeface="华文楷体" panose="02010600040101010101" charset="-122"/>
                  <a:cs typeface="+mn-cs"/>
                </a:rPr>
                <a:t>x</a:t>
              </a:r>
              <a:r>
                <a:rPr kumimoji="0" lang="en-US" altLang="zh-CN" sz="1000" b="1" i="0" u="none" strike="noStrike" kern="1200" cap="none" spc="0" normalizeH="0" baseline="0" noProof="0" dirty="0" err="1">
                  <a:ln>
                    <a:noFill/>
                  </a:ln>
                  <a:solidFill>
                    <a:srgbClr val="FE5817"/>
                  </a:solidFill>
                  <a:effectLst/>
                  <a:uLnTx/>
                  <a:uFillTx/>
                  <a:latin typeface="华文楷体" panose="02010600040101010101" charset="-122"/>
                  <a:ea typeface="华文楷体" panose="02010600040101010101" charset="-122"/>
                  <a:cs typeface="+mn-cs"/>
                </a:rPr>
                <a:t>'x</a:t>
              </a:r>
              <a:r>
                <a:rPr kumimoji="0" lang="en-US" altLang="zh-CN" sz="10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a:t>
              </a:r>
              <a:endParaRPr kumimoji="0" lang="zh-CN" altLang="en-US" sz="1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cs"/>
              </a:endParaRPr>
            </a:p>
          </p:txBody>
        </p:sp>
        <p:sp>
          <p:nvSpPr>
            <p:cNvPr id="34" name="文本框 33"/>
            <p:cNvSpPr txBox="1"/>
            <p:nvPr/>
          </p:nvSpPr>
          <p:spPr>
            <a:xfrm>
              <a:off x="4910535" y="2843287"/>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err="1" smtClean="0">
                  <a:ln>
                    <a:noFill/>
                  </a:ln>
                  <a:solidFill>
                    <a:srgbClr val="FE5817"/>
                  </a:solidFill>
                  <a:effectLst/>
                  <a:uLnTx/>
                  <a:uFillTx/>
                  <a:latin typeface="华文楷体" panose="02010600040101010101" charset="-122"/>
                  <a:ea typeface="华文楷体" panose="02010600040101010101" charset="-122"/>
                  <a:cs typeface="+mn-cs"/>
                </a:rPr>
                <a:t>x</a:t>
              </a:r>
              <a:r>
                <a:rPr kumimoji="0" lang="en-US" altLang="zh-CN" sz="1000" b="1" i="0" u="none" strike="noStrike" kern="1200" cap="none" spc="0" normalizeH="0" baseline="0" noProof="0" dirty="0" err="1">
                  <a:ln>
                    <a:noFill/>
                  </a:ln>
                  <a:solidFill>
                    <a:srgbClr val="FE5817"/>
                  </a:solidFill>
                  <a:effectLst/>
                  <a:uLnTx/>
                  <a:uFillTx/>
                  <a:latin typeface="华文楷体" panose="02010600040101010101" charset="-122"/>
                  <a:ea typeface="华文楷体" panose="02010600040101010101" charset="-122"/>
                  <a:cs typeface="+mn-cs"/>
                </a:rPr>
                <a:t>'x</a:t>
              </a:r>
              <a:r>
                <a:rPr kumimoji="0" lang="en-US" altLang="zh-CN" sz="10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a:t>
              </a:r>
              <a:endParaRPr kumimoji="0" lang="zh-CN" altLang="en-US" sz="1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cs"/>
              </a:endParaRPr>
            </a:p>
          </p:txBody>
        </p:sp>
        <p:sp>
          <p:nvSpPr>
            <p:cNvPr id="35" name="文本框 34"/>
            <p:cNvSpPr txBox="1"/>
            <p:nvPr/>
          </p:nvSpPr>
          <p:spPr>
            <a:xfrm>
              <a:off x="4910535" y="3656743"/>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err="1" smtClean="0">
                  <a:ln>
                    <a:noFill/>
                  </a:ln>
                  <a:solidFill>
                    <a:srgbClr val="FE5817"/>
                  </a:solidFill>
                  <a:effectLst/>
                  <a:uLnTx/>
                  <a:uFillTx/>
                  <a:latin typeface="华文楷体" panose="02010600040101010101" charset="-122"/>
                  <a:ea typeface="华文楷体" panose="02010600040101010101" charset="-122"/>
                  <a:cs typeface="+mn-cs"/>
                </a:rPr>
                <a:t>x</a:t>
              </a:r>
              <a:r>
                <a:rPr kumimoji="0" lang="en-US" altLang="zh-CN" sz="1000" b="1" i="0" u="none" strike="noStrike" kern="1200" cap="none" spc="0" normalizeH="0" baseline="0" noProof="0" dirty="0" err="1">
                  <a:ln>
                    <a:noFill/>
                  </a:ln>
                  <a:solidFill>
                    <a:srgbClr val="FE5817"/>
                  </a:solidFill>
                  <a:effectLst/>
                  <a:uLnTx/>
                  <a:uFillTx/>
                  <a:latin typeface="华文楷体" panose="02010600040101010101" charset="-122"/>
                  <a:ea typeface="华文楷体" panose="02010600040101010101" charset="-122"/>
                  <a:cs typeface="+mn-cs"/>
                </a:rPr>
                <a:t>'x</a:t>
              </a:r>
              <a:r>
                <a:rPr kumimoji="0" lang="en-US" altLang="zh-CN" sz="10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a:t>
              </a:r>
              <a:endParaRPr kumimoji="0" lang="zh-CN" altLang="en-US" sz="1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cs"/>
              </a:endParaRPr>
            </a:p>
          </p:txBody>
        </p:sp>
        <p:sp>
          <p:nvSpPr>
            <p:cNvPr id="36" name="文本框 35"/>
            <p:cNvSpPr txBox="1"/>
            <p:nvPr/>
          </p:nvSpPr>
          <p:spPr>
            <a:xfrm>
              <a:off x="4906767" y="4476243"/>
              <a:ext cx="4315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err="1" smtClean="0">
                  <a:ln>
                    <a:noFill/>
                  </a:ln>
                  <a:solidFill>
                    <a:srgbClr val="FE5817"/>
                  </a:solidFill>
                  <a:effectLst/>
                  <a:uLnTx/>
                  <a:uFillTx/>
                  <a:latin typeface="华文楷体" panose="02010600040101010101" charset="-122"/>
                  <a:ea typeface="华文楷体" panose="02010600040101010101" charset="-122"/>
                  <a:cs typeface="+mn-cs"/>
                </a:rPr>
                <a:t>x</a:t>
              </a:r>
              <a:r>
                <a:rPr kumimoji="0" lang="en-US" altLang="zh-CN" sz="1000" b="1" i="0" u="none" strike="noStrike" kern="1200" cap="none" spc="0" normalizeH="0" baseline="0" noProof="0" dirty="0" err="1">
                  <a:ln>
                    <a:noFill/>
                  </a:ln>
                  <a:solidFill>
                    <a:srgbClr val="FE5817"/>
                  </a:solidFill>
                  <a:effectLst/>
                  <a:uLnTx/>
                  <a:uFillTx/>
                  <a:latin typeface="华文楷体" panose="02010600040101010101" charset="-122"/>
                  <a:ea typeface="华文楷体" panose="02010600040101010101" charset="-122"/>
                  <a:cs typeface="+mn-cs"/>
                </a:rPr>
                <a:t>'x</a:t>
              </a:r>
              <a:r>
                <a:rPr kumimoji="0" lang="en-US" altLang="zh-CN" sz="10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a:t>
              </a:r>
              <a:endParaRPr kumimoji="0" lang="zh-CN" altLang="en-US" sz="1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cs"/>
              </a:endParaRPr>
            </a:p>
          </p:txBody>
        </p:sp>
        <p:cxnSp>
          <p:nvCxnSpPr>
            <p:cNvPr id="50" name="直接箭头连接符 49"/>
            <p:cNvCxnSpPr/>
            <p:nvPr/>
          </p:nvCxnSpPr>
          <p:spPr>
            <a:xfrm>
              <a:off x="5952790" y="3827150"/>
              <a:ext cx="605480" cy="10198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0" name="组合 39"/>
          <p:cNvGrpSpPr/>
          <p:nvPr/>
        </p:nvGrpSpPr>
        <p:grpSpPr>
          <a:xfrm>
            <a:off x="348651" y="1165828"/>
            <a:ext cx="3134623" cy="1424952"/>
            <a:chOff x="338664" y="1343261"/>
            <a:chExt cx="3134623" cy="1424952"/>
          </a:xfrm>
        </p:grpSpPr>
        <p:sp>
          <p:nvSpPr>
            <p:cNvPr id="38" name="矩形 37"/>
            <p:cNvSpPr/>
            <p:nvPr/>
          </p:nvSpPr>
          <p:spPr>
            <a:xfrm>
              <a:off x="338664" y="1583194"/>
              <a:ext cx="3134623" cy="1185019"/>
            </a:xfrm>
            <a:prstGeom prst="rect">
              <a:avLst/>
            </a:prstGeom>
            <a:solidFill>
              <a:schemeClr val="bg1"/>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en-US" altLang="zh-CN" sz="12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①</a:t>
              </a:r>
              <a:r>
                <a:rPr kumimoji="0" lang="zh-CN" altLang="en-US" sz="12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 </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en-US" altLang="zh-CN" sz="12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①</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en-US" altLang="zh-CN" sz="12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①</a:t>
              </a:r>
              <a:r>
                <a:rPr kumimoji="0" lang="zh-CN" altLang="en-US" sz="12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cs"/>
                </a:rPr>
                <a:t> </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en-US" altLang="zh-CN" sz="12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①</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en-US" altLang="zh-CN" sz="12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①</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en-US" altLang="zh-CN" sz="12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②</a:t>
              </a:r>
              <a:endPar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endParaRPr>
            </a:p>
          </p:txBody>
        </p:sp>
        <p:sp>
          <p:nvSpPr>
            <p:cNvPr id="39" name="矩形 38"/>
            <p:cNvSpPr/>
            <p:nvPr/>
          </p:nvSpPr>
          <p:spPr>
            <a:xfrm>
              <a:off x="338664" y="1343261"/>
              <a:ext cx="3134623" cy="247650"/>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资质信息                                        </a:t>
              </a:r>
              <a:endParaRPr kumimoji="0" lang="zh-CN" altLang="en-US" sz="9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grpSp>
      <p:grpSp>
        <p:nvGrpSpPr>
          <p:cNvPr id="41" name="组合 40"/>
          <p:cNvGrpSpPr/>
          <p:nvPr/>
        </p:nvGrpSpPr>
        <p:grpSpPr>
          <a:xfrm>
            <a:off x="3766397" y="1165828"/>
            <a:ext cx="7810251" cy="1424952"/>
            <a:chOff x="338664" y="1343261"/>
            <a:chExt cx="3134623" cy="1424952"/>
          </a:xfrm>
        </p:grpSpPr>
        <p:sp>
          <p:nvSpPr>
            <p:cNvPr id="42" name="矩形 41"/>
            <p:cNvSpPr/>
            <p:nvPr/>
          </p:nvSpPr>
          <p:spPr>
            <a:xfrm>
              <a:off x="338664" y="1583194"/>
              <a:ext cx="3134623" cy="1185019"/>
            </a:xfrm>
            <a:prstGeom prst="rect">
              <a:avLst/>
            </a:prstGeom>
            <a:solidFill>
              <a:schemeClr val="bg1"/>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x</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有限公司（</a:t>
              </a: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 </a:t>
              </a:r>
              <a:endParaRPr kumimoji="0" lang="en-US" altLang="zh-CN" sz="12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x</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有限公司（</a:t>
              </a: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endPar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x</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公司（有限合伙）（</a:t>
              </a:r>
              <a:r>
                <a:rPr kumimoji="0" lang="en-US" altLang="zh-CN" sz="120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xx</a:t>
              </a: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 </a:t>
              </a:r>
              <a:endPar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en-US" altLang="zh-CN" sz="120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xx</a:t>
              </a: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endPar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endPar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p:txBody>
        </p:sp>
        <p:sp>
          <p:nvSpPr>
            <p:cNvPr id="43" name="矩形 42"/>
            <p:cNvSpPr/>
            <p:nvPr/>
          </p:nvSpPr>
          <p:spPr>
            <a:xfrm>
              <a:off x="338664" y="1343261"/>
              <a:ext cx="3134623" cy="247650"/>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公司股东</a:t>
              </a:r>
              <a:endParaRPr kumimoji="0" lang="zh-CN" altLang="en-US" sz="14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grpSp>
      <p:grpSp>
        <p:nvGrpSpPr>
          <p:cNvPr id="44" name="组合 43"/>
          <p:cNvGrpSpPr/>
          <p:nvPr/>
        </p:nvGrpSpPr>
        <p:grpSpPr>
          <a:xfrm>
            <a:off x="3766396" y="2782277"/>
            <a:ext cx="7810251" cy="1424952"/>
            <a:chOff x="338664" y="1343261"/>
            <a:chExt cx="3134623" cy="1424952"/>
          </a:xfrm>
        </p:grpSpPr>
        <p:sp>
          <p:nvSpPr>
            <p:cNvPr id="45" name="矩形 44"/>
            <p:cNvSpPr/>
            <p:nvPr/>
          </p:nvSpPr>
          <p:spPr>
            <a:xfrm>
              <a:off x="338664" y="1583194"/>
              <a:ext cx="3134623" cy="1185019"/>
            </a:xfrm>
            <a:prstGeom prst="rect">
              <a:avLst/>
            </a:prstGeom>
            <a:solidFill>
              <a:schemeClr val="bg1"/>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业务模式：</a:t>
              </a:r>
              <a:r>
                <a:rPr kumimoji="0" lang="en-US" altLang="zh-CN"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模式为主，自主研发</a:t>
              </a:r>
              <a:r>
                <a:rPr kumimoji="0" lang="en-US" altLang="zh-CN"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产品，提供</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产品</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销售模式：</a:t>
              </a:r>
              <a:r>
                <a:rPr lang="en-US" altLang="zh-CN" sz="1200" noProof="0" dirty="0" smtClean="0">
                  <a:solidFill>
                    <a:prstClr val="black"/>
                  </a:solidFill>
                  <a:latin typeface="华文楷体" panose="02010600040101010101" charset="-122"/>
                  <a:ea typeface="华文楷体" panose="02010600040101010101" charset="-122"/>
                </a:rPr>
                <a:t>xx</a:t>
              </a:r>
              <a:r>
                <a:rPr lang="zh-CN" altLang="en-US" sz="1200" noProof="0" dirty="0" smtClean="0">
                  <a:solidFill>
                    <a:prstClr val="black"/>
                  </a:solidFill>
                  <a:latin typeface="华文楷体" panose="02010600040101010101" charset="-122"/>
                  <a:ea typeface="华文楷体" panose="02010600040101010101" charset="-122"/>
                </a:rPr>
                <a:t>营销模式为主</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业务布局：</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布局</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省份，</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市</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人员</a:t>
              </a:r>
              <a:r>
                <a:rPr kumimoji="0" lang="zh-CN" altLang="en-US" sz="120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结构：</a:t>
              </a:r>
              <a:r>
                <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公司</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员工</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人</a:t>
              </a:r>
              <a:r>
                <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销售</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人员</a:t>
              </a:r>
              <a:r>
                <a:rPr kumimoji="0" lang="en-US" altLang="zh-CN"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人</a:t>
              </a:r>
              <a:r>
                <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研发</a:t>
              </a:r>
              <a:r>
                <a:rPr kumimoji="0" lang="en-US" altLang="zh-CN"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人</a:t>
              </a:r>
              <a:r>
                <a:rPr kumimoji="0" lang="zh-CN" altLang="en-US"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管理</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人员</a:t>
              </a:r>
              <a:r>
                <a:rPr kumimoji="0" lang="en-US" altLang="zh-CN" sz="1200" b="0"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人</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管理</a:t>
              </a:r>
              <a:r>
                <a:rPr kumimoji="0" lang="zh-CN" altLang="en-US" sz="120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mn-cs"/>
                </a:rPr>
                <a:t>模式</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公司板块、组织架构、公司制度等等</a:t>
              </a:r>
              <a:endPar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p:txBody>
        </p:sp>
        <p:sp>
          <p:nvSpPr>
            <p:cNvPr id="46" name="矩形 45"/>
            <p:cNvSpPr/>
            <p:nvPr/>
          </p:nvSpPr>
          <p:spPr>
            <a:xfrm>
              <a:off x="338664" y="1343261"/>
              <a:ext cx="3134623" cy="247650"/>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经营情况</a:t>
              </a:r>
              <a:endParaRPr kumimoji="0" lang="zh-CN" altLang="en-US" sz="14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grpSp>
      <p:grpSp>
        <p:nvGrpSpPr>
          <p:cNvPr id="47" name="组合 46"/>
          <p:cNvGrpSpPr/>
          <p:nvPr/>
        </p:nvGrpSpPr>
        <p:grpSpPr>
          <a:xfrm>
            <a:off x="3766396" y="4314374"/>
            <a:ext cx="7815163" cy="2180219"/>
            <a:chOff x="338664" y="1343261"/>
            <a:chExt cx="3136594" cy="2180219"/>
          </a:xfrm>
        </p:grpSpPr>
        <p:sp>
          <p:nvSpPr>
            <p:cNvPr id="48" name="矩形 47"/>
            <p:cNvSpPr/>
            <p:nvPr/>
          </p:nvSpPr>
          <p:spPr>
            <a:xfrm>
              <a:off x="338664" y="1600154"/>
              <a:ext cx="1542811" cy="1923326"/>
            </a:xfrm>
            <a:prstGeom prst="rect">
              <a:avLst/>
            </a:prstGeom>
            <a:solidFill>
              <a:schemeClr val="bg1"/>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资质优质：</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满足</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业务需求，同时具有优质投标资质，特别是</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领域</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可与</a:t>
              </a: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业务协同发展：</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主营业务</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可快速建设当地服务能力：</a:t>
              </a:r>
              <a:r>
                <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公司主要模式</a:t>
              </a:r>
              <a:r>
                <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x</a:t>
              </a:r>
              <a:endParaRPr kumimoji="0" lang="zh-CN" altLang="en-US"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p:txBody>
        </p:sp>
        <p:sp>
          <p:nvSpPr>
            <p:cNvPr id="49" name="矩形 48"/>
            <p:cNvSpPr/>
            <p:nvPr/>
          </p:nvSpPr>
          <p:spPr>
            <a:xfrm>
              <a:off x="338664" y="1343261"/>
              <a:ext cx="1546753" cy="247650"/>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rPr>
                <a:t>价值</a:t>
              </a:r>
              <a:endParaRPr kumimoji="0" lang="zh-CN" altLang="en-US" sz="14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sp>
          <p:nvSpPr>
            <p:cNvPr id="56" name="矩形 55"/>
            <p:cNvSpPr/>
            <p:nvPr/>
          </p:nvSpPr>
          <p:spPr>
            <a:xfrm>
              <a:off x="1928505" y="1352224"/>
              <a:ext cx="1546753" cy="247650"/>
            </a:xfrm>
            <a:prstGeom prst="rect">
              <a:avLst/>
            </a:prstGeom>
            <a:solidFill>
              <a:srgbClr val="FE5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smtClean="0">
                  <a:ln>
                    <a:noFill/>
                  </a:ln>
                  <a:solidFill>
                    <a:prstClr val="white"/>
                  </a:solidFill>
                  <a:effectLst/>
                  <a:uLnTx/>
                  <a:uFillTx/>
                  <a:latin typeface="华文楷体" panose="02010600040101010101" charset="-122"/>
                  <a:ea typeface="华文楷体" panose="02010600040101010101" charset="-122"/>
                  <a:cs typeface="+mn-cs"/>
                </a:rPr>
                <a:t>不确定性</a:t>
              </a:r>
              <a:endParaRPr kumimoji="0" lang="zh-CN" altLang="en-US" sz="14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cs typeface="+mn-cs"/>
              </a:endParaRPr>
            </a:p>
          </p:txBody>
        </p:sp>
      </p:grpSp>
      <p:sp>
        <p:nvSpPr>
          <p:cNvPr id="54" name="文本框 53"/>
          <p:cNvSpPr txBox="1"/>
          <p:nvPr/>
        </p:nvSpPr>
        <p:spPr>
          <a:xfrm>
            <a:off x="2731092" y="4732190"/>
            <a:ext cx="40908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cs"/>
              </a:rPr>
              <a:t>xx</a:t>
            </a:r>
            <a:r>
              <a:rPr kumimoji="0" lang="en-US" altLang="zh-CN" sz="1000" b="1" i="0" u="none" strike="noStrike" kern="1200" cap="none" spc="0" normalizeH="0" baseline="0" noProof="0" dirty="0" smtClean="0">
                <a:ln>
                  <a:noFill/>
                </a:ln>
                <a:solidFill>
                  <a:srgbClr val="FE5817"/>
                </a:solidFill>
                <a:effectLst/>
                <a:uLnTx/>
                <a:uFillTx/>
                <a:latin typeface="华文楷体" panose="02010600040101010101" charset="-122"/>
                <a:ea typeface="华文楷体" panose="02010600040101010101" charset="-122"/>
                <a:cs typeface="+mn-cs"/>
              </a:rPr>
              <a:t>%</a:t>
            </a:r>
            <a:endParaRPr kumimoji="0" lang="zh-CN" altLang="en-US" sz="1000" b="1" i="0" u="none" strike="noStrike" kern="1200" cap="none" spc="0" normalizeH="0" baseline="0" noProof="0" dirty="0">
              <a:ln>
                <a:noFill/>
              </a:ln>
              <a:solidFill>
                <a:srgbClr val="FE5817"/>
              </a:solidFill>
              <a:effectLst/>
              <a:uLnTx/>
              <a:uFillTx/>
              <a:latin typeface="华文楷体" panose="02010600040101010101" charset="-122"/>
              <a:ea typeface="华文楷体" panose="02010600040101010101" charset="-122"/>
              <a:cs typeface="+mn-cs"/>
            </a:endParaRPr>
          </a:p>
        </p:txBody>
      </p:sp>
      <p:sp>
        <p:nvSpPr>
          <p:cNvPr id="55" name="矩形 54"/>
          <p:cNvSpPr/>
          <p:nvPr/>
        </p:nvSpPr>
        <p:spPr>
          <a:xfrm>
            <a:off x="7732567" y="4574391"/>
            <a:ext cx="3844080" cy="1923326"/>
          </a:xfrm>
          <a:prstGeom prst="rect">
            <a:avLst/>
          </a:prstGeom>
          <a:solidFill>
            <a:schemeClr val="bg1"/>
          </a:solidFill>
          <a:ln>
            <a:solidFill>
              <a:srgbClr val="FE58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股权结构分散：</a:t>
            </a:r>
            <a:endPar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大股东强管理：</a:t>
            </a:r>
            <a:endPar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知识产权不明：</a:t>
            </a:r>
            <a:endPar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a:t>
            </a:r>
            <a:r>
              <a:rPr kumimoji="0" lang="zh-CN" altLang="en-US" sz="12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业务波动不明：</a:t>
            </a:r>
            <a:endParaRPr kumimoji="0" lang="en-US" altLang="zh-CN" sz="12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p:txBody>
      </p:sp>
      <p:sp>
        <p:nvSpPr>
          <p:cNvPr id="5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XXXX</a:t>
            </a:r>
            <a:r>
              <a:rPr lang="zh-CN" altLang="en-US" sz="2400" dirty="0">
                <a:solidFill>
                  <a:prstClr val="black"/>
                </a:solidFill>
                <a:latin typeface="华文楷体" panose="02010600040101010101" charset="-122"/>
                <a:ea typeface="华文楷体" panose="02010600040101010101" charset="-122"/>
              </a:rPr>
              <a:t>有限公司</a:t>
            </a:r>
            <a:endParaRPr lang="zh-CN" altLang="en-US" sz="2400" dirty="0">
              <a:solidFill>
                <a:prstClr val="black"/>
              </a:solidFill>
              <a:latin typeface="华文楷体" panose="02010600040101010101" charset="-122"/>
              <a:ea typeface="华文楷体" panose="02010600040101010101" charset="-122"/>
            </a:endParaRPr>
          </a:p>
        </p:txBody>
      </p:sp>
      <p:pic>
        <p:nvPicPr>
          <p:cNvPr id="53" name="图片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68443" y="943655"/>
            <a:ext cx="11356734" cy="376931"/>
          </a:xfrm>
          <a:prstGeom prst="rect">
            <a:avLst/>
          </a:prstGeom>
          <a:solidFill>
            <a:srgbClr val="FE5817"/>
          </a:solidFill>
          <a:ln w="9525" cap="rnd" cmpd="sng" algn="ctr">
            <a:solidFill>
              <a:srgbClr val="FE581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endParaRPr>
          </a:p>
        </p:txBody>
      </p:sp>
      <p:sp>
        <p:nvSpPr>
          <p:cNvPr id="7" name="矩形 6"/>
          <p:cNvSpPr/>
          <p:nvPr/>
        </p:nvSpPr>
        <p:spPr>
          <a:xfrm>
            <a:off x="2650081" y="5605047"/>
            <a:ext cx="2002903" cy="408681"/>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FFFF"/>
              </a:buClr>
              <a:buSzPct val="125000"/>
              <a:buFontTx/>
              <a:buNone/>
              <a:defRPr/>
            </a:pP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资</a:t>
            </a: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金投</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入规模有限</a:t>
            </a: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8" name="矩形 7"/>
          <p:cNvSpPr/>
          <p:nvPr/>
        </p:nvSpPr>
        <p:spPr>
          <a:xfrm>
            <a:off x="8060104" y="1543291"/>
            <a:ext cx="3364877" cy="4543424"/>
          </a:xfrm>
          <a:prstGeom prst="rect">
            <a:avLst/>
          </a:prstGeom>
          <a:noFill/>
          <a:ln w="19050">
            <a:solidFill>
              <a:schemeClr val="tx2">
                <a:lumMod val="60000"/>
                <a:lumOff val="40000"/>
              </a:schemeClr>
            </a:solidFill>
          </a:ln>
        </p:spPr>
        <p:txBody>
          <a:bodyPr wrap="square" lIns="71965" tIns="45698" rIns="71965" bIns="45698" rtlCol="0" anchor="ctr">
            <a:noAutofit/>
          </a:bodyPr>
          <a:lstStyle/>
          <a:p>
            <a:pPr marL="193675" marR="0" lvl="1" indent="-191770" algn="l" defTabSz="894715" rtl="0" eaLnBrk="1" fontAlgn="base" latinLnBrk="0" hangingPunct="1">
              <a:lnSpc>
                <a:spcPct val="100000"/>
              </a:lnSpc>
              <a:spcBef>
                <a:spcPct val="20000"/>
              </a:spcBef>
              <a:spcAft>
                <a:spcPct val="0"/>
              </a:spcAft>
              <a:buClr>
                <a:srgbClr val="FF6600"/>
              </a:buClr>
              <a:buSzPct val="125000"/>
              <a:buFont typeface="Arial" panose="020B0604020202020204" pitchFamily="34" charset="0"/>
              <a:buChar char="▪"/>
              <a:defRPr/>
            </a:pPr>
            <a:endParaRPr kumimoji="0" lang="zh-CN" altLang="en-US" sz="1200" b="1"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9" name="矩形 8"/>
          <p:cNvSpPr/>
          <p:nvPr/>
        </p:nvSpPr>
        <p:spPr>
          <a:xfrm>
            <a:off x="2186780" y="1727053"/>
            <a:ext cx="2446758" cy="396665"/>
          </a:xfrm>
          <a:prstGeom prst="rect">
            <a:avLst/>
          </a:prstGeom>
          <a:noFill/>
          <a:ln>
            <a:noFill/>
          </a:ln>
        </p:spPr>
        <p:txBody>
          <a:bodyPr wrap="square" lIns="35984" tIns="45698" rIns="35984" bIns="4569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微软雅黑" panose="020B0503020204020204" charset="-122"/>
              </a:rPr>
              <a:t>XX</a:t>
            </a:r>
            <a:r>
              <a:rPr kumimoji="0" lang="zh-CN" altLang="en-US" sz="16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微软雅黑" panose="020B0503020204020204" charset="-122"/>
              </a:rPr>
              <a:t>公司</a:t>
            </a:r>
            <a:endParaRPr kumimoji="0" lang="zh-CN" altLang="en-US" sz="160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cs typeface="微软雅黑" panose="020B0503020204020204" charset="-122"/>
            </a:endParaRPr>
          </a:p>
        </p:txBody>
      </p:sp>
      <p:sp>
        <p:nvSpPr>
          <p:cNvPr id="11" name="矩形 10"/>
          <p:cNvSpPr/>
          <p:nvPr/>
        </p:nvSpPr>
        <p:spPr>
          <a:xfrm>
            <a:off x="5011988" y="1701036"/>
            <a:ext cx="3282205" cy="396665"/>
          </a:xfrm>
          <a:prstGeom prst="rect">
            <a:avLst/>
          </a:prstGeom>
          <a:noFill/>
          <a:ln>
            <a:noFill/>
          </a:ln>
        </p:spPr>
        <p:txBody>
          <a:bodyPr wrap="square" lIns="35984" tIns="45698" rIns="35984" bIns="4569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XX</a:t>
            </a:r>
            <a:r>
              <a:rPr kumimoji="0" lang="zh-CN" altLang="en-US" sz="1600" b="1"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公司</a:t>
            </a:r>
            <a:endParaRPr kumimoji="0" lang="en-US" altLang="zh-CN" sz="160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13" name="矩形 12"/>
          <p:cNvSpPr/>
          <p:nvPr/>
        </p:nvSpPr>
        <p:spPr>
          <a:xfrm>
            <a:off x="8781336" y="1755179"/>
            <a:ext cx="2210638" cy="396665"/>
          </a:xfrm>
          <a:prstGeom prst="rect">
            <a:avLst/>
          </a:prstGeom>
          <a:noFill/>
          <a:ln>
            <a:noFill/>
          </a:ln>
        </p:spPr>
        <p:txBody>
          <a:bodyPr wrap="square" lIns="35984" tIns="45698" rIns="35984" bIns="4569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rPr>
              <a:t>本公司</a:t>
            </a:r>
            <a:endParaRPr kumimoji="0" lang="zh-CN" altLang="en-US" sz="1600" b="1" i="0" u="none" strike="noStrike" kern="120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cxnSp>
        <p:nvCxnSpPr>
          <p:cNvPr id="14" name="直接连接符 13"/>
          <p:cNvCxnSpPr/>
          <p:nvPr/>
        </p:nvCxnSpPr>
        <p:spPr>
          <a:xfrm>
            <a:off x="1937598" y="2293469"/>
            <a:ext cx="2723950" cy="0"/>
          </a:xfrm>
          <a:prstGeom prst="line">
            <a:avLst/>
          </a:prstGeom>
          <a:noFill/>
          <a:ln w="19050" cap="flat" cmpd="sng" algn="ctr">
            <a:solidFill>
              <a:schemeClr val="tx2">
                <a:lumMod val="60000"/>
                <a:lumOff val="40000"/>
              </a:schemeClr>
            </a:solidFill>
            <a:prstDash val="solid"/>
            <a:miter lim="800000"/>
          </a:ln>
          <a:effectLst/>
        </p:spPr>
      </p:cxnSp>
      <p:cxnSp>
        <p:nvCxnSpPr>
          <p:cNvPr id="15" name="直接连接符 14"/>
          <p:cNvCxnSpPr/>
          <p:nvPr/>
        </p:nvCxnSpPr>
        <p:spPr>
          <a:xfrm>
            <a:off x="5162985" y="2293469"/>
            <a:ext cx="2723950" cy="0"/>
          </a:xfrm>
          <a:prstGeom prst="line">
            <a:avLst/>
          </a:prstGeom>
          <a:noFill/>
          <a:ln w="19050" cap="flat" cmpd="sng" algn="ctr">
            <a:solidFill>
              <a:schemeClr val="tx2">
                <a:lumMod val="60000"/>
                <a:lumOff val="40000"/>
              </a:schemeClr>
            </a:solidFill>
            <a:prstDash val="solid"/>
            <a:miter lim="800000"/>
          </a:ln>
          <a:effectLst/>
        </p:spPr>
      </p:cxnSp>
      <p:cxnSp>
        <p:nvCxnSpPr>
          <p:cNvPr id="16" name="直接连接符 15"/>
          <p:cNvCxnSpPr/>
          <p:nvPr/>
        </p:nvCxnSpPr>
        <p:spPr>
          <a:xfrm>
            <a:off x="8256511" y="2293469"/>
            <a:ext cx="2964295" cy="0"/>
          </a:xfrm>
          <a:prstGeom prst="line">
            <a:avLst/>
          </a:prstGeom>
          <a:noFill/>
          <a:ln w="19050" cap="flat" cmpd="sng" algn="ctr">
            <a:solidFill>
              <a:schemeClr val="tx2">
                <a:lumMod val="60000"/>
                <a:lumOff val="40000"/>
              </a:schemeClr>
            </a:solidFill>
            <a:prstDash val="solid"/>
            <a:miter lim="800000"/>
          </a:ln>
          <a:effectLst/>
        </p:spPr>
      </p:cxnSp>
      <p:grpSp>
        <p:nvGrpSpPr>
          <p:cNvPr id="17" name="组合 16"/>
          <p:cNvGrpSpPr/>
          <p:nvPr/>
        </p:nvGrpSpPr>
        <p:grpSpPr>
          <a:xfrm>
            <a:off x="8381635" y="5625340"/>
            <a:ext cx="360000" cy="360000"/>
            <a:chOff x="6349511" y="3565203"/>
            <a:chExt cx="197539" cy="196682"/>
          </a:xfrm>
        </p:grpSpPr>
        <p:sp>
          <p:nvSpPr>
            <p:cNvPr id="85" name="椭圆 84"/>
            <p:cNvSpPr/>
            <p:nvPr>
              <p:custDataLst>
                <p:tags r:id="rId1"/>
              </p:custDataLst>
            </p:nvPr>
          </p:nvSpPr>
          <p:spPr bwMode="auto">
            <a:xfrm>
              <a:off x="6349511" y="3565203"/>
              <a:ext cx="196682" cy="196682"/>
            </a:xfrm>
            <a:prstGeom prst="ellipse">
              <a:avLst/>
            </a:prstGeom>
            <a:solidFill>
              <a:srgbClr val="FFFFFF"/>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86" name="弧形 85"/>
            <p:cNvSpPr/>
            <p:nvPr>
              <p:custDataLst>
                <p:tags r:id="rId2"/>
              </p:custDataLst>
            </p:nvPr>
          </p:nvSpPr>
          <p:spPr bwMode="gray">
            <a:xfrm>
              <a:off x="6350368" y="3565203"/>
              <a:ext cx="196682" cy="196682"/>
            </a:xfrm>
            <a:prstGeom prst="arc">
              <a:avLst>
                <a:gd name="adj1" fmla="val 16200000"/>
                <a:gd name="adj2" fmla="val 10800000"/>
              </a:avLst>
            </a:prstGeom>
            <a:solidFill>
              <a:schemeClr val="accent1"/>
            </a:solidFill>
            <a:ln w="9525" cap="flat" cmpd="sng" algn="ctr">
              <a:solidFill>
                <a:srgbClr val="FF976D"/>
              </a:solidFill>
              <a:prstDash val="solid"/>
              <a:miter lim="800000"/>
              <a:headEnd type="none"/>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grpSp>
      <p:sp>
        <p:nvSpPr>
          <p:cNvPr id="18" name="矩形 17"/>
          <p:cNvSpPr/>
          <p:nvPr/>
        </p:nvSpPr>
        <p:spPr>
          <a:xfrm>
            <a:off x="5710355" y="5669665"/>
            <a:ext cx="2002903" cy="702099"/>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FFFF"/>
              </a:buClr>
              <a:buSzPct val="125000"/>
              <a:buFontTx/>
              <a:buNone/>
              <a:defRPr/>
            </a:pP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资金充裕</a:t>
            </a: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19" name="矩形 18"/>
          <p:cNvSpPr/>
          <p:nvPr/>
        </p:nvSpPr>
        <p:spPr>
          <a:xfrm>
            <a:off x="2462315" y="5505529"/>
            <a:ext cx="2498617" cy="589747"/>
          </a:xfrm>
          <a:prstGeom prst="rect">
            <a:avLst/>
          </a:prstGeom>
          <a:noFill/>
          <a:ln w="19050" cap="flat" cmpd="sng" algn="ctr">
            <a:noFill/>
            <a:prstDash val="solid"/>
            <a:miter lim="800000"/>
          </a:ln>
          <a:effectLst/>
        </p:spPr>
        <p:txBody>
          <a:bodyPr lIns="72532" tIns="36267" rIns="0" bIns="36267" rtlCol="0" anchor="t"/>
          <a:lstStyle/>
          <a:p>
            <a:pPr marL="193675" marR="0" lvl="1" indent="-191770" algn="l" defTabSz="894715" rtl="0" eaLnBrk="1" fontAlgn="base" latinLnBrk="0" hangingPunct="1">
              <a:lnSpc>
                <a:spcPct val="100000"/>
              </a:lnSpc>
              <a:spcBef>
                <a:spcPts val="0"/>
              </a:spcBef>
              <a:spcAft>
                <a:spcPct val="0"/>
              </a:spcAft>
              <a:buClr>
                <a:srgbClr val="FFFFFF"/>
              </a:buClr>
              <a:buSzPct val="125000"/>
              <a:buFont typeface="Arial" panose="020B0604020202020204" pitchFamily="34" charset="0"/>
              <a:buChar char="▪"/>
              <a:defRPr/>
            </a:pP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20" name="矩形 19"/>
          <p:cNvSpPr/>
          <p:nvPr/>
        </p:nvSpPr>
        <p:spPr>
          <a:xfrm>
            <a:off x="2650081" y="4024751"/>
            <a:ext cx="1593566" cy="408681"/>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FFFF"/>
              </a:buClr>
              <a:buSzPct val="125000"/>
              <a:buFontTx/>
              <a:buNone/>
              <a:defRPr/>
            </a:pP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聚焦</a:t>
            </a:r>
            <a:r>
              <a:rPr kumimoji="0" lang="en-US" altLang="zh-CN"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xx</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实务及</a:t>
            </a:r>
            <a:r>
              <a:rPr kumimoji="0" lang="en-US" altLang="zh-CN"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xx</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运用场景</a:t>
            </a: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a:p>
            <a:pPr marL="193675" marR="0" lvl="1" indent="-191770" algn="l" defTabSz="894715" rtl="0" eaLnBrk="1" fontAlgn="base" latinLnBrk="0" hangingPunct="1">
              <a:lnSpc>
                <a:spcPct val="100000"/>
              </a:lnSpc>
              <a:spcBef>
                <a:spcPts val="0"/>
              </a:spcBef>
              <a:spcAft>
                <a:spcPct val="0"/>
              </a:spcAft>
              <a:buClr>
                <a:srgbClr val="FFFFFF"/>
              </a:buClr>
              <a:buSzPct val="125000"/>
              <a:buFont typeface="Arial" panose="020B0604020202020204" pitchFamily="34" charset="0"/>
              <a:buChar char="▪"/>
              <a:defRPr/>
            </a:pP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grpSp>
        <p:nvGrpSpPr>
          <p:cNvPr id="21" name="组合 20"/>
          <p:cNvGrpSpPr/>
          <p:nvPr/>
        </p:nvGrpSpPr>
        <p:grpSpPr>
          <a:xfrm>
            <a:off x="5211865" y="4112990"/>
            <a:ext cx="360000" cy="360000"/>
            <a:chOff x="2188735" y="2174494"/>
            <a:chExt cx="196682" cy="196682"/>
          </a:xfrm>
        </p:grpSpPr>
        <p:sp>
          <p:nvSpPr>
            <p:cNvPr id="83" name="椭圆 82"/>
            <p:cNvSpPr/>
            <p:nvPr>
              <p:custDataLst>
                <p:tags r:id="rId3"/>
              </p:custDataLst>
            </p:nvPr>
          </p:nvSpPr>
          <p:spPr bwMode="auto">
            <a:xfrm>
              <a:off x="2188735" y="2174494"/>
              <a:ext cx="196682" cy="196682"/>
            </a:xfrm>
            <a:prstGeom prst="ellipse">
              <a:avLst/>
            </a:prstGeom>
            <a:solidFill>
              <a:srgbClr val="FFFFFF"/>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84" name="弧形 83"/>
            <p:cNvSpPr/>
            <p:nvPr>
              <p:custDataLst>
                <p:tags r:id="rId4"/>
              </p:custDataLst>
            </p:nvPr>
          </p:nvSpPr>
          <p:spPr bwMode="gray">
            <a:xfrm>
              <a:off x="2188735" y="2174494"/>
              <a:ext cx="196681" cy="196680"/>
            </a:xfrm>
            <a:prstGeom prst="arc">
              <a:avLst>
                <a:gd name="adj1" fmla="val 16200000"/>
                <a:gd name="adj2" fmla="val 5400000"/>
              </a:avLst>
            </a:prstGeom>
            <a:solidFill>
              <a:schemeClr val="accent1"/>
            </a:solidFill>
            <a:ln w="9525" cap="flat" cmpd="sng" algn="ctr">
              <a:solidFill>
                <a:srgbClr val="FF976D"/>
              </a:solidFill>
              <a:prstDash val="solid"/>
              <a:miter lim="800000"/>
              <a:headEnd type="none"/>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grpSp>
      <p:sp>
        <p:nvSpPr>
          <p:cNvPr id="22" name="矩形 21"/>
          <p:cNvSpPr/>
          <p:nvPr/>
        </p:nvSpPr>
        <p:spPr>
          <a:xfrm>
            <a:off x="5702091" y="4101637"/>
            <a:ext cx="2291652" cy="396443"/>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FFFF"/>
              </a:buClr>
              <a:buSzPct val="125000"/>
              <a:buFontTx/>
              <a:buNone/>
              <a:defRPr/>
            </a:pPr>
            <a:r>
              <a:rPr kumimoji="0" lang="en-US" altLang="zh-CN"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xx</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运用场景相对较少</a:t>
            </a: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grpSp>
        <p:nvGrpSpPr>
          <p:cNvPr id="23" name="组合 22"/>
          <p:cNvGrpSpPr/>
          <p:nvPr/>
        </p:nvGrpSpPr>
        <p:grpSpPr>
          <a:xfrm>
            <a:off x="2038846" y="4112991"/>
            <a:ext cx="360000" cy="375680"/>
            <a:chOff x="4302551" y="2174494"/>
            <a:chExt cx="172395" cy="277872"/>
          </a:xfrm>
        </p:grpSpPr>
        <p:sp>
          <p:nvSpPr>
            <p:cNvPr id="81" name="椭圆 80"/>
            <p:cNvSpPr/>
            <p:nvPr>
              <p:custDataLst>
                <p:tags r:id="rId5"/>
              </p:custDataLst>
            </p:nvPr>
          </p:nvSpPr>
          <p:spPr bwMode="auto">
            <a:xfrm>
              <a:off x="4302551" y="2174494"/>
              <a:ext cx="172395" cy="266274"/>
            </a:xfrm>
            <a:prstGeom prst="ellipse">
              <a:avLst/>
            </a:prstGeom>
            <a:solidFill>
              <a:srgbClr val="FFFFFF"/>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82" name="弧形 81"/>
            <p:cNvSpPr/>
            <p:nvPr>
              <p:custDataLst>
                <p:tags r:id="rId6"/>
              </p:custDataLst>
            </p:nvPr>
          </p:nvSpPr>
          <p:spPr bwMode="gray">
            <a:xfrm>
              <a:off x="4302551" y="2174494"/>
              <a:ext cx="172279" cy="277872"/>
            </a:xfrm>
            <a:prstGeom prst="arc">
              <a:avLst>
                <a:gd name="adj1" fmla="val 16200000"/>
                <a:gd name="adj2" fmla="val 10800000"/>
              </a:avLst>
            </a:prstGeom>
            <a:solidFill>
              <a:schemeClr val="accent1"/>
            </a:solidFill>
            <a:ln>
              <a:solidFill>
                <a:srgbClr val="FF976D"/>
              </a:solidFill>
            </a:ln>
          </p:spPr>
          <p:txBody>
            <a:bodyPr wrap="square" lIns="35984" tIns="45698" rIns="35984" bIns="4569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grpSp>
      <p:sp>
        <p:nvSpPr>
          <p:cNvPr id="24" name="矩形 23"/>
          <p:cNvSpPr/>
          <p:nvPr/>
        </p:nvSpPr>
        <p:spPr>
          <a:xfrm>
            <a:off x="8932314" y="3886025"/>
            <a:ext cx="2253037" cy="702099"/>
          </a:xfrm>
          <a:prstGeom prst="rect">
            <a:avLst/>
          </a:prstGeom>
          <a:noFill/>
          <a:ln w="19050" cap="flat" cmpd="sng" algn="ctr">
            <a:noFill/>
            <a:prstDash val="solid"/>
            <a:miter lim="800000"/>
          </a:ln>
          <a:effectLst/>
        </p:spPr>
        <p:txBody>
          <a:bodyPr lIns="72532" tIns="36267" rIns="0" bIns="36267" rtlCol="0" anchor="ctr"/>
          <a:lstStyle/>
          <a:p>
            <a:pPr marL="1270" marR="0" lvl="1" indent="0" algn="l" defTabSz="894715" rtl="0" eaLnBrk="1" fontAlgn="base" latinLnBrk="0" hangingPunct="1">
              <a:lnSpc>
                <a:spcPct val="100000"/>
              </a:lnSpc>
              <a:spcBef>
                <a:spcPts val="0"/>
              </a:spcBef>
              <a:spcAft>
                <a:spcPct val="0"/>
              </a:spcAft>
              <a:buClr>
                <a:srgbClr val="FF6600"/>
              </a:buClr>
              <a:buSzPct val="125000"/>
              <a:buFontTx/>
              <a:buNone/>
              <a:defRPr/>
            </a:pP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金融合规、争议处置、资产清收等法律运用场景丰富</a:t>
            </a:r>
            <a:endPar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grpSp>
        <p:nvGrpSpPr>
          <p:cNvPr id="25" name="组合 24"/>
          <p:cNvGrpSpPr/>
          <p:nvPr/>
        </p:nvGrpSpPr>
        <p:grpSpPr>
          <a:xfrm>
            <a:off x="8381635" y="4112990"/>
            <a:ext cx="360000" cy="360000"/>
            <a:chOff x="6291790" y="2224611"/>
            <a:chExt cx="197539" cy="196682"/>
          </a:xfrm>
        </p:grpSpPr>
        <p:sp>
          <p:nvSpPr>
            <p:cNvPr id="79" name="椭圆 78"/>
            <p:cNvSpPr/>
            <p:nvPr>
              <p:custDataLst>
                <p:tags r:id="rId7"/>
              </p:custDataLst>
            </p:nvPr>
          </p:nvSpPr>
          <p:spPr bwMode="auto">
            <a:xfrm>
              <a:off x="6291790" y="2224611"/>
              <a:ext cx="196682" cy="196682"/>
            </a:xfrm>
            <a:prstGeom prst="ellipse">
              <a:avLst/>
            </a:prstGeom>
            <a:solidFill>
              <a:srgbClr val="FFFFFF"/>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80" name="弧形 79"/>
            <p:cNvSpPr/>
            <p:nvPr>
              <p:custDataLst>
                <p:tags r:id="rId8"/>
              </p:custDataLst>
            </p:nvPr>
          </p:nvSpPr>
          <p:spPr bwMode="gray">
            <a:xfrm>
              <a:off x="6292647" y="2224611"/>
              <a:ext cx="196682" cy="196682"/>
            </a:xfrm>
            <a:prstGeom prst="arc">
              <a:avLst>
                <a:gd name="adj1" fmla="val 16200000"/>
                <a:gd name="adj2" fmla="val 10800000"/>
              </a:avLst>
            </a:prstGeom>
            <a:solidFill>
              <a:schemeClr val="accent1"/>
            </a:solidFill>
            <a:ln w="9525" cap="flat" cmpd="sng" algn="ctr">
              <a:solidFill>
                <a:srgbClr val="FF976D"/>
              </a:solidFill>
              <a:prstDash val="solid"/>
              <a:miter lim="800000"/>
              <a:headEnd type="none"/>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grpSp>
      <p:sp>
        <p:nvSpPr>
          <p:cNvPr id="26" name="TextBox 43"/>
          <p:cNvSpPr txBox="1"/>
          <p:nvPr/>
        </p:nvSpPr>
        <p:spPr>
          <a:xfrm>
            <a:off x="710282" y="3852522"/>
            <a:ext cx="1041510" cy="564630"/>
          </a:xfrm>
          <a:prstGeom prst="rect">
            <a:avLst/>
          </a:prstGeom>
          <a:solidFill>
            <a:srgbClr val="FE5817"/>
          </a:solidFill>
          <a:ln>
            <a:noFill/>
          </a:ln>
        </p:spPr>
        <p:txBody>
          <a:bodyPr wrap="square" lIns="35984" tIns="45698" rIns="35984" bIns="45698" rtlCol="0" anchor="ctr">
            <a:noAutofit/>
          </a:bodyPr>
          <a:lstStyle>
            <a:defPPr>
              <a:defRPr lang="en-US"/>
            </a:defPPr>
            <a:lvl1pPr marR="0" lvl="0" indent="0" algn="ctr" fontAlgn="auto">
              <a:lnSpc>
                <a:spcPct val="100000"/>
              </a:lnSpc>
              <a:spcBef>
                <a:spcPts val="0"/>
              </a:spcBef>
              <a:spcAft>
                <a:spcPts val="0"/>
              </a:spcAft>
              <a:buClrTx/>
              <a:buSzTx/>
              <a:buFontTx/>
              <a:buNone/>
              <a:defRPr kumimoji="0" sz="1600" b="1" i="0" u="none" strike="noStrike" cap="none" spc="0" normalizeH="0" baseline="0">
                <a:ln>
                  <a:noFill/>
                </a:ln>
                <a:solidFill>
                  <a:prstClr val="white"/>
                </a:solidFill>
                <a:effectLst/>
                <a:uLnTx/>
                <a:uFillTx/>
                <a:latin typeface="微软雅黑" panose="020B0503020204020204" charset="-122"/>
                <a:ea typeface="微软雅黑" panose="020B0503020204020204" charset="-122"/>
              </a:defRPr>
            </a:lvl1pPr>
          </a:lstStyle>
          <a:p>
            <a:r>
              <a:rPr lang="zh-CN" altLang="en-US" dirty="0">
                <a:latin typeface="华文楷体" panose="02010600040101010101" charset="-122"/>
                <a:ea typeface="华文楷体" panose="02010600040101010101" charset="-122"/>
              </a:rPr>
              <a:t>场景</a:t>
            </a:r>
            <a:endParaRPr lang="zh-CN" altLang="en-US" dirty="0">
              <a:latin typeface="华文楷体" panose="02010600040101010101" charset="-122"/>
              <a:ea typeface="华文楷体" panose="02010600040101010101" charset="-122"/>
            </a:endParaRPr>
          </a:p>
        </p:txBody>
      </p:sp>
      <p:sp>
        <p:nvSpPr>
          <p:cNvPr id="27" name="矩形 26"/>
          <p:cNvSpPr/>
          <p:nvPr/>
        </p:nvSpPr>
        <p:spPr>
          <a:xfrm>
            <a:off x="8873945" y="4669877"/>
            <a:ext cx="2311406" cy="702099"/>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6600"/>
              </a:buClr>
              <a:buSzPct val="125000"/>
              <a:buFontTx/>
              <a:buNone/>
              <a:defRPr/>
            </a:pP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强大科学家</a:t>
            </a:r>
            <a:r>
              <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a:t>
            </a: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技术团队，</a:t>
            </a:r>
            <a:r>
              <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6000+</a:t>
            </a: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全球专利</a:t>
            </a: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28" name="矩形 27"/>
          <p:cNvSpPr/>
          <p:nvPr/>
        </p:nvSpPr>
        <p:spPr>
          <a:xfrm>
            <a:off x="2114653" y="2567025"/>
            <a:ext cx="2787228" cy="393755"/>
          </a:xfrm>
          <a:prstGeom prst="rect">
            <a:avLst/>
          </a:prstGeom>
          <a:noFill/>
          <a:ln w="19050" cap="flat" cmpd="sng" algn="ctr">
            <a:noFill/>
            <a:prstDash val="solid"/>
            <a:miter lim="800000"/>
          </a:ln>
          <a:effectLst/>
        </p:spPr>
        <p:txBody>
          <a:bodyPr lIns="72532" tIns="36267" rIns="0" bIns="36267" rtlCol="0" anchor="t"/>
          <a:lstStyle/>
          <a:p>
            <a:pPr marL="193675" marR="0" lvl="1" indent="-191770" algn="l" defTabSz="894715" rtl="0" eaLnBrk="1" fontAlgn="base" latinLnBrk="0" hangingPunct="1">
              <a:lnSpc>
                <a:spcPct val="100000"/>
              </a:lnSpc>
              <a:spcBef>
                <a:spcPts val="0"/>
              </a:spcBef>
              <a:spcAft>
                <a:spcPct val="0"/>
              </a:spcAft>
              <a:buClr>
                <a:srgbClr val="FFFFFF"/>
              </a:buClr>
              <a:buSzPct val="125000"/>
              <a:buFont typeface="Arial" panose="020B0604020202020204" pitchFamily="34" charset="0"/>
              <a:buChar char="▪"/>
              <a:defRPr/>
            </a:pP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29" name="矩形 28"/>
          <p:cNvSpPr/>
          <p:nvPr/>
        </p:nvSpPr>
        <p:spPr>
          <a:xfrm>
            <a:off x="5702091" y="4893733"/>
            <a:ext cx="2002903" cy="393752"/>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FFFF"/>
              </a:buClr>
              <a:buSzPct val="125000"/>
              <a:buFontTx/>
              <a:buNone/>
              <a:defRPr/>
            </a:pPr>
            <a:r>
              <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AI</a:t>
            </a: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技术基础好</a:t>
            </a: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30" name="TextBox 47"/>
          <p:cNvSpPr txBox="1"/>
          <p:nvPr/>
        </p:nvSpPr>
        <p:spPr>
          <a:xfrm>
            <a:off x="710282" y="4609359"/>
            <a:ext cx="1041510" cy="564630"/>
          </a:xfrm>
          <a:prstGeom prst="rect">
            <a:avLst/>
          </a:prstGeom>
          <a:solidFill>
            <a:srgbClr val="FE5817"/>
          </a:solidFill>
          <a:ln>
            <a:noFill/>
          </a:ln>
        </p:spPr>
        <p:txBody>
          <a:bodyPr wrap="square" lIns="35984" tIns="45698" rIns="35984" bIns="45698" rtlCol="0" anchor="ctr">
            <a:noAutofit/>
          </a:bodyPr>
          <a:lstStyle>
            <a:defPPr>
              <a:defRPr lang="en-US"/>
            </a:defPPr>
            <a:lvl1pPr marR="0" lvl="0" indent="0" algn="ctr" fontAlgn="auto">
              <a:lnSpc>
                <a:spcPct val="100000"/>
              </a:lnSpc>
              <a:spcBef>
                <a:spcPts val="0"/>
              </a:spcBef>
              <a:spcAft>
                <a:spcPts val="0"/>
              </a:spcAft>
              <a:buClrTx/>
              <a:buSzTx/>
              <a:buFontTx/>
              <a:buNone/>
              <a:defRPr kumimoji="0" sz="1600" b="1" i="0" u="none" strike="noStrike" cap="none" spc="0" normalizeH="0" baseline="0">
                <a:ln>
                  <a:noFill/>
                </a:ln>
                <a:solidFill>
                  <a:prstClr val="white"/>
                </a:solidFill>
                <a:effectLst/>
                <a:uLnTx/>
                <a:uFillTx/>
                <a:latin typeface="微软雅黑" panose="020B0503020204020204" charset="-122"/>
                <a:ea typeface="微软雅黑" panose="020B0503020204020204" charset="-122"/>
              </a:defRPr>
            </a:lvl1pPr>
          </a:lstStyle>
          <a:p>
            <a:r>
              <a:rPr lang="zh-CN" altLang="en-US" dirty="0">
                <a:latin typeface="华文楷体" panose="02010600040101010101" charset="-122"/>
                <a:ea typeface="华文楷体" panose="02010600040101010101" charset="-122"/>
              </a:rPr>
              <a:t>技术</a:t>
            </a:r>
            <a:endParaRPr lang="zh-CN" altLang="en-US" dirty="0">
              <a:latin typeface="华文楷体" panose="02010600040101010101" charset="-122"/>
              <a:ea typeface="华文楷体" panose="02010600040101010101" charset="-122"/>
            </a:endParaRPr>
          </a:p>
        </p:txBody>
      </p:sp>
      <p:sp>
        <p:nvSpPr>
          <p:cNvPr id="31" name="TextBox 48"/>
          <p:cNvSpPr txBox="1"/>
          <p:nvPr/>
        </p:nvSpPr>
        <p:spPr>
          <a:xfrm>
            <a:off x="710282" y="5366197"/>
            <a:ext cx="1041510" cy="564630"/>
          </a:xfrm>
          <a:prstGeom prst="rect">
            <a:avLst/>
          </a:prstGeom>
          <a:solidFill>
            <a:srgbClr val="FE5817"/>
          </a:solidFill>
          <a:ln>
            <a:noFill/>
          </a:ln>
        </p:spPr>
        <p:txBody>
          <a:bodyPr wrap="square" lIns="35984" tIns="45698" rIns="35984" bIns="45698" rtlCol="0" anchor="ctr">
            <a:noAutofit/>
          </a:bodyPr>
          <a:lstStyle>
            <a:defPPr>
              <a:defRPr lang="en-US"/>
            </a:defPPr>
            <a:lvl1pPr marR="0" lvl="0" indent="0" algn="ctr" fontAlgn="auto">
              <a:lnSpc>
                <a:spcPct val="100000"/>
              </a:lnSpc>
              <a:spcBef>
                <a:spcPts val="0"/>
              </a:spcBef>
              <a:spcAft>
                <a:spcPts val="0"/>
              </a:spcAft>
              <a:buClrTx/>
              <a:buSzTx/>
              <a:buFontTx/>
              <a:buNone/>
              <a:defRPr kumimoji="0" sz="1600" b="1" i="0" u="none" strike="noStrike" cap="none" spc="0" normalizeH="0" baseline="0">
                <a:ln>
                  <a:noFill/>
                </a:ln>
                <a:solidFill>
                  <a:prstClr val="white"/>
                </a:solidFill>
                <a:effectLst/>
                <a:uLnTx/>
                <a:uFillTx/>
                <a:latin typeface="微软雅黑" panose="020B0503020204020204" charset="-122"/>
                <a:ea typeface="微软雅黑" panose="020B0503020204020204" charset="-122"/>
              </a:defRPr>
            </a:lvl1pPr>
          </a:lstStyle>
          <a:p>
            <a:r>
              <a:rPr lang="zh-CN" altLang="en-US" dirty="0">
                <a:latin typeface="华文楷体" panose="02010600040101010101" charset="-122"/>
                <a:ea typeface="华文楷体" panose="02010600040101010101" charset="-122"/>
              </a:rPr>
              <a:t>资本</a:t>
            </a:r>
            <a:endParaRPr lang="zh-CN" altLang="en-US" dirty="0">
              <a:latin typeface="华文楷体" panose="02010600040101010101" charset="-122"/>
              <a:ea typeface="华文楷体" panose="02010600040101010101" charset="-122"/>
            </a:endParaRPr>
          </a:p>
        </p:txBody>
      </p:sp>
      <p:grpSp>
        <p:nvGrpSpPr>
          <p:cNvPr id="32" name="组合 31"/>
          <p:cNvGrpSpPr/>
          <p:nvPr/>
        </p:nvGrpSpPr>
        <p:grpSpPr>
          <a:xfrm>
            <a:off x="5211865" y="5625340"/>
            <a:ext cx="370169" cy="360000"/>
            <a:chOff x="4346093" y="1477565"/>
            <a:chExt cx="157468" cy="290116"/>
          </a:xfrm>
        </p:grpSpPr>
        <p:sp>
          <p:nvSpPr>
            <p:cNvPr id="77" name="椭圆 76"/>
            <p:cNvSpPr/>
            <p:nvPr>
              <p:custDataLst>
                <p:tags r:id="rId9"/>
              </p:custDataLst>
            </p:nvPr>
          </p:nvSpPr>
          <p:spPr bwMode="auto">
            <a:xfrm>
              <a:off x="4346093" y="1477565"/>
              <a:ext cx="153142" cy="290115"/>
            </a:xfrm>
            <a:prstGeom prst="ellipse">
              <a:avLst/>
            </a:prstGeom>
            <a:solidFill>
              <a:srgbClr val="FFFFFF"/>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78" name="弧形 77"/>
            <p:cNvSpPr/>
            <p:nvPr>
              <p:custDataLst>
                <p:tags r:id="rId10"/>
              </p:custDataLst>
            </p:nvPr>
          </p:nvSpPr>
          <p:spPr bwMode="gray">
            <a:xfrm>
              <a:off x="4350419" y="1477565"/>
              <a:ext cx="153142" cy="290116"/>
            </a:xfrm>
            <a:prstGeom prst="arc">
              <a:avLst>
                <a:gd name="adj1" fmla="val 16200000"/>
                <a:gd name="adj2" fmla="val 5828219"/>
              </a:avLst>
            </a:prstGeom>
            <a:solidFill>
              <a:schemeClr val="accent1"/>
            </a:solidFill>
            <a:ln w="9525" cap="flat" cmpd="sng" algn="ctr">
              <a:solidFill>
                <a:srgbClr val="FF976D"/>
              </a:solidFill>
              <a:prstDash val="solid"/>
              <a:miter lim="800000"/>
              <a:headEnd type="none"/>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grpSp>
      <p:sp>
        <p:nvSpPr>
          <p:cNvPr id="33" name="矩形 32"/>
          <p:cNvSpPr/>
          <p:nvPr/>
        </p:nvSpPr>
        <p:spPr>
          <a:xfrm>
            <a:off x="2121394" y="3299853"/>
            <a:ext cx="3031673" cy="524885"/>
          </a:xfrm>
          <a:prstGeom prst="rect">
            <a:avLst/>
          </a:prstGeom>
          <a:noFill/>
          <a:ln w="19050" cap="flat" cmpd="sng" algn="ctr">
            <a:noFill/>
            <a:prstDash val="solid"/>
            <a:miter lim="800000"/>
          </a:ln>
          <a:effectLst/>
        </p:spPr>
        <p:txBody>
          <a:bodyPr lIns="72532" tIns="36267" rIns="0" bIns="36267" rtlCol="0" anchor="t"/>
          <a:lstStyle/>
          <a:p>
            <a:pPr marL="193675" marR="0" lvl="1" indent="-191770" algn="l" defTabSz="894715" rtl="0" eaLnBrk="1" fontAlgn="base" latinLnBrk="0" hangingPunct="1">
              <a:lnSpc>
                <a:spcPct val="100000"/>
              </a:lnSpc>
              <a:spcBef>
                <a:spcPts val="0"/>
              </a:spcBef>
              <a:spcAft>
                <a:spcPct val="0"/>
              </a:spcAft>
              <a:buClr>
                <a:srgbClr val="FFFFFF"/>
              </a:buClr>
              <a:buSzPct val="125000"/>
              <a:buFont typeface="Arial" panose="020B0604020202020204" pitchFamily="34" charset="0"/>
              <a:buChar char="▪"/>
              <a:defRPr/>
            </a:pP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grpSp>
        <p:nvGrpSpPr>
          <p:cNvPr id="34" name="组合 33"/>
          <p:cNvGrpSpPr/>
          <p:nvPr/>
        </p:nvGrpSpPr>
        <p:grpSpPr>
          <a:xfrm>
            <a:off x="2038846" y="3362030"/>
            <a:ext cx="371834" cy="369694"/>
            <a:chOff x="2188737" y="1487943"/>
            <a:chExt cx="167787" cy="270628"/>
          </a:xfrm>
        </p:grpSpPr>
        <p:sp>
          <p:nvSpPr>
            <p:cNvPr id="75" name="椭圆 74"/>
            <p:cNvSpPr/>
            <p:nvPr>
              <p:custDataLst>
                <p:tags r:id="rId11"/>
              </p:custDataLst>
            </p:nvPr>
          </p:nvSpPr>
          <p:spPr bwMode="auto">
            <a:xfrm>
              <a:off x="2198997" y="1487944"/>
              <a:ext cx="152187" cy="263531"/>
            </a:xfrm>
            <a:prstGeom prst="ellipse">
              <a:avLst/>
            </a:prstGeom>
            <a:solidFill>
              <a:srgbClr val="FFFFFF"/>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76" name="弧形 75"/>
            <p:cNvSpPr/>
            <p:nvPr>
              <p:custDataLst>
                <p:tags r:id="rId12"/>
              </p:custDataLst>
            </p:nvPr>
          </p:nvSpPr>
          <p:spPr bwMode="gray">
            <a:xfrm>
              <a:off x="2188737" y="1487943"/>
              <a:ext cx="167787" cy="270628"/>
            </a:xfrm>
            <a:prstGeom prst="arc">
              <a:avLst>
                <a:gd name="adj1" fmla="val 16200000"/>
                <a:gd name="adj2" fmla="val 5628677"/>
              </a:avLst>
            </a:prstGeom>
            <a:solidFill>
              <a:schemeClr val="accent1"/>
            </a:solidFill>
            <a:ln>
              <a:solidFill>
                <a:srgbClr val="FF976D"/>
              </a:solidFill>
            </a:ln>
          </p:spPr>
          <p:txBody>
            <a:bodyPr wrap="square" lIns="35984" tIns="45698" rIns="35984" bIns="4569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grpSp>
      <p:sp>
        <p:nvSpPr>
          <p:cNvPr id="35" name="矩形 34"/>
          <p:cNvSpPr/>
          <p:nvPr/>
        </p:nvSpPr>
        <p:spPr>
          <a:xfrm>
            <a:off x="5702091" y="3315088"/>
            <a:ext cx="2291652" cy="537434"/>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FFFF"/>
              </a:buClr>
              <a:buSzPct val="125000"/>
              <a:buFontTx/>
              <a:buNone/>
              <a:defRPr/>
            </a:pPr>
            <a:r>
              <a:rPr kumimoji="0" lang="en-US" altLang="zh-CN"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xx</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行业数据积累较少，社交舆情数据丰富</a:t>
            </a:r>
            <a:endPar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36" name="矩形 35"/>
          <p:cNvSpPr/>
          <p:nvPr/>
        </p:nvSpPr>
        <p:spPr>
          <a:xfrm>
            <a:off x="8932329" y="3278369"/>
            <a:ext cx="2253023" cy="701547"/>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6600"/>
              </a:buClr>
              <a:buSzPct val="125000"/>
              <a:buFontTx/>
              <a:buNone/>
              <a:defRPr/>
            </a:pPr>
            <a:r>
              <a:rPr kumimoji="0" lang="en-US" altLang="zh-CN"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xx</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数据有一定积累，但偏重金融领域</a:t>
            </a:r>
            <a:endPar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37" name="TextBox 54"/>
          <p:cNvSpPr txBox="1"/>
          <p:nvPr/>
        </p:nvSpPr>
        <p:spPr>
          <a:xfrm>
            <a:off x="710282" y="3095686"/>
            <a:ext cx="1041510" cy="564630"/>
          </a:xfrm>
          <a:prstGeom prst="rect">
            <a:avLst/>
          </a:prstGeom>
          <a:solidFill>
            <a:srgbClr val="FE5817"/>
          </a:solidFill>
          <a:ln>
            <a:noFill/>
          </a:ln>
        </p:spPr>
        <p:txBody>
          <a:bodyPr wrap="square" lIns="35984" tIns="45698" rIns="35984" bIns="45698" rtlCol="0" anchor="ctr">
            <a:noAutofit/>
          </a:bodyPr>
          <a:lstStyle>
            <a:defPPr>
              <a:defRPr lang="en-US"/>
            </a:defPPr>
            <a:lvl1pPr marR="0" lvl="0" indent="0" algn="ctr" fontAlgn="auto">
              <a:lnSpc>
                <a:spcPct val="100000"/>
              </a:lnSpc>
              <a:spcBef>
                <a:spcPts val="0"/>
              </a:spcBef>
              <a:spcAft>
                <a:spcPts val="0"/>
              </a:spcAft>
              <a:buClrTx/>
              <a:buSzTx/>
              <a:buFontTx/>
              <a:buNone/>
              <a:defRPr kumimoji="0" sz="1600" b="1" i="0" u="none" strike="noStrike" cap="none" spc="0" normalizeH="0" baseline="0">
                <a:ln>
                  <a:noFill/>
                </a:ln>
                <a:solidFill>
                  <a:prstClr val="white"/>
                </a:solidFill>
                <a:effectLst/>
                <a:uLnTx/>
                <a:uFillTx/>
                <a:latin typeface="微软雅黑" panose="020B0503020204020204" charset="-122"/>
                <a:ea typeface="微软雅黑" panose="020B0503020204020204" charset="-122"/>
              </a:defRPr>
            </a:lvl1pPr>
          </a:lstStyle>
          <a:p>
            <a:r>
              <a:rPr lang="zh-CN" altLang="en-US" dirty="0">
                <a:latin typeface="华文楷体" panose="02010600040101010101" charset="-122"/>
                <a:ea typeface="华文楷体" panose="02010600040101010101" charset="-122"/>
              </a:rPr>
              <a:t>数据</a:t>
            </a:r>
            <a:endParaRPr lang="zh-CN" altLang="en-US" dirty="0">
              <a:latin typeface="华文楷体" panose="02010600040101010101" charset="-122"/>
              <a:ea typeface="华文楷体" panose="02010600040101010101" charset="-122"/>
            </a:endParaRPr>
          </a:p>
        </p:txBody>
      </p:sp>
      <p:sp>
        <p:nvSpPr>
          <p:cNvPr id="38" name="TextBox 55"/>
          <p:cNvSpPr txBox="1"/>
          <p:nvPr/>
        </p:nvSpPr>
        <p:spPr>
          <a:xfrm>
            <a:off x="2650081" y="3262869"/>
            <a:ext cx="2002904" cy="461620"/>
          </a:xfrm>
          <a:prstGeom prst="rect">
            <a:avLst/>
          </a:prstGeom>
          <a:noFill/>
        </p:spPr>
        <p:txBody>
          <a:bodyPr wrap="square" lIns="91398" tIns="45698" rIns="91398" bIns="45698"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xx</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行业</a:t>
            </a: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数</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据多年积淀，</a:t>
            </a:r>
            <a:r>
              <a:rPr kumimoji="0" lang="en-US" altLang="zh-CN"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xx</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行业外</a:t>
            </a: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数</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据较少</a:t>
            </a:r>
            <a:endPar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grpSp>
        <p:nvGrpSpPr>
          <p:cNvPr id="39" name="组合 38"/>
          <p:cNvGrpSpPr/>
          <p:nvPr/>
        </p:nvGrpSpPr>
        <p:grpSpPr>
          <a:xfrm>
            <a:off x="5211865" y="3362033"/>
            <a:ext cx="360000" cy="360000"/>
            <a:chOff x="2191855" y="2174494"/>
            <a:chExt cx="197502" cy="206479"/>
          </a:xfrm>
        </p:grpSpPr>
        <p:sp>
          <p:nvSpPr>
            <p:cNvPr id="73" name="椭圆 72"/>
            <p:cNvSpPr/>
            <p:nvPr>
              <p:custDataLst>
                <p:tags r:id="rId13"/>
              </p:custDataLst>
            </p:nvPr>
          </p:nvSpPr>
          <p:spPr bwMode="auto">
            <a:xfrm>
              <a:off x="2191855" y="2174494"/>
              <a:ext cx="197502" cy="206479"/>
            </a:xfrm>
            <a:prstGeom prst="ellipse">
              <a:avLst/>
            </a:prstGeom>
            <a:solidFill>
              <a:schemeClr val="bg1"/>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74" name="弧形 73"/>
            <p:cNvSpPr/>
            <p:nvPr>
              <p:custDataLst>
                <p:tags r:id="rId14"/>
              </p:custDataLst>
            </p:nvPr>
          </p:nvSpPr>
          <p:spPr bwMode="gray">
            <a:xfrm>
              <a:off x="2204580" y="2174494"/>
              <a:ext cx="180836" cy="206479"/>
            </a:xfrm>
            <a:prstGeom prst="arc">
              <a:avLst>
                <a:gd name="adj1" fmla="val 16200000"/>
                <a:gd name="adj2" fmla="val 5252207"/>
              </a:avLst>
            </a:prstGeom>
            <a:solidFill>
              <a:schemeClr val="accent1"/>
            </a:solidFill>
            <a:ln w="9525" cap="flat" cmpd="sng" algn="ctr">
              <a:solidFill>
                <a:srgbClr val="FF976D"/>
              </a:solidFill>
              <a:prstDash val="solid"/>
              <a:miter lim="800000"/>
              <a:headEnd type="none"/>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grpSp>
      <p:grpSp>
        <p:nvGrpSpPr>
          <p:cNvPr id="40" name="组合 39"/>
          <p:cNvGrpSpPr/>
          <p:nvPr/>
        </p:nvGrpSpPr>
        <p:grpSpPr>
          <a:xfrm>
            <a:off x="2112150" y="3089264"/>
            <a:ext cx="9073202" cy="2276935"/>
            <a:chOff x="566610" y="2158690"/>
            <a:chExt cx="4647742" cy="1742089"/>
          </a:xfrm>
        </p:grpSpPr>
        <p:cxnSp>
          <p:nvCxnSpPr>
            <p:cNvPr id="69" name="直接连接符 68"/>
            <p:cNvCxnSpPr/>
            <p:nvPr/>
          </p:nvCxnSpPr>
          <p:spPr>
            <a:xfrm>
              <a:off x="566610" y="3316980"/>
              <a:ext cx="4609513" cy="0"/>
            </a:xfrm>
            <a:prstGeom prst="line">
              <a:avLst/>
            </a:prstGeom>
            <a:noFill/>
            <a:ln w="6350" cap="flat" cmpd="sng" algn="ctr">
              <a:solidFill>
                <a:schemeClr val="accent1"/>
              </a:solidFill>
              <a:prstDash val="dash"/>
              <a:miter lim="800000"/>
              <a:headEnd type="none" w="med" len="med"/>
              <a:tailEnd type="none" w="med" len="med"/>
            </a:ln>
            <a:effectLst/>
          </p:spPr>
        </p:cxnSp>
        <p:cxnSp>
          <p:nvCxnSpPr>
            <p:cNvPr id="70" name="直接连接符 69"/>
            <p:cNvCxnSpPr/>
            <p:nvPr/>
          </p:nvCxnSpPr>
          <p:spPr>
            <a:xfrm>
              <a:off x="604839" y="3900779"/>
              <a:ext cx="4609513" cy="0"/>
            </a:xfrm>
            <a:prstGeom prst="line">
              <a:avLst/>
            </a:prstGeom>
            <a:noFill/>
            <a:ln w="6350" cap="flat" cmpd="sng" algn="ctr">
              <a:solidFill>
                <a:schemeClr val="accent1"/>
              </a:solidFill>
              <a:prstDash val="dash"/>
              <a:miter lim="800000"/>
              <a:headEnd type="none" w="med" len="med"/>
              <a:tailEnd type="none" w="med" len="med"/>
            </a:ln>
            <a:effectLst/>
          </p:spPr>
        </p:cxnSp>
        <p:cxnSp>
          <p:nvCxnSpPr>
            <p:cNvPr id="71" name="直接连接符 70"/>
            <p:cNvCxnSpPr/>
            <p:nvPr/>
          </p:nvCxnSpPr>
          <p:spPr>
            <a:xfrm>
              <a:off x="566610" y="2737835"/>
              <a:ext cx="4609513" cy="0"/>
            </a:xfrm>
            <a:prstGeom prst="line">
              <a:avLst/>
            </a:prstGeom>
            <a:noFill/>
            <a:ln w="6350" cap="flat" cmpd="sng" algn="ctr">
              <a:solidFill>
                <a:schemeClr val="accent1"/>
              </a:solidFill>
              <a:prstDash val="dash"/>
              <a:miter lim="800000"/>
              <a:headEnd type="none" w="med" len="med"/>
              <a:tailEnd type="none" w="med" len="med"/>
            </a:ln>
            <a:effectLst/>
          </p:spPr>
        </p:cxnSp>
        <p:cxnSp>
          <p:nvCxnSpPr>
            <p:cNvPr id="72" name="直接连接符 71"/>
            <p:cNvCxnSpPr/>
            <p:nvPr/>
          </p:nvCxnSpPr>
          <p:spPr>
            <a:xfrm>
              <a:off x="566610" y="2158690"/>
              <a:ext cx="4599205" cy="0"/>
            </a:xfrm>
            <a:prstGeom prst="line">
              <a:avLst/>
            </a:prstGeom>
            <a:noFill/>
            <a:ln w="6350" cap="flat" cmpd="sng" algn="ctr">
              <a:solidFill>
                <a:schemeClr val="accent1"/>
              </a:solidFill>
              <a:prstDash val="dash"/>
              <a:miter lim="800000"/>
              <a:headEnd type="none" w="med" len="med"/>
              <a:tailEnd type="none" w="med" len="med"/>
            </a:ln>
            <a:effectLst/>
          </p:spPr>
        </p:cxnSp>
      </p:grpSp>
      <p:sp>
        <p:nvSpPr>
          <p:cNvPr id="41" name="矩形 40"/>
          <p:cNvSpPr/>
          <p:nvPr/>
        </p:nvSpPr>
        <p:spPr>
          <a:xfrm>
            <a:off x="5702091" y="2309871"/>
            <a:ext cx="2002903" cy="702099"/>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FFFF"/>
              </a:buClr>
              <a:buSzPct val="125000"/>
              <a:buFontTx/>
              <a:buNone/>
              <a:defRPr/>
            </a:pPr>
            <a:endParaRPr kumimoji="0" lang="en-US" altLang="zh-CN"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endParaRPr>
          </a:p>
          <a:p>
            <a:pPr marL="1270" marR="0" lvl="1" indent="0" algn="l" defTabSz="894715" rtl="0" eaLnBrk="1" fontAlgn="base" latinLnBrk="0" hangingPunct="1">
              <a:lnSpc>
                <a:spcPct val="100000"/>
              </a:lnSpc>
              <a:spcBef>
                <a:spcPts val="0"/>
              </a:spcBef>
              <a:spcAft>
                <a:spcPct val="0"/>
              </a:spcAft>
              <a:buClr>
                <a:srgbClr val="FFFFFF"/>
              </a:buClr>
              <a:buSzPct val="125000"/>
              <a:buFontTx/>
              <a:buNone/>
              <a:defRPr/>
            </a:pP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近几年与</a:t>
            </a:r>
            <a:r>
              <a:rPr kumimoji="0" lang="en-US" altLang="zh-CN"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xx</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服务</a:t>
            </a: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商合</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作进入市场，偏重提供技术支持</a:t>
            </a: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42" name="矩形 41"/>
          <p:cNvSpPr/>
          <p:nvPr/>
        </p:nvSpPr>
        <p:spPr>
          <a:xfrm>
            <a:off x="2214402" y="2611888"/>
            <a:ext cx="3031673" cy="702099"/>
          </a:xfrm>
          <a:prstGeom prst="rect">
            <a:avLst/>
          </a:prstGeom>
          <a:noFill/>
          <a:ln w="19050" cap="flat" cmpd="sng" algn="ctr">
            <a:noFill/>
            <a:prstDash val="solid"/>
            <a:miter lim="800000"/>
          </a:ln>
          <a:effectLst/>
        </p:spPr>
        <p:txBody>
          <a:bodyPr lIns="72532" tIns="36267" rIns="0" bIns="36267" rtlCol="0" anchor="t"/>
          <a:lstStyle/>
          <a:p>
            <a:pPr marL="193675" marR="0" lvl="1" indent="-191770" algn="l" defTabSz="894715" rtl="0" eaLnBrk="1" fontAlgn="base" latinLnBrk="0" hangingPunct="1">
              <a:lnSpc>
                <a:spcPct val="100000"/>
              </a:lnSpc>
              <a:spcBef>
                <a:spcPts val="0"/>
              </a:spcBef>
              <a:spcAft>
                <a:spcPct val="0"/>
              </a:spcAft>
              <a:buClr>
                <a:srgbClr val="FFFFFF"/>
              </a:buClr>
              <a:buSzPct val="125000"/>
              <a:buFont typeface="Arial" panose="020B0604020202020204" pitchFamily="34" charset="0"/>
              <a:buChar char="▪"/>
              <a:defRPr/>
            </a:pP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a:p>
            <a:pPr marL="1270" marR="0" lvl="1" indent="0" algn="l" defTabSz="894715" rtl="0" eaLnBrk="1" fontAlgn="base" latinLnBrk="0" hangingPunct="1">
              <a:lnSpc>
                <a:spcPct val="100000"/>
              </a:lnSpc>
              <a:spcBef>
                <a:spcPts val="0"/>
              </a:spcBef>
              <a:spcAft>
                <a:spcPct val="0"/>
              </a:spcAft>
              <a:buClr>
                <a:srgbClr val="FFFFFF"/>
              </a:buClr>
              <a:buSzPct val="125000"/>
              <a:buFontTx/>
              <a:buNone/>
              <a:defRPr/>
            </a:pP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43" name="椭圆 42"/>
          <p:cNvSpPr/>
          <p:nvPr>
            <p:custDataLst>
              <p:tags r:id="rId15"/>
            </p:custDataLst>
          </p:nvPr>
        </p:nvSpPr>
        <p:spPr bwMode="auto">
          <a:xfrm>
            <a:off x="5211865" y="2609811"/>
            <a:ext cx="360000" cy="360000"/>
          </a:xfrm>
          <a:prstGeom prst="ellipse">
            <a:avLst/>
          </a:prstGeom>
          <a:solidFill>
            <a:schemeClr val="accent1"/>
          </a:solidFill>
          <a:ln w="9525" cap="flat" cmpd="sng" algn="ctr">
            <a:solidFill>
              <a:schemeClr val="tx2">
                <a:lumMod val="60000"/>
                <a:lumOff val="40000"/>
              </a:schemeClr>
            </a:solidFill>
            <a:prstDash val="solid"/>
            <a:miter lim="800000"/>
            <a:headEnd type="none"/>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44" name="TextBox 61"/>
          <p:cNvSpPr txBox="1"/>
          <p:nvPr/>
        </p:nvSpPr>
        <p:spPr>
          <a:xfrm>
            <a:off x="692984" y="2338848"/>
            <a:ext cx="1041510" cy="564630"/>
          </a:xfrm>
          <a:prstGeom prst="rect">
            <a:avLst/>
          </a:prstGeom>
          <a:solidFill>
            <a:srgbClr val="FE5817"/>
          </a:solidFill>
          <a:ln>
            <a:noFill/>
          </a:ln>
        </p:spPr>
        <p:txBody>
          <a:bodyPr wrap="square" lIns="35984" tIns="45698" rIns="35984" bIns="45698" rtlCol="0" anchor="ctr">
            <a:noAutofit/>
          </a:bodyPr>
          <a:lstStyle>
            <a:defPPr>
              <a:defRPr lang="en-US"/>
            </a:defPPr>
            <a:lvl1pPr marR="0" lvl="0" indent="0" algn="ctr" fontAlgn="auto">
              <a:lnSpc>
                <a:spcPct val="100000"/>
              </a:lnSpc>
              <a:spcBef>
                <a:spcPts val="0"/>
              </a:spcBef>
              <a:spcAft>
                <a:spcPts val="0"/>
              </a:spcAft>
              <a:buClrTx/>
              <a:buSzTx/>
              <a:buFontTx/>
              <a:buNone/>
              <a:defRPr kumimoji="0" sz="1600" b="1" i="0" u="none" strike="noStrike" cap="none" spc="0" normalizeH="0" baseline="0">
                <a:ln>
                  <a:noFill/>
                </a:ln>
                <a:solidFill>
                  <a:prstClr val="white"/>
                </a:solidFill>
                <a:effectLst/>
                <a:uLnTx/>
                <a:uFillTx/>
                <a:latin typeface="微软雅黑" panose="020B0503020204020204" charset="-122"/>
                <a:ea typeface="微软雅黑" panose="020B0503020204020204" charset="-122"/>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zh-CN" altLang="en-US" dirty="0">
                <a:latin typeface="华文楷体" panose="02010600040101010101" charset="-122"/>
                <a:ea typeface="华文楷体" panose="02010600040101010101" charset="-122"/>
              </a:rPr>
              <a:t>市场份额</a:t>
            </a:r>
            <a:endParaRPr lang="zh-CN" altLang="en-US" dirty="0">
              <a:latin typeface="华文楷体" panose="02010600040101010101" charset="-122"/>
              <a:ea typeface="华文楷体" panose="02010600040101010101" charset="-122"/>
            </a:endParaRPr>
          </a:p>
        </p:txBody>
      </p:sp>
      <p:grpSp>
        <p:nvGrpSpPr>
          <p:cNvPr id="45" name="组合 44"/>
          <p:cNvGrpSpPr/>
          <p:nvPr/>
        </p:nvGrpSpPr>
        <p:grpSpPr>
          <a:xfrm>
            <a:off x="2038846" y="2609810"/>
            <a:ext cx="367819" cy="360000"/>
            <a:chOff x="4302551" y="1477565"/>
            <a:chExt cx="160122" cy="258266"/>
          </a:xfrm>
        </p:grpSpPr>
        <p:sp>
          <p:nvSpPr>
            <p:cNvPr id="67" name="椭圆 66"/>
            <p:cNvSpPr/>
            <p:nvPr>
              <p:custDataLst>
                <p:tags r:id="rId16"/>
              </p:custDataLst>
            </p:nvPr>
          </p:nvSpPr>
          <p:spPr bwMode="auto">
            <a:xfrm>
              <a:off x="4302551" y="1477565"/>
              <a:ext cx="156607" cy="258266"/>
            </a:xfrm>
            <a:prstGeom prst="ellipse">
              <a:avLst/>
            </a:prstGeom>
            <a:solidFill>
              <a:srgbClr val="FFFFFF"/>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68" name="弧形 67"/>
            <p:cNvSpPr/>
            <p:nvPr>
              <p:custDataLst>
                <p:tags r:id="rId17"/>
              </p:custDataLst>
            </p:nvPr>
          </p:nvSpPr>
          <p:spPr bwMode="gray">
            <a:xfrm>
              <a:off x="4302551" y="1477565"/>
              <a:ext cx="160122" cy="258265"/>
            </a:xfrm>
            <a:prstGeom prst="arc">
              <a:avLst>
                <a:gd name="adj1" fmla="val 16200000"/>
                <a:gd name="adj2" fmla="val 10800000"/>
              </a:avLst>
            </a:prstGeom>
            <a:solidFill>
              <a:schemeClr val="accent1"/>
            </a:solidFill>
            <a:ln>
              <a:solidFill>
                <a:srgbClr val="FF976D"/>
              </a:solidFill>
            </a:ln>
          </p:spPr>
          <p:txBody>
            <a:bodyPr wrap="square" lIns="35984" tIns="45698" rIns="35984" bIns="4569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grpSp>
      <p:grpSp>
        <p:nvGrpSpPr>
          <p:cNvPr id="46" name="组合 45"/>
          <p:cNvGrpSpPr/>
          <p:nvPr/>
        </p:nvGrpSpPr>
        <p:grpSpPr>
          <a:xfrm>
            <a:off x="8381635" y="3362028"/>
            <a:ext cx="360000" cy="360000"/>
            <a:chOff x="2160981" y="2174494"/>
            <a:chExt cx="200688" cy="196682"/>
          </a:xfrm>
        </p:grpSpPr>
        <p:sp>
          <p:nvSpPr>
            <p:cNvPr id="65" name="椭圆 64"/>
            <p:cNvSpPr/>
            <p:nvPr>
              <p:custDataLst>
                <p:tags r:id="rId18"/>
              </p:custDataLst>
            </p:nvPr>
          </p:nvSpPr>
          <p:spPr bwMode="auto">
            <a:xfrm>
              <a:off x="2164987" y="2174494"/>
              <a:ext cx="196682" cy="196682"/>
            </a:xfrm>
            <a:prstGeom prst="ellipse">
              <a:avLst/>
            </a:prstGeom>
            <a:solidFill>
              <a:srgbClr val="FFFFFF"/>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66" name="弧形 65"/>
            <p:cNvSpPr/>
            <p:nvPr>
              <p:custDataLst>
                <p:tags r:id="rId19"/>
              </p:custDataLst>
            </p:nvPr>
          </p:nvSpPr>
          <p:spPr bwMode="gray">
            <a:xfrm>
              <a:off x="2160981" y="2174494"/>
              <a:ext cx="196681" cy="196680"/>
            </a:xfrm>
            <a:prstGeom prst="arc">
              <a:avLst>
                <a:gd name="adj1" fmla="val 16200000"/>
                <a:gd name="adj2" fmla="val 5400000"/>
              </a:avLst>
            </a:prstGeom>
            <a:solidFill>
              <a:schemeClr val="accent1"/>
            </a:solidFill>
            <a:ln w="9525" cap="flat" cmpd="sng" algn="ctr">
              <a:solidFill>
                <a:srgbClr val="FF976D"/>
              </a:solidFill>
              <a:prstDash val="solid"/>
              <a:miter lim="800000"/>
              <a:headEnd type="none"/>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grpSp>
      <p:sp>
        <p:nvSpPr>
          <p:cNvPr id="47" name="TextBox 64"/>
          <p:cNvSpPr txBox="1"/>
          <p:nvPr/>
        </p:nvSpPr>
        <p:spPr>
          <a:xfrm>
            <a:off x="2650081" y="2466866"/>
            <a:ext cx="2002904" cy="461620"/>
          </a:xfrm>
          <a:prstGeom prst="rect">
            <a:avLst/>
          </a:prstGeom>
          <a:noFill/>
        </p:spPr>
        <p:txBody>
          <a:bodyPr wrap="square" lIns="91398" tIns="45698" rIns="91398" bIns="45698"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较早进入该细分领</a:t>
            </a: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域，</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占</a:t>
            </a:r>
            <a:r>
              <a:rPr lang="en-US" altLang="zh-CN" sz="1200" kern="0" dirty="0" smtClean="0">
                <a:solidFill>
                  <a:prstClr val="black"/>
                </a:solidFill>
                <a:latin typeface="华文楷体" panose="02010600040101010101" charset="-122"/>
                <a:ea typeface="华文楷体" panose="02010600040101010101" charset="-122"/>
              </a:rPr>
              <a:t>xx</a:t>
            </a:r>
            <a:r>
              <a:rPr kumimoji="0" lang="zh-CN" altLang="en-US" sz="1200" b="0" i="0" u="none" strike="noStrike" kern="0" cap="none" spc="0" normalizeH="0" baseline="0" noProof="0" dirty="0" smtClean="0">
                <a:ln>
                  <a:noFill/>
                </a:ln>
                <a:solidFill>
                  <a:prstClr val="black"/>
                </a:solidFill>
                <a:effectLst/>
                <a:uLnTx/>
                <a:uFillTx/>
                <a:latin typeface="华文楷体" panose="02010600040101010101" charset="-122"/>
                <a:ea typeface="华文楷体" panose="02010600040101010101" charset="-122"/>
              </a:rPr>
              <a:t>行业</a:t>
            </a: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半壁江山</a:t>
            </a:r>
            <a:endPar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48" name="矩形 47"/>
          <p:cNvSpPr/>
          <p:nvPr/>
        </p:nvSpPr>
        <p:spPr>
          <a:xfrm>
            <a:off x="2650081" y="4763657"/>
            <a:ext cx="1659405" cy="408681"/>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FFFF"/>
              </a:buClr>
              <a:buSzPct val="125000"/>
              <a:buFontTx/>
              <a:buNone/>
              <a:defRPr/>
            </a:pP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垂直领域较深入</a:t>
            </a: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a:p>
            <a:pPr marL="193675" marR="0" lvl="1" indent="-191770" algn="l" defTabSz="894715" rtl="0" eaLnBrk="1" fontAlgn="base" latinLnBrk="0" hangingPunct="1">
              <a:lnSpc>
                <a:spcPct val="100000"/>
              </a:lnSpc>
              <a:spcBef>
                <a:spcPts val="0"/>
              </a:spcBef>
              <a:spcAft>
                <a:spcPct val="0"/>
              </a:spcAft>
              <a:buClr>
                <a:srgbClr val="FFFFFF"/>
              </a:buClr>
              <a:buSzPct val="125000"/>
              <a:buFont typeface="Arial" panose="020B0604020202020204" pitchFamily="34" charset="0"/>
              <a:buChar char="▪"/>
              <a:defRPr/>
            </a:pP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49" name="矩形 48"/>
          <p:cNvSpPr/>
          <p:nvPr/>
        </p:nvSpPr>
        <p:spPr>
          <a:xfrm>
            <a:off x="8949749" y="2562434"/>
            <a:ext cx="2723950" cy="350855"/>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6600"/>
              </a:buClr>
              <a:buSzPct val="125000"/>
              <a:buFontTx/>
              <a:buNone/>
              <a:defRPr/>
            </a:pP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起步阶段</a:t>
            </a:r>
            <a:endPar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grpSp>
        <p:nvGrpSpPr>
          <p:cNvPr id="50" name="组合 49"/>
          <p:cNvGrpSpPr/>
          <p:nvPr/>
        </p:nvGrpSpPr>
        <p:grpSpPr>
          <a:xfrm>
            <a:off x="5211865" y="4878510"/>
            <a:ext cx="360000" cy="360000"/>
            <a:chOff x="6327411" y="2224606"/>
            <a:chExt cx="165045" cy="233991"/>
          </a:xfrm>
        </p:grpSpPr>
        <p:sp>
          <p:nvSpPr>
            <p:cNvPr id="63" name="椭圆 62"/>
            <p:cNvSpPr/>
            <p:nvPr>
              <p:custDataLst>
                <p:tags r:id="rId20"/>
              </p:custDataLst>
            </p:nvPr>
          </p:nvSpPr>
          <p:spPr bwMode="auto">
            <a:xfrm>
              <a:off x="6327411" y="2224610"/>
              <a:ext cx="165045" cy="219476"/>
            </a:xfrm>
            <a:prstGeom prst="ellipse">
              <a:avLst/>
            </a:prstGeom>
            <a:solidFill>
              <a:srgbClr val="FFFFFF"/>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64" name="弧形 63"/>
            <p:cNvSpPr/>
            <p:nvPr>
              <p:custDataLst>
                <p:tags r:id="rId21"/>
              </p:custDataLst>
            </p:nvPr>
          </p:nvSpPr>
          <p:spPr bwMode="gray">
            <a:xfrm>
              <a:off x="6330886" y="2224606"/>
              <a:ext cx="161570" cy="233991"/>
            </a:xfrm>
            <a:prstGeom prst="arc">
              <a:avLst>
                <a:gd name="adj1" fmla="val 16200000"/>
                <a:gd name="adj2" fmla="val 10800000"/>
              </a:avLst>
            </a:prstGeom>
            <a:solidFill>
              <a:schemeClr val="accent1"/>
            </a:solidFill>
            <a:ln w="9525" cap="flat" cmpd="sng" algn="ctr">
              <a:solidFill>
                <a:srgbClr val="FF976D"/>
              </a:solidFill>
              <a:prstDash val="solid"/>
              <a:miter lim="800000"/>
              <a:headEnd type="none"/>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grpSp>
      <p:grpSp>
        <p:nvGrpSpPr>
          <p:cNvPr id="51" name="组合 50"/>
          <p:cNvGrpSpPr/>
          <p:nvPr/>
        </p:nvGrpSpPr>
        <p:grpSpPr>
          <a:xfrm>
            <a:off x="2038846" y="4878516"/>
            <a:ext cx="360000" cy="360000"/>
            <a:chOff x="2188734" y="2174493"/>
            <a:chExt cx="156719" cy="252775"/>
          </a:xfrm>
        </p:grpSpPr>
        <p:sp>
          <p:nvSpPr>
            <p:cNvPr id="61" name="椭圆 60"/>
            <p:cNvSpPr/>
            <p:nvPr>
              <p:custDataLst>
                <p:tags r:id="rId22"/>
              </p:custDataLst>
            </p:nvPr>
          </p:nvSpPr>
          <p:spPr bwMode="auto">
            <a:xfrm>
              <a:off x="2188734" y="2174493"/>
              <a:ext cx="156619" cy="252775"/>
            </a:xfrm>
            <a:prstGeom prst="ellipse">
              <a:avLst/>
            </a:prstGeom>
            <a:solidFill>
              <a:srgbClr val="FFFFFF"/>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62" name="弧形 61"/>
            <p:cNvSpPr/>
            <p:nvPr>
              <p:custDataLst>
                <p:tags r:id="rId23"/>
              </p:custDataLst>
            </p:nvPr>
          </p:nvSpPr>
          <p:spPr bwMode="gray">
            <a:xfrm>
              <a:off x="2188735" y="2174493"/>
              <a:ext cx="156718" cy="252775"/>
            </a:xfrm>
            <a:prstGeom prst="arc">
              <a:avLst>
                <a:gd name="adj1" fmla="val 16200000"/>
                <a:gd name="adj2" fmla="val 5400000"/>
              </a:avLst>
            </a:prstGeom>
            <a:solidFill>
              <a:schemeClr val="accent1"/>
            </a:solidFill>
            <a:ln>
              <a:solidFill>
                <a:srgbClr val="FF976D"/>
              </a:solidFill>
            </a:ln>
          </p:spPr>
          <p:txBody>
            <a:bodyPr wrap="square" lIns="35984" tIns="45698" rIns="35984" bIns="4569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1" i="0" u="none" strike="noStrike" kern="1200" cap="none" spc="0" normalizeH="0" baseline="0" noProof="0">
                <a:ln>
                  <a:noFill/>
                </a:ln>
                <a:solidFill>
                  <a:prstClr val="white"/>
                </a:solidFill>
                <a:effectLst/>
                <a:uLnTx/>
                <a:uFillTx/>
                <a:latin typeface="华文楷体" panose="02010600040101010101" charset="-122"/>
                <a:ea typeface="华文楷体" panose="02010600040101010101" charset="-122"/>
              </a:endParaRPr>
            </a:p>
          </p:txBody>
        </p:sp>
      </p:grpSp>
      <p:grpSp>
        <p:nvGrpSpPr>
          <p:cNvPr id="52" name="组合 51"/>
          <p:cNvGrpSpPr/>
          <p:nvPr/>
        </p:nvGrpSpPr>
        <p:grpSpPr>
          <a:xfrm>
            <a:off x="8381635" y="4878517"/>
            <a:ext cx="360000" cy="360000"/>
            <a:chOff x="6291790" y="2224611"/>
            <a:chExt cx="197539" cy="196682"/>
          </a:xfrm>
        </p:grpSpPr>
        <p:sp>
          <p:nvSpPr>
            <p:cNvPr id="59" name="椭圆 58"/>
            <p:cNvSpPr/>
            <p:nvPr>
              <p:custDataLst>
                <p:tags r:id="rId24"/>
              </p:custDataLst>
            </p:nvPr>
          </p:nvSpPr>
          <p:spPr bwMode="auto">
            <a:xfrm>
              <a:off x="6291790" y="2224611"/>
              <a:ext cx="196682" cy="196682"/>
            </a:xfrm>
            <a:prstGeom prst="ellipse">
              <a:avLst/>
            </a:prstGeom>
            <a:solidFill>
              <a:srgbClr val="FFFFFF"/>
            </a:solidFill>
            <a:ln w="9525">
              <a:solidFill>
                <a:srgbClr val="FF976D"/>
              </a:solidFill>
            </a:ln>
          </p:spPr>
          <p:txBody>
            <a:bodyPr wrap="square" lIns="36000" r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60" name="弧形 59"/>
            <p:cNvSpPr/>
            <p:nvPr>
              <p:custDataLst>
                <p:tags r:id="rId25"/>
              </p:custDataLst>
            </p:nvPr>
          </p:nvSpPr>
          <p:spPr bwMode="gray">
            <a:xfrm>
              <a:off x="6292647" y="2224611"/>
              <a:ext cx="196682" cy="196682"/>
            </a:xfrm>
            <a:prstGeom prst="arc">
              <a:avLst>
                <a:gd name="adj1" fmla="val 16200000"/>
                <a:gd name="adj2" fmla="val 10800000"/>
              </a:avLst>
            </a:prstGeom>
            <a:solidFill>
              <a:schemeClr val="accent1"/>
            </a:solidFill>
            <a:ln w="9525" cap="flat" cmpd="sng" algn="ctr">
              <a:solidFill>
                <a:srgbClr val="FF976D"/>
              </a:solidFill>
              <a:prstDash val="solid"/>
              <a:miter lim="800000"/>
              <a:headEnd type="none"/>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grpSp>
      <p:sp>
        <p:nvSpPr>
          <p:cNvPr id="53" name="矩形 52"/>
          <p:cNvSpPr/>
          <p:nvPr/>
        </p:nvSpPr>
        <p:spPr>
          <a:xfrm>
            <a:off x="8873940" y="5528464"/>
            <a:ext cx="2311412" cy="702099"/>
          </a:xfrm>
          <a:prstGeom prst="rect">
            <a:avLst/>
          </a:prstGeom>
          <a:noFill/>
          <a:ln w="19050" cap="flat" cmpd="sng" algn="ctr">
            <a:noFill/>
            <a:prstDash val="solid"/>
            <a:miter lim="800000"/>
          </a:ln>
          <a:effectLst/>
        </p:spPr>
        <p:txBody>
          <a:bodyPr lIns="72532" tIns="36267" rIns="0" bIns="36267" rtlCol="0" anchor="t"/>
          <a:lstStyle/>
          <a:p>
            <a:pPr marL="1270" marR="0" lvl="1" indent="0" algn="l" defTabSz="894715" rtl="0" eaLnBrk="1" fontAlgn="base" latinLnBrk="0" hangingPunct="1">
              <a:lnSpc>
                <a:spcPct val="100000"/>
              </a:lnSpc>
              <a:spcBef>
                <a:spcPts val="0"/>
              </a:spcBef>
              <a:spcAft>
                <a:spcPct val="0"/>
              </a:spcAft>
              <a:buClr>
                <a:srgbClr val="FF6600"/>
              </a:buClr>
              <a:buSzPct val="125000"/>
              <a:buFontTx/>
              <a:buNone/>
              <a:defRPr/>
            </a:pP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集团年度收入</a:t>
            </a:r>
            <a:r>
              <a:rPr kumimoji="0" lang="en-US" altLang="zh-CN"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1%</a:t>
            </a:r>
            <a:r>
              <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rPr>
              <a:t>投入</a:t>
            </a:r>
            <a:endParaRPr kumimoji="0" lang="zh-CN" altLang="en-US" sz="1200" b="0" i="0" u="none" strike="noStrike" kern="0" cap="none" spc="0" normalizeH="0" baseline="0" noProof="0" dirty="0">
              <a:ln>
                <a:noFill/>
              </a:ln>
              <a:solidFill>
                <a:prstClr val="black"/>
              </a:solidFill>
              <a:effectLst/>
              <a:uLnTx/>
              <a:uFillTx/>
              <a:latin typeface="华文楷体" panose="02010600040101010101" charset="-122"/>
              <a:ea typeface="华文楷体" panose="02010600040101010101" charset="-122"/>
            </a:endParaRPr>
          </a:p>
        </p:txBody>
      </p:sp>
      <p:sp>
        <p:nvSpPr>
          <p:cNvPr id="54" name="椭圆 53"/>
          <p:cNvSpPr/>
          <p:nvPr>
            <p:custDataLst>
              <p:tags r:id="rId26"/>
            </p:custDataLst>
          </p:nvPr>
        </p:nvSpPr>
        <p:spPr bwMode="auto">
          <a:xfrm>
            <a:off x="8381635" y="2597666"/>
            <a:ext cx="360000" cy="360000"/>
          </a:xfrm>
          <a:prstGeom prst="ellipse">
            <a:avLst/>
          </a:prstGeom>
          <a:solidFill>
            <a:srgbClr val="FFFFFF"/>
          </a:solidFill>
          <a:ln w="9525">
            <a:solidFill>
              <a:schemeClr val="accent1"/>
            </a:solidFill>
          </a:ln>
        </p:spPr>
        <p:txBody>
          <a:bodyPr wrap="square" lIns="35984" tIns="45698" rIns="35984" bIns="4569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1" i="0" u="none" strike="noStrike" kern="0" cap="none" spc="0" normalizeH="0" baseline="0" noProof="0">
              <a:ln>
                <a:noFill/>
              </a:ln>
              <a:solidFill>
                <a:prstClr val="black"/>
              </a:solidFill>
              <a:effectLst/>
              <a:uLnTx/>
              <a:uFillTx/>
              <a:latin typeface="华文楷体" panose="02010600040101010101" charset="-122"/>
              <a:ea typeface="华文楷体" panose="02010600040101010101" charset="-122"/>
            </a:endParaRPr>
          </a:p>
        </p:txBody>
      </p:sp>
      <p:sp>
        <p:nvSpPr>
          <p:cNvPr id="56" name="矩形 55"/>
          <p:cNvSpPr/>
          <p:nvPr/>
        </p:nvSpPr>
        <p:spPr>
          <a:xfrm>
            <a:off x="368443" y="1402899"/>
            <a:ext cx="11356734" cy="4765825"/>
          </a:xfrm>
          <a:prstGeom prst="rect">
            <a:avLst/>
          </a:prstGeom>
          <a:noFill/>
          <a:ln w="28575" cap="rnd" cmpd="sng" algn="ctr">
            <a:solidFill>
              <a:schemeClr val="tx2">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endParaRPr>
          </a:p>
        </p:txBody>
      </p:sp>
      <p:sp>
        <p:nvSpPr>
          <p:cNvPr id="91" name="矩形 90"/>
          <p:cNvSpPr/>
          <p:nvPr/>
        </p:nvSpPr>
        <p:spPr>
          <a:xfrm>
            <a:off x="4915731" y="975949"/>
            <a:ext cx="22621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rPr>
              <a:t>主要供应商优势对比</a:t>
            </a:r>
            <a:endParaRPr kumimoji="0" lang="zh-CN" altLang="en-US" sz="18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grpSp>
        <p:nvGrpSpPr>
          <p:cNvPr id="92" name="Group 328"/>
          <p:cNvGrpSpPr/>
          <p:nvPr/>
        </p:nvGrpSpPr>
        <p:grpSpPr bwMode="auto">
          <a:xfrm rot="5400000">
            <a:off x="2038846" y="5580758"/>
            <a:ext cx="360000" cy="360000"/>
            <a:chOff x="2057393" y="1295396"/>
            <a:chExt cx="381007" cy="381004"/>
          </a:xfrm>
        </p:grpSpPr>
        <p:grpSp>
          <p:nvGrpSpPr>
            <p:cNvPr id="93" name="Group 50"/>
            <p:cNvGrpSpPr/>
            <p:nvPr/>
          </p:nvGrpSpPr>
          <p:grpSpPr bwMode="auto">
            <a:xfrm>
              <a:off x="2057393" y="1295396"/>
              <a:ext cx="381006" cy="381003"/>
              <a:chOff x="6324593" y="1371596"/>
              <a:chExt cx="381006" cy="381003"/>
            </a:xfrm>
          </p:grpSpPr>
          <p:sp>
            <p:nvSpPr>
              <p:cNvPr id="95" name="Oval 160"/>
              <p:cNvSpPr/>
              <p:nvPr/>
            </p:nvSpPr>
            <p:spPr bwMode="auto">
              <a:xfrm rot="16200000">
                <a:off x="6324599" y="1371599"/>
                <a:ext cx="381000" cy="381000"/>
              </a:xfrm>
              <a:prstGeom prst="ellipse">
                <a:avLst/>
              </a:prstGeom>
              <a:solidFill>
                <a:schemeClr val="accent1"/>
              </a:solidFill>
              <a:ln>
                <a:noFill/>
              </a:ln>
            </p:spPr>
            <p:txBody>
              <a:bodyPr wrap="square" lIns="35984" tIns="45698" rIns="35984" bIns="4569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6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sp>
            <p:nvSpPr>
              <p:cNvPr id="96" name="Pie 161"/>
              <p:cNvSpPr/>
              <p:nvPr/>
            </p:nvSpPr>
            <p:spPr bwMode="auto">
              <a:xfrm rot="16200000">
                <a:off x="6324593" y="1371596"/>
                <a:ext cx="380999" cy="380999"/>
              </a:xfrm>
              <a:prstGeom prst="pie">
                <a:avLst>
                  <a:gd name="adj1" fmla="val 16282013"/>
                  <a:gd name="adj2" fmla="val 21573965"/>
                </a:avLst>
              </a:prstGeom>
              <a:solidFill>
                <a:schemeClr val="accent1"/>
              </a:solidFill>
              <a:ln>
                <a:noFill/>
              </a:ln>
            </p:spPr>
            <p:txBody>
              <a:bodyPr wrap="square" lIns="35984" tIns="45698" rIns="35984" bIns="4569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6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grpSp>
        <p:sp>
          <p:nvSpPr>
            <p:cNvPr id="94" name="Oval 7"/>
            <p:cNvSpPr/>
            <p:nvPr/>
          </p:nvSpPr>
          <p:spPr bwMode="auto">
            <a:xfrm>
              <a:off x="2057400" y="1295400"/>
              <a:ext cx="381000" cy="381000"/>
            </a:xfrm>
            <a:prstGeom prst="ellipse">
              <a:avLst/>
            </a:prstGeom>
            <a:solidFill>
              <a:schemeClr val="accent1"/>
            </a:solidFill>
            <a:ln>
              <a:noFill/>
            </a:ln>
          </p:spPr>
          <p:txBody>
            <a:bodyPr wrap="square" lIns="35984" tIns="45698" rIns="35984" bIns="45698"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600" b="1" i="0" u="none" strike="noStrike" kern="1200" cap="none" spc="0" normalizeH="0" baseline="0" noProof="0" dirty="0">
                <a:ln>
                  <a:noFill/>
                </a:ln>
                <a:solidFill>
                  <a:prstClr val="white"/>
                </a:solidFill>
                <a:effectLst/>
                <a:uLnTx/>
                <a:uFillTx/>
                <a:latin typeface="华文楷体" panose="02010600040101010101" charset="-122"/>
                <a:ea typeface="华文楷体" panose="02010600040101010101" charset="-122"/>
              </a:endParaRPr>
            </a:p>
          </p:txBody>
        </p:sp>
      </p:grpSp>
      <p:pic>
        <p:nvPicPr>
          <p:cNvPr id="89" name="图片 88"/>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8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r>
              <a:rPr lang="zh-CN" altLang="en-US" sz="2400" dirty="0">
                <a:solidFill>
                  <a:prstClr val="black"/>
                </a:solidFill>
                <a:latin typeface="华文楷体" panose="02010600040101010101" charset="-122"/>
              </a:rPr>
              <a:t>优势</a:t>
            </a:r>
            <a:r>
              <a:rPr lang="zh-CN" altLang="en-US" sz="2400" dirty="0" smtClean="0">
                <a:solidFill>
                  <a:prstClr val="black"/>
                </a:solidFill>
                <a:latin typeface="华文楷体" panose="02010600040101010101" charset="-122"/>
              </a:rPr>
              <a:t>对比</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nvGraphicFramePr>
        <p:xfrm>
          <a:off x="406544" y="811923"/>
          <a:ext cx="11521278" cy="5437170"/>
        </p:xfrm>
        <a:graphic>
          <a:graphicData uri="http://schemas.openxmlformats.org/drawingml/2006/table">
            <a:tbl>
              <a:tblPr firstRow="1" bandRow="1">
                <a:tableStyleId>{5C22544A-7EE6-4342-B048-85BDC9FD1C3A}</a:tableStyleId>
              </a:tblPr>
              <a:tblGrid>
                <a:gridCol w="504055"/>
                <a:gridCol w="1975209"/>
                <a:gridCol w="1822986"/>
                <a:gridCol w="1822986"/>
                <a:gridCol w="1822986"/>
                <a:gridCol w="1819817"/>
                <a:gridCol w="1753239"/>
              </a:tblGrid>
              <a:tr h="379890">
                <a:tc>
                  <a:txBody>
                    <a:bodyPr/>
                    <a:lstStyle/>
                    <a:p>
                      <a:endParaRPr lang="zh-CN" altLang="en-US" dirty="0">
                        <a:latin typeface="华文楷体" panose="02010600040101010101" charset="-122"/>
                        <a:ea typeface="华文楷体" panose="02010600040101010101" charset="-122"/>
                      </a:endParaRPr>
                    </a:p>
                  </a:txBody>
                  <a:tcPr>
                    <a:solidFill>
                      <a:srgbClr val="FE5817"/>
                    </a:solidFill>
                  </a:tcPr>
                </a:tc>
                <a:tc>
                  <a:txBody>
                    <a:bodyPr/>
                    <a:lstStyle/>
                    <a:p>
                      <a:pPr algn="ctr"/>
                      <a:r>
                        <a:rPr lang="zh-CN" altLang="en-US" sz="1800" dirty="0" smtClean="0">
                          <a:latin typeface="华文楷体" panose="02010600040101010101" charset="-122"/>
                          <a:ea typeface="华文楷体" panose="02010600040101010101" charset="-122"/>
                        </a:rPr>
                        <a:t>公司规模</a:t>
                      </a:r>
                      <a:endParaRPr lang="zh-CN" altLang="en-US" sz="1800" dirty="0">
                        <a:latin typeface="华文楷体" panose="02010600040101010101" charset="-122"/>
                        <a:ea typeface="华文楷体" panose="02010600040101010101" charset="-122"/>
                      </a:endParaRPr>
                    </a:p>
                  </a:txBody>
                  <a:tcPr>
                    <a:solidFill>
                      <a:srgbClr val="FE5817"/>
                    </a:solidFill>
                  </a:tcPr>
                </a:tc>
                <a:tc>
                  <a:txBody>
                    <a:bodyPr/>
                    <a:lstStyle/>
                    <a:p>
                      <a:pPr algn="ctr"/>
                      <a:r>
                        <a:rPr lang="zh-CN" altLang="en-US" dirty="0" smtClean="0">
                          <a:latin typeface="华文楷体" panose="02010600040101010101" charset="-122"/>
                          <a:ea typeface="华文楷体" panose="02010600040101010101" charset="-122"/>
                        </a:rPr>
                        <a:t>司法业务收入</a:t>
                      </a:r>
                      <a:endParaRPr lang="zh-CN" altLang="en-US" dirty="0">
                        <a:latin typeface="华文楷体" panose="02010600040101010101" charset="-122"/>
                        <a:ea typeface="华文楷体" panose="02010600040101010101" charset="-122"/>
                      </a:endParaRPr>
                    </a:p>
                  </a:txBody>
                  <a:tcPr>
                    <a:solidFill>
                      <a:srgbClr val="FE5817"/>
                    </a:solidFill>
                  </a:tcPr>
                </a:tc>
                <a:tc>
                  <a:txBody>
                    <a:bodyPr/>
                    <a:lstStyle/>
                    <a:p>
                      <a:pPr algn="ctr"/>
                      <a:r>
                        <a:rPr lang="zh-CN" altLang="en-US" dirty="0" smtClean="0">
                          <a:latin typeface="华文楷体" panose="02010600040101010101" charset="-122"/>
                          <a:ea typeface="华文楷体" panose="02010600040101010101" charset="-122"/>
                        </a:rPr>
                        <a:t>经营特点</a:t>
                      </a:r>
                      <a:endParaRPr lang="zh-CN" altLang="en-US" dirty="0">
                        <a:latin typeface="华文楷体" panose="02010600040101010101" charset="-122"/>
                        <a:ea typeface="华文楷体" panose="02010600040101010101" charset="-122"/>
                      </a:endParaRPr>
                    </a:p>
                  </a:txBody>
                  <a:tcPr>
                    <a:solidFill>
                      <a:srgbClr val="FE5817"/>
                    </a:solidFill>
                  </a:tcPr>
                </a:tc>
                <a:tc>
                  <a:txBody>
                    <a:bodyPr/>
                    <a:lstStyle/>
                    <a:p>
                      <a:pPr algn="ctr"/>
                      <a:r>
                        <a:rPr lang="zh-CN" altLang="en-US" dirty="0" smtClean="0">
                          <a:latin typeface="华文楷体" panose="02010600040101010101" charset="-122"/>
                          <a:ea typeface="华文楷体" panose="02010600040101010101" charset="-122"/>
                        </a:rPr>
                        <a:t>主要产品</a:t>
                      </a:r>
                      <a:endParaRPr lang="zh-CN" altLang="en-US" dirty="0">
                        <a:latin typeface="华文楷体" panose="02010600040101010101" charset="-122"/>
                        <a:ea typeface="华文楷体" panose="02010600040101010101" charset="-122"/>
                      </a:endParaRPr>
                    </a:p>
                  </a:txBody>
                  <a:tcPr>
                    <a:solidFill>
                      <a:srgbClr val="FE5817"/>
                    </a:solidFill>
                  </a:tcPr>
                </a:tc>
                <a:tc>
                  <a:txBody>
                    <a:bodyPr/>
                    <a:lstStyle/>
                    <a:p>
                      <a:pPr algn="ctr"/>
                      <a:r>
                        <a:rPr lang="zh-CN" altLang="en-US" dirty="0" smtClean="0">
                          <a:latin typeface="华文楷体" panose="02010600040101010101" charset="-122"/>
                          <a:ea typeface="华文楷体" panose="02010600040101010101" charset="-122"/>
                        </a:rPr>
                        <a:t>典型项目</a:t>
                      </a:r>
                      <a:endParaRPr lang="zh-CN" altLang="en-US" dirty="0">
                        <a:latin typeface="华文楷体" panose="02010600040101010101" charset="-122"/>
                        <a:ea typeface="华文楷体" panose="02010600040101010101" charset="-122"/>
                      </a:endParaRPr>
                    </a:p>
                  </a:txBody>
                  <a:tcPr>
                    <a:solidFill>
                      <a:srgbClr val="FE5817"/>
                    </a:solidFill>
                  </a:tcPr>
                </a:tc>
                <a:tc>
                  <a:txBody>
                    <a:bodyPr/>
                    <a:lstStyle/>
                    <a:p>
                      <a:pPr algn="ctr"/>
                      <a:r>
                        <a:rPr lang="zh-CN" altLang="en-US" dirty="0" smtClean="0">
                          <a:latin typeface="华文楷体" panose="02010600040101010101" charset="-122"/>
                          <a:ea typeface="华文楷体" panose="02010600040101010101" charset="-122"/>
                        </a:rPr>
                        <a:t>重点区域</a:t>
                      </a:r>
                      <a:endParaRPr lang="zh-CN" altLang="en-US" dirty="0">
                        <a:latin typeface="华文楷体" panose="02010600040101010101" charset="-122"/>
                        <a:ea typeface="华文楷体" panose="02010600040101010101" charset="-122"/>
                      </a:endParaRPr>
                    </a:p>
                  </a:txBody>
                  <a:tcPr>
                    <a:solidFill>
                      <a:srgbClr val="FE5817"/>
                    </a:solidFill>
                  </a:tcPr>
                </a:tc>
              </a:tr>
              <a:tr h="2005473">
                <a:tc>
                  <a:txBody>
                    <a:bodyPr/>
                    <a:lstStyle/>
                    <a:p>
                      <a:pPr algn="ctr"/>
                      <a:endParaRPr lang="en-US" altLang="zh-CN" sz="1800" b="1" dirty="0" smtClean="0">
                        <a:latin typeface="华文楷体" panose="02010600040101010101" charset="-122"/>
                        <a:ea typeface="华文楷体" panose="02010600040101010101" charset="-122"/>
                      </a:endParaRPr>
                    </a:p>
                    <a:p>
                      <a:pPr algn="ctr"/>
                      <a:r>
                        <a:rPr lang="en-US" altLang="zh-CN" sz="1800" b="1" dirty="0" smtClean="0">
                          <a:latin typeface="华文楷体" panose="02010600040101010101" charset="-122"/>
                          <a:ea typeface="华文楷体" panose="02010600040101010101" charset="-122"/>
                        </a:rPr>
                        <a:t>X</a:t>
                      </a:r>
                      <a:endParaRPr lang="en-US" altLang="zh-CN" sz="1800" b="1" dirty="0" smtClean="0">
                        <a:latin typeface="华文楷体" panose="02010600040101010101" charset="-122"/>
                        <a:ea typeface="华文楷体" panose="02010600040101010101" charset="-122"/>
                      </a:endParaRPr>
                    </a:p>
                    <a:p>
                      <a:pPr algn="ctr"/>
                      <a:r>
                        <a:rPr lang="en-US" altLang="zh-CN" sz="1800" b="1" dirty="0" smtClean="0">
                          <a:latin typeface="华文楷体" panose="02010600040101010101" charset="-122"/>
                          <a:ea typeface="华文楷体" panose="02010600040101010101" charset="-122"/>
                        </a:rPr>
                        <a:t>X</a:t>
                      </a:r>
                      <a:r>
                        <a:rPr lang="zh-CN" altLang="en-US" sz="1800" b="1" dirty="0" smtClean="0">
                          <a:latin typeface="华文楷体" panose="02010600040101010101" charset="-122"/>
                          <a:ea typeface="华文楷体" panose="02010600040101010101" charset="-122"/>
                        </a:rPr>
                        <a:t>公司</a:t>
                      </a:r>
                      <a:endParaRPr lang="zh-CN" altLang="en-US" sz="1800" b="1" dirty="0">
                        <a:latin typeface="华文楷体" panose="02010600040101010101" charset="-122"/>
                        <a:ea typeface="华文楷体" panose="02010600040101010101" charset="-122"/>
                      </a:endParaRPr>
                    </a:p>
                  </a:txBody>
                  <a:tcPr>
                    <a:solidFill>
                      <a:schemeClr val="bg1">
                        <a:lumMod val="95000"/>
                      </a:schemeClr>
                    </a:solidFill>
                  </a:tcPr>
                </a:tc>
                <a:tc>
                  <a:txBody>
                    <a:bodyPr/>
                    <a:lstStyle/>
                    <a:p>
                      <a:pPr marL="285750" indent="-285750">
                        <a:buFont typeface="Wingdings" panose="05000000000000000000" pitchFamily="2" charset="2"/>
                        <a:buChar char="Ø"/>
                      </a:pPr>
                      <a:r>
                        <a:rPr lang="zh-CN" altLang="en-US" sz="1400" dirty="0" smtClean="0">
                          <a:latin typeface="华文楷体" panose="02010600040101010101" charset="-122"/>
                          <a:ea typeface="华文楷体" panose="02010600040101010101" charset="-122"/>
                        </a:rPr>
                        <a:t>员工数量：</a:t>
                      </a:r>
                      <a:endParaRPr lang="en-US" altLang="zh-CN" sz="1400" dirty="0" smtClean="0">
                        <a:latin typeface="华文楷体" panose="02010600040101010101" charset="-122"/>
                        <a:ea typeface="华文楷体" panose="02010600040101010101" charset="-122"/>
                      </a:endParaRPr>
                    </a:p>
                    <a:p>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人</a:t>
                      </a:r>
                      <a:endParaRPr lang="en-US" altLang="zh-CN" sz="1400" dirty="0" smtClean="0">
                        <a:latin typeface="华文楷体" panose="02010600040101010101" charset="-122"/>
                        <a:ea typeface="华文楷体" panose="02010600040101010101" charset="-122"/>
                      </a:endParaRPr>
                    </a:p>
                    <a:p>
                      <a:pPr marL="285750" indent="-285750">
                        <a:buFont typeface="Wingdings" panose="05000000000000000000" pitchFamily="2" charset="2"/>
                        <a:buChar char="Ø"/>
                      </a:pPr>
                      <a:r>
                        <a:rPr lang="zh-CN" altLang="en-US" sz="1400" dirty="0" smtClean="0">
                          <a:latin typeface="华文楷体" panose="02010600040101010101" charset="-122"/>
                          <a:ea typeface="华文楷体" panose="02010600040101010101" charset="-122"/>
                        </a:rPr>
                        <a:t>分支机构数量：</a:t>
                      </a:r>
                      <a:endParaRPr lang="en-US" altLang="zh-CN" sz="1400" dirty="0" smtClean="0">
                        <a:latin typeface="华文楷体" panose="02010600040101010101" charset="-122"/>
                        <a:ea typeface="华文楷体" panose="02010600040101010101" charset="-122"/>
                      </a:endParaRPr>
                    </a:p>
                    <a:p>
                      <a:endParaRPr lang="zh-CN" altLang="en-US" sz="1400" dirty="0">
                        <a:latin typeface="华文楷体" panose="02010600040101010101" charset="-122"/>
                        <a:ea typeface="华文楷体" panose="02010600040101010101" charset="-122"/>
                      </a:endParaRPr>
                    </a:p>
                  </a:txBody>
                  <a:tcPr>
                    <a:solidFill>
                      <a:schemeClr val="bg1">
                        <a:lumMod val="95000"/>
                      </a:schemeClr>
                    </a:solidFill>
                  </a:tcPr>
                </a:tc>
                <a:tc>
                  <a:txBody>
                    <a:bodyPr/>
                    <a:lstStyle/>
                    <a:p>
                      <a:r>
                        <a:rPr lang="en-US" altLang="zh-CN" sz="1400" dirty="0" err="1" smtClean="0">
                          <a:latin typeface="华文楷体" panose="02010600040101010101" charset="-122"/>
                          <a:ea typeface="华文楷体" panose="02010600040101010101" charset="-122"/>
                        </a:rPr>
                        <a:t>xxxx</a:t>
                      </a:r>
                      <a:r>
                        <a:rPr lang="zh-CN" altLang="en-US" sz="1400" dirty="0" smtClean="0">
                          <a:latin typeface="华文楷体" panose="02010600040101010101" charset="-122"/>
                          <a:ea typeface="华文楷体" panose="02010600040101010101" charset="-122"/>
                        </a:rPr>
                        <a:t>亿</a:t>
                      </a:r>
                      <a:endParaRPr lang="zh-CN" altLang="en-US" sz="1400" dirty="0">
                        <a:latin typeface="华文楷体" panose="02010600040101010101" charset="-122"/>
                        <a:ea typeface="华文楷体" panose="02010600040101010101" charset="-122"/>
                      </a:endParaRPr>
                    </a:p>
                  </a:txBody>
                  <a:tcPr>
                    <a:solidFill>
                      <a:schemeClr val="bg1">
                        <a:lumMod val="95000"/>
                      </a:schemeClr>
                    </a:solidFill>
                  </a:tcPr>
                </a:tc>
                <a:tc>
                  <a:txBody>
                    <a:bodyPr/>
                    <a:lstStyle/>
                    <a:p>
                      <a:r>
                        <a:rPr lang="en-US" altLang="zh-CN" sz="1200" dirty="0" smtClean="0">
                          <a:latin typeface="华文楷体" panose="02010600040101010101" charset="-122"/>
                          <a:ea typeface="华文楷体" panose="02010600040101010101" charset="-122"/>
                        </a:rPr>
                        <a:t>1</a:t>
                      </a:r>
                      <a:r>
                        <a:rPr lang="zh-CN" altLang="en-US" sz="1200" dirty="0" smtClean="0">
                          <a:latin typeface="华文楷体" panose="02010600040101010101" charset="-122"/>
                          <a:ea typeface="华文楷体" panose="02010600040101010101" charset="-122"/>
                        </a:rPr>
                        <a:t>、</a:t>
                      </a:r>
                      <a:r>
                        <a:rPr lang="en-US" altLang="zh-CN" sz="1200" dirty="0" err="1" smtClean="0">
                          <a:latin typeface="华文楷体" panose="02010600040101010101" charset="-122"/>
                          <a:ea typeface="华文楷体" panose="02010600040101010101" charset="-122"/>
                        </a:rPr>
                        <a:t>xxxx</a:t>
                      </a:r>
                      <a:endParaRPr lang="en-US" altLang="zh-CN" sz="1200" dirty="0" smtClean="0">
                        <a:latin typeface="华文楷体" panose="02010600040101010101" charset="-122"/>
                        <a:ea typeface="华文楷体" panose="02010600040101010101" charset="-122"/>
                      </a:endParaRPr>
                    </a:p>
                    <a:p>
                      <a:r>
                        <a:rPr lang="en-US" altLang="zh-CN" sz="1200" dirty="0" smtClean="0">
                          <a:latin typeface="华文楷体" panose="02010600040101010101" charset="-122"/>
                          <a:ea typeface="华文楷体" panose="02010600040101010101" charset="-122"/>
                        </a:rPr>
                        <a:t>2</a:t>
                      </a:r>
                      <a:r>
                        <a:rPr lang="zh-CN" altLang="en-US" sz="1200" dirty="0" smtClean="0">
                          <a:latin typeface="华文楷体" panose="02010600040101010101" charset="-122"/>
                          <a:ea typeface="华文楷体" panose="02010600040101010101" charset="-122"/>
                        </a:rPr>
                        <a:t>、</a:t>
                      </a:r>
                      <a:endParaRPr lang="en-US" altLang="zh-CN" sz="1200" dirty="0" smtClean="0">
                        <a:latin typeface="华文楷体" panose="02010600040101010101" charset="-122"/>
                        <a:ea typeface="华文楷体" panose="02010600040101010101" charset="-122"/>
                      </a:endParaRPr>
                    </a:p>
                    <a:p>
                      <a:r>
                        <a:rPr lang="en-US" altLang="zh-CN" sz="1200" dirty="0" smtClean="0">
                          <a:latin typeface="华文楷体" panose="02010600040101010101" charset="-122"/>
                          <a:ea typeface="华文楷体" panose="02010600040101010101" charset="-122"/>
                        </a:rPr>
                        <a:t>3</a:t>
                      </a:r>
                      <a:r>
                        <a:rPr lang="zh-CN" altLang="en-US" sz="1200" dirty="0" smtClean="0">
                          <a:latin typeface="华文楷体" panose="02010600040101010101" charset="-122"/>
                          <a:ea typeface="华文楷体" panose="02010600040101010101" charset="-122"/>
                        </a:rPr>
                        <a:t>、</a:t>
                      </a:r>
                      <a:endParaRPr lang="en-US" altLang="zh-CN" sz="1200" dirty="0" smtClean="0">
                        <a:latin typeface="华文楷体" panose="02010600040101010101" charset="-122"/>
                        <a:ea typeface="华文楷体" panose="02010600040101010101" charset="-122"/>
                      </a:endParaRPr>
                    </a:p>
                    <a:p>
                      <a:r>
                        <a:rPr lang="en-US" altLang="zh-CN" sz="1200" dirty="0" smtClean="0">
                          <a:latin typeface="华文楷体" panose="02010600040101010101" charset="-122"/>
                          <a:ea typeface="华文楷体" panose="02010600040101010101" charset="-122"/>
                        </a:rPr>
                        <a:t>4</a:t>
                      </a:r>
                      <a:r>
                        <a:rPr lang="zh-CN" altLang="en-US" sz="1200" dirty="0" smtClean="0">
                          <a:latin typeface="华文楷体" panose="02010600040101010101" charset="-122"/>
                          <a:ea typeface="华文楷体" panose="02010600040101010101" charset="-122"/>
                        </a:rPr>
                        <a:t>、</a:t>
                      </a:r>
                      <a:endParaRPr lang="zh-CN" altLang="en-US" sz="1200" dirty="0">
                        <a:latin typeface="华文楷体" panose="02010600040101010101" charset="-122"/>
                        <a:ea typeface="华文楷体" panose="02010600040101010101" charset="-122"/>
                      </a:endParaRPr>
                    </a:p>
                  </a:txBody>
                  <a:tcPr>
                    <a:solidFill>
                      <a:schemeClr val="bg1">
                        <a:lumMod val="95000"/>
                      </a:schemeClr>
                    </a:solidFill>
                  </a:tcPr>
                </a:tc>
                <a:tc>
                  <a:txBody>
                    <a:bodyPr/>
                    <a:lstStyle/>
                    <a:p>
                      <a:pPr marL="285750" indent="-285750">
                        <a:buFont typeface="Wingdings" panose="05000000000000000000" pitchFamily="2" charset="2"/>
                        <a:buChar char="Ø"/>
                      </a:pPr>
                      <a:r>
                        <a:rPr lang="en-US" altLang="zh-CN" sz="1400" dirty="0" smtClean="0">
                          <a:latin typeface="华文楷体" panose="02010600040101010101" charset="-122"/>
                          <a:ea typeface="华文楷体" panose="02010600040101010101" charset="-122"/>
                        </a:rPr>
                        <a:t>xxx</a:t>
                      </a:r>
                      <a:r>
                        <a:rPr lang="zh-CN" altLang="en-US" sz="1400" dirty="0" smtClean="0">
                          <a:latin typeface="华文楷体" panose="02010600040101010101" charset="-122"/>
                          <a:ea typeface="华文楷体" panose="02010600040101010101" charset="-122"/>
                        </a:rPr>
                        <a:t>产品</a:t>
                      </a:r>
                      <a:endParaRPr lang="zh-CN" altLang="en-US" sz="1400" dirty="0" smtClean="0">
                        <a:latin typeface="华文楷体" panose="02010600040101010101" charset="-122"/>
                        <a:ea typeface="华文楷体" panose="02010600040101010101" charset="-122"/>
                      </a:endParaRPr>
                    </a:p>
                    <a:p>
                      <a:pPr marL="285750" indent="-285750">
                        <a:buFont typeface="Wingdings" panose="05000000000000000000" pitchFamily="2" charset="2"/>
                        <a:buChar char="Ø"/>
                      </a:pPr>
                      <a:r>
                        <a:rPr lang="en-US" altLang="zh-CN" sz="1400" dirty="0" smtClean="0">
                          <a:latin typeface="华文楷体" panose="02010600040101010101" charset="-122"/>
                          <a:ea typeface="华文楷体" panose="02010600040101010101" charset="-122"/>
                        </a:rPr>
                        <a:t>xxx</a:t>
                      </a:r>
                      <a:r>
                        <a:rPr lang="zh-CN" altLang="en-US" sz="1400" dirty="0" smtClean="0">
                          <a:latin typeface="华文楷体" panose="02010600040101010101" charset="-122"/>
                          <a:ea typeface="华文楷体" panose="02010600040101010101" charset="-122"/>
                        </a:rPr>
                        <a:t>产品</a:t>
                      </a:r>
                      <a:endParaRPr lang="zh-CN" altLang="en-US" sz="1400" dirty="0" smtClean="0">
                        <a:latin typeface="华文楷体" panose="02010600040101010101" charset="-122"/>
                        <a:ea typeface="华文楷体" panose="02010600040101010101" charset="-122"/>
                      </a:endParaRPr>
                    </a:p>
                    <a:p>
                      <a:pPr marL="285750" indent="-285750">
                        <a:buFont typeface="Wingdings" panose="05000000000000000000" pitchFamily="2" charset="2"/>
                        <a:buChar char="Ø"/>
                      </a:pPr>
                      <a:r>
                        <a:rPr lang="en-US" altLang="zh-CN" sz="1400" dirty="0" smtClean="0">
                          <a:latin typeface="华文楷体" panose="02010600040101010101" charset="-122"/>
                          <a:ea typeface="华文楷体" panose="02010600040101010101" charset="-122"/>
                        </a:rPr>
                        <a:t>xxx</a:t>
                      </a:r>
                      <a:r>
                        <a:rPr lang="zh-CN" altLang="en-US" sz="1400" dirty="0" smtClean="0">
                          <a:latin typeface="华文楷体" panose="02010600040101010101" charset="-122"/>
                          <a:ea typeface="华文楷体" panose="02010600040101010101" charset="-122"/>
                        </a:rPr>
                        <a:t>产品</a:t>
                      </a:r>
                      <a:endParaRPr lang="zh-CN" altLang="en-US" sz="1400" dirty="0">
                        <a:latin typeface="华文楷体" panose="02010600040101010101" charset="-122"/>
                        <a:ea typeface="华文楷体" panose="02010600040101010101" charset="-122"/>
                      </a:endParaRPr>
                    </a:p>
                  </a:txBody>
                  <a:tcPr>
                    <a:solidFill>
                      <a:schemeClr val="bg1">
                        <a:lumMod val="95000"/>
                      </a:schemeClr>
                    </a:solidFill>
                  </a:tcPr>
                </a:tc>
                <a:tc>
                  <a:txBody>
                    <a:bodyPr/>
                    <a:lstStyle/>
                    <a:p>
                      <a:r>
                        <a:rPr lang="en-US" altLang="zh-CN" sz="1400" dirty="0" smtClean="0">
                          <a:latin typeface="华文楷体" panose="02010600040101010101" charset="-122"/>
                          <a:ea typeface="华文楷体" panose="02010600040101010101" charset="-122"/>
                        </a:rPr>
                        <a:t>1</a:t>
                      </a:r>
                      <a:r>
                        <a:rPr lang="zh-CN" altLang="en-US" sz="1400" dirty="0" smtClean="0">
                          <a:latin typeface="华文楷体" panose="02010600040101010101" charset="-122"/>
                          <a:ea typeface="华文楷体" panose="02010600040101010101" charset="-122"/>
                        </a:rPr>
                        <a:t>、</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省市</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项目</a:t>
                      </a:r>
                      <a:endParaRPr lang="en-US" altLang="zh-CN" sz="1400" dirty="0" smtClean="0">
                        <a:latin typeface="华文楷体" panose="02010600040101010101" charset="-122"/>
                        <a:ea typeface="华文楷体" panose="02010600040101010101" charset="-122"/>
                      </a:endParaRPr>
                    </a:p>
                    <a:p>
                      <a:r>
                        <a:rPr lang="en-US" altLang="zh-CN" sz="1400" dirty="0" smtClean="0">
                          <a:latin typeface="华文楷体" panose="02010600040101010101" charset="-122"/>
                          <a:ea typeface="华文楷体" panose="02010600040101010101" charset="-122"/>
                        </a:rPr>
                        <a:t>2</a:t>
                      </a:r>
                      <a:r>
                        <a:rPr lang="zh-CN" altLang="en-US" sz="1400" dirty="0" smtClean="0">
                          <a:latin typeface="华文楷体" panose="02010600040101010101" charset="-122"/>
                          <a:ea typeface="华文楷体" panose="02010600040101010101" charset="-122"/>
                        </a:rPr>
                        <a:t>、</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省市</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项目</a:t>
                      </a:r>
                      <a:endParaRPr lang="zh-CN" altLang="en-US" sz="1400" dirty="0">
                        <a:latin typeface="华文楷体" panose="02010600040101010101" charset="-122"/>
                        <a:ea typeface="华文楷体" panose="02010600040101010101" charset="-122"/>
                      </a:endParaRPr>
                    </a:p>
                  </a:txBody>
                  <a:tcPr>
                    <a:solidFill>
                      <a:schemeClr val="bg1">
                        <a:lumMod val="95000"/>
                      </a:schemeClr>
                    </a:solidFill>
                  </a:tcPr>
                </a:tc>
                <a:tc>
                  <a:txBody>
                    <a:bodyPr/>
                    <a:lstStyle/>
                    <a:p>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省，</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市</a:t>
                      </a:r>
                      <a:endParaRPr lang="zh-CN" altLang="en-US" sz="1400" dirty="0">
                        <a:latin typeface="华文楷体" panose="02010600040101010101" charset="-122"/>
                        <a:ea typeface="华文楷体" panose="02010600040101010101" charset="-122"/>
                      </a:endParaRPr>
                    </a:p>
                  </a:txBody>
                  <a:tcPr>
                    <a:solidFill>
                      <a:schemeClr val="bg1">
                        <a:lumMod val="95000"/>
                      </a:schemeClr>
                    </a:solidFill>
                  </a:tcPr>
                </a:tc>
              </a:tr>
              <a:tr h="1656695">
                <a:tc>
                  <a:txBody>
                    <a:bodyPr/>
                    <a:lstStyle/>
                    <a:p>
                      <a:pPr algn="ctr"/>
                      <a:endParaRPr lang="en-US" altLang="zh-CN" b="1" dirty="0" smtClean="0">
                        <a:latin typeface="华文楷体" panose="02010600040101010101" charset="-122"/>
                        <a:ea typeface="华文楷体" panose="02010600040101010101" charset="-122"/>
                      </a:endParaRPr>
                    </a:p>
                    <a:p>
                      <a:pPr algn="ctr"/>
                      <a:r>
                        <a:rPr lang="en-US" altLang="zh-CN" sz="1800" b="1" dirty="0" smtClean="0">
                          <a:latin typeface="华文楷体" panose="02010600040101010101" charset="-122"/>
                          <a:ea typeface="华文楷体" panose="02010600040101010101" charset="-122"/>
                        </a:rPr>
                        <a:t>X</a:t>
                      </a:r>
                      <a:endParaRPr lang="en-US" altLang="zh-CN" sz="1800" b="1" dirty="0" smtClean="0">
                        <a:latin typeface="华文楷体" panose="02010600040101010101" charset="-122"/>
                        <a:ea typeface="华文楷体" panose="02010600040101010101" charset="-122"/>
                      </a:endParaRPr>
                    </a:p>
                    <a:p>
                      <a:pPr algn="ctr"/>
                      <a:r>
                        <a:rPr lang="en-US" altLang="zh-CN" sz="1800" b="1" dirty="0" smtClean="0">
                          <a:latin typeface="华文楷体" panose="02010600040101010101" charset="-122"/>
                          <a:ea typeface="华文楷体" panose="02010600040101010101" charset="-122"/>
                        </a:rPr>
                        <a:t>X</a:t>
                      </a:r>
                      <a:r>
                        <a:rPr lang="zh-CN" altLang="en-US" sz="1800" b="1" dirty="0" smtClean="0">
                          <a:latin typeface="华文楷体" panose="02010600040101010101" charset="-122"/>
                          <a:ea typeface="华文楷体" panose="02010600040101010101" charset="-122"/>
                        </a:rPr>
                        <a:t>公司</a:t>
                      </a:r>
                      <a:endParaRPr lang="zh-CN" altLang="en-US" sz="1800" b="1" dirty="0">
                        <a:latin typeface="华文楷体" panose="02010600040101010101" charset="-122"/>
                        <a:ea typeface="华文楷体" panose="02010600040101010101" charset="-122"/>
                      </a:endParaRPr>
                    </a:p>
                  </a:txBody>
                  <a:tcPr>
                    <a:noFill/>
                  </a:tcPr>
                </a:tc>
                <a:tc>
                  <a:txBody>
                    <a:bodyPr/>
                    <a:lstStyle/>
                    <a:p>
                      <a:pPr marL="285750" indent="-285750">
                        <a:buFont typeface="Wingdings" panose="05000000000000000000" pitchFamily="2" charset="2"/>
                        <a:buChar char="Ø"/>
                      </a:pPr>
                      <a:r>
                        <a:rPr lang="zh-CN" altLang="en-US" sz="1400" dirty="0" smtClean="0">
                          <a:latin typeface="华文楷体" panose="02010600040101010101" charset="-122"/>
                          <a:ea typeface="华文楷体" panose="02010600040101010101" charset="-122"/>
                        </a:rPr>
                        <a:t>员工数量：</a:t>
                      </a:r>
                      <a:endParaRPr lang="zh-CN" altLang="en-US" sz="1400" dirty="0" smtClean="0">
                        <a:latin typeface="华文楷体" panose="02010600040101010101" charset="-122"/>
                        <a:ea typeface="华文楷体" panose="02010600040101010101" charset="-122"/>
                      </a:endParaRPr>
                    </a:p>
                    <a:p>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人</a:t>
                      </a:r>
                      <a:endParaRPr lang="zh-CN" altLang="en-US" sz="1400" dirty="0" smtClean="0">
                        <a:latin typeface="华文楷体" panose="02010600040101010101" charset="-122"/>
                        <a:ea typeface="华文楷体" panose="02010600040101010101" charset="-122"/>
                      </a:endParaRPr>
                    </a:p>
                    <a:p>
                      <a:pPr marL="285750" indent="-285750">
                        <a:buFont typeface="Wingdings" panose="05000000000000000000" pitchFamily="2" charset="2"/>
                        <a:buChar char="Ø"/>
                      </a:pPr>
                      <a:r>
                        <a:rPr lang="zh-CN" altLang="en-US" sz="1400" dirty="0" smtClean="0">
                          <a:latin typeface="华文楷体" panose="02010600040101010101" charset="-122"/>
                          <a:ea typeface="华文楷体" panose="02010600040101010101" charset="-122"/>
                        </a:rPr>
                        <a:t>分支机构数量：</a:t>
                      </a:r>
                      <a:endParaRPr lang="zh-CN" altLang="en-US" sz="1400" dirty="0" smtClean="0">
                        <a:latin typeface="华文楷体" panose="02010600040101010101" charset="-122"/>
                        <a:ea typeface="华文楷体" panose="02010600040101010101" charset="-122"/>
                      </a:endParaRPr>
                    </a:p>
                    <a:p>
                      <a:r>
                        <a:rPr lang="zh-CN" altLang="en-US" sz="1400" dirty="0" smtClean="0">
                          <a:latin typeface="华文楷体" panose="02010600040101010101" charset="-122"/>
                          <a:ea typeface="华文楷体" panose="02010600040101010101" charset="-122"/>
                        </a:rPr>
                        <a:t>有</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家子公司</a:t>
                      </a:r>
                      <a:endParaRPr lang="zh-CN" altLang="en-US" sz="1400" dirty="0">
                        <a:latin typeface="华文楷体" panose="02010600040101010101" charset="-122"/>
                        <a:ea typeface="华文楷体" panose="02010600040101010101" charset="-122"/>
                      </a:endParaRPr>
                    </a:p>
                  </a:txBody>
                  <a:tcPr>
                    <a:noFill/>
                  </a:tcPr>
                </a:tc>
                <a:tc>
                  <a:txBody>
                    <a:bodyPr/>
                    <a:lstStyle/>
                    <a:p>
                      <a:r>
                        <a:rPr lang="en-US" altLang="zh-CN" sz="1400" dirty="0" err="1" smtClean="0">
                          <a:latin typeface="华文楷体" panose="02010600040101010101" charset="-122"/>
                          <a:ea typeface="华文楷体" panose="02010600040101010101" charset="-122"/>
                        </a:rPr>
                        <a:t>xxxx</a:t>
                      </a:r>
                      <a:r>
                        <a:rPr lang="zh-CN" altLang="en-US" sz="1400" dirty="0" smtClean="0">
                          <a:latin typeface="华文楷体" panose="02010600040101010101" charset="-122"/>
                          <a:ea typeface="华文楷体" panose="02010600040101010101" charset="-122"/>
                        </a:rPr>
                        <a:t>亿</a:t>
                      </a:r>
                      <a:endParaRPr lang="zh-CN" altLang="en-US" sz="1400" dirty="0">
                        <a:latin typeface="华文楷体" panose="02010600040101010101" charset="-122"/>
                        <a:ea typeface="华文楷体" panose="02010600040101010101" charset="-122"/>
                      </a:endParaRPr>
                    </a:p>
                  </a:txBody>
                  <a:tcPr>
                    <a:noFill/>
                  </a:tcPr>
                </a:tc>
                <a:tc>
                  <a:txBody>
                    <a:bodyPr/>
                    <a:lstStyle/>
                    <a:p>
                      <a:r>
                        <a:rPr lang="en-US" altLang="zh-CN" sz="1200" dirty="0" smtClean="0">
                          <a:latin typeface="华文楷体" panose="02010600040101010101" charset="-122"/>
                          <a:ea typeface="华文楷体" panose="02010600040101010101" charset="-122"/>
                        </a:rPr>
                        <a:t>1</a:t>
                      </a:r>
                      <a:r>
                        <a:rPr lang="zh-CN" altLang="en-US" sz="1200" dirty="0" smtClean="0">
                          <a:latin typeface="华文楷体" panose="02010600040101010101" charset="-122"/>
                          <a:ea typeface="华文楷体" panose="02010600040101010101" charset="-122"/>
                        </a:rPr>
                        <a:t>、</a:t>
                      </a:r>
                      <a:r>
                        <a:rPr lang="en-US" altLang="zh-CN" sz="1200" dirty="0" smtClean="0">
                          <a:latin typeface="华文楷体" panose="02010600040101010101" charset="-122"/>
                          <a:ea typeface="华文楷体" panose="02010600040101010101" charset="-122"/>
                        </a:rPr>
                        <a:t>xxx</a:t>
                      </a:r>
                      <a:endParaRPr lang="en-US" altLang="zh-CN" sz="1200" dirty="0" smtClean="0">
                        <a:latin typeface="华文楷体" panose="02010600040101010101" charset="-122"/>
                        <a:ea typeface="华文楷体" panose="02010600040101010101" charset="-122"/>
                      </a:endParaRPr>
                    </a:p>
                    <a:p>
                      <a:r>
                        <a:rPr lang="en-US" altLang="zh-CN" sz="1200" dirty="0" smtClean="0">
                          <a:latin typeface="华文楷体" panose="02010600040101010101" charset="-122"/>
                          <a:ea typeface="华文楷体" panose="02010600040101010101" charset="-122"/>
                        </a:rPr>
                        <a:t>2</a:t>
                      </a:r>
                      <a:r>
                        <a:rPr lang="zh-CN" altLang="en-US" sz="1200" dirty="0" smtClean="0">
                          <a:latin typeface="华文楷体" panose="02010600040101010101" charset="-122"/>
                          <a:ea typeface="华文楷体" panose="02010600040101010101" charset="-122"/>
                        </a:rPr>
                        <a:t>、</a:t>
                      </a:r>
                      <a:endParaRPr lang="en-US" altLang="zh-CN" sz="1200" dirty="0" smtClean="0">
                        <a:latin typeface="华文楷体" panose="02010600040101010101" charset="-122"/>
                        <a:ea typeface="华文楷体" panose="02010600040101010101" charset="-122"/>
                      </a:endParaRPr>
                    </a:p>
                    <a:p>
                      <a:r>
                        <a:rPr lang="en-US" altLang="zh-CN" sz="1200" dirty="0" smtClean="0">
                          <a:latin typeface="华文楷体" panose="02010600040101010101" charset="-122"/>
                          <a:ea typeface="华文楷体" panose="02010600040101010101" charset="-122"/>
                        </a:rPr>
                        <a:t>3</a:t>
                      </a:r>
                      <a:r>
                        <a:rPr lang="zh-CN" altLang="en-US" sz="1200" dirty="0" smtClean="0">
                          <a:latin typeface="华文楷体" panose="02010600040101010101" charset="-122"/>
                          <a:ea typeface="华文楷体" panose="02010600040101010101" charset="-122"/>
                        </a:rPr>
                        <a:t>、</a:t>
                      </a:r>
                      <a:endParaRPr lang="zh-CN" altLang="en-US" sz="1200" dirty="0">
                        <a:latin typeface="华文楷体" panose="02010600040101010101" charset="-122"/>
                        <a:ea typeface="华文楷体" panose="02010600040101010101" charset="-122"/>
                      </a:endParaRPr>
                    </a:p>
                  </a:txBody>
                  <a:tcPr>
                    <a:noFill/>
                  </a:tcPr>
                </a:tc>
                <a:tc>
                  <a:txBody>
                    <a:bodyPr/>
                    <a:lstStyle/>
                    <a:p>
                      <a:pPr marL="285750" indent="-285750">
                        <a:buFont typeface="Wingdings" panose="05000000000000000000" pitchFamily="2" charset="2"/>
                        <a:buChar char="Ø"/>
                      </a:pPr>
                      <a:r>
                        <a:rPr lang="en-US" altLang="zh-CN" sz="1400" dirty="0" smtClean="0">
                          <a:latin typeface="华文楷体" panose="02010600040101010101" charset="-122"/>
                          <a:ea typeface="华文楷体" panose="02010600040101010101" charset="-122"/>
                        </a:rPr>
                        <a:t>xxx</a:t>
                      </a:r>
                      <a:r>
                        <a:rPr lang="zh-CN" altLang="en-US" sz="1400" dirty="0" smtClean="0">
                          <a:latin typeface="华文楷体" panose="02010600040101010101" charset="-122"/>
                          <a:ea typeface="华文楷体" panose="02010600040101010101" charset="-122"/>
                        </a:rPr>
                        <a:t>产品</a:t>
                      </a:r>
                      <a:endParaRPr lang="zh-CN" altLang="en-US" sz="1400" dirty="0" smtClean="0">
                        <a:latin typeface="华文楷体" panose="02010600040101010101" charset="-122"/>
                        <a:ea typeface="华文楷体" panose="02010600040101010101" charset="-122"/>
                      </a:endParaRPr>
                    </a:p>
                    <a:p>
                      <a:pPr marL="285750" indent="-285750">
                        <a:buFont typeface="Wingdings" panose="05000000000000000000" pitchFamily="2" charset="2"/>
                        <a:buChar char="Ø"/>
                      </a:pPr>
                      <a:r>
                        <a:rPr lang="en-US" altLang="zh-CN" sz="1400" dirty="0" smtClean="0">
                          <a:latin typeface="华文楷体" panose="02010600040101010101" charset="-122"/>
                          <a:ea typeface="华文楷体" panose="02010600040101010101" charset="-122"/>
                        </a:rPr>
                        <a:t>xxx</a:t>
                      </a:r>
                      <a:r>
                        <a:rPr lang="zh-CN" altLang="en-US" sz="1400" dirty="0" smtClean="0">
                          <a:latin typeface="华文楷体" panose="02010600040101010101" charset="-122"/>
                          <a:ea typeface="华文楷体" panose="02010600040101010101" charset="-122"/>
                        </a:rPr>
                        <a:t>产品</a:t>
                      </a:r>
                      <a:endParaRPr lang="zh-CN" altLang="en-US" sz="1400" dirty="0" smtClean="0">
                        <a:latin typeface="华文楷体" panose="02010600040101010101" charset="-122"/>
                        <a:ea typeface="华文楷体" panose="02010600040101010101" charset="-122"/>
                      </a:endParaRPr>
                    </a:p>
                    <a:p>
                      <a:pPr marL="285750" indent="-285750">
                        <a:buFont typeface="Wingdings" panose="05000000000000000000" pitchFamily="2" charset="2"/>
                        <a:buChar char="Ø"/>
                      </a:pPr>
                      <a:r>
                        <a:rPr lang="en-US" altLang="zh-CN" sz="1400" dirty="0" smtClean="0">
                          <a:latin typeface="华文楷体" panose="02010600040101010101" charset="-122"/>
                          <a:ea typeface="华文楷体" panose="02010600040101010101" charset="-122"/>
                        </a:rPr>
                        <a:t>xxx</a:t>
                      </a:r>
                      <a:r>
                        <a:rPr lang="zh-CN" altLang="en-US" sz="1400" dirty="0" smtClean="0">
                          <a:latin typeface="华文楷体" panose="02010600040101010101" charset="-122"/>
                          <a:ea typeface="华文楷体" panose="02010600040101010101" charset="-122"/>
                        </a:rPr>
                        <a:t>产品</a:t>
                      </a:r>
                      <a:endParaRPr lang="zh-CN" altLang="en-US" sz="1400" dirty="0">
                        <a:latin typeface="华文楷体" panose="02010600040101010101" charset="-122"/>
                        <a:ea typeface="华文楷体" panose="02010600040101010101" charset="-122"/>
                      </a:endParaRPr>
                    </a:p>
                  </a:txBody>
                  <a:tcPr>
                    <a:noFill/>
                  </a:tcPr>
                </a:tc>
                <a:tc>
                  <a:txBody>
                    <a:bodyPr/>
                    <a:lstStyle/>
                    <a:p>
                      <a:r>
                        <a:rPr lang="en-US" altLang="zh-CN" sz="1400" dirty="0" smtClean="0">
                          <a:latin typeface="华文楷体" panose="02010600040101010101" charset="-122"/>
                          <a:ea typeface="华文楷体" panose="02010600040101010101" charset="-122"/>
                        </a:rPr>
                        <a:t>1</a:t>
                      </a:r>
                      <a:r>
                        <a:rPr lang="zh-CN" altLang="en-US" sz="1400" dirty="0" smtClean="0">
                          <a:latin typeface="华文楷体" panose="02010600040101010101" charset="-122"/>
                          <a:ea typeface="华文楷体" panose="02010600040101010101" charset="-122"/>
                        </a:rPr>
                        <a:t>、</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省市</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项目</a:t>
                      </a:r>
                      <a:endParaRPr lang="en-US" altLang="zh-CN" sz="1400" dirty="0" smtClean="0">
                        <a:latin typeface="华文楷体" panose="02010600040101010101" charset="-122"/>
                        <a:ea typeface="华文楷体" panose="02010600040101010101" charset="-122"/>
                      </a:endParaRPr>
                    </a:p>
                    <a:p>
                      <a:r>
                        <a:rPr lang="en-US" altLang="zh-CN" sz="1400" dirty="0" smtClean="0">
                          <a:latin typeface="华文楷体" panose="02010600040101010101" charset="-122"/>
                          <a:ea typeface="华文楷体" panose="02010600040101010101" charset="-122"/>
                        </a:rPr>
                        <a:t>2</a:t>
                      </a:r>
                      <a:r>
                        <a:rPr lang="zh-CN" altLang="en-US" sz="1400" dirty="0" smtClean="0">
                          <a:latin typeface="华文楷体" panose="02010600040101010101" charset="-122"/>
                          <a:ea typeface="华文楷体" panose="02010600040101010101" charset="-122"/>
                        </a:rPr>
                        <a:t>、</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省市</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项目</a:t>
                      </a:r>
                      <a:endParaRPr lang="zh-CN" altLang="en-US" sz="1400" dirty="0">
                        <a:latin typeface="华文楷体" panose="02010600040101010101" charset="-122"/>
                        <a:ea typeface="华文楷体" panose="02010600040101010101" charset="-122"/>
                      </a:endParaRPr>
                    </a:p>
                  </a:txBody>
                  <a:tcPr>
                    <a:noFill/>
                  </a:tcPr>
                </a:tc>
                <a:tc>
                  <a:txBody>
                    <a:bodyPr/>
                    <a:lstStyle/>
                    <a:p>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省，</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市</a:t>
                      </a:r>
                      <a:endParaRPr lang="zh-CN" altLang="en-US" sz="1400" dirty="0">
                        <a:latin typeface="华文楷体" panose="02010600040101010101" charset="-122"/>
                        <a:ea typeface="华文楷体" panose="02010600040101010101" charset="-122"/>
                      </a:endParaRPr>
                    </a:p>
                  </a:txBody>
                  <a:tcPr>
                    <a:noFill/>
                  </a:tcPr>
                </a:tc>
              </a:tr>
              <a:tr h="1395112">
                <a:tc>
                  <a:txBody>
                    <a:bodyPr/>
                    <a:lstStyle/>
                    <a:p>
                      <a:pPr algn="ctr"/>
                      <a:r>
                        <a:rPr lang="en-US" altLang="zh-CN" sz="1800" b="1" dirty="0" smtClean="0">
                          <a:latin typeface="华文楷体" panose="02010600040101010101" charset="-122"/>
                          <a:ea typeface="华文楷体" panose="02010600040101010101" charset="-122"/>
                        </a:rPr>
                        <a:t>X</a:t>
                      </a:r>
                      <a:endParaRPr lang="en-US" altLang="zh-CN" sz="1800" b="1" dirty="0" smtClean="0">
                        <a:latin typeface="华文楷体" panose="02010600040101010101" charset="-122"/>
                        <a:ea typeface="华文楷体" panose="02010600040101010101" charset="-122"/>
                      </a:endParaRPr>
                    </a:p>
                    <a:p>
                      <a:pPr algn="ctr"/>
                      <a:r>
                        <a:rPr lang="en-US" altLang="zh-CN" sz="1800" b="1" dirty="0" smtClean="0">
                          <a:latin typeface="华文楷体" panose="02010600040101010101" charset="-122"/>
                          <a:ea typeface="华文楷体" panose="02010600040101010101" charset="-122"/>
                        </a:rPr>
                        <a:t>X</a:t>
                      </a:r>
                      <a:r>
                        <a:rPr lang="zh-CN" altLang="en-US" sz="1800" b="1" dirty="0" smtClean="0">
                          <a:latin typeface="华文楷体" panose="02010600040101010101" charset="-122"/>
                          <a:ea typeface="华文楷体" panose="02010600040101010101" charset="-122"/>
                        </a:rPr>
                        <a:t>公司</a:t>
                      </a:r>
                      <a:endParaRPr lang="zh-CN" altLang="en-US" sz="1800" b="1" dirty="0">
                        <a:latin typeface="华文楷体" panose="02010600040101010101" charset="-122"/>
                        <a:ea typeface="华文楷体" panose="02010600040101010101" charset="-122"/>
                      </a:endParaRPr>
                    </a:p>
                  </a:txBody>
                  <a:tcPr>
                    <a:solidFill>
                      <a:schemeClr val="bg1">
                        <a:lumMod val="95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defRPr/>
                      </a:pPr>
                      <a:r>
                        <a:rPr kumimoji="0" lang="zh-CN" altLang="en-US"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员工数量：</a:t>
                      </a:r>
                      <a:endParaRPr kumimoji="0" lang="zh-CN" altLang="en-US"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xx</a:t>
                      </a:r>
                      <a:r>
                        <a:rPr kumimoji="0" lang="zh-CN" altLang="en-US"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人</a:t>
                      </a:r>
                      <a:endParaRPr kumimoji="0" lang="zh-CN" altLang="en-US"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defRPr/>
                      </a:pPr>
                      <a:r>
                        <a:rPr kumimoji="0" lang="zh-CN" altLang="en-US"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rPr>
                        <a:t>分支机构数量：</a:t>
                      </a:r>
                      <a:endParaRPr kumimoji="0" lang="zh-CN" altLang="en-US" sz="1400" b="0" i="0" u="none" strike="noStrike" kern="1200" cap="none" spc="0" normalizeH="0" baseline="0" noProof="0" dirty="0" smtClean="0">
                        <a:ln>
                          <a:noFill/>
                        </a:ln>
                        <a:solidFill>
                          <a:prstClr val="black"/>
                        </a:solidFill>
                        <a:effectLst/>
                        <a:uLnTx/>
                        <a:uFillTx/>
                        <a:latin typeface="华文楷体" panose="02010600040101010101" charset="-122"/>
                        <a:ea typeface="华文楷体" panose="02010600040101010101" charset="-122"/>
                        <a:cs typeface="+mn-cs"/>
                      </a:endParaRPr>
                    </a:p>
                    <a:p>
                      <a:r>
                        <a:rPr lang="zh-CN" altLang="en-US" sz="1400" dirty="0" smtClean="0">
                          <a:latin typeface="华文楷体" panose="02010600040101010101" charset="-122"/>
                          <a:ea typeface="华文楷体" panose="02010600040101010101" charset="-122"/>
                        </a:rPr>
                        <a:t>未知</a:t>
                      </a:r>
                      <a:endParaRPr lang="zh-CN" altLang="en-US" sz="1400" dirty="0">
                        <a:latin typeface="华文楷体" panose="02010600040101010101" charset="-122"/>
                        <a:ea typeface="华文楷体" panose="02010600040101010101" charset="-122"/>
                      </a:endParaRPr>
                    </a:p>
                  </a:txBody>
                  <a:tcPr>
                    <a:solidFill>
                      <a:schemeClr val="bg1">
                        <a:lumMod val="95000"/>
                      </a:schemeClr>
                    </a:solidFill>
                  </a:tcPr>
                </a:tc>
                <a:tc>
                  <a:txBody>
                    <a:bodyPr/>
                    <a:lstStyle/>
                    <a:p>
                      <a:r>
                        <a:rPr lang="zh-CN" altLang="en-US" sz="1400" dirty="0" smtClean="0">
                          <a:latin typeface="华文楷体" panose="02010600040101010101" charset="-122"/>
                          <a:ea typeface="华文楷体" panose="02010600040101010101" charset="-122"/>
                        </a:rPr>
                        <a:t>未知</a:t>
                      </a:r>
                      <a:endParaRPr lang="zh-CN" altLang="en-US" sz="1400" dirty="0">
                        <a:latin typeface="华文楷体" panose="02010600040101010101" charset="-122"/>
                        <a:ea typeface="华文楷体" panose="02010600040101010101" charset="-122"/>
                      </a:endParaRPr>
                    </a:p>
                  </a:txBody>
                  <a:tcPr>
                    <a:solidFill>
                      <a:schemeClr val="bg1">
                        <a:lumMod val="95000"/>
                      </a:schemeClr>
                    </a:solidFill>
                  </a:tcPr>
                </a:tc>
                <a:tc>
                  <a:txBody>
                    <a:bodyPr/>
                    <a:lstStyle/>
                    <a:p>
                      <a:r>
                        <a:rPr lang="en-US" altLang="zh-CN" sz="1200" dirty="0" smtClean="0">
                          <a:latin typeface="华文楷体" panose="02010600040101010101" charset="-122"/>
                          <a:ea typeface="华文楷体" panose="02010600040101010101" charset="-122"/>
                        </a:rPr>
                        <a:t>1</a:t>
                      </a:r>
                      <a:r>
                        <a:rPr lang="zh-CN" altLang="en-US" sz="1200" dirty="0" smtClean="0">
                          <a:latin typeface="华文楷体" panose="02010600040101010101" charset="-122"/>
                          <a:ea typeface="华文楷体" panose="02010600040101010101" charset="-122"/>
                        </a:rPr>
                        <a:t>、</a:t>
                      </a:r>
                      <a:r>
                        <a:rPr lang="en-US" altLang="zh-CN" sz="1200" dirty="0" smtClean="0">
                          <a:latin typeface="华文楷体" panose="02010600040101010101" charset="-122"/>
                          <a:ea typeface="华文楷体" panose="02010600040101010101" charset="-122"/>
                        </a:rPr>
                        <a:t>xxx</a:t>
                      </a:r>
                      <a:endParaRPr lang="en-US" altLang="zh-CN" sz="1200" dirty="0" smtClean="0">
                        <a:latin typeface="华文楷体" panose="02010600040101010101" charset="-122"/>
                        <a:ea typeface="华文楷体" panose="02010600040101010101" charset="-122"/>
                      </a:endParaRPr>
                    </a:p>
                    <a:p>
                      <a:r>
                        <a:rPr lang="en-US" altLang="zh-CN" sz="1200" dirty="0" smtClean="0">
                          <a:latin typeface="华文楷体" panose="02010600040101010101" charset="-122"/>
                          <a:ea typeface="华文楷体" panose="02010600040101010101" charset="-122"/>
                        </a:rPr>
                        <a:t>2</a:t>
                      </a:r>
                      <a:r>
                        <a:rPr lang="zh-CN" altLang="en-US" sz="1200" dirty="0" smtClean="0">
                          <a:latin typeface="华文楷体" panose="02010600040101010101" charset="-122"/>
                          <a:ea typeface="华文楷体" panose="02010600040101010101" charset="-122"/>
                        </a:rPr>
                        <a:t>、</a:t>
                      </a:r>
                      <a:endParaRPr lang="en-US" altLang="zh-CN" sz="1200" dirty="0" smtClean="0">
                        <a:latin typeface="华文楷体" panose="02010600040101010101" charset="-122"/>
                        <a:ea typeface="华文楷体" panose="02010600040101010101" charset="-122"/>
                      </a:endParaRPr>
                    </a:p>
                    <a:p>
                      <a:r>
                        <a:rPr lang="en-US" altLang="zh-CN" sz="1200" dirty="0" smtClean="0">
                          <a:latin typeface="华文楷体" panose="02010600040101010101" charset="-122"/>
                          <a:ea typeface="华文楷体" panose="02010600040101010101" charset="-122"/>
                        </a:rPr>
                        <a:t>3</a:t>
                      </a:r>
                      <a:r>
                        <a:rPr lang="zh-CN" altLang="en-US" sz="1200" dirty="0" smtClean="0">
                          <a:latin typeface="华文楷体" panose="02010600040101010101" charset="-122"/>
                          <a:ea typeface="华文楷体" panose="02010600040101010101" charset="-122"/>
                        </a:rPr>
                        <a:t>、</a:t>
                      </a:r>
                      <a:endParaRPr lang="zh-CN" altLang="en-US" sz="1200" dirty="0" smtClean="0">
                        <a:latin typeface="华文楷体" panose="02010600040101010101" charset="-122"/>
                        <a:ea typeface="华文楷体" panose="02010600040101010101" charset="-122"/>
                      </a:endParaRPr>
                    </a:p>
                    <a:p>
                      <a:endParaRPr lang="zh-CN" altLang="en-US" sz="1200" dirty="0">
                        <a:latin typeface="华文楷体" panose="02010600040101010101" charset="-122"/>
                        <a:ea typeface="华文楷体" panose="02010600040101010101" charset="-122"/>
                      </a:endParaRPr>
                    </a:p>
                  </a:txBody>
                  <a:tcPr>
                    <a:solidFill>
                      <a:schemeClr val="bg1">
                        <a:lumMod val="95000"/>
                      </a:schemeClr>
                    </a:solidFill>
                  </a:tcPr>
                </a:tc>
                <a:tc>
                  <a:txBody>
                    <a:bodyPr/>
                    <a:lstStyle/>
                    <a:p>
                      <a:pPr marL="285750" indent="-285750">
                        <a:buFont typeface="Wingdings" panose="05000000000000000000" pitchFamily="2" charset="2"/>
                        <a:buChar char="Ø"/>
                      </a:pPr>
                      <a:r>
                        <a:rPr lang="en-US" altLang="zh-CN" sz="1400" dirty="0" smtClean="0">
                          <a:latin typeface="华文楷体" panose="02010600040101010101" charset="-122"/>
                          <a:ea typeface="华文楷体" panose="02010600040101010101" charset="-122"/>
                        </a:rPr>
                        <a:t>xxx</a:t>
                      </a:r>
                      <a:r>
                        <a:rPr lang="zh-CN" altLang="en-US" sz="1400" dirty="0" smtClean="0">
                          <a:latin typeface="华文楷体" panose="02010600040101010101" charset="-122"/>
                          <a:ea typeface="华文楷体" panose="02010600040101010101" charset="-122"/>
                        </a:rPr>
                        <a:t>产品</a:t>
                      </a:r>
                      <a:endParaRPr lang="zh-CN" altLang="en-US" sz="1400" dirty="0" smtClean="0">
                        <a:latin typeface="华文楷体" panose="02010600040101010101" charset="-122"/>
                        <a:ea typeface="华文楷体" panose="02010600040101010101" charset="-122"/>
                      </a:endParaRPr>
                    </a:p>
                    <a:p>
                      <a:pPr marL="285750" indent="-285750">
                        <a:buFont typeface="Wingdings" panose="05000000000000000000" pitchFamily="2" charset="2"/>
                        <a:buChar char="Ø"/>
                      </a:pPr>
                      <a:r>
                        <a:rPr lang="en-US" altLang="zh-CN" sz="1400" dirty="0" smtClean="0">
                          <a:latin typeface="华文楷体" panose="02010600040101010101" charset="-122"/>
                          <a:ea typeface="华文楷体" panose="02010600040101010101" charset="-122"/>
                        </a:rPr>
                        <a:t>xxx</a:t>
                      </a:r>
                      <a:r>
                        <a:rPr lang="zh-CN" altLang="en-US" sz="1400" dirty="0" smtClean="0">
                          <a:latin typeface="华文楷体" panose="02010600040101010101" charset="-122"/>
                          <a:ea typeface="华文楷体" panose="02010600040101010101" charset="-122"/>
                        </a:rPr>
                        <a:t>产品</a:t>
                      </a:r>
                      <a:endParaRPr lang="zh-CN" altLang="en-US" sz="1400" dirty="0" smtClean="0">
                        <a:latin typeface="华文楷体" panose="02010600040101010101" charset="-122"/>
                        <a:ea typeface="华文楷体" panose="02010600040101010101" charset="-122"/>
                      </a:endParaRPr>
                    </a:p>
                    <a:p>
                      <a:pPr marL="285750" indent="-285750">
                        <a:buFont typeface="Wingdings" panose="05000000000000000000" pitchFamily="2" charset="2"/>
                        <a:buChar char="Ø"/>
                      </a:pPr>
                      <a:r>
                        <a:rPr lang="en-US" altLang="zh-CN" sz="1400" dirty="0" smtClean="0">
                          <a:latin typeface="华文楷体" panose="02010600040101010101" charset="-122"/>
                          <a:ea typeface="华文楷体" panose="02010600040101010101" charset="-122"/>
                        </a:rPr>
                        <a:t>xxx</a:t>
                      </a:r>
                      <a:r>
                        <a:rPr lang="zh-CN" altLang="en-US" sz="1400" dirty="0" smtClean="0">
                          <a:latin typeface="华文楷体" panose="02010600040101010101" charset="-122"/>
                          <a:ea typeface="华文楷体" panose="02010600040101010101" charset="-122"/>
                        </a:rPr>
                        <a:t>产品</a:t>
                      </a:r>
                      <a:endParaRPr lang="zh-CN" altLang="en-US" sz="1400" dirty="0" smtClean="0">
                        <a:latin typeface="华文楷体" panose="02010600040101010101" charset="-122"/>
                        <a:ea typeface="华文楷体" panose="02010600040101010101" charset="-122"/>
                      </a:endParaRPr>
                    </a:p>
                    <a:p>
                      <a:endParaRPr lang="zh-CN" altLang="en-US" dirty="0">
                        <a:latin typeface="华文楷体" panose="02010600040101010101" charset="-122"/>
                        <a:ea typeface="华文楷体" panose="02010600040101010101" charset="-122"/>
                      </a:endParaRPr>
                    </a:p>
                  </a:txBody>
                  <a:tcPr>
                    <a:solidFill>
                      <a:schemeClr val="bg1">
                        <a:lumMod val="95000"/>
                      </a:schemeClr>
                    </a:solidFill>
                  </a:tcPr>
                </a:tc>
                <a:tc>
                  <a:txBody>
                    <a:bodyPr/>
                    <a:lstStyle/>
                    <a:p>
                      <a:r>
                        <a:rPr lang="en-US" altLang="zh-CN" sz="1400" dirty="0" smtClean="0">
                          <a:latin typeface="华文楷体" panose="02010600040101010101" charset="-122"/>
                          <a:ea typeface="华文楷体" panose="02010600040101010101" charset="-122"/>
                        </a:rPr>
                        <a:t>1</a:t>
                      </a:r>
                      <a:r>
                        <a:rPr lang="zh-CN" altLang="en-US" sz="1400" dirty="0" smtClean="0">
                          <a:latin typeface="华文楷体" panose="02010600040101010101" charset="-122"/>
                          <a:ea typeface="华文楷体" panose="02010600040101010101" charset="-122"/>
                        </a:rPr>
                        <a:t>、</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省市</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项目</a:t>
                      </a:r>
                      <a:endParaRPr lang="en-US" altLang="zh-CN" sz="1400" dirty="0" smtClean="0">
                        <a:latin typeface="华文楷体" panose="02010600040101010101" charset="-122"/>
                        <a:ea typeface="华文楷体" panose="02010600040101010101" charset="-122"/>
                      </a:endParaRPr>
                    </a:p>
                    <a:p>
                      <a:r>
                        <a:rPr lang="en-US" altLang="zh-CN" sz="1400" dirty="0" smtClean="0">
                          <a:latin typeface="华文楷体" panose="02010600040101010101" charset="-122"/>
                          <a:ea typeface="华文楷体" panose="02010600040101010101" charset="-122"/>
                        </a:rPr>
                        <a:t>2</a:t>
                      </a:r>
                      <a:r>
                        <a:rPr lang="zh-CN" altLang="en-US" sz="1400" dirty="0" smtClean="0">
                          <a:latin typeface="华文楷体" panose="02010600040101010101" charset="-122"/>
                          <a:ea typeface="华文楷体" panose="02010600040101010101" charset="-122"/>
                        </a:rPr>
                        <a:t>、</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省市</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项目</a:t>
                      </a:r>
                      <a:endParaRPr lang="zh-CN" altLang="en-US" sz="1400" dirty="0">
                        <a:latin typeface="华文楷体" panose="02010600040101010101" charset="-122"/>
                        <a:ea typeface="华文楷体" panose="02010600040101010101" charset="-122"/>
                      </a:endParaRPr>
                    </a:p>
                  </a:txBody>
                  <a:tcPr>
                    <a:solidFill>
                      <a:schemeClr val="bg1">
                        <a:lumMod val="95000"/>
                      </a:schemeClr>
                    </a:solidFill>
                  </a:tcPr>
                </a:tc>
                <a:tc>
                  <a:txBody>
                    <a:bodyPr/>
                    <a:lstStyle/>
                    <a:p>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省，</a:t>
                      </a:r>
                      <a:r>
                        <a:rPr lang="en-US" altLang="zh-CN" sz="1400" dirty="0" smtClean="0">
                          <a:latin typeface="华文楷体" panose="02010600040101010101" charset="-122"/>
                          <a:ea typeface="华文楷体" panose="02010600040101010101" charset="-122"/>
                        </a:rPr>
                        <a:t>xx</a:t>
                      </a:r>
                      <a:r>
                        <a:rPr lang="zh-CN" altLang="en-US" sz="1400" dirty="0" smtClean="0">
                          <a:latin typeface="华文楷体" panose="02010600040101010101" charset="-122"/>
                          <a:ea typeface="华文楷体" panose="02010600040101010101" charset="-122"/>
                        </a:rPr>
                        <a:t>市</a:t>
                      </a:r>
                      <a:endParaRPr lang="zh-CN" altLang="en-US" sz="1400" dirty="0">
                        <a:latin typeface="华文楷体" panose="02010600040101010101" charset="-122"/>
                        <a:ea typeface="华文楷体" panose="02010600040101010101" charset="-122"/>
                      </a:endParaRPr>
                    </a:p>
                  </a:txBody>
                  <a:tcPr>
                    <a:solidFill>
                      <a:schemeClr val="bg1">
                        <a:lumMod val="95000"/>
                      </a:schemeClr>
                    </a:solidFill>
                  </a:tcPr>
                </a:tc>
              </a:tr>
            </a:tbl>
          </a:graphicData>
        </a:graphic>
      </p:graphicFrame>
      <p:sp>
        <p:nvSpPr>
          <p:cNvPr id="6"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r>
              <a:rPr lang="zh-CN" altLang="en-US" sz="2400" dirty="0" smtClean="0">
                <a:solidFill>
                  <a:prstClr val="black"/>
                </a:solidFill>
                <a:latin typeface="华文楷体" panose="02010600040101010101" charset="-122"/>
                <a:ea typeface="华文楷体" panose="02010600040101010101" charset="-122"/>
              </a:rPr>
              <a:t>公司对比</a:t>
            </a:r>
            <a:endParaRPr lang="zh-CN" altLang="en-US" sz="2400" dirty="0">
              <a:solidFill>
                <a:prstClr val="black"/>
              </a:solidFill>
              <a:latin typeface="华文楷体" panose="02010600040101010101" charset="-122"/>
              <a:ea typeface="华文楷体" panose="02010600040101010101" charset="-122"/>
            </a:endParaRPr>
          </a:p>
        </p:txBody>
      </p:sp>
      <p:pic>
        <p:nvPicPr>
          <p:cNvPr id="7" name="图片 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1190782" y="5454782"/>
            <a:ext cx="9860263" cy="779067"/>
          </a:xfrm>
          <a:prstGeom prst="rect">
            <a:avLst/>
          </a:prstGeom>
          <a:solidFill>
            <a:schemeClr val="bg1"/>
          </a:solidFill>
          <a:ln w="19050">
            <a:solidFill>
              <a:srgbClr val="FE5817"/>
            </a:solidFill>
            <a:miter lim="800000"/>
          </a:ln>
          <a:effectLst>
            <a:outerShdw dist="35921" dir="2700000" algn="ctr" rotWithShape="0">
              <a:schemeClr val="bg2"/>
            </a:outerShdw>
          </a:effectLst>
        </p:spPr>
        <p:txBody>
          <a:bodyPr wrap="none" anchor="ctr"/>
          <a:lstStyle/>
          <a:p>
            <a:endParaRPr lang="en-US" sz="1430"/>
          </a:p>
        </p:txBody>
      </p:sp>
      <p:grpSp>
        <p:nvGrpSpPr>
          <p:cNvPr id="5" name="Group 3"/>
          <p:cNvGrpSpPr/>
          <p:nvPr>
            <p:custDataLst>
              <p:tags r:id="rId4"/>
            </p:custDataLst>
          </p:nvPr>
        </p:nvGrpSpPr>
        <p:grpSpPr>
          <a:xfrm>
            <a:off x="984832" y="5259121"/>
            <a:ext cx="414684" cy="382476"/>
            <a:chOff x="10234613" y="3048000"/>
            <a:chExt cx="946150" cy="946150"/>
          </a:xfrm>
        </p:grpSpPr>
        <p:sp>
          <p:nvSpPr>
            <p:cNvPr id="6" name="Rectangle 6"/>
            <p:cNvSpPr>
              <a:spLocks noChangeArrowheads="1"/>
            </p:cNvSpPr>
            <p:nvPr/>
          </p:nvSpPr>
          <p:spPr bwMode="auto">
            <a:xfrm>
              <a:off x="10234613" y="3048000"/>
              <a:ext cx="946150" cy="946150"/>
            </a:xfrm>
            <a:prstGeom prst="rect">
              <a:avLst/>
            </a:prstGeom>
            <a:solidFill>
              <a:schemeClr val="accent3"/>
            </a:solidFill>
            <a:ln w="9525">
              <a:noFill/>
              <a:miter lim="800000"/>
            </a:ln>
          </p:spPr>
          <p:txBody>
            <a:bodyPr vert="horz" wrap="square" lIns="93297" tIns="46649" rIns="93297" bIns="46649" numCol="1" anchor="t" anchorCtr="0" compatLnSpc="1"/>
            <a:lstStyle/>
            <a:p>
              <a:endParaRPr lang="en-US" sz="1430"/>
            </a:p>
          </p:txBody>
        </p:sp>
        <p:sp>
          <p:nvSpPr>
            <p:cNvPr id="7" name="Freeform 7"/>
            <p:cNvSpPr/>
            <p:nvPr/>
          </p:nvSpPr>
          <p:spPr bwMode="auto">
            <a:xfrm>
              <a:off x="10590213" y="3787775"/>
              <a:ext cx="241300" cy="28575"/>
            </a:xfrm>
            <a:custGeom>
              <a:avLst/>
              <a:gdLst/>
              <a:ahLst/>
              <a:cxnLst>
                <a:cxn ang="0">
                  <a:pos x="142" y="0"/>
                </a:cxn>
                <a:cxn ang="0">
                  <a:pos x="10" y="0"/>
                </a:cxn>
                <a:cxn ang="0">
                  <a:pos x="10" y="0"/>
                </a:cxn>
                <a:cxn ang="0">
                  <a:pos x="6" y="2"/>
                </a:cxn>
                <a:cxn ang="0">
                  <a:pos x="4" y="4"/>
                </a:cxn>
                <a:cxn ang="0">
                  <a:pos x="2" y="6"/>
                </a:cxn>
                <a:cxn ang="0">
                  <a:pos x="0" y="10"/>
                </a:cxn>
                <a:cxn ang="0">
                  <a:pos x="0" y="10"/>
                </a:cxn>
                <a:cxn ang="0">
                  <a:pos x="2" y="12"/>
                </a:cxn>
                <a:cxn ang="0">
                  <a:pos x="4" y="16"/>
                </a:cxn>
                <a:cxn ang="0">
                  <a:pos x="6" y="18"/>
                </a:cxn>
                <a:cxn ang="0">
                  <a:pos x="10" y="18"/>
                </a:cxn>
                <a:cxn ang="0">
                  <a:pos x="142" y="18"/>
                </a:cxn>
                <a:cxn ang="0">
                  <a:pos x="142" y="18"/>
                </a:cxn>
                <a:cxn ang="0">
                  <a:pos x="146" y="18"/>
                </a:cxn>
                <a:cxn ang="0">
                  <a:pos x="148" y="16"/>
                </a:cxn>
                <a:cxn ang="0">
                  <a:pos x="150" y="12"/>
                </a:cxn>
                <a:cxn ang="0">
                  <a:pos x="152" y="10"/>
                </a:cxn>
                <a:cxn ang="0">
                  <a:pos x="152" y="10"/>
                </a:cxn>
                <a:cxn ang="0">
                  <a:pos x="150" y="6"/>
                </a:cxn>
                <a:cxn ang="0">
                  <a:pos x="148" y="4"/>
                </a:cxn>
                <a:cxn ang="0">
                  <a:pos x="146" y="2"/>
                </a:cxn>
                <a:cxn ang="0">
                  <a:pos x="142" y="0"/>
                </a:cxn>
                <a:cxn ang="0">
                  <a:pos x="142" y="0"/>
                </a:cxn>
              </a:cxnLst>
              <a:rect l="0" t="0" r="r" b="b"/>
              <a:pathLst>
                <a:path w="152" h="18">
                  <a:moveTo>
                    <a:pt x="142" y="0"/>
                  </a:moveTo>
                  <a:lnTo>
                    <a:pt x="10" y="0"/>
                  </a:lnTo>
                  <a:lnTo>
                    <a:pt x="10" y="0"/>
                  </a:lnTo>
                  <a:lnTo>
                    <a:pt x="6" y="2"/>
                  </a:lnTo>
                  <a:lnTo>
                    <a:pt x="4" y="4"/>
                  </a:lnTo>
                  <a:lnTo>
                    <a:pt x="2" y="6"/>
                  </a:lnTo>
                  <a:lnTo>
                    <a:pt x="0" y="10"/>
                  </a:lnTo>
                  <a:lnTo>
                    <a:pt x="0" y="10"/>
                  </a:lnTo>
                  <a:lnTo>
                    <a:pt x="2" y="12"/>
                  </a:lnTo>
                  <a:lnTo>
                    <a:pt x="4" y="16"/>
                  </a:lnTo>
                  <a:lnTo>
                    <a:pt x="6" y="18"/>
                  </a:lnTo>
                  <a:lnTo>
                    <a:pt x="10" y="18"/>
                  </a:lnTo>
                  <a:lnTo>
                    <a:pt x="142" y="18"/>
                  </a:lnTo>
                  <a:lnTo>
                    <a:pt x="142" y="18"/>
                  </a:lnTo>
                  <a:lnTo>
                    <a:pt x="146" y="18"/>
                  </a:lnTo>
                  <a:lnTo>
                    <a:pt x="148" y="16"/>
                  </a:lnTo>
                  <a:lnTo>
                    <a:pt x="150" y="12"/>
                  </a:lnTo>
                  <a:lnTo>
                    <a:pt x="152" y="10"/>
                  </a:lnTo>
                  <a:lnTo>
                    <a:pt x="152" y="10"/>
                  </a:lnTo>
                  <a:lnTo>
                    <a:pt x="150" y="6"/>
                  </a:lnTo>
                  <a:lnTo>
                    <a:pt x="148" y="4"/>
                  </a:lnTo>
                  <a:lnTo>
                    <a:pt x="146" y="2"/>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endParaRPr lang="en-US" sz="1430"/>
            </a:p>
          </p:txBody>
        </p:sp>
        <p:sp>
          <p:nvSpPr>
            <p:cNvPr id="8" name="Freeform 8"/>
            <p:cNvSpPr/>
            <p:nvPr/>
          </p:nvSpPr>
          <p:spPr bwMode="auto">
            <a:xfrm>
              <a:off x="10590213" y="3838575"/>
              <a:ext cx="241300" cy="28575"/>
            </a:xfrm>
            <a:custGeom>
              <a:avLst/>
              <a:gdLst/>
              <a:ahLst/>
              <a:cxnLst>
                <a:cxn ang="0">
                  <a:pos x="142" y="0"/>
                </a:cxn>
                <a:cxn ang="0">
                  <a:pos x="10" y="0"/>
                </a:cxn>
                <a:cxn ang="0">
                  <a:pos x="10" y="0"/>
                </a:cxn>
                <a:cxn ang="0">
                  <a:pos x="6" y="0"/>
                </a:cxn>
                <a:cxn ang="0">
                  <a:pos x="4" y="2"/>
                </a:cxn>
                <a:cxn ang="0">
                  <a:pos x="2" y="6"/>
                </a:cxn>
                <a:cxn ang="0">
                  <a:pos x="0" y="8"/>
                </a:cxn>
                <a:cxn ang="0">
                  <a:pos x="0" y="8"/>
                </a:cxn>
                <a:cxn ang="0">
                  <a:pos x="2" y="12"/>
                </a:cxn>
                <a:cxn ang="0">
                  <a:pos x="4" y="16"/>
                </a:cxn>
                <a:cxn ang="0">
                  <a:pos x="6" y="16"/>
                </a:cxn>
                <a:cxn ang="0">
                  <a:pos x="10" y="18"/>
                </a:cxn>
                <a:cxn ang="0">
                  <a:pos x="142" y="18"/>
                </a:cxn>
                <a:cxn ang="0">
                  <a:pos x="142" y="18"/>
                </a:cxn>
                <a:cxn ang="0">
                  <a:pos x="146" y="16"/>
                </a:cxn>
                <a:cxn ang="0">
                  <a:pos x="148" y="16"/>
                </a:cxn>
                <a:cxn ang="0">
                  <a:pos x="150" y="12"/>
                </a:cxn>
                <a:cxn ang="0">
                  <a:pos x="152" y="8"/>
                </a:cxn>
                <a:cxn ang="0">
                  <a:pos x="152" y="8"/>
                </a:cxn>
                <a:cxn ang="0">
                  <a:pos x="150" y="6"/>
                </a:cxn>
                <a:cxn ang="0">
                  <a:pos x="148" y="2"/>
                </a:cxn>
                <a:cxn ang="0">
                  <a:pos x="146" y="0"/>
                </a:cxn>
                <a:cxn ang="0">
                  <a:pos x="142" y="0"/>
                </a:cxn>
                <a:cxn ang="0">
                  <a:pos x="142" y="0"/>
                </a:cxn>
              </a:cxnLst>
              <a:rect l="0" t="0" r="r" b="b"/>
              <a:pathLst>
                <a:path w="152" h="18">
                  <a:moveTo>
                    <a:pt x="142" y="0"/>
                  </a:moveTo>
                  <a:lnTo>
                    <a:pt x="10" y="0"/>
                  </a:lnTo>
                  <a:lnTo>
                    <a:pt x="10" y="0"/>
                  </a:lnTo>
                  <a:lnTo>
                    <a:pt x="6" y="0"/>
                  </a:lnTo>
                  <a:lnTo>
                    <a:pt x="4" y="2"/>
                  </a:lnTo>
                  <a:lnTo>
                    <a:pt x="2" y="6"/>
                  </a:lnTo>
                  <a:lnTo>
                    <a:pt x="0" y="8"/>
                  </a:lnTo>
                  <a:lnTo>
                    <a:pt x="0" y="8"/>
                  </a:lnTo>
                  <a:lnTo>
                    <a:pt x="2" y="12"/>
                  </a:lnTo>
                  <a:lnTo>
                    <a:pt x="4" y="16"/>
                  </a:lnTo>
                  <a:lnTo>
                    <a:pt x="6" y="16"/>
                  </a:lnTo>
                  <a:lnTo>
                    <a:pt x="10" y="18"/>
                  </a:lnTo>
                  <a:lnTo>
                    <a:pt x="142" y="18"/>
                  </a:lnTo>
                  <a:lnTo>
                    <a:pt x="142" y="18"/>
                  </a:lnTo>
                  <a:lnTo>
                    <a:pt x="146" y="16"/>
                  </a:lnTo>
                  <a:lnTo>
                    <a:pt x="148" y="16"/>
                  </a:lnTo>
                  <a:lnTo>
                    <a:pt x="150" y="12"/>
                  </a:lnTo>
                  <a:lnTo>
                    <a:pt x="152" y="8"/>
                  </a:lnTo>
                  <a:lnTo>
                    <a:pt x="152" y="8"/>
                  </a:lnTo>
                  <a:lnTo>
                    <a:pt x="150" y="6"/>
                  </a:lnTo>
                  <a:lnTo>
                    <a:pt x="148" y="2"/>
                  </a:lnTo>
                  <a:lnTo>
                    <a:pt x="146" y="0"/>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endParaRPr lang="en-US" sz="1430"/>
            </a:p>
          </p:txBody>
        </p:sp>
        <p:sp>
          <p:nvSpPr>
            <p:cNvPr id="9" name="Freeform 9"/>
            <p:cNvSpPr/>
            <p:nvPr/>
          </p:nvSpPr>
          <p:spPr bwMode="auto">
            <a:xfrm>
              <a:off x="10590213" y="3889375"/>
              <a:ext cx="241300" cy="53975"/>
            </a:xfrm>
            <a:custGeom>
              <a:avLst/>
              <a:gdLst/>
              <a:ahLst/>
              <a:cxnLst>
                <a:cxn ang="0">
                  <a:pos x="142" y="0"/>
                </a:cxn>
                <a:cxn ang="0">
                  <a:pos x="10" y="0"/>
                </a:cxn>
                <a:cxn ang="0">
                  <a:pos x="10" y="0"/>
                </a:cxn>
                <a:cxn ang="0">
                  <a:pos x="6" y="0"/>
                </a:cxn>
                <a:cxn ang="0">
                  <a:pos x="4" y="2"/>
                </a:cxn>
                <a:cxn ang="0">
                  <a:pos x="2" y="4"/>
                </a:cxn>
                <a:cxn ang="0">
                  <a:pos x="0" y="8"/>
                </a:cxn>
                <a:cxn ang="0">
                  <a:pos x="0" y="8"/>
                </a:cxn>
                <a:cxn ang="0">
                  <a:pos x="2" y="12"/>
                </a:cxn>
                <a:cxn ang="0">
                  <a:pos x="4" y="14"/>
                </a:cxn>
                <a:cxn ang="0">
                  <a:pos x="6" y="16"/>
                </a:cxn>
                <a:cxn ang="0">
                  <a:pos x="10" y="18"/>
                </a:cxn>
                <a:cxn ang="0">
                  <a:pos x="36" y="18"/>
                </a:cxn>
                <a:cxn ang="0">
                  <a:pos x="36" y="18"/>
                </a:cxn>
                <a:cxn ang="0">
                  <a:pos x="36" y="24"/>
                </a:cxn>
                <a:cxn ang="0">
                  <a:pos x="40" y="28"/>
                </a:cxn>
                <a:cxn ang="0">
                  <a:pos x="46" y="32"/>
                </a:cxn>
                <a:cxn ang="0">
                  <a:pos x="52" y="34"/>
                </a:cxn>
                <a:cxn ang="0">
                  <a:pos x="100" y="34"/>
                </a:cxn>
                <a:cxn ang="0">
                  <a:pos x="100" y="34"/>
                </a:cxn>
                <a:cxn ang="0">
                  <a:pos x="106" y="32"/>
                </a:cxn>
                <a:cxn ang="0">
                  <a:pos x="112" y="28"/>
                </a:cxn>
                <a:cxn ang="0">
                  <a:pos x="116" y="24"/>
                </a:cxn>
                <a:cxn ang="0">
                  <a:pos x="116" y="18"/>
                </a:cxn>
                <a:cxn ang="0">
                  <a:pos x="142" y="18"/>
                </a:cxn>
                <a:cxn ang="0">
                  <a:pos x="142" y="18"/>
                </a:cxn>
                <a:cxn ang="0">
                  <a:pos x="146" y="16"/>
                </a:cxn>
                <a:cxn ang="0">
                  <a:pos x="148" y="14"/>
                </a:cxn>
                <a:cxn ang="0">
                  <a:pos x="150" y="12"/>
                </a:cxn>
                <a:cxn ang="0">
                  <a:pos x="152" y="8"/>
                </a:cxn>
                <a:cxn ang="0">
                  <a:pos x="152" y="8"/>
                </a:cxn>
                <a:cxn ang="0">
                  <a:pos x="150" y="4"/>
                </a:cxn>
                <a:cxn ang="0">
                  <a:pos x="148" y="2"/>
                </a:cxn>
                <a:cxn ang="0">
                  <a:pos x="146" y="0"/>
                </a:cxn>
                <a:cxn ang="0">
                  <a:pos x="142" y="0"/>
                </a:cxn>
                <a:cxn ang="0">
                  <a:pos x="142" y="0"/>
                </a:cxn>
              </a:cxnLst>
              <a:rect l="0" t="0" r="r" b="b"/>
              <a:pathLst>
                <a:path w="152" h="34">
                  <a:moveTo>
                    <a:pt x="142" y="0"/>
                  </a:moveTo>
                  <a:lnTo>
                    <a:pt x="10" y="0"/>
                  </a:lnTo>
                  <a:lnTo>
                    <a:pt x="10" y="0"/>
                  </a:lnTo>
                  <a:lnTo>
                    <a:pt x="6" y="0"/>
                  </a:lnTo>
                  <a:lnTo>
                    <a:pt x="4" y="2"/>
                  </a:lnTo>
                  <a:lnTo>
                    <a:pt x="2" y="4"/>
                  </a:lnTo>
                  <a:lnTo>
                    <a:pt x="0" y="8"/>
                  </a:lnTo>
                  <a:lnTo>
                    <a:pt x="0" y="8"/>
                  </a:lnTo>
                  <a:lnTo>
                    <a:pt x="2" y="12"/>
                  </a:lnTo>
                  <a:lnTo>
                    <a:pt x="4" y="14"/>
                  </a:lnTo>
                  <a:lnTo>
                    <a:pt x="6" y="16"/>
                  </a:lnTo>
                  <a:lnTo>
                    <a:pt x="10" y="18"/>
                  </a:lnTo>
                  <a:lnTo>
                    <a:pt x="36" y="18"/>
                  </a:lnTo>
                  <a:lnTo>
                    <a:pt x="36" y="18"/>
                  </a:lnTo>
                  <a:lnTo>
                    <a:pt x="36" y="24"/>
                  </a:lnTo>
                  <a:lnTo>
                    <a:pt x="40" y="28"/>
                  </a:lnTo>
                  <a:lnTo>
                    <a:pt x="46" y="32"/>
                  </a:lnTo>
                  <a:lnTo>
                    <a:pt x="52" y="34"/>
                  </a:lnTo>
                  <a:lnTo>
                    <a:pt x="100" y="34"/>
                  </a:lnTo>
                  <a:lnTo>
                    <a:pt x="100" y="34"/>
                  </a:lnTo>
                  <a:lnTo>
                    <a:pt x="106" y="32"/>
                  </a:lnTo>
                  <a:lnTo>
                    <a:pt x="112" y="28"/>
                  </a:lnTo>
                  <a:lnTo>
                    <a:pt x="116" y="24"/>
                  </a:lnTo>
                  <a:lnTo>
                    <a:pt x="116" y="18"/>
                  </a:lnTo>
                  <a:lnTo>
                    <a:pt x="142" y="18"/>
                  </a:lnTo>
                  <a:lnTo>
                    <a:pt x="142" y="18"/>
                  </a:lnTo>
                  <a:lnTo>
                    <a:pt x="146" y="16"/>
                  </a:lnTo>
                  <a:lnTo>
                    <a:pt x="148" y="14"/>
                  </a:lnTo>
                  <a:lnTo>
                    <a:pt x="150" y="12"/>
                  </a:lnTo>
                  <a:lnTo>
                    <a:pt x="152" y="8"/>
                  </a:lnTo>
                  <a:lnTo>
                    <a:pt x="152" y="8"/>
                  </a:lnTo>
                  <a:lnTo>
                    <a:pt x="150" y="4"/>
                  </a:lnTo>
                  <a:lnTo>
                    <a:pt x="148" y="2"/>
                  </a:lnTo>
                  <a:lnTo>
                    <a:pt x="146" y="0"/>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endParaRPr lang="en-US" sz="1430"/>
            </a:p>
          </p:txBody>
        </p:sp>
        <p:sp>
          <p:nvSpPr>
            <p:cNvPr id="10" name="Freeform 10"/>
            <p:cNvSpPr>
              <a:spLocks noEditPoints="1"/>
            </p:cNvSpPr>
            <p:nvPr/>
          </p:nvSpPr>
          <p:spPr bwMode="auto">
            <a:xfrm>
              <a:off x="10431463" y="3098800"/>
              <a:ext cx="558800" cy="663575"/>
            </a:xfrm>
            <a:custGeom>
              <a:avLst/>
              <a:gdLst/>
              <a:ahLst/>
              <a:cxnLst>
                <a:cxn ang="0">
                  <a:pos x="176" y="0"/>
                </a:cxn>
                <a:cxn ang="0">
                  <a:pos x="140" y="2"/>
                </a:cxn>
                <a:cxn ang="0">
                  <a:pos x="108" y="12"/>
                </a:cxn>
                <a:cxn ang="0">
                  <a:pos x="78" y="30"/>
                </a:cxn>
                <a:cxn ang="0">
                  <a:pos x="52" y="50"/>
                </a:cxn>
                <a:cxn ang="0">
                  <a:pos x="30" y="76"/>
                </a:cxn>
                <a:cxn ang="0">
                  <a:pos x="14" y="106"/>
                </a:cxn>
                <a:cxn ang="0">
                  <a:pos x="4" y="140"/>
                </a:cxn>
                <a:cxn ang="0">
                  <a:pos x="0" y="174"/>
                </a:cxn>
                <a:cxn ang="0">
                  <a:pos x="2" y="190"/>
                </a:cxn>
                <a:cxn ang="0">
                  <a:pos x="10" y="222"/>
                </a:cxn>
                <a:cxn ang="0">
                  <a:pos x="28" y="262"/>
                </a:cxn>
                <a:cxn ang="0">
                  <a:pos x="36" y="278"/>
                </a:cxn>
                <a:cxn ang="0">
                  <a:pos x="50" y="296"/>
                </a:cxn>
                <a:cxn ang="0">
                  <a:pos x="80" y="348"/>
                </a:cxn>
                <a:cxn ang="0">
                  <a:pos x="94" y="390"/>
                </a:cxn>
                <a:cxn ang="0">
                  <a:pos x="96" y="404"/>
                </a:cxn>
                <a:cxn ang="0">
                  <a:pos x="102" y="414"/>
                </a:cxn>
                <a:cxn ang="0">
                  <a:pos x="114" y="418"/>
                </a:cxn>
                <a:cxn ang="0">
                  <a:pos x="242" y="418"/>
                </a:cxn>
                <a:cxn ang="0">
                  <a:pos x="252" y="414"/>
                </a:cxn>
                <a:cxn ang="0">
                  <a:pos x="258" y="404"/>
                </a:cxn>
                <a:cxn ang="0">
                  <a:pos x="260" y="388"/>
                </a:cxn>
                <a:cxn ang="0">
                  <a:pos x="276" y="344"/>
                </a:cxn>
                <a:cxn ang="0">
                  <a:pos x="308" y="290"/>
                </a:cxn>
                <a:cxn ang="0">
                  <a:pos x="316" y="276"/>
                </a:cxn>
                <a:cxn ang="0">
                  <a:pos x="336" y="238"/>
                </a:cxn>
                <a:cxn ang="0">
                  <a:pos x="346" y="208"/>
                </a:cxn>
                <a:cxn ang="0">
                  <a:pos x="352" y="174"/>
                </a:cxn>
                <a:cxn ang="0">
                  <a:pos x="350" y="156"/>
                </a:cxn>
                <a:cxn ang="0">
                  <a:pos x="344" y="122"/>
                </a:cxn>
                <a:cxn ang="0">
                  <a:pos x="330" y="90"/>
                </a:cxn>
                <a:cxn ang="0">
                  <a:pos x="312" y="62"/>
                </a:cxn>
                <a:cxn ang="0">
                  <a:pos x="288" y="40"/>
                </a:cxn>
                <a:cxn ang="0">
                  <a:pos x="260" y="20"/>
                </a:cxn>
                <a:cxn ang="0">
                  <a:pos x="228" y="8"/>
                </a:cxn>
                <a:cxn ang="0">
                  <a:pos x="194" y="0"/>
                </a:cxn>
                <a:cxn ang="0">
                  <a:pos x="176" y="0"/>
                </a:cxn>
                <a:cxn ang="0">
                  <a:pos x="130" y="86"/>
                </a:cxn>
                <a:cxn ang="0">
                  <a:pos x="108" y="102"/>
                </a:cxn>
                <a:cxn ang="0">
                  <a:pos x="90" y="122"/>
                </a:cxn>
                <a:cxn ang="0">
                  <a:pos x="80" y="148"/>
                </a:cxn>
                <a:cxn ang="0">
                  <a:pos x="76" y="174"/>
                </a:cxn>
                <a:cxn ang="0">
                  <a:pos x="76" y="184"/>
                </a:cxn>
                <a:cxn ang="0">
                  <a:pos x="82" y="202"/>
                </a:cxn>
                <a:cxn ang="0">
                  <a:pos x="82" y="214"/>
                </a:cxn>
                <a:cxn ang="0">
                  <a:pos x="72" y="224"/>
                </a:cxn>
                <a:cxn ang="0">
                  <a:pos x="66" y="224"/>
                </a:cxn>
                <a:cxn ang="0">
                  <a:pos x="54" y="218"/>
                </a:cxn>
                <a:cxn ang="0">
                  <a:pos x="50" y="214"/>
                </a:cxn>
                <a:cxn ang="0">
                  <a:pos x="42" y="184"/>
                </a:cxn>
                <a:cxn ang="0">
                  <a:pos x="42" y="174"/>
                </a:cxn>
                <a:cxn ang="0">
                  <a:pos x="46" y="138"/>
                </a:cxn>
                <a:cxn ang="0">
                  <a:pos x="62" y="104"/>
                </a:cxn>
                <a:cxn ang="0">
                  <a:pos x="84" y="76"/>
                </a:cxn>
                <a:cxn ang="0">
                  <a:pos x="114" y="56"/>
                </a:cxn>
                <a:cxn ang="0">
                  <a:pos x="122" y="54"/>
                </a:cxn>
                <a:cxn ang="0">
                  <a:pos x="134" y="58"/>
                </a:cxn>
                <a:cxn ang="0">
                  <a:pos x="138" y="64"/>
                </a:cxn>
                <a:cxn ang="0">
                  <a:pos x="138" y="76"/>
                </a:cxn>
                <a:cxn ang="0">
                  <a:pos x="130" y="86"/>
                </a:cxn>
              </a:cxnLst>
              <a:rect l="0" t="0" r="r" b="b"/>
              <a:pathLst>
                <a:path w="352" h="418">
                  <a:moveTo>
                    <a:pt x="176" y="0"/>
                  </a:moveTo>
                  <a:lnTo>
                    <a:pt x="176" y="0"/>
                  </a:lnTo>
                  <a:lnTo>
                    <a:pt x="158" y="0"/>
                  </a:lnTo>
                  <a:lnTo>
                    <a:pt x="140" y="2"/>
                  </a:lnTo>
                  <a:lnTo>
                    <a:pt x="124" y="8"/>
                  </a:lnTo>
                  <a:lnTo>
                    <a:pt x="108" y="12"/>
                  </a:lnTo>
                  <a:lnTo>
                    <a:pt x="92" y="20"/>
                  </a:lnTo>
                  <a:lnTo>
                    <a:pt x="78" y="30"/>
                  </a:lnTo>
                  <a:lnTo>
                    <a:pt x="64" y="40"/>
                  </a:lnTo>
                  <a:lnTo>
                    <a:pt x="52" y="50"/>
                  </a:lnTo>
                  <a:lnTo>
                    <a:pt x="40" y="62"/>
                  </a:lnTo>
                  <a:lnTo>
                    <a:pt x="30" y="76"/>
                  </a:lnTo>
                  <a:lnTo>
                    <a:pt x="22" y="90"/>
                  </a:lnTo>
                  <a:lnTo>
                    <a:pt x="14" y="106"/>
                  </a:lnTo>
                  <a:lnTo>
                    <a:pt x="8" y="122"/>
                  </a:lnTo>
                  <a:lnTo>
                    <a:pt x="4" y="140"/>
                  </a:lnTo>
                  <a:lnTo>
                    <a:pt x="2" y="156"/>
                  </a:lnTo>
                  <a:lnTo>
                    <a:pt x="0" y="174"/>
                  </a:lnTo>
                  <a:lnTo>
                    <a:pt x="0" y="174"/>
                  </a:lnTo>
                  <a:lnTo>
                    <a:pt x="2" y="190"/>
                  </a:lnTo>
                  <a:lnTo>
                    <a:pt x="6" y="208"/>
                  </a:lnTo>
                  <a:lnTo>
                    <a:pt x="10" y="222"/>
                  </a:lnTo>
                  <a:lnTo>
                    <a:pt x="16" y="238"/>
                  </a:lnTo>
                  <a:lnTo>
                    <a:pt x="28" y="262"/>
                  </a:lnTo>
                  <a:lnTo>
                    <a:pt x="36" y="278"/>
                  </a:lnTo>
                  <a:lnTo>
                    <a:pt x="36" y="278"/>
                  </a:lnTo>
                  <a:lnTo>
                    <a:pt x="50" y="296"/>
                  </a:lnTo>
                  <a:lnTo>
                    <a:pt x="50" y="296"/>
                  </a:lnTo>
                  <a:lnTo>
                    <a:pt x="66" y="322"/>
                  </a:lnTo>
                  <a:lnTo>
                    <a:pt x="80" y="348"/>
                  </a:lnTo>
                  <a:lnTo>
                    <a:pt x="90" y="376"/>
                  </a:lnTo>
                  <a:lnTo>
                    <a:pt x="94" y="390"/>
                  </a:lnTo>
                  <a:lnTo>
                    <a:pt x="96" y="404"/>
                  </a:lnTo>
                  <a:lnTo>
                    <a:pt x="96" y="404"/>
                  </a:lnTo>
                  <a:lnTo>
                    <a:pt x="98" y="410"/>
                  </a:lnTo>
                  <a:lnTo>
                    <a:pt x="102" y="414"/>
                  </a:lnTo>
                  <a:lnTo>
                    <a:pt x="108" y="418"/>
                  </a:lnTo>
                  <a:lnTo>
                    <a:pt x="114" y="418"/>
                  </a:lnTo>
                  <a:lnTo>
                    <a:pt x="242" y="418"/>
                  </a:lnTo>
                  <a:lnTo>
                    <a:pt x="242" y="418"/>
                  </a:lnTo>
                  <a:lnTo>
                    <a:pt x="248" y="418"/>
                  </a:lnTo>
                  <a:lnTo>
                    <a:pt x="252" y="414"/>
                  </a:lnTo>
                  <a:lnTo>
                    <a:pt x="256" y="410"/>
                  </a:lnTo>
                  <a:lnTo>
                    <a:pt x="258" y="404"/>
                  </a:lnTo>
                  <a:lnTo>
                    <a:pt x="258" y="404"/>
                  </a:lnTo>
                  <a:lnTo>
                    <a:pt x="260" y="388"/>
                  </a:lnTo>
                  <a:lnTo>
                    <a:pt x="264" y="374"/>
                  </a:lnTo>
                  <a:lnTo>
                    <a:pt x="276" y="344"/>
                  </a:lnTo>
                  <a:lnTo>
                    <a:pt x="292" y="316"/>
                  </a:lnTo>
                  <a:lnTo>
                    <a:pt x="308" y="290"/>
                  </a:lnTo>
                  <a:lnTo>
                    <a:pt x="316" y="276"/>
                  </a:lnTo>
                  <a:lnTo>
                    <a:pt x="316" y="276"/>
                  </a:lnTo>
                  <a:lnTo>
                    <a:pt x="324" y="262"/>
                  </a:lnTo>
                  <a:lnTo>
                    <a:pt x="336" y="238"/>
                  </a:lnTo>
                  <a:lnTo>
                    <a:pt x="342" y="222"/>
                  </a:lnTo>
                  <a:lnTo>
                    <a:pt x="346" y="208"/>
                  </a:lnTo>
                  <a:lnTo>
                    <a:pt x="350" y="190"/>
                  </a:lnTo>
                  <a:lnTo>
                    <a:pt x="352" y="174"/>
                  </a:lnTo>
                  <a:lnTo>
                    <a:pt x="352" y="174"/>
                  </a:lnTo>
                  <a:lnTo>
                    <a:pt x="350" y="156"/>
                  </a:lnTo>
                  <a:lnTo>
                    <a:pt x="348" y="140"/>
                  </a:lnTo>
                  <a:lnTo>
                    <a:pt x="344" y="122"/>
                  </a:lnTo>
                  <a:lnTo>
                    <a:pt x="338" y="106"/>
                  </a:lnTo>
                  <a:lnTo>
                    <a:pt x="330" y="90"/>
                  </a:lnTo>
                  <a:lnTo>
                    <a:pt x="322" y="76"/>
                  </a:lnTo>
                  <a:lnTo>
                    <a:pt x="312" y="62"/>
                  </a:lnTo>
                  <a:lnTo>
                    <a:pt x="300" y="50"/>
                  </a:lnTo>
                  <a:lnTo>
                    <a:pt x="288" y="40"/>
                  </a:lnTo>
                  <a:lnTo>
                    <a:pt x="274" y="30"/>
                  </a:lnTo>
                  <a:lnTo>
                    <a:pt x="260" y="20"/>
                  </a:lnTo>
                  <a:lnTo>
                    <a:pt x="244" y="12"/>
                  </a:lnTo>
                  <a:lnTo>
                    <a:pt x="228" y="8"/>
                  </a:lnTo>
                  <a:lnTo>
                    <a:pt x="212" y="2"/>
                  </a:lnTo>
                  <a:lnTo>
                    <a:pt x="194" y="0"/>
                  </a:lnTo>
                  <a:lnTo>
                    <a:pt x="176" y="0"/>
                  </a:lnTo>
                  <a:lnTo>
                    <a:pt x="176" y="0"/>
                  </a:lnTo>
                  <a:close/>
                  <a:moveTo>
                    <a:pt x="130" y="86"/>
                  </a:moveTo>
                  <a:lnTo>
                    <a:pt x="130" y="86"/>
                  </a:lnTo>
                  <a:lnTo>
                    <a:pt x="118" y="94"/>
                  </a:lnTo>
                  <a:lnTo>
                    <a:pt x="108" y="102"/>
                  </a:lnTo>
                  <a:lnTo>
                    <a:pt x="98" y="112"/>
                  </a:lnTo>
                  <a:lnTo>
                    <a:pt x="90" y="122"/>
                  </a:lnTo>
                  <a:lnTo>
                    <a:pt x="84" y="134"/>
                  </a:lnTo>
                  <a:lnTo>
                    <a:pt x="80" y="148"/>
                  </a:lnTo>
                  <a:lnTo>
                    <a:pt x="76" y="160"/>
                  </a:lnTo>
                  <a:lnTo>
                    <a:pt x="76" y="174"/>
                  </a:lnTo>
                  <a:lnTo>
                    <a:pt x="76" y="174"/>
                  </a:lnTo>
                  <a:lnTo>
                    <a:pt x="76" y="184"/>
                  </a:lnTo>
                  <a:lnTo>
                    <a:pt x="82" y="202"/>
                  </a:lnTo>
                  <a:lnTo>
                    <a:pt x="82" y="202"/>
                  </a:lnTo>
                  <a:lnTo>
                    <a:pt x="82" y="208"/>
                  </a:lnTo>
                  <a:lnTo>
                    <a:pt x="82" y="214"/>
                  </a:lnTo>
                  <a:lnTo>
                    <a:pt x="78" y="220"/>
                  </a:lnTo>
                  <a:lnTo>
                    <a:pt x="72" y="224"/>
                  </a:lnTo>
                  <a:lnTo>
                    <a:pt x="72" y="224"/>
                  </a:lnTo>
                  <a:lnTo>
                    <a:pt x="66" y="224"/>
                  </a:lnTo>
                  <a:lnTo>
                    <a:pt x="58" y="222"/>
                  </a:lnTo>
                  <a:lnTo>
                    <a:pt x="54" y="218"/>
                  </a:lnTo>
                  <a:lnTo>
                    <a:pt x="50" y="214"/>
                  </a:lnTo>
                  <a:lnTo>
                    <a:pt x="50" y="214"/>
                  </a:lnTo>
                  <a:lnTo>
                    <a:pt x="44" y="194"/>
                  </a:lnTo>
                  <a:lnTo>
                    <a:pt x="42" y="184"/>
                  </a:lnTo>
                  <a:lnTo>
                    <a:pt x="42" y="174"/>
                  </a:lnTo>
                  <a:lnTo>
                    <a:pt x="42" y="174"/>
                  </a:lnTo>
                  <a:lnTo>
                    <a:pt x="44" y="156"/>
                  </a:lnTo>
                  <a:lnTo>
                    <a:pt x="46" y="138"/>
                  </a:lnTo>
                  <a:lnTo>
                    <a:pt x="54" y="120"/>
                  </a:lnTo>
                  <a:lnTo>
                    <a:pt x="62" y="104"/>
                  </a:lnTo>
                  <a:lnTo>
                    <a:pt x="72" y="90"/>
                  </a:lnTo>
                  <a:lnTo>
                    <a:pt x="84" y="76"/>
                  </a:lnTo>
                  <a:lnTo>
                    <a:pt x="98" y="66"/>
                  </a:lnTo>
                  <a:lnTo>
                    <a:pt x="114" y="56"/>
                  </a:lnTo>
                  <a:lnTo>
                    <a:pt x="114" y="56"/>
                  </a:lnTo>
                  <a:lnTo>
                    <a:pt x="122" y="54"/>
                  </a:lnTo>
                  <a:lnTo>
                    <a:pt x="128" y="54"/>
                  </a:lnTo>
                  <a:lnTo>
                    <a:pt x="134" y="58"/>
                  </a:lnTo>
                  <a:lnTo>
                    <a:pt x="138" y="64"/>
                  </a:lnTo>
                  <a:lnTo>
                    <a:pt x="138" y="64"/>
                  </a:lnTo>
                  <a:lnTo>
                    <a:pt x="140" y="70"/>
                  </a:lnTo>
                  <a:lnTo>
                    <a:pt x="138" y="76"/>
                  </a:lnTo>
                  <a:lnTo>
                    <a:pt x="136" y="82"/>
                  </a:lnTo>
                  <a:lnTo>
                    <a:pt x="130" y="86"/>
                  </a:lnTo>
                  <a:lnTo>
                    <a:pt x="130" y="86"/>
                  </a:lnTo>
                  <a:close/>
                </a:path>
              </a:pathLst>
            </a:custGeom>
            <a:solidFill>
              <a:schemeClr val="accent1"/>
            </a:solidFill>
            <a:ln w="9525">
              <a:noFill/>
              <a:round/>
            </a:ln>
          </p:spPr>
          <p:txBody>
            <a:bodyPr vert="horz" wrap="square" lIns="93297" tIns="46649" rIns="93297" bIns="46649" numCol="1" anchor="t" anchorCtr="0" compatLnSpc="1"/>
            <a:lstStyle/>
            <a:p>
              <a:endParaRPr lang="en-US" sz="1430"/>
            </a:p>
          </p:txBody>
        </p:sp>
      </p:grpSp>
      <p:sp>
        <p:nvSpPr>
          <p:cNvPr id="11" name="Rectangle 11"/>
          <p:cNvSpPr txBox="1">
            <a:spLocks noChangeArrowheads="1"/>
          </p:cNvSpPr>
          <p:nvPr/>
        </p:nvSpPr>
        <p:spPr bwMode="auto">
          <a:xfrm>
            <a:off x="1559392" y="5569677"/>
            <a:ext cx="8938742" cy="490202"/>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lvl="1"/>
            <a:r>
              <a:rPr lang="zh-CN" altLang="en-US" sz="1430" dirty="0"/>
              <a:t>也可以按照某种思路（例如利润分解、资产结构等）进行一系列指标比较</a:t>
            </a:r>
            <a:endParaRPr lang="en-US" altLang="zh-CN" sz="1430" dirty="0"/>
          </a:p>
          <a:p>
            <a:pPr lvl="1"/>
            <a:r>
              <a:rPr lang="zh-CN" altLang="en-US" sz="1430" dirty="0"/>
              <a:t>将最核心的指标或最体现差异的指标高亮标示，并分析背后的原因</a:t>
            </a:r>
            <a:endParaRPr lang="en-US" altLang="ko-KR" sz="1430" dirty="0"/>
          </a:p>
        </p:txBody>
      </p:sp>
      <p:sp>
        <p:nvSpPr>
          <p:cNvPr id="12" name="Rectangle 11"/>
          <p:cNvSpPr txBox="1">
            <a:spLocks noChangeArrowheads="1"/>
          </p:cNvSpPr>
          <p:nvPr/>
        </p:nvSpPr>
        <p:spPr bwMode="auto">
          <a:xfrm>
            <a:off x="3505589" y="989145"/>
            <a:ext cx="611066" cy="21974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lgn="ctr">
              <a:buNone/>
            </a:pPr>
            <a:r>
              <a:rPr lang="en-US" altLang="zh-CN" sz="1430" b="1" dirty="0" smtClean="0"/>
              <a:t>XX</a:t>
            </a:r>
            <a:r>
              <a:rPr lang="zh-CN" altLang="en-US" sz="1430" b="1" dirty="0" smtClean="0"/>
              <a:t>银行</a:t>
            </a:r>
            <a:endParaRPr lang="en-US" altLang="ko-KR" sz="1430" b="1" dirty="0"/>
          </a:p>
        </p:txBody>
      </p:sp>
      <p:sp>
        <p:nvSpPr>
          <p:cNvPr id="13" name="Rectangle 11"/>
          <p:cNvSpPr txBox="1">
            <a:spLocks noChangeArrowheads="1"/>
          </p:cNvSpPr>
          <p:nvPr/>
        </p:nvSpPr>
        <p:spPr bwMode="auto">
          <a:xfrm>
            <a:off x="6246247" y="989145"/>
            <a:ext cx="611066" cy="21974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lgn="ctr">
              <a:buNone/>
            </a:pPr>
            <a:r>
              <a:rPr lang="en-US" altLang="zh-CN" sz="1430" b="1" dirty="0" smtClean="0"/>
              <a:t>XX</a:t>
            </a:r>
            <a:r>
              <a:rPr lang="zh-CN" altLang="en-US" sz="1430" b="1" dirty="0" smtClean="0"/>
              <a:t>银行</a:t>
            </a:r>
            <a:endParaRPr lang="en-US" altLang="ko-KR" sz="1430" b="1" dirty="0"/>
          </a:p>
        </p:txBody>
      </p:sp>
      <p:sp>
        <p:nvSpPr>
          <p:cNvPr id="14" name="Rectangle 11"/>
          <p:cNvSpPr txBox="1">
            <a:spLocks noChangeArrowheads="1"/>
          </p:cNvSpPr>
          <p:nvPr/>
        </p:nvSpPr>
        <p:spPr bwMode="auto">
          <a:xfrm>
            <a:off x="9015992" y="989145"/>
            <a:ext cx="611066" cy="21974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lgn="ctr">
              <a:buNone/>
            </a:pPr>
            <a:r>
              <a:rPr lang="en-US" altLang="zh-CN" sz="1430" b="1" dirty="0" smtClean="0"/>
              <a:t>XX</a:t>
            </a:r>
            <a:r>
              <a:rPr lang="zh-CN" altLang="en-US" sz="1430" b="1" dirty="0" smtClean="0"/>
              <a:t>银行</a:t>
            </a:r>
            <a:endParaRPr lang="en-US" altLang="ko-KR" sz="1430" b="1" dirty="0"/>
          </a:p>
        </p:txBody>
      </p:sp>
      <p:graphicFrame>
        <p:nvGraphicFramePr>
          <p:cNvPr id="16" name="图表 15"/>
          <p:cNvGraphicFramePr/>
          <p:nvPr/>
        </p:nvGraphicFramePr>
        <p:xfrm>
          <a:off x="1361891" y="1265376"/>
          <a:ext cx="4897252" cy="3980074"/>
        </p:xfrm>
        <a:graphic>
          <a:graphicData uri="http://schemas.openxmlformats.org/drawingml/2006/chart">
            <c:chart xmlns:c="http://schemas.openxmlformats.org/drawingml/2006/chart" xmlns:r="http://schemas.openxmlformats.org/officeDocument/2006/relationships" r:id="rId1"/>
          </a:graphicData>
        </a:graphic>
      </p:graphicFrame>
      <p:sp>
        <p:nvSpPr>
          <p:cNvPr id="18" name="Rectangle 2"/>
          <p:cNvSpPr>
            <a:spLocks noChangeArrowheads="1"/>
          </p:cNvSpPr>
          <p:nvPr/>
        </p:nvSpPr>
        <p:spPr bwMode="auto">
          <a:xfrm>
            <a:off x="1006481" y="1329124"/>
            <a:ext cx="10044564" cy="1325917"/>
          </a:xfrm>
          <a:prstGeom prst="rect">
            <a:avLst/>
          </a:prstGeom>
          <a:noFill/>
          <a:ln w="19050">
            <a:solidFill>
              <a:srgbClr val="FE5817"/>
            </a:solidFill>
            <a:miter lim="800000"/>
          </a:ln>
          <a:effectLst>
            <a:outerShdw dist="35921" dir="2700000" algn="ctr" rotWithShape="0">
              <a:schemeClr val="bg2"/>
            </a:outerShdw>
          </a:effectLst>
        </p:spPr>
        <p:txBody>
          <a:bodyPr wrap="none" anchor="ctr"/>
          <a:lstStyle/>
          <a:p>
            <a:endParaRPr lang="en-US" sz="1430"/>
          </a:p>
        </p:txBody>
      </p:sp>
      <p:sp>
        <p:nvSpPr>
          <p:cNvPr id="19" name="Rectangle 11"/>
          <p:cNvSpPr txBox="1">
            <a:spLocks noChangeArrowheads="1"/>
          </p:cNvSpPr>
          <p:nvPr/>
        </p:nvSpPr>
        <p:spPr bwMode="auto">
          <a:xfrm>
            <a:off x="1107700" y="1433773"/>
            <a:ext cx="712790" cy="73530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430" b="1" dirty="0"/>
              <a:t>营业收入类</a:t>
            </a:r>
            <a:br>
              <a:rPr lang="en-US" altLang="zh-CN" sz="1430" b="1" dirty="0"/>
            </a:br>
            <a:r>
              <a:rPr lang="zh-CN" altLang="en-US" sz="1430" b="1" dirty="0"/>
              <a:t>指标</a:t>
            </a:r>
            <a:r>
              <a:rPr lang="en-US" altLang="zh-CN" sz="1430" b="1" baseline="30000" dirty="0"/>
              <a:t>1</a:t>
            </a:r>
            <a:r>
              <a:rPr lang="en-US" altLang="zh-CN" sz="1430" b="1" dirty="0"/>
              <a:t> </a:t>
            </a:r>
            <a:endParaRPr lang="en-US" altLang="ko-KR" sz="1430" b="1" dirty="0"/>
          </a:p>
        </p:txBody>
      </p:sp>
      <p:sp>
        <p:nvSpPr>
          <p:cNvPr id="20" name="Rectangle 11"/>
          <p:cNvSpPr txBox="1">
            <a:spLocks noChangeArrowheads="1"/>
          </p:cNvSpPr>
          <p:nvPr/>
        </p:nvSpPr>
        <p:spPr bwMode="auto">
          <a:xfrm>
            <a:off x="1107700" y="2710287"/>
            <a:ext cx="712790" cy="73530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430" b="1" dirty="0"/>
              <a:t>营业支出类</a:t>
            </a:r>
            <a:br>
              <a:rPr lang="en-US" altLang="zh-CN" sz="1430" b="1" dirty="0"/>
            </a:br>
            <a:r>
              <a:rPr lang="zh-CN" altLang="en-US" sz="1430" b="1" dirty="0"/>
              <a:t>指标</a:t>
            </a:r>
            <a:endParaRPr lang="en-US" altLang="ko-KR" sz="1430" b="1" dirty="0"/>
          </a:p>
        </p:txBody>
      </p:sp>
      <p:sp>
        <p:nvSpPr>
          <p:cNvPr id="21" name="Rectangle 2"/>
          <p:cNvSpPr>
            <a:spLocks noChangeArrowheads="1"/>
          </p:cNvSpPr>
          <p:nvPr/>
        </p:nvSpPr>
        <p:spPr bwMode="auto">
          <a:xfrm>
            <a:off x="1006481" y="2657164"/>
            <a:ext cx="10044564" cy="1223923"/>
          </a:xfrm>
          <a:prstGeom prst="rect">
            <a:avLst/>
          </a:prstGeom>
          <a:noFill/>
          <a:ln w="19050">
            <a:solidFill>
              <a:srgbClr val="FE5817"/>
            </a:solidFill>
            <a:miter lim="800000"/>
          </a:ln>
          <a:effectLst>
            <a:outerShdw dist="35921" dir="2700000" algn="ctr" rotWithShape="0">
              <a:schemeClr val="bg2"/>
            </a:outerShdw>
          </a:effectLst>
        </p:spPr>
        <p:txBody>
          <a:bodyPr wrap="none" anchor="ctr"/>
          <a:lstStyle/>
          <a:p>
            <a:endParaRPr lang="en-US" sz="1430"/>
          </a:p>
        </p:txBody>
      </p:sp>
      <p:sp>
        <p:nvSpPr>
          <p:cNvPr id="22" name="Rectangle 2"/>
          <p:cNvSpPr>
            <a:spLocks noChangeArrowheads="1"/>
          </p:cNvSpPr>
          <p:nvPr/>
        </p:nvSpPr>
        <p:spPr bwMode="auto">
          <a:xfrm>
            <a:off x="1006481" y="3882639"/>
            <a:ext cx="10044564" cy="1221634"/>
          </a:xfrm>
          <a:prstGeom prst="rect">
            <a:avLst/>
          </a:prstGeom>
          <a:noFill/>
          <a:ln w="19050">
            <a:solidFill>
              <a:srgbClr val="FE5817"/>
            </a:solidFill>
            <a:miter lim="800000"/>
          </a:ln>
          <a:effectLst>
            <a:outerShdw dist="35921" dir="2700000" algn="ctr" rotWithShape="0">
              <a:schemeClr val="bg2"/>
            </a:outerShdw>
          </a:effectLst>
        </p:spPr>
        <p:txBody>
          <a:bodyPr wrap="none" anchor="ctr"/>
          <a:lstStyle/>
          <a:p>
            <a:endParaRPr lang="en-US" sz="1430"/>
          </a:p>
        </p:txBody>
      </p:sp>
      <p:sp>
        <p:nvSpPr>
          <p:cNvPr id="23" name="Rectangle 11"/>
          <p:cNvSpPr txBox="1">
            <a:spLocks noChangeArrowheads="1"/>
          </p:cNvSpPr>
          <p:nvPr/>
        </p:nvSpPr>
        <p:spPr bwMode="auto">
          <a:xfrm>
            <a:off x="1107700" y="3894436"/>
            <a:ext cx="712790" cy="490202"/>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430" b="1" dirty="0"/>
              <a:t>利润相关指标</a:t>
            </a:r>
            <a:endParaRPr lang="en-US" altLang="ko-KR" sz="1430" b="1" dirty="0"/>
          </a:p>
        </p:txBody>
      </p:sp>
      <p:graphicFrame>
        <p:nvGraphicFramePr>
          <p:cNvPr id="24" name="图表 23"/>
          <p:cNvGraphicFramePr/>
          <p:nvPr/>
        </p:nvGraphicFramePr>
        <p:xfrm>
          <a:off x="5643897" y="1265376"/>
          <a:ext cx="4238991" cy="39800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7" name="图表 26"/>
          <p:cNvGraphicFramePr/>
          <p:nvPr/>
        </p:nvGraphicFramePr>
        <p:xfrm>
          <a:off x="5791500" y="1404546"/>
          <a:ext cx="5771841" cy="3980074"/>
        </p:xfrm>
        <a:graphic>
          <a:graphicData uri="http://schemas.openxmlformats.org/drawingml/2006/chart">
            <c:chart xmlns:c="http://schemas.openxmlformats.org/drawingml/2006/chart" xmlns:r="http://schemas.openxmlformats.org/officeDocument/2006/relationships" r:id="rId3"/>
          </a:graphicData>
        </a:graphic>
      </p:graphicFrame>
      <p:sp>
        <p:nvSpPr>
          <p:cNvPr id="33" name="标题 2"/>
          <p:cNvSpPr txBox="1"/>
          <p:nvPr/>
        </p:nvSpPr>
        <p:spPr>
          <a:xfrm>
            <a:off x="1084430" y="89086"/>
            <a:ext cx="10934700" cy="922061"/>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t>关键</a:t>
            </a:r>
            <a:r>
              <a:rPr lang="zh-CN" altLang="en-US" sz="2400" dirty="0"/>
              <a:t>指标对标图：定量分析企业与竞争对手相比的优劣势，并挖掘背后原因</a:t>
            </a:r>
            <a:endParaRPr lang="zh-CN" altLang="en-US" sz="2400" dirty="0">
              <a:solidFill>
                <a:prstClr val="black"/>
              </a:solidFill>
              <a:latin typeface="华文楷体" panose="02010600040101010101" charset="-122"/>
              <a:ea typeface="华文楷体" panose="02010600040101010101" charset="-122"/>
            </a:endParaRPr>
          </a:p>
        </p:txBody>
      </p:sp>
      <p:pic>
        <p:nvPicPr>
          <p:cNvPr id="26" name="图片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32"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endParaRPr lang="zh-CN" altLang="en-US" sz="2400" dirty="0">
              <a:solidFill>
                <a:prstClr val="black"/>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7"/>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523387" name="think-cell Slide" r:id="rId8" imgW="12700" imgH="12700" progId="TCLayout.ActiveDocument.1">
                  <p:embed/>
                </p:oleObj>
              </mc:Choice>
              <mc:Fallback>
                <p:oleObj name="think-cell Slide" r:id="rId8" imgW="12700" imgH="12700" progId="TCLayout.ActiveDocument.1">
                  <p:embed/>
                  <p:pic>
                    <p:nvPicPr>
                      <p:cNvPr id="0" name="Object 16" hidden="1"/>
                      <p:cNvPicPr/>
                      <p:nvPr/>
                    </p:nvPicPr>
                    <p:blipFill>
                      <a:blip r:embed="rId9"/>
                      <a:stretch>
                        <a:fillRect/>
                      </a:stretch>
                    </p:blipFill>
                    <p:spPr>
                      <a:xfrm>
                        <a:off x="1525891" y="1621"/>
                        <a:ext cx="1619" cy="1619"/>
                      </a:xfrm>
                      <a:prstGeom prst="rect">
                        <a:avLst/>
                      </a:prstGeom>
                    </p:spPr>
                  </p:pic>
                </p:oleObj>
              </mc:Fallback>
            </mc:AlternateContent>
          </a:graphicData>
        </a:graphic>
      </p:graphicFrame>
      <p:grpSp>
        <p:nvGrpSpPr>
          <p:cNvPr id="2" name="组合 1"/>
          <p:cNvGrpSpPr/>
          <p:nvPr/>
        </p:nvGrpSpPr>
        <p:grpSpPr>
          <a:xfrm>
            <a:off x="712394" y="825212"/>
            <a:ext cx="11459832" cy="5393061"/>
            <a:chOff x="1801609" y="1018821"/>
            <a:chExt cx="8989696" cy="5209098"/>
          </a:xfrm>
        </p:grpSpPr>
        <p:sp>
          <p:nvSpPr>
            <p:cNvPr id="3" name="Rectangle 2"/>
            <p:cNvSpPr>
              <a:spLocks noChangeArrowheads="1"/>
            </p:cNvSpPr>
            <p:nvPr/>
          </p:nvSpPr>
          <p:spPr bwMode="auto">
            <a:xfrm>
              <a:off x="1819873" y="1018821"/>
              <a:ext cx="2643424" cy="4262885"/>
            </a:xfrm>
            <a:prstGeom prst="rect">
              <a:avLst/>
            </a:prstGeom>
            <a:solidFill>
              <a:schemeClr val="bg1"/>
            </a:solidFill>
            <a:ln w="19050">
              <a:solidFill>
                <a:schemeClr val="accent2"/>
              </a:solidFill>
              <a:miter lim="800000"/>
            </a:ln>
            <a:effectLst>
              <a:outerShdw dist="35921" dir="2700000" algn="ctr" rotWithShape="0">
                <a:schemeClr val="bg2"/>
              </a:outerShdw>
            </a:effectLst>
          </p:spPr>
          <p:txBody>
            <a:bodyPr wrap="none" anchor="ctr"/>
            <a:lstStyle/>
            <a:p>
              <a:endParaRPr lang="en-US" sz="1430"/>
            </a:p>
          </p:txBody>
        </p:sp>
        <p:sp>
          <p:nvSpPr>
            <p:cNvPr id="5" name="Rectangle 2"/>
            <p:cNvSpPr>
              <a:spLocks noChangeArrowheads="1"/>
            </p:cNvSpPr>
            <p:nvPr/>
          </p:nvSpPr>
          <p:spPr bwMode="auto">
            <a:xfrm>
              <a:off x="4774288" y="1018821"/>
              <a:ext cx="2643424" cy="4262885"/>
            </a:xfrm>
            <a:prstGeom prst="rect">
              <a:avLst/>
            </a:prstGeom>
            <a:solidFill>
              <a:schemeClr val="bg1"/>
            </a:solidFill>
            <a:ln w="19050">
              <a:solidFill>
                <a:schemeClr val="accent2"/>
              </a:solidFill>
              <a:miter lim="800000"/>
            </a:ln>
            <a:effectLst>
              <a:outerShdw dist="35921" dir="2700000" algn="ctr" rotWithShape="0">
                <a:schemeClr val="bg2"/>
              </a:outerShdw>
            </a:effectLst>
          </p:spPr>
          <p:txBody>
            <a:bodyPr wrap="none" anchor="ctr"/>
            <a:lstStyle/>
            <a:p>
              <a:endParaRPr lang="en-US" sz="1430"/>
            </a:p>
          </p:txBody>
        </p:sp>
        <p:sp>
          <p:nvSpPr>
            <p:cNvPr id="7" name="Rectangle 2"/>
            <p:cNvSpPr>
              <a:spLocks noChangeArrowheads="1"/>
            </p:cNvSpPr>
            <p:nvPr/>
          </p:nvSpPr>
          <p:spPr bwMode="auto">
            <a:xfrm>
              <a:off x="7650955" y="1018821"/>
              <a:ext cx="2643424" cy="4262885"/>
            </a:xfrm>
            <a:prstGeom prst="rect">
              <a:avLst/>
            </a:prstGeom>
            <a:solidFill>
              <a:schemeClr val="bg1"/>
            </a:solidFill>
            <a:ln w="19050">
              <a:solidFill>
                <a:schemeClr val="accent2"/>
              </a:solidFill>
              <a:miter lim="800000"/>
            </a:ln>
            <a:effectLst>
              <a:outerShdw dist="35921" dir="2700000" algn="ctr" rotWithShape="0">
                <a:schemeClr val="bg2"/>
              </a:outerShdw>
            </a:effectLst>
          </p:spPr>
          <p:txBody>
            <a:bodyPr wrap="none" anchor="ctr"/>
            <a:lstStyle/>
            <a:p>
              <a:endParaRPr lang="en-US" sz="1430"/>
            </a:p>
          </p:txBody>
        </p:sp>
        <p:graphicFrame>
          <p:nvGraphicFramePr>
            <p:cNvPr id="9" name="图表 8"/>
            <p:cNvGraphicFramePr/>
            <p:nvPr/>
          </p:nvGraphicFramePr>
          <p:xfrm>
            <a:off x="1884664" y="1648736"/>
            <a:ext cx="1881603" cy="3586836"/>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4" name="图表 13"/>
            <p:cNvGraphicFramePr/>
            <p:nvPr/>
          </p:nvGraphicFramePr>
          <p:xfrm>
            <a:off x="4816884" y="1641473"/>
            <a:ext cx="1881603" cy="35868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图表 15"/>
            <p:cNvGraphicFramePr/>
            <p:nvPr/>
          </p:nvGraphicFramePr>
          <p:xfrm>
            <a:off x="6084645" y="1527971"/>
            <a:ext cx="1881603" cy="35868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图表 23"/>
            <p:cNvGraphicFramePr/>
            <p:nvPr/>
          </p:nvGraphicFramePr>
          <p:xfrm>
            <a:off x="7650956" y="1648736"/>
            <a:ext cx="1881603" cy="35868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图表 24"/>
            <p:cNvGraphicFramePr/>
            <p:nvPr/>
          </p:nvGraphicFramePr>
          <p:xfrm>
            <a:off x="8909702" y="1648736"/>
            <a:ext cx="1881603" cy="35868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图表 11"/>
            <p:cNvGraphicFramePr/>
            <p:nvPr/>
          </p:nvGraphicFramePr>
          <p:xfrm>
            <a:off x="3160888" y="1509977"/>
            <a:ext cx="1881603" cy="3586836"/>
          </p:xfrm>
          <a:graphic>
            <a:graphicData uri="http://schemas.openxmlformats.org/drawingml/2006/chart">
              <c:chart xmlns:c="http://schemas.openxmlformats.org/drawingml/2006/chart" xmlns:r="http://schemas.openxmlformats.org/officeDocument/2006/relationships" r:id="rId6"/>
            </a:graphicData>
          </a:graphic>
        </p:graphicFrame>
        <p:sp>
          <p:nvSpPr>
            <p:cNvPr id="4" name="Rectangle 11"/>
            <p:cNvSpPr txBox="1">
              <a:spLocks noChangeArrowheads="1"/>
            </p:cNvSpPr>
            <p:nvPr/>
          </p:nvSpPr>
          <p:spPr bwMode="auto">
            <a:xfrm>
              <a:off x="1819873" y="1025139"/>
              <a:ext cx="2643424" cy="355562"/>
            </a:xfrm>
            <a:prstGeom prst="rect">
              <a:avLst/>
            </a:prstGeom>
            <a:solidFill>
              <a:srgbClr val="FE5817"/>
            </a:solidFill>
            <a:ln w="9525">
              <a:noFill/>
              <a:miter lim="800000"/>
            </a:ln>
            <a:effectLst/>
          </p:spPr>
          <p:txBody>
            <a:bodyPr vert="horz" wrap="square" lIns="73472" tIns="73472" rIns="73472" bIns="73472" numCol="1" anchor="ctr" anchorCtr="0" compatLnSpc="1">
              <a:spAutoFit/>
            </a:bodyPr>
            <a:lstStyle>
              <a:defPPr>
                <a:defRPr lang="en-US"/>
              </a:defPPr>
              <a:lvl1pPr indent="0" defTabSz="895350" fontAlgn="base">
                <a:spcBef>
                  <a:spcPct val="0"/>
                </a:spcBef>
                <a:spcAft>
                  <a:spcPct val="0"/>
                </a:spcAft>
                <a:buClr>
                  <a:schemeClr val="tx2"/>
                </a:buClr>
                <a:defRPr sz="1600" baseline="0"/>
              </a:lvl1pPr>
              <a:lvl2pPr marL="1905" lvl="1" indent="0" defTabSz="895350" fontAlgn="base">
                <a:spcBef>
                  <a:spcPct val="0"/>
                </a:spcBef>
                <a:spcAft>
                  <a:spcPct val="0"/>
                </a:spcAft>
                <a:buClr>
                  <a:schemeClr val="tx2"/>
                </a:buClr>
                <a:buSzPct val="125000"/>
                <a:buFont typeface="Arial" panose="020B0604020202020204" pitchFamily="34" charset="0"/>
                <a:buNone/>
                <a:defRPr sz="1430" b="1" baseline="0">
                  <a:solidFill>
                    <a:schemeClr val="bg1"/>
                  </a:solidFill>
                </a:defRPr>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lvl="1"/>
              <a:r>
                <a:rPr lang="zh-CN" altLang="en-US" dirty="0"/>
                <a:t>规模类指标，</a:t>
              </a:r>
              <a:r>
                <a:rPr lang="en-US" altLang="zh-CN" dirty="0"/>
                <a:t>2012</a:t>
              </a:r>
              <a:endParaRPr lang="en-US" altLang="ko-KR" dirty="0"/>
            </a:p>
          </p:txBody>
        </p:sp>
        <p:sp>
          <p:nvSpPr>
            <p:cNvPr id="6" name="Rectangle 11"/>
            <p:cNvSpPr txBox="1">
              <a:spLocks noChangeArrowheads="1"/>
            </p:cNvSpPr>
            <p:nvPr/>
          </p:nvSpPr>
          <p:spPr bwMode="auto">
            <a:xfrm>
              <a:off x="4774288" y="1025139"/>
              <a:ext cx="2643424" cy="355562"/>
            </a:xfrm>
            <a:prstGeom prst="rect">
              <a:avLst/>
            </a:prstGeom>
            <a:solidFill>
              <a:srgbClr val="FE5817"/>
            </a:solidFill>
            <a:ln w="9525">
              <a:noFill/>
              <a:miter lim="800000"/>
            </a:ln>
            <a:effectLst/>
          </p:spPr>
          <p:txBody>
            <a:bodyPr vert="horz" wrap="square" lIns="73472" tIns="73472" rIns="73472" bIns="73472" numCol="1" anchor="ctr" anchorCtr="0" compatLnSpc="1">
              <a:spAutoFit/>
            </a:bodyPr>
            <a:lstStyle>
              <a:defPPr>
                <a:defRPr lang="en-US"/>
              </a:defPPr>
              <a:lvl1pPr indent="0" defTabSz="895350" fontAlgn="base">
                <a:spcBef>
                  <a:spcPct val="0"/>
                </a:spcBef>
                <a:spcAft>
                  <a:spcPct val="0"/>
                </a:spcAft>
                <a:buClr>
                  <a:schemeClr val="tx2"/>
                </a:buClr>
                <a:defRPr sz="1600" baseline="0"/>
              </a:lvl1pPr>
              <a:lvl2pPr marL="1905" lvl="1" indent="0" defTabSz="895350" fontAlgn="base">
                <a:spcBef>
                  <a:spcPct val="0"/>
                </a:spcBef>
                <a:spcAft>
                  <a:spcPct val="0"/>
                </a:spcAft>
                <a:buClr>
                  <a:schemeClr val="tx2"/>
                </a:buClr>
                <a:buSzPct val="125000"/>
                <a:buFont typeface="Arial" panose="020B0604020202020204" pitchFamily="34" charset="0"/>
                <a:buNone/>
                <a:defRPr sz="1430" b="1" baseline="0">
                  <a:solidFill>
                    <a:schemeClr val="bg1"/>
                  </a:solidFill>
                </a:defRPr>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lvl="1"/>
              <a:r>
                <a:rPr lang="zh-CN" altLang="en-US" dirty="0"/>
                <a:t>盈利类指标，</a:t>
              </a:r>
              <a:r>
                <a:rPr lang="en-US" altLang="zh-CN" dirty="0"/>
                <a:t>2012</a:t>
              </a:r>
              <a:endParaRPr lang="en-US" altLang="ko-KR" dirty="0"/>
            </a:p>
          </p:txBody>
        </p:sp>
        <p:sp>
          <p:nvSpPr>
            <p:cNvPr id="8" name="Rectangle 11"/>
            <p:cNvSpPr txBox="1">
              <a:spLocks noChangeArrowheads="1"/>
            </p:cNvSpPr>
            <p:nvPr/>
          </p:nvSpPr>
          <p:spPr bwMode="auto">
            <a:xfrm>
              <a:off x="7650955" y="1025139"/>
              <a:ext cx="2643424" cy="355562"/>
            </a:xfrm>
            <a:prstGeom prst="rect">
              <a:avLst/>
            </a:prstGeom>
            <a:solidFill>
              <a:srgbClr val="FE5817"/>
            </a:solidFill>
            <a:ln w="9525">
              <a:noFill/>
              <a:miter lim="800000"/>
            </a:ln>
            <a:effectLst/>
          </p:spPr>
          <p:txBody>
            <a:bodyPr vert="horz" wrap="square" lIns="73472" tIns="73472" rIns="73472" bIns="73472" numCol="1" anchor="ctr" anchorCtr="0" compatLnSpc="1">
              <a:spAutoFit/>
            </a:bodyPr>
            <a:lstStyle>
              <a:defPPr>
                <a:defRPr lang="en-US"/>
              </a:defPPr>
              <a:lvl1pPr indent="0" defTabSz="895350" fontAlgn="base">
                <a:spcBef>
                  <a:spcPct val="0"/>
                </a:spcBef>
                <a:spcAft>
                  <a:spcPct val="0"/>
                </a:spcAft>
                <a:buClr>
                  <a:schemeClr val="tx2"/>
                </a:buClr>
                <a:defRPr sz="1600" baseline="0"/>
              </a:lvl1pPr>
              <a:lvl2pPr marL="1905" lvl="1" indent="0" defTabSz="895350" fontAlgn="base">
                <a:spcBef>
                  <a:spcPct val="0"/>
                </a:spcBef>
                <a:spcAft>
                  <a:spcPct val="0"/>
                </a:spcAft>
                <a:buClr>
                  <a:schemeClr val="tx2"/>
                </a:buClr>
                <a:buSzPct val="125000"/>
                <a:buFont typeface="Arial" panose="020B0604020202020204" pitchFamily="34" charset="0"/>
                <a:buNone/>
                <a:defRPr sz="1430" b="1" baseline="0"/>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lvl="1"/>
              <a:r>
                <a:rPr lang="zh-CN" altLang="en-US" dirty="0">
                  <a:solidFill>
                    <a:schemeClr val="bg1"/>
                  </a:solidFill>
                </a:rPr>
                <a:t>资产质量类指标，</a:t>
              </a:r>
              <a:r>
                <a:rPr lang="en-US" altLang="zh-CN" dirty="0">
                  <a:solidFill>
                    <a:schemeClr val="bg1"/>
                  </a:solidFill>
                </a:rPr>
                <a:t>2012</a:t>
              </a:r>
              <a:endParaRPr lang="en-US" altLang="ko-KR" dirty="0">
                <a:solidFill>
                  <a:schemeClr val="bg1"/>
                </a:solidFill>
              </a:endParaRPr>
            </a:p>
          </p:txBody>
        </p:sp>
        <p:sp>
          <p:nvSpPr>
            <p:cNvPr id="10" name="Rectangle 11"/>
            <p:cNvSpPr txBox="1">
              <a:spLocks noChangeArrowheads="1"/>
            </p:cNvSpPr>
            <p:nvPr/>
          </p:nvSpPr>
          <p:spPr bwMode="auto">
            <a:xfrm>
              <a:off x="2409091" y="1410030"/>
              <a:ext cx="566232" cy="44840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430" b="1" dirty="0"/>
                <a:t>总资产</a:t>
              </a:r>
              <a:endParaRPr lang="en-US" altLang="zh-CN" sz="1430" b="1" dirty="0"/>
            </a:p>
            <a:p>
              <a:pPr marL="1905" lvl="1" indent="0">
                <a:buNone/>
              </a:pPr>
              <a:r>
                <a:rPr lang="zh-CN" altLang="en-US" sz="1430" dirty="0">
                  <a:solidFill>
                    <a:schemeClr val="accent6"/>
                  </a:solidFill>
                </a:rPr>
                <a:t>万亿</a:t>
              </a:r>
              <a:endParaRPr lang="en-US" altLang="ko-KR" sz="1430" dirty="0">
                <a:solidFill>
                  <a:schemeClr val="accent6"/>
                </a:solidFill>
              </a:endParaRPr>
            </a:p>
          </p:txBody>
        </p:sp>
        <p:sp>
          <p:nvSpPr>
            <p:cNvPr id="11" name="Rectangle 11"/>
            <p:cNvSpPr txBox="1">
              <a:spLocks noChangeArrowheads="1"/>
            </p:cNvSpPr>
            <p:nvPr/>
          </p:nvSpPr>
          <p:spPr bwMode="auto">
            <a:xfrm>
              <a:off x="3564541" y="1410030"/>
              <a:ext cx="566232" cy="44840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430" b="1" dirty="0"/>
                <a:t>总存款</a:t>
              </a:r>
              <a:endParaRPr lang="en-US" altLang="zh-CN" sz="1430" b="1" dirty="0"/>
            </a:p>
            <a:p>
              <a:pPr marL="1905" lvl="1" indent="0">
                <a:buNone/>
              </a:pPr>
              <a:r>
                <a:rPr lang="zh-CN" altLang="en-US" sz="1430" dirty="0">
                  <a:solidFill>
                    <a:schemeClr val="accent6"/>
                  </a:solidFill>
                </a:rPr>
                <a:t>万亿</a:t>
              </a:r>
              <a:endParaRPr lang="en-US" altLang="ko-KR" sz="1430" dirty="0">
                <a:solidFill>
                  <a:schemeClr val="accent6"/>
                </a:solidFill>
              </a:endParaRPr>
            </a:p>
          </p:txBody>
        </p:sp>
        <p:sp>
          <p:nvSpPr>
            <p:cNvPr id="13" name="Rectangle 11"/>
            <p:cNvSpPr txBox="1">
              <a:spLocks noChangeArrowheads="1"/>
            </p:cNvSpPr>
            <p:nvPr/>
          </p:nvSpPr>
          <p:spPr bwMode="auto">
            <a:xfrm>
              <a:off x="5102376" y="1399372"/>
              <a:ext cx="561326" cy="44840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en-US" altLang="zh-CN" sz="1430" b="1" dirty="0" err="1"/>
                <a:t>ROA</a:t>
              </a:r>
              <a:endParaRPr lang="en-US" altLang="zh-CN" sz="1430" b="1" dirty="0"/>
            </a:p>
            <a:p>
              <a:pPr marL="1905" lvl="1" indent="0">
                <a:buNone/>
              </a:pPr>
              <a:r>
                <a:rPr lang="zh-CN" altLang="en-US" sz="1430" dirty="0">
                  <a:solidFill>
                    <a:schemeClr val="accent6"/>
                  </a:solidFill>
                </a:rPr>
                <a:t>百分比</a:t>
              </a:r>
              <a:endParaRPr lang="en-US" altLang="ko-KR" sz="1430" dirty="0">
                <a:solidFill>
                  <a:schemeClr val="accent6"/>
                </a:solidFill>
              </a:endParaRPr>
            </a:p>
          </p:txBody>
        </p:sp>
        <p:sp>
          <p:nvSpPr>
            <p:cNvPr id="15" name="Rectangle 11"/>
            <p:cNvSpPr txBox="1">
              <a:spLocks noChangeArrowheads="1"/>
            </p:cNvSpPr>
            <p:nvPr/>
          </p:nvSpPr>
          <p:spPr bwMode="auto">
            <a:xfrm>
              <a:off x="6245521" y="1410030"/>
              <a:ext cx="561326" cy="44840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en-US" altLang="ko-KR" sz="1430" b="1" dirty="0"/>
                <a:t>ROE</a:t>
              </a:r>
              <a:endParaRPr lang="en-US" altLang="ko-KR" sz="1430" b="1" dirty="0"/>
            </a:p>
            <a:p>
              <a:pPr marL="1905" lvl="1" indent="0">
                <a:buNone/>
              </a:pPr>
              <a:r>
                <a:rPr lang="zh-CN" altLang="en-US" sz="1430" dirty="0">
                  <a:solidFill>
                    <a:schemeClr val="accent6"/>
                  </a:solidFill>
                </a:rPr>
                <a:t>百分比</a:t>
              </a:r>
              <a:endParaRPr lang="en-US" altLang="ko-KR" sz="1430" dirty="0">
                <a:solidFill>
                  <a:schemeClr val="accent6"/>
                </a:solidFill>
              </a:endParaRPr>
            </a:p>
          </p:txBody>
        </p:sp>
        <p:sp>
          <p:nvSpPr>
            <p:cNvPr id="18" name="Rectangle 11"/>
            <p:cNvSpPr txBox="1">
              <a:spLocks noChangeArrowheads="1"/>
            </p:cNvSpPr>
            <p:nvPr/>
          </p:nvSpPr>
          <p:spPr bwMode="auto">
            <a:xfrm>
              <a:off x="7851792" y="1410030"/>
              <a:ext cx="942412" cy="44840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430" b="1" dirty="0"/>
                <a:t>不良贷款率</a:t>
              </a:r>
              <a:endParaRPr lang="en-US" altLang="zh-CN" sz="1430" b="1" dirty="0"/>
            </a:p>
            <a:p>
              <a:pPr marL="1905" lvl="1" indent="0">
                <a:buNone/>
              </a:pPr>
              <a:r>
                <a:rPr lang="zh-CN" altLang="en-US" sz="1430" dirty="0">
                  <a:solidFill>
                    <a:schemeClr val="accent6"/>
                  </a:solidFill>
                </a:rPr>
                <a:t>百分比</a:t>
              </a:r>
              <a:endParaRPr lang="en-US" altLang="ko-KR" sz="1430" dirty="0">
                <a:solidFill>
                  <a:schemeClr val="accent6"/>
                </a:solidFill>
              </a:endParaRPr>
            </a:p>
          </p:txBody>
        </p:sp>
        <p:sp>
          <p:nvSpPr>
            <p:cNvPr id="19" name="Rectangle 11"/>
            <p:cNvSpPr txBox="1">
              <a:spLocks noChangeArrowheads="1"/>
            </p:cNvSpPr>
            <p:nvPr/>
          </p:nvSpPr>
          <p:spPr bwMode="auto">
            <a:xfrm>
              <a:off x="9065089" y="1424533"/>
              <a:ext cx="942412" cy="44840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430" b="1" dirty="0"/>
                <a:t>拨备覆盖率</a:t>
              </a:r>
              <a:endParaRPr lang="en-US" altLang="zh-CN" sz="1430" b="1" dirty="0"/>
            </a:p>
            <a:p>
              <a:pPr marL="1905" lvl="1" indent="0">
                <a:buNone/>
              </a:pPr>
              <a:r>
                <a:rPr lang="zh-CN" altLang="en-US" sz="1430" dirty="0">
                  <a:solidFill>
                    <a:schemeClr val="accent6"/>
                  </a:solidFill>
                </a:rPr>
                <a:t>百分比</a:t>
              </a:r>
              <a:endParaRPr lang="en-US" altLang="ko-KR" sz="1430" dirty="0">
                <a:solidFill>
                  <a:schemeClr val="accent6"/>
                </a:solidFill>
              </a:endParaRPr>
            </a:p>
          </p:txBody>
        </p:sp>
        <p:sp>
          <p:nvSpPr>
            <p:cNvPr id="26" name="Rectangle 2"/>
            <p:cNvSpPr>
              <a:spLocks noChangeArrowheads="1"/>
            </p:cNvSpPr>
            <p:nvPr/>
          </p:nvSpPr>
          <p:spPr bwMode="auto">
            <a:xfrm>
              <a:off x="1975367" y="5519991"/>
              <a:ext cx="8319012" cy="707928"/>
            </a:xfrm>
            <a:prstGeom prst="rect">
              <a:avLst/>
            </a:prstGeom>
            <a:solidFill>
              <a:schemeClr val="bg1"/>
            </a:solidFill>
            <a:ln w="19050">
              <a:solidFill>
                <a:schemeClr val="accent2"/>
              </a:solidFill>
              <a:miter lim="800000"/>
            </a:ln>
            <a:effectLst>
              <a:outerShdw dist="35921" dir="2700000" algn="ctr" rotWithShape="0">
                <a:schemeClr val="bg2"/>
              </a:outerShdw>
            </a:effectLst>
          </p:spPr>
          <p:txBody>
            <a:bodyPr wrap="none" anchor="ctr"/>
            <a:lstStyle/>
            <a:p>
              <a:endParaRPr lang="en-US" sz="1430"/>
            </a:p>
          </p:txBody>
        </p:sp>
        <p:grpSp>
          <p:nvGrpSpPr>
            <p:cNvPr id="27" name="Group 3"/>
            <p:cNvGrpSpPr/>
            <p:nvPr/>
          </p:nvGrpSpPr>
          <p:grpSpPr>
            <a:xfrm>
              <a:off x="1801609" y="5369710"/>
              <a:ext cx="349865" cy="349865"/>
              <a:chOff x="10234613" y="3048000"/>
              <a:chExt cx="946150" cy="946150"/>
            </a:xfrm>
          </p:grpSpPr>
          <p:sp>
            <p:nvSpPr>
              <p:cNvPr id="28" name="Rectangle 6"/>
              <p:cNvSpPr>
                <a:spLocks noChangeArrowheads="1"/>
              </p:cNvSpPr>
              <p:nvPr/>
            </p:nvSpPr>
            <p:spPr bwMode="auto">
              <a:xfrm>
                <a:off x="10234613" y="3048000"/>
                <a:ext cx="946150" cy="946150"/>
              </a:xfrm>
              <a:prstGeom prst="rect">
                <a:avLst/>
              </a:prstGeom>
              <a:solidFill>
                <a:schemeClr val="accent3"/>
              </a:solidFill>
              <a:ln w="9525">
                <a:noFill/>
                <a:miter lim="800000"/>
              </a:ln>
            </p:spPr>
            <p:txBody>
              <a:bodyPr vert="horz" wrap="square" lIns="93297" tIns="46649" rIns="93297" bIns="46649" numCol="1" anchor="t" anchorCtr="0" compatLnSpc="1"/>
              <a:lstStyle/>
              <a:p>
                <a:endParaRPr lang="en-US" sz="1430"/>
              </a:p>
            </p:txBody>
          </p:sp>
          <p:sp>
            <p:nvSpPr>
              <p:cNvPr id="29" name="Freeform 7"/>
              <p:cNvSpPr/>
              <p:nvPr/>
            </p:nvSpPr>
            <p:spPr bwMode="auto">
              <a:xfrm>
                <a:off x="10590213" y="3787775"/>
                <a:ext cx="241300" cy="28575"/>
              </a:xfrm>
              <a:custGeom>
                <a:avLst/>
                <a:gdLst/>
                <a:ahLst/>
                <a:cxnLst>
                  <a:cxn ang="0">
                    <a:pos x="142" y="0"/>
                  </a:cxn>
                  <a:cxn ang="0">
                    <a:pos x="10" y="0"/>
                  </a:cxn>
                  <a:cxn ang="0">
                    <a:pos x="10" y="0"/>
                  </a:cxn>
                  <a:cxn ang="0">
                    <a:pos x="6" y="2"/>
                  </a:cxn>
                  <a:cxn ang="0">
                    <a:pos x="4" y="4"/>
                  </a:cxn>
                  <a:cxn ang="0">
                    <a:pos x="2" y="6"/>
                  </a:cxn>
                  <a:cxn ang="0">
                    <a:pos x="0" y="10"/>
                  </a:cxn>
                  <a:cxn ang="0">
                    <a:pos x="0" y="10"/>
                  </a:cxn>
                  <a:cxn ang="0">
                    <a:pos x="2" y="12"/>
                  </a:cxn>
                  <a:cxn ang="0">
                    <a:pos x="4" y="16"/>
                  </a:cxn>
                  <a:cxn ang="0">
                    <a:pos x="6" y="18"/>
                  </a:cxn>
                  <a:cxn ang="0">
                    <a:pos x="10" y="18"/>
                  </a:cxn>
                  <a:cxn ang="0">
                    <a:pos x="142" y="18"/>
                  </a:cxn>
                  <a:cxn ang="0">
                    <a:pos x="142" y="18"/>
                  </a:cxn>
                  <a:cxn ang="0">
                    <a:pos x="146" y="18"/>
                  </a:cxn>
                  <a:cxn ang="0">
                    <a:pos x="148" y="16"/>
                  </a:cxn>
                  <a:cxn ang="0">
                    <a:pos x="150" y="12"/>
                  </a:cxn>
                  <a:cxn ang="0">
                    <a:pos x="152" y="10"/>
                  </a:cxn>
                  <a:cxn ang="0">
                    <a:pos x="152" y="10"/>
                  </a:cxn>
                  <a:cxn ang="0">
                    <a:pos x="150" y="6"/>
                  </a:cxn>
                  <a:cxn ang="0">
                    <a:pos x="148" y="4"/>
                  </a:cxn>
                  <a:cxn ang="0">
                    <a:pos x="146" y="2"/>
                  </a:cxn>
                  <a:cxn ang="0">
                    <a:pos x="142" y="0"/>
                  </a:cxn>
                  <a:cxn ang="0">
                    <a:pos x="142" y="0"/>
                  </a:cxn>
                </a:cxnLst>
                <a:rect l="0" t="0" r="r" b="b"/>
                <a:pathLst>
                  <a:path w="152" h="18">
                    <a:moveTo>
                      <a:pt x="142" y="0"/>
                    </a:moveTo>
                    <a:lnTo>
                      <a:pt x="10" y="0"/>
                    </a:lnTo>
                    <a:lnTo>
                      <a:pt x="10" y="0"/>
                    </a:lnTo>
                    <a:lnTo>
                      <a:pt x="6" y="2"/>
                    </a:lnTo>
                    <a:lnTo>
                      <a:pt x="4" y="4"/>
                    </a:lnTo>
                    <a:lnTo>
                      <a:pt x="2" y="6"/>
                    </a:lnTo>
                    <a:lnTo>
                      <a:pt x="0" y="10"/>
                    </a:lnTo>
                    <a:lnTo>
                      <a:pt x="0" y="10"/>
                    </a:lnTo>
                    <a:lnTo>
                      <a:pt x="2" y="12"/>
                    </a:lnTo>
                    <a:lnTo>
                      <a:pt x="4" y="16"/>
                    </a:lnTo>
                    <a:lnTo>
                      <a:pt x="6" y="18"/>
                    </a:lnTo>
                    <a:lnTo>
                      <a:pt x="10" y="18"/>
                    </a:lnTo>
                    <a:lnTo>
                      <a:pt x="142" y="18"/>
                    </a:lnTo>
                    <a:lnTo>
                      <a:pt x="142" y="18"/>
                    </a:lnTo>
                    <a:lnTo>
                      <a:pt x="146" y="18"/>
                    </a:lnTo>
                    <a:lnTo>
                      <a:pt x="148" y="16"/>
                    </a:lnTo>
                    <a:lnTo>
                      <a:pt x="150" y="12"/>
                    </a:lnTo>
                    <a:lnTo>
                      <a:pt x="152" y="10"/>
                    </a:lnTo>
                    <a:lnTo>
                      <a:pt x="152" y="10"/>
                    </a:lnTo>
                    <a:lnTo>
                      <a:pt x="150" y="6"/>
                    </a:lnTo>
                    <a:lnTo>
                      <a:pt x="148" y="4"/>
                    </a:lnTo>
                    <a:lnTo>
                      <a:pt x="146" y="2"/>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endParaRPr lang="en-US" sz="1430"/>
              </a:p>
            </p:txBody>
          </p:sp>
          <p:sp>
            <p:nvSpPr>
              <p:cNvPr id="30" name="Freeform 8"/>
              <p:cNvSpPr/>
              <p:nvPr/>
            </p:nvSpPr>
            <p:spPr bwMode="auto">
              <a:xfrm>
                <a:off x="10590213" y="3838575"/>
                <a:ext cx="241300" cy="28575"/>
              </a:xfrm>
              <a:custGeom>
                <a:avLst/>
                <a:gdLst/>
                <a:ahLst/>
                <a:cxnLst>
                  <a:cxn ang="0">
                    <a:pos x="142" y="0"/>
                  </a:cxn>
                  <a:cxn ang="0">
                    <a:pos x="10" y="0"/>
                  </a:cxn>
                  <a:cxn ang="0">
                    <a:pos x="10" y="0"/>
                  </a:cxn>
                  <a:cxn ang="0">
                    <a:pos x="6" y="0"/>
                  </a:cxn>
                  <a:cxn ang="0">
                    <a:pos x="4" y="2"/>
                  </a:cxn>
                  <a:cxn ang="0">
                    <a:pos x="2" y="6"/>
                  </a:cxn>
                  <a:cxn ang="0">
                    <a:pos x="0" y="8"/>
                  </a:cxn>
                  <a:cxn ang="0">
                    <a:pos x="0" y="8"/>
                  </a:cxn>
                  <a:cxn ang="0">
                    <a:pos x="2" y="12"/>
                  </a:cxn>
                  <a:cxn ang="0">
                    <a:pos x="4" y="16"/>
                  </a:cxn>
                  <a:cxn ang="0">
                    <a:pos x="6" y="16"/>
                  </a:cxn>
                  <a:cxn ang="0">
                    <a:pos x="10" y="18"/>
                  </a:cxn>
                  <a:cxn ang="0">
                    <a:pos x="142" y="18"/>
                  </a:cxn>
                  <a:cxn ang="0">
                    <a:pos x="142" y="18"/>
                  </a:cxn>
                  <a:cxn ang="0">
                    <a:pos x="146" y="16"/>
                  </a:cxn>
                  <a:cxn ang="0">
                    <a:pos x="148" y="16"/>
                  </a:cxn>
                  <a:cxn ang="0">
                    <a:pos x="150" y="12"/>
                  </a:cxn>
                  <a:cxn ang="0">
                    <a:pos x="152" y="8"/>
                  </a:cxn>
                  <a:cxn ang="0">
                    <a:pos x="152" y="8"/>
                  </a:cxn>
                  <a:cxn ang="0">
                    <a:pos x="150" y="6"/>
                  </a:cxn>
                  <a:cxn ang="0">
                    <a:pos x="148" y="2"/>
                  </a:cxn>
                  <a:cxn ang="0">
                    <a:pos x="146" y="0"/>
                  </a:cxn>
                  <a:cxn ang="0">
                    <a:pos x="142" y="0"/>
                  </a:cxn>
                  <a:cxn ang="0">
                    <a:pos x="142" y="0"/>
                  </a:cxn>
                </a:cxnLst>
                <a:rect l="0" t="0" r="r" b="b"/>
                <a:pathLst>
                  <a:path w="152" h="18">
                    <a:moveTo>
                      <a:pt x="142" y="0"/>
                    </a:moveTo>
                    <a:lnTo>
                      <a:pt x="10" y="0"/>
                    </a:lnTo>
                    <a:lnTo>
                      <a:pt x="10" y="0"/>
                    </a:lnTo>
                    <a:lnTo>
                      <a:pt x="6" y="0"/>
                    </a:lnTo>
                    <a:lnTo>
                      <a:pt x="4" y="2"/>
                    </a:lnTo>
                    <a:lnTo>
                      <a:pt x="2" y="6"/>
                    </a:lnTo>
                    <a:lnTo>
                      <a:pt x="0" y="8"/>
                    </a:lnTo>
                    <a:lnTo>
                      <a:pt x="0" y="8"/>
                    </a:lnTo>
                    <a:lnTo>
                      <a:pt x="2" y="12"/>
                    </a:lnTo>
                    <a:lnTo>
                      <a:pt x="4" y="16"/>
                    </a:lnTo>
                    <a:lnTo>
                      <a:pt x="6" y="16"/>
                    </a:lnTo>
                    <a:lnTo>
                      <a:pt x="10" y="18"/>
                    </a:lnTo>
                    <a:lnTo>
                      <a:pt x="142" y="18"/>
                    </a:lnTo>
                    <a:lnTo>
                      <a:pt x="142" y="18"/>
                    </a:lnTo>
                    <a:lnTo>
                      <a:pt x="146" y="16"/>
                    </a:lnTo>
                    <a:lnTo>
                      <a:pt x="148" y="16"/>
                    </a:lnTo>
                    <a:lnTo>
                      <a:pt x="150" y="12"/>
                    </a:lnTo>
                    <a:lnTo>
                      <a:pt x="152" y="8"/>
                    </a:lnTo>
                    <a:lnTo>
                      <a:pt x="152" y="8"/>
                    </a:lnTo>
                    <a:lnTo>
                      <a:pt x="150" y="6"/>
                    </a:lnTo>
                    <a:lnTo>
                      <a:pt x="148" y="2"/>
                    </a:lnTo>
                    <a:lnTo>
                      <a:pt x="146" y="0"/>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endParaRPr lang="en-US" sz="1430"/>
              </a:p>
            </p:txBody>
          </p:sp>
          <p:sp>
            <p:nvSpPr>
              <p:cNvPr id="31" name="Freeform 9"/>
              <p:cNvSpPr/>
              <p:nvPr/>
            </p:nvSpPr>
            <p:spPr bwMode="auto">
              <a:xfrm>
                <a:off x="10590213" y="3889375"/>
                <a:ext cx="241300" cy="53975"/>
              </a:xfrm>
              <a:custGeom>
                <a:avLst/>
                <a:gdLst/>
                <a:ahLst/>
                <a:cxnLst>
                  <a:cxn ang="0">
                    <a:pos x="142" y="0"/>
                  </a:cxn>
                  <a:cxn ang="0">
                    <a:pos x="10" y="0"/>
                  </a:cxn>
                  <a:cxn ang="0">
                    <a:pos x="10" y="0"/>
                  </a:cxn>
                  <a:cxn ang="0">
                    <a:pos x="6" y="0"/>
                  </a:cxn>
                  <a:cxn ang="0">
                    <a:pos x="4" y="2"/>
                  </a:cxn>
                  <a:cxn ang="0">
                    <a:pos x="2" y="4"/>
                  </a:cxn>
                  <a:cxn ang="0">
                    <a:pos x="0" y="8"/>
                  </a:cxn>
                  <a:cxn ang="0">
                    <a:pos x="0" y="8"/>
                  </a:cxn>
                  <a:cxn ang="0">
                    <a:pos x="2" y="12"/>
                  </a:cxn>
                  <a:cxn ang="0">
                    <a:pos x="4" y="14"/>
                  </a:cxn>
                  <a:cxn ang="0">
                    <a:pos x="6" y="16"/>
                  </a:cxn>
                  <a:cxn ang="0">
                    <a:pos x="10" y="18"/>
                  </a:cxn>
                  <a:cxn ang="0">
                    <a:pos x="36" y="18"/>
                  </a:cxn>
                  <a:cxn ang="0">
                    <a:pos x="36" y="18"/>
                  </a:cxn>
                  <a:cxn ang="0">
                    <a:pos x="36" y="24"/>
                  </a:cxn>
                  <a:cxn ang="0">
                    <a:pos x="40" y="28"/>
                  </a:cxn>
                  <a:cxn ang="0">
                    <a:pos x="46" y="32"/>
                  </a:cxn>
                  <a:cxn ang="0">
                    <a:pos x="52" y="34"/>
                  </a:cxn>
                  <a:cxn ang="0">
                    <a:pos x="100" y="34"/>
                  </a:cxn>
                  <a:cxn ang="0">
                    <a:pos x="100" y="34"/>
                  </a:cxn>
                  <a:cxn ang="0">
                    <a:pos x="106" y="32"/>
                  </a:cxn>
                  <a:cxn ang="0">
                    <a:pos x="112" y="28"/>
                  </a:cxn>
                  <a:cxn ang="0">
                    <a:pos x="116" y="24"/>
                  </a:cxn>
                  <a:cxn ang="0">
                    <a:pos x="116" y="18"/>
                  </a:cxn>
                  <a:cxn ang="0">
                    <a:pos x="142" y="18"/>
                  </a:cxn>
                  <a:cxn ang="0">
                    <a:pos x="142" y="18"/>
                  </a:cxn>
                  <a:cxn ang="0">
                    <a:pos x="146" y="16"/>
                  </a:cxn>
                  <a:cxn ang="0">
                    <a:pos x="148" y="14"/>
                  </a:cxn>
                  <a:cxn ang="0">
                    <a:pos x="150" y="12"/>
                  </a:cxn>
                  <a:cxn ang="0">
                    <a:pos x="152" y="8"/>
                  </a:cxn>
                  <a:cxn ang="0">
                    <a:pos x="152" y="8"/>
                  </a:cxn>
                  <a:cxn ang="0">
                    <a:pos x="150" y="4"/>
                  </a:cxn>
                  <a:cxn ang="0">
                    <a:pos x="148" y="2"/>
                  </a:cxn>
                  <a:cxn ang="0">
                    <a:pos x="146" y="0"/>
                  </a:cxn>
                  <a:cxn ang="0">
                    <a:pos x="142" y="0"/>
                  </a:cxn>
                  <a:cxn ang="0">
                    <a:pos x="142" y="0"/>
                  </a:cxn>
                </a:cxnLst>
                <a:rect l="0" t="0" r="r" b="b"/>
                <a:pathLst>
                  <a:path w="152" h="34">
                    <a:moveTo>
                      <a:pt x="142" y="0"/>
                    </a:moveTo>
                    <a:lnTo>
                      <a:pt x="10" y="0"/>
                    </a:lnTo>
                    <a:lnTo>
                      <a:pt x="10" y="0"/>
                    </a:lnTo>
                    <a:lnTo>
                      <a:pt x="6" y="0"/>
                    </a:lnTo>
                    <a:lnTo>
                      <a:pt x="4" y="2"/>
                    </a:lnTo>
                    <a:lnTo>
                      <a:pt x="2" y="4"/>
                    </a:lnTo>
                    <a:lnTo>
                      <a:pt x="0" y="8"/>
                    </a:lnTo>
                    <a:lnTo>
                      <a:pt x="0" y="8"/>
                    </a:lnTo>
                    <a:lnTo>
                      <a:pt x="2" y="12"/>
                    </a:lnTo>
                    <a:lnTo>
                      <a:pt x="4" y="14"/>
                    </a:lnTo>
                    <a:lnTo>
                      <a:pt x="6" y="16"/>
                    </a:lnTo>
                    <a:lnTo>
                      <a:pt x="10" y="18"/>
                    </a:lnTo>
                    <a:lnTo>
                      <a:pt x="36" y="18"/>
                    </a:lnTo>
                    <a:lnTo>
                      <a:pt x="36" y="18"/>
                    </a:lnTo>
                    <a:lnTo>
                      <a:pt x="36" y="24"/>
                    </a:lnTo>
                    <a:lnTo>
                      <a:pt x="40" y="28"/>
                    </a:lnTo>
                    <a:lnTo>
                      <a:pt x="46" y="32"/>
                    </a:lnTo>
                    <a:lnTo>
                      <a:pt x="52" y="34"/>
                    </a:lnTo>
                    <a:lnTo>
                      <a:pt x="100" y="34"/>
                    </a:lnTo>
                    <a:lnTo>
                      <a:pt x="100" y="34"/>
                    </a:lnTo>
                    <a:lnTo>
                      <a:pt x="106" y="32"/>
                    </a:lnTo>
                    <a:lnTo>
                      <a:pt x="112" y="28"/>
                    </a:lnTo>
                    <a:lnTo>
                      <a:pt x="116" y="24"/>
                    </a:lnTo>
                    <a:lnTo>
                      <a:pt x="116" y="18"/>
                    </a:lnTo>
                    <a:lnTo>
                      <a:pt x="142" y="18"/>
                    </a:lnTo>
                    <a:lnTo>
                      <a:pt x="142" y="18"/>
                    </a:lnTo>
                    <a:lnTo>
                      <a:pt x="146" y="16"/>
                    </a:lnTo>
                    <a:lnTo>
                      <a:pt x="148" y="14"/>
                    </a:lnTo>
                    <a:lnTo>
                      <a:pt x="150" y="12"/>
                    </a:lnTo>
                    <a:lnTo>
                      <a:pt x="152" y="8"/>
                    </a:lnTo>
                    <a:lnTo>
                      <a:pt x="152" y="8"/>
                    </a:lnTo>
                    <a:lnTo>
                      <a:pt x="150" y="4"/>
                    </a:lnTo>
                    <a:lnTo>
                      <a:pt x="148" y="2"/>
                    </a:lnTo>
                    <a:lnTo>
                      <a:pt x="146" y="0"/>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endParaRPr lang="en-US" sz="1430"/>
              </a:p>
            </p:txBody>
          </p:sp>
          <p:sp>
            <p:nvSpPr>
              <p:cNvPr id="32" name="Freeform 10"/>
              <p:cNvSpPr>
                <a:spLocks noEditPoints="1"/>
              </p:cNvSpPr>
              <p:nvPr/>
            </p:nvSpPr>
            <p:spPr bwMode="auto">
              <a:xfrm>
                <a:off x="10431463" y="3098800"/>
                <a:ext cx="558800" cy="663575"/>
              </a:xfrm>
              <a:custGeom>
                <a:avLst/>
                <a:gdLst/>
                <a:ahLst/>
                <a:cxnLst>
                  <a:cxn ang="0">
                    <a:pos x="176" y="0"/>
                  </a:cxn>
                  <a:cxn ang="0">
                    <a:pos x="140" y="2"/>
                  </a:cxn>
                  <a:cxn ang="0">
                    <a:pos x="108" y="12"/>
                  </a:cxn>
                  <a:cxn ang="0">
                    <a:pos x="78" y="30"/>
                  </a:cxn>
                  <a:cxn ang="0">
                    <a:pos x="52" y="50"/>
                  </a:cxn>
                  <a:cxn ang="0">
                    <a:pos x="30" y="76"/>
                  </a:cxn>
                  <a:cxn ang="0">
                    <a:pos x="14" y="106"/>
                  </a:cxn>
                  <a:cxn ang="0">
                    <a:pos x="4" y="140"/>
                  </a:cxn>
                  <a:cxn ang="0">
                    <a:pos x="0" y="174"/>
                  </a:cxn>
                  <a:cxn ang="0">
                    <a:pos x="2" y="190"/>
                  </a:cxn>
                  <a:cxn ang="0">
                    <a:pos x="10" y="222"/>
                  </a:cxn>
                  <a:cxn ang="0">
                    <a:pos x="28" y="262"/>
                  </a:cxn>
                  <a:cxn ang="0">
                    <a:pos x="36" y="278"/>
                  </a:cxn>
                  <a:cxn ang="0">
                    <a:pos x="50" y="296"/>
                  </a:cxn>
                  <a:cxn ang="0">
                    <a:pos x="80" y="348"/>
                  </a:cxn>
                  <a:cxn ang="0">
                    <a:pos x="94" y="390"/>
                  </a:cxn>
                  <a:cxn ang="0">
                    <a:pos x="96" y="404"/>
                  </a:cxn>
                  <a:cxn ang="0">
                    <a:pos x="102" y="414"/>
                  </a:cxn>
                  <a:cxn ang="0">
                    <a:pos x="114" y="418"/>
                  </a:cxn>
                  <a:cxn ang="0">
                    <a:pos x="242" y="418"/>
                  </a:cxn>
                  <a:cxn ang="0">
                    <a:pos x="252" y="414"/>
                  </a:cxn>
                  <a:cxn ang="0">
                    <a:pos x="258" y="404"/>
                  </a:cxn>
                  <a:cxn ang="0">
                    <a:pos x="260" y="388"/>
                  </a:cxn>
                  <a:cxn ang="0">
                    <a:pos x="276" y="344"/>
                  </a:cxn>
                  <a:cxn ang="0">
                    <a:pos x="308" y="290"/>
                  </a:cxn>
                  <a:cxn ang="0">
                    <a:pos x="316" y="276"/>
                  </a:cxn>
                  <a:cxn ang="0">
                    <a:pos x="336" y="238"/>
                  </a:cxn>
                  <a:cxn ang="0">
                    <a:pos x="346" y="208"/>
                  </a:cxn>
                  <a:cxn ang="0">
                    <a:pos x="352" y="174"/>
                  </a:cxn>
                  <a:cxn ang="0">
                    <a:pos x="350" y="156"/>
                  </a:cxn>
                  <a:cxn ang="0">
                    <a:pos x="344" y="122"/>
                  </a:cxn>
                  <a:cxn ang="0">
                    <a:pos x="330" y="90"/>
                  </a:cxn>
                  <a:cxn ang="0">
                    <a:pos x="312" y="62"/>
                  </a:cxn>
                  <a:cxn ang="0">
                    <a:pos x="288" y="40"/>
                  </a:cxn>
                  <a:cxn ang="0">
                    <a:pos x="260" y="20"/>
                  </a:cxn>
                  <a:cxn ang="0">
                    <a:pos x="228" y="8"/>
                  </a:cxn>
                  <a:cxn ang="0">
                    <a:pos x="194" y="0"/>
                  </a:cxn>
                  <a:cxn ang="0">
                    <a:pos x="176" y="0"/>
                  </a:cxn>
                  <a:cxn ang="0">
                    <a:pos x="130" y="86"/>
                  </a:cxn>
                  <a:cxn ang="0">
                    <a:pos x="108" y="102"/>
                  </a:cxn>
                  <a:cxn ang="0">
                    <a:pos x="90" y="122"/>
                  </a:cxn>
                  <a:cxn ang="0">
                    <a:pos x="80" y="148"/>
                  </a:cxn>
                  <a:cxn ang="0">
                    <a:pos x="76" y="174"/>
                  </a:cxn>
                  <a:cxn ang="0">
                    <a:pos x="76" y="184"/>
                  </a:cxn>
                  <a:cxn ang="0">
                    <a:pos x="82" y="202"/>
                  </a:cxn>
                  <a:cxn ang="0">
                    <a:pos x="82" y="214"/>
                  </a:cxn>
                  <a:cxn ang="0">
                    <a:pos x="72" y="224"/>
                  </a:cxn>
                  <a:cxn ang="0">
                    <a:pos x="66" y="224"/>
                  </a:cxn>
                  <a:cxn ang="0">
                    <a:pos x="54" y="218"/>
                  </a:cxn>
                  <a:cxn ang="0">
                    <a:pos x="50" y="214"/>
                  </a:cxn>
                  <a:cxn ang="0">
                    <a:pos x="42" y="184"/>
                  </a:cxn>
                  <a:cxn ang="0">
                    <a:pos x="42" y="174"/>
                  </a:cxn>
                  <a:cxn ang="0">
                    <a:pos x="46" y="138"/>
                  </a:cxn>
                  <a:cxn ang="0">
                    <a:pos x="62" y="104"/>
                  </a:cxn>
                  <a:cxn ang="0">
                    <a:pos x="84" y="76"/>
                  </a:cxn>
                  <a:cxn ang="0">
                    <a:pos x="114" y="56"/>
                  </a:cxn>
                  <a:cxn ang="0">
                    <a:pos x="122" y="54"/>
                  </a:cxn>
                  <a:cxn ang="0">
                    <a:pos x="134" y="58"/>
                  </a:cxn>
                  <a:cxn ang="0">
                    <a:pos x="138" y="64"/>
                  </a:cxn>
                  <a:cxn ang="0">
                    <a:pos x="138" y="76"/>
                  </a:cxn>
                  <a:cxn ang="0">
                    <a:pos x="130" y="86"/>
                  </a:cxn>
                </a:cxnLst>
                <a:rect l="0" t="0" r="r" b="b"/>
                <a:pathLst>
                  <a:path w="352" h="418">
                    <a:moveTo>
                      <a:pt x="176" y="0"/>
                    </a:moveTo>
                    <a:lnTo>
                      <a:pt x="176" y="0"/>
                    </a:lnTo>
                    <a:lnTo>
                      <a:pt x="158" y="0"/>
                    </a:lnTo>
                    <a:lnTo>
                      <a:pt x="140" y="2"/>
                    </a:lnTo>
                    <a:lnTo>
                      <a:pt x="124" y="8"/>
                    </a:lnTo>
                    <a:lnTo>
                      <a:pt x="108" y="12"/>
                    </a:lnTo>
                    <a:lnTo>
                      <a:pt x="92" y="20"/>
                    </a:lnTo>
                    <a:lnTo>
                      <a:pt x="78" y="30"/>
                    </a:lnTo>
                    <a:lnTo>
                      <a:pt x="64" y="40"/>
                    </a:lnTo>
                    <a:lnTo>
                      <a:pt x="52" y="50"/>
                    </a:lnTo>
                    <a:lnTo>
                      <a:pt x="40" y="62"/>
                    </a:lnTo>
                    <a:lnTo>
                      <a:pt x="30" y="76"/>
                    </a:lnTo>
                    <a:lnTo>
                      <a:pt x="22" y="90"/>
                    </a:lnTo>
                    <a:lnTo>
                      <a:pt x="14" y="106"/>
                    </a:lnTo>
                    <a:lnTo>
                      <a:pt x="8" y="122"/>
                    </a:lnTo>
                    <a:lnTo>
                      <a:pt x="4" y="140"/>
                    </a:lnTo>
                    <a:lnTo>
                      <a:pt x="2" y="156"/>
                    </a:lnTo>
                    <a:lnTo>
                      <a:pt x="0" y="174"/>
                    </a:lnTo>
                    <a:lnTo>
                      <a:pt x="0" y="174"/>
                    </a:lnTo>
                    <a:lnTo>
                      <a:pt x="2" y="190"/>
                    </a:lnTo>
                    <a:lnTo>
                      <a:pt x="6" y="208"/>
                    </a:lnTo>
                    <a:lnTo>
                      <a:pt x="10" y="222"/>
                    </a:lnTo>
                    <a:lnTo>
                      <a:pt x="16" y="238"/>
                    </a:lnTo>
                    <a:lnTo>
                      <a:pt x="28" y="262"/>
                    </a:lnTo>
                    <a:lnTo>
                      <a:pt x="36" y="278"/>
                    </a:lnTo>
                    <a:lnTo>
                      <a:pt x="36" y="278"/>
                    </a:lnTo>
                    <a:lnTo>
                      <a:pt x="50" y="296"/>
                    </a:lnTo>
                    <a:lnTo>
                      <a:pt x="50" y="296"/>
                    </a:lnTo>
                    <a:lnTo>
                      <a:pt x="66" y="322"/>
                    </a:lnTo>
                    <a:lnTo>
                      <a:pt x="80" y="348"/>
                    </a:lnTo>
                    <a:lnTo>
                      <a:pt x="90" y="376"/>
                    </a:lnTo>
                    <a:lnTo>
                      <a:pt x="94" y="390"/>
                    </a:lnTo>
                    <a:lnTo>
                      <a:pt x="96" y="404"/>
                    </a:lnTo>
                    <a:lnTo>
                      <a:pt x="96" y="404"/>
                    </a:lnTo>
                    <a:lnTo>
                      <a:pt x="98" y="410"/>
                    </a:lnTo>
                    <a:lnTo>
                      <a:pt x="102" y="414"/>
                    </a:lnTo>
                    <a:lnTo>
                      <a:pt x="108" y="418"/>
                    </a:lnTo>
                    <a:lnTo>
                      <a:pt x="114" y="418"/>
                    </a:lnTo>
                    <a:lnTo>
                      <a:pt x="242" y="418"/>
                    </a:lnTo>
                    <a:lnTo>
                      <a:pt x="242" y="418"/>
                    </a:lnTo>
                    <a:lnTo>
                      <a:pt x="248" y="418"/>
                    </a:lnTo>
                    <a:lnTo>
                      <a:pt x="252" y="414"/>
                    </a:lnTo>
                    <a:lnTo>
                      <a:pt x="256" y="410"/>
                    </a:lnTo>
                    <a:lnTo>
                      <a:pt x="258" y="404"/>
                    </a:lnTo>
                    <a:lnTo>
                      <a:pt x="258" y="404"/>
                    </a:lnTo>
                    <a:lnTo>
                      <a:pt x="260" y="388"/>
                    </a:lnTo>
                    <a:lnTo>
                      <a:pt x="264" y="374"/>
                    </a:lnTo>
                    <a:lnTo>
                      <a:pt x="276" y="344"/>
                    </a:lnTo>
                    <a:lnTo>
                      <a:pt x="292" y="316"/>
                    </a:lnTo>
                    <a:lnTo>
                      <a:pt x="308" y="290"/>
                    </a:lnTo>
                    <a:lnTo>
                      <a:pt x="316" y="276"/>
                    </a:lnTo>
                    <a:lnTo>
                      <a:pt x="316" y="276"/>
                    </a:lnTo>
                    <a:lnTo>
                      <a:pt x="324" y="262"/>
                    </a:lnTo>
                    <a:lnTo>
                      <a:pt x="336" y="238"/>
                    </a:lnTo>
                    <a:lnTo>
                      <a:pt x="342" y="222"/>
                    </a:lnTo>
                    <a:lnTo>
                      <a:pt x="346" y="208"/>
                    </a:lnTo>
                    <a:lnTo>
                      <a:pt x="350" y="190"/>
                    </a:lnTo>
                    <a:lnTo>
                      <a:pt x="352" y="174"/>
                    </a:lnTo>
                    <a:lnTo>
                      <a:pt x="352" y="174"/>
                    </a:lnTo>
                    <a:lnTo>
                      <a:pt x="350" y="156"/>
                    </a:lnTo>
                    <a:lnTo>
                      <a:pt x="348" y="140"/>
                    </a:lnTo>
                    <a:lnTo>
                      <a:pt x="344" y="122"/>
                    </a:lnTo>
                    <a:lnTo>
                      <a:pt x="338" y="106"/>
                    </a:lnTo>
                    <a:lnTo>
                      <a:pt x="330" y="90"/>
                    </a:lnTo>
                    <a:lnTo>
                      <a:pt x="322" y="76"/>
                    </a:lnTo>
                    <a:lnTo>
                      <a:pt x="312" y="62"/>
                    </a:lnTo>
                    <a:lnTo>
                      <a:pt x="300" y="50"/>
                    </a:lnTo>
                    <a:lnTo>
                      <a:pt x="288" y="40"/>
                    </a:lnTo>
                    <a:lnTo>
                      <a:pt x="274" y="30"/>
                    </a:lnTo>
                    <a:lnTo>
                      <a:pt x="260" y="20"/>
                    </a:lnTo>
                    <a:lnTo>
                      <a:pt x="244" y="12"/>
                    </a:lnTo>
                    <a:lnTo>
                      <a:pt x="228" y="8"/>
                    </a:lnTo>
                    <a:lnTo>
                      <a:pt x="212" y="2"/>
                    </a:lnTo>
                    <a:lnTo>
                      <a:pt x="194" y="0"/>
                    </a:lnTo>
                    <a:lnTo>
                      <a:pt x="176" y="0"/>
                    </a:lnTo>
                    <a:lnTo>
                      <a:pt x="176" y="0"/>
                    </a:lnTo>
                    <a:close/>
                    <a:moveTo>
                      <a:pt x="130" y="86"/>
                    </a:moveTo>
                    <a:lnTo>
                      <a:pt x="130" y="86"/>
                    </a:lnTo>
                    <a:lnTo>
                      <a:pt x="118" y="94"/>
                    </a:lnTo>
                    <a:lnTo>
                      <a:pt x="108" y="102"/>
                    </a:lnTo>
                    <a:lnTo>
                      <a:pt x="98" y="112"/>
                    </a:lnTo>
                    <a:lnTo>
                      <a:pt x="90" y="122"/>
                    </a:lnTo>
                    <a:lnTo>
                      <a:pt x="84" y="134"/>
                    </a:lnTo>
                    <a:lnTo>
                      <a:pt x="80" y="148"/>
                    </a:lnTo>
                    <a:lnTo>
                      <a:pt x="76" y="160"/>
                    </a:lnTo>
                    <a:lnTo>
                      <a:pt x="76" y="174"/>
                    </a:lnTo>
                    <a:lnTo>
                      <a:pt x="76" y="174"/>
                    </a:lnTo>
                    <a:lnTo>
                      <a:pt x="76" y="184"/>
                    </a:lnTo>
                    <a:lnTo>
                      <a:pt x="82" y="202"/>
                    </a:lnTo>
                    <a:lnTo>
                      <a:pt x="82" y="202"/>
                    </a:lnTo>
                    <a:lnTo>
                      <a:pt x="82" y="208"/>
                    </a:lnTo>
                    <a:lnTo>
                      <a:pt x="82" y="214"/>
                    </a:lnTo>
                    <a:lnTo>
                      <a:pt x="78" y="220"/>
                    </a:lnTo>
                    <a:lnTo>
                      <a:pt x="72" y="224"/>
                    </a:lnTo>
                    <a:lnTo>
                      <a:pt x="72" y="224"/>
                    </a:lnTo>
                    <a:lnTo>
                      <a:pt x="66" y="224"/>
                    </a:lnTo>
                    <a:lnTo>
                      <a:pt x="58" y="222"/>
                    </a:lnTo>
                    <a:lnTo>
                      <a:pt x="54" y="218"/>
                    </a:lnTo>
                    <a:lnTo>
                      <a:pt x="50" y="214"/>
                    </a:lnTo>
                    <a:lnTo>
                      <a:pt x="50" y="214"/>
                    </a:lnTo>
                    <a:lnTo>
                      <a:pt x="44" y="194"/>
                    </a:lnTo>
                    <a:lnTo>
                      <a:pt x="42" y="184"/>
                    </a:lnTo>
                    <a:lnTo>
                      <a:pt x="42" y="174"/>
                    </a:lnTo>
                    <a:lnTo>
                      <a:pt x="42" y="174"/>
                    </a:lnTo>
                    <a:lnTo>
                      <a:pt x="44" y="156"/>
                    </a:lnTo>
                    <a:lnTo>
                      <a:pt x="46" y="138"/>
                    </a:lnTo>
                    <a:lnTo>
                      <a:pt x="54" y="120"/>
                    </a:lnTo>
                    <a:lnTo>
                      <a:pt x="62" y="104"/>
                    </a:lnTo>
                    <a:lnTo>
                      <a:pt x="72" y="90"/>
                    </a:lnTo>
                    <a:lnTo>
                      <a:pt x="84" y="76"/>
                    </a:lnTo>
                    <a:lnTo>
                      <a:pt x="98" y="66"/>
                    </a:lnTo>
                    <a:lnTo>
                      <a:pt x="114" y="56"/>
                    </a:lnTo>
                    <a:lnTo>
                      <a:pt x="114" y="56"/>
                    </a:lnTo>
                    <a:lnTo>
                      <a:pt x="122" y="54"/>
                    </a:lnTo>
                    <a:lnTo>
                      <a:pt x="128" y="54"/>
                    </a:lnTo>
                    <a:lnTo>
                      <a:pt x="134" y="58"/>
                    </a:lnTo>
                    <a:lnTo>
                      <a:pt x="138" y="64"/>
                    </a:lnTo>
                    <a:lnTo>
                      <a:pt x="138" y="64"/>
                    </a:lnTo>
                    <a:lnTo>
                      <a:pt x="140" y="70"/>
                    </a:lnTo>
                    <a:lnTo>
                      <a:pt x="138" y="76"/>
                    </a:lnTo>
                    <a:lnTo>
                      <a:pt x="136" y="82"/>
                    </a:lnTo>
                    <a:lnTo>
                      <a:pt x="130" y="86"/>
                    </a:lnTo>
                    <a:lnTo>
                      <a:pt x="130" y="86"/>
                    </a:lnTo>
                    <a:close/>
                  </a:path>
                </a:pathLst>
              </a:custGeom>
              <a:solidFill>
                <a:schemeClr val="accent1"/>
              </a:solidFill>
              <a:ln w="9525">
                <a:noFill/>
                <a:round/>
              </a:ln>
            </p:spPr>
            <p:txBody>
              <a:bodyPr vert="horz" wrap="square" lIns="93297" tIns="46649" rIns="93297" bIns="46649" numCol="1" anchor="t" anchorCtr="0" compatLnSpc="1"/>
              <a:lstStyle/>
              <a:p>
                <a:endParaRPr lang="en-US" sz="1430"/>
              </a:p>
            </p:txBody>
          </p:sp>
        </p:grpSp>
        <p:sp>
          <p:nvSpPr>
            <p:cNvPr id="33" name="Rectangle 11"/>
            <p:cNvSpPr txBox="1">
              <a:spLocks noChangeArrowheads="1"/>
            </p:cNvSpPr>
            <p:nvPr/>
          </p:nvSpPr>
          <p:spPr bwMode="auto">
            <a:xfrm>
              <a:off x="2286360" y="5654135"/>
              <a:ext cx="7541533" cy="44840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lvl="1"/>
              <a:r>
                <a:rPr lang="zh-CN" altLang="en-US" sz="1430" dirty="0"/>
                <a:t>根据行业特点，可以按不同类别进行关键指标比较</a:t>
              </a:r>
              <a:endParaRPr lang="en-US" altLang="zh-CN" sz="1430" dirty="0"/>
            </a:p>
            <a:p>
              <a:pPr lvl="1"/>
              <a:r>
                <a:rPr lang="zh-CN" altLang="en-US" sz="1430" dirty="0"/>
                <a:t>常见分类包括规模、盈利、资产质量、资本、渠道、效率等</a:t>
              </a:r>
              <a:endParaRPr lang="en-US" altLang="ko-KR" sz="1430" dirty="0"/>
            </a:p>
          </p:txBody>
        </p:sp>
      </p:grpSp>
      <p:sp>
        <p:nvSpPr>
          <p:cNvPr id="36"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r>
              <a:rPr lang="zh-CN" altLang="en-US" sz="2400" dirty="0" smtClean="0">
                <a:solidFill>
                  <a:prstClr val="black"/>
                </a:solidFill>
                <a:latin typeface="华文楷体" panose="02010600040101010101" charset="-122"/>
                <a:ea typeface="华文楷体" panose="02010600040101010101" charset="-122"/>
              </a:rPr>
              <a:t>关键指标</a:t>
            </a:r>
            <a:endParaRPr lang="zh-CN" altLang="en-US" sz="2400" dirty="0">
              <a:solidFill>
                <a:prstClr val="black"/>
              </a:solidFill>
              <a:latin typeface="华文楷体" panose="02010600040101010101" charset="-122"/>
              <a:ea typeface="华文楷体" panose="02010600040101010101" charset="-122"/>
            </a:endParaRPr>
          </a:p>
        </p:txBody>
      </p:sp>
      <p:pic>
        <p:nvPicPr>
          <p:cNvPr id="35" name="图片 3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743994" y="4650112"/>
            <a:ext cx="11025312" cy="1685798"/>
          </a:xfrm>
          <a:prstGeom prst="rect">
            <a:avLst/>
          </a:prstGeom>
          <a:solidFill>
            <a:schemeClr val="bg1"/>
          </a:solidFill>
          <a:ln w="19050">
            <a:solidFill>
              <a:schemeClr val="accent2"/>
            </a:solidFill>
            <a:miter lim="800000"/>
          </a:ln>
          <a:effectLst>
            <a:outerShdw dist="35921" dir="2700000" algn="ctr" rotWithShape="0">
              <a:schemeClr val="bg2"/>
            </a:outerShdw>
          </a:effectLst>
        </p:spPr>
        <p:txBody>
          <a:bodyPr wrap="none" anchor="ctr"/>
          <a:lstStyle/>
          <a:p>
            <a:endParaRPr lang="en-US" sz="1835"/>
          </a:p>
        </p:txBody>
      </p:sp>
      <p:grpSp>
        <p:nvGrpSpPr>
          <p:cNvPr id="5" name="Group 3"/>
          <p:cNvGrpSpPr/>
          <p:nvPr>
            <p:custDataLst>
              <p:tags r:id="rId1"/>
            </p:custDataLst>
          </p:nvPr>
        </p:nvGrpSpPr>
        <p:grpSpPr>
          <a:xfrm>
            <a:off x="513710" y="4482237"/>
            <a:ext cx="463681" cy="363878"/>
            <a:chOff x="10234613" y="3048000"/>
            <a:chExt cx="946150" cy="946150"/>
          </a:xfrm>
        </p:grpSpPr>
        <p:sp>
          <p:nvSpPr>
            <p:cNvPr id="6" name="Rectangle 6"/>
            <p:cNvSpPr>
              <a:spLocks noChangeArrowheads="1"/>
            </p:cNvSpPr>
            <p:nvPr/>
          </p:nvSpPr>
          <p:spPr bwMode="auto">
            <a:xfrm>
              <a:off x="10234613" y="3048000"/>
              <a:ext cx="946150" cy="946150"/>
            </a:xfrm>
            <a:prstGeom prst="rect">
              <a:avLst/>
            </a:prstGeom>
            <a:solidFill>
              <a:schemeClr val="accent3"/>
            </a:solidFill>
            <a:ln w="9525">
              <a:noFill/>
              <a:miter lim="800000"/>
            </a:ln>
          </p:spPr>
          <p:txBody>
            <a:bodyPr vert="horz" wrap="square" lIns="93297" tIns="46649" rIns="93297" bIns="46649" numCol="1" anchor="t" anchorCtr="0" compatLnSpc="1"/>
            <a:lstStyle/>
            <a:p>
              <a:endParaRPr lang="en-US" sz="1835"/>
            </a:p>
          </p:txBody>
        </p:sp>
        <p:sp>
          <p:nvSpPr>
            <p:cNvPr id="7" name="Freeform 7"/>
            <p:cNvSpPr/>
            <p:nvPr/>
          </p:nvSpPr>
          <p:spPr bwMode="auto">
            <a:xfrm>
              <a:off x="10590213" y="3787775"/>
              <a:ext cx="241300" cy="28575"/>
            </a:xfrm>
            <a:custGeom>
              <a:avLst/>
              <a:gdLst/>
              <a:ahLst/>
              <a:cxnLst>
                <a:cxn ang="0">
                  <a:pos x="142" y="0"/>
                </a:cxn>
                <a:cxn ang="0">
                  <a:pos x="10" y="0"/>
                </a:cxn>
                <a:cxn ang="0">
                  <a:pos x="10" y="0"/>
                </a:cxn>
                <a:cxn ang="0">
                  <a:pos x="6" y="2"/>
                </a:cxn>
                <a:cxn ang="0">
                  <a:pos x="4" y="4"/>
                </a:cxn>
                <a:cxn ang="0">
                  <a:pos x="2" y="6"/>
                </a:cxn>
                <a:cxn ang="0">
                  <a:pos x="0" y="10"/>
                </a:cxn>
                <a:cxn ang="0">
                  <a:pos x="0" y="10"/>
                </a:cxn>
                <a:cxn ang="0">
                  <a:pos x="2" y="12"/>
                </a:cxn>
                <a:cxn ang="0">
                  <a:pos x="4" y="16"/>
                </a:cxn>
                <a:cxn ang="0">
                  <a:pos x="6" y="18"/>
                </a:cxn>
                <a:cxn ang="0">
                  <a:pos x="10" y="18"/>
                </a:cxn>
                <a:cxn ang="0">
                  <a:pos x="142" y="18"/>
                </a:cxn>
                <a:cxn ang="0">
                  <a:pos x="142" y="18"/>
                </a:cxn>
                <a:cxn ang="0">
                  <a:pos x="146" y="18"/>
                </a:cxn>
                <a:cxn ang="0">
                  <a:pos x="148" y="16"/>
                </a:cxn>
                <a:cxn ang="0">
                  <a:pos x="150" y="12"/>
                </a:cxn>
                <a:cxn ang="0">
                  <a:pos x="152" y="10"/>
                </a:cxn>
                <a:cxn ang="0">
                  <a:pos x="152" y="10"/>
                </a:cxn>
                <a:cxn ang="0">
                  <a:pos x="150" y="6"/>
                </a:cxn>
                <a:cxn ang="0">
                  <a:pos x="148" y="4"/>
                </a:cxn>
                <a:cxn ang="0">
                  <a:pos x="146" y="2"/>
                </a:cxn>
                <a:cxn ang="0">
                  <a:pos x="142" y="0"/>
                </a:cxn>
                <a:cxn ang="0">
                  <a:pos x="142" y="0"/>
                </a:cxn>
              </a:cxnLst>
              <a:rect l="0" t="0" r="r" b="b"/>
              <a:pathLst>
                <a:path w="152" h="18">
                  <a:moveTo>
                    <a:pt x="142" y="0"/>
                  </a:moveTo>
                  <a:lnTo>
                    <a:pt x="10" y="0"/>
                  </a:lnTo>
                  <a:lnTo>
                    <a:pt x="10" y="0"/>
                  </a:lnTo>
                  <a:lnTo>
                    <a:pt x="6" y="2"/>
                  </a:lnTo>
                  <a:lnTo>
                    <a:pt x="4" y="4"/>
                  </a:lnTo>
                  <a:lnTo>
                    <a:pt x="2" y="6"/>
                  </a:lnTo>
                  <a:lnTo>
                    <a:pt x="0" y="10"/>
                  </a:lnTo>
                  <a:lnTo>
                    <a:pt x="0" y="10"/>
                  </a:lnTo>
                  <a:lnTo>
                    <a:pt x="2" y="12"/>
                  </a:lnTo>
                  <a:lnTo>
                    <a:pt x="4" y="16"/>
                  </a:lnTo>
                  <a:lnTo>
                    <a:pt x="6" y="18"/>
                  </a:lnTo>
                  <a:lnTo>
                    <a:pt x="10" y="18"/>
                  </a:lnTo>
                  <a:lnTo>
                    <a:pt x="142" y="18"/>
                  </a:lnTo>
                  <a:lnTo>
                    <a:pt x="142" y="18"/>
                  </a:lnTo>
                  <a:lnTo>
                    <a:pt x="146" y="18"/>
                  </a:lnTo>
                  <a:lnTo>
                    <a:pt x="148" y="16"/>
                  </a:lnTo>
                  <a:lnTo>
                    <a:pt x="150" y="12"/>
                  </a:lnTo>
                  <a:lnTo>
                    <a:pt x="152" y="10"/>
                  </a:lnTo>
                  <a:lnTo>
                    <a:pt x="152" y="10"/>
                  </a:lnTo>
                  <a:lnTo>
                    <a:pt x="150" y="6"/>
                  </a:lnTo>
                  <a:lnTo>
                    <a:pt x="148" y="4"/>
                  </a:lnTo>
                  <a:lnTo>
                    <a:pt x="146" y="2"/>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endParaRPr lang="en-US" sz="1835"/>
            </a:p>
          </p:txBody>
        </p:sp>
        <p:sp>
          <p:nvSpPr>
            <p:cNvPr id="8" name="Freeform 8"/>
            <p:cNvSpPr/>
            <p:nvPr/>
          </p:nvSpPr>
          <p:spPr bwMode="auto">
            <a:xfrm>
              <a:off x="10590213" y="3838575"/>
              <a:ext cx="241300" cy="28575"/>
            </a:xfrm>
            <a:custGeom>
              <a:avLst/>
              <a:gdLst/>
              <a:ahLst/>
              <a:cxnLst>
                <a:cxn ang="0">
                  <a:pos x="142" y="0"/>
                </a:cxn>
                <a:cxn ang="0">
                  <a:pos x="10" y="0"/>
                </a:cxn>
                <a:cxn ang="0">
                  <a:pos x="10" y="0"/>
                </a:cxn>
                <a:cxn ang="0">
                  <a:pos x="6" y="0"/>
                </a:cxn>
                <a:cxn ang="0">
                  <a:pos x="4" y="2"/>
                </a:cxn>
                <a:cxn ang="0">
                  <a:pos x="2" y="6"/>
                </a:cxn>
                <a:cxn ang="0">
                  <a:pos x="0" y="8"/>
                </a:cxn>
                <a:cxn ang="0">
                  <a:pos x="0" y="8"/>
                </a:cxn>
                <a:cxn ang="0">
                  <a:pos x="2" y="12"/>
                </a:cxn>
                <a:cxn ang="0">
                  <a:pos x="4" y="16"/>
                </a:cxn>
                <a:cxn ang="0">
                  <a:pos x="6" y="16"/>
                </a:cxn>
                <a:cxn ang="0">
                  <a:pos x="10" y="18"/>
                </a:cxn>
                <a:cxn ang="0">
                  <a:pos x="142" y="18"/>
                </a:cxn>
                <a:cxn ang="0">
                  <a:pos x="142" y="18"/>
                </a:cxn>
                <a:cxn ang="0">
                  <a:pos x="146" y="16"/>
                </a:cxn>
                <a:cxn ang="0">
                  <a:pos x="148" y="16"/>
                </a:cxn>
                <a:cxn ang="0">
                  <a:pos x="150" y="12"/>
                </a:cxn>
                <a:cxn ang="0">
                  <a:pos x="152" y="8"/>
                </a:cxn>
                <a:cxn ang="0">
                  <a:pos x="152" y="8"/>
                </a:cxn>
                <a:cxn ang="0">
                  <a:pos x="150" y="6"/>
                </a:cxn>
                <a:cxn ang="0">
                  <a:pos x="148" y="2"/>
                </a:cxn>
                <a:cxn ang="0">
                  <a:pos x="146" y="0"/>
                </a:cxn>
                <a:cxn ang="0">
                  <a:pos x="142" y="0"/>
                </a:cxn>
                <a:cxn ang="0">
                  <a:pos x="142" y="0"/>
                </a:cxn>
              </a:cxnLst>
              <a:rect l="0" t="0" r="r" b="b"/>
              <a:pathLst>
                <a:path w="152" h="18">
                  <a:moveTo>
                    <a:pt x="142" y="0"/>
                  </a:moveTo>
                  <a:lnTo>
                    <a:pt x="10" y="0"/>
                  </a:lnTo>
                  <a:lnTo>
                    <a:pt x="10" y="0"/>
                  </a:lnTo>
                  <a:lnTo>
                    <a:pt x="6" y="0"/>
                  </a:lnTo>
                  <a:lnTo>
                    <a:pt x="4" y="2"/>
                  </a:lnTo>
                  <a:lnTo>
                    <a:pt x="2" y="6"/>
                  </a:lnTo>
                  <a:lnTo>
                    <a:pt x="0" y="8"/>
                  </a:lnTo>
                  <a:lnTo>
                    <a:pt x="0" y="8"/>
                  </a:lnTo>
                  <a:lnTo>
                    <a:pt x="2" y="12"/>
                  </a:lnTo>
                  <a:lnTo>
                    <a:pt x="4" y="16"/>
                  </a:lnTo>
                  <a:lnTo>
                    <a:pt x="6" y="16"/>
                  </a:lnTo>
                  <a:lnTo>
                    <a:pt x="10" y="18"/>
                  </a:lnTo>
                  <a:lnTo>
                    <a:pt x="142" y="18"/>
                  </a:lnTo>
                  <a:lnTo>
                    <a:pt x="142" y="18"/>
                  </a:lnTo>
                  <a:lnTo>
                    <a:pt x="146" y="16"/>
                  </a:lnTo>
                  <a:lnTo>
                    <a:pt x="148" y="16"/>
                  </a:lnTo>
                  <a:lnTo>
                    <a:pt x="150" y="12"/>
                  </a:lnTo>
                  <a:lnTo>
                    <a:pt x="152" y="8"/>
                  </a:lnTo>
                  <a:lnTo>
                    <a:pt x="152" y="8"/>
                  </a:lnTo>
                  <a:lnTo>
                    <a:pt x="150" y="6"/>
                  </a:lnTo>
                  <a:lnTo>
                    <a:pt x="148" y="2"/>
                  </a:lnTo>
                  <a:lnTo>
                    <a:pt x="146" y="0"/>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endParaRPr lang="en-US" sz="1835"/>
            </a:p>
          </p:txBody>
        </p:sp>
        <p:sp>
          <p:nvSpPr>
            <p:cNvPr id="9" name="Freeform 9"/>
            <p:cNvSpPr/>
            <p:nvPr/>
          </p:nvSpPr>
          <p:spPr bwMode="auto">
            <a:xfrm>
              <a:off x="10590213" y="3889375"/>
              <a:ext cx="241300" cy="53975"/>
            </a:xfrm>
            <a:custGeom>
              <a:avLst/>
              <a:gdLst/>
              <a:ahLst/>
              <a:cxnLst>
                <a:cxn ang="0">
                  <a:pos x="142" y="0"/>
                </a:cxn>
                <a:cxn ang="0">
                  <a:pos x="10" y="0"/>
                </a:cxn>
                <a:cxn ang="0">
                  <a:pos x="10" y="0"/>
                </a:cxn>
                <a:cxn ang="0">
                  <a:pos x="6" y="0"/>
                </a:cxn>
                <a:cxn ang="0">
                  <a:pos x="4" y="2"/>
                </a:cxn>
                <a:cxn ang="0">
                  <a:pos x="2" y="4"/>
                </a:cxn>
                <a:cxn ang="0">
                  <a:pos x="0" y="8"/>
                </a:cxn>
                <a:cxn ang="0">
                  <a:pos x="0" y="8"/>
                </a:cxn>
                <a:cxn ang="0">
                  <a:pos x="2" y="12"/>
                </a:cxn>
                <a:cxn ang="0">
                  <a:pos x="4" y="14"/>
                </a:cxn>
                <a:cxn ang="0">
                  <a:pos x="6" y="16"/>
                </a:cxn>
                <a:cxn ang="0">
                  <a:pos x="10" y="18"/>
                </a:cxn>
                <a:cxn ang="0">
                  <a:pos x="36" y="18"/>
                </a:cxn>
                <a:cxn ang="0">
                  <a:pos x="36" y="18"/>
                </a:cxn>
                <a:cxn ang="0">
                  <a:pos x="36" y="24"/>
                </a:cxn>
                <a:cxn ang="0">
                  <a:pos x="40" y="28"/>
                </a:cxn>
                <a:cxn ang="0">
                  <a:pos x="46" y="32"/>
                </a:cxn>
                <a:cxn ang="0">
                  <a:pos x="52" y="34"/>
                </a:cxn>
                <a:cxn ang="0">
                  <a:pos x="100" y="34"/>
                </a:cxn>
                <a:cxn ang="0">
                  <a:pos x="100" y="34"/>
                </a:cxn>
                <a:cxn ang="0">
                  <a:pos x="106" y="32"/>
                </a:cxn>
                <a:cxn ang="0">
                  <a:pos x="112" y="28"/>
                </a:cxn>
                <a:cxn ang="0">
                  <a:pos x="116" y="24"/>
                </a:cxn>
                <a:cxn ang="0">
                  <a:pos x="116" y="18"/>
                </a:cxn>
                <a:cxn ang="0">
                  <a:pos x="142" y="18"/>
                </a:cxn>
                <a:cxn ang="0">
                  <a:pos x="142" y="18"/>
                </a:cxn>
                <a:cxn ang="0">
                  <a:pos x="146" y="16"/>
                </a:cxn>
                <a:cxn ang="0">
                  <a:pos x="148" y="14"/>
                </a:cxn>
                <a:cxn ang="0">
                  <a:pos x="150" y="12"/>
                </a:cxn>
                <a:cxn ang="0">
                  <a:pos x="152" y="8"/>
                </a:cxn>
                <a:cxn ang="0">
                  <a:pos x="152" y="8"/>
                </a:cxn>
                <a:cxn ang="0">
                  <a:pos x="150" y="4"/>
                </a:cxn>
                <a:cxn ang="0">
                  <a:pos x="148" y="2"/>
                </a:cxn>
                <a:cxn ang="0">
                  <a:pos x="146" y="0"/>
                </a:cxn>
                <a:cxn ang="0">
                  <a:pos x="142" y="0"/>
                </a:cxn>
                <a:cxn ang="0">
                  <a:pos x="142" y="0"/>
                </a:cxn>
              </a:cxnLst>
              <a:rect l="0" t="0" r="r" b="b"/>
              <a:pathLst>
                <a:path w="152" h="34">
                  <a:moveTo>
                    <a:pt x="142" y="0"/>
                  </a:moveTo>
                  <a:lnTo>
                    <a:pt x="10" y="0"/>
                  </a:lnTo>
                  <a:lnTo>
                    <a:pt x="10" y="0"/>
                  </a:lnTo>
                  <a:lnTo>
                    <a:pt x="6" y="0"/>
                  </a:lnTo>
                  <a:lnTo>
                    <a:pt x="4" y="2"/>
                  </a:lnTo>
                  <a:lnTo>
                    <a:pt x="2" y="4"/>
                  </a:lnTo>
                  <a:lnTo>
                    <a:pt x="0" y="8"/>
                  </a:lnTo>
                  <a:lnTo>
                    <a:pt x="0" y="8"/>
                  </a:lnTo>
                  <a:lnTo>
                    <a:pt x="2" y="12"/>
                  </a:lnTo>
                  <a:lnTo>
                    <a:pt x="4" y="14"/>
                  </a:lnTo>
                  <a:lnTo>
                    <a:pt x="6" y="16"/>
                  </a:lnTo>
                  <a:lnTo>
                    <a:pt x="10" y="18"/>
                  </a:lnTo>
                  <a:lnTo>
                    <a:pt x="36" y="18"/>
                  </a:lnTo>
                  <a:lnTo>
                    <a:pt x="36" y="18"/>
                  </a:lnTo>
                  <a:lnTo>
                    <a:pt x="36" y="24"/>
                  </a:lnTo>
                  <a:lnTo>
                    <a:pt x="40" y="28"/>
                  </a:lnTo>
                  <a:lnTo>
                    <a:pt x="46" y="32"/>
                  </a:lnTo>
                  <a:lnTo>
                    <a:pt x="52" y="34"/>
                  </a:lnTo>
                  <a:lnTo>
                    <a:pt x="100" y="34"/>
                  </a:lnTo>
                  <a:lnTo>
                    <a:pt x="100" y="34"/>
                  </a:lnTo>
                  <a:lnTo>
                    <a:pt x="106" y="32"/>
                  </a:lnTo>
                  <a:lnTo>
                    <a:pt x="112" y="28"/>
                  </a:lnTo>
                  <a:lnTo>
                    <a:pt x="116" y="24"/>
                  </a:lnTo>
                  <a:lnTo>
                    <a:pt x="116" y="18"/>
                  </a:lnTo>
                  <a:lnTo>
                    <a:pt x="142" y="18"/>
                  </a:lnTo>
                  <a:lnTo>
                    <a:pt x="142" y="18"/>
                  </a:lnTo>
                  <a:lnTo>
                    <a:pt x="146" y="16"/>
                  </a:lnTo>
                  <a:lnTo>
                    <a:pt x="148" y="14"/>
                  </a:lnTo>
                  <a:lnTo>
                    <a:pt x="150" y="12"/>
                  </a:lnTo>
                  <a:lnTo>
                    <a:pt x="152" y="8"/>
                  </a:lnTo>
                  <a:lnTo>
                    <a:pt x="152" y="8"/>
                  </a:lnTo>
                  <a:lnTo>
                    <a:pt x="150" y="4"/>
                  </a:lnTo>
                  <a:lnTo>
                    <a:pt x="148" y="2"/>
                  </a:lnTo>
                  <a:lnTo>
                    <a:pt x="146" y="0"/>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endParaRPr lang="en-US" sz="1835"/>
            </a:p>
          </p:txBody>
        </p:sp>
        <p:sp>
          <p:nvSpPr>
            <p:cNvPr id="10" name="Freeform 10"/>
            <p:cNvSpPr>
              <a:spLocks noEditPoints="1"/>
            </p:cNvSpPr>
            <p:nvPr/>
          </p:nvSpPr>
          <p:spPr bwMode="auto">
            <a:xfrm>
              <a:off x="10431463" y="3098800"/>
              <a:ext cx="558800" cy="663575"/>
            </a:xfrm>
            <a:custGeom>
              <a:avLst/>
              <a:gdLst/>
              <a:ahLst/>
              <a:cxnLst>
                <a:cxn ang="0">
                  <a:pos x="176" y="0"/>
                </a:cxn>
                <a:cxn ang="0">
                  <a:pos x="140" y="2"/>
                </a:cxn>
                <a:cxn ang="0">
                  <a:pos x="108" y="12"/>
                </a:cxn>
                <a:cxn ang="0">
                  <a:pos x="78" y="30"/>
                </a:cxn>
                <a:cxn ang="0">
                  <a:pos x="52" y="50"/>
                </a:cxn>
                <a:cxn ang="0">
                  <a:pos x="30" y="76"/>
                </a:cxn>
                <a:cxn ang="0">
                  <a:pos x="14" y="106"/>
                </a:cxn>
                <a:cxn ang="0">
                  <a:pos x="4" y="140"/>
                </a:cxn>
                <a:cxn ang="0">
                  <a:pos x="0" y="174"/>
                </a:cxn>
                <a:cxn ang="0">
                  <a:pos x="2" y="190"/>
                </a:cxn>
                <a:cxn ang="0">
                  <a:pos x="10" y="222"/>
                </a:cxn>
                <a:cxn ang="0">
                  <a:pos x="28" y="262"/>
                </a:cxn>
                <a:cxn ang="0">
                  <a:pos x="36" y="278"/>
                </a:cxn>
                <a:cxn ang="0">
                  <a:pos x="50" y="296"/>
                </a:cxn>
                <a:cxn ang="0">
                  <a:pos x="80" y="348"/>
                </a:cxn>
                <a:cxn ang="0">
                  <a:pos x="94" y="390"/>
                </a:cxn>
                <a:cxn ang="0">
                  <a:pos x="96" y="404"/>
                </a:cxn>
                <a:cxn ang="0">
                  <a:pos x="102" y="414"/>
                </a:cxn>
                <a:cxn ang="0">
                  <a:pos x="114" y="418"/>
                </a:cxn>
                <a:cxn ang="0">
                  <a:pos x="242" y="418"/>
                </a:cxn>
                <a:cxn ang="0">
                  <a:pos x="252" y="414"/>
                </a:cxn>
                <a:cxn ang="0">
                  <a:pos x="258" y="404"/>
                </a:cxn>
                <a:cxn ang="0">
                  <a:pos x="260" y="388"/>
                </a:cxn>
                <a:cxn ang="0">
                  <a:pos x="276" y="344"/>
                </a:cxn>
                <a:cxn ang="0">
                  <a:pos x="308" y="290"/>
                </a:cxn>
                <a:cxn ang="0">
                  <a:pos x="316" y="276"/>
                </a:cxn>
                <a:cxn ang="0">
                  <a:pos x="336" y="238"/>
                </a:cxn>
                <a:cxn ang="0">
                  <a:pos x="346" y="208"/>
                </a:cxn>
                <a:cxn ang="0">
                  <a:pos x="352" y="174"/>
                </a:cxn>
                <a:cxn ang="0">
                  <a:pos x="350" y="156"/>
                </a:cxn>
                <a:cxn ang="0">
                  <a:pos x="344" y="122"/>
                </a:cxn>
                <a:cxn ang="0">
                  <a:pos x="330" y="90"/>
                </a:cxn>
                <a:cxn ang="0">
                  <a:pos x="312" y="62"/>
                </a:cxn>
                <a:cxn ang="0">
                  <a:pos x="288" y="40"/>
                </a:cxn>
                <a:cxn ang="0">
                  <a:pos x="260" y="20"/>
                </a:cxn>
                <a:cxn ang="0">
                  <a:pos x="228" y="8"/>
                </a:cxn>
                <a:cxn ang="0">
                  <a:pos x="194" y="0"/>
                </a:cxn>
                <a:cxn ang="0">
                  <a:pos x="176" y="0"/>
                </a:cxn>
                <a:cxn ang="0">
                  <a:pos x="130" y="86"/>
                </a:cxn>
                <a:cxn ang="0">
                  <a:pos x="108" y="102"/>
                </a:cxn>
                <a:cxn ang="0">
                  <a:pos x="90" y="122"/>
                </a:cxn>
                <a:cxn ang="0">
                  <a:pos x="80" y="148"/>
                </a:cxn>
                <a:cxn ang="0">
                  <a:pos x="76" y="174"/>
                </a:cxn>
                <a:cxn ang="0">
                  <a:pos x="76" y="184"/>
                </a:cxn>
                <a:cxn ang="0">
                  <a:pos x="82" y="202"/>
                </a:cxn>
                <a:cxn ang="0">
                  <a:pos x="82" y="214"/>
                </a:cxn>
                <a:cxn ang="0">
                  <a:pos x="72" y="224"/>
                </a:cxn>
                <a:cxn ang="0">
                  <a:pos x="66" y="224"/>
                </a:cxn>
                <a:cxn ang="0">
                  <a:pos x="54" y="218"/>
                </a:cxn>
                <a:cxn ang="0">
                  <a:pos x="50" y="214"/>
                </a:cxn>
                <a:cxn ang="0">
                  <a:pos x="42" y="184"/>
                </a:cxn>
                <a:cxn ang="0">
                  <a:pos x="42" y="174"/>
                </a:cxn>
                <a:cxn ang="0">
                  <a:pos x="46" y="138"/>
                </a:cxn>
                <a:cxn ang="0">
                  <a:pos x="62" y="104"/>
                </a:cxn>
                <a:cxn ang="0">
                  <a:pos x="84" y="76"/>
                </a:cxn>
                <a:cxn ang="0">
                  <a:pos x="114" y="56"/>
                </a:cxn>
                <a:cxn ang="0">
                  <a:pos x="122" y="54"/>
                </a:cxn>
                <a:cxn ang="0">
                  <a:pos x="134" y="58"/>
                </a:cxn>
                <a:cxn ang="0">
                  <a:pos x="138" y="64"/>
                </a:cxn>
                <a:cxn ang="0">
                  <a:pos x="138" y="76"/>
                </a:cxn>
                <a:cxn ang="0">
                  <a:pos x="130" y="86"/>
                </a:cxn>
              </a:cxnLst>
              <a:rect l="0" t="0" r="r" b="b"/>
              <a:pathLst>
                <a:path w="352" h="418">
                  <a:moveTo>
                    <a:pt x="176" y="0"/>
                  </a:moveTo>
                  <a:lnTo>
                    <a:pt x="176" y="0"/>
                  </a:lnTo>
                  <a:lnTo>
                    <a:pt x="158" y="0"/>
                  </a:lnTo>
                  <a:lnTo>
                    <a:pt x="140" y="2"/>
                  </a:lnTo>
                  <a:lnTo>
                    <a:pt x="124" y="8"/>
                  </a:lnTo>
                  <a:lnTo>
                    <a:pt x="108" y="12"/>
                  </a:lnTo>
                  <a:lnTo>
                    <a:pt x="92" y="20"/>
                  </a:lnTo>
                  <a:lnTo>
                    <a:pt x="78" y="30"/>
                  </a:lnTo>
                  <a:lnTo>
                    <a:pt x="64" y="40"/>
                  </a:lnTo>
                  <a:lnTo>
                    <a:pt x="52" y="50"/>
                  </a:lnTo>
                  <a:lnTo>
                    <a:pt x="40" y="62"/>
                  </a:lnTo>
                  <a:lnTo>
                    <a:pt x="30" y="76"/>
                  </a:lnTo>
                  <a:lnTo>
                    <a:pt x="22" y="90"/>
                  </a:lnTo>
                  <a:lnTo>
                    <a:pt x="14" y="106"/>
                  </a:lnTo>
                  <a:lnTo>
                    <a:pt x="8" y="122"/>
                  </a:lnTo>
                  <a:lnTo>
                    <a:pt x="4" y="140"/>
                  </a:lnTo>
                  <a:lnTo>
                    <a:pt x="2" y="156"/>
                  </a:lnTo>
                  <a:lnTo>
                    <a:pt x="0" y="174"/>
                  </a:lnTo>
                  <a:lnTo>
                    <a:pt x="0" y="174"/>
                  </a:lnTo>
                  <a:lnTo>
                    <a:pt x="2" y="190"/>
                  </a:lnTo>
                  <a:lnTo>
                    <a:pt x="6" y="208"/>
                  </a:lnTo>
                  <a:lnTo>
                    <a:pt x="10" y="222"/>
                  </a:lnTo>
                  <a:lnTo>
                    <a:pt x="16" y="238"/>
                  </a:lnTo>
                  <a:lnTo>
                    <a:pt x="28" y="262"/>
                  </a:lnTo>
                  <a:lnTo>
                    <a:pt x="36" y="278"/>
                  </a:lnTo>
                  <a:lnTo>
                    <a:pt x="36" y="278"/>
                  </a:lnTo>
                  <a:lnTo>
                    <a:pt x="50" y="296"/>
                  </a:lnTo>
                  <a:lnTo>
                    <a:pt x="50" y="296"/>
                  </a:lnTo>
                  <a:lnTo>
                    <a:pt x="66" y="322"/>
                  </a:lnTo>
                  <a:lnTo>
                    <a:pt x="80" y="348"/>
                  </a:lnTo>
                  <a:lnTo>
                    <a:pt x="90" y="376"/>
                  </a:lnTo>
                  <a:lnTo>
                    <a:pt x="94" y="390"/>
                  </a:lnTo>
                  <a:lnTo>
                    <a:pt x="96" y="404"/>
                  </a:lnTo>
                  <a:lnTo>
                    <a:pt x="96" y="404"/>
                  </a:lnTo>
                  <a:lnTo>
                    <a:pt x="98" y="410"/>
                  </a:lnTo>
                  <a:lnTo>
                    <a:pt x="102" y="414"/>
                  </a:lnTo>
                  <a:lnTo>
                    <a:pt x="108" y="418"/>
                  </a:lnTo>
                  <a:lnTo>
                    <a:pt x="114" y="418"/>
                  </a:lnTo>
                  <a:lnTo>
                    <a:pt x="242" y="418"/>
                  </a:lnTo>
                  <a:lnTo>
                    <a:pt x="242" y="418"/>
                  </a:lnTo>
                  <a:lnTo>
                    <a:pt x="248" y="418"/>
                  </a:lnTo>
                  <a:lnTo>
                    <a:pt x="252" y="414"/>
                  </a:lnTo>
                  <a:lnTo>
                    <a:pt x="256" y="410"/>
                  </a:lnTo>
                  <a:lnTo>
                    <a:pt x="258" y="404"/>
                  </a:lnTo>
                  <a:lnTo>
                    <a:pt x="258" y="404"/>
                  </a:lnTo>
                  <a:lnTo>
                    <a:pt x="260" y="388"/>
                  </a:lnTo>
                  <a:lnTo>
                    <a:pt x="264" y="374"/>
                  </a:lnTo>
                  <a:lnTo>
                    <a:pt x="276" y="344"/>
                  </a:lnTo>
                  <a:lnTo>
                    <a:pt x="292" y="316"/>
                  </a:lnTo>
                  <a:lnTo>
                    <a:pt x="308" y="290"/>
                  </a:lnTo>
                  <a:lnTo>
                    <a:pt x="316" y="276"/>
                  </a:lnTo>
                  <a:lnTo>
                    <a:pt x="316" y="276"/>
                  </a:lnTo>
                  <a:lnTo>
                    <a:pt x="324" y="262"/>
                  </a:lnTo>
                  <a:lnTo>
                    <a:pt x="336" y="238"/>
                  </a:lnTo>
                  <a:lnTo>
                    <a:pt x="342" y="222"/>
                  </a:lnTo>
                  <a:lnTo>
                    <a:pt x="346" y="208"/>
                  </a:lnTo>
                  <a:lnTo>
                    <a:pt x="350" y="190"/>
                  </a:lnTo>
                  <a:lnTo>
                    <a:pt x="352" y="174"/>
                  </a:lnTo>
                  <a:lnTo>
                    <a:pt x="352" y="174"/>
                  </a:lnTo>
                  <a:lnTo>
                    <a:pt x="350" y="156"/>
                  </a:lnTo>
                  <a:lnTo>
                    <a:pt x="348" y="140"/>
                  </a:lnTo>
                  <a:lnTo>
                    <a:pt x="344" y="122"/>
                  </a:lnTo>
                  <a:lnTo>
                    <a:pt x="338" y="106"/>
                  </a:lnTo>
                  <a:lnTo>
                    <a:pt x="330" y="90"/>
                  </a:lnTo>
                  <a:lnTo>
                    <a:pt x="322" y="76"/>
                  </a:lnTo>
                  <a:lnTo>
                    <a:pt x="312" y="62"/>
                  </a:lnTo>
                  <a:lnTo>
                    <a:pt x="300" y="50"/>
                  </a:lnTo>
                  <a:lnTo>
                    <a:pt x="288" y="40"/>
                  </a:lnTo>
                  <a:lnTo>
                    <a:pt x="274" y="30"/>
                  </a:lnTo>
                  <a:lnTo>
                    <a:pt x="260" y="20"/>
                  </a:lnTo>
                  <a:lnTo>
                    <a:pt x="244" y="12"/>
                  </a:lnTo>
                  <a:lnTo>
                    <a:pt x="228" y="8"/>
                  </a:lnTo>
                  <a:lnTo>
                    <a:pt x="212" y="2"/>
                  </a:lnTo>
                  <a:lnTo>
                    <a:pt x="194" y="0"/>
                  </a:lnTo>
                  <a:lnTo>
                    <a:pt x="176" y="0"/>
                  </a:lnTo>
                  <a:lnTo>
                    <a:pt x="176" y="0"/>
                  </a:lnTo>
                  <a:close/>
                  <a:moveTo>
                    <a:pt x="130" y="86"/>
                  </a:moveTo>
                  <a:lnTo>
                    <a:pt x="130" y="86"/>
                  </a:lnTo>
                  <a:lnTo>
                    <a:pt x="118" y="94"/>
                  </a:lnTo>
                  <a:lnTo>
                    <a:pt x="108" y="102"/>
                  </a:lnTo>
                  <a:lnTo>
                    <a:pt x="98" y="112"/>
                  </a:lnTo>
                  <a:lnTo>
                    <a:pt x="90" y="122"/>
                  </a:lnTo>
                  <a:lnTo>
                    <a:pt x="84" y="134"/>
                  </a:lnTo>
                  <a:lnTo>
                    <a:pt x="80" y="148"/>
                  </a:lnTo>
                  <a:lnTo>
                    <a:pt x="76" y="160"/>
                  </a:lnTo>
                  <a:lnTo>
                    <a:pt x="76" y="174"/>
                  </a:lnTo>
                  <a:lnTo>
                    <a:pt x="76" y="174"/>
                  </a:lnTo>
                  <a:lnTo>
                    <a:pt x="76" y="184"/>
                  </a:lnTo>
                  <a:lnTo>
                    <a:pt x="82" y="202"/>
                  </a:lnTo>
                  <a:lnTo>
                    <a:pt x="82" y="202"/>
                  </a:lnTo>
                  <a:lnTo>
                    <a:pt x="82" y="208"/>
                  </a:lnTo>
                  <a:lnTo>
                    <a:pt x="82" y="214"/>
                  </a:lnTo>
                  <a:lnTo>
                    <a:pt x="78" y="220"/>
                  </a:lnTo>
                  <a:lnTo>
                    <a:pt x="72" y="224"/>
                  </a:lnTo>
                  <a:lnTo>
                    <a:pt x="72" y="224"/>
                  </a:lnTo>
                  <a:lnTo>
                    <a:pt x="66" y="224"/>
                  </a:lnTo>
                  <a:lnTo>
                    <a:pt x="58" y="222"/>
                  </a:lnTo>
                  <a:lnTo>
                    <a:pt x="54" y="218"/>
                  </a:lnTo>
                  <a:lnTo>
                    <a:pt x="50" y="214"/>
                  </a:lnTo>
                  <a:lnTo>
                    <a:pt x="50" y="214"/>
                  </a:lnTo>
                  <a:lnTo>
                    <a:pt x="44" y="194"/>
                  </a:lnTo>
                  <a:lnTo>
                    <a:pt x="42" y="184"/>
                  </a:lnTo>
                  <a:lnTo>
                    <a:pt x="42" y="174"/>
                  </a:lnTo>
                  <a:lnTo>
                    <a:pt x="42" y="174"/>
                  </a:lnTo>
                  <a:lnTo>
                    <a:pt x="44" y="156"/>
                  </a:lnTo>
                  <a:lnTo>
                    <a:pt x="46" y="138"/>
                  </a:lnTo>
                  <a:lnTo>
                    <a:pt x="54" y="120"/>
                  </a:lnTo>
                  <a:lnTo>
                    <a:pt x="62" y="104"/>
                  </a:lnTo>
                  <a:lnTo>
                    <a:pt x="72" y="90"/>
                  </a:lnTo>
                  <a:lnTo>
                    <a:pt x="84" y="76"/>
                  </a:lnTo>
                  <a:lnTo>
                    <a:pt x="98" y="66"/>
                  </a:lnTo>
                  <a:lnTo>
                    <a:pt x="114" y="56"/>
                  </a:lnTo>
                  <a:lnTo>
                    <a:pt x="114" y="56"/>
                  </a:lnTo>
                  <a:lnTo>
                    <a:pt x="122" y="54"/>
                  </a:lnTo>
                  <a:lnTo>
                    <a:pt x="128" y="54"/>
                  </a:lnTo>
                  <a:lnTo>
                    <a:pt x="134" y="58"/>
                  </a:lnTo>
                  <a:lnTo>
                    <a:pt x="138" y="64"/>
                  </a:lnTo>
                  <a:lnTo>
                    <a:pt x="138" y="64"/>
                  </a:lnTo>
                  <a:lnTo>
                    <a:pt x="140" y="70"/>
                  </a:lnTo>
                  <a:lnTo>
                    <a:pt x="138" y="76"/>
                  </a:lnTo>
                  <a:lnTo>
                    <a:pt x="136" y="82"/>
                  </a:lnTo>
                  <a:lnTo>
                    <a:pt x="130" y="86"/>
                  </a:lnTo>
                  <a:lnTo>
                    <a:pt x="130" y="86"/>
                  </a:lnTo>
                  <a:close/>
                </a:path>
              </a:pathLst>
            </a:custGeom>
            <a:solidFill>
              <a:schemeClr val="accent1"/>
            </a:solidFill>
            <a:ln w="9525">
              <a:noFill/>
              <a:round/>
            </a:ln>
          </p:spPr>
          <p:txBody>
            <a:bodyPr vert="horz" wrap="square" lIns="93297" tIns="46649" rIns="93297" bIns="46649" numCol="1" anchor="t" anchorCtr="0" compatLnSpc="1"/>
            <a:lstStyle/>
            <a:p>
              <a:endParaRPr lang="en-US" sz="1835"/>
            </a:p>
          </p:txBody>
        </p:sp>
      </p:grpSp>
      <p:sp>
        <p:nvSpPr>
          <p:cNvPr id="11" name="Rectangle 11"/>
          <p:cNvSpPr txBox="1">
            <a:spLocks noChangeArrowheads="1"/>
          </p:cNvSpPr>
          <p:nvPr/>
        </p:nvSpPr>
        <p:spPr bwMode="auto">
          <a:xfrm>
            <a:off x="1259197" y="4709155"/>
            <a:ext cx="9994908" cy="159914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lvl="1"/>
            <a:r>
              <a:rPr lang="zh-CN" altLang="en-US" sz="1630" dirty="0"/>
              <a:t>竞争对手分群方法应根据分析目的进行定制，常见分群维度包括：</a:t>
            </a:r>
            <a:endParaRPr lang="en-US" altLang="zh-CN" sz="1630" dirty="0"/>
          </a:p>
          <a:p>
            <a:pPr lvl="2"/>
            <a:r>
              <a:rPr lang="zh-CN" altLang="en-US" sz="1630" dirty="0"/>
              <a:t>按商业模式分群，例如</a:t>
            </a:r>
            <a:r>
              <a:rPr lang="en-US" altLang="zh-CN" sz="1630" dirty="0"/>
              <a:t>B2B</a:t>
            </a:r>
            <a:r>
              <a:rPr lang="zh-CN" altLang="en-US" sz="1630" dirty="0"/>
              <a:t>、</a:t>
            </a:r>
            <a:r>
              <a:rPr lang="en-US" altLang="zh-CN" sz="1630" dirty="0"/>
              <a:t>B2C</a:t>
            </a:r>
            <a:r>
              <a:rPr lang="zh-CN" altLang="en-US" sz="1630" dirty="0"/>
              <a:t>、</a:t>
            </a:r>
            <a:r>
              <a:rPr lang="en-US" altLang="zh-CN" sz="1630" dirty="0"/>
              <a:t>B2B2C</a:t>
            </a:r>
            <a:endParaRPr lang="en-US" altLang="zh-CN" sz="1630" dirty="0"/>
          </a:p>
          <a:p>
            <a:pPr lvl="2"/>
            <a:r>
              <a:rPr lang="zh-CN" altLang="en-US" sz="1630" dirty="0"/>
              <a:t>按目标客户分群，例如高端、中产、大众</a:t>
            </a:r>
            <a:endParaRPr lang="en-US" altLang="zh-CN" sz="1630" dirty="0"/>
          </a:p>
          <a:p>
            <a:pPr lvl="2"/>
            <a:r>
              <a:rPr lang="zh-CN" altLang="en-US" sz="1630" dirty="0"/>
              <a:t>按经营地域分群，例如全国性、区域性、地方性</a:t>
            </a:r>
            <a:endParaRPr lang="en-US" altLang="zh-CN" sz="1630" dirty="0"/>
          </a:p>
          <a:p>
            <a:pPr lvl="2"/>
            <a:r>
              <a:rPr lang="zh-CN" altLang="en-US" sz="1630" dirty="0"/>
              <a:t>按销售渠道分群，例如自建物理渠道、互联网渠道、第三方代理渠道</a:t>
            </a:r>
            <a:endParaRPr lang="en-US" altLang="zh-CN" sz="1630" dirty="0"/>
          </a:p>
          <a:p>
            <a:pPr lvl="2"/>
            <a:r>
              <a:rPr lang="zh-CN" altLang="en-US" sz="1630" dirty="0"/>
              <a:t>按运营机制分群，例如事业部机制、条块结合机制</a:t>
            </a:r>
            <a:endParaRPr lang="en-US" altLang="ko-KR" sz="1630" dirty="0"/>
          </a:p>
        </p:txBody>
      </p:sp>
      <p:cxnSp>
        <p:nvCxnSpPr>
          <p:cNvPr id="12" name="Straight Connector 26"/>
          <p:cNvCxnSpPr/>
          <p:nvPr/>
        </p:nvCxnSpPr>
        <p:spPr>
          <a:xfrm>
            <a:off x="1039973" y="2161922"/>
            <a:ext cx="10440093" cy="0"/>
          </a:xfrm>
          <a:prstGeom prst="line">
            <a:avLst/>
          </a:prstGeom>
          <a:ln w="19050">
            <a:solidFill>
              <a:schemeClr val="accent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3" name="Straight Connector 27"/>
          <p:cNvCxnSpPr/>
          <p:nvPr/>
        </p:nvCxnSpPr>
        <p:spPr>
          <a:xfrm>
            <a:off x="1039973" y="3293907"/>
            <a:ext cx="10440093" cy="0"/>
          </a:xfrm>
          <a:prstGeom prst="line">
            <a:avLst/>
          </a:prstGeom>
          <a:ln w="19050">
            <a:solidFill>
              <a:schemeClr val="accent6"/>
            </a:solidFill>
            <a:prstDash val="sysDot"/>
          </a:ln>
          <a:effectLst/>
        </p:spPr>
        <p:style>
          <a:lnRef idx="1">
            <a:schemeClr val="accent1"/>
          </a:lnRef>
          <a:fillRef idx="0">
            <a:schemeClr val="accent1"/>
          </a:fillRef>
          <a:effectRef idx="0">
            <a:schemeClr val="accent1"/>
          </a:effectRef>
          <a:fontRef idx="minor">
            <a:schemeClr val="tx1"/>
          </a:fontRef>
        </p:style>
      </p:cxnSp>
      <p:sp>
        <p:nvSpPr>
          <p:cNvPr id="15" name="ListLeanHorizontalTextTopic0"/>
          <p:cNvSpPr txBox="1"/>
          <p:nvPr/>
        </p:nvSpPr>
        <p:spPr>
          <a:xfrm>
            <a:off x="1047228" y="1156602"/>
            <a:ext cx="1760795" cy="878656"/>
          </a:xfrm>
          <a:prstGeom prst="rect">
            <a:avLst/>
          </a:prstGeom>
          <a:solidFill>
            <a:srgbClr val="FFC3AB"/>
          </a:solidFill>
          <a:ln w="9525">
            <a:noFill/>
          </a:ln>
        </p:spPr>
        <p:txBody>
          <a:bodyPr vert="horz" wrap="square" lIns="73472" tIns="73472" rIns="73472" bIns="73472" rtlCol="0" anchor="ctr" anchorCtr="0">
            <a:noAutofit/>
          </a:bodyPr>
          <a:lstStyle/>
          <a:p>
            <a:pPr>
              <a:lnSpc>
                <a:spcPct val="90000"/>
              </a:lnSpc>
              <a:spcBef>
                <a:spcPts val="380"/>
              </a:spcBef>
              <a:buSzPct val="100000"/>
            </a:pPr>
            <a:r>
              <a:rPr lang="zh-CN" altLang="en-US" sz="1835" b="1" dirty="0">
                <a:latin typeface="+mj-lt"/>
                <a:ea typeface="+mj-ea"/>
                <a:cs typeface="Arial Narrow" panose="020B0606020202030204" pitchFamily="34" charset="0"/>
              </a:rPr>
              <a:t>分群</a:t>
            </a:r>
            <a:r>
              <a:rPr lang="en-US" altLang="zh-CN" sz="1835" b="1" dirty="0">
                <a:latin typeface="+mj-lt"/>
                <a:ea typeface="+mj-ea"/>
                <a:cs typeface="Arial Narrow" panose="020B0606020202030204" pitchFamily="34" charset="0"/>
              </a:rPr>
              <a:t>A</a:t>
            </a:r>
            <a:endParaRPr lang="en-US" altLang="zh-CN" sz="1835" b="1" dirty="0">
              <a:latin typeface="+mj-lt"/>
              <a:ea typeface="+mj-ea"/>
              <a:cs typeface="Arial Narrow" panose="020B0606020202030204" pitchFamily="34" charset="0"/>
            </a:endParaRPr>
          </a:p>
          <a:p>
            <a:pPr>
              <a:lnSpc>
                <a:spcPct val="90000"/>
              </a:lnSpc>
              <a:spcBef>
                <a:spcPts val="380"/>
              </a:spcBef>
              <a:buSzPct val="100000"/>
            </a:pPr>
            <a:r>
              <a:rPr lang="en-US" sz="1835" b="1" dirty="0">
                <a:latin typeface="+mj-lt"/>
                <a:ea typeface="+mj-ea"/>
                <a:cs typeface="Arial Narrow" panose="020B0606020202030204" pitchFamily="34" charset="0"/>
              </a:rPr>
              <a:t>[</a:t>
            </a:r>
            <a:r>
              <a:rPr lang="zh-CN" altLang="en-US" sz="1835" b="1" dirty="0">
                <a:latin typeface="+mj-lt"/>
                <a:ea typeface="+mj-ea"/>
                <a:cs typeface="Arial Narrow" panose="020B0606020202030204" pitchFamily="34" charset="0"/>
              </a:rPr>
              <a:t>代表企业</a:t>
            </a:r>
            <a:r>
              <a:rPr lang="en-US" altLang="zh-CN" sz="1835" b="1" dirty="0">
                <a:latin typeface="+mj-lt"/>
                <a:ea typeface="+mj-ea"/>
                <a:cs typeface="Arial Narrow" panose="020B0606020202030204" pitchFamily="34" charset="0"/>
              </a:rPr>
              <a:t>Logo</a:t>
            </a:r>
            <a:r>
              <a:rPr lang="en-US" sz="1835" b="1" dirty="0">
                <a:latin typeface="+mj-lt"/>
                <a:ea typeface="+mj-ea"/>
                <a:cs typeface="Arial Narrow" panose="020B0606020202030204" pitchFamily="34" charset="0"/>
              </a:rPr>
              <a:t>]</a:t>
            </a:r>
            <a:endParaRPr lang="de-DE" sz="1835" b="1" dirty="0">
              <a:latin typeface="+mj-lt"/>
              <a:ea typeface="+mj-ea"/>
              <a:cs typeface="Arial Narrow" panose="020B0606020202030204" pitchFamily="34" charset="0"/>
            </a:endParaRPr>
          </a:p>
        </p:txBody>
      </p:sp>
      <p:cxnSp>
        <p:nvCxnSpPr>
          <p:cNvPr id="19" name="Horizontal Line"/>
          <p:cNvCxnSpPr/>
          <p:nvPr/>
        </p:nvCxnSpPr>
        <p:spPr>
          <a:xfrm>
            <a:off x="1039973" y="1029937"/>
            <a:ext cx="10440093" cy="0"/>
          </a:xfrm>
          <a:prstGeom prst="line">
            <a:avLst/>
          </a:prstGeom>
          <a:ln w="95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0" name="Rectangle 2"/>
          <p:cNvSpPr txBox="1"/>
          <p:nvPr/>
        </p:nvSpPr>
        <p:spPr>
          <a:xfrm>
            <a:off x="3422448" y="692137"/>
            <a:ext cx="4232981" cy="26999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a:lnSpc>
                <a:spcPct val="90000"/>
              </a:lnSpc>
              <a:spcBef>
                <a:spcPts val="380"/>
              </a:spcBef>
              <a:buSzPct val="100000"/>
            </a:pPr>
            <a:r>
              <a:rPr lang="zh-CN" altLang="en-US" sz="1835" b="1" dirty="0"/>
              <a:t>描述</a:t>
            </a:r>
            <a:endParaRPr lang="de-DE" sz="1835" b="1" dirty="0"/>
          </a:p>
        </p:txBody>
      </p:sp>
      <p:sp>
        <p:nvSpPr>
          <p:cNvPr id="21" name="Rectangle 5"/>
          <p:cNvSpPr txBox="1"/>
          <p:nvPr/>
        </p:nvSpPr>
        <p:spPr>
          <a:xfrm>
            <a:off x="7914890" y="692137"/>
            <a:ext cx="3909551" cy="26999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a:lnSpc>
                <a:spcPct val="90000"/>
              </a:lnSpc>
              <a:spcBef>
                <a:spcPts val="380"/>
              </a:spcBef>
              <a:buSzPct val="100000"/>
            </a:pPr>
            <a:r>
              <a:rPr lang="zh-CN" altLang="en-US" sz="1835" b="1" dirty="0"/>
              <a:t>关键成功因素</a:t>
            </a:r>
            <a:endParaRPr lang="de-DE" sz="1835" b="1" dirty="0"/>
          </a:p>
        </p:txBody>
      </p:sp>
      <p:sp>
        <p:nvSpPr>
          <p:cNvPr id="22" name="Rectangle 30"/>
          <p:cNvSpPr txBox="1"/>
          <p:nvPr/>
        </p:nvSpPr>
        <p:spPr>
          <a:xfrm>
            <a:off x="3014103" y="1101717"/>
            <a:ext cx="4232981" cy="30000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p:txBody>
      </p:sp>
      <p:sp>
        <p:nvSpPr>
          <p:cNvPr id="23" name="Rectangle 30"/>
          <p:cNvSpPr txBox="1"/>
          <p:nvPr/>
        </p:nvSpPr>
        <p:spPr>
          <a:xfrm>
            <a:off x="3014103" y="2281228"/>
            <a:ext cx="4232981" cy="30000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p:txBody>
      </p:sp>
      <p:sp>
        <p:nvSpPr>
          <p:cNvPr id="24" name="Rectangle 30"/>
          <p:cNvSpPr txBox="1"/>
          <p:nvPr/>
        </p:nvSpPr>
        <p:spPr>
          <a:xfrm>
            <a:off x="3014103" y="3420573"/>
            <a:ext cx="4232981" cy="30000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p:txBody>
      </p:sp>
      <p:sp>
        <p:nvSpPr>
          <p:cNvPr id="26" name="Rectangle 30"/>
          <p:cNvSpPr txBox="1"/>
          <p:nvPr/>
        </p:nvSpPr>
        <p:spPr>
          <a:xfrm>
            <a:off x="7506544" y="1101717"/>
            <a:ext cx="3909551" cy="30000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p:txBody>
      </p:sp>
      <p:sp>
        <p:nvSpPr>
          <p:cNvPr id="27" name="Rectangle 30"/>
          <p:cNvSpPr txBox="1"/>
          <p:nvPr/>
        </p:nvSpPr>
        <p:spPr>
          <a:xfrm>
            <a:off x="7506544" y="2281228"/>
            <a:ext cx="3909551" cy="30000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p:txBody>
      </p:sp>
      <p:sp>
        <p:nvSpPr>
          <p:cNvPr id="28" name="Rectangle 30"/>
          <p:cNvSpPr txBox="1"/>
          <p:nvPr/>
        </p:nvSpPr>
        <p:spPr>
          <a:xfrm>
            <a:off x="7506544" y="3420573"/>
            <a:ext cx="3909551" cy="300001"/>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lvl="0" indent="0" defTabSz="895350" eaLnBrk="1" hangingPunct="1">
              <a:buClr>
                <a:schemeClr val="tx2"/>
              </a:buClr>
              <a:defRPr baseline="0">
                <a:latin typeface="+mn-lt"/>
              </a:defRPr>
            </a:lvl1pPr>
            <a:lvl2pPr marL="193675" lvl="1" indent="-192405" defTabSz="895350" eaLnBrk="1" hangingPunct="1">
              <a:buClr>
                <a:schemeClr val="tx2"/>
              </a:buClr>
              <a:buSzPct val="125000"/>
              <a:buFont typeface="Arial" panose="020B0604020202020204" pitchFamily="34" charset="0"/>
              <a:buChar char="▪"/>
              <a:defRPr baseline="0">
                <a:latin typeface="+mn-lt"/>
              </a:defRPr>
            </a:lvl2pPr>
            <a:lvl3pPr marL="457200" lvl="2" indent="-262255" defTabSz="895350" eaLnBrk="1" hangingPunct="1">
              <a:buClr>
                <a:schemeClr val="tx2"/>
              </a:buClr>
              <a:buSzPct val="120000"/>
              <a:buFont typeface="Arial" panose="020B0604020202020204" pitchFamily="34" charset="0"/>
              <a:buChar char="–"/>
              <a:defRPr baseline="0">
                <a:latin typeface="+mn-lt"/>
              </a:defRPr>
            </a:lvl3pPr>
            <a:lvl4pPr marL="614680" lvl="3" indent="-155575" defTabSz="895350" eaLnBrk="1" hangingPunct="1">
              <a:buClr>
                <a:schemeClr val="tx2"/>
              </a:buClr>
              <a:buSzPct val="120000"/>
              <a:buFont typeface="Arial" panose="020B0604020202020204" pitchFamily="34" charset="0"/>
              <a:buChar char="▫"/>
              <a:defRPr baseline="0">
                <a:latin typeface="+mn-lt"/>
              </a:defRPr>
            </a:lvl4pPr>
            <a:lvl5pPr marL="749935" lvl="4" indent="-130175" defTabSz="895350" eaLnBrk="1" hangingPunct="1">
              <a:buClr>
                <a:schemeClr val="tx2"/>
              </a:buClr>
              <a:buSzPct val="89000"/>
              <a:buFont typeface="Arial" panose="020B0604020202020204" pitchFamily="34" charset="0"/>
              <a:buChar char="-"/>
              <a:defRPr baseline="0">
                <a:latin typeface="+mn-lt"/>
              </a:defRPr>
            </a:lvl5pPr>
            <a:lvl6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6pPr>
            <a:lvl7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7pPr>
            <a:lvl8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8pPr>
            <a:lvl9pPr marL="749935" indent="-130175" defTabSz="895350" fontAlgn="base">
              <a:spcBef>
                <a:spcPct val="0"/>
              </a:spcBef>
              <a:spcAft>
                <a:spcPct val="0"/>
              </a:spcAft>
              <a:buClr>
                <a:schemeClr val="tx2"/>
              </a:buClr>
              <a:buSzPct val="89000"/>
              <a:buFont typeface="Arial" panose="020B0604020202020204" pitchFamily="34" charset="0"/>
              <a:buChar char="-"/>
              <a:defRPr>
                <a:latin typeface="+mn-lt"/>
              </a:defRPr>
            </a:lvl9pPr>
          </a:lstStyle>
          <a:p>
            <a:pPr lvl="1"/>
            <a:r>
              <a:rPr lang="en-US" sz="1835" dirty="0"/>
              <a:t>xxx</a:t>
            </a:r>
            <a:endParaRPr lang="en-US" sz="1835" dirty="0"/>
          </a:p>
        </p:txBody>
      </p:sp>
      <p:sp>
        <p:nvSpPr>
          <p:cNvPr id="30" name="ListLeanHorizontalTextTopic0"/>
          <p:cNvSpPr txBox="1"/>
          <p:nvPr/>
        </p:nvSpPr>
        <p:spPr>
          <a:xfrm>
            <a:off x="1047228" y="2288587"/>
            <a:ext cx="1760795" cy="878656"/>
          </a:xfrm>
          <a:prstGeom prst="rect">
            <a:avLst/>
          </a:prstGeom>
          <a:solidFill>
            <a:srgbClr val="FFC3AB"/>
          </a:solidFill>
          <a:ln w="9525">
            <a:noFill/>
          </a:ln>
        </p:spPr>
        <p:txBody>
          <a:bodyPr vert="horz" wrap="square" lIns="73472" tIns="73472" rIns="73472" bIns="73472" rtlCol="0" anchor="ctr" anchorCtr="0">
            <a:noAutofit/>
          </a:bodyPr>
          <a:lstStyle>
            <a:defPPr>
              <a:defRPr lang="en-US"/>
            </a:defPPr>
            <a:lvl1pPr>
              <a:lnSpc>
                <a:spcPct val="90000"/>
              </a:lnSpc>
              <a:spcBef>
                <a:spcPts val="380"/>
              </a:spcBef>
              <a:buSzPct val="100000"/>
              <a:defRPr sz="1835" b="1">
                <a:latin typeface="+mj-lt"/>
                <a:ea typeface="+mj-ea"/>
                <a:cs typeface="Arial Narrow" panose="020B0606020202030204" pitchFamily="34" charset="0"/>
              </a:defRPr>
            </a:lvl1pPr>
          </a:lstStyle>
          <a:p>
            <a:r>
              <a:rPr lang="zh-CN" altLang="en-US" dirty="0"/>
              <a:t>分群</a:t>
            </a:r>
            <a:r>
              <a:rPr lang="en-US" altLang="zh-CN" dirty="0"/>
              <a:t>B</a:t>
            </a:r>
            <a:endParaRPr lang="en-US" altLang="zh-CN" dirty="0"/>
          </a:p>
          <a:p>
            <a:r>
              <a:rPr lang="en-US" altLang="zh-CN" dirty="0"/>
              <a:t>[</a:t>
            </a:r>
            <a:r>
              <a:rPr lang="zh-CN" altLang="en-US" dirty="0"/>
              <a:t>代表企业</a:t>
            </a:r>
            <a:r>
              <a:rPr lang="en-US" altLang="zh-CN" dirty="0"/>
              <a:t>Logo]</a:t>
            </a:r>
            <a:endParaRPr lang="de-DE" altLang="zh-CN" dirty="0"/>
          </a:p>
        </p:txBody>
      </p:sp>
      <p:sp>
        <p:nvSpPr>
          <p:cNvPr id="32" name="ListLeanHorizontalTextTopic0"/>
          <p:cNvSpPr txBox="1"/>
          <p:nvPr/>
        </p:nvSpPr>
        <p:spPr>
          <a:xfrm>
            <a:off x="1047228" y="3420573"/>
            <a:ext cx="1760795" cy="878656"/>
          </a:xfrm>
          <a:prstGeom prst="rect">
            <a:avLst/>
          </a:prstGeom>
          <a:solidFill>
            <a:srgbClr val="FFC3AB"/>
          </a:solidFill>
          <a:ln w="9525">
            <a:noFill/>
          </a:ln>
        </p:spPr>
        <p:txBody>
          <a:bodyPr vert="horz" wrap="square" lIns="73472" tIns="73472" rIns="73472" bIns="73472" rtlCol="0" anchor="ctr" anchorCtr="0">
            <a:noAutofit/>
          </a:bodyPr>
          <a:lstStyle>
            <a:defPPr>
              <a:defRPr lang="en-US"/>
            </a:defPPr>
            <a:lvl1pPr>
              <a:lnSpc>
                <a:spcPct val="90000"/>
              </a:lnSpc>
              <a:spcBef>
                <a:spcPts val="380"/>
              </a:spcBef>
              <a:buSzPct val="100000"/>
              <a:defRPr sz="1835" b="1">
                <a:latin typeface="+mj-lt"/>
                <a:ea typeface="+mj-ea"/>
                <a:cs typeface="Arial Narrow" panose="020B0606020202030204" pitchFamily="34" charset="0"/>
              </a:defRPr>
            </a:lvl1pPr>
          </a:lstStyle>
          <a:p>
            <a:r>
              <a:rPr lang="zh-CN" altLang="en-US" dirty="0"/>
              <a:t>分群</a:t>
            </a:r>
            <a:r>
              <a:rPr lang="en-US" altLang="zh-CN" dirty="0"/>
              <a:t>C</a:t>
            </a:r>
            <a:endParaRPr lang="en-US" altLang="zh-CN" dirty="0"/>
          </a:p>
          <a:p>
            <a:r>
              <a:rPr lang="en-US" altLang="zh-CN" dirty="0"/>
              <a:t>[</a:t>
            </a:r>
            <a:r>
              <a:rPr lang="zh-CN" altLang="en-US" dirty="0"/>
              <a:t>代表企业</a:t>
            </a:r>
            <a:r>
              <a:rPr lang="en-US" altLang="zh-CN" dirty="0"/>
              <a:t>Logo]</a:t>
            </a:r>
            <a:endParaRPr lang="de-DE" altLang="zh-CN" dirty="0"/>
          </a:p>
        </p:txBody>
      </p:sp>
      <p:sp>
        <p:nvSpPr>
          <p:cNvPr id="31"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ea typeface="华文楷体" panose="02010600040101010101" charset="-122"/>
              </a:rPr>
              <a:t>竞调</a:t>
            </a:r>
            <a:r>
              <a:rPr lang="en-US" altLang="zh-CN" sz="2400" dirty="0" smtClean="0">
                <a:solidFill>
                  <a:prstClr val="black"/>
                </a:solidFill>
                <a:latin typeface="华文楷体" panose="02010600040101010101" charset="-122"/>
                <a:ea typeface="华文楷体" panose="02010600040101010101" charset="-122"/>
              </a:rPr>
              <a:t>-</a:t>
            </a:r>
            <a:r>
              <a:rPr lang="zh-CN" altLang="en-US" sz="2400" dirty="0" smtClean="0">
                <a:solidFill>
                  <a:prstClr val="black"/>
                </a:solidFill>
                <a:latin typeface="华文楷体" panose="02010600040101010101" charset="-122"/>
                <a:ea typeface="华文楷体" panose="02010600040101010101" charset="-122"/>
              </a:rPr>
              <a:t>竞争对手分群</a:t>
            </a:r>
            <a:endParaRPr lang="zh-CN" altLang="en-US" sz="2400" dirty="0">
              <a:solidFill>
                <a:prstClr val="black"/>
              </a:solidFill>
              <a:latin typeface="华文楷体" panose="02010600040101010101" charset="-122"/>
              <a:ea typeface="华文楷体" panose="02010600040101010101" charset="-122"/>
            </a:endParaRPr>
          </a:p>
        </p:txBody>
      </p:sp>
      <p:pic>
        <p:nvPicPr>
          <p:cNvPr id="34" name="图片 3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44" y="6471740"/>
            <a:ext cx="1490936" cy="247552"/>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txBox="1"/>
          <p:nvPr/>
        </p:nvSpPr>
        <p:spPr>
          <a:xfrm>
            <a:off x="224866" y="160056"/>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a:defRPr/>
            </a:pPr>
            <a:r>
              <a:rPr lang="zh-CN" altLang="en-US" sz="2400" dirty="0" smtClean="0">
                <a:solidFill>
                  <a:prstClr val="black"/>
                </a:solidFill>
                <a:latin typeface="华文楷体" panose="02010600040101010101" charset="-122"/>
              </a:rPr>
              <a:t>竞调</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对标</a:t>
            </a:r>
            <a:endParaRPr lang="zh-CN" altLang="en-US" sz="2400" dirty="0">
              <a:solidFill>
                <a:prstClr val="black"/>
              </a:solidFill>
              <a:latin typeface="华文楷体" panose="02010600040101010101" charset="-122"/>
            </a:endParaRPr>
          </a:p>
        </p:txBody>
      </p:sp>
      <p:sp>
        <p:nvSpPr>
          <p:cNvPr id="18" name="文本框 17"/>
          <p:cNvSpPr txBox="1"/>
          <p:nvPr/>
        </p:nvSpPr>
        <p:spPr>
          <a:xfrm>
            <a:off x="523702" y="782178"/>
            <a:ext cx="5193343" cy="867930"/>
          </a:xfrm>
          <a:prstGeom prst="rect">
            <a:avLst/>
          </a:prstGeom>
          <a:noFill/>
        </p:spPr>
        <p:txBody>
          <a:bodyPr wrap="square" rtlCol="0">
            <a:spAutoFit/>
          </a:bodyPr>
          <a:lstStyle/>
          <a:p>
            <a:pPr marL="0" marR="0" lvl="0" indent="0" algn="l" defTabSz="914400" rtl="0" eaLnBrk="1" fontAlgn="base" latinLnBrk="1" hangingPunct="1">
              <a:lnSpc>
                <a:spcPct val="120000"/>
              </a:lnSpc>
              <a:spcBef>
                <a:spcPct val="0"/>
              </a:spcBef>
              <a:spcAft>
                <a:spcPct val="0"/>
              </a:spcAft>
              <a:buClrTx/>
              <a:buSzTx/>
              <a:buFontTx/>
              <a:buNone/>
              <a:defRPr/>
            </a:pPr>
            <a:r>
              <a:rPr kumimoji="0" lang="zh-CN" altLang="en-US"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相对于</a:t>
            </a:r>
            <a:r>
              <a:rPr kumimoji="0" lang="zh-CN" altLang="en-US"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海康</a:t>
            </a:r>
            <a:r>
              <a:rPr kumimoji="0" lang="zh-CN" altLang="en-US"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r>
              <a:rPr kumimoji="0" lang="zh-CN" altLang="en-US"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大华等产品设备</a:t>
            </a:r>
            <a:r>
              <a:rPr kumimoji="0" lang="zh-CN" altLang="en-US"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提供商，平安</a:t>
            </a:r>
            <a:r>
              <a:rPr kumimoji="0" lang="zh-CN" altLang="en-US" sz="1400" b="1"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优势</a:t>
            </a:r>
            <a:r>
              <a:rPr kumimoji="0" lang="zh-CN" altLang="en-US"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在于：</a:t>
            </a:r>
            <a:endParaRPr kumimoji="0" lang="zh-CN" altLang="en-US"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l" defTabSz="914400" rtl="0" eaLnBrk="1" fontAlgn="base" latinLnBrk="1" hangingPunct="1">
              <a:lnSpc>
                <a:spcPct val="120000"/>
              </a:lnSpc>
              <a:spcBef>
                <a:spcPct val="0"/>
              </a:spcBef>
              <a:spcAft>
                <a:spcPct val="0"/>
              </a:spcAft>
              <a:buClrTx/>
              <a:buSzTx/>
              <a:buFontTx/>
              <a:buNone/>
              <a:defRPr/>
            </a:pPr>
            <a:r>
              <a:rPr kumimoji="0" lang="en-US" altLang="zh-CN"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1</a:t>
            </a:r>
            <a:r>
              <a:rPr kumimoji="0" lang="zh-CN" altLang="en-US"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lang="en-US" altLang="zh-CN" sz="1400" dirty="0">
              <a:solidFill>
                <a:schemeClr val="tx1">
                  <a:lumMod val="75000"/>
                  <a:lumOff val="25000"/>
                </a:schemeClr>
              </a:solidFill>
              <a:latin typeface="华文楷体" panose="02010600040101010101" charset="-122"/>
              <a:ea typeface="华文楷体" panose="02010600040101010101" charset="-122"/>
            </a:endParaRPr>
          </a:p>
          <a:p>
            <a:pPr marL="0" marR="0" lvl="0" indent="0" algn="l" defTabSz="914400" rtl="0" eaLnBrk="1" fontAlgn="base" latinLnBrk="1" hangingPunct="1">
              <a:lnSpc>
                <a:spcPct val="120000"/>
              </a:lnSpc>
              <a:spcBef>
                <a:spcPct val="0"/>
              </a:spcBef>
              <a:spcAft>
                <a:spcPct val="0"/>
              </a:spcAft>
              <a:buClrTx/>
              <a:buSzTx/>
              <a:buFontTx/>
              <a:buNone/>
              <a:defRPr/>
            </a:pPr>
            <a:r>
              <a:rPr kumimoji="0" lang="en-US" altLang="zh-CN"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2</a:t>
            </a:r>
            <a:r>
              <a:rPr kumimoji="0" lang="zh-CN" altLang="en-US"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kumimoji="0" lang="en-US" altLang="zh-CN"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cxnSp>
        <p:nvCxnSpPr>
          <p:cNvPr id="25" name="直接连接符 24"/>
          <p:cNvCxnSpPr/>
          <p:nvPr/>
        </p:nvCxnSpPr>
        <p:spPr>
          <a:xfrm>
            <a:off x="5842525" y="659623"/>
            <a:ext cx="0" cy="1302181"/>
          </a:xfrm>
          <a:prstGeom prst="line">
            <a:avLst/>
          </a:prstGeom>
          <a:ln w="28575">
            <a:solidFill>
              <a:srgbClr val="FF3300"/>
            </a:solidFill>
            <a:prstDash val="lgDash"/>
          </a:ln>
        </p:spPr>
        <p:style>
          <a:lnRef idx="1">
            <a:schemeClr val="accent1"/>
          </a:lnRef>
          <a:fillRef idx="0">
            <a:schemeClr val="accent1"/>
          </a:fillRef>
          <a:effectRef idx="0">
            <a:schemeClr val="accent1"/>
          </a:effectRef>
          <a:fontRef idx="minor">
            <a:schemeClr val="tx1"/>
          </a:fontRef>
        </p:style>
      </p:cxnSp>
      <p:sp>
        <p:nvSpPr>
          <p:cNvPr id="26" name="文本框 25"/>
          <p:cNvSpPr txBox="1"/>
          <p:nvPr/>
        </p:nvSpPr>
        <p:spPr>
          <a:xfrm>
            <a:off x="6094558" y="865355"/>
            <a:ext cx="5202438" cy="781752"/>
          </a:xfrm>
          <a:prstGeom prst="rect">
            <a:avLst/>
          </a:prstGeom>
          <a:noFill/>
        </p:spPr>
        <p:txBody>
          <a:bodyPr wrap="square" rtlCol="0">
            <a:spAutoFit/>
          </a:bodyPr>
          <a:lstStyle/>
          <a:p>
            <a:pPr marL="0" marR="0" lvl="0" indent="0" algn="l" defTabSz="914400" rtl="0" eaLnBrk="1" fontAlgn="base" latinLnBrk="1" hangingPunct="1">
              <a:lnSpc>
                <a:spcPct val="120000"/>
              </a:lnSpc>
              <a:spcBef>
                <a:spcPct val="0"/>
              </a:spcBef>
              <a:spcAft>
                <a:spcPct val="0"/>
              </a:spcAft>
              <a:buClrTx/>
              <a:buSzTx/>
              <a:buFontTx/>
              <a:buNone/>
              <a:defRPr/>
            </a:pPr>
            <a:r>
              <a:rPr kumimoji="0" lang="zh-CN" altLang="en-US"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不足之处：</a:t>
            </a:r>
            <a:endParaRPr kumimoji="0" lang="zh-CN" altLang="en-US"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1</a:t>
            </a:r>
            <a:r>
              <a:rPr kumimoji="0" lang="zh-CN" altLang="en-US"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lang="en-US" altLang="zh-CN" sz="1400" dirty="0">
              <a:solidFill>
                <a:schemeClr val="tx1">
                  <a:lumMod val="75000"/>
                  <a:lumOff val="25000"/>
                </a:schemeClr>
              </a:solidFill>
              <a:latin typeface="华文楷体" panose="02010600040101010101" charset="-122"/>
              <a:ea typeface="华文楷体" panose="02010600040101010101"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2</a:t>
            </a:r>
            <a:r>
              <a:rPr kumimoji="0" lang="zh-CN" altLang="en-US"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kumimoji="0" lang="zh-CN" altLang="en-US"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grpSp>
        <p:nvGrpSpPr>
          <p:cNvPr id="28" name="组合 27"/>
          <p:cNvGrpSpPr/>
          <p:nvPr/>
        </p:nvGrpSpPr>
        <p:grpSpPr>
          <a:xfrm>
            <a:off x="-45243" y="1922938"/>
            <a:ext cx="12242036" cy="4435529"/>
            <a:chOff x="-45243" y="1922938"/>
            <a:chExt cx="12242036" cy="4731858"/>
          </a:xfrm>
        </p:grpSpPr>
        <p:sp>
          <p:nvSpPr>
            <p:cNvPr id="3" name="椭圆 2"/>
            <p:cNvSpPr/>
            <p:nvPr/>
          </p:nvSpPr>
          <p:spPr>
            <a:xfrm>
              <a:off x="10473815" y="3255069"/>
              <a:ext cx="1673835" cy="1722143"/>
            </a:xfrm>
            <a:prstGeom prst="ellipse">
              <a:avLst/>
            </a:prstGeom>
            <a:solidFill>
              <a:schemeClr val="bg1">
                <a:lumMod val="5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1" hangingPunct="1">
                <a:lnSpc>
                  <a:spcPct val="120000"/>
                </a:lnSpc>
                <a:spcBef>
                  <a:spcPts val="200"/>
                </a:spcBef>
                <a:spcAft>
                  <a:spcPts val="200"/>
                </a:spcAft>
                <a:buClrTx/>
                <a:buSzTx/>
                <a:buFontTx/>
                <a:buNone/>
                <a:defRPr/>
              </a:pPr>
              <a:endParaRPr kumimoji="0" lang="zh-CN" altLang="en-US" sz="2400" b="0" i="0" u="none" strike="noStrike" kern="1200" cap="none" spc="0" normalizeH="0" baseline="0" noProof="0" dirty="0">
                <a:ln>
                  <a:noFill/>
                </a:ln>
                <a:solidFill>
                  <a:schemeClr val="bg1"/>
                </a:solidFill>
                <a:effectLst/>
                <a:uLnTx/>
                <a:uFillTx/>
                <a:latin typeface="Malgun Gothic" panose="020B0503020000020004" charset="-127"/>
                <a:ea typeface="宋体" panose="02010600030101010101" pitchFamily="2" charset="-122"/>
                <a:cs typeface="+mn-cs"/>
              </a:endParaRPr>
            </a:p>
          </p:txBody>
        </p:sp>
        <p:sp>
          <p:nvSpPr>
            <p:cNvPr id="4" name="椭圆 3"/>
            <p:cNvSpPr/>
            <p:nvPr/>
          </p:nvSpPr>
          <p:spPr>
            <a:xfrm>
              <a:off x="-19080" y="3255071"/>
              <a:ext cx="1673835" cy="1722143"/>
            </a:xfrm>
            <a:prstGeom prst="ellipse">
              <a:avLst/>
            </a:prstGeom>
            <a:solidFill>
              <a:schemeClr val="bg1">
                <a:lumMod val="5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1" hangingPunct="1">
                <a:lnSpc>
                  <a:spcPct val="120000"/>
                </a:lnSpc>
                <a:spcBef>
                  <a:spcPts val="200"/>
                </a:spcBef>
                <a:spcAft>
                  <a:spcPts val="200"/>
                </a:spcAft>
                <a:buClrTx/>
                <a:buSzTx/>
                <a:buFontTx/>
                <a:buNone/>
                <a:defRPr/>
              </a:pPr>
              <a:endParaRPr kumimoji="0" lang="zh-CN" altLang="en-US" sz="2400" b="0" i="0" u="none" strike="noStrike" kern="1200" cap="none" spc="0" normalizeH="0" baseline="0" noProof="0" dirty="0">
                <a:ln>
                  <a:noFill/>
                </a:ln>
                <a:solidFill>
                  <a:schemeClr val="bg1"/>
                </a:solidFill>
                <a:effectLst/>
                <a:uLnTx/>
                <a:uFillTx/>
                <a:latin typeface="Malgun Gothic" panose="020B0503020000020004" charset="-127"/>
                <a:ea typeface="宋体" panose="02010600030101010101" pitchFamily="2" charset="-122"/>
                <a:cs typeface="+mn-cs"/>
              </a:endParaRPr>
            </a:p>
          </p:txBody>
        </p:sp>
        <p:sp>
          <p:nvSpPr>
            <p:cNvPr id="5" name="矩形 4"/>
            <p:cNvSpPr/>
            <p:nvPr/>
          </p:nvSpPr>
          <p:spPr>
            <a:xfrm>
              <a:off x="-45243" y="3589014"/>
              <a:ext cx="1659464" cy="1030026"/>
            </a:xfrm>
            <a:prstGeom prst="rect">
              <a:avLst/>
            </a:prstGeom>
          </p:spPr>
          <p:txBody>
            <a:bodyPr wrap="square">
              <a:spAutoFit/>
            </a:bodyPr>
            <a:lstStyle/>
            <a:p>
              <a:pPr marL="0" marR="0" lvl="0" indent="0" algn="ctr" defTabSz="914400" rtl="0" eaLnBrk="1" fontAlgn="auto" latinLnBrk="1" hangingPunct="1">
                <a:lnSpc>
                  <a:spcPct val="120000"/>
                </a:lnSpc>
                <a:spcBef>
                  <a:spcPts val="200"/>
                </a:spcBef>
                <a:spcAft>
                  <a:spcPts val="200"/>
                </a:spcAft>
                <a:buClrTx/>
                <a:buSzTx/>
                <a:buFontTx/>
                <a:buNone/>
                <a:defRPr/>
              </a:pPr>
              <a:r>
                <a:rPr kumimoji="0" lang="zh-CN" altLang="en-US" sz="2400" b="0" i="0" u="none" strike="noStrike" kern="1200" cap="none" spc="0" normalizeH="0" baseline="0" noProof="0" dirty="0" smtClean="0">
                  <a:ln>
                    <a:noFill/>
                  </a:ln>
                  <a:solidFill>
                    <a:schemeClr val="bg1"/>
                  </a:solidFill>
                  <a:effectLst/>
                  <a:uLnTx/>
                  <a:uFillTx/>
                  <a:latin typeface="华文楷体" panose="02010600040101010101" charset="-122"/>
                  <a:ea typeface="华文楷体" panose="02010600040101010101" charset="-122"/>
                  <a:cs typeface="+mn-cs"/>
                </a:rPr>
                <a:t>海康</a:t>
              </a:r>
              <a:endParaRPr kumimoji="0" lang="en-US" altLang="zh-CN" sz="2400" b="0" i="0" u="none" strike="noStrike" kern="1200" cap="none" spc="0" normalizeH="0" baseline="0" noProof="0" dirty="0" smtClean="0">
                <a:ln>
                  <a:noFill/>
                </a:ln>
                <a:solidFill>
                  <a:schemeClr val="bg1"/>
                </a:solidFill>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1" hangingPunct="1">
                <a:lnSpc>
                  <a:spcPct val="120000"/>
                </a:lnSpc>
                <a:spcBef>
                  <a:spcPts val="200"/>
                </a:spcBef>
                <a:spcAft>
                  <a:spcPts val="200"/>
                </a:spcAft>
                <a:buClrTx/>
                <a:buSzTx/>
                <a:buFontTx/>
                <a:buNone/>
                <a:defRPr/>
              </a:pPr>
              <a:r>
                <a:rPr kumimoji="0" lang="zh-CN" altLang="en-US" sz="2400" b="0" i="0" u="none" strike="noStrike" kern="1200" cap="none" spc="0" normalizeH="0" baseline="0" noProof="0" dirty="0" smtClean="0">
                  <a:ln>
                    <a:noFill/>
                  </a:ln>
                  <a:solidFill>
                    <a:schemeClr val="bg1"/>
                  </a:solidFill>
                  <a:effectLst/>
                  <a:uLnTx/>
                  <a:uFillTx/>
                  <a:latin typeface="华文楷体" panose="02010600040101010101" charset="-122"/>
                  <a:ea typeface="华文楷体" panose="02010600040101010101" charset="-122"/>
                  <a:cs typeface="+mn-cs"/>
                </a:rPr>
                <a:t>威视</a:t>
              </a:r>
              <a:endParaRPr kumimoji="0" lang="zh-CN" altLang="en-US" sz="2400" b="0" i="0" u="none" strike="noStrike" kern="1200" cap="none" spc="0" normalizeH="0" baseline="0" noProof="0" dirty="0">
                <a:ln>
                  <a:noFill/>
                </a:ln>
                <a:solidFill>
                  <a:schemeClr val="bg1"/>
                </a:solidFill>
                <a:effectLst/>
                <a:uLnTx/>
                <a:uFillTx/>
                <a:latin typeface="华文楷体" panose="02010600040101010101" charset="-122"/>
                <a:ea typeface="华文楷体" panose="02010600040101010101" charset="-122"/>
                <a:cs typeface="+mn-cs"/>
              </a:endParaRPr>
            </a:p>
          </p:txBody>
        </p:sp>
        <p:sp>
          <p:nvSpPr>
            <p:cNvPr id="6" name="平行四边形 5"/>
            <p:cNvSpPr/>
            <p:nvPr/>
          </p:nvSpPr>
          <p:spPr>
            <a:xfrm>
              <a:off x="1090459" y="1922938"/>
              <a:ext cx="2299563" cy="2125664"/>
            </a:xfrm>
            <a:prstGeom prst="parallelogram">
              <a:avLst>
                <a:gd name="adj" fmla="val 26390"/>
              </a:avLst>
            </a:prstGeom>
            <a:solidFill>
              <a:srgbClr val="30C1D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1" hangingPunct="1">
                <a:lnSpc>
                  <a:spcPct val="120000"/>
                </a:lnSpc>
                <a:spcBef>
                  <a:spcPts val="200"/>
                </a:spcBef>
                <a:spcAft>
                  <a:spcPts val="200"/>
                </a:spcAft>
                <a:buClrTx/>
                <a:buSzTx/>
                <a:buFontTx/>
                <a:buNone/>
                <a:defRPr/>
              </a:pPr>
              <a:endParaRPr kumimoji="0" lang="zh-CN" altLang="en-US" sz="3600" b="0" i="0" u="none" strike="noStrike" kern="1200" cap="none" spc="0" normalizeH="0" baseline="0" noProof="0" dirty="0">
                <a:ln>
                  <a:noFill/>
                </a:ln>
                <a:solidFill>
                  <a:schemeClr val="tx1">
                    <a:lumMod val="75000"/>
                    <a:lumOff val="25000"/>
                  </a:schemeClr>
                </a:solidFill>
                <a:effectLst/>
                <a:uLnTx/>
                <a:uFillTx/>
                <a:latin typeface="Malgun Gothic" panose="020B0503020000020004" charset="-127"/>
                <a:ea typeface="宋体" panose="02010600030101010101" pitchFamily="2" charset="-122"/>
                <a:cs typeface="+mn-cs"/>
              </a:endParaRPr>
            </a:p>
          </p:txBody>
        </p:sp>
        <p:sp>
          <p:nvSpPr>
            <p:cNvPr id="7" name="平行四边形 6"/>
            <p:cNvSpPr/>
            <p:nvPr/>
          </p:nvSpPr>
          <p:spPr>
            <a:xfrm flipH="1">
              <a:off x="1090459" y="4106340"/>
              <a:ext cx="2370961" cy="2439297"/>
            </a:xfrm>
            <a:prstGeom prst="parallelogram">
              <a:avLst>
                <a:gd name="adj" fmla="val 26390"/>
              </a:avLst>
            </a:prstGeom>
            <a:solidFill>
              <a:srgbClr val="30C1D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1" hangingPunct="1">
                <a:lnSpc>
                  <a:spcPct val="120000"/>
                </a:lnSpc>
                <a:spcBef>
                  <a:spcPts val="200"/>
                </a:spcBef>
                <a:spcAft>
                  <a:spcPts val="200"/>
                </a:spcAft>
                <a:buClrTx/>
                <a:buSzTx/>
                <a:buFontTx/>
                <a:buNone/>
                <a:defRPr/>
              </a:pPr>
              <a:endParaRPr kumimoji="0" lang="en-US" altLang="zh-CN"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8" name="矩形 7"/>
            <p:cNvSpPr/>
            <p:nvPr/>
          </p:nvSpPr>
          <p:spPr>
            <a:xfrm>
              <a:off x="1387737" y="2491989"/>
              <a:ext cx="1594519" cy="1231106"/>
            </a:xfrm>
            <a:prstGeom prst="rect">
              <a:avLst/>
            </a:prstGeom>
          </p:spPr>
          <p:txBody>
            <a:bodyPr wrap="square">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2017</a:t>
              </a:r>
              <a:r>
                <a:rPr kumimoji="0" lang="zh-CN" altLang="en-US" sz="18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年</a:t>
              </a:r>
              <a:endParaRPr kumimoji="0" lang="en-US" altLang="zh-CN" sz="18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营业收入</a:t>
              </a:r>
              <a:endParaRPr kumimoji="0" lang="en-US" altLang="zh-CN" sz="18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419</a:t>
              </a:r>
              <a:r>
                <a:rPr kumimoji="0" lang="zh-CN" altLang="en-US" sz="18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亿元</a:t>
              </a:r>
              <a:endParaRPr kumimoji="0" lang="en-US" altLang="zh-CN" sz="18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1" hangingPunct="1">
                <a:lnSpc>
                  <a:spcPct val="100000"/>
                </a:lnSpc>
                <a:spcBef>
                  <a:spcPts val="0"/>
                </a:spcBef>
                <a:spcAft>
                  <a:spcPts val="0"/>
                </a:spcAft>
                <a:buClrTx/>
                <a:buSzTx/>
                <a:buFontTx/>
                <a:buNone/>
                <a:defRPr/>
              </a:pPr>
              <a:endParaRPr kumimoji="0" lang="en-US" altLang="zh-CN" sz="18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9" name="平行四边形 8"/>
            <p:cNvSpPr/>
            <p:nvPr/>
          </p:nvSpPr>
          <p:spPr>
            <a:xfrm flipH="1">
              <a:off x="8547469" y="1922938"/>
              <a:ext cx="2376835" cy="2125664"/>
            </a:xfrm>
            <a:prstGeom prst="parallelogram">
              <a:avLst>
                <a:gd name="adj" fmla="val 26390"/>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1"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10" name="平行四边形 9"/>
            <p:cNvSpPr/>
            <p:nvPr/>
          </p:nvSpPr>
          <p:spPr>
            <a:xfrm>
              <a:off x="8490599" y="4116141"/>
              <a:ext cx="2433705" cy="2429495"/>
            </a:xfrm>
            <a:prstGeom prst="parallelogram">
              <a:avLst>
                <a:gd name="adj" fmla="val 26390"/>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r" defTabSz="914400" rtl="0" eaLnBrk="1" fontAlgn="auto" latinLnBrk="1" hangingPunct="1">
                <a:lnSpc>
                  <a:spcPct val="120000"/>
                </a:lnSpc>
                <a:spcBef>
                  <a:spcPts val="200"/>
                </a:spcBef>
                <a:spcAft>
                  <a:spcPts val="200"/>
                </a:spcAft>
                <a:buClrTx/>
                <a:buSzTx/>
                <a:buFontTx/>
                <a:buNone/>
                <a:defRPr/>
              </a:pPr>
              <a:endParaRPr kumimoji="0" lang="zh-CN" altLang="en-US" sz="16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11" name="平行四边形 10"/>
            <p:cNvSpPr/>
            <p:nvPr/>
          </p:nvSpPr>
          <p:spPr>
            <a:xfrm>
              <a:off x="2944170" y="1922938"/>
              <a:ext cx="2772875" cy="2125664"/>
            </a:xfrm>
            <a:prstGeom prst="parallelogram">
              <a:avLst>
                <a:gd name="adj" fmla="val 26390"/>
              </a:avLst>
            </a:prstGeom>
            <a:solidFill>
              <a:srgbClr val="30C1D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400" b="0" i="0" u="none" strike="noStrike" kern="1200" cap="none" spc="0" normalizeH="0" baseline="0" noProof="0" dirty="0">
                <a:ln>
                  <a:noFill/>
                </a:ln>
                <a:solidFill>
                  <a:schemeClr val="tx1">
                    <a:lumMod val="75000"/>
                    <a:lumOff val="25000"/>
                  </a:schemeClr>
                </a:solidFill>
                <a:effectLst/>
                <a:uLnTx/>
                <a:uFillTx/>
                <a:latin typeface="Malgun Gothic" panose="020B0503020000020004" charset="-127"/>
                <a:ea typeface="宋体" panose="02010600030101010101" pitchFamily="2" charset="-122"/>
                <a:cs typeface="+mn-cs"/>
              </a:endParaRPr>
            </a:p>
          </p:txBody>
        </p:sp>
        <p:sp>
          <p:nvSpPr>
            <p:cNvPr id="12" name="平行四边形 11"/>
            <p:cNvSpPr/>
            <p:nvPr/>
          </p:nvSpPr>
          <p:spPr>
            <a:xfrm flipH="1">
              <a:off x="3001462" y="4106341"/>
              <a:ext cx="2841063" cy="2449098"/>
            </a:xfrm>
            <a:prstGeom prst="parallelogram">
              <a:avLst>
                <a:gd name="adj" fmla="val 26390"/>
              </a:avLst>
            </a:prstGeom>
            <a:solidFill>
              <a:srgbClr val="30C1D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1" hangingPunct="1">
                <a:lnSpc>
                  <a:spcPct val="120000"/>
                </a:lnSpc>
                <a:spcBef>
                  <a:spcPts val="200"/>
                </a:spcBef>
                <a:spcAft>
                  <a:spcPts val="200"/>
                </a:spcAft>
                <a:buClrTx/>
                <a:buSzTx/>
                <a:buFontTx/>
                <a:buNone/>
                <a:defRPr/>
              </a:pPr>
              <a:endParaRPr kumimoji="0" lang="en-US" altLang="zh-CN"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13" name="矩形 12"/>
            <p:cNvSpPr/>
            <p:nvPr/>
          </p:nvSpPr>
          <p:spPr>
            <a:xfrm>
              <a:off x="10473815" y="3546124"/>
              <a:ext cx="1659464" cy="1030026"/>
            </a:xfrm>
            <a:prstGeom prst="rect">
              <a:avLst/>
            </a:prstGeom>
          </p:spPr>
          <p:txBody>
            <a:bodyPr wrap="square">
              <a:spAutoFit/>
            </a:bodyPr>
            <a:lstStyle/>
            <a:p>
              <a:pPr marL="0" marR="0" lvl="0" indent="0" algn="ctr" defTabSz="914400" rtl="0" eaLnBrk="1" fontAlgn="auto" latinLnBrk="1" hangingPunct="1">
                <a:lnSpc>
                  <a:spcPct val="120000"/>
                </a:lnSpc>
                <a:spcBef>
                  <a:spcPts val="200"/>
                </a:spcBef>
                <a:spcAft>
                  <a:spcPts val="200"/>
                </a:spcAft>
                <a:buClrTx/>
                <a:buSzTx/>
                <a:buFontTx/>
                <a:buNone/>
                <a:defRPr/>
              </a:pPr>
              <a:r>
                <a:rPr kumimoji="0" lang="zh-CN" altLang="en-US" sz="2400" b="0" i="0" u="none" strike="noStrike" kern="1200" cap="none" spc="0" normalizeH="0" baseline="0" noProof="0" smtClean="0">
                  <a:ln>
                    <a:noFill/>
                  </a:ln>
                  <a:solidFill>
                    <a:schemeClr val="bg1"/>
                  </a:solidFill>
                  <a:effectLst/>
                  <a:uLnTx/>
                  <a:uFillTx/>
                  <a:latin typeface="华文楷体" panose="02010600040101010101" charset="-122"/>
                  <a:ea typeface="华文楷体" panose="02010600040101010101" charset="-122"/>
                  <a:cs typeface="+mn-cs"/>
                </a:rPr>
                <a:t>大华</a:t>
              </a:r>
              <a:endParaRPr kumimoji="0" lang="en-US" altLang="zh-CN" sz="2400" b="0" i="0" u="none" strike="noStrike" kern="1200" cap="none" spc="0" normalizeH="0" baseline="0" noProof="0" smtClean="0">
                <a:ln>
                  <a:noFill/>
                </a:ln>
                <a:solidFill>
                  <a:schemeClr val="bg1"/>
                </a:solidFill>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1" hangingPunct="1">
                <a:lnSpc>
                  <a:spcPct val="120000"/>
                </a:lnSpc>
                <a:spcBef>
                  <a:spcPts val="200"/>
                </a:spcBef>
                <a:spcAft>
                  <a:spcPts val="200"/>
                </a:spcAft>
                <a:buClrTx/>
                <a:buSzTx/>
                <a:buFontTx/>
                <a:buNone/>
                <a:defRPr/>
              </a:pPr>
              <a:r>
                <a:rPr kumimoji="0" lang="zh-CN" altLang="en-US" sz="2400" b="0" i="0" u="none" strike="noStrike" kern="1200" cap="none" spc="0" normalizeH="0" baseline="0" noProof="0">
                  <a:ln>
                    <a:noFill/>
                  </a:ln>
                  <a:solidFill>
                    <a:schemeClr val="bg1"/>
                  </a:solidFill>
                  <a:effectLst/>
                  <a:uLnTx/>
                  <a:uFillTx/>
                  <a:latin typeface="华文楷体" panose="02010600040101010101" charset="-122"/>
                  <a:ea typeface="华文楷体" panose="02010600040101010101" charset="-122"/>
                  <a:cs typeface="+mn-cs"/>
                </a:rPr>
                <a:t>技术</a:t>
              </a:r>
              <a:endParaRPr kumimoji="0" lang="zh-CN" altLang="en-US" sz="2400" b="0" i="0" u="none" strike="noStrike" kern="1200" cap="none" spc="0" normalizeH="0" baseline="0" noProof="0" dirty="0">
                <a:ln>
                  <a:noFill/>
                </a:ln>
                <a:solidFill>
                  <a:schemeClr val="bg1"/>
                </a:solidFill>
                <a:effectLst/>
                <a:uLnTx/>
                <a:uFillTx/>
                <a:latin typeface="华文楷体" panose="02010600040101010101" charset="-122"/>
                <a:ea typeface="华文楷体" panose="02010600040101010101" charset="-122"/>
                <a:cs typeface="+mn-cs"/>
              </a:endParaRPr>
            </a:p>
          </p:txBody>
        </p:sp>
        <p:sp>
          <p:nvSpPr>
            <p:cNvPr id="14" name="平行四边形 13"/>
            <p:cNvSpPr/>
            <p:nvPr/>
          </p:nvSpPr>
          <p:spPr>
            <a:xfrm flipH="1">
              <a:off x="6190872" y="1922938"/>
              <a:ext cx="2759768" cy="2125664"/>
            </a:xfrm>
            <a:prstGeom prst="parallelogram">
              <a:avLst>
                <a:gd name="adj" fmla="val 26390"/>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1" hangingPunct="1">
                <a:lnSpc>
                  <a:spcPct val="120000"/>
                </a:lnSpc>
                <a:spcBef>
                  <a:spcPts val="200"/>
                </a:spcBef>
                <a:spcAft>
                  <a:spcPts val="200"/>
                </a:spcAft>
                <a:buClrTx/>
                <a:buSzTx/>
                <a:buFontTx/>
                <a:buNone/>
                <a:defRPr/>
              </a:pPr>
              <a:endParaRPr kumimoji="0" lang="zh-CN" altLang="en-US"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15" name="平行四边形 14"/>
            <p:cNvSpPr/>
            <p:nvPr/>
          </p:nvSpPr>
          <p:spPr>
            <a:xfrm>
              <a:off x="6170632" y="4126700"/>
              <a:ext cx="2809582" cy="2428738"/>
            </a:xfrm>
            <a:prstGeom prst="parallelogram">
              <a:avLst>
                <a:gd name="adj" fmla="val 26390"/>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r" defTabSz="914400" rtl="0" eaLnBrk="1" fontAlgn="auto" latinLnBrk="1" hangingPunct="1">
                <a:lnSpc>
                  <a:spcPct val="120000"/>
                </a:lnSpc>
                <a:spcBef>
                  <a:spcPts val="200"/>
                </a:spcBef>
                <a:spcAft>
                  <a:spcPts val="200"/>
                </a:spcAft>
                <a:buClrTx/>
                <a:buSzTx/>
                <a:buFontTx/>
                <a:buNone/>
                <a:defRPr/>
              </a:pPr>
              <a:endParaRPr kumimoji="0" lang="zh-CN" altLang="en-US"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16" name="菱形 15"/>
            <p:cNvSpPr/>
            <p:nvPr/>
          </p:nvSpPr>
          <p:spPr>
            <a:xfrm>
              <a:off x="5536276" y="2722879"/>
              <a:ext cx="952957" cy="2741661"/>
            </a:xfrm>
            <a:prstGeom prst="diamond">
              <a:avLst/>
            </a:prstGeom>
            <a:solidFill>
              <a:srgbClr val="FF5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800" b="0" i="0" u="none" strike="noStrike" kern="1200" cap="none" spc="0" normalizeH="0" baseline="0" noProof="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硬件厂商</a:t>
              </a:r>
              <a:endParaRPr kumimoji="0" lang="zh-CN" altLang="en-US" sz="1800" b="0"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17" name="文本框 16"/>
            <p:cNvSpPr txBox="1"/>
            <p:nvPr/>
          </p:nvSpPr>
          <p:spPr>
            <a:xfrm>
              <a:off x="3611351" y="4294936"/>
              <a:ext cx="1923505" cy="1510357"/>
            </a:xfrm>
            <a:prstGeom prst="rect">
              <a:avLst/>
            </a:prstGeom>
          </p:spPr>
          <p:txBody>
            <a:bodyPr wrap="square">
              <a:spAutoFit/>
            </a:bodyPr>
            <a:lstStyle>
              <a:defPPr>
                <a:defRPr lang="ko-KR"/>
              </a:defPPr>
              <a:lvl1pPr lvl="0" latinLnBrk="0">
                <a:defRPr sz="1600" kern="0">
                  <a:solidFill>
                    <a:prstClr val="white"/>
                  </a:solidFill>
                  <a:latin typeface="华文楷体" panose="02010600040101010101" charset="-122"/>
                  <a:ea typeface="华文楷体" panose="02010600040101010101"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解决方案</a:t>
              </a:r>
              <a:endParaRPr kumimoji="0" lang="en-US" altLang="zh-CN" sz="16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逐步将</a:t>
              </a:r>
              <a:r>
                <a:rPr kumimoji="0" lang="en-US" altLang="zh-CN" sz="14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I</a:t>
              </a:r>
              <a:r>
                <a:rPr kumimoji="0" lang="zh-CN" altLang="en-US" sz="14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产品应用在公安、金融、交通、司法、能源、智能楼宇、文教卫等七大行业</a:t>
              </a:r>
              <a:r>
                <a:rPr kumimoji="0" lang="zh-CN" altLang="en-US" sz="1400" b="0" i="0" u="none" strike="noStrike" kern="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r>
                <a:rPr lang="zh-CN" altLang="en-US" sz="1400" dirty="0">
                  <a:solidFill>
                    <a:schemeClr val="tx1">
                      <a:lumMod val="75000"/>
                      <a:lumOff val="25000"/>
                    </a:schemeClr>
                  </a:solidFill>
                </a:rPr>
                <a:t>平安项目</a:t>
              </a:r>
              <a:r>
                <a:rPr kumimoji="0" lang="en-US" altLang="zh-CN" sz="1400" b="0" i="0" u="none" strike="noStrike" kern="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t>
              </a:r>
              <a:endParaRPr kumimoji="0" lang="en-US" altLang="zh-CN" sz="14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19" name="矩形 18"/>
            <p:cNvSpPr/>
            <p:nvPr/>
          </p:nvSpPr>
          <p:spPr>
            <a:xfrm>
              <a:off x="3379039" y="2345795"/>
              <a:ext cx="2066396"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产品方面</a:t>
              </a:r>
              <a:endParaRPr kumimoji="0" lang="en-US" altLang="zh-CN" sz="16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基于</a:t>
              </a:r>
              <a:r>
                <a:rPr kumimoji="0" lang="en-US" altLang="zh-CN" sz="14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GPU</a:t>
              </a:r>
              <a:r>
                <a:rPr kumimoji="0" lang="zh-CN" altLang="en-US" sz="14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和深度学习技术推出</a:t>
              </a:r>
              <a:r>
                <a:rPr kumimoji="0" lang="en-US" altLang="zh-CN" sz="14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AI</a:t>
              </a:r>
              <a:r>
                <a:rPr kumimoji="0" lang="zh-CN" altLang="en-US" sz="14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产品；</a:t>
              </a:r>
              <a:endParaRPr kumimoji="0" lang="en-US" altLang="zh-CN" sz="14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基于视频图像分析技术积极拓展创新业务版图</a:t>
              </a:r>
              <a:endParaRPr kumimoji="0" lang="zh-CN" altLang="en-US" sz="1400" b="0" i="0" u="none" strike="noStrike" kern="1200" cap="none" spc="0" normalizeH="0" baseline="0" noProof="0" dirty="0">
                <a:ln>
                  <a:noFill/>
                </a:ln>
                <a:solidFill>
                  <a:schemeClr val="tx1">
                    <a:lumMod val="75000"/>
                    <a:lumOff val="25000"/>
                  </a:schemeClr>
                </a:solidFill>
                <a:effectLst/>
                <a:uLnTx/>
                <a:uFillTx/>
                <a:latin typeface="Malgun Gothic" panose="020B0503020000020004" charset="-127"/>
                <a:ea typeface="宋体" panose="02010600030101010101" pitchFamily="2" charset="-122"/>
                <a:cs typeface="+mn-cs"/>
              </a:endParaRPr>
            </a:p>
          </p:txBody>
        </p:sp>
        <p:sp>
          <p:nvSpPr>
            <p:cNvPr id="20" name="矩形 19"/>
            <p:cNvSpPr/>
            <p:nvPr/>
          </p:nvSpPr>
          <p:spPr>
            <a:xfrm>
              <a:off x="6477391" y="2312527"/>
              <a:ext cx="2076466" cy="623843"/>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产品方面</a:t>
              </a:r>
              <a:endParaRPr kumimoji="0" lang="en-US" altLang="zh-CN" sz="16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xxx</a:t>
              </a:r>
              <a:endParaRPr kumimoji="0" lang="zh-CN" altLang="en-US" sz="14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21" name="矩形 20"/>
            <p:cNvSpPr/>
            <p:nvPr/>
          </p:nvSpPr>
          <p:spPr>
            <a:xfrm>
              <a:off x="1569059" y="4460110"/>
              <a:ext cx="1433779" cy="1731756"/>
            </a:xfrm>
            <a:prstGeom prst="rect">
              <a:avLst/>
            </a:prstGeom>
          </p:spPr>
          <p:txBody>
            <a:bodyPr wrap="square">
              <a:spAutoFit/>
            </a:bodyPr>
            <a:lstStyle/>
            <a:p>
              <a:pPr marL="0" marR="0" lvl="0" indent="0" algn="l" defTabSz="914400" rtl="0" eaLnBrk="1" fontAlgn="auto" latinLnBrk="1" hangingPunct="1">
                <a:lnSpc>
                  <a:spcPct val="120000"/>
                </a:lnSpc>
                <a:spcBef>
                  <a:spcPts val="200"/>
                </a:spcBef>
                <a:spcAft>
                  <a:spcPts val="200"/>
                </a:spcAft>
                <a:buClrTx/>
                <a:buSzTx/>
                <a:buFontTx/>
                <a:buNone/>
                <a:defRPr/>
              </a:pPr>
              <a:r>
                <a:rPr kumimoji="0" lang="zh-CN" altLang="en-US" sz="16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业务模式</a:t>
              </a:r>
              <a:endParaRPr kumimoji="0" lang="en-US" altLang="zh-CN" sz="16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1" hangingPunct="1">
                <a:lnSpc>
                  <a:spcPct val="120000"/>
                </a:lnSpc>
                <a:spcBef>
                  <a:spcPts val="200"/>
                </a:spcBef>
                <a:spcAft>
                  <a:spcPts val="200"/>
                </a:spcAft>
                <a:buClrTx/>
                <a:buSzTx/>
                <a:buFontTx/>
                <a:buNone/>
                <a:defRPr/>
              </a:pPr>
              <a:r>
                <a:rPr kumimoji="0" lang="zh-CN" altLang="en-US" sz="14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 从产品到软件</a:t>
              </a:r>
              <a:r>
                <a:rPr kumimoji="0" lang="zh-CN" altLang="en-US" sz="1400" b="0" i="0" u="none" strike="noStrike" kern="0" cap="none" spc="0" normalizeH="0" baseline="0" noProof="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平台、解决</a:t>
              </a:r>
              <a:r>
                <a:rPr kumimoji="0" lang="zh-CN" altLang="en-US" sz="1400" b="0" i="0" u="none" strike="noStrike" kern="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方案等整体销售的一体化综合解决方案供应商</a:t>
              </a:r>
              <a:endParaRPr kumimoji="0" lang="en-US" altLang="zh-CN"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22" name="矩形 21"/>
            <p:cNvSpPr/>
            <p:nvPr/>
          </p:nvSpPr>
          <p:spPr>
            <a:xfrm>
              <a:off x="8735825" y="2488665"/>
              <a:ext cx="1931604" cy="954107"/>
            </a:xfrm>
            <a:prstGeom prst="rect">
              <a:avLst/>
            </a:prstGeom>
          </p:spPr>
          <p:txBody>
            <a:bodyPr wrap="square">
              <a:spAutoFit/>
            </a:bodyPr>
            <a:lstStyle/>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1800" b="0"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2017</a:t>
              </a:r>
              <a:r>
                <a:rPr kumimoji="0" lang="zh-CN" altLang="en-US" sz="1800" b="0"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年</a:t>
              </a:r>
              <a:endParaRPr kumimoji="0" lang="en-US" altLang="zh-CN" sz="1800" b="0"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zh-CN" altLang="en-US" sz="1800" b="0"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营业收入</a:t>
              </a:r>
              <a:endParaRPr kumimoji="0" lang="en-US" altLang="zh-CN" sz="1800" b="0"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1" hangingPunct="1">
                <a:lnSpc>
                  <a:spcPct val="100000"/>
                </a:lnSpc>
                <a:spcBef>
                  <a:spcPts val="0"/>
                </a:spcBef>
                <a:spcAft>
                  <a:spcPts val="0"/>
                </a:spcAft>
                <a:buClrTx/>
                <a:buSzTx/>
                <a:buFontTx/>
                <a:buNone/>
                <a:defRPr/>
              </a:pPr>
              <a:r>
                <a:rPr kumimoji="0" lang="en-US" altLang="zh-CN" sz="2000" b="1"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189</a:t>
              </a:r>
              <a:r>
                <a:rPr kumimoji="0" lang="zh-CN" altLang="en-US" sz="1800" b="0"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亿元</a:t>
              </a:r>
              <a:endParaRPr kumimoji="0" lang="zh-CN" altLang="en-US" sz="18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23" name="矩形 22"/>
            <p:cNvSpPr/>
            <p:nvPr/>
          </p:nvSpPr>
          <p:spPr>
            <a:xfrm>
              <a:off x="6626697" y="4417739"/>
              <a:ext cx="2056870" cy="184665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解决方案</a:t>
              </a:r>
              <a:endParaRPr kumimoji="0" lang="en-US" altLang="zh-CN" sz="16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率先布局 </a:t>
              </a:r>
              <a:r>
                <a:rPr kumimoji="0" lang="en-US" altLang="zh-CN" sz="14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PPP </a:t>
              </a:r>
              <a:r>
                <a:rPr kumimoji="0" lang="zh-CN" altLang="en-US" sz="14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项目，目前大华建设的平安城市 </a:t>
              </a:r>
              <a:r>
                <a:rPr kumimoji="0" lang="en-US" altLang="zh-CN" sz="14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PPP </a:t>
              </a:r>
              <a:r>
                <a:rPr kumimoji="0" lang="zh-CN" altLang="en-US" sz="14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项目 包括新疆石河子市 </a:t>
              </a:r>
              <a:r>
                <a:rPr kumimoji="0" lang="zh-CN" altLang="en-US" sz="1400" b="0" i="0" u="none" strike="noStrike" kern="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平安城</a:t>
              </a:r>
              <a:r>
                <a:rPr kumimoji="0" lang="en-US" altLang="zh-CN" sz="1400" b="0" i="0" u="none" strike="noStrike" kern="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PPP </a:t>
              </a:r>
              <a:r>
                <a:rPr kumimoji="0" lang="zh-CN" altLang="en-US" sz="1400" b="0" i="0" u="none" strike="noStrike" kern="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项 目、莎车县平安城市 </a:t>
              </a:r>
              <a:r>
                <a:rPr kumimoji="0" lang="en-US" altLang="zh-CN" sz="1400" b="0" i="0" u="none" strike="noStrike" kern="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PPP </a:t>
              </a:r>
              <a:r>
                <a:rPr kumimoji="0" lang="zh-CN" altLang="en-US" sz="1400" b="0" i="0" u="none" strike="noStrike" kern="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项目等，总金 额超过 </a:t>
              </a:r>
              <a:r>
                <a:rPr kumimoji="0" lang="en-US" altLang="zh-CN" sz="1400" b="0" i="0" u="none" strike="noStrike" kern="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50 </a:t>
              </a:r>
              <a:r>
                <a:rPr kumimoji="0" lang="zh-CN" altLang="en-US" sz="1400" b="0" i="0" u="none" strike="noStrike" kern="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亿</a:t>
              </a:r>
              <a:endParaRPr kumimoji="0" lang="zh-CN" altLang="en-US" sz="1400" b="0" i="0" u="none" strike="noStrike" kern="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24" name="矩形 23"/>
            <p:cNvSpPr/>
            <p:nvPr/>
          </p:nvSpPr>
          <p:spPr>
            <a:xfrm>
              <a:off x="8950640" y="4461236"/>
              <a:ext cx="1632978" cy="1473224"/>
            </a:xfrm>
            <a:prstGeom prst="rect">
              <a:avLst/>
            </a:prstGeom>
          </p:spPr>
          <p:txBody>
            <a:bodyPr wrap="square">
              <a:spAutoFit/>
            </a:bodyPr>
            <a:lstStyle/>
            <a:p>
              <a:pPr marL="0" marR="0" lvl="0" indent="0" algn="r" defTabSz="914400" rtl="0" eaLnBrk="1" fontAlgn="auto" latinLnBrk="1" hangingPunct="1">
                <a:lnSpc>
                  <a:spcPct val="120000"/>
                </a:lnSpc>
                <a:spcBef>
                  <a:spcPts val="200"/>
                </a:spcBef>
                <a:spcAft>
                  <a:spcPts val="200"/>
                </a:spcAft>
                <a:buClrTx/>
                <a:buSzTx/>
                <a:buFontTx/>
                <a:buNone/>
                <a:defRPr/>
              </a:pPr>
              <a:r>
                <a:rPr kumimoji="0" lang="zh-CN" altLang="en-US" sz="1600" b="0"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业务模式</a:t>
              </a:r>
              <a:endParaRPr kumimoji="0" lang="en-US" altLang="zh-CN" sz="1600" b="0"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1" hangingPunct="1">
                <a:lnSpc>
                  <a:spcPct val="120000"/>
                </a:lnSpc>
                <a:spcBef>
                  <a:spcPts val="200"/>
                </a:spcBef>
                <a:spcAft>
                  <a:spcPts val="200"/>
                </a:spcAft>
                <a:buClrTx/>
                <a:buSzTx/>
                <a:buFontTx/>
                <a:buNone/>
                <a:defRPr/>
              </a:pPr>
              <a:r>
                <a:rPr kumimoji="0" lang="zh-CN" altLang="en-US" sz="1400" b="0"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rPr>
                <a:t>全球领先的以视频为核心的智慧物联解决方案提供商和运营服务商</a:t>
              </a:r>
              <a:endParaRPr kumimoji="0" lang="zh-CN" altLang="en-US" sz="1400" b="0" i="0" u="none" strike="noStrike" kern="1200" cap="none" spc="0" normalizeH="0" baseline="0" noProof="0">
                <a:ln>
                  <a:noFill/>
                </a:ln>
                <a:solidFill>
                  <a:schemeClr val="tx1">
                    <a:lumMod val="75000"/>
                    <a:lumOff val="25000"/>
                  </a:schemeClr>
                </a:solidFill>
                <a:effectLst/>
                <a:uLnTx/>
                <a:uFillTx/>
                <a:latin typeface="华文楷体" panose="02010600040101010101" charset="-122"/>
                <a:ea typeface="华文楷体" panose="02010600040101010101" charset="-122"/>
                <a:cs typeface="+mn-cs"/>
              </a:endParaRPr>
            </a:p>
          </p:txBody>
        </p:sp>
        <p:sp>
          <p:nvSpPr>
            <p:cNvPr id="27" name="Slide Number Placeholder 2"/>
            <p:cNvSpPr txBox="1"/>
            <p:nvPr/>
          </p:nvSpPr>
          <p:spPr>
            <a:xfrm>
              <a:off x="11692887" y="6282255"/>
              <a:ext cx="503906" cy="372541"/>
            </a:xfrm>
            <a:prstGeom prst="rect">
              <a:avLst/>
            </a:prstGeom>
          </p:spPr>
          <p:txBody>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r" defTabSz="932815" rtl="0" eaLnBrk="1" fontAlgn="base" latinLnBrk="0" hangingPunct="1">
                <a:lnSpc>
                  <a:spcPct val="100000"/>
                </a:lnSpc>
                <a:spcBef>
                  <a:spcPct val="0"/>
                </a:spcBef>
                <a:spcAft>
                  <a:spcPct val="0"/>
                </a:spcAft>
                <a:buClrTx/>
                <a:buSzTx/>
                <a:buFontTx/>
                <a:buNone/>
                <a:defRPr/>
              </a:pPr>
              <a:r>
                <a:rPr kumimoji="0" lang="en-US" altLang="zh-CN" sz="1400" b="0" i="0" u="none" strike="noStrike" kern="1200" cap="none" spc="0" normalizeH="0" baseline="0" noProof="0" dirty="0" smtClean="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rPr>
                <a:t>24</a:t>
              </a:r>
              <a:endParaRPr kumimoji="0" lang="zh-CN" altLang="en-US" sz="1400" b="0" i="0" u="none" strike="noStrike" kern="1200" cap="none" spc="0" normalizeH="0" baseline="0" noProof="0" dirty="0">
                <a:ln>
                  <a:noFill/>
                </a:ln>
                <a:solidFill>
                  <a:schemeClr val="tx1">
                    <a:lumMod val="75000"/>
                    <a:lumOff val="25000"/>
                  </a:schemeClr>
                </a:solidFill>
                <a:effectLst/>
                <a:uLnTx/>
                <a:uFillTx/>
                <a:latin typeface="华文楷体" panose="02010600040101010101" charset="-122"/>
                <a:ea typeface="华文楷体" panose="02010600040101010101" charset="-122"/>
                <a:cs typeface="Arial" panose="020B0604020202020204" pitchFamily="34" charset="0"/>
              </a:endParaRPr>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对象 5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79" name="think-cell Slide" r:id="rId2" imgW="12700" imgH="12700" progId="TCLayout.ActiveDocument.1">
                  <p:embed/>
                </p:oleObj>
              </mc:Choice>
              <mc:Fallback>
                <p:oleObj name="think-cell Slide" r:id="rId2" imgW="12700" imgH="12700" progId="TCLayout.ActiveDocument.1">
                  <p:embed/>
                  <p:pic>
                    <p:nvPicPr>
                      <p:cNvPr id="0" name="对象 51"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4" name="Rectangle 184"/>
          <p:cNvSpPr/>
          <p:nvPr/>
        </p:nvSpPr>
        <p:spPr>
          <a:xfrm>
            <a:off x="2520175" y="1978169"/>
            <a:ext cx="9129140" cy="759938"/>
          </a:xfrm>
          <a:prstGeom prst="rect">
            <a:avLst/>
          </a:prstGeom>
          <a:solidFill>
            <a:srgbClr val="F3F3F3"/>
          </a:solidFill>
        </p:spPr>
        <p:txBody>
          <a:bodyPr wrap="square" lIns="0" tIns="89999" rIns="0" bIns="89999" anchor="ctr">
            <a:noAutofit/>
          </a:bodyPr>
          <a:lstStyle/>
          <a:p>
            <a:pPr algn="ctr" fontAlgn="base">
              <a:spcBef>
                <a:spcPct val="0"/>
              </a:spcBef>
              <a:spcAft>
                <a:spcPct val="0"/>
              </a:spcAft>
              <a:buClr>
                <a:srgbClr val="177B57"/>
              </a:buClr>
            </a:pPr>
            <a:endParaRPr lang="en-US" sz="1200" dirty="0">
              <a:solidFill>
                <a:srgbClr val="FFFFFF"/>
              </a:solidFill>
              <a:cs typeface="Arial" panose="020B0604020202020204" pitchFamily="34" charset="0"/>
            </a:endParaRPr>
          </a:p>
        </p:txBody>
      </p:sp>
      <p:sp>
        <p:nvSpPr>
          <p:cNvPr id="14" name="Rectangle 30"/>
          <p:cNvSpPr>
            <a:spLocks noChangeArrowheads="1"/>
          </p:cNvSpPr>
          <p:nvPr/>
        </p:nvSpPr>
        <p:spPr bwMode="auto">
          <a:xfrm>
            <a:off x="5648501" y="1978169"/>
            <a:ext cx="2916651" cy="759938"/>
          </a:xfrm>
          <a:prstGeom prst="rect">
            <a:avLst/>
          </a:prstGeom>
          <a:noFill/>
          <a:ln>
            <a:noFill/>
          </a:ln>
        </p:spPr>
        <p:txBody>
          <a:bodyPr vert="horz" wrap="none" lIns="91440" tIns="91440" rIns="91440" bIns="91440" numCol="1" anchor="t" anchorCtr="0" compatLnSpc="1">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323850" lvl="1" indent="-215900">
              <a:spcBef>
                <a:spcPts val="0"/>
              </a:spcBef>
              <a:spcAft>
                <a:spcPts val="0"/>
              </a:spcAft>
              <a:buClr>
                <a:schemeClr val="tx2">
                  <a:lumMod val="100000"/>
                </a:schemeClr>
              </a:buClr>
              <a:buSzPct val="100000"/>
              <a:buFont typeface="Trebuchet MS" panose="020B0603020202020204" pitchFamily="34" charset="0"/>
              <a:buChar char="•"/>
              <a:defRPr/>
            </a:pPr>
            <a:r>
              <a:rPr kumimoji="0" lang="en-US" altLang="en-US" sz="1200" strike="noStrike" cap="none" normalizeH="0" noProof="0" dirty="0" smtClean="0">
                <a:ln>
                  <a:noFill/>
                </a:ln>
                <a:solidFill>
                  <a:schemeClr val="tx1">
                    <a:lumMod val="100000"/>
                  </a:schemeClr>
                </a:solidFill>
                <a:effectLst/>
                <a:uLnTx/>
                <a:uFillTx/>
                <a:latin typeface="+mn-lt"/>
              </a:rPr>
              <a:t>XXX</a:t>
            </a:r>
            <a:endParaRPr kumimoji="0" lang="en-US" altLang="en-US" sz="1200" strike="noStrike" cap="none" normalizeH="0" noProof="0" dirty="0" smtClean="0">
              <a:ln>
                <a:noFill/>
              </a:ln>
              <a:solidFill>
                <a:schemeClr val="tx1">
                  <a:lumMod val="100000"/>
                </a:schemeClr>
              </a:solidFill>
              <a:effectLst/>
              <a:uLnTx/>
              <a:uFillTx/>
              <a:latin typeface="+mn-lt"/>
            </a:endParaRPr>
          </a:p>
        </p:txBody>
      </p:sp>
      <p:sp>
        <p:nvSpPr>
          <p:cNvPr id="15" name="Pentagon 38"/>
          <p:cNvSpPr/>
          <p:nvPr/>
        </p:nvSpPr>
        <p:spPr>
          <a:xfrm>
            <a:off x="2564338" y="1978169"/>
            <a:ext cx="2916651" cy="759938"/>
          </a:xfrm>
          <a:prstGeom prst="rect">
            <a:avLst/>
          </a:prstGeom>
          <a:noFill/>
          <a:ln w="19050">
            <a:noFill/>
          </a:ln>
        </p:spPr>
        <p:txBody>
          <a:bodyPr wrap="square" lIns="91440" tIns="91440" rIns="91440" bIns="91440" anchor="t">
            <a:noAutofit/>
          </a:bodyPr>
          <a:lstStyle/>
          <a:p>
            <a:pPr marL="323850" lvl="1" indent="-215900">
              <a:buClr>
                <a:schemeClr val="tx2">
                  <a:lumMod val="100000"/>
                </a:schemeClr>
              </a:buClr>
              <a:buSzPct val="100000"/>
              <a:buFont typeface="Trebuchet MS" panose="020B0603020202020204" pitchFamily="34" charset="0"/>
              <a:buChar char="•"/>
              <a:defRPr/>
            </a:pPr>
            <a:r>
              <a:rPr kumimoji="0" lang="en-US" altLang="en-US" sz="1200" strike="noStrike" cap="none" normalizeH="0" noProof="0" dirty="0" smtClean="0">
                <a:ln>
                  <a:noFill/>
                </a:ln>
                <a:solidFill>
                  <a:schemeClr val="tx1">
                    <a:lumMod val="100000"/>
                  </a:schemeClr>
                </a:solidFill>
                <a:effectLst/>
                <a:uLnTx/>
                <a:uFillTx/>
              </a:rPr>
              <a:t>XXXX</a:t>
            </a:r>
            <a:endParaRPr kumimoji="0" lang="en-US" altLang="en-US" sz="1200" strike="noStrike" cap="none" normalizeH="0" noProof="0" dirty="0" smtClean="0">
              <a:ln>
                <a:noFill/>
              </a:ln>
              <a:solidFill>
                <a:schemeClr val="tx1">
                  <a:lumMod val="100000"/>
                </a:schemeClr>
              </a:solidFill>
              <a:effectLst/>
              <a:uLnTx/>
              <a:uFillTx/>
            </a:endParaRPr>
          </a:p>
        </p:txBody>
      </p:sp>
      <p:sp>
        <p:nvSpPr>
          <p:cNvPr id="16" name="Rectangle 30"/>
          <p:cNvSpPr>
            <a:spLocks noChangeArrowheads="1"/>
          </p:cNvSpPr>
          <p:nvPr/>
        </p:nvSpPr>
        <p:spPr bwMode="auto">
          <a:xfrm>
            <a:off x="8732665" y="1978169"/>
            <a:ext cx="2916651" cy="759938"/>
          </a:xfrm>
          <a:prstGeom prst="rect">
            <a:avLst/>
          </a:prstGeom>
          <a:noFill/>
          <a:ln>
            <a:noFill/>
          </a:ln>
        </p:spPr>
        <p:txBody>
          <a:bodyPr vert="horz" wrap="none" lIns="91440" tIns="91440" rIns="91440" bIns="91440" numCol="1" anchor="t" anchorCtr="0" compatLnSpc="1">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323850" lvl="1" indent="-215900">
              <a:spcBef>
                <a:spcPts val="0"/>
              </a:spcBef>
              <a:spcAft>
                <a:spcPts val="0"/>
              </a:spcAft>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latin typeface="+mn-lt"/>
              </a:rPr>
              <a:t>XXX</a:t>
            </a:r>
            <a:endParaRPr kumimoji="0" lang="en-US" altLang="en-US" sz="1200" strike="noStrike" cap="none" normalizeH="0" noProof="0" dirty="0" smtClean="0">
              <a:ln>
                <a:noFill/>
              </a:ln>
              <a:solidFill>
                <a:schemeClr val="tx1">
                  <a:lumMod val="100000"/>
                </a:schemeClr>
              </a:solidFill>
              <a:effectLst/>
              <a:uLnTx/>
              <a:uFillTx/>
              <a:latin typeface="+mn-lt"/>
            </a:endParaRPr>
          </a:p>
        </p:txBody>
      </p:sp>
      <p:sp>
        <p:nvSpPr>
          <p:cNvPr id="34" name="Rectangle 147"/>
          <p:cNvSpPr/>
          <p:nvPr/>
        </p:nvSpPr>
        <p:spPr>
          <a:xfrm>
            <a:off x="480951" y="1978169"/>
            <a:ext cx="1966414" cy="759938"/>
          </a:xfrm>
          <a:prstGeom prst="rect">
            <a:avLst/>
          </a:prstGeom>
          <a:solidFill>
            <a:srgbClr val="FE5817"/>
          </a:solidFill>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7" name="Rectangle 187"/>
          <p:cNvSpPr/>
          <p:nvPr/>
        </p:nvSpPr>
        <p:spPr>
          <a:xfrm>
            <a:off x="2520175" y="5342098"/>
            <a:ext cx="9129140" cy="759938"/>
          </a:xfrm>
          <a:prstGeom prst="rect">
            <a:avLst/>
          </a:prstGeom>
          <a:solidFill>
            <a:srgbClr val="E8E8E8"/>
          </a:solidFill>
        </p:spPr>
        <p:txBody>
          <a:bodyPr wrap="square" lIns="0" tIns="89999" rIns="0" bIns="89999" anchor="ctr">
            <a:noAutofit/>
          </a:bodyPr>
          <a:lstStyle/>
          <a:p>
            <a:pPr lvl="1"/>
            <a:endParaRPr lang="en-US" dirty="0"/>
          </a:p>
        </p:txBody>
      </p:sp>
      <p:sp>
        <p:nvSpPr>
          <p:cNvPr id="23" name="Pentagon 38"/>
          <p:cNvSpPr/>
          <p:nvPr/>
        </p:nvSpPr>
        <p:spPr>
          <a:xfrm>
            <a:off x="5648501" y="5342098"/>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endParaRPr>
          </a:p>
        </p:txBody>
      </p:sp>
      <p:sp>
        <p:nvSpPr>
          <p:cNvPr id="24" name="Pentagon 38"/>
          <p:cNvSpPr/>
          <p:nvPr/>
        </p:nvSpPr>
        <p:spPr>
          <a:xfrm>
            <a:off x="2564338" y="5342098"/>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cs typeface="Arial" panose="020B0604020202020204" pitchFamily="34" charset="0"/>
            </a:endParaRPr>
          </a:p>
        </p:txBody>
      </p:sp>
      <p:sp>
        <p:nvSpPr>
          <p:cNvPr id="25" name="Pentagon 38"/>
          <p:cNvSpPr/>
          <p:nvPr/>
        </p:nvSpPr>
        <p:spPr>
          <a:xfrm>
            <a:off x="8732665" y="5342098"/>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smtClean="0">
              <a:solidFill>
                <a:schemeClr val="tx1">
                  <a:lumMod val="100000"/>
                </a:schemeClr>
              </a:solidFill>
              <a:cs typeface="Arial" panose="020B0604020202020204" pitchFamily="34" charset="0"/>
            </a:endParaRPr>
          </a:p>
        </p:txBody>
      </p:sp>
      <p:sp>
        <p:nvSpPr>
          <p:cNvPr id="37" name="Rectangle 148"/>
          <p:cNvSpPr/>
          <p:nvPr/>
        </p:nvSpPr>
        <p:spPr>
          <a:xfrm>
            <a:off x="480951" y="5342098"/>
            <a:ext cx="1966414" cy="759938"/>
          </a:xfrm>
          <a:prstGeom prst="rect">
            <a:avLst/>
          </a:prstGeom>
          <a:solidFill>
            <a:srgbClr val="FE5817"/>
          </a:solidFill>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27" name="Rectangle 187"/>
          <p:cNvSpPr/>
          <p:nvPr/>
        </p:nvSpPr>
        <p:spPr>
          <a:xfrm>
            <a:off x="2520175" y="2819151"/>
            <a:ext cx="9129140" cy="759938"/>
          </a:xfrm>
          <a:prstGeom prst="rect">
            <a:avLst/>
          </a:prstGeom>
          <a:solidFill>
            <a:srgbClr val="E8E8E8"/>
          </a:solidFill>
        </p:spPr>
        <p:txBody>
          <a:bodyPr wrap="square" lIns="0" tIns="89999" rIns="0" bIns="89999" anchor="t">
            <a:noAutofit/>
          </a:bodyPr>
          <a:lstStyle/>
          <a:p>
            <a:pPr lvl="1" fontAlgn="base">
              <a:buClr>
                <a:srgbClr val="177B57"/>
              </a:buClr>
            </a:pPr>
            <a:endParaRPr lang="en-US" sz="1200" i="1" dirty="0">
              <a:solidFill>
                <a:srgbClr val="FFFFFF"/>
              </a:solidFill>
              <a:cs typeface="Arial" panose="020B0604020202020204" pitchFamily="34" charset="0"/>
            </a:endParaRPr>
          </a:p>
        </p:txBody>
      </p:sp>
      <p:sp>
        <p:nvSpPr>
          <p:cNvPr id="28" name="Pentagon 38"/>
          <p:cNvSpPr/>
          <p:nvPr/>
        </p:nvSpPr>
        <p:spPr>
          <a:xfrm>
            <a:off x="5648501" y="2819151"/>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endParaRPr>
          </a:p>
        </p:txBody>
      </p:sp>
      <p:sp>
        <p:nvSpPr>
          <p:cNvPr id="29" name="Pentagon 38"/>
          <p:cNvSpPr/>
          <p:nvPr/>
        </p:nvSpPr>
        <p:spPr>
          <a:xfrm>
            <a:off x="2564338" y="2819151"/>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cs typeface="Arial" panose="020B0604020202020204" pitchFamily="34" charset="0"/>
            </a:endParaRPr>
          </a:p>
        </p:txBody>
      </p:sp>
      <p:sp>
        <p:nvSpPr>
          <p:cNvPr id="30" name="Pentagon 38"/>
          <p:cNvSpPr/>
          <p:nvPr/>
        </p:nvSpPr>
        <p:spPr>
          <a:xfrm>
            <a:off x="8732665" y="2819151"/>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smtClean="0">
              <a:solidFill>
                <a:schemeClr val="tx1">
                  <a:lumMod val="100000"/>
                </a:schemeClr>
              </a:solidFill>
              <a:cs typeface="Arial" panose="020B0604020202020204" pitchFamily="34" charset="0"/>
            </a:endParaRPr>
          </a:p>
        </p:txBody>
      </p:sp>
      <p:sp>
        <p:nvSpPr>
          <p:cNvPr id="31" name="Rectangle 148"/>
          <p:cNvSpPr/>
          <p:nvPr/>
        </p:nvSpPr>
        <p:spPr>
          <a:xfrm>
            <a:off x="480951" y="2819151"/>
            <a:ext cx="1966414" cy="759938"/>
          </a:xfrm>
          <a:prstGeom prst="rect">
            <a:avLst/>
          </a:prstGeom>
          <a:solidFill>
            <a:srgbClr val="FE5817"/>
          </a:solidFill>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36" name="Rectangle 187"/>
          <p:cNvSpPr/>
          <p:nvPr/>
        </p:nvSpPr>
        <p:spPr>
          <a:xfrm>
            <a:off x="2520175" y="3660133"/>
            <a:ext cx="9129140" cy="759938"/>
          </a:xfrm>
          <a:prstGeom prst="rect">
            <a:avLst/>
          </a:prstGeom>
          <a:solidFill>
            <a:srgbClr val="F3F3F3"/>
          </a:solidFill>
        </p:spPr>
        <p:txBody>
          <a:bodyPr wrap="square" lIns="0" tIns="89999" rIns="0" bIns="89999" anchor="ctr">
            <a:noAutofit/>
          </a:bodyPr>
          <a:lstStyle/>
          <a:p>
            <a:pPr lvl="1"/>
            <a:endParaRPr lang="en-US" dirty="0"/>
          </a:p>
        </p:txBody>
      </p:sp>
      <p:sp>
        <p:nvSpPr>
          <p:cNvPr id="38" name="Pentagon 38"/>
          <p:cNvSpPr/>
          <p:nvPr/>
        </p:nvSpPr>
        <p:spPr>
          <a:xfrm>
            <a:off x="5648501" y="3660133"/>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endParaRPr>
          </a:p>
        </p:txBody>
      </p:sp>
      <p:sp>
        <p:nvSpPr>
          <p:cNvPr id="39" name="Pentagon 38"/>
          <p:cNvSpPr/>
          <p:nvPr/>
        </p:nvSpPr>
        <p:spPr>
          <a:xfrm>
            <a:off x="2564338" y="3660133"/>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cs typeface="Arial" panose="020B0604020202020204" pitchFamily="34" charset="0"/>
            </a:endParaRPr>
          </a:p>
        </p:txBody>
      </p:sp>
      <p:sp>
        <p:nvSpPr>
          <p:cNvPr id="42" name="Pentagon 38"/>
          <p:cNvSpPr/>
          <p:nvPr/>
        </p:nvSpPr>
        <p:spPr>
          <a:xfrm>
            <a:off x="8732665" y="3660133"/>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smtClean="0">
              <a:solidFill>
                <a:schemeClr val="tx1">
                  <a:lumMod val="100000"/>
                </a:schemeClr>
              </a:solidFill>
              <a:cs typeface="Arial" panose="020B0604020202020204" pitchFamily="34" charset="0"/>
            </a:endParaRPr>
          </a:p>
        </p:txBody>
      </p:sp>
      <p:sp>
        <p:nvSpPr>
          <p:cNvPr id="44" name="Rectangle 148"/>
          <p:cNvSpPr/>
          <p:nvPr/>
        </p:nvSpPr>
        <p:spPr>
          <a:xfrm>
            <a:off x="480951" y="3660133"/>
            <a:ext cx="1966414" cy="759938"/>
          </a:xfrm>
          <a:prstGeom prst="rect">
            <a:avLst/>
          </a:prstGeom>
          <a:solidFill>
            <a:srgbClr val="FE5817"/>
          </a:solidFill>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46" name="Rectangle 187"/>
          <p:cNvSpPr/>
          <p:nvPr/>
        </p:nvSpPr>
        <p:spPr>
          <a:xfrm>
            <a:off x="2520175" y="4501115"/>
            <a:ext cx="9129140" cy="759938"/>
          </a:xfrm>
          <a:prstGeom prst="rect">
            <a:avLst/>
          </a:prstGeom>
          <a:solidFill>
            <a:srgbClr val="E8E8E8"/>
          </a:solidFill>
        </p:spPr>
        <p:txBody>
          <a:bodyPr wrap="square" lIns="0" tIns="89999" rIns="0" bIns="89999" anchor="ctr">
            <a:noAutofit/>
          </a:bodyPr>
          <a:lstStyle/>
          <a:p>
            <a:pPr lvl="1"/>
            <a:endParaRPr lang="en-US" dirty="0"/>
          </a:p>
        </p:txBody>
      </p:sp>
      <p:sp>
        <p:nvSpPr>
          <p:cNvPr id="48" name="Pentagon 38"/>
          <p:cNvSpPr/>
          <p:nvPr/>
        </p:nvSpPr>
        <p:spPr>
          <a:xfrm>
            <a:off x="5648501" y="4501115"/>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endParaRPr>
          </a:p>
        </p:txBody>
      </p:sp>
      <p:sp>
        <p:nvSpPr>
          <p:cNvPr id="49" name="Pentagon 38"/>
          <p:cNvSpPr/>
          <p:nvPr/>
        </p:nvSpPr>
        <p:spPr>
          <a:xfrm>
            <a:off x="2564338" y="4501115"/>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a:solidFill>
                <a:schemeClr val="tx1">
                  <a:lumMod val="100000"/>
                </a:schemeClr>
              </a:solidFill>
              <a:cs typeface="Arial" panose="020B0604020202020204" pitchFamily="34" charset="0"/>
            </a:endParaRPr>
          </a:p>
        </p:txBody>
      </p:sp>
      <p:sp>
        <p:nvSpPr>
          <p:cNvPr id="50" name="Pentagon 38"/>
          <p:cNvSpPr/>
          <p:nvPr/>
        </p:nvSpPr>
        <p:spPr>
          <a:xfrm>
            <a:off x="8732665" y="4501115"/>
            <a:ext cx="2916651" cy="759938"/>
          </a:xfrm>
          <a:prstGeom prst="rect">
            <a:avLst/>
          </a:prstGeom>
          <a:noFill/>
          <a:ln w="19050">
            <a:noFill/>
          </a:ln>
        </p:spPr>
        <p:txBody>
          <a:bodyPr wrap="square" lIns="0" tIns="89999" rIns="0" bIns="89999" anchor="t">
            <a:noAutofit/>
          </a:bodyPr>
          <a:lstStyle/>
          <a:p>
            <a:pPr marL="323850" lvl="1" indent="-215900" fontAlgn="base">
              <a:buClr>
                <a:schemeClr val="tx2">
                  <a:lumMod val="100000"/>
                </a:schemeClr>
              </a:buClr>
              <a:buSzPct val="100000"/>
              <a:buFont typeface="Trebuchet MS" panose="020B0603020202020204" pitchFamily="34" charset="0"/>
              <a:buChar char="•"/>
            </a:pPr>
            <a:r>
              <a:rPr lang="en-US" altLang="en-US" sz="1200" dirty="0">
                <a:solidFill>
                  <a:schemeClr val="tx1">
                    <a:lumMod val="100000"/>
                  </a:schemeClr>
                </a:solidFill>
              </a:rPr>
              <a:t>XXX</a:t>
            </a:r>
            <a:endParaRPr lang="en-US" sz="1200" dirty="0" smtClean="0">
              <a:solidFill>
                <a:schemeClr val="tx1">
                  <a:lumMod val="100000"/>
                </a:schemeClr>
              </a:solidFill>
              <a:cs typeface="Arial" panose="020B0604020202020204" pitchFamily="34" charset="0"/>
            </a:endParaRPr>
          </a:p>
        </p:txBody>
      </p:sp>
      <p:sp>
        <p:nvSpPr>
          <p:cNvPr id="51" name="Rectangle 148"/>
          <p:cNvSpPr/>
          <p:nvPr/>
        </p:nvSpPr>
        <p:spPr>
          <a:xfrm>
            <a:off x="480951" y="4501115"/>
            <a:ext cx="1966414" cy="759938"/>
          </a:xfrm>
          <a:prstGeom prst="rect">
            <a:avLst/>
          </a:prstGeom>
          <a:solidFill>
            <a:srgbClr val="FE5817"/>
          </a:solidFill>
        </p:spPr>
        <p:txBody>
          <a:bodyPr wrap="square" lIns="0" tIns="89999" rIns="0" bIns="89999"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10" name="ColumnHeader"/>
          <p:cNvSpPr>
            <a:spLocks noChangeArrowheads="1"/>
          </p:cNvSpPr>
          <p:nvPr/>
        </p:nvSpPr>
        <p:spPr bwMode="gray">
          <a:xfrm>
            <a:off x="5648501" y="1104523"/>
            <a:ext cx="2916651" cy="796387"/>
          </a:xfrm>
          <a:prstGeom prst="rect">
            <a:avLst/>
          </a:prstGeom>
          <a:solidFill>
            <a:schemeClr val="tx2"/>
          </a:solidFill>
          <a:ln w="9525" algn="ctr">
            <a:noFill/>
            <a:miter lim="800000"/>
            <a:headEnd type="none" w="lg" len="lg"/>
            <a:tailEnd type="none" w="lg" len="lg"/>
          </a:ln>
          <a:effectLst/>
        </p:spPr>
        <p:txBody>
          <a:bodyPr wrap="square" lIns="91439" tIns="89999" rIns="91439" bIns="45720"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sp>
        <p:nvSpPr>
          <p:cNvPr id="11" name="ColumnHeader"/>
          <p:cNvSpPr>
            <a:spLocks noChangeArrowheads="1"/>
          </p:cNvSpPr>
          <p:nvPr/>
        </p:nvSpPr>
        <p:spPr bwMode="gray">
          <a:xfrm>
            <a:off x="2564338" y="1104523"/>
            <a:ext cx="2916651" cy="796387"/>
          </a:xfrm>
          <a:prstGeom prst="rect">
            <a:avLst/>
          </a:prstGeom>
          <a:solidFill>
            <a:schemeClr val="bg1">
              <a:lumMod val="65000"/>
            </a:schemeClr>
          </a:solidFill>
          <a:ln w="9525" algn="ctr">
            <a:noFill/>
            <a:miter lim="800000"/>
            <a:headEnd type="none" w="lg" len="lg"/>
            <a:tailEnd type="none" w="lg" len="lg"/>
          </a:ln>
          <a:effectLst/>
        </p:spPr>
        <p:txBody>
          <a:bodyPr wrap="square" lIns="91439" tIns="89999" rIns="91439"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200" b="1" i="0" u="none" strike="noStrike" kern="0" cap="none" spc="0" normalizeH="0" baseline="0" noProof="0" dirty="0" smtClean="0">
                <a:ln>
                  <a:noFill/>
                </a:ln>
                <a:solidFill>
                  <a:srgbClr val="FFFFFF"/>
                </a:solidFill>
                <a:effectLst/>
                <a:uLnTx/>
                <a:uFillTx/>
              </a:rPr>
              <a:t>XXXXXXXXX</a:t>
            </a:r>
            <a:endParaRPr kumimoji="0" lang="en-US" sz="1200" b="1" i="0" u="none" strike="noStrike" kern="0" cap="none" spc="0" normalizeH="0" baseline="0" noProof="0" dirty="0" smtClean="0">
              <a:ln>
                <a:noFill/>
              </a:ln>
              <a:solidFill>
                <a:srgbClr val="FFFFF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defRPr/>
            </a:pPr>
            <a:r>
              <a:rPr lang="en-US" sz="1200" b="1" kern="0" dirty="0" smtClean="0">
                <a:solidFill>
                  <a:srgbClr val="FFFFFF"/>
                </a:solidFill>
                <a:cs typeface="Arial" panose="020B0604020202020204" pitchFamily="34" charset="0"/>
              </a:rPr>
              <a:t>XXXXXXXXXXXXX</a:t>
            </a:r>
            <a:endParaRPr kumimoji="0" lang="en-US" sz="1200" b="0" i="0" u="none" strike="noStrike" kern="0" cap="none" spc="0" normalizeH="0" baseline="0" noProof="0" dirty="0" smtClean="0">
              <a:ln>
                <a:noFill/>
              </a:ln>
              <a:solidFill>
                <a:srgbClr val="FFFFFF"/>
              </a:solidFill>
              <a:effectLst/>
              <a:uLnTx/>
              <a:uFillTx/>
              <a:cs typeface="Arial" panose="020B0604020202020204" pitchFamily="34" charset="0"/>
            </a:endParaRPr>
          </a:p>
        </p:txBody>
      </p:sp>
      <p:sp>
        <p:nvSpPr>
          <p:cNvPr id="12" name="ColumnHeader"/>
          <p:cNvSpPr>
            <a:spLocks noChangeArrowheads="1"/>
          </p:cNvSpPr>
          <p:nvPr/>
        </p:nvSpPr>
        <p:spPr bwMode="gray">
          <a:xfrm>
            <a:off x="8732665" y="1104523"/>
            <a:ext cx="2916651" cy="796387"/>
          </a:xfrm>
          <a:prstGeom prst="rect">
            <a:avLst/>
          </a:prstGeom>
          <a:solidFill>
            <a:schemeClr val="tx2">
              <a:lumMod val="75000"/>
            </a:schemeClr>
          </a:solidFill>
          <a:ln w="9525" algn="ctr">
            <a:noFill/>
            <a:miter lim="800000"/>
            <a:headEnd type="none" w="lg" len="lg"/>
            <a:tailEnd type="none" w="lg" len="lg"/>
          </a:ln>
          <a:effectLst/>
        </p:spPr>
        <p:txBody>
          <a:bodyPr wrap="square" lIns="91439" tIns="89999" rIns="91439" bIns="45720" anchor="ctr">
            <a:noAutofit/>
          </a:bodyPr>
          <a:lstStyle/>
          <a:p>
            <a:pPr lvl="0" algn="ctr">
              <a:defRPr/>
            </a:pPr>
            <a:r>
              <a:rPr lang="en-US" altLang="zh-CN" sz="1200" b="1" kern="0" dirty="0">
                <a:solidFill>
                  <a:srgbClr val="FFFFFF"/>
                </a:solidFill>
              </a:rPr>
              <a:t>XXXXXXXXX</a:t>
            </a:r>
            <a:endParaRPr lang="en-US" altLang="zh-CN" sz="1200" b="1" kern="0" dirty="0">
              <a:solidFill>
                <a:srgbClr val="FFFFFF"/>
              </a:solidFill>
            </a:endParaRPr>
          </a:p>
          <a:p>
            <a:pPr lvl="0" algn="ctr">
              <a:defRPr/>
            </a:pPr>
            <a:r>
              <a:rPr lang="en-US" altLang="zh-CN" sz="1200" b="1" kern="0" dirty="0">
                <a:solidFill>
                  <a:srgbClr val="FFFFFF"/>
                </a:solidFill>
                <a:cs typeface="Arial" panose="020B0604020202020204" pitchFamily="34" charset="0"/>
              </a:rPr>
              <a:t>XXXXXXXXXXXXX</a:t>
            </a:r>
            <a:endParaRPr lang="en-US" altLang="zh-CN" sz="1200" kern="0" dirty="0">
              <a:solidFill>
                <a:srgbClr val="FFFFFF"/>
              </a:solidFill>
              <a:cs typeface="Arial" panose="020B0604020202020204" pitchFamily="34" charset="0"/>
            </a:endParaRPr>
          </a:p>
        </p:txBody>
      </p:sp>
      <p:cxnSp>
        <p:nvCxnSpPr>
          <p:cNvPr id="32" name="Straight Connector 32"/>
          <p:cNvCxnSpPr/>
          <p:nvPr/>
        </p:nvCxnSpPr>
        <p:spPr>
          <a:xfrm>
            <a:off x="5550308" y="2068868"/>
            <a:ext cx="0" cy="3933580"/>
          </a:xfrm>
          <a:prstGeom prst="line">
            <a:avLst/>
          </a:prstGeom>
          <a:noFill/>
          <a:ln w="9525" cap="flat" cmpd="sng" algn="ctr">
            <a:solidFill>
              <a:srgbClr val="FFFFFF">
                <a:lumMod val="75000"/>
              </a:srgbClr>
            </a:solidFill>
            <a:prstDash val="dash"/>
          </a:ln>
          <a:effectLst/>
        </p:spPr>
      </p:cxnSp>
      <p:cxnSp>
        <p:nvCxnSpPr>
          <p:cNvPr id="33" name="Straight Connector 190"/>
          <p:cNvCxnSpPr/>
          <p:nvPr/>
        </p:nvCxnSpPr>
        <p:spPr>
          <a:xfrm>
            <a:off x="8631576" y="2068868"/>
            <a:ext cx="0" cy="3933579"/>
          </a:xfrm>
          <a:prstGeom prst="line">
            <a:avLst/>
          </a:prstGeom>
          <a:noFill/>
          <a:ln w="9525" cap="flat" cmpd="sng" algn="ctr">
            <a:solidFill>
              <a:srgbClr val="FFFFFF">
                <a:lumMod val="75000"/>
              </a:srgbClr>
            </a:solidFill>
            <a:prstDash val="dash"/>
          </a:ln>
          <a:effectLst/>
        </p:spPr>
      </p:cxnSp>
      <p:sp>
        <p:nvSpPr>
          <p:cNvPr id="40" name="Oval 161"/>
          <p:cNvSpPr/>
          <p:nvPr/>
        </p:nvSpPr>
        <p:spPr>
          <a:xfrm>
            <a:off x="2446032"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77723" tIns="76499" rIns="77723" bIns="764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1</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sp>
        <p:nvSpPr>
          <p:cNvPr id="41" name="Oval 162"/>
          <p:cNvSpPr/>
          <p:nvPr/>
        </p:nvSpPr>
        <p:spPr>
          <a:xfrm>
            <a:off x="5584319"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77723" tIns="76499" rIns="77723" bIns="764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2</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sp>
        <p:nvSpPr>
          <p:cNvPr id="43" name="Oval 163"/>
          <p:cNvSpPr/>
          <p:nvPr/>
        </p:nvSpPr>
        <p:spPr>
          <a:xfrm>
            <a:off x="8688058" y="1024158"/>
            <a:ext cx="234000" cy="233156"/>
          </a:xfrm>
          <a:prstGeom prst="ellipse">
            <a:avLst/>
          </a:prstGeom>
          <a:solidFill>
            <a:schemeClr val="accent1">
              <a:lumMod val="75000"/>
            </a:schemeClr>
          </a:solidFill>
          <a:ln w="19050" cap="flat" cmpd="sng" algn="ctr">
            <a:solidFill>
              <a:srgbClr val="FFFFFF"/>
            </a:solidFill>
            <a:prstDash val="solid"/>
          </a:ln>
          <a:effectLst>
            <a:outerShdw blurRad="50800" dist="38100" dir="2700000" algn="tl" rotWithShape="0">
              <a:prstClr val="black">
                <a:alpha val="40000"/>
              </a:prstClr>
            </a:outerShdw>
          </a:effectLst>
        </p:spPr>
        <p:txBody>
          <a:bodyPr lIns="0" tIns="89999" rIns="0" bIns="89999" rtlCol="0" anchor="ctr"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t>3</a:t>
            </a:r>
            <a:endParaRPr kumimoji="0" lang="en-US" sz="1190" b="1" i="0" u="none" strike="noStrike" kern="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endParaRPr>
          </a:p>
        </p:txBody>
      </p:sp>
      <p:sp>
        <p:nvSpPr>
          <p:cNvPr id="5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图表</a:t>
            </a:r>
            <a:endParaRPr lang="zh-CN" altLang="en-US" sz="2400" dirty="0">
              <a:solidFill>
                <a:prstClr val="black"/>
              </a:solidFill>
              <a:latin typeface="华文楷体" panose="02010600040101010101" charset="-122"/>
              <a:ea typeface="华文楷体" panose="02010600040101010101" charset="-122"/>
            </a:endParaRPr>
          </a:p>
        </p:txBody>
      </p:sp>
      <p:pic>
        <p:nvPicPr>
          <p:cNvPr id="47" name="图片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4"/>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540780" name="think-cell Slide" r:id="rId5" imgW="12700" imgH="12700" progId="TCLayout.ActiveDocument.1">
                  <p:embed/>
                </p:oleObj>
              </mc:Choice>
              <mc:Fallback>
                <p:oleObj name="think-cell Slide" r:id="rId5" imgW="12700" imgH="12700" progId="TCLayout.ActiveDocument.1">
                  <p:embed/>
                  <p:pic>
                    <p:nvPicPr>
                      <p:cNvPr id="0" name="Object 5" hidden="1"/>
                      <p:cNvPicPr/>
                      <p:nvPr/>
                    </p:nvPicPr>
                    <p:blipFill>
                      <a:blip r:embed="rId6"/>
                      <a:stretch>
                        <a:fillRect/>
                      </a:stretch>
                    </p:blipFill>
                    <p:spPr>
                      <a:xfrm>
                        <a:off x="1525891" y="1621"/>
                        <a:ext cx="1619" cy="1619"/>
                      </a:xfrm>
                      <a:prstGeom prst="rect">
                        <a:avLst/>
                      </a:prstGeom>
                    </p:spPr>
                  </p:pic>
                </p:oleObj>
              </mc:Fallback>
            </mc:AlternateContent>
          </a:graphicData>
        </a:graphic>
      </p:graphicFrame>
      <p:sp>
        <p:nvSpPr>
          <p:cNvPr id="5" name="Rectangle 4" hidden="1"/>
          <p:cNvSpPr/>
          <p:nvPr>
            <p:custDataLst>
              <p:tags r:id="rId7"/>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1430" b="1" dirty="0" err="1">
              <a:solidFill>
                <a:schemeClr val="tx1"/>
              </a:solidFill>
              <a:latin typeface="Arial" panose="020B0604020202020204"/>
              <a:ea typeface="楷体" panose="02010609060101010101" pitchFamily="49" charset="-122"/>
              <a:sym typeface="Arial" panose="020B0604020202020204"/>
            </a:endParaRPr>
          </a:p>
        </p:txBody>
      </p:sp>
      <p:sp>
        <p:nvSpPr>
          <p:cNvPr id="14" name="Rectangle 2"/>
          <p:cNvSpPr>
            <a:spLocks noChangeArrowheads="1"/>
          </p:cNvSpPr>
          <p:nvPr/>
        </p:nvSpPr>
        <p:spPr bwMode="auto">
          <a:xfrm>
            <a:off x="5617547" y="933097"/>
            <a:ext cx="5434766" cy="2565676"/>
          </a:xfrm>
          <a:prstGeom prst="rect">
            <a:avLst/>
          </a:prstGeom>
          <a:noFill/>
          <a:ln w="19050">
            <a:solidFill>
              <a:srgbClr val="FE5817"/>
            </a:solidFill>
            <a:miter lim="800000"/>
          </a:ln>
          <a:effectLst/>
        </p:spPr>
        <p:txBody>
          <a:bodyPr wrap="none" anchor="ctr"/>
          <a:lstStyle/>
          <a:p>
            <a:endParaRPr lang="en-US" sz="1430"/>
          </a:p>
        </p:txBody>
      </p:sp>
      <p:sp>
        <p:nvSpPr>
          <p:cNvPr id="15" name="Rectangle 11"/>
          <p:cNvSpPr txBox="1">
            <a:spLocks noChangeArrowheads="1"/>
          </p:cNvSpPr>
          <p:nvPr/>
        </p:nvSpPr>
        <p:spPr bwMode="auto">
          <a:xfrm>
            <a:off x="5617547" y="933097"/>
            <a:ext cx="5434766" cy="384968"/>
          </a:xfrm>
          <a:prstGeom prst="rect">
            <a:avLst/>
          </a:prstGeom>
          <a:solidFill>
            <a:srgbClr val="FE5817"/>
          </a:solidFill>
          <a:ln w="9525">
            <a:solidFill>
              <a:srgbClr val="FE5817"/>
            </a:solidFill>
            <a:miter lim="800000"/>
          </a:ln>
          <a:effectLst/>
        </p:spPr>
        <p:txBody>
          <a:bodyPr vert="horz" wrap="square" lIns="73472" tIns="73472" rIns="73472" bIns="73472" numCol="1" anchor="ctr" anchorCtr="0" compatLnSpc="1">
            <a:noAutofit/>
          </a:bodyPr>
          <a:lstStyle>
            <a:defPPr>
              <a:defRPr lang="en-US"/>
            </a:defPPr>
            <a:lvl1pPr indent="0" defTabSz="895350" fontAlgn="base">
              <a:spcBef>
                <a:spcPct val="0"/>
              </a:spcBef>
              <a:spcAft>
                <a:spcPct val="0"/>
              </a:spcAft>
              <a:buClr>
                <a:schemeClr val="tx2"/>
              </a:buClr>
              <a:defRPr sz="1600" baseline="0"/>
            </a:lvl1pPr>
            <a:lvl2pPr marL="1905" lvl="1" indent="0" defTabSz="895350" fontAlgn="base">
              <a:spcBef>
                <a:spcPct val="0"/>
              </a:spcBef>
              <a:spcAft>
                <a:spcPct val="0"/>
              </a:spcAft>
              <a:buClr>
                <a:schemeClr val="tx2"/>
              </a:buClr>
              <a:buSzPct val="125000"/>
              <a:buFont typeface="Arial" panose="020B0604020202020204" pitchFamily="34" charset="0"/>
              <a:buNone/>
              <a:defRPr sz="1430" b="1" baseline="0"/>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lvl="1"/>
            <a:r>
              <a:rPr lang="zh-CN" altLang="en-US" dirty="0">
                <a:solidFill>
                  <a:schemeClr val="bg1"/>
                </a:solidFill>
              </a:rPr>
              <a:t>商业模式</a:t>
            </a:r>
            <a:endParaRPr lang="en-US" altLang="ko-KR" dirty="0">
              <a:solidFill>
                <a:schemeClr val="bg1"/>
              </a:solidFill>
            </a:endParaRPr>
          </a:p>
        </p:txBody>
      </p:sp>
      <p:sp>
        <p:nvSpPr>
          <p:cNvPr id="16" name="Rectangle 11"/>
          <p:cNvSpPr txBox="1">
            <a:spLocks noChangeArrowheads="1"/>
          </p:cNvSpPr>
          <p:nvPr/>
        </p:nvSpPr>
        <p:spPr bwMode="auto">
          <a:xfrm>
            <a:off x="5716224" y="1358100"/>
            <a:ext cx="3032162" cy="896812"/>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lvl="1"/>
            <a:r>
              <a:rPr lang="zh-CN" altLang="en-US" sz="1430" dirty="0"/>
              <a:t>核心产品：</a:t>
            </a:r>
            <a:r>
              <a:rPr lang="en-US" altLang="zh-CN" sz="1430" dirty="0"/>
              <a:t>xxx</a:t>
            </a:r>
            <a:endParaRPr lang="en-US" altLang="zh-CN" sz="1430" dirty="0"/>
          </a:p>
          <a:p>
            <a:pPr lvl="1"/>
            <a:r>
              <a:rPr lang="zh-CN" altLang="en-US" sz="1430" dirty="0"/>
              <a:t>目标客户：</a:t>
            </a:r>
            <a:r>
              <a:rPr lang="en-US" altLang="zh-CN" sz="1430" dirty="0"/>
              <a:t>xxx</a:t>
            </a:r>
            <a:endParaRPr lang="en-US" altLang="zh-CN" sz="1430" dirty="0"/>
          </a:p>
          <a:p>
            <a:pPr lvl="1"/>
            <a:r>
              <a:rPr lang="zh-CN" altLang="en-US" sz="1430" dirty="0"/>
              <a:t>营销渠道：</a:t>
            </a:r>
            <a:r>
              <a:rPr lang="en-US" altLang="zh-CN" sz="1430" dirty="0"/>
              <a:t>xxx</a:t>
            </a:r>
            <a:endParaRPr lang="en-US" altLang="zh-CN" sz="1430" dirty="0"/>
          </a:p>
          <a:p>
            <a:pPr lvl="1"/>
            <a:r>
              <a:rPr lang="zh-CN" altLang="en-US" sz="1430" dirty="0"/>
              <a:t>服务特点：</a:t>
            </a:r>
            <a:r>
              <a:rPr lang="en-US" altLang="zh-CN" sz="1430" dirty="0"/>
              <a:t>xxx</a:t>
            </a:r>
            <a:endParaRPr lang="en-US" altLang="ko-KR" sz="1430" dirty="0"/>
          </a:p>
        </p:txBody>
      </p:sp>
      <p:sp>
        <p:nvSpPr>
          <p:cNvPr id="17" name="Rectangle 2"/>
          <p:cNvSpPr>
            <a:spLocks noChangeArrowheads="1"/>
          </p:cNvSpPr>
          <p:nvPr/>
        </p:nvSpPr>
        <p:spPr bwMode="auto">
          <a:xfrm>
            <a:off x="5617547" y="3693875"/>
            <a:ext cx="5434766" cy="2565676"/>
          </a:xfrm>
          <a:prstGeom prst="rect">
            <a:avLst/>
          </a:prstGeom>
          <a:noFill/>
          <a:ln w="19050">
            <a:solidFill>
              <a:srgbClr val="FE5817"/>
            </a:solidFill>
            <a:miter lim="800000"/>
          </a:ln>
          <a:effectLst/>
        </p:spPr>
        <p:txBody>
          <a:bodyPr wrap="none" anchor="ctr"/>
          <a:lstStyle/>
          <a:p>
            <a:endParaRPr lang="en-US" sz="1430"/>
          </a:p>
        </p:txBody>
      </p:sp>
      <p:sp>
        <p:nvSpPr>
          <p:cNvPr id="18" name="Rectangle 11"/>
          <p:cNvSpPr txBox="1">
            <a:spLocks noChangeArrowheads="1"/>
          </p:cNvSpPr>
          <p:nvPr/>
        </p:nvSpPr>
        <p:spPr bwMode="auto">
          <a:xfrm>
            <a:off x="5617547" y="3693874"/>
            <a:ext cx="5434766" cy="426757"/>
          </a:xfrm>
          <a:prstGeom prst="rect">
            <a:avLst/>
          </a:prstGeom>
          <a:solidFill>
            <a:srgbClr val="FE5817"/>
          </a:solidFill>
          <a:ln w="9525">
            <a:solidFill>
              <a:srgbClr val="FE5817"/>
            </a:solidFill>
            <a:miter lim="800000"/>
          </a:ln>
          <a:effectLst/>
        </p:spPr>
        <p:txBody>
          <a:bodyPr vert="horz" wrap="square" lIns="73472" tIns="73472" rIns="73472" bIns="73472" numCol="1" anchor="ctr" anchorCtr="0" compatLnSpc="1">
            <a:noAutofit/>
          </a:bodyPr>
          <a:lstStyle>
            <a:defPPr>
              <a:defRPr lang="en-US"/>
            </a:defPPr>
            <a:lvl1pPr indent="0" defTabSz="895350" fontAlgn="base">
              <a:spcBef>
                <a:spcPct val="0"/>
              </a:spcBef>
              <a:spcAft>
                <a:spcPct val="0"/>
              </a:spcAft>
              <a:buClr>
                <a:schemeClr val="tx2"/>
              </a:buClr>
              <a:defRPr sz="1600" baseline="0"/>
            </a:lvl1pPr>
            <a:lvl2pPr marL="1905" lvl="1" indent="0" defTabSz="895350" fontAlgn="base">
              <a:spcBef>
                <a:spcPct val="0"/>
              </a:spcBef>
              <a:spcAft>
                <a:spcPct val="0"/>
              </a:spcAft>
              <a:buClr>
                <a:schemeClr val="tx2"/>
              </a:buClr>
              <a:buSzPct val="125000"/>
              <a:buFont typeface="Arial" panose="020B0604020202020204" pitchFamily="34" charset="0"/>
              <a:buNone/>
              <a:defRPr sz="1430" b="1" baseline="0"/>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lvl="1"/>
            <a:r>
              <a:rPr lang="zh-CN" altLang="en-US" dirty="0">
                <a:solidFill>
                  <a:schemeClr val="bg1"/>
                </a:solidFill>
              </a:rPr>
              <a:t>优势与劣势</a:t>
            </a:r>
            <a:endParaRPr lang="en-US" altLang="ko-KR" dirty="0">
              <a:solidFill>
                <a:schemeClr val="bg1"/>
              </a:solidFill>
            </a:endParaRPr>
          </a:p>
        </p:txBody>
      </p:sp>
      <p:sp>
        <p:nvSpPr>
          <p:cNvPr id="19" name="Rectangle 11"/>
          <p:cNvSpPr txBox="1">
            <a:spLocks noChangeArrowheads="1"/>
          </p:cNvSpPr>
          <p:nvPr/>
        </p:nvSpPr>
        <p:spPr bwMode="auto">
          <a:xfrm>
            <a:off x="5709723" y="4183654"/>
            <a:ext cx="3032162" cy="142436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defPPr>
              <a:defRPr lang="en-US"/>
            </a:defPPr>
            <a:lvl1pPr indent="0" defTabSz="895350" fontAlgn="base">
              <a:spcBef>
                <a:spcPct val="0"/>
              </a:spcBef>
              <a:spcAft>
                <a:spcPct val="0"/>
              </a:spcAft>
              <a:buClr>
                <a:schemeClr val="tx2"/>
              </a:buClr>
              <a:defRPr sz="1600" baseline="0"/>
            </a:lvl1pPr>
            <a:lvl2pPr marL="193675" lvl="1" indent="-192405" defTabSz="895350" fontAlgn="base">
              <a:spcBef>
                <a:spcPct val="0"/>
              </a:spcBef>
              <a:spcAft>
                <a:spcPct val="0"/>
              </a:spcAft>
              <a:buClr>
                <a:schemeClr val="tx2"/>
              </a:buClr>
              <a:buSzPct val="125000"/>
              <a:buFont typeface="Arial" panose="020B0604020202020204" pitchFamily="34" charset="0"/>
              <a:buChar char="▪"/>
              <a:defRPr sz="1430" baseline="0"/>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lvl="1"/>
            <a:r>
              <a:rPr lang="zh-CN" altLang="en-US" dirty="0"/>
              <a:t>优势</a:t>
            </a:r>
            <a:endParaRPr lang="en-US" altLang="zh-CN" dirty="0"/>
          </a:p>
          <a:p>
            <a:pPr lvl="2"/>
            <a:r>
              <a:rPr lang="en-US" altLang="zh-CN" dirty="0"/>
              <a:t>xxx</a:t>
            </a:r>
            <a:endParaRPr lang="en-US" altLang="zh-CN" dirty="0"/>
          </a:p>
          <a:p>
            <a:pPr lvl="2"/>
            <a:r>
              <a:rPr lang="en-US" altLang="zh-CN" dirty="0"/>
              <a:t>xxx</a:t>
            </a:r>
            <a:endParaRPr lang="en-US" altLang="zh-CN" dirty="0"/>
          </a:p>
          <a:p>
            <a:pPr lvl="1"/>
            <a:r>
              <a:rPr lang="zh-CN" altLang="en-US" dirty="0"/>
              <a:t>劣势</a:t>
            </a:r>
            <a:endParaRPr lang="en-US" altLang="zh-CN" dirty="0"/>
          </a:p>
          <a:p>
            <a:pPr lvl="2"/>
            <a:r>
              <a:rPr lang="en-US" altLang="zh-CN" dirty="0"/>
              <a:t>xxx</a:t>
            </a:r>
            <a:endParaRPr lang="en-US" altLang="zh-CN" dirty="0"/>
          </a:p>
          <a:p>
            <a:pPr lvl="2"/>
            <a:r>
              <a:rPr lang="en-US" altLang="ko-KR" dirty="0"/>
              <a:t>xxx</a:t>
            </a:r>
            <a:endParaRPr lang="en-US" altLang="ko-KR" dirty="0"/>
          </a:p>
        </p:txBody>
      </p:sp>
      <p:sp>
        <p:nvSpPr>
          <p:cNvPr id="21" name="Rectangle 2"/>
          <p:cNvSpPr>
            <a:spLocks noChangeArrowheads="1"/>
          </p:cNvSpPr>
          <p:nvPr/>
        </p:nvSpPr>
        <p:spPr bwMode="auto">
          <a:xfrm>
            <a:off x="800101" y="933097"/>
            <a:ext cx="4588936" cy="1243964"/>
          </a:xfrm>
          <a:prstGeom prst="rect">
            <a:avLst/>
          </a:prstGeom>
          <a:noFill/>
          <a:ln w="19050">
            <a:solidFill>
              <a:srgbClr val="FE5817"/>
            </a:solidFill>
            <a:miter lim="800000"/>
          </a:ln>
          <a:effectLst/>
        </p:spPr>
        <p:txBody>
          <a:bodyPr wrap="none" anchor="ctr"/>
          <a:lstStyle/>
          <a:p>
            <a:endParaRPr lang="en-US" sz="1430"/>
          </a:p>
        </p:txBody>
      </p:sp>
      <p:sp>
        <p:nvSpPr>
          <p:cNvPr id="22" name="Rectangle 11"/>
          <p:cNvSpPr txBox="1">
            <a:spLocks noChangeArrowheads="1"/>
          </p:cNvSpPr>
          <p:nvPr/>
        </p:nvSpPr>
        <p:spPr bwMode="auto">
          <a:xfrm>
            <a:off x="800101" y="933097"/>
            <a:ext cx="4588936" cy="384968"/>
          </a:xfrm>
          <a:prstGeom prst="rect">
            <a:avLst/>
          </a:prstGeom>
          <a:solidFill>
            <a:srgbClr val="FE5817"/>
          </a:solidFill>
          <a:ln w="9525">
            <a:solidFill>
              <a:srgbClr val="FE5817"/>
            </a:solidFill>
            <a:miter lim="800000"/>
          </a:ln>
          <a:effectLst/>
        </p:spPr>
        <p:txBody>
          <a:bodyPr vert="horz" wrap="square" lIns="73472" tIns="73472" rIns="73472" bIns="73472" numCol="1" anchor="ctr"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buNone/>
            </a:pPr>
            <a:r>
              <a:rPr lang="zh-CN" altLang="en-US" sz="1430" b="1" dirty="0">
                <a:solidFill>
                  <a:schemeClr val="bg1"/>
                </a:solidFill>
              </a:rPr>
              <a:t>基本信息</a:t>
            </a:r>
            <a:endParaRPr lang="en-US" altLang="ko-KR" sz="1430" b="1" dirty="0">
              <a:solidFill>
                <a:schemeClr val="bg1"/>
              </a:solidFill>
            </a:endParaRPr>
          </a:p>
        </p:txBody>
      </p:sp>
      <p:sp>
        <p:nvSpPr>
          <p:cNvPr id="23" name="Rectangle 11"/>
          <p:cNvSpPr txBox="1">
            <a:spLocks noChangeArrowheads="1"/>
          </p:cNvSpPr>
          <p:nvPr/>
        </p:nvSpPr>
        <p:spPr bwMode="auto">
          <a:xfrm>
            <a:off x="4277900" y="1007286"/>
            <a:ext cx="1024350" cy="21974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lvl="1" indent="0" algn="ctr">
              <a:buNone/>
            </a:pPr>
            <a:r>
              <a:rPr lang="en-US" altLang="zh-CN" sz="1430" b="1" dirty="0">
                <a:solidFill>
                  <a:schemeClr val="bg1"/>
                </a:solidFill>
              </a:rPr>
              <a:t>[</a:t>
            </a:r>
            <a:r>
              <a:rPr lang="zh-CN" altLang="en-US" sz="1430" b="1" dirty="0">
                <a:solidFill>
                  <a:schemeClr val="bg1"/>
                </a:solidFill>
              </a:rPr>
              <a:t>企业</a:t>
            </a:r>
            <a:r>
              <a:rPr lang="en-US" altLang="zh-CN" sz="1430" b="1" dirty="0">
                <a:solidFill>
                  <a:schemeClr val="bg1"/>
                </a:solidFill>
              </a:rPr>
              <a:t>Logo]</a:t>
            </a:r>
            <a:endParaRPr lang="en-US" altLang="ko-KR" sz="1430" b="1" dirty="0">
              <a:solidFill>
                <a:schemeClr val="bg1"/>
              </a:solidFill>
            </a:endParaRPr>
          </a:p>
        </p:txBody>
      </p:sp>
      <p:sp>
        <p:nvSpPr>
          <p:cNvPr id="24" name="Rectangle 2"/>
          <p:cNvSpPr>
            <a:spLocks noChangeArrowheads="1"/>
          </p:cNvSpPr>
          <p:nvPr/>
        </p:nvSpPr>
        <p:spPr bwMode="auto">
          <a:xfrm>
            <a:off x="800101" y="2341064"/>
            <a:ext cx="4588936" cy="3918487"/>
          </a:xfrm>
          <a:prstGeom prst="rect">
            <a:avLst/>
          </a:prstGeom>
          <a:noFill/>
          <a:ln w="19050">
            <a:solidFill>
              <a:srgbClr val="FE5817"/>
            </a:solidFill>
            <a:miter lim="800000"/>
          </a:ln>
          <a:effectLst/>
        </p:spPr>
        <p:txBody>
          <a:bodyPr wrap="none" anchor="ctr"/>
          <a:lstStyle/>
          <a:p>
            <a:endParaRPr lang="en-US" sz="1430"/>
          </a:p>
        </p:txBody>
      </p:sp>
      <p:sp>
        <p:nvSpPr>
          <p:cNvPr id="25" name="Rectangle 11"/>
          <p:cNvSpPr txBox="1">
            <a:spLocks noChangeArrowheads="1"/>
          </p:cNvSpPr>
          <p:nvPr/>
        </p:nvSpPr>
        <p:spPr bwMode="auto">
          <a:xfrm>
            <a:off x="1859237" y="1397433"/>
            <a:ext cx="3032162" cy="44840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lvl="1"/>
            <a:r>
              <a:rPr lang="zh-CN" altLang="en-US" sz="1430" dirty="0"/>
              <a:t>成立时间：</a:t>
            </a:r>
            <a:r>
              <a:rPr lang="en-US" altLang="zh-CN" sz="1430" dirty="0"/>
              <a:t>xxx</a:t>
            </a:r>
            <a:endParaRPr lang="en-US" altLang="zh-CN" sz="1430" dirty="0"/>
          </a:p>
          <a:p>
            <a:pPr lvl="1"/>
            <a:r>
              <a:rPr lang="zh-CN" altLang="en-US" sz="1430" dirty="0"/>
              <a:t>股权结构：</a:t>
            </a:r>
            <a:r>
              <a:rPr lang="en-US" altLang="zh-CN" sz="1430" dirty="0"/>
              <a:t>xxx</a:t>
            </a:r>
            <a:endParaRPr lang="en-US" altLang="ko-KR" sz="1430" dirty="0"/>
          </a:p>
        </p:txBody>
      </p:sp>
      <p:sp>
        <p:nvSpPr>
          <p:cNvPr id="26" name="Rectangle 11"/>
          <p:cNvSpPr txBox="1">
            <a:spLocks noChangeArrowheads="1"/>
          </p:cNvSpPr>
          <p:nvPr/>
        </p:nvSpPr>
        <p:spPr bwMode="auto">
          <a:xfrm>
            <a:off x="800101" y="2341063"/>
            <a:ext cx="4588936" cy="353522"/>
          </a:xfrm>
          <a:prstGeom prst="rect">
            <a:avLst/>
          </a:prstGeom>
          <a:solidFill>
            <a:srgbClr val="FE5817"/>
          </a:solidFill>
          <a:ln w="9525">
            <a:solidFill>
              <a:srgbClr val="FE5817"/>
            </a:solidFill>
            <a:miter lim="800000"/>
          </a:ln>
          <a:effectLst/>
        </p:spPr>
        <p:txBody>
          <a:bodyPr vert="horz" wrap="square" lIns="73472" tIns="73472" rIns="73472" bIns="73472" numCol="1" anchor="ctr" anchorCtr="0" compatLnSpc="1">
            <a:noAutofit/>
          </a:bodyPr>
          <a:lstStyle>
            <a:defPPr>
              <a:defRPr lang="en-US"/>
            </a:defPPr>
            <a:lvl1pPr indent="0" defTabSz="895350" fontAlgn="base">
              <a:spcBef>
                <a:spcPct val="0"/>
              </a:spcBef>
              <a:spcAft>
                <a:spcPct val="0"/>
              </a:spcAft>
              <a:buClr>
                <a:schemeClr val="tx2"/>
              </a:buClr>
              <a:defRPr sz="1600" baseline="0"/>
            </a:lvl1pPr>
            <a:lvl2pPr marL="1905" lvl="1" indent="0" defTabSz="895350" fontAlgn="base">
              <a:spcBef>
                <a:spcPct val="0"/>
              </a:spcBef>
              <a:spcAft>
                <a:spcPct val="0"/>
              </a:spcAft>
              <a:buClr>
                <a:schemeClr val="tx2"/>
              </a:buClr>
              <a:buSzPct val="125000"/>
              <a:buFont typeface="Arial" panose="020B0604020202020204" pitchFamily="34" charset="0"/>
              <a:buNone/>
              <a:defRPr sz="1430" b="1" baseline="0"/>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lvl="1"/>
            <a:r>
              <a:rPr lang="zh-CN" altLang="en-US" dirty="0">
                <a:solidFill>
                  <a:schemeClr val="bg1"/>
                </a:solidFill>
              </a:rPr>
              <a:t>财务信息</a:t>
            </a:r>
            <a:endParaRPr lang="en-US" altLang="ko-KR" dirty="0">
              <a:solidFill>
                <a:schemeClr val="bg1"/>
              </a:solidFill>
            </a:endParaRPr>
          </a:p>
        </p:txBody>
      </p:sp>
      <p:sp>
        <p:nvSpPr>
          <p:cNvPr id="30" name="Rectangle 11"/>
          <p:cNvSpPr txBox="1">
            <a:spLocks noChangeArrowheads="1"/>
          </p:cNvSpPr>
          <p:nvPr/>
        </p:nvSpPr>
        <p:spPr bwMode="auto">
          <a:xfrm>
            <a:off x="1115980" y="2793839"/>
            <a:ext cx="559784" cy="1026270"/>
          </a:xfrm>
          <a:prstGeom prst="rect">
            <a:avLst/>
          </a:prstGeom>
          <a:solidFill>
            <a:srgbClr val="FF976D"/>
          </a:solidFill>
          <a:ln w="9525">
            <a:noFill/>
            <a:miter lim="800000"/>
          </a:ln>
          <a:effectLst/>
        </p:spPr>
        <p:txBody>
          <a:bodyPr vert="horz" wrap="square" lIns="73472" tIns="73472" rIns="73472" bIns="73472" numCol="1" anchor="ctr" anchorCtr="0" compatLnSpc="1">
            <a:noAutofit/>
          </a:bodyPr>
          <a:lstStyle>
            <a:defPPr>
              <a:defRPr lang="en-US"/>
            </a:defPPr>
            <a:lvl1pPr indent="0" defTabSz="895350" fontAlgn="base">
              <a:spcBef>
                <a:spcPct val="0"/>
              </a:spcBef>
              <a:spcAft>
                <a:spcPct val="0"/>
              </a:spcAft>
              <a:buClr>
                <a:schemeClr val="tx2"/>
              </a:buClr>
              <a:defRPr sz="1600" baseline="0"/>
            </a:lvl1pPr>
            <a:lvl2pPr marL="1905" lvl="1" indent="0" defTabSz="895350" fontAlgn="base">
              <a:spcBef>
                <a:spcPct val="0"/>
              </a:spcBef>
              <a:spcAft>
                <a:spcPct val="0"/>
              </a:spcAft>
              <a:buClr>
                <a:schemeClr val="tx2"/>
              </a:buClr>
              <a:buSzPct val="125000"/>
              <a:buFont typeface="Arial" panose="020B0604020202020204" pitchFamily="34" charset="0"/>
              <a:buNone/>
              <a:defRPr sz="1430" b="1" baseline="0"/>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lvl="1"/>
            <a:r>
              <a:rPr lang="zh-CN" altLang="en-US" dirty="0"/>
              <a:t>资产规模</a:t>
            </a:r>
            <a:endParaRPr lang="en-US" altLang="ko-KR" dirty="0"/>
          </a:p>
        </p:txBody>
      </p:sp>
      <p:sp>
        <p:nvSpPr>
          <p:cNvPr id="37" name="Rectangle 11"/>
          <p:cNvSpPr txBox="1">
            <a:spLocks noChangeArrowheads="1"/>
          </p:cNvSpPr>
          <p:nvPr/>
        </p:nvSpPr>
        <p:spPr bwMode="auto">
          <a:xfrm>
            <a:off x="1126389" y="3895263"/>
            <a:ext cx="559784" cy="1026270"/>
          </a:xfrm>
          <a:prstGeom prst="rect">
            <a:avLst/>
          </a:prstGeom>
          <a:solidFill>
            <a:srgbClr val="FF976D"/>
          </a:solidFill>
          <a:ln w="9525">
            <a:noFill/>
            <a:miter lim="800000"/>
          </a:ln>
          <a:effectLst/>
        </p:spPr>
        <p:txBody>
          <a:bodyPr vert="horz" wrap="square" lIns="73472" tIns="73472" rIns="73472" bIns="73472" numCol="1" anchor="ctr" anchorCtr="0" compatLnSpc="1">
            <a:noAutofit/>
          </a:bodyPr>
          <a:lstStyle>
            <a:defPPr>
              <a:defRPr lang="en-US"/>
            </a:defPPr>
            <a:lvl1pPr indent="0" defTabSz="895350" fontAlgn="base">
              <a:spcBef>
                <a:spcPct val="0"/>
              </a:spcBef>
              <a:spcAft>
                <a:spcPct val="0"/>
              </a:spcAft>
              <a:buClr>
                <a:schemeClr val="tx2"/>
              </a:buClr>
              <a:defRPr sz="1600" baseline="0"/>
            </a:lvl1pPr>
            <a:lvl2pPr marL="1905" lvl="1" indent="0" defTabSz="895350" fontAlgn="base">
              <a:spcBef>
                <a:spcPct val="0"/>
              </a:spcBef>
              <a:spcAft>
                <a:spcPct val="0"/>
              </a:spcAft>
              <a:buClr>
                <a:schemeClr val="tx2"/>
              </a:buClr>
              <a:buSzPct val="125000"/>
              <a:buFont typeface="Arial" panose="020B0604020202020204" pitchFamily="34" charset="0"/>
              <a:buNone/>
              <a:defRPr sz="1430" b="1" baseline="0"/>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lvl="1"/>
            <a:r>
              <a:rPr lang="zh-CN" altLang="en-US" dirty="0"/>
              <a:t>收入规模</a:t>
            </a:r>
            <a:endParaRPr lang="en-US" altLang="ko-KR" dirty="0"/>
          </a:p>
        </p:txBody>
      </p:sp>
      <p:sp>
        <p:nvSpPr>
          <p:cNvPr id="38" name="Rectangle 11"/>
          <p:cNvSpPr txBox="1">
            <a:spLocks noChangeArrowheads="1"/>
          </p:cNvSpPr>
          <p:nvPr/>
        </p:nvSpPr>
        <p:spPr bwMode="auto">
          <a:xfrm>
            <a:off x="1126389" y="5015737"/>
            <a:ext cx="559784" cy="1026270"/>
          </a:xfrm>
          <a:prstGeom prst="rect">
            <a:avLst/>
          </a:prstGeom>
          <a:solidFill>
            <a:srgbClr val="FF976D"/>
          </a:solidFill>
          <a:ln w="9525">
            <a:noFill/>
            <a:miter lim="800000"/>
          </a:ln>
          <a:effectLst/>
        </p:spPr>
        <p:txBody>
          <a:bodyPr vert="horz" wrap="square" lIns="73472" tIns="73472" rIns="73472" bIns="73472" numCol="1" anchor="ctr" anchorCtr="0" compatLnSpc="1">
            <a:noAutofit/>
          </a:bodyPr>
          <a:lstStyle>
            <a:defPPr>
              <a:defRPr lang="en-US"/>
            </a:defPPr>
            <a:lvl1pPr indent="0" defTabSz="895350" fontAlgn="base">
              <a:spcBef>
                <a:spcPct val="0"/>
              </a:spcBef>
              <a:spcAft>
                <a:spcPct val="0"/>
              </a:spcAft>
              <a:buClr>
                <a:schemeClr val="tx2"/>
              </a:buClr>
              <a:defRPr sz="1600" baseline="0"/>
            </a:lvl1pPr>
            <a:lvl2pPr marL="1905" lvl="1" indent="0" defTabSz="895350" fontAlgn="base">
              <a:spcBef>
                <a:spcPct val="0"/>
              </a:spcBef>
              <a:spcAft>
                <a:spcPct val="0"/>
              </a:spcAft>
              <a:buClr>
                <a:schemeClr val="tx2"/>
              </a:buClr>
              <a:buSzPct val="125000"/>
              <a:buFont typeface="Arial" panose="020B0604020202020204" pitchFamily="34" charset="0"/>
              <a:buNone/>
              <a:defRPr sz="1430" b="1" baseline="0"/>
            </a:lvl2pPr>
            <a:lvl3pPr marL="457200" indent="-262255" defTabSz="895350" fontAlgn="base">
              <a:spcBef>
                <a:spcPct val="0"/>
              </a:spcBef>
              <a:spcAft>
                <a:spcPct val="0"/>
              </a:spcAft>
              <a:buClr>
                <a:schemeClr val="tx2"/>
              </a:buClr>
              <a:buSzPct val="120000"/>
              <a:buFont typeface="Arial" panose="020B0604020202020204" pitchFamily="34" charset="0"/>
              <a:buChar char="–"/>
              <a:defRPr sz="1600" baseline="0"/>
            </a:lvl3pPr>
            <a:lvl4pPr marL="614680" indent="-155575" defTabSz="895350" fontAlgn="base">
              <a:spcBef>
                <a:spcPct val="0"/>
              </a:spcBef>
              <a:spcAft>
                <a:spcPct val="0"/>
              </a:spcAft>
              <a:buClr>
                <a:schemeClr val="tx2"/>
              </a:buClr>
              <a:buSzPct val="120000"/>
              <a:buFont typeface="Arial" panose="020B0604020202020204" pitchFamily="34" charset="0"/>
              <a:buChar char="▫"/>
              <a:defRPr sz="1600" baseline="0"/>
            </a:lvl4pPr>
            <a:lvl5pPr marL="749935" indent="-130175" defTabSz="895350" fontAlgn="base">
              <a:spcBef>
                <a:spcPct val="0"/>
              </a:spcBef>
              <a:spcAft>
                <a:spcPct val="0"/>
              </a:spcAft>
              <a:buClr>
                <a:schemeClr val="tx2"/>
              </a:buClr>
              <a:buSzPct val="89000"/>
              <a:buFont typeface="Arial" panose="020B0604020202020204" pitchFamily="34" charset="0"/>
              <a:buChar char="-"/>
              <a:defRPr sz="1600" baseline="0"/>
            </a:lvl5pPr>
            <a:lvl6pPr marL="749935" indent="-130175" defTabSz="895350" fontAlgn="base">
              <a:spcBef>
                <a:spcPct val="0"/>
              </a:spcBef>
              <a:spcAft>
                <a:spcPct val="0"/>
              </a:spcAft>
              <a:buClr>
                <a:schemeClr val="tx2"/>
              </a:buClr>
              <a:buSzPct val="89000"/>
              <a:buFont typeface="Arial" panose="020B0604020202020204" pitchFamily="34" charset="0"/>
              <a:buChar char="-"/>
              <a:defRPr sz="1600"/>
            </a:lvl6pPr>
            <a:lvl7pPr marL="749935" indent="-130175" defTabSz="895350" fontAlgn="base">
              <a:spcBef>
                <a:spcPct val="0"/>
              </a:spcBef>
              <a:spcAft>
                <a:spcPct val="0"/>
              </a:spcAft>
              <a:buClr>
                <a:schemeClr val="tx2"/>
              </a:buClr>
              <a:buSzPct val="89000"/>
              <a:buFont typeface="Arial" panose="020B0604020202020204" pitchFamily="34" charset="0"/>
              <a:buChar char="-"/>
              <a:defRPr sz="1600"/>
            </a:lvl7pPr>
            <a:lvl8pPr marL="749935" indent="-130175" defTabSz="895350" fontAlgn="base">
              <a:spcBef>
                <a:spcPct val="0"/>
              </a:spcBef>
              <a:spcAft>
                <a:spcPct val="0"/>
              </a:spcAft>
              <a:buClr>
                <a:schemeClr val="tx2"/>
              </a:buClr>
              <a:buSzPct val="89000"/>
              <a:buFont typeface="Arial" panose="020B0604020202020204" pitchFamily="34" charset="0"/>
              <a:buChar char="-"/>
              <a:defRPr sz="1600"/>
            </a:lvl8pPr>
            <a:lvl9pPr marL="749935" indent="-130175" defTabSz="895350" fontAlgn="base">
              <a:spcBef>
                <a:spcPct val="0"/>
              </a:spcBef>
              <a:spcAft>
                <a:spcPct val="0"/>
              </a:spcAft>
              <a:buClr>
                <a:schemeClr val="tx2"/>
              </a:buClr>
              <a:buSzPct val="89000"/>
              <a:buFont typeface="Arial" panose="020B0604020202020204" pitchFamily="34" charset="0"/>
              <a:buChar char="-"/>
              <a:defRPr sz="1600"/>
            </a:lvl9pPr>
          </a:lstStyle>
          <a:p>
            <a:pPr lvl="1"/>
            <a:r>
              <a:rPr lang="zh-CN" altLang="en-US" dirty="0"/>
              <a:t>利润规模</a:t>
            </a:r>
            <a:endParaRPr lang="en-US" altLang="ko-KR" dirty="0"/>
          </a:p>
        </p:txBody>
      </p:sp>
      <p:graphicFrame>
        <p:nvGraphicFramePr>
          <p:cNvPr id="11" name="Object 2"/>
          <p:cNvGraphicFramePr/>
          <p:nvPr>
            <p:custDataLst>
              <p:tags r:id="rId8"/>
            </p:custDataLst>
          </p:nvPr>
        </p:nvGraphicFramePr>
        <p:xfrm>
          <a:off x="2063261" y="3044090"/>
          <a:ext cx="3239318" cy="831413"/>
        </p:xfrm>
        <a:graphic>
          <a:graphicData uri="http://schemas.openxmlformats.org/drawingml/2006/chart">
            <c:chart xmlns:c="http://schemas.openxmlformats.org/drawingml/2006/chart" xmlns:r="http://schemas.openxmlformats.org/officeDocument/2006/relationships" r:id="rId1"/>
          </a:graphicData>
        </a:graphic>
      </p:graphicFrame>
      <p:cxnSp>
        <p:nvCxnSpPr>
          <p:cNvPr id="7" name="Straight Connector 6"/>
          <p:cNvCxnSpPr/>
          <p:nvPr>
            <p:custDataLst>
              <p:tags r:id="rId9"/>
            </p:custDataLst>
          </p:nvPr>
        </p:nvCxnSpPr>
        <p:spPr bwMode="gray">
          <a:xfrm flipV="1">
            <a:off x="2256458" y="2888523"/>
            <a:ext cx="2782681" cy="80202"/>
          </a:xfrm>
          <a:prstGeom prst="line">
            <a:avLst/>
          </a:prstGeom>
          <a:ln w="38100">
            <a:solidFill>
              <a:schemeClr val="tx2"/>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9" name="Text Placeholder 12"/>
          <p:cNvSpPr>
            <a:spLocks noGrp="1"/>
          </p:cNvSpPr>
          <p:nvPr>
            <p:custDataLst>
              <p:tags r:id="rId10"/>
            </p:custDataLst>
          </p:nvPr>
        </p:nvSpPr>
        <p:spPr bwMode="auto">
          <a:xfrm>
            <a:off x="4703829" y="3722175"/>
            <a:ext cx="414655"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7B28B0B2-3FE0-46C8-8709-837401C4788C}" type="datetime'''''''''''''''''''''''2''''''''0''''''''1''''''''''''''3'''''">
              <a:rPr lang="en-US" sz="1430">
                <a:sym typeface="+mn-lt"/>
              </a:rPr>
            </a:fld>
            <a:endParaRPr lang="en-US" sz="1430">
              <a:sym typeface="+mn-lt"/>
            </a:endParaRPr>
          </a:p>
        </p:txBody>
      </p:sp>
      <p:sp>
        <p:nvSpPr>
          <p:cNvPr id="51" name="Text Placeholder 14"/>
          <p:cNvSpPr>
            <a:spLocks noGrp="1"/>
          </p:cNvSpPr>
          <p:nvPr>
            <p:custDataLst>
              <p:tags r:id="rId11"/>
            </p:custDataLst>
          </p:nvPr>
        </p:nvSpPr>
        <p:spPr bwMode="auto">
          <a:xfrm>
            <a:off x="2839149" y="2805151"/>
            <a:ext cx="1386502" cy="278596"/>
          </a:xfrm>
          <a:prstGeom prst="ellipse">
            <a:avLst/>
          </a:prstGeom>
          <a:solidFill>
            <a:srgbClr val="FE5817"/>
          </a:solidFill>
          <a:ln w="9525">
            <a:solidFill>
              <a:srgbClr val="FE5817"/>
            </a:solidFill>
            <a:miter lim="800000"/>
          </a:ln>
          <a:effectLst/>
        </p:spPr>
        <p:txBody>
          <a:bodyPr vert="horz" wrap="none" lIns="0" tIns="0" rIns="0" bIns="0" numCol="1" anchor="ctr" anchorCtr="0" compatLnSpc="1">
            <a:noAutofit/>
          </a:bodyPr>
          <a:lstStyle/>
          <a:p>
            <a:pPr algn="ctr" defTabSz="895350" fontAlgn="base">
              <a:lnSpc>
                <a:spcPct val="90000"/>
              </a:lnSpc>
              <a:spcBef>
                <a:spcPct val="0"/>
              </a:spcBef>
              <a:spcAft>
                <a:spcPct val="0"/>
              </a:spcAft>
              <a:buClr>
                <a:schemeClr val="tx2"/>
              </a:buClr>
            </a:pPr>
            <a:fld id="{F2645799-FAC8-4A51-9B5E-4AA591529F21}" type="datetime'+''''''''''43''.''0''''''''''''''''''%'''''''">
              <a:rPr lang="en-US" sz="1430" b="1">
                <a:solidFill>
                  <a:schemeClr val="bg1"/>
                </a:solidFill>
                <a:sym typeface="+mn-lt"/>
              </a:rPr>
            </a:fld>
            <a:r>
              <a:rPr lang="en-US" sz="1430" b="1" dirty="0">
                <a:solidFill>
                  <a:schemeClr val="bg1"/>
                </a:solidFill>
                <a:sym typeface="+mn-lt"/>
              </a:rPr>
              <a:t> p.a.</a:t>
            </a:r>
            <a:endParaRPr lang="en-US" sz="1430" b="1" dirty="0">
              <a:solidFill>
                <a:schemeClr val="bg1"/>
              </a:solidFill>
              <a:sym typeface="+mn-lt"/>
            </a:endParaRPr>
          </a:p>
        </p:txBody>
      </p:sp>
      <p:sp>
        <p:nvSpPr>
          <p:cNvPr id="41" name="Text Placeholder 4"/>
          <p:cNvSpPr>
            <a:spLocks noGrp="1"/>
          </p:cNvSpPr>
          <p:nvPr>
            <p:custDataLst>
              <p:tags r:id="rId12"/>
            </p:custDataLst>
          </p:nvPr>
        </p:nvSpPr>
        <p:spPr bwMode="auto">
          <a:xfrm>
            <a:off x="3464724" y="3722175"/>
            <a:ext cx="200848"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F83A5623-5633-45C8-9CBD-7F2EC63C6713}" type="datetime'''''''''''''''''''''''''''''1''''''''''''''''''''''''''''1'">
              <a:rPr lang="en-US" sz="1430">
                <a:sym typeface="+mn-lt"/>
              </a:rPr>
            </a:fld>
            <a:endParaRPr lang="en-US" sz="1430">
              <a:sym typeface="+mn-lt"/>
            </a:endParaRPr>
          </a:p>
        </p:txBody>
      </p:sp>
      <p:sp>
        <p:nvSpPr>
          <p:cNvPr id="42" name="Text Placeholder 5"/>
          <p:cNvSpPr>
            <a:spLocks noGrp="1"/>
          </p:cNvSpPr>
          <p:nvPr>
            <p:custDataLst>
              <p:tags r:id="rId13"/>
            </p:custDataLst>
          </p:nvPr>
        </p:nvSpPr>
        <p:spPr bwMode="auto">
          <a:xfrm>
            <a:off x="4133679" y="3722175"/>
            <a:ext cx="213806"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E2A0FEDA-CD5A-46C8-A260-9D3696844DB0}" type="datetime'''''''''''''''''''''1''''''2'''''''''''''''''''''">
              <a:rPr lang="en-US" sz="1430">
                <a:sym typeface="+mn-lt"/>
              </a:rPr>
            </a:fld>
            <a:endParaRPr lang="en-US" sz="1430">
              <a:sym typeface="+mn-lt"/>
            </a:endParaRPr>
          </a:p>
        </p:txBody>
      </p:sp>
      <p:sp>
        <p:nvSpPr>
          <p:cNvPr id="40" name="Text Placeholder 2"/>
          <p:cNvSpPr>
            <a:spLocks noGrp="1"/>
          </p:cNvSpPr>
          <p:nvPr>
            <p:custDataLst>
              <p:tags r:id="rId14"/>
            </p:custDataLst>
          </p:nvPr>
        </p:nvSpPr>
        <p:spPr bwMode="auto">
          <a:xfrm>
            <a:off x="2682388" y="3722175"/>
            <a:ext cx="414655"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F5D45711-6E56-456B-84E8-1C6BC07F7C9E}" type="datetime'''20''''''1''''''0'''''''''''''''''''">
              <a:rPr lang="en-US" sz="1430">
                <a:sym typeface="+mn-lt"/>
              </a:rPr>
            </a:fld>
            <a:endParaRPr lang="en-US" sz="1430">
              <a:sym typeface="+mn-lt"/>
            </a:endParaRPr>
          </a:p>
        </p:txBody>
      </p:sp>
      <p:graphicFrame>
        <p:nvGraphicFramePr>
          <p:cNvPr id="12" name="Object 51"/>
          <p:cNvGraphicFramePr/>
          <p:nvPr>
            <p:custDataLst>
              <p:tags r:id="rId15"/>
            </p:custDataLst>
          </p:nvPr>
        </p:nvGraphicFramePr>
        <p:xfrm>
          <a:off x="2063750" y="4171950"/>
          <a:ext cx="3238500" cy="830263"/>
        </p:xfrm>
        <a:graphic>
          <a:graphicData uri="http://schemas.openxmlformats.org/drawingml/2006/chart">
            <c:chart xmlns:c="http://schemas.openxmlformats.org/drawingml/2006/chart" xmlns:r="http://schemas.openxmlformats.org/officeDocument/2006/relationships" r:id="rId2"/>
          </a:graphicData>
        </a:graphic>
      </p:graphicFrame>
      <p:cxnSp>
        <p:nvCxnSpPr>
          <p:cNvPr id="53" name="Straight Connector 52"/>
          <p:cNvCxnSpPr/>
          <p:nvPr>
            <p:custDataLst>
              <p:tags r:id="rId16"/>
            </p:custDataLst>
          </p:nvPr>
        </p:nvCxnSpPr>
        <p:spPr bwMode="gray">
          <a:xfrm flipV="1">
            <a:off x="2326043" y="4062073"/>
            <a:ext cx="2713096" cy="90872"/>
          </a:xfrm>
          <a:prstGeom prst="line">
            <a:avLst/>
          </a:prstGeom>
          <a:ln w="38100">
            <a:solidFill>
              <a:schemeClr val="tx2"/>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54" name="Text Placeholder 12"/>
          <p:cNvSpPr>
            <a:spLocks noGrp="1"/>
          </p:cNvSpPr>
          <p:nvPr>
            <p:custDataLst>
              <p:tags r:id="rId17"/>
            </p:custDataLst>
          </p:nvPr>
        </p:nvSpPr>
        <p:spPr bwMode="auto">
          <a:xfrm>
            <a:off x="4703829" y="4839799"/>
            <a:ext cx="414655"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A9AC1755-059A-4871-9420-C4B3712F0792}" type="datetime'''''''''''''''2''''''''''''''''''''01''''3'''''">
              <a:rPr lang="en-US" sz="1430"/>
            </a:fld>
            <a:endParaRPr lang="en-US" sz="1430">
              <a:sym typeface="+mn-lt"/>
            </a:endParaRPr>
          </a:p>
        </p:txBody>
      </p:sp>
      <p:sp>
        <p:nvSpPr>
          <p:cNvPr id="55" name="Text Placeholder 14"/>
          <p:cNvSpPr>
            <a:spLocks noGrp="1"/>
          </p:cNvSpPr>
          <p:nvPr>
            <p:custDataLst>
              <p:tags r:id="rId18"/>
            </p:custDataLst>
          </p:nvPr>
        </p:nvSpPr>
        <p:spPr bwMode="auto">
          <a:xfrm>
            <a:off x="2960983" y="3933212"/>
            <a:ext cx="1386502" cy="278596"/>
          </a:xfrm>
          <a:prstGeom prst="ellipse">
            <a:avLst/>
          </a:prstGeom>
          <a:solidFill>
            <a:srgbClr val="FE5817"/>
          </a:solidFill>
          <a:ln w="9525">
            <a:solidFill>
              <a:srgbClr val="FE5817"/>
            </a:solidFill>
            <a:miter lim="800000"/>
          </a:ln>
          <a:effectLst/>
        </p:spPr>
        <p:txBody>
          <a:bodyPr vert="horz" wrap="none" lIns="0" tIns="0" rIns="0" bIns="0" numCol="1" anchor="ctr"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algn="ctr">
              <a:lnSpc>
                <a:spcPct val="90000"/>
              </a:lnSpc>
            </a:pPr>
            <a:fld id="{A5BADAD8-C9F6-4232-A65A-BB66145D6B7F}" type="datetime'''+''''''4''3.''0''''''''''''''''''''''''''''''''''''''%'''''">
              <a:rPr lang="en-US" sz="1430" b="1">
                <a:solidFill>
                  <a:schemeClr val="bg1"/>
                </a:solidFill>
              </a:rPr>
            </a:fld>
            <a:r>
              <a:rPr lang="en-US" sz="1430" b="1" dirty="0">
                <a:solidFill>
                  <a:schemeClr val="bg1"/>
                </a:solidFill>
                <a:sym typeface="+mn-lt"/>
              </a:rPr>
              <a:t> p.a.</a:t>
            </a:r>
            <a:endParaRPr lang="en-US" sz="1430" b="1" dirty="0">
              <a:solidFill>
                <a:schemeClr val="bg1"/>
              </a:solidFill>
              <a:sym typeface="+mn-lt"/>
            </a:endParaRPr>
          </a:p>
        </p:txBody>
      </p:sp>
      <p:sp>
        <p:nvSpPr>
          <p:cNvPr id="56" name="Text Placeholder 4"/>
          <p:cNvSpPr>
            <a:spLocks noGrp="1"/>
          </p:cNvSpPr>
          <p:nvPr>
            <p:custDataLst>
              <p:tags r:id="rId19"/>
            </p:custDataLst>
          </p:nvPr>
        </p:nvSpPr>
        <p:spPr bwMode="auto">
          <a:xfrm>
            <a:off x="3464724" y="4839799"/>
            <a:ext cx="200848"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3B0C9A53-4578-4C35-BECA-C983903F277E}" type="datetime'1''''''1'''''">
              <a:rPr lang="en-US" sz="1430"/>
            </a:fld>
            <a:endParaRPr lang="en-US" sz="1430">
              <a:sym typeface="+mn-lt"/>
            </a:endParaRPr>
          </a:p>
        </p:txBody>
      </p:sp>
      <p:sp>
        <p:nvSpPr>
          <p:cNvPr id="57" name="Text Placeholder 5"/>
          <p:cNvSpPr>
            <a:spLocks noGrp="1"/>
          </p:cNvSpPr>
          <p:nvPr>
            <p:custDataLst>
              <p:tags r:id="rId20"/>
            </p:custDataLst>
          </p:nvPr>
        </p:nvSpPr>
        <p:spPr bwMode="auto">
          <a:xfrm>
            <a:off x="4133679" y="4839799"/>
            <a:ext cx="213806"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05EC25B4-FDAA-49A4-AE8D-5877C8198E93}" type="datetime'''''1''''''''''''''''''''''''2'''''''''''''''''''''''">
              <a:rPr lang="en-US" sz="1430"/>
            </a:fld>
            <a:endParaRPr lang="en-US" sz="1430">
              <a:sym typeface="+mn-lt"/>
            </a:endParaRPr>
          </a:p>
        </p:txBody>
      </p:sp>
      <p:sp>
        <p:nvSpPr>
          <p:cNvPr id="58" name="Text Placeholder 2"/>
          <p:cNvSpPr>
            <a:spLocks noGrp="1"/>
          </p:cNvSpPr>
          <p:nvPr>
            <p:custDataLst>
              <p:tags r:id="rId21"/>
            </p:custDataLst>
          </p:nvPr>
        </p:nvSpPr>
        <p:spPr bwMode="auto">
          <a:xfrm>
            <a:off x="2682388" y="4839799"/>
            <a:ext cx="414655"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59BDF509-B398-4782-9328-0251C1B43B90}" type="datetime'''''''''''2''''''0''''''1''''''''''''''''''''''0'''''''''''''">
              <a:rPr lang="en-US" sz="1430"/>
            </a:fld>
            <a:endParaRPr lang="en-US" sz="1430">
              <a:sym typeface="+mn-lt"/>
            </a:endParaRPr>
          </a:p>
        </p:txBody>
      </p:sp>
      <p:graphicFrame>
        <p:nvGraphicFramePr>
          <p:cNvPr id="13" name="Object 58"/>
          <p:cNvGraphicFramePr/>
          <p:nvPr>
            <p:custDataLst>
              <p:tags r:id="rId22"/>
            </p:custDataLst>
          </p:nvPr>
        </p:nvGraphicFramePr>
        <p:xfrm>
          <a:off x="2063262" y="5298775"/>
          <a:ext cx="3239318" cy="831413"/>
        </p:xfrm>
        <a:graphic>
          <a:graphicData uri="http://schemas.openxmlformats.org/drawingml/2006/chart">
            <c:chart xmlns:c="http://schemas.openxmlformats.org/drawingml/2006/chart" xmlns:r="http://schemas.openxmlformats.org/officeDocument/2006/relationships" r:id="rId3"/>
          </a:graphicData>
        </a:graphic>
      </p:graphicFrame>
      <p:cxnSp>
        <p:nvCxnSpPr>
          <p:cNvPr id="60" name="Straight Connector 59"/>
          <p:cNvCxnSpPr/>
          <p:nvPr>
            <p:custDataLst>
              <p:tags r:id="rId23"/>
            </p:custDataLst>
          </p:nvPr>
        </p:nvCxnSpPr>
        <p:spPr bwMode="gray">
          <a:xfrm flipV="1">
            <a:off x="2339046" y="5223411"/>
            <a:ext cx="2700093" cy="18995"/>
          </a:xfrm>
          <a:prstGeom prst="line">
            <a:avLst/>
          </a:prstGeom>
          <a:ln w="38100">
            <a:solidFill>
              <a:schemeClr val="tx2"/>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61" name="Text Placeholder 12"/>
          <p:cNvSpPr>
            <a:spLocks noGrp="1"/>
          </p:cNvSpPr>
          <p:nvPr>
            <p:custDataLst>
              <p:tags r:id="rId24"/>
            </p:custDataLst>
          </p:nvPr>
        </p:nvSpPr>
        <p:spPr bwMode="auto">
          <a:xfrm>
            <a:off x="4703829" y="5967141"/>
            <a:ext cx="414655"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A26EF27F-8842-41C1-A250-42391CEE0D85}" type="datetime'''''''''''''''''20''''''''''''''''''''''''''''''''''''''13'">
              <a:rPr lang="en-US" sz="1430"/>
            </a:fld>
            <a:endParaRPr lang="en-US" sz="1430">
              <a:sym typeface="+mn-lt"/>
            </a:endParaRPr>
          </a:p>
        </p:txBody>
      </p:sp>
      <p:sp>
        <p:nvSpPr>
          <p:cNvPr id="62" name="Text Placeholder 14"/>
          <p:cNvSpPr>
            <a:spLocks noGrp="1"/>
          </p:cNvSpPr>
          <p:nvPr>
            <p:custDataLst>
              <p:tags r:id="rId25"/>
            </p:custDataLst>
          </p:nvPr>
        </p:nvSpPr>
        <p:spPr bwMode="auto">
          <a:xfrm>
            <a:off x="3007712" y="5093858"/>
            <a:ext cx="1386502" cy="278596"/>
          </a:xfrm>
          <a:prstGeom prst="ellipse">
            <a:avLst/>
          </a:prstGeom>
          <a:solidFill>
            <a:srgbClr val="FE5817"/>
          </a:solidFill>
          <a:ln w="9525">
            <a:solidFill>
              <a:srgbClr val="FE5817"/>
            </a:solidFill>
            <a:miter lim="800000"/>
          </a:ln>
          <a:effectLst/>
        </p:spPr>
        <p:txBody>
          <a:bodyPr vert="horz" wrap="none" lIns="0" tIns="0" rIns="0" bIns="0" numCol="1" anchor="ctr" anchorCtr="0" compatLnSpc="1">
            <a:noAutofit/>
          </a:bodyPr>
          <a:lstStyle/>
          <a:p>
            <a:pPr algn="ctr" defTabSz="895350" fontAlgn="base">
              <a:lnSpc>
                <a:spcPct val="90000"/>
              </a:lnSpc>
              <a:spcBef>
                <a:spcPct val="0"/>
              </a:spcBef>
              <a:spcAft>
                <a:spcPct val="0"/>
              </a:spcAft>
              <a:buClr>
                <a:schemeClr val="tx2"/>
              </a:buClr>
            </a:pPr>
            <a:fld id="{002A7851-4214-4439-A667-2A0B184D5011}" type="datetime'''+''''''''''''4''''''''''''3''''''''''''''''.''0''%'''">
              <a:rPr lang="en-US" sz="1430" b="1">
                <a:solidFill>
                  <a:schemeClr val="bg1"/>
                </a:solidFill>
              </a:rPr>
            </a:fld>
            <a:r>
              <a:rPr lang="en-US" sz="1430" b="1" dirty="0">
                <a:solidFill>
                  <a:schemeClr val="bg1"/>
                </a:solidFill>
                <a:sym typeface="+mn-lt"/>
              </a:rPr>
              <a:t> p.a.</a:t>
            </a:r>
            <a:endParaRPr lang="en-US" sz="1430" b="1" dirty="0">
              <a:solidFill>
                <a:schemeClr val="bg1"/>
              </a:solidFill>
              <a:sym typeface="+mn-lt"/>
            </a:endParaRPr>
          </a:p>
        </p:txBody>
      </p:sp>
      <p:sp>
        <p:nvSpPr>
          <p:cNvPr id="63" name="Text Placeholder 4"/>
          <p:cNvSpPr>
            <a:spLocks noGrp="1"/>
          </p:cNvSpPr>
          <p:nvPr>
            <p:custDataLst>
              <p:tags r:id="rId26"/>
            </p:custDataLst>
          </p:nvPr>
        </p:nvSpPr>
        <p:spPr bwMode="auto">
          <a:xfrm>
            <a:off x="3464724" y="5967141"/>
            <a:ext cx="200848"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AFE78473-7983-4654-8278-89F1040F4D1F}" type="datetime'''1''''''''''''''''''''''1'''''''''''''''''''''''''''''''''''">
              <a:rPr lang="en-US" sz="1430"/>
            </a:fld>
            <a:endParaRPr lang="en-US" sz="1430">
              <a:sym typeface="+mn-lt"/>
            </a:endParaRPr>
          </a:p>
        </p:txBody>
      </p:sp>
      <p:sp>
        <p:nvSpPr>
          <p:cNvPr id="64" name="Text Placeholder 5"/>
          <p:cNvSpPr>
            <a:spLocks noGrp="1"/>
          </p:cNvSpPr>
          <p:nvPr>
            <p:custDataLst>
              <p:tags r:id="rId27"/>
            </p:custDataLst>
          </p:nvPr>
        </p:nvSpPr>
        <p:spPr bwMode="auto">
          <a:xfrm>
            <a:off x="4133679" y="5967141"/>
            <a:ext cx="213806"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52B4D2C0-3A21-499A-96DF-B0F2EAED02A7}" type="datetime'''''''''''''''''''''''''''1''''''''''''2'''''''">
              <a:rPr lang="en-US" sz="1430"/>
            </a:fld>
            <a:endParaRPr lang="en-US" sz="1430">
              <a:sym typeface="+mn-lt"/>
            </a:endParaRPr>
          </a:p>
        </p:txBody>
      </p:sp>
      <p:sp>
        <p:nvSpPr>
          <p:cNvPr id="65" name="Text Placeholder 2"/>
          <p:cNvSpPr>
            <a:spLocks noGrp="1"/>
          </p:cNvSpPr>
          <p:nvPr>
            <p:custDataLst>
              <p:tags r:id="rId28"/>
            </p:custDataLst>
          </p:nvPr>
        </p:nvSpPr>
        <p:spPr bwMode="auto">
          <a:xfrm>
            <a:off x="2682388" y="5967141"/>
            <a:ext cx="414655" cy="217046"/>
          </a:xfrm>
          <a:prstGeom prst="rect">
            <a:avLst/>
          </a:prstGeom>
          <a:noFill/>
          <a:ln w="9525">
            <a:noFill/>
            <a:miter lim="800000"/>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fld id="{606CBDDF-B338-46BB-80C2-C1B1CDDF7D0B}" type="datetime'''''''''2''''''''''0''''''''''''1''''''''''''''''0'">
              <a:rPr lang="en-US" sz="1430"/>
            </a:fld>
            <a:endParaRPr lang="en-US" sz="1430">
              <a:sym typeface="+mn-lt"/>
            </a:endParaRPr>
          </a:p>
        </p:txBody>
      </p:sp>
      <p:sp>
        <p:nvSpPr>
          <p:cNvPr id="47" name="标题 2"/>
          <p:cNvSpPr txBox="1"/>
          <p:nvPr/>
        </p:nvSpPr>
        <p:spPr>
          <a:xfrm>
            <a:off x="513710" y="181773"/>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 </a:t>
            </a:r>
            <a:r>
              <a:rPr lang="zh-CN" altLang="en-US" sz="2400" dirty="0" smtClean="0">
                <a:solidFill>
                  <a:prstClr val="black"/>
                </a:solidFill>
                <a:latin typeface="华文楷体" panose="02010600040101010101" charset="-122"/>
              </a:rPr>
              <a:t>   </a:t>
            </a:r>
            <a:r>
              <a:rPr lang="en-US" altLang="zh-CN" sz="2400" dirty="0" smtClean="0">
                <a:solidFill>
                  <a:prstClr val="black"/>
                </a:solidFill>
                <a:latin typeface="华文楷体" panose="02010600040101010101" charset="-122"/>
              </a:rPr>
              <a:t>-</a:t>
            </a:r>
            <a:r>
              <a:rPr lang="zh-CN" altLang="en-US" sz="2400" dirty="0" smtClean="0"/>
              <a:t>竞争</a:t>
            </a:r>
            <a:r>
              <a:rPr lang="zh-CN" altLang="en-US" sz="2400" dirty="0"/>
              <a:t>对手框架分析：按照标准化的框架填写某个竞争对手的关键</a:t>
            </a:r>
            <a:r>
              <a:rPr lang="zh-CN" altLang="en-US" sz="2400" dirty="0" smtClean="0"/>
              <a:t>信息</a:t>
            </a:r>
            <a:endParaRPr lang="zh-CN" altLang="en-US" sz="2400" dirty="0">
              <a:solidFill>
                <a:prstClr val="black"/>
              </a:solidFill>
              <a:latin typeface="华文楷体" panose="02010600040101010101" charset="-122"/>
            </a:endParaRPr>
          </a:p>
        </p:txBody>
      </p:sp>
      <p:pic>
        <p:nvPicPr>
          <p:cNvPr id="3" name="图片 2"/>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544" y="6471740"/>
            <a:ext cx="1490936" cy="247552"/>
          </a:xfrm>
          <a:prstGeom prst="rect">
            <a:avLst/>
          </a:prstGeom>
          <a:effectLst/>
        </p:spPr>
      </p:pic>
      <p:sp>
        <p:nvSpPr>
          <p:cNvPr id="59"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ea typeface="华文楷体" panose="02010600040101010101" charset="-122"/>
              </a:rPr>
              <a:t>竞调</a:t>
            </a:r>
            <a:endParaRPr lang="zh-CN" altLang="en-US" sz="2400" dirty="0">
              <a:solidFill>
                <a:prstClr val="black"/>
              </a:solidFill>
              <a:latin typeface="华文楷体" panose="02010600040101010101" charset="-122"/>
              <a:ea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8968518" y="291555"/>
            <a:ext cx="1470828" cy="220474"/>
            <a:chOff x="7296052" y="285750"/>
            <a:chExt cx="1441548" cy="216085"/>
          </a:xfrm>
        </p:grpSpPr>
        <p:sp>
          <p:nvSpPr>
            <p:cNvPr id="23" name="StickerRectangle"/>
            <p:cNvSpPr>
              <a:spLocks noChangeArrowheads="1"/>
            </p:cNvSpPr>
            <p:nvPr/>
          </p:nvSpPr>
          <p:spPr bwMode="auto">
            <a:xfrm>
              <a:off x="7296052" y="285750"/>
              <a:ext cx="1441548"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989" tIns="0" rIns="0" bIns="27989">
              <a:spAutoFit/>
            </a:bodyPr>
            <a:lstStyle/>
            <a:p>
              <a:pPr algn="r" defTabSz="913765">
                <a:buClr>
                  <a:schemeClr val="tx2"/>
                </a:buClr>
              </a:pPr>
              <a:r>
                <a:rPr lang="zh-CN" altLang="en-US" sz="1225" dirty="0">
                  <a:solidFill>
                    <a:srgbClr val="808080"/>
                  </a:solidFill>
                </a:rPr>
                <a:t>美国厨具零售业案例</a:t>
              </a:r>
              <a:endParaRPr lang="en-US" sz="1225" dirty="0">
                <a:solidFill>
                  <a:srgbClr val="808080"/>
                </a:solidFill>
              </a:endParaRPr>
            </a:p>
          </p:txBody>
        </p:sp>
        <p:cxnSp>
          <p:nvCxnSpPr>
            <p:cNvPr id="24" name="AutoShape 31"/>
            <p:cNvCxnSpPr>
              <a:cxnSpLocks noChangeShapeType="1"/>
              <a:stCxn id="23" idx="2"/>
              <a:endCxn id="23" idx="4"/>
            </p:cNvCxnSpPr>
            <p:nvPr/>
          </p:nvCxnSpPr>
          <p:spPr bwMode="auto">
            <a:xfrm>
              <a:off x="7324906" y="285750"/>
              <a:ext cx="0" cy="212366"/>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25" name="AutoShape 32"/>
            <p:cNvCxnSpPr>
              <a:cxnSpLocks noChangeShapeType="1"/>
              <a:stCxn id="23" idx="4"/>
              <a:endCxn id="23" idx="6"/>
            </p:cNvCxnSpPr>
            <p:nvPr/>
          </p:nvCxnSpPr>
          <p:spPr bwMode="auto">
            <a:xfrm>
              <a:off x="7324906" y="498116"/>
              <a:ext cx="1412694"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grpSp>
        <p:nvGrpSpPr>
          <p:cNvPr id="9" name="Group 8"/>
          <p:cNvGrpSpPr/>
          <p:nvPr/>
        </p:nvGrpSpPr>
        <p:grpSpPr>
          <a:xfrm>
            <a:off x="7986732" y="1068750"/>
            <a:ext cx="3562537" cy="4765837"/>
            <a:chOff x="5720556" y="1136650"/>
            <a:chExt cx="2626065" cy="4595812"/>
          </a:xfrm>
          <a:solidFill>
            <a:srgbClr val="FBE5D6"/>
          </a:solidFill>
        </p:grpSpPr>
        <p:sp>
          <p:nvSpPr>
            <p:cNvPr id="48139" name="AutoShape 11"/>
            <p:cNvSpPr>
              <a:spLocks noChangeArrowheads="1"/>
            </p:cNvSpPr>
            <p:nvPr/>
          </p:nvSpPr>
          <p:spPr bwMode="auto">
            <a:xfrm>
              <a:off x="5720556" y="1136650"/>
              <a:ext cx="2626065" cy="4595812"/>
            </a:xfrm>
            <a:prstGeom prst="leftArrow">
              <a:avLst>
                <a:gd name="adj1" fmla="val 77556"/>
                <a:gd name="adj2" fmla="val 29023"/>
              </a:avLst>
            </a:prstGeom>
            <a:grpFill/>
            <a:ln w="9525">
              <a:noFill/>
              <a:miter lim="800000"/>
            </a:ln>
            <a:effectLst>
              <a:outerShdw dist="35921" dir="2700000" algn="ctr" rotWithShape="0">
                <a:schemeClr val="bg2"/>
              </a:outerShdw>
            </a:effectLst>
          </p:spPr>
          <p:txBody>
            <a:bodyPr wrap="none" anchor="ctr"/>
            <a:lstStyle/>
            <a:p>
              <a:pPr algn="ctr"/>
              <a:endParaRPr lang="en-US" sz="1325"/>
            </a:p>
          </p:txBody>
        </p:sp>
        <p:sp>
          <p:nvSpPr>
            <p:cNvPr id="48140" name="Rectangle 12"/>
            <p:cNvSpPr>
              <a:spLocks noChangeArrowheads="1"/>
            </p:cNvSpPr>
            <p:nvPr>
              <p:custDataLst>
                <p:tags r:id="rId1"/>
              </p:custDataLst>
            </p:nvPr>
          </p:nvSpPr>
          <p:spPr bwMode="auto">
            <a:xfrm>
              <a:off x="6131263" y="2261196"/>
              <a:ext cx="2171813" cy="244836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defRPr>
              </a:lvl1pPr>
              <a:lvl2pPr marL="144780" indent="-142875" defTabSz="895350">
                <a:buSzPct val="120000"/>
                <a:buChar char="•"/>
                <a:defRPr sz="1600">
                  <a:solidFill>
                    <a:schemeClr val="tx1"/>
                  </a:solidFill>
                  <a:latin typeface="Arial" panose="020B0604020202020204" pitchFamily="34" charset="0"/>
                </a:defRPr>
              </a:lvl2pPr>
              <a:lvl3pPr marL="295275" indent="-149225" defTabSz="895350">
                <a:buChar char="–"/>
                <a:defRPr sz="1600">
                  <a:solidFill>
                    <a:schemeClr val="tx1"/>
                  </a:solidFill>
                  <a:latin typeface="Arial" panose="020B0604020202020204" pitchFamily="34" charset="0"/>
                </a:defRPr>
              </a:lvl3pPr>
              <a:lvl4pPr marL="431800" indent="-135255" defTabSz="895350">
                <a:buSzPct val="89000"/>
                <a:buChar char="•"/>
                <a:defRPr sz="1600">
                  <a:solidFill>
                    <a:schemeClr val="tx1"/>
                  </a:solidFill>
                  <a:latin typeface="Arial" panose="020B0604020202020204" pitchFamily="34" charset="0"/>
                </a:defRPr>
              </a:lvl4pPr>
              <a:lvl5pPr marL="582930" indent="-149225" defTabSz="895350">
                <a:buSzPct val="75000"/>
                <a:buChar char="–"/>
                <a:defRPr sz="1600">
                  <a:solidFill>
                    <a:schemeClr val="tx1"/>
                  </a:solidFill>
                  <a:latin typeface="Arial" panose="020B0604020202020204" pitchFamily="34" charset="0"/>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defRPr>
              </a:lvl9pPr>
            </a:lstStyle>
            <a:p>
              <a:r>
                <a:rPr lang="zh-CN" altLang="en-US" sz="1325" b="1" dirty="0"/>
                <a:t>消费者</a:t>
              </a:r>
              <a:r>
                <a:rPr lang="en-US" sz="1325" b="1" dirty="0"/>
                <a:t>: </a:t>
              </a:r>
              <a:r>
                <a:rPr lang="zh-CN" altLang="en-US" sz="1325" b="1" dirty="0"/>
                <a:t>实力相对较弱</a:t>
              </a:r>
              <a:r>
                <a:rPr lang="en-US" sz="1325" b="1" dirty="0"/>
                <a:t> </a:t>
              </a:r>
              <a:endParaRPr lang="en-US" sz="1325" b="1" dirty="0"/>
            </a:p>
            <a:p>
              <a:pPr lvl="1">
                <a:buClr>
                  <a:schemeClr val="tx2"/>
                </a:buClr>
                <a:buSzPct val="125000"/>
                <a:buFont typeface="Arial" panose="020B0604020202020204" pitchFamily="34" charset="0"/>
                <a:buChar char="▪"/>
              </a:pPr>
              <a:r>
                <a:rPr lang="zh-CN" altLang="en-US" sz="1325" dirty="0"/>
                <a:t>消费者集中度低</a:t>
              </a:r>
              <a:endParaRPr lang="en-US" sz="1325" dirty="0"/>
            </a:p>
            <a:p>
              <a:pPr lvl="1">
                <a:buClr>
                  <a:schemeClr val="tx2"/>
                </a:buClr>
                <a:buSzPct val="125000"/>
                <a:buFont typeface="Arial" panose="020B0604020202020204" pitchFamily="34" charset="0"/>
                <a:buChar char="▪"/>
              </a:pPr>
              <a:r>
                <a:rPr lang="zh-CN" altLang="en-US" sz="1325" dirty="0"/>
                <a:t>不存在向后整合的威胁</a:t>
              </a:r>
              <a:endParaRPr lang="en-US" sz="1325" dirty="0"/>
            </a:p>
            <a:p>
              <a:pPr lvl="1">
                <a:buClr>
                  <a:schemeClr val="tx2"/>
                </a:buClr>
                <a:buSzPct val="125000"/>
                <a:buFont typeface="Arial" panose="020B0604020202020204" pitchFamily="34" charset="0"/>
                <a:buChar char="▪"/>
              </a:pPr>
              <a:r>
                <a:rPr lang="zh-CN" altLang="en-US" sz="1325" dirty="0"/>
                <a:t>消费者更倾向于购买更好质量的产品</a:t>
              </a:r>
              <a:r>
                <a:rPr lang="en-US" sz="1325" dirty="0"/>
                <a:t> </a:t>
              </a:r>
              <a:endParaRPr lang="en-US" sz="1325" dirty="0"/>
            </a:p>
            <a:p>
              <a:pPr lvl="1">
                <a:buClr>
                  <a:schemeClr val="tx2"/>
                </a:buClr>
                <a:buSzPct val="125000"/>
                <a:buFont typeface="Arial" panose="020B0604020202020204" pitchFamily="34" charset="0"/>
                <a:buChar char="▪"/>
              </a:pPr>
              <a:r>
                <a:rPr lang="zh-CN" altLang="en-US" sz="1325" dirty="0"/>
                <a:t>越来越倾向于将烹饪作为嗜好</a:t>
              </a:r>
              <a:endParaRPr lang="en-US" sz="1325" dirty="0"/>
            </a:p>
            <a:p>
              <a:pPr lvl="1">
                <a:buClr>
                  <a:schemeClr val="tx2"/>
                </a:buClr>
                <a:buSzPct val="125000"/>
                <a:buFont typeface="Arial" panose="020B0604020202020204" pitchFamily="34" charset="0"/>
                <a:buChar char="▪"/>
              </a:pPr>
              <a:r>
                <a:rPr lang="zh-CN" altLang="en-US" sz="1325" dirty="0"/>
                <a:t>对居家的娱乐项目更感兴趣</a:t>
              </a:r>
              <a:endParaRPr lang="en-US" sz="1325" dirty="0"/>
            </a:p>
            <a:p>
              <a:pPr lvl="1">
                <a:buClr>
                  <a:schemeClr val="tx2"/>
                </a:buClr>
                <a:buSzPct val="125000"/>
                <a:buFont typeface="Arial" panose="020B0604020202020204" pitchFamily="34" charset="0"/>
                <a:buChar char="▪"/>
              </a:pPr>
              <a:r>
                <a:rPr lang="zh-CN" altLang="en-US" sz="1325" dirty="0"/>
                <a:t>消费者有一定能力去评定质量</a:t>
              </a:r>
              <a:endParaRPr lang="en-US" altLang="zh-CN" sz="1325" dirty="0"/>
            </a:p>
            <a:p>
              <a:pPr lvl="1">
                <a:buClr>
                  <a:schemeClr val="tx2"/>
                </a:buClr>
                <a:buSzPct val="125000"/>
                <a:buFont typeface="Arial" panose="020B0604020202020204" pitchFamily="34" charset="0"/>
                <a:buChar char="▪"/>
              </a:pPr>
              <a:r>
                <a:rPr lang="zh-CN" altLang="en-US" sz="1325" dirty="0"/>
                <a:t>对于高质量产品，消费者对价格的敏感度不大</a:t>
              </a:r>
              <a:endParaRPr lang="en-US" sz="1325" dirty="0"/>
            </a:p>
          </p:txBody>
        </p:sp>
      </p:grpSp>
      <p:grpSp>
        <p:nvGrpSpPr>
          <p:cNvPr id="8" name="Group 7"/>
          <p:cNvGrpSpPr/>
          <p:nvPr/>
        </p:nvGrpSpPr>
        <p:grpSpPr>
          <a:xfrm>
            <a:off x="1060251" y="1006189"/>
            <a:ext cx="3562537" cy="4902155"/>
            <a:chOff x="614815" y="1076321"/>
            <a:chExt cx="2626065" cy="4727267"/>
          </a:xfrm>
          <a:solidFill>
            <a:srgbClr val="FBE5D6"/>
          </a:solidFill>
        </p:grpSpPr>
        <p:sp>
          <p:nvSpPr>
            <p:cNvPr id="48142" name="AutoShape 14"/>
            <p:cNvSpPr>
              <a:spLocks noChangeArrowheads="1"/>
            </p:cNvSpPr>
            <p:nvPr/>
          </p:nvSpPr>
          <p:spPr bwMode="auto">
            <a:xfrm rot="10800000">
              <a:off x="614815" y="1076321"/>
              <a:ext cx="2626065" cy="4727267"/>
            </a:xfrm>
            <a:prstGeom prst="leftArrow">
              <a:avLst>
                <a:gd name="adj1" fmla="val 77556"/>
                <a:gd name="adj2" fmla="val 29023"/>
              </a:avLst>
            </a:prstGeom>
            <a:grpFill/>
            <a:ln w="9525">
              <a:noFill/>
              <a:miter lim="800000"/>
            </a:ln>
            <a:effectLst>
              <a:outerShdw dist="35921" dir="2700000" algn="ctr" rotWithShape="0">
                <a:schemeClr val="bg2"/>
              </a:outerShdw>
            </a:effectLst>
          </p:spPr>
          <p:txBody>
            <a:bodyPr rot="10800000" wrap="none" anchor="ctr"/>
            <a:lstStyle/>
            <a:p>
              <a:pPr algn="ctr"/>
              <a:endParaRPr lang="en-US" sz="1325"/>
            </a:p>
          </p:txBody>
        </p:sp>
        <p:sp>
          <p:nvSpPr>
            <p:cNvPr id="48143" name="Rectangle 15"/>
            <p:cNvSpPr>
              <a:spLocks noChangeArrowheads="1"/>
            </p:cNvSpPr>
            <p:nvPr>
              <p:custDataLst>
                <p:tags r:id="rId2"/>
              </p:custDataLst>
            </p:nvPr>
          </p:nvSpPr>
          <p:spPr bwMode="auto">
            <a:xfrm>
              <a:off x="701901" y="1644438"/>
              <a:ext cx="1965099" cy="359943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defRPr>
              </a:lvl1pPr>
              <a:lvl2pPr marL="144780" indent="-142875" defTabSz="895350">
                <a:buSzPct val="120000"/>
                <a:buChar char="•"/>
                <a:defRPr sz="1600">
                  <a:solidFill>
                    <a:schemeClr val="tx1"/>
                  </a:solidFill>
                  <a:latin typeface="Arial" panose="020B0604020202020204" pitchFamily="34" charset="0"/>
                </a:defRPr>
              </a:lvl2pPr>
              <a:lvl3pPr marL="295275" indent="-149225" defTabSz="895350">
                <a:buChar char="–"/>
                <a:defRPr sz="1600">
                  <a:solidFill>
                    <a:schemeClr val="tx1"/>
                  </a:solidFill>
                  <a:latin typeface="Arial" panose="020B0604020202020204" pitchFamily="34" charset="0"/>
                </a:defRPr>
              </a:lvl3pPr>
              <a:lvl4pPr marL="431800" indent="-135255" defTabSz="895350">
                <a:buSzPct val="89000"/>
                <a:buChar char="•"/>
                <a:defRPr sz="1600">
                  <a:solidFill>
                    <a:schemeClr val="tx1"/>
                  </a:solidFill>
                  <a:latin typeface="Arial" panose="020B0604020202020204" pitchFamily="34" charset="0"/>
                </a:defRPr>
              </a:lvl4pPr>
              <a:lvl5pPr marL="582930" indent="-149225" defTabSz="895350">
                <a:buSzPct val="75000"/>
                <a:buChar char="–"/>
                <a:defRPr sz="1600">
                  <a:solidFill>
                    <a:schemeClr val="tx1"/>
                  </a:solidFill>
                  <a:latin typeface="Arial" panose="020B0604020202020204" pitchFamily="34" charset="0"/>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defRPr>
              </a:lvl9pPr>
            </a:lstStyle>
            <a:p>
              <a:r>
                <a:rPr lang="zh-CN" altLang="en-US" sz="1325" b="1" dirty="0"/>
                <a:t>供应商</a:t>
              </a:r>
              <a:r>
                <a:rPr lang="en-US" sz="1325" b="1" dirty="0"/>
                <a:t>: </a:t>
              </a:r>
              <a:r>
                <a:rPr lang="zh-CN" altLang="en-US" sz="1325" b="1" dirty="0"/>
                <a:t>实力一般但不断增强，</a:t>
              </a:r>
              <a:r>
                <a:rPr lang="en-US" altLang="zh-CN" sz="1325" b="1" dirty="0"/>
                <a:t>X</a:t>
              </a:r>
              <a:r>
                <a:rPr lang="zh-CN" altLang="en-US" sz="1325" b="1" dirty="0"/>
                <a:t>仍然处于不错的地位</a:t>
              </a:r>
              <a:r>
                <a:rPr lang="en-US" sz="1325" b="1" dirty="0"/>
                <a:t> </a:t>
              </a:r>
              <a:endParaRPr lang="en-US" sz="1325" b="1" dirty="0"/>
            </a:p>
            <a:p>
              <a:pPr lvl="1">
                <a:buClr>
                  <a:schemeClr val="tx2"/>
                </a:buClr>
                <a:buSzPct val="125000"/>
                <a:buFont typeface="Arial" panose="020B0604020202020204" pitchFamily="34" charset="0"/>
                <a:buChar char="▪"/>
              </a:pPr>
              <a:r>
                <a:rPr lang="zh-CN" altLang="en-US" sz="1325" dirty="0"/>
                <a:t>厨具供应商正在进行整合</a:t>
              </a:r>
              <a:endParaRPr lang="en-US" sz="1325" dirty="0"/>
            </a:p>
            <a:p>
              <a:pPr lvl="2">
                <a:buClr>
                  <a:schemeClr val="tx2"/>
                </a:buClr>
                <a:buSzPct val="120000"/>
              </a:pPr>
              <a:r>
                <a:rPr lang="en-US" sz="1325" dirty="0"/>
                <a:t>Corning Consumer Group</a:t>
              </a:r>
              <a:r>
                <a:rPr lang="zh-CN" altLang="en-US" sz="1325" dirty="0"/>
                <a:t>收购了</a:t>
              </a:r>
              <a:r>
                <a:rPr lang="en-US" sz="1325" dirty="0" err="1"/>
                <a:t>EKCO</a:t>
              </a:r>
              <a:r>
                <a:rPr lang="en-US" sz="1325" dirty="0"/>
                <a:t> </a:t>
              </a:r>
              <a:r>
                <a:rPr lang="zh-CN" altLang="en-US" sz="1325" dirty="0"/>
                <a:t>和</a:t>
              </a:r>
              <a:r>
                <a:rPr lang="en-US" sz="1325" dirty="0"/>
                <a:t>General Housewares</a:t>
              </a:r>
              <a:endParaRPr lang="en-US" sz="1325" dirty="0"/>
            </a:p>
            <a:p>
              <a:pPr lvl="2">
                <a:buClr>
                  <a:schemeClr val="tx2"/>
                </a:buClr>
                <a:buSzPct val="120000"/>
              </a:pPr>
              <a:r>
                <a:rPr lang="en-US" sz="1325" dirty="0"/>
                <a:t>Newell</a:t>
              </a:r>
              <a:r>
                <a:rPr lang="zh-CN" altLang="en-US" sz="1325" dirty="0"/>
                <a:t>收购了</a:t>
              </a:r>
              <a:r>
                <a:rPr lang="en-US" sz="1325" dirty="0"/>
                <a:t>Rubbermaid</a:t>
              </a:r>
              <a:endParaRPr lang="en-US" sz="1325" dirty="0"/>
            </a:p>
            <a:p>
              <a:pPr lvl="1">
                <a:buClr>
                  <a:schemeClr val="tx2"/>
                </a:buClr>
                <a:buSzPct val="125000"/>
                <a:buFont typeface="Arial" panose="020B0604020202020204" pitchFamily="34" charset="0"/>
                <a:buChar char="▪"/>
              </a:pPr>
              <a:r>
                <a:rPr lang="zh-CN" altLang="en-US" sz="1325" dirty="0"/>
                <a:t>供应商正在与零售商结成联盟</a:t>
              </a:r>
              <a:r>
                <a:rPr lang="en-US" sz="1325" dirty="0"/>
                <a:t> </a:t>
              </a:r>
              <a:endParaRPr lang="en-US" sz="1325" dirty="0"/>
            </a:p>
            <a:p>
              <a:pPr lvl="2">
                <a:buClr>
                  <a:schemeClr val="tx2"/>
                </a:buClr>
                <a:buSzPct val="120000"/>
              </a:pPr>
              <a:r>
                <a:rPr lang="en-US" sz="1325" dirty="0" err="1"/>
                <a:t>Calphalon</a:t>
              </a:r>
              <a:r>
                <a:rPr lang="en-US" sz="1325" dirty="0"/>
                <a:t> </a:t>
              </a:r>
              <a:r>
                <a:rPr lang="zh-CN" altLang="en-US" sz="1325" dirty="0"/>
                <a:t>为</a:t>
              </a:r>
              <a:r>
                <a:rPr lang="en-US" altLang="zh-CN" sz="1325" dirty="0"/>
                <a:t>Target</a:t>
              </a:r>
              <a:r>
                <a:rPr lang="zh-CN" altLang="en-US" sz="1325" dirty="0"/>
                <a:t>提供独占的</a:t>
              </a:r>
              <a:r>
                <a:rPr lang="en-US" sz="1325" dirty="0"/>
                <a:t>  “</a:t>
              </a:r>
              <a:r>
                <a:rPr lang="zh-CN" altLang="en-US" sz="1325" dirty="0"/>
                <a:t>大众定制</a:t>
              </a:r>
              <a:r>
                <a:rPr lang="en-US" sz="1325" dirty="0"/>
                <a:t>” </a:t>
              </a:r>
              <a:r>
                <a:rPr lang="zh-CN" altLang="en-US" sz="1325" dirty="0"/>
                <a:t>产品线</a:t>
              </a:r>
              <a:endParaRPr lang="en-US" altLang="zh-CN" sz="1325" dirty="0"/>
            </a:p>
            <a:p>
              <a:pPr lvl="2">
                <a:buClr>
                  <a:schemeClr val="tx2"/>
                </a:buClr>
                <a:buSzPct val="120000"/>
              </a:pPr>
              <a:r>
                <a:rPr lang="zh-CN" altLang="en-US" sz="1325" dirty="0"/>
                <a:t>高档产品供应商的大批商户的市场影响力增强</a:t>
              </a:r>
              <a:r>
                <a:rPr lang="en-US" sz="1325" dirty="0"/>
                <a:t> </a:t>
              </a:r>
              <a:endParaRPr lang="en-US" sz="1325" dirty="0"/>
            </a:p>
            <a:p>
              <a:pPr lvl="1">
                <a:buClr>
                  <a:schemeClr val="tx2"/>
                </a:buClr>
                <a:buSzPct val="125000"/>
                <a:buFont typeface="Arial" panose="020B0604020202020204" pitchFamily="34" charset="0"/>
                <a:buChar char="▪"/>
              </a:pPr>
              <a:r>
                <a:rPr lang="zh-CN" altLang="en-US" sz="1325" dirty="0"/>
                <a:t>供应商的实力受到零售整合和更多自有品牌产品的限制</a:t>
              </a:r>
              <a:r>
                <a:rPr lang="en-US" sz="1325" dirty="0"/>
                <a:t> </a:t>
              </a:r>
              <a:endParaRPr lang="en-US" sz="1325" dirty="0"/>
            </a:p>
          </p:txBody>
        </p:sp>
      </p:grpSp>
      <p:grpSp>
        <p:nvGrpSpPr>
          <p:cNvPr id="6" name="Group 5"/>
          <p:cNvGrpSpPr/>
          <p:nvPr/>
        </p:nvGrpSpPr>
        <p:grpSpPr>
          <a:xfrm>
            <a:off x="4146843" y="744442"/>
            <a:ext cx="4208160" cy="1101329"/>
            <a:chOff x="2634457" y="1047750"/>
            <a:chExt cx="3101975" cy="1062038"/>
          </a:xfrm>
          <a:solidFill>
            <a:srgbClr val="FBE5D6"/>
          </a:solidFill>
        </p:grpSpPr>
        <p:sp>
          <p:nvSpPr>
            <p:cNvPr id="48144" name="AutoShape 16"/>
            <p:cNvSpPr>
              <a:spLocks noChangeArrowheads="1"/>
            </p:cNvSpPr>
            <p:nvPr/>
          </p:nvSpPr>
          <p:spPr bwMode="auto">
            <a:xfrm rot="16200000">
              <a:off x="3654426" y="27781"/>
              <a:ext cx="1062038" cy="3101975"/>
            </a:xfrm>
            <a:prstGeom prst="leftArrow">
              <a:avLst>
                <a:gd name="adj1" fmla="val 85333"/>
                <a:gd name="adj2" fmla="val 28120"/>
              </a:avLst>
            </a:prstGeom>
            <a:grpFill/>
            <a:ln w="9525">
              <a:noFill/>
              <a:miter lim="800000"/>
            </a:ln>
            <a:effectLst>
              <a:outerShdw dist="35921" dir="2700000" algn="ctr" rotWithShape="0">
                <a:schemeClr val="bg2"/>
              </a:outerShdw>
            </a:effectLst>
          </p:spPr>
          <p:txBody>
            <a:bodyPr vert="eaVert" wrap="none" anchor="ctr"/>
            <a:lstStyle/>
            <a:p>
              <a:pPr algn="ctr"/>
              <a:endParaRPr lang="en-US" sz="1325"/>
            </a:p>
          </p:txBody>
        </p:sp>
        <p:sp>
          <p:nvSpPr>
            <p:cNvPr id="48145" name="Rectangle 17"/>
            <p:cNvSpPr>
              <a:spLocks noChangeArrowheads="1"/>
            </p:cNvSpPr>
            <p:nvPr>
              <p:custDataLst>
                <p:tags r:id="rId3"/>
              </p:custDataLst>
            </p:nvPr>
          </p:nvSpPr>
          <p:spPr bwMode="auto">
            <a:xfrm>
              <a:off x="3015456" y="1095375"/>
              <a:ext cx="2558256" cy="720725"/>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SzPct val="120000"/>
                <a:defRPr sz="1600">
                  <a:solidFill>
                    <a:schemeClr val="tx1"/>
                  </a:solidFill>
                  <a:latin typeface="Arial" panose="020B0604020202020204" pitchFamily="34" charset="0"/>
                </a:defRPr>
              </a:lvl1pPr>
              <a:lvl2pPr marL="144780" indent="-142875" defTabSz="895350">
                <a:buSzPct val="120000"/>
                <a:buChar char="•"/>
                <a:defRPr sz="1600">
                  <a:solidFill>
                    <a:schemeClr val="tx1"/>
                  </a:solidFill>
                  <a:latin typeface="Arial" panose="020B0604020202020204" pitchFamily="34" charset="0"/>
                </a:defRPr>
              </a:lvl2pPr>
              <a:lvl3pPr marL="295275" indent="-149225" defTabSz="895350">
                <a:buChar char="–"/>
                <a:defRPr sz="1600">
                  <a:solidFill>
                    <a:schemeClr val="tx1"/>
                  </a:solidFill>
                  <a:latin typeface="Arial" panose="020B0604020202020204" pitchFamily="34" charset="0"/>
                </a:defRPr>
              </a:lvl3pPr>
              <a:lvl4pPr marL="431800" indent="-135255" defTabSz="895350">
                <a:buSzPct val="89000"/>
                <a:buChar char="•"/>
                <a:defRPr sz="1600">
                  <a:solidFill>
                    <a:schemeClr val="tx1"/>
                  </a:solidFill>
                  <a:latin typeface="Arial" panose="020B0604020202020204" pitchFamily="34" charset="0"/>
                </a:defRPr>
              </a:lvl4pPr>
              <a:lvl5pPr marL="582930" indent="-149225" defTabSz="895350">
                <a:buSzPct val="75000"/>
                <a:buChar char="–"/>
                <a:defRPr sz="1600">
                  <a:solidFill>
                    <a:schemeClr val="tx1"/>
                  </a:solidFill>
                  <a:latin typeface="Arial" panose="020B0604020202020204" pitchFamily="34" charset="0"/>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defRPr>
              </a:lvl9pPr>
            </a:lstStyle>
            <a:p>
              <a:r>
                <a:rPr lang="zh-CN" altLang="en-US" sz="1325" b="1" dirty="0"/>
                <a:t>准入壁垒</a:t>
              </a:r>
              <a:r>
                <a:rPr lang="en-US" sz="1325" b="1" dirty="0"/>
                <a:t>: </a:t>
              </a:r>
              <a:r>
                <a:rPr lang="zh-CN" altLang="en-US" sz="1325" b="1" dirty="0"/>
                <a:t>一般</a:t>
              </a:r>
              <a:endParaRPr lang="en-US" sz="1325" dirty="0"/>
            </a:p>
            <a:p>
              <a:pPr lvl="1">
                <a:buClr>
                  <a:schemeClr val="tx2"/>
                </a:buClr>
                <a:buSzPct val="125000"/>
                <a:buFont typeface="Arial" panose="020B0604020202020204" pitchFamily="34" charset="0"/>
                <a:buChar char="▪"/>
              </a:pPr>
              <a:r>
                <a:rPr lang="zh-CN" altLang="en-US" sz="1325" dirty="0"/>
                <a:t>很多成熟品牌</a:t>
              </a:r>
              <a:endParaRPr lang="en-US" sz="1325" dirty="0"/>
            </a:p>
            <a:p>
              <a:pPr lvl="1">
                <a:buClr>
                  <a:schemeClr val="tx2"/>
                </a:buClr>
                <a:buSzPct val="125000"/>
                <a:buFont typeface="Arial" panose="020B0604020202020204" pitchFamily="34" charset="0"/>
                <a:buChar char="▪"/>
              </a:pPr>
              <a:r>
                <a:rPr lang="zh-CN" altLang="en-US" sz="1325" dirty="0"/>
                <a:t>大多数渠道需要零售资金</a:t>
              </a:r>
              <a:r>
                <a:rPr lang="en-US" sz="1325" dirty="0"/>
                <a:t> </a:t>
              </a:r>
              <a:endParaRPr lang="en-US" sz="1325" dirty="0"/>
            </a:p>
            <a:p>
              <a:pPr lvl="1">
                <a:buClr>
                  <a:schemeClr val="tx2"/>
                </a:buClr>
                <a:buSzPct val="125000"/>
                <a:buFont typeface="Arial" panose="020B0604020202020204" pitchFamily="34" charset="0"/>
                <a:buChar char="▪"/>
              </a:pPr>
              <a:r>
                <a:rPr lang="zh-CN" altLang="en-US" sz="1325" dirty="0"/>
                <a:t>成熟零售商的分销系统很难复制</a:t>
              </a:r>
              <a:endParaRPr lang="en-US" sz="1325" dirty="0"/>
            </a:p>
          </p:txBody>
        </p:sp>
      </p:grpSp>
      <p:grpSp>
        <p:nvGrpSpPr>
          <p:cNvPr id="5" name="Group 4"/>
          <p:cNvGrpSpPr/>
          <p:nvPr/>
        </p:nvGrpSpPr>
        <p:grpSpPr>
          <a:xfrm>
            <a:off x="4146843" y="5064150"/>
            <a:ext cx="4208160" cy="1193954"/>
            <a:chOff x="2634457" y="5213350"/>
            <a:chExt cx="3101975" cy="908050"/>
          </a:xfrm>
          <a:solidFill>
            <a:srgbClr val="FBE5D6"/>
          </a:solidFill>
        </p:grpSpPr>
        <p:sp>
          <p:nvSpPr>
            <p:cNvPr id="48146" name="AutoShape 18"/>
            <p:cNvSpPr>
              <a:spLocks noChangeArrowheads="1"/>
            </p:cNvSpPr>
            <p:nvPr/>
          </p:nvSpPr>
          <p:spPr bwMode="auto">
            <a:xfrm rot="5400000">
              <a:off x="3731420" y="4116387"/>
              <a:ext cx="908050" cy="3101975"/>
            </a:xfrm>
            <a:prstGeom prst="leftArrow">
              <a:avLst>
                <a:gd name="adj1" fmla="val 85333"/>
                <a:gd name="adj2" fmla="val 28120"/>
              </a:avLst>
            </a:prstGeom>
            <a:grpFill/>
            <a:ln w="9525">
              <a:noFill/>
              <a:miter lim="800000"/>
            </a:ln>
            <a:effectLst>
              <a:outerShdw dist="35921" dir="2700000" algn="ctr" rotWithShape="0">
                <a:schemeClr val="bg2"/>
              </a:outerShdw>
            </a:effectLst>
          </p:spPr>
          <p:txBody>
            <a:bodyPr rot="10800000" vert="eaVert" wrap="none" anchor="ctr"/>
            <a:lstStyle/>
            <a:p>
              <a:pPr algn="ctr"/>
              <a:endParaRPr lang="en-US" sz="1325"/>
            </a:p>
          </p:txBody>
        </p:sp>
        <p:sp>
          <p:nvSpPr>
            <p:cNvPr id="48147" name="Rectangle 19"/>
            <p:cNvSpPr>
              <a:spLocks noChangeArrowheads="1"/>
            </p:cNvSpPr>
            <p:nvPr>
              <p:custDataLst>
                <p:tags r:id="rId4"/>
              </p:custDataLst>
            </p:nvPr>
          </p:nvSpPr>
          <p:spPr bwMode="auto">
            <a:xfrm>
              <a:off x="3015457" y="5473700"/>
              <a:ext cx="2449511" cy="61209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SzPct val="120000"/>
                <a:defRPr sz="1600">
                  <a:solidFill>
                    <a:schemeClr val="tx1"/>
                  </a:solidFill>
                  <a:latin typeface="Arial" panose="020B0604020202020204" pitchFamily="34" charset="0"/>
                </a:defRPr>
              </a:lvl1pPr>
              <a:lvl2pPr marL="144780" indent="-142875" defTabSz="895350">
                <a:buSzPct val="120000"/>
                <a:buChar char="•"/>
                <a:defRPr sz="1600">
                  <a:solidFill>
                    <a:schemeClr val="tx1"/>
                  </a:solidFill>
                  <a:latin typeface="Arial" panose="020B0604020202020204" pitchFamily="34" charset="0"/>
                </a:defRPr>
              </a:lvl2pPr>
              <a:lvl3pPr marL="295275" indent="-149225" defTabSz="895350">
                <a:buChar char="–"/>
                <a:defRPr sz="1600">
                  <a:solidFill>
                    <a:schemeClr val="tx1"/>
                  </a:solidFill>
                  <a:latin typeface="Arial" panose="020B0604020202020204" pitchFamily="34" charset="0"/>
                </a:defRPr>
              </a:lvl3pPr>
              <a:lvl4pPr marL="431800" indent="-135255" defTabSz="895350">
                <a:buSzPct val="89000"/>
                <a:buChar char="•"/>
                <a:defRPr sz="1600">
                  <a:solidFill>
                    <a:schemeClr val="tx1"/>
                  </a:solidFill>
                  <a:latin typeface="Arial" panose="020B0604020202020204" pitchFamily="34" charset="0"/>
                </a:defRPr>
              </a:lvl4pPr>
              <a:lvl5pPr marL="582930" indent="-149225" defTabSz="895350">
                <a:buSzPct val="75000"/>
                <a:buChar char="–"/>
                <a:defRPr sz="1600">
                  <a:solidFill>
                    <a:schemeClr val="tx1"/>
                  </a:solidFill>
                  <a:latin typeface="Arial" panose="020B0604020202020204" pitchFamily="34" charset="0"/>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defRPr>
              </a:lvl9pPr>
            </a:lstStyle>
            <a:p>
              <a:r>
                <a:rPr lang="zh-CN" altLang="en-US" sz="1325" b="1" dirty="0"/>
                <a:t>替代产品</a:t>
              </a:r>
              <a:r>
                <a:rPr lang="en-US" sz="1325" b="1" dirty="0"/>
                <a:t>: </a:t>
              </a:r>
              <a:r>
                <a:rPr lang="zh-CN" altLang="en-US" sz="1325" b="1" dirty="0"/>
                <a:t>实力一般</a:t>
              </a:r>
              <a:endParaRPr lang="en-US" sz="1325" b="1" dirty="0"/>
            </a:p>
            <a:p>
              <a:r>
                <a:rPr lang="zh-CN" altLang="en-US" sz="1325" dirty="0"/>
                <a:t>半成品食品减少了消费者对于大量厨具的需求</a:t>
              </a:r>
              <a:endParaRPr lang="en-US" sz="1325" dirty="0"/>
            </a:p>
          </p:txBody>
        </p:sp>
      </p:grpSp>
      <p:sp>
        <p:nvSpPr>
          <p:cNvPr id="48148" name="Rectangle 20"/>
          <p:cNvSpPr>
            <a:spLocks noChangeArrowheads="1"/>
          </p:cNvSpPr>
          <p:nvPr>
            <p:custDataLst>
              <p:tags r:id="rId5"/>
            </p:custDataLst>
          </p:nvPr>
        </p:nvSpPr>
        <p:spPr bwMode="auto">
          <a:xfrm>
            <a:off x="4705703" y="2442616"/>
            <a:ext cx="3198116" cy="2024688"/>
          </a:xfrm>
          <a:prstGeom prst="rect">
            <a:avLst/>
          </a:prstGeom>
          <a:solidFill>
            <a:srgbClr val="F4B183"/>
          </a:solidFill>
          <a:ln w="9525">
            <a:noFill/>
            <a:miter lim="800000"/>
          </a:ln>
          <a:effectLst>
            <a:outerShdw dist="35921" dir="2700000" algn="ctr" rotWithShape="0">
              <a:schemeClr val="bg2"/>
            </a:outerShdw>
          </a:effectLst>
        </p:spPr>
        <p:txBody>
          <a:bodyPr tIns="93297" bIns="93297" anchor="ctr">
            <a:spAutoFit/>
          </a:bodyPr>
          <a:lstStyle>
            <a:lvl1pPr defTabSz="895350">
              <a:buSzPct val="120000"/>
              <a:defRPr sz="1600">
                <a:solidFill>
                  <a:schemeClr val="tx1"/>
                </a:solidFill>
                <a:latin typeface="Arial" panose="020B0604020202020204" pitchFamily="34" charset="0"/>
              </a:defRPr>
            </a:lvl1pPr>
            <a:lvl2pPr marL="144780" indent="-142875" defTabSz="895350">
              <a:buSzPct val="120000"/>
              <a:buChar char="•"/>
              <a:defRPr sz="1600">
                <a:solidFill>
                  <a:schemeClr val="tx1"/>
                </a:solidFill>
                <a:latin typeface="Arial" panose="020B0604020202020204" pitchFamily="34" charset="0"/>
              </a:defRPr>
            </a:lvl2pPr>
            <a:lvl3pPr marL="295275" indent="-149225" defTabSz="895350">
              <a:buChar char="–"/>
              <a:defRPr sz="1600">
                <a:solidFill>
                  <a:schemeClr val="tx1"/>
                </a:solidFill>
                <a:latin typeface="Arial" panose="020B0604020202020204" pitchFamily="34" charset="0"/>
              </a:defRPr>
            </a:lvl3pPr>
            <a:lvl4pPr marL="431800" indent="-135255" defTabSz="895350">
              <a:buSzPct val="89000"/>
              <a:buChar char="•"/>
              <a:defRPr sz="1600">
                <a:solidFill>
                  <a:schemeClr val="tx1"/>
                </a:solidFill>
                <a:latin typeface="Arial" panose="020B0604020202020204" pitchFamily="34" charset="0"/>
              </a:defRPr>
            </a:lvl4pPr>
            <a:lvl5pPr marL="582930" indent="-149225" defTabSz="895350">
              <a:buSzPct val="75000"/>
              <a:buChar char="–"/>
              <a:defRPr sz="1600">
                <a:solidFill>
                  <a:schemeClr val="tx1"/>
                </a:solidFill>
                <a:latin typeface="Arial" panose="020B0604020202020204" pitchFamily="34" charset="0"/>
              </a:defRPr>
            </a:lvl5pPr>
            <a:lvl6pPr marL="1040130" indent="-149225" defTabSz="895350" fontAlgn="base">
              <a:spcBef>
                <a:spcPct val="0"/>
              </a:spcBef>
              <a:spcAft>
                <a:spcPct val="0"/>
              </a:spcAft>
              <a:buSzPct val="75000"/>
              <a:buChar char="–"/>
              <a:defRPr sz="1600">
                <a:solidFill>
                  <a:schemeClr val="tx1"/>
                </a:solidFill>
                <a:latin typeface="Arial" panose="020B0604020202020204" pitchFamily="34" charset="0"/>
              </a:defRPr>
            </a:lvl6pPr>
            <a:lvl7pPr marL="1497330" indent="-149225" defTabSz="895350" fontAlgn="base">
              <a:spcBef>
                <a:spcPct val="0"/>
              </a:spcBef>
              <a:spcAft>
                <a:spcPct val="0"/>
              </a:spcAft>
              <a:buSzPct val="75000"/>
              <a:buChar char="–"/>
              <a:defRPr sz="1600">
                <a:solidFill>
                  <a:schemeClr val="tx1"/>
                </a:solidFill>
                <a:latin typeface="Arial" panose="020B0604020202020204" pitchFamily="34" charset="0"/>
              </a:defRPr>
            </a:lvl7pPr>
            <a:lvl8pPr marL="1954530" indent="-149225" defTabSz="895350" fontAlgn="base">
              <a:spcBef>
                <a:spcPct val="0"/>
              </a:spcBef>
              <a:spcAft>
                <a:spcPct val="0"/>
              </a:spcAft>
              <a:buSzPct val="75000"/>
              <a:buChar char="–"/>
              <a:defRPr sz="1600">
                <a:solidFill>
                  <a:schemeClr val="tx1"/>
                </a:solidFill>
                <a:latin typeface="Arial" panose="020B0604020202020204" pitchFamily="34" charset="0"/>
              </a:defRPr>
            </a:lvl8pPr>
            <a:lvl9pPr marL="2411730" indent="-149225" defTabSz="895350" fontAlgn="base">
              <a:spcBef>
                <a:spcPct val="0"/>
              </a:spcBef>
              <a:spcAft>
                <a:spcPct val="0"/>
              </a:spcAft>
              <a:buSzPct val="75000"/>
              <a:buChar char="–"/>
              <a:defRPr sz="1600">
                <a:solidFill>
                  <a:schemeClr val="tx1"/>
                </a:solidFill>
                <a:latin typeface="Arial" panose="020B0604020202020204" pitchFamily="34" charset="0"/>
              </a:defRPr>
            </a:lvl9pPr>
          </a:lstStyle>
          <a:p>
            <a:r>
              <a:rPr lang="zh-CN" altLang="en-US" sz="1325" b="1" dirty="0"/>
              <a:t>竞争强度</a:t>
            </a:r>
            <a:r>
              <a:rPr lang="en-US" sz="1325" b="1" dirty="0"/>
              <a:t>: </a:t>
            </a:r>
            <a:r>
              <a:rPr lang="zh-CN" altLang="en-US" sz="1325" b="1" dirty="0"/>
              <a:t>一般</a:t>
            </a:r>
            <a:endParaRPr lang="en-US" sz="1325" dirty="0"/>
          </a:p>
          <a:p>
            <a:pPr lvl="1">
              <a:buClr>
                <a:schemeClr val="tx2"/>
              </a:buClr>
              <a:buSzPct val="125000"/>
              <a:buFont typeface="Arial" panose="020B0604020202020204" pitchFamily="34" charset="0"/>
              <a:buChar char="▪"/>
            </a:pPr>
            <a:r>
              <a:rPr lang="zh-CN" altLang="en-US" sz="1325" dirty="0"/>
              <a:t>需求预计以年均</a:t>
            </a:r>
            <a:r>
              <a:rPr lang="en-US" sz="1325" dirty="0"/>
              <a:t>19%</a:t>
            </a:r>
            <a:r>
              <a:rPr lang="zh-CN" altLang="en-US" sz="1325" dirty="0"/>
              <a:t>的速度增长</a:t>
            </a:r>
            <a:r>
              <a:rPr lang="en-US" sz="1325" dirty="0"/>
              <a:t> </a:t>
            </a:r>
            <a:r>
              <a:rPr lang="zh-CN" altLang="en-US" sz="1325" dirty="0"/>
              <a:t>（亚洲的速度较慢）</a:t>
            </a:r>
            <a:endParaRPr lang="en-US" sz="1325" dirty="0"/>
          </a:p>
          <a:p>
            <a:pPr lvl="1">
              <a:buClr>
                <a:schemeClr val="tx2"/>
              </a:buClr>
              <a:buSzPct val="125000"/>
              <a:buFont typeface="Arial" panose="020B0604020202020204" pitchFamily="34" charset="0"/>
              <a:buChar char="▪"/>
            </a:pPr>
            <a:r>
              <a:rPr lang="zh-CN" altLang="en-US" sz="1325" dirty="0"/>
              <a:t>具备相似能力水平的</a:t>
            </a:r>
            <a:r>
              <a:rPr lang="en-US" sz="1325" dirty="0"/>
              <a:t>5-10</a:t>
            </a:r>
            <a:r>
              <a:rPr lang="zh-CN" altLang="en-US" sz="1325" dirty="0"/>
              <a:t>家主要竞争对手</a:t>
            </a:r>
            <a:r>
              <a:rPr lang="en-US" sz="1325" dirty="0"/>
              <a:t>  </a:t>
            </a:r>
            <a:endParaRPr lang="en-US" sz="1325" dirty="0"/>
          </a:p>
          <a:p>
            <a:pPr lvl="1">
              <a:buClr>
                <a:schemeClr val="tx2"/>
              </a:buClr>
              <a:buSzPct val="125000"/>
              <a:buFont typeface="Arial" panose="020B0604020202020204" pitchFamily="34" charset="0"/>
              <a:buChar char="▪"/>
            </a:pPr>
            <a:r>
              <a:rPr lang="zh-CN" altLang="en-US" sz="1325" dirty="0"/>
              <a:t>竞争集中在客户关系和技术能力</a:t>
            </a:r>
            <a:r>
              <a:rPr lang="en-US" altLang="zh-CN" sz="1325" dirty="0"/>
              <a:t>/</a:t>
            </a:r>
            <a:r>
              <a:rPr lang="zh-CN" altLang="en-US" sz="1325" dirty="0"/>
              <a:t>创新</a:t>
            </a:r>
            <a:endParaRPr lang="en-US" sz="1325" dirty="0"/>
          </a:p>
          <a:p>
            <a:pPr lvl="1">
              <a:buClr>
                <a:schemeClr val="tx2"/>
              </a:buClr>
              <a:buSzPct val="125000"/>
              <a:buFont typeface="Arial" panose="020B0604020202020204" pitchFamily="34" charset="0"/>
              <a:buChar char="▪"/>
            </a:pPr>
            <a:r>
              <a:rPr lang="zh-CN" altLang="en-US" sz="1325" dirty="0"/>
              <a:t>老款产品有部分证据表明存在激烈的价格竞争</a:t>
            </a:r>
            <a:endParaRPr lang="en-US" sz="1325" dirty="0"/>
          </a:p>
          <a:p>
            <a:pPr lvl="1">
              <a:buClr>
                <a:schemeClr val="tx2"/>
              </a:buClr>
              <a:buSzPct val="125000"/>
              <a:buFont typeface="Arial" panose="020B0604020202020204" pitchFamily="34" charset="0"/>
              <a:buChar char="▪"/>
            </a:pPr>
            <a:r>
              <a:rPr lang="zh-CN" altLang="en-US" sz="1325" dirty="0"/>
              <a:t>新一代产品的利润率预计将保持平稳</a:t>
            </a:r>
            <a:endParaRPr lang="en-US" sz="1325" dirty="0"/>
          </a:p>
        </p:txBody>
      </p:sp>
      <p:sp>
        <p:nvSpPr>
          <p:cNvPr id="27" name="标题 2"/>
          <p:cNvSpPr txBox="1"/>
          <p:nvPr/>
        </p:nvSpPr>
        <p:spPr>
          <a:xfrm>
            <a:off x="800100" y="-185523"/>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endParaRPr lang="zh-CN" altLang="en-US" sz="2400" dirty="0">
              <a:solidFill>
                <a:prstClr val="black"/>
              </a:solidFill>
              <a:latin typeface="华文楷体" panose="02010600040101010101" charset="-122"/>
              <a:ea typeface="华文楷体" panose="02010600040101010101" charset="-122"/>
            </a:endParaRPr>
          </a:p>
        </p:txBody>
      </p:sp>
      <p:pic>
        <p:nvPicPr>
          <p:cNvPr id="28" name="图片 2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4" y="6471740"/>
            <a:ext cx="1490936" cy="247552"/>
          </a:xfrm>
          <a:prstGeom prst="rect">
            <a:avLst/>
          </a:prstGeom>
        </p:spPr>
      </p:pic>
      <p:sp>
        <p:nvSpPr>
          <p:cNvPr id="29"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行研</a:t>
            </a:r>
            <a:r>
              <a:rPr lang="en-US" altLang="zh-CN" sz="2400" dirty="0" smtClean="0">
                <a:solidFill>
                  <a:prstClr val="black"/>
                </a:solidFill>
                <a:latin typeface="华文楷体" panose="02010600040101010101" charset="-122"/>
              </a:rPr>
              <a:t>-</a:t>
            </a:r>
            <a:r>
              <a:rPr lang="zh-CN" altLang="en-US" sz="2400" dirty="0" smtClean="0"/>
              <a:t>波特</a:t>
            </a:r>
            <a:r>
              <a:rPr lang="zh-CN" altLang="en-US" sz="2400" dirty="0"/>
              <a:t>五力模型：全面、深入地分析竞争态势</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nvSpPr>
        <p:spPr bwMode="auto">
          <a:xfrm>
            <a:off x="281147" y="189536"/>
            <a:ext cx="11933280" cy="461665"/>
          </a:xfrm>
          <a:prstGeom prst="rect">
            <a:avLst/>
          </a:prstGeom>
          <a:noFill/>
          <a:ln w="9525" algn="ctr">
            <a:noFill/>
            <a:miter lim="800000"/>
          </a:ln>
          <a:effectLst/>
        </p:spPr>
        <p:txBody>
          <a:bodyPr wrap="square">
            <a:spAutoFit/>
          </a:bodyPr>
          <a:lstStyle/>
          <a:p>
            <a:pPr defTabSz="914400">
              <a:defRPr/>
            </a:pPr>
            <a:r>
              <a:rPr lang="zh-CN" altLang="en-US" sz="2400" b="1" dirty="0">
                <a:solidFill>
                  <a:srgbClr val="000000"/>
                </a:solidFill>
                <a:latin typeface="华文楷体" panose="02010600040101010101" charset="-122"/>
                <a:cs typeface="Arial" panose="020B0604020202020204" pitchFamily="34" charset="0"/>
              </a:rPr>
              <a:t>行</a:t>
            </a:r>
            <a:r>
              <a:rPr lang="zh-CN" altLang="en-US" sz="2400" b="1" dirty="0" smtClean="0">
                <a:solidFill>
                  <a:srgbClr val="000000"/>
                </a:solidFill>
                <a:latin typeface="华文楷体" panose="02010600040101010101" charset="-122"/>
                <a:cs typeface="Arial" panose="020B0604020202020204" pitchFamily="34" charset="0"/>
              </a:rPr>
              <a:t>研</a:t>
            </a:r>
            <a:r>
              <a:rPr lang="en-US" altLang="zh-CN" sz="2400" b="1" dirty="0" smtClean="0">
                <a:solidFill>
                  <a:srgbClr val="000000"/>
                </a:solidFill>
                <a:latin typeface="华文楷体" panose="02010600040101010101" charset="-122"/>
                <a:cs typeface="Arial" panose="020B0604020202020204" pitchFamily="34" charset="0"/>
              </a:rPr>
              <a:t>-</a:t>
            </a:r>
            <a:r>
              <a:rPr lang="zh-CN" altLang="en-US" sz="2400" b="1" dirty="0" smtClean="0">
                <a:solidFill>
                  <a:srgbClr val="000000"/>
                </a:solidFill>
                <a:latin typeface="华文楷体" panose="02010600040101010101" charset="-122"/>
                <a:cs typeface="Arial" panose="020B0604020202020204" pitchFamily="34" charset="0"/>
              </a:rPr>
              <a:t>行业生态</a:t>
            </a:r>
            <a:endParaRPr lang="en-US" altLang="zh-CN" sz="2400" b="1" dirty="0">
              <a:solidFill>
                <a:srgbClr val="000000"/>
              </a:solidFill>
              <a:latin typeface="华文楷体" panose="02010600040101010101" charset="-122"/>
              <a:cs typeface="Arial" panose="020B0604020202020204" pitchFamily="34" charset="0"/>
            </a:endParaRPr>
          </a:p>
        </p:txBody>
      </p:sp>
      <p:sp>
        <p:nvSpPr>
          <p:cNvPr id="147" name="Rectangle: Rounded Corners 54"/>
          <p:cNvSpPr/>
          <p:nvPr/>
        </p:nvSpPr>
        <p:spPr>
          <a:xfrm>
            <a:off x="1573920" y="4685818"/>
            <a:ext cx="8755182" cy="664286"/>
          </a:xfrm>
          <a:prstGeom prst="roundRect">
            <a:avLst>
              <a:gd name="adj" fmla="val 0"/>
            </a:avLst>
          </a:prstGeom>
          <a:solidFill>
            <a:srgbClr val="FF3300">
              <a:alpha val="67059"/>
            </a:srgbClr>
          </a:solidFill>
          <a:ln w="3175" cap="flat" cmpd="sng" algn="ctr">
            <a:solidFill>
              <a:sysClr val="windowText" lastClr="000000">
                <a:lumMod val="85000"/>
                <a:lumOff val="15000"/>
              </a:sysClr>
            </a:solidFill>
            <a:prstDash val="dash"/>
            <a:miter lim="800000"/>
          </a:ln>
          <a:effectLst>
            <a:reflection blurRad="6350" stA="52000" endA="300" endPos="22000" dir="5400000" sy="-100000" algn="bl" rotWithShape="0"/>
          </a:effectLst>
        </p:spPr>
        <p:txBody>
          <a:bodyPr tIns="9144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a:ln>
                  <a:noFill/>
                </a:ln>
                <a:solidFill>
                  <a:prstClr val="white"/>
                </a:solidFill>
                <a:effectLst/>
                <a:uLnTx/>
                <a:uFillTx/>
                <a:latin typeface="+mn-ea"/>
                <a:cs typeface="+mn-cs"/>
              </a:rPr>
              <a:t>十三亿参</a:t>
            </a:r>
            <a:r>
              <a:rPr kumimoji="0" lang="zh-CN" altLang="en-US" sz="2000" b="1" i="0" u="none" strike="noStrike" kern="0" cap="none" spc="0" normalizeH="0" baseline="0" noProof="0" dirty="0" smtClean="0">
                <a:ln>
                  <a:noFill/>
                </a:ln>
                <a:solidFill>
                  <a:prstClr val="white"/>
                </a:solidFill>
                <a:effectLst/>
                <a:uLnTx/>
                <a:uFillTx/>
                <a:latin typeface="+mn-ea"/>
                <a:cs typeface="+mn-cs"/>
              </a:rPr>
              <a:t>保人                         </a:t>
            </a:r>
            <a:r>
              <a:rPr kumimoji="0" lang="zh-CN" altLang="en-US" sz="1800" b="1" i="0" u="none" strike="noStrike" kern="0" cap="none" spc="0" normalizeH="0" baseline="0" noProof="0" dirty="0" smtClean="0">
                <a:ln>
                  <a:noFill/>
                </a:ln>
                <a:solidFill>
                  <a:prstClr val="white"/>
                </a:solidFill>
                <a:effectLst/>
                <a:uLnTx/>
                <a:uFillTx/>
                <a:latin typeface="+mn-ea"/>
                <a:cs typeface="+mn-cs"/>
              </a:rPr>
              <a:t> </a:t>
            </a:r>
            <a:r>
              <a:rPr kumimoji="0" lang="en-US" altLang="zh-CN" sz="1800" b="1" i="0" u="none" strike="noStrike" kern="0" cap="none" spc="0" normalizeH="0" baseline="0" noProof="0" dirty="0" smtClean="0">
                <a:ln>
                  <a:noFill/>
                </a:ln>
                <a:solidFill>
                  <a:prstClr val="white"/>
                </a:solidFill>
                <a:effectLst/>
                <a:uLnTx/>
                <a:uFillTx/>
                <a:latin typeface="+mn-ea"/>
                <a:cs typeface="+mn-cs"/>
              </a:rPr>
              <a:t>xxx</a:t>
            </a:r>
            <a:r>
              <a:rPr kumimoji="0" lang="zh-CN" altLang="en-US" sz="1800" b="1" i="0" u="none" strike="noStrike" kern="0" cap="none" spc="0" normalizeH="0" baseline="0" noProof="0" dirty="0" smtClean="0">
                <a:ln>
                  <a:noFill/>
                </a:ln>
                <a:solidFill>
                  <a:prstClr val="white"/>
                </a:solidFill>
                <a:effectLst/>
                <a:uLnTx/>
                <a:uFillTx/>
                <a:latin typeface="+mn-ea"/>
                <a:cs typeface="+mn-cs"/>
              </a:rPr>
              <a:t>                           </a:t>
            </a:r>
            <a:r>
              <a:rPr kumimoji="0" lang="en-US" altLang="zh-CN" sz="1800" b="1" i="0" u="none" strike="noStrike" kern="0" cap="none" spc="0" normalizeH="0" baseline="0" noProof="0" dirty="0">
                <a:ln>
                  <a:noFill/>
                </a:ln>
                <a:solidFill>
                  <a:prstClr val="white"/>
                </a:solidFill>
                <a:effectLst/>
                <a:uLnTx/>
                <a:uFillTx/>
                <a:latin typeface="+mn-ea"/>
                <a:cs typeface="+mn-cs"/>
              </a:rPr>
              <a:t> </a:t>
            </a:r>
            <a:r>
              <a:rPr kumimoji="0" lang="en-US" altLang="zh-CN" sz="1800" b="1" i="0" u="none" strike="noStrike" kern="0" cap="none" spc="0" normalizeH="0" baseline="0" noProof="0" dirty="0" smtClean="0">
                <a:ln>
                  <a:noFill/>
                </a:ln>
                <a:solidFill>
                  <a:prstClr val="white"/>
                </a:solidFill>
                <a:effectLst/>
                <a:uLnTx/>
                <a:uFillTx/>
                <a:latin typeface="+mn-ea"/>
                <a:cs typeface="+mn-cs"/>
              </a:rPr>
              <a:t>                            </a:t>
            </a:r>
            <a:endParaRPr kumimoji="0" lang="zh-CN" altLang="en-US" sz="1800" b="0" i="0" u="none" strike="noStrike" kern="0" cap="none" spc="0" normalizeH="0" baseline="0" noProof="0" dirty="0">
              <a:ln>
                <a:noFill/>
              </a:ln>
              <a:solidFill>
                <a:prstClr val="white"/>
              </a:solidFill>
              <a:effectLst/>
              <a:uLnTx/>
              <a:uFillTx/>
              <a:latin typeface="+mn-ea"/>
              <a:cs typeface="+mn-cs"/>
            </a:endParaRPr>
          </a:p>
        </p:txBody>
      </p:sp>
      <p:sp>
        <p:nvSpPr>
          <p:cNvPr id="148" name="Rectangle: Rounded Corners 16"/>
          <p:cNvSpPr/>
          <p:nvPr/>
        </p:nvSpPr>
        <p:spPr>
          <a:xfrm>
            <a:off x="1573920" y="5535264"/>
            <a:ext cx="8755182" cy="597612"/>
          </a:xfrm>
          <a:prstGeom prst="roundRect">
            <a:avLst>
              <a:gd name="adj" fmla="val 0"/>
            </a:avLst>
          </a:prstGeom>
          <a:solidFill>
            <a:srgbClr val="FF3300">
              <a:alpha val="67059"/>
            </a:srgbClr>
          </a:solidFill>
          <a:ln w="3175" cap="flat" cmpd="sng" algn="ctr">
            <a:solidFill>
              <a:sysClr val="windowText" lastClr="000000">
                <a:lumMod val="85000"/>
                <a:lumOff val="15000"/>
              </a:sysClr>
            </a:solidFill>
            <a:prstDash val="dash"/>
            <a:miter lim="800000"/>
          </a:ln>
          <a:effectLst>
            <a:reflection blurRad="6350" stA="52000" endA="300" endPos="22000" dir="5400000" sy="-100000" algn="bl" rotWithShape="0"/>
          </a:effectLst>
        </p:spPr>
        <p:txBody>
          <a:bodyPr tIns="9144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prstClr val="white"/>
                </a:solidFill>
                <a:effectLst/>
                <a:uLnTx/>
                <a:uFillTx/>
                <a:latin typeface="+mn-ea"/>
                <a:cs typeface="Arial" panose="020B0604020202020204" pitchFamily="34" charset="0"/>
              </a:rPr>
              <a:t>     系</a:t>
            </a:r>
            <a:r>
              <a:rPr kumimoji="0" lang="zh-CN" altLang="en-US" sz="2000" b="1" i="0" u="none" strike="noStrike" kern="0" cap="none" spc="0" normalizeH="0" baseline="0" noProof="0" dirty="0">
                <a:ln>
                  <a:noFill/>
                </a:ln>
                <a:solidFill>
                  <a:prstClr val="white"/>
                </a:solidFill>
                <a:effectLst/>
                <a:uLnTx/>
                <a:uFillTx/>
                <a:latin typeface="+mn-ea"/>
                <a:cs typeface="Arial" panose="020B0604020202020204" pitchFamily="34" charset="0"/>
              </a:rPr>
              <a:t>统平台建设 </a:t>
            </a:r>
            <a:r>
              <a:rPr kumimoji="0" lang="en-US" altLang="zh-CN" sz="2000" b="1" i="0" u="none" strike="noStrike" kern="0" cap="none" spc="0" normalizeH="0" baseline="0" noProof="0" dirty="0" smtClean="0">
                <a:ln>
                  <a:noFill/>
                </a:ln>
                <a:solidFill>
                  <a:prstClr val="white"/>
                </a:solidFill>
                <a:effectLst/>
                <a:uLnTx/>
                <a:uFillTx/>
                <a:latin typeface="+mn-ea"/>
                <a:cs typeface="Arial" panose="020B0604020202020204" pitchFamily="34" charset="0"/>
              </a:rPr>
              <a:t>:</a:t>
            </a:r>
            <a:r>
              <a:rPr kumimoji="0" lang="zh-CN" altLang="en-US" sz="1800" b="1" i="0" u="none" strike="noStrike" kern="0" cap="none" spc="0" normalizeH="0" baseline="0" noProof="0" dirty="0" smtClean="0">
                <a:ln>
                  <a:noFill/>
                </a:ln>
                <a:solidFill>
                  <a:prstClr val="white"/>
                </a:solidFill>
                <a:effectLst/>
                <a:uLnTx/>
                <a:uFillTx/>
                <a:latin typeface="+mn-ea"/>
                <a:cs typeface="Arial" panose="020B0604020202020204" pitchFamily="34" charset="0"/>
              </a:rPr>
              <a:t>  </a:t>
            </a:r>
            <a:r>
              <a:rPr kumimoji="0" lang="en-US" altLang="zh-CN" sz="2400" b="0" i="0" u="none" strike="noStrike" kern="0" cap="none" spc="0" normalizeH="0" baseline="0" noProof="0" dirty="0" smtClean="0">
                <a:ln>
                  <a:noFill/>
                </a:ln>
                <a:solidFill>
                  <a:prstClr val="white"/>
                </a:solidFill>
                <a:effectLst/>
                <a:uLnTx/>
                <a:uFillTx/>
                <a:latin typeface="+mn-ea"/>
                <a:cs typeface="Arial" panose="020B0604020202020204" pitchFamily="34" charset="0"/>
              </a:rPr>
              <a:t>4</a:t>
            </a:r>
            <a:r>
              <a:rPr kumimoji="0" lang="zh-CN" altLang="en-US" sz="1800" b="0" i="0" u="none" strike="noStrike" kern="0" cap="none" spc="0" normalizeH="0" baseline="0" noProof="0" dirty="0" smtClean="0">
                <a:ln>
                  <a:noFill/>
                </a:ln>
                <a:solidFill>
                  <a:prstClr val="white"/>
                </a:solidFill>
                <a:effectLst/>
                <a:uLnTx/>
                <a:uFillTx/>
                <a:latin typeface="+mn-ea"/>
                <a:cs typeface="Arial" panose="020B0604020202020204" pitchFamily="34" charset="0"/>
              </a:rPr>
              <a:t>大智</a:t>
            </a:r>
            <a:r>
              <a:rPr kumimoji="0" lang="zh-CN" altLang="en-US" sz="1800" b="0" i="0" u="none" strike="noStrike" kern="0" cap="none" spc="0" normalizeH="0" baseline="0" noProof="0" dirty="0">
                <a:ln>
                  <a:noFill/>
                </a:ln>
                <a:solidFill>
                  <a:prstClr val="white"/>
                </a:solidFill>
                <a:effectLst/>
                <a:uLnTx/>
                <a:uFillTx/>
                <a:latin typeface="+mn-ea"/>
                <a:cs typeface="Arial" panose="020B0604020202020204" pitchFamily="34" charset="0"/>
              </a:rPr>
              <a:t>能平台 </a:t>
            </a:r>
            <a:r>
              <a:rPr kumimoji="0" lang="en-US" altLang="zh-CN" sz="1800" b="0" i="0" u="none" strike="noStrike" kern="0" cap="none" spc="0" normalizeH="0" baseline="0" noProof="0" dirty="0">
                <a:ln>
                  <a:noFill/>
                </a:ln>
                <a:solidFill>
                  <a:prstClr val="white"/>
                </a:solidFill>
                <a:effectLst/>
                <a:uLnTx/>
                <a:uFillTx/>
                <a:latin typeface="+mn-ea"/>
                <a:cs typeface="Arial" panose="020B0604020202020204" pitchFamily="34" charset="0"/>
              </a:rPr>
              <a:t>+</a:t>
            </a:r>
            <a:r>
              <a:rPr kumimoji="0" lang="zh-CN" altLang="en-US" sz="1800" b="0" i="0" u="none" strike="noStrike" kern="0" cap="none" spc="0" normalizeH="0" baseline="0" noProof="0" dirty="0">
                <a:ln>
                  <a:noFill/>
                </a:ln>
                <a:solidFill>
                  <a:prstClr val="white"/>
                </a:solidFill>
                <a:effectLst/>
                <a:uLnTx/>
                <a:uFillTx/>
                <a:latin typeface="+mn-ea"/>
                <a:cs typeface="Arial" panose="020B0604020202020204" pitchFamily="34" charset="0"/>
              </a:rPr>
              <a:t> </a:t>
            </a:r>
            <a:r>
              <a:rPr kumimoji="0" lang="en-US" altLang="zh-CN" sz="2400" b="0" i="0" u="none" strike="noStrike" kern="0" cap="none" spc="0" normalizeH="0" baseline="0" noProof="0" dirty="0" smtClean="0">
                <a:ln>
                  <a:noFill/>
                </a:ln>
                <a:solidFill>
                  <a:prstClr val="white"/>
                </a:solidFill>
                <a:effectLst/>
                <a:uLnTx/>
                <a:uFillTx/>
                <a:latin typeface="+mn-ea"/>
                <a:cs typeface="Arial" panose="020B0604020202020204" pitchFamily="34" charset="0"/>
              </a:rPr>
              <a:t>4</a:t>
            </a:r>
            <a:r>
              <a:rPr kumimoji="0" lang="zh-CN" altLang="en-US" sz="1800" b="0" i="0" u="none" strike="noStrike" kern="0" cap="none" spc="0" normalizeH="0" baseline="0" noProof="0" dirty="0" smtClean="0">
                <a:ln>
                  <a:noFill/>
                </a:ln>
                <a:solidFill>
                  <a:prstClr val="white"/>
                </a:solidFill>
                <a:effectLst/>
                <a:uLnTx/>
                <a:uFillTx/>
                <a:latin typeface="+mn-ea"/>
                <a:cs typeface="Arial" panose="020B0604020202020204" pitchFamily="34" charset="0"/>
              </a:rPr>
              <a:t>大</a:t>
            </a:r>
            <a:r>
              <a:rPr kumimoji="0" lang="zh-CN" altLang="en-US" sz="1800" b="0" i="0" u="none" strike="noStrike" kern="0" cap="none" spc="0" normalizeH="0" baseline="0" noProof="0" dirty="0">
                <a:ln>
                  <a:noFill/>
                </a:ln>
                <a:solidFill>
                  <a:prstClr val="white"/>
                </a:solidFill>
                <a:effectLst/>
                <a:uLnTx/>
                <a:uFillTx/>
                <a:latin typeface="+mn-ea"/>
                <a:cs typeface="Arial" panose="020B0604020202020204" pitchFamily="34" charset="0"/>
              </a:rPr>
              <a:t>统一标准平台 </a:t>
            </a:r>
            <a:r>
              <a:rPr kumimoji="0" lang="en-US" altLang="zh-CN" sz="1800" b="0" i="0" u="none" strike="noStrike" kern="0" cap="none" spc="0" normalizeH="0" baseline="0" noProof="0" dirty="0">
                <a:ln>
                  <a:noFill/>
                </a:ln>
                <a:solidFill>
                  <a:prstClr val="white"/>
                </a:solidFill>
                <a:effectLst/>
                <a:uLnTx/>
                <a:uFillTx/>
                <a:latin typeface="+mn-ea"/>
                <a:cs typeface="Arial" panose="020B0604020202020204" pitchFamily="34" charset="0"/>
              </a:rPr>
              <a:t>+</a:t>
            </a:r>
            <a:r>
              <a:rPr kumimoji="0" lang="zh-CN" altLang="en-US" sz="1800" b="0" i="0" u="none" strike="noStrike" kern="0" cap="none" spc="0" normalizeH="0" baseline="0" noProof="0" dirty="0">
                <a:ln>
                  <a:noFill/>
                </a:ln>
                <a:solidFill>
                  <a:prstClr val="white"/>
                </a:solidFill>
                <a:effectLst/>
                <a:uLnTx/>
                <a:uFillTx/>
                <a:latin typeface="+mn-ea"/>
                <a:cs typeface="Arial" panose="020B0604020202020204" pitchFamily="34" charset="0"/>
              </a:rPr>
              <a:t> </a:t>
            </a:r>
            <a:r>
              <a:rPr kumimoji="0" lang="en-US" altLang="zh-CN" sz="2400" b="0" i="0" u="none" strike="noStrike" kern="0" cap="none" spc="0" normalizeH="0" baseline="0" noProof="0" dirty="0">
                <a:ln>
                  <a:noFill/>
                </a:ln>
                <a:solidFill>
                  <a:prstClr val="white"/>
                </a:solidFill>
                <a:effectLst/>
                <a:uLnTx/>
                <a:uFillTx/>
                <a:latin typeface="+mn-ea"/>
                <a:cs typeface="Arial" panose="020B0604020202020204" pitchFamily="34" charset="0"/>
              </a:rPr>
              <a:t>1</a:t>
            </a:r>
            <a:r>
              <a:rPr kumimoji="0" lang="zh-CN" altLang="en-US" sz="1800" b="0" i="0" u="none" strike="noStrike" kern="0" cap="none" spc="0" normalizeH="0" baseline="0" noProof="0" dirty="0">
                <a:ln>
                  <a:noFill/>
                </a:ln>
                <a:solidFill>
                  <a:prstClr val="white"/>
                </a:solidFill>
                <a:effectLst/>
                <a:uLnTx/>
                <a:uFillTx/>
                <a:latin typeface="+mn-ea"/>
                <a:cs typeface="Arial" panose="020B0604020202020204" pitchFamily="34" charset="0"/>
              </a:rPr>
              <a:t>个区块链云平台</a:t>
            </a:r>
            <a:endParaRPr kumimoji="0" lang="zh-CN" altLang="en-US" sz="1800" b="0" i="0" u="none" strike="noStrike" kern="0" cap="none" spc="0" normalizeH="0" baseline="0" noProof="0" dirty="0">
              <a:ln>
                <a:noFill/>
              </a:ln>
              <a:solidFill>
                <a:prstClr val="white"/>
              </a:solidFill>
              <a:effectLst/>
              <a:uLnTx/>
              <a:uFillTx/>
              <a:latin typeface="+mn-ea"/>
              <a:cs typeface="Arial" panose="020B0604020202020204" pitchFamily="34" charset="0"/>
            </a:endParaRPr>
          </a:p>
        </p:txBody>
      </p:sp>
      <p:sp>
        <p:nvSpPr>
          <p:cNvPr id="149" name="Rectangle 49"/>
          <p:cNvSpPr/>
          <p:nvPr/>
        </p:nvSpPr>
        <p:spPr>
          <a:xfrm>
            <a:off x="7826119" y="4088812"/>
            <a:ext cx="1920240" cy="228600"/>
          </a:xfrm>
          <a:prstGeom prst="rect">
            <a:avLst/>
          </a:prstGeom>
          <a:noFill/>
          <a:ln w="285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a:ln>
                  <a:noFill/>
                </a:ln>
                <a:effectLst/>
                <a:uLnTx/>
                <a:uFillTx/>
                <a:latin typeface="+mn-ea"/>
              </a:rPr>
              <a:t>药厂</a:t>
            </a:r>
            <a:endParaRPr kumimoji="0" lang="en-US" altLang="zh-CN" sz="1600" b="0" i="0" u="none" strike="noStrike" kern="0" cap="none" spc="0" normalizeH="0" baseline="0" noProof="0" dirty="0">
              <a:ln>
                <a:noFill/>
              </a:ln>
              <a:effectLst/>
              <a:uLnTx/>
              <a:uFillTx/>
              <a:latin typeface="+mn-ea"/>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a:ln>
                  <a:noFill/>
                </a:ln>
                <a:effectLst/>
                <a:uLnTx/>
                <a:uFillTx/>
                <a:latin typeface="+mn-ea"/>
              </a:rPr>
              <a:t>医疗器械厂</a:t>
            </a:r>
            <a:endParaRPr kumimoji="0" lang="en-US" altLang="zh-CN" sz="1600" b="0" i="0" u="none" strike="noStrike" kern="0" cap="none" spc="0" normalizeH="0" baseline="0" noProof="0" dirty="0">
              <a:ln>
                <a:noFill/>
              </a:ln>
              <a:effectLst/>
              <a:uLnTx/>
              <a:uFillTx/>
              <a:latin typeface="+mn-ea"/>
            </a:endParaRPr>
          </a:p>
        </p:txBody>
      </p:sp>
      <p:sp>
        <p:nvSpPr>
          <p:cNvPr id="151" name="Rectangle: Rounded Corners 2"/>
          <p:cNvSpPr/>
          <p:nvPr/>
        </p:nvSpPr>
        <p:spPr>
          <a:xfrm>
            <a:off x="4114800" y="641121"/>
            <a:ext cx="3732128" cy="3813602"/>
          </a:xfrm>
          <a:prstGeom prst="roundRect">
            <a:avLst>
              <a:gd name="adj" fmla="val 3069"/>
            </a:avLst>
          </a:prstGeom>
          <a:noFill/>
          <a:ln w="28575" cap="flat" cmpd="sng" algn="ctr">
            <a:solidFill>
              <a:sysClr val="window" lastClr="FFFFFF">
                <a:lumMod val="65000"/>
              </a:sysClr>
            </a:solidFill>
            <a:prstDash val="solid"/>
            <a:miter lim="800000"/>
          </a:ln>
          <a:effectLst>
            <a:glow rad="139700">
              <a:srgbClr val="A5A5A5">
                <a:satMod val="175000"/>
                <a:alpha val="40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mn-ea"/>
              <a:cs typeface="+mn-cs"/>
            </a:endParaRPr>
          </a:p>
        </p:txBody>
      </p:sp>
      <p:sp>
        <p:nvSpPr>
          <p:cNvPr id="152" name="TextBox 87"/>
          <p:cNvSpPr txBox="1"/>
          <p:nvPr/>
        </p:nvSpPr>
        <p:spPr>
          <a:xfrm>
            <a:off x="4806747" y="252808"/>
            <a:ext cx="2379882" cy="400110"/>
          </a:xfrm>
          <a:prstGeom prst="rect">
            <a:avLst/>
          </a:prstGeom>
          <a:noFill/>
          <a:ln w="28575">
            <a:noFill/>
          </a:ln>
        </p:spPr>
        <p:txBody>
          <a:bodyPr wrap="square" rtlCol="0">
            <a:spAutoFit/>
          </a:bodyPr>
          <a:lstStyle/>
          <a:p>
            <a:pPr algn="ctr">
              <a:defRPr/>
            </a:pPr>
            <a:r>
              <a:rPr lang="en-US" altLang="zh-CN" sz="2000" b="1" u="sng" dirty="0" smtClean="0">
                <a:solidFill>
                  <a:srgbClr val="FF0000"/>
                </a:solidFill>
                <a:latin typeface="+mn-ea"/>
              </a:rPr>
              <a:t>xx</a:t>
            </a:r>
            <a:r>
              <a:rPr lang="zh-CN" altLang="en-US" sz="2000" b="1" u="sng" dirty="0" smtClean="0">
                <a:solidFill>
                  <a:srgbClr val="FF0000"/>
                </a:solidFill>
                <a:latin typeface="+mn-ea"/>
              </a:rPr>
              <a:t>三</a:t>
            </a:r>
            <a:r>
              <a:rPr lang="zh-CN" altLang="en-US" sz="2000" b="1" u="sng" dirty="0">
                <a:solidFill>
                  <a:srgbClr val="FF0000"/>
                </a:solidFill>
                <a:latin typeface="+mn-ea"/>
              </a:rPr>
              <a:t>级管理体系</a:t>
            </a:r>
            <a:endParaRPr lang="zh-CN" altLang="en-US" sz="2000" b="1" u="sng" dirty="0">
              <a:solidFill>
                <a:srgbClr val="FF0000"/>
              </a:solidFill>
              <a:latin typeface="+mn-ea"/>
            </a:endParaRPr>
          </a:p>
        </p:txBody>
      </p:sp>
      <p:sp>
        <p:nvSpPr>
          <p:cNvPr id="153" name="TextBox 90"/>
          <p:cNvSpPr txBox="1"/>
          <p:nvPr/>
        </p:nvSpPr>
        <p:spPr>
          <a:xfrm>
            <a:off x="1948074" y="3471549"/>
            <a:ext cx="1377117" cy="400110"/>
          </a:xfrm>
          <a:prstGeom prst="rect">
            <a:avLst/>
          </a:prstGeom>
          <a:noFill/>
          <a:ln w="28575">
            <a:noFill/>
          </a:ln>
        </p:spPr>
        <p:txBody>
          <a:bodyPr wrap="square" rtlCol="0">
            <a:spAutoFit/>
          </a:bodyPr>
          <a:lstStyle/>
          <a:p>
            <a:pPr algn="ctr">
              <a:defRPr/>
            </a:pPr>
            <a:r>
              <a:rPr lang="zh-CN" altLang="en-US" sz="2000" b="1" u="sng" dirty="0">
                <a:solidFill>
                  <a:srgbClr val="FF0000"/>
                </a:solidFill>
                <a:latin typeface="+mn-ea"/>
              </a:rPr>
              <a:t>医疗</a:t>
            </a:r>
            <a:endParaRPr lang="zh-CN" altLang="en-US" sz="2000" b="1" u="sng" dirty="0">
              <a:solidFill>
                <a:srgbClr val="FF0000"/>
              </a:solidFill>
              <a:latin typeface="+mn-ea"/>
            </a:endParaRPr>
          </a:p>
        </p:txBody>
      </p:sp>
      <p:sp>
        <p:nvSpPr>
          <p:cNvPr id="154" name="TextBox 92"/>
          <p:cNvSpPr txBox="1"/>
          <p:nvPr/>
        </p:nvSpPr>
        <p:spPr>
          <a:xfrm>
            <a:off x="8835544" y="3526766"/>
            <a:ext cx="781009" cy="400110"/>
          </a:xfrm>
          <a:prstGeom prst="rect">
            <a:avLst/>
          </a:prstGeom>
          <a:noFill/>
          <a:ln w="28575">
            <a:noFill/>
          </a:ln>
        </p:spPr>
        <p:txBody>
          <a:bodyPr wrap="square" rtlCol="0">
            <a:spAutoFit/>
          </a:bodyPr>
          <a:lstStyle/>
          <a:p>
            <a:pPr algn="ctr">
              <a:defRPr/>
            </a:pPr>
            <a:r>
              <a:rPr lang="zh-CN" altLang="en-US" sz="2000" b="1" u="sng" dirty="0">
                <a:solidFill>
                  <a:srgbClr val="FF0000"/>
                </a:solidFill>
                <a:latin typeface="+mn-ea"/>
              </a:rPr>
              <a:t>医药</a:t>
            </a:r>
            <a:endParaRPr lang="zh-CN" altLang="en-US" sz="2000" b="1" u="sng" dirty="0">
              <a:solidFill>
                <a:srgbClr val="FF0000"/>
              </a:solidFill>
              <a:latin typeface="+mn-ea"/>
            </a:endParaRPr>
          </a:p>
        </p:txBody>
      </p:sp>
      <p:sp>
        <p:nvSpPr>
          <p:cNvPr id="155" name="圆角矩形 85"/>
          <p:cNvSpPr/>
          <p:nvPr/>
        </p:nvSpPr>
        <p:spPr>
          <a:xfrm>
            <a:off x="4428677" y="963806"/>
            <a:ext cx="3144212" cy="576000"/>
          </a:xfrm>
          <a:prstGeom prst="roundRect">
            <a:avLst>
              <a:gd name="adj" fmla="val 4517"/>
            </a:avLst>
          </a:prstGeom>
          <a:solidFill>
            <a:srgbClr val="FE5817"/>
          </a:solidFill>
          <a:ln w="3175"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chemeClr val="bg1"/>
                </a:solidFill>
                <a:effectLst/>
                <a:uLnTx/>
                <a:uFillTx/>
                <a:latin typeface="+mn-ea"/>
                <a:cs typeface="+mn-cs"/>
              </a:rPr>
              <a:t>国家</a:t>
            </a:r>
            <a:endParaRPr kumimoji="0" lang="en-US" altLang="zh-CN" sz="2000" b="1" i="0" u="none" strike="noStrike" kern="1200" cap="none" spc="0" normalizeH="0" baseline="0" noProof="0" dirty="0">
              <a:ln>
                <a:noFill/>
              </a:ln>
              <a:solidFill>
                <a:schemeClr val="bg1"/>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smtClean="0">
                <a:ln>
                  <a:noFill/>
                </a:ln>
                <a:solidFill>
                  <a:schemeClr val="bg1"/>
                </a:solidFill>
                <a:effectLst/>
                <a:uLnTx/>
                <a:uFillTx/>
                <a:latin typeface="+mn-ea"/>
                <a:cs typeface="+mn-cs"/>
              </a:rPr>
              <a:t>xx</a:t>
            </a:r>
            <a:r>
              <a:rPr kumimoji="0" lang="zh-CN" altLang="en-US" sz="2000" b="1" i="0" u="none" strike="noStrike" kern="1200" cap="none" spc="0" normalizeH="0" baseline="0" noProof="0" dirty="0" smtClean="0">
                <a:ln>
                  <a:noFill/>
                </a:ln>
                <a:solidFill>
                  <a:schemeClr val="bg1"/>
                </a:solidFill>
                <a:effectLst/>
                <a:uLnTx/>
                <a:uFillTx/>
                <a:latin typeface="+mn-ea"/>
                <a:cs typeface="+mn-cs"/>
              </a:rPr>
              <a:t>局</a:t>
            </a:r>
            <a:endParaRPr kumimoji="0" lang="en-US" altLang="zh-CN" sz="2000" b="1" i="0" u="none" strike="noStrike" kern="1200" cap="none" spc="0" normalizeH="0" baseline="0" noProof="0" dirty="0">
              <a:ln>
                <a:noFill/>
              </a:ln>
              <a:solidFill>
                <a:schemeClr val="bg1"/>
              </a:solidFill>
              <a:effectLst/>
              <a:uLnTx/>
              <a:uFillTx/>
              <a:latin typeface="+mn-ea"/>
              <a:cs typeface="+mn-cs"/>
            </a:endParaRPr>
          </a:p>
        </p:txBody>
      </p:sp>
      <p:sp>
        <p:nvSpPr>
          <p:cNvPr id="156" name="圆角矩形 85"/>
          <p:cNvSpPr/>
          <p:nvPr/>
        </p:nvSpPr>
        <p:spPr>
          <a:xfrm>
            <a:off x="4428677" y="2113599"/>
            <a:ext cx="3144212" cy="576000"/>
          </a:xfrm>
          <a:prstGeom prst="roundRect">
            <a:avLst>
              <a:gd name="adj" fmla="val 0"/>
            </a:avLst>
          </a:prstGeom>
          <a:solidFill>
            <a:srgbClr val="F4B183"/>
          </a:solidFill>
          <a:ln w="3175"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prstClr val="black"/>
                </a:solidFill>
                <a:effectLst/>
                <a:uLnTx/>
                <a:uFillTx/>
                <a:latin typeface="+mn-ea"/>
                <a:cs typeface="+mn-cs"/>
              </a:rPr>
              <a:t>省</a:t>
            </a:r>
            <a:endParaRPr kumimoji="0" lang="en-US" altLang="zh-CN" sz="2000" b="1" i="0" u="none" strike="noStrike" kern="1200" cap="none" spc="0" normalizeH="0" baseline="0" noProof="0" dirty="0">
              <a:ln>
                <a:noFill/>
              </a:ln>
              <a:solidFill>
                <a:prstClr val="black"/>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smtClean="0">
                <a:ln>
                  <a:noFill/>
                </a:ln>
                <a:solidFill>
                  <a:prstClr val="black"/>
                </a:solidFill>
                <a:effectLst/>
                <a:uLnTx/>
                <a:uFillTx/>
                <a:latin typeface="+mn-ea"/>
                <a:cs typeface="+mn-cs"/>
              </a:rPr>
              <a:t>xx</a:t>
            </a:r>
            <a:r>
              <a:rPr kumimoji="0" lang="zh-CN" altLang="en-US" sz="2000" b="1" i="0" u="none" strike="noStrike" kern="1200" cap="none" spc="0" normalizeH="0" baseline="0" noProof="0" dirty="0" smtClean="0">
                <a:ln>
                  <a:noFill/>
                </a:ln>
                <a:solidFill>
                  <a:prstClr val="black"/>
                </a:solidFill>
                <a:effectLst/>
                <a:uLnTx/>
                <a:uFillTx/>
                <a:latin typeface="+mn-ea"/>
                <a:cs typeface="+mn-cs"/>
              </a:rPr>
              <a:t>局</a:t>
            </a:r>
            <a:endParaRPr kumimoji="0" lang="en-US" altLang="zh-CN" sz="2000" b="1" i="0" u="none" strike="noStrike" kern="1200" cap="none" spc="0" normalizeH="0" baseline="0" noProof="0" dirty="0">
              <a:ln>
                <a:noFill/>
              </a:ln>
              <a:solidFill>
                <a:prstClr val="black"/>
              </a:solidFill>
              <a:effectLst/>
              <a:uLnTx/>
              <a:uFillTx/>
              <a:latin typeface="+mn-ea"/>
              <a:cs typeface="+mn-cs"/>
            </a:endParaRPr>
          </a:p>
        </p:txBody>
      </p:sp>
      <p:sp>
        <p:nvSpPr>
          <p:cNvPr id="157" name="圆角矩形 85"/>
          <p:cNvSpPr/>
          <p:nvPr/>
        </p:nvSpPr>
        <p:spPr>
          <a:xfrm>
            <a:off x="4428677" y="3212199"/>
            <a:ext cx="3144212" cy="576000"/>
          </a:xfrm>
          <a:prstGeom prst="roundRect">
            <a:avLst>
              <a:gd name="adj" fmla="val 0"/>
            </a:avLst>
          </a:prstGeom>
          <a:solidFill>
            <a:srgbClr val="FBE5D6"/>
          </a:solidFill>
          <a:ln w="3175"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prstClr val="black"/>
                </a:solidFill>
                <a:effectLst/>
                <a:uLnTx/>
                <a:uFillTx/>
                <a:latin typeface="+mn-ea"/>
                <a:cs typeface="+mn-cs"/>
              </a:rPr>
              <a:t>市</a:t>
            </a:r>
            <a:endParaRPr kumimoji="0" lang="en-US" altLang="zh-CN" sz="2000" b="1" i="0" u="none" strike="noStrike" kern="1200" cap="none" spc="0" normalizeH="0" baseline="0" noProof="0" dirty="0">
              <a:ln>
                <a:noFill/>
              </a:ln>
              <a:solidFill>
                <a:prstClr val="black"/>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smtClean="0">
                <a:ln>
                  <a:noFill/>
                </a:ln>
                <a:solidFill>
                  <a:prstClr val="black"/>
                </a:solidFill>
                <a:effectLst/>
                <a:uLnTx/>
                <a:uFillTx/>
                <a:latin typeface="+mn-ea"/>
                <a:cs typeface="+mn-cs"/>
              </a:rPr>
              <a:t>xx</a:t>
            </a:r>
            <a:r>
              <a:rPr kumimoji="0" lang="zh-CN" altLang="en-US" sz="2000" b="1" i="0" u="none" strike="noStrike" kern="1200" cap="none" spc="0" normalizeH="0" baseline="0" noProof="0" dirty="0" smtClean="0">
                <a:ln>
                  <a:noFill/>
                </a:ln>
                <a:solidFill>
                  <a:prstClr val="black"/>
                </a:solidFill>
                <a:effectLst/>
                <a:uLnTx/>
                <a:uFillTx/>
                <a:latin typeface="+mn-ea"/>
                <a:cs typeface="+mn-cs"/>
              </a:rPr>
              <a:t>局</a:t>
            </a:r>
            <a:endParaRPr kumimoji="0" lang="en-US" altLang="zh-CN" sz="2000" b="1" i="0" u="none" strike="noStrike" kern="1200" cap="none" spc="0" normalizeH="0" baseline="0" noProof="0" dirty="0">
              <a:ln>
                <a:noFill/>
              </a:ln>
              <a:solidFill>
                <a:prstClr val="black"/>
              </a:solidFill>
              <a:effectLst/>
              <a:uLnTx/>
              <a:uFillTx/>
              <a:latin typeface="+mn-ea"/>
              <a:cs typeface="+mn-cs"/>
            </a:endParaRPr>
          </a:p>
        </p:txBody>
      </p:sp>
      <p:cxnSp>
        <p:nvCxnSpPr>
          <p:cNvPr id="158" name="Straight Arrow Connector 5"/>
          <p:cNvCxnSpPr>
            <a:stCxn id="155" idx="2"/>
            <a:endCxn id="156" idx="0"/>
          </p:cNvCxnSpPr>
          <p:nvPr/>
        </p:nvCxnSpPr>
        <p:spPr>
          <a:xfrm>
            <a:off x="6000783" y="1539806"/>
            <a:ext cx="0" cy="573793"/>
          </a:xfrm>
          <a:prstGeom prst="straightConnector1">
            <a:avLst/>
          </a:prstGeom>
          <a:noFill/>
          <a:ln w="28575" cap="flat" cmpd="sng" algn="ctr">
            <a:solidFill>
              <a:sysClr val="window" lastClr="FFFFFF"/>
            </a:solidFill>
            <a:prstDash val="solid"/>
            <a:miter lim="800000"/>
            <a:tailEnd type="triangle"/>
          </a:ln>
          <a:effectLst/>
        </p:spPr>
      </p:cxnSp>
      <p:cxnSp>
        <p:nvCxnSpPr>
          <p:cNvPr id="159" name="Straight Arrow Connector 47"/>
          <p:cNvCxnSpPr/>
          <p:nvPr/>
        </p:nvCxnSpPr>
        <p:spPr>
          <a:xfrm>
            <a:off x="5963367" y="2337995"/>
            <a:ext cx="0" cy="269090"/>
          </a:xfrm>
          <a:prstGeom prst="straightConnector1">
            <a:avLst/>
          </a:prstGeom>
          <a:solidFill>
            <a:sysClr val="window" lastClr="FFFFFF">
              <a:lumMod val="50000"/>
            </a:sysClr>
          </a:solidFill>
          <a:ln w="3175" cap="flat" cmpd="sng" algn="ctr">
            <a:noFill/>
            <a:prstDash val="solid"/>
          </a:ln>
          <a:effectLst/>
        </p:spPr>
      </p:cxnSp>
      <p:cxnSp>
        <p:nvCxnSpPr>
          <p:cNvPr id="160" name="Straight Arrow Connector 7"/>
          <p:cNvCxnSpPr>
            <a:stCxn id="155" idx="3"/>
            <a:endCxn id="186" idx="1"/>
          </p:cNvCxnSpPr>
          <p:nvPr/>
        </p:nvCxnSpPr>
        <p:spPr>
          <a:xfrm>
            <a:off x="7572889" y="1251806"/>
            <a:ext cx="2015907" cy="2256954"/>
          </a:xfrm>
          <a:prstGeom prst="curvedConnector2">
            <a:avLst/>
          </a:prstGeom>
          <a:noFill/>
          <a:ln w="6350" cap="flat" cmpd="sng" algn="ctr">
            <a:solidFill>
              <a:sysClr val="window" lastClr="FFFFFF">
                <a:lumMod val="75000"/>
              </a:sysClr>
            </a:solidFill>
            <a:prstDash val="dash"/>
            <a:miter lim="800000"/>
            <a:tailEnd type="triangle" w="lg" len="lg"/>
          </a:ln>
          <a:effectLst/>
        </p:spPr>
      </p:cxnSp>
      <p:cxnSp>
        <p:nvCxnSpPr>
          <p:cNvPr id="161" name="Straight Arrow Connector 48"/>
          <p:cNvCxnSpPr>
            <a:stCxn id="155" idx="1"/>
            <a:endCxn id="190" idx="0"/>
          </p:cNvCxnSpPr>
          <p:nvPr/>
        </p:nvCxnSpPr>
        <p:spPr>
          <a:xfrm rot="10800000" flipV="1">
            <a:off x="2487519" y="1251805"/>
            <a:ext cx="1941159" cy="2229535"/>
          </a:xfrm>
          <a:prstGeom prst="curvedConnector2">
            <a:avLst/>
          </a:prstGeom>
          <a:noFill/>
          <a:ln w="6350" cap="flat" cmpd="sng" algn="ctr">
            <a:solidFill>
              <a:sysClr val="window" lastClr="FFFFFF">
                <a:lumMod val="75000"/>
              </a:sysClr>
            </a:solidFill>
            <a:prstDash val="dash"/>
            <a:miter lim="800000"/>
            <a:tailEnd type="triangle" w="lg" len="lg"/>
          </a:ln>
          <a:effectLst/>
        </p:spPr>
      </p:cxnSp>
      <p:cxnSp>
        <p:nvCxnSpPr>
          <p:cNvPr id="162" name="Straight Arrow Connector 53"/>
          <p:cNvCxnSpPr>
            <a:stCxn id="156" idx="1"/>
            <a:endCxn id="189" idx="0"/>
          </p:cNvCxnSpPr>
          <p:nvPr/>
        </p:nvCxnSpPr>
        <p:spPr>
          <a:xfrm rot="10800000" flipV="1">
            <a:off x="3374883" y="2401599"/>
            <a:ext cx="1053795" cy="1079742"/>
          </a:xfrm>
          <a:prstGeom prst="curvedConnector2">
            <a:avLst/>
          </a:prstGeom>
          <a:noFill/>
          <a:ln w="6350" cap="flat" cmpd="sng" algn="ctr">
            <a:solidFill>
              <a:sysClr val="window" lastClr="FFFFFF">
                <a:lumMod val="75000"/>
              </a:sysClr>
            </a:solidFill>
            <a:prstDash val="dash"/>
            <a:miter lim="800000"/>
            <a:tailEnd type="triangle" w="lg" len="lg"/>
          </a:ln>
          <a:effectLst/>
        </p:spPr>
      </p:cxnSp>
      <p:cxnSp>
        <p:nvCxnSpPr>
          <p:cNvPr id="163" name="Straight Arrow Connector 53"/>
          <p:cNvCxnSpPr>
            <a:stCxn id="156" idx="3"/>
            <a:endCxn id="187" idx="7"/>
          </p:cNvCxnSpPr>
          <p:nvPr/>
        </p:nvCxnSpPr>
        <p:spPr>
          <a:xfrm>
            <a:off x="7572889" y="2401599"/>
            <a:ext cx="1175473" cy="1107161"/>
          </a:xfrm>
          <a:prstGeom prst="curvedConnector2">
            <a:avLst/>
          </a:prstGeom>
          <a:noFill/>
          <a:ln w="6350" cap="flat" cmpd="sng" algn="ctr">
            <a:solidFill>
              <a:sysClr val="window" lastClr="FFFFFF">
                <a:lumMod val="75000"/>
              </a:sysClr>
            </a:solidFill>
            <a:prstDash val="dash"/>
            <a:miter lim="800000"/>
            <a:tailEnd type="triangle" w="lg" len="lg"/>
          </a:ln>
          <a:effectLst/>
        </p:spPr>
      </p:cxnSp>
      <p:cxnSp>
        <p:nvCxnSpPr>
          <p:cNvPr id="164" name="Straight Arrow Connector 53"/>
          <p:cNvCxnSpPr>
            <a:stCxn id="157" idx="2"/>
            <a:endCxn id="191" idx="3"/>
          </p:cNvCxnSpPr>
          <p:nvPr/>
        </p:nvCxnSpPr>
        <p:spPr>
          <a:xfrm rot="5400000">
            <a:off x="4746460" y="2751590"/>
            <a:ext cx="217714" cy="2290933"/>
          </a:xfrm>
          <a:prstGeom prst="curvedConnector2">
            <a:avLst/>
          </a:prstGeom>
          <a:noFill/>
          <a:ln w="6350" cap="flat" cmpd="sng" algn="ctr">
            <a:solidFill>
              <a:sysClr val="window" lastClr="FFFFFF">
                <a:lumMod val="85000"/>
              </a:sysClr>
            </a:solidFill>
            <a:prstDash val="dash"/>
            <a:miter lim="800000"/>
            <a:tailEnd type="triangle" w="lg" len="lg"/>
          </a:ln>
          <a:effectLst/>
        </p:spPr>
      </p:cxnSp>
      <p:cxnSp>
        <p:nvCxnSpPr>
          <p:cNvPr id="165" name="Straight Arrow Connector 53"/>
          <p:cNvCxnSpPr>
            <a:stCxn id="157" idx="2"/>
            <a:endCxn id="192" idx="1"/>
          </p:cNvCxnSpPr>
          <p:nvPr/>
        </p:nvCxnSpPr>
        <p:spPr>
          <a:xfrm rot="16200000" flipH="1">
            <a:off x="6961981" y="2827000"/>
            <a:ext cx="234145" cy="2156541"/>
          </a:xfrm>
          <a:prstGeom prst="curvedConnector2">
            <a:avLst/>
          </a:prstGeom>
          <a:noFill/>
          <a:ln w="6350" cap="flat" cmpd="sng" algn="ctr">
            <a:solidFill>
              <a:sysClr val="window" lastClr="FFFFFF">
                <a:lumMod val="85000"/>
              </a:sysClr>
            </a:solidFill>
            <a:prstDash val="dash"/>
            <a:miter lim="800000"/>
            <a:tailEnd type="triangle" w="lg" len="lg"/>
          </a:ln>
          <a:effectLst/>
        </p:spPr>
      </p:cxnSp>
      <p:sp>
        <p:nvSpPr>
          <p:cNvPr id="166" name="TextBox 122"/>
          <p:cNvSpPr txBox="1"/>
          <p:nvPr/>
        </p:nvSpPr>
        <p:spPr>
          <a:xfrm>
            <a:off x="2075639" y="1657425"/>
            <a:ext cx="1826141" cy="338554"/>
          </a:xfrm>
          <a:prstGeom prst="rect">
            <a:avLst/>
          </a:prstGeom>
          <a:noFill/>
          <a:ln w="28575">
            <a:noFill/>
          </a:ln>
        </p:spPr>
        <p:txBody>
          <a:bodyPr wrap="none" rtlCol="0">
            <a:spAutoFit/>
          </a:bodyPr>
          <a:lstStyle/>
          <a:p>
            <a:pPr algn="ctr">
              <a:defRPr/>
            </a:pPr>
            <a:r>
              <a:rPr lang="zh-CN" altLang="en-US" sz="1600" dirty="0">
                <a:latin typeface="+mn-ea"/>
              </a:rPr>
              <a:t>国家异地结算网络</a:t>
            </a:r>
            <a:endParaRPr lang="zh-CN" altLang="en-US" sz="1600" dirty="0">
              <a:latin typeface="+mn-ea"/>
            </a:endParaRPr>
          </a:p>
        </p:txBody>
      </p:sp>
      <p:sp>
        <p:nvSpPr>
          <p:cNvPr id="167" name="TextBox 123"/>
          <p:cNvSpPr txBox="1"/>
          <p:nvPr/>
        </p:nvSpPr>
        <p:spPr>
          <a:xfrm>
            <a:off x="8127658" y="1684322"/>
            <a:ext cx="1415772" cy="338554"/>
          </a:xfrm>
          <a:prstGeom prst="rect">
            <a:avLst/>
          </a:prstGeom>
          <a:noFill/>
          <a:ln w="28575">
            <a:noFill/>
          </a:ln>
        </p:spPr>
        <p:txBody>
          <a:bodyPr wrap="none" rtlCol="0">
            <a:spAutoFit/>
          </a:bodyPr>
          <a:lstStyle/>
          <a:p>
            <a:pPr algn="ctr">
              <a:defRPr/>
            </a:pPr>
            <a:r>
              <a:rPr lang="zh-CN" altLang="en-US" sz="1600" dirty="0">
                <a:latin typeface="+mn-ea"/>
              </a:rPr>
              <a:t>重点药品采购</a:t>
            </a:r>
            <a:endParaRPr lang="zh-CN" altLang="en-US" sz="1600" dirty="0">
              <a:latin typeface="+mn-ea"/>
            </a:endParaRPr>
          </a:p>
        </p:txBody>
      </p:sp>
      <p:sp>
        <p:nvSpPr>
          <p:cNvPr id="168" name="TextBox 124"/>
          <p:cNvSpPr txBox="1"/>
          <p:nvPr/>
        </p:nvSpPr>
        <p:spPr>
          <a:xfrm>
            <a:off x="7976686" y="2470356"/>
            <a:ext cx="1206730" cy="584775"/>
          </a:xfrm>
          <a:prstGeom prst="rect">
            <a:avLst/>
          </a:prstGeom>
          <a:noFill/>
          <a:ln w="28575">
            <a:noFill/>
          </a:ln>
        </p:spPr>
        <p:txBody>
          <a:bodyPr wrap="square" rtlCol="0">
            <a:spAutoFit/>
          </a:bodyPr>
          <a:lstStyle/>
          <a:p>
            <a:pPr algn="ctr">
              <a:defRPr/>
            </a:pPr>
            <a:r>
              <a:rPr lang="zh-CN" altLang="en-US" sz="1600" dirty="0">
                <a:latin typeface="+mn-ea"/>
              </a:rPr>
              <a:t>药品器械医保支付定价</a:t>
            </a:r>
            <a:endParaRPr lang="zh-CN" altLang="en-US" sz="1600" dirty="0">
              <a:latin typeface="+mn-ea"/>
            </a:endParaRPr>
          </a:p>
        </p:txBody>
      </p:sp>
      <p:sp>
        <p:nvSpPr>
          <p:cNvPr id="169" name="TextBox 125"/>
          <p:cNvSpPr txBox="1"/>
          <p:nvPr/>
        </p:nvSpPr>
        <p:spPr>
          <a:xfrm>
            <a:off x="2854733" y="2401599"/>
            <a:ext cx="1206730" cy="584775"/>
          </a:xfrm>
          <a:prstGeom prst="rect">
            <a:avLst/>
          </a:prstGeom>
          <a:noFill/>
          <a:ln w="28575">
            <a:noFill/>
          </a:ln>
        </p:spPr>
        <p:txBody>
          <a:bodyPr wrap="square" rtlCol="0">
            <a:spAutoFit/>
          </a:bodyPr>
          <a:lstStyle/>
          <a:p>
            <a:pPr algn="ctr">
              <a:defRPr/>
            </a:pPr>
            <a:r>
              <a:rPr lang="zh-CN" altLang="en-US" sz="1600" dirty="0">
                <a:latin typeface="+mn-ea"/>
              </a:rPr>
              <a:t>医疗服务医保支付定价</a:t>
            </a:r>
            <a:endParaRPr lang="zh-CN" altLang="en-US" sz="1600" dirty="0">
              <a:latin typeface="+mn-ea"/>
            </a:endParaRPr>
          </a:p>
        </p:txBody>
      </p:sp>
      <p:sp>
        <p:nvSpPr>
          <p:cNvPr id="170" name="TextBox 126"/>
          <p:cNvSpPr txBox="1"/>
          <p:nvPr/>
        </p:nvSpPr>
        <p:spPr>
          <a:xfrm>
            <a:off x="4258914" y="3869948"/>
            <a:ext cx="1675841" cy="584775"/>
          </a:xfrm>
          <a:prstGeom prst="rect">
            <a:avLst/>
          </a:prstGeom>
          <a:noFill/>
          <a:ln w="28575">
            <a:noFill/>
          </a:ln>
        </p:spPr>
        <p:txBody>
          <a:bodyPr wrap="square" rtlCol="0">
            <a:spAutoFit/>
          </a:bodyPr>
          <a:lstStyle/>
          <a:p>
            <a:pPr algn="ctr">
              <a:defRPr/>
            </a:pPr>
            <a:r>
              <a:rPr lang="zh-CN" altLang="en-US" sz="1600" dirty="0">
                <a:latin typeface="+mn-ea"/>
              </a:rPr>
              <a:t>规范医疗行为，</a:t>
            </a:r>
            <a:endParaRPr lang="en-US" altLang="zh-CN" sz="1600" dirty="0">
              <a:latin typeface="+mn-ea"/>
            </a:endParaRPr>
          </a:p>
          <a:p>
            <a:pPr algn="ctr">
              <a:defRPr/>
            </a:pPr>
            <a:r>
              <a:rPr lang="zh-CN" altLang="en-US" sz="1600" dirty="0">
                <a:latin typeface="+mn-ea"/>
              </a:rPr>
              <a:t>费用结算</a:t>
            </a:r>
            <a:endParaRPr lang="zh-CN" altLang="en-US" sz="1600" dirty="0">
              <a:latin typeface="+mn-ea"/>
            </a:endParaRPr>
          </a:p>
        </p:txBody>
      </p:sp>
      <p:sp>
        <p:nvSpPr>
          <p:cNvPr id="171" name="TextBox 127"/>
          <p:cNvSpPr txBox="1"/>
          <p:nvPr/>
        </p:nvSpPr>
        <p:spPr>
          <a:xfrm>
            <a:off x="6039246" y="3869948"/>
            <a:ext cx="1675841" cy="584775"/>
          </a:xfrm>
          <a:prstGeom prst="rect">
            <a:avLst/>
          </a:prstGeom>
          <a:noFill/>
          <a:ln w="28575">
            <a:noFill/>
          </a:ln>
        </p:spPr>
        <p:txBody>
          <a:bodyPr wrap="square" rtlCol="0">
            <a:spAutoFit/>
          </a:bodyPr>
          <a:lstStyle/>
          <a:p>
            <a:pPr algn="ctr">
              <a:defRPr/>
            </a:pPr>
            <a:r>
              <a:rPr lang="zh-CN" altLang="en-US" sz="1600" dirty="0">
                <a:latin typeface="+mn-ea"/>
              </a:rPr>
              <a:t>规范购药行为，</a:t>
            </a:r>
            <a:endParaRPr lang="en-US" altLang="zh-CN" sz="1600" dirty="0">
              <a:latin typeface="+mn-ea"/>
            </a:endParaRPr>
          </a:p>
          <a:p>
            <a:pPr algn="ctr">
              <a:defRPr/>
            </a:pPr>
            <a:r>
              <a:rPr lang="zh-CN" altLang="en-US" sz="1600" dirty="0">
                <a:latin typeface="+mn-ea"/>
              </a:rPr>
              <a:t>费用结算</a:t>
            </a:r>
            <a:endParaRPr lang="zh-CN" altLang="en-US" sz="1600" dirty="0">
              <a:latin typeface="+mn-ea"/>
            </a:endParaRPr>
          </a:p>
        </p:txBody>
      </p:sp>
      <p:cxnSp>
        <p:nvCxnSpPr>
          <p:cNvPr id="172" name="Straight Arrow Connector 94"/>
          <p:cNvCxnSpPr/>
          <p:nvPr/>
        </p:nvCxnSpPr>
        <p:spPr>
          <a:xfrm>
            <a:off x="6014231" y="3788199"/>
            <a:ext cx="0" cy="900000"/>
          </a:xfrm>
          <a:prstGeom prst="straightConnector1">
            <a:avLst/>
          </a:prstGeom>
          <a:noFill/>
          <a:ln w="6350" cap="flat" cmpd="sng" algn="ctr">
            <a:solidFill>
              <a:sysClr val="window" lastClr="FFFFFF">
                <a:lumMod val="85000"/>
              </a:sysClr>
            </a:solidFill>
            <a:prstDash val="dash"/>
            <a:miter lim="800000"/>
            <a:headEnd type="triangle"/>
            <a:tailEnd type="triangle" w="lg" len="lg"/>
          </a:ln>
          <a:effectLst/>
        </p:spPr>
      </p:cxnSp>
      <p:grpSp>
        <p:nvGrpSpPr>
          <p:cNvPr id="173" name="Group 103"/>
          <p:cNvGrpSpPr/>
          <p:nvPr/>
        </p:nvGrpSpPr>
        <p:grpSpPr>
          <a:xfrm>
            <a:off x="2551393" y="4826433"/>
            <a:ext cx="797081" cy="365354"/>
            <a:chOff x="6153151" y="1125537"/>
            <a:chExt cx="879475" cy="561976"/>
          </a:xfrm>
          <a:solidFill>
            <a:sysClr val="window" lastClr="FFFFFF"/>
          </a:solidFill>
        </p:grpSpPr>
        <p:sp>
          <p:nvSpPr>
            <p:cNvPr id="174" name="Freeform 89"/>
            <p:cNvSpPr>
              <a:spLocks noEditPoints="1"/>
            </p:cNvSpPr>
            <p:nvPr/>
          </p:nvSpPr>
          <p:spPr bwMode="auto">
            <a:xfrm>
              <a:off x="6153151" y="1179512"/>
              <a:ext cx="879475" cy="468313"/>
            </a:xfrm>
            <a:custGeom>
              <a:avLst/>
              <a:gdLst>
                <a:gd name="T0" fmla="*/ 152 w 485"/>
                <a:gd name="T1" fmla="*/ 38 h 258"/>
                <a:gd name="T2" fmla="*/ 156 w 485"/>
                <a:gd name="T3" fmla="*/ 8 h 258"/>
                <a:gd name="T4" fmla="*/ 123 w 485"/>
                <a:gd name="T5" fmla="*/ 0 h 258"/>
                <a:gd name="T6" fmla="*/ 59 w 485"/>
                <a:gd name="T7" fmla="*/ 64 h 258"/>
                <a:gd name="T8" fmla="*/ 102 w 485"/>
                <a:gd name="T9" fmla="*/ 139 h 258"/>
                <a:gd name="T10" fmla="*/ 102 w 485"/>
                <a:gd name="T11" fmla="*/ 164 h 258"/>
                <a:gd name="T12" fmla="*/ 0 w 485"/>
                <a:gd name="T13" fmla="*/ 246 h 258"/>
                <a:gd name="T14" fmla="*/ 83 w 485"/>
                <a:gd name="T15" fmla="*/ 258 h 258"/>
                <a:gd name="T16" fmla="*/ 84 w 485"/>
                <a:gd name="T17" fmla="*/ 245 h 258"/>
                <a:gd name="T18" fmla="*/ 113 w 485"/>
                <a:gd name="T19" fmla="*/ 170 h 258"/>
                <a:gd name="T20" fmla="*/ 201 w 485"/>
                <a:gd name="T21" fmla="*/ 134 h 258"/>
                <a:gd name="T22" fmla="*/ 201 w 485"/>
                <a:gd name="T23" fmla="*/ 134 h 258"/>
                <a:gd name="T24" fmla="*/ 152 w 485"/>
                <a:gd name="T25" fmla="*/ 38 h 258"/>
                <a:gd name="T26" fmla="*/ 481 w 485"/>
                <a:gd name="T27" fmla="*/ 228 h 258"/>
                <a:gd name="T28" fmla="*/ 382 w 485"/>
                <a:gd name="T29" fmla="*/ 164 h 258"/>
                <a:gd name="T30" fmla="*/ 382 w 485"/>
                <a:gd name="T31" fmla="*/ 139 h 258"/>
                <a:gd name="T32" fmla="*/ 425 w 485"/>
                <a:gd name="T33" fmla="*/ 64 h 258"/>
                <a:gd name="T34" fmla="*/ 361 w 485"/>
                <a:gd name="T35" fmla="*/ 0 h 258"/>
                <a:gd name="T36" fmla="*/ 328 w 485"/>
                <a:gd name="T37" fmla="*/ 8 h 258"/>
                <a:gd name="T38" fmla="*/ 332 w 485"/>
                <a:gd name="T39" fmla="*/ 38 h 258"/>
                <a:gd name="T40" fmla="*/ 283 w 485"/>
                <a:gd name="T41" fmla="*/ 134 h 258"/>
                <a:gd name="T42" fmla="*/ 283 w 485"/>
                <a:gd name="T43" fmla="*/ 134 h 258"/>
                <a:gd name="T44" fmla="*/ 369 w 485"/>
                <a:gd name="T45" fmla="*/ 167 h 258"/>
                <a:gd name="T46" fmla="*/ 401 w 485"/>
                <a:gd name="T47" fmla="*/ 245 h 258"/>
                <a:gd name="T48" fmla="*/ 401 w 485"/>
                <a:gd name="T49" fmla="*/ 258 h 258"/>
                <a:gd name="T50" fmla="*/ 485 w 485"/>
                <a:gd name="T51" fmla="*/ 246 h 258"/>
                <a:gd name="T52" fmla="*/ 481 w 485"/>
                <a:gd name="T53"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258">
                  <a:moveTo>
                    <a:pt x="152" y="38"/>
                  </a:moveTo>
                  <a:cubicBezTo>
                    <a:pt x="152" y="28"/>
                    <a:pt x="154" y="18"/>
                    <a:pt x="156" y="8"/>
                  </a:cubicBezTo>
                  <a:cubicBezTo>
                    <a:pt x="147" y="3"/>
                    <a:pt x="135" y="0"/>
                    <a:pt x="123" y="0"/>
                  </a:cubicBezTo>
                  <a:cubicBezTo>
                    <a:pt x="88" y="0"/>
                    <a:pt x="59" y="25"/>
                    <a:pt x="59" y="64"/>
                  </a:cubicBezTo>
                  <a:cubicBezTo>
                    <a:pt x="59" y="96"/>
                    <a:pt x="77" y="127"/>
                    <a:pt x="102" y="139"/>
                  </a:cubicBezTo>
                  <a:cubicBezTo>
                    <a:pt x="102" y="164"/>
                    <a:pt x="102" y="164"/>
                    <a:pt x="102" y="164"/>
                  </a:cubicBezTo>
                  <a:cubicBezTo>
                    <a:pt x="22" y="169"/>
                    <a:pt x="6" y="203"/>
                    <a:pt x="0" y="246"/>
                  </a:cubicBezTo>
                  <a:cubicBezTo>
                    <a:pt x="83" y="258"/>
                    <a:pt x="83" y="258"/>
                    <a:pt x="83" y="258"/>
                  </a:cubicBezTo>
                  <a:cubicBezTo>
                    <a:pt x="84" y="245"/>
                    <a:pt x="84" y="245"/>
                    <a:pt x="84" y="245"/>
                  </a:cubicBezTo>
                  <a:cubicBezTo>
                    <a:pt x="88" y="218"/>
                    <a:pt x="94" y="191"/>
                    <a:pt x="113" y="170"/>
                  </a:cubicBezTo>
                  <a:cubicBezTo>
                    <a:pt x="131" y="152"/>
                    <a:pt x="159" y="139"/>
                    <a:pt x="201" y="134"/>
                  </a:cubicBezTo>
                  <a:cubicBezTo>
                    <a:pt x="201" y="134"/>
                    <a:pt x="201" y="134"/>
                    <a:pt x="201" y="134"/>
                  </a:cubicBezTo>
                  <a:cubicBezTo>
                    <a:pt x="173" y="116"/>
                    <a:pt x="152" y="79"/>
                    <a:pt x="152" y="38"/>
                  </a:cubicBezTo>
                  <a:close/>
                  <a:moveTo>
                    <a:pt x="481" y="228"/>
                  </a:moveTo>
                  <a:cubicBezTo>
                    <a:pt x="472" y="194"/>
                    <a:pt x="450" y="168"/>
                    <a:pt x="382" y="164"/>
                  </a:cubicBezTo>
                  <a:cubicBezTo>
                    <a:pt x="382" y="139"/>
                    <a:pt x="382" y="139"/>
                    <a:pt x="382" y="139"/>
                  </a:cubicBezTo>
                  <a:cubicBezTo>
                    <a:pt x="407" y="127"/>
                    <a:pt x="425" y="96"/>
                    <a:pt x="425" y="64"/>
                  </a:cubicBezTo>
                  <a:cubicBezTo>
                    <a:pt x="425" y="25"/>
                    <a:pt x="396" y="0"/>
                    <a:pt x="361" y="0"/>
                  </a:cubicBezTo>
                  <a:cubicBezTo>
                    <a:pt x="349" y="0"/>
                    <a:pt x="338" y="3"/>
                    <a:pt x="328" y="8"/>
                  </a:cubicBezTo>
                  <a:cubicBezTo>
                    <a:pt x="331" y="18"/>
                    <a:pt x="332" y="28"/>
                    <a:pt x="332" y="38"/>
                  </a:cubicBezTo>
                  <a:cubicBezTo>
                    <a:pt x="332" y="79"/>
                    <a:pt x="312" y="116"/>
                    <a:pt x="283" y="134"/>
                  </a:cubicBezTo>
                  <a:cubicBezTo>
                    <a:pt x="283" y="134"/>
                    <a:pt x="283" y="134"/>
                    <a:pt x="283" y="134"/>
                  </a:cubicBezTo>
                  <a:cubicBezTo>
                    <a:pt x="324" y="139"/>
                    <a:pt x="352" y="150"/>
                    <a:pt x="369" y="167"/>
                  </a:cubicBezTo>
                  <a:cubicBezTo>
                    <a:pt x="390" y="188"/>
                    <a:pt x="397" y="217"/>
                    <a:pt x="401" y="245"/>
                  </a:cubicBezTo>
                  <a:cubicBezTo>
                    <a:pt x="401" y="258"/>
                    <a:pt x="401" y="258"/>
                    <a:pt x="401" y="258"/>
                  </a:cubicBezTo>
                  <a:cubicBezTo>
                    <a:pt x="485" y="246"/>
                    <a:pt x="485" y="246"/>
                    <a:pt x="485" y="246"/>
                  </a:cubicBezTo>
                  <a:cubicBezTo>
                    <a:pt x="484" y="240"/>
                    <a:pt x="483" y="234"/>
                    <a:pt x="481" y="2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IE" sz="1800" b="0" i="0" u="none" strike="noStrike" kern="0" cap="none" spc="0" normalizeH="0" baseline="0" noProof="0">
                <a:ln>
                  <a:noFill/>
                </a:ln>
                <a:solidFill>
                  <a:prstClr val="black"/>
                </a:solidFill>
                <a:effectLst/>
                <a:uLnTx/>
                <a:uFillTx/>
                <a:latin typeface="+mn-ea"/>
              </a:endParaRPr>
            </a:p>
          </p:txBody>
        </p:sp>
        <p:sp>
          <p:nvSpPr>
            <p:cNvPr id="175" name="Freeform 90"/>
            <p:cNvSpPr/>
            <p:nvPr/>
          </p:nvSpPr>
          <p:spPr bwMode="auto">
            <a:xfrm>
              <a:off x="6459538" y="1125537"/>
              <a:ext cx="263525" cy="300038"/>
            </a:xfrm>
            <a:custGeom>
              <a:avLst/>
              <a:gdLst>
                <a:gd name="T0" fmla="*/ 73 w 146"/>
                <a:gd name="T1" fmla="*/ 165 h 165"/>
                <a:gd name="T2" fmla="*/ 97 w 146"/>
                <a:gd name="T3" fmla="*/ 159 h 165"/>
                <a:gd name="T4" fmla="*/ 146 w 146"/>
                <a:gd name="T5" fmla="*/ 74 h 165"/>
                <a:gd name="T6" fmla="*/ 73 w 146"/>
                <a:gd name="T7" fmla="*/ 0 h 165"/>
                <a:gd name="T8" fmla="*/ 0 w 146"/>
                <a:gd name="T9" fmla="*/ 74 h 165"/>
                <a:gd name="T10" fmla="*/ 49 w 146"/>
                <a:gd name="T11" fmla="*/ 159 h 165"/>
                <a:gd name="T12" fmla="*/ 73 w 146"/>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46" h="165">
                  <a:moveTo>
                    <a:pt x="73" y="165"/>
                  </a:moveTo>
                  <a:cubicBezTo>
                    <a:pt x="86" y="165"/>
                    <a:pt x="97" y="159"/>
                    <a:pt x="97" y="159"/>
                  </a:cubicBezTo>
                  <a:cubicBezTo>
                    <a:pt x="126" y="146"/>
                    <a:pt x="146" y="110"/>
                    <a:pt x="146" y="74"/>
                  </a:cubicBezTo>
                  <a:cubicBezTo>
                    <a:pt x="146" y="28"/>
                    <a:pt x="114" y="0"/>
                    <a:pt x="73" y="0"/>
                  </a:cubicBezTo>
                  <a:cubicBezTo>
                    <a:pt x="33" y="0"/>
                    <a:pt x="0" y="28"/>
                    <a:pt x="0" y="74"/>
                  </a:cubicBezTo>
                  <a:cubicBezTo>
                    <a:pt x="0" y="110"/>
                    <a:pt x="21" y="146"/>
                    <a:pt x="49" y="159"/>
                  </a:cubicBezTo>
                  <a:cubicBezTo>
                    <a:pt x="49" y="159"/>
                    <a:pt x="61" y="165"/>
                    <a:pt x="73"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IE" sz="1800" b="0" i="0" u="none" strike="noStrike" kern="0" cap="none" spc="0" normalizeH="0" baseline="0" noProof="0">
                <a:ln>
                  <a:noFill/>
                </a:ln>
                <a:solidFill>
                  <a:prstClr val="black"/>
                </a:solidFill>
                <a:effectLst/>
                <a:uLnTx/>
                <a:uFillTx/>
                <a:latin typeface="+mn-ea"/>
              </a:endParaRPr>
            </a:p>
          </p:txBody>
        </p:sp>
        <p:sp>
          <p:nvSpPr>
            <p:cNvPr id="176" name="Freeform 91"/>
            <p:cNvSpPr/>
            <p:nvPr/>
          </p:nvSpPr>
          <p:spPr bwMode="auto">
            <a:xfrm>
              <a:off x="6615113" y="1450975"/>
              <a:ext cx="233363" cy="236538"/>
            </a:xfrm>
            <a:custGeom>
              <a:avLst/>
              <a:gdLst>
                <a:gd name="T0" fmla="*/ 126 w 129"/>
                <a:gd name="T1" fmla="*/ 81 h 131"/>
                <a:gd name="T2" fmla="*/ 29 w 129"/>
                <a:gd name="T3" fmla="*/ 0 h 131"/>
                <a:gd name="T4" fmla="*/ 0 w 129"/>
                <a:gd name="T5" fmla="*/ 131 h 131"/>
                <a:gd name="T6" fmla="*/ 129 w 129"/>
                <a:gd name="T7" fmla="*/ 118 h 131"/>
                <a:gd name="T8" fmla="*/ 126 w 129"/>
                <a:gd name="T9" fmla="*/ 81 h 131"/>
              </a:gdLst>
              <a:ahLst/>
              <a:cxnLst>
                <a:cxn ang="0">
                  <a:pos x="T0" y="T1"/>
                </a:cxn>
                <a:cxn ang="0">
                  <a:pos x="T2" y="T3"/>
                </a:cxn>
                <a:cxn ang="0">
                  <a:pos x="T4" y="T5"/>
                </a:cxn>
                <a:cxn ang="0">
                  <a:pos x="T6" y="T7"/>
                </a:cxn>
                <a:cxn ang="0">
                  <a:pos x="T8" y="T9"/>
                </a:cxn>
              </a:cxnLst>
              <a:rect l="0" t="0" r="r" b="b"/>
              <a:pathLst>
                <a:path w="129" h="131">
                  <a:moveTo>
                    <a:pt x="126" y="81"/>
                  </a:moveTo>
                  <a:cubicBezTo>
                    <a:pt x="118" y="39"/>
                    <a:pt x="104" y="7"/>
                    <a:pt x="29" y="0"/>
                  </a:cubicBezTo>
                  <a:cubicBezTo>
                    <a:pt x="0" y="131"/>
                    <a:pt x="0" y="131"/>
                    <a:pt x="0" y="131"/>
                  </a:cubicBezTo>
                  <a:cubicBezTo>
                    <a:pt x="90" y="130"/>
                    <a:pt x="129" y="118"/>
                    <a:pt x="129" y="118"/>
                  </a:cubicBezTo>
                  <a:cubicBezTo>
                    <a:pt x="128" y="114"/>
                    <a:pt x="127" y="85"/>
                    <a:pt x="126" y="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IE" sz="1800" b="0" i="0" u="none" strike="noStrike" kern="0" cap="none" spc="0" normalizeH="0" baseline="0" noProof="0">
                <a:ln>
                  <a:noFill/>
                </a:ln>
                <a:solidFill>
                  <a:prstClr val="black"/>
                </a:solidFill>
                <a:effectLst/>
                <a:uLnTx/>
                <a:uFillTx/>
                <a:latin typeface="+mn-ea"/>
              </a:endParaRPr>
            </a:p>
          </p:txBody>
        </p:sp>
        <p:sp>
          <p:nvSpPr>
            <p:cNvPr id="177" name="Freeform 92"/>
            <p:cNvSpPr/>
            <p:nvPr/>
          </p:nvSpPr>
          <p:spPr bwMode="auto">
            <a:xfrm>
              <a:off x="6335713" y="1450975"/>
              <a:ext cx="233363" cy="236538"/>
            </a:xfrm>
            <a:custGeom>
              <a:avLst/>
              <a:gdLst>
                <a:gd name="T0" fmla="*/ 1 w 129"/>
                <a:gd name="T1" fmla="*/ 83 h 131"/>
                <a:gd name="T2" fmla="*/ 0 w 129"/>
                <a:gd name="T3" fmla="*/ 118 h 131"/>
                <a:gd name="T4" fmla="*/ 129 w 129"/>
                <a:gd name="T5" fmla="*/ 131 h 131"/>
                <a:gd name="T6" fmla="*/ 99 w 129"/>
                <a:gd name="T7" fmla="*/ 0 h 131"/>
                <a:gd name="T8" fmla="*/ 1 w 129"/>
                <a:gd name="T9" fmla="*/ 83 h 131"/>
              </a:gdLst>
              <a:ahLst/>
              <a:cxnLst>
                <a:cxn ang="0">
                  <a:pos x="T0" y="T1"/>
                </a:cxn>
                <a:cxn ang="0">
                  <a:pos x="T2" y="T3"/>
                </a:cxn>
                <a:cxn ang="0">
                  <a:pos x="T4" y="T5"/>
                </a:cxn>
                <a:cxn ang="0">
                  <a:pos x="T6" y="T7"/>
                </a:cxn>
                <a:cxn ang="0">
                  <a:pos x="T8" y="T9"/>
                </a:cxn>
              </a:cxnLst>
              <a:rect l="0" t="0" r="r" b="b"/>
              <a:pathLst>
                <a:path w="129" h="131">
                  <a:moveTo>
                    <a:pt x="1" y="83"/>
                  </a:moveTo>
                  <a:cubicBezTo>
                    <a:pt x="1" y="86"/>
                    <a:pt x="0" y="114"/>
                    <a:pt x="0" y="118"/>
                  </a:cubicBezTo>
                  <a:cubicBezTo>
                    <a:pt x="0" y="118"/>
                    <a:pt x="33" y="130"/>
                    <a:pt x="129" y="131"/>
                  </a:cubicBezTo>
                  <a:cubicBezTo>
                    <a:pt x="99" y="0"/>
                    <a:pt x="99" y="0"/>
                    <a:pt x="99" y="0"/>
                  </a:cubicBezTo>
                  <a:cubicBezTo>
                    <a:pt x="22" y="7"/>
                    <a:pt x="10" y="40"/>
                    <a:pt x="1" y="8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IE" sz="1800" b="0" i="0" u="none" strike="noStrike" kern="0" cap="none" spc="0" normalizeH="0" baseline="0" noProof="0">
                <a:ln>
                  <a:noFill/>
                </a:ln>
                <a:solidFill>
                  <a:prstClr val="black"/>
                </a:solidFill>
                <a:effectLst/>
                <a:uLnTx/>
                <a:uFillTx/>
                <a:latin typeface="+mn-ea"/>
              </a:endParaRPr>
            </a:p>
          </p:txBody>
        </p:sp>
        <p:sp>
          <p:nvSpPr>
            <p:cNvPr id="178" name="Freeform 93"/>
            <p:cNvSpPr/>
            <p:nvPr/>
          </p:nvSpPr>
          <p:spPr bwMode="auto">
            <a:xfrm>
              <a:off x="6564313" y="1452562"/>
              <a:ext cx="55563" cy="30163"/>
            </a:xfrm>
            <a:custGeom>
              <a:avLst/>
              <a:gdLst>
                <a:gd name="T0" fmla="*/ 15 w 31"/>
                <a:gd name="T1" fmla="*/ 2 h 17"/>
                <a:gd name="T2" fmla="*/ 0 w 31"/>
                <a:gd name="T3" fmla="*/ 0 h 17"/>
                <a:gd name="T4" fmla="*/ 7 w 31"/>
                <a:gd name="T5" fmla="*/ 17 h 17"/>
                <a:gd name="T6" fmla="*/ 24 w 31"/>
                <a:gd name="T7" fmla="*/ 17 h 17"/>
                <a:gd name="T8" fmla="*/ 31 w 31"/>
                <a:gd name="T9" fmla="*/ 0 h 17"/>
                <a:gd name="T10" fmla="*/ 15 w 31"/>
                <a:gd name="T11" fmla="*/ 2 h 17"/>
              </a:gdLst>
              <a:ahLst/>
              <a:cxnLst>
                <a:cxn ang="0">
                  <a:pos x="T0" y="T1"/>
                </a:cxn>
                <a:cxn ang="0">
                  <a:pos x="T2" y="T3"/>
                </a:cxn>
                <a:cxn ang="0">
                  <a:pos x="T4" y="T5"/>
                </a:cxn>
                <a:cxn ang="0">
                  <a:pos x="T6" y="T7"/>
                </a:cxn>
                <a:cxn ang="0">
                  <a:pos x="T8" y="T9"/>
                </a:cxn>
                <a:cxn ang="0">
                  <a:pos x="T10" y="T11"/>
                </a:cxn>
              </a:cxnLst>
              <a:rect l="0" t="0" r="r" b="b"/>
              <a:pathLst>
                <a:path w="31" h="17">
                  <a:moveTo>
                    <a:pt x="15" y="2"/>
                  </a:moveTo>
                  <a:cubicBezTo>
                    <a:pt x="7" y="2"/>
                    <a:pt x="0" y="0"/>
                    <a:pt x="0" y="0"/>
                  </a:cubicBezTo>
                  <a:cubicBezTo>
                    <a:pt x="7" y="17"/>
                    <a:pt x="7" y="17"/>
                    <a:pt x="7" y="17"/>
                  </a:cubicBezTo>
                  <a:cubicBezTo>
                    <a:pt x="24" y="17"/>
                    <a:pt x="24" y="17"/>
                    <a:pt x="24" y="17"/>
                  </a:cubicBezTo>
                  <a:cubicBezTo>
                    <a:pt x="31" y="0"/>
                    <a:pt x="31" y="0"/>
                    <a:pt x="31" y="0"/>
                  </a:cubicBezTo>
                  <a:cubicBezTo>
                    <a:pt x="31" y="0"/>
                    <a:pt x="25" y="2"/>
                    <a:pt x="15"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IE" sz="1800" b="0" i="0" u="none" strike="noStrike" kern="0" cap="none" spc="0" normalizeH="0" baseline="0" noProof="0">
                <a:ln>
                  <a:noFill/>
                </a:ln>
                <a:solidFill>
                  <a:prstClr val="black"/>
                </a:solidFill>
                <a:effectLst/>
                <a:uLnTx/>
                <a:uFillTx/>
                <a:latin typeface="+mn-ea"/>
              </a:endParaRPr>
            </a:p>
          </p:txBody>
        </p:sp>
        <p:sp>
          <p:nvSpPr>
            <p:cNvPr id="179" name="Freeform 94"/>
            <p:cNvSpPr/>
            <p:nvPr/>
          </p:nvSpPr>
          <p:spPr bwMode="auto">
            <a:xfrm>
              <a:off x="6564313" y="1503362"/>
              <a:ext cx="53975" cy="179388"/>
            </a:xfrm>
            <a:custGeom>
              <a:avLst/>
              <a:gdLst>
                <a:gd name="T0" fmla="*/ 34 w 34"/>
                <a:gd name="T1" fmla="*/ 33 h 113"/>
                <a:gd name="T2" fmla="*/ 26 w 34"/>
                <a:gd name="T3" fmla="*/ 0 h 113"/>
                <a:gd name="T4" fmla="*/ 8 w 34"/>
                <a:gd name="T5" fmla="*/ 0 h 113"/>
                <a:gd name="T6" fmla="*/ 0 w 34"/>
                <a:gd name="T7" fmla="*/ 34 h 113"/>
                <a:gd name="T8" fmla="*/ 17 w 34"/>
                <a:gd name="T9" fmla="*/ 113 h 113"/>
                <a:gd name="T10" fmla="*/ 34 w 34"/>
                <a:gd name="T11" fmla="*/ 33 h 113"/>
              </a:gdLst>
              <a:ahLst/>
              <a:cxnLst>
                <a:cxn ang="0">
                  <a:pos x="T0" y="T1"/>
                </a:cxn>
                <a:cxn ang="0">
                  <a:pos x="T2" y="T3"/>
                </a:cxn>
                <a:cxn ang="0">
                  <a:pos x="T4" y="T5"/>
                </a:cxn>
                <a:cxn ang="0">
                  <a:pos x="T6" y="T7"/>
                </a:cxn>
                <a:cxn ang="0">
                  <a:pos x="T8" y="T9"/>
                </a:cxn>
                <a:cxn ang="0">
                  <a:pos x="T10" y="T11"/>
                </a:cxn>
              </a:cxnLst>
              <a:rect l="0" t="0" r="r" b="b"/>
              <a:pathLst>
                <a:path w="34" h="113">
                  <a:moveTo>
                    <a:pt x="34" y="33"/>
                  </a:moveTo>
                  <a:lnTo>
                    <a:pt x="26" y="0"/>
                  </a:lnTo>
                  <a:lnTo>
                    <a:pt x="8" y="0"/>
                  </a:lnTo>
                  <a:lnTo>
                    <a:pt x="0" y="34"/>
                  </a:lnTo>
                  <a:lnTo>
                    <a:pt x="17" y="113"/>
                  </a:lnTo>
                  <a:lnTo>
                    <a:pt x="34" y="3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IE" sz="1800" b="0" i="0" u="none" strike="noStrike" kern="0" cap="none" spc="0" normalizeH="0" baseline="0" noProof="0">
                <a:ln>
                  <a:noFill/>
                </a:ln>
                <a:solidFill>
                  <a:prstClr val="black"/>
                </a:solidFill>
                <a:effectLst/>
                <a:uLnTx/>
                <a:uFillTx/>
                <a:latin typeface="+mn-ea"/>
              </a:endParaRPr>
            </a:p>
          </p:txBody>
        </p:sp>
        <p:sp>
          <p:nvSpPr>
            <p:cNvPr id="180" name="Freeform 95"/>
            <p:cNvSpPr/>
            <p:nvPr/>
          </p:nvSpPr>
          <p:spPr bwMode="auto">
            <a:xfrm>
              <a:off x="6677026" y="1579562"/>
              <a:ext cx="90488" cy="22225"/>
            </a:xfrm>
            <a:custGeom>
              <a:avLst/>
              <a:gdLst>
                <a:gd name="T0" fmla="*/ 57 w 57"/>
                <a:gd name="T1" fmla="*/ 14 h 14"/>
                <a:gd name="T2" fmla="*/ 0 w 57"/>
                <a:gd name="T3" fmla="*/ 14 h 14"/>
                <a:gd name="T4" fmla="*/ 0 w 57"/>
                <a:gd name="T5" fmla="*/ 0 h 14"/>
                <a:gd name="T6" fmla="*/ 34 w 57"/>
                <a:gd name="T7" fmla="*/ 0 h 14"/>
                <a:gd name="T8" fmla="*/ 57 w 57"/>
                <a:gd name="T9" fmla="*/ 0 h 14"/>
                <a:gd name="T10" fmla="*/ 57 w 57"/>
                <a:gd name="T11" fmla="*/ 14 h 14"/>
              </a:gdLst>
              <a:ahLst/>
              <a:cxnLst>
                <a:cxn ang="0">
                  <a:pos x="T0" y="T1"/>
                </a:cxn>
                <a:cxn ang="0">
                  <a:pos x="T2" y="T3"/>
                </a:cxn>
                <a:cxn ang="0">
                  <a:pos x="T4" y="T5"/>
                </a:cxn>
                <a:cxn ang="0">
                  <a:pos x="T6" y="T7"/>
                </a:cxn>
                <a:cxn ang="0">
                  <a:pos x="T8" y="T9"/>
                </a:cxn>
                <a:cxn ang="0">
                  <a:pos x="T10" y="T11"/>
                </a:cxn>
              </a:cxnLst>
              <a:rect l="0" t="0" r="r" b="b"/>
              <a:pathLst>
                <a:path w="57" h="14">
                  <a:moveTo>
                    <a:pt x="57" y="14"/>
                  </a:moveTo>
                  <a:lnTo>
                    <a:pt x="0" y="14"/>
                  </a:lnTo>
                  <a:lnTo>
                    <a:pt x="0" y="0"/>
                  </a:lnTo>
                  <a:lnTo>
                    <a:pt x="34" y="0"/>
                  </a:lnTo>
                  <a:lnTo>
                    <a:pt x="57" y="0"/>
                  </a:lnTo>
                  <a:lnTo>
                    <a:pt x="57"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IE" sz="1800" b="0" i="0" u="none" strike="noStrike" kern="0" cap="none" spc="0" normalizeH="0" baseline="0" noProof="0">
                <a:ln>
                  <a:noFill/>
                </a:ln>
                <a:solidFill>
                  <a:prstClr val="black"/>
                </a:solidFill>
                <a:effectLst/>
                <a:uLnTx/>
                <a:uFillTx/>
                <a:latin typeface="+mn-ea"/>
              </a:endParaRPr>
            </a:p>
          </p:txBody>
        </p:sp>
      </p:grpSp>
      <p:grpSp>
        <p:nvGrpSpPr>
          <p:cNvPr id="181" name="组合 63"/>
          <p:cNvGrpSpPr/>
          <p:nvPr/>
        </p:nvGrpSpPr>
        <p:grpSpPr>
          <a:xfrm>
            <a:off x="1883041" y="5678841"/>
            <a:ext cx="570698" cy="387904"/>
            <a:chOff x="334122" y="3032572"/>
            <a:chExt cx="878977" cy="760048"/>
          </a:xfrm>
          <a:solidFill>
            <a:sysClr val="window" lastClr="FFFFFF"/>
          </a:solidFill>
        </p:grpSpPr>
        <p:sp>
          <p:nvSpPr>
            <p:cNvPr id="182" name="Freeform 182"/>
            <p:cNvSpPr/>
            <p:nvPr/>
          </p:nvSpPr>
          <p:spPr bwMode="auto">
            <a:xfrm>
              <a:off x="398371" y="3740674"/>
              <a:ext cx="753213" cy="51946"/>
            </a:xfrm>
            <a:custGeom>
              <a:avLst/>
              <a:gdLst>
                <a:gd name="T0" fmla="*/ 233 w 233"/>
                <a:gd name="T1" fmla="*/ 16 h 16"/>
                <a:gd name="T2" fmla="*/ 0 w 233"/>
                <a:gd name="T3" fmla="*/ 16 h 16"/>
                <a:gd name="T4" fmla="*/ 16 w 233"/>
                <a:gd name="T5" fmla="*/ 0 h 16"/>
                <a:gd name="T6" fmla="*/ 217 w 233"/>
                <a:gd name="T7" fmla="*/ 0 h 16"/>
                <a:gd name="T8" fmla="*/ 233 w 233"/>
                <a:gd name="T9" fmla="*/ 16 h 16"/>
              </a:gdLst>
              <a:ahLst/>
              <a:cxnLst>
                <a:cxn ang="0">
                  <a:pos x="T0" y="T1"/>
                </a:cxn>
                <a:cxn ang="0">
                  <a:pos x="T2" y="T3"/>
                </a:cxn>
                <a:cxn ang="0">
                  <a:pos x="T4" y="T5"/>
                </a:cxn>
                <a:cxn ang="0">
                  <a:pos x="T6" y="T7"/>
                </a:cxn>
                <a:cxn ang="0">
                  <a:pos x="T8" y="T9"/>
                </a:cxn>
              </a:cxnLst>
              <a:rect l="0" t="0" r="r" b="b"/>
              <a:pathLst>
                <a:path w="233" h="16">
                  <a:moveTo>
                    <a:pt x="233" y="16"/>
                  </a:moveTo>
                  <a:cubicBezTo>
                    <a:pt x="0" y="16"/>
                    <a:pt x="0" y="16"/>
                    <a:pt x="0" y="16"/>
                  </a:cubicBezTo>
                  <a:cubicBezTo>
                    <a:pt x="0" y="8"/>
                    <a:pt x="8" y="0"/>
                    <a:pt x="16" y="0"/>
                  </a:cubicBezTo>
                  <a:cubicBezTo>
                    <a:pt x="217" y="0"/>
                    <a:pt x="217" y="0"/>
                    <a:pt x="217" y="0"/>
                  </a:cubicBezTo>
                  <a:cubicBezTo>
                    <a:pt x="226" y="0"/>
                    <a:pt x="233" y="8"/>
                    <a:pt x="233" y="16"/>
                  </a:cubicBezTo>
                  <a:close/>
                </a:path>
              </a:pathLst>
            </a:custGeom>
            <a:grp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83" name="Rectangle 183"/>
            <p:cNvSpPr>
              <a:spLocks noChangeArrowheads="1"/>
            </p:cNvSpPr>
            <p:nvPr/>
          </p:nvSpPr>
          <p:spPr bwMode="auto">
            <a:xfrm>
              <a:off x="599319" y="3676426"/>
              <a:ext cx="362253" cy="45111"/>
            </a:xfrm>
            <a:prstGeom prst="rect">
              <a:avLst/>
            </a:prstGeom>
            <a:grp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84" name="Freeform 185"/>
            <p:cNvSpPr>
              <a:spLocks noEditPoints="1"/>
            </p:cNvSpPr>
            <p:nvPr/>
          </p:nvSpPr>
          <p:spPr bwMode="auto">
            <a:xfrm>
              <a:off x="334122" y="3032572"/>
              <a:ext cx="878977" cy="620615"/>
            </a:xfrm>
            <a:custGeom>
              <a:avLst/>
              <a:gdLst>
                <a:gd name="T0" fmla="*/ 144 w 272"/>
                <a:gd name="T1" fmla="*/ 178 h 192"/>
                <a:gd name="T2" fmla="*/ 137 w 272"/>
                <a:gd name="T3" fmla="*/ 170 h 192"/>
                <a:gd name="T4" fmla="*/ 129 w 272"/>
                <a:gd name="T5" fmla="*/ 178 h 192"/>
                <a:gd name="T6" fmla="*/ 137 w 272"/>
                <a:gd name="T7" fmla="*/ 185 h 192"/>
                <a:gd name="T8" fmla="*/ 144 w 272"/>
                <a:gd name="T9" fmla="*/ 178 h 192"/>
                <a:gd name="T10" fmla="*/ 13 w 272"/>
                <a:gd name="T11" fmla="*/ 165 h 192"/>
                <a:gd name="T12" fmla="*/ 260 w 272"/>
                <a:gd name="T13" fmla="*/ 165 h 192"/>
                <a:gd name="T14" fmla="*/ 260 w 272"/>
                <a:gd name="T15" fmla="*/ 9 h 192"/>
                <a:gd name="T16" fmla="*/ 13 w 272"/>
                <a:gd name="T17" fmla="*/ 9 h 192"/>
                <a:gd name="T18" fmla="*/ 13 w 272"/>
                <a:gd name="T19" fmla="*/ 165 h 192"/>
                <a:gd name="T20" fmla="*/ 263 w 272"/>
                <a:gd name="T21" fmla="*/ 192 h 192"/>
                <a:gd name="T22" fmla="*/ 8 w 272"/>
                <a:gd name="T23" fmla="*/ 192 h 192"/>
                <a:gd name="T24" fmla="*/ 0 w 272"/>
                <a:gd name="T25" fmla="*/ 183 h 192"/>
                <a:gd name="T26" fmla="*/ 0 w 272"/>
                <a:gd name="T27" fmla="*/ 9 h 192"/>
                <a:gd name="T28" fmla="*/ 8 w 272"/>
                <a:gd name="T29" fmla="*/ 0 h 192"/>
                <a:gd name="T30" fmla="*/ 263 w 272"/>
                <a:gd name="T31" fmla="*/ 0 h 192"/>
                <a:gd name="T32" fmla="*/ 272 w 272"/>
                <a:gd name="T33" fmla="*/ 9 h 192"/>
                <a:gd name="T34" fmla="*/ 272 w 272"/>
                <a:gd name="T35" fmla="*/ 183 h 192"/>
                <a:gd name="T36" fmla="*/ 263 w 27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2" h="192">
                  <a:moveTo>
                    <a:pt x="144" y="178"/>
                  </a:moveTo>
                  <a:cubicBezTo>
                    <a:pt x="144" y="173"/>
                    <a:pt x="141" y="170"/>
                    <a:pt x="137" y="170"/>
                  </a:cubicBezTo>
                  <a:cubicBezTo>
                    <a:pt x="132" y="170"/>
                    <a:pt x="129" y="173"/>
                    <a:pt x="129" y="178"/>
                  </a:cubicBezTo>
                  <a:cubicBezTo>
                    <a:pt x="129" y="182"/>
                    <a:pt x="132" y="185"/>
                    <a:pt x="137" y="185"/>
                  </a:cubicBezTo>
                  <a:cubicBezTo>
                    <a:pt x="141" y="185"/>
                    <a:pt x="144" y="182"/>
                    <a:pt x="144" y="178"/>
                  </a:cubicBezTo>
                  <a:close/>
                  <a:moveTo>
                    <a:pt x="13" y="165"/>
                  </a:moveTo>
                  <a:cubicBezTo>
                    <a:pt x="260" y="165"/>
                    <a:pt x="260" y="165"/>
                    <a:pt x="260" y="165"/>
                  </a:cubicBezTo>
                  <a:cubicBezTo>
                    <a:pt x="260" y="9"/>
                    <a:pt x="260" y="9"/>
                    <a:pt x="260" y="9"/>
                  </a:cubicBezTo>
                  <a:cubicBezTo>
                    <a:pt x="13" y="9"/>
                    <a:pt x="13" y="9"/>
                    <a:pt x="13" y="9"/>
                  </a:cubicBezTo>
                  <a:lnTo>
                    <a:pt x="13" y="165"/>
                  </a:lnTo>
                  <a:close/>
                  <a:moveTo>
                    <a:pt x="263" y="192"/>
                  </a:moveTo>
                  <a:cubicBezTo>
                    <a:pt x="8" y="192"/>
                    <a:pt x="8" y="192"/>
                    <a:pt x="8" y="192"/>
                  </a:cubicBezTo>
                  <a:cubicBezTo>
                    <a:pt x="4" y="192"/>
                    <a:pt x="0" y="188"/>
                    <a:pt x="0" y="183"/>
                  </a:cubicBezTo>
                  <a:cubicBezTo>
                    <a:pt x="0" y="9"/>
                    <a:pt x="0" y="9"/>
                    <a:pt x="0" y="9"/>
                  </a:cubicBezTo>
                  <a:cubicBezTo>
                    <a:pt x="0" y="4"/>
                    <a:pt x="4" y="0"/>
                    <a:pt x="8" y="0"/>
                  </a:cubicBezTo>
                  <a:cubicBezTo>
                    <a:pt x="263" y="0"/>
                    <a:pt x="263" y="0"/>
                    <a:pt x="263" y="0"/>
                  </a:cubicBezTo>
                  <a:cubicBezTo>
                    <a:pt x="268" y="0"/>
                    <a:pt x="272" y="4"/>
                    <a:pt x="272" y="9"/>
                  </a:cubicBezTo>
                  <a:cubicBezTo>
                    <a:pt x="272" y="183"/>
                    <a:pt x="272" y="183"/>
                    <a:pt x="272" y="183"/>
                  </a:cubicBezTo>
                  <a:cubicBezTo>
                    <a:pt x="272" y="188"/>
                    <a:pt x="268" y="192"/>
                    <a:pt x="263" y="192"/>
                  </a:cubicBezTo>
                  <a:close/>
                </a:path>
              </a:pathLst>
            </a:custGeom>
            <a:grp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mn-ea"/>
              </a:endParaRPr>
            </a:p>
          </p:txBody>
        </p:sp>
      </p:grpSp>
      <p:cxnSp>
        <p:nvCxnSpPr>
          <p:cNvPr id="185" name="Straight Arrow Connector 85"/>
          <p:cNvCxnSpPr>
            <a:stCxn id="156" idx="2"/>
            <a:endCxn id="157" idx="0"/>
          </p:cNvCxnSpPr>
          <p:nvPr/>
        </p:nvCxnSpPr>
        <p:spPr>
          <a:xfrm>
            <a:off x="6000783" y="2689599"/>
            <a:ext cx="0" cy="522600"/>
          </a:xfrm>
          <a:prstGeom prst="straightConnector1">
            <a:avLst/>
          </a:prstGeom>
          <a:noFill/>
          <a:ln w="28575" cap="flat" cmpd="sng" algn="ctr">
            <a:solidFill>
              <a:sysClr val="window" lastClr="FFFFFF"/>
            </a:solidFill>
            <a:prstDash val="solid"/>
            <a:miter lim="800000"/>
            <a:tailEnd type="triangle"/>
          </a:ln>
          <a:effectLst/>
        </p:spPr>
      </p:cxnSp>
      <p:sp>
        <p:nvSpPr>
          <p:cNvPr id="186" name="椭圆 185"/>
          <p:cNvSpPr/>
          <p:nvPr/>
        </p:nvSpPr>
        <p:spPr>
          <a:xfrm>
            <a:off x="9579077" y="3501302"/>
            <a:ext cx="66368" cy="50929"/>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mn-ea"/>
              <a:cs typeface="+mn-cs"/>
            </a:endParaRPr>
          </a:p>
        </p:txBody>
      </p:sp>
      <p:sp>
        <p:nvSpPr>
          <p:cNvPr id="187" name="椭圆 186"/>
          <p:cNvSpPr/>
          <p:nvPr/>
        </p:nvSpPr>
        <p:spPr>
          <a:xfrm>
            <a:off x="8691713" y="3501302"/>
            <a:ext cx="66368" cy="50929"/>
          </a:xfrm>
          <a:prstGeom prst="ellipse">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mn-ea"/>
              <a:cs typeface="+mn-cs"/>
            </a:endParaRPr>
          </a:p>
        </p:txBody>
      </p:sp>
      <p:grpSp>
        <p:nvGrpSpPr>
          <p:cNvPr id="188" name="组合 187"/>
          <p:cNvGrpSpPr/>
          <p:nvPr/>
        </p:nvGrpSpPr>
        <p:grpSpPr>
          <a:xfrm>
            <a:off x="2454334" y="3481341"/>
            <a:ext cx="953732" cy="50929"/>
            <a:chOff x="8844113" y="3970530"/>
            <a:chExt cx="953732" cy="50929"/>
          </a:xfrm>
          <a:solidFill>
            <a:sysClr val="windowText" lastClr="000000"/>
          </a:solidFill>
        </p:grpSpPr>
        <p:sp>
          <p:nvSpPr>
            <p:cNvPr id="189" name="椭圆 188"/>
            <p:cNvSpPr/>
            <p:nvPr/>
          </p:nvSpPr>
          <p:spPr>
            <a:xfrm>
              <a:off x="9731477" y="3970530"/>
              <a:ext cx="66368" cy="50929"/>
            </a:xfrm>
            <a:prstGeom prst="ellipse">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mn-ea"/>
                <a:cs typeface="+mn-cs"/>
              </a:endParaRPr>
            </a:p>
          </p:txBody>
        </p:sp>
        <p:sp>
          <p:nvSpPr>
            <p:cNvPr id="190" name="椭圆 189"/>
            <p:cNvSpPr/>
            <p:nvPr/>
          </p:nvSpPr>
          <p:spPr>
            <a:xfrm>
              <a:off x="8844113" y="3970530"/>
              <a:ext cx="66368" cy="50929"/>
            </a:xfrm>
            <a:prstGeom prst="ellipse">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mn-ea"/>
                <a:cs typeface="+mn-cs"/>
              </a:endParaRPr>
            </a:p>
          </p:txBody>
        </p:sp>
      </p:grpSp>
      <p:sp>
        <p:nvSpPr>
          <p:cNvPr id="191" name="Rectangle: Rounded Corners 35"/>
          <p:cNvSpPr/>
          <p:nvPr/>
        </p:nvSpPr>
        <p:spPr>
          <a:xfrm>
            <a:off x="1533578" y="3438685"/>
            <a:ext cx="2176272" cy="1134455"/>
          </a:xfrm>
          <a:prstGeom prst="roundRect">
            <a:avLst>
              <a:gd name="adj" fmla="val 0"/>
            </a:avLst>
          </a:prstGeom>
          <a:noFill/>
          <a:ln w="28575"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mn-ea"/>
              <a:cs typeface="+mn-cs"/>
            </a:endParaRPr>
          </a:p>
        </p:txBody>
      </p:sp>
      <p:sp>
        <p:nvSpPr>
          <p:cNvPr id="192" name="Rectangle: Rounded Corners 37"/>
          <p:cNvSpPr/>
          <p:nvPr/>
        </p:nvSpPr>
        <p:spPr>
          <a:xfrm>
            <a:off x="8157324" y="3471549"/>
            <a:ext cx="2171778" cy="1101590"/>
          </a:xfrm>
          <a:prstGeom prst="roundRect">
            <a:avLst>
              <a:gd name="adj" fmla="val 1113"/>
            </a:avLst>
          </a:prstGeom>
          <a:noFill/>
          <a:ln w="28575"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mn-ea"/>
              <a:cs typeface="+mn-cs"/>
            </a:endParaRPr>
          </a:p>
        </p:txBody>
      </p:sp>
      <p:sp>
        <p:nvSpPr>
          <p:cNvPr id="193" name="矩形 192"/>
          <p:cNvSpPr/>
          <p:nvPr/>
        </p:nvSpPr>
        <p:spPr>
          <a:xfrm>
            <a:off x="2524152" y="3913005"/>
            <a:ext cx="1005404" cy="584775"/>
          </a:xfrm>
          <a:prstGeom prst="rect">
            <a:avLst/>
          </a:prstGeom>
        </p:spPr>
        <p:txBody>
          <a:bodyPr wrap="none">
            <a:spAutoFit/>
          </a:bodyPr>
          <a:lstStyle/>
          <a:p>
            <a:pPr algn="ctr">
              <a:defRPr/>
            </a:pPr>
            <a:r>
              <a:rPr lang="zh-CN" altLang="en-US" sz="1600" dirty="0">
                <a:latin typeface="+mn-ea"/>
              </a:rPr>
              <a:t>社康中心</a:t>
            </a:r>
            <a:endParaRPr lang="en-US" altLang="zh-CN" sz="1600" dirty="0">
              <a:latin typeface="+mn-ea"/>
            </a:endParaRPr>
          </a:p>
          <a:p>
            <a:pPr algn="ctr">
              <a:defRPr/>
            </a:pPr>
            <a:r>
              <a:rPr lang="zh-CN" altLang="en-US" sz="1600" dirty="0">
                <a:latin typeface="+mn-ea"/>
              </a:rPr>
              <a:t>体检中心</a:t>
            </a:r>
            <a:endParaRPr lang="en-US" altLang="zh-CN" sz="1600" dirty="0">
              <a:latin typeface="+mn-ea"/>
            </a:endParaRPr>
          </a:p>
        </p:txBody>
      </p:sp>
      <p:sp>
        <p:nvSpPr>
          <p:cNvPr id="194" name="Rectangle 46"/>
          <p:cNvSpPr/>
          <p:nvPr/>
        </p:nvSpPr>
        <p:spPr>
          <a:xfrm>
            <a:off x="8835544" y="4088812"/>
            <a:ext cx="1920240" cy="228600"/>
          </a:xfrm>
          <a:prstGeom prst="rect">
            <a:avLst/>
          </a:prstGeom>
          <a:noFill/>
          <a:ln w="28575" cap="flat" cmpd="sng" algn="ctr">
            <a:noFill/>
            <a:prstDash val="solid"/>
          </a:ln>
          <a:effectLst/>
        </p:spPr>
        <p:txBody>
          <a:bodyPr rtlCol="0" anchor="ctr"/>
          <a:lstStyle/>
          <a:p>
            <a:pPr algn="ctr">
              <a:defRPr/>
            </a:pPr>
            <a:r>
              <a:rPr lang="zh-CN" altLang="en-US" sz="1600" dirty="0">
                <a:latin typeface="+mn-ea"/>
              </a:rPr>
              <a:t>药店</a:t>
            </a:r>
            <a:endParaRPr lang="en-US" altLang="zh-CN" sz="1600" dirty="0">
              <a:latin typeface="+mn-ea"/>
            </a:endParaRPr>
          </a:p>
          <a:p>
            <a:pPr algn="ctr">
              <a:defRPr/>
            </a:pPr>
            <a:r>
              <a:rPr lang="zh-CN" altLang="en-US" sz="1600" dirty="0">
                <a:latin typeface="+mn-ea"/>
              </a:rPr>
              <a:t>经销商</a:t>
            </a:r>
            <a:endParaRPr lang="en-US" altLang="zh-CN" sz="1600" dirty="0">
              <a:latin typeface="+mn-ea"/>
            </a:endParaRPr>
          </a:p>
        </p:txBody>
      </p:sp>
      <p:sp>
        <p:nvSpPr>
          <p:cNvPr id="195" name="Rectangle 50"/>
          <p:cNvSpPr/>
          <p:nvPr/>
        </p:nvSpPr>
        <p:spPr>
          <a:xfrm>
            <a:off x="1188615" y="4091499"/>
            <a:ext cx="1920240" cy="231101"/>
          </a:xfrm>
          <a:prstGeom prst="rect">
            <a:avLst/>
          </a:prstGeom>
          <a:noFill/>
          <a:ln w="285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医院</a:t>
            </a:r>
            <a:endParaRPr kumimoji="0" lang="en-US" altLang="zh-CN"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rPr>
              <a:t>诊所</a:t>
            </a:r>
            <a:endParaRPr kumimoji="0" lang="en-US" altLang="zh-CN"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600" b="0" i="0" u="none" strike="noStrike" kern="1200" cap="none" spc="0" normalizeH="0" baseline="0" noProof="0" dirty="0">
              <a:ln>
                <a:noFill/>
              </a:ln>
              <a:effectLst/>
              <a:uLnTx/>
              <a:uFillTx/>
              <a:latin typeface="华文楷体" panose="02010600040101010101" charset="-122"/>
              <a:ea typeface="华文楷体" panose="02010600040101010101" charset="-122"/>
              <a:cs typeface="+mn-cs"/>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虚尾箭头 1"/>
          <p:cNvSpPr/>
          <p:nvPr/>
        </p:nvSpPr>
        <p:spPr>
          <a:xfrm>
            <a:off x="7084511" y="2533866"/>
            <a:ext cx="849373" cy="3060000"/>
          </a:xfrm>
          <a:prstGeom prst="stripedRightArrow">
            <a:avLst>
              <a:gd name="adj1" fmla="val 59639"/>
              <a:gd name="adj2" fmla="val 50000"/>
            </a:avLst>
          </a:prstGeom>
          <a:solidFill>
            <a:schemeClr val="bg1">
              <a:lumMod val="85000"/>
            </a:schemeClr>
          </a:solidFill>
          <a:ln>
            <a:noFill/>
          </a:ln>
          <a:effectLst/>
        </p:spPr>
        <p:txBody>
          <a:bodyPr/>
          <a:lstStyle/>
          <a:p>
            <a:pPr eaLnBrk="0" fontAlgn="base" hangingPunct="0">
              <a:spcBef>
                <a:spcPct val="0"/>
              </a:spcBef>
              <a:spcAft>
                <a:spcPct val="0"/>
              </a:spcAft>
            </a:pPr>
            <a:endParaRPr lang="zh-CN" altLang="en-US" sz="2400" b="1" dirty="0">
              <a:latin typeface="Arial" panose="020B0604020202020204" pitchFamily="34" charset="0"/>
              <a:ea typeface="楷体" panose="02010609060101010101" pitchFamily="49" charset="-122"/>
            </a:endParaRPr>
          </a:p>
        </p:txBody>
      </p:sp>
      <p:sp>
        <p:nvSpPr>
          <p:cNvPr id="3" name="圆角矩形 2"/>
          <p:cNvSpPr/>
          <p:nvPr/>
        </p:nvSpPr>
        <p:spPr>
          <a:xfrm>
            <a:off x="9029408" y="4297755"/>
            <a:ext cx="2304000" cy="396000"/>
          </a:xfrm>
          <a:prstGeom prst="roundRect">
            <a:avLst/>
          </a:prstGeom>
          <a:solidFill>
            <a:srgbClr val="F05A23"/>
          </a:solidFill>
          <a:ln w="3175" cap="flat" cmpd="sng" algn="ctr">
            <a:noFill/>
            <a:prstDash val="solid"/>
          </a:ln>
          <a:effectLst/>
        </p:spPr>
        <p:txBody>
          <a:bodyPr anchor="ctr">
            <a:noAutofit/>
          </a:bodyPr>
          <a:lstStyle/>
          <a:p>
            <a:pPr algn="ctr" defTabSz="1219200"/>
            <a:r>
              <a:rPr lang="en-US" altLang="zh-CN" sz="1600" b="1" kern="0" dirty="0" smtClean="0">
                <a:solidFill>
                  <a:schemeClr val="bg1"/>
                </a:solidFill>
                <a:latin typeface="Arial" panose="020B0604020202020204" pitchFamily="34" charset="0"/>
                <a:ea typeface="楷体" panose="02010609060101010101" pitchFamily="49" charset="-122"/>
                <a:cs typeface="Arial" panose="020B0604020202020204" pitchFamily="34" charset="0"/>
              </a:rPr>
              <a:t>xx</a:t>
            </a:r>
            <a:endParaRPr lang="zh-CN" altLang="en-US" sz="1600" b="1" kern="0" dirty="0">
              <a:solidFill>
                <a:schemeClr val="bg1"/>
              </a:solidFill>
              <a:latin typeface="Arial" panose="020B0604020202020204" pitchFamily="34" charset="0"/>
              <a:ea typeface="楷体" panose="02010609060101010101" pitchFamily="49" charset="-122"/>
              <a:cs typeface="Arial" panose="020B0604020202020204" pitchFamily="34" charset="0"/>
            </a:endParaRPr>
          </a:p>
        </p:txBody>
      </p:sp>
      <p:sp>
        <p:nvSpPr>
          <p:cNvPr id="4" name="圆角矩形 3"/>
          <p:cNvSpPr/>
          <p:nvPr/>
        </p:nvSpPr>
        <p:spPr>
          <a:xfrm>
            <a:off x="9029408" y="3659011"/>
            <a:ext cx="2304000" cy="396000"/>
          </a:xfrm>
          <a:prstGeom prst="roundRect">
            <a:avLst/>
          </a:prstGeom>
          <a:solidFill>
            <a:srgbClr val="F05A23"/>
          </a:solidFill>
          <a:ln w="3175" cap="flat" cmpd="sng" algn="ctr">
            <a:noFill/>
            <a:prstDash val="solid"/>
          </a:ln>
          <a:effectLst/>
        </p:spPr>
        <p:txBody>
          <a:bodyPr anchor="ctr">
            <a:noAutofit/>
          </a:bodyPr>
          <a:lstStyle/>
          <a:p>
            <a:pPr algn="ctr" defTabSz="1219200"/>
            <a:r>
              <a:rPr lang="en-US" altLang="zh-CN" sz="1600" b="1" kern="0" dirty="0" smtClean="0">
                <a:solidFill>
                  <a:schemeClr val="bg1"/>
                </a:solidFill>
                <a:latin typeface="Arial" panose="020B0604020202020204" pitchFamily="34" charset="0"/>
                <a:ea typeface="楷体" panose="02010609060101010101" pitchFamily="49" charset="-122"/>
                <a:cs typeface="Arial" panose="020B0604020202020204" pitchFamily="34" charset="0"/>
              </a:rPr>
              <a:t>xx</a:t>
            </a:r>
            <a:endParaRPr lang="zh-CN" altLang="en-US" sz="1600" b="1" kern="0" dirty="0">
              <a:solidFill>
                <a:schemeClr val="bg1"/>
              </a:solidFill>
              <a:latin typeface="Arial" panose="020B0604020202020204" pitchFamily="34" charset="0"/>
              <a:ea typeface="楷体" panose="02010609060101010101" pitchFamily="49" charset="-122"/>
              <a:cs typeface="Arial" panose="020B0604020202020204" pitchFamily="34" charset="0"/>
            </a:endParaRPr>
          </a:p>
        </p:txBody>
      </p:sp>
      <p:sp>
        <p:nvSpPr>
          <p:cNvPr id="5" name="TextBox 79"/>
          <p:cNvSpPr txBox="1"/>
          <p:nvPr/>
        </p:nvSpPr>
        <p:spPr>
          <a:xfrm>
            <a:off x="9279723" y="3206443"/>
            <a:ext cx="1803370" cy="434010"/>
          </a:xfrm>
          <a:prstGeom prst="rect">
            <a:avLst/>
          </a:prstGeom>
          <a:noFill/>
          <a:effectLst/>
        </p:spPr>
        <p:txBody>
          <a:bodyPr wrap="square" rtlCol="0">
            <a:spAutoFit/>
          </a:bodyPr>
          <a:lstStyle>
            <a:defPPr>
              <a:defRPr lang="zh-CN"/>
            </a:defPPr>
            <a:lvl1pPr algn="ctr">
              <a:defRPr sz="2000" b="1">
                <a:solidFill>
                  <a:srgbClr val="2A5CAA"/>
                </a:solidFill>
                <a:latin typeface="微软雅黑" panose="020B0503020204020204" charset="-122"/>
                <a:ea typeface="微软雅黑" panose="020B0503020204020204" charset="-122"/>
              </a:defRPr>
            </a:lvl1pPr>
          </a:lstStyle>
          <a:p>
            <a:r>
              <a:rPr lang="zh-CN" altLang="en-US" dirty="0">
                <a:solidFill>
                  <a:schemeClr val="tx1"/>
                </a:solidFill>
                <a:latin typeface="Arial" panose="020B0604020202020204" pitchFamily="34" charset="0"/>
                <a:ea typeface="楷体" panose="02010609060101010101" pitchFamily="49" charset="-122"/>
              </a:rPr>
              <a:t>两大聚焦</a:t>
            </a:r>
            <a:endParaRPr lang="zh-CN" altLang="en-US" dirty="0">
              <a:solidFill>
                <a:schemeClr val="tx1"/>
              </a:solidFill>
              <a:latin typeface="Arial" panose="020B0604020202020204" pitchFamily="34" charset="0"/>
              <a:ea typeface="楷体" panose="02010609060101010101" pitchFamily="49" charset="-122"/>
            </a:endParaRPr>
          </a:p>
        </p:txBody>
      </p:sp>
      <p:sp>
        <p:nvSpPr>
          <p:cNvPr id="6" name="Rectangle 10"/>
          <p:cNvSpPr/>
          <p:nvPr/>
        </p:nvSpPr>
        <p:spPr>
          <a:xfrm rot="10800000">
            <a:off x="8808539" y="3134599"/>
            <a:ext cx="2745738" cy="1888037"/>
          </a:xfrm>
          <a:prstGeom prst="rect">
            <a:avLst/>
          </a:prstGeom>
          <a:noFill/>
          <a:ln w="12700">
            <a:solidFill>
              <a:srgbClr val="F05A2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ea typeface="楷体" panose="02010609060101010101" pitchFamily="49" charset="-122"/>
            </a:endParaRPr>
          </a:p>
        </p:txBody>
      </p:sp>
      <p:sp>
        <p:nvSpPr>
          <p:cNvPr id="7" name="Rectangle 15"/>
          <p:cNvSpPr/>
          <p:nvPr/>
        </p:nvSpPr>
        <p:spPr>
          <a:xfrm>
            <a:off x="8808539" y="3036740"/>
            <a:ext cx="2745739" cy="97862"/>
          </a:xfrm>
          <a:prstGeom prst="rect">
            <a:avLst/>
          </a:prstGeom>
          <a:solidFill>
            <a:srgbClr val="F05A23"/>
          </a:solidFill>
          <a:ln w="3175" cap="flat" cmpd="sng" algn="ctr">
            <a:solidFill>
              <a:srgbClr val="FF6600"/>
            </a:solidFill>
            <a:prstDash val="solid"/>
          </a:ln>
          <a:effectLst/>
        </p:spPr>
        <p:txBody>
          <a:bodyPr anchor="ctr">
            <a:noAutofit/>
          </a:bodyPr>
          <a:lstStyle/>
          <a:p>
            <a:pPr algn="ctr" defTabSz="1219200"/>
            <a:endParaRPr lang="en-US" sz="1600" kern="0">
              <a:latin typeface="Arial" panose="020B0604020202020204" pitchFamily="34" charset="0"/>
              <a:ea typeface="楷体" panose="02010609060101010101" pitchFamily="49" charset="-122"/>
              <a:cs typeface="Arial" panose="020B0604020202020204" pitchFamily="34" charset="0"/>
            </a:endParaRPr>
          </a:p>
        </p:txBody>
      </p:sp>
      <p:sp>
        <p:nvSpPr>
          <p:cNvPr id="8" name="矩形 7"/>
          <p:cNvSpPr/>
          <p:nvPr/>
        </p:nvSpPr>
        <p:spPr>
          <a:xfrm>
            <a:off x="6375197" y="3413052"/>
            <a:ext cx="2268000" cy="1138773"/>
          </a:xfrm>
          <a:prstGeom prst="rect">
            <a:avLst/>
          </a:prstGeom>
        </p:spPr>
        <p:txBody>
          <a:bodyPr wrap="square">
            <a:spAutoFit/>
          </a:bodyPr>
          <a:lstStyle/>
          <a:p>
            <a:pPr algn="ctr">
              <a:spcBef>
                <a:spcPts val="600"/>
              </a:spcBef>
              <a:spcAft>
                <a:spcPts val="600"/>
              </a:spcAft>
            </a:pPr>
            <a:r>
              <a:rPr lang="zh-CN" altLang="en-US" sz="1600" dirty="0" smtClean="0">
                <a:solidFill>
                  <a:srgbClr val="000000"/>
                </a:solidFill>
                <a:latin typeface="Arial" panose="020B0604020202020204" pitchFamily="34" charset="0"/>
                <a:ea typeface="楷体" panose="02010609060101010101" pitchFamily="49" charset="-122"/>
                <a:cs typeface="Times New Roman" panose="02020603050405020304" pitchFamily="18" charset="0"/>
              </a:rPr>
              <a:t>关</a:t>
            </a:r>
            <a:r>
              <a:rPr lang="zh-CN" altLang="en-US" sz="1600" dirty="0">
                <a:solidFill>
                  <a:srgbClr val="000000"/>
                </a:solidFill>
                <a:latin typeface="Arial" panose="020B0604020202020204" pitchFamily="34" charset="0"/>
                <a:ea typeface="楷体" panose="02010609060101010101" pitchFamily="49" charset="-122"/>
                <a:cs typeface="Times New Roman" panose="02020603050405020304" pitchFamily="18" charset="0"/>
              </a:rPr>
              <a:t>联度最</a:t>
            </a:r>
            <a:r>
              <a:rPr lang="zh-CN" altLang="en-US" sz="1600" dirty="0" smtClean="0">
                <a:solidFill>
                  <a:srgbClr val="000000"/>
                </a:solidFill>
                <a:latin typeface="Arial" panose="020B0604020202020204" pitchFamily="34" charset="0"/>
                <a:ea typeface="楷体" panose="02010609060101010101" pitchFamily="49" charset="-122"/>
                <a:cs typeface="Times New Roman" panose="02020603050405020304" pitchFamily="18" charset="0"/>
              </a:rPr>
              <a:t>高</a:t>
            </a:r>
            <a:endParaRPr lang="en-US" altLang="zh-CN" sz="1600" dirty="0" smtClean="0">
              <a:solidFill>
                <a:srgbClr val="000000"/>
              </a:solidFill>
              <a:latin typeface="Arial" panose="020B0604020202020204" pitchFamily="34" charset="0"/>
              <a:ea typeface="楷体" panose="02010609060101010101" pitchFamily="49" charset="-122"/>
              <a:cs typeface="Times New Roman" panose="02020603050405020304" pitchFamily="18" charset="0"/>
            </a:endParaRPr>
          </a:p>
          <a:p>
            <a:pPr algn="ctr">
              <a:spcBef>
                <a:spcPts val="600"/>
              </a:spcBef>
              <a:spcAft>
                <a:spcPts val="600"/>
              </a:spcAft>
            </a:pPr>
            <a:r>
              <a:rPr lang="zh-CN" altLang="en-US" sz="1600" dirty="0" smtClean="0">
                <a:solidFill>
                  <a:srgbClr val="000000"/>
                </a:solidFill>
                <a:latin typeface="Arial" panose="020B0604020202020204" pitchFamily="34" charset="0"/>
                <a:ea typeface="楷体" panose="02010609060101010101" pitchFamily="49" charset="-122"/>
                <a:cs typeface="Times New Roman" panose="02020603050405020304" pitchFamily="18" charset="0"/>
              </a:rPr>
              <a:t>市</a:t>
            </a:r>
            <a:r>
              <a:rPr lang="zh-CN" altLang="en-US" sz="1600" dirty="0">
                <a:solidFill>
                  <a:srgbClr val="000000"/>
                </a:solidFill>
                <a:latin typeface="Arial" panose="020B0604020202020204" pitchFamily="34" charset="0"/>
                <a:ea typeface="楷体" panose="02010609060101010101" pitchFamily="49" charset="-122"/>
                <a:cs typeface="Times New Roman" panose="02020603050405020304" pitchFamily="18" charset="0"/>
              </a:rPr>
              <a:t>场规模最</a:t>
            </a:r>
            <a:r>
              <a:rPr lang="zh-CN" altLang="en-US" sz="1600" dirty="0" smtClean="0">
                <a:solidFill>
                  <a:srgbClr val="000000"/>
                </a:solidFill>
                <a:latin typeface="Arial" panose="020B0604020202020204" pitchFamily="34" charset="0"/>
                <a:ea typeface="楷体" panose="02010609060101010101" pitchFamily="49" charset="-122"/>
                <a:cs typeface="Times New Roman" panose="02020603050405020304" pitchFamily="18" charset="0"/>
              </a:rPr>
              <a:t>大</a:t>
            </a:r>
            <a:endParaRPr lang="en-US" altLang="zh-CN" sz="1600" dirty="0" smtClean="0">
              <a:solidFill>
                <a:srgbClr val="000000"/>
              </a:solidFill>
              <a:latin typeface="Arial" panose="020B0604020202020204" pitchFamily="34" charset="0"/>
              <a:ea typeface="楷体" panose="02010609060101010101" pitchFamily="49" charset="-122"/>
              <a:cs typeface="Times New Roman" panose="02020603050405020304" pitchFamily="18" charset="0"/>
            </a:endParaRPr>
          </a:p>
          <a:p>
            <a:pPr algn="ctr">
              <a:spcBef>
                <a:spcPts val="600"/>
              </a:spcBef>
              <a:spcAft>
                <a:spcPts val="600"/>
              </a:spcAft>
            </a:pPr>
            <a:r>
              <a:rPr lang="zh-CN" altLang="en-US" sz="1600" dirty="0" smtClean="0">
                <a:solidFill>
                  <a:srgbClr val="000000"/>
                </a:solidFill>
                <a:latin typeface="Arial" panose="020B0604020202020204" pitchFamily="34" charset="0"/>
                <a:ea typeface="楷体" panose="02010609060101010101" pitchFamily="49" charset="-122"/>
                <a:cs typeface="Times New Roman" panose="02020603050405020304" pitchFamily="18" charset="0"/>
              </a:rPr>
              <a:t>成</a:t>
            </a:r>
            <a:r>
              <a:rPr lang="zh-CN" altLang="en-US" sz="1600" dirty="0">
                <a:solidFill>
                  <a:srgbClr val="000000"/>
                </a:solidFill>
                <a:latin typeface="Arial" panose="020B0604020202020204" pitchFamily="34" charset="0"/>
                <a:ea typeface="楷体" panose="02010609060101010101" pitchFamily="49" charset="-122"/>
                <a:cs typeface="Times New Roman" panose="02020603050405020304" pitchFamily="18" charset="0"/>
              </a:rPr>
              <a:t>长性最好</a:t>
            </a:r>
            <a:endParaRPr lang="zh-CN" altLang="en-US" sz="1600" dirty="0"/>
          </a:p>
        </p:txBody>
      </p:sp>
      <p:grpSp>
        <p:nvGrpSpPr>
          <p:cNvPr id="9" name="组合 8"/>
          <p:cNvGrpSpPr/>
          <p:nvPr/>
        </p:nvGrpSpPr>
        <p:grpSpPr>
          <a:xfrm>
            <a:off x="458636" y="1992495"/>
            <a:ext cx="5811537" cy="3671957"/>
            <a:chOff x="647318" y="1557075"/>
            <a:chExt cx="5811537" cy="3671957"/>
          </a:xfrm>
        </p:grpSpPr>
        <p:sp>
          <p:nvSpPr>
            <p:cNvPr id="10" name="矩形 9"/>
            <p:cNvSpPr/>
            <p:nvPr/>
          </p:nvSpPr>
          <p:spPr>
            <a:xfrm>
              <a:off x="3844264" y="1557075"/>
              <a:ext cx="799094" cy="307777"/>
            </a:xfrm>
            <a:prstGeom prst="rect">
              <a:avLst/>
            </a:prstGeom>
            <a:effectLst/>
          </p:spPr>
          <p:txBody>
            <a:bodyPr wrap="square">
              <a:spAutoFit/>
            </a:bodyPr>
            <a:lstStyle/>
            <a:p>
              <a:pPr algn="ctr"/>
              <a:r>
                <a:rPr lang="zh-CN" altLang="en-US" sz="1400" b="1" kern="0" dirty="0">
                  <a:latin typeface="Arial" panose="020B0604020202020204" pitchFamily="34" charset="0"/>
                  <a:ea typeface="楷体" panose="02010609060101010101" pitchFamily="49" charset="-122"/>
                  <a:cs typeface="Arial" panose="020B0604020202020204" pitchFamily="34" charset="0"/>
                </a:rPr>
                <a:t>房地产</a:t>
              </a:r>
              <a:endParaRPr lang="en-US" altLang="zh-CN" sz="1400" b="1" kern="0" dirty="0">
                <a:latin typeface="Arial" panose="020B0604020202020204" pitchFamily="34" charset="0"/>
                <a:ea typeface="楷体" panose="02010609060101010101" pitchFamily="49" charset="-122"/>
                <a:cs typeface="Arial" panose="020B0604020202020204" pitchFamily="34" charset="0"/>
              </a:endParaRPr>
            </a:p>
          </p:txBody>
        </p:sp>
        <p:sp>
          <p:nvSpPr>
            <p:cNvPr id="11" name="矩形 10"/>
            <p:cNvSpPr/>
            <p:nvPr/>
          </p:nvSpPr>
          <p:spPr>
            <a:xfrm rot="8214552">
              <a:off x="4687084" y="3974124"/>
              <a:ext cx="508042" cy="956582"/>
            </a:xfrm>
            <a:prstGeom prst="rect">
              <a:avLst/>
            </a:prstGeom>
            <a:noFill/>
            <a:ln w="25400" cap="flat" cmpd="sng" algn="ctr">
              <a:solidFill>
                <a:schemeClr val="bg1">
                  <a:lumMod val="50000"/>
                </a:schemeClr>
              </a:solidFill>
              <a:prstDash val="sysDot"/>
            </a:ln>
            <a:effectLst/>
          </p:spPr>
          <p:txBody>
            <a:bodyPr rtlCol="0" anchor="ctr"/>
            <a:lstStyle/>
            <a:p>
              <a:pPr algn="ctr"/>
              <a:endParaRPr lang="zh-CN" altLang="en-US" kern="0">
                <a:latin typeface="Arial" panose="020B0604020202020204" pitchFamily="34" charset="0"/>
                <a:ea typeface="楷体" panose="02010609060101010101" pitchFamily="49" charset="-122"/>
                <a:cs typeface="Arial" panose="020B0604020202020204" pitchFamily="34" charset="0"/>
              </a:endParaRPr>
            </a:p>
          </p:txBody>
        </p:sp>
        <p:sp>
          <p:nvSpPr>
            <p:cNvPr id="12" name="矩形 11"/>
            <p:cNvSpPr/>
            <p:nvPr/>
          </p:nvSpPr>
          <p:spPr>
            <a:xfrm rot="5400000">
              <a:off x="5173110" y="3389598"/>
              <a:ext cx="569040" cy="622107"/>
            </a:xfrm>
            <a:prstGeom prst="rect">
              <a:avLst/>
            </a:prstGeom>
            <a:noFill/>
            <a:ln w="25400" cap="flat" cmpd="sng" algn="ctr">
              <a:solidFill>
                <a:schemeClr val="bg1">
                  <a:lumMod val="75000"/>
                </a:schemeClr>
              </a:solidFill>
              <a:prstDash val="sysDot"/>
            </a:ln>
            <a:effectLst/>
          </p:spPr>
          <p:txBody>
            <a:bodyPr rtlCol="0" anchor="ctr"/>
            <a:lstStyle/>
            <a:p>
              <a:pPr algn="ctr"/>
              <a:endParaRPr lang="zh-CN" altLang="en-US" kern="0">
                <a:latin typeface="Arial" panose="020B0604020202020204" pitchFamily="34" charset="0"/>
                <a:ea typeface="楷体" panose="02010609060101010101" pitchFamily="49" charset="-122"/>
                <a:cs typeface="Arial" panose="020B0604020202020204" pitchFamily="34" charset="0"/>
              </a:endParaRPr>
            </a:p>
          </p:txBody>
        </p:sp>
        <p:sp>
          <p:nvSpPr>
            <p:cNvPr id="13" name="矩形 12"/>
            <p:cNvSpPr/>
            <p:nvPr/>
          </p:nvSpPr>
          <p:spPr>
            <a:xfrm>
              <a:off x="3699883" y="2273870"/>
              <a:ext cx="1046699" cy="1019065"/>
            </a:xfrm>
            <a:prstGeom prst="rect">
              <a:avLst/>
            </a:prstGeom>
            <a:solidFill>
              <a:schemeClr val="bg1">
                <a:lumMod val="75000"/>
              </a:schemeClr>
            </a:solidFill>
            <a:ln w="3175" cap="flat" cmpd="sng" algn="ctr">
              <a:solidFill>
                <a:schemeClr val="bg1">
                  <a:lumMod val="85000"/>
                </a:schemeClr>
              </a:solidFill>
              <a:prstDash val="solid"/>
            </a:ln>
            <a:effectLst/>
          </p:spPr>
          <p:txBody>
            <a:bodyPr anchor="ctr">
              <a:noAutofit/>
            </a:bodyPr>
            <a:lstStyle/>
            <a:p>
              <a:pPr algn="ctr" defTabSz="1219200"/>
              <a:endParaRPr lang="zh-CN" altLang="en-US" sz="1600" kern="0">
                <a:latin typeface="Arial" panose="020B0604020202020204" pitchFamily="34" charset="0"/>
                <a:ea typeface="楷体" panose="02010609060101010101" pitchFamily="49" charset="-122"/>
                <a:cs typeface="Arial" panose="020B0604020202020204" pitchFamily="34" charset="0"/>
              </a:endParaRPr>
            </a:p>
          </p:txBody>
        </p:sp>
        <p:sp>
          <p:nvSpPr>
            <p:cNvPr id="14" name="矩形 13"/>
            <p:cNvSpPr/>
            <p:nvPr/>
          </p:nvSpPr>
          <p:spPr>
            <a:xfrm>
              <a:off x="3699883" y="1997775"/>
              <a:ext cx="1046699" cy="1083977"/>
            </a:xfrm>
            <a:prstGeom prst="rect">
              <a:avLst/>
            </a:prstGeom>
            <a:noFill/>
            <a:ln w="25400" cap="flat" cmpd="sng" algn="ctr">
              <a:solidFill>
                <a:schemeClr val="bg1">
                  <a:lumMod val="75000"/>
                </a:schemeClr>
              </a:solidFill>
              <a:prstDash val="sysDot"/>
            </a:ln>
            <a:effectLst/>
          </p:spPr>
          <p:txBody>
            <a:bodyPr rtlCol="0" anchor="ctr"/>
            <a:lstStyle/>
            <a:p>
              <a:pPr algn="ctr"/>
              <a:endParaRPr lang="zh-CN" altLang="en-US" kern="0">
                <a:latin typeface="Arial" panose="020B0604020202020204" pitchFamily="34" charset="0"/>
                <a:ea typeface="楷体" panose="02010609060101010101" pitchFamily="49" charset="-122"/>
                <a:cs typeface="Arial" panose="020B0604020202020204" pitchFamily="34" charset="0"/>
              </a:endParaRPr>
            </a:p>
          </p:txBody>
        </p:sp>
        <p:sp>
          <p:nvSpPr>
            <p:cNvPr id="15" name="矩形 14"/>
            <p:cNvSpPr/>
            <p:nvPr/>
          </p:nvSpPr>
          <p:spPr>
            <a:xfrm rot="16200000">
              <a:off x="2075176" y="2388933"/>
              <a:ext cx="1263679" cy="2397155"/>
            </a:xfrm>
            <a:prstGeom prst="rect">
              <a:avLst/>
            </a:prstGeom>
            <a:noFill/>
            <a:ln w="25400" cap="flat" cmpd="sng" algn="ctr">
              <a:solidFill>
                <a:srgbClr val="F05A23"/>
              </a:solidFill>
              <a:prstDash val="sysDot"/>
            </a:ln>
            <a:effectLst/>
          </p:spPr>
          <p:txBody>
            <a:bodyPr rtlCol="0" anchor="ctr"/>
            <a:lstStyle/>
            <a:p>
              <a:pPr algn="ctr"/>
              <a:endParaRPr lang="zh-CN" altLang="en-US" kern="0" dirty="0">
                <a:latin typeface="Arial" panose="020B0604020202020204" pitchFamily="34" charset="0"/>
                <a:ea typeface="楷体" panose="02010609060101010101" pitchFamily="49" charset="-122"/>
                <a:cs typeface="Arial" panose="020B0604020202020204" pitchFamily="34" charset="0"/>
              </a:endParaRPr>
            </a:p>
          </p:txBody>
        </p:sp>
        <p:grpSp>
          <p:nvGrpSpPr>
            <p:cNvPr id="16" name="组合 15"/>
            <p:cNvGrpSpPr/>
            <p:nvPr/>
          </p:nvGrpSpPr>
          <p:grpSpPr>
            <a:xfrm rot="1720495">
              <a:off x="3569184" y="3991737"/>
              <a:ext cx="437176" cy="972269"/>
              <a:chOff x="4121248" y="3913197"/>
              <a:chExt cx="437176" cy="972269"/>
            </a:xfrm>
          </p:grpSpPr>
          <p:sp>
            <p:nvSpPr>
              <p:cNvPr id="64" name="矩形 63"/>
              <p:cNvSpPr/>
              <p:nvPr/>
            </p:nvSpPr>
            <p:spPr>
              <a:xfrm rot="10800000">
                <a:off x="4121248" y="4024197"/>
                <a:ext cx="437174" cy="861269"/>
              </a:xfrm>
              <a:prstGeom prst="rect">
                <a:avLst/>
              </a:prstGeom>
              <a:noFill/>
              <a:ln w="25400" cap="flat" cmpd="sng" algn="ctr">
                <a:solidFill>
                  <a:schemeClr val="bg1">
                    <a:lumMod val="50000"/>
                  </a:schemeClr>
                </a:solidFill>
                <a:prstDash val="sysDot"/>
              </a:ln>
              <a:effectLst/>
            </p:spPr>
            <p:txBody>
              <a:bodyPr rtlCol="0" anchor="ctr"/>
              <a:lstStyle/>
              <a:p>
                <a:pPr algn="ctr"/>
                <a:endParaRPr lang="zh-CN" altLang="en-US" kern="0">
                  <a:latin typeface="Arial" panose="020B0604020202020204" pitchFamily="34" charset="0"/>
                  <a:ea typeface="楷体" panose="02010609060101010101" pitchFamily="49" charset="-122"/>
                  <a:cs typeface="Arial" panose="020B0604020202020204" pitchFamily="34" charset="0"/>
                </a:endParaRPr>
              </a:p>
            </p:txBody>
          </p:sp>
          <p:sp>
            <p:nvSpPr>
              <p:cNvPr id="65" name="矩形 64"/>
              <p:cNvSpPr/>
              <p:nvPr/>
            </p:nvSpPr>
            <p:spPr>
              <a:xfrm rot="10800000">
                <a:off x="4121250" y="3913197"/>
                <a:ext cx="437174" cy="833171"/>
              </a:xfrm>
              <a:prstGeom prst="rect">
                <a:avLst/>
              </a:prstGeom>
              <a:solidFill>
                <a:sysClr val="window" lastClr="FFFFFF">
                  <a:lumMod val="75000"/>
                </a:sysClr>
              </a:solidFill>
              <a:ln w="25400" cap="flat" cmpd="sng" algn="ctr">
                <a:noFill/>
                <a:prstDash val="solid"/>
              </a:ln>
              <a:effectLst/>
            </p:spPr>
            <p:txBody>
              <a:bodyPr rtlCol="0" anchor="ctr"/>
              <a:lstStyle/>
              <a:p>
                <a:pPr algn="ctr"/>
                <a:endParaRPr lang="zh-CN" altLang="en-US" kern="0">
                  <a:latin typeface="Arial" panose="020B0604020202020204" pitchFamily="34" charset="0"/>
                  <a:ea typeface="楷体" panose="02010609060101010101" pitchFamily="49" charset="-122"/>
                  <a:cs typeface="Arial" panose="020B0604020202020204" pitchFamily="34" charset="0"/>
                </a:endParaRPr>
              </a:p>
            </p:txBody>
          </p:sp>
        </p:grpSp>
        <p:sp>
          <p:nvSpPr>
            <p:cNvPr id="17" name="矩形 16"/>
            <p:cNvSpPr/>
            <p:nvPr/>
          </p:nvSpPr>
          <p:spPr>
            <a:xfrm rot="8214552">
              <a:off x="4544728" y="3783097"/>
              <a:ext cx="508042" cy="1004900"/>
            </a:xfrm>
            <a:prstGeom prst="rect">
              <a:avLst/>
            </a:prstGeom>
            <a:solidFill>
              <a:sysClr val="window" lastClr="FFFFFF">
                <a:lumMod val="75000"/>
              </a:sysClr>
            </a:solidFill>
            <a:ln w="25400" cap="flat" cmpd="sng" algn="ctr">
              <a:noFill/>
              <a:prstDash val="solid"/>
            </a:ln>
            <a:effectLst/>
          </p:spPr>
          <p:txBody>
            <a:bodyPr rtlCol="0" anchor="ctr"/>
            <a:lstStyle/>
            <a:p>
              <a:pPr algn="ctr"/>
              <a:endParaRPr lang="zh-CN" altLang="en-US" kern="0">
                <a:latin typeface="Arial" panose="020B0604020202020204" pitchFamily="34" charset="0"/>
                <a:ea typeface="楷体" panose="02010609060101010101" pitchFamily="49" charset="-122"/>
                <a:cs typeface="Arial" panose="020B0604020202020204" pitchFamily="34" charset="0"/>
              </a:endParaRPr>
            </a:p>
          </p:txBody>
        </p:sp>
        <p:sp>
          <p:nvSpPr>
            <p:cNvPr id="18" name="矩形 17"/>
            <p:cNvSpPr/>
            <p:nvPr/>
          </p:nvSpPr>
          <p:spPr>
            <a:xfrm rot="5400000">
              <a:off x="4999925" y="3427149"/>
              <a:ext cx="569039" cy="547008"/>
            </a:xfrm>
            <a:prstGeom prst="rect">
              <a:avLst/>
            </a:prstGeom>
            <a:solidFill>
              <a:schemeClr val="bg1">
                <a:lumMod val="75000"/>
              </a:schemeClr>
            </a:solidFill>
            <a:ln w="3175" cap="flat" cmpd="sng" algn="ctr">
              <a:solidFill>
                <a:schemeClr val="bg1">
                  <a:lumMod val="85000"/>
                </a:schemeClr>
              </a:solidFill>
              <a:prstDash val="solid"/>
            </a:ln>
            <a:effectLst/>
          </p:spPr>
          <p:txBody>
            <a:bodyPr anchor="ctr">
              <a:noAutofit/>
            </a:bodyPr>
            <a:lstStyle/>
            <a:p>
              <a:pPr algn="ctr" defTabSz="1219200"/>
              <a:endParaRPr lang="zh-CN" altLang="en-US" sz="1600" kern="0">
                <a:latin typeface="Arial" panose="020B0604020202020204" pitchFamily="34" charset="0"/>
                <a:ea typeface="楷体" panose="02010609060101010101" pitchFamily="49" charset="-122"/>
                <a:cs typeface="Arial" panose="020B0604020202020204" pitchFamily="34" charset="0"/>
              </a:endParaRPr>
            </a:p>
          </p:txBody>
        </p:sp>
        <p:sp>
          <p:nvSpPr>
            <p:cNvPr id="19" name="矩形 18"/>
            <p:cNvSpPr/>
            <p:nvPr/>
          </p:nvSpPr>
          <p:spPr>
            <a:xfrm rot="2906729">
              <a:off x="4753080" y="2706152"/>
              <a:ext cx="574614" cy="836975"/>
            </a:xfrm>
            <a:prstGeom prst="rect">
              <a:avLst/>
            </a:prstGeom>
            <a:solidFill>
              <a:srgbClr val="F05A23"/>
            </a:solidFill>
            <a:ln w="3175" cap="flat" cmpd="sng" algn="ctr">
              <a:noFill/>
              <a:prstDash val="solid"/>
            </a:ln>
            <a:effectLst/>
          </p:spPr>
          <p:txBody>
            <a:bodyPr anchor="ctr">
              <a:noAutofit/>
            </a:bodyPr>
            <a:lstStyle/>
            <a:p>
              <a:pPr algn="ctr" defTabSz="1219200"/>
              <a:endParaRPr lang="zh-CN" altLang="en-US" sz="1600" kern="0">
                <a:latin typeface="Arial" panose="020B0604020202020204" pitchFamily="34" charset="0"/>
                <a:ea typeface="楷体" panose="02010609060101010101" pitchFamily="49" charset="-122"/>
                <a:cs typeface="Arial" panose="020B0604020202020204" pitchFamily="34" charset="0"/>
              </a:endParaRPr>
            </a:p>
          </p:txBody>
        </p:sp>
        <p:sp>
          <p:nvSpPr>
            <p:cNvPr id="20" name="矩形 19"/>
            <p:cNvSpPr/>
            <p:nvPr/>
          </p:nvSpPr>
          <p:spPr>
            <a:xfrm rot="16200000">
              <a:off x="2575191" y="2736761"/>
              <a:ext cx="1252086" cy="1713094"/>
            </a:xfrm>
            <a:prstGeom prst="rect">
              <a:avLst/>
            </a:prstGeom>
            <a:solidFill>
              <a:srgbClr val="F05A23"/>
            </a:solidFill>
            <a:ln w="3175" cap="flat" cmpd="sng" algn="ctr">
              <a:noFill/>
              <a:prstDash val="solid"/>
            </a:ln>
            <a:effectLst/>
          </p:spPr>
          <p:txBody>
            <a:bodyPr anchor="ctr">
              <a:noAutofit/>
            </a:bodyPr>
            <a:lstStyle/>
            <a:p>
              <a:pPr algn="ctr" defTabSz="1219200"/>
              <a:endParaRPr lang="zh-CN" altLang="en-US" sz="1600" kern="0" dirty="0">
                <a:latin typeface="Arial" panose="020B0604020202020204" pitchFamily="34" charset="0"/>
                <a:ea typeface="楷体" panose="02010609060101010101" pitchFamily="49" charset="-122"/>
                <a:cs typeface="Arial" panose="020B0604020202020204" pitchFamily="34" charset="0"/>
              </a:endParaRPr>
            </a:p>
          </p:txBody>
        </p:sp>
        <p:sp>
          <p:nvSpPr>
            <p:cNvPr id="21" name="TextBox 94"/>
            <p:cNvSpPr txBox="1"/>
            <p:nvPr/>
          </p:nvSpPr>
          <p:spPr>
            <a:xfrm>
              <a:off x="3991565" y="2406103"/>
              <a:ext cx="523733" cy="333854"/>
            </a:xfrm>
            <a:prstGeom prst="rect">
              <a:avLst/>
            </a:prstGeom>
            <a:noFill/>
            <a:effectLst/>
          </p:spPr>
          <p:txBody>
            <a:bodyPr wrap="none" rtlCol="0">
              <a:spAutoFit/>
            </a:bodyPr>
            <a:lstStyle>
              <a:defPPr>
                <a:defRPr lang="zh-CN"/>
              </a:defPPr>
              <a:lvl1pPr>
                <a:defRPr b="1">
                  <a:solidFill>
                    <a:schemeClr val="bg1"/>
                  </a:solidFill>
                </a:defRPr>
              </a:lvl1pPr>
            </a:lstStyle>
            <a:p>
              <a:r>
                <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130</a:t>
              </a:r>
              <a:endPar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sp>
          <p:nvSpPr>
            <p:cNvPr id="22" name="TextBox 95"/>
            <p:cNvSpPr txBox="1"/>
            <p:nvPr/>
          </p:nvSpPr>
          <p:spPr>
            <a:xfrm>
              <a:off x="3894190" y="2013520"/>
              <a:ext cx="718482" cy="333854"/>
            </a:xfrm>
            <a:prstGeom prst="rect">
              <a:avLst/>
            </a:prstGeom>
            <a:noFill/>
            <a:effectLst/>
          </p:spPr>
          <p:txBody>
            <a:bodyPr wrap="none" rtlCol="0">
              <a:spAutoFit/>
            </a:bodyPr>
            <a:lstStyle>
              <a:defPPr>
                <a:defRPr lang="zh-CN"/>
              </a:defPPr>
              <a:lvl1pPr>
                <a:defRPr b="1">
                  <a:solidFill>
                    <a:schemeClr val="bg1"/>
                  </a:solidFill>
                </a:defRPr>
              </a:lvl1pPr>
            </a:lstStyle>
            <a:p>
              <a:r>
                <a:rPr lang="zh-CN" altLang="en-US"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约</a:t>
              </a:r>
              <a:r>
                <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180</a:t>
              </a:r>
              <a:endPar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sp>
          <p:nvSpPr>
            <p:cNvPr id="23" name="矩形 22"/>
            <p:cNvSpPr/>
            <p:nvPr/>
          </p:nvSpPr>
          <p:spPr>
            <a:xfrm rot="2906729">
              <a:off x="5007353" y="2318274"/>
              <a:ext cx="567566" cy="1182435"/>
            </a:xfrm>
            <a:prstGeom prst="rect">
              <a:avLst/>
            </a:prstGeom>
            <a:noFill/>
            <a:ln w="25400" cap="flat" cmpd="sng" algn="ctr">
              <a:solidFill>
                <a:srgbClr val="F05A23"/>
              </a:solidFill>
              <a:prstDash val="sysDot"/>
            </a:ln>
            <a:effectLst/>
          </p:spPr>
          <p:txBody>
            <a:bodyPr rtlCol="0" anchor="ctr"/>
            <a:lstStyle/>
            <a:p>
              <a:pPr algn="ctr"/>
              <a:endParaRPr lang="zh-CN" altLang="en-US" kern="0">
                <a:latin typeface="Arial" panose="020B0604020202020204" pitchFamily="34" charset="0"/>
                <a:ea typeface="楷体" panose="02010609060101010101" pitchFamily="49" charset="-122"/>
                <a:cs typeface="Arial" panose="020B0604020202020204" pitchFamily="34" charset="0"/>
              </a:endParaRPr>
            </a:p>
          </p:txBody>
        </p:sp>
        <p:sp>
          <p:nvSpPr>
            <p:cNvPr id="24" name="Oval 6"/>
            <p:cNvSpPr>
              <a:spLocks noChangeArrowheads="1"/>
            </p:cNvSpPr>
            <p:nvPr/>
          </p:nvSpPr>
          <p:spPr bwMode="gray">
            <a:xfrm>
              <a:off x="3282608" y="2693810"/>
              <a:ext cx="1971896" cy="1994371"/>
            </a:xfrm>
            <a:prstGeom prst="ellipse">
              <a:avLst/>
            </a:prstGeom>
            <a:solidFill>
              <a:srgbClr val="F05A23"/>
            </a:solidFill>
            <a:ln w="19050">
              <a:solidFill>
                <a:schemeClr val="bg1"/>
              </a:solidFill>
            </a:ln>
            <a:effectLst/>
          </p:spPr>
          <p:txBody>
            <a:bodyPr wrap="none" anchor="ctr"/>
            <a:lstStyle/>
            <a:p>
              <a:pPr>
                <a:defRPr/>
              </a:pPr>
              <a:endParaRPr lang="zh-CN" altLang="en-US" kern="0">
                <a:latin typeface="Arial" panose="020B0604020202020204" pitchFamily="34" charset="0"/>
                <a:ea typeface="楷体" panose="02010609060101010101" pitchFamily="49" charset="-122"/>
                <a:cs typeface="Arial" panose="020B0604020202020204" pitchFamily="34" charset="0"/>
              </a:endParaRPr>
            </a:p>
          </p:txBody>
        </p:sp>
        <p:sp>
          <p:nvSpPr>
            <p:cNvPr id="25" name="TextBox 98"/>
            <p:cNvSpPr txBox="1"/>
            <p:nvPr/>
          </p:nvSpPr>
          <p:spPr>
            <a:xfrm>
              <a:off x="2391010" y="3472533"/>
              <a:ext cx="887201" cy="567552"/>
            </a:xfrm>
            <a:prstGeom prst="rect">
              <a:avLst/>
            </a:prstGeom>
            <a:noFill/>
            <a:effectLst/>
          </p:spPr>
          <p:txBody>
            <a:bodyPr wrap="square" rtlCol="0">
              <a:spAutoFit/>
            </a:bodyPr>
            <a:lstStyle/>
            <a:p>
              <a:r>
                <a:rPr lang="zh-CN" altLang="en-US" sz="1400" b="1" kern="0" dirty="0">
                  <a:latin typeface="Arial" panose="020B0604020202020204" pitchFamily="34" charset="0"/>
                  <a:ea typeface="楷体" panose="02010609060101010101" pitchFamily="49" charset="-122"/>
                  <a:cs typeface="Arial" panose="020B0604020202020204" pitchFamily="34" charset="0"/>
                </a:rPr>
                <a:t>超过</a:t>
              </a:r>
              <a:r>
                <a:rPr lang="en-US" altLang="zh-CN" sz="1400" b="1" kern="0" dirty="0">
                  <a:latin typeface="Arial" panose="020B0604020202020204" pitchFamily="34" charset="0"/>
                  <a:ea typeface="楷体" panose="02010609060101010101" pitchFamily="49" charset="-122"/>
                  <a:cs typeface="Arial" panose="020B0604020202020204" pitchFamily="34" charset="0"/>
                </a:rPr>
                <a:t>200</a:t>
              </a:r>
              <a:endParaRPr lang="zh-CN" altLang="en-US" sz="1400" b="1" kern="0" dirty="0">
                <a:latin typeface="Arial" panose="020B0604020202020204" pitchFamily="34" charset="0"/>
                <a:ea typeface="楷体" panose="02010609060101010101" pitchFamily="49" charset="-122"/>
                <a:cs typeface="Arial" panose="020B0604020202020204" pitchFamily="34" charset="0"/>
              </a:endParaRPr>
            </a:p>
          </p:txBody>
        </p:sp>
        <p:sp>
          <p:nvSpPr>
            <p:cNvPr id="26" name="矩形 25"/>
            <p:cNvSpPr/>
            <p:nvPr/>
          </p:nvSpPr>
          <p:spPr>
            <a:xfrm>
              <a:off x="2535596" y="2617531"/>
              <a:ext cx="1063749" cy="307777"/>
            </a:xfrm>
            <a:prstGeom prst="rect">
              <a:avLst/>
            </a:prstGeom>
            <a:effectLst/>
          </p:spPr>
          <p:txBody>
            <a:bodyPr wrap="square">
              <a:spAutoFit/>
            </a:bodyPr>
            <a:lstStyle/>
            <a:p>
              <a:r>
                <a:rPr lang="en-US" altLang="zh-CN" sz="1400" b="1" kern="0" dirty="0" smtClean="0">
                  <a:latin typeface="Arial" panose="020B0604020202020204" pitchFamily="34" charset="0"/>
                  <a:ea typeface="楷体" panose="02010609060101010101" pitchFamily="49" charset="-122"/>
                  <a:cs typeface="Arial" panose="020B0604020202020204" pitchFamily="34" charset="0"/>
                </a:rPr>
                <a:t>xx</a:t>
              </a:r>
              <a:r>
                <a:rPr lang="zh-CN" altLang="en-US" sz="1400" b="1" kern="0" dirty="0" smtClean="0">
                  <a:latin typeface="Arial" panose="020B0604020202020204" pitchFamily="34" charset="0"/>
                  <a:ea typeface="楷体" panose="02010609060101010101" pitchFamily="49" charset="-122"/>
                  <a:cs typeface="Arial" panose="020B0604020202020204" pitchFamily="34" charset="0"/>
                </a:rPr>
                <a:t>资产</a:t>
              </a:r>
              <a:endParaRPr lang="en-US" altLang="zh-CN" sz="1400" b="1" kern="0" dirty="0">
                <a:latin typeface="Arial" panose="020B0604020202020204" pitchFamily="34" charset="0"/>
                <a:ea typeface="楷体" panose="02010609060101010101" pitchFamily="49" charset="-122"/>
                <a:cs typeface="Arial" panose="020B0604020202020204" pitchFamily="34" charset="0"/>
              </a:endParaRPr>
            </a:p>
          </p:txBody>
        </p:sp>
        <p:sp>
          <p:nvSpPr>
            <p:cNvPr id="27" name="TextBox 100"/>
            <p:cNvSpPr txBox="1"/>
            <p:nvPr/>
          </p:nvSpPr>
          <p:spPr>
            <a:xfrm>
              <a:off x="1531810" y="3478846"/>
              <a:ext cx="796530" cy="333854"/>
            </a:xfrm>
            <a:prstGeom prst="rect">
              <a:avLst/>
            </a:prstGeom>
            <a:noFill/>
            <a:effectLst/>
          </p:spPr>
          <p:txBody>
            <a:bodyPr wrap="square" rtlCol="0">
              <a:spAutoFit/>
            </a:bodyPr>
            <a:lstStyle/>
            <a:p>
              <a:r>
                <a:rPr lang="zh-CN" altLang="en-US" sz="1400" b="1" kern="0" dirty="0">
                  <a:latin typeface="Arial" panose="020B0604020202020204" pitchFamily="34" charset="0"/>
                  <a:ea typeface="楷体" panose="02010609060101010101" pitchFamily="49" charset="-122"/>
                  <a:cs typeface="Arial" panose="020B0604020202020204" pitchFamily="34" charset="0"/>
                </a:rPr>
                <a:t>约</a:t>
              </a:r>
              <a:r>
                <a:rPr lang="en-US" altLang="zh-CN" sz="1400" b="1" kern="0" dirty="0">
                  <a:latin typeface="Arial" panose="020B0604020202020204" pitchFamily="34" charset="0"/>
                  <a:ea typeface="楷体" panose="02010609060101010101" pitchFamily="49" charset="-122"/>
                  <a:cs typeface="Arial" panose="020B0604020202020204" pitchFamily="34" charset="0"/>
                </a:rPr>
                <a:t>350</a:t>
              </a:r>
              <a:endParaRPr lang="zh-CN" altLang="en-US" sz="1400" b="1" kern="0" dirty="0">
                <a:latin typeface="Arial" panose="020B0604020202020204" pitchFamily="34" charset="0"/>
                <a:ea typeface="楷体" panose="02010609060101010101" pitchFamily="49" charset="-122"/>
                <a:cs typeface="Arial" panose="020B0604020202020204" pitchFamily="34" charset="0"/>
              </a:endParaRPr>
            </a:p>
          </p:txBody>
        </p:sp>
        <p:sp>
          <p:nvSpPr>
            <p:cNvPr id="28" name="矩形 27"/>
            <p:cNvSpPr/>
            <p:nvPr/>
          </p:nvSpPr>
          <p:spPr>
            <a:xfrm>
              <a:off x="5909043" y="3571192"/>
              <a:ext cx="549812" cy="307777"/>
            </a:xfrm>
            <a:prstGeom prst="rect">
              <a:avLst/>
            </a:prstGeom>
            <a:effectLst/>
          </p:spPr>
          <p:txBody>
            <a:bodyPr wrap="square">
              <a:spAutoFit/>
            </a:bodyPr>
            <a:lstStyle/>
            <a:p>
              <a:r>
                <a:rPr lang="en-US" altLang="zh-CN" sz="1400" b="1" kern="0" dirty="0" smtClean="0">
                  <a:latin typeface="Arial" panose="020B0604020202020204" pitchFamily="34" charset="0"/>
                  <a:ea typeface="楷体" panose="02010609060101010101" pitchFamily="49" charset="-122"/>
                  <a:cs typeface="Arial" panose="020B0604020202020204" pitchFamily="34" charset="0"/>
                </a:rPr>
                <a:t>xx</a:t>
              </a:r>
              <a:endParaRPr lang="en-US" altLang="zh-CN" sz="1400" b="1" kern="0" dirty="0">
                <a:latin typeface="Arial" panose="020B0604020202020204" pitchFamily="34" charset="0"/>
                <a:ea typeface="楷体" panose="02010609060101010101" pitchFamily="49" charset="-122"/>
                <a:cs typeface="Arial" panose="020B0604020202020204" pitchFamily="34" charset="0"/>
              </a:endParaRPr>
            </a:p>
          </p:txBody>
        </p:sp>
        <p:sp>
          <p:nvSpPr>
            <p:cNvPr id="29" name="矩形 28"/>
            <p:cNvSpPr/>
            <p:nvPr/>
          </p:nvSpPr>
          <p:spPr>
            <a:xfrm>
              <a:off x="647318" y="1823143"/>
              <a:ext cx="358876" cy="166423"/>
            </a:xfrm>
            <a:prstGeom prst="rect">
              <a:avLst/>
            </a:prstGeom>
            <a:solidFill>
              <a:srgbClr val="F05A23"/>
            </a:solidFill>
            <a:ln w="3175" cap="flat" cmpd="sng" algn="ctr">
              <a:noFill/>
              <a:prstDash val="solid"/>
            </a:ln>
            <a:effectLst/>
          </p:spPr>
          <p:txBody>
            <a:bodyPr anchor="ctr">
              <a:noAutofit/>
            </a:bodyPr>
            <a:lstStyle/>
            <a:p>
              <a:pPr algn="ctr" defTabSz="1219200"/>
              <a:endParaRPr lang="zh-CN" altLang="en-US" sz="1600" kern="0">
                <a:latin typeface="Arial" panose="020B0604020202020204" pitchFamily="34" charset="0"/>
                <a:ea typeface="楷体" panose="02010609060101010101" pitchFamily="49" charset="-122"/>
                <a:cs typeface="Arial" panose="020B0604020202020204" pitchFamily="34" charset="0"/>
              </a:endParaRPr>
            </a:p>
          </p:txBody>
        </p:sp>
        <p:sp>
          <p:nvSpPr>
            <p:cNvPr id="30" name="TextBox 103"/>
            <p:cNvSpPr txBox="1"/>
            <p:nvPr/>
          </p:nvSpPr>
          <p:spPr>
            <a:xfrm>
              <a:off x="994696" y="1764466"/>
              <a:ext cx="1118410" cy="283776"/>
            </a:xfrm>
            <a:prstGeom prst="rect">
              <a:avLst/>
            </a:prstGeom>
            <a:noFill/>
            <a:effectLst/>
          </p:spPr>
          <p:txBody>
            <a:bodyPr wrap="none" rtlCol="0">
              <a:spAutoFit/>
            </a:bodyPr>
            <a:lstStyle>
              <a:defPPr>
                <a:defRPr lang="zh-CN"/>
              </a:defPPr>
              <a:lvl1pPr>
                <a:defRPr b="1">
                  <a:solidFill>
                    <a:schemeClr val="bg1"/>
                  </a:solidFill>
                </a:defRPr>
              </a:lvl1pPr>
            </a:lstStyle>
            <a:p>
              <a:r>
                <a:rPr lang="zh-CN" altLang="en-US" sz="1100" b="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当前市场规模</a:t>
              </a:r>
              <a:endParaRPr lang="en-US" altLang="zh-CN" sz="1100" b="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sp>
          <p:nvSpPr>
            <p:cNvPr id="31" name="矩形 30"/>
            <p:cNvSpPr/>
            <p:nvPr/>
          </p:nvSpPr>
          <p:spPr>
            <a:xfrm>
              <a:off x="647318" y="2133428"/>
              <a:ext cx="358876" cy="166423"/>
            </a:xfrm>
            <a:prstGeom prst="rect">
              <a:avLst/>
            </a:prstGeom>
            <a:noFill/>
            <a:ln w="25400" cap="flat" cmpd="sng" algn="ctr">
              <a:solidFill>
                <a:srgbClr val="F05A23"/>
              </a:solidFill>
              <a:prstDash val="sysDot"/>
            </a:ln>
            <a:effectLst/>
          </p:spPr>
          <p:txBody>
            <a:bodyPr rtlCol="0" anchor="ctr"/>
            <a:lstStyle/>
            <a:p>
              <a:pPr algn="ctr"/>
              <a:endParaRPr lang="zh-CN" altLang="en-US" kern="0">
                <a:latin typeface="Arial" panose="020B0604020202020204" pitchFamily="34" charset="0"/>
                <a:ea typeface="楷体" panose="02010609060101010101" pitchFamily="49" charset="-122"/>
                <a:cs typeface="Arial" panose="020B0604020202020204" pitchFamily="34" charset="0"/>
              </a:endParaRPr>
            </a:p>
          </p:txBody>
        </p:sp>
        <p:sp>
          <p:nvSpPr>
            <p:cNvPr id="32" name="TextBox 105"/>
            <p:cNvSpPr txBox="1"/>
            <p:nvPr/>
          </p:nvSpPr>
          <p:spPr>
            <a:xfrm>
              <a:off x="994696" y="2074751"/>
              <a:ext cx="1118410" cy="283776"/>
            </a:xfrm>
            <a:prstGeom prst="rect">
              <a:avLst/>
            </a:prstGeom>
            <a:noFill/>
            <a:effectLst/>
          </p:spPr>
          <p:txBody>
            <a:bodyPr wrap="none" rtlCol="0">
              <a:spAutoFit/>
            </a:bodyPr>
            <a:lstStyle>
              <a:defPPr>
                <a:defRPr lang="zh-CN"/>
              </a:defPPr>
              <a:lvl1pPr>
                <a:defRPr b="1">
                  <a:solidFill>
                    <a:schemeClr val="bg1"/>
                  </a:solidFill>
                </a:defRPr>
              </a:lvl1pPr>
            </a:lstStyle>
            <a:p>
              <a:r>
                <a:rPr lang="zh-CN" altLang="en-US" sz="1100" b="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未来市场规模</a:t>
              </a:r>
              <a:endParaRPr lang="en-US" altLang="zh-CN" sz="1100" b="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sp>
          <p:nvSpPr>
            <p:cNvPr id="33" name="TextBox 106"/>
            <p:cNvSpPr txBox="1"/>
            <p:nvPr/>
          </p:nvSpPr>
          <p:spPr>
            <a:xfrm>
              <a:off x="5089935" y="2844670"/>
              <a:ext cx="383438" cy="307777"/>
            </a:xfrm>
            <a:prstGeom prst="rect">
              <a:avLst/>
            </a:prstGeom>
            <a:noFill/>
            <a:effectLst/>
          </p:spPr>
          <p:txBody>
            <a:bodyPr wrap="none" rtlCol="0">
              <a:spAutoFit/>
            </a:bodyPr>
            <a:lstStyle>
              <a:defPPr>
                <a:defRPr lang="zh-CN"/>
              </a:defPPr>
              <a:lvl1pPr>
                <a:defRPr b="1">
                  <a:solidFill>
                    <a:schemeClr val="bg1"/>
                  </a:solidFill>
                </a:defRPr>
              </a:lvl1pPr>
            </a:lstStyle>
            <a:p>
              <a:r>
                <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10</a:t>
              </a:r>
              <a:endPar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sp>
          <p:nvSpPr>
            <p:cNvPr id="34" name="TextBox 107"/>
            <p:cNvSpPr txBox="1"/>
            <p:nvPr/>
          </p:nvSpPr>
          <p:spPr>
            <a:xfrm>
              <a:off x="5416693" y="2544581"/>
              <a:ext cx="383438" cy="307777"/>
            </a:xfrm>
            <a:prstGeom prst="rect">
              <a:avLst/>
            </a:prstGeom>
            <a:noFill/>
            <a:effectLst/>
          </p:spPr>
          <p:txBody>
            <a:bodyPr wrap="none" rtlCol="0">
              <a:spAutoFit/>
            </a:bodyPr>
            <a:lstStyle>
              <a:defPPr>
                <a:defRPr lang="zh-CN"/>
              </a:defPPr>
              <a:lvl1pPr>
                <a:defRPr b="1">
                  <a:solidFill>
                    <a:schemeClr val="bg1"/>
                  </a:solidFill>
                </a:defRPr>
              </a:lvl1pPr>
            </a:lstStyle>
            <a:p>
              <a:r>
                <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20</a:t>
              </a:r>
              <a:endPar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sp>
          <p:nvSpPr>
            <p:cNvPr id="35" name="TextBox 108"/>
            <p:cNvSpPr txBox="1"/>
            <p:nvPr/>
          </p:nvSpPr>
          <p:spPr>
            <a:xfrm>
              <a:off x="5193846" y="3597804"/>
              <a:ext cx="284052" cy="307777"/>
            </a:xfrm>
            <a:prstGeom prst="rect">
              <a:avLst/>
            </a:prstGeom>
            <a:noFill/>
            <a:effectLst/>
          </p:spPr>
          <p:txBody>
            <a:bodyPr wrap="none" rtlCol="0">
              <a:spAutoFit/>
            </a:bodyPr>
            <a:lstStyle>
              <a:defPPr>
                <a:defRPr lang="zh-CN"/>
              </a:defPPr>
              <a:lvl1pPr>
                <a:defRPr b="1">
                  <a:solidFill>
                    <a:schemeClr val="bg1"/>
                  </a:solidFill>
                </a:defRPr>
              </a:lvl1pPr>
            </a:lstStyle>
            <a:p>
              <a:r>
                <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6</a:t>
              </a:r>
              <a:endPar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sp>
          <p:nvSpPr>
            <p:cNvPr id="36" name="TextBox 109"/>
            <p:cNvSpPr txBox="1"/>
            <p:nvPr/>
          </p:nvSpPr>
          <p:spPr>
            <a:xfrm>
              <a:off x="647318" y="2418443"/>
              <a:ext cx="1337563" cy="276999"/>
            </a:xfrm>
            <a:prstGeom prst="rect">
              <a:avLst/>
            </a:prstGeom>
            <a:noFill/>
            <a:effectLst/>
          </p:spPr>
          <p:txBody>
            <a:bodyPr wrap="square" lIns="0" rtlCol="0">
              <a:spAutoFit/>
            </a:bodyPr>
            <a:lstStyle/>
            <a:p>
              <a:r>
                <a:rPr lang="zh-CN" altLang="en-US" sz="1200" kern="0" dirty="0">
                  <a:latin typeface="Arial" panose="020B0604020202020204" pitchFamily="34" charset="0"/>
                  <a:ea typeface="楷体" panose="02010609060101010101" pitchFamily="49" charset="-122"/>
                  <a:cs typeface="Arial" panose="020B0604020202020204" pitchFamily="34" charset="0"/>
                </a:rPr>
                <a:t>单位：万亿</a:t>
              </a:r>
              <a:endParaRPr lang="zh-CN" altLang="en-US" sz="1200" kern="0" dirty="0">
                <a:latin typeface="Arial" panose="020B0604020202020204" pitchFamily="34" charset="0"/>
                <a:ea typeface="楷体" panose="02010609060101010101" pitchFamily="49" charset="-122"/>
                <a:cs typeface="Arial" panose="020B0604020202020204" pitchFamily="34" charset="0"/>
              </a:endParaRPr>
            </a:p>
          </p:txBody>
        </p:sp>
        <p:sp>
          <p:nvSpPr>
            <p:cNvPr id="37" name="TextBox 110"/>
            <p:cNvSpPr txBox="1"/>
            <p:nvPr/>
          </p:nvSpPr>
          <p:spPr>
            <a:xfrm>
              <a:off x="5655732" y="3606040"/>
              <a:ext cx="383438" cy="307777"/>
            </a:xfrm>
            <a:prstGeom prst="rect">
              <a:avLst/>
            </a:prstGeom>
            <a:noFill/>
            <a:effectLst/>
          </p:spPr>
          <p:txBody>
            <a:bodyPr wrap="none" rtlCol="0">
              <a:spAutoFit/>
            </a:bodyPr>
            <a:lstStyle>
              <a:defPPr>
                <a:defRPr lang="zh-CN"/>
              </a:defPPr>
              <a:lvl1pPr>
                <a:defRPr b="1">
                  <a:solidFill>
                    <a:schemeClr val="bg1"/>
                  </a:solidFill>
                </a:defRPr>
              </a:lvl1pPr>
            </a:lstStyle>
            <a:p>
              <a:r>
                <a:rPr lang="en-US" altLang="zh-CN" sz="1400" kern="0" dirty="0">
                  <a:solidFill>
                    <a:schemeClr val="tx1"/>
                  </a:solidFill>
                  <a:latin typeface="Arial" panose="020B0604020202020204" pitchFamily="34" charset="0"/>
                  <a:ea typeface="楷体" panose="02010609060101010101" pitchFamily="49" charset="-122"/>
                  <a:cs typeface="Arial" panose="020B0604020202020204" pitchFamily="34" charset="0"/>
                </a:rPr>
                <a:t>1</a:t>
              </a:r>
              <a:r>
                <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0</a:t>
              </a:r>
              <a:endPar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cxnSp>
          <p:nvCxnSpPr>
            <p:cNvPr id="38" name="直接连接符 37"/>
            <p:cNvCxnSpPr/>
            <p:nvPr/>
          </p:nvCxnSpPr>
          <p:spPr>
            <a:xfrm flipH="1" flipV="1">
              <a:off x="4243968" y="2273871"/>
              <a:ext cx="0" cy="180000"/>
            </a:xfrm>
            <a:prstGeom prst="line">
              <a:avLst/>
            </a:prstGeom>
            <a:noFill/>
            <a:ln w="9525" cap="flat" cmpd="sng" algn="ctr">
              <a:solidFill>
                <a:sysClr val="windowText" lastClr="000000"/>
              </a:solidFill>
              <a:prstDash val="solid"/>
              <a:headEnd type="none" w="med" len="med"/>
              <a:tailEnd type="triangle" w="med" len="med"/>
            </a:ln>
            <a:effectLst/>
          </p:spPr>
        </p:cxnSp>
        <p:cxnSp>
          <p:nvCxnSpPr>
            <p:cNvPr id="39" name="直接连接符 38"/>
            <p:cNvCxnSpPr/>
            <p:nvPr/>
          </p:nvCxnSpPr>
          <p:spPr>
            <a:xfrm flipV="1">
              <a:off x="5291855" y="2771419"/>
              <a:ext cx="201922" cy="182132"/>
            </a:xfrm>
            <a:prstGeom prst="line">
              <a:avLst/>
            </a:prstGeom>
            <a:noFill/>
            <a:ln w="9525" cap="flat" cmpd="sng" algn="ctr">
              <a:solidFill>
                <a:sysClr val="windowText" lastClr="000000"/>
              </a:solidFill>
              <a:prstDash val="solid"/>
              <a:headEnd type="none" w="med" len="med"/>
              <a:tailEnd type="triangle" w="med" len="med"/>
            </a:ln>
            <a:effectLst/>
          </p:spPr>
        </p:cxnSp>
        <p:cxnSp>
          <p:nvCxnSpPr>
            <p:cNvPr id="40" name="直接连接符 39"/>
            <p:cNvCxnSpPr/>
            <p:nvPr/>
          </p:nvCxnSpPr>
          <p:spPr>
            <a:xfrm flipV="1">
              <a:off x="5540255" y="3744904"/>
              <a:ext cx="180000" cy="0"/>
            </a:xfrm>
            <a:prstGeom prst="line">
              <a:avLst/>
            </a:prstGeom>
            <a:noFill/>
            <a:ln w="9525" cap="flat" cmpd="sng" algn="ctr">
              <a:solidFill>
                <a:sysClr val="windowText" lastClr="000000"/>
              </a:solidFill>
              <a:prstDash val="solid"/>
              <a:headEnd type="none" w="med" len="med"/>
              <a:tailEnd type="triangle" w="med" len="med"/>
            </a:ln>
            <a:effectLst/>
          </p:spPr>
        </p:cxnSp>
        <p:sp>
          <p:nvSpPr>
            <p:cNvPr id="41" name="TextBox 114"/>
            <p:cNvSpPr txBox="1"/>
            <p:nvPr/>
          </p:nvSpPr>
          <p:spPr>
            <a:xfrm>
              <a:off x="4746551" y="4373064"/>
              <a:ext cx="469831" cy="333854"/>
            </a:xfrm>
            <a:prstGeom prst="rect">
              <a:avLst/>
            </a:prstGeom>
            <a:noFill/>
            <a:effectLst/>
          </p:spPr>
          <p:txBody>
            <a:bodyPr wrap="none" rtlCol="0">
              <a:spAutoFit/>
            </a:bodyPr>
            <a:lstStyle>
              <a:defPPr>
                <a:defRPr lang="zh-CN"/>
              </a:defPPr>
              <a:lvl1pPr>
                <a:defRPr b="1">
                  <a:solidFill>
                    <a:schemeClr val="bg1"/>
                  </a:solidFill>
                </a:defRPr>
              </a:lvl1pPr>
            </a:lstStyle>
            <a:p>
              <a:r>
                <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3.2</a:t>
              </a:r>
              <a:endPar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sp>
          <p:nvSpPr>
            <p:cNvPr id="42" name="TextBox 115"/>
            <p:cNvSpPr txBox="1"/>
            <p:nvPr/>
          </p:nvSpPr>
          <p:spPr>
            <a:xfrm>
              <a:off x="5096401" y="4622348"/>
              <a:ext cx="320292" cy="333854"/>
            </a:xfrm>
            <a:prstGeom prst="rect">
              <a:avLst/>
            </a:prstGeom>
            <a:noFill/>
            <a:effectLst/>
          </p:spPr>
          <p:txBody>
            <a:bodyPr wrap="none" rtlCol="0">
              <a:spAutoFit/>
            </a:bodyPr>
            <a:lstStyle>
              <a:defPPr>
                <a:defRPr lang="zh-CN"/>
              </a:defPPr>
              <a:lvl1pPr>
                <a:defRPr b="1">
                  <a:solidFill>
                    <a:schemeClr val="bg1"/>
                  </a:solidFill>
                </a:defRPr>
              </a:lvl1pPr>
            </a:lstStyle>
            <a:p>
              <a:r>
                <a:rPr lang="en-US" altLang="zh-CN" sz="1400" kern="0" dirty="0">
                  <a:solidFill>
                    <a:schemeClr val="tx1"/>
                  </a:solidFill>
                  <a:latin typeface="Arial" panose="020B0604020202020204" pitchFamily="34" charset="0"/>
                  <a:ea typeface="楷体" panose="02010609060101010101" pitchFamily="49" charset="-122"/>
                  <a:cs typeface="Arial" panose="020B0604020202020204" pitchFamily="34" charset="0"/>
                </a:rPr>
                <a:t>5</a:t>
              </a:r>
              <a:endPar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cxnSp>
          <p:nvCxnSpPr>
            <p:cNvPr id="43" name="直接连接符 42"/>
            <p:cNvCxnSpPr/>
            <p:nvPr/>
          </p:nvCxnSpPr>
          <p:spPr>
            <a:xfrm>
              <a:off x="5051983" y="4586340"/>
              <a:ext cx="100225" cy="78100"/>
            </a:xfrm>
            <a:prstGeom prst="line">
              <a:avLst/>
            </a:prstGeom>
            <a:noFill/>
            <a:ln w="9525" cap="flat" cmpd="sng" algn="ctr">
              <a:solidFill>
                <a:sysClr val="windowText" lastClr="000000"/>
              </a:solidFill>
              <a:prstDash val="solid"/>
              <a:headEnd type="none" w="med" len="med"/>
              <a:tailEnd type="triangle" w="med" len="med"/>
            </a:ln>
            <a:effectLst/>
          </p:spPr>
        </p:cxnSp>
        <p:sp>
          <p:nvSpPr>
            <p:cNvPr id="44" name="TextBox 117"/>
            <p:cNvSpPr txBox="1"/>
            <p:nvPr/>
          </p:nvSpPr>
          <p:spPr>
            <a:xfrm>
              <a:off x="3547577" y="4468949"/>
              <a:ext cx="320292" cy="333854"/>
            </a:xfrm>
            <a:prstGeom prst="rect">
              <a:avLst/>
            </a:prstGeom>
            <a:noFill/>
            <a:effectLst/>
          </p:spPr>
          <p:txBody>
            <a:bodyPr wrap="none" rtlCol="0">
              <a:spAutoFit/>
            </a:bodyPr>
            <a:lstStyle>
              <a:defPPr>
                <a:defRPr lang="zh-CN"/>
              </a:defPPr>
              <a:lvl1pPr>
                <a:defRPr b="1">
                  <a:solidFill>
                    <a:schemeClr val="bg1"/>
                  </a:solidFill>
                </a:defRPr>
              </a:lvl1pPr>
            </a:lstStyle>
            <a:p>
              <a:r>
                <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3</a:t>
              </a:r>
              <a:endPar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sp>
          <p:nvSpPr>
            <p:cNvPr id="45" name="TextBox 118"/>
            <p:cNvSpPr txBox="1"/>
            <p:nvPr/>
          </p:nvSpPr>
          <p:spPr>
            <a:xfrm>
              <a:off x="3413930" y="4700131"/>
              <a:ext cx="320292" cy="333854"/>
            </a:xfrm>
            <a:prstGeom prst="rect">
              <a:avLst/>
            </a:prstGeom>
            <a:noFill/>
            <a:effectLst/>
          </p:spPr>
          <p:txBody>
            <a:bodyPr wrap="none" rtlCol="0">
              <a:spAutoFit/>
            </a:bodyPr>
            <a:lstStyle>
              <a:defPPr>
                <a:defRPr lang="zh-CN"/>
              </a:defPPr>
              <a:lvl1pPr>
                <a:defRPr b="1">
                  <a:solidFill>
                    <a:schemeClr val="bg1"/>
                  </a:solidFill>
                </a:defRPr>
              </a:lvl1pPr>
            </a:lstStyle>
            <a:p>
              <a:r>
                <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rPr>
                <a:t>5</a:t>
              </a:r>
              <a:endParaRPr lang="en-US" altLang="zh-CN" sz="1400" kern="0" dirty="0" smtClean="0">
                <a:solidFill>
                  <a:schemeClr val="tx1"/>
                </a:solidFill>
                <a:latin typeface="Arial" panose="020B0604020202020204" pitchFamily="34" charset="0"/>
                <a:ea typeface="楷体" panose="02010609060101010101" pitchFamily="49" charset="-122"/>
                <a:cs typeface="Arial" panose="020B0604020202020204" pitchFamily="34" charset="0"/>
              </a:endParaRPr>
            </a:p>
          </p:txBody>
        </p:sp>
        <p:cxnSp>
          <p:nvCxnSpPr>
            <p:cNvPr id="46" name="直接连接符 45"/>
            <p:cNvCxnSpPr/>
            <p:nvPr/>
          </p:nvCxnSpPr>
          <p:spPr>
            <a:xfrm flipH="1">
              <a:off x="3589985" y="4683867"/>
              <a:ext cx="62610" cy="126369"/>
            </a:xfrm>
            <a:prstGeom prst="line">
              <a:avLst/>
            </a:prstGeom>
            <a:noFill/>
            <a:ln w="9525" cap="flat" cmpd="sng" algn="ctr">
              <a:solidFill>
                <a:sysClr val="windowText" lastClr="000000"/>
              </a:solidFill>
              <a:prstDash val="solid"/>
              <a:headEnd type="none" w="med" len="med"/>
              <a:tailEnd type="triangle" w="med" len="med"/>
            </a:ln>
            <a:effectLst/>
          </p:spPr>
        </p:cxnSp>
        <p:sp>
          <p:nvSpPr>
            <p:cNvPr id="47" name="矩形 46"/>
            <p:cNvSpPr/>
            <p:nvPr/>
          </p:nvSpPr>
          <p:spPr>
            <a:xfrm>
              <a:off x="5588053" y="2156833"/>
              <a:ext cx="799094" cy="307777"/>
            </a:xfrm>
            <a:prstGeom prst="rect">
              <a:avLst/>
            </a:prstGeom>
            <a:effectLst/>
          </p:spPr>
          <p:txBody>
            <a:bodyPr wrap="square">
              <a:spAutoFit/>
            </a:bodyPr>
            <a:lstStyle/>
            <a:p>
              <a:pPr algn="ctr"/>
              <a:r>
                <a:rPr lang="en-US" altLang="zh-CN" sz="1400" b="1" kern="0" dirty="0" smtClean="0">
                  <a:latin typeface="Arial" panose="020B0604020202020204" pitchFamily="34" charset="0"/>
                  <a:ea typeface="楷体" panose="02010609060101010101" pitchFamily="49" charset="-122"/>
                  <a:cs typeface="Arial" panose="020B0604020202020204" pitchFamily="34" charset="0"/>
                </a:rPr>
                <a:t>xx</a:t>
              </a:r>
              <a:endParaRPr lang="en-US" altLang="zh-CN" sz="1400" b="1" kern="0" dirty="0">
                <a:latin typeface="Arial" panose="020B0604020202020204" pitchFamily="34" charset="0"/>
                <a:ea typeface="楷体" panose="02010609060101010101" pitchFamily="49" charset="-122"/>
                <a:cs typeface="Arial" panose="020B0604020202020204" pitchFamily="34" charset="0"/>
              </a:endParaRPr>
            </a:p>
          </p:txBody>
        </p:sp>
        <p:sp>
          <p:nvSpPr>
            <p:cNvPr id="48" name="矩形 47"/>
            <p:cNvSpPr/>
            <p:nvPr/>
          </p:nvSpPr>
          <p:spPr>
            <a:xfrm>
              <a:off x="5218871" y="4705812"/>
              <a:ext cx="549812" cy="307777"/>
            </a:xfrm>
            <a:prstGeom prst="rect">
              <a:avLst/>
            </a:prstGeom>
            <a:effectLst/>
          </p:spPr>
          <p:txBody>
            <a:bodyPr wrap="square">
              <a:spAutoFit/>
            </a:bodyPr>
            <a:lstStyle/>
            <a:p>
              <a:r>
                <a:rPr lang="en-US" altLang="zh-CN" sz="1400" b="1" kern="0" dirty="0" smtClean="0">
                  <a:latin typeface="Arial" panose="020B0604020202020204" pitchFamily="34" charset="0"/>
                  <a:ea typeface="楷体" panose="02010609060101010101" pitchFamily="49" charset="-122"/>
                  <a:cs typeface="Arial" panose="020B0604020202020204" pitchFamily="34" charset="0"/>
                </a:rPr>
                <a:t>xx</a:t>
              </a:r>
              <a:endParaRPr lang="en-US" altLang="zh-CN" sz="1400" b="1" kern="0" dirty="0">
                <a:latin typeface="Arial" panose="020B0604020202020204" pitchFamily="34" charset="0"/>
                <a:ea typeface="楷体" panose="02010609060101010101" pitchFamily="49" charset="-122"/>
                <a:cs typeface="Arial" panose="020B0604020202020204" pitchFamily="34" charset="0"/>
              </a:endParaRPr>
            </a:p>
          </p:txBody>
        </p:sp>
        <p:sp>
          <p:nvSpPr>
            <p:cNvPr id="49" name="矩形 48"/>
            <p:cNvSpPr/>
            <p:nvPr/>
          </p:nvSpPr>
          <p:spPr>
            <a:xfrm>
              <a:off x="2978545" y="4921255"/>
              <a:ext cx="799094" cy="307777"/>
            </a:xfrm>
            <a:prstGeom prst="rect">
              <a:avLst/>
            </a:prstGeom>
            <a:effectLst/>
          </p:spPr>
          <p:txBody>
            <a:bodyPr wrap="square">
              <a:spAutoFit/>
            </a:bodyPr>
            <a:lstStyle/>
            <a:p>
              <a:pPr algn="ctr"/>
              <a:r>
                <a:rPr lang="en-US" altLang="zh-CN" sz="1400" b="1" kern="0" dirty="0" smtClean="0">
                  <a:latin typeface="Arial" panose="020B0604020202020204" pitchFamily="34" charset="0"/>
                  <a:ea typeface="楷体" panose="02010609060101010101" pitchFamily="49" charset="-122"/>
                  <a:cs typeface="Arial" panose="020B0604020202020204" pitchFamily="34" charset="0"/>
                </a:rPr>
                <a:t>xx</a:t>
              </a:r>
              <a:endParaRPr lang="en-US" altLang="zh-CN" sz="1400" b="1" kern="0" dirty="0">
                <a:latin typeface="Arial" panose="020B0604020202020204" pitchFamily="34" charset="0"/>
                <a:ea typeface="楷体" panose="02010609060101010101" pitchFamily="49" charset="-122"/>
                <a:cs typeface="Arial" panose="020B0604020202020204" pitchFamily="34" charset="0"/>
              </a:endParaRPr>
            </a:p>
          </p:txBody>
        </p:sp>
        <p:cxnSp>
          <p:nvCxnSpPr>
            <p:cNvPr id="50" name="直接连接符 49"/>
            <p:cNvCxnSpPr/>
            <p:nvPr/>
          </p:nvCxnSpPr>
          <p:spPr>
            <a:xfrm flipH="1" flipV="1">
              <a:off x="2234792" y="3636673"/>
              <a:ext cx="182987" cy="1"/>
            </a:xfrm>
            <a:prstGeom prst="line">
              <a:avLst/>
            </a:prstGeom>
            <a:noFill/>
            <a:ln w="9525" cap="flat" cmpd="sng" algn="ctr">
              <a:solidFill>
                <a:sysClr val="windowText" lastClr="000000"/>
              </a:solidFill>
              <a:prstDash val="solid"/>
              <a:headEnd type="none" w="med" len="med"/>
              <a:tailEnd type="triangle" w="med" len="med"/>
            </a:ln>
            <a:effectLst/>
          </p:spPr>
        </p:cxnSp>
        <p:cxnSp>
          <p:nvCxnSpPr>
            <p:cNvPr id="51" name="直接连接符 50"/>
            <p:cNvCxnSpPr>
              <a:stCxn id="24" idx="1"/>
            </p:cNvCxnSpPr>
            <p:nvPr/>
          </p:nvCxnSpPr>
          <p:spPr>
            <a:xfrm>
              <a:off x="3571385" y="2985879"/>
              <a:ext cx="603936" cy="67358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flipV="1">
              <a:off x="3429472" y="3700653"/>
              <a:ext cx="745849" cy="58489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3" name="组合 52"/>
            <p:cNvGrpSpPr/>
            <p:nvPr/>
          </p:nvGrpSpPr>
          <p:grpSpPr>
            <a:xfrm>
              <a:off x="3580692" y="3011032"/>
              <a:ext cx="1375729" cy="1359926"/>
              <a:chOff x="3580692" y="2837606"/>
              <a:chExt cx="1375729" cy="1359926"/>
            </a:xfrm>
          </p:grpSpPr>
          <p:sp>
            <p:nvSpPr>
              <p:cNvPr id="62" name="椭圆 61"/>
              <p:cNvSpPr/>
              <p:nvPr/>
            </p:nvSpPr>
            <p:spPr>
              <a:xfrm>
                <a:off x="3580692" y="2837606"/>
                <a:ext cx="1375729" cy="13599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63" name="Picture 2" descr="http://img5.imgtn.bdimg.com/it/u=1516186778,2496925263&amp;fm=21&amp;gp=0.jpg"/>
              <p:cNvPicPr>
                <a:picLocks noChangeAspect="1" noChangeArrowheads="1"/>
              </p:cNvPicPr>
              <p:nvPr/>
            </p:nvPicPr>
            <p:blipFill>
              <a:blip r:embed="rId1" cstate="screen">
                <a:extLst>
                  <a:ext uri="{BEBA8EAE-BF5A-486C-A8C5-ECC9F3942E4B}">
                    <a14:imgProps xmlns:a14="http://schemas.microsoft.com/office/drawing/2010/main">
                      <a14:imgLayer r:embed="rId2">
                        <a14:imgEffect>
                          <a14:artisticMarker/>
                        </a14:imgEffect>
                        <a14:imgEffect>
                          <a14:backgroundRemoval t="0" b="94091" l="3106" r="100000"/>
                        </a14:imgEffect>
                      </a14:imgLayer>
                    </a14:imgProps>
                  </a:ext>
                </a:extLst>
              </a:blip>
              <a:srcRect/>
              <a:stretch>
                <a:fillRect/>
              </a:stretch>
            </p:blipFill>
            <p:spPr bwMode="auto">
              <a:xfrm>
                <a:off x="3785654" y="2864178"/>
                <a:ext cx="965174" cy="1328126"/>
              </a:xfrm>
              <a:prstGeom prst="rect">
                <a:avLst/>
              </a:prstGeom>
              <a:noFill/>
              <a:ln>
                <a:noFill/>
              </a:ln>
            </p:spPr>
          </p:pic>
        </p:grpSp>
        <p:sp>
          <p:nvSpPr>
            <p:cNvPr id="54" name="TextBox 127"/>
            <p:cNvSpPr txBox="1"/>
            <p:nvPr/>
          </p:nvSpPr>
          <p:spPr>
            <a:xfrm>
              <a:off x="3339600" y="3061812"/>
              <a:ext cx="305059" cy="338554"/>
            </a:xfrm>
            <a:prstGeom prst="rect">
              <a:avLst/>
            </a:prstGeom>
            <a:noFill/>
          </p:spPr>
          <p:txBody>
            <a:bodyPr wrap="square" rtlCol="0">
              <a:spAutoFit/>
            </a:bodyPr>
            <a:lstStyle/>
            <a:p>
              <a:r>
                <a:rPr lang="zh-CN" altLang="en-US" sz="1600" dirty="0">
                  <a:solidFill>
                    <a:schemeClr val="bg1"/>
                  </a:solidFill>
                  <a:latin typeface="楷体" panose="02010609060101010101" pitchFamily="49" charset="-122"/>
                  <a:ea typeface="楷体" panose="02010609060101010101" pitchFamily="49" charset="-122"/>
                </a:rPr>
                <a:t>金</a:t>
              </a:r>
              <a:endParaRPr lang="zh-CN" altLang="en-US" sz="1600" dirty="0">
                <a:solidFill>
                  <a:schemeClr val="bg1"/>
                </a:solidFill>
                <a:latin typeface="楷体" panose="02010609060101010101" pitchFamily="49" charset="-122"/>
                <a:ea typeface="楷体" panose="02010609060101010101" pitchFamily="49" charset="-122"/>
              </a:endParaRPr>
            </a:p>
          </p:txBody>
        </p:sp>
        <p:sp>
          <p:nvSpPr>
            <p:cNvPr id="55" name="TextBox 128"/>
            <p:cNvSpPr txBox="1"/>
            <p:nvPr/>
          </p:nvSpPr>
          <p:spPr>
            <a:xfrm>
              <a:off x="3255510" y="3293042"/>
              <a:ext cx="305059" cy="338554"/>
            </a:xfrm>
            <a:prstGeom prst="rect">
              <a:avLst/>
            </a:prstGeom>
            <a:noFill/>
          </p:spPr>
          <p:txBody>
            <a:bodyPr wrap="square" rtlCol="0">
              <a:spAutoFit/>
            </a:bodyPr>
            <a:lstStyle/>
            <a:p>
              <a:r>
                <a:rPr lang="zh-CN" altLang="en-US" sz="1600" dirty="0" smtClean="0">
                  <a:solidFill>
                    <a:schemeClr val="bg1"/>
                  </a:solidFill>
                  <a:latin typeface="楷体" panose="02010609060101010101" pitchFamily="49" charset="-122"/>
                  <a:ea typeface="楷体" panose="02010609060101010101" pitchFamily="49" charset="-122"/>
                </a:rPr>
                <a:t>融</a:t>
              </a:r>
              <a:endParaRPr lang="zh-CN" altLang="en-US" sz="1600" dirty="0">
                <a:solidFill>
                  <a:schemeClr val="bg1"/>
                </a:solidFill>
                <a:latin typeface="楷体" panose="02010609060101010101" pitchFamily="49" charset="-122"/>
                <a:ea typeface="楷体" panose="02010609060101010101" pitchFamily="49" charset="-122"/>
              </a:endParaRPr>
            </a:p>
          </p:txBody>
        </p:sp>
        <p:sp>
          <p:nvSpPr>
            <p:cNvPr id="56" name="TextBox 129"/>
            <p:cNvSpPr txBox="1"/>
            <p:nvPr/>
          </p:nvSpPr>
          <p:spPr>
            <a:xfrm>
              <a:off x="3234484" y="3555804"/>
              <a:ext cx="305059" cy="338554"/>
            </a:xfrm>
            <a:prstGeom prst="rect">
              <a:avLst/>
            </a:prstGeom>
            <a:noFill/>
          </p:spPr>
          <p:txBody>
            <a:bodyPr wrap="square" rtlCol="0">
              <a:spAutoFit/>
            </a:bodyPr>
            <a:lstStyle/>
            <a:p>
              <a:r>
                <a:rPr lang="zh-CN" altLang="en-US" sz="1600" dirty="0" smtClean="0">
                  <a:solidFill>
                    <a:schemeClr val="bg1"/>
                  </a:solidFill>
                  <a:latin typeface="楷体" panose="02010609060101010101" pitchFamily="49" charset="-122"/>
                  <a:ea typeface="楷体" panose="02010609060101010101" pitchFamily="49" charset="-122"/>
                </a:rPr>
                <a:t>相</a:t>
              </a:r>
              <a:endParaRPr lang="zh-CN" altLang="en-US" sz="1600" dirty="0">
                <a:solidFill>
                  <a:schemeClr val="bg1"/>
                </a:solidFill>
                <a:latin typeface="楷体" panose="02010609060101010101" pitchFamily="49" charset="-122"/>
                <a:ea typeface="楷体" panose="02010609060101010101" pitchFamily="49" charset="-122"/>
              </a:endParaRPr>
            </a:p>
          </p:txBody>
        </p:sp>
        <p:sp>
          <p:nvSpPr>
            <p:cNvPr id="57" name="TextBox 130"/>
            <p:cNvSpPr txBox="1"/>
            <p:nvPr/>
          </p:nvSpPr>
          <p:spPr>
            <a:xfrm>
              <a:off x="3292288" y="3802800"/>
              <a:ext cx="305059" cy="338554"/>
            </a:xfrm>
            <a:prstGeom prst="rect">
              <a:avLst/>
            </a:prstGeom>
            <a:noFill/>
          </p:spPr>
          <p:txBody>
            <a:bodyPr wrap="square" rtlCol="0">
              <a:spAutoFit/>
            </a:bodyPr>
            <a:lstStyle/>
            <a:p>
              <a:r>
                <a:rPr lang="zh-CN" altLang="en-US" sz="1600" dirty="0" smtClean="0">
                  <a:solidFill>
                    <a:schemeClr val="bg1"/>
                  </a:solidFill>
                  <a:latin typeface="楷体" panose="02010609060101010101" pitchFamily="49" charset="-122"/>
                  <a:ea typeface="楷体" panose="02010609060101010101" pitchFamily="49" charset="-122"/>
                </a:rPr>
                <a:t>关</a:t>
              </a:r>
              <a:endParaRPr lang="zh-CN" altLang="en-US" sz="1600" dirty="0">
                <a:solidFill>
                  <a:schemeClr val="bg1"/>
                </a:solidFill>
                <a:latin typeface="楷体" panose="02010609060101010101" pitchFamily="49" charset="-122"/>
                <a:ea typeface="楷体" panose="02010609060101010101" pitchFamily="49" charset="-122"/>
              </a:endParaRPr>
            </a:p>
          </p:txBody>
        </p:sp>
        <p:sp>
          <p:nvSpPr>
            <p:cNvPr id="58" name="TextBox 131"/>
            <p:cNvSpPr txBox="1"/>
            <p:nvPr/>
          </p:nvSpPr>
          <p:spPr>
            <a:xfrm>
              <a:off x="4579854" y="2851594"/>
              <a:ext cx="305059" cy="338554"/>
            </a:xfrm>
            <a:prstGeom prst="rect">
              <a:avLst/>
            </a:prstGeom>
            <a:noFill/>
          </p:spPr>
          <p:txBody>
            <a:bodyPr wrap="square" rtlCol="0">
              <a:spAutoFit/>
            </a:bodyPr>
            <a:lstStyle/>
            <a:p>
              <a:r>
                <a:rPr lang="zh-CN" altLang="en-US" sz="1600" dirty="0">
                  <a:solidFill>
                    <a:schemeClr val="bg1"/>
                  </a:solidFill>
                  <a:latin typeface="楷体" panose="02010609060101010101" pitchFamily="49" charset="-122"/>
                  <a:ea typeface="楷体" panose="02010609060101010101" pitchFamily="49" charset="-122"/>
                </a:rPr>
                <a:t>生</a:t>
              </a:r>
              <a:endParaRPr lang="zh-CN" altLang="en-US" sz="1600" dirty="0">
                <a:solidFill>
                  <a:schemeClr val="bg1"/>
                </a:solidFill>
                <a:latin typeface="楷体" panose="02010609060101010101" pitchFamily="49" charset="-122"/>
                <a:ea typeface="楷体" panose="02010609060101010101" pitchFamily="49" charset="-122"/>
              </a:endParaRPr>
            </a:p>
          </p:txBody>
        </p:sp>
        <p:sp>
          <p:nvSpPr>
            <p:cNvPr id="59" name="TextBox 132"/>
            <p:cNvSpPr txBox="1"/>
            <p:nvPr/>
          </p:nvSpPr>
          <p:spPr>
            <a:xfrm>
              <a:off x="4842616" y="3193186"/>
              <a:ext cx="305059" cy="338554"/>
            </a:xfrm>
            <a:prstGeom prst="rect">
              <a:avLst/>
            </a:prstGeom>
            <a:noFill/>
          </p:spPr>
          <p:txBody>
            <a:bodyPr wrap="square" rtlCol="0">
              <a:spAutoFit/>
            </a:bodyPr>
            <a:lstStyle/>
            <a:p>
              <a:r>
                <a:rPr lang="zh-CN" altLang="en-US" sz="1600" dirty="0" smtClean="0">
                  <a:solidFill>
                    <a:schemeClr val="bg1"/>
                  </a:solidFill>
                  <a:latin typeface="楷体" panose="02010609060101010101" pitchFamily="49" charset="-122"/>
                  <a:ea typeface="楷体" panose="02010609060101010101" pitchFamily="49" charset="-122"/>
                </a:rPr>
                <a:t>活</a:t>
              </a:r>
              <a:endParaRPr lang="zh-CN" altLang="en-US" sz="1600" dirty="0">
                <a:solidFill>
                  <a:schemeClr val="bg1"/>
                </a:solidFill>
                <a:latin typeface="楷体" panose="02010609060101010101" pitchFamily="49" charset="-122"/>
                <a:ea typeface="楷体" panose="02010609060101010101" pitchFamily="49" charset="-122"/>
              </a:endParaRPr>
            </a:p>
          </p:txBody>
        </p:sp>
        <p:sp>
          <p:nvSpPr>
            <p:cNvPr id="60" name="TextBox 133"/>
            <p:cNvSpPr txBox="1"/>
            <p:nvPr/>
          </p:nvSpPr>
          <p:spPr>
            <a:xfrm>
              <a:off x="4868888" y="3692438"/>
              <a:ext cx="305059" cy="338554"/>
            </a:xfrm>
            <a:prstGeom prst="rect">
              <a:avLst/>
            </a:prstGeom>
            <a:noFill/>
          </p:spPr>
          <p:txBody>
            <a:bodyPr wrap="square" rtlCol="0">
              <a:spAutoFit/>
            </a:bodyPr>
            <a:lstStyle/>
            <a:p>
              <a:r>
                <a:rPr lang="zh-CN" altLang="en-US" sz="1600" dirty="0">
                  <a:solidFill>
                    <a:schemeClr val="bg1"/>
                  </a:solidFill>
                  <a:latin typeface="楷体" panose="02010609060101010101" pitchFamily="49" charset="-122"/>
                  <a:ea typeface="楷体" panose="02010609060101010101" pitchFamily="49" charset="-122"/>
                </a:rPr>
                <a:t>相</a:t>
              </a:r>
              <a:endParaRPr lang="zh-CN" altLang="en-US" sz="1600" dirty="0">
                <a:solidFill>
                  <a:schemeClr val="bg1"/>
                </a:solidFill>
                <a:latin typeface="楷体" panose="02010609060101010101" pitchFamily="49" charset="-122"/>
                <a:ea typeface="楷体" panose="02010609060101010101" pitchFamily="49" charset="-122"/>
              </a:endParaRPr>
            </a:p>
          </p:txBody>
        </p:sp>
        <p:sp>
          <p:nvSpPr>
            <p:cNvPr id="61" name="TextBox 134"/>
            <p:cNvSpPr txBox="1"/>
            <p:nvPr/>
          </p:nvSpPr>
          <p:spPr>
            <a:xfrm>
              <a:off x="4627138" y="4128626"/>
              <a:ext cx="305059" cy="338554"/>
            </a:xfrm>
            <a:prstGeom prst="rect">
              <a:avLst/>
            </a:prstGeom>
            <a:noFill/>
          </p:spPr>
          <p:txBody>
            <a:bodyPr wrap="square" rtlCol="0">
              <a:spAutoFit/>
            </a:bodyPr>
            <a:lstStyle/>
            <a:p>
              <a:r>
                <a:rPr lang="zh-CN" altLang="en-US" sz="1600" dirty="0" smtClean="0">
                  <a:solidFill>
                    <a:schemeClr val="bg1"/>
                  </a:solidFill>
                  <a:latin typeface="楷体" panose="02010609060101010101" pitchFamily="49" charset="-122"/>
                  <a:ea typeface="楷体" panose="02010609060101010101" pitchFamily="49" charset="-122"/>
                </a:rPr>
                <a:t>关</a:t>
              </a:r>
              <a:endParaRPr lang="zh-CN" altLang="en-US" sz="1600" dirty="0">
                <a:solidFill>
                  <a:schemeClr val="bg1"/>
                </a:solidFill>
                <a:latin typeface="楷体" panose="02010609060101010101" pitchFamily="49" charset="-122"/>
                <a:ea typeface="楷体" panose="02010609060101010101" pitchFamily="49" charset="-122"/>
              </a:endParaRPr>
            </a:p>
          </p:txBody>
        </p:sp>
      </p:grpSp>
      <p:sp>
        <p:nvSpPr>
          <p:cNvPr id="81" name="Rectangle 3"/>
          <p:cNvSpPr>
            <a:spLocks noChangeArrowheads="1"/>
          </p:cNvSpPr>
          <p:nvPr/>
        </p:nvSpPr>
        <p:spPr bwMode="auto">
          <a:xfrm>
            <a:off x="281147" y="189536"/>
            <a:ext cx="11933280" cy="461665"/>
          </a:xfrm>
          <a:prstGeom prst="rect">
            <a:avLst/>
          </a:prstGeom>
          <a:noFill/>
          <a:ln w="9525" algn="ctr">
            <a:noFill/>
            <a:miter lim="800000"/>
          </a:ln>
          <a:effectLst/>
        </p:spPr>
        <p:txBody>
          <a:bodyPr wrap="square">
            <a:spAutoFit/>
          </a:bodyPr>
          <a:lstStyle/>
          <a:p>
            <a:pPr defTabSz="914400">
              <a:defRPr/>
            </a:pPr>
            <a:r>
              <a:rPr lang="zh-CN" altLang="en-US" sz="2400" b="1" dirty="0">
                <a:solidFill>
                  <a:srgbClr val="000000"/>
                </a:solidFill>
                <a:latin typeface="华文楷体" panose="02010600040101010101" charset="-122"/>
                <a:cs typeface="Arial" panose="020B0604020202020204" pitchFamily="34" charset="0"/>
              </a:rPr>
              <a:t>行</a:t>
            </a:r>
            <a:r>
              <a:rPr lang="zh-CN" altLang="en-US" sz="2400" b="1" dirty="0" smtClean="0">
                <a:solidFill>
                  <a:srgbClr val="000000"/>
                </a:solidFill>
                <a:latin typeface="华文楷体" panose="02010600040101010101" charset="-122"/>
                <a:cs typeface="Arial" panose="020B0604020202020204" pitchFamily="34" charset="0"/>
              </a:rPr>
              <a:t>研</a:t>
            </a:r>
            <a:r>
              <a:rPr lang="en-US" altLang="zh-CN" sz="2400" b="1" dirty="0" smtClean="0">
                <a:solidFill>
                  <a:srgbClr val="000000"/>
                </a:solidFill>
                <a:latin typeface="华文楷体" panose="02010600040101010101" charset="-122"/>
                <a:cs typeface="Arial" panose="020B0604020202020204" pitchFamily="34" charset="0"/>
              </a:rPr>
              <a:t>-</a:t>
            </a:r>
            <a:r>
              <a:rPr lang="zh-CN" altLang="en-US" sz="2400" b="1" dirty="0" smtClean="0">
                <a:solidFill>
                  <a:srgbClr val="000000"/>
                </a:solidFill>
                <a:latin typeface="华文楷体" panose="02010600040101010101" charset="-122"/>
                <a:cs typeface="Arial" panose="020B0604020202020204" pitchFamily="34" charset="0"/>
              </a:rPr>
              <a:t>公司内部分析</a:t>
            </a:r>
            <a:endParaRPr lang="en-US" altLang="zh-CN" sz="2400" b="1" dirty="0" smtClean="0">
              <a:solidFill>
                <a:srgbClr val="000000"/>
              </a:solidFill>
              <a:latin typeface="华文楷体" panose="02010600040101010101" charset="-122"/>
              <a:cs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7"/>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83255" y="6418895"/>
            <a:ext cx="1759251" cy="283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 name="文本框 100"/>
          <p:cNvSpPr txBox="1"/>
          <p:nvPr/>
        </p:nvSpPr>
        <p:spPr>
          <a:xfrm>
            <a:off x="4396534" y="6404969"/>
            <a:ext cx="1060843" cy="276999"/>
          </a:xfrm>
          <a:prstGeom prst="rect">
            <a:avLst/>
          </a:prstGeom>
          <a:noFill/>
        </p:spPr>
        <p:txBody>
          <a:bodyPr wrap="square" rtlCol="0">
            <a:spAutoFit/>
          </a:bodyPr>
          <a:lstStyle>
            <a:defPPr>
              <a:defRPr lang="zh-CN"/>
            </a:defPPr>
            <a:lvl1pPr algn="ctr">
              <a:defRPr sz="1400">
                <a:solidFill>
                  <a:schemeClr val="tx1">
                    <a:lumMod val="75000"/>
                    <a:lumOff val="25000"/>
                  </a:schemeClr>
                </a:solidFill>
                <a:latin typeface="华文楷体" panose="02010600040101010101" charset="-122"/>
                <a:ea typeface="华文楷体" panose="02010600040101010101" charset="-122"/>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srgbClr val="5B9BD5"/>
                </a:solidFill>
                <a:effectLst/>
                <a:uLnTx/>
                <a:uFillTx/>
                <a:latin typeface="+mj-ea"/>
                <a:ea typeface="+mj-ea"/>
              </a:rPr>
              <a:t>服务流向</a:t>
            </a:r>
            <a:endParaRPr kumimoji="0" lang="zh-CN" altLang="en-US" sz="1200" b="1" i="0" u="none" strike="noStrike" kern="0" cap="none" spc="0" normalizeH="0" baseline="0" noProof="0" dirty="0">
              <a:ln>
                <a:noFill/>
              </a:ln>
              <a:solidFill>
                <a:srgbClr val="5B9BD5"/>
              </a:solidFill>
              <a:effectLst/>
              <a:uLnTx/>
              <a:uFillTx/>
              <a:latin typeface="+mj-ea"/>
              <a:ea typeface="+mj-ea"/>
            </a:endParaRPr>
          </a:p>
        </p:txBody>
      </p:sp>
      <p:cxnSp>
        <p:nvCxnSpPr>
          <p:cNvPr id="102" name="直接箭头连接符 101"/>
          <p:cNvCxnSpPr/>
          <p:nvPr/>
        </p:nvCxnSpPr>
        <p:spPr>
          <a:xfrm>
            <a:off x="3966507" y="6558858"/>
            <a:ext cx="453093" cy="0"/>
          </a:xfrm>
          <a:prstGeom prst="straightConnector1">
            <a:avLst/>
          </a:prstGeom>
          <a:noFill/>
          <a:ln w="6350" cap="flat" cmpd="sng" algn="ctr">
            <a:solidFill>
              <a:srgbClr val="5B9BD5"/>
            </a:solidFill>
            <a:prstDash val="solid"/>
            <a:miter lim="800000"/>
            <a:tailEnd type="triangle"/>
          </a:ln>
          <a:effectLst/>
        </p:spPr>
      </p:cxnSp>
      <p:cxnSp>
        <p:nvCxnSpPr>
          <p:cNvPr id="103" name="直接箭头连接符 102"/>
          <p:cNvCxnSpPr/>
          <p:nvPr/>
        </p:nvCxnSpPr>
        <p:spPr>
          <a:xfrm>
            <a:off x="6495155" y="6558858"/>
            <a:ext cx="453093" cy="0"/>
          </a:xfrm>
          <a:prstGeom prst="straightConnector1">
            <a:avLst/>
          </a:prstGeom>
          <a:noFill/>
          <a:ln w="6350" cap="flat" cmpd="sng" algn="ctr">
            <a:solidFill>
              <a:srgbClr val="FE5817"/>
            </a:solidFill>
            <a:prstDash val="solid"/>
            <a:miter lim="800000"/>
            <a:tailEnd type="triangle"/>
          </a:ln>
          <a:effectLst/>
        </p:spPr>
      </p:cxnSp>
      <p:sp>
        <p:nvSpPr>
          <p:cNvPr id="104" name="文本框 103"/>
          <p:cNvSpPr txBox="1"/>
          <p:nvPr/>
        </p:nvSpPr>
        <p:spPr>
          <a:xfrm>
            <a:off x="6948248" y="6404969"/>
            <a:ext cx="1060843" cy="276999"/>
          </a:xfrm>
          <a:prstGeom prst="rect">
            <a:avLst/>
          </a:prstGeom>
          <a:noFill/>
        </p:spPr>
        <p:txBody>
          <a:bodyPr wrap="square" rtlCol="0">
            <a:spAutoFit/>
          </a:bodyPr>
          <a:lstStyle>
            <a:defPPr>
              <a:defRPr lang="zh-CN"/>
            </a:defPPr>
            <a:lvl1pPr algn="ctr">
              <a:defRPr sz="1400">
                <a:solidFill>
                  <a:schemeClr val="tx1">
                    <a:lumMod val="75000"/>
                    <a:lumOff val="25000"/>
                  </a:schemeClr>
                </a:solidFill>
                <a:latin typeface="华文楷体" panose="02010600040101010101" charset="-122"/>
                <a:ea typeface="华文楷体" panose="02010600040101010101" charset="-122"/>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srgbClr val="FE5817"/>
                </a:solidFill>
                <a:effectLst/>
                <a:uLnTx/>
                <a:uFillTx/>
                <a:latin typeface="+mj-ea"/>
                <a:ea typeface="+mj-ea"/>
              </a:rPr>
              <a:t>资金流向</a:t>
            </a:r>
            <a:endParaRPr kumimoji="0" lang="zh-CN" altLang="en-US" sz="1200" b="1" i="0" u="none" strike="noStrike" kern="0" cap="none" spc="0" normalizeH="0" baseline="0" noProof="0" dirty="0">
              <a:ln>
                <a:noFill/>
              </a:ln>
              <a:solidFill>
                <a:srgbClr val="FE5817"/>
              </a:solidFill>
              <a:effectLst/>
              <a:uLnTx/>
              <a:uFillTx/>
              <a:latin typeface="+mj-ea"/>
              <a:ea typeface="+mj-ea"/>
            </a:endParaRPr>
          </a:p>
        </p:txBody>
      </p:sp>
      <p:sp>
        <p:nvSpPr>
          <p:cNvPr id="105" name="矩形 104"/>
          <p:cNvSpPr/>
          <p:nvPr/>
        </p:nvSpPr>
        <p:spPr>
          <a:xfrm>
            <a:off x="956603" y="2103267"/>
            <a:ext cx="10508566" cy="2485927"/>
          </a:xfrm>
          <a:prstGeom prst="rect">
            <a:avLst/>
          </a:prstGeom>
          <a:solidFill>
            <a:srgbClr val="FBE5D6"/>
          </a:solidFill>
          <a:ln w="12700" cap="flat" cmpd="sng" algn="ctr">
            <a:solidFill>
              <a:srgbClr val="7F7F7F"/>
            </a:solidFill>
            <a:prstDash val="lg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mj-ea"/>
              <a:ea typeface="+mj-ea"/>
              <a:cs typeface="+mn-cs"/>
            </a:endParaRPr>
          </a:p>
        </p:txBody>
      </p:sp>
      <p:cxnSp>
        <p:nvCxnSpPr>
          <p:cNvPr id="106" name="肘形连接符 105"/>
          <p:cNvCxnSpPr>
            <a:stCxn id="151" idx="2"/>
            <a:endCxn id="154" idx="2"/>
          </p:cNvCxnSpPr>
          <p:nvPr/>
        </p:nvCxnSpPr>
        <p:spPr>
          <a:xfrm rot="5400000">
            <a:off x="6414012" y="-136454"/>
            <a:ext cx="256504" cy="8630931"/>
          </a:xfrm>
          <a:prstGeom prst="bentConnector3">
            <a:avLst>
              <a:gd name="adj1" fmla="val 189121"/>
            </a:avLst>
          </a:prstGeom>
          <a:noFill/>
          <a:ln w="6350" cap="flat" cmpd="sng" algn="ctr">
            <a:solidFill>
              <a:srgbClr val="7F7F7F"/>
            </a:solidFill>
            <a:prstDash val="dash"/>
            <a:miter lim="800000"/>
            <a:tailEnd type="triangle"/>
          </a:ln>
          <a:effectLst/>
        </p:spPr>
      </p:cxnSp>
      <p:sp>
        <p:nvSpPr>
          <p:cNvPr id="107" name="矩形 106"/>
          <p:cNvSpPr/>
          <p:nvPr/>
        </p:nvSpPr>
        <p:spPr>
          <a:xfrm>
            <a:off x="4469152" y="2384031"/>
            <a:ext cx="1667864" cy="1917147"/>
          </a:xfrm>
          <a:prstGeom prst="rect">
            <a:avLst/>
          </a:prstGeom>
          <a:solidFill>
            <a:srgbClr val="FADDCA"/>
          </a:solidFill>
          <a:ln w="25400" cap="flat" cmpd="sng" algn="ctr">
            <a:solidFill>
              <a:sysClr val="window" lastClr="FFFFFF">
                <a:lumMod val="50000"/>
              </a:sysClr>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dirty="0" smtClean="0">
              <a:ln>
                <a:noFill/>
              </a:ln>
              <a:solidFill>
                <a:prstClr val="white"/>
              </a:solidFill>
              <a:effectLst/>
              <a:uLnTx/>
              <a:uFillTx/>
              <a:latin typeface="+mj-ea"/>
              <a:ea typeface="+mj-ea"/>
            </a:endParaRPr>
          </a:p>
        </p:txBody>
      </p:sp>
      <p:sp>
        <p:nvSpPr>
          <p:cNvPr id="108" name="矩形 107"/>
          <p:cNvSpPr/>
          <p:nvPr/>
        </p:nvSpPr>
        <p:spPr>
          <a:xfrm>
            <a:off x="4316752" y="2745055"/>
            <a:ext cx="365532" cy="1357746"/>
          </a:xfrm>
          <a:prstGeom prst="rect">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mj-ea"/>
                <a:ea typeface="+mj-ea"/>
              </a:rPr>
              <a:t>中游产业链</a:t>
            </a:r>
            <a:endParaRPr kumimoji="0" lang="zh-CN" altLang="en-US" sz="1200" b="1" i="0" u="none" strike="noStrike" kern="0" cap="none" spc="0" normalizeH="0" baseline="0" noProof="0" dirty="0" smtClean="0">
              <a:ln>
                <a:noFill/>
              </a:ln>
              <a:solidFill>
                <a:prstClr val="white"/>
              </a:solidFill>
              <a:effectLst/>
              <a:uLnTx/>
              <a:uFillTx/>
              <a:latin typeface="+mj-ea"/>
              <a:ea typeface="+mj-ea"/>
            </a:endParaRPr>
          </a:p>
        </p:txBody>
      </p:sp>
      <p:sp>
        <p:nvSpPr>
          <p:cNvPr id="109" name="矩形 108"/>
          <p:cNvSpPr/>
          <p:nvPr/>
        </p:nvSpPr>
        <p:spPr>
          <a:xfrm>
            <a:off x="7572897" y="2384030"/>
            <a:ext cx="1800818" cy="1917148"/>
          </a:xfrm>
          <a:prstGeom prst="rect">
            <a:avLst/>
          </a:prstGeom>
          <a:noFill/>
          <a:ln w="25400" cap="flat" cmpd="sng" algn="ctr">
            <a:solidFill>
              <a:sysClr val="window" lastClr="FFFFFF">
                <a:lumMod val="50000"/>
              </a:sysClr>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dirty="0" smtClean="0">
              <a:ln>
                <a:noFill/>
              </a:ln>
              <a:solidFill>
                <a:prstClr val="white"/>
              </a:solidFill>
              <a:effectLst/>
              <a:uLnTx/>
              <a:uFillTx/>
              <a:latin typeface="+mj-ea"/>
              <a:ea typeface="+mj-ea"/>
            </a:endParaRPr>
          </a:p>
        </p:txBody>
      </p:sp>
      <p:sp>
        <p:nvSpPr>
          <p:cNvPr id="110" name="矩形 109"/>
          <p:cNvSpPr/>
          <p:nvPr/>
        </p:nvSpPr>
        <p:spPr>
          <a:xfrm>
            <a:off x="7420497" y="2745055"/>
            <a:ext cx="365532" cy="1357746"/>
          </a:xfrm>
          <a:prstGeom prst="rect">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mj-ea"/>
                <a:ea typeface="+mj-ea"/>
              </a:rPr>
              <a:t>下游产业链</a:t>
            </a:r>
            <a:endParaRPr kumimoji="0" lang="zh-CN" altLang="en-US" sz="1200" b="1" i="0" u="none" strike="noStrike" kern="0" cap="none" spc="0" normalizeH="0" baseline="0" noProof="0" dirty="0" smtClean="0">
              <a:ln>
                <a:noFill/>
              </a:ln>
              <a:solidFill>
                <a:prstClr val="white"/>
              </a:solidFill>
              <a:effectLst/>
              <a:uLnTx/>
              <a:uFillTx/>
              <a:latin typeface="+mj-ea"/>
              <a:ea typeface="+mj-ea"/>
            </a:endParaRPr>
          </a:p>
        </p:txBody>
      </p:sp>
      <p:sp>
        <p:nvSpPr>
          <p:cNvPr id="111" name="文本框 110"/>
          <p:cNvSpPr txBox="1"/>
          <p:nvPr/>
        </p:nvSpPr>
        <p:spPr>
          <a:xfrm>
            <a:off x="9776773" y="5936244"/>
            <a:ext cx="1213052" cy="346249"/>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100" b="1" i="0" u="none" strike="noStrike" kern="0" cap="none" spc="0" normalizeH="0" baseline="0" noProof="0" dirty="0" smtClean="0">
                <a:ln>
                  <a:noFill/>
                </a:ln>
                <a:solidFill>
                  <a:prstClr val="black">
                    <a:lumMod val="65000"/>
                    <a:lumOff val="35000"/>
                  </a:prstClr>
                </a:solidFill>
                <a:effectLst/>
                <a:uLnTx/>
                <a:uFillTx/>
                <a:latin typeface="+mj-ea"/>
                <a:ea typeface="+mj-ea"/>
              </a:rPr>
              <a:t>专项服务指定</a:t>
            </a:r>
            <a:endParaRPr kumimoji="0" lang="zh-CN" altLang="en-US" sz="1100" b="1" i="0" u="none" strike="noStrike" kern="0" cap="none" spc="0" normalizeH="0" baseline="0" noProof="0" dirty="0" smtClean="0">
              <a:ln>
                <a:noFill/>
              </a:ln>
              <a:solidFill>
                <a:prstClr val="black">
                  <a:lumMod val="65000"/>
                  <a:lumOff val="35000"/>
                </a:prstClr>
              </a:solidFill>
              <a:effectLst/>
              <a:uLnTx/>
              <a:uFillTx/>
              <a:latin typeface="+mj-ea"/>
              <a:ea typeface="+mj-ea"/>
            </a:endParaRPr>
          </a:p>
        </p:txBody>
      </p:sp>
      <p:cxnSp>
        <p:nvCxnSpPr>
          <p:cNvPr id="112" name="直接箭头连接符 111"/>
          <p:cNvCxnSpPr/>
          <p:nvPr/>
        </p:nvCxnSpPr>
        <p:spPr>
          <a:xfrm>
            <a:off x="3375744" y="3761415"/>
            <a:ext cx="684000" cy="0"/>
          </a:xfrm>
          <a:prstGeom prst="straightConnector1">
            <a:avLst/>
          </a:prstGeom>
          <a:noFill/>
          <a:ln w="6350" cap="flat" cmpd="sng" algn="ctr">
            <a:solidFill>
              <a:srgbClr val="5B9BD5"/>
            </a:solidFill>
            <a:prstDash val="solid"/>
            <a:miter lim="800000"/>
            <a:tailEnd type="triangle"/>
          </a:ln>
          <a:effectLst/>
        </p:spPr>
      </p:cxnSp>
      <p:cxnSp>
        <p:nvCxnSpPr>
          <p:cNvPr id="113" name="直接箭头连接符 112"/>
          <p:cNvCxnSpPr/>
          <p:nvPr/>
        </p:nvCxnSpPr>
        <p:spPr>
          <a:xfrm flipH="1">
            <a:off x="3338779" y="3260333"/>
            <a:ext cx="684000" cy="0"/>
          </a:xfrm>
          <a:prstGeom prst="straightConnector1">
            <a:avLst/>
          </a:prstGeom>
          <a:noFill/>
          <a:ln w="6350" cap="flat" cmpd="sng" algn="ctr">
            <a:solidFill>
              <a:srgbClr val="FE5817"/>
            </a:solidFill>
            <a:prstDash val="solid"/>
            <a:miter lim="800000"/>
            <a:tailEnd type="triangle"/>
          </a:ln>
          <a:effectLst/>
        </p:spPr>
      </p:cxnSp>
      <p:cxnSp>
        <p:nvCxnSpPr>
          <p:cNvPr id="114" name="直接箭头连接符 113"/>
          <p:cNvCxnSpPr/>
          <p:nvPr/>
        </p:nvCxnSpPr>
        <p:spPr>
          <a:xfrm>
            <a:off x="6448943" y="3761415"/>
            <a:ext cx="684000" cy="0"/>
          </a:xfrm>
          <a:prstGeom prst="straightConnector1">
            <a:avLst/>
          </a:prstGeom>
          <a:noFill/>
          <a:ln w="6350" cap="flat" cmpd="sng" algn="ctr">
            <a:solidFill>
              <a:srgbClr val="5B9BD5"/>
            </a:solidFill>
            <a:prstDash val="solid"/>
            <a:miter lim="800000"/>
            <a:tailEnd type="triangle"/>
          </a:ln>
          <a:effectLst/>
        </p:spPr>
      </p:cxnSp>
      <p:cxnSp>
        <p:nvCxnSpPr>
          <p:cNvPr id="115" name="直接箭头连接符 114"/>
          <p:cNvCxnSpPr/>
          <p:nvPr/>
        </p:nvCxnSpPr>
        <p:spPr>
          <a:xfrm flipH="1">
            <a:off x="6411471" y="3274841"/>
            <a:ext cx="684000" cy="0"/>
          </a:xfrm>
          <a:prstGeom prst="straightConnector1">
            <a:avLst/>
          </a:prstGeom>
          <a:noFill/>
          <a:ln w="6350" cap="flat" cmpd="sng" algn="ctr">
            <a:solidFill>
              <a:srgbClr val="FE5817"/>
            </a:solidFill>
            <a:prstDash val="solid"/>
            <a:miter lim="800000"/>
            <a:tailEnd type="triangle"/>
          </a:ln>
          <a:effectLst/>
        </p:spPr>
      </p:cxnSp>
      <p:cxnSp>
        <p:nvCxnSpPr>
          <p:cNvPr id="116" name="直接箭头连接符 115"/>
          <p:cNvCxnSpPr/>
          <p:nvPr/>
        </p:nvCxnSpPr>
        <p:spPr>
          <a:xfrm>
            <a:off x="9583691" y="3747223"/>
            <a:ext cx="684000" cy="0"/>
          </a:xfrm>
          <a:prstGeom prst="straightConnector1">
            <a:avLst/>
          </a:prstGeom>
          <a:noFill/>
          <a:ln w="6350" cap="flat" cmpd="sng" algn="ctr">
            <a:solidFill>
              <a:srgbClr val="5B9BD5"/>
            </a:solidFill>
            <a:prstDash val="solid"/>
            <a:miter lim="800000"/>
            <a:tailEnd type="triangle"/>
          </a:ln>
          <a:effectLst/>
        </p:spPr>
      </p:cxnSp>
      <p:cxnSp>
        <p:nvCxnSpPr>
          <p:cNvPr id="117" name="直接箭头连接符 116"/>
          <p:cNvCxnSpPr/>
          <p:nvPr/>
        </p:nvCxnSpPr>
        <p:spPr>
          <a:xfrm flipH="1">
            <a:off x="9546219" y="3260649"/>
            <a:ext cx="684000" cy="0"/>
          </a:xfrm>
          <a:prstGeom prst="straightConnector1">
            <a:avLst/>
          </a:prstGeom>
          <a:noFill/>
          <a:ln w="6350" cap="flat" cmpd="sng" algn="ctr">
            <a:solidFill>
              <a:srgbClr val="FE5817"/>
            </a:solidFill>
            <a:prstDash val="solid"/>
            <a:miter lim="800000"/>
            <a:tailEnd type="triangle"/>
          </a:ln>
          <a:effectLst/>
        </p:spPr>
      </p:cxnSp>
      <p:sp>
        <p:nvSpPr>
          <p:cNvPr id="118" name="文本框 117"/>
          <p:cNvSpPr txBox="1"/>
          <p:nvPr/>
        </p:nvSpPr>
        <p:spPr>
          <a:xfrm>
            <a:off x="3215847" y="2778298"/>
            <a:ext cx="1213052" cy="346249"/>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100" b="1" i="0" u="none" strike="noStrike" kern="0" cap="none" spc="0" normalizeH="0" baseline="0" noProof="0" dirty="0" smtClean="0">
                <a:ln>
                  <a:noFill/>
                </a:ln>
                <a:solidFill>
                  <a:srgbClr val="FE6D34"/>
                </a:solidFill>
                <a:effectLst/>
                <a:uLnTx/>
                <a:uFillTx/>
                <a:latin typeface="+mj-ea"/>
                <a:ea typeface="+mj-ea"/>
              </a:rPr>
              <a:t>分包费用</a:t>
            </a:r>
            <a:endParaRPr kumimoji="0" lang="zh-CN" altLang="en-US" sz="1100" b="1" i="0" u="none" strike="noStrike" kern="0" cap="none" spc="0" normalizeH="0" baseline="0" noProof="0" dirty="0" smtClean="0">
              <a:ln>
                <a:noFill/>
              </a:ln>
              <a:solidFill>
                <a:srgbClr val="FE6D34"/>
              </a:solidFill>
              <a:effectLst/>
              <a:uLnTx/>
              <a:uFillTx/>
              <a:latin typeface="+mj-ea"/>
              <a:ea typeface="+mj-ea"/>
            </a:endParaRPr>
          </a:p>
        </p:txBody>
      </p:sp>
      <p:sp>
        <p:nvSpPr>
          <p:cNvPr id="119" name="文本框 118"/>
          <p:cNvSpPr txBox="1"/>
          <p:nvPr/>
        </p:nvSpPr>
        <p:spPr>
          <a:xfrm>
            <a:off x="6352884" y="2778298"/>
            <a:ext cx="1213052" cy="346249"/>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100" b="1" i="0" u="none" strike="noStrike" kern="0" cap="none" spc="0" normalizeH="0" baseline="0" noProof="0" dirty="0" smtClean="0">
                <a:ln>
                  <a:noFill/>
                </a:ln>
                <a:solidFill>
                  <a:srgbClr val="FE6D34"/>
                </a:solidFill>
                <a:effectLst/>
                <a:uLnTx/>
                <a:uFillTx/>
                <a:latin typeface="+mj-ea"/>
                <a:ea typeface="+mj-ea"/>
              </a:rPr>
              <a:t>总集成费用</a:t>
            </a:r>
            <a:endParaRPr kumimoji="0" lang="zh-CN" altLang="en-US" sz="1100" b="1" i="0" u="none" strike="noStrike" kern="0" cap="none" spc="0" normalizeH="0" baseline="0" noProof="0" dirty="0" smtClean="0">
              <a:ln>
                <a:noFill/>
              </a:ln>
              <a:solidFill>
                <a:srgbClr val="FE6D34"/>
              </a:solidFill>
              <a:effectLst/>
              <a:uLnTx/>
              <a:uFillTx/>
              <a:latin typeface="+mj-ea"/>
              <a:ea typeface="+mj-ea"/>
            </a:endParaRPr>
          </a:p>
        </p:txBody>
      </p:sp>
      <p:sp>
        <p:nvSpPr>
          <p:cNvPr id="120" name="文本框 119"/>
          <p:cNvSpPr txBox="1"/>
          <p:nvPr/>
        </p:nvSpPr>
        <p:spPr>
          <a:xfrm>
            <a:off x="9433265" y="2778298"/>
            <a:ext cx="1213052" cy="346249"/>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100" b="1" i="0" u="none" strike="noStrike" kern="0" cap="none" spc="0" normalizeH="0" baseline="0" noProof="0" dirty="0" smtClean="0">
                <a:ln>
                  <a:noFill/>
                </a:ln>
                <a:solidFill>
                  <a:srgbClr val="FE6D34"/>
                </a:solidFill>
                <a:effectLst/>
                <a:uLnTx/>
                <a:uFillTx/>
                <a:latin typeface="+mj-ea"/>
                <a:ea typeface="+mj-ea"/>
              </a:rPr>
              <a:t>项目费用</a:t>
            </a:r>
            <a:endParaRPr kumimoji="0" lang="zh-CN" altLang="en-US" sz="1100" b="1" i="0" u="none" strike="noStrike" kern="0" cap="none" spc="0" normalizeH="0" baseline="0" noProof="0" dirty="0" smtClean="0">
              <a:ln>
                <a:noFill/>
              </a:ln>
              <a:solidFill>
                <a:srgbClr val="FE6D34"/>
              </a:solidFill>
              <a:effectLst/>
              <a:uLnTx/>
              <a:uFillTx/>
              <a:latin typeface="+mj-ea"/>
              <a:ea typeface="+mj-ea"/>
            </a:endParaRPr>
          </a:p>
        </p:txBody>
      </p:sp>
      <p:sp>
        <p:nvSpPr>
          <p:cNvPr id="121" name="文本框 120"/>
          <p:cNvSpPr txBox="1"/>
          <p:nvPr/>
        </p:nvSpPr>
        <p:spPr>
          <a:xfrm>
            <a:off x="5724869" y="2033497"/>
            <a:ext cx="2336022" cy="424155"/>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black">
                    <a:lumMod val="75000"/>
                    <a:lumOff val="25000"/>
                  </a:prstClr>
                </a:solidFill>
                <a:effectLst/>
                <a:uLnTx/>
                <a:uFillTx/>
                <a:latin typeface="+mj-ea"/>
                <a:ea typeface="+mj-ea"/>
              </a:rPr>
              <a:t>政府项目核心产业链</a:t>
            </a:r>
            <a:endParaRPr kumimoji="0" lang="zh-CN" altLang="en-US" sz="1400" b="1" i="0" u="none" strike="noStrike" kern="0" cap="none" spc="0" normalizeH="0" baseline="0" noProof="0" dirty="0" smtClean="0">
              <a:ln>
                <a:noFill/>
              </a:ln>
              <a:solidFill>
                <a:prstClr val="black">
                  <a:lumMod val="75000"/>
                  <a:lumOff val="25000"/>
                </a:prstClr>
              </a:solidFill>
              <a:effectLst/>
              <a:uLnTx/>
              <a:uFillTx/>
              <a:latin typeface="+mj-ea"/>
              <a:ea typeface="+mj-ea"/>
            </a:endParaRPr>
          </a:p>
        </p:txBody>
      </p:sp>
      <p:sp>
        <p:nvSpPr>
          <p:cNvPr id="122" name="文本框 121"/>
          <p:cNvSpPr txBox="1"/>
          <p:nvPr/>
        </p:nvSpPr>
        <p:spPr>
          <a:xfrm>
            <a:off x="9503011" y="1309938"/>
            <a:ext cx="1213052" cy="346249"/>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100" b="1" i="0" u="none" strike="noStrike" kern="0" cap="none" spc="0" normalizeH="0" baseline="0" noProof="0" dirty="0" smtClean="0">
                <a:ln>
                  <a:noFill/>
                </a:ln>
                <a:solidFill>
                  <a:prstClr val="black">
                    <a:lumMod val="65000"/>
                    <a:lumOff val="35000"/>
                  </a:prstClr>
                </a:solidFill>
                <a:effectLst/>
                <a:uLnTx/>
                <a:uFillTx/>
                <a:latin typeface="+mj-ea"/>
                <a:ea typeface="+mj-ea"/>
              </a:rPr>
              <a:t>关系代理</a:t>
            </a:r>
            <a:endParaRPr kumimoji="0" lang="zh-CN" altLang="en-US" sz="1100" b="1" i="0" u="none" strike="noStrike" kern="0" cap="none" spc="0" normalizeH="0" baseline="0" noProof="0" dirty="0" smtClean="0">
              <a:ln>
                <a:noFill/>
              </a:ln>
              <a:solidFill>
                <a:prstClr val="black">
                  <a:lumMod val="65000"/>
                  <a:lumOff val="35000"/>
                </a:prstClr>
              </a:solidFill>
              <a:effectLst/>
              <a:uLnTx/>
              <a:uFillTx/>
              <a:latin typeface="+mj-ea"/>
              <a:ea typeface="+mj-ea"/>
            </a:endParaRPr>
          </a:p>
        </p:txBody>
      </p:sp>
      <p:cxnSp>
        <p:nvCxnSpPr>
          <p:cNvPr id="123" name="肘形连接符 122"/>
          <p:cNvCxnSpPr>
            <a:endCxn id="107" idx="0"/>
          </p:cNvCxnSpPr>
          <p:nvPr/>
        </p:nvCxnSpPr>
        <p:spPr>
          <a:xfrm rot="10800000" flipV="1">
            <a:off x="5303084" y="1584471"/>
            <a:ext cx="2988234" cy="799559"/>
          </a:xfrm>
          <a:prstGeom prst="bentConnector2">
            <a:avLst/>
          </a:prstGeom>
          <a:noFill/>
          <a:ln w="6350" cap="flat" cmpd="sng" algn="ctr">
            <a:solidFill>
              <a:srgbClr val="5B9BD5"/>
            </a:solidFill>
            <a:prstDash val="solid"/>
            <a:miter lim="800000"/>
            <a:tailEnd type="triangle"/>
          </a:ln>
          <a:effectLst/>
        </p:spPr>
      </p:cxnSp>
      <p:cxnSp>
        <p:nvCxnSpPr>
          <p:cNvPr id="124" name="肘形连接符 123"/>
          <p:cNvCxnSpPr/>
          <p:nvPr/>
        </p:nvCxnSpPr>
        <p:spPr>
          <a:xfrm flipV="1">
            <a:off x="5457379" y="1670241"/>
            <a:ext cx="2223582" cy="705587"/>
          </a:xfrm>
          <a:prstGeom prst="bentConnector3">
            <a:avLst>
              <a:gd name="adj1" fmla="val -177"/>
            </a:avLst>
          </a:prstGeom>
          <a:noFill/>
          <a:ln w="6350" cap="flat" cmpd="sng" algn="ctr">
            <a:solidFill>
              <a:srgbClr val="FE6D34"/>
            </a:solidFill>
            <a:prstDash val="solid"/>
            <a:miter lim="800000"/>
            <a:tailEnd type="triangle"/>
          </a:ln>
          <a:effectLst/>
        </p:spPr>
      </p:cxnSp>
      <p:sp>
        <p:nvSpPr>
          <p:cNvPr id="125" name="文本框 124"/>
          <p:cNvSpPr txBox="1"/>
          <p:nvPr/>
        </p:nvSpPr>
        <p:spPr>
          <a:xfrm>
            <a:off x="5935896" y="1195980"/>
            <a:ext cx="1643928" cy="346249"/>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100" b="1" i="0" u="none" strike="noStrike" kern="0" cap="none" spc="0" normalizeH="0" baseline="0" noProof="0" dirty="0" smtClean="0">
                <a:ln>
                  <a:noFill/>
                </a:ln>
                <a:solidFill>
                  <a:srgbClr val="5B9BD5"/>
                </a:solidFill>
                <a:effectLst/>
                <a:uLnTx/>
                <a:uFillTx/>
                <a:latin typeface="+mj-ea"/>
                <a:ea typeface="+mj-ea"/>
              </a:rPr>
              <a:t>本地化业务内容</a:t>
            </a:r>
            <a:endParaRPr kumimoji="0" lang="zh-CN" altLang="en-US" sz="1100" b="1" i="0" u="none" strike="noStrike" kern="0" cap="none" spc="0" normalizeH="0" baseline="0" noProof="0" dirty="0" smtClean="0">
              <a:ln>
                <a:noFill/>
              </a:ln>
              <a:solidFill>
                <a:srgbClr val="5B9BD5"/>
              </a:solidFill>
              <a:effectLst/>
              <a:uLnTx/>
              <a:uFillTx/>
              <a:latin typeface="+mj-ea"/>
              <a:ea typeface="+mj-ea"/>
            </a:endParaRPr>
          </a:p>
        </p:txBody>
      </p:sp>
      <p:sp>
        <p:nvSpPr>
          <p:cNvPr id="126" name="矩形 125"/>
          <p:cNvSpPr/>
          <p:nvPr/>
        </p:nvSpPr>
        <p:spPr>
          <a:xfrm>
            <a:off x="7680960" y="613244"/>
            <a:ext cx="1244135" cy="400928"/>
          </a:xfrm>
          <a:prstGeom prst="rect">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solidFill>
                  <a:prstClr val="white"/>
                </a:solidFill>
                <a:effectLst/>
                <a:uLnTx/>
                <a:uFillTx/>
                <a:latin typeface="+mj-ea"/>
                <a:ea typeface="+mj-ea"/>
              </a:rPr>
              <a:t>咨询规划</a:t>
            </a:r>
            <a:endParaRPr kumimoji="0" lang="zh-CN" altLang="en-US" sz="1800" b="1" i="0" u="none" strike="noStrike" kern="0" cap="none" spc="0" normalizeH="0" baseline="0" noProof="0" dirty="0" smtClean="0">
              <a:ln>
                <a:noFill/>
              </a:ln>
              <a:solidFill>
                <a:prstClr val="white"/>
              </a:solidFill>
              <a:effectLst/>
              <a:uLnTx/>
              <a:uFillTx/>
              <a:latin typeface="+mj-ea"/>
              <a:ea typeface="+mj-ea"/>
            </a:endParaRPr>
          </a:p>
        </p:txBody>
      </p:sp>
      <p:grpSp>
        <p:nvGrpSpPr>
          <p:cNvPr id="127" name="组合 126"/>
          <p:cNvGrpSpPr/>
          <p:nvPr/>
        </p:nvGrpSpPr>
        <p:grpSpPr>
          <a:xfrm rot="5400000">
            <a:off x="8139485" y="1859036"/>
            <a:ext cx="438320" cy="459428"/>
            <a:chOff x="6977960" y="5210712"/>
            <a:chExt cx="721472" cy="486574"/>
          </a:xfrm>
        </p:grpSpPr>
        <p:cxnSp>
          <p:nvCxnSpPr>
            <p:cNvPr id="128" name="直接箭头连接符 127"/>
            <p:cNvCxnSpPr/>
            <p:nvPr/>
          </p:nvCxnSpPr>
          <p:spPr>
            <a:xfrm>
              <a:off x="7015432" y="5697286"/>
              <a:ext cx="684000" cy="0"/>
            </a:xfrm>
            <a:prstGeom prst="straightConnector1">
              <a:avLst/>
            </a:prstGeom>
            <a:noFill/>
            <a:ln w="6350" cap="flat" cmpd="sng" algn="ctr">
              <a:solidFill>
                <a:srgbClr val="5B9BD5"/>
              </a:solidFill>
              <a:prstDash val="solid"/>
              <a:miter lim="800000"/>
              <a:tailEnd type="triangle"/>
            </a:ln>
            <a:effectLst/>
          </p:spPr>
        </p:cxnSp>
        <p:cxnSp>
          <p:nvCxnSpPr>
            <p:cNvPr id="129" name="直接箭头连接符 128"/>
            <p:cNvCxnSpPr/>
            <p:nvPr/>
          </p:nvCxnSpPr>
          <p:spPr>
            <a:xfrm flipH="1">
              <a:off x="6977960" y="5210712"/>
              <a:ext cx="684000" cy="0"/>
            </a:xfrm>
            <a:prstGeom prst="straightConnector1">
              <a:avLst/>
            </a:prstGeom>
            <a:noFill/>
            <a:ln w="6350" cap="flat" cmpd="sng" algn="ctr">
              <a:solidFill>
                <a:srgbClr val="FE5817"/>
              </a:solidFill>
              <a:prstDash val="solid"/>
              <a:miter lim="800000"/>
              <a:tailEnd type="triangle"/>
            </a:ln>
            <a:effectLst/>
          </p:spPr>
        </p:cxnSp>
      </p:grpSp>
      <p:cxnSp>
        <p:nvCxnSpPr>
          <p:cNvPr id="130" name="肘形连接符 129"/>
          <p:cNvCxnSpPr/>
          <p:nvPr/>
        </p:nvCxnSpPr>
        <p:spPr>
          <a:xfrm rot="10800000">
            <a:off x="8925097" y="870590"/>
            <a:ext cx="2195822" cy="2115898"/>
          </a:xfrm>
          <a:prstGeom prst="bentConnector3">
            <a:avLst>
              <a:gd name="adj1" fmla="val 12143"/>
            </a:avLst>
          </a:prstGeom>
          <a:noFill/>
          <a:ln w="6350" cap="flat" cmpd="sng" algn="ctr">
            <a:solidFill>
              <a:srgbClr val="FE6D34"/>
            </a:solidFill>
            <a:prstDash val="solid"/>
            <a:miter lim="800000"/>
            <a:tailEnd type="triangle"/>
          </a:ln>
          <a:effectLst/>
        </p:spPr>
      </p:cxnSp>
      <p:cxnSp>
        <p:nvCxnSpPr>
          <p:cNvPr id="131" name="肘形连接符 130"/>
          <p:cNvCxnSpPr/>
          <p:nvPr/>
        </p:nvCxnSpPr>
        <p:spPr>
          <a:xfrm rot="16200000" flipH="1">
            <a:off x="8920937" y="767027"/>
            <a:ext cx="2057011" cy="2033697"/>
          </a:xfrm>
          <a:prstGeom prst="bentConnector3">
            <a:avLst>
              <a:gd name="adj1" fmla="val 159"/>
            </a:avLst>
          </a:prstGeom>
          <a:noFill/>
          <a:ln w="6350" cap="flat" cmpd="sng" algn="ctr">
            <a:solidFill>
              <a:srgbClr val="5B9BD5"/>
            </a:solidFill>
            <a:prstDash val="solid"/>
            <a:miter lim="800000"/>
            <a:tailEnd type="triangle"/>
          </a:ln>
          <a:effectLst/>
        </p:spPr>
      </p:cxnSp>
      <p:cxnSp>
        <p:nvCxnSpPr>
          <p:cNvPr id="132" name="肘形连接符 131"/>
          <p:cNvCxnSpPr/>
          <p:nvPr/>
        </p:nvCxnSpPr>
        <p:spPr>
          <a:xfrm rot="10800000" flipV="1">
            <a:off x="5143694" y="813707"/>
            <a:ext cx="2128499" cy="1570323"/>
          </a:xfrm>
          <a:prstGeom prst="bentConnector2">
            <a:avLst/>
          </a:prstGeom>
          <a:noFill/>
          <a:ln w="6350" cap="flat" cmpd="sng" algn="ctr">
            <a:solidFill>
              <a:srgbClr val="7F7F7F"/>
            </a:solidFill>
            <a:prstDash val="dash"/>
            <a:miter lim="800000"/>
            <a:tailEnd type="triangle"/>
          </a:ln>
          <a:effectLst/>
        </p:spPr>
      </p:cxnSp>
      <p:sp>
        <p:nvSpPr>
          <p:cNvPr id="133" name="文本框 132"/>
          <p:cNvSpPr txBox="1"/>
          <p:nvPr/>
        </p:nvSpPr>
        <p:spPr>
          <a:xfrm>
            <a:off x="9457107" y="828105"/>
            <a:ext cx="1213052" cy="346249"/>
          </a:xfrm>
          <a:prstGeom prst="rect">
            <a:avLst/>
          </a:prstGeom>
          <a:noFill/>
          <a:ln w="6350" cap="flat" cmpd="sng" algn="ctr">
            <a:noFill/>
            <a:prstDash val="solid"/>
            <a:miter lim="800000"/>
            <a:tailEnd type="triangle"/>
          </a:ln>
          <a:effectLst/>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100" b="1" i="0" u="none" strike="noStrike" kern="0" cap="none" spc="0" normalizeH="0" baseline="0" noProof="0" dirty="0" smtClean="0">
                <a:ln>
                  <a:noFill/>
                </a:ln>
                <a:solidFill>
                  <a:srgbClr val="FE6D34"/>
                </a:solidFill>
                <a:effectLst/>
                <a:uLnTx/>
                <a:uFillTx/>
                <a:latin typeface="+mj-ea"/>
                <a:ea typeface="+mj-ea"/>
                <a:cs typeface="+mn-cs"/>
              </a:rPr>
              <a:t>咨询费</a:t>
            </a:r>
            <a:endParaRPr kumimoji="0" lang="zh-CN" altLang="en-US" sz="1100" b="1" i="0" u="none" strike="noStrike" kern="0" cap="none" spc="0" normalizeH="0" baseline="0" noProof="0" dirty="0" smtClean="0">
              <a:ln>
                <a:noFill/>
              </a:ln>
              <a:solidFill>
                <a:srgbClr val="FE6D34"/>
              </a:solidFill>
              <a:effectLst/>
              <a:uLnTx/>
              <a:uFillTx/>
              <a:latin typeface="+mj-ea"/>
              <a:ea typeface="+mj-ea"/>
              <a:cs typeface="+mn-cs"/>
            </a:endParaRPr>
          </a:p>
        </p:txBody>
      </p:sp>
      <p:sp>
        <p:nvSpPr>
          <p:cNvPr id="134" name="圆角矩形 133"/>
          <p:cNvSpPr/>
          <p:nvPr/>
        </p:nvSpPr>
        <p:spPr>
          <a:xfrm>
            <a:off x="4766600" y="3555268"/>
            <a:ext cx="1163777" cy="243670"/>
          </a:xfrm>
          <a:prstGeom prst="roundRect">
            <a:avLst/>
          </a:prstGeom>
          <a:solidFill>
            <a:srgbClr val="F4B1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black">
                  <a:lumMod val="85000"/>
                  <a:lumOff val="15000"/>
                </a:prstClr>
              </a:solidFill>
              <a:effectLst/>
              <a:uLnTx/>
              <a:uFillTx/>
              <a:latin typeface="+mj-ea"/>
              <a:ea typeface="+mj-ea"/>
              <a:cs typeface="+mn-cs"/>
            </a:endParaRPr>
          </a:p>
        </p:txBody>
      </p:sp>
      <p:sp>
        <p:nvSpPr>
          <p:cNvPr id="135" name="圆角矩形 134"/>
          <p:cNvSpPr/>
          <p:nvPr/>
        </p:nvSpPr>
        <p:spPr>
          <a:xfrm>
            <a:off x="4766600" y="2729453"/>
            <a:ext cx="1163777" cy="243670"/>
          </a:xfrm>
          <a:prstGeom prst="roundRect">
            <a:avLst/>
          </a:prstGeom>
          <a:solidFill>
            <a:srgbClr val="F4B1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black">
                  <a:lumMod val="85000"/>
                  <a:lumOff val="15000"/>
                </a:prstClr>
              </a:solidFill>
              <a:effectLst/>
              <a:uLnTx/>
              <a:uFillTx/>
              <a:latin typeface="+mj-ea"/>
              <a:ea typeface="+mj-ea"/>
              <a:cs typeface="+mn-cs"/>
            </a:endParaRPr>
          </a:p>
        </p:txBody>
      </p:sp>
      <p:sp>
        <p:nvSpPr>
          <p:cNvPr id="136" name="圆角矩形 135"/>
          <p:cNvSpPr/>
          <p:nvPr/>
        </p:nvSpPr>
        <p:spPr>
          <a:xfrm>
            <a:off x="7958211" y="3563869"/>
            <a:ext cx="1163777" cy="243670"/>
          </a:xfrm>
          <a:prstGeom prst="roundRect">
            <a:avLst/>
          </a:prstGeom>
          <a:solidFill>
            <a:srgbClr val="F4B1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black">
                  <a:lumMod val="85000"/>
                  <a:lumOff val="15000"/>
                </a:prstClr>
              </a:solidFill>
              <a:effectLst/>
              <a:uLnTx/>
              <a:uFillTx/>
              <a:latin typeface="+mj-ea"/>
              <a:ea typeface="+mj-ea"/>
              <a:cs typeface="+mn-cs"/>
            </a:endParaRPr>
          </a:p>
        </p:txBody>
      </p:sp>
      <p:sp>
        <p:nvSpPr>
          <p:cNvPr id="137" name="圆角矩形 136"/>
          <p:cNvSpPr/>
          <p:nvPr/>
        </p:nvSpPr>
        <p:spPr>
          <a:xfrm>
            <a:off x="7958211" y="2725123"/>
            <a:ext cx="1163777" cy="243670"/>
          </a:xfrm>
          <a:prstGeom prst="roundRect">
            <a:avLst/>
          </a:prstGeom>
          <a:solidFill>
            <a:srgbClr val="F4B1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black">
                  <a:lumMod val="85000"/>
                  <a:lumOff val="15000"/>
                </a:prstClr>
              </a:solidFill>
              <a:effectLst/>
              <a:uLnTx/>
              <a:uFillTx/>
              <a:latin typeface="+mj-ea"/>
              <a:ea typeface="+mj-ea"/>
              <a:cs typeface="+mn-cs"/>
            </a:endParaRPr>
          </a:p>
        </p:txBody>
      </p:sp>
      <p:grpSp>
        <p:nvGrpSpPr>
          <p:cNvPr id="138" name="组合 137"/>
          <p:cNvGrpSpPr/>
          <p:nvPr/>
        </p:nvGrpSpPr>
        <p:grpSpPr>
          <a:xfrm>
            <a:off x="4488072" y="4714020"/>
            <a:ext cx="1820264" cy="1425511"/>
            <a:chOff x="4225663" y="2095216"/>
            <a:chExt cx="1820264" cy="2287242"/>
          </a:xfrm>
        </p:grpSpPr>
        <p:sp>
          <p:nvSpPr>
            <p:cNvPr id="139" name="矩形 138"/>
            <p:cNvSpPr/>
            <p:nvPr/>
          </p:nvSpPr>
          <p:spPr>
            <a:xfrm>
              <a:off x="4378063" y="2674628"/>
              <a:ext cx="1667864" cy="1707830"/>
            </a:xfrm>
            <a:prstGeom prst="rect">
              <a:avLst/>
            </a:prstGeom>
            <a:noFill/>
            <a:ln w="25400" cap="flat" cmpd="sng" algn="ctr">
              <a:solidFill>
                <a:sysClr val="window" lastClr="FFFFFF">
                  <a:lumMod val="50000"/>
                </a:sysClr>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dirty="0" smtClean="0">
                <a:ln>
                  <a:noFill/>
                </a:ln>
                <a:solidFill>
                  <a:prstClr val="white"/>
                </a:solidFill>
                <a:effectLst/>
                <a:uLnTx/>
                <a:uFillTx/>
                <a:latin typeface="+mj-ea"/>
                <a:ea typeface="+mj-ea"/>
              </a:endParaRPr>
            </a:p>
          </p:txBody>
        </p:sp>
        <p:sp>
          <p:nvSpPr>
            <p:cNvPr id="140" name="矩形 139"/>
            <p:cNvSpPr/>
            <p:nvPr/>
          </p:nvSpPr>
          <p:spPr>
            <a:xfrm>
              <a:off x="4225663" y="2826335"/>
              <a:ext cx="365532" cy="1357746"/>
            </a:xfrm>
            <a:prstGeom prst="rect">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mj-ea"/>
                  <a:ea typeface="+mj-ea"/>
                </a:rPr>
                <a:t>投资商</a:t>
              </a:r>
              <a:endParaRPr kumimoji="0" lang="zh-CN" altLang="en-US" sz="1200" b="1" i="0" u="none" strike="noStrike" kern="0" cap="none" spc="0" normalizeH="0" baseline="0" noProof="0" dirty="0" smtClean="0">
                <a:ln>
                  <a:noFill/>
                </a:ln>
                <a:solidFill>
                  <a:prstClr val="white"/>
                </a:solidFill>
                <a:effectLst/>
                <a:uLnTx/>
                <a:uFillTx/>
                <a:latin typeface="+mj-ea"/>
                <a:ea typeface="+mj-ea"/>
              </a:endParaRPr>
            </a:p>
          </p:txBody>
        </p:sp>
        <p:sp>
          <p:nvSpPr>
            <p:cNvPr id="141" name="文本框 140"/>
            <p:cNvSpPr txBox="1"/>
            <p:nvPr/>
          </p:nvSpPr>
          <p:spPr>
            <a:xfrm>
              <a:off x="4591196" y="2095216"/>
              <a:ext cx="1431492" cy="1925936"/>
            </a:xfrm>
            <a:prstGeom prst="rect">
              <a:avLst/>
            </a:prstGeom>
            <a:noFill/>
          </p:spPr>
          <p:txBody>
            <a:bodyPr wrap="square" rtlCol="0" anchor="t">
              <a:spAutoFit/>
            </a:bodyPr>
            <a:lstStyle/>
            <a:p>
              <a:pPr marL="0" marR="0" lvl="0" indent="0" defTabSz="914400" eaLnBrk="1" fontAlgn="auto" latinLnBrk="0" hangingPunct="1">
                <a:lnSpc>
                  <a:spcPct val="150000"/>
                </a:lnSpc>
                <a:spcBef>
                  <a:spcPts val="0"/>
                </a:spcBef>
                <a:spcAft>
                  <a:spcPts val="0"/>
                </a:spcAft>
                <a:buClrTx/>
                <a:buSzTx/>
                <a:buFontTx/>
                <a:buNone/>
                <a:defRPr/>
              </a:pPr>
              <a:endPar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endParaRPr>
            </a:p>
            <a:p>
              <a:pPr marL="0" marR="0" lvl="0" indent="0"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75000"/>
                      <a:lumOff val="25000"/>
                    </a:prstClr>
                  </a:solidFill>
                  <a:effectLst/>
                  <a:uLnTx/>
                  <a:uFillTx/>
                  <a:latin typeface="+mj-ea"/>
                  <a:ea typeface="+mj-ea"/>
                </a:rPr>
                <a:t>银行</a:t>
              </a:r>
              <a:endPar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endParaRPr>
            </a:p>
            <a:p>
              <a:pPr marL="0" marR="0" lvl="0" indent="0"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75000"/>
                      <a:lumOff val="25000"/>
                    </a:prstClr>
                  </a:solidFill>
                  <a:effectLst/>
                  <a:uLnTx/>
                  <a:uFillTx/>
                  <a:latin typeface="+mj-ea"/>
                  <a:ea typeface="+mj-ea"/>
                </a:rPr>
                <a:t>政策性金融机构</a:t>
              </a:r>
              <a:endPar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endParaRPr>
            </a:p>
            <a:p>
              <a:pPr marL="0" marR="0" lvl="0" indent="0"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75000"/>
                      <a:lumOff val="25000"/>
                    </a:prstClr>
                  </a:solidFill>
                  <a:effectLst/>
                  <a:uLnTx/>
                  <a:uFillTx/>
                  <a:latin typeface="+mj-ea"/>
                  <a:ea typeface="+mj-ea"/>
                </a:rPr>
                <a:t>租赁</a:t>
              </a:r>
              <a:r>
                <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rPr>
                <a:t>/</a:t>
              </a:r>
              <a:r>
                <a:rPr kumimoji="0" lang="zh-CN" altLang="en-US" sz="1200" b="1" i="0" u="none" strike="noStrike" kern="0" cap="none" spc="0" normalizeH="0" baseline="0" noProof="0" dirty="0" smtClean="0">
                  <a:ln>
                    <a:noFill/>
                  </a:ln>
                  <a:solidFill>
                    <a:prstClr val="black">
                      <a:lumMod val="75000"/>
                      <a:lumOff val="25000"/>
                    </a:prstClr>
                  </a:solidFill>
                  <a:effectLst/>
                  <a:uLnTx/>
                  <a:uFillTx/>
                  <a:latin typeface="+mj-ea"/>
                  <a:ea typeface="+mj-ea"/>
                </a:rPr>
                <a:t>保险</a:t>
              </a:r>
              <a:endPar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endParaRPr>
            </a:p>
          </p:txBody>
        </p:sp>
      </p:grpSp>
      <p:sp>
        <p:nvSpPr>
          <p:cNvPr id="142" name="文本框 141"/>
          <p:cNvSpPr txBox="1"/>
          <p:nvPr/>
        </p:nvSpPr>
        <p:spPr>
          <a:xfrm>
            <a:off x="5597633" y="4339192"/>
            <a:ext cx="438582" cy="778314"/>
          </a:xfrm>
          <a:prstGeom prst="rect">
            <a:avLst/>
          </a:prstGeom>
          <a:noFill/>
        </p:spPr>
        <p:txBody>
          <a:bodyPr vert="eaVert"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100" b="1" i="0" u="none" strike="noStrike" kern="0" cap="none" spc="0" normalizeH="0" baseline="0" noProof="0" dirty="0" smtClean="0">
                <a:ln>
                  <a:noFill/>
                </a:ln>
                <a:solidFill>
                  <a:srgbClr val="FE6D34"/>
                </a:solidFill>
                <a:effectLst/>
                <a:uLnTx/>
                <a:uFillTx/>
                <a:latin typeface="+mj-ea"/>
                <a:ea typeface="+mj-ea"/>
              </a:rPr>
              <a:t>投融资</a:t>
            </a:r>
            <a:endParaRPr kumimoji="0" lang="zh-CN" altLang="en-US" sz="1100" b="1" i="0" u="none" strike="noStrike" kern="0" cap="none" spc="0" normalizeH="0" baseline="0" noProof="0" dirty="0" smtClean="0">
              <a:ln>
                <a:noFill/>
              </a:ln>
              <a:solidFill>
                <a:srgbClr val="FE6D34"/>
              </a:solidFill>
              <a:effectLst/>
              <a:uLnTx/>
              <a:uFillTx/>
              <a:latin typeface="+mj-ea"/>
              <a:ea typeface="+mj-ea"/>
            </a:endParaRPr>
          </a:p>
        </p:txBody>
      </p:sp>
      <p:cxnSp>
        <p:nvCxnSpPr>
          <p:cNvPr id="143" name="肘形连接符 142"/>
          <p:cNvCxnSpPr/>
          <p:nvPr/>
        </p:nvCxnSpPr>
        <p:spPr>
          <a:xfrm rot="10800000" flipV="1">
            <a:off x="6285099" y="4303338"/>
            <a:ext cx="1989234" cy="1142835"/>
          </a:xfrm>
          <a:prstGeom prst="bentConnector3">
            <a:avLst>
              <a:gd name="adj1" fmla="val 441"/>
            </a:avLst>
          </a:prstGeom>
          <a:noFill/>
          <a:ln w="6350" cap="flat" cmpd="sng" algn="ctr">
            <a:solidFill>
              <a:srgbClr val="FE6D34"/>
            </a:solidFill>
            <a:prstDash val="solid"/>
            <a:miter lim="800000"/>
            <a:tailEnd type="triangle"/>
          </a:ln>
          <a:effectLst/>
        </p:spPr>
      </p:cxnSp>
      <p:cxnSp>
        <p:nvCxnSpPr>
          <p:cNvPr id="144" name="肘形连接符 143"/>
          <p:cNvCxnSpPr>
            <a:stCxn id="139" idx="3"/>
            <a:endCxn id="109" idx="2"/>
          </p:cNvCxnSpPr>
          <p:nvPr/>
        </p:nvCxnSpPr>
        <p:spPr>
          <a:xfrm flipV="1">
            <a:off x="6308336" y="4301178"/>
            <a:ext cx="2098493" cy="1306155"/>
          </a:xfrm>
          <a:prstGeom prst="bentConnector2">
            <a:avLst/>
          </a:prstGeom>
          <a:noFill/>
          <a:ln w="6350" cap="flat" cmpd="sng" algn="ctr">
            <a:solidFill>
              <a:srgbClr val="5B9BD5"/>
            </a:solidFill>
            <a:prstDash val="solid"/>
            <a:miter lim="800000"/>
            <a:tailEnd type="triangle"/>
          </a:ln>
          <a:effectLst/>
        </p:spPr>
      </p:cxnSp>
      <p:sp>
        <p:nvSpPr>
          <p:cNvPr id="145" name="文本框 144"/>
          <p:cNvSpPr txBox="1"/>
          <p:nvPr/>
        </p:nvSpPr>
        <p:spPr>
          <a:xfrm>
            <a:off x="6739679" y="5572497"/>
            <a:ext cx="2501082" cy="346249"/>
          </a:xfrm>
          <a:prstGeom prst="rect">
            <a:avLst/>
          </a:prstGeom>
          <a:noFill/>
        </p:spPr>
        <p:txBody>
          <a:bodyPr vert="horz"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100" b="1" i="0" u="none" strike="noStrike" kern="0" cap="none" spc="0" normalizeH="0" baseline="0" noProof="0" dirty="0" smtClean="0">
                <a:ln>
                  <a:noFill/>
                </a:ln>
                <a:solidFill>
                  <a:srgbClr val="5B9BD5"/>
                </a:solidFill>
                <a:effectLst/>
                <a:uLnTx/>
                <a:uFillTx/>
                <a:latin typeface="+mj-ea"/>
                <a:ea typeface="+mj-ea"/>
              </a:rPr>
              <a:t>代租赁</a:t>
            </a:r>
            <a:r>
              <a:rPr kumimoji="0" lang="en-US" altLang="zh-CN" sz="1100" b="1" i="0" u="none" strike="noStrike" kern="0" cap="none" spc="0" normalizeH="0" baseline="0" noProof="0" dirty="0" smtClean="0">
                <a:ln>
                  <a:noFill/>
                </a:ln>
                <a:solidFill>
                  <a:srgbClr val="5B9BD5"/>
                </a:solidFill>
                <a:effectLst/>
                <a:uLnTx/>
                <a:uFillTx/>
                <a:latin typeface="+mj-ea"/>
                <a:ea typeface="+mj-ea"/>
              </a:rPr>
              <a:t>/</a:t>
            </a:r>
            <a:r>
              <a:rPr kumimoji="0" lang="zh-CN" altLang="en-US" sz="1100" b="1" i="0" u="none" strike="noStrike" kern="0" cap="none" spc="0" normalizeH="0" baseline="0" noProof="0" dirty="0" smtClean="0">
                <a:ln>
                  <a:noFill/>
                </a:ln>
                <a:solidFill>
                  <a:srgbClr val="5B9BD5"/>
                </a:solidFill>
                <a:effectLst/>
                <a:uLnTx/>
                <a:uFillTx/>
                <a:latin typeface="+mj-ea"/>
                <a:ea typeface="+mj-ea"/>
              </a:rPr>
              <a:t>保理</a:t>
            </a:r>
            <a:endParaRPr kumimoji="0" lang="zh-CN" altLang="en-US" sz="1100" b="1" i="0" u="none" strike="noStrike" kern="0" cap="none" spc="0" normalizeH="0" baseline="0" noProof="0" dirty="0" smtClean="0">
              <a:ln>
                <a:noFill/>
              </a:ln>
              <a:solidFill>
                <a:srgbClr val="5B9BD5"/>
              </a:solidFill>
              <a:effectLst/>
              <a:uLnTx/>
              <a:uFillTx/>
              <a:latin typeface="+mj-ea"/>
              <a:ea typeface="+mj-ea"/>
            </a:endParaRPr>
          </a:p>
        </p:txBody>
      </p:sp>
      <p:cxnSp>
        <p:nvCxnSpPr>
          <p:cNvPr id="146" name="肘形连接符 145"/>
          <p:cNvCxnSpPr/>
          <p:nvPr/>
        </p:nvCxnSpPr>
        <p:spPr>
          <a:xfrm rot="10800000" flipV="1">
            <a:off x="8694849" y="3586114"/>
            <a:ext cx="2430173" cy="213036"/>
          </a:xfrm>
          <a:prstGeom prst="bentConnector4">
            <a:avLst>
              <a:gd name="adj1" fmla="val 15452"/>
              <a:gd name="adj2" fmla="val 406865"/>
            </a:avLst>
          </a:prstGeom>
          <a:noFill/>
          <a:ln w="6350" cap="flat" cmpd="sng" algn="ctr">
            <a:solidFill>
              <a:srgbClr val="7F7F7F"/>
            </a:solidFill>
            <a:prstDash val="solid"/>
            <a:miter lim="800000"/>
            <a:tailEnd type="triangle"/>
          </a:ln>
          <a:effectLst/>
        </p:spPr>
      </p:cxnSp>
      <p:sp>
        <p:nvSpPr>
          <p:cNvPr id="147" name="文本框 146"/>
          <p:cNvSpPr txBox="1"/>
          <p:nvPr/>
        </p:nvSpPr>
        <p:spPr>
          <a:xfrm>
            <a:off x="9571316" y="4145572"/>
            <a:ext cx="1213052" cy="346249"/>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100" b="1" i="0" u="none" strike="noStrike" kern="0" cap="none" spc="0" normalizeH="0" baseline="0" noProof="0" dirty="0" smtClean="0">
                <a:ln>
                  <a:noFill/>
                </a:ln>
                <a:solidFill>
                  <a:prstClr val="black">
                    <a:lumMod val="65000"/>
                    <a:lumOff val="35000"/>
                  </a:prstClr>
                </a:solidFill>
                <a:effectLst/>
                <a:uLnTx/>
                <a:uFillTx/>
                <a:latin typeface="+mj-ea"/>
                <a:ea typeface="+mj-ea"/>
              </a:rPr>
              <a:t>监管</a:t>
            </a:r>
            <a:endParaRPr kumimoji="0" lang="zh-CN" altLang="en-US" sz="1100" b="1" i="0" u="none" strike="noStrike" kern="0" cap="none" spc="0" normalizeH="0" baseline="0" noProof="0" dirty="0" smtClean="0">
              <a:ln>
                <a:noFill/>
              </a:ln>
              <a:solidFill>
                <a:prstClr val="black">
                  <a:lumMod val="65000"/>
                  <a:lumOff val="35000"/>
                </a:prstClr>
              </a:solidFill>
              <a:effectLst/>
              <a:uLnTx/>
              <a:uFillTx/>
              <a:latin typeface="+mj-ea"/>
              <a:ea typeface="+mj-ea"/>
            </a:endParaRPr>
          </a:p>
        </p:txBody>
      </p:sp>
      <p:cxnSp>
        <p:nvCxnSpPr>
          <p:cNvPr id="148" name="直接箭头连接符 147"/>
          <p:cNvCxnSpPr/>
          <p:nvPr/>
        </p:nvCxnSpPr>
        <p:spPr>
          <a:xfrm flipV="1">
            <a:off x="5615663" y="4372761"/>
            <a:ext cx="0" cy="612000"/>
          </a:xfrm>
          <a:prstGeom prst="straightConnector1">
            <a:avLst/>
          </a:prstGeom>
          <a:noFill/>
          <a:ln w="6350" cap="flat" cmpd="sng" algn="ctr">
            <a:solidFill>
              <a:srgbClr val="FE5817"/>
            </a:solidFill>
            <a:prstDash val="solid"/>
            <a:miter lim="800000"/>
            <a:tailEnd type="triangle"/>
          </a:ln>
          <a:effectLst/>
        </p:spPr>
      </p:cxnSp>
      <p:cxnSp>
        <p:nvCxnSpPr>
          <p:cNvPr id="149" name="直接箭头连接符 148"/>
          <p:cNvCxnSpPr/>
          <p:nvPr/>
        </p:nvCxnSpPr>
        <p:spPr>
          <a:xfrm>
            <a:off x="5195112" y="4372601"/>
            <a:ext cx="3311" cy="612000"/>
          </a:xfrm>
          <a:prstGeom prst="straightConnector1">
            <a:avLst/>
          </a:prstGeom>
          <a:noFill/>
          <a:ln w="6350" cap="flat" cmpd="sng" algn="ctr">
            <a:solidFill>
              <a:srgbClr val="5B9BD5"/>
            </a:solidFill>
            <a:prstDash val="solid"/>
            <a:miter lim="800000"/>
            <a:tailEnd type="triangle"/>
          </a:ln>
          <a:effectLst/>
        </p:spPr>
      </p:cxnSp>
      <p:cxnSp>
        <p:nvCxnSpPr>
          <p:cNvPr id="150" name="肘形连接符 149"/>
          <p:cNvCxnSpPr>
            <a:stCxn id="126" idx="1"/>
          </p:cNvCxnSpPr>
          <p:nvPr/>
        </p:nvCxnSpPr>
        <p:spPr>
          <a:xfrm rot="10800000" flipV="1">
            <a:off x="2165288" y="813708"/>
            <a:ext cx="5515673" cy="1565646"/>
          </a:xfrm>
          <a:prstGeom prst="bentConnector2">
            <a:avLst/>
          </a:prstGeom>
          <a:noFill/>
          <a:ln w="6350" cap="flat" cmpd="sng" algn="ctr">
            <a:solidFill>
              <a:srgbClr val="7F7F7F"/>
            </a:solidFill>
            <a:prstDash val="dash"/>
            <a:miter lim="800000"/>
            <a:headEnd type="triangle"/>
            <a:tailEnd type="triangle"/>
          </a:ln>
          <a:effectLst/>
        </p:spPr>
      </p:cxnSp>
      <p:sp>
        <p:nvSpPr>
          <p:cNvPr id="151" name="矩形 150"/>
          <p:cNvSpPr/>
          <p:nvPr/>
        </p:nvSpPr>
        <p:spPr>
          <a:xfrm>
            <a:off x="10524243" y="2826639"/>
            <a:ext cx="666972" cy="1224120"/>
          </a:xfrm>
          <a:prstGeom prst="rect">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prstClr val="white"/>
                </a:solidFill>
                <a:effectLst/>
                <a:uLnTx/>
                <a:uFillTx/>
                <a:latin typeface="+mj-ea"/>
                <a:ea typeface="+mj-ea"/>
              </a:rPr>
              <a:t>政府</a:t>
            </a:r>
            <a:endParaRPr kumimoji="0" lang="zh-CN" altLang="en-US" sz="2000" b="1" i="0" u="none" strike="noStrike" kern="0" cap="none" spc="0" normalizeH="0" baseline="0" noProof="0" dirty="0" smtClean="0">
              <a:ln>
                <a:noFill/>
              </a:ln>
              <a:solidFill>
                <a:prstClr val="white"/>
              </a:solidFill>
              <a:effectLst/>
              <a:uLnTx/>
              <a:uFillTx/>
              <a:latin typeface="+mj-ea"/>
              <a:ea typeface="+mj-ea"/>
            </a:endParaRPr>
          </a:p>
        </p:txBody>
      </p:sp>
      <p:cxnSp>
        <p:nvCxnSpPr>
          <p:cNvPr id="152" name="肘形连接符 151"/>
          <p:cNvCxnSpPr/>
          <p:nvPr/>
        </p:nvCxnSpPr>
        <p:spPr>
          <a:xfrm>
            <a:off x="8828322" y="1631598"/>
            <a:ext cx="1918567" cy="1195041"/>
          </a:xfrm>
          <a:prstGeom prst="bentConnector2">
            <a:avLst/>
          </a:prstGeom>
          <a:noFill/>
          <a:ln w="6350" cap="flat" cmpd="sng" algn="ctr">
            <a:solidFill>
              <a:srgbClr val="7F7F7F"/>
            </a:solidFill>
            <a:prstDash val="dash"/>
            <a:miter lim="800000"/>
            <a:tailEnd type="triangle"/>
          </a:ln>
          <a:effectLst/>
        </p:spPr>
      </p:cxnSp>
      <p:sp>
        <p:nvSpPr>
          <p:cNvPr id="153" name="矩形 152"/>
          <p:cNvSpPr/>
          <p:nvPr/>
        </p:nvSpPr>
        <p:spPr>
          <a:xfrm>
            <a:off x="7680960" y="1431134"/>
            <a:ext cx="1258202" cy="400928"/>
          </a:xfrm>
          <a:prstGeom prst="rect">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solidFill>
                  <a:prstClr val="white"/>
                </a:solidFill>
                <a:effectLst/>
                <a:uLnTx/>
                <a:uFillTx/>
                <a:latin typeface="+mj-ea"/>
                <a:ea typeface="+mj-ea"/>
              </a:rPr>
              <a:t>关系代理</a:t>
            </a:r>
            <a:endParaRPr kumimoji="0" lang="zh-CN" altLang="en-US" sz="1800" b="1" i="0" u="none" strike="noStrike" kern="0" cap="none" spc="0" normalizeH="0" baseline="0" noProof="0" dirty="0" smtClean="0">
              <a:ln>
                <a:noFill/>
              </a:ln>
              <a:solidFill>
                <a:prstClr val="white"/>
              </a:solidFill>
              <a:effectLst/>
              <a:uLnTx/>
              <a:uFillTx/>
              <a:latin typeface="+mj-ea"/>
              <a:ea typeface="+mj-ea"/>
            </a:endParaRPr>
          </a:p>
        </p:txBody>
      </p:sp>
      <p:sp>
        <p:nvSpPr>
          <p:cNvPr id="154" name="矩形 153"/>
          <p:cNvSpPr/>
          <p:nvPr/>
        </p:nvSpPr>
        <p:spPr>
          <a:xfrm>
            <a:off x="1365406" y="2390377"/>
            <a:ext cx="1722783" cy="1916886"/>
          </a:xfrm>
          <a:prstGeom prst="rect">
            <a:avLst/>
          </a:prstGeom>
          <a:noFill/>
          <a:ln w="25400" cap="flat" cmpd="sng" algn="ctr">
            <a:solidFill>
              <a:sysClr val="window" lastClr="FFFFFF">
                <a:lumMod val="50000"/>
              </a:sysClr>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dirty="0" smtClean="0">
              <a:ln>
                <a:noFill/>
              </a:ln>
              <a:solidFill>
                <a:prstClr val="white"/>
              </a:solidFill>
              <a:effectLst/>
              <a:uLnTx/>
              <a:uFillTx/>
              <a:latin typeface="+mj-ea"/>
              <a:ea typeface="+mj-ea"/>
            </a:endParaRPr>
          </a:p>
        </p:txBody>
      </p:sp>
      <p:sp>
        <p:nvSpPr>
          <p:cNvPr id="155" name="矩形 154"/>
          <p:cNvSpPr/>
          <p:nvPr/>
        </p:nvSpPr>
        <p:spPr>
          <a:xfrm>
            <a:off x="1213007" y="2684791"/>
            <a:ext cx="365532" cy="1357746"/>
          </a:xfrm>
          <a:prstGeom prst="rect">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mj-ea"/>
                <a:ea typeface="+mj-ea"/>
              </a:rPr>
              <a:t>上游产业链</a:t>
            </a:r>
            <a:endParaRPr kumimoji="0" lang="zh-CN" altLang="en-US" sz="1200" b="1" i="0" u="none" strike="noStrike" kern="0" cap="none" spc="0" normalizeH="0" baseline="0" noProof="0" dirty="0" smtClean="0">
              <a:ln>
                <a:noFill/>
              </a:ln>
              <a:solidFill>
                <a:prstClr val="white"/>
              </a:solidFill>
              <a:effectLst/>
              <a:uLnTx/>
              <a:uFillTx/>
              <a:latin typeface="+mj-ea"/>
              <a:ea typeface="+mj-ea"/>
            </a:endParaRPr>
          </a:p>
        </p:txBody>
      </p:sp>
      <p:sp>
        <p:nvSpPr>
          <p:cNvPr id="156" name="圆角矩形 155"/>
          <p:cNvSpPr/>
          <p:nvPr/>
        </p:nvSpPr>
        <p:spPr>
          <a:xfrm>
            <a:off x="1679232" y="2457393"/>
            <a:ext cx="983213" cy="243670"/>
          </a:xfrm>
          <a:prstGeom prst="roundRect">
            <a:avLst/>
          </a:prstGeom>
          <a:solidFill>
            <a:srgbClr val="F4B1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black">
                  <a:lumMod val="85000"/>
                  <a:lumOff val="15000"/>
                </a:prstClr>
              </a:solidFill>
              <a:effectLst/>
              <a:uLnTx/>
              <a:uFillTx/>
              <a:latin typeface="+mj-ea"/>
              <a:ea typeface="+mj-ea"/>
              <a:cs typeface="+mn-cs"/>
            </a:endParaRPr>
          </a:p>
        </p:txBody>
      </p:sp>
      <p:sp>
        <p:nvSpPr>
          <p:cNvPr id="157" name="圆角矩形 156"/>
          <p:cNvSpPr/>
          <p:nvPr/>
        </p:nvSpPr>
        <p:spPr>
          <a:xfrm>
            <a:off x="1679232" y="2733775"/>
            <a:ext cx="983213" cy="243670"/>
          </a:xfrm>
          <a:prstGeom prst="roundRect">
            <a:avLst/>
          </a:prstGeom>
          <a:solidFill>
            <a:srgbClr val="F4B1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black">
                  <a:lumMod val="85000"/>
                  <a:lumOff val="15000"/>
                </a:prstClr>
              </a:solidFill>
              <a:effectLst/>
              <a:uLnTx/>
              <a:uFillTx/>
              <a:latin typeface="+mj-ea"/>
              <a:ea typeface="+mj-ea"/>
              <a:cs typeface="+mn-cs"/>
            </a:endParaRPr>
          </a:p>
        </p:txBody>
      </p:sp>
      <p:sp>
        <p:nvSpPr>
          <p:cNvPr id="158" name="圆角矩形 157"/>
          <p:cNvSpPr/>
          <p:nvPr/>
        </p:nvSpPr>
        <p:spPr>
          <a:xfrm>
            <a:off x="1679232" y="3010157"/>
            <a:ext cx="983213" cy="243670"/>
          </a:xfrm>
          <a:prstGeom prst="roundRect">
            <a:avLst/>
          </a:prstGeom>
          <a:solidFill>
            <a:srgbClr val="F4B1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black">
                  <a:lumMod val="85000"/>
                  <a:lumOff val="15000"/>
                </a:prstClr>
              </a:solidFill>
              <a:effectLst/>
              <a:uLnTx/>
              <a:uFillTx/>
              <a:latin typeface="+mj-ea"/>
              <a:ea typeface="+mj-ea"/>
              <a:cs typeface="+mn-cs"/>
            </a:endParaRPr>
          </a:p>
        </p:txBody>
      </p:sp>
      <p:sp>
        <p:nvSpPr>
          <p:cNvPr id="159" name="圆角矩形 158"/>
          <p:cNvSpPr/>
          <p:nvPr/>
        </p:nvSpPr>
        <p:spPr>
          <a:xfrm>
            <a:off x="1679232" y="3286539"/>
            <a:ext cx="983213" cy="243670"/>
          </a:xfrm>
          <a:prstGeom prst="roundRect">
            <a:avLst/>
          </a:prstGeom>
          <a:solidFill>
            <a:srgbClr val="F4B1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black">
                  <a:lumMod val="85000"/>
                  <a:lumOff val="15000"/>
                </a:prstClr>
              </a:solidFill>
              <a:effectLst/>
              <a:uLnTx/>
              <a:uFillTx/>
              <a:latin typeface="+mj-ea"/>
              <a:ea typeface="+mj-ea"/>
              <a:cs typeface="+mn-cs"/>
            </a:endParaRPr>
          </a:p>
        </p:txBody>
      </p:sp>
      <p:sp>
        <p:nvSpPr>
          <p:cNvPr id="160" name="圆角矩形 159"/>
          <p:cNvSpPr/>
          <p:nvPr/>
        </p:nvSpPr>
        <p:spPr>
          <a:xfrm>
            <a:off x="1679232" y="3562921"/>
            <a:ext cx="983213" cy="243670"/>
          </a:xfrm>
          <a:prstGeom prst="roundRect">
            <a:avLst/>
          </a:prstGeom>
          <a:solidFill>
            <a:srgbClr val="F4B1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black">
                  <a:lumMod val="85000"/>
                  <a:lumOff val="15000"/>
                </a:prstClr>
              </a:solidFill>
              <a:effectLst/>
              <a:uLnTx/>
              <a:uFillTx/>
              <a:latin typeface="+mj-ea"/>
              <a:ea typeface="+mj-ea"/>
              <a:cs typeface="+mn-cs"/>
            </a:endParaRPr>
          </a:p>
        </p:txBody>
      </p:sp>
      <p:sp>
        <p:nvSpPr>
          <p:cNvPr id="161" name="圆角矩形 160"/>
          <p:cNvSpPr/>
          <p:nvPr/>
        </p:nvSpPr>
        <p:spPr>
          <a:xfrm>
            <a:off x="1679232" y="3839302"/>
            <a:ext cx="983213" cy="243670"/>
          </a:xfrm>
          <a:prstGeom prst="roundRect">
            <a:avLst/>
          </a:prstGeom>
          <a:solidFill>
            <a:srgbClr val="F4B18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black">
                  <a:lumMod val="85000"/>
                  <a:lumOff val="15000"/>
                </a:prstClr>
              </a:solidFill>
              <a:effectLst/>
              <a:uLnTx/>
              <a:uFillTx/>
              <a:latin typeface="+mj-ea"/>
              <a:ea typeface="+mj-ea"/>
              <a:cs typeface="+mn-cs"/>
            </a:endParaRPr>
          </a:p>
        </p:txBody>
      </p:sp>
      <p:pic>
        <p:nvPicPr>
          <p:cNvPr id="163" name="图片 1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59848" y="2456430"/>
            <a:ext cx="352893" cy="218735"/>
          </a:xfrm>
          <a:prstGeom prst="rect">
            <a:avLst/>
          </a:prstGeom>
        </p:spPr>
      </p:pic>
      <p:pic>
        <p:nvPicPr>
          <p:cNvPr id="164" name="图片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9801" y="2718841"/>
            <a:ext cx="240812" cy="278626"/>
          </a:xfrm>
          <a:prstGeom prst="rect">
            <a:avLst/>
          </a:prstGeom>
        </p:spPr>
      </p:pic>
      <p:pic>
        <p:nvPicPr>
          <p:cNvPr id="165" name="图片 1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17849" y="3015609"/>
            <a:ext cx="215537" cy="215536"/>
          </a:xfrm>
          <a:prstGeom prst="rect">
            <a:avLst/>
          </a:prstGeom>
        </p:spPr>
      </p:pic>
      <p:pic>
        <p:nvPicPr>
          <p:cNvPr id="166" name="图片 16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41275" y="3626618"/>
            <a:ext cx="372422" cy="124249"/>
          </a:xfrm>
          <a:prstGeom prst="rect">
            <a:avLst/>
          </a:prstGeom>
        </p:spPr>
      </p:pic>
      <p:sp>
        <p:nvSpPr>
          <p:cNvPr id="169" name="矩形 168"/>
          <p:cNvSpPr/>
          <p:nvPr/>
        </p:nvSpPr>
        <p:spPr>
          <a:xfrm>
            <a:off x="2510575" y="5328873"/>
            <a:ext cx="1901297" cy="487248"/>
          </a:xfrm>
          <a:prstGeom prst="rect">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mj-ea"/>
                <a:ea typeface="+mj-ea"/>
              </a:rPr>
              <a:t>基础设施提供商（电信运营商）</a:t>
            </a:r>
            <a:endParaRPr kumimoji="0" lang="zh-CN" altLang="en-US" sz="1400" b="1" i="0" u="none" strike="noStrike" kern="0" cap="none" spc="0" normalizeH="0" baseline="0" noProof="0" dirty="0" smtClean="0">
              <a:ln>
                <a:noFill/>
              </a:ln>
              <a:solidFill>
                <a:prstClr val="white"/>
              </a:solidFill>
              <a:effectLst/>
              <a:uLnTx/>
              <a:uFillTx/>
              <a:latin typeface="+mj-ea"/>
              <a:ea typeface="+mj-ea"/>
            </a:endParaRPr>
          </a:p>
        </p:txBody>
      </p:sp>
      <p:grpSp>
        <p:nvGrpSpPr>
          <p:cNvPr id="170" name="组合 169"/>
          <p:cNvGrpSpPr/>
          <p:nvPr/>
        </p:nvGrpSpPr>
        <p:grpSpPr>
          <a:xfrm rot="16200000">
            <a:off x="3294509" y="4794924"/>
            <a:ext cx="468612" cy="303928"/>
            <a:chOff x="6977960" y="5210712"/>
            <a:chExt cx="721472" cy="486574"/>
          </a:xfrm>
        </p:grpSpPr>
        <p:cxnSp>
          <p:nvCxnSpPr>
            <p:cNvPr id="171" name="直接箭头连接符 170"/>
            <p:cNvCxnSpPr/>
            <p:nvPr/>
          </p:nvCxnSpPr>
          <p:spPr>
            <a:xfrm>
              <a:off x="7015432" y="5697286"/>
              <a:ext cx="684000" cy="0"/>
            </a:xfrm>
            <a:prstGeom prst="straightConnector1">
              <a:avLst/>
            </a:prstGeom>
            <a:noFill/>
            <a:ln w="6350" cap="flat" cmpd="sng" algn="ctr">
              <a:solidFill>
                <a:srgbClr val="5B9BD5"/>
              </a:solidFill>
              <a:prstDash val="solid"/>
              <a:miter lim="800000"/>
              <a:tailEnd type="triangle"/>
            </a:ln>
            <a:effectLst/>
          </p:spPr>
        </p:cxnSp>
        <p:cxnSp>
          <p:nvCxnSpPr>
            <p:cNvPr id="172" name="直接箭头连接符 171"/>
            <p:cNvCxnSpPr/>
            <p:nvPr/>
          </p:nvCxnSpPr>
          <p:spPr>
            <a:xfrm flipH="1">
              <a:off x="6977960" y="5210712"/>
              <a:ext cx="684000" cy="0"/>
            </a:xfrm>
            <a:prstGeom prst="straightConnector1">
              <a:avLst/>
            </a:prstGeom>
            <a:noFill/>
            <a:ln w="6350" cap="flat" cmpd="sng" algn="ctr">
              <a:solidFill>
                <a:srgbClr val="FE5817"/>
              </a:solidFill>
              <a:prstDash val="solid"/>
              <a:miter lim="800000"/>
              <a:tailEnd type="triangle"/>
            </a:ln>
            <a:effectLst/>
          </p:spPr>
        </p:cxnSp>
      </p:grpSp>
      <p:pic>
        <p:nvPicPr>
          <p:cNvPr id="173" name="Picture 2" descr="http://www.smartcitylighting.cn/images/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80357" y="4097442"/>
            <a:ext cx="1407218" cy="187629"/>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4" descr="http://www.bcegc.com/html/images/logo1.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88258" y="4133503"/>
            <a:ext cx="499260" cy="141141"/>
          </a:xfrm>
          <a:prstGeom prst="rect">
            <a:avLst/>
          </a:prstGeom>
          <a:noFill/>
          <a:extLst>
            <a:ext uri="{909E8E84-426E-40DD-AFC4-6F175D3DCCD1}">
              <a14:hiddenFill xmlns:a14="http://schemas.microsoft.com/office/drawing/2010/main">
                <a:solidFill>
                  <a:srgbClr val="FFFFFF"/>
                </a:solidFill>
              </a14:hiddenFill>
            </a:ext>
          </a:extLst>
        </p:spPr>
      </p:pic>
      <p:grpSp>
        <p:nvGrpSpPr>
          <p:cNvPr id="175" name="组合 174"/>
          <p:cNvGrpSpPr/>
          <p:nvPr/>
        </p:nvGrpSpPr>
        <p:grpSpPr>
          <a:xfrm>
            <a:off x="2825617" y="5840457"/>
            <a:ext cx="1270992" cy="370156"/>
            <a:chOff x="2938137" y="5748782"/>
            <a:chExt cx="1572578" cy="457988"/>
          </a:xfrm>
        </p:grpSpPr>
        <p:pic>
          <p:nvPicPr>
            <p:cNvPr id="176" name="图片 17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18156" y="5781066"/>
              <a:ext cx="393418" cy="393419"/>
            </a:xfrm>
            <a:prstGeom prst="rect">
              <a:avLst/>
            </a:prstGeom>
          </p:spPr>
        </p:pic>
        <p:pic>
          <p:nvPicPr>
            <p:cNvPr id="177" name="图片 17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40933" y="5748782"/>
              <a:ext cx="469782" cy="457988"/>
            </a:xfrm>
            <a:prstGeom prst="rect">
              <a:avLst/>
            </a:prstGeom>
          </p:spPr>
        </p:pic>
        <p:pic>
          <p:nvPicPr>
            <p:cNvPr id="178" name="图片 17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38137" y="5786092"/>
              <a:ext cx="383367" cy="383368"/>
            </a:xfrm>
            <a:prstGeom prst="rect">
              <a:avLst/>
            </a:prstGeom>
          </p:spPr>
        </p:pic>
      </p:grpSp>
      <p:pic>
        <p:nvPicPr>
          <p:cNvPr id="179" name="图片 17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92463" y="5829435"/>
            <a:ext cx="243203" cy="243203"/>
          </a:xfrm>
          <a:prstGeom prst="rect">
            <a:avLst/>
          </a:prstGeom>
        </p:spPr>
      </p:pic>
      <p:pic>
        <p:nvPicPr>
          <p:cNvPr id="180" name="图片 17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69435" y="5742795"/>
            <a:ext cx="410912" cy="410912"/>
          </a:xfrm>
          <a:prstGeom prst="rect">
            <a:avLst/>
          </a:prstGeom>
        </p:spPr>
      </p:pic>
      <p:pic>
        <p:nvPicPr>
          <p:cNvPr id="181" name="图片 18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768074" y="5840458"/>
            <a:ext cx="226088" cy="226088"/>
          </a:xfrm>
          <a:prstGeom prst="rect">
            <a:avLst/>
          </a:prstGeom>
        </p:spPr>
      </p:pic>
      <p:pic>
        <p:nvPicPr>
          <p:cNvPr id="182" name="图片 1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5851" y="3023464"/>
            <a:ext cx="240812" cy="278626"/>
          </a:xfrm>
          <a:prstGeom prst="rect">
            <a:avLst/>
          </a:prstGeom>
        </p:spPr>
      </p:pic>
      <p:pic>
        <p:nvPicPr>
          <p:cNvPr id="183" name="Picture 6" descr="logo"/>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152377" y="3059279"/>
            <a:ext cx="535563" cy="179916"/>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8" descr="http://www.thtf.com.cn/views/default/images/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51888" y="3323690"/>
            <a:ext cx="717463" cy="200647"/>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10" descr="Neusoft"/>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615663" y="3325351"/>
            <a:ext cx="492984" cy="182587"/>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12" descr="http://www.inspur.com/lcjtww/resource/cms/2017/01/2017010416361897991.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773312" y="3822905"/>
            <a:ext cx="1030218" cy="182241"/>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16" descr="http://www.kuang-chi.com/web_file/images/ico/images/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958210" y="2979934"/>
            <a:ext cx="1083079" cy="217706"/>
          </a:xfrm>
          <a:prstGeom prst="rect">
            <a:avLst/>
          </a:prstGeom>
          <a:noFill/>
          <a:extLst>
            <a:ext uri="{909E8E84-426E-40DD-AFC4-6F175D3DCCD1}">
              <a14:hiddenFill xmlns:a14="http://schemas.microsoft.com/office/drawing/2010/main">
                <a:solidFill>
                  <a:srgbClr val="FFFFFF"/>
                </a:solidFill>
              </a14:hiddenFill>
            </a:ext>
          </a:extLst>
        </p:spPr>
      </p:pic>
      <p:pic>
        <p:nvPicPr>
          <p:cNvPr id="188" name="图片 18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967450" y="4084303"/>
            <a:ext cx="743915" cy="171409"/>
          </a:xfrm>
          <a:prstGeom prst="rect">
            <a:avLst/>
          </a:prstGeom>
        </p:spPr>
      </p:pic>
      <p:pic>
        <p:nvPicPr>
          <p:cNvPr id="189" name="图片 1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12271" y="3834220"/>
            <a:ext cx="580544" cy="193684"/>
          </a:xfrm>
          <a:prstGeom prst="rect">
            <a:avLst/>
          </a:prstGeom>
        </p:spPr>
      </p:pic>
      <p:pic>
        <p:nvPicPr>
          <p:cNvPr id="190" name="Picture 18" descr="中电科"/>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307016" y="1057199"/>
            <a:ext cx="1643829" cy="162577"/>
          </a:xfrm>
          <a:prstGeom prst="rect">
            <a:avLst/>
          </a:prstGeom>
          <a:noFill/>
          <a:extLst>
            <a:ext uri="{909E8E84-426E-40DD-AFC4-6F175D3DCCD1}">
              <a14:hiddenFill xmlns:a14="http://schemas.microsoft.com/office/drawing/2010/main">
                <a:solidFill>
                  <a:srgbClr val="FFFFFF"/>
                </a:solidFill>
              </a14:hiddenFill>
            </a:ext>
          </a:extLst>
        </p:spPr>
      </p:pic>
      <p:pic>
        <p:nvPicPr>
          <p:cNvPr id="191" name="图片 19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766429" y="2998661"/>
            <a:ext cx="300946" cy="300946"/>
          </a:xfrm>
          <a:prstGeom prst="rect">
            <a:avLst/>
          </a:prstGeom>
        </p:spPr>
      </p:pic>
      <p:pic>
        <p:nvPicPr>
          <p:cNvPr id="192" name="Picture 20" descr="http://www.taiji.com.cn/images/logo.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978438" y="3315534"/>
            <a:ext cx="609921" cy="232186"/>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18" descr="中电科"/>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766444" y="3172649"/>
            <a:ext cx="1643829" cy="162577"/>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14" descr="科大讯飞"/>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649661" y="3348820"/>
            <a:ext cx="406766" cy="122030"/>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20" descr="http://www.taiji.com.cn/images/logo.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384693" y="4039484"/>
            <a:ext cx="609921" cy="232186"/>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14" descr="科大讯飞"/>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768757" y="4056390"/>
            <a:ext cx="605489" cy="181647"/>
          </a:xfrm>
          <a:prstGeom prst="rect">
            <a:avLst/>
          </a:prstGeom>
          <a:noFill/>
          <a:extLst>
            <a:ext uri="{909E8E84-426E-40DD-AFC4-6F175D3DCCD1}">
              <a14:hiddenFill xmlns:a14="http://schemas.microsoft.com/office/drawing/2010/main">
                <a:solidFill>
                  <a:srgbClr val="FFFFFF"/>
                </a:solidFill>
              </a14:hiddenFill>
            </a:ext>
          </a:extLst>
        </p:spPr>
      </p:pic>
      <p:sp>
        <p:nvSpPr>
          <p:cNvPr id="19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pPr lvl="0" defTabSz="913765">
              <a:spcBef>
                <a:spcPts val="0"/>
              </a:spcBef>
              <a:buSzPct val="120000"/>
              <a:defRPr/>
            </a:pPr>
            <a:r>
              <a:rPr lang="zh-CN" altLang="en-US" sz="2400" dirty="0" smtClean="0">
                <a:solidFill>
                  <a:prstClr val="black"/>
                </a:solidFill>
                <a:latin typeface="+mj-ea"/>
              </a:rPr>
              <a:t>行研</a:t>
            </a:r>
            <a:r>
              <a:rPr lang="en-US" altLang="zh-CN" sz="2400" dirty="0" smtClean="0">
                <a:solidFill>
                  <a:prstClr val="black"/>
                </a:solidFill>
                <a:latin typeface="+mj-ea"/>
              </a:rPr>
              <a:t>—</a:t>
            </a:r>
            <a:r>
              <a:rPr lang="zh-CN" altLang="en-US" sz="2400" cap="all" dirty="0">
                <a:latin typeface="+mj-ea"/>
              </a:rPr>
              <a:t>智慧城市产业链</a:t>
            </a:r>
            <a:endParaRPr lang="en-US" altLang="zh-CN" sz="2400" cap="all" dirty="0">
              <a:latin typeface="+mj-ea"/>
            </a:endParaRPr>
          </a:p>
        </p:txBody>
      </p:sp>
      <p:sp>
        <p:nvSpPr>
          <p:cNvPr id="198" name="文本框 197"/>
          <p:cNvSpPr txBox="1"/>
          <p:nvPr/>
        </p:nvSpPr>
        <p:spPr>
          <a:xfrm>
            <a:off x="1598742" y="2379354"/>
            <a:ext cx="1133089" cy="1754326"/>
          </a:xfrm>
          <a:prstGeom prst="rect">
            <a:avLst/>
          </a:prstGeom>
          <a:noFill/>
        </p:spPr>
        <p:txBody>
          <a:bodyPr wrap="square" rtlCol="0">
            <a:spAutoFit/>
          </a:bodyPr>
          <a:lstStyle/>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75000"/>
                    <a:lumOff val="25000"/>
                  </a:prstClr>
                </a:solidFill>
                <a:effectLst/>
                <a:uLnTx/>
                <a:uFillTx/>
                <a:latin typeface="+mj-ea"/>
                <a:ea typeface="+mj-ea"/>
              </a:rPr>
              <a:t>软件开发</a:t>
            </a:r>
            <a:endPar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75000"/>
                    <a:lumOff val="25000"/>
                  </a:prstClr>
                </a:solidFill>
                <a:effectLst/>
                <a:uLnTx/>
                <a:uFillTx/>
                <a:latin typeface="+mj-ea"/>
                <a:ea typeface="+mj-ea"/>
              </a:rPr>
              <a:t>硬件制造</a:t>
            </a:r>
            <a:endPar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75000"/>
                    <a:lumOff val="25000"/>
                  </a:prstClr>
                </a:solidFill>
                <a:effectLst/>
                <a:uLnTx/>
                <a:uFillTx/>
                <a:latin typeface="+mj-ea"/>
                <a:ea typeface="+mj-ea"/>
              </a:rPr>
              <a:t>互联网平台</a:t>
            </a:r>
            <a:endPar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r>
              <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rPr>
              <a:t>AI</a:t>
            </a:r>
            <a:r>
              <a:rPr kumimoji="0" lang="zh-CN" altLang="en-US" sz="1200" b="1" i="0" u="none" strike="noStrike" kern="0" cap="none" spc="0" normalizeH="0" baseline="0" noProof="0" dirty="0" smtClean="0">
                <a:ln>
                  <a:noFill/>
                </a:ln>
                <a:solidFill>
                  <a:prstClr val="black">
                    <a:lumMod val="75000"/>
                    <a:lumOff val="25000"/>
                  </a:prstClr>
                </a:solidFill>
                <a:effectLst/>
                <a:uLnTx/>
                <a:uFillTx/>
                <a:latin typeface="+mj-ea"/>
                <a:ea typeface="+mj-ea"/>
              </a:rPr>
              <a:t>数据算法</a:t>
            </a:r>
            <a:endPar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75000"/>
                    <a:lumOff val="25000"/>
                  </a:prstClr>
                </a:solidFill>
                <a:effectLst/>
                <a:uLnTx/>
                <a:uFillTx/>
                <a:latin typeface="+mj-ea"/>
                <a:ea typeface="+mj-ea"/>
              </a:rPr>
              <a:t>云计算服务</a:t>
            </a:r>
            <a:endPar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75000"/>
                    <a:lumOff val="25000"/>
                  </a:prstClr>
                </a:solidFill>
                <a:effectLst/>
                <a:uLnTx/>
                <a:uFillTx/>
                <a:latin typeface="+mj-ea"/>
                <a:ea typeface="+mj-ea"/>
              </a:rPr>
              <a:t>工程施工</a:t>
            </a:r>
            <a:endPar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endParaRPr>
          </a:p>
        </p:txBody>
      </p:sp>
      <p:sp>
        <p:nvSpPr>
          <p:cNvPr id="199" name="文本框 198"/>
          <p:cNvSpPr txBox="1"/>
          <p:nvPr/>
        </p:nvSpPr>
        <p:spPr>
          <a:xfrm>
            <a:off x="4714959" y="2381334"/>
            <a:ext cx="1257797" cy="1754326"/>
          </a:xfrm>
          <a:prstGeom prst="rect">
            <a:avLst/>
          </a:prstGeom>
          <a:noFill/>
        </p:spPr>
        <p:txBody>
          <a:bodyPr wrap="square" rtlCol="0" anchor="t">
            <a:spAutoFit/>
          </a:bodyPr>
          <a:lstStyle/>
          <a:p>
            <a:pPr marL="0" marR="0" lvl="0" indent="0" algn="ctr" defTabSz="914400" eaLnBrk="1" fontAlgn="auto" latinLnBrk="0" hangingPunct="1">
              <a:lnSpc>
                <a:spcPct val="150000"/>
              </a:lnSpc>
              <a:spcBef>
                <a:spcPts val="0"/>
              </a:spcBef>
              <a:spcAft>
                <a:spcPts val="0"/>
              </a:spcAft>
              <a:buClrTx/>
              <a:buSzTx/>
              <a:buFontTx/>
              <a:buNone/>
              <a:defRPr/>
            </a:pPr>
            <a:endParaRPr kumimoji="0" lang="en-US" altLang="zh-CN" sz="1200" b="1" i="0" u="none" strike="noStrike" kern="0" cap="none" spc="0" normalizeH="0" baseline="0" noProof="0" dirty="0" smtClean="0">
              <a:ln>
                <a:noFill/>
              </a:ln>
              <a:solidFill>
                <a:prstClr val="black">
                  <a:lumMod val="85000"/>
                  <a:lumOff val="1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85000"/>
                    <a:lumOff val="15000"/>
                  </a:prstClr>
                </a:solidFill>
                <a:effectLst/>
                <a:uLnTx/>
                <a:uFillTx/>
                <a:latin typeface="+mj-ea"/>
                <a:ea typeface="+mj-ea"/>
              </a:rPr>
              <a:t>总集成</a:t>
            </a:r>
            <a:endParaRPr kumimoji="0" lang="en-US" altLang="zh-CN" sz="1200" b="1" i="0" u="none" strike="noStrike" kern="0" cap="none" spc="0" normalizeH="0" baseline="0" noProof="0" dirty="0" smtClean="0">
              <a:ln>
                <a:noFill/>
              </a:ln>
              <a:solidFill>
                <a:prstClr val="black">
                  <a:lumMod val="85000"/>
                  <a:lumOff val="1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endParaRPr kumimoji="0" lang="en-US" altLang="zh-CN" sz="1200" b="1" i="0" u="none" strike="noStrike" kern="0" cap="none" spc="0" normalizeH="0" baseline="0" noProof="0" dirty="0" smtClean="0">
              <a:ln>
                <a:noFill/>
              </a:ln>
              <a:solidFill>
                <a:prstClr val="black">
                  <a:lumMod val="85000"/>
                  <a:lumOff val="1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endParaRPr kumimoji="0" lang="en-US" altLang="zh-CN" sz="1200" b="1" i="0" u="none" strike="noStrike" kern="0" cap="none" spc="0" normalizeH="0" baseline="0" noProof="0" dirty="0" smtClean="0">
              <a:ln>
                <a:noFill/>
              </a:ln>
              <a:solidFill>
                <a:prstClr val="black">
                  <a:lumMod val="85000"/>
                  <a:lumOff val="1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85000"/>
                    <a:lumOff val="15000"/>
                  </a:prstClr>
                </a:solidFill>
                <a:effectLst/>
                <a:uLnTx/>
                <a:uFillTx/>
                <a:latin typeface="+mj-ea"/>
                <a:ea typeface="+mj-ea"/>
              </a:rPr>
              <a:t>解决方案</a:t>
            </a:r>
            <a:endParaRPr kumimoji="0" lang="en-US" altLang="zh-CN" sz="1200" b="1" i="0" u="none" strike="noStrike" kern="0" cap="none" spc="0" normalizeH="0" baseline="0" noProof="0" dirty="0" smtClean="0">
              <a:ln>
                <a:noFill/>
              </a:ln>
              <a:solidFill>
                <a:prstClr val="black">
                  <a:lumMod val="85000"/>
                  <a:lumOff val="1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endParaRPr kumimoji="0" lang="en-US" altLang="zh-CN" sz="1200" b="1" i="0" u="none" strike="noStrike" kern="0" cap="none" spc="0" normalizeH="0" baseline="0" noProof="0" dirty="0" smtClean="0">
              <a:ln>
                <a:noFill/>
              </a:ln>
              <a:solidFill>
                <a:prstClr val="black">
                  <a:lumMod val="85000"/>
                  <a:lumOff val="15000"/>
                </a:prstClr>
              </a:solidFill>
              <a:effectLst/>
              <a:uLnTx/>
              <a:uFillTx/>
              <a:latin typeface="+mj-ea"/>
              <a:ea typeface="+mj-ea"/>
            </a:endParaRPr>
          </a:p>
        </p:txBody>
      </p:sp>
      <p:sp>
        <p:nvSpPr>
          <p:cNvPr id="200" name="文本框 199"/>
          <p:cNvSpPr txBox="1"/>
          <p:nvPr/>
        </p:nvSpPr>
        <p:spPr>
          <a:xfrm>
            <a:off x="7883819" y="2385104"/>
            <a:ext cx="1257797" cy="1754326"/>
          </a:xfrm>
          <a:prstGeom prst="rect">
            <a:avLst/>
          </a:prstGeom>
          <a:noFill/>
        </p:spPr>
        <p:txBody>
          <a:bodyPr wrap="square" rtlCol="0" anchor="t">
            <a:spAutoFit/>
          </a:bodyPr>
          <a:lstStyle/>
          <a:p>
            <a:pPr marL="0" marR="0" lvl="0" indent="0" algn="ctr" defTabSz="914400" eaLnBrk="1" fontAlgn="auto" latinLnBrk="0" hangingPunct="1">
              <a:lnSpc>
                <a:spcPct val="150000"/>
              </a:lnSpc>
              <a:spcBef>
                <a:spcPts val="0"/>
              </a:spcBef>
              <a:spcAft>
                <a:spcPts val="0"/>
              </a:spcAft>
              <a:buClrTx/>
              <a:buSzTx/>
              <a:buFontTx/>
              <a:buNone/>
              <a:defRPr/>
            </a:pPr>
            <a:endParaRPr kumimoji="0" lang="en-US" altLang="zh-CN" sz="1200" b="1" i="0" u="none" strike="noStrike" kern="0" cap="none" spc="0" normalizeH="0" baseline="0" noProof="0" dirty="0" smtClean="0">
              <a:ln>
                <a:noFill/>
              </a:ln>
              <a:solidFill>
                <a:prstClr val="black">
                  <a:lumMod val="85000"/>
                  <a:lumOff val="1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85000"/>
                    <a:lumOff val="15000"/>
                  </a:prstClr>
                </a:solidFill>
                <a:effectLst/>
                <a:uLnTx/>
                <a:uFillTx/>
                <a:latin typeface="+mj-ea"/>
                <a:ea typeface="+mj-ea"/>
              </a:rPr>
              <a:t>统筹合并</a:t>
            </a:r>
            <a:endParaRPr kumimoji="0" lang="en-US" altLang="zh-CN" sz="1200" b="1" i="0" u="none" strike="noStrike" kern="0" cap="none" spc="0" normalizeH="0" baseline="0" noProof="0" dirty="0" smtClean="0">
              <a:ln>
                <a:noFill/>
              </a:ln>
              <a:solidFill>
                <a:prstClr val="black">
                  <a:lumMod val="85000"/>
                  <a:lumOff val="1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endParaRPr kumimoji="0" lang="en-US" altLang="zh-CN" sz="1200" b="1" i="0" u="none" strike="noStrike" kern="0" cap="none" spc="0" normalizeH="0" baseline="0" noProof="0" dirty="0" smtClean="0">
              <a:ln>
                <a:noFill/>
              </a:ln>
              <a:solidFill>
                <a:prstClr val="black">
                  <a:lumMod val="85000"/>
                  <a:lumOff val="1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endParaRPr kumimoji="0" lang="en-US" altLang="zh-CN" sz="1200" b="1" i="0" u="none" strike="noStrike" kern="0" cap="none" spc="0" normalizeH="0" baseline="0" noProof="0" dirty="0" smtClean="0">
              <a:ln>
                <a:noFill/>
              </a:ln>
              <a:solidFill>
                <a:prstClr val="black">
                  <a:lumMod val="85000"/>
                  <a:lumOff val="1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lumMod val="85000"/>
                    <a:lumOff val="15000"/>
                  </a:prstClr>
                </a:solidFill>
                <a:effectLst/>
                <a:uLnTx/>
                <a:uFillTx/>
                <a:latin typeface="+mj-ea"/>
                <a:ea typeface="+mj-ea"/>
              </a:rPr>
              <a:t>服务运营</a:t>
            </a:r>
            <a:endParaRPr kumimoji="0" lang="en-US" altLang="zh-CN" sz="1200" b="1" i="0" u="none" strike="noStrike" kern="0" cap="none" spc="0" normalizeH="0" baseline="0" noProof="0" dirty="0" smtClean="0">
              <a:ln>
                <a:noFill/>
              </a:ln>
              <a:solidFill>
                <a:prstClr val="black">
                  <a:lumMod val="85000"/>
                  <a:lumOff val="15000"/>
                </a:prstClr>
              </a:solidFill>
              <a:effectLst/>
              <a:uLnTx/>
              <a:uFillTx/>
              <a:latin typeface="+mj-ea"/>
              <a:ea typeface="+mj-ea"/>
            </a:endParaRPr>
          </a:p>
          <a:p>
            <a:pPr marL="0" marR="0" lvl="0" indent="0" algn="ctr" defTabSz="914400" eaLnBrk="1" fontAlgn="auto" latinLnBrk="0" hangingPunct="1">
              <a:lnSpc>
                <a:spcPct val="150000"/>
              </a:lnSpc>
              <a:spcBef>
                <a:spcPts val="0"/>
              </a:spcBef>
              <a:spcAft>
                <a:spcPts val="0"/>
              </a:spcAft>
              <a:buClrTx/>
              <a:buSzTx/>
              <a:buFontTx/>
              <a:buNone/>
              <a:defRPr/>
            </a:pPr>
            <a:endParaRPr kumimoji="0" lang="en-US" altLang="zh-CN" sz="1200" b="1" i="0" u="none" strike="noStrike" kern="0" cap="none" spc="0" normalizeH="0" baseline="0" noProof="0" dirty="0" smtClean="0">
              <a:ln>
                <a:noFill/>
              </a:ln>
              <a:solidFill>
                <a:prstClr val="black">
                  <a:lumMod val="75000"/>
                  <a:lumOff val="25000"/>
                </a:prstClr>
              </a:solidFill>
              <a:effectLst/>
              <a:uLnTx/>
              <a:uFillTx/>
              <a:latin typeface="+mj-ea"/>
              <a:ea typeface="+mj-ea"/>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对象 25" hidden="1"/>
          <p:cNvGraphicFramePr>
            <a:graphicFrameLocks noChangeAspect="1"/>
          </p:cNvGraphicFramePr>
          <p:nvPr>
            <p:custDataLst>
              <p:tags r:id="rId2"/>
            </p:custDataLst>
          </p:nvPr>
        </p:nvGraphicFramePr>
        <p:xfrm>
          <a:off x="1525890" y="1621"/>
          <a:ext cx="1619" cy="1619"/>
        </p:xfrm>
        <a:graphic>
          <a:graphicData uri="http://schemas.openxmlformats.org/presentationml/2006/ole">
            <mc:AlternateContent xmlns:mc="http://schemas.openxmlformats.org/markup-compatibility/2006">
              <mc:Choice xmlns:v="urn:schemas-microsoft-com:vml" Requires="v">
                <p:oleObj spid="_x0000_s461951" name="think-cell Slide" r:id="rId3" imgW="10160" imgH="10160" progId="TCLayout.ActiveDocument.1">
                  <p:embed/>
                </p:oleObj>
              </mc:Choice>
              <mc:Fallback>
                <p:oleObj name="think-cell Slide" r:id="rId3" imgW="10160" imgH="10160" progId="TCLayout.ActiveDocument.1">
                  <p:embed/>
                  <p:pic>
                    <p:nvPicPr>
                      <p:cNvPr id="0" name="对象 2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5890"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矩形 5" hidden="1"/>
          <p:cNvSpPr/>
          <p:nvPr>
            <p:custDataLst>
              <p:tags r:id="rId5"/>
            </p:custDataLst>
          </p:nvPr>
        </p:nvSpPr>
        <p:spPr bwMode="auto">
          <a:xfrm>
            <a:off x="1524270" y="1"/>
            <a:ext cx="161974" cy="161974"/>
          </a:xfrm>
          <a:prstGeom prst="rect">
            <a:avLst/>
          </a:prstGeom>
          <a:solidFill>
            <a:schemeClr val="accent1"/>
          </a:solid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25" b="0" i="0" u="none" strike="noStrike" kern="1200" cap="none" spc="0" normalizeH="0" baseline="0" noProof="0" dirty="0" err="1">
              <a:ln>
                <a:noFill/>
              </a:ln>
              <a:solidFill>
                <a:srgbClr val="000000"/>
              </a:solidFill>
              <a:effectLst/>
              <a:uLnTx/>
              <a:uFillTx/>
              <a:latin typeface="Arial" panose="020B0604020202020204"/>
              <a:ea typeface="楷体" panose="02010609060101010101" pitchFamily="49" charset="-122"/>
              <a:cs typeface="+mn-cs"/>
              <a:sym typeface="Arial" panose="020B0604020202020204"/>
            </a:endParaRPr>
          </a:p>
        </p:txBody>
      </p:sp>
      <p:graphicFrame>
        <p:nvGraphicFramePr>
          <p:cNvPr id="7" name="图表 6"/>
          <p:cNvGraphicFramePr/>
          <p:nvPr/>
        </p:nvGraphicFramePr>
        <p:xfrm>
          <a:off x="714097" y="1449991"/>
          <a:ext cx="8626018" cy="3435124"/>
        </p:xfrm>
        <a:graphic>
          <a:graphicData uri="http://schemas.openxmlformats.org/drawingml/2006/chart">
            <c:chart xmlns:c="http://schemas.openxmlformats.org/drawingml/2006/chart" xmlns:r="http://schemas.openxmlformats.org/officeDocument/2006/relationships" r:id="rId1"/>
          </a:graphicData>
        </a:graphic>
      </p:graphicFrame>
      <p:sp>
        <p:nvSpPr>
          <p:cNvPr id="33" name="Rectangle 11"/>
          <p:cNvSpPr txBox="1">
            <a:spLocks noChangeArrowheads="1"/>
          </p:cNvSpPr>
          <p:nvPr/>
        </p:nvSpPr>
        <p:spPr bwMode="auto">
          <a:xfrm>
            <a:off x="760724" y="1128123"/>
            <a:ext cx="3673037" cy="25115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05" marR="0" lvl="1" indent="0" algn="l" defTabSz="895350" rtl="0" eaLnBrk="1" fontAlgn="base" latinLnBrk="0" hangingPunct="1">
              <a:lnSpc>
                <a:spcPct val="100000"/>
              </a:lnSpc>
              <a:spcBef>
                <a:spcPct val="0"/>
              </a:spcBef>
              <a:spcAft>
                <a:spcPct val="0"/>
              </a:spcAft>
              <a:buClr>
                <a:srgbClr val="002960"/>
              </a:buClr>
              <a:buSzPct val="125000"/>
              <a:buFont typeface="Arial" panose="020B0604020202020204" pitchFamily="34" charset="0"/>
              <a:buNone/>
              <a:defRPr/>
            </a:pPr>
            <a:r>
              <a:rPr kumimoji="0" lang="en-US" altLang="zh-CN" sz="1630" b="1"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xx</a:t>
            </a:r>
            <a:r>
              <a:rPr kumimoji="0" lang="zh-CN" altLang="en-US" sz="1630" b="1"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资产</a:t>
            </a:r>
            <a:r>
              <a:rPr kumimoji="0" lang="zh-CN" altLang="en-US" sz="1630"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结构 </a:t>
            </a:r>
            <a:r>
              <a:rPr kumimoji="0" lang="en-US" altLang="zh-CN" sz="1630"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2009 – 2012)</a:t>
            </a:r>
            <a:endParaRPr kumimoji="0" lang="en-US" altLang="ko-KR" sz="1630"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34" name="Rectangle 2"/>
          <p:cNvSpPr>
            <a:spLocks noChangeArrowheads="1"/>
          </p:cNvSpPr>
          <p:nvPr/>
        </p:nvSpPr>
        <p:spPr bwMode="auto">
          <a:xfrm>
            <a:off x="8345405" y="1484683"/>
            <a:ext cx="3067298" cy="3155066"/>
          </a:xfrm>
          <a:prstGeom prst="rect">
            <a:avLst/>
          </a:prstGeom>
          <a:solidFill>
            <a:schemeClr val="bg1"/>
          </a:solidFill>
          <a:ln w="19050">
            <a:solidFill>
              <a:schemeClr val="accent2"/>
            </a:solidFill>
            <a:miter lim="800000"/>
          </a:ln>
          <a:effectLst>
            <a:outerShdw dist="35921" dir="2700000" algn="ctr" rotWithShape="0">
              <a:schemeClr val="bg2"/>
            </a:outerShdw>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35" name="Rectangle 11"/>
          <p:cNvSpPr txBox="1">
            <a:spLocks noChangeArrowheads="1"/>
          </p:cNvSpPr>
          <p:nvPr/>
        </p:nvSpPr>
        <p:spPr bwMode="auto">
          <a:xfrm>
            <a:off x="8516559" y="1640756"/>
            <a:ext cx="2713511" cy="1332737"/>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3675" marR="0" lvl="1" indent="-192405" algn="l" defTabSz="895350" rtl="0" eaLnBrk="1" fontAlgn="base" latinLnBrk="0" hangingPunct="1">
              <a:lnSpc>
                <a:spcPct val="100000"/>
              </a:lnSpc>
              <a:spcBef>
                <a:spcPct val="0"/>
              </a:spcBef>
              <a:spcAft>
                <a:spcPts val="610"/>
              </a:spcAft>
              <a:buClr>
                <a:srgbClr val="002960"/>
              </a:buClr>
              <a:buSzPct val="125000"/>
              <a:buFont typeface="Arial" panose="020B0604020202020204" pitchFamily="34" charset="0"/>
              <a:buChar char="▪"/>
              <a:defRPr/>
            </a:pPr>
            <a:r>
              <a:rPr kumimoji="0" lang="en-US" altLang="zh-CN" sz="1630"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xx</a:t>
            </a:r>
            <a:r>
              <a:rPr kumimoji="0" lang="zh-CN" altLang="en-US" sz="1630"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在</a:t>
            </a:r>
            <a:r>
              <a:rPr kumimoji="0" lang="en-US" altLang="zh-CN" sz="1630"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xx</a:t>
            </a:r>
            <a:r>
              <a:rPr kumimoji="0" lang="zh-CN" altLang="en-US" sz="1630"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业</a:t>
            </a:r>
            <a:r>
              <a:rPr kumimoji="0" lang="zh-CN" altLang="en-US"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总资产中的份额连年下降</a:t>
            </a:r>
            <a:endParaRPr kumimoji="0" lang="en-US" altLang="zh-CN"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3675" marR="0" lvl="1" indent="-192405" algn="l" defTabSz="895350" rtl="0" eaLnBrk="1" fontAlgn="base" latinLnBrk="0" hangingPunct="1">
              <a:lnSpc>
                <a:spcPct val="100000"/>
              </a:lnSpc>
              <a:spcBef>
                <a:spcPct val="0"/>
              </a:spcBef>
              <a:spcAft>
                <a:spcPts val="610"/>
              </a:spcAft>
              <a:buClr>
                <a:srgbClr val="002960"/>
              </a:buClr>
              <a:buSzPct val="125000"/>
              <a:buFont typeface="Arial" panose="020B0604020202020204" pitchFamily="34" charset="0"/>
              <a:buChar char="▪"/>
              <a:defRPr/>
            </a:pPr>
            <a:r>
              <a:rPr kumimoji="0" lang="en-US" altLang="zh-CN" sz="1630" b="0" i="0" u="none" strike="noStrike" kern="1200" cap="none" spc="0" normalizeH="0" baseline="0" noProof="0" dirty="0" err="1" smtClean="0">
                <a:ln>
                  <a:noFill/>
                </a:ln>
                <a:solidFill>
                  <a:srgbClr val="000000"/>
                </a:solidFill>
                <a:effectLst/>
                <a:uLnTx/>
                <a:uFillTx/>
                <a:latin typeface="Arial" panose="020B0604020202020204"/>
                <a:ea typeface="楷体" panose="02010609060101010101" pitchFamily="49" charset="-122"/>
                <a:cs typeface="+mn-cs"/>
              </a:rPr>
              <a:t>xxxx</a:t>
            </a:r>
            <a:r>
              <a:rPr kumimoji="0" lang="zh-CN" altLang="en-US" sz="1630"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等</a:t>
            </a:r>
            <a:r>
              <a:rPr kumimoji="0" lang="zh-CN" altLang="en-US"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各类金融机构资产份额均有所上升，</a:t>
            </a:r>
            <a:r>
              <a:rPr kumimoji="0" lang="zh-CN" altLang="en-US" sz="1630"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其中</a:t>
            </a:r>
            <a:r>
              <a:rPr kumimoji="0" lang="en-US" altLang="zh-CN" sz="1630"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xx</a:t>
            </a:r>
            <a:r>
              <a:rPr kumimoji="0" lang="zh-CN" altLang="en-US" sz="1630" b="0" i="0" u="none" strike="noStrike" kern="1200" cap="none" spc="0" normalizeH="0" baseline="0" noProof="0" dirty="0" smtClean="0">
                <a:ln>
                  <a:noFill/>
                </a:ln>
                <a:solidFill>
                  <a:srgbClr val="000000"/>
                </a:solidFill>
                <a:effectLst/>
                <a:uLnTx/>
                <a:uFillTx/>
                <a:latin typeface="Arial" panose="020B0604020202020204"/>
                <a:ea typeface="楷体" panose="02010609060101010101" pitchFamily="49" charset="-122"/>
                <a:cs typeface="+mn-cs"/>
              </a:rPr>
              <a:t>上升幅度</a:t>
            </a:r>
            <a:r>
              <a:rPr kumimoji="0" lang="zh-CN" altLang="en-US"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最大</a:t>
            </a:r>
            <a:endParaRPr kumimoji="0" lang="en-US" altLang="ko-KR"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36" name="Rectangle 2"/>
          <p:cNvSpPr>
            <a:spLocks noChangeArrowheads="1"/>
          </p:cNvSpPr>
          <p:nvPr/>
        </p:nvSpPr>
        <p:spPr bwMode="auto">
          <a:xfrm>
            <a:off x="1280207" y="5042868"/>
            <a:ext cx="10328697" cy="1244896"/>
          </a:xfrm>
          <a:prstGeom prst="rect">
            <a:avLst/>
          </a:prstGeom>
          <a:solidFill>
            <a:schemeClr val="bg1"/>
          </a:solidFill>
          <a:ln w="19050">
            <a:solidFill>
              <a:srgbClr val="FE5817"/>
            </a:solidFill>
            <a:miter lim="800000"/>
          </a:ln>
          <a:effectLst>
            <a:outerShdw dist="35921" dir="2700000" algn="ctr" rotWithShape="0">
              <a:schemeClr val="bg2"/>
            </a:outerShdw>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38" name="Rectangle 6"/>
          <p:cNvSpPr>
            <a:spLocks noChangeArrowheads="1"/>
          </p:cNvSpPr>
          <p:nvPr/>
        </p:nvSpPr>
        <p:spPr bwMode="auto">
          <a:xfrm>
            <a:off x="1057898" y="4878605"/>
            <a:ext cx="447621" cy="368049"/>
          </a:xfrm>
          <a:prstGeom prst="rect">
            <a:avLst/>
          </a:prstGeom>
          <a:solidFill>
            <a:schemeClr val="accent3"/>
          </a:solidFill>
          <a:ln w="9525">
            <a:noFill/>
            <a:miter lim="800000"/>
          </a:ln>
        </p:spPr>
        <p:txBody>
          <a:bodyPr vert="horz" wrap="square" lIns="93297" tIns="46649" rIns="93297" bIns="4664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39" name="Freeform 7"/>
          <p:cNvSpPr/>
          <p:nvPr/>
        </p:nvSpPr>
        <p:spPr bwMode="auto">
          <a:xfrm>
            <a:off x="1226131" y="5166375"/>
            <a:ext cx="114158" cy="11116"/>
          </a:xfrm>
          <a:custGeom>
            <a:avLst/>
            <a:gdLst/>
            <a:ahLst/>
            <a:cxnLst>
              <a:cxn ang="0">
                <a:pos x="142" y="0"/>
              </a:cxn>
              <a:cxn ang="0">
                <a:pos x="10" y="0"/>
              </a:cxn>
              <a:cxn ang="0">
                <a:pos x="10" y="0"/>
              </a:cxn>
              <a:cxn ang="0">
                <a:pos x="6" y="2"/>
              </a:cxn>
              <a:cxn ang="0">
                <a:pos x="4" y="4"/>
              </a:cxn>
              <a:cxn ang="0">
                <a:pos x="2" y="6"/>
              </a:cxn>
              <a:cxn ang="0">
                <a:pos x="0" y="10"/>
              </a:cxn>
              <a:cxn ang="0">
                <a:pos x="0" y="10"/>
              </a:cxn>
              <a:cxn ang="0">
                <a:pos x="2" y="12"/>
              </a:cxn>
              <a:cxn ang="0">
                <a:pos x="4" y="16"/>
              </a:cxn>
              <a:cxn ang="0">
                <a:pos x="6" y="18"/>
              </a:cxn>
              <a:cxn ang="0">
                <a:pos x="10" y="18"/>
              </a:cxn>
              <a:cxn ang="0">
                <a:pos x="142" y="18"/>
              </a:cxn>
              <a:cxn ang="0">
                <a:pos x="142" y="18"/>
              </a:cxn>
              <a:cxn ang="0">
                <a:pos x="146" y="18"/>
              </a:cxn>
              <a:cxn ang="0">
                <a:pos x="148" y="16"/>
              </a:cxn>
              <a:cxn ang="0">
                <a:pos x="150" y="12"/>
              </a:cxn>
              <a:cxn ang="0">
                <a:pos x="152" y="10"/>
              </a:cxn>
              <a:cxn ang="0">
                <a:pos x="152" y="10"/>
              </a:cxn>
              <a:cxn ang="0">
                <a:pos x="150" y="6"/>
              </a:cxn>
              <a:cxn ang="0">
                <a:pos x="148" y="4"/>
              </a:cxn>
              <a:cxn ang="0">
                <a:pos x="146" y="2"/>
              </a:cxn>
              <a:cxn ang="0">
                <a:pos x="142" y="0"/>
              </a:cxn>
              <a:cxn ang="0">
                <a:pos x="142" y="0"/>
              </a:cxn>
            </a:cxnLst>
            <a:rect l="0" t="0" r="r" b="b"/>
            <a:pathLst>
              <a:path w="152" h="18">
                <a:moveTo>
                  <a:pt x="142" y="0"/>
                </a:moveTo>
                <a:lnTo>
                  <a:pt x="10" y="0"/>
                </a:lnTo>
                <a:lnTo>
                  <a:pt x="10" y="0"/>
                </a:lnTo>
                <a:lnTo>
                  <a:pt x="6" y="2"/>
                </a:lnTo>
                <a:lnTo>
                  <a:pt x="4" y="4"/>
                </a:lnTo>
                <a:lnTo>
                  <a:pt x="2" y="6"/>
                </a:lnTo>
                <a:lnTo>
                  <a:pt x="0" y="10"/>
                </a:lnTo>
                <a:lnTo>
                  <a:pt x="0" y="10"/>
                </a:lnTo>
                <a:lnTo>
                  <a:pt x="2" y="12"/>
                </a:lnTo>
                <a:lnTo>
                  <a:pt x="4" y="16"/>
                </a:lnTo>
                <a:lnTo>
                  <a:pt x="6" y="18"/>
                </a:lnTo>
                <a:lnTo>
                  <a:pt x="10" y="18"/>
                </a:lnTo>
                <a:lnTo>
                  <a:pt x="142" y="18"/>
                </a:lnTo>
                <a:lnTo>
                  <a:pt x="142" y="18"/>
                </a:lnTo>
                <a:lnTo>
                  <a:pt x="146" y="18"/>
                </a:lnTo>
                <a:lnTo>
                  <a:pt x="148" y="16"/>
                </a:lnTo>
                <a:lnTo>
                  <a:pt x="150" y="12"/>
                </a:lnTo>
                <a:lnTo>
                  <a:pt x="152" y="10"/>
                </a:lnTo>
                <a:lnTo>
                  <a:pt x="152" y="10"/>
                </a:lnTo>
                <a:lnTo>
                  <a:pt x="150" y="6"/>
                </a:lnTo>
                <a:lnTo>
                  <a:pt x="148" y="4"/>
                </a:lnTo>
                <a:lnTo>
                  <a:pt x="146" y="2"/>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40" name="Freeform 8"/>
          <p:cNvSpPr/>
          <p:nvPr/>
        </p:nvSpPr>
        <p:spPr bwMode="auto">
          <a:xfrm>
            <a:off x="1226131" y="5186136"/>
            <a:ext cx="114158" cy="11116"/>
          </a:xfrm>
          <a:custGeom>
            <a:avLst/>
            <a:gdLst/>
            <a:ahLst/>
            <a:cxnLst>
              <a:cxn ang="0">
                <a:pos x="142" y="0"/>
              </a:cxn>
              <a:cxn ang="0">
                <a:pos x="10" y="0"/>
              </a:cxn>
              <a:cxn ang="0">
                <a:pos x="10" y="0"/>
              </a:cxn>
              <a:cxn ang="0">
                <a:pos x="6" y="0"/>
              </a:cxn>
              <a:cxn ang="0">
                <a:pos x="4" y="2"/>
              </a:cxn>
              <a:cxn ang="0">
                <a:pos x="2" y="6"/>
              </a:cxn>
              <a:cxn ang="0">
                <a:pos x="0" y="8"/>
              </a:cxn>
              <a:cxn ang="0">
                <a:pos x="0" y="8"/>
              </a:cxn>
              <a:cxn ang="0">
                <a:pos x="2" y="12"/>
              </a:cxn>
              <a:cxn ang="0">
                <a:pos x="4" y="16"/>
              </a:cxn>
              <a:cxn ang="0">
                <a:pos x="6" y="16"/>
              </a:cxn>
              <a:cxn ang="0">
                <a:pos x="10" y="18"/>
              </a:cxn>
              <a:cxn ang="0">
                <a:pos x="142" y="18"/>
              </a:cxn>
              <a:cxn ang="0">
                <a:pos x="142" y="18"/>
              </a:cxn>
              <a:cxn ang="0">
                <a:pos x="146" y="16"/>
              </a:cxn>
              <a:cxn ang="0">
                <a:pos x="148" y="16"/>
              </a:cxn>
              <a:cxn ang="0">
                <a:pos x="150" y="12"/>
              </a:cxn>
              <a:cxn ang="0">
                <a:pos x="152" y="8"/>
              </a:cxn>
              <a:cxn ang="0">
                <a:pos x="152" y="8"/>
              </a:cxn>
              <a:cxn ang="0">
                <a:pos x="150" y="6"/>
              </a:cxn>
              <a:cxn ang="0">
                <a:pos x="148" y="2"/>
              </a:cxn>
              <a:cxn ang="0">
                <a:pos x="146" y="0"/>
              </a:cxn>
              <a:cxn ang="0">
                <a:pos x="142" y="0"/>
              </a:cxn>
              <a:cxn ang="0">
                <a:pos x="142" y="0"/>
              </a:cxn>
            </a:cxnLst>
            <a:rect l="0" t="0" r="r" b="b"/>
            <a:pathLst>
              <a:path w="152" h="18">
                <a:moveTo>
                  <a:pt x="142" y="0"/>
                </a:moveTo>
                <a:lnTo>
                  <a:pt x="10" y="0"/>
                </a:lnTo>
                <a:lnTo>
                  <a:pt x="10" y="0"/>
                </a:lnTo>
                <a:lnTo>
                  <a:pt x="6" y="0"/>
                </a:lnTo>
                <a:lnTo>
                  <a:pt x="4" y="2"/>
                </a:lnTo>
                <a:lnTo>
                  <a:pt x="2" y="6"/>
                </a:lnTo>
                <a:lnTo>
                  <a:pt x="0" y="8"/>
                </a:lnTo>
                <a:lnTo>
                  <a:pt x="0" y="8"/>
                </a:lnTo>
                <a:lnTo>
                  <a:pt x="2" y="12"/>
                </a:lnTo>
                <a:lnTo>
                  <a:pt x="4" y="16"/>
                </a:lnTo>
                <a:lnTo>
                  <a:pt x="6" y="16"/>
                </a:lnTo>
                <a:lnTo>
                  <a:pt x="10" y="18"/>
                </a:lnTo>
                <a:lnTo>
                  <a:pt x="142" y="18"/>
                </a:lnTo>
                <a:lnTo>
                  <a:pt x="142" y="18"/>
                </a:lnTo>
                <a:lnTo>
                  <a:pt x="146" y="16"/>
                </a:lnTo>
                <a:lnTo>
                  <a:pt x="148" y="16"/>
                </a:lnTo>
                <a:lnTo>
                  <a:pt x="150" y="12"/>
                </a:lnTo>
                <a:lnTo>
                  <a:pt x="152" y="8"/>
                </a:lnTo>
                <a:lnTo>
                  <a:pt x="152" y="8"/>
                </a:lnTo>
                <a:lnTo>
                  <a:pt x="150" y="6"/>
                </a:lnTo>
                <a:lnTo>
                  <a:pt x="148" y="2"/>
                </a:lnTo>
                <a:lnTo>
                  <a:pt x="146" y="0"/>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41" name="Freeform 9"/>
          <p:cNvSpPr/>
          <p:nvPr/>
        </p:nvSpPr>
        <p:spPr bwMode="auto">
          <a:xfrm>
            <a:off x="1226131" y="5205897"/>
            <a:ext cx="114158" cy="20996"/>
          </a:xfrm>
          <a:custGeom>
            <a:avLst/>
            <a:gdLst/>
            <a:ahLst/>
            <a:cxnLst>
              <a:cxn ang="0">
                <a:pos x="142" y="0"/>
              </a:cxn>
              <a:cxn ang="0">
                <a:pos x="10" y="0"/>
              </a:cxn>
              <a:cxn ang="0">
                <a:pos x="10" y="0"/>
              </a:cxn>
              <a:cxn ang="0">
                <a:pos x="6" y="0"/>
              </a:cxn>
              <a:cxn ang="0">
                <a:pos x="4" y="2"/>
              </a:cxn>
              <a:cxn ang="0">
                <a:pos x="2" y="4"/>
              </a:cxn>
              <a:cxn ang="0">
                <a:pos x="0" y="8"/>
              </a:cxn>
              <a:cxn ang="0">
                <a:pos x="0" y="8"/>
              </a:cxn>
              <a:cxn ang="0">
                <a:pos x="2" y="12"/>
              </a:cxn>
              <a:cxn ang="0">
                <a:pos x="4" y="14"/>
              </a:cxn>
              <a:cxn ang="0">
                <a:pos x="6" y="16"/>
              </a:cxn>
              <a:cxn ang="0">
                <a:pos x="10" y="18"/>
              </a:cxn>
              <a:cxn ang="0">
                <a:pos x="36" y="18"/>
              </a:cxn>
              <a:cxn ang="0">
                <a:pos x="36" y="18"/>
              </a:cxn>
              <a:cxn ang="0">
                <a:pos x="36" y="24"/>
              </a:cxn>
              <a:cxn ang="0">
                <a:pos x="40" y="28"/>
              </a:cxn>
              <a:cxn ang="0">
                <a:pos x="46" y="32"/>
              </a:cxn>
              <a:cxn ang="0">
                <a:pos x="52" y="34"/>
              </a:cxn>
              <a:cxn ang="0">
                <a:pos x="100" y="34"/>
              </a:cxn>
              <a:cxn ang="0">
                <a:pos x="100" y="34"/>
              </a:cxn>
              <a:cxn ang="0">
                <a:pos x="106" y="32"/>
              </a:cxn>
              <a:cxn ang="0">
                <a:pos x="112" y="28"/>
              </a:cxn>
              <a:cxn ang="0">
                <a:pos x="116" y="24"/>
              </a:cxn>
              <a:cxn ang="0">
                <a:pos x="116" y="18"/>
              </a:cxn>
              <a:cxn ang="0">
                <a:pos x="142" y="18"/>
              </a:cxn>
              <a:cxn ang="0">
                <a:pos x="142" y="18"/>
              </a:cxn>
              <a:cxn ang="0">
                <a:pos x="146" y="16"/>
              </a:cxn>
              <a:cxn ang="0">
                <a:pos x="148" y="14"/>
              </a:cxn>
              <a:cxn ang="0">
                <a:pos x="150" y="12"/>
              </a:cxn>
              <a:cxn ang="0">
                <a:pos x="152" y="8"/>
              </a:cxn>
              <a:cxn ang="0">
                <a:pos x="152" y="8"/>
              </a:cxn>
              <a:cxn ang="0">
                <a:pos x="150" y="4"/>
              </a:cxn>
              <a:cxn ang="0">
                <a:pos x="148" y="2"/>
              </a:cxn>
              <a:cxn ang="0">
                <a:pos x="146" y="0"/>
              </a:cxn>
              <a:cxn ang="0">
                <a:pos x="142" y="0"/>
              </a:cxn>
              <a:cxn ang="0">
                <a:pos x="142" y="0"/>
              </a:cxn>
            </a:cxnLst>
            <a:rect l="0" t="0" r="r" b="b"/>
            <a:pathLst>
              <a:path w="152" h="34">
                <a:moveTo>
                  <a:pt x="142" y="0"/>
                </a:moveTo>
                <a:lnTo>
                  <a:pt x="10" y="0"/>
                </a:lnTo>
                <a:lnTo>
                  <a:pt x="10" y="0"/>
                </a:lnTo>
                <a:lnTo>
                  <a:pt x="6" y="0"/>
                </a:lnTo>
                <a:lnTo>
                  <a:pt x="4" y="2"/>
                </a:lnTo>
                <a:lnTo>
                  <a:pt x="2" y="4"/>
                </a:lnTo>
                <a:lnTo>
                  <a:pt x="0" y="8"/>
                </a:lnTo>
                <a:lnTo>
                  <a:pt x="0" y="8"/>
                </a:lnTo>
                <a:lnTo>
                  <a:pt x="2" y="12"/>
                </a:lnTo>
                <a:lnTo>
                  <a:pt x="4" y="14"/>
                </a:lnTo>
                <a:lnTo>
                  <a:pt x="6" y="16"/>
                </a:lnTo>
                <a:lnTo>
                  <a:pt x="10" y="18"/>
                </a:lnTo>
                <a:lnTo>
                  <a:pt x="36" y="18"/>
                </a:lnTo>
                <a:lnTo>
                  <a:pt x="36" y="18"/>
                </a:lnTo>
                <a:lnTo>
                  <a:pt x="36" y="24"/>
                </a:lnTo>
                <a:lnTo>
                  <a:pt x="40" y="28"/>
                </a:lnTo>
                <a:lnTo>
                  <a:pt x="46" y="32"/>
                </a:lnTo>
                <a:lnTo>
                  <a:pt x="52" y="34"/>
                </a:lnTo>
                <a:lnTo>
                  <a:pt x="100" y="34"/>
                </a:lnTo>
                <a:lnTo>
                  <a:pt x="100" y="34"/>
                </a:lnTo>
                <a:lnTo>
                  <a:pt x="106" y="32"/>
                </a:lnTo>
                <a:lnTo>
                  <a:pt x="112" y="28"/>
                </a:lnTo>
                <a:lnTo>
                  <a:pt x="116" y="24"/>
                </a:lnTo>
                <a:lnTo>
                  <a:pt x="116" y="18"/>
                </a:lnTo>
                <a:lnTo>
                  <a:pt x="142" y="18"/>
                </a:lnTo>
                <a:lnTo>
                  <a:pt x="142" y="18"/>
                </a:lnTo>
                <a:lnTo>
                  <a:pt x="146" y="16"/>
                </a:lnTo>
                <a:lnTo>
                  <a:pt x="148" y="14"/>
                </a:lnTo>
                <a:lnTo>
                  <a:pt x="150" y="12"/>
                </a:lnTo>
                <a:lnTo>
                  <a:pt x="152" y="8"/>
                </a:lnTo>
                <a:lnTo>
                  <a:pt x="152" y="8"/>
                </a:lnTo>
                <a:lnTo>
                  <a:pt x="150" y="4"/>
                </a:lnTo>
                <a:lnTo>
                  <a:pt x="148" y="2"/>
                </a:lnTo>
                <a:lnTo>
                  <a:pt x="146" y="0"/>
                </a:lnTo>
                <a:lnTo>
                  <a:pt x="142" y="0"/>
                </a:lnTo>
                <a:lnTo>
                  <a:pt x="142" y="0"/>
                </a:lnTo>
                <a:close/>
              </a:path>
            </a:pathLst>
          </a:custGeom>
          <a:solidFill>
            <a:schemeClr val="accent1"/>
          </a:solidFill>
          <a:ln w="9525">
            <a:noFill/>
            <a:round/>
          </a:ln>
        </p:spPr>
        <p:txBody>
          <a:bodyPr vert="horz" wrap="square" lIns="93297" tIns="46649" rIns="93297" bIns="4664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42" name="Freeform 10"/>
          <p:cNvSpPr>
            <a:spLocks noEditPoints="1"/>
          </p:cNvSpPr>
          <p:nvPr/>
        </p:nvSpPr>
        <p:spPr bwMode="auto">
          <a:xfrm>
            <a:off x="1151027" y="4898366"/>
            <a:ext cx="264367" cy="258128"/>
          </a:xfrm>
          <a:custGeom>
            <a:avLst/>
            <a:gdLst/>
            <a:ahLst/>
            <a:cxnLst>
              <a:cxn ang="0">
                <a:pos x="176" y="0"/>
              </a:cxn>
              <a:cxn ang="0">
                <a:pos x="140" y="2"/>
              </a:cxn>
              <a:cxn ang="0">
                <a:pos x="108" y="12"/>
              </a:cxn>
              <a:cxn ang="0">
                <a:pos x="78" y="30"/>
              </a:cxn>
              <a:cxn ang="0">
                <a:pos x="52" y="50"/>
              </a:cxn>
              <a:cxn ang="0">
                <a:pos x="30" y="76"/>
              </a:cxn>
              <a:cxn ang="0">
                <a:pos x="14" y="106"/>
              </a:cxn>
              <a:cxn ang="0">
                <a:pos x="4" y="140"/>
              </a:cxn>
              <a:cxn ang="0">
                <a:pos x="0" y="174"/>
              </a:cxn>
              <a:cxn ang="0">
                <a:pos x="2" y="190"/>
              </a:cxn>
              <a:cxn ang="0">
                <a:pos x="10" y="222"/>
              </a:cxn>
              <a:cxn ang="0">
                <a:pos x="28" y="262"/>
              </a:cxn>
              <a:cxn ang="0">
                <a:pos x="36" y="278"/>
              </a:cxn>
              <a:cxn ang="0">
                <a:pos x="50" y="296"/>
              </a:cxn>
              <a:cxn ang="0">
                <a:pos x="80" y="348"/>
              </a:cxn>
              <a:cxn ang="0">
                <a:pos x="94" y="390"/>
              </a:cxn>
              <a:cxn ang="0">
                <a:pos x="96" y="404"/>
              </a:cxn>
              <a:cxn ang="0">
                <a:pos x="102" y="414"/>
              </a:cxn>
              <a:cxn ang="0">
                <a:pos x="114" y="418"/>
              </a:cxn>
              <a:cxn ang="0">
                <a:pos x="242" y="418"/>
              </a:cxn>
              <a:cxn ang="0">
                <a:pos x="252" y="414"/>
              </a:cxn>
              <a:cxn ang="0">
                <a:pos x="258" y="404"/>
              </a:cxn>
              <a:cxn ang="0">
                <a:pos x="260" y="388"/>
              </a:cxn>
              <a:cxn ang="0">
                <a:pos x="276" y="344"/>
              </a:cxn>
              <a:cxn ang="0">
                <a:pos x="308" y="290"/>
              </a:cxn>
              <a:cxn ang="0">
                <a:pos x="316" y="276"/>
              </a:cxn>
              <a:cxn ang="0">
                <a:pos x="336" y="238"/>
              </a:cxn>
              <a:cxn ang="0">
                <a:pos x="346" y="208"/>
              </a:cxn>
              <a:cxn ang="0">
                <a:pos x="352" y="174"/>
              </a:cxn>
              <a:cxn ang="0">
                <a:pos x="350" y="156"/>
              </a:cxn>
              <a:cxn ang="0">
                <a:pos x="344" y="122"/>
              </a:cxn>
              <a:cxn ang="0">
                <a:pos x="330" y="90"/>
              </a:cxn>
              <a:cxn ang="0">
                <a:pos x="312" y="62"/>
              </a:cxn>
              <a:cxn ang="0">
                <a:pos x="288" y="40"/>
              </a:cxn>
              <a:cxn ang="0">
                <a:pos x="260" y="20"/>
              </a:cxn>
              <a:cxn ang="0">
                <a:pos x="228" y="8"/>
              </a:cxn>
              <a:cxn ang="0">
                <a:pos x="194" y="0"/>
              </a:cxn>
              <a:cxn ang="0">
                <a:pos x="176" y="0"/>
              </a:cxn>
              <a:cxn ang="0">
                <a:pos x="130" y="86"/>
              </a:cxn>
              <a:cxn ang="0">
                <a:pos x="108" y="102"/>
              </a:cxn>
              <a:cxn ang="0">
                <a:pos x="90" y="122"/>
              </a:cxn>
              <a:cxn ang="0">
                <a:pos x="80" y="148"/>
              </a:cxn>
              <a:cxn ang="0">
                <a:pos x="76" y="174"/>
              </a:cxn>
              <a:cxn ang="0">
                <a:pos x="76" y="184"/>
              </a:cxn>
              <a:cxn ang="0">
                <a:pos x="82" y="202"/>
              </a:cxn>
              <a:cxn ang="0">
                <a:pos x="82" y="214"/>
              </a:cxn>
              <a:cxn ang="0">
                <a:pos x="72" y="224"/>
              </a:cxn>
              <a:cxn ang="0">
                <a:pos x="66" y="224"/>
              </a:cxn>
              <a:cxn ang="0">
                <a:pos x="54" y="218"/>
              </a:cxn>
              <a:cxn ang="0">
                <a:pos x="50" y="214"/>
              </a:cxn>
              <a:cxn ang="0">
                <a:pos x="42" y="184"/>
              </a:cxn>
              <a:cxn ang="0">
                <a:pos x="42" y="174"/>
              </a:cxn>
              <a:cxn ang="0">
                <a:pos x="46" y="138"/>
              </a:cxn>
              <a:cxn ang="0">
                <a:pos x="62" y="104"/>
              </a:cxn>
              <a:cxn ang="0">
                <a:pos x="84" y="76"/>
              </a:cxn>
              <a:cxn ang="0">
                <a:pos x="114" y="56"/>
              </a:cxn>
              <a:cxn ang="0">
                <a:pos x="122" y="54"/>
              </a:cxn>
              <a:cxn ang="0">
                <a:pos x="134" y="58"/>
              </a:cxn>
              <a:cxn ang="0">
                <a:pos x="138" y="64"/>
              </a:cxn>
              <a:cxn ang="0">
                <a:pos x="138" y="76"/>
              </a:cxn>
              <a:cxn ang="0">
                <a:pos x="130" y="86"/>
              </a:cxn>
            </a:cxnLst>
            <a:rect l="0" t="0" r="r" b="b"/>
            <a:pathLst>
              <a:path w="352" h="418">
                <a:moveTo>
                  <a:pt x="176" y="0"/>
                </a:moveTo>
                <a:lnTo>
                  <a:pt x="176" y="0"/>
                </a:lnTo>
                <a:lnTo>
                  <a:pt x="158" y="0"/>
                </a:lnTo>
                <a:lnTo>
                  <a:pt x="140" y="2"/>
                </a:lnTo>
                <a:lnTo>
                  <a:pt x="124" y="8"/>
                </a:lnTo>
                <a:lnTo>
                  <a:pt x="108" y="12"/>
                </a:lnTo>
                <a:lnTo>
                  <a:pt x="92" y="20"/>
                </a:lnTo>
                <a:lnTo>
                  <a:pt x="78" y="30"/>
                </a:lnTo>
                <a:lnTo>
                  <a:pt x="64" y="40"/>
                </a:lnTo>
                <a:lnTo>
                  <a:pt x="52" y="50"/>
                </a:lnTo>
                <a:lnTo>
                  <a:pt x="40" y="62"/>
                </a:lnTo>
                <a:lnTo>
                  <a:pt x="30" y="76"/>
                </a:lnTo>
                <a:lnTo>
                  <a:pt x="22" y="90"/>
                </a:lnTo>
                <a:lnTo>
                  <a:pt x="14" y="106"/>
                </a:lnTo>
                <a:lnTo>
                  <a:pt x="8" y="122"/>
                </a:lnTo>
                <a:lnTo>
                  <a:pt x="4" y="140"/>
                </a:lnTo>
                <a:lnTo>
                  <a:pt x="2" y="156"/>
                </a:lnTo>
                <a:lnTo>
                  <a:pt x="0" y="174"/>
                </a:lnTo>
                <a:lnTo>
                  <a:pt x="0" y="174"/>
                </a:lnTo>
                <a:lnTo>
                  <a:pt x="2" y="190"/>
                </a:lnTo>
                <a:lnTo>
                  <a:pt x="6" y="208"/>
                </a:lnTo>
                <a:lnTo>
                  <a:pt x="10" y="222"/>
                </a:lnTo>
                <a:lnTo>
                  <a:pt x="16" y="238"/>
                </a:lnTo>
                <a:lnTo>
                  <a:pt x="28" y="262"/>
                </a:lnTo>
                <a:lnTo>
                  <a:pt x="36" y="278"/>
                </a:lnTo>
                <a:lnTo>
                  <a:pt x="36" y="278"/>
                </a:lnTo>
                <a:lnTo>
                  <a:pt x="50" y="296"/>
                </a:lnTo>
                <a:lnTo>
                  <a:pt x="50" y="296"/>
                </a:lnTo>
                <a:lnTo>
                  <a:pt x="66" y="322"/>
                </a:lnTo>
                <a:lnTo>
                  <a:pt x="80" y="348"/>
                </a:lnTo>
                <a:lnTo>
                  <a:pt x="90" y="376"/>
                </a:lnTo>
                <a:lnTo>
                  <a:pt x="94" y="390"/>
                </a:lnTo>
                <a:lnTo>
                  <a:pt x="96" y="404"/>
                </a:lnTo>
                <a:lnTo>
                  <a:pt x="96" y="404"/>
                </a:lnTo>
                <a:lnTo>
                  <a:pt x="98" y="410"/>
                </a:lnTo>
                <a:lnTo>
                  <a:pt x="102" y="414"/>
                </a:lnTo>
                <a:lnTo>
                  <a:pt x="108" y="418"/>
                </a:lnTo>
                <a:lnTo>
                  <a:pt x="114" y="418"/>
                </a:lnTo>
                <a:lnTo>
                  <a:pt x="242" y="418"/>
                </a:lnTo>
                <a:lnTo>
                  <a:pt x="242" y="418"/>
                </a:lnTo>
                <a:lnTo>
                  <a:pt x="248" y="418"/>
                </a:lnTo>
                <a:lnTo>
                  <a:pt x="252" y="414"/>
                </a:lnTo>
                <a:lnTo>
                  <a:pt x="256" y="410"/>
                </a:lnTo>
                <a:lnTo>
                  <a:pt x="258" y="404"/>
                </a:lnTo>
                <a:lnTo>
                  <a:pt x="258" y="404"/>
                </a:lnTo>
                <a:lnTo>
                  <a:pt x="260" y="388"/>
                </a:lnTo>
                <a:lnTo>
                  <a:pt x="264" y="374"/>
                </a:lnTo>
                <a:lnTo>
                  <a:pt x="276" y="344"/>
                </a:lnTo>
                <a:lnTo>
                  <a:pt x="292" y="316"/>
                </a:lnTo>
                <a:lnTo>
                  <a:pt x="308" y="290"/>
                </a:lnTo>
                <a:lnTo>
                  <a:pt x="316" y="276"/>
                </a:lnTo>
                <a:lnTo>
                  <a:pt x="316" y="276"/>
                </a:lnTo>
                <a:lnTo>
                  <a:pt x="324" y="262"/>
                </a:lnTo>
                <a:lnTo>
                  <a:pt x="336" y="238"/>
                </a:lnTo>
                <a:lnTo>
                  <a:pt x="342" y="222"/>
                </a:lnTo>
                <a:lnTo>
                  <a:pt x="346" y="208"/>
                </a:lnTo>
                <a:lnTo>
                  <a:pt x="350" y="190"/>
                </a:lnTo>
                <a:lnTo>
                  <a:pt x="352" y="174"/>
                </a:lnTo>
                <a:lnTo>
                  <a:pt x="352" y="174"/>
                </a:lnTo>
                <a:lnTo>
                  <a:pt x="350" y="156"/>
                </a:lnTo>
                <a:lnTo>
                  <a:pt x="348" y="140"/>
                </a:lnTo>
                <a:lnTo>
                  <a:pt x="344" y="122"/>
                </a:lnTo>
                <a:lnTo>
                  <a:pt x="338" y="106"/>
                </a:lnTo>
                <a:lnTo>
                  <a:pt x="330" y="90"/>
                </a:lnTo>
                <a:lnTo>
                  <a:pt x="322" y="76"/>
                </a:lnTo>
                <a:lnTo>
                  <a:pt x="312" y="62"/>
                </a:lnTo>
                <a:lnTo>
                  <a:pt x="300" y="50"/>
                </a:lnTo>
                <a:lnTo>
                  <a:pt x="288" y="40"/>
                </a:lnTo>
                <a:lnTo>
                  <a:pt x="274" y="30"/>
                </a:lnTo>
                <a:lnTo>
                  <a:pt x="260" y="20"/>
                </a:lnTo>
                <a:lnTo>
                  <a:pt x="244" y="12"/>
                </a:lnTo>
                <a:lnTo>
                  <a:pt x="228" y="8"/>
                </a:lnTo>
                <a:lnTo>
                  <a:pt x="212" y="2"/>
                </a:lnTo>
                <a:lnTo>
                  <a:pt x="194" y="0"/>
                </a:lnTo>
                <a:lnTo>
                  <a:pt x="176" y="0"/>
                </a:lnTo>
                <a:lnTo>
                  <a:pt x="176" y="0"/>
                </a:lnTo>
                <a:close/>
                <a:moveTo>
                  <a:pt x="130" y="86"/>
                </a:moveTo>
                <a:lnTo>
                  <a:pt x="130" y="86"/>
                </a:lnTo>
                <a:lnTo>
                  <a:pt x="118" y="94"/>
                </a:lnTo>
                <a:lnTo>
                  <a:pt x="108" y="102"/>
                </a:lnTo>
                <a:lnTo>
                  <a:pt x="98" y="112"/>
                </a:lnTo>
                <a:lnTo>
                  <a:pt x="90" y="122"/>
                </a:lnTo>
                <a:lnTo>
                  <a:pt x="84" y="134"/>
                </a:lnTo>
                <a:lnTo>
                  <a:pt x="80" y="148"/>
                </a:lnTo>
                <a:lnTo>
                  <a:pt x="76" y="160"/>
                </a:lnTo>
                <a:lnTo>
                  <a:pt x="76" y="174"/>
                </a:lnTo>
                <a:lnTo>
                  <a:pt x="76" y="174"/>
                </a:lnTo>
                <a:lnTo>
                  <a:pt x="76" y="184"/>
                </a:lnTo>
                <a:lnTo>
                  <a:pt x="82" y="202"/>
                </a:lnTo>
                <a:lnTo>
                  <a:pt x="82" y="202"/>
                </a:lnTo>
                <a:lnTo>
                  <a:pt x="82" y="208"/>
                </a:lnTo>
                <a:lnTo>
                  <a:pt x="82" y="214"/>
                </a:lnTo>
                <a:lnTo>
                  <a:pt x="78" y="220"/>
                </a:lnTo>
                <a:lnTo>
                  <a:pt x="72" y="224"/>
                </a:lnTo>
                <a:lnTo>
                  <a:pt x="72" y="224"/>
                </a:lnTo>
                <a:lnTo>
                  <a:pt x="66" y="224"/>
                </a:lnTo>
                <a:lnTo>
                  <a:pt x="58" y="222"/>
                </a:lnTo>
                <a:lnTo>
                  <a:pt x="54" y="218"/>
                </a:lnTo>
                <a:lnTo>
                  <a:pt x="50" y="214"/>
                </a:lnTo>
                <a:lnTo>
                  <a:pt x="50" y="214"/>
                </a:lnTo>
                <a:lnTo>
                  <a:pt x="44" y="194"/>
                </a:lnTo>
                <a:lnTo>
                  <a:pt x="42" y="184"/>
                </a:lnTo>
                <a:lnTo>
                  <a:pt x="42" y="174"/>
                </a:lnTo>
                <a:lnTo>
                  <a:pt x="42" y="174"/>
                </a:lnTo>
                <a:lnTo>
                  <a:pt x="44" y="156"/>
                </a:lnTo>
                <a:lnTo>
                  <a:pt x="46" y="138"/>
                </a:lnTo>
                <a:lnTo>
                  <a:pt x="54" y="120"/>
                </a:lnTo>
                <a:lnTo>
                  <a:pt x="62" y="104"/>
                </a:lnTo>
                <a:lnTo>
                  <a:pt x="72" y="90"/>
                </a:lnTo>
                <a:lnTo>
                  <a:pt x="84" y="76"/>
                </a:lnTo>
                <a:lnTo>
                  <a:pt x="98" y="66"/>
                </a:lnTo>
                <a:lnTo>
                  <a:pt x="114" y="56"/>
                </a:lnTo>
                <a:lnTo>
                  <a:pt x="114" y="56"/>
                </a:lnTo>
                <a:lnTo>
                  <a:pt x="122" y="54"/>
                </a:lnTo>
                <a:lnTo>
                  <a:pt x="128" y="54"/>
                </a:lnTo>
                <a:lnTo>
                  <a:pt x="134" y="58"/>
                </a:lnTo>
                <a:lnTo>
                  <a:pt x="138" y="64"/>
                </a:lnTo>
                <a:lnTo>
                  <a:pt x="138" y="64"/>
                </a:lnTo>
                <a:lnTo>
                  <a:pt x="140" y="70"/>
                </a:lnTo>
                <a:lnTo>
                  <a:pt x="138" y="76"/>
                </a:lnTo>
                <a:lnTo>
                  <a:pt x="136" y="82"/>
                </a:lnTo>
                <a:lnTo>
                  <a:pt x="130" y="86"/>
                </a:lnTo>
                <a:lnTo>
                  <a:pt x="130" y="86"/>
                </a:lnTo>
                <a:close/>
              </a:path>
            </a:pathLst>
          </a:custGeom>
          <a:solidFill>
            <a:schemeClr val="accent1"/>
          </a:solidFill>
          <a:ln w="9525">
            <a:noFill/>
            <a:round/>
          </a:ln>
        </p:spPr>
        <p:txBody>
          <a:bodyPr vert="horz" wrap="square" lIns="93297" tIns="46649" rIns="93297" bIns="46649"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a:ln>
                <a:noFill/>
              </a:ln>
              <a:solidFill>
                <a:srgbClr val="000000"/>
              </a:solidFill>
              <a:effectLst/>
              <a:uLnTx/>
              <a:uFillTx/>
              <a:latin typeface="Arial" panose="020B0604020202020204"/>
              <a:ea typeface="楷体" panose="02010609060101010101" pitchFamily="49" charset="-122"/>
              <a:cs typeface="+mn-cs"/>
            </a:endParaRPr>
          </a:p>
        </p:txBody>
      </p:sp>
      <p:sp>
        <p:nvSpPr>
          <p:cNvPr id="43" name="Rectangle 11"/>
          <p:cNvSpPr txBox="1">
            <a:spLocks noChangeArrowheads="1"/>
          </p:cNvSpPr>
          <p:nvPr/>
        </p:nvSpPr>
        <p:spPr bwMode="auto">
          <a:xfrm>
            <a:off x="1620201" y="5136758"/>
            <a:ext cx="9648708" cy="107831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405" algn="l" defTabSz="895350"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57200" indent="-26225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3pPr>
            <a:lvl4pPr marL="614680" indent="-155575" algn="l" defTabSz="895350" rtl="0" eaLnBrk="1" fontAlgn="base" hangingPunct="1">
              <a:spcBef>
                <a:spcPct val="0"/>
              </a:spcBef>
              <a:spcAft>
                <a:spcPct val="0"/>
              </a:spcAft>
              <a:buClr>
                <a:schemeClr val="tx2"/>
              </a:buClr>
              <a:buSzPct val="120000"/>
              <a:buFont typeface="Arial" panose="020B0604020202020204" pitchFamily="34" charset="0"/>
              <a:buChar char="▫"/>
              <a:defRPr sz="1600" baseline="0">
                <a:solidFill>
                  <a:schemeClr val="tx1"/>
                </a:solidFill>
                <a:latin typeface="+mn-lt"/>
              </a:defRPr>
            </a:lvl4pPr>
            <a:lvl5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baseline="0">
                <a:solidFill>
                  <a:schemeClr val="tx1"/>
                </a:solidFill>
                <a:latin typeface="+mn-lt"/>
              </a:defRPr>
            </a:lvl5pPr>
            <a:lvl6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6pPr>
            <a:lvl7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7pPr>
            <a:lvl8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8pPr>
            <a:lvl9pPr marL="749935" indent="-130175" algn="l" defTabSz="895350"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9pPr>
          </a:lstStyle>
          <a:p>
            <a:pPr marL="193675" marR="0" lvl="1" indent="-192405" algn="l" defTabSz="895350" rtl="0" eaLnBrk="1" fontAlgn="base" latinLnBrk="0" hangingPunct="1">
              <a:lnSpc>
                <a:spcPct val="100000"/>
              </a:lnSpc>
              <a:spcBef>
                <a:spcPct val="0"/>
              </a:spcBef>
              <a:spcAft>
                <a:spcPct val="0"/>
              </a:spcAft>
              <a:buClr>
                <a:srgbClr val="002960"/>
              </a:buClr>
              <a:buSzPct val="125000"/>
              <a:buFont typeface="Arial" panose="020B0604020202020204" pitchFamily="34" charset="0"/>
              <a:buChar char="▪"/>
              <a:defRPr/>
            </a:pPr>
            <a:r>
              <a:rPr kumimoji="0" lang="zh-CN" altLang="en-US"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图表中展示的竞争企业可以根据行业特点进行调整</a:t>
            </a:r>
            <a:endParaRPr kumimoji="0" lang="en-US" altLang="zh-CN"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457200" marR="0" lvl="2" indent="-262255" algn="l" defTabSz="895350" rtl="0" eaLnBrk="1" fontAlgn="base" latinLnBrk="0" hangingPunct="1">
              <a:lnSpc>
                <a:spcPct val="100000"/>
              </a:lnSpc>
              <a:spcBef>
                <a:spcPct val="0"/>
              </a:spcBef>
              <a:spcAft>
                <a:spcPct val="0"/>
              </a:spcAft>
              <a:buClr>
                <a:srgbClr val="002960"/>
              </a:buClr>
              <a:buSzPct val="120000"/>
              <a:buFont typeface="Arial" panose="020B0604020202020204" pitchFamily="34" charset="0"/>
              <a:buChar char="–"/>
              <a:defRPr/>
            </a:pPr>
            <a:r>
              <a:rPr kumimoji="0" lang="zh-CN" altLang="en-US"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对于</a:t>
            </a:r>
            <a:r>
              <a:rPr kumimoji="0" lang="zh-CN" altLang="en-US" sz="1630"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高度集中</a:t>
            </a:r>
            <a:r>
              <a:rPr kumimoji="0" lang="zh-CN" altLang="en-US"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的行业（例如电信业），可以</a:t>
            </a:r>
            <a:r>
              <a:rPr kumimoji="0" lang="zh-CN" altLang="en-US" sz="1630"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穷举</a:t>
            </a:r>
            <a:r>
              <a:rPr kumimoji="0" lang="zh-CN" altLang="en-US"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竞争企业</a:t>
            </a:r>
            <a:endParaRPr kumimoji="0" lang="en-US" altLang="zh-CN"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457200" marR="0" lvl="2" indent="-262255" algn="l" defTabSz="895350" rtl="0" eaLnBrk="1" fontAlgn="base" latinLnBrk="0" hangingPunct="1">
              <a:lnSpc>
                <a:spcPct val="100000"/>
              </a:lnSpc>
              <a:spcBef>
                <a:spcPct val="0"/>
              </a:spcBef>
              <a:spcAft>
                <a:spcPct val="0"/>
              </a:spcAft>
              <a:buClr>
                <a:srgbClr val="002960"/>
              </a:buClr>
              <a:buSzPct val="120000"/>
              <a:buFont typeface="Arial" panose="020B0604020202020204" pitchFamily="34" charset="0"/>
              <a:buChar char="–"/>
              <a:defRPr/>
            </a:pPr>
            <a:r>
              <a:rPr kumimoji="0" lang="zh-CN" altLang="en-US"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对于</a:t>
            </a:r>
            <a:r>
              <a:rPr kumimoji="0" lang="zh-CN" altLang="en-US" sz="1630"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高度分散</a:t>
            </a:r>
            <a:r>
              <a:rPr kumimoji="0" lang="zh-CN" altLang="en-US"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的行业（例如银行业），建议将竞争企业进行</a:t>
            </a:r>
            <a:r>
              <a:rPr kumimoji="0" lang="zh-CN" altLang="en-US" sz="1630"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分类</a:t>
            </a:r>
            <a:endParaRPr kumimoji="0" lang="en-US" altLang="zh-CN" sz="1630"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a:p>
            <a:pPr marL="193675" marR="0" lvl="1" indent="-192405" algn="l" defTabSz="895350" rtl="0" eaLnBrk="1" fontAlgn="base" latinLnBrk="0" hangingPunct="1">
              <a:lnSpc>
                <a:spcPct val="100000"/>
              </a:lnSpc>
              <a:spcBef>
                <a:spcPct val="0"/>
              </a:spcBef>
              <a:spcAft>
                <a:spcPct val="0"/>
              </a:spcAft>
              <a:buClr>
                <a:srgbClr val="002960"/>
              </a:buClr>
              <a:buSzPct val="125000"/>
              <a:buFont typeface="Arial" panose="020B0604020202020204" pitchFamily="34" charset="0"/>
              <a:buChar char="▪"/>
              <a:defRPr/>
            </a:pPr>
            <a:r>
              <a:rPr kumimoji="0" lang="zh-CN" altLang="en-US" sz="163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竞争格局比较的内容可以是资产、收入、盈利、客户量等</a:t>
            </a:r>
            <a:r>
              <a:rPr kumimoji="0" lang="zh-CN" altLang="en-US" sz="1630"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rPr>
              <a:t>规模数据</a:t>
            </a:r>
            <a:endParaRPr kumimoji="0" lang="en-US" altLang="ko-KR" sz="1630" b="1"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n-cs"/>
            </a:endParaRPr>
          </a:p>
        </p:txBody>
      </p:sp>
      <p:sp>
        <p:nvSpPr>
          <p:cNvPr id="22" name="标题 2"/>
          <p:cNvSpPr txBox="1"/>
          <p:nvPr/>
        </p:nvSpPr>
        <p:spPr>
          <a:xfrm>
            <a:off x="172754" y="190419"/>
            <a:ext cx="11239949"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a:solidFill>
                  <a:prstClr val="black"/>
                </a:solidFill>
                <a:latin typeface="华文楷体" panose="02010600040101010101" charset="-122"/>
              </a:rPr>
              <a:t> </a:t>
            </a:r>
            <a:r>
              <a:rPr lang="zh-CN" altLang="en-US" sz="2400" dirty="0" smtClean="0">
                <a:solidFill>
                  <a:prstClr val="black"/>
                </a:solidFill>
                <a:latin typeface="华文楷体" panose="02010600040101010101" charset="-122"/>
              </a:rPr>
              <a:t>       </a:t>
            </a:r>
            <a:r>
              <a:rPr lang="en-US" altLang="zh-CN" sz="2400" dirty="0" smtClean="0">
                <a:solidFill>
                  <a:prstClr val="black"/>
                </a:solidFill>
                <a:latin typeface="华文楷体" panose="02010600040101010101" charset="-122"/>
              </a:rPr>
              <a:t>—</a:t>
            </a:r>
            <a:r>
              <a:rPr lang="zh-CN" altLang="en-US" sz="2400" dirty="0"/>
              <a:t>行业格局结构图：根据不同年份行业结构的演变总结行业竞争格局变化趋势</a:t>
            </a:r>
            <a:endParaRPr lang="zh-CN" altLang="en-US" sz="2400" dirty="0">
              <a:solidFill>
                <a:prstClr val="black"/>
              </a:solidFill>
              <a:latin typeface="华文楷体" panose="02010600040101010101" charset="-122"/>
            </a:endParaRPr>
          </a:p>
        </p:txBody>
      </p:sp>
      <p:pic>
        <p:nvPicPr>
          <p:cNvPr id="21" name="图片 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
        <p:nvSpPr>
          <p:cNvPr id="2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行研</a:t>
            </a:r>
            <a:endParaRPr lang="zh-CN" altLang="en-US" sz="2400" dirty="0">
              <a:solidFill>
                <a:prstClr val="black"/>
              </a:solidFill>
              <a:latin typeface="华文楷体" panose="02010600040101010101"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a:off x="314960" y="965200"/>
            <a:ext cx="363728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4175760" y="2448560"/>
            <a:ext cx="802640" cy="3464560"/>
            <a:chOff x="4338320" y="2611120"/>
            <a:chExt cx="802640" cy="3464560"/>
          </a:xfrm>
        </p:grpSpPr>
        <p:sp>
          <p:nvSpPr>
            <p:cNvPr id="6" name="椭圆 5"/>
            <p:cNvSpPr/>
            <p:nvPr/>
          </p:nvSpPr>
          <p:spPr>
            <a:xfrm>
              <a:off x="4338320" y="2611120"/>
              <a:ext cx="365760" cy="365760"/>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7" name="椭圆 6"/>
            <p:cNvSpPr/>
            <p:nvPr/>
          </p:nvSpPr>
          <p:spPr>
            <a:xfrm>
              <a:off x="4775200" y="2997200"/>
              <a:ext cx="365760" cy="365760"/>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8" name="椭圆 7"/>
            <p:cNvSpPr/>
            <p:nvPr/>
          </p:nvSpPr>
          <p:spPr>
            <a:xfrm>
              <a:off x="4338320" y="3248660"/>
              <a:ext cx="365760" cy="365760"/>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9" name="椭圆 8"/>
            <p:cNvSpPr/>
            <p:nvPr/>
          </p:nvSpPr>
          <p:spPr>
            <a:xfrm>
              <a:off x="4775200" y="3601720"/>
              <a:ext cx="365760" cy="365760"/>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0" name="椭圆 9"/>
            <p:cNvSpPr/>
            <p:nvPr/>
          </p:nvSpPr>
          <p:spPr>
            <a:xfrm>
              <a:off x="4338320" y="3886200"/>
              <a:ext cx="365760" cy="365760"/>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1" name="椭圆 10"/>
            <p:cNvSpPr/>
            <p:nvPr/>
          </p:nvSpPr>
          <p:spPr>
            <a:xfrm>
              <a:off x="4775200" y="4206240"/>
              <a:ext cx="365760" cy="365760"/>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2" name="椭圆 11"/>
            <p:cNvSpPr/>
            <p:nvPr/>
          </p:nvSpPr>
          <p:spPr>
            <a:xfrm>
              <a:off x="4338320" y="4523740"/>
              <a:ext cx="365760" cy="365760"/>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3" name="椭圆 12"/>
            <p:cNvSpPr/>
            <p:nvPr/>
          </p:nvSpPr>
          <p:spPr>
            <a:xfrm>
              <a:off x="4775200" y="4810760"/>
              <a:ext cx="365760" cy="365760"/>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4" name="椭圆 13"/>
            <p:cNvSpPr/>
            <p:nvPr/>
          </p:nvSpPr>
          <p:spPr>
            <a:xfrm>
              <a:off x="4338320" y="5161280"/>
              <a:ext cx="365760" cy="365760"/>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 name="椭圆 14"/>
            <p:cNvSpPr/>
            <p:nvPr/>
          </p:nvSpPr>
          <p:spPr>
            <a:xfrm>
              <a:off x="4775200" y="5415280"/>
              <a:ext cx="365760" cy="365760"/>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6" name="椭圆 15"/>
            <p:cNvSpPr/>
            <p:nvPr/>
          </p:nvSpPr>
          <p:spPr>
            <a:xfrm>
              <a:off x="4338320" y="5709920"/>
              <a:ext cx="365760" cy="365760"/>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sp>
        <p:nvSpPr>
          <p:cNvPr id="17" name="TextBox 419"/>
          <p:cNvSpPr txBox="1"/>
          <p:nvPr/>
        </p:nvSpPr>
        <p:spPr>
          <a:xfrm>
            <a:off x="4124551" y="2641600"/>
            <a:ext cx="845475" cy="3005742"/>
          </a:xfrm>
          <a:prstGeom prst="roundRect">
            <a:avLst>
              <a:gd name="adj" fmla="val 9457"/>
            </a:avLst>
          </a:prstGeom>
          <a:solidFill>
            <a:srgbClr val="FFFFFF">
              <a:alpha val="80000"/>
            </a:srgbClr>
          </a:solidFill>
          <a:ln w="1905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2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rPr>
              <a:t>XX</a:t>
            </a:r>
            <a:endParaRPr kumimoji="0" lang="zh-CN" altLang="en-US" sz="2200" b="1" i="0" u="none" strike="noStrike" kern="1200" cap="none" spc="0" normalizeH="0" baseline="0" noProof="0" dirty="0" smtClean="0">
              <a:ln>
                <a:noFill/>
              </a:ln>
              <a:solidFill>
                <a:srgbClr val="FE8637">
                  <a:lumMod val="75000"/>
                </a:srgbClr>
              </a:solidFill>
              <a:effectLst/>
              <a:uLnTx/>
              <a:uFillTx/>
              <a:latin typeface="Arial" panose="020B0604020202020204"/>
              <a:ea typeface="华文楷体" panose="02010600040101010101" charset="-122"/>
              <a:cs typeface="+mn-cs"/>
            </a:endParaRPr>
          </a:p>
        </p:txBody>
      </p:sp>
      <p:sp>
        <p:nvSpPr>
          <p:cNvPr id="18" name="右箭头 17"/>
          <p:cNvSpPr/>
          <p:nvPr/>
        </p:nvSpPr>
        <p:spPr>
          <a:xfrm rot="5400000" flipV="1">
            <a:off x="10558776" y="4870065"/>
            <a:ext cx="487677" cy="297951"/>
          </a:xfrm>
          <a:prstGeom prst="rightArrow">
            <a:avLst/>
          </a:prstGeom>
          <a:gradFill>
            <a:gsLst>
              <a:gs pos="22000">
                <a:schemeClr val="accent2"/>
              </a:gs>
              <a:gs pos="100000">
                <a:schemeClr val="accent1">
                  <a:lumMod val="97000"/>
                  <a:lumOff val="3000"/>
                  <a:alpha val="0"/>
                </a:schemeClr>
              </a:gs>
            </a:gsLst>
            <a:lin ang="10800000" scaled="0"/>
          </a:gradFill>
          <a:ln w="1905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9" name="TextBox 446"/>
          <p:cNvSpPr txBox="1"/>
          <p:nvPr/>
        </p:nvSpPr>
        <p:spPr>
          <a:xfrm>
            <a:off x="10027920" y="1778000"/>
            <a:ext cx="1564640" cy="920178"/>
          </a:xfrm>
          <a:prstGeom prst="rect">
            <a:avLst/>
          </a:prstGeom>
          <a:ln w="19050">
            <a:solidFill>
              <a:schemeClr val="accent1"/>
            </a:solidFill>
          </a:ln>
        </p:spPr>
        <p:txBody>
          <a:bodyPr wrap="square" anchor="ctr">
            <a:noAutofit/>
          </a:bodyPr>
          <a:lstStyle>
            <a:defPPr>
              <a:defRPr lang="en-US"/>
            </a:defPPr>
            <a:lvl1pPr algn="ctr">
              <a:defRPr sz="1600" b="1">
                <a:solidFill>
                  <a:schemeClr val="accent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0" i="0" u="none" strike="noStrike" kern="1200" cap="none" spc="0" normalizeH="0" baseline="0" noProof="0" dirty="0" smtClean="0">
                <a:ln>
                  <a:noFill/>
                </a:ln>
                <a:solidFill>
                  <a:srgbClr val="B32C16"/>
                </a:solidFill>
                <a:effectLst/>
                <a:uLnTx/>
                <a:uFillTx/>
                <a:latin typeface="Arial" panose="020B0604020202020204"/>
                <a:ea typeface="华文楷体" panose="02010600040101010101" charset="-122"/>
                <a:cs typeface="+mn-cs"/>
              </a:rPr>
              <a:t>XX</a:t>
            </a:r>
            <a:endParaRPr kumimoji="0" lang="zh-CN" altLang="en-US" sz="1800" b="1" i="0" u="none" strike="noStrike" kern="1200" cap="none" spc="0" normalizeH="0" baseline="0" noProof="0" dirty="0">
              <a:ln>
                <a:noFill/>
              </a:ln>
              <a:solidFill>
                <a:srgbClr val="B32C16"/>
              </a:solidFill>
              <a:effectLst/>
              <a:uLnTx/>
              <a:uFillTx/>
              <a:latin typeface="Arial" panose="020B0604020202020204"/>
              <a:ea typeface="华文楷体" panose="02010600040101010101" charset="-122"/>
              <a:cs typeface="+mn-cs"/>
            </a:endParaRPr>
          </a:p>
        </p:txBody>
      </p:sp>
      <p:sp>
        <p:nvSpPr>
          <p:cNvPr id="20" name="TextBox 446"/>
          <p:cNvSpPr txBox="1"/>
          <p:nvPr/>
        </p:nvSpPr>
        <p:spPr>
          <a:xfrm>
            <a:off x="5760720" y="1778000"/>
            <a:ext cx="3972560" cy="920178"/>
          </a:xfrm>
          <a:prstGeom prst="rect">
            <a:avLst/>
          </a:prstGeom>
          <a:ln w="19050">
            <a:solidFill>
              <a:schemeClr val="accent1"/>
            </a:solidFill>
          </a:ln>
        </p:spPr>
        <p:txBody>
          <a:bodyPr wrap="square" anchor="ctr">
            <a:noAutofit/>
          </a:bodyPr>
          <a:lstStyle>
            <a:defPPr>
              <a:defRPr lang="en-US"/>
            </a:defPPr>
            <a:lvl1pPr algn="ctr">
              <a:defRPr sz="1600" b="1">
                <a:solidFill>
                  <a:schemeClr val="accent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dirty="0">
              <a:ln>
                <a:noFill/>
              </a:ln>
              <a:solidFill>
                <a:srgbClr val="B32C16"/>
              </a:solidFill>
              <a:effectLst/>
              <a:uLnTx/>
              <a:uFillTx/>
              <a:latin typeface="Arial" panose="020B0604020202020204"/>
              <a:ea typeface="华文楷体" panose="02010600040101010101" charset="-122"/>
              <a:cs typeface="+mn-cs"/>
            </a:endParaRPr>
          </a:p>
        </p:txBody>
      </p:sp>
      <p:sp>
        <p:nvSpPr>
          <p:cNvPr id="21" name="椭圆 20"/>
          <p:cNvSpPr/>
          <p:nvPr/>
        </p:nvSpPr>
        <p:spPr>
          <a:xfrm>
            <a:off x="5869520" y="1849281"/>
            <a:ext cx="1690230" cy="777616"/>
          </a:xfrm>
          <a:prstGeom prst="ellipse">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XX</a:t>
            </a:r>
            <a:endParaRPr kumimoji="0" lang="zh-CN" altLang="en-US"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sp>
        <p:nvSpPr>
          <p:cNvPr id="22" name="椭圆 21"/>
          <p:cNvSpPr/>
          <p:nvPr/>
        </p:nvSpPr>
        <p:spPr>
          <a:xfrm>
            <a:off x="7972949" y="1849281"/>
            <a:ext cx="1658732" cy="777616"/>
          </a:xfrm>
          <a:prstGeom prst="ellipse">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800" b="0"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XX</a:t>
            </a:r>
            <a:endParaRPr kumimoji="0" lang="zh-CN" altLang="en-US" sz="18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endParaRPr>
          </a:p>
        </p:txBody>
      </p:sp>
      <p:sp>
        <p:nvSpPr>
          <p:cNvPr id="23" name="右箭头 22"/>
          <p:cNvSpPr/>
          <p:nvPr/>
        </p:nvSpPr>
        <p:spPr>
          <a:xfrm rot="16200000">
            <a:off x="10167613" y="3158103"/>
            <a:ext cx="1270002" cy="297951"/>
          </a:xfrm>
          <a:prstGeom prst="rightArrow">
            <a:avLst/>
          </a:prstGeom>
          <a:gradFill>
            <a:gsLst>
              <a:gs pos="22000">
                <a:schemeClr val="accent2"/>
              </a:gs>
              <a:gs pos="100000">
                <a:schemeClr val="accent1">
                  <a:lumMod val="97000"/>
                  <a:lumOff val="3000"/>
                  <a:alpha val="0"/>
                </a:schemeClr>
              </a:gs>
            </a:gsLst>
            <a:lin ang="10800000" scaled="0"/>
          </a:gradFill>
          <a:ln w="1905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4" name="右箭头 23"/>
          <p:cNvSpPr/>
          <p:nvPr/>
        </p:nvSpPr>
        <p:spPr>
          <a:xfrm rot="16200000">
            <a:off x="6403333" y="2817743"/>
            <a:ext cx="589281" cy="297951"/>
          </a:xfrm>
          <a:prstGeom prst="rightArrow">
            <a:avLst/>
          </a:prstGeom>
          <a:gradFill>
            <a:gsLst>
              <a:gs pos="22000">
                <a:schemeClr val="accent2"/>
              </a:gs>
              <a:gs pos="100000">
                <a:schemeClr val="accent1">
                  <a:lumMod val="97000"/>
                  <a:lumOff val="3000"/>
                  <a:alpha val="0"/>
                </a:schemeClr>
              </a:gs>
            </a:gsLst>
            <a:lin ang="10800000" scaled="0"/>
          </a:gradFill>
          <a:ln w="1905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5" name="右箭头 24"/>
          <p:cNvSpPr/>
          <p:nvPr/>
        </p:nvSpPr>
        <p:spPr>
          <a:xfrm rot="16200000">
            <a:off x="8354052" y="3010783"/>
            <a:ext cx="975362" cy="297951"/>
          </a:xfrm>
          <a:prstGeom prst="rightArrow">
            <a:avLst/>
          </a:prstGeom>
          <a:gradFill>
            <a:gsLst>
              <a:gs pos="22000">
                <a:schemeClr val="accent2"/>
              </a:gs>
              <a:gs pos="100000">
                <a:schemeClr val="accent1">
                  <a:lumMod val="97000"/>
                  <a:lumOff val="3000"/>
                  <a:alpha val="0"/>
                </a:schemeClr>
              </a:gs>
            </a:gsLst>
            <a:lin ang="10800000" scaled="0"/>
          </a:gradFill>
          <a:ln w="1905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6" name="五边形 25"/>
          <p:cNvSpPr/>
          <p:nvPr/>
        </p:nvSpPr>
        <p:spPr>
          <a:xfrm>
            <a:off x="301081" y="1149351"/>
            <a:ext cx="3783239" cy="418138"/>
          </a:xfrm>
          <a:prstGeom prst="homePlate">
            <a:avLst>
              <a:gd name="adj" fmla="val 20442"/>
            </a:avLst>
          </a:prstGeom>
          <a:solidFill>
            <a:srgbClr val="FE5817"/>
          </a:solidFill>
          <a:ln w="12700">
            <a:noFill/>
            <a:prstDash val="solid"/>
          </a:ln>
        </p:spPr>
        <p:style>
          <a:lnRef idx="2">
            <a:schemeClr val="accent2"/>
          </a:lnRef>
          <a:fillRef idx="1">
            <a:schemeClr val="lt1"/>
          </a:fillRef>
          <a:effectRef idx="0">
            <a:schemeClr val="accent2"/>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7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XX</a:t>
            </a:r>
            <a:endParaRPr kumimoji="1" lang="zh-CN" altLang="en-US" sz="17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27" name="燕尾形 26"/>
          <p:cNvSpPr/>
          <p:nvPr/>
        </p:nvSpPr>
        <p:spPr>
          <a:xfrm>
            <a:off x="4064000" y="1149351"/>
            <a:ext cx="3870960" cy="418138"/>
          </a:xfrm>
          <a:prstGeom prst="chevron">
            <a:avLst>
              <a:gd name="adj" fmla="val 20442"/>
            </a:avLst>
          </a:prstGeom>
          <a:solidFill>
            <a:srgbClr val="FE5817"/>
          </a:solidFill>
          <a:ln w="12700">
            <a:noFill/>
            <a:prstDash val="solid"/>
          </a:ln>
        </p:spPr>
        <p:style>
          <a:lnRef idx="2">
            <a:schemeClr val="accent2"/>
          </a:lnRef>
          <a:fillRef idx="1">
            <a:schemeClr val="lt1"/>
          </a:fillRef>
          <a:effectRef idx="0">
            <a:schemeClr val="accent2"/>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7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XXX</a:t>
            </a:r>
            <a:endParaRPr kumimoji="1" lang="zh-CN" altLang="en-US" sz="17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28" name="燕尾形 27"/>
          <p:cNvSpPr/>
          <p:nvPr/>
        </p:nvSpPr>
        <p:spPr>
          <a:xfrm>
            <a:off x="7914640" y="1149351"/>
            <a:ext cx="4023360" cy="418138"/>
          </a:xfrm>
          <a:prstGeom prst="chevron">
            <a:avLst>
              <a:gd name="adj" fmla="val 20442"/>
            </a:avLst>
          </a:prstGeom>
          <a:solidFill>
            <a:srgbClr val="FE5817"/>
          </a:solidFill>
          <a:ln w="12700">
            <a:noFill/>
            <a:prstDash val="solid"/>
          </a:ln>
        </p:spPr>
        <p:style>
          <a:lnRef idx="2">
            <a:schemeClr val="accent2"/>
          </a:lnRef>
          <a:fillRef idx="1">
            <a:schemeClr val="lt1"/>
          </a:fillRef>
          <a:effectRef idx="0">
            <a:schemeClr val="accent2"/>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en-US" altLang="zh-CN" sz="1700" b="1"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rPr>
              <a:t>XXX</a:t>
            </a:r>
            <a:endParaRPr kumimoji="1" lang="en-US" altLang="zh-CN" sz="1700"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graphicFrame>
        <p:nvGraphicFramePr>
          <p:cNvPr id="29" name="表格 28"/>
          <p:cNvGraphicFramePr>
            <a:graphicFrameLocks noGrp="1"/>
          </p:cNvGraphicFramePr>
          <p:nvPr/>
        </p:nvGraphicFramePr>
        <p:xfrm>
          <a:off x="336271" y="3535678"/>
          <a:ext cx="3534687" cy="2600961"/>
        </p:xfrm>
        <a:graphic>
          <a:graphicData uri="http://schemas.openxmlformats.org/drawingml/2006/table">
            <a:tbl>
              <a:tblPr firstRow="1" bandRow="1">
                <a:tableStyleId>{5C22544A-7EE6-4342-B048-85BDC9FD1C3A}</a:tableStyleId>
              </a:tblPr>
              <a:tblGrid>
                <a:gridCol w="663983"/>
                <a:gridCol w="717676"/>
                <a:gridCol w="717676"/>
                <a:gridCol w="717676"/>
                <a:gridCol w="717676"/>
              </a:tblGrid>
              <a:tr h="547728">
                <a:tc>
                  <a:txBody>
                    <a:bodyPr/>
                    <a:lstStyle/>
                    <a:p>
                      <a:pPr algn="ctr"/>
                      <a:r>
                        <a:rPr lang="en-US" altLang="zh-CN" sz="1400" dirty="0" smtClean="0"/>
                        <a:t>XX</a:t>
                      </a:r>
                      <a:endParaRPr lang="zh-CN" altLang="en-US" sz="1400" dirty="0"/>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lang="zh-CN" altLang="en-US" sz="1400" dirty="0" smtClean="0"/>
                        <a:t>高级认证企业</a:t>
                      </a:r>
                      <a:endParaRPr lang="zh-CN" altLang="en-US" sz="1400" dirty="0"/>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lang="zh-CN" altLang="en-US" sz="1400" dirty="0" smtClean="0"/>
                        <a:t>一般认证企业</a:t>
                      </a:r>
                      <a:endParaRPr lang="zh-CN" altLang="en-US" sz="1400" dirty="0"/>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lang="zh-CN" altLang="en-US" sz="1400" dirty="0" smtClean="0"/>
                        <a:t>一般信用企业</a:t>
                      </a:r>
                      <a:endParaRPr lang="zh-CN" altLang="en-US" sz="1400" dirty="0"/>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lang="zh-CN" altLang="en-US" sz="1400" dirty="0" smtClean="0"/>
                        <a:t>失信</a:t>
                      </a:r>
                      <a:endParaRPr lang="en-US" altLang="zh-CN" sz="1400" dirty="0" smtClean="0"/>
                    </a:p>
                    <a:p>
                      <a:pPr algn="ctr"/>
                      <a:r>
                        <a:rPr lang="zh-CN" altLang="en-US" sz="1400" dirty="0" smtClean="0"/>
                        <a:t>企业</a:t>
                      </a:r>
                      <a:endParaRPr lang="zh-CN" altLang="en-US" sz="1400" dirty="0"/>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r>
              <a:tr h="684411">
                <a:tc>
                  <a:txBody>
                    <a:bodyPr/>
                    <a:lstStyle/>
                    <a:p>
                      <a:pPr algn="ctr"/>
                      <a:r>
                        <a:rPr lang="zh-CN" altLang="en-US" sz="1400" b="1" dirty="0" smtClean="0">
                          <a:solidFill>
                            <a:schemeClr val="tx1"/>
                          </a:solidFill>
                        </a:rPr>
                        <a:t>企业</a:t>
                      </a:r>
                      <a:br>
                        <a:rPr lang="en-US" altLang="zh-CN" sz="1400" b="1" dirty="0" smtClean="0">
                          <a:solidFill>
                            <a:schemeClr val="tx1"/>
                          </a:solidFill>
                        </a:rPr>
                      </a:br>
                      <a:r>
                        <a:rPr lang="zh-CN" altLang="en-US" sz="1400" b="1" dirty="0" smtClean="0">
                          <a:solidFill>
                            <a:schemeClr val="tx1"/>
                          </a:solidFill>
                        </a:rPr>
                        <a:t>占比</a:t>
                      </a:r>
                      <a:endParaRPr lang="zh-CN" altLang="en-US" sz="1400" b="1" dirty="0">
                        <a:solidFill>
                          <a:schemeClr val="tx1"/>
                        </a:solidFill>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400" dirty="0" smtClean="0">
                          <a:solidFill>
                            <a:schemeClr val="tx1"/>
                          </a:solidFill>
                          <a:latin typeface="+mj-lt"/>
                        </a:rPr>
                        <a:t>XX%</a:t>
                      </a:r>
                      <a:endParaRPr lang="zh-CN" altLang="en-US" sz="1400" dirty="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400" dirty="0" smtClean="0">
                          <a:solidFill>
                            <a:schemeClr val="tx1"/>
                          </a:solidFill>
                          <a:latin typeface="+mj-lt"/>
                        </a:rPr>
                        <a:t>XX%</a:t>
                      </a:r>
                      <a:endParaRPr lang="zh-CN" altLang="en-US" sz="1400" dirty="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400" dirty="0" smtClean="0">
                          <a:solidFill>
                            <a:schemeClr val="tx1"/>
                          </a:solidFill>
                          <a:latin typeface="+mj-lt"/>
                        </a:rPr>
                        <a:t>XX%</a:t>
                      </a:r>
                      <a:endParaRPr lang="zh-CN" altLang="en-US" sz="1400" dirty="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400" dirty="0" smtClean="0">
                          <a:solidFill>
                            <a:schemeClr val="tx1"/>
                          </a:solidFill>
                          <a:latin typeface="+mj-lt"/>
                        </a:rPr>
                        <a:t>XX%</a:t>
                      </a:r>
                      <a:endParaRPr lang="zh-CN" altLang="en-US" sz="1400" dirty="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r h="684411">
                <a:tc>
                  <a:txBody>
                    <a:bodyPr/>
                    <a:lstStyle/>
                    <a:p>
                      <a:pPr algn="ctr"/>
                      <a:r>
                        <a:rPr lang="zh-CN" altLang="en-US" sz="1400" b="1" dirty="0" smtClean="0">
                          <a:solidFill>
                            <a:schemeClr val="tx1"/>
                          </a:solidFill>
                        </a:rPr>
                        <a:t>查验率</a:t>
                      </a:r>
                      <a:endParaRPr lang="zh-CN" altLang="en-US" sz="1400" b="1" dirty="0">
                        <a:solidFill>
                          <a:schemeClr val="tx1"/>
                        </a:solidFill>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lang="en-US" altLang="zh-CN" sz="1400" dirty="0" smtClean="0">
                          <a:solidFill>
                            <a:schemeClr val="tx1"/>
                          </a:solidFill>
                          <a:latin typeface="+mj-lt"/>
                        </a:rPr>
                        <a:t>XX%</a:t>
                      </a:r>
                      <a:endParaRPr lang="zh-CN" altLang="en-US" sz="1400" dirty="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lang="en-US" altLang="zh-CN" sz="1400" dirty="0" smtClean="0">
                          <a:solidFill>
                            <a:schemeClr val="tx1"/>
                          </a:solidFill>
                          <a:latin typeface="+mj-lt"/>
                        </a:rPr>
                        <a:t>XX%</a:t>
                      </a:r>
                      <a:endParaRPr lang="zh-CN" altLang="en-US" sz="1400" dirty="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lang="en-US" altLang="zh-CN" sz="1400" dirty="0" smtClean="0">
                          <a:solidFill>
                            <a:schemeClr val="tx1"/>
                          </a:solidFill>
                          <a:latin typeface="+mj-lt"/>
                        </a:rPr>
                        <a:t>XX%</a:t>
                      </a:r>
                      <a:endParaRPr lang="zh-CN" altLang="en-US" sz="1400" dirty="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lang="en-US" altLang="zh-CN" sz="1400" dirty="0" smtClean="0">
                          <a:solidFill>
                            <a:schemeClr val="tx1"/>
                          </a:solidFill>
                          <a:latin typeface="+mj-lt"/>
                        </a:rPr>
                        <a:t>XX%</a:t>
                      </a:r>
                      <a:endParaRPr lang="en-US" altLang="zh-CN" sz="1400" dirty="0" smtClean="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r>
              <a:tr h="684411">
                <a:tc>
                  <a:txBody>
                    <a:bodyPr/>
                    <a:lstStyle/>
                    <a:p>
                      <a:pPr algn="ctr"/>
                      <a:r>
                        <a:rPr lang="zh-CN" altLang="en-US" sz="1400" b="1" dirty="0" smtClean="0">
                          <a:solidFill>
                            <a:schemeClr val="tx1"/>
                          </a:solidFill>
                        </a:rPr>
                        <a:t>通关</a:t>
                      </a:r>
                      <a:br>
                        <a:rPr lang="en-US" altLang="zh-CN" sz="1400" b="1" dirty="0" smtClean="0">
                          <a:solidFill>
                            <a:schemeClr val="tx1"/>
                          </a:solidFill>
                        </a:rPr>
                      </a:br>
                      <a:r>
                        <a:rPr lang="zh-CN" altLang="en-US" sz="1400" b="1" dirty="0" smtClean="0">
                          <a:solidFill>
                            <a:schemeClr val="tx1"/>
                          </a:solidFill>
                        </a:rPr>
                        <a:t>时间</a:t>
                      </a:r>
                      <a:r>
                        <a:rPr lang="en-US" altLang="zh-CN" sz="1400" b="1" baseline="30000" dirty="0" smtClean="0">
                          <a:solidFill>
                            <a:schemeClr val="tx1"/>
                          </a:solidFill>
                        </a:rPr>
                        <a:t>1</a:t>
                      </a:r>
                      <a:endParaRPr lang="zh-CN" altLang="en-US" sz="1400" b="1" baseline="30000" dirty="0">
                        <a:solidFill>
                          <a:schemeClr val="tx1"/>
                        </a:solidFill>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400" dirty="0" smtClean="0">
                          <a:solidFill>
                            <a:schemeClr val="tx1"/>
                          </a:solidFill>
                          <a:latin typeface="+mj-lt"/>
                        </a:rPr>
                        <a:t>X</a:t>
                      </a:r>
                      <a:r>
                        <a:rPr lang="zh-CN" altLang="en-US" sz="1400" dirty="0" smtClean="0">
                          <a:solidFill>
                            <a:schemeClr val="tx1"/>
                          </a:solidFill>
                          <a:latin typeface="+mj-lt"/>
                        </a:rPr>
                        <a:t>小时</a:t>
                      </a:r>
                      <a:endParaRPr lang="zh-CN" altLang="en-US" sz="1400" dirty="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400" dirty="0" smtClean="0">
                          <a:solidFill>
                            <a:schemeClr val="tx1"/>
                          </a:solidFill>
                          <a:latin typeface="+mj-lt"/>
                        </a:rPr>
                        <a:t>XX</a:t>
                      </a:r>
                      <a:r>
                        <a:rPr lang="zh-CN" altLang="en-US" sz="1400" dirty="0" smtClean="0">
                          <a:solidFill>
                            <a:schemeClr val="tx1"/>
                          </a:solidFill>
                          <a:latin typeface="+mj-lt"/>
                        </a:rPr>
                        <a:t>小时</a:t>
                      </a:r>
                      <a:endParaRPr lang="zh-CN" altLang="en-US" sz="1400" dirty="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400" dirty="0" smtClean="0">
                          <a:solidFill>
                            <a:schemeClr val="tx1"/>
                          </a:solidFill>
                          <a:latin typeface="+mj-lt"/>
                        </a:rPr>
                        <a:t>X-X</a:t>
                      </a:r>
                      <a:br>
                        <a:rPr lang="en-US" altLang="zh-CN" sz="1400" dirty="0" smtClean="0">
                          <a:solidFill>
                            <a:schemeClr val="tx1"/>
                          </a:solidFill>
                          <a:latin typeface="+mj-lt"/>
                        </a:rPr>
                      </a:br>
                      <a:r>
                        <a:rPr lang="zh-CN" altLang="en-US" sz="1400" dirty="0" smtClean="0">
                          <a:solidFill>
                            <a:schemeClr val="tx1"/>
                          </a:solidFill>
                          <a:latin typeface="+mj-lt"/>
                        </a:rPr>
                        <a:t>小时</a:t>
                      </a:r>
                      <a:endParaRPr lang="zh-CN" altLang="en-US" sz="1400" dirty="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zh-CN" altLang="en-US" sz="1400" dirty="0" smtClean="0">
                          <a:solidFill>
                            <a:schemeClr val="tx1"/>
                          </a:solidFill>
                          <a:latin typeface="+mj-lt"/>
                        </a:rPr>
                        <a:t>至少</a:t>
                      </a:r>
                      <a:r>
                        <a:rPr lang="en-US" altLang="zh-CN" sz="1400" dirty="0" smtClean="0">
                          <a:solidFill>
                            <a:schemeClr val="tx1"/>
                          </a:solidFill>
                          <a:latin typeface="+mj-lt"/>
                        </a:rPr>
                        <a:t>X</a:t>
                      </a:r>
                      <a:r>
                        <a:rPr lang="zh-CN" altLang="en-US" sz="1400" dirty="0" smtClean="0">
                          <a:solidFill>
                            <a:schemeClr val="tx1"/>
                          </a:solidFill>
                          <a:latin typeface="+mj-lt"/>
                        </a:rPr>
                        <a:t>周</a:t>
                      </a:r>
                      <a:endParaRPr lang="zh-CN" altLang="en-US" sz="1400" dirty="0">
                        <a:solidFill>
                          <a:schemeClr val="tx1"/>
                        </a:solidFill>
                        <a:latin typeface="+mj-lt"/>
                      </a:endParaRPr>
                    </a:p>
                  </a:txBody>
                  <a:tcPr marL="36000" marR="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bl>
          </a:graphicData>
        </a:graphic>
      </p:graphicFrame>
      <p:sp>
        <p:nvSpPr>
          <p:cNvPr id="30" name="矩形 29"/>
          <p:cNvSpPr/>
          <p:nvPr/>
        </p:nvSpPr>
        <p:spPr>
          <a:xfrm>
            <a:off x="2378948" y="4013200"/>
            <a:ext cx="816508" cy="2214880"/>
          </a:xfrm>
          <a:prstGeom prst="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31" name="矩形 30"/>
          <p:cNvSpPr/>
          <p:nvPr/>
        </p:nvSpPr>
        <p:spPr>
          <a:xfrm>
            <a:off x="298969" y="3151770"/>
            <a:ext cx="3571992" cy="3139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1000"/>
              </a:spcAft>
              <a:buClrTx/>
              <a:buSzTx/>
              <a:buFontTx/>
              <a:buNone/>
              <a:defRPr/>
            </a:pPr>
            <a:r>
              <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en-US" altLang="zh-CN"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32" name="矩形 31"/>
          <p:cNvSpPr/>
          <p:nvPr/>
        </p:nvSpPr>
        <p:spPr>
          <a:xfrm>
            <a:off x="1465204" y="801345"/>
            <a:ext cx="1336792" cy="295935"/>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aphicFrame>
        <p:nvGraphicFramePr>
          <p:cNvPr id="33" name="Chart 3"/>
          <p:cNvGraphicFramePr/>
          <p:nvPr>
            <p:custDataLst>
              <p:tags r:id="rId2"/>
            </p:custDataLst>
          </p:nvPr>
        </p:nvGraphicFramePr>
        <p:xfrm>
          <a:off x="538106" y="1702059"/>
          <a:ext cx="3332854" cy="930208"/>
        </p:xfrm>
        <a:graphic>
          <a:graphicData uri="http://schemas.openxmlformats.org/drawingml/2006/chart">
            <c:chart xmlns:c="http://schemas.openxmlformats.org/drawingml/2006/chart" xmlns:r="http://schemas.openxmlformats.org/officeDocument/2006/relationships" r:id="rId1"/>
          </a:graphicData>
        </a:graphic>
      </p:graphicFrame>
      <p:sp>
        <p:nvSpPr>
          <p:cNvPr id="34" name="Text Placeholder 3"/>
          <p:cNvSpPr>
            <a:spLocks noGrp="1"/>
          </p:cNvSpPr>
          <p:nvPr>
            <p:custDataLst>
              <p:tags r:id="rId3"/>
            </p:custDataLst>
          </p:nvPr>
        </p:nvSpPr>
        <p:spPr bwMode="auto">
          <a:xfrm>
            <a:off x="319165" y="2672710"/>
            <a:ext cx="10668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sym typeface="+mn-lt"/>
              </a:rPr>
              <a:t>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sym typeface="+mn-lt"/>
            </a:endParaRPr>
          </a:p>
        </p:txBody>
      </p:sp>
      <p:sp>
        <p:nvSpPr>
          <p:cNvPr id="35" name="Text Placeholder 3"/>
          <p:cNvSpPr>
            <a:spLocks noGrp="1"/>
          </p:cNvSpPr>
          <p:nvPr>
            <p:custDataLst>
              <p:tags r:id="rId4"/>
            </p:custDataLst>
          </p:nvPr>
        </p:nvSpPr>
        <p:spPr bwMode="gray">
          <a:xfrm>
            <a:off x="3232712" y="2044408"/>
            <a:ext cx="247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kumimoji="0" lang="en-US" altLang="zh-CN" sz="1400" b="0"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sym typeface="+mn-lt"/>
              </a:rPr>
              <a:t>XX</a:t>
            </a:r>
            <a:endParaRPr kumimoji="0" lang="en-US" altLang="zh-CN" sz="1400" b="0"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sym typeface="+mn-lt"/>
            </a:endParaRPr>
          </a:p>
        </p:txBody>
      </p:sp>
      <p:sp>
        <p:nvSpPr>
          <p:cNvPr id="36" name="Text Placeholder 3"/>
          <p:cNvSpPr>
            <a:spLocks noGrp="1"/>
          </p:cNvSpPr>
          <p:nvPr>
            <p:custDataLst>
              <p:tags r:id="rId5"/>
            </p:custDataLst>
          </p:nvPr>
        </p:nvSpPr>
        <p:spPr bwMode="gray">
          <a:xfrm>
            <a:off x="743564" y="2044408"/>
            <a:ext cx="247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kumimoji="0" lang="en-US" altLang="en-US" sz="1400" b="0"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sym typeface="+mn-lt"/>
              </a:rPr>
              <a:t>XX</a:t>
            </a:r>
            <a:endParaRPr kumimoji="0" lang="en-US" altLang="zh-CN" sz="1400" b="0" i="0" u="none" strike="noStrike" kern="1200" cap="none" spc="0" normalizeH="0" baseline="0" noProof="0" dirty="0" smtClean="0">
              <a:ln>
                <a:noFill/>
              </a:ln>
              <a:solidFill>
                <a:prstClr val="white"/>
              </a:solidFill>
              <a:effectLst/>
              <a:uLnTx/>
              <a:uFillTx/>
              <a:latin typeface="Arial" panose="020B0604020202020204"/>
              <a:ea typeface="华文楷体" panose="02010600040101010101" charset="-122"/>
              <a:cs typeface="+mn-cs"/>
              <a:sym typeface="+mn-lt"/>
            </a:endParaRPr>
          </a:p>
        </p:txBody>
      </p:sp>
      <p:sp>
        <p:nvSpPr>
          <p:cNvPr id="37" name="Text Placeholder 3"/>
          <p:cNvSpPr>
            <a:spLocks noGrp="1"/>
          </p:cNvSpPr>
          <p:nvPr>
            <p:custDataLst>
              <p:tags r:id="rId6"/>
            </p:custDataLst>
          </p:nvPr>
        </p:nvSpPr>
        <p:spPr bwMode="auto">
          <a:xfrm>
            <a:off x="2737265" y="2681099"/>
            <a:ext cx="10668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sym typeface="+mn-lt"/>
              </a:rPr>
              <a:t>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sym typeface="+mn-lt"/>
            </a:endParaRPr>
          </a:p>
        </p:txBody>
      </p:sp>
      <p:sp>
        <p:nvSpPr>
          <p:cNvPr id="38" name="Text Placeholder 3"/>
          <p:cNvSpPr>
            <a:spLocks noGrp="1"/>
          </p:cNvSpPr>
          <p:nvPr>
            <p:custDataLst>
              <p:tags r:id="rId7"/>
            </p:custDataLst>
          </p:nvPr>
        </p:nvSpPr>
        <p:spPr bwMode="auto">
          <a:xfrm>
            <a:off x="1434254" y="2672710"/>
            <a:ext cx="10668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sym typeface="+mn-lt"/>
              </a:rPr>
              <a:t>XXX</a:t>
            </a:r>
            <a:endPar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sym typeface="+mn-lt"/>
            </a:endParaRPr>
          </a:p>
        </p:txBody>
      </p:sp>
      <p:sp>
        <p:nvSpPr>
          <p:cNvPr id="39" name="TextBox 84"/>
          <p:cNvSpPr txBox="1"/>
          <p:nvPr/>
        </p:nvSpPr>
        <p:spPr>
          <a:xfrm>
            <a:off x="143478" y="1995374"/>
            <a:ext cx="629019" cy="3460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4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cxnSp>
        <p:nvCxnSpPr>
          <p:cNvPr id="40" name="直接连接符 39"/>
          <p:cNvCxnSpPr/>
          <p:nvPr/>
        </p:nvCxnSpPr>
        <p:spPr>
          <a:xfrm>
            <a:off x="7857711" y="1686560"/>
            <a:ext cx="0" cy="4531360"/>
          </a:xfrm>
          <a:prstGeom prst="line">
            <a:avLst/>
          </a:prstGeom>
          <a:ln w="9525" cap="rnd">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4029857" y="1686560"/>
            <a:ext cx="0" cy="4531360"/>
          </a:xfrm>
          <a:prstGeom prst="line">
            <a:avLst/>
          </a:prstGeom>
          <a:ln w="9525" cap="rnd">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42" name="TextBox 86"/>
          <p:cNvSpPr txBox="1"/>
          <p:nvPr/>
        </p:nvSpPr>
        <p:spPr>
          <a:xfrm>
            <a:off x="10027920" y="5323840"/>
            <a:ext cx="1564640" cy="829525"/>
          </a:xfrm>
          <a:prstGeom prst="rect">
            <a:avLst/>
          </a:prstGeom>
          <a:ln w="19050">
            <a:solidFill>
              <a:schemeClr val="accent2"/>
            </a:solidFill>
          </a:ln>
        </p:spPr>
        <p:txBody>
          <a:bodyPr wrap="square" anchor="ctr">
            <a:noAutofit/>
          </a:bodyPr>
          <a:lstStyle>
            <a:defPPr>
              <a:defRPr lang="en-US"/>
            </a:defPPr>
            <a:lvl1pPr algn="ctr">
              <a:defRPr sz="1600" b="1">
                <a:solidFill>
                  <a:schemeClr val="accent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smtClean="0">
                <a:ln>
                  <a:noFill/>
                </a:ln>
                <a:solidFill>
                  <a:srgbClr val="B32C16"/>
                </a:solidFill>
                <a:effectLst/>
                <a:uLnTx/>
                <a:uFillTx/>
                <a:latin typeface="Arial" panose="020B0604020202020204"/>
                <a:ea typeface="华文楷体" panose="02010600040101010101" charset="-122"/>
                <a:cs typeface="+mn-cs"/>
              </a:rPr>
              <a:t>XX</a:t>
            </a:r>
            <a:endParaRPr kumimoji="0" lang="en-US" altLang="zh-CN" sz="2000" b="1" i="0" u="none" strike="noStrike" kern="1200" cap="none" spc="0" normalizeH="0" baseline="0" noProof="0" dirty="0" smtClean="0">
              <a:ln>
                <a:noFill/>
              </a:ln>
              <a:solidFill>
                <a:srgbClr val="B32C16"/>
              </a:solidFill>
              <a:effectLst/>
              <a:uLnTx/>
              <a:uFillTx/>
              <a:latin typeface="Arial" panose="020B0604020202020204"/>
              <a:ea typeface="华文楷体" panose="02010600040101010101" charset="-122"/>
              <a:cs typeface="+mn-cs"/>
            </a:endParaRPr>
          </a:p>
        </p:txBody>
      </p:sp>
      <p:sp>
        <p:nvSpPr>
          <p:cNvPr id="43" name="TextBox 421"/>
          <p:cNvSpPr txBox="1"/>
          <p:nvPr/>
        </p:nvSpPr>
        <p:spPr>
          <a:xfrm>
            <a:off x="5008880" y="3402318"/>
            <a:ext cx="939245" cy="3540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endParaRPr>
          </a:p>
        </p:txBody>
      </p:sp>
      <p:sp>
        <p:nvSpPr>
          <p:cNvPr id="44" name="TextBox 460"/>
          <p:cNvSpPr txBox="1"/>
          <p:nvPr/>
        </p:nvSpPr>
        <p:spPr>
          <a:xfrm>
            <a:off x="5008880" y="3734262"/>
            <a:ext cx="939245" cy="5025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AXA</a:t>
            </a:r>
            <a:endParaRPr kumimoji="0" lang="zh-CN" altLang="en-US" sz="1600" b="1"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endParaRPr>
          </a:p>
        </p:txBody>
      </p:sp>
      <p:grpSp>
        <p:nvGrpSpPr>
          <p:cNvPr id="45" name="Group 98"/>
          <p:cNvGrpSpPr/>
          <p:nvPr/>
        </p:nvGrpSpPr>
        <p:grpSpPr>
          <a:xfrm rot="16200000">
            <a:off x="10062915" y="3641553"/>
            <a:ext cx="1339225" cy="1512591"/>
            <a:chOff x="1917476" y="3908662"/>
            <a:chExt cx="528068" cy="434973"/>
          </a:xfrm>
        </p:grpSpPr>
        <p:sp>
          <p:nvSpPr>
            <p:cNvPr id="46" name="Oval 95"/>
            <p:cNvSpPr/>
            <p:nvPr>
              <p:custDataLst>
                <p:tags r:id="rId8"/>
              </p:custDataLst>
            </p:nvPr>
          </p:nvSpPr>
          <p:spPr>
            <a:xfrm>
              <a:off x="2088222" y="4278918"/>
              <a:ext cx="187317" cy="64717"/>
            </a:xfrm>
            <a:prstGeom prst="ellipse">
              <a:avLst/>
            </a:prstGeom>
            <a:gradFill>
              <a:gsLst>
                <a:gs pos="0">
                  <a:srgbClr val="FFFFFF">
                    <a:lumMod val="85000"/>
                  </a:srgbClr>
                </a:gs>
                <a:gs pos="50000">
                  <a:srgbClr val="E2E2E2"/>
                </a:gs>
                <a:gs pos="100000">
                  <a:srgbClr val="FFFFFF">
                    <a:lumMod val="85000"/>
                  </a:srgbClr>
                </a:gs>
              </a:gsLst>
              <a:lin ang="0" scaled="1"/>
            </a:gradFill>
            <a:ln w="12700" cap="flat" cmpd="sng">
              <a:noFill/>
              <a:prstDash val="solid"/>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0" cap="none" spc="0" normalizeH="0" baseline="0" noProof="0" dirty="0" smtClean="0">
                <a:ln>
                  <a:noFill/>
                </a:ln>
                <a:solidFill>
                  <a:srgbClr val="000000"/>
                </a:solidFill>
                <a:effectLst/>
                <a:uLnTx/>
                <a:uFillTx/>
                <a:latin typeface="Arial" panose="020B0604020202020204"/>
                <a:ea typeface="黑体" panose="02010600030101010101" pitchFamily="49" charset="-122"/>
                <a:cs typeface="Arial" panose="020B0604020202020204" pitchFamily="34" charset="0"/>
              </a:endParaRPr>
            </a:p>
          </p:txBody>
        </p:sp>
        <p:sp>
          <p:nvSpPr>
            <p:cNvPr id="47" name="Trapezoid 96"/>
            <p:cNvSpPr/>
            <p:nvPr>
              <p:custDataLst>
                <p:tags r:id="rId9"/>
              </p:custDataLst>
            </p:nvPr>
          </p:nvSpPr>
          <p:spPr>
            <a:xfrm flipV="1">
              <a:off x="1917476" y="3937534"/>
              <a:ext cx="528068" cy="377848"/>
            </a:xfrm>
            <a:prstGeom prst="trapezoid">
              <a:avLst>
                <a:gd name="adj" fmla="val 32042"/>
              </a:avLst>
            </a:prstGeom>
            <a:gradFill flip="none" rotWithShape="1">
              <a:gsLst>
                <a:gs pos="0">
                  <a:srgbClr val="B2B2B2"/>
                </a:gs>
                <a:gs pos="50000">
                  <a:srgbClr val="E2E2E2"/>
                </a:gs>
                <a:gs pos="100000">
                  <a:srgbClr val="B2B2B2"/>
                </a:gs>
              </a:gsLst>
              <a:lin ang="0" scaled="1"/>
              <a:tileRect/>
            </a:gradFill>
            <a:ln w="12700" cap="flat" cmpd="sng">
              <a:noFill/>
              <a:prstDash val="solid"/>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0" cap="none" spc="0" normalizeH="0" baseline="0" noProof="0" dirty="0" smtClean="0">
                <a:ln>
                  <a:noFill/>
                </a:ln>
                <a:solidFill>
                  <a:srgbClr val="000000"/>
                </a:solidFill>
                <a:effectLst/>
                <a:uLnTx/>
                <a:uFillTx/>
                <a:latin typeface="Arial" panose="020B0604020202020204"/>
                <a:ea typeface="黑体" panose="02010600030101010101" pitchFamily="49" charset="-122"/>
                <a:cs typeface="Arial" panose="020B0604020202020204" pitchFamily="34" charset="0"/>
              </a:endParaRPr>
            </a:p>
          </p:txBody>
        </p:sp>
        <p:sp>
          <p:nvSpPr>
            <p:cNvPr id="48" name="Oval 7"/>
            <p:cNvSpPr>
              <a:spLocks noChangeArrowheads="1"/>
            </p:cNvSpPr>
            <p:nvPr>
              <p:custDataLst>
                <p:tags r:id="rId10"/>
              </p:custDataLst>
            </p:nvPr>
          </p:nvSpPr>
          <p:spPr bwMode="gray">
            <a:xfrm rot="5400000">
              <a:off x="2151214" y="3677708"/>
              <a:ext cx="60592" cy="522499"/>
            </a:xfrm>
            <a:prstGeom prst="ellipse">
              <a:avLst/>
            </a:prstGeom>
            <a:solidFill>
              <a:srgbClr val="E2E2E2"/>
            </a:solidFill>
            <a:ln w="9525">
              <a:solidFill>
                <a:srgbClr val="E2E2E2"/>
              </a:solidFill>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1" i="0" u="none" strike="noStrike" kern="0" cap="none" spc="0" normalizeH="0" baseline="0" noProof="0">
                <a:ln>
                  <a:noFill/>
                </a:ln>
                <a:solidFill>
                  <a:srgbClr val="000000"/>
                </a:solidFill>
                <a:effectLst/>
                <a:uLnTx/>
                <a:uFillTx/>
                <a:latin typeface="Arial" panose="020B0604020202020204"/>
                <a:ea typeface="黑体" panose="02010600030101010101" pitchFamily="49" charset="-122"/>
                <a:cs typeface="Arial" panose="020B0604020202020204" pitchFamily="34" charset="0"/>
              </a:endParaRPr>
            </a:p>
          </p:txBody>
        </p:sp>
        <p:sp>
          <p:nvSpPr>
            <p:cNvPr id="49" name="Oval 8"/>
            <p:cNvSpPr>
              <a:spLocks noChangeArrowheads="1"/>
            </p:cNvSpPr>
            <p:nvPr>
              <p:custDataLst>
                <p:tags r:id="rId11"/>
              </p:custDataLst>
            </p:nvPr>
          </p:nvSpPr>
          <p:spPr bwMode="gray">
            <a:xfrm rot="5400000">
              <a:off x="2155741" y="3692843"/>
              <a:ext cx="51538" cy="491531"/>
            </a:xfrm>
            <a:prstGeom prst="ellipse">
              <a:avLst/>
            </a:prstGeom>
            <a:gradFill flip="none" rotWithShape="1">
              <a:gsLst>
                <a:gs pos="0">
                  <a:srgbClr val="808080"/>
                </a:gs>
                <a:gs pos="50000">
                  <a:srgbClr val="B2B2B2"/>
                </a:gs>
              </a:gsLst>
              <a:lin ang="10800000" scaled="1"/>
              <a:tileRect/>
            </a:gradFill>
            <a:ln w="9525">
              <a:noFill/>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1" i="0" u="none" strike="noStrike" kern="0" cap="none" spc="0" normalizeH="0" baseline="0" noProof="0">
                <a:ln>
                  <a:noFill/>
                </a:ln>
                <a:solidFill>
                  <a:srgbClr val="000000"/>
                </a:solidFill>
                <a:effectLst/>
                <a:uLnTx/>
                <a:uFillTx/>
                <a:latin typeface="Arial" panose="020B0604020202020204"/>
                <a:ea typeface="黑体" panose="02010600030101010101" pitchFamily="49" charset="-122"/>
                <a:cs typeface="Arial" panose="020B0604020202020204" pitchFamily="34" charset="0"/>
              </a:endParaRPr>
            </a:p>
          </p:txBody>
        </p:sp>
      </p:grpSp>
      <p:grpSp>
        <p:nvGrpSpPr>
          <p:cNvPr id="50" name="Group 99"/>
          <p:cNvGrpSpPr/>
          <p:nvPr/>
        </p:nvGrpSpPr>
        <p:grpSpPr>
          <a:xfrm rot="16200000">
            <a:off x="7755572" y="3701261"/>
            <a:ext cx="2063911" cy="1393176"/>
            <a:chOff x="1774601" y="3449081"/>
            <a:chExt cx="813818" cy="400633"/>
          </a:xfrm>
        </p:grpSpPr>
        <p:sp>
          <p:nvSpPr>
            <p:cNvPr id="51" name="Oval 91"/>
            <p:cNvSpPr/>
            <p:nvPr>
              <p:custDataLst>
                <p:tags r:id="rId12"/>
              </p:custDataLst>
            </p:nvPr>
          </p:nvSpPr>
          <p:spPr>
            <a:xfrm>
              <a:off x="1915345" y="3778090"/>
              <a:ext cx="533162" cy="71624"/>
            </a:xfrm>
            <a:prstGeom prst="ellipse">
              <a:avLst/>
            </a:prstGeom>
            <a:gradFill>
              <a:gsLst>
                <a:gs pos="0">
                  <a:srgbClr val="808080">
                    <a:lumMod val="40000"/>
                    <a:lumOff val="60000"/>
                  </a:srgbClr>
                </a:gs>
                <a:gs pos="50000">
                  <a:srgbClr val="E2E2E2"/>
                </a:gs>
                <a:gs pos="100000">
                  <a:srgbClr val="808080">
                    <a:lumMod val="40000"/>
                    <a:lumOff val="60000"/>
                  </a:srgbClr>
                </a:gs>
              </a:gsLst>
              <a:lin ang="0" scaled="1"/>
            </a:gradFill>
            <a:ln w="12700" cap="flat" cmpd="sng">
              <a:noFill/>
              <a:prstDash val="solid"/>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0" cap="none" spc="0" normalizeH="0" baseline="0" noProof="0" dirty="0" smtClean="0">
                <a:ln>
                  <a:noFill/>
                </a:ln>
                <a:solidFill>
                  <a:srgbClr val="000000"/>
                </a:solidFill>
                <a:effectLst/>
                <a:uLnTx/>
                <a:uFillTx/>
                <a:latin typeface="Arial" panose="020B0604020202020204"/>
                <a:ea typeface="黑体" panose="02010600030101010101" pitchFamily="49" charset="-122"/>
                <a:cs typeface="Arial" panose="020B0604020202020204" pitchFamily="34" charset="0"/>
              </a:endParaRPr>
            </a:p>
          </p:txBody>
        </p:sp>
        <p:sp>
          <p:nvSpPr>
            <p:cNvPr id="52" name="Trapezoid 92"/>
            <p:cNvSpPr/>
            <p:nvPr>
              <p:custDataLst>
                <p:tags r:id="rId13"/>
              </p:custDataLst>
            </p:nvPr>
          </p:nvSpPr>
          <p:spPr>
            <a:xfrm flipV="1">
              <a:off x="1774601" y="3477953"/>
              <a:ext cx="813818" cy="337161"/>
            </a:xfrm>
            <a:prstGeom prst="trapezoid">
              <a:avLst>
                <a:gd name="adj" fmla="val 30469"/>
              </a:avLst>
            </a:prstGeom>
            <a:gradFill flip="none" rotWithShape="1">
              <a:gsLst>
                <a:gs pos="0">
                  <a:srgbClr val="B2B2B2"/>
                </a:gs>
                <a:gs pos="50000">
                  <a:srgbClr val="E2E2E2"/>
                </a:gs>
                <a:gs pos="100000">
                  <a:srgbClr val="B2B2B2"/>
                </a:gs>
              </a:gsLst>
              <a:lin ang="0" scaled="1"/>
              <a:tileRect/>
            </a:gradFill>
            <a:ln w="12700" cap="flat" cmpd="sng">
              <a:noFill/>
              <a:prstDash val="solid"/>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0" cap="none" spc="0" normalizeH="0" baseline="0" noProof="0" dirty="0" smtClean="0">
                <a:ln>
                  <a:noFill/>
                </a:ln>
                <a:solidFill>
                  <a:srgbClr val="000000"/>
                </a:solidFill>
                <a:effectLst/>
                <a:uLnTx/>
                <a:uFillTx/>
                <a:latin typeface="Arial" panose="020B0604020202020204"/>
                <a:ea typeface="黑体" panose="02010600030101010101" pitchFamily="49" charset="-122"/>
                <a:cs typeface="Arial" panose="020B0604020202020204" pitchFamily="34" charset="0"/>
              </a:endParaRPr>
            </a:p>
          </p:txBody>
        </p:sp>
        <p:sp>
          <p:nvSpPr>
            <p:cNvPr id="53" name="Oval 7"/>
            <p:cNvSpPr>
              <a:spLocks noChangeArrowheads="1"/>
            </p:cNvSpPr>
            <p:nvPr>
              <p:custDataLst>
                <p:tags r:id="rId14"/>
              </p:custDataLst>
            </p:nvPr>
          </p:nvSpPr>
          <p:spPr bwMode="gray">
            <a:xfrm rot="5400000">
              <a:off x="2151214" y="3076759"/>
              <a:ext cx="60592" cy="805235"/>
            </a:xfrm>
            <a:prstGeom prst="ellipse">
              <a:avLst/>
            </a:prstGeom>
            <a:solidFill>
              <a:srgbClr val="E2E2E2"/>
            </a:solidFill>
            <a:ln w="9525">
              <a:solidFill>
                <a:srgbClr val="E2E2E2"/>
              </a:solidFill>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1" i="0" u="none" strike="noStrike" kern="0" cap="none" spc="0" normalizeH="0" baseline="0" noProof="0">
                <a:ln>
                  <a:noFill/>
                </a:ln>
                <a:solidFill>
                  <a:srgbClr val="000000"/>
                </a:solidFill>
                <a:effectLst/>
                <a:uLnTx/>
                <a:uFillTx/>
                <a:latin typeface="Arial" panose="020B0604020202020204"/>
                <a:ea typeface="黑体" panose="02010600030101010101" pitchFamily="49" charset="-122"/>
                <a:cs typeface="Arial" panose="020B0604020202020204" pitchFamily="34" charset="0"/>
              </a:endParaRPr>
            </a:p>
          </p:txBody>
        </p:sp>
        <p:sp>
          <p:nvSpPr>
            <p:cNvPr id="54" name="Oval 8"/>
            <p:cNvSpPr>
              <a:spLocks noChangeArrowheads="1"/>
            </p:cNvSpPr>
            <p:nvPr>
              <p:custDataLst>
                <p:tags r:id="rId15"/>
              </p:custDataLst>
            </p:nvPr>
          </p:nvSpPr>
          <p:spPr bwMode="gray">
            <a:xfrm rot="5400000">
              <a:off x="2155741" y="3100273"/>
              <a:ext cx="51538" cy="757510"/>
            </a:xfrm>
            <a:prstGeom prst="ellipse">
              <a:avLst/>
            </a:prstGeom>
            <a:gradFill flip="none" rotWithShape="1">
              <a:gsLst>
                <a:gs pos="0">
                  <a:srgbClr val="808080"/>
                </a:gs>
                <a:gs pos="50000">
                  <a:srgbClr val="B2B2B2"/>
                </a:gs>
              </a:gsLst>
              <a:lin ang="10800000" scaled="1"/>
              <a:tileRect/>
            </a:gradFill>
            <a:ln w="9525">
              <a:noFill/>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1" i="0" u="none" strike="noStrike" kern="0" cap="none" spc="0" normalizeH="0" baseline="0" noProof="0">
                <a:ln>
                  <a:noFill/>
                </a:ln>
                <a:solidFill>
                  <a:srgbClr val="000000"/>
                </a:solidFill>
                <a:effectLst/>
                <a:uLnTx/>
                <a:uFillTx/>
                <a:latin typeface="Arial" panose="020B0604020202020204"/>
                <a:ea typeface="黑体" panose="02010600030101010101" pitchFamily="49" charset="-122"/>
                <a:cs typeface="Arial" panose="020B0604020202020204" pitchFamily="34" charset="0"/>
              </a:endParaRPr>
            </a:p>
          </p:txBody>
        </p:sp>
      </p:grpSp>
      <p:grpSp>
        <p:nvGrpSpPr>
          <p:cNvPr id="55" name="Group 100"/>
          <p:cNvGrpSpPr/>
          <p:nvPr/>
        </p:nvGrpSpPr>
        <p:grpSpPr>
          <a:xfrm rot="16200000">
            <a:off x="5228852" y="3687611"/>
            <a:ext cx="2788596" cy="1420476"/>
            <a:chOff x="1631726" y="2993679"/>
            <a:chExt cx="1099568" cy="408484"/>
          </a:xfrm>
        </p:grpSpPr>
        <p:sp>
          <p:nvSpPr>
            <p:cNvPr id="56" name="Oval 87"/>
            <p:cNvSpPr/>
            <p:nvPr>
              <p:custDataLst>
                <p:tags r:id="rId16"/>
              </p:custDataLst>
            </p:nvPr>
          </p:nvSpPr>
          <p:spPr>
            <a:xfrm>
              <a:off x="1796990" y="3330539"/>
              <a:ext cx="766181" cy="71624"/>
            </a:xfrm>
            <a:prstGeom prst="ellipse">
              <a:avLst/>
            </a:prstGeom>
            <a:gradFill>
              <a:gsLst>
                <a:gs pos="0">
                  <a:srgbClr val="FFFFFF">
                    <a:lumMod val="75000"/>
                  </a:srgbClr>
                </a:gs>
                <a:gs pos="50000">
                  <a:srgbClr val="E2E2E2"/>
                </a:gs>
                <a:gs pos="100000">
                  <a:srgbClr val="FFFFFF">
                    <a:lumMod val="75000"/>
                  </a:srgbClr>
                </a:gs>
              </a:gsLst>
              <a:lin ang="0" scaled="1"/>
            </a:gradFill>
            <a:ln w="12700" cap="flat" cmpd="sng">
              <a:noFill/>
              <a:prstDash val="solid"/>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0" cap="none" spc="0" normalizeH="0" baseline="0" noProof="0" dirty="0" smtClean="0">
                <a:ln>
                  <a:noFill/>
                </a:ln>
                <a:solidFill>
                  <a:srgbClr val="000000"/>
                </a:solidFill>
                <a:effectLst/>
                <a:uLnTx/>
                <a:uFillTx/>
                <a:latin typeface="Arial" panose="020B0604020202020204"/>
                <a:ea typeface="黑体" panose="02010600030101010101" pitchFamily="49" charset="-122"/>
                <a:cs typeface="Arial" panose="020B0604020202020204" pitchFamily="34" charset="0"/>
              </a:endParaRPr>
            </a:p>
          </p:txBody>
        </p:sp>
        <p:sp>
          <p:nvSpPr>
            <p:cNvPr id="57" name="Trapezoid 88"/>
            <p:cNvSpPr/>
            <p:nvPr>
              <p:custDataLst>
                <p:tags r:id="rId17"/>
              </p:custDataLst>
            </p:nvPr>
          </p:nvSpPr>
          <p:spPr>
            <a:xfrm flipV="1">
              <a:off x="1631726" y="3018372"/>
              <a:ext cx="1099568" cy="346421"/>
            </a:xfrm>
            <a:prstGeom prst="trapezoid">
              <a:avLst>
                <a:gd name="adj" fmla="val 35198"/>
              </a:avLst>
            </a:prstGeom>
            <a:gradFill flip="none" rotWithShape="1">
              <a:gsLst>
                <a:gs pos="0">
                  <a:srgbClr val="B2B2B2"/>
                </a:gs>
                <a:gs pos="50000">
                  <a:srgbClr val="E2E2E2"/>
                </a:gs>
                <a:gs pos="100000">
                  <a:srgbClr val="B2B2B2"/>
                </a:gs>
              </a:gsLst>
              <a:lin ang="0" scaled="1"/>
              <a:tileRect/>
            </a:gradFill>
            <a:ln w="12700" cap="flat" cmpd="sng">
              <a:noFill/>
              <a:prstDash val="solid"/>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0" i="0" u="none" strike="noStrike" kern="0" cap="none" spc="0" normalizeH="0" baseline="0" noProof="0" dirty="0" smtClean="0">
                <a:ln>
                  <a:noFill/>
                </a:ln>
                <a:solidFill>
                  <a:srgbClr val="000000"/>
                </a:solidFill>
                <a:effectLst/>
                <a:uLnTx/>
                <a:uFillTx/>
                <a:latin typeface="Arial" panose="020B0604020202020204"/>
                <a:ea typeface="黑体" panose="02010600030101010101" pitchFamily="49" charset="-122"/>
                <a:cs typeface="Arial" panose="020B0604020202020204" pitchFamily="34" charset="0"/>
              </a:endParaRPr>
            </a:p>
          </p:txBody>
        </p:sp>
        <p:sp>
          <p:nvSpPr>
            <p:cNvPr id="59" name="Oval 8"/>
            <p:cNvSpPr>
              <a:spLocks noChangeArrowheads="1"/>
            </p:cNvSpPr>
            <p:nvPr>
              <p:custDataLst>
                <p:tags r:id="rId18"/>
              </p:custDataLst>
            </p:nvPr>
          </p:nvSpPr>
          <p:spPr bwMode="gray">
            <a:xfrm rot="5400000">
              <a:off x="2155741" y="2507703"/>
              <a:ext cx="51538" cy="1023489"/>
            </a:xfrm>
            <a:prstGeom prst="ellipse">
              <a:avLst/>
            </a:prstGeom>
            <a:gradFill flip="none" rotWithShape="1">
              <a:gsLst>
                <a:gs pos="0">
                  <a:srgbClr val="808080"/>
                </a:gs>
                <a:gs pos="50000">
                  <a:srgbClr val="B2B2B2"/>
                </a:gs>
              </a:gsLst>
              <a:lin ang="10800000" scaled="1"/>
              <a:tileRect/>
            </a:gradFill>
            <a:ln w="9525">
              <a:noFill/>
              <a:rou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000" b="1" i="0" u="none" strike="noStrike" kern="0" cap="none" spc="0" normalizeH="0" baseline="0" noProof="0">
                <a:ln>
                  <a:noFill/>
                </a:ln>
                <a:solidFill>
                  <a:srgbClr val="000000"/>
                </a:solidFill>
                <a:effectLst/>
                <a:uLnTx/>
                <a:uFillTx/>
                <a:latin typeface="Arial" panose="020B0604020202020204"/>
                <a:ea typeface="黑体" panose="02010600030101010101" pitchFamily="49" charset="-122"/>
                <a:cs typeface="Arial" panose="020B0604020202020204" pitchFamily="34" charset="0"/>
              </a:endParaRPr>
            </a:p>
          </p:txBody>
        </p:sp>
      </p:grpSp>
      <p:sp>
        <p:nvSpPr>
          <p:cNvPr id="60" name="矩形 59"/>
          <p:cNvSpPr/>
          <p:nvPr/>
        </p:nvSpPr>
        <p:spPr>
          <a:xfrm>
            <a:off x="6155730" y="3988106"/>
            <a:ext cx="1103424" cy="78663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2">
                    <a:lumMod val="9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800" b="0" i="0" u="none" strike="noStrike" kern="1200" cap="none" spc="0" normalizeH="0" baseline="0" noProof="0" dirty="0" smtClean="0">
                <a:ln>
                  <a:noFill/>
                </a:ln>
                <a:solidFill>
                  <a:srgbClr val="FF0000"/>
                </a:solidFill>
                <a:effectLst/>
                <a:uLnTx/>
                <a:uFillTx/>
                <a:latin typeface="Arial" panose="020B0604020202020204"/>
                <a:ea typeface="华文楷体" panose="02010600040101010101" charset="-122"/>
                <a:cs typeface="+mn-cs"/>
              </a:rPr>
              <a:t>XX</a:t>
            </a:r>
            <a:endParaRPr kumimoji="0" lang="zh-CN" altLang="en-US" sz="1800" b="0" i="0" u="none" strike="noStrike" kern="1200" cap="none" spc="0" normalizeH="0" baseline="0" noProof="0" dirty="0" smtClean="0">
              <a:ln>
                <a:noFill/>
              </a:ln>
              <a:solidFill>
                <a:srgbClr val="FF0000"/>
              </a:solidFill>
              <a:effectLst/>
              <a:uLnTx/>
              <a:uFillTx/>
              <a:latin typeface="Arial" panose="020B0604020202020204"/>
              <a:ea typeface="华文楷体" panose="02010600040101010101" charset="-122"/>
              <a:cs typeface="+mn-cs"/>
            </a:endParaRPr>
          </a:p>
        </p:txBody>
      </p:sp>
      <p:sp>
        <p:nvSpPr>
          <p:cNvPr id="61" name="矩形 60"/>
          <p:cNvSpPr/>
          <p:nvPr/>
        </p:nvSpPr>
        <p:spPr>
          <a:xfrm>
            <a:off x="8302324" y="3976175"/>
            <a:ext cx="1134278" cy="81049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2">
                    <a:lumMod val="9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8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62" name="矩形 61"/>
          <p:cNvSpPr/>
          <p:nvPr/>
        </p:nvSpPr>
        <p:spPr>
          <a:xfrm>
            <a:off x="10201338" y="4095783"/>
            <a:ext cx="1106742" cy="57127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2">
                    <a:lumMod val="9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r>
              <a:rPr kumimoji="0" lang="en-US" altLang="zh-CN" sz="18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800" b="1"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63" name="下箭头 62"/>
          <p:cNvSpPr/>
          <p:nvPr/>
        </p:nvSpPr>
        <p:spPr>
          <a:xfrm rot="16200000">
            <a:off x="5373147" y="3901113"/>
            <a:ext cx="313361" cy="960615"/>
          </a:xfrm>
          <a:prstGeom prst="downArrow">
            <a:avLst/>
          </a:prstGeom>
          <a:solidFill>
            <a:srgbClr val="777C8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20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64" name="下箭头 63"/>
          <p:cNvSpPr/>
          <p:nvPr/>
        </p:nvSpPr>
        <p:spPr>
          <a:xfrm rot="16200000">
            <a:off x="7616185" y="3954233"/>
            <a:ext cx="313361" cy="854371"/>
          </a:xfrm>
          <a:prstGeom prst="downArrow">
            <a:avLst/>
          </a:prstGeom>
          <a:solidFill>
            <a:srgbClr val="777C8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20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65" name="下箭头 64"/>
          <p:cNvSpPr/>
          <p:nvPr/>
        </p:nvSpPr>
        <p:spPr>
          <a:xfrm rot="16200000">
            <a:off x="9619782" y="4114719"/>
            <a:ext cx="313361" cy="533404"/>
          </a:xfrm>
          <a:prstGeom prst="downArrow">
            <a:avLst/>
          </a:prstGeom>
          <a:solidFill>
            <a:srgbClr val="777C8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20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endParaRPr>
          </a:p>
        </p:txBody>
      </p:sp>
      <p:sp>
        <p:nvSpPr>
          <p:cNvPr id="66" name="TextBox 423"/>
          <p:cNvSpPr txBox="1"/>
          <p:nvPr/>
        </p:nvSpPr>
        <p:spPr>
          <a:xfrm>
            <a:off x="7375013" y="3718560"/>
            <a:ext cx="674006" cy="4674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XX</a:t>
            </a:r>
            <a:endParaRPr kumimoji="0" lang="zh-CN" altLang="en-US" sz="1600" b="1"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endParaRPr>
          </a:p>
        </p:txBody>
      </p:sp>
      <p:sp>
        <p:nvSpPr>
          <p:cNvPr id="67" name="TextBox 433"/>
          <p:cNvSpPr txBox="1"/>
          <p:nvPr/>
        </p:nvSpPr>
        <p:spPr>
          <a:xfrm>
            <a:off x="6766923" y="2845908"/>
            <a:ext cx="1096918" cy="4192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XXX</a:t>
            </a:r>
            <a:endParaRPr kumimoji="0" lang="zh-CN" altLang="en-US" sz="1600" b="0"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endParaRPr>
          </a:p>
        </p:txBody>
      </p:sp>
      <p:sp>
        <p:nvSpPr>
          <p:cNvPr id="68" name="TextBox 442"/>
          <p:cNvSpPr txBox="1"/>
          <p:nvPr/>
        </p:nvSpPr>
        <p:spPr>
          <a:xfrm>
            <a:off x="8918156" y="2967828"/>
            <a:ext cx="1096918" cy="4192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rPr>
              <a:t>XXX</a:t>
            </a:r>
            <a:endParaRPr kumimoji="0" lang="zh-CN" altLang="en-US" sz="1600" b="0" i="0" u="none" strike="noStrike" kern="1200" cap="none" spc="0" normalizeH="0" baseline="0" noProof="0" dirty="0" smtClean="0">
              <a:ln>
                <a:noFill/>
              </a:ln>
              <a:solidFill>
                <a:srgbClr val="575757"/>
              </a:solidFill>
              <a:effectLst/>
              <a:uLnTx/>
              <a:uFillTx/>
              <a:latin typeface="Arial" panose="020B0604020202020204"/>
              <a:ea typeface="华文楷体" panose="02010600040101010101" charset="-122"/>
              <a:cs typeface="+mn-cs"/>
            </a:endParaRPr>
          </a:p>
        </p:txBody>
      </p:sp>
      <p:sp>
        <p:nvSpPr>
          <p:cNvPr id="69" name="右箭头 68"/>
          <p:cNvSpPr/>
          <p:nvPr/>
        </p:nvSpPr>
        <p:spPr>
          <a:xfrm>
            <a:off x="9773920" y="2123440"/>
            <a:ext cx="314960" cy="304800"/>
          </a:xfrm>
          <a:prstGeom prst="rightArrow">
            <a:avLst/>
          </a:prstGeom>
          <a:solidFill>
            <a:schemeClr val="accent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90000"/>
              </a:lnSpc>
              <a:spcBef>
                <a:spcPts val="0"/>
              </a:spcBef>
              <a:spcAft>
                <a:spcPts val="1000"/>
              </a:spcAft>
              <a:buClrTx/>
              <a:buSzTx/>
              <a:buFontTx/>
              <a:buNone/>
              <a:defRPr/>
            </a:pP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70" name="直接连接符 69"/>
          <p:cNvCxnSpPr/>
          <p:nvPr/>
        </p:nvCxnSpPr>
        <p:spPr>
          <a:xfrm>
            <a:off x="4114800" y="965200"/>
            <a:ext cx="363728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71" name="矩形 70"/>
          <p:cNvSpPr/>
          <p:nvPr/>
        </p:nvSpPr>
        <p:spPr>
          <a:xfrm>
            <a:off x="5191588" y="801345"/>
            <a:ext cx="1260012" cy="295935"/>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X</a:t>
            </a: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cxnSp>
        <p:nvCxnSpPr>
          <p:cNvPr id="72" name="直接连接符 71"/>
          <p:cNvCxnSpPr/>
          <p:nvPr/>
        </p:nvCxnSpPr>
        <p:spPr>
          <a:xfrm>
            <a:off x="7934960" y="965200"/>
            <a:ext cx="38811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73" name="矩形 72"/>
          <p:cNvSpPr/>
          <p:nvPr/>
        </p:nvSpPr>
        <p:spPr>
          <a:xfrm>
            <a:off x="9265920" y="801345"/>
            <a:ext cx="1219200" cy="295935"/>
          </a:xfrm>
          <a:prstGeom prst="rect">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smtClean="0">
                <a:ln>
                  <a:noFill/>
                </a:ln>
                <a:solidFill>
                  <a:prstClr val="black"/>
                </a:solidFill>
                <a:effectLst/>
                <a:uLnTx/>
                <a:uFillTx/>
                <a:latin typeface="Arial" panose="020B0604020202020204"/>
                <a:ea typeface="华文楷体" panose="02010600040101010101" charset="-122"/>
                <a:cs typeface="+mn-cs"/>
              </a:rPr>
              <a:t>XX</a:t>
            </a:r>
            <a:endParaRPr kumimoji="0" lang="zh-CN" altLang="en-US" sz="1600"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7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行研</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漏斗图</a:t>
            </a:r>
            <a:endParaRPr lang="zh-CN" altLang="en-US" sz="2400" dirty="0">
              <a:solidFill>
                <a:prstClr val="black"/>
              </a:solidFill>
              <a:latin typeface="华文楷体" panose="02010600040101010101" charset="-122"/>
            </a:endParaRPr>
          </a:p>
        </p:txBody>
      </p:sp>
      <p:pic>
        <p:nvPicPr>
          <p:cNvPr id="76" name="图片 7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7693" name="think-cell Slide" r:id="rId2" imgW="12700" imgH="12700" progId="TCLayout.ActiveDocument.1">
                  <p:embed/>
                </p:oleObj>
              </mc:Choice>
              <mc:Fallback>
                <p:oleObj name="think-cell Slide" r:id="rId2" imgW="12700" imgH="12700" progId="TCLayout.ActiveDocument.1">
                  <p:embed/>
                  <p:pic>
                    <p:nvPicPr>
                      <p:cNvPr id="0" name="对象 20"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0" name="直角三角形 28"/>
          <p:cNvSpPr/>
          <p:nvPr/>
        </p:nvSpPr>
        <p:spPr>
          <a:xfrm rot="10800000">
            <a:off x="3863145" y="1268855"/>
            <a:ext cx="5531040" cy="3429028"/>
          </a:xfrm>
          <a:custGeom>
            <a:avLst/>
            <a:gdLst>
              <a:gd name="connsiteX0" fmla="*/ 0 w 4446225"/>
              <a:gd name="connsiteY0" fmla="*/ 2985644 h 2985644"/>
              <a:gd name="connsiteX1" fmla="*/ 0 w 4446225"/>
              <a:gd name="connsiteY1" fmla="*/ 0 h 2985644"/>
              <a:gd name="connsiteX2" fmla="*/ 4446225 w 4446225"/>
              <a:gd name="connsiteY2" fmla="*/ 2985644 h 2985644"/>
              <a:gd name="connsiteX3" fmla="*/ 0 w 4446225"/>
              <a:gd name="connsiteY3" fmla="*/ 2985644 h 2985644"/>
              <a:gd name="connsiteX0-1" fmla="*/ 0 w 4446225"/>
              <a:gd name="connsiteY0-2" fmla="*/ 2985644 h 2985644"/>
              <a:gd name="connsiteX1-3" fmla="*/ 0 w 4446225"/>
              <a:gd name="connsiteY1-4" fmla="*/ 0 h 2985644"/>
              <a:gd name="connsiteX2-5" fmla="*/ 4446225 w 4446225"/>
              <a:gd name="connsiteY2-6" fmla="*/ 2985644 h 2985644"/>
              <a:gd name="connsiteX3-7" fmla="*/ 0 w 4446225"/>
              <a:gd name="connsiteY3-8" fmla="*/ 2985644 h 2985644"/>
              <a:gd name="connsiteX0-9" fmla="*/ 0 w 4446225"/>
              <a:gd name="connsiteY0-10" fmla="*/ 2985644 h 2985644"/>
              <a:gd name="connsiteX1-11" fmla="*/ 0 w 4446225"/>
              <a:gd name="connsiteY1-12" fmla="*/ 0 h 2985644"/>
              <a:gd name="connsiteX2-13" fmla="*/ 4446225 w 4446225"/>
              <a:gd name="connsiteY2-14" fmla="*/ 2985644 h 2985644"/>
              <a:gd name="connsiteX3-15" fmla="*/ 0 w 4446225"/>
              <a:gd name="connsiteY3-16" fmla="*/ 2985644 h 2985644"/>
              <a:gd name="connsiteX0-17" fmla="*/ 0 w 4446225"/>
              <a:gd name="connsiteY0-18" fmla="*/ 2985644 h 2985644"/>
              <a:gd name="connsiteX1-19" fmla="*/ 0 w 4446225"/>
              <a:gd name="connsiteY1-20" fmla="*/ 0 h 2985644"/>
              <a:gd name="connsiteX2-21" fmla="*/ 4446225 w 4446225"/>
              <a:gd name="connsiteY2-22" fmla="*/ 2985644 h 2985644"/>
              <a:gd name="connsiteX3-23" fmla="*/ 0 w 4446225"/>
              <a:gd name="connsiteY3-24" fmla="*/ 2985644 h 2985644"/>
              <a:gd name="connsiteX0-25" fmla="*/ 0 w 4446225"/>
              <a:gd name="connsiteY0-26" fmla="*/ 2985644 h 2985644"/>
              <a:gd name="connsiteX1-27" fmla="*/ 0 w 4446225"/>
              <a:gd name="connsiteY1-28" fmla="*/ 0 h 2985644"/>
              <a:gd name="connsiteX2-29" fmla="*/ 4446225 w 4446225"/>
              <a:gd name="connsiteY2-30" fmla="*/ 2985644 h 2985644"/>
              <a:gd name="connsiteX3-31" fmla="*/ 0 w 4446225"/>
              <a:gd name="connsiteY3-32" fmla="*/ 2985644 h 2985644"/>
              <a:gd name="connsiteX0-33" fmla="*/ 0 w 4446225"/>
              <a:gd name="connsiteY0-34" fmla="*/ 2985644 h 2985644"/>
              <a:gd name="connsiteX1-35" fmla="*/ 0 w 4446225"/>
              <a:gd name="connsiteY1-36" fmla="*/ 0 h 2985644"/>
              <a:gd name="connsiteX2-37" fmla="*/ 4446225 w 4446225"/>
              <a:gd name="connsiteY2-38" fmla="*/ 2985644 h 2985644"/>
              <a:gd name="connsiteX3-39" fmla="*/ 0 w 4446225"/>
              <a:gd name="connsiteY3-40" fmla="*/ 2985644 h 2985644"/>
            </a:gdLst>
            <a:ahLst/>
            <a:cxnLst>
              <a:cxn ang="0">
                <a:pos x="connsiteX0-1" y="connsiteY0-2"/>
              </a:cxn>
              <a:cxn ang="0">
                <a:pos x="connsiteX1-3" y="connsiteY1-4"/>
              </a:cxn>
              <a:cxn ang="0">
                <a:pos x="connsiteX2-5" y="connsiteY2-6"/>
              </a:cxn>
              <a:cxn ang="0">
                <a:pos x="connsiteX3-7" y="connsiteY3-8"/>
              </a:cxn>
            </a:cxnLst>
            <a:rect l="l" t="t" r="r" b="b"/>
            <a:pathLst>
              <a:path w="4446225" h="2985644">
                <a:moveTo>
                  <a:pt x="0" y="2985644"/>
                </a:moveTo>
                <a:lnTo>
                  <a:pt x="0" y="0"/>
                </a:lnTo>
                <a:cubicBezTo>
                  <a:pt x="1464709" y="289144"/>
                  <a:pt x="3611850" y="799804"/>
                  <a:pt x="4446225" y="2985644"/>
                </a:cubicBezTo>
                <a:lnTo>
                  <a:pt x="0" y="2985644"/>
                </a:lnTo>
                <a:close/>
              </a:path>
            </a:pathLst>
          </a:custGeom>
          <a:solidFill>
            <a:srgbClr val="FE8637">
              <a:alpha val="50196"/>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29" name="直角三角形 28"/>
          <p:cNvSpPr/>
          <p:nvPr/>
        </p:nvSpPr>
        <p:spPr>
          <a:xfrm rot="10800000">
            <a:off x="6489281" y="1268855"/>
            <a:ext cx="2905861" cy="2985644"/>
          </a:xfrm>
          <a:custGeom>
            <a:avLst/>
            <a:gdLst>
              <a:gd name="connsiteX0" fmla="*/ 0 w 4446225"/>
              <a:gd name="connsiteY0" fmla="*/ 2985644 h 2985644"/>
              <a:gd name="connsiteX1" fmla="*/ 0 w 4446225"/>
              <a:gd name="connsiteY1" fmla="*/ 0 h 2985644"/>
              <a:gd name="connsiteX2" fmla="*/ 4446225 w 4446225"/>
              <a:gd name="connsiteY2" fmla="*/ 2985644 h 2985644"/>
              <a:gd name="connsiteX3" fmla="*/ 0 w 4446225"/>
              <a:gd name="connsiteY3" fmla="*/ 2985644 h 2985644"/>
              <a:gd name="connsiteX0-1" fmla="*/ 0 w 4446225"/>
              <a:gd name="connsiteY0-2" fmla="*/ 2985644 h 2985644"/>
              <a:gd name="connsiteX1-3" fmla="*/ 0 w 4446225"/>
              <a:gd name="connsiteY1-4" fmla="*/ 0 h 2985644"/>
              <a:gd name="connsiteX2-5" fmla="*/ 4446225 w 4446225"/>
              <a:gd name="connsiteY2-6" fmla="*/ 2985644 h 2985644"/>
              <a:gd name="connsiteX3-7" fmla="*/ 0 w 4446225"/>
              <a:gd name="connsiteY3-8" fmla="*/ 2985644 h 2985644"/>
              <a:gd name="connsiteX0-9" fmla="*/ 0 w 4446225"/>
              <a:gd name="connsiteY0-10" fmla="*/ 2985644 h 2985644"/>
              <a:gd name="connsiteX1-11" fmla="*/ 0 w 4446225"/>
              <a:gd name="connsiteY1-12" fmla="*/ 0 h 2985644"/>
              <a:gd name="connsiteX2-13" fmla="*/ 4446225 w 4446225"/>
              <a:gd name="connsiteY2-14" fmla="*/ 2985644 h 2985644"/>
              <a:gd name="connsiteX3-15" fmla="*/ 0 w 4446225"/>
              <a:gd name="connsiteY3-16" fmla="*/ 2985644 h 2985644"/>
              <a:gd name="connsiteX0-17" fmla="*/ 0 w 4446225"/>
              <a:gd name="connsiteY0-18" fmla="*/ 2985644 h 2985644"/>
              <a:gd name="connsiteX1-19" fmla="*/ 0 w 4446225"/>
              <a:gd name="connsiteY1-20" fmla="*/ 0 h 2985644"/>
              <a:gd name="connsiteX2-21" fmla="*/ 4446225 w 4446225"/>
              <a:gd name="connsiteY2-22" fmla="*/ 2985644 h 2985644"/>
              <a:gd name="connsiteX3-23" fmla="*/ 0 w 4446225"/>
              <a:gd name="connsiteY3-24" fmla="*/ 2985644 h 2985644"/>
              <a:gd name="connsiteX0-25" fmla="*/ 0 w 4446225"/>
              <a:gd name="connsiteY0-26" fmla="*/ 2985644 h 2985644"/>
              <a:gd name="connsiteX1-27" fmla="*/ 0 w 4446225"/>
              <a:gd name="connsiteY1-28" fmla="*/ 0 h 2985644"/>
              <a:gd name="connsiteX2-29" fmla="*/ 4446225 w 4446225"/>
              <a:gd name="connsiteY2-30" fmla="*/ 2985644 h 2985644"/>
              <a:gd name="connsiteX3-31" fmla="*/ 0 w 4446225"/>
              <a:gd name="connsiteY3-32" fmla="*/ 2985644 h 2985644"/>
            </a:gdLst>
            <a:ahLst/>
            <a:cxnLst>
              <a:cxn ang="0">
                <a:pos x="connsiteX0-1" y="connsiteY0-2"/>
              </a:cxn>
              <a:cxn ang="0">
                <a:pos x="connsiteX1-3" y="connsiteY1-4"/>
              </a:cxn>
              <a:cxn ang="0">
                <a:pos x="connsiteX2-5" y="connsiteY2-6"/>
              </a:cxn>
              <a:cxn ang="0">
                <a:pos x="connsiteX3-7" y="connsiteY3-8"/>
              </a:cxn>
            </a:cxnLst>
            <a:rect l="l" t="t" r="r" b="b"/>
            <a:pathLst>
              <a:path w="4446225" h="2985644">
                <a:moveTo>
                  <a:pt x="0" y="2985644"/>
                </a:moveTo>
                <a:lnTo>
                  <a:pt x="0" y="0"/>
                </a:lnTo>
                <a:cubicBezTo>
                  <a:pt x="1724554" y="377563"/>
                  <a:pt x="3611850" y="799804"/>
                  <a:pt x="4446225" y="2985644"/>
                </a:cubicBezTo>
                <a:lnTo>
                  <a:pt x="0" y="2985644"/>
                </a:lnTo>
                <a:close/>
              </a:path>
            </a:pathLst>
          </a:custGeom>
          <a:solidFill>
            <a:srgbClr val="FE8637">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16" name="矩形 15" descr="Enter Chart Description Here:&#10;&#10;End of Chart Description&#10;DO NOT ALTER TEXT BELOW THIS POINT! IF YOU DO YOUR CHART WILL NOT BE EDITABLE!&#10;mkkoexcel__~~~~~~~~~~False~~False~~Falsemkko__4HooU0THZk28POP9trq+pbTvvzd/gcV8t56cq85kb3NDTsUhojRA0EsgEHHMH7oYP1SYpn09ysXVivguJdhTvfyVMsBLTGvcX7WPTor/CmUK+9qAALZjNtaA4uFibne5Favlo4sRvvHDxO6D2osJd/DQgiJveQhRUzl6k4xFsEXGbq6UaVXrZof/MFqC/DA6qUCifNhrugE7O/VQsrm52Kc2NdhQYFlh2Qp7noOKRi/ID4E/oP8EBunWi/ovqkvNMEDyapnMXSNYR9cpUuvxTQ7u98R34/40wgXJ2QWRUcihS+9cswpAVK6ITPJKudRuotnyrmuiQjU27A9pjs2JI5jBZoRHOgZ+aU2B/2wdA5D5IAbEm1UokxqG7gSktjysVV4QsponoPkoxFLHapbCNeP6U7uR4TI8/LGCh24F09etkpMNlf6ZsF7Ek35xcExhR7q7uxVkTgIyBsFaY6G2e2agiSP7mY7ek51zoDPP6dNMrHd0izEzpzCxiSYbo4ngBzyYRb+oDy/y2VIIAOZJktQFwupWEHusiCudGqOWU7/H+zcG91ZRTaZYY3lMs786T/NTg1tPjKQBOjJ75uB5KsapKoYRL0KAvfYCeuz3Zm5QpsheknJWixw4pZQ2kDHQwTAW2iDCLXhIJF8/KqcU31EMoS8P1OA9MayhVxXR5b0APYLoBBGGkJJCJSRUCpbcTkSv4yJ21Z3ZGiZMuo8OvE2aEcuayNKnOltJkSvtfQnCnZvctRqt/yEXG/1wLq18pzw92WNlVGaWzSmINgvsRESm/qpotVTCz+V4R+0Dso6v1Te7KbzmOYO/KEBs0folutGKmNQKAFpm7/gkCyXiGzSjsSam32eK3pFT+EqQvl53QG9OIVWNDch1r7uSAFgi5OHY4Ln+FR07Z98HGbSx41iw4B5+KtApsVszs6dmdt0F47ivnbk1CzWe9og7wBvMiBs6c2MZqTHgXb72IIvfNblTQ4VRdwyMQb24JR2nMfJp3V+/T+Lr8a6MLjeKQ0HQ1ru7gforyhWZe0JOXaDx/debT+ktWSbcEUNL/3KI106Nl3DkR6+ZZ2LJ9mTyc+qF3M9PrzozT7mPuetc1ZpryElh/Y2cnvORo5j8KKyMnyNCaeuA1NUBuQ82SsjLvRpx3oOgozF+K/8Lke1xC5f2nwKciPnKj/Q+//x1AWJFHZq1Tg3/CdGvUU3GGtj5GsK0HCo7LA9VNNUNcECQbwmrVm+w9FLRJjOG2XcSuSJk2xn8dVWJOdjDCvfrYZBnCYAiQDqvGOUmWQZ0gcr9/yg1Ea7cOcMQHqqvxzbZG3EEOWZkrVjsxM/L3yukNNmnVpZ6BgFd5+fz4+dLtwo0vhSETPVkuktlq9/P1ULKs0sl9pcBwBTJBbUnlBtmoQuA/kKlN5p7bQM3kzXlKFo1L1LC6Tz5TRKGymjq7wTUMrSdFFpl/J1i7Vm+JZG4mx79MQFIokjqMY+XeW1dGPyiCd8tn5UWXIwMxc+qrIiy9l94XkkHVN32XOAUnmN+HusMg/jxBSxoDsPOyOiQj7uKoW+10weEUkJSU84DVy+EQSzCwn8MJ7rMfvgpluwujsaJ9Ny8X/eQaBICtwOY9axd+IJjXyTxVQamE4hUrm3y4HmAg76Om3CnHDjSdHZkbctB5Nw2193L3K8YVBVRSoqn3pVRfH+ozp8RP54N5n8xOKBaoEaGXihIYNBQyjiK1eLzn8PnuZHl2gdh9IWwMGYJXeRL1QK2FmPNmwgD7m0kxoVBkVFHRYx+f1BpFkQZT1u7emJ5uxrE6lpw1Smz/+X3nSD2vl6EB2nRvZXcji7OtKIyriQcd89AkyHkcC+fZ8OoZn3sFYI4fXCXPuCoQ9NQG0gPqBaqENM93PQno5c8vWLoGm6OAvIKnkex9MWkJ2AKAllm754lt8JsO+MIP0jlJagenMMyw6z+yQ9bRsorqQ9KH3mUXyhnG8ObvvnOfkNIyzo3QE8LzPQzGfMopF5pfFm4p1gIM9mj9kir4YD6f59P3Fyezm1e+dXJlHdZS/Wj4MKKS/9H0a5e4jyjcZcwSK9/TFLsk5dr7R/SD1eKOAZD5dkjZNXlf6I+S97MmqzVibnBEybftoJazZh3EHjbDnAyM3DgOulIHa7PD0KbvhHfvjE82ENDAeJhOk8VwDcERmRa+cLQvVcmhiM+M4PUNE8slv/CkNrFmSzfJSFWPE6Nn8jtXKLAFrWl787QCInodm7KBbdVTU2RQdjDNR4lEmqymENCCkMBdYviRRelC8vQ9zqraxBLy6FUCAFqMsxYptdmPJZsMMYEzaefhCGLPy9AUMworRaS5ttpWVpLOPpdVtGsW2jknbKqXhNXsc6sXZYRK7AK0GNbIewXy/kjW257QtGLdnoCamuROVusw1eqSSmVFJGJlSBZexBRDNjg4q5TdhJYWpbKrYaA2XS1ZLZGzg2ihgMsNyqQR81jQclhNV5nhuZRGZ64LqaHYzAeI+xAMTzr9wM2/6yz/l+VxMix0l6Ae6V2ClaWjfXVPi8IRxwe4d/f/l7EFxbaAe7CWmO6wtb+7euTgjVZIq4RTPB41iq4Jmzal1/8Yx00XXCS//c+soQXtku0afQxpzwW47gbagdVy6U6M7whyRKez/Gzn49GzGyccr6lZVAVbozlmmQA/LkzynQ2Mrj2m01+KYsHz0sANS6EIU/mqqObmX+BoVDklDjlSc+qCc/SpDMxaAyuO6Wkpr5Kz5iNeeyKkl7056e248jd8jhFVCvc8oBVfQmOwnO1iNW5e4IYcqFaT79R4vGY+A7ZFAFEMr3bDpRAdyIBOUDXF3Xvta3lQWhR2fvB5tm17p4EeBwcbOOZiGLZe54B5UKaiqIYY0+U/hcGeB0ABqZoMWI11SwnLrNV4K9MtxEdm8345tMUZHgMLHTGMHTU+Ydt8YPVbU35zjbDX/Pv5ONqj7OIRTf2g4X/WW0tXWOsD2fTF0whGH2LUTSUNO/iw0e0WVypdkrX3RcekQDBavClRoe5z+9qLhUkUlFS6PVyeMM6QC8loUPMDJ1OvFnSTX7zvQxMPneSLL5lQlY12YhLWr9wI8V97+YdNCVCTUPXaHthkxTGy3BCIns4stPN4ZDBA1RZHyFZjQv+r2xez8ofWHaCDKp4RpKj58yJScjgpoRHCmDd7Y5kXbzQNC2PLJcUDhYXwls5G/5NaSM0mbPH52r92Jl/6fuKdkyrb2DvMdIdHWmoY6AUYW61hHTJkoFmumhBsJYzWR+ZZ0yZwwN5Uc3rdcJg48AclIYxyV/ON/p5/6FfCFrO0uhDM8gePoMX1J1STjy1vS8/XVP60E9VwHqxU2AkKaz4iMeziYbNoLj3dOiZ31Pz7Fc6koi+VA2PymjhVH20v6S9EffVF34+cGncAFHQ7EPoVaXgFZS3BdlGKfH5lkNUp+QybsxDWN2tiJTX66AciSnXDG9XAcSgE7fWRvpsNMI+aR6WOVk6sYLRxTUbYtJY8GYSkCamBA4mannVImCf/5AEG0CDN+iYnesSbH70O9GEMc8DxR6+T4HKaN8n/hfCh6JyOLFbo3QMVs9jrGnHs93RN5ZdxAv1wlYiMMCzgyYMPr2HoeHqj2g99bphAVnNcYaSsTUHViokIYKHrPm7bIZijohsbASdMhopXRrhpI3A7wsJGu9XAYQKNaZh0exhZCl1J/tRdcdTzZoBhCLNqUaBHUtZNTDU/bUx0/pBa+xxB9rUFRL4SbZ4MehHUs2M7B5LrHLDYInBc+cs+jb8swpAbcnj/SJtT5bN3Ax9TC5UXw4yjqEXp60jLYi1+h+TriYxFFe5qBMbSWU+nrJ7kqLCEF9cveYgi35EvZ4G7Ea1dwf/4FujMK1+lKdyM84EvcCKUgOOh6vdikEyFShCj5M+MgCS1Ogh37K6ZWp3w+RgMyGpE9kndxkmQ5DMimjR0pLQ9WPz37YgqWfyVgKhBdVtOLVfkTNd5Cj9BW5Uu0RbacADZ/gjDEpgaYZu67HGCi7p+ItDmkjO6ZhsbnNr3TnSYV+81Fau7WEDlFxYKTX1QnBW4NVQhhZH0z8dArcaNWLouRrZjSYFjrg0RXTXiBzpSSJUCNLQacx5jSxuUgNx3TLRAcdYDhfs0NuTJBR0y65ZH9SHSO5Wh7dO3u4RJNKqNIhDfgwYrqVrMvhU6v/tIBcAGZxLZzz59PjxOcuqhX0fNbC4iwudBqMT5QGCjzvZrNRkgmwMNIwMfIXZZ16SC+SRLRvAxlyeA1DsGVPcSdiNpl+V7wVHW7uUkv+tUBW5py1xTx8ONQbdqcGV9zd91Juold1YVdTr4VchF8DH8YjGcVbGeABoKdm/5YlOCov2v1CTBzBBfkXcC3E47My2aiGnL8/v11cIiabrE2Jqze8zbM9fKghLIlfmNcMvYMKhLWUgGNKCaC9Fi/riin1kgwwZIyboeHixZ6lD2LD7kO4PXOz3Lbdc57pnOe4+tJH/T3KhuB6LUj2jNd23hmbFRB0hadsXFRqHNEaIZd/vmpq/CeX9J5OOigE+ISyjk687lUwJwm3RXF3bZPezYbd/xI8G947cKrmUeN913kLeEi9ekJSF8iAuI6JDL5Rc1fzdwCMlx3Jm3Go4BSAkYlQoZ/bsJZU8QCvtPlR/n3bPXwKoKH7n68MnTUBCSeVS+XKQThhotr+DO1hc2dCKL5xzI9A/EGvctriKzWbySv8Kqf/pwWIRwdjqaNncp1cO5K4V2FOslPWydcyS2vmEu403MK6QEUDlYeMrpVCZ+WTfeTXk9Tp9yhhxhMn/xGoym1fNCQ9oQ2VoaIgIBGBsurTOl5TMfGCEBYLXaL6iNlwT9Lc6OznjfsoPDCM4IRAv6iezMDBsLAMKmaEykmMKuwWiMfK/lWvLLxZ7RdllE8DHECbdtbqgD+RSVzyR948pF5AAN3LVjHr+qfakbV2RP+6M0JpZc1aaNbx6s474OFnpoTYgnuuVaVO1Zq3XBdXlVE/Y0UXCf5b5/m0jTWM42VdUywi/g9eTudnfs9eSBHMVV05cAy3TUOvV3C42gGpCmlHZ1nOFr7hi3/pOdkVFmdJYYfZU5DzlGbqN7MOTJhyzDiPBBqfkfD+TETsqkMpuETgz246bx3yccaH1WNXU/N2+Ab3UtlSxs/Jj0JWd6K0beOO08530swajL7XjZDKPlj/1G3/ht/DZ4Q0spTUGGoEmkyNwKvtsnGKrSeXOaOd8vitVHAPPW86ybUKpNcIE4QiL0j8YcTgNkwZ9sJJ7+ZIsdDi4zrJg2jrw0l6ZTruvgmdybHqGoXTHrnTvhkfWWJG7O1i2GmzXtNFzd01UIfspjTVdm2XLQ/PfVKdgW0CqJLAK+5tiT612VhEuubMo71RLd4VIdWGyc0biO9NCKlZyR+5vtZ2RLzpWaMSETHdz5KnGRzoVGN+5M9n/bkbjcl2kgMakrL5X4Tttoiyjolc3fP6KYTJVXwZezBEfiXbKCx8INBz8uefPMGZ3haF4yoaHbSiDLFoVdiwKYwnKezmbsKGfaQfatfTtGC1A5m/RRFWqapeY5dVf9s5i0eXhFrXshiaBUiitfqn8pDhL5hNtheFe3ElIB4mpWxRloFUFBVgCZbTlrOLX9AiltwTnVtQCYRl4jFYoAeK/F2OzKaWB1yR8h3bh7+g1zeBATSQ4AHjSODUgIVKqmmGpqPzfpz+MjFTMMLf/KvTuMuq/3HaFzr9xaN/+oU7kDFanbhTZCorOSMT4v7sh/FMzeasGL+52MZLl7Li2auYLmG50kGxXSD+zAuB8pdjpE8yvPaqdeIeLoQK/zuPw8YmgOuLI1JN6qWpfvEi0r5QuTgzURRHlezw9EEE+z7m3KeJ4pCGFx3taT/yOvaH7K3ztB1LSDzSVZH+LoJ26HZXYPngp5JbNLVmHIisrQAURzIYtf1YwxxzxMqP/RKH9LszmlBzUJQZmvsJcQLVAPhINnC6MwxcmKpuQhS05gNWtm47PHJtRKBwN86izyo5llYOkqYBphvKiBByhkL2lD/JmIfMVrHvUUre1kxWw/QXBPu/qXspOHkvgiOrPj4DfN4cMJ2ghen8Wd9RXmATz+DQ+xDRJiWutNWQvVK3ggziX2aoQYzzM4POHRHj4lHbS8Eol3Jp99J48m1PobdmYu6sZq+8o4k00OYp6iSQK/YNfFYyOChoZBp2C9qy70ID/kjLyq1BS73zxLUuNOStH/Pa1LgbZA/1WZSVQK+aec+VlWQA3nxbbo2bOoJR00UgAw283hx+bcDrzRRDpqD1qTpf1m82UOvIrQIrB4XxZD+xj6XiE/+X5Aoj2WQTCs7Hf7jIdTgfNxY7hQ+UGyLco4vqjEh3cY5zc+7rkuKTlcomz97vrp/jy1aGBrAe5RyVSVqYRPlv4gv5vGQ/hQzqGXhmIibAlYcsfPDIgJmfm1Dz4JgWa1gRBY0LAF3sHBpZqRbumtuJrQE2C0qnPL7+/a41JUeRc4iTpVvN2egOdaCkD46n5qwAmhyAhNiZBQveO7zVJZyVp2g5dnSwZQRHynXgQisupxQMQZHbebqMleCBAd06x7eg/z6tz4nTOyMLcgTNcoMhZ9yvwj8WgjXb2wqDr/zhkgQt/AQfafx0PDpdhcpOWN4XTaZXWf1ceo2ZaUS0D4MSHI4BnF16kOePWLecHfhD2s6Hs/+woP/MVI6NaTzgdKn+2K+6CKahFc0khy2ZR1axMkb47D4Eg2vR/dOAVduWwPUakgqaghvOw0q7faUbxKhhGN0akdziXifHnTzC8+lm939krfcuw/y4G0og/9eU08B73OoS83BIUuPngr45n+g9BQajlJFxhpFirxr0XxMX0m137593Yp99fAS2az6Anc0HfYDqUR0z/vO0eZPLjFB4v43qSgIovSEiWVLB+611lJHj21zJW8Fp6kc+aayvzSLWN0eblZxPVWKpbC3M9kusbVBDuLBxnPJ/57d1+tefY05WrkQIlm12JLHuNV93bG4C5teUBpq4+sBYbBJIvt1hHlAF7M5ScmIir+pxRiOutnBh7fDhhqM4vjCPWq6EoKCngHdrlP8NXz80VIalNi89zQYnPRPZnNtk3r2CSu7V5JF2/0PqtNbBrSwIfFjpOeCkk32gdpi3l519neeanPjrbg1CIrJz6EyOVPUQ2Sin6lGX4EwiEIxTOPmKLrraR/aVqN9FFQSYaa8n+xqPhtb+cJM5PWQ7a/ePEUktUPMghIzutclVC+QFYbU3rfiDuT6Gj5M+WiqROAmy4TSfjbqj3ipI/9rBp3J+AM1Gbn6wTu+I8QUYz4uYGPFd+0WWN8pGOH3Pg6xTZIMz+FcrikIcvH7zS/axGuzfD5sORnfCxYJwgEjKLhOxAb08QtU+dkc1HFkNT1uu71ts75rK1pfGNiXLUAU/ByCIsTjEXgTdTxHcVAh3HeplXjVw9pUDoF2IbzYRFmmK7md81CgSGhbOYEwMPO9wgeR3UPWQPIY2liwB9BVHYUOI3tRwLjp7lDO2ZR4W0pNCQj2k24O8vz8dw8nuVatkAmTkcl6uDefiB6TV6ddeNGLMdn+z/b9IMxPTVgPPyVG10r0bP39cUdblIepeQ1as7c+yBq86KAH9FhVt0cVKeQKSKaFe1lEgu0ayOjV2GFpBrRnBszSvWgzQgdHJ50tlFJF+RcglgNrAqwPb8A+jFrz8/bzKlgG9VLWGa1BqabNB3U6xBIoUd2Wjjuc/Tqw0qBm/FZQvZuppjhV8En6609yYNpr6lzwMLW90kZv2bBt+bR4JJOx9h/EayCzE9Vu6pzYdlUU969WvQf8qVJ5CRNRKiJpr8sLWMh88I/wcySbuEb/qUZBhbJ5fChhC1a9gSV/EMfK7MmG//FWv2bvySj6INYXLPzt9r+AMpHSP8eBApMZcXVXNlbPFGK6gP6o69Bz9CRtFwkQOOugLGehfi8sG/FgAyrs7cv8pJxnSSLFhShWG3Yr1pzX6IRsYqx7asjYcxA+BoQOA/xuo1qUEllY0HZaHtz+0Wcj/7qD1qUwpiAumILjM4m3Cz5GsXX+ZX0IUG7e3+KldY8SiS8X53zX0twKBvQYDIky/dzPKEgOiUcRlV6sHMZc4zVWB8wCMzeFFghFXs/rnbusYXd6PTgnnccj1GKrSGlFSAXJJkMdMAjfD0pSI87U6gl77o2Y+HGPGwxTYnkt8ug1k51zgrjLRP9+QVgBBar+meUk1bj4/yhSBC5cugtDTeZ6BdiEw20VKxThafCEL3it3rjh5/g2TShty9Ywev+s+zHimPJFTFFggKzgSYnuXG3tP9YV9xjnyYQnyVAG7qcw9OVTKL3M5huvAsCGujZ6yefHAvvKEtMe8n4+l8VoTbsZ2IwnOtTphBGgjl2I2YobXVZsx/78N5nVPUo4YOroDORXNt1RIxX8z1IZ1f2yHSt6JC4OdsxWEqrWYLNy7qRWRF+o8YDIl83VOkgKHBTNzXDIYC8XRSCjGICCx1TkQ4BaDEYgyfbi+w1/4GDAt7DyFyXfEja1XW8mvT9z9BNX5E4jmjBZx5dOA6RB3BpsyiZB6Hw+K3c0DeT7pk7AeYZcdjg6HJNOYnwbWEifqE0jSOR0CxEj142cG+QLFPVbLeVsaT5NyBVBfUeyM5Xb5D4j61d80RrLjFKsvvnj79Xxed/J+IAj1sASMpDM7UE5qVZ+hh7VbPpmavOmpAkWNk+jrnngqcrZSqAzpH9/upftDitn0hbuNP2wrvFb1WA0uwBSXkXwIWAccZH9RFHnMb24kLkiXMtcqpTK1MgPnwy+2eIdoZd5eq0CjNzpWS/nmgsQuIf4U8tStMWq0CNJZpNihr2vFxt2zZcKyUdeBI1RO2wHbj0zswM+ZeJFDeZX9zFMf32bYiTkieFepYeXkCKFwIqq75bhmB1rIE0ZFl3ClepyzvgWo7oF35+DLfgOOrSbqnVrFcXdBPeJ5zwUrL7fEcIiZLgrYxEqg8M00kCMZmeAHegBCC0xeeiHLEf8YvSVQV3+t0517GpZezNjIe2o5/8Gxr5vwC+/+B5ydjOFPJgR5e+dUvtO/6zssbuuMtUgsHYLwsnHtOXZf8D6sxhSNffOIsTrR8F+0tKHzrcrUkIHzRjng7faLy3eydT92u2wBrriVKd+Y7kpAFus2byxjmhixCX/DiPO8BGumxyQwU129RbGd9GA+RGEFZv73lilRoiL9RmMmaOcW2AaXaS6kuSL3rAf/9FfkYl6hSKLmo9lxxITrnZ7HVcPC46L8PIPpkxIxuiucoYYcHUsgNq5ZG51ql1zoZun+PQWvrhdRIyneXXOTMvD1OY2BntZMn31kVZtoNTvNcnjHRmJeCQDUXolFuKOO38uHLVMjCvrraKgxoIhkTkpw+csGLvm95xpJ+zIfpCl4gW8lfcIOQn8qUh85Umm75KDM7mVY8dUYZIV5vHzsWyB66a3UAdOokdtFKackTMZsJODPyegccoQSJ7PzeD41SaWdqSC4sNW1Pf/AHRQfNrlPN0KV+MyF0v31GgRn8y5ETnO+D+Vnn6bWhk4DynG2HnFm1vros0SYQCr6WDFs2+ljkRv1wb9qRkfFE/1rtrd3VdeKHKHF08vYiqRuA6CdEeXgiSBpQSbUNULj8l3TSDFjzo2hqgUCMEEXOWQkAZWVM6Q2IBN1G8lVMueNKiqaNQ2Py3HcPl1ptcbWi3E2kq7V0dTwr0te4bPH1hc2eVubprqfohQbOgY571540OyGbg+3mb8Usoj1qqbBpE5n4DEd0pN3DfESPRPcojvlgQcB9acwiXFwQbS8aCHAxbZYpRW8r7cFXzROYf+cUCWkGi+gmr5MATVaUbiudOmVcImpE3HOgiKH1uNZjFibGns6ejOhq08eejoTYdp/hem+9FevuRK06KGyS5hLorDOUA/tLYdPljbqHwJTGXzFoOh4A+JixC+SDBDDreo40cCbvP4r9hT9S+9snYUjOxsAvYLH12zdJO3E+m8Wv9oIPig9CGynHF0I5gn7LM3U8GdjJpSQnvyUlqzeNsoBz6C8KHdRT+WnR39dMqBKb60qQLHgpZMHvdu2AphictzOBc6kfmusAaIhUB8dhFAE7/waCL5ZvJjwz2i4BEJtB4i6Vep7KC+qUO2y14M5cK/y2Ohdwj6N5ayoscu/nZ/HVCFrZlHWJUhNgd6bRWI03adbYMuzm+Mh2Xa4eFW0V8DqAYW4S/tWNM46nD6cmKr7O38cXPRGHjIqBtgqGWVx36uGbDtnqv4wxb1NeS+AxdBI1jNGqEvCXDMdwit9XLUYaMj1brPqaemH2zw82Urs7e4QrecI43gKzzw8jtOkogaBELHe08kr6PnodmOQ5526cAv5nY/+xHtGYHRjRAgRsEKehoFnxSgdkgiwimq99qIXoU02lU5Uj5kYq46WK9hfMzLiYatEdMOYv22qDAk7YiLZb2xjkI3QRgvTfgkvB+RyoHXqZhtlHAyEZsW8jLq0/FsbvMaz4V7mvJFTHz3M0DIbngocfK6/HONuPlhN2BYb2PmLTK7nfqVxnJpPhYQblFnSK3GSBWyA+YP59IuJnRMyLFKK15rIJUALoP+m2VSogo2O5jkYthqNPlCpuHxEay0p7U8f8qua/WAfJ4xwV/XzpXViKzH8PSh70UGTFeK5QSN6ui5mvdM24NhWU3/swgAWyVA2WbRGXLtl3Ifyr5NhPTQtsVT6ftO6mTxjQ/PDF1OWfz5yAM0s3tIVuG+FOJzyaSSTUKV90ffosOrj1B88A1tMuprn1hJwCDV9Faj3jA8749Wihl4QAdqyo5KHPqyn5xxLz04yhEW+Y8JPd5DjV/9xJOpYbBBxLE0wWpsLoPgDSPPhRyAiBLO3AsreqJlk0OeJOxHhNsq2CvWWXsVtqH/82CHKAO+anHDgGU4bVmBtleIjdZrCrizk2DUDTUDy+uxA50Ymn23eFQEexOB899mGvxvzhLbnlbszB03GtULH4MpdL9uYfX4h47DGSuPxL03zx7ysaicVl540vEi+7JLVdO9YYrKQa4HROmDY9JD1HRIVVMylpFphlCEblu/OZUBXL+iR/vmk1LXcFwzdZPXv52vlXkNx1zEDC6HQnzaCEVdk0XkHlIk+cYj6+GN73Tk7vvl146wDLgK9fxk35AI3x2g6QwCLcj/anbF0HIRZyGOoeK1tYGtTDoBq3xuNjR6GRdXCW3ySVPMR14ZZhcLazeSAZHK+RVBoaxy9M28F7sCw56YcmsoN2Hmq7P9zU+wlv6BpbguMDhajHalxo9YqN2VZjHS6PJFTRMCU1n2p7JUuB7Wjk55RsPsPL+6ONqUhUpF9jMN2zWTp2+WYw8s26yVaxhNq40YyNGO/W3FkQFhCfp0uGeVbF28tPQI3qNoYQYl+c3JIhijO40e3o2eGn/PKreX2Xo77RPFrp6DmTaRQXDIRY/EgwJoDn3RkP2ufkJ8T1Vih04uq0PkGHeq6um04fZD9snfI4eCD/KUUIXfxG5EHVDeHnLWaGwG39ul4dLvjeYyuWwG9ELGAdL2NU45sdq2oMGiyh0z+iCl+zkfKhf7bFnGrC4P8iFSudiqPcTpqEQpYhWHO4obg3z2v2wfYr6pfauHDHMH06LAATYl1fNm68AA6ghzcq+S6txoJaq0CrHWhbwJiIGaphr0FYevktcuMtHG2DiZ9g7RA+sXt9ubhkO4LnN8gItxurr6orJYYrsOw8KqxRXAZjfI9IghACN4kQFftdQjD2ljz/A24TchEYlNS0YjrhnfhnfF6EUvvUEK6AHraaP+G/f4vp6VsS+jU7XjrEoBk3ZsZ9mDjYVQpXtSZrO8thC7McffTK1Qn7kppQxh0f8X6+ZSTDApaohgHCttz+NQP0JifRYM9hssNAUdFtAIpZUBJtAglAUsUmcQ85ANIp8o3IZSlpJixBcBtHsnJ2PEp2tRNOtXVwhmAQ0QGQ0qc8tg57rrxFWZtnijhZOuF/WGtDr4lFQSMuklk9bK4oCs1HLweTlCj1LhJMuMAvAemsNIeVBeQruKb3Y8fERRu0MImL/F9SYbmOtbmHNQlWwn4Zcy63rMPTgEmcSbxlLnAY+I8gG+kqvxlp0T29bwpyGMozF66ryRUQrh3nRef1wZyivD3LEWKe3BSjt1XcFG1JpJhQW+XBZ24Rjya0Cvr4FYjbY6gHqqx5MH9jO8ng2tUlxUCqWZ/q20DBcL0HmS1TdFOuigue5uLkPVtCKJCWOEYifrUP2OTfyLIzIpGspk0K3UcUHMDOoVpi9G4kezJ2tijTCmJctWFfg05h2+4PJanm2GqvQlV1Y4EjlxG+KtuP0ABkjNSzybSycAj0xxP22KUNYJmehIFFKYMefDf0aTb+fk3iyo5yS4oHD/quCVgXhRmz7zNX3Y4Sel9n6aJkcuuFcY1dmC2I2s0F9LsTkipWzDK4svyKgr8cAQT+9XM0/Ic2RHxy06UWTCTUVMq8cL6C7BwFRuZhOwrMZ8m2mDXheSp3BJa5ovAFUwle3AA4f3i8GxfN3/NNMBxlIGHNr3SZGupNJES40wL/8TgdtTCsTV8Asy0U8ZmFv9nG0cbYKxDzflzVBrkIP2BQrTaPBs4wB+H3Hi2T7RiiB5s71c2VWyc9TILMDSRk2q1rq6BmltpZ5mHsJrCUGx0xhZZiuTFX+PS0VjLNfMAzMGpYeVwnvkxIonKh7/s5Yb15S5t+1t1JFH3gJYmyh2bi/sjkDs+lSPzs7XMGr4pZeNFKnY3wQjGLOpxP/Q2l8h80RNNbikeqA3mGRQc+ABQ0QK0P4tSGX22QyV/3+F1wjSs61RHSTSCWTRKGj9lM174h57W3YZjnKnWlH+L81TknR39WP4KLMhRz6oCW6foGLjQQIL9k4xp2DZj2mwGAdT3TKZj0lWYFdMxqWxAMxJ+6OPaiCB2sZo0wcTs1/N09Sj7bkUUBcTeJ9VeAMwzUkMOJS8KN6a2uZwCbUH/if3CM4gepa3QshCyGdUGCXpSliyHGXGgdTNVPZe/2mFDsi0fDYRVdwE92a/vqyOg+eUZ8Yr8PDcc1C5tH+DOt4rOG/6OGZhZJ+s+BNdyzVW+BF0Df8jEAbCMmljQges2JbC0t0eq24AMha75DL4Dfx5I6aQ7tslGPrAG1smfdRZxLi759zt1Grbzism/JlzxwL8fshHJWArqfg3Qstih48qJ3eD0/pHE5+WOzUEIy11yFCJRHrxYKkhXjS6c0xP4PHORdh0b59UJ9nMjByOfMNgbaGxLeOl0vX8NfORkLFfkvu+iCyewcK8hiLL9AMUTToQtWlbKjzRDU61Y+nkbi/gBFTYjyySysBlaj0ywB1eqLSjzBx/UUXBSWqRpmThUrTixoAABuMK+YL3XGOZcXAL3WUNHYlLpNf9+byVxN0VJfZEsD97WR9052RhA+C0pupY7DNhnr1nOmrRoltjW5yDA5RCktH4Fjf/7iwTgEtGNvGK+/zRzoU1pLkOYtUFdPypZFGwQXBelfdpDW8TM7UZ/2f5UxjyZWxohULndPxraCvurFHKl4NTnGPYI7QpqiBUsB5Un3RdA4HzLYP4eNVQy8Yiovs1zJGwdYww7yruO64sKE5uGVAc77hejZX2gHE9ps/em1o9jG6tjUElSWOGdhKwd5aUXwP2zF4buIkkn/nZb/RzZGYm/QjW90hY/dAi1IeZy3lR+JifQHXAQ9BlWVVfx0JllsRDG3CqHPbeBzcywcCIcIIWFdqG1naRdDZsYZSW9aeBqBnJH5loPwaBoAGjU5fChJfHsnecU5+GQhjmd854QODc8/lZGu0eGlkairCqBODlU8NZxK8XLKt+dlkzXTce9GOhN+fD0ML2IiGMezOpyff3nlmKGuX8+ShfDdRZU4qiHrzU7RfcnmFfW10s/yYXRcXdDBQBFT2ZLZY4Nglz+r80pVDIThM9iXQo8Tui1ZjUWmkxx7P1MbtORL3S7mphBlyzbieHc/OcA12rgapTnKDMFCI6UDW6mzVbMqn2zL+xgeJSJtkwQpo8o+jvHSes/J84iMR6zDKFuFDuRN+iuwFbbC7Sg8KpkrVfL/sO2loen1fhSUcKi3KJkQ3cUKk6ZZRVBke2i0pez3d2KsObbGVchexpFCwzmgceXJQHNW1Q+VUDzflHzcYi9Gh5QZrRiAQyJXcwkiTQC5xfOO3vtDL9jUKqy+U+Fp6BWzQZXnZa8xy/gXZZp9GuHSTqewlGKod4EubvkOwG9yvoK/HKk/AIgHCUPzZjFUohftLWj96ynEovQZN9noa9FBe5/ALihoCrQ/fc3RMEPIgkG4AXoS2LBNL24vK2ipSG/KhJjenyEuk7sueqmiyKpTBEQeEhTAl4jbLrtrssOaWoZQvdQ/8aZBo1BD/S2NIMnm80Fjc1LhHXuzJH7fOo5et/Xp4lHvKGkGOJJBBb+Krs8he+gqGtHy+kjPSvFT7Q19INRfqfg3x5n4szvon+dfV2cgWusA7gINPNiji2SjjcTv2/jRJmpl71bpE9puOgtVLEDhsdoq1UdFFM1EVP99T5voxsk7bjGkslIXLbTH4YUxDW3r1NJvL86xwsKbHiJP1/buFEsDmn8xQDYSzTkXIHtpSO8AehWk9CYiqYmrMLELXhSlnL1OSSE5Lws3J4OpViVSzoVffek+/0chXF+DEJqutWIgA3/p/4QzbqF9JgBcnWAaavWUGNlfACe4z0XdOjqeu3uFMHLiTb2Jk4R6BhWWhXAR9ox9A/fN0Af1clQZ1qCKoWjm8/NUYzTPKZHVE7PEk2K7+RsNlj4tnOLEqVnVa3bH0IX92zEwSO72ikxDYtCbkiE1nYdtO79GDM0Rfg9oAOLRzVzpoTCI6NC/V6G8WSODMvNHn7C/cMfmVLdMeRGjv3Q+b9PwNHfoHZ/yRml7hT2yYl1m4naIp41n07esB7RiNVWBzxrPC5kWPY/NSZha3QDya1DjBLoApe9fmNgldaFVTgP2V0D+AkieP43GOtDku7zjfNKYxtEm/sh0XEs3wscFMGrRSKP7bb3Snjvh8HTonKbwsY3yLmOAVAqfntDS/e4YrUEEdUKEPGhkkYRc9JhG4vmjkFsFWPnExNi0iBMgHmcaWNv340goKR13USrpmsurcpmRGt01JreCOHRpD2EQTru1VMm296G8tQp6A2MDcQSNEiaKunfRaiz+A7p+yFjJfZFtpw78NPHbrPLBcrH2UpH4XGG5nObvdanBiJJsZNWEBA2nmbCTg5im7YUnA6q8nHBquru+RzXF1g2zOAO/BWcIseXO4JQpop9lzb1J3MGT0aeGJVjMVDMyox/cfF7JO3v191WA9yiBiC54zqp39Hq+dXO5oQ4aihAHM2jmj+UVHbEupAA9hOrewrLWhSEPO7SqptVrNL5KW5TGLgU5IelUSJo7lot0nNpKpxFCk4heaoxn8wlNFg1PaZXdc0Hl+Xg662qi8Et7koGjcAMigfdDzBktVwtcnHzo/JCUeSKU77I1sFdvax/k9c4ELvh6xUBG6+pzOMaOwyuTyb9jwvWoraA6Abf8K+lMqDB4c1jpGYyRzt1JepVOuHP1EK3qIjSSq2WQycgHadzqJFLdKjaDH/ujx6eAG0yfFNzvj4h/8qmoCLPb/Mxjr29PzyFK08imZxxz3SL2sGA//L9/3IdKOLVxIcbdyYx6IE/7WunHWmNoFys1ytiK5qYL1QsFElxA66DSVGed1rYh8YV2kuyHwWWY3h8nKfv1I+agbFhawh1Ebnp27SX0FR4MoY6XnZEy+B2cCM9wDP3V/K0IcNaHjNM0pLsxKAurpXNkNJ5SQvxAPuf+ERi0lAMGFjumV+8xzp6NV//7/uYtuxSN/0x0YAEaj+0lm9xGR8mIKoq+nbBApXOZJiP74RfOCgBVwpw+2Au8eL31jJlTXtjXfR5euyG+b6Ugq9BloRncQw9yzCuyDgceeI/JgWl+nfwvLuzxH9ItTLNGoe44Gtvsq9w0+PPhN3pEgOYgWj3WOc5w4rVb/9taH9GmrZDUhU/+Widp5coEUhhzK73WW9tRXVw93pX7VElO/CDUP4uE+LDuqvgcYOLORhCJyQUyqIsSTjH/UcIw3oiEDEEPmfmZLiqIi5iT/iiF1J6/O37bbpwrO70GmRrKPmOjOu+6mzDifDMzGq0f5IS9gsuFOOzaWzFOdRri3fFCeWfJXMK3doU5nvkevUjtXOZyQl51fR5CKfVImezx6XNHnFDSj4I1U943YIlhpyH6CUcc1NYDSvRaEJLPm/6mwtsKIjpNL2OkJwNHhVy3kS/C/gFKo2AvyNxBgPi3vnDU1f0R4EK7WPKMkpD3QvU1dMGjyMVp7VOfKjUMtUQYzjqJjd2ZVpJnHT1YGuHRvpSATiWP1WJfT2Ty/EFJhRmqs3UA3wgudyBbXEiPWbu6ZrCkKtm+Y+TpjaSlxJRDedHanCI6yx2v4rbCsOo+QaH/RJnmWm7UjiH7AqHiPXKv/GXVCgBz3So5RIb3Oc5BR6bzQmv5C6hUgb0gV4JXNhMfqWL7Yq6lqUsJqMeZHrZ2TNVBvAsjVG4Psor0BV8p8zJM9ZTUfuaqUvL0HJc22w0pUpC5nbpBcdYAt6oOTZp0Fcn4wlCaxHdNzXvGn78SGV9CyCcTnYqQ3i1TEuT4gPtKEefE5vMvPIivbNir/se1V7zngyGKNSecHPEzrYr3uCtLFnEIdqu/8YkXP0j0MOwysho/j8tviwTtGB9hMN45GFy9gmqjUhxl6wR/x4Hne6Pthe4cgZ2C7397fYm7+G4FoYiwueM7IhzKFY6CATc4jNbrsUZhB+2wmALSjm4Nwp7KaS3Yv02brsQ6HuD9o8g9t4UhWq3B6gO/H6pihFYsQNgNG1LPFiXaTh2CNKt9C65sYkFh2OZuGrHnKHU1IjuYawIaGbgzK0saxpM016qflGAUR6+ozMnTmv9pMQdYbUkGQU3VkE3EgYpQWMX0rpkx8uNGgi1+fBcMuvNp5z9i9VWmrAtPsR1u5aPNDjxkQlnHFfxW6mYlH1oIOOQsWfr/XP4izokklR3NQ3qN2YUhc1OThen80oIO9B517SAv2HymQsMq1GuT/cZ52p496zXHSpZw4WW8AXQSDGQIAwg7MmpyOZBH0A0KpqWdKXB/XlVVIakIc8MIhVFGvwPoac+9lH8ed8mrxlz0qSMAZQ1Av1gN6dxBEy1nJUlm+3k+dX1bp05iidW1zzl9TLe63tYP3OBYuoff+zyVmQlixvyF8nPli4vq0SmjJlTvBiPSCtU6swF5wbinFPfAQdePn4umXQLC5c8Xd35V/ubbftwBCyT9EC7dNW4cluLsuLr1VoMmkvLINyeW0BJRmsj7xlwQRFybWqxYiKaGoMTsj4qYcGIQ/Lx4ZzVOdtVRygzXVqNpKaMyDmguHsqisl9Si5OKE7s6ayjVEq7k9TFIOhIoCCJa4jGrXm8CheMGBgm8YXNePBwZWtxSTOmDxfUW4LITdtVSayaK8KBsB1/fP8gt6EZgL1nzxPcPcb5N05AMq21OQs0Ba9ue5i+yPNQ9wnGYqMikw7HWkMHqhJ6LL8eCWBGdyqvw/nX6Db2tGO1VOuOQYmYrF1NgdFQRbdWwhGLuzNrUfCkQGbnLgTVotWgd5LeR0Jz8JbaABJ8HFFwyfNbVJpmNk1aZuSM2A/HEB4RpdLRcJazqHoXeGRzmTpBv3+ES2rRT8baE/z31wRMHzNYuM1ZzEBGWaXGsUKLjTzXGELgp6ZEUL0GdPY/z41kvEhnLmYBF4LMFJOwYH+5NnrAZM67rpGYsvGptJIY0DaSTPISLzJsRpxNzmY9neboWfp5IO648fuF86vH7QcgXnOIPXlYSOi1uyH3hDTej6QHrDAC8Q3ItgH4xWc8wLKuaOiK1hPekjO7XAMSO0mY8YBY/A2F1i9afyeB+zYbEWH3m9mthXrgUAI7+ptcGzcFTS4HxgVIptU+25C6G2gA/QESjd0RMy+d9RYbKNa+XX0mMMcvC40xXfJ9/9fI0XxZPNjvzXXBkMYODu3lPjZZlHJf/b4pD6ndkNZd+/cO3hckdzcG6h7drc6Xl9THNcbIO2BYmZ9EwyxE3fyV04g4UKahFqH3FGEwT7tQvVGVrlFPX3rYSSP3MkHILFyzbEhNAF5F1ageU6RFLqI+Ztmuwzt0vU9pzspAtdpoKccT/bjyiHuCdSNvP7IPcFG6nfNWtZjsLc/AcqBrrsY6pyCUYnEREGKxmWAR8aiyEyZ8FaZ0Kk9658RogEdBmIm4zyJyH0VonH1iJGjjVUUP/TZqOuzEtDoLU2QtajG8qPOPdDtUd4eEMWcQlMA0IENgXV4pWP5WNduPU4TVNQdcvNxbeATtC3HwdzaCAniGI8nnGHIkYuqAJDnhUErYctBjeaNWWhOI/YQuHM/IQBtdRQgYafqt8WA24baakO+x/0ebDUrFR1yjy7GEumbzUQiFLDdm66As8LWvlKkog/fhjiTkG4zsBT8ZSKYbYfN2FYzqX3Cs3LRZnv1EUptyDpulHSAN35AeaRTmBIQloN29a0tephW+HmYjZVV+b3vLjLWsD8BPPQ3mJ7q0c0KgQ8CaDBpL9+IRSH/dzdfZH3w57ga+6rC66DNYXjKmnHwa8gdo5GxpTQeZB72Yk57wkz7kpJeysUyszMZ1NiUw2kFV8xhedDO3AGDOKoFdNirvLvUBXFshtCqFeUgqED6h00eaZ1ewEsa9M3GqWVvojG6w/tubKq3R3YSpZd/1uz1yG4FNw4V0W97XJijw4wjvQzW2bgFz0n7RNmOq2/P6meAnHrrUs0Io9MoDTloBHhWNjZr6caPKI/8cKTR3f9oJ9GgpjVsKWfEzr78DS3VtJVxikhejA1y0NfAdEyRl4KaE3tJqhDO71Db14Dhh6unXPiMn8bbZvarf+MaRlVbU1JxV3LuxqDyBKNbQOtMOGCTcBKL3Z3Z1C+fYvy0mafYPzO9xiM8DmkEk8Pb+PoLc8TEGJrMwoOJaCP4sPNG7Cqbl52FXNWzSrggMbUVliyLcAv2d05syKe7fVlZkgTPbIZceRZBwS+gBU5yFoPdS6A4WmZ+YA/M11N4aoCFJnzgnfpCj1g+RIh1/G2CQrs41Xc9W6H/+9BudEYLoQ7/NSd3myBbYe6EUofeDTUiPWt2wcFvHeS7oKfzlZ11IyjEKlWIPf61JDI21gIvTJZZUzbCJk6hrkvszDlZTwG09d7ArbM0tco9bCfZTWVnWvFRFzIawwnUmE8K0LPXkhpLtpjWv3lXZgU+sMJ0D46AqsE2ZoEFW7zZNJJ4kktO+0NN6r1yo+YVAfHee7WO9qjIoOG8YUtM/3biYmQMKDKPbgI5ocGSLNzhnjUApFYsUUfJ6O/TZsGj83D2wFomprJPfkRYbZhwAUC7XwpJFBFQxDbJNVMIgDMHdGyd62OA9PlW9RHmBCu4IDxf4ml3CwFF4+tjUdT1ECzXT7AK5NM/ZRArtv0NsACpF482Z3O/LD5o+obgjEbt5hOK8ol0gRijhiIKzrk8d1IqfoctmOcVxsZP8Q1Amkvrb9xXByQM6UEOEZ11AR93kB/1lFI2x4V9ZnkbiAmrliMzDxmJgpDxT9Y02H8ZA0UgwoxaG1H61AMg63RkmRlsesnTJKYv+qIFzfFyvo3jn9YKW34YS2P6laSFIKpRBGrbpDaL4j8pLHD/VrQr3BCknSeHSve631zmlrnL1AuEr+yyCv4uV5wLElknPeGNOttZmN/zJ8QbwXLg7NaoYh+dufIj1CB2NV75oyUf4cZ+TQZ98qb6R5O1J5+6uOTU1g3KiQQqv9MHngjRSbFsGw5v/yqf5Kv8C4MPL+bYj7DFOrpBPm0s7UFhmShzIoHKa1D6PcPmMXMFDW5//U96ZphOo8M5kc+nN07tyzM2tUBKkclQm0eLZtxE7jGePYJcy4Cap30FXncbI6Q3Dd079XkacDw5M6T88Zxdx0hw4HwaqKCnS2Mrub742Hu7G9aZK1f8rvDo4YZs5A602UE+Od95iy9CLpkjXaBahr7H7/TG9RQV2hcUd3Gd427MWEvbpeZzCGlWeI/FHOBNq0yIR1LPzy7LgIIvSjIGkk7qgTQ5QT2/hlgvXkgtcDw0WhlewPTQ5xKp43d5iFlxRZ9OriDZ9k5GlI7FGB37Af2ESGFaZcD2IL/wMi0Cehs/FvpsonIjOAa9uieTqlqvRP9sX6Gn1Hr6hJdnO14pTAwHjz13f8zYE64mey0saOV8rvFGkqq3/TFM9vLGFCCrOCOQHYVgAWZ12ibiqDSflYOWgOdbCCDO1qxpOclLBAEfpfbYxxnDJZvzG1Qdte553YErjf8npY4T2nCgmVgU0ckGfFmXHXqHwYPX1DHuKB/p+QhgzuRrB++CATNIeQBtkk7jOUA0b83Ve8tfJ496cu2Sfkx8JfSIQmOsnXAE7lmUO81I0keXQi6FGQLj9ep6qcqxua1wyDk8zIQu5b6wDN3KfSRj8sFCSMyI3wUyutnHa6cIKiwhhq93KTB7/wg17jL2SBl2Gu/mvv6Ejis8zdyew7aV9MBT1EYWGKvklFS+SbILMTxp2b/O57ETL7HwFjA2wcP6R6KRSt8v9+vRRTWjhmvoRQjaGM1jK/gC3GR3ivAtvAJLAmtKvooMdXrohBMHYtc57E0/ra2VtnjoFXDLaqDo1Pn9YqZ8h/LdXfTu0DcGod6jlTFAQ3Z5NhTc5IVbKNte817BYWMBmJbSTmmeH/x6+ZTl+eXALtx0gTmiGWGLCIa3XAjt2tOIgdPstR3qktFJnNTJrUys1GlkrdAZIlHvr+bUecO0/Qc3yvnLasfPYuADTCDte5yPVaUbw+vcdNjeYh5MVofYwYO+KVpHSq6dr2zUWN8CzciFKL6SGjkET1SRr5UqzKVmPdlDZUj3q/8Z4SN/SjyPt7agpOiOaGQ4Fg2HV5d1OUgursDqJpFzLEGFvtvo7M576VI4IJosePLAiN2gzZw/eK3mKgeW47oTdDKVhkCphG0GF8yaqibwuvDvXfCbdEG2AxRmBSo7ObIbkjNijQUF5/uBDHXXGK9/z0px86TA4CRd0WDGUWKLx4mC5NxXUirKtX0ZhmtYJu8otGnuvgpv1jt2C4rwVYo6b14IPIGv+1yS9B8ccKGWYVk2uAfpeLybjhgl3tLeIpBXq8gz1TD9Upp3i8BvUyJbJHMJrcTC8oxkad3L0x5JBsVWZm/0r/RuGV8DWkdzH+G96SkvFBW5ad0XM4xGvbbcfHuXkG0aBI/lWMCjP52UbcofMHbrJ8d1Dp+0vic3c5t546M5sbF1m2VWfVup2wH0MRUZn+lqgLxLX0Bo1F0QCYscwY4B/8CGTTcnScnL9vnYYRIckMy5Jxkl7vEXFOLii4kj04I4qx7VtTr0oiS06IWGVR37goHW1qj9Hx2D4wJJQaEDhLJ6S5l+9ftz8mZNgSBObIgKCSDqPMJwJ0RpkdU319Wf7biSNhzBKMbUxaA0+0DFF2XeD2fmmDk8ughfOWYwUxZiRoA3WGiI5GqFFLV6YzfYnZVrT3UkT5Py7fF7IxRKug7l9ENDmttYMNIVCSRGPY8XJ8f0iFEjHU+7QOqNgHbtEcuCHTTo75um7hZaBnCJ4MLhtjcz5Bx77myjYmPtV8Rntal61T250vz2z9CC6Zmuthw1yMdfiokeT2U8CNEndYYn5ioVNP/SKPbggz+NDZmch7dOWjMw4B+auKWsc8+uT5RrPF0RYSx9uyr3QeLJtS+R/V/9YrxaAPN9G/FhvAx+PmUazebBu530KRbOF7JRZ+DxLQ7n/3KIaE0gUBR1PhonESzGVK5Pi1JMt5d30iBNiN8Xp13XX4oBzQ+bDAZL3ngs6SApyCQZ7XNP+zeYQUTF0WLVNIG3NVSP+G3MDn67mK7lfyA1lI0GrASG/u5gmBRqF1S/l5KsTQfTTklweKijBSzqzmfJJ5ddcIj+XSSY1bfyUBpFxMsjE1e+EFhCG+mCOwf0haDXuQvevUoc6FRWUa1X4cW/YMExSCdp2hROnh7powbD6Js6YOzpcFNHkhHIMegTqa5HSFdpbVJef2B/lCh1WVtFFKi1MYyY+MUrwNrIAmRm+vLav2domKVbWc+6q0+jYtaa7LdQ+zEhUOiAUwG9M3qp51b6oMbUqM3v+ly7wE4j7eCaVbiLt+ZBUWlQYNemjiX4ECNpyLsmAOTOub00Bn0MAWAhf7uhmZ1AvOUxad+mHdWxrWIQAfbL2Ek0L4TD5Jzxu4jronZhhn9RAdUCAvsMpfs3UYrhyaeOprgOIrI4ZP1560k9auDBZCYC0x8M5hR2Cn4feP59hx6rtA19m2FgMwVcEX9Qs3CAiQPYIKVLc0wwcv0Ia0/iZADsx8vEV+9d860gA9M6En/ZuBLiV58Gmv8yPbLKuclMjhJqcNV8ATGDlZmp9h14RwIUWBBYPjzhv8kPhkGgmQF/CaX8Z3T3/PwMPv5UgRnSPIeHvV3szxSRxdjeiC/nZrMKD/qiq472LYH6ZqGg/AoRibjCkItE1np5kREFfrLRilpXTa5e1W3jUJ6n9kXOwO+3hp7w6V3zdTznuxq3zWayzamgHIOIFhJHKbR8PaRJA/VyH5+NCYFyd1sHRnYTevuviXK0QplXfJKGT/VRftIAN8CKNXy1+mb8Bc1gYI48DfP1I93L6/wYFCzgkh7Oz8e7WGvO0bocV/QZUY+bX5xtt359Ry7sPegdNPQw5aZXRQbLu/an5OM9WEOhc5bU2XqFf2XrnSu3rNNUN1ASEiAnNpJ+49HMZSbShHjh5lPYcIXWQnHHow86ovpj/93zLgDOSriPVM4GLliC4NBklg4KuS7H/Y5vq0NhvlV8T8/K5Ml4X+wCkoY9eqiT3skjyO6jaBKQe5DcFFK185nSA5jv0ARv3tOIkyE9TQofp5kWtZs/IyIOOqePeGMiYcTdO65U/nh9afp+qthlEjQz3f7qUzASsNfYb964yugl3G5ezENTlBNsm0XeVXD+m4JRCxlvhPCIXtUNzS7ukt6nSzXK8yOSI9eMT6kjE5jTZhVu8MQ2NycAB6HCgX6SHd6ywYY3rSm03gxKV8YNJOoHeoFj76l3CtKLpZmmtkPlFR5F2yZgdFLsADiNFXL8ciWS4Pd3Ov5KmvrDAiPYzNKtex0wkeEV4CbwK7bhDekrVrdpkDoDxzUQYgfIwdziEfMWWDwbiSkvQfQSIKF3yRWDRXL2Sr0ksr+f7uWe/AA1iKYt41RuuBnYbcmBDyd3D0LUv6nlD5SZPsiDT+1DnDsV7ZRV5cgPqhKJsYbpb0PJVSCClpaZ3lTV8j4qMrzsSKX2RmGDeP/A3guNl4NgeFmHZ8xiVEpvdZ2HtJfnpCn0fiskMJkxytfPp5ImE1gxiemCr/vHRCrrwBxPlz5/4jJtw4it+KFhLC6CpMoBDsxmE3XMMfEGd+Va7lC8eb7A0kAcaiQ+hR0sWhuA4wgJm5GKRZ+nvouKDwsGm5QgTBSUhiW7ZNk4n5FM93riQyUZxUr4I04rL7U/r8BScun0Ix5xM8LiX1Z2uaFyPxPUb2XrOVjz2KtV1pMN1bycZ06F6eAXF7+usH7noQrdi17muf0ZzcsquS3/vOKypQPXmFc28vVLVdW+1AgFPkmAoAQrd37pXyIzARABSVgGQG3YsEPV2m9vLvnDBRnZP0ny0ZGwNcy7DhRVkOr+KT9raQhxZ9w6QN/VZ+kpuZRkGl0Ohp2zQrfdu5fNm/7TvMoe9PjcriwuKUoCOYcOQ6e/p0xh6tS2aMsi/XWt4bxFSlnzKZ4l5C2Lk7kZlvgP5O6YaLCzL1loyXYaNvov+iSD0RnE2t4E91+oG+MqXcEuzZkjA+sBhgEAYWdacVI0BFjRNMu6Uxv+Xn3nKsX/CR1PkVo46qWoTxje2LimZDXW9Pfo+emKs7PgTfEqqHLd5tGvP6yfo9aj/ZdevCnaWqlQBlXtyM0Ou8e/HJvlso7AdG8N6IXfwQWRiscOBo3j4gDuuVP7qXxnroCRlkCEE7HyJq2GWGGBEndb6xCZy+4WOsh4plqwowgCR4swSk7jl4/Z28cewd9XTlwpzA8juom2kVwbbrXEC0ND840/h10YbSo0wpgXZc6w2LNNV3evXtQpn0vzTyIqPBaiQfTDbvzyF14e0jFUCuKiOmcU9j8pZ66JaNrYYsIzfSCCJjpum4/Wst4WRVGjEDoGE/0yYQ5DKI0JoHxJ1CWR7QfFsKFRejsAQTtgc6iN/K3jJOE/mukg8PPbVHlv2Ix1LyS8zN4cMUDOJH5BoHGBslo0rx1ipGzlT55JfYZ/qy1RU3fOC20Fr3Shq/crc8+f01yFIDON9Oncg0XNKmBUj7sUxeFxhTURoZEYnoQ2VpOYGVybUHraBTkMgeGvi+YNdZPtJ7/Tt1zMScgSxP6ZoK+dRDbIoe0b2p98EIQ3pFl/yLEfzPttv2n8AO5bMVkZcycj5Li8IcI/BvCp7U4aLI7CYb4IhBCDpviHBraDIRIH1SQGbRxnEa63oTGWGG8bJWCQ4wkQL2KSx7hWwXhtbzw4nv6SogpILnmTqnnkMtInI6ymrW4VyNtNmkkSW4prWXp+eBS4tjAF6uULKabowQC4XYom1NS7TbgilreLJiNBDE/6QZ7hA0heLSAizu+2tG8zdmJ/gLIY4ssQVvciWxShI0KngQr5yn6Y2q9jxIzi1lAa+z8noAPFJ9ptBcWSs6oHOTJ7etPU+wX0peJoEbVnFKo6+Nv4amSBJGKa/dOQXvbk9cXLmOCu//vqz7J9ciT4GvKa7K8t3YjoQK/qS51RghGXrtUEAG652MHwbL8Wn3jXvQkLnuuLpoCtYTe3uHu7cSyi7sB2Z+cDvODXJUIu4WGuePjExKMbv/Z0y5nsUCa1ynQF7s3Dfeo8W+ibTCfq1S0Zq6pLd1uuK9G8m94t/u8FMkBkizHU0sZpJQs7Qsf2JUfQ/JmhGR8y8o3HgwUVLutc/8F71DSngg0KOv860TOglrhGeF4sh/+d4ollKlyewaep5vM6gUrA4gNxOIq+eWKf47QeMiK6F0wQPmnHOGUkRMMW9lKO9L+riTrM2D+jjA6vNR4GX9Xd7HPobhxi0ykiEd5bQWNj5tsjR5px+PtCZjM5YjYOxCfKxPFt+DwXJusUx7gwFXv0HElwXbvEEhUZiMv9CDP5PTdPNZ9epKtMLX7Zbjhd5eFeMv/z5IWENJBs9gd8OK2kImcFf/KXTvrqJsxHUDCfEkHOk1eMUxXW8h787Fp6ZrJM9l8rXPwqg0mlkDp2c8L3xLzXISmFjkdqoXHBJjQxICNKQE4/bFFnOJjXEKyXAxVTGfEevSQnDiWu6P+XxaPmTJq3LDFoUKvx7k3pKFUp1Ef5lPpHoZNLeT3uBeKmb0fw5B4T2fECNK5Aj301wfC+o6WoYDGKDciGgcLREcfWef1u3dU8qNtbLirJTTuNxLyhviemLSAui5VDXz/633nXymgztErd/Zpf4pQToRMgALV7mWGuDM0mBUhF/UCGZhLQZpPuorybZ93ZaZd8ol4Wytdj17unsXF2M+pBb0u733ust34jUB43829v3Ea5EkMWiTetxemMOddMJc2FSV7j9E9P1EP7jAgcLMxTQRhFBv1SNMyUzGdPV4rYdxkTs0RHryAacb1fU0nDYvO/xp3U04ApB8/DjiPs80NZBq9WPjlS3KehV9AFBYe0Y0FNevAyxfIbTUyCV2njhJfdHu8tgc/aUKGSvSpMMq6e/4O3TbOltV89WqqksnMVS+KjjS8YNRE1FCoGMRmYDciCmJPdapi3RJjsFChlrnVYgkBBE/hELYtlRHwHySunA4+Y2U/Y4Yg+A4kt7cdtfyy4Tldlhl8FQGFWPhCsqLNjSz9dU2heBpEAYX2WbBXXGmSpA7/h15QJqiNk2J8Tlks+/AaSz6GdRq0SMuunJMjW5cUwOQ/EwyUH469rFi2wgRCWDe72efM1VS3z5/hicadyBWLoSRfoOQcEDWpf89kVCsF1qgYbZLy406ShO0V5TP1yO6ansa4wax2wDscvuHxsNRZ21GSYsjLMocoaNZ/T1tCHX/b5OdiVf6S5VSm0lU4IwgLQI4dmptbxml4nc4nID6xVj1ho6wmNPcOx7wqRJXE8tFsY3KEKn9P8d1DYIqOhC73qfmOUC7uCdERLeb9RJ5TRyRdHHjx2mnlKLevK5WZwM6rozqCwlPaqzZmxWBzN4o6aSdhOWk4QN0VLuTic6lgqJHDr4gP2MdEcIWYHPlsk76uXOiPtGdB+AwEsH3nqicIQ7zppNaS7H7bQKg93WNhlBvaKVtIGIcNCXlHVgryIqeC4XXE/Yz2naRLPip44beE63EnVIUuf75eqmlONrZDyZqKJa1rRrq3SlW1XMiHpnWxQac8yUJOp3iok4pWEJwWwUP7JgRHhqzSZyFaSKEYY9pF8bKhhLoiEQ0CrhkDrO5fi63AXiCsOWGfhqq3Iam2YznOcOYk138DvIm3T9fCmomxwycFxeWgq5HQTAYwWZ9+OdltP/xIGrlog8eVFTC2ISCPJVi5YxvodRxZL+M7TG3Hbklk2IPWT0ToeUsQOocHyC8Oj343pdGsWW8yFhSqFh+CeHgxJbDbTBrzZIJ7Z/uiW0uNkwd8qgvqOxx4vxR2R2WpafLUWJ2J5lOyCTjjDEwhYw+CR3dqU2a5UOcfea+6WP5ql5yDC3sfkm/i2hirq283bFJlu7YdthZ71+q5kJB1IZvFXWN/7CuN8IITKV2a5wT6xxpTj781F4wkQ3okbJgN4QrvCY8S52dnZEqaeVil5OB0cMs5nNxi5zIboCENcbRbOmXS6fKjpL55xwwkssqq3fmI90kdkoSB/hyuaZ+2j+VjkfxIOyHrf7l0J5LIvXGgtGqS64iieySUI8NAX5Z53BJhdAWoMVuUnIH4LSIHLSpN2zXT15CeXMelvC9sw4g6ASPpduUJ3AneSbAWFGA6LDCszRCi5oA8GY6NwgD7cpw42BR/f+aIs53ik5B0GQN1KHu88J+HHp1UoDmqDcTACyN9xbqFLeFWf8503QbkAbQAL4WUiFpGQ9frAyjWCznh5fldpDFi4OGB/mWExHG7Sk3YJKyGYMuzvmQtnfOeJoZT1x8DL4N6j4Bldep4lxcX9djUosH2MP4a5COUoLe01WWSh5PSnzNUNQAfUQykmKp9s+FPAXFnGq3SJ/nB0Bf/cikzJV7yyb0RcJEbqF9i6EyhzaRTbuvSqVBicTgv86KwLI/jylEvq5/+8K41FwysUshuwjCiFhnXfYHmdywDUHzPuH4ApPo1t3GP/soHLk/WYaGaFsR4ZzxJi1XF8xUbgaaCReHom7k0+pY+CW1NHzA4eBJUZUKmQ8JPov0/lst3dtGPDCmSVNTo6pDr6/j1YRaHn96pubA/EIB3ij45EckH1/ZR5s/AzIGCahiQPwUY8Hyno54wjXJMNKk23l5OsvHJULmjHPyeW1GVME74r0APrEq/Zc4IwiX3yARrqJC71Tuvill1HWmxuLqTx9DgihRXehi2R0oDTbO3E9Du1at5SJqoZ8JGMZ8Q9sW3fbEAwDLgk1zjGYK+NMG3avScG5gmJd02D0KLfB1gcME5cRCDei245OL9Qo9Vi8G3aljNHRAn3691PVWwBJ6/bN2+aIfa2Zs0OKYe1MaN6F5vmSkolCypPo5LgqQ2V/Ze3oI8a4YXosBX65GXADYkWgagfWTdd/ontHyrRH2YeHJYsjDxW610lv1W9Wfugu3tgkEJJkgjeg61SWot3NKArM4+RDqM2hoUL4stNKYa7FlT/wjbTA2bIfzjuviVZPBsdN5tFlICiM/5fj13SYxZIoEuh5vAX0cW58mcEz4NOkq/KxBNGak+2d214EvxfCfiPIDDvA5+g1tOv9v+PpcxqXisFWcJYsxlmuHiNdC4XAaSTUccSIqMhtACpodjDvyuVmBI/SzLKIEoexObl8QISF6Pwma88EY2Qsbu7sefVLUzuShT/a82EywqwyvWKDjFTncJylqC6sfwHj6fhvQ3zW28LhKE3J5z5qOCH84oLbCdRzX6jxkoJdWUpI57iQWiQf0xAgCAG8AWD7dT5bQtTukksSBG/5DUR8Sw0abqc5NYD1OYYb5Gn323nQKTOIL1kdifd5z+0O/yIO00sNrDSsuLSM2o9IOgHgj1jU1fS1H2UM4zPdG/3bhFFMZGz9vZokOmFlT+kyow6njAy56zVkyudGZeRO0bDct6f2PGpcZ/5KC0P6dzkNq4BP2SDwpiVn04bRED5rwVUEE8bLMe5ioz0cekYKyUUcrcZ8Mb7/L5i4MYHDWslkMutfqvUIMdJu3ZiC1TRygjFuXacFg2eRYPwzxJmbqAzQ5/YxBMxJEt2u4s63fP7uZD2G3GLqlC7mdT+es/8zI+C+ICThylfN0Qdl65AliHcXBPIgvkGZOMgf7qbWHghyRwPu+yJVapFwT7F2zSmDMAVHyEWSRo8JGIwkkUnRx715s4yHZ2gzQbXlwSzWiB6xl8BpvCLfCfEOhiZJojpaDllKiNqKbGswuK7csCqOH77BJVBVKnt05Bzj83DM4aLWOhQ0cEWtlgVsaXAacEtl/57DplJ66Pcg6o+OGRMu7oZfwRwsEFJRRhcyYbHFogr7z7IExwnSh8eRgGDSnTkRxTIDeKsdoeY9tStIbuQG2oxAR/mrYLrQRm/g0OL0wrCZUI2QSn+FqN6VhuEsXs5gq96y3q3ELxUtCVbpnoU85+Vlz+iwz9Ji9LrIDNwuojnlLnxGGXFZxFQrrX/QQgLgs0gBdejwkXCt63Ih+KbY7leI3k6LQzG+iWLzHGj94Dlo6FtvC3f7OIsZ4j49ZEpr8qJHcq0RhLSxsUQOvaP8VOrMp9GYbQMAMyIOPyYEIymlyAQIQFlR0ILHP44f7WUK2WxnQ7cGdx0p07Ol3zxuVEi9yxJ698p+kTMzvyRWE2DWEr5DqghkaawclNVGBbi0MLzXcgpUEZuJmAenbbrM2mgCoUZXnKb9dqNJkzfOLgxkmpglK0hIsDTc9xfXoUqNqkRaMUnSdqN1UTtZikF8dKBwRzLkb/VPY8z8lZ7nmI0DqgjfgExdfhWFJm7r2/wWNfIoQuwZAqiJ0sON4phTk9VA/0Yw4sikl9Z0ObkCbk5eRpKa/zyncLjV2S0wm/u82jFb4iqf3n+w0pI7IkScyzbqtHliBqYixbEtGgPltf/SSvQrr84r+vpcK4vhxsCnlOwGuV6DcNoBk5ZS7QPPSKf9WqwokQ2+0WzI1NjztBsPmq7cPT1aOGQSxG03VDeFlH4L8PMlyiez7gkeljldseDUgf6AiWx4AvltiR7NuLkyVIJDObE44avH+NobVgXGzBeiTq7JXzirEHTTfrGnLEOmG1bMLnohBWDaaRaeLnrMKSOhQ8FUY3SxulrQKtRSgq7OrFo0bbl3eEiALKxOo6uEddGDytQ5sJa+U1VsMlZnHJcgKVaKPOdKWZZZYM4FfgxhEx/W4fNKsJa6KnauN2rZ8pCyzsMcJMqte6oiY10Y3WJQ1nzg7NHQyQeXEveqqojpVrQ+4KefkX2WzkoUcIx39jozuVSZK09uwVvCsSQQlHYwebJe1e/yWFkDGn1AgUUm6h21tZ5iMMTxSXrUEKJl79gp6yeL/75PkMuLLgpE8whtXzTJ7fmLW1mAcS3PMQlFnN65KVjutGCCgjqItg0rv8JxzCsGkp15QTHLcj3xi1HQO1TXWnwvb9bvJM247BHGxn0myWFS0Ag6ziRVc2GASz19YR6l6/XvP07sT9UQ4ZQLskd3ZKG6JwZd5gWB8iqHoNonkHneZTejkWTmBAXfN//qyt+xlUamWjZbEOkCYXGUrt/PbtQFWlWtvr921xSIIXBjuzsDqKnzqbL3BhY/ZJwG/3rP0upp01D45CnQN5tDgq1jScnnssI5pzidGzHNcKj5j/8R5JPN1sQqvjmGCM4hxzuqq/KflO5aPyTjLsBdVpJGPldjUzsOs1nXbmMIB+XaZKdTq4h4ucQO6YBHg5gaPxzv6IR1MF3p+sM/t7tW4X2pkAIJMqlWW8CPgxSgfntAfPkb4mBvSP4G40Mt0NspHA2CIAm2Qxv3ufXC33Y1sh8sGhSuKfQV+q0WrBXBQxvrOfHHtJ69mvxivlR55fFXMAVRP3+YlbBKqrBhasrxy+l4tsYrUUkXSKmq9Qt3VP2bfQHWLmJPPhW7aBFzcjFUaNSXIpIF1VPN4bWyIWG14L3KoQoDM2nDql0IUjYvWvHd6TsOlN+Q4Ydx7ZVxbeAFH+S+lJxm7WzTQDYnQl4xkhkNIVJfk6q0Vgb6KOUf5N/UWSe34J5DweFMuLL/ma7zniDEboQL/osQOT0YADN07V09qDCqH7I5/y5Tj4gn2iuMDJSbAtcVkYcJyGdZw97HAxgsHh52MN2J9CDFB2efdz2cridADW6jkowqjEbIGwQ0BPQzI0CLJPVpyvKETiO/n6DyxoFoGrHmrVJrxJwv6J6oqZOBVfC3gBSYq4FlD1eCQjXpizuR0ZmVqtSdhXODm0dMT2tzHbGl0VYX+VzmWbXp1E8nZKyEen55Drtob/gONX4+Cs5W6/wxSJkmbd8DlmF1FiSX0y7nExUPN8hxKSqcQ8ql9ZoPehNdV3avu7kCr6VdE2qaMQPOeSZ7wvDBN32z8wd0BuQm3iruOCL8sNzPes3nYluAi0TyBIOEoRzMTIhvRn66Of4NUGH3rJJOTbdbv/H1uU3E0rY1qbH5m/pM4sKpdOFs53xdq29BJZJZSZ5IILAtyPsEJsJtG2jZEdS2/2cccZqhZzXTaSpBzM8CrWa4WR4jSNG5Wv6jvhPZaxmhckR+K5t+oeUFs7MjD8h9DRtO8mx/z44saUwWS6UL60iUOzGzLvsxvcE8J73jfo4b3yXdNgTC6pFzc+R+xfsvGOksXZ34qUYfunXph0VOczn22GgSyunGq2bUzR39IgffKFV3rpKQoFPhJxLVJVMOE5rDOYMEapOYlZGrfO/UUzIMEV4d1g0hhWxAYqwIyqViq3RfJEN2CkrEaMcv0DqbWb3RCbBMnhEqlWW0D9Ql+EXjA4ynWU43gBIlvnCPnQEyMY/AYfFAPeJF8MfuGZDmxngFfd39U/Ej/K2HP+A0z23jXMjnPKFP4MSLNH6CMmDBXSqVqukxOWsxc+n/4bipqBjW884mQglhteF84cTyQx2+uOaL0gljT20ivZFla09U9BWvoVSaE4xDMUWW/z7h2hVgrOMp/MQ/0nk+dQc7dEbGV7AwBNLos59Y0EsIu1SUSM5si8r6CBGl0vD5IZoaq6qEK/EVO4TkJVAsjwbUDMT+0pl4O7luDc2VvoT+y4BEFbUBPNxSD0fsR/OzAbArlSTz8V3QY7O7r60GJhLvxDcUKUgdp34HxqH+SRDFPChfYBl5qujSBbFfUGGPIbmsS1uB4Xgp0/lF8uLpQnEfWILDGxBGTckn5Twt1P6QVmF2VBKeOEBvB69Xu7s2C1QfycqGv8dBg74E8+MzTZIUEy3zF+9bwRNCYK6CaLBiGJWpTihs8rwDROpITdXOMzYcN6Sgs7ZS+sNsm3ViHZ2q6BgyjqOAUe2mJwHSDiBas2+LxWdLri0MXPauLFaWroLlkTapBZ6+JF/EVHGbSe5BOeyMT/DfOS47jYISr/1LOI4uaA4+m/yliLKgm1FDs/3LoNC8xmHnPxvilUUTKXc/A6jkaYFAgvPS+M5Kc9D74n3dwcWJZKtudZnYdjH5W3GPi2nTHPIL7iQ6jBiRmtWFj6rZo1SbDjImAtWN7VrXQYtYWrxdja8eHtkuFfRlfK/GxeClWPLPc5h2iNU+j803rIcJWPJoaOt3CnQulViZQKUZjJ+twZNfZ2VSCynM5Gv2AjnYEfNqm3UqPkAViO5qOzADokWMS9r7FTMQ7E8LCiC8XNwpOksuHPS+6qPlr/haAm1davktj5Axa1N1iCxCKEGKI8+bF4BVorjTd6rVBw7RUsgiMyBoGFeqTE0jIR3Al8IzFu/ng+CdQr9Y77MzXRMO6DLdkRu01S4GI9b1j1fO6lirOtKJMAU+lkXVIf0OSLj/axv0pi/qkcg4d5j3owKG5A9H53e6yxbif2rHxHzfgPGnP9cDVBAWjOkQAUYMadLpiJWTKhxhVA4mvJn7fRDz3mTdzxZur1eqnOM0ZY8kqt3xxB4eMxtVzxa+fSxlnYYYOXvB6MDXpgt00h9ZsjaQPc8cTxt44jZJwIDmzZKQ6bH5Dzete9zV6WRQe1yusNhTEoCBrRGQ2s78bgj+9zAmWm1Pah+mf1cV7N5b2aZn390JvzG5GdXMB+sD8I6Li/1ZLZkO2w6KRK5cPgpkEBC+2/MYuH7KqSUREza6PRPwQsgYxajp8B2RcZGoeBl9UME9Qjr8wuQQ2xUFXoy3yUTBlNwfQpcBYAY8tfAyJN1KqTPw+B66l5kR/U92WIQc8kNwhtVUE9Tz7rsWRs3SsVA01356WjGbekv1Wfp84/Y4bo2c4MuNVGqWPTzAMR7P4DqkJK/q6vc1pEn+GOjqxZNXCcKeZpQ5inIeMy1NXWKXLXerXLbx9DW2vkDXkqhM8OHqAhsMQmqB2mJrzzaVUcO7DWuji27xmATw3Be4s233nHfcsmp3FpoWWY3/YhISlPreLeojQUtEwjpomZaJjKcVM8suZBPYyZisdkhA4yYjZ1DnKHA61bBSy3hdgAVsj5BC8RJEBdQJ2ZpUO8uoj4n9gYox1t4xMsYmWwPMORpsl5q7cZGmfsP0CYAD64WQZlNBWqJbOp+ldnt7AAwk5J7Lg/azdUG4vY6K0IKKFhp2e71yIDp3b1o0eqtQAMjeYbES/xFP4Cvi2IiaoL0jHXc30q+oaHV/skQDvdswTyL4rOLto29AIOk5YJnKL0e0p5QY3iVjRspadM/NQYxVop3NX3aFU0ETUYZQEKIiTzwe7GcsVahW861fpMyggiYlWlLL407gkKFmIi4fEIJgsPt+DgvIIrReCHkykC8Z66jdJYMBMCVbuzVyMcZNDX3VIIpzucoUUC3bFUC2HbT3+YoVoWKG7sz8VAgwIOs47juDskYVwD/7skqdwohTLEuaaYu6Ad47UFdnXxUaDqf/Tuh2EzMxNYt2EoJRLfvZkC8aFqpW0S2VMYtzpWGO28pnjKqNUWJzZlVCe+AMj501Kf98e438E/WhErOu7tCidUaQOBXDAEKJz5UCufmxAP+7ag9bYb+bNaQ1/ivBvlpA+2wrXJXhojUXpBc8mozyDa+tSSlg0HHYm5AgL1QxrX0mnD7dTs4oxBVY/GFOX1WZ3ZVGDm2/zMSDPQr3IxL9MvXV941wR5s+nvFdISnhP1Hd+8n1rnsESri5yWH1UjL+DCiKUxZz9nDYq4r0EjpffymK7CPImAeCR/h0jf77v1+g0lMYStmvl0rXrtxAu/LG7Baev38tcAu19yaN2kgweMtIRhooHo8UVQvsm/zTX/I1mILY6UbffDfbtgkXHZHoNgnoj0G8hr/bZlXhEhsUmYiYVbtKIR3v0o2E2KAnFne3B+NqgIHT/U34c3HZeABy80ep1EFhiIfMCmiOFMUJ5dcjBtzCEEIOgr0IqERFT9qer8krJDTZprQEHORGucVK/RRFbayJIlAMuIVIZQ/1mkuR1zNsPMjRI1HJFxx7Qg8J4E750oIDS6zoC4N0WaCsXLbxwf83nStOWncAd05MbfluaHTp6N2uL5bMET2kgm/aHHXNAVkOCcfZiRMavOxAW8KJnnr2Hy/bx/RsyXFk9Gre6LSXeF/doX7W21bSd33r3qT7dNF3v4XwaN92TAoBWi9iCpC4qj2MG2YCY90itO0ToepESMog6Y0990H7WiYjZhUjKjhKBA7AjKDbT/Q28McGfGGZArXQfli3/ivYt5zaKIgzyf+KKieTfxxcvcCCzLPVmFuqeOC4EcYhjoBqgk5UgzJMuWJKk46I6E8oALpBwBCQWjRmtfo0PKbnQFLvV6r/OZE6TWfbuv5f4R8wWSOBekdXpDFwrOXEDNq2YfWiQBqS7HD/ux4SCMAZc1W+ZuK6yt+Z/G0udM4ju3Y8mNl1bFZqUw7hHZ1R/WsE+R0j+P4oX7L4akkSL1bB3lF821lfTmdpRfzfqU2l75PmZesVL3TJ5g53TQvCjAUoOw3edAUzPO6NQBhA2vej70H4i9dLUtcrwERFHGMe+qIG1c+YL8cuXkOdufpc9Sg0aKggbAQpp+lzNC5CM6bng2kRV60+VQ/rXfy0lKuSk1FRAigKqnjQe9N9eZZPBoEJuzPmfuel/aVx3ypsfBF/gLwzexa6HCZtijprmuKN+gRgXox4KemM5OQufQHpPviQ5eUF6EllJHpyBOK3Tm6rTUUKSjq/QAev4HAXHrzGeqSQArARV+lytY053mgrz/AQdpwNxIDuxlQ+BWp57MFxbX9CGDPa8+KwT6NEr+dm9mORjcQw4xjRNlB3NW+Ogq23SmaT3l18iXdYpUYZx0m7RUrePUPhMIhgIPNrMWhf6eq/DXIDnOF1unC+Xt2w85hyp99Ll5qlKuXlZDAESdBidTpm8tYCflM0pMc4/gM1yRn0mmugn507c3B2cfZ9nKDh8QGbyiPkyZ7pIwBGk4ERMsJnhuMv9ncv2B/uV2gGCocucd96DiX/Ejyql6/NYnm+Styl5wP2xrnDs/fjbQMRGPIz3bWqKDyJFikj8tRxlF6BbHb2J+8BHqpwy7q2UgS4PsxS2tB5xo7Kfgc2T+8H3Zk9o5DojQutn+BLL4iDA3/235rwCI+aeZUSmqe8LsDfQ4Yt0Vijx55oyIa9BWq7Z5XQI29BSQH3G2O76x0yXUlz8d5IYnCUbYP7qfs0sps3L4s7E2p7b0lIkjP0JdnWMMSXQDvPhJVSdeB1pRB4C7DQkF8VwRmTFDXw3xVAdaTCnVeZEW7vuUF8BJzWgoS+AZJ/oeaWhtc89eEXRs/zN2aw7uhRgtfB9lKCgRnaCqB1TXpoaGt/eMdCB2DlVtHtHXGu6FIQzTv/bLvoQHLJig+vhdaLoEUTHodtCiAZcgUvhgQNR93EIj8gKyJXKsleFNo1uUxNfM6H51wTcAbiRQIXhAMM/96brsYkbHJKkzqWxNvJuULnbKMfwHKwFsvPMjhC9FUzf49mqjYMqycKOyHNSUUBN0mu0qyeZ3ev6pOt84CV3fgNvVMYJtk5DM4HGr3nQ2WzPWg+o/nK5Cz0GraQ1BUpC1JZlOVJtghaFVLlfZHB7mjwT+jYVnYAAb4raVXk7x3VOU6imCNUqI7ZRBIheCQkqDbizTqRkjyBTgSrGxYhnRE3GMKpoZkd/OEvgFSGN8pAaVt6/XiZA1mpBBHIx9M1T/Rkx7AIBn7GUF+E5iVc04N5rrBP+VvUtTc8pXA2iplnbcdRDIvPx4wUebYUhZBoasDDN4TXVMb15dMZu8lG+/+kFRiugdinv6m9On6gLvTqAx+XES9gXAlvhLvdeo0AgyT2ztQ1mUWWSMVVAIMfzzLegqNkRU4YozVoKWjPCKHlAJjtKCerLt2UiwZwFSHqVpHfY0QtUUYVnDl6AChOv22CnwK2vXUqlc3ypuYAQTvyNosI9Lc85IxZioxw96q3EBwoSccsfqQLKXYrlKEN8oq9VjZ4LEgxXAsq3Tn49a94MRACrtlODBSTZlKRapt+EuWcNJn+n2LHOmLSPmhDE4aUmfl6JJnYtQw+imx8vxMpPKZvKx5QIDnX9Fjlu11dt+BDdsm4NbXP7M5EIkPXZrtqPZQesSEybQC840k6uKZVNsf2pWJVXWEvQzzaVo6GVk4+3E0gkyPfVu0Gwt2i9WuRURhCQy6jz1TK+ugoHIvCRjHh3+ZupZ46UaCbKbretfRu5IDIoxnNY1lGCvfbculzAM+BU8FmR+EQLgppnpcRDRqsqxzGHvv6gI2FYBAyIosE8cJMJwpBERwu/FDQMolTqAck0GXwolSwjYBqVoHrR8AmO9Tl7QqalkhzZxta4zVJuyrnmBvrwoXkm5ryWurTVyU4RT5mrPiBcgGyiWe/zeIolzRoq57Ldz+Dz0aNZT/hwbxtKCmmVe7GGQwxYj7A4Q5TRQ4tzb2c5C6Qkb7UL06R7bTBErwT66pArEQpDd8Vb9ekkFI7ghr6bPQ+qBreOaDhaNrD1hccuAITVHfgkLV+CiAmqbGY9RfPvNtMfwwR2oop31+DJSdtgyjgVYbYuZ7w5GA7fPXTJqTg2Ycxs2HpL8u49owcvPEfOLj6OQxLIgbgVJ8ql+31YmS5j5WpGLk1K5a7BhsES0FnEywNwd42s6OCJLpmO3VpGsuA3drMe1kh1MQZUktMy7+14o5xyf56IrEiit11HexT2fPNaBkY21rcEzp2QLj42tyYZG1+V5ABlJFcHBhZKswqlfd1bSpUnhh/XhjmqXx3D1JZ/ofZFr7t3U2dsQmh5HVycutBrqwVoxImpc4nlCYpOsTphvB4033r7538MqvpXOo7wwNW4CPW081Mz/adHl5CPNo9s9kP+1OxxZkUescf8sLee4fKQb/usCSVWB/mY9OmJG31xzg+RlsvAzuttBeaPTqJqvACNNC+XYyXO+uMSGYdY0KhIEFiHMM2HiDLu9N3kUfZ3+ESLuko3uvAW38gMJdUAlSlH/0YdtWLsiRYBs7xdUIlsSxkYaoM4SwwH3L5SR/5GBfIumZ8vLFyP2QD9CE5rVKVHLurUfK/IdGhnEyUh6rMVvm36evL/f9b0Bwhadxtjg4aLRuld18g7oMQYMMoK6J/6GuNvYCIDxiUd9zjRsDcJa/A0F6w1CCBYeYsWb2kqGjLK4i3SU5/WJbh6q3XXFwCqwGhMU4/tSgo9vYqmdaRVOuQL+XtRC16UOpWrSCeoqbpcvHJ+SLH1WkdwxIie9oX8Ptu1VUk2pCUkFSbbu028cFgznbseopY/d7wSei5UOk+mLNiidpuc+ulmOCHdd6sT5wDr3Vjsc6SdRL7z9qsWEif4hTe0Pxj37EE0alhAvJgz64zkqZIgTMsobNKsJUll7b9Wc/av9REDEccUPTZSRPIFotbuRqSdZfnH5Fk/yH+Xc3x0Ge2DgUQPpAPWlbG/wlUDr+RiEc4iNikFuDIAT3jNQ8a/Se8NbMJewPa+1PlsUDLyauls7baY2K1bbravUr/mCCbyAvkTGK3/XGkz+ihsaLdiO/Uxz5yRnWwrspNRLSvg+d7a6eUEjM+JZEImXGzcBpxCJPN4nBv/jSso1f954NL03CwEVVpg08niP+5zQI8uaJykhYi7lKWIK/pwXIaubxpJdddBzdL6hljXp5/Vn3KtMkaf0mPsk0Q7zfRYD4mWMFw0GokF1Qf6bxIGErAwNyJAEVNvPTNtFKWxXKgHFkWvpdPXLmp6Adcsmb0HfjG/SDgKUtWkD91RyqeooEHcTOdMXSR10ep6iYbuLXAJjHPPpyj+zQD/+p0eorkM5r0B8foNLxH2h5X9Ilv53GwDPfOIt9hK6IhYpsOoBBVoenuU+x+Y7v84VjAF0XveY4VQimKrz2nFr76uVLLGPvERJPb7jsAcDO6+6X5trcBaOA+4/m4RTtWqxYEVBqKbW0PNvqxsd2/DE3g+B2wEoFMj1m53vBaQiLhHczvr1pZGoAibQoX7tQaLxpDShNYrlmuiNJxYl0YSwjfNnRdlRaru8cXNgrV33J2WrY/LshiXlkpovPfnnH1rSLrPiUiRVvWpRSgWKRto5EeEGJh0MHQXyJl6Jtxuyt9P7l5b2eX58Qcc+g5/ghA4kDm7KI53hHj2Mu0egfBxa61bTLCe8eB6nNTE+feyzBdvntWCqlHfcu31P4VX4UM8eHf8pfaHVgyhAa0Ek30KvRUvU4l3ao69wAT3B9gxrB99KvfIEpYQAs/l4ZideFNPzNBybht/7iVuHdTht+rCOxyE8oKBBVZxeflWkqpQJUR41CPtLCxHS0IR2WPup0Xwpvs/reU0PvI70u9SCl45joEof7fz/q/vVi+GFMutqwA0svQL24PwF5jgHWCOzXA4ufgHr2LYvNX23F/0sERWWx2r1OZ5/Gx+1RfIiA2rsnWftoPMl0Yr3ydKQWc3Nr+Zdc1zMP4cz7WHPlyQBHbffyOy4/kBACpIva9MJ6tP7pxD4SFXVfFxFdP5rFlX9Ze0Uw8IUPgIWca79TxUCaFz7bwb4OM2Yer/VBYOWPNqWFlsBmLr7AJPoVp1EnxwtvFisqW3WxDc/osjl++PXbCJBrEt+Mi3lQDdDpurrS8qM645zWat924XbyS1QMRNURG+7Kp+bJ0b9viZ6uHqv3+FtCsvnRXhHaMmsY/CpOK2Bci6ITn0AerEYM+1noxRDn6MH0Y5vxDukhQlCFploGqCN4Q2SSRGNAIRUKIdpSfWPIZWTw9sX5bY5dWG0bjdM5wikRsPnTZhx/rDblUutmDLs+aV+wuHsnkBC+NHd7xdX2pYEwjWJ11XmDaCqUS8fgbmYWdIAsJMjOEjQkVVt8cONtxw+cRLUXamJLVXfNFpNFeVcDx4GtJG6ct7i/6jnzkSP0noLUggwhhHtJxOkH7rmZn77qYx2P/phTgsI+AT4SMg9BN7lMKJMe3ZGU2XZ3hjkA1xvpqBy4klaJP2BjYSMY9icdBOsuWcdT/M/IrDHzAhB/F+DdpjWOl5bqMHinnyqffGHMET89R9LVYCuXtI+ReBv5+ZHYnFZasKMmJz5/4pHeZsp2sUITN+RBmVXFObYkXwgt7i6ZjHIF9JcXpgWgGsD3TyYvMxENet+Fe4OMlmXakAChP4z4Kdt25zJKFSI5i5DMQVHX04CBcyxsFPCTSRp0E11nM/9+eGL3ItxIH5l+asz0Fo9gw7N+Jz5NP5WPsP+D4yrwwU+I1ilaVEoWkf4TjJXvosDeqf0GIma13z1OMM6PnXYdfv8miJLEzAzIONeS2J4RSXByoA0BSlaIbSt1jEvRbt2s3tOpa9o2+NRYrBXEDOBOhn2FQDgHEY9mrUAzYkX16kL5fPpxJBLVwuvxdFoR4JMfnjWqCYzILAdqXwSt5m663th9lrtrSIm5iOv4Hy+PWfvz5m7YaX8creAO4Vw4VGP64g6mqjC3MXfWDYkTm3UmED+Qpj7/TZ5idmXz+eD6eu1P59LPSqiyX23i6vmTAQxn1s7q1iBibVI4tGyVAzxhTkwM4NI4WF0Mwg+dzx+1EAqGLSEL9thcY/pDMkJDKzTswwkhV+ff29AK6ma2xL7Fan9wwQEUQVlWBx4fLz1ZAqIHjD+GZ8KmTMs4Fgy3FOt+sd6wkgS+3Sot0AMJgHKnKaLVIatECoHabdBJsT6w56Nhnj8oPv8g7hWI+vSzYjW8usD9E2W511m9nE1EO4mZSc9mX0IKu07nzZ4TwqFrdnBg2CKTUWRDLxC4+Opv56vRuRiLC2I9z/UpWja4EQNhuV6JQ69vY5kjtnYS4Smg+lxa0JiNZdfV9UZejqbN22Hu1VL6YpgRziWNGqJK3+iwmqymwoyHXhEzjwlMqQBGAm1cFoHttutbpzL8GVReLmHKM93Yqn8g3A2AY9M7GbORqq52oU6uiyZfhS/4bwsgZfRZEjCai0kYmkm11dfgNE0VO1Mi40w9Ua36FyrQ+GJpE6lmFtCqbUhccm+14ODD3LLxm0Gi7zGVR3GLFtgA+oM9xZe3OJaO9qNAQ80jjVDfGvMRlRyzxQPm1w6E3FDyVhtiiHsLCP3gtz85oGzU8HaB/K4WsRMXx1JgzJmPrHS6AaKmds2ECpMSZAi2Rqzt3nZBIbtDzZ87rF0BZCDmseFuJ6qcwxnQngVTz0H4CFOdMwQF693sP477i3PIH06pzbNrN7TxEGXy56MH9Sl6588ZBQ88BWKqDcSZ0gy+d7ZhT1bTMbgK2gUYBg19XyqbeQldFUeUVoAm5DNjgGHV3yDyFc2yMtgZGq715rkPA4yoYMe9kH+YIATXvjjOKdtvTWQO+fk6ee1jeE5TgWGlg8A466hJ0OKkpx4p17EbCSfkpKorRBDscImvAMPqTNMeF3QvjdhweTNlMHXNnbvY9Hl4v6O4JKclfZK0hl9YWXm2dXE/tB8HtUzy1jN1l1qhmKHqFt8ZoNMyNmuny2xhTwHKJRfJ8BM6lipzcKiXP4zJbflHGedh3rQgMRCSz73DWCohepwVHLhXB4h05FlBgcyeWOHbjyBiNMLoi9rddwS6ojnKc/GHv4xUJecoDJZY/Qxq7bHYe7z+YpVOQZR7ZKPVL4W8DnfqMLX3Lm+HYCH84mMwMiPcvI7Ym9Vel3AKvV9+030EtdBtqEdLCGZor4CtQ3jS0e6HAnZWtXQn2zk2K80GMxXnHxYGlD+jNxpT0zukSIoQ6S2RaJDHAC3x9GQI+HVLwJJca+75iPORJeaaeyoaVVr0iODc8sOdJmc4SzpW7efMx3sGMvwf+TIaruODvuNUnwWYJpHLZcTq0Ce/Wxqe8U+QSJoPLOct+5abheGtuTko0fwB+A9wE+BEd6SqpxqrQKa9kLJnuAc6WG5C22W6DW2vV+s4/CbeWzQUwNw3jryM0Ne3QLe6JUdWRmQE9Mxd47LWwdFKjmMVmd4RPwuY/cxW2TcoAfZHPFQmwv8TXgBVAI3jYyK0ujPo6pNeg0gWZaFrkBQKnkn8wme3f2bw/yD9Cax0b8Vq83KYhdmSDsY5NO6A5/xZVYLuuLYDs9evALNGDgx+8L3hMhlVOu0mEkme8/mPrxktLWjWItZml0yMUqOBeVLKiUpnoj4oCogSXVIm32AZ5ccu9OwSt6TGlX1Qmt0oZdvz3RHNh9d6yla7mzQU/wG0DcId01W1XvjfbwgCLL5eD/IhaUzLbV7JUESLk/j+Ey5yCpNAzFHrEQSTHOi0VrNQ5JKv0nH6Ss6Jyzgm8HI2cI2JV0zyU5WzZi2wOYwtbLAAc/5d8hz31ENjjcstJBJjMeYi0wsqX2lSP6BOXcShx3Hk+CP/D6SWqeADPW2Lr/mOdQ8MAX+8gZV1IL56YMoquYCXyvl7unywq4h2XOc4RKbZn74BDZ2DPkV44QFRPND9yT3PsEakjgmItW4schzPmbR4U3TNMpPyrj1kSDreNKSKxdEnt7LVGCJLjd/ZMZjYqyAsk/dBfmm5DRG+DdtMjPrxNBx9o8o30WUFBBiNEMvyDUkhs9bS+D233vPGQogyM1yaw5QnWjaY1zDNuMi2vS0XdeNd7+JeXgyOCQ3N+eYsMuvw3QBsjETOzIZBS17XuYDEBu29Mm8zP0M4cZUdrMtTV+OAzuY9YptGxl9DPKR5FmFlW8ezRho9ryMlHGgmuxvC0+GAH6a/T7KeD2kC8dPd8rEz6jDRdVLzo8178YecQIDv/+gyAVZqanz/XSFd4IsZnVwyRLfcwWxg4SQZwfqbkJ06opdYw72yQz0qVkZWgSCXw8UE5HTw21Twt+5QiXunrqMvWuXFYTM3U6GXj2PXSE4jFXC6aRu9/yMYCA7H2jQSLNBnEiWq+iiso820Q0cwh1qnbfn5d81hzb15iE0jyMJ4x2CXkI81ziJgYj9kuMJBOUgOV+NPXN4vBZ4MktLHpojM44uU8k+BcXSazVkyEmDECkl8PIhNXFZ2KiN/1TKBJW5MzRN/lzgxo/svATZeFX/+2gFenoHW3c4QRwx5QrJGcABHSMQgETEnL79nLtG+4M72RpCd1uSlNyXqRurVx8AQ1Uxzj+bfVq1SY2FxAuqQtkRzYD6aiSj3q5YAnvCqNYeHxKxOBaQNvIGNwewotScTmDPa0t6kjPXj9lNJjUg3d3tResgNgY4pukwdZ9XahUDNJaElBLCHRDc4iLb7r8B6huzXjUIi6dM9xfVkvngF5I5k10Ee7DC1gJCpyNnD7Q94CmD0zvN8O0MgVGcLUUDkDJ5CKHo6E3ObSNtxzWS9dNzhLE4wVJB2CGMJRSL8RA/WjJmbERn0MHW3zlVHAIVV0QmYg2NlXyDtZaS0cPwTX9SRRepA/NnA0uQvVif1AoUG4bgTx/94aiR/f3HygFJhNCO9KJBtZcxYaV/BRJZKLEvmikDuH+hk2jH/0iVndgi0pqHF7bnuwlu1paPI1E4bs3GhSj0ZKMizr03OAKrr4lydMAcUg8MY7xTcYjmUowRtFdNJkzUQf5g8CViyKIJ2kVAjLh/pNeeqeMsNXu5E/EAMndfXPI1kslbRcFjwgMS2cBuzpPPKxsVimmlaYKQrwobeNmj0a3wrqSGR5XNrMu6jd4NAFxDh2+046QsaXd6iJcOONrzQy7O/GTf8Arlra0X1mp1djDbmWKVnC4bTLK7sx4M+pvWyZccys08fkdlBmcuR4t5eDHP83GXD5WbFQi2tF3EE9/sy7t16GQXwkvHo1I4TuSZKBYZxB3HY/iI9naa8+aZsVLLfOEWxqHrw21dDUZnsFH35XsRGSqlXtffM4uQAS+8866wIqPwb1TaWHzdMYTt72WUT7Fq6T9U9SUPldjeE4kZC+IkRmxz6ENRBGfC45Nf8G5ZDnm/NWYmZnArRViCU4gnu+Qjzo6GQ7rwNzVsLjZ5cRqMbFSmoLe42KYe1hjHqPTOb2m0UGjhQ8vjLR0DrJuFGAzIUZxg0VFAcU2jaVyDWMlBnhUU8nDaxBuSVEfjttSpzRQhOT83ArLg5RO4d7spg2AkGTJHBJRBcA9P5np8OI9RCkVG5tVn6zQQQjlFLDmuZRgxtwJdfNKvZlJubg5h2hgnEM1VTt79Aj+R6kWSyQdaSkK/t1BgJCFA8SbB3be7dDQOZKUCrrcxNPlMosZPB2FUzM7V5ZcUSfzEzSxTLi0HzKxNXU720fUuWhroVfTMvdHxRgJz/uGp1zgdq3Yx959y0000WVGdD6+KIu768acpS4vY+Yn/Mqql6K/yELEsUDIytetCk/r/3rzsb50TKrG+/NYgDXf8aksWnRjRjtG3SNgr5IoMMjF8FK6EMW5noqsa17u7qjG8iJ8HBjDot6WtbmPtsgwQ//sX930nZqfcHEE1MRzvOy1/m24s6r48jQATI5cgHN+2oJWnhtWFJMpeUZAY5AdgeZgJbgF3XdukNp+fxZdHX9QW73x5z+xyBjaJ7xMOXdf9GvSf/UkCAfND+X/teFR7B6MoV8sPChdljlNM3wOoBYwjnzWPQqLeiW1eCOSBmE38+v2VFNE5/OaeeOd+gX7BaY1S8ifldGpPJ8tqt8jNAzvKlH7m+wCvEaMPQzdKy1QPQeb8j07Hbth4SEhJvcZf19xMwHmtCz6RlZD5A3he9aqYA16Rk366cNm0j4qajhbam1y8U+BWmEUTVwRI9IQ9zuOYlQp9XN9GQuW/Dw4MShmv+osgnE8VwWIvkjo/mo/E9anUV/JpQoGM5rIAoBOH2M7X8Gm1NXPaBOEostHBN+kZ6jKjSVMOxDY4K+2sdkvPppkswYk4ADLfrWKi9VYXwhSiqreHUJ5KTvVpm1lnjIhA6yvLcRyDp6jYIQju+mAl+idRCimU1B2qq2Q4loue8iZYnOJebsCLMMrv5d0+IhSjlie2GaQUVuhAsT8ERBxn6FPp2yTiAXoTPbNdWslNyK8WXr4Ngs32ITncdhdbuS+h0Nk3/BZEYK4W3tA1Oon321QmDdSFhqXJKZQym7BFDscCaaDvnVXF4MzGto3r/jRyySIarEVGiXuFKM9ACGiJJbt2FUwVhVMh45Fm+NkK9qLKgCZmmzoBYJcrUeQHL4w3bUcFVx0Ik+3b9fQ0jkbPuZUcI7YzNVtB4B2PxO+if593ZY9vdGi+T4gTb/kXZfW7xr3v9nm2xejWZCaEHpORBYLrAbLrwDjNKO5cPgfdgDxxwUFphubwa5eAeP/vuRNFsROoOUiRB6+AzQZV8aLuLeSXZCDFYwXIl+2k6yjlut58vMutYfS7WguJaRLw7PuZaBrYHSI/9HKHo7Aow5iPHVtpdZDXUUM+Fhw3NzkTHQ2Tjn6R5JhvnlvMliOTx+dRiFMtlow0Q1W6O+0950ldgnIdJVCJ3NNzQaDPY2A9qdGo0a7O4RbRcQ77zswlEExfBQmYAtOt+L9dQQiTFYzfAGuNQLnV0h7iS4841vj/0eeCdLGZaR90Zbzs0ItbXOqatahIiDIppgCoki8THjn3840DJ2L/H5UKZ/tRgspYpnZHN6FrnpDTVLlKcDE6rVdsksDbrn8a7amFiU+QCjXkaTOZU1cHrF/H4c1My7nLrcuMMnM++RPe8U7Ekd8ab7m1s5MjuiX8sbctjLujGBQNdFNddBrquxjkJg+BS1HZUd5IO8XNGEo8vMTg+Rs2+ahp59uVQEOkPadbmcyNoo6EkbFom32F7l+Q2j9UQpHbI7iylbT9kbHUdMirRCCHQXZS7PVs4mtvUJ7dL9LsHaIdACHAOAPGYp+hikRLqTmGZF80cWkSvOXMli6CfxEbe6oQ1KdPJGDJYy5WCMHUqX6h1volHKQ9h123muQa5hd+OWOFmVZjfAEg0wZLBhrlzclYaruLO3t+J6/5gQJ4zSlW67EpDFqp2ccJ8w1i/3VYtse8g8klVzzvXPkkxVG6yXLhSf6ELXKyI0T3nQRSmnoAQQMC1uRDM3Y+z64ZSweB9hq8H81cv1Ku7dBE4PxK3+UTzJgZRq+ylKiKdK8anjFe5TGVYbCuEq6Jp1st3sYIq4UgCtIgFc++xXmmD1De1Js7haWWsbwyRgegTj0g9iF7vPrKzKW0aMvROiidm9LF2VV8fM7BVlz52HBlA6Ijj2RR0kyigtYJSRoQ1UXgWqmdqCDk3SgNEZzPEsOFDWSaMc2Y7fBpGPSz2NmP4/6McBwIcaS/3nGlM2wBY2IC8zPmW3ENQBZT0bywBvDUHroFCTqVGdLUh5tE6/N6jwr6Y3p9fbv3wTMqkpJ21ntVcTX301SAFJCRzZoVbofFyUMSEevkPqXSguxqpJ8MiYCAxq8cgJtOirwlb21OAWI4a8+GbVY5Y6jaRcUTbgPcc6RxQWT7WNzsMFJSqGVFdt4ETV0nt9MTY1R6vACC9FLyFCDO39dYxUFaRnFW/hlt2EADtZdHQejrVC+50UwszAFoabw0tmh+uTcF98xFE8YJLeblSHrxIz7wKngirKS6GJG1IdBwgqk13qj8eWjowaoosCvSRe5siP6XamzCIEWnUo2Qv7a41eAbJFusihwwzzyKjtMQIJKSRh6QXopOXosKvwihf7sg4IlM2g54aOYGO9FofC74FCAVHm46WsWkCrTMDgAeSKlNoID6puBjj5Z+tpQIyXPwMtouS2nnm36FLxzKUQwn0AyvHd3CYv3iYnDbUWDGEfWHLP8xG25XTME5wZGIm+5/Ot8UIRtZVxFpauVWTqyGKpFdRLbF0FSw/sz90bm30/m0sAz+6eMI7a2Fq3KJOje93BfLSAVMARknWRNX5s3pYJKCD8OArbHWGyOSFCHo6V8hLr+uCoTmL1BeF55+2g9tq5wjB5rk1COTcL65p3sxRx/q2lam5t+nqHvR/il/DVLNhpUYeMZEVDCjoZ8Qp0yj26AMS1rGCQRF6/AEjWUhJG4CXQdvluDMedwjgZ2rSO0HlJQiJZgOHI0XtO/4nbAQ1e0VAlrBzWpB/hVZlykYspCmr9OFcuO3F2pjgUtAyV46aqHmT6XzhaQ2O4bzqLAGBjgHPLhc0ZadzFZ3EFB5VwruAsFMSoSgLcq+Fnmd/yz+H0QB68V+dBQDQGzgLysvbWPTJWolrJbfVKtaLK4ezb0+LYglK2GOQZQwcdiLjGO3YXQCaJsu+TDCV+NZClXB9Y9uPrjEaKNQwvsqTVWy1jgNGDqldvGdgKejZiKnplOs7PfVYa9+ppVZw2k/CN3+8vwFMUQ7sy9T+Ntk0tezTigRHAeJ/YG2NCMpqRKP3Qt9cDIO/mCuNBjLV3//DFduZ3b6c8fx/2TSl/lbLRb2jEWx7skoiiSzmFT4Pa1QtrImBneTVNtDJS2kh7GRm+r+D0Oqmemxqv8I+FVzCGnDSyHoJTVfS7vfkef3AX53vXDUT2xdi3VJAwkHSw0PC0q9flPbbUTfg0KF2luJj9Q1GEvB+Pf6mtdyHXhyZSDuBcbVSMlqMhuPRhmhYN4oTnEh2J25iT1c/7jDkg57Ya6nH3GTHHb7/BFdc6DUtWjxVL49WG/g/kzIsDDdOUnQvLTREW+pCmL6kaqGF+z6gjX4ujWAfVBD25xPe492bPNbDtTtEX3a8xbEbLzqX/Vc3NiMEyCXzrSTEgEMajsyrDw9aF8cMY+DMVHAz2wCpWMX5aoIKidBzpm293zs4XhqVwWVVEpMjQwHJmTfm4Vu/cZHhhnooJGDruBHLQ66HgNgp7nJPDrZy08LATVUfpH6s7xwbsKiyjYJh14UjA8gN34/uWCDJqpXhi2yTUdE9uxt2tezWGxIFC6CMovbVANzZHQRigY+BQXCw9YWDVxHG+Mv1W3oh0FD8O4ZqFALqP7BdQGnvdcR7xbsKpdJAeV+zxuziYqwCtXAe0L21IUN/uQemuEvwftn/EPgLVANy+k1JIb7CtstqSuN18TdJveA4dtSBQaePDtnCaqjJrwYEpYaJcM5YLdlY5MXGeOcNummEn2FRq2iOYgRdOEQ7ubVpJEQxRu9MB7FLSl9F9Ld88Ej7dPQiFu8f9FjZ621VTFpbdaDGdRCWJxnd8gtvzqnltUDWA2HEgwK6lLHXaSry7jND21HQQ3xwX3Jg72mo7pgO4dZOZy+SXDWjcVdwAWgfH1ds5boC4Mq5Kx4eT5++oO64vwBZFqA42irAog5+Rs0xh0a6L5E5NyfDmQhCq1r0W5nAk1a0YcW8ZXB8+te95HU7GA3fXU6macC1RnhMLbMpf5lj0iryJivTCOFJBcmrR2vCvJUtyYvbF41p1STv/DULfUc1EYcDt9Mp3A64w21jce2tJhxud/K1l1qQ8WsfkEioel/4NeOwNSEROuJ7SA9YX9x5iKiklQBCTvCO7XF3lyApyQ3o7X//ftEjsB5kksiTKb68QZNEApC0xkeO6r3I2CuR1kOjv4L01Psa5G8WrClXitEKbZrE8JT7gLiyAoUDuD5Dzr9yKu2TnuEDkkOuy+UECyaXuXDBzNRZDS34srUtuzD0QiVFDPFGdFci972APLPfOPoUdjDbY1cqqim5A2IUzJ7TggvIwUixdicNyjhOaJlHHhaQ8jatazQtaKl1kQw5hdXUgc+HEHrRt4dz3Ai5sHCKtVpY8xb4CDt2Pj3YUQ3sb5eb8sibDEEnhoHwhm+TmddBvyDsnWgpUucIrUrZ7n5PfpHSoWBBEPg6nUuYzJCIYSufCBrbwKxKMYdEKecxEcPGAk4vIGCftSolWnDEDKEdmlrUKjlrvjkUB4grGV9auPdKpd6jyIKJZuIRu3qoKd2GmHQ/PmxewCbhJ64ZxpN58zkADDu7qBcgvR6owtZkBEmkUCgCBAiWCbWrN+eI1m8owgLvedAY6/Wyde4xWqUoob64so65L8/ENDHcfW9vxorbUQV2mYaUtSQFgzPI/XOyD6a0xTJWUh/Kk8xhkPBn9+jPAPdKdArCFqufmx0MhVsJv+kFGl5ed8Pg3nKNwuGRqjJwyBo9pyIFocX0lgJrpvb00UdLsX5nwfemYkXBzOUVCk0x1QVJxcSfReqW3eeuY96o/8iS6bJlyLqIKTdoejsr/uQeQ2TxoSPFFVOCAb3OeEHWxAbXb6arL9MpNTdJqGBVafx/8CusNOO6awJV1EIuXIhOLAmboAZWDBsT3Onmn68vBW/T5VFwIM2UalEiGo7vZ94tfkrDRTfp7i8jkfBAx87OwH4VZk5++7y4RVfY+QWublnoeaxTXGLb4q1ZvDCBJOyHchJQ8m8vnRkQqtX8sRQ84g6FIyU0ClZJWh4uwLnCcAwmM4QMz9ofk2EaufIHV1hjkvTT6aPQf6ExmfE7avG7iXeujsHPvX5BvFrS4vahlb6pAQI7hFbPL5S0gBOOr1fxxeL00w72gVIDM5ohsekWTYF2maNBHhfSeL17Z04OwXCD6Pc35wBIFkOgIOTcbq5RRGEccCWRlr20WIBnseXfPPz2l4WkZohLqIDCcw96JOLmAWnRUzj0P3pTdpNjdgD/FWxU4SkzYJhSbUxr8aAnTGspoTsMkkd3/ifiTEnfURtPrJSVGTCk6Dz1lEm9hKxkt2UkS8KNBzW+phgHvVpUIUtxVxuGAA5ZHgsVtbCzby2y8wtAqYA2GLKmFffgS5OVMX2pmGRe91hdb6nsbrnO1jQRpKfNy8NxKYX4/4SyXRXbJlCz2kjXs3npA3d/3PSm08TMB7TxLk83c1bXS4a2qCxLG6pTxJ+2KKTMt6hGXqAdlPSlxKdtVf4KXRj2QTGe6ZkMCJCzwPM1fZkzcwniHf/a3UKWkZv41Wl46pVL8LO44rdyKKNWr3cCh4eLAiJNyfrNIYj1FFj5EhZPadXfqj28xAuEkH+iImwjq83Ckk574HNjkpnDaa74KOpN8OAFs44W7sgZL/HcqHttZMHtjcKnZ415QPQ1bVhjPv5lvVJYqAY9stboMMWhPO+fs2RiX6C34C83YDIXrjlx2E/bq1ws1u5F3yMc2Vtfv7DhgcYcsiFjX1NqYDnEmWoQ2mR2uXsQY6SRhfVG+FvZmJqIz1c/D5KkROl5TocUWhYCi1ZgGXlfrZvegXHcnFTadWCOV6FFBu5cE2Vgt89VD9iPVOzF9szCtXdO6pjbizuREPex6DfZzyl/pN6ju3xXCSjLzeir5RdnjlY3pP8z7qi643UPrQNSIUwQzFl0kwlOyYttgbzPkPy59w4biu9ECUuoIbcv9aTbmGwkxT9tRSWgdbtFehYo87qVgHAKt8Wq8jx9d19LA11jMtiYq7AtXQ0VDLgJw3uBLrJl0YmKgOaaq69bp8L2oexCvqLD+cdta2QIzrGSB7MInCkpd9OECmZxRv2F8uaPU/npK96yqmqrMSZff5Dmudwp8jm2FbDFf03PLyVOPAaLyzv31Hg8An9p1KalZuuWcAO58AXX1HuymFsoOjGq2JXdDkNrpBWrs4NhPQPFpCXz0wQDWwyUXD233l/LXf12h7a7LqLza3KlV6NICnR0MjKAqGiZAnSiNM19VKjFAJiYLwKJzrStiDbugVTIpjmFesSP4IdOyKHJYRM+rT+LC3i0h6A3vDrrKzFqoeyE99DhM+d047ZKoQjfteQ3qbLMtlE7tddRbS+9i6WlRUcXhc2waVovAqCT+4g6W+suGGLw2ngnVEbZVr+j0ptitdo65Xpu/yBkKDVT8u5jHvIIaR7UwGNHBmgC1zoL8x5asU1IiVuLXO1ZjU7t/Tu/lnorxBmLkbab5feKPc2AJEt0BqppbcPRk1LnqStwfLLx1Ca95TAx1xeFXWb2A2nC2v55ocYmBFSi5BStx8zn0Lrbpk43l6TTCtDxl/lq0J4Q5SRKF7yF+c5Brhj9iS8bJwvTebx1m3zRgyYUEttpRmcFl/Mp+uMCHNeWFHGwp8uu1LYOh4ZSxG8ae/S05l79XbkBoKhqyIHQvh/8ZRzCU937I5nnPPAeFYQlViamthNa3WXrhE0Jq4U5mMBVA8OSzFRdV9Mn3yxrGrjBu5LGaqdH+7Y/AYo/YwcJIudB6FHWFXpwuQbqk3B1iMrZPgAJlcORJIipYvm94Ry7FcS5DNntqSEYmi64cozTONwtbjlAK2jOOI2MYXvwwrQFXnWirPB8Ry/CZ8nzi+Kg3dbKdiLFgGoLNpiyJboyhAX4h+d7+IV2ZsfIKKUMTxvXNRtE7dp/ojHEwtb+Eb5VLHML7eDTIfJ85KylcHaOpwRiSKOnhRbT6HHXiUKUTnHbrEZABPO6SZjS5osSlIJkExjrQrRcQ19Qrg42AQFgZ/V27YV4zYa/igd3rMP0g4GLWa51KDUn7A1qZZp9BgD5yyo+79CkcfuCwMmM6wtdr6sekhXSiFPEP9BYlW3N0nu9GvXSO/QIFw3dN58RFnkBXwxJGWLdfacucpTuGtOzMM5WrG3fzG4s724LGtsawL7Lq1s5jKzkXHrMExRT4k+QTeDYLtATaOybXJxpXGI/x1vzelr+Y/dhp04ZMEvMWdPZKKU7BcjW4wtT8TSNtcr5wtEmONxkpZl94FIdbwXWZEy2P+VWWd0cxm3/fuKqyzyXryAH5yPY2u989Ql3kqA0bksFj+khDlTBpQpzdF8fe5V0HfJ+PLevr8rxIuLvb53Hw88mLQJPwxA0qbRgsa4Gpz1gyh+sVlnQZUKg4wrCqGT2vigzf3SAR+bmd7SSdoTr9PD4YmZPeopx5fSDRVRpCVMJHJsziMZO2PteoJkncw4rJhjKHS8XQzSz6qR9hevkLErViGaEdUoYR4ZzRw246+M1yiAknJmGLvqJCpgmuVzqg0J/HMiY6zHhlz+OuQSXbz8e4eFL6S18+iTbaQA46Zc5zYKTEHvwyqXeQErW7XmSv6o2uWY7eGjvRPG0DoEDJ5msJw1zHhEXW96TVtzXuaLbIG+Wj4guEfTRsCbfMZjqpwywzdyF8zz97tYy2T+pi4Y12uvxB+CuK6bWCvgZ6NdJtm+kbXq7n8VEqmOQt1VMnwVi+oQA+0JK/2/rf2yTzN0tOjt9ixiR8iA4n3tDL9NSd09rEvA6mGWpyIbXgZaxAixKr29JoONV0wZ0hQjhf/62xZVNYsZ4MpHNEfFcnSZRY+bDbgsaqddpTMj4bMEZDiCt8PkTbd8GjKZuF04dz4DmBVywh1pAqvCvR7KQr+JeBC6Dz+6pwdJEMNu8Nh5nm6dYtOF7uDuChVSFXokdAPkASX2jueDZITvUaxf6D1Pmf0wEgYKG5bKSKSBVeuhwCk+jWbwMftHCDu1ziGPORG1T9x8AiDWqIzQRaNeOcF/icAkBTw9kIm7/IC5kZ7r5NS5tCLLI2At/tURfXrOEH/Zsi8X0jUbAzPkA3rYaESGDTAnx3UxQ9uEiqUixnnGStokKa++G6skd+hnhU6n6ZCQwn/W4HmGNrthQzD2Lw0R91dKOyiRU/B8fBj0VMuTLDW82xGt5l17EhIRfmYxLntfy+mMzSg6mMhUkyZCHrnfGAtpCQctsP4h172/+p9PyuQGt//68okpylTkZ9V6bGz0m15e6zN0M3qEUheFUetF8ZitrkNg6VQBtyOmKDuXzJAJPGaejJYC6Jj+LMXrRijUE16AbLFW4VScrTGTAV3UMhqKvO170zk8VX7IzY7PVohAW2kUm60VWUBwXgc3kymA/YghNSqwo4jPqrkKQyPsRrFlgSznV3ifEaK2bB/DBtrYQPwSoB2Se+PJR/tRy5sFKy07E3BUQi3S/eqhyx+bJHZQefiwIIo6HkkMePB0q9mMP5uWohv/74RmCGrirKX1h954eek4L+0/jX/upP7Roj/98JLWK3VdqHFQyAbpVNKPbEM+DNNHyP726oBYesJCQdhfMcPRocj6cihmW4cTBFumOIuwXPqoaCjIAwvAhRtGpBDKy20O9kk5UgIeKaIiAtonreBo88LzyR5+/pYaD8VgtZOvl6Y3q8y72thKO6cqn7j1+xX2g2/zlEQe58sIimbedsZNTI4sjfCGdwnCZZpPiPzjya16cx9n+Zh+75Hn6NFx64g4NE+AZHiPagqjP4ULijuNIf78/fDtsV5Xc+HSVO+FjxzAVBAuQGwz91xyW1+/A6Ammx6NVdtP6AptxpKk5vJiHFFs4KbbMjRCgcKFtT1da4r+oeJP9S1lEZuB/6aau3ESBaFmsRwDVGiODK/JP3V4HxWQmtgg4eFbeoOzgk6UwPle8htIspoA8cIjZtHhICfZY2dI44ovdy3ZYshqcJRLZvuo3UBzeaiy3+xSgGKpIfukwijeIP9IU41q0uvvd/BGQCgwS97vRw+bSB1Pf14VO1I8nuO3i8I3Ps3f6tmfztQWPJR/wgfBObzIUG+ngVN6lVAMG75VGqGnIMMh8AJGkolhBLpfT15/ZIwYjUeWT82EQWY0Ugl5zC9/fOTcPIjHbGYyhPi69Q8UIEBkbMdJL6s5hKEJmET3Ix/1Q9sHXn0kUPxpKu/MYXMAMprvgn8ictzlSNh5Gzj/hQ7hNqjRUTLjHPf4C2K3J99/zhIS9IyKB9OLNfdUhowyYjyltS0VJbywDcNyz8z5wCZ1nzraPtAfvJksAp2RhilXw7iPxKbiyYnzXYsitGwvvBNIzb+TqNgcHsjnAv8g+CVivmbN2RHGIaLgtyVy2WHltpVp8plsQbbYH45oAtlzxutshLjMQMWg1o/8k94Mjl7yUmol1B7SbU9sh5Qw3oFz6y4kIag3cJVbwrrf6wHKTp/+I0zdmTGl/d1hC3yT1k6t+NdBDYctr6wpEv7XWpIzL9LvDkJWrc0xJPzTBj2AX8CTZH/v4tVdcMlydbzbKLS+fngAuCxG/lCGI7aIiDEqJOBFe7G2ILiA4WRso+MqvmEVekduPaJPoPtv3aNPWnMZeqLB3aXIJxjY4c7T/6gPQqbIVLBN6ZyCGk8DTdDTtoXL03RF/4kVRp/CJIQegMWDiyrVlQtmh3zTZm0bDGY2jzM7LH1gnED6VpMaq9XmGd9RKidhxwhd8m+rJVNNVRRdMC5n9y9wHsYMX/Tu0o0pFGWWbJiVx8cTXc7X514tU4S6k/4zCSeqMGF7pRhzqQrbCBHDp0mv9XHAfVcmxBYJnh8WmDopw5HPwtdS+G+V2mbtXFAtcykrlHbt4QqzvB13HTakhzUNI0E2QMNHHvYC3HbusdD7R6Q9CaUi/QNebmGst4jDb/f52O1BkelbqkK014sqS/9tMaL2fBTu2NbiRrZBReHeg/smYdeeW7sUYSrjEVUBNiaqWZ1RZMRbMx+3ZESEbrxPxnR/yWOqg0ZBtUOEYl2LdI3rn4OgJr0VU5WpeWuVLZfUIWaem05ketMkE1o+JlzWz4opC5rY5tuSa+w7JAtziz4vrmaAMgD1P60CAhTIYC6+D+ORO2WljKPomMQ+IAEqFrMV8SdLd+GyHOmLN41btAx1TMgPJW66s0I+zYr4P+kFkr9yzNkulL4Zh91lsh0Mp/CvCHsCaM9mrFZsDUi2Z2g3rndxGTIV7W14TvPxW4qnjQL9z5uWSxCJlqRCDrAQegZJ8aE1X8pUUUv3NxLD+p9Rmyr07c/5re6ZST7ffxLcSRYTiaLKeXp7f7UWoSA3EMmrJm4cHPZeL4+O0hTXs1mSufaWNfej1sH1w5pqaTNp2AUuANnRM48J+35U3QnsmO5QYTnHGz91dva9ZaazAYsraBJpt8HzV6qHEdASpBBEftKGEvi01wwog9wGAQlwzfNH/MTAkA7LxczYIqa6kbkQDnNpPd+jvT88mhUpNa+cbONtXgGg4WeijxPPqAMYj8mU/97RftwmCohJTAO5dYtZ+OfPHKYPzSFSfiSqKK3iBuOuOazGa3l5R4VhWdZpRCIv//kdcpzZqotwzJHTyVRwkpWB/awXa01/gEHoBhdWNIfbXdCTbR8wz802AbNUPX5rVzKVx5+RadaJS/7lI7P1Ta9duZSGGyX0ERuxcFrXMrjaakTwn/H+9DnXBkilTJnWBdmHbhBlKOUcSWIv/PtmWJn1KPX94/FV7WTpB9Dxm8X4eF1o4ISAwrxuG7HlQtLFXi0PljGnrNUSZT4ZsHuLmtU8q7VITKxWLKSN9igZvmR280BG8fKb6UwfjCt89I3jxcUiTckfW8sMmEi6474OrP2vim2/V7HHNhG5tZkM+U50nvAFSxgHtncpydIVaRzsm2OhVY4LqqI844CllRqidqw92nSJtQdBtfBIxWqF3lpd/sAHxsn+viA7lxIpwM6A1D7IUMRO6As2TnulTl3Dx4xR3mE3dVtTKT55jLrANbNOcIVRti0JNwDsswAoZO8bQdNgO71UiAlAIB0VVXfWv4dxCNgRyYzpf6ObOy3SlTdxZfSP/haabb03mxHhK3VeQLMh0z+dM7kkX5MpSxA85GQ+36hQEsruGrHzudnXWw6+t1IU64/yEAgEK+r7zZ7nHbNh2trQjEKK0FnelbYPrG9wCEgdGVr9R6LniscJNxgn2QiumfWqAqTtoj9An3M8zY5Z4PMxy4x3NQMKTtt8uMgAa+5O2nxE+eBRGV6dDgUE1g1mXKucWgygssWCtB4RC9yXXMafqz8JuplI/MJcAE8S8KaN8aCMUgAAxn6ffEgSojT4oUTlWnJPJ0uw31TwjiglQS/EZo7Nwu/vbuidu7jJc92BMby1X+zBVmP0CenjVHAfWy/9UVBJT2y5L59x1yP+w2qjeJ4jPZ5sV7lah+xLFvo+UDv0KqS28nvPnOeUsCjuP/CXGEgN78leVgJ1HnpTf06IP+/i1861Ce89CKVMb0ZLdeQPKlJjqnng0TS+a6921YVPBVvfgH2vqFukuebk1WkG+HnIzREoiiohrYjp7he8tktTX5jaDMkpExNp+Pc0Z0hrxxhPgmAn5sCwzXudZuXdy37GLgTLrPJpVDTj64oVkiyY8rmT+XFXX310mLwkFFTWV9RkCSldvVG+wTr1xlRGTX3OfpoeEMQq9pg7D3bMMlVCYxXDaOm3LQOvRyjHuXy6q16AC1grXtbY3P1z9ymuauRO1cLSduQ3W//dVwyUh0VakDo7AiD2J6yiIzykrLZT/ad6kGMgF426rlrZKRO3kKqmobST8GW0OjqsbbgaZ/dqZvuiW/DcyM+Nc9n1KqVkOctzhJePXXRAid7A3Dm96RUvLcgEXv2zSnyIw8PNPtKoTKc3liPHB4CbUXRHQ6xTsjV/0QmRm7aZTZ1CR+7LASZF1tHW3HAqWnLrFcjZyzbneyoPhM3q/MXwg4voAhTljLIqNr5KTDyCf9C1yuzL58xn0W9R8DvvW1jCWHNW+1ftV+3XSLuTYY61BA2SAkuL0R13hSgtCAXL9nAojxf7y2gohkKCal4uxGxzaR5fIcdPnxYY1cxUkSV5PSGYwJUybMmiiY8vcGgnHq6gKNsvFpWm8wNv+1bjf9b6bbSzD4nXQNQFtu7y0md3GS+JeJlE6XYx/rjJhfio+7cBTsHAr4SGjsmAvZpiF+0pVbiwiNPeitGYF6EKBBMyJMUJiszdETi0YpHXuaX9NmKsol1PTVwU1pv2WScO3UnD5Co7kP4O7ydKZGtzOpVMw+T91YnbnJcG4uLkkFCvM1pzIA1vRAKsfag82HLYSstK63nWrdCR8srM6ou2zAnRlrdME2a+2LA7DMVqaw6qxre6iXXeHmFLm+v2DPASOLrSfmDsW5wHWqf4SQd95j9T6d1VwCpRS+BcahJi/BkyLuI3D8Z1pnAdidDRymiz7cLsO7HS7JAgthTaQSf2/aRYEYdr0Zr2feBGr5FqjVK5RnVPzNvEX01H16yzNPWY7M2hiN0h5d5DXsU3LdhnwPn5KvWMTmBVrfka1D9dWq3kmHWh4DYpEH29VL95Bi6Rg4VGqvXlCkg6fDMe+Xl1vI2Yn2fBhLNThRIznjSdn3k6XrzYgUxNvBOEFBOuWqICXygcC70HJ7PXoUcfvcXsOsgOAeWMaFvZxELJ9Cdf5mkSGUzRmt8DpAaG1/EblutUl7Wga4nY8debaslKrCXh0aGow5ZM+7XbiVamboBJvMuyXDJRHLsaU5a6dQDdNtuJq+sjHTTppDuJXyvB03cNHKxRx3e2n08qxpPn4ElavokUKulGwILO6EwBJctCt70hB8QQ1jso4813y+DFwBkm41eqwk589UwcFFXbFRy9A75iRs+VGfTUFGhHqlqjzJFyYItCvZyg7pVYDscw5l0Eojn1sQyvShLTgHukGt7AkanXmbRs+mjoXxf1QQhqqaVrbqUeUjWiV8IlXNz7JZqUOumxC/FCwttekvhh7IkzamYEHKkgILrBu+hTQ36hvip81f4R3GT8hO5m6k+J/Zh3May6O6tInN7Irm3vGMm25XeFPRmkhH2bACAComDRgqnSLCSkqOQjEH0VcZ6DS6oPmQv9UY3k2INpvtTXxWO//BTV+0wRMhxkS4jvSiJGSD+IwOum4Yd79id+V0yBW75FNJhbtrdDosut7oA4AQYSzR/xc0/IuYIvFw8LxxBZp506LqXMbxDrLi0vzYMRH5BaDwDYBTczSuaQMHrSE9PBXINPtQ1M3bGu2yNuAWBB6kD4mYFeTqMCD4WHP71qknsZTSjWdebhVmu1H1COQji3vaSRFV7M24s4HoHm5jYFXS8g7dshc4QCE7mK5jTYF3jPbzCYys49/mF1QHx2NwvldRcL6tOUCcr1mMTV4/sA9x2bVOAwYEv8f66NPLjfyo7veaI5gqAs5rITG8+RC71/1Zu8E+Srg0sNG80CzsaMW1Onq7R5ekQ1dVrUt4vEQgD3yUlsddUwikgfrqwiAdCX3jQ4otJY8aBhT17Ixx2c7ZiKApny5cAkW2LTogzB+cX/sRkWlPBzz0l0VFrytUYYK5uSajbegyRjdBz8NX/amHBG2DHJ9Ndjl0nZBRLcvgW/fkSqTxkMszONi8rBbprClaDoYk+KRAhm5+ATmCJnt3nCQgx1hcpksoY61H3t3K3LqOvRcyTs1A+oBh19R04T3nXEi/D1FWldprUYaC7Ozum/K2+HpkFZzFigYuw5AJsmskIKRfV82NR833yCATQ4YEI6SGjY6clqxUepx9cGB4Xzc71v/nea3+ITjXlJwavmwErvACK/rZbzITRqY+LorPfDfZKKHExUlBs675WwhQ3tTW6dZhipMpEeszxdMZ96/0Q9wFQS/PsOXXQu+tRB4sAg7e4akStkKPDjWcTGAsRr9jLgODQVPV4tSz3yYW+pSNVd+dnEiudHKM2OmxS1sZhGZohoskpCeRcr5lMmMo15lXPdgRZSwMCAqle/OxFJf/YpiyvmPFBJQHVjVZ5TB6hQfR/UCiOo7yYT2T6pzMbemGObBq6fJZeA6ZJjIhCimcuB43H9P1nUSc1vGZfOcEw0k0XRw0qcEz7IpTQl/1/fAF7NQRmUP7qDrZs0UJ/9WsNVUmVoAgDVJeOZe6Sj4OngYQNCR8/xPhXLpi7wcCnY2yp3aOAgb7qvaOlP5jn+ywHZX/gzd1IKHG2kwr7jkfiaRI63O9bVna82RGMj/w1Z0Nc4PlCIcVy33Jjz201u+1BjWBLbaYzFlSPUvZYwHZXZiK1tlJbMuH2Inl/Ym6VFkrr0hJtdul8Ka+uD7r7g4E6COkq3UFlDeHmzqAlNyVPe+4G8MROsi/VT9OlnmozIpmM4PqbpCA7AbStRJqb4j23FvmfRfN6z/lEoDMj7uJbl8TpX78ohkK5kmKDxSmGnYVm/p98yeiV8yjVx/XwbXAEMn+qlyEMRVklYDCrrVW2S6LqGJ64ZMgFRD+Ml5tqiwTHl3BEZTP6aUJAv+1/94bKYzAZdodibJjbyj0Dpi4jO2R2iX+QIzat3XWW9RowlWFtF7ERH+gzqZPBu2oMwmsdASbQP+MrPNaV9YcV/DfmCFXYI0+wbh7Xh6X8bY9P5pS9ABtXOZT5l4mrT+5bw75R8I28RXyy2bJgoetMfkmnbLaMLcae5fYVIiFdjJ4pQfhOgGHAMY3lqRBf5oMjJBGum8MMh5cblvQifvr/n1vYBqlqGmNzVzEcQOo7qno7ElyGxT5L8J4+4AI5NNd386V8akNETmtmTvD+Ibe4xUm2nFllHHekqIuOBU1YVgXV3LgNGjBQoxGCcfgEv25NKpLR/LZ2k9IihH5uTQXy6Hz5ClydJzZmnGea9nvQ0GLHbFecQ6sdtYSz974maik54+P5YgXxHgOSh7TZWzC/kAq+Nw/lovsBpBGJ+YowzeuE+GPXP9CgvkY29jaAa+P1WbDpGyJfCvWfu/ZQ4lVynx6jz1MiC/NZAKTDdEwkz8losigUx76j4ADcR66hCPqdIBEhtstXvuqrg6DgXJYz9V8CXBMQ51HHuCKy3DS4w+WZzQHN6BMOpKe+skTlIRuXHnLwVWIfQuA2Oauo7QfgUxWAcAKhYiypvbYtn9AxgfrtOfDkAbuh3vUEXtjlSItAlmRavJR2tSXwJaBkXlVLG2iFHrn6Rfnv2/rt3qhIGPeMB7OLl3CHfDAB4ZvpKvlpqFdUaeMHKRfpVh8SlDJDieXSab9+L6jRrkkYUEtzZ1Stt8YXdumA6GCBKvF4NgXfTNscxru/up9kLHjfdi5zhsIMnUwVv/OrB9Iu2ShPm06uAtztzpn+zkwEsrMfuimn5dqSvyQxQ4mwtd6KuJ6CkLXHBeaup3EU4J8AmYCDIVgMkS8WXk7vxalrKW5V8eekMG27ldk5VQS09AxCrblhuQuwB0l9D1waEJV7SNzMXE+fJwb4JZP19I2kx0Z1gADAGa4zPm8t8VIGIXqxM8kJ+T7hdwA1wkHfKqMMPeuWKDKW1hSScX6Kv+tq0RJnKt7wvwUEtm6Va1DwGyFsNCu/LXwU35JqAF6whHHR9EGg1M3SrgQ0nOJaLtJoKfbw8SRVkabfpHGzXd9dBm+wJXORr+FFrZ1a2Alc18HdQvvIXKNalPL5dw+7LtJgLIfNRiu6ASQMlo/DfoGj1eq4+9c5FldKkA83BVbyK6nAT/NKhg3JZDvGz2HOCExmwEVJ7lASWFTr/xCMhiUQAlxn5+sin9ze6a1PAAEy3PfHntq5vG2CrmElfL3ki7WIVCikzVx05ea4CkTphqycLvq2emqMDXNNr5UkhBvEGqI21x9tigkzYMby2U+zhXN8kW8YVEeXTj1jcal9Mw6CJ4/P+VMFMEG2ks7V9cDQfqhg1AUFXtk0V8VTeUCYkhAI4nJmPfJeoOAz/2sn/1N2Et4rqdZUvIv72SVsXA2TvWLr0YDbymyuFfWA89H7Q3sUhYnr/LL6jNAI/66ptRTgZOcx91cJNO90qO2VGDfFvUbDsRlJBzasvw/B5WN6+6hBnQi2eWcb6aLPyN+hj7c6/QSvAF6X00NukAzmnjpXgbcWA5Szk7VPw6nTBVUUXODImiIDz8bIeTAanNcg8xvhRtz/+UqD2+U3jP/jeIvPJskDlrKfyKmvghwM2mKKVraJQVckiK9LM8zi4h3R7woxlzaZDiv9lqOIyKBcQDxxuxHtPLYK8BYKhIZdOiGkfexPaJlqI7J+SEMogcvn8+3W8ZuFsat7IPuo8uZfvK9dujA3/tDbguKcVa20HbmXQjAKo6X6Ew+55ZAamlSlTeun3Br6HvIT/0s8UBv+4sWIlhJvrneWo5RUPGdYNZODrES4Vn2j9pMqLTzhYO6vYcy9UbTAETwbCBdrwNTlTBIjMmtW0DfUZyhmVErFqneUuY6QYBM7Jyxd+4KAiaZLl992DO53lhMqoI4Rmum2DBUBdcPqBUkm7m/tzcw0n5q1bQzDBCUWNWV5rz2k/GBTCW3yRudquP2sUQ+23TAItj1kgPkvZT9zNh9bUKu9BvMEcP2mrWSeH6o9IVfwTn3SAXaDDeJT4zqw3A2pjDYVeemgrGkSw++dm3XxDzlSR6R5ceoRVzQQus54tH7Ot9h4Hh6kyPHEoMEB0tOabBVqNJAmmCgc2xXSOPvQ7dQo+UFyuqVayIyWmwQuCc2Wj7p3uYmUummidtNcAblQ34VnuOb5BIc24+vQBVGCcLiYxPA6pmEYoWGjBTO0tyQPA5GUXfPOUUIW8VPrALSYjR985OG/P9rjWvIdd/jSow2JUsyqdjHiufWfplcpEWXaVs3UcstnTP/AiTM9KVEkO2YdgPC1OGsIel0FShMDr9TvXPL8uHjbqv7kngEeeWlKLmOIUWuXautO3hL6q8PLzSTkEdi6qjlehTT3ibtmL6TnrQrotqqehnYSRgMdFiHdxNDVjlfsW2h0U31bvLSeupSKDr4ZppJ/emsRNpb5C+3kT1GklFKQu8o/xz3mKGsHufq8ZE3TUmkhRLvUTqZuzrVczjc3SFcVlnbyiDce8/IjPrnW1T3Hi1GhJI9LFJIippdQQXJoO0eGk2Vm9N0IL/fEIziDId0BRMTSyKeOwoyLJhSfx7M5OKLL1LUDDcCgFtQly1M/FMoGPQxzmbzfSPQCM8dVH7CkZ5C7ledImZIz7pYO3wUAyx5l2l2aql4IlS1ZITQmctqa7rKs0TPcB2gd+H0LWcFn5xBfEi06zSjOTnQXmxjpS5tGKnfuTJzOhXOwIQKio0KisQFZHv7y3fg3dZz3epptS8ngELJn5A0k1sLNkil8dZieKu+eAGGu58NhTwPg5r8MI+UBet7nP+14g1++UucLV9mrKMPUXrTWMs7xXvc78EBAWPWaPoigkkPbR4tZ47tsc/Mi4Uqz32Ipxlnz/39VE+nW3GKRfV3eDhX9IcMa8n1itz8bO4eoAk35txn/K7SqVOeLqygbOntn/SAUKpOs01Sz2PjjsnfXh8CmeZFRSPQBwHnG73SB7E+Uk+0SqBdp4LYHzQr9dHbYaMd/ERYuqxoCf8521hBnFumXnmiujolgZCiEMjFzmu18xq0teuFHhBQyW+KsIQs7jgCVRGotDkYWpf+aRJMkrIB1hG9HPPS6YUwEL+yZBj8fVaVJD6UyMPP1dXCS0nsC6QWycOxW95nhdG2zVu0bhPp2FQRDSRYNGEsNozBXmXEdfHHOi+fxILtUerah6bkDJYGJ+R2ux2/jkSTJ7DirKmNB4BHLM6+qFgaLghToPGaUiJub3ZbiI3iwTw9ko9T3s41Gn8oo5Fwm2C/u8S/fbwNB6QnwmYZPzoMpND0CRbkbJYoRjC8RaE409YnXfmrr20VBnkZaSs0JfNLEls4pJjUd/ose3fDTftw1GTzlR1PTo7YBNokrwD5vZuwBp7pK1Y6W2kh841cQpeKrE1p6iQ6fCx/lnrMignJBj/g+CIyV61dQX5JnyID0l5MroCPybvfoe1/94M+DN1NutDs73PcHLXfOILGMFeoMdkC65vq7azdzZSn0OQhrWtaAQuO96BXBzPpYseYGDgy83aXHoQoL76XBoAV+ifPc1ZYirMoDDMm9k+tWBRmka1dKgnjF1pRRsf3GO3lXVtcPavaKz19zSzi/uX0+Mo7GcN02zjbM6Gkq13TIFZRbDMg5tyda/sD9fwbdIm/S7U3QkzN2jXbVgg41HPXNvmqDCucu0LrD1LkP9LXeY8LHGnL5pqrdPB5vn8vRecoN0zFzYeguQGvRQicLapigtA1HdH8O1e2pDuDA/PUhjw/iStK2w18MD/aBvQVBmUQvDwog5Sb9epd61S37qSOJXihnw6Viit3r1Zncgim7RfNE9IS3GObsrzysL+w9KYomfPNs4OpOSndew4NAkyCL1Nm4bIheav2wvHlce99rfumh5tAQ37YC1FEuJg+IBdUNXG9BG9x+j5GbDZg7Q2aWiBTfOf8n29XpOn/7u821ztx+M6mQgxx4+tToJ5jEDAOrp3mRa9aMwBX2L27ceaKG1Sk79KDRqMrPPVg+pFML6eDxz5SL5stz6L8JC91ec1Sn4U1/NjfBklC4PSv5fhOy4X4uA0B0XNT3QQrkJ/pwS7PWsNArCNswd4QBMxVn7vSmJoEjXHyFHEHJIYOWxe+cS7MDf/36VGZDGgAVXkWkmHsegqWeCZNtfEiA/69qbjhKE9qkWq6btz8VM2InLOMQIBaCIA05HWuSI/7xbVn2yE2Vv2AmUcNQ9l3b3vGPt5pTf/6lH5Io5aAnQfIWPwgr1H6urUlkf6ss1blFmvz6MkI7FBo/z1XnwY1SsNPhD4BalZDuw201Y1vIZ5Oir8DZwRaoUTsJuDAm3/3Dg9XTzCAumGW0KWdmi+t3fhhU4NmmKXrj2GQSfQ7Gly5up4+Skh2Xwe81FIf9WAk/Jefkb/0v1LR/OYObZKayN1qwXQ1SekNSWAQf9rxc0bKQGbi6ymn8axMOf8aQuH4Da+fcS32Rip5DbEGx8ItDJs3KdpcgvWWaoADDKxvN3vnIadZofmzTFvp6/90+NGvCJT25CXrsNivbJ824cnMSxkE1UIxMQZOF0WyDIVysmRku+2ECB6wuMfKHtZDzJOhdwsHSbIS10lWpDL7CGhYVI+3Miy0/+nz272m77ibez1rD1+/njL56OcC93PsxAYJnXAsp8YmKMXgGpygEqeRd0Tl8FRAQE6ZTMvdU1YTA3zc3qd+TtqDzX/KP2EIp91ASCWVPtETZ08KykmzPrThpFAPgAabt4lJ0Vtj3lKmfxvi7Qltp5U8rf0bhppsP57D1SonuMt67EYQveGn0Y8lT3a0AjsZrUnYZzsbOAMCukThRlz5sDqRncq5JI3BWhhhf6H97ChBtgtnPoRKclZJBKiW8ciWflOAzGVtnhvMEKrlw48N3Y7n8woJPjHkcVHm5wc2vpOWEFrJhNaPlZxLYjie0l1/Ms/rCG+aUXiuchLIE7FRNepFWmdvkjUhWt0XEIDzw0CAl1ETCKcAVuMPfwKLHyete4VBaO5sIzM0kbnd/jSvKDgcuT6Jmk5BbeFT14fMcOAlar9s9JQPqsQau6BiUFpubvjhIeCHBCCzLFKpEJtsxg1HJK14SlcSEiWxG1AQTRKgGNiRHcmf2EY2AdNmy7jWVcxMZTBnZu72A79X7uY3leSYBM4k+TmObsR2Om3Rnn8ygmMKLqCwMCytQOi0TUfWO17/RftZxDQV2StdtzEWpiS/xhPf4y6FZx45FNwX1/EEGi0R78it+icdieNFx2yD++GMMnQ8XowfjIssk4sqcczQukvqY16gSj3aiSA2TaMFYNS188h9Lg+YEMFNRJUnmGVleecXZnEz753FtjWqJZHSJEMtwqesV/OHPiIlGYOht3U23VfFPh8b7wwXQMwPP9fWlG+QOx/SJKAG8Ob3/rWtBOjVEvsJcZiauthgDZjdArbNr0PGs+5e5xSbNXFQ3TM/19cxcrEzSXe7whmd6RvXjH+3Htu5DOkSk6ZweDvrTEOBbQWVGLOqHrjAHZAeCyVR8ru5lP2FhlE0wYUyAcUy5qNzDnJOtXV5EoNpY5baX1QUUKDlsyJNkGbs/AIp9TXqujf9MlqlxSkTOnNrmpihnpURyb5DX4wL18yrbxXfFJpk30yjoMIs4A3LlDZe9Y+YqE9RbWRqRS7To0obFFL25crUoA0YbDqTDeFz38EebHJ/LQH+hmxJFJHNd+fJ56BB+XbUJSGHtoJG8voyHhtGkJGPCBwqxXZiJePm+WQKxcRpfHA+q7h7BaEpgvcrq+PwttFq3qbqIEB5NKSo2NsaIqLqeC8R4b0NIKJuoGQAqv1owmKY9qGJBol9sSljznHPAvTAoyOThINLkUN5KlyVAhsiOD0F/VCl0SwzVYF4Q2/KCJH9868ZLui6ukpttdPStrWJB97WoacDiVXvlXrs8DFI+bbUvTy2tC81aLDo3NGycmbp35hJugnD+Ufe32W/JZWB2DVqSJKS2Y75HXEtlg2of9KZ7AuggtCGd/ybhfWiFoye6IDjG+J/6vd3ox90dX7rzmRJqlaWvETetct1CE/L4ncZv+zE9aH2p28ry5DCmxI/0SDz8SEqe98jAZh97AmyFvgY3QsSfKbihx/AAFl76VC4R+d/rWfK2xZuYNRDgH/mEx/Ka3dLiEDcG1MW9vFNy3/k7WkVYyo8edsEDXdrcWjiHZNSi3fhGsP3s+7D775MZ2+mi0QMYuedMzt6GmYpRpRQK1EV5tC6zKy7UxU0jIMnlRa7H59Tsmvd4lKnpSFvymeHNbcM7oMZSVivEYcCBn2K/2tXmfi4pcgHaJVjnjy2dQTKq0jAdxulteHcgNOLzCkk0VYChWabT0cqyakvBOL/KoO4tGJqPqfWdI3KQVo/eTx0r+21MXcQ5BnpZOhr/zGyoSTnjUiyFFdGx77jPLR/sszDYX10tl9Rrhuj9oVSCmX7+r+yeh1JTVqwhLReH4rmMpEjKYz9tdq4R/aXorTonFYjW62JbteWGncxBDa3tNm/3HsYtUh6WLk5NNGr4mVq4bcI08qkivSgUQ5LhpfR2v8UKwPLNt3PMN0RIz1Kq8F5lYMELcd4pl/SHDgIz98XFgbffLlZC8WSpcwXefj1RoeHzsNikmLFWRFNF8fhhSQw4G/8FBNOiv8AZvTYkPR2PmGsqiA8k7JkVfCzamxoy5JZ9OTK/erJ+uvZvy8+Bh70m5TUQrg6JbTEOpTababUvWSsW9pA1l/4bwe1Y5B8T4Q9in1Fbzirtj6Iv6aW/IiHfAvvQBolbAIFRedDjowVkUT4I33E7Dru784rXMoUUSiocl9aBmUUqlLJDdUHnGrlTkzN+b98tsJ5RG2Lmgxqingwo5s+DQ2xZQpX1R3JFfkqkDz6OuMoNA4JxmXWIxfblBbhwPVnaCiDhdqHNU5cc2bk+9zGmOJK+auVn4sOHOKdPYIc2vH8dYXufXJiVDIrfhpUCZXIPSPyn6x5XAnZFoUu1IngywhHWbNXMl6hEY0sD61uQhZD3Gp1KuuYRSGohxnYPlHn/Xui3TUgvzAK6lRxwjTUEAz1H/0V3JszyLWPBG1/xzquhD+dY+PvN7E9y5YnO4DAMRj+oQzLzrBXSffzkxYCcvLhDggNcvICH7d23PUDmWphcfj/jExJlIQmOFFx2LCpw5r6bO/kNxcVf2vyIxby6an+en1XFGO9C2jt3BvGQ8LMrWn6u93hmvCMz9jLWImLzCGctJbuBwx4py4u6t4p3Ml3JVP7rTGkK6zE0aUrxccPyByToDy4HZX+9Zze0hFeuS/pjOkZYTK7GsPhixGAJQ+NuL5F0/b5DTOjRUmgge9n4B7nMPWtQIQgeeJShJBQiqcA06LMIJd7S15ovNH0vwRLBOvfWQckSXVeVUUQrdVPGOidRoTaKbR0H/jMtFx4ndLZNYyT5wF55GZkn0e6XMT3NsbMag2mhuOjRrcfgvbF5rccpitxO0hzT3cgdJ+zOzeP3KWcueeop26LsXNjXPVSq58HimuXZdCoqPl2544AHyj4RMxNoMQxtCdrVjGYeRcSiBHNWZcHJ9JYsOBxRtOPPRYuoA8Cv88kYP3VcSLy/2n9V7470qf+wZye4v+cUVj4yFnvwHiPaahqHjVNYAGYQaVw9fPUrd/zJyiew2oEB9mjPFQ1qPV1SAjDBbeeZdAcsbA0z3jU3cY5vMJ+sp0jstfVupHmL/PrafKlF7QSLSLJmWu0fqv6e6LdpBYFc6Qa2t+5QskKs5BYzp1UmqG2Af1ykmTLVeSrAkmHPItNADR7kLq76lnMhiWkmQlrDUFUFxJJJWx0B0VImFGzq8HHKpIm3JIZdak4MPC2sMznFyUucNwbTqjqO+NASJWjkqXa0JmTAsUmx/bBuzh5Xuf0abxmMJEaAKCDU7IJHBHNEso1UZneWpEC9gAIwz5sBVRAWFQWGVwSyXz2LCFE/zGMqCDS0XBNGEQLjln2FdVSV2LArQPgTuKcBlyK7AGZsAsJHqhPT3CwxMHWqPvmON4W2s2d5ifolS/C26JNJoYGL/cVWRG4FpsxKW29NLiKZnBMxsYytracSC0T05OjjkTU2sBVDnppPVymtJOphEHGUx1Q0LrVDozXoOA+8wKdZo6BpEQQAF+sUdRVl7NYshVur2jM0UE77PYLPLB2RHgBZrIarp438Gmgu5Hwl8XYXwU+haM42U+rpMzjwWEkTrFCu6HK5M1sFP5Kilw4YPgeE/QvW7yHisOWhDYY3WdGBX/jQxKxTEFW1b2tSiMDtYFPxSSdA6BwoWtBwnVe/srTWmGjxmEOuQhEcvvMuNdVN6rvXh/jGNMa5cZ128HnGlcDWISbRf1GRZwmNDe4U13RxKpWC0YQEO3v1wIRZTPpbxPoowDzqylGVzoNd48+kWqOqyeP6V4R8yIXJ/WLMem7arZ/P8wRMC2gOFox92ac5pEUao2blwoTYJjMqVrfCT4XvZi4WPwnjGt/vJHCduElu5nGImCfZgdVVzvcLBAjxtf5gTV+8cBZ4/QNRU4KrCS4LmNX6LOchgpDMIj+k3nV4LiKKqcwLZAiUtiyAAXBjYnXx/z7NjYbYEfdhkOVb/No76bL48ZwrwtwK3DUdn/5EzDKIAJx7IZNJnroSmsiUID0Kw5uAlFtxnzmO49GP/O2Naptkpbbage+DBFWSMUdpZPpCkAH7jI1LWXk8VOMvXoKNUdEnGdMnfWgMCdoPpDJ2GfGy7qhtCKqsPf1zCwzzsoALnPDj3ulHGgogQmgivogk7KeyN8qbYKMeEfeNfPDM7oKJwx/QInoNnFEyHQfhGNpzvD8nxL0feYXGnhEE3BRykWpk2z+M1ANVrZANL7PLFi1flocn+R73q9POisHo8jZvfY5gv4xGdnnidxSSNJ/tx2GDoxyeAzOquw8Mw5VkX49ph24EqZkJqj2DLb+A18CVAO4U7JEj/JRntRXgaITugII5/0QGsi9hM9ScOJl6y33T3ULvuDpUyFKSXzoHTHRLjh1nmfLPZocorFFrwzfUZGVRkNcsOggOYc72OJCJ9Q0Wz2iWQSyWckYAGhYCsouZsmvGMbR6eX8U622Ht5EvQoMMBro1yaCm/td6c/j6ymW1x2+58vdAqeU6gmQ/IqsM3P6cmFhC7rPZ19PkCMf7964Bf1yMPzCUYDACc84K1uDYoNDN15ZQ+a4iuxWlp1f+4fJ2Hh5YthJRU24lxnmHtxhAprX2ZblkEJ9h0AiMkOEVX48eF38z2rgedgP0mKD56NW7j9Yv9O5kwSl/Gx3YcypqqAdS3eAWBtuChgik9TtiEnNqGAhM2rLY+/Khce5EaKvnU2AeHRuKO4GI/tltC7+vjyLeQK9bzZSCE0m0YJJ5LNT9dwEBn1iH10SMJTdv/waYRFDQ+QFJ7dw8M9fEBzyJDFngIAlJp5brXExVGGCkL8Hy/BE+piHqTC0NTMvE2VObc7K2FtDGxhk8y2sItP3yt15dBYpCjaol6M1lTIi4li5ss4B0vDtDljgMQiieX2VI/x7e/h2XFw/SVncMbIjB4vzNOblZCFeTw/k36pW6vgXUaXl6FdBQAE+iUflaKtPwHQ6Lu0UowKENpDa85HMZTIeHZcFv6WLfaqUEkqVLRz30l7i+IgEWYb/PrLX87mjHWYUt5whsesSiccIv3g/h5laHXUvenSpsM6Lx4iaDmPLsNq+wPoNfPdt168C0MHWvirIrs3dKy46we2HNu6psIS6uN+POsz8Q5+jkX5sLAT/Udqdj6tIsXpGDK/Bj9JRdn7wSN0Pr0E2QnVpIQACPQOCCIeLmwei+oDKohg/FnpdO2VPtmJAiMP7mE7lKI8x04JJULoSAFD5jcvGh4F4VSlybJNnqmleBJta22Ns4rsHpwoVX5O4F2G9U+agSGBELil8XSVMv73K6oUVk++P5b2+7vHPdPbe84rGNl72De/OprkoELQLpykhidymTpgIsukmDyV+F04V8C0IohpiYYByrFnJdUzwktrCmh9uDvQ6BSFUZ2h0yq1miHIZ4EfuEt/7Xl5oe29GuYLXyR6gWo+jx7C3CqRtf1ksUsl6gujfTPxBmG/vRURZL6ZjmZbBng3tMrY0b1w2NGo4Cq2MvSiANCETFp20Lj+hOt7nIoQ0Gdm7rGIGbQP3mgjkuENDh9nkUbmnDTbwYsGCXGMC6bB/kOgttu2chOwyN0Hc9IEoPuvEov4wrW5ByjIMOFHtj4Knoan45voQ7ON9cq19DZa0sxinIX1R1CvIfrwRhhgmtskemJrcTiWD/9bTiKDNbHYWTmOV+S33gIBxunk9TwKSrFJfYDn48yjaB8BXMX7Kmezs6edq1SnKokC5EC7oVKKoHIN8EHpaoQxvzYis8C4LB7b+H5G7axRdJM0BCsTmfSgIcvYnucDdxLIqseeBJV76TIQwRvSkQzxm3TGrMLYjJLqTxrCqyO1UXpeDLHmpQkUKIGxci/1b9oA==" title="Mekko Graphics Chart"/>
          <p:cNvSpPr>
            <a:spLocks noChangeAspect="1"/>
          </p:cNvSpPr>
          <p:nvPr>
            <p:custDataLst>
              <p:tags r:id="rId4"/>
            </p:custDataLst>
          </p:nvPr>
        </p:nvSpPr>
        <p:spPr>
          <a:xfrm>
            <a:off x="1190439" y="1219200"/>
            <a:ext cx="8217295" cy="4267200"/>
          </a:xfrm>
          <a:prstGeom prst="rect">
            <a:avLst/>
          </a:prstGeom>
          <a:blipFill>
            <a:blip r:embed="rId5"/>
            <a:srcRect/>
            <a:stretch>
              <a:fillRect/>
            </a:stretch>
          </a:blipFill>
          <a:ln w="9525" cap="rnd" cmpd="sng" algn="ctr">
            <a:noFill/>
            <a:prstDash val="solid"/>
            <a:round/>
            <a:headEnd type="none" w="med" len="med"/>
            <a:tailEnd type="none" w="med" len="med"/>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31" name="文本框 30"/>
          <p:cNvSpPr txBox="1"/>
          <p:nvPr/>
        </p:nvSpPr>
        <p:spPr>
          <a:xfrm>
            <a:off x="7878450" y="1354085"/>
            <a:ext cx="1070390" cy="2751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zh-CN" altLang="en-US" sz="1400" b="1" smtClean="0">
                <a:solidFill>
                  <a:schemeClr val="tx1"/>
                </a:solidFill>
              </a:rPr>
              <a:t>高优先级</a:t>
            </a:r>
            <a:endParaRPr lang="zh-CN" altLang="en-US" sz="1400" b="1" dirty="0" err="1" smtClean="0">
              <a:solidFill>
                <a:schemeClr val="tx1"/>
              </a:solidFill>
            </a:endParaRPr>
          </a:p>
        </p:txBody>
      </p:sp>
      <p:sp>
        <p:nvSpPr>
          <p:cNvPr id="32" name="文本框 31"/>
          <p:cNvSpPr txBox="1"/>
          <p:nvPr/>
        </p:nvSpPr>
        <p:spPr>
          <a:xfrm>
            <a:off x="4883487" y="1354085"/>
            <a:ext cx="1070390" cy="2751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zh-CN" altLang="en-US" sz="1400" b="1">
                <a:solidFill>
                  <a:schemeClr val="tx1"/>
                </a:solidFill>
              </a:rPr>
              <a:t>中</a:t>
            </a:r>
            <a:r>
              <a:rPr lang="zh-CN" altLang="en-US" sz="1400" b="1" smtClean="0">
                <a:solidFill>
                  <a:schemeClr val="tx1"/>
                </a:solidFill>
              </a:rPr>
              <a:t>优先级</a:t>
            </a:r>
            <a:endParaRPr lang="zh-CN" altLang="en-US" sz="1400" b="1" dirty="0" err="1" smtClean="0">
              <a:solidFill>
                <a:schemeClr val="tx1"/>
              </a:solidFill>
            </a:endParaRPr>
          </a:p>
        </p:txBody>
      </p:sp>
      <p:sp>
        <p:nvSpPr>
          <p:cNvPr id="33" name="文本框 32"/>
          <p:cNvSpPr txBox="1"/>
          <p:nvPr/>
        </p:nvSpPr>
        <p:spPr>
          <a:xfrm>
            <a:off x="2420574" y="1354085"/>
            <a:ext cx="1070390" cy="2751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zh-CN" altLang="en-US" sz="1400" b="1">
                <a:solidFill>
                  <a:schemeClr val="tx1"/>
                </a:solidFill>
              </a:rPr>
              <a:t>低</a:t>
            </a:r>
            <a:r>
              <a:rPr lang="zh-CN" altLang="en-US" sz="1400" b="1" smtClean="0">
                <a:solidFill>
                  <a:schemeClr val="tx1"/>
                </a:solidFill>
              </a:rPr>
              <a:t>优先级</a:t>
            </a:r>
            <a:endParaRPr lang="zh-CN" altLang="en-US" sz="1400" b="1" dirty="0" err="1" smtClean="0">
              <a:solidFill>
                <a:schemeClr val="tx1"/>
              </a:solidFill>
            </a:endParaRPr>
          </a:p>
        </p:txBody>
      </p:sp>
      <p:sp>
        <p:nvSpPr>
          <p:cNvPr id="34" name="文本框 33"/>
          <p:cNvSpPr txBox="1"/>
          <p:nvPr/>
        </p:nvSpPr>
        <p:spPr>
          <a:xfrm flipH="1">
            <a:off x="1718223" y="4661187"/>
            <a:ext cx="309086" cy="3074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zh-CN" altLang="en-US" sz="1400" dirty="0">
                <a:solidFill>
                  <a:schemeClr val="tx1"/>
                </a:solidFill>
              </a:rPr>
              <a:t>低</a:t>
            </a:r>
            <a:endParaRPr lang="zh-CN" altLang="en-US" sz="1400" dirty="0">
              <a:solidFill>
                <a:schemeClr val="tx1"/>
              </a:solidFill>
            </a:endParaRPr>
          </a:p>
        </p:txBody>
      </p:sp>
      <p:sp>
        <p:nvSpPr>
          <p:cNvPr id="36" name="文本框 35"/>
          <p:cNvSpPr txBox="1"/>
          <p:nvPr/>
        </p:nvSpPr>
        <p:spPr>
          <a:xfrm flipH="1">
            <a:off x="1745159" y="1235094"/>
            <a:ext cx="255918" cy="2559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zh-CN" altLang="en-US" sz="1400" dirty="0" smtClean="0">
                <a:solidFill>
                  <a:schemeClr val="tx1"/>
                </a:solidFill>
              </a:rPr>
              <a:t>高</a:t>
            </a:r>
            <a:endParaRPr lang="zh-CN" altLang="en-US" sz="1400" dirty="0" smtClean="0">
              <a:solidFill>
                <a:schemeClr val="tx1"/>
              </a:solidFill>
            </a:endParaRPr>
          </a:p>
        </p:txBody>
      </p:sp>
      <p:sp>
        <p:nvSpPr>
          <p:cNvPr id="42" name="椭圆 41"/>
          <p:cNvSpPr/>
          <p:nvPr/>
        </p:nvSpPr>
        <p:spPr>
          <a:xfrm>
            <a:off x="9964352" y="5538881"/>
            <a:ext cx="131132" cy="131132"/>
          </a:xfrm>
          <a:prstGeom prst="ellipse">
            <a:avLst/>
          </a:prstGeom>
          <a:solidFill>
            <a:srgbClr val="69EAF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44" name="文本框 43"/>
          <p:cNvSpPr txBox="1"/>
          <p:nvPr/>
        </p:nvSpPr>
        <p:spPr>
          <a:xfrm>
            <a:off x="10143790" y="5534506"/>
            <a:ext cx="642386" cy="139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noAutofit/>
          </a:bodyPr>
          <a:lstStyle/>
          <a:p>
            <a:r>
              <a:rPr lang="en-US" altLang="zh-CN" sz="1100" dirty="0" smtClean="0">
                <a:solidFill>
                  <a:schemeClr val="tx1"/>
                </a:solidFill>
              </a:rPr>
              <a:t>xx</a:t>
            </a:r>
            <a:r>
              <a:rPr lang="zh-CN" altLang="en-US" sz="1100" dirty="0" smtClean="0">
                <a:solidFill>
                  <a:schemeClr val="tx1"/>
                </a:solidFill>
              </a:rPr>
              <a:t>管理</a:t>
            </a:r>
            <a:endParaRPr lang="zh-CN" altLang="en-US" sz="1100" dirty="0" smtClean="0">
              <a:solidFill>
                <a:schemeClr val="tx1"/>
              </a:solidFill>
            </a:endParaRPr>
          </a:p>
        </p:txBody>
      </p:sp>
      <p:sp>
        <p:nvSpPr>
          <p:cNvPr id="37" name="椭圆 36"/>
          <p:cNvSpPr/>
          <p:nvPr/>
        </p:nvSpPr>
        <p:spPr>
          <a:xfrm>
            <a:off x="9964352" y="5735565"/>
            <a:ext cx="131132" cy="131132"/>
          </a:xfrm>
          <a:prstGeom prst="ellipse">
            <a:avLst/>
          </a:prstGeom>
          <a:solidFill>
            <a:srgbClr val="FF9C5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45" name="文本框 44"/>
          <p:cNvSpPr txBox="1"/>
          <p:nvPr/>
        </p:nvSpPr>
        <p:spPr>
          <a:xfrm>
            <a:off x="10143790" y="5731190"/>
            <a:ext cx="642386" cy="139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noAutofit/>
          </a:bodyPr>
          <a:lstStyle/>
          <a:p>
            <a:r>
              <a:rPr lang="en-US" altLang="zh-CN" sz="1100" dirty="0" smtClean="0">
                <a:solidFill>
                  <a:schemeClr val="tx1"/>
                </a:solidFill>
              </a:rPr>
              <a:t>xx</a:t>
            </a:r>
            <a:endParaRPr lang="zh-CN" altLang="en-US" sz="1100" dirty="0" smtClean="0">
              <a:solidFill>
                <a:schemeClr val="tx1"/>
              </a:solidFill>
            </a:endParaRPr>
          </a:p>
        </p:txBody>
      </p:sp>
      <p:sp>
        <p:nvSpPr>
          <p:cNvPr id="43" name="椭圆 42"/>
          <p:cNvSpPr/>
          <p:nvPr/>
        </p:nvSpPr>
        <p:spPr>
          <a:xfrm>
            <a:off x="9964352" y="5963360"/>
            <a:ext cx="131132" cy="131132"/>
          </a:xfrm>
          <a:prstGeom prst="ellipse">
            <a:avLst/>
          </a:prstGeom>
          <a:solidFill>
            <a:srgbClr val="EA4D3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1" name="文本框 50"/>
          <p:cNvSpPr txBox="1"/>
          <p:nvPr/>
        </p:nvSpPr>
        <p:spPr>
          <a:xfrm>
            <a:off x="10143790" y="5958985"/>
            <a:ext cx="642386" cy="139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noAutofit/>
          </a:bodyPr>
          <a:lstStyle/>
          <a:p>
            <a:r>
              <a:rPr lang="en-US" altLang="zh-CN" sz="1100" dirty="0" smtClean="0">
                <a:solidFill>
                  <a:schemeClr val="tx1"/>
                </a:solidFill>
              </a:rPr>
              <a:t>xx</a:t>
            </a:r>
            <a:endParaRPr lang="zh-CN" altLang="en-US" sz="1100" dirty="0" smtClean="0">
              <a:solidFill>
                <a:schemeClr val="tx1"/>
              </a:solidFill>
            </a:endParaRPr>
          </a:p>
        </p:txBody>
      </p:sp>
      <p:sp>
        <p:nvSpPr>
          <p:cNvPr id="38" name="椭圆 37"/>
          <p:cNvSpPr/>
          <p:nvPr/>
        </p:nvSpPr>
        <p:spPr>
          <a:xfrm>
            <a:off x="11014219" y="5735565"/>
            <a:ext cx="131132" cy="131132"/>
          </a:xfrm>
          <a:prstGeom prst="ellipse">
            <a:avLst/>
          </a:prstGeom>
          <a:solidFill>
            <a:srgbClr val="55565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2" name="文本框 51"/>
          <p:cNvSpPr txBox="1"/>
          <p:nvPr/>
        </p:nvSpPr>
        <p:spPr>
          <a:xfrm>
            <a:off x="11190565" y="5731190"/>
            <a:ext cx="642386" cy="139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noAutofit/>
          </a:bodyPr>
          <a:lstStyle/>
          <a:p>
            <a:r>
              <a:rPr lang="en-US" altLang="zh-CN" sz="1100" dirty="0" smtClean="0">
                <a:solidFill>
                  <a:schemeClr val="tx1"/>
                </a:solidFill>
              </a:rPr>
              <a:t>xx</a:t>
            </a:r>
            <a:endParaRPr lang="zh-CN" altLang="en-US" sz="1100" dirty="0" smtClean="0">
              <a:solidFill>
                <a:schemeClr val="tx1"/>
              </a:solidFill>
            </a:endParaRPr>
          </a:p>
        </p:txBody>
      </p:sp>
      <p:sp>
        <p:nvSpPr>
          <p:cNvPr id="40" name="椭圆 39"/>
          <p:cNvSpPr/>
          <p:nvPr/>
        </p:nvSpPr>
        <p:spPr>
          <a:xfrm>
            <a:off x="11014219" y="5538881"/>
            <a:ext cx="131132" cy="131132"/>
          </a:xfrm>
          <a:prstGeom prst="ellipse">
            <a:avLst/>
          </a:prstGeom>
          <a:solidFill>
            <a:srgbClr val="B3B2B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3" name="文本框 52"/>
          <p:cNvSpPr txBox="1"/>
          <p:nvPr/>
        </p:nvSpPr>
        <p:spPr>
          <a:xfrm>
            <a:off x="11190565" y="5534506"/>
            <a:ext cx="642386" cy="139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noAutofit/>
          </a:bodyPr>
          <a:lstStyle/>
          <a:p>
            <a:r>
              <a:rPr lang="en-US" altLang="zh-CN" sz="1100" dirty="0" smtClean="0">
                <a:solidFill>
                  <a:schemeClr val="tx1"/>
                </a:solidFill>
              </a:rPr>
              <a:t>xx</a:t>
            </a:r>
            <a:endParaRPr lang="zh-CN" altLang="en-US" sz="1100" dirty="0" smtClean="0">
              <a:solidFill>
                <a:schemeClr val="tx1"/>
              </a:solidFill>
            </a:endParaRPr>
          </a:p>
        </p:txBody>
      </p:sp>
      <p:sp>
        <p:nvSpPr>
          <p:cNvPr id="54" name="矩形 53"/>
          <p:cNvSpPr/>
          <p:nvPr/>
        </p:nvSpPr>
        <p:spPr>
          <a:xfrm>
            <a:off x="9354222" y="5388196"/>
            <a:ext cx="2603981" cy="784552"/>
          </a:xfrm>
          <a:prstGeom prst="rect">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5" name="文本框 54"/>
          <p:cNvSpPr txBox="1"/>
          <p:nvPr/>
        </p:nvSpPr>
        <p:spPr>
          <a:xfrm>
            <a:off x="9995991" y="5272945"/>
            <a:ext cx="443409" cy="200025"/>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zh-CN" altLang="en-US" sz="1400" b="1" dirty="0">
                <a:solidFill>
                  <a:schemeClr val="tx1"/>
                </a:solidFill>
              </a:rPr>
              <a:t>图例</a:t>
            </a:r>
            <a:endParaRPr lang="zh-CN" altLang="en-US" sz="1400" b="1" dirty="0" smtClean="0">
              <a:solidFill>
                <a:schemeClr val="tx1"/>
              </a:solidFill>
            </a:endParaRPr>
          </a:p>
        </p:txBody>
      </p:sp>
      <p:sp>
        <p:nvSpPr>
          <p:cNvPr id="59" name="文本框 58"/>
          <p:cNvSpPr txBox="1"/>
          <p:nvPr/>
        </p:nvSpPr>
        <p:spPr>
          <a:xfrm>
            <a:off x="11190565" y="5963110"/>
            <a:ext cx="642386" cy="139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noAutofit/>
          </a:bodyPr>
          <a:lstStyle/>
          <a:p>
            <a:r>
              <a:rPr lang="zh-CN" altLang="en-US" sz="1100">
                <a:solidFill>
                  <a:schemeClr val="tx1"/>
                </a:solidFill>
              </a:rPr>
              <a:t>详</a:t>
            </a:r>
            <a:r>
              <a:rPr lang="zh-CN" altLang="en-US" sz="1100" smtClean="0">
                <a:solidFill>
                  <a:schemeClr val="tx1"/>
                </a:solidFill>
              </a:rPr>
              <a:t>细展开</a:t>
            </a:r>
            <a:endParaRPr lang="zh-CN" altLang="en-US" sz="1100" dirty="0" smtClean="0">
              <a:solidFill>
                <a:schemeClr val="tx1"/>
              </a:solidFill>
            </a:endParaRPr>
          </a:p>
        </p:txBody>
      </p:sp>
      <p:sp>
        <p:nvSpPr>
          <p:cNvPr id="78" name="文本框 77"/>
          <p:cNvSpPr txBox="1"/>
          <p:nvPr/>
        </p:nvSpPr>
        <p:spPr>
          <a:xfrm>
            <a:off x="420879" y="2869504"/>
            <a:ext cx="1472846" cy="1169551"/>
          </a:xfrm>
          <a:prstGeom prst="rect">
            <a:avLst/>
          </a:prstGeom>
          <a:noFill/>
          <a:ln w="9525" cap="rnd">
            <a:noFill/>
            <a:prstDash val="solid"/>
            <a:round/>
          </a:ln>
          <a:extLst>
            <a:ext uri="{909E8E84-426E-40DD-AFC4-6F175D3DCCD1}">
              <a14:hiddenFill xmlns:a14="http://schemas.microsoft.com/office/drawing/2010/main">
                <a:solidFill>
                  <a:schemeClr val="accent1">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p>
            <a:r>
              <a:rPr lang="zh-CN" altLang="en-US" sz="1400" b="1" dirty="0" smtClean="0">
                <a:solidFill>
                  <a:schemeClr val="tx1"/>
                </a:solidFill>
              </a:rPr>
              <a:t>覆盖广度</a:t>
            </a:r>
            <a:endParaRPr lang="en-US" altLang="zh-CN" sz="1400" b="1" dirty="0" smtClean="0">
              <a:solidFill>
                <a:schemeClr val="tx1"/>
              </a:solidFill>
            </a:endParaRPr>
          </a:p>
          <a:p>
            <a:pPr marL="179705" lvl="1" indent="-179705">
              <a:buClr>
                <a:schemeClr val="tx2">
                  <a:lumMod val="100000"/>
                </a:schemeClr>
              </a:buClr>
              <a:buSzPct val="100000"/>
              <a:buFont typeface="Trebuchet MS" panose="020B0603020202020204" pitchFamily="34" charset="0"/>
              <a:buChar char="•"/>
            </a:pPr>
            <a:r>
              <a:rPr lang="en-US" altLang="zh-CN" sz="1400" dirty="0" smtClean="0">
                <a:solidFill>
                  <a:schemeClr val="tx1">
                    <a:lumMod val="100000"/>
                  </a:schemeClr>
                </a:solidFill>
                <a:latin typeface="Arial" panose="020B0604020202020204" pitchFamily="34" charset="0"/>
                <a:sym typeface="Arial" panose="020B0604020202020204" pitchFamily="34" charset="0"/>
              </a:rPr>
              <a:t>xx</a:t>
            </a:r>
            <a:endParaRPr lang="en-US" altLang="zh-CN" sz="1400" dirty="0" smtClean="0">
              <a:solidFill>
                <a:schemeClr val="tx1">
                  <a:lumMod val="100000"/>
                </a:schemeClr>
              </a:solidFill>
              <a:latin typeface="Arial" panose="020B0604020202020204" pitchFamily="34" charset="0"/>
              <a:sym typeface="Arial" panose="020B0604020202020204" pitchFamily="34" charset="0"/>
            </a:endParaRPr>
          </a:p>
          <a:p>
            <a:pPr marL="0" lvl="1">
              <a:buClr>
                <a:schemeClr val="tx2">
                  <a:lumMod val="100000"/>
                </a:schemeClr>
              </a:buClr>
              <a:buSzPct val="100000"/>
            </a:pPr>
            <a:r>
              <a:rPr lang="zh-CN" altLang="en-US" sz="1400" b="1" dirty="0">
                <a:solidFill>
                  <a:schemeClr val="tx1"/>
                </a:solidFill>
              </a:rPr>
              <a:t>影响</a:t>
            </a:r>
            <a:r>
              <a:rPr lang="zh-CN" altLang="en-US" sz="1400" b="1" dirty="0" smtClean="0">
                <a:solidFill>
                  <a:schemeClr val="tx1"/>
                </a:solidFill>
              </a:rPr>
              <a:t>深度</a:t>
            </a:r>
            <a:endParaRPr lang="en-US" altLang="zh-CN" sz="1400" b="1" dirty="0" smtClean="0">
              <a:solidFill>
                <a:schemeClr val="tx1"/>
              </a:solidFill>
            </a:endParaRPr>
          </a:p>
          <a:p>
            <a:pPr marL="179705" lvl="1" indent="-179705">
              <a:buClr>
                <a:schemeClr val="tx2">
                  <a:lumMod val="100000"/>
                </a:schemeClr>
              </a:buClr>
              <a:buSzPct val="100000"/>
              <a:buFont typeface="Trebuchet MS" panose="020B0603020202020204" pitchFamily="34" charset="0"/>
              <a:buChar char="•"/>
            </a:pPr>
            <a:r>
              <a:rPr lang="en-US" altLang="zh-CN" sz="1400" dirty="0" smtClean="0">
                <a:solidFill>
                  <a:schemeClr val="tx1">
                    <a:lumMod val="100000"/>
                  </a:schemeClr>
                </a:solidFill>
                <a:latin typeface="Arial" panose="020B0604020202020204" pitchFamily="34" charset="0"/>
                <a:sym typeface="Arial" panose="020B0604020202020204" pitchFamily="34" charset="0"/>
              </a:rPr>
              <a:t>Xx</a:t>
            </a:r>
            <a:endParaRPr lang="en-US" altLang="zh-CN" sz="1400" dirty="0" smtClean="0">
              <a:solidFill>
                <a:schemeClr val="tx1">
                  <a:lumMod val="100000"/>
                </a:schemeClr>
              </a:solidFill>
              <a:latin typeface="Arial" panose="020B0604020202020204" pitchFamily="34" charset="0"/>
              <a:sym typeface="Arial" panose="020B0604020202020204" pitchFamily="34" charset="0"/>
            </a:endParaRPr>
          </a:p>
          <a:p>
            <a:pPr marL="179705" lvl="1" indent="-179705">
              <a:buClr>
                <a:schemeClr val="tx2">
                  <a:lumMod val="100000"/>
                </a:schemeClr>
              </a:buClr>
              <a:buSzPct val="100000"/>
              <a:buFont typeface="Trebuchet MS" panose="020B0603020202020204" pitchFamily="34" charset="0"/>
              <a:buChar char="•"/>
            </a:pPr>
            <a:r>
              <a:rPr lang="en-US" altLang="zh-CN" sz="1400" dirty="0" smtClean="0">
                <a:solidFill>
                  <a:schemeClr val="tx1">
                    <a:lumMod val="100000"/>
                  </a:schemeClr>
                </a:solidFill>
                <a:latin typeface="Arial" panose="020B0604020202020204" pitchFamily="34" charset="0"/>
                <a:sym typeface="Arial" panose="020B0604020202020204" pitchFamily="34" charset="0"/>
              </a:rPr>
              <a:t>xx</a:t>
            </a:r>
            <a:endParaRPr lang="zh-CN" altLang="en-US" sz="1400" dirty="0">
              <a:solidFill>
                <a:schemeClr val="tx1">
                  <a:lumMod val="100000"/>
                </a:schemeClr>
              </a:solidFill>
              <a:latin typeface="Arial" panose="020B0604020202020204" pitchFamily="34" charset="0"/>
              <a:sym typeface="Arial" panose="020B0604020202020204" pitchFamily="34" charset="0"/>
            </a:endParaRPr>
          </a:p>
        </p:txBody>
      </p:sp>
      <p:sp>
        <p:nvSpPr>
          <p:cNvPr id="82" name="文本框 81"/>
          <p:cNvSpPr txBox="1"/>
          <p:nvPr/>
        </p:nvSpPr>
        <p:spPr>
          <a:xfrm>
            <a:off x="9832621" y="1455996"/>
            <a:ext cx="2020711" cy="9079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spAutoFit/>
          </a:bodyPr>
          <a:lstStyle/>
          <a:p>
            <a:pPr marL="180975" indent="-180975">
              <a:spcBef>
                <a:spcPts val="300"/>
              </a:spcBef>
              <a:buFont typeface="Arial" panose="020B0604020202020204" pitchFamily="34" charset="0"/>
              <a:buChar char="•"/>
            </a:pPr>
            <a:r>
              <a:rPr lang="zh-CN" altLang="en-US" sz="1600" dirty="0">
                <a:solidFill>
                  <a:schemeClr val="tx1"/>
                </a:solidFill>
              </a:rPr>
              <a:t>线</a:t>
            </a:r>
            <a:r>
              <a:rPr lang="zh-CN" altLang="en-US" sz="1600" dirty="0" smtClean="0">
                <a:solidFill>
                  <a:schemeClr val="tx1"/>
                </a:solidFill>
              </a:rPr>
              <a:t>下调研：</a:t>
            </a:r>
            <a:r>
              <a:rPr lang="en-US" altLang="zh-CN" sz="1600" dirty="0" smtClean="0">
                <a:solidFill>
                  <a:schemeClr val="tx1"/>
                </a:solidFill>
              </a:rPr>
              <a:t>xxx</a:t>
            </a:r>
            <a:endParaRPr lang="en-US" altLang="zh-CN" sz="1600" dirty="0">
              <a:solidFill>
                <a:schemeClr val="tx1"/>
              </a:solidFill>
            </a:endParaRPr>
          </a:p>
          <a:p>
            <a:pPr marL="180975" indent="-180975">
              <a:spcBef>
                <a:spcPts val="300"/>
              </a:spcBef>
              <a:buFont typeface="Arial" panose="020B0604020202020204" pitchFamily="34" charset="0"/>
              <a:buChar char="•"/>
            </a:pPr>
            <a:r>
              <a:rPr lang="zh-CN" altLang="en-US" sz="1600" dirty="0" smtClean="0">
                <a:solidFill>
                  <a:schemeClr val="tx1"/>
                </a:solidFill>
              </a:rPr>
              <a:t>专家访谈：</a:t>
            </a:r>
            <a:r>
              <a:rPr lang="en-US" altLang="zh-CN" sz="1600" dirty="0" smtClean="0">
                <a:solidFill>
                  <a:schemeClr val="tx1"/>
                </a:solidFill>
              </a:rPr>
              <a:t>xxx</a:t>
            </a:r>
            <a:endParaRPr lang="en-US" altLang="zh-CN" sz="1600" dirty="0">
              <a:solidFill>
                <a:schemeClr val="tx1"/>
              </a:solidFill>
            </a:endParaRPr>
          </a:p>
          <a:p>
            <a:pPr marL="180975" indent="-180975">
              <a:spcBef>
                <a:spcPts val="300"/>
              </a:spcBef>
              <a:buFont typeface="Arial" panose="020B0604020202020204" pitchFamily="34" charset="0"/>
              <a:buChar char="•"/>
            </a:pPr>
            <a:r>
              <a:rPr lang="zh-CN" altLang="en-US" sz="1600" dirty="0" smtClean="0">
                <a:solidFill>
                  <a:schemeClr val="tx1"/>
                </a:solidFill>
              </a:rPr>
              <a:t>数据分析：</a:t>
            </a:r>
            <a:r>
              <a:rPr lang="en-US" altLang="zh-CN" sz="1600" dirty="0" smtClean="0">
                <a:solidFill>
                  <a:schemeClr val="tx1"/>
                </a:solidFill>
              </a:rPr>
              <a:t>xxx</a:t>
            </a:r>
            <a:endParaRPr lang="zh-CN" altLang="en-US" sz="1600" dirty="0" smtClean="0">
              <a:solidFill>
                <a:schemeClr val="tx1"/>
              </a:solidFill>
            </a:endParaRPr>
          </a:p>
        </p:txBody>
      </p:sp>
      <p:cxnSp>
        <p:nvCxnSpPr>
          <p:cNvPr id="84" name="直接连接符 83"/>
          <p:cNvCxnSpPr/>
          <p:nvPr/>
        </p:nvCxnSpPr>
        <p:spPr>
          <a:xfrm>
            <a:off x="9832622" y="1386443"/>
            <a:ext cx="2054256" cy="0"/>
          </a:xfrm>
          <a:prstGeom prst="line">
            <a:avLst/>
          </a:prstGeom>
          <a:ln w="1905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85" name="TextBox 153"/>
          <p:cNvSpPr txBox="1"/>
          <p:nvPr/>
        </p:nvSpPr>
        <p:spPr>
          <a:xfrm>
            <a:off x="9832622" y="1050482"/>
            <a:ext cx="2054256" cy="2815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2000" b="1" dirty="0">
                <a:solidFill>
                  <a:schemeClr val="accent1">
                    <a:lumMod val="75000"/>
                  </a:schemeClr>
                </a:solidFill>
              </a:rPr>
              <a:t>评</a:t>
            </a:r>
            <a:r>
              <a:rPr lang="zh-CN" altLang="en-US" sz="2000" b="1" dirty="0" smtClean="0">
                <a:solidFill>
                  <a:schemeClr val="accent1">
                    <a:lumMod val="75000"/>
                  </a:schemeClr>
                </a:solidFill>
              </a:rPr>
              <a:t>判</a:t>
            </a:r>
            <a:r>
              <a:rPr lang="zh-CN" altLang="en-US" sz="2000" b="1" dirty="0">
                <a:solidFill>
                  <a:schemeClr val="accent1">
                    <a:lumMod val="75000"/>
                  </a:schemeClr>
                </a:solidFill>
              </a:rPr>
              <a:t>基础</a:t>
            </a:r>
            <a:endParaRPr lang="zh-CN" altLang="en-US" sz="2000" b="1" dirty="0" smtClean="0">
              <a:solidFill>
                <a:schemeClr val="accent1">
                  <a:lumMod val="75000"/>
                </a:schemeClr>
              </a:solidFill>
            </a:endParaRPr>
          </a:p>
        </p:txBody>
      </p:sp>
      <p:sp>
        <p:nvSpPr>
          <p:cNvPr id="63" name="ColumnHeader"/>
          <p:cNvSpPr>
            <a:spLocks noChangeArrowheads="1"/>
          </p:cNvSpPr>
          <p:nvPr/>
        </p:nvSpPr>
        <p:spPr bwMode="gray">
          <a:xfrm>
            <a:off x="455613" y="2165906"/>
            <a:ext cx="1410894"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algn="ctr"/>
            <a:r>
              <a:rPr lang="zh-CN" altLang="en-US" sz="1600" b="1" dirty="0" smtClean="0">
                <a:solidFill>
                  <a:srgbClr val="000000"/>
                </a:solidFill>
                <a:latin typeface="Arial" panose="020B0604020202020204" pitchFamily="34" charset="0"/>
                <a:cs typeface="Arial" panose="020B0604020202020204" pitchFamily="34" charset="0"/>
              </a:rPr>
              <a:t>市场潜力</a:t>
            </a:r>
            <a:endParaRPr lang="zh-CN" altLang="en-US" sz="1600" b="1" dirty="0">
              <a:solidFill>
                <a:srgbClr val="000000"/>
              </a:solidFill>
              <a:latin typeface="Arial" panose="020B0604020202020204" pitchFamily="34" charset="0"/>
              <a:cs typeface="Arial" panose="020B0604020202020204" pitchFamily="34" charset="0"/>
            </a:endParaRPr>
          </a:p>
        </p:txBody>
      </p:sp>
      <p:sp>
        <p:nvSpPr>
          <p:cNvPr id="68" name="ColumnHeader"/>
          <p:cNvSpPr>
            <a:spLocks noChangeArrowheads="1"/>
          </p:cNvSpPr>
          <p:nvPr/>
        </p:nvSpPr>
        <p:spPr bwMode="gray">
          <a:xfrm>
            <a:off x="2472267" y="4988826"/>
            <a:ext cx="6604000"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accent1"/>
            </a:outerShdw>
          </a:effectLst>
        </p:spPr>
        <p:txBody>
          <a:bodyPr wrap="square" tIns="91440" bIns="91440" anchor="b">
            <a:spAutoFit/>
          </a:bodyPr>
          <a:lstStyle/>
          <a:p>
            <a:pPr algn="ctr"/>
            <a:r>
              <a:rPr lang="zh-CN" altLang="en-US" sz="1600" b="1" smtClean="0">
                <a:solidFill>
                  <a:srgbClr val="000000"/>
                </a:solidFill>
                <a:latin typeface="Arial" panose="020B0604020202020204" pitchFamily="34" charset="0"/>
                <a:cs typeface="Arial" panose="020B0604020202020204" pitchFamily="34" charset="0"/>
              </a:rPr>
              <a:t>平安</a:t>
            </a:r>
            <a:r>
              <a:rPr lang="zh-CN" altLang="en-US" sz="1600" b="1">
                <a:solidFill>
                  <a:srgbClr val="000000"/>
                </a:solidFill>
                <a:latin typeface="Arial" panose="020B0604020202020204" pitchFamily="34" charset="0"/>
                <a:cs typeface="Arial" panose="020B0604020202020204" pitchFamily="34" charset="0"/>
              </a:rPr>
              <a:t>竞争</a:t>
            </a:r>
            <a:r>
              <a:rPr lang="zh-CN" altLang="en-US" sz="1600" b="1" smtClean="0">
                <a:solidFill>
                  <a:srgbClr val="000000"/>
                </a:solidFill>
                <a:latin typeface="Arial" panose="020B0604020202020204" pitchFamily="34" charset="0"/>
                <a:cs typeface="Arial" panose="020B0604020202020204" pitchFamily="34" charset="0"/>
              </a:rPr>
              <a:t>优</a:t>
            </a:r>
            <a:r>
              <a:rPr lang="zh-CN" altLang="en-US" sz="1600" b="1" dirty="0" smtClean="0">
                <a:solidFill>
                  <a:srgbClr val="000000"/>
                </a:solidFill>
                <a:latin typeface="Arial" panose="020B0604020202020204" pitchFamily="34" charset="0"/>
                <a:cs typeface="Arial" panose="020B0604020202020204" pitchFamily="34" charset="0"/>
              </a:rPr>
              <a:t>势</a:t>
            </a:r>
            <a:endParaRPr lang="zh-CN" altLang="en-US" sz="1600" b="1" dirty="0">
              <a:solidFill>
                <a:srgbClr val="000000"/>
              </a:solidFill>
              <a:latin typeface="Arial" panose="020B0604020202020204" pitchFamily="34" charset="0"/>
              <a:cs typeface="Arial" panose="020B0604020202020204" pitchFamily="34" charset="0"/>
            </a:endParaRPr>
          </a:p>
        </p:txBody>
      </p:sp>
      <p:sp>
        <p:nvSpPr>
          <p:cNvPr id="69" name="文本框 68"/>
          <p:cNvSpPr txBox="1"/>
          <p:nvPr/>
        </p:nvSpPr>
        <p:spPr>
          <a:xfrm>
            <a:off x="2420573" y="5498338"/>
            <a:ext cx="1571697" cy="695575"/>
          </a:xfrm>
          <a:prstGeom prst="rect">
            <a:avLst/>
          </a:prstGeom>
          <a:noFill/>
          <a:ln w="9525" cap="rnd">
            <a:noFill/>
            <a:prstDash val="solid"/>
            <a:round/>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r>
              <a:rPr lang="zh-CN" altLang="en-US" sz="1400" b="1" dirty="0">
                <a:solidFill>
                  <a:schemeClr val="tx1"/>
                </a:solidFill>
              </a:rPr>
              <a:t>科技适配</a:t>
            </a:r>
            <a:endParaRPr lang="zh-CN" altLang="en-US" sz="1400" b="1" dirty="0">
              <a:solidFill>
                <a:schemeClr val="tx1"/>
              </a:solidFill>
            </a:endParaRPr>
          </a:p>
          <a:p>
            <a:pPr marL="180975" indent="-180975">
              <a:lnSpc>
                <a:spcPct val="90000"/>
              </a:lnSpc>
              <a:spcAft>
                <a:spcPts val="1000"/>
              </a:spcAft>
              <a:buFont typeface="Arial" panose="020B0604020202020204" pitchFamily="34" charset="0"/>
              <a:buChar char="•"/>
            </a:pPr>
            <a:r>
              <a:rPr lang="en-US" altLang="zh-CN" sz="1400" dirty="0" smtClean="0">
                <a:solidFill>
                  <a:schemeClr val="tx1"/>
                </a:solidFill>
              </a:rPr>
              <a:t>xxx</a:t>
            </a:r>
            <a:endParaRPr lang="zh-CN" altLang="en-US" sz="1400" dirty="0">
              <a:solidFill>
                <a:schemeClr val="tx1"/>
              </a:solidFill>
            </a:endParaRPr>
          </a:p>
        </p:txBody>
      </p:sp>
      <p:sp>
        <p:nvSpPr>
          <p:cNvPr id="70" name="文本框 69"/>
          <p:cNvSpPr txBox="1"/>
          <p:nvPr/>
        </p:nvSpPr>
        <p:spPr>
          <a:xfrm>
            <a:off x="4082997" y="5498338"/>
            <a:ext cx="1691000" cy="695575"/>
          </a:xfrm>
          <a:prstGeom prst="rect">
            <a:avLst/>
          </a:prstGeom>
          <a:noFill/>
          <a:ln w="9525" cap="rnd">
            <a:noFill/>
            <a:prstDash val="solid"/>
            <a:round/>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r>
              <a:rPr lang="zh-CN" altLang="en-US" sz="1400" b="1" dirty="0">
                <a:solidFill>
                  <a:schemeClr val="tx1"/>
                </a:solidFill>
              </a:rPr>
              <a:t>数据应用</a:t>
            </a:r>
            <a:endParaRPr lang="zh-CN" altLang="en-US" sz="1400" b="1" dirty="0">
              <a:solidFill>
                <a:schemeClr val="tx1"/>
              </a:solidFill>
            </a:endParaRPr>
          </a:p>
          <a:p>
            <a:pPr marL="180975" indent="-180975">
              <a:lnSpc>
                <a:spcPct val="90000"/>
              </a:lnSpc>
              <a:spcAft>
                <a:spcPts val="1000"/>
              </a:spcAft>
              <a:buFont typeface="Arial" panose="020B0604020202020204" pitchFamily="34" charset="0"/>
              <a:buChar char="•"/>
            </a:pPr>
            <a:r>
              <a:rPr lang="en-US" altLang="zh-CN" sz="1400" dirty="0" smtClean="0">
                <a:solidFill>
                  <a:schemeClr val="tx1"/>
                </a:solidFill>
              </a:rPr>
              <a:t>xxx</a:t>
            </a:r>
            <a:endParaRPr lang="zh-CN" altLang="en-US" sz="1400" dirty="0">
              <a:solidFill>
                <a:schemeClr val="tx1"/>
              </a:solidFill>
            </a:endParaRPr>
          </a:p>
        </p:txBody>
      </p:sp>
      <p:sp>
        <p:nvSpPr>
          <p:cNvPr id="71" name="文本框 70"/>
          <p:cNvSpPr txBox="1"/>
          <p:nvPr/>
        </p:nvSpPr>
        <p:spPr>
          <a:xfrm>
            <a:off x="5864724" y="5498338"/>
            <a:ext cx="1571697" cy="695575"/>
          </a:xfrm>
          <a:prstGeom prst="rect">
            <a:avLst/>
          </a:prstGeom>
          <a:noFill/>
          <a:ln w="9525" cap="rnd">
            <a:noFill/>
            <a:prstDash val="solid"/>
            <a:round/>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r>
              <a:rPr lang="zh-CN" altLang="en-US" sz="1400" b="1" dirty="0">
                <a:solidFill>
                  <a:schemeClr val="tx1"/>
                </a:solidFill>
              </a:rPr>
              <a:t>金融引流</a:t>
            </a:r>
            <a:endParaRPr lang="zh-CN" altLang="en-US" sz="1400" b="1" dirty="0">
              <a:solidFill>
                <a:schemeClr val="tx1"/>
              </a:solidFill>
            </a:endParaRPr>
          </a:p>
          <a:p>
            <a:pPr marL="180975" indent="-180975">
              <a:lnSpc>
                <a:spcPct val="90000"/>
              </a:lnSpc>
              <a:spcAft>
                <a:spcPts val="1000"/>
              </a:spcAft>
              <a:buFont typeface="Arial" panose="020B0604020202020204" pitchFamily="34" charset="0"/>
              <a:buChar char="•"/>
            </a:pPr>
            <a:r>
              <a:rPr lang="en-US" altLang="zh-CN" sz="1400" dirty="0" smtClean="0">
                <a:solidFill>
                  <a:schemeClr val="tx1"/>
                </a:solidFill>
              </a:rPr>
              <a:t>xxx</a:t>
            </a:r>
            <a:endParaRPr lang="zh-CN" altLang="en-US" sz="1400" dirty="0">
              <a:solidFill>
                <a:schemeClr val="tx1"/>
              </a:solidFill>
            </a:endParaRPr>
          </a:p>
        </p:txBody>
      </p:sp>
      <p:sp>
        <p:nvSpPr>
          <p:cNvPr id="75" name="文本框 74"/>
          <p:cNvSpPr txBox="1"/>
          <p:nvPr/>
        </p:nvSpPr>
        <p:spPr>
          <a:xfrm>
            <a:off x="7527148" y="5498338"/>
            <a:ext cx="1571697" cy="695575"/>
          </a:xfrm>
          <a:prstGeom prst="rect">
            <a:avLst/>
          </a:prstGeom>
          <a:noFill/>
          <a:ln w="9525" cap="rnd">
            <a:noFill/>
            <a:prstDash val="solid"/>
            <a:round/>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r>
              <a:rPr lang="zh-CN" altLang="en-US" sz="1400" b="1" dirty="0" smtClean="0">
                <a:solidFill>
                  <a:schemeClr val="tx1"/>
                </a:solidFill>
              </a:rPr>
              <a:t>平台协作</a:t>
            </a:r>
            <a:endParaRPr lang="zh-CN" altLang="en-US" sz="1400" b="1" dirty="0" smtClean="0">
              <a:solidFill>
                <a:schemeClr val="tx1"/>
              </a:solidFill>
            </a:endParaRPr>
          </a:p>
          <a:p>
            <a:pPr marL="180975" indent="-180975">
              <a:lnSpc>
                <a:spcPct val="90000"/>
              </a:lnSpc>
              <a:spcAft>
                <a:spcPts val="1000"/>
              </a:spcAft>
              <a:buFont typeface="Arial" panose="020B0604020202020204" pitchFamily="34" charset="0"/>
              <a:buChar char="•"/>
            </a:pPr>
            <a:r>
              <a:rPr lang="en-US" altLang="zh-CN" sz="1400" dirty="0" smtClean="0">
                <a:solidFill>
                  <a:schemeClr val="tx1"/>
                </a:solidFill>
              </a:rPr>
              <a:t>xxx</a:t>
            </a:r>
            <a:endParaRPr lang="zh-CN" altLang="en-US" sz="1400" dirty="0">
              <a:solidFill>
                <a:schemeClr val="tx1"/>
              </a:solidFill>
            </a:endParaRPr>
          </a:p>
        </p:txBody>
      </p:sp>
      <p:sp>
        <p:nvSpPr>
          <p:cNvPr id="13" name="矩形 12"/>
          <p:cNvSpPr/>
          <p:nvPr/>
        </p:nvSpPr>
        <p:spPr>
          <a:xfrm>
            <a:off x="7007995" y="4728633"/>
            <a:ext cx="2302934" cy="327378"/>
          </a:xfrm>
          <a:prstGeom prst="rect">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zh-CN" altLang="en-US" sz="1600" b="1" dirty="0" smtClean="0">
                <a:solidFill>
                  <a:schemeClr val="bg1"/>
                </a:solidFill>
              </a:rPr>
              <a:t>平安领先</a:t>
            </a:r>
            <a:endParaRPr lang="zh-CN" altLang="en-US" sz="1600" b="1" dirty="0" smtClean="0">
              <a:solidFill>
                <a:schemeClr val="bg1"/>
              </a:solidFill>
            </a:endParaRPr>
          </a:p>
        </p:txBody>
      </p:sp>
      <p:sp>
        <p:nvSpPr>
          <p:cNvPr id="76" name="矩形 75"/>
          <p:cNvSpPr/>
          <p:nvPr/>
        </p:nvSpPr>
        <p:spPr>
          <a:xfrm>
            <a:off x="4565715" y="4728633"/>
            <a:ext cx="2302934" cy="327378"/>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zh-CN" altLang="en-US" sz="1600" b="1" dirty="0" smtClean="0">
                <a:solidFill>
                  <a:schemeClr val="bg1"/>
                </a:solidFill>
              </a:rPr>
              <a:t>与其他企业相当</a:t>
            </a:r>
            <a:endParaRPr lang="zh-CN" altLang="en-US" sz="1600" b="1" dirty="0" smtClean="0">
              <a:solidFill>
                <a:schemeClr val="bg1"/>
              </a:solidFill>
            </a:endParaRPr>
          </a:p>
        </p:txBody>
      </p:sp>
      <p:sp>
        <p:nvSpPr>
          <p:cNvPr id="77" name="矩形 76"/>
          <p:cNvSpPr/>
          <p:nvPr/>
        </p:nvSpPr>
        <p:spPr>
          <a:xfrm>
            <a:off x="2123435" y="4728633"/>
            <a:ext cx="2302934" cy="327378"/>
          </a:xfrm>
          <a:prstGeom prst="rect">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ctr">
              <a:lnSpc>
                <a:spcPct val="90000"/>
              </a:lnSpc>
              <a:spcAft>
                <a:spcPts val="1000"/>
              </a:spcAft>
            </a:pPr>
            <a:r>
              <a:rPr lang="zh-CN" altLang="en-US" sz="1600" b="1" dirty="0" smtClean="0">
                <a:solidFill>
                  <a:schemeClr val="bg1"/>
                </a:solidFill>
              </a:rPr>
              <a:t>平安不具优势</a:t>
            </a:r>
            <a:endParaRPr lang="zh-CN" altLang="en-US" sz="1600" b="1" dirty="0" smtClean="0">
              <a:solidFill>
                <a:schemeClr val="bg1"/>
              </a:solidFill>
            </a:endParaRPr>
          </a:p>
        </p:txBody>
      </p:sp>
      <p:cxnSp>
        <p:nvCxnSpPr>
          <p:cNvPr id="10" name="直接连接符 9"/>
          <p:cNvCxnSpPr/>
          <p:nvPr/>
        </p:nvCxnSpPr>
        <p:spPr>
          <a:xfrm>
            <a:off x="4496042" y="1286933"/>
            <a:ext cx="0" cy="3804356"/>
          </a:xfrm>
          <a:prstGeom prst="line">
            <a:avLst/>
          </a:prstGeom>
          <a:ln w="9525" cap="rnd">
            <a:solidFill>
              <a:schemeClr val="tx1">
                <a:lumMod val="85000"/>
                <a:lumOff val="1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6938322" y="1286933"/>
            <a:ext cx="0" cy="3804356"/>
          </a:xfrm>
          <a:prstGeom prst="line">
            <a:avLst/>
          </a:prstGeom>
          <a:ln w="9525" cap="rnd">
            <a:solidFill>
              <a:schemeClr val="tx1">
                <a:lumMod val="85000"/>
                <a:lumOff val="1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35" name="文本框 34"/>
          <p:cNvSpPr txBox="1"/>
          <p:nvPr/>
        </p:nvSpPr>
        <p:spPr>
          <a:xfrm flipH="1">
            <a:off x="9354222" y="4748676"/>
            <a:ext cx="307486" cy="3074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lang="zh-CN" altLang="en-US" sz="1400" dirty="0">
                <a:solidFill>
                  <a:schemeClr val="tx1"/>
                </a:solidFill>
              </a:rPr>
              <a:t>高</a:t>
            </a:r>
            <a:endParaRPr lang="zh-CN" altLang="en-US" sz="1400" dirty="0" smtClean="0">
              <a:solidFill>
                <a:schemeClr val="tx1"/>
              </a:solidFill>
            </a:endParaRPr>
          </a:p>
        </p:txBody>
      </p:sp>
      <p:sp>
        <p:nvSpPr>
          <p:cNvPr id="28" name="矩形 27"/>
          <p:cNvSpPr/>
          <p:nvPr/>
        </p:nvSpPr>
        <p:spPr>
          <a:xfrm>
            <a:off x="1648177" y="903110"/>
            <a:ext cx="4775200" cy="28222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nSpc>
                <a:spcPct val="90000"/>
              </a:lnSpc>
              <a:spcAft>
                <a:spcPts val="1000"/>
              </a:spcAft>
            </a:pPr>
            <a:r>
              <a:rPr lang="en-US" altLang="zh-CN" b="1" dirty="0" smtClean="0">
                <a:solidFill>
                  <a:schemeClr val="tx1"/>
                </a:solidFill>
              </a:rPr>
              <a:t>xx</a:t>
            </a:r>
            <a:r>
              <a:rPr lang="zh-CN" altLang="en-US" b="1" dirty="0" smtClean="0">
                <a:solidFill>
                  <a:schemeClr val="tx1"/>
                </a:solidFill>
              </a:rPr>
              <a:t>场景优先级别评估</a:t>
            </a:r>
            <a:endParaRPr lang="zh-CN" altLang="en-US" b="1" dirty="0" smtClean="0">
              <a:solidFill>
                <a:schemeClr val="tx1"/>
              </a:solidFill>
            </a:endParaRPr>
          </a:p>
        </p:txBody>
      </p:sp>
      <p:sp>
        <p:nvSpPr>
          <p:cNvPr id="4" name="矩形 3"/>
          <p:cNvSpPr/>
          <p:nvPr/>
        </p:nvSpPr>
        <p:spPr>
          <a:xfrm>
            <a:off x="8599517" y="1730300"/>
            <a:ext cx="711412" cy="435606"/>
          </a:xfrm>
          <a:prstGeom prst="rect">
            <a:avLst/>
          </a:prstGeom>
          <a:noFill/>
          <a:ln w="19050" cap="rnd" cmpd="sng" algn="ctr">
            <a:solidFill>
              <a:schemeClr val="accent6">
                <a:lumMod val="50000"/>
              </a:schemeClr>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0" name="矩形 49"/>
          <p:cNvSpPr/>
          <p:nvPr/>
        </p:nvSpPr>
        <p:spPr>
          <a:xfrm>
            <a:off x="7848160" y="2162415"/>
            <a:ext cx="711412" cy="435606"/>
          </a:xfrm>
          <a:prstGeom prst="rect">
            <a:avLst/>
          </a:prstGeom>
          <a:noFill/>
          <a:ln w="19050" cap="rnd" cmpd="sng" algn="ctr">
            <a:solidFill>
              <a:schemeClr val="accent6">
                <a:lumMod val="50000"/>
              </a:schemeClr>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6" name="矩形 55"/>
          <p:cNvSpPr/>
          <p:nvPr/>
        </p:nvSpPr>
        <p:spPr>
          <a:xfrm>
            <a:off x="8159462" y="3046380"/>
            <a:ext cx="711412" cy="435606"/>
          </a:xfrm>
          <a:prstGeom prst="rect">
            <a:avLst/>
          </a:prstGeom>
          <a:noFill/>
          <a:ln w="19050" cap="rnd" cmpd="sng" algn="ctr">
            <a:solidFill>
              <a:schemeClr val="accent6">
                <a:lumMod val="50000"/>
              </a:schemeClr>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58" name="矩形 57"/>
          <p:cNvSpPr/>
          <p:nvPr/>
        </p:nvSpPr>
        <p:spPr>
          <a:xfrm>
            <a:off x="10976119" y="5924462"/>
            <a:ext cx="180000" cy="180000"/>
          </a:xfrm>
          <a:prstGeom prst="rect">
            <a:avLst/>
          </a:prstGeom>
          <a:noFill/>
          <a:ln w="19050" cap="rnd" cmpd="sng" algn="ctr">
            <a:solidFill>
              <a:schemeClr val="accent6">
                <a:lumMod val="50000"/>
              </a:schemeClr>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90000"/>
              </a:lnSpc>
              <a:spcAft>
                <a:spcPts val="1000"/>
              </a:spcAft>
            </a:pPr>
            <a:endParaRPr lang="zh-CN" altLang="en-US" sz="1400" dirty="0" smtClean="0">
              <a:solidFill>
                <a:schemeClr val="tx1"/>
              </a:solidFill>
            </a:endParaRPr>
          </a:p>
        </p:txBody>
      </p:sp>
      <p:sp>
        <p:nvSpPr>
          <p:cNvPr id="60" name="椭圆 59"/>
          <p:cNvSpPr/>
          <p:nvPr/>
        </p:nvSpPr>
        <p:spPr>
          <a:xfrm>
            <a:off x="9711977" y="5530572"/>
            <a:ext cx="144000" cy="144000"/>
          </a:xfrm>
          <a:prstGeom prst="ellipse">
            <a:avLst/>
          </a:prstGeom>
          <a:solidFill>
            <a:schemeClr val="bg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000" b="1" smtClean="0">
                <a:solidFill>
                  <a:schemeClr val="accent1"/>
                </a:solidFill>
              </a:rPr>
              <a:t>1</a:t>
            </a:r>
            <a:endParaRPr lang="zh-CN" altLang="en-US" sz="1000" b="1" dirty="0" smtClean="0">
              <a:solidFill>
                <a:schemeClr val="accent1"/>
              </a:solidFill>
            </a:endParaRPr>
          </a:p>
        </p:txBody>
      </p:sp>
      <p:sp>
        <p:nvSpPr>
          <p:cNvPr id="61" name="椭圆 60"/>
          <p:cNvSpPr/>
          <p:nvPr/>
        </p:nvSpPr>
        <p:spPr>
          <a:xfrm>
            <a:off x="9711977" y="5731190"/>
            <a:ext cx="144000" cy="144000"/>
          </a:xfrm>
          <a:prstGeom prst="ellipse">
            <a:avLst/>
          </a:prstGeom>
          <a:solidFill>
            <a:schemeClr val="bg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000" b="1">
                <a:solidFill>
                  <a:schemeClr val="accent1"/>
                </a:solidFill>
              </a:rPr>
              <a:t>2</a:t>
            </a:r>
            <a:endParaRPr lang="zh-CN" altLang="en-US" sz="1000" b="1" dirty="0" smtClean="0">
              <a:solidFill>
                <a:schemeClr val="accent1"/>
              </a:solidFill>
            </a:endParaRPr>
          </a:p>
        </p:txBody>
      </p:sp>
      <p:sp>
        <p:nvSpPr>
          <p:cNvPr id="62" name="椭圆 61"/>
          <p:cNvSpPr/>
          <p:nvPr/>
        </p:nvSpPr>
        <p:spPr>
          <a:xfrm>
            <a:off x="9711977" y="5958985"/>
            <a:ext cx="144000" cy="144000"/>
          </a:xfrm>
          <a:prstGeom prst="ellipse">
            <a:avLst/>
          </a:prstGeom>
          <a:solidFill>
            <a:schemeClr val="bg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000" b="1" smtClean="0">
                <a:solidFill>
                  <a:schemeClr val="accent1"/>
                </a:solidFill>
              </a:rPr>
              <a:t>3</a:t>
            </a:r>
            <a:endParaRPr lang="zh-CN" altLang="en-US" sz="1000" b="1" dirty="0" smtClean="0">
              <a:solidFill>
                <a:schemeClr val="accent1"/>
              </a:solidFill>
            </a:endParaRPr>
          </a:p>
        </p:txBody>
      </p:sp>
      <p:sp>
        <p:nvSpPr>
          <p:cNvPr id="64" name="椭圆 63"/>
          <p:cNvSpPr/>
          <p:nvPr/>
        </p:nvSpPr>
        <p:spPr>
          <a:xfrm>
            <a:off x="10835090" y="5530572"/>
            <a:ext cx="144000" cy="144000"/>
          </a:xfrm>
          <a:prstGeom prst="ellipse">
            <a:avLst/>
          </a:prstGeom>
          <a:solidFill>
            <a:schemeClr val="bg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000" b="1" smtClean="0">
                <a:solidFill>
                  <a:schemeClr val="accent1"/>
                </a:solidFill>
              </a:rPr>
              <a:t>4</a:t>
            </a:r>
            <a:endParaRPr lang="zh-CN" altLang="en-US" sz="1000" b="1" dirty="0" smtClean="0">
              <a:solidFill>
                <a:schemeClr val="accent1"/>
              </a:solidFill>
            </a:endParaRPr>
          </a:p>
        </p:txBody>
      </p:sp>
      <p:sp>
        <p:nvSpPr>
          <p:cNvPr id="65" name="椭圆 64"/>
          <p:cNvSpPr/>
          <p:nvPr/>
        </p:nvSpPr>
        <p:spPr>
          <a:xfrm>
            <a:off x="10835090" y="5731190"/>
            <a:ext cx="144000" cy="144000"/>
          </a:xfrm>
          <a:prstGeom prst="ellipse">
            <a:avLst/>
          </a:prstGeom>
          <a:solidFill>
            <a:schemeClr val="bg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000" b="1" smtClean="0">
                <a:solidFill>
                  <a:schemeClr val="accent1"/>
                </a:solidFill>
              </a:rPr>
              <a:t>5</a:t>
            </a:r>
            <a:endParaRPr lang="zh-CN" altLang="en-US" sz="1000" b="1" dirty="0" smtClean="0">
              <a:solidFill>
                <a:schemeClr val="accent1"/>
              </a:solidFill>
            </a:endParaRPr>
          </a:p>
        </p:txBody>
      </p:sp>
      <p:sp>
        <p:nvSpPr>
          <p:cNvPr id="74"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行研</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优先级评估</a:t>
            </a:r>
            <a:endParaRPr lang="zh-CN" altLang="en-US" sz="2400" dirty="0">
              <a:solidFill>
                <a:prstClr val="black"/>
              </a:solidFill>
              <a:latin typeface="华文楷体" panose="02010600040101010101" charset="-122"/>
            </a:endParaRPr>
          </a:p>
        </p:txBody>
      </p:sp>
      <p:pic>
        <p:nvPicPr>
          <p:cNvPr id="72" name="图片 7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8717" name="think-cell Slide" r:id="rId2" imgW="12700" imgH="12700" progId="TCLayout.ActiveDocument.1">
                  <p:embed/>
                </p:oleObj>
              </mc:Choice>
              <mc:Fallback>
                <p:oleObj name="think-cell Slide" r:id="rId2" imgW="12700" imgH="12700"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cxnSp>
        <p:nvCxnSpPr>
          <p:cNvPr id="30" name="直接连接符 29"/>
          <p:cNvCxnSpPr/>
          <p:nvPr/>
        </p:nvCxnSpPr>
        <p:spPr>
          <a:xfrm>
            <a:off x="520270" y="3218153"/>
            <a:ext cx="11340000" cy="0"/>
          </a:xfrm>
          <a:prstGeom prst="line">
            <a:avLst/>
          </a:prstGeom>
          <a:ln w="19050" cap="rnd">
            <a:solidFill>
              <a:schemeClr val="tx1">
                <a:lumMod val="50000"/>
                <a:lumOff val="5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520269" y="4493854"/>
            <a:ext cx="11340000" cy="0"/>
          </a:xfrm>
          <a:prstGeom prst="line">
            <a:avLst/>
          </a:prstGeom>
          <a:ln w="19050" cap="rnd">
            <a:solidFill>
              <a:schemeClr val="tx1">
                <a:lumMod val="50000"/>
                <a:lumOff val="5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1411507" y="4534071"/>
            <a:ext cx="2298805" cy="11301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lnSpc>
                <a:spcPts val="1900"/>
              </a:lnSpc>
              <a:buFont typeface="Arial" panose="020B0604020202020204" pitchFamily="34" charset="0"/>
              <a:buChar char="•"/>
            </a:pPr>
            <a:r>
              <a:rPr lang="en-US" altLang="zh-CN" sz="1600" dirty="0" smtClean="0">
                <a:solidFill>
                  <a:schemeClr val="tx1"/>
                </a:solidFill>
              </a:rPr>
              <a:t>Xx</a:t>
            </a:r>
            <a:endParaRPr lang="en-US" altLang="zh-CN" sz="1600" dirty="0" smtClean="0">
              <a:solidFill>
                <a:schemeClr val="tx1"/>
              </a:solidFill>
            </a:endParaRPr>
          </a:p>
          <a:p>
            <a:pPr marL="285750" indent="-285750">
              <a:lnSpc>
                <a:spcPts val="1900"/>
              </a:lnSpc>
              <a:buFont typeface="Arial" panose="020B0604020202020204" pitchFamily="34" charset="0"/>
              <a:buChar char="•"/>
            </a:pPr>
            <a:r>
              <a:rPr lang="en-US" altLang="zh-CN" sz="1600" dirty="0" smtClean="0">
                <a:solidFill>
                  <a:schemeClr val="tx1"/>
                </a:solidFill>
              </a:rPr>
              <a:t>Xx</a:t>
            </a:r>
            <a:endParaRPr lang="en-US" altLang="zh-CN" sz="1600" dirty="0" smtClean="0">
              <a:solidFill>
                <a:schemeClr val="tx1"/>
              </a:solidFill>
            </a:endParaRPr>
          </a:p>
          <a:p>
            <a:pPr marL="285750" indent="-285750">
              <a:lnSpc>
                <a:spcPts val="1900"/>
              </a:lnSpc>
              <a:buFont typeface="Arial" panose="020B0604020202020204" pitchFamily="34" charset="0"/>
              <a:buChar char="•"/>
            </a:pPr>
            <a:r>
              <a:rPr lang="en-US" altLang="zh-CN" sz="1600" dirty="0" smtClean="0">
                <a:solidFill>
                  <a:schemeClr val="tx1"/>
                </a:solidFill>
              </a:rPr>
              <a:t>xx</a:t>
            </a:r>
            <a:endParaRPr lang="en-US" altLang="zh-CN" sz="1600" dirty="0" smtClean="0">
              <a:solidFill>
                <a:schemeClr val="tx1"/>
              </a:solidFill>
            </a:endParaRPr>
          </a:p>
        </p:txBody>
      </p:sp>
      <p:sp>
        <p:nvSpPr>
          <p:cNvPr id="34" name="文本框 33"/>
          <p:cNvSpPr txBox="1"/>
          <p:nvPr/>
        </p:nvSpPr>
        <p:spPr>
          <a:xfrm>
            <a:off x="1411507" y="3361877"/>
            <a:ext cx="2298805" cy="9368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lnSpc>
                <a:spcPts val="1900"/>
              </a:lnSpc>
              <a:buFont typeface="Arial" panose="020B0604020202020204" pitchFamily="34" charset="0"/>
              <a:buChar char="•"/>
            </a:pPr>
            <a:r>
              <a:rPr lang="en-US" altLang="zh-CN" sz="1600" dirty="0">
                <a:solidFill>
                  <a:schemeClr val="tx1"/>
                </a:solidFill>
              </a:rPr>
              <a:t>Xx</a:t>
            </a:r>
            <a:endParaRPr lang="en-US" altLang="zh-CN" sz="1600" dirty="0">
              <a:solidFill>
                <a:schemeClr val="tx1"/>
              </a:solidFill>
            </a:endParaRPr>
          </a:p>
          <a:p>
            <a:pPr marL="285750" indent="-285750">
              <a:lnSpc>
                <a:spcPts val="1900"/>
              </a:lnSpc>
              <a:buFont typeface="Arial" panose="020B0604020202020204" pitchFamily="34" charset="0"/>
              <a:buChar char="•"/>
            </a:pPr>
            <a:r>
              <a:rPr lang="en-US" altLang="zh-CN" sz="1600" dirty="0">
                <a:solidFill>
                  <a:schemeClr val="tx1"/>
                </a:solidFill>
              </a:rPr>
              <a:t>Xx</a:t>
            </a:r>
            <a:endParaRPr lang="en-US" altLang="zh-CN" sz="1600" dirty="0">
              <a:solidFill>
                <a:schemeClr val="tx1"/>
              </a:solidFill>
            </a:endParaRPr>
          </a:p>
          <a:p>
            <a:pPr marL="285750" indent="-285750">
              <a:lnSpc>
                <a:spcPts val="1900"/>
              </a:lnSpc>
              <a:buFont typeface="Arial" panose="020B0604020202020204" pitchFamily="34" charset="0"/>
              <a:buChar char="•"/>
            </a:pPr>
            <a:r>
              <a:rPr lang="en-US" altLang="zh-CN" sz="1600" dirty="0">
                <a:solidFill>
                  <a:schemeClr val="tx1"/>
                </a:solidFill>
              </a:rPr>
              <a:t>xx</a:t>
            </a:r>
            <a:endParaRPr lang="en-US" altLang="zh-CN" sz="1600" dirty="0">
              <a:solidFill>
                <a:schemeClr val="tx1"/>
              </a:solidFill>
            </a:endParaRPr>
          </a:p>
        </p:txBody>
      </p:sp>
      <p:sp>
        <p:nvSpPr>
          <p:cNvPr id="35" name="文本框 34"/>
          <p:cNvSpPr txBox="1"/>
          <p:nvPr/>
        </p:nvSpPr>
        <p:spPr>
          <a:xfrm>
            <a:off x="1411507" y="2107582"/>
            <a:ext cx="2298805" cy="9368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lnSpc>
                <a:spcPts val="1900"/>
              </a:lnSpc>
              <a:buFont typeface="Arial" panose="020B0604020202020204" pitchFamily="34" charset="0"/>
              <a:buChar char="•"/>
            </a:pPr>
            <a:r>
              <a:rPr lang="en-US" altLang="zh-CN" sz="1600" dirty="0">
                <a:solidFill>
                  <a:schemeClr val="tx1"/>
                </a:solidFill>
              </a:rPr>
              <a:t>Xx</a:t>
            </a:r>
            <a:endParaRPr lang="en-US" altLang="zh-CN" sz="1600" dirty="0">
              <a:solidFill>
                <a:schemeClr val="tx1"/>
              </a:solidFill>
            </a:endParaRPr>
          </a:p>
          <a:p>
            <a:pPr marL="285750" indent="-285750">
              <a:lnSpc>
                <a:spcPts val="1900"/>
              </a:lnSpc>
              <a:buFont typeface="Arial" panose="020B0604020202020204" pitchFamily="34" charset="0"/>
              <a:buChar char="•"/>
            </a:pPr>
            <a:r>
              <a:rPr lang="en-US" altLang="zh-CN" sz="1600" dirty="0">
                <a:solidFill>
                  <a:schemeClr val="tx1"/>
                </a:solidFill>
              </a:rPr>
              <a:t>Xx</a:t>
            </a:r>
            <a:endParaRPr lang="en-US" altLang="zh-CN" sz="1600" dirty="0">
              <a:solidFill>
                <a:schemeClr val="tx1"/>
              </a:solidFill>
            </a:endParaRPr>
          </a:p>
          <a:p>
            <a:pPr marL="285750" indent="-285750">
              <a:lnSpc>
                <a:spcPts val="1900"/>
              </a:lnSpc>
              <a:buFont typeface="Arial" panose="020B0604020202020204" pitchFamily="34" charset="0"/>
              <a:buChar char="•"/>
            </a:pPr>
            <a:r>
              <a:rPr lang="en-US" altLang="zh-CN" sz="1600" dirty="0">
                <a:solidFill>
                  <a:schemeClr val="tx1"/>
                </a:solidFill>
              </a:rPr>
              <a:t>xx</a:t>
            </a:r>
            <a:endParaRPr lang="en-US" altLang="zh-CN" sz="1600" dirty="0">
              <a:solidFill>
                <a:schemeClr val="tx1"/>
              </a:solidFill>
            </a:endParaRPr>
          </a:p>
        </p:txBody>
      </p:sp>
      <p:sp>
        <p:nvSpPr>
          <p:cNvPr id="17" name="文本框 16"/>
          <p:cNvSpPr txBox="1"/>
          <p:nvPr/>
        </p:nvSpPr>
        <p:spPr>
          <a:xfrm>
            <a:off x="497871" y="2011416"/>
            <a:ext cx="883562" cy="1137409"/>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lnSpc>
                <a:spcPct val="90000"/>
              </a:lnSpc>
              <a:spcAft>
                <a:spcPts val="1000"/>
              </a:spcAft>
              <a:defRPr sz="1600" b="1">
                <a:solidFill>
                  <a:schemeClr val="bg1"/>
                </a:solidFill>
              </a:defRPr>
            </a:lvl1pPr>
          </a:lstStyle>
          <a:p>
            <a:r>
              <a:rPr lang="en-US" altLang="zh-CN" dirty="0" smtClean="0"/>
              <a:t>xx</a:t>
            </a:r>
            <a:endParaRPr lang="en-US" altLang="zh-CN" dirty="0"/>
          </a:p>
        </p:txBody>
      </p:sp>
      <p:sp>
        <p:nvSpPr>
          <p:cNvPr id="29" name="文本框 28"/>
          <p:cNvSpPr txBox="1"/>
          <p:nvPr/>
        </p:nvSpPr>
        <p:spPr>
          <a:xfrm>
            <a:off x="520270" y="4559130"/>
            <a:ext cx="883564" cy="1137409"/>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lnSpc>
                <a:spcPct val="90000"/>
              </a:lnSpc>
              <a:spcAft>
                <a:spcPts val="1000"/>
              </a:spcAft>
              <a:defRPr sz="1600" b="1">
                <a:solidFill>
                  <a:schemeClr val="bg1"/>
                </a:solidFill>
              </a:defRPr>
            </a:lvl1pPr>
          </a:lstStyle>
          <a:p>
            <a:r>
              <a:rPr lang="en-US" altLang="zh-CN" dirty="0" smtClean="0"/>
              <a:t>xx</a:t>
            </a:r>
            <a:endParaRPr lang="en-US" altLang="zh-CN" dirty="0"/>
          </a:p>
        </p:txBody>
      </p:sp>
      <p:sp>
        <p:nvSpPr>
          <p:cNvPr id="50" name="文本框 49"/>
          <p:cNvSpPr txBox="1"/>
          <p:nvPr/>
        </p:nvSpPr>
        <p:spPr>
          <a:xfrm>
            <a:off x="497869" y="3276244"/>
            <a:ext cx="883564" cy="1137409"/>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algn="ctr">
              <a:lnSpc>
                <a:spcPct val="90000"/>
              </a:lnSpc>
              <a:spcAft>
                <a:spcPts val="1000"/>
              </a:spcAft>
              <a:defRPr sz="1600" b="1">
                <a:solidFill>
                  <a:schemeClr val="bg1"/>
                </a:solidFill>
              </a:defRPr>
            </a:lvl1pPr>
          </a:lstStyle>
          <a:p>
            <a:r>
              <a:rPr lang="en-US" altLang="zh-CN" dirty="0" smtClean="0"/>
              <a:t>xx</a:t>
            </a:r>
            <a:endParaRPr lang="en-US" altLang="zh-CN" dirty="0"/>
          </a:p>
        </p:txBody>
      </p:sp>
      <p:sp>
        <p:nvSpPr>
          <p:cNvPr id="7" name="矩形 6"/>
          <p:cNvSpPr/>
          <p:nvPr/>
        </p:nvSpPr>
        <p:spPr>
          <a:xfrm>
            <a:off x="497869" y="1428610"/>
            <a:ext cx="3212443" cy="431800"/>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en-US" altLang="zh-CN" sz="1600" b="1" dirty="0" smtClean="0">
                <a:solidFill>
                  <a:schemeClr val="bg1"/>
                </a:solidFill>
              </a:rPr>
              <a:t>xx</a:t>
            </a:r>
            <a:r>
              <a:rPr lang="zh-CN" altLang="en-US" sz="1600" b="1" dirty="0" smtClean="0">
                <a:solidFill>
                  <a:schemeClr val="bg1"/>
                </a:solidFill>
              </a:rPr>
              <a:t>模式介绍</a:t>
            </a:r>
            <a:endParaRPr lang="zh-CN" altLang="en-US" sz="1600" b="1" dirty="0" smtClean="0">
              <a:solidFill>
                <a:schemeClr val="bg1"/>
              </a:solidFill>
            </a:endParaRPr>
          </a:p>
        </p:txBody>
      </p:sp>
      <p:sp>
        <p:nvSpPr>
          <p:cNvPr id="75" name="矩形 74"/>
          <p:cNvSpPr/>
          <p:nvPr/>
        </p:nvSpPr>
        <p:spPr>
          <a:xfrm>
            <a:off x="3878646" y="1428610"/>
            <a:ext cx="1814285" cy="431800"/>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600" b="1" dirty="0">
                <a:solidFill>
                  <a:schemeClr val="bg1"/>
                </a:solidFill>
              </a:rPr>
              <a:t>人群规模及占比</a:t>
            </a:r>
            <a:r>
              <a:rPr lang="en-US" altLang="zh-CN" sz="1600" b="1" dirty="0">
                <a:solidFill>
                  <a:schemeClr val="bg1"/>
                </a:solidFill>
              </a:rPr>
              <a:t>1</a:t>
            </a:r>
            <a:endParaRPr lang="zh-CN" altLang="en-US" sz="1600" b="1" dirty="0">
              <a:solidFill>
                <a:schemeClr val="bg1"/>
              </a:solidFill>
            </a:endParaRPr>
          </a:p>
        </p:txBody>
      </p:sp>
      <p:sp>
        <p:nvSpPr>
          <p:cNvPr id="76" name="矩形 75"/>
          <p:cNvSpPr/>
          <p:nvPr/>
        </p:nvSpPr>
        <p:spPr>
          <a:xfrm>
            <a:off x="7843884" y="1428610"/>
            <a:ext cx="1922965" cy="431800"/>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600" b="1" dirty="0">
                <a:solidFill>
                  <a:schemeClr val="bg1"/>
                </a:solidFill>
              </a:rPr>
              <a:t>潜在规模</a:t>
            </a:r>
            <a:endParaRPr lang="zh-CN" altLang="en-US" sz="1600" b="1" dirty="0">
              <a:solidFill>
                <a:schemeClr val="bg1"/>
              </a:solidFill>
            </a:endParaRPr>
          </a:p>
        </p:txBody>
      </p:sp>
      <p:sp>
        <p:nvSpPr>
          <p:cNvPr id="77" name="矩形 76"/>
          <p:cNvSpPr/>
          <p:nvPr/>
        </p:nvSpPr>
        <p:spPr>
          <a:xfrm>
            <a:off x="9927165" y="1428610"/>
            <a:ext cx="1922965" cy="431800"/>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600" b="1" dirty="0">
                <a:solidFill>
                  <a:schemeClr val="bg1"/>
                </a:solidFill>
              </a:rPr>
              <a:t>增长趋势</a:t>
            </a:r>
            <a:r>
              <a:rPr lang="en-US" altLang="zh-CN" sz="1600" b="1" dirty="0">
                <a:solidFill>
                  <a:schemeClr val="bg1"/>
                </a:solidFill>
              </a:rPr>
              <a:t>2</a:t>
            </a:r>
            <a:endParaRPr lang="zh-CN" altLang="en-US" sz="1600" b="1" dirty="0">
              <a:solidFill>
                <a:schemeClr val="bg1"/>
              </a:solidFill>
            </a:endParaRPr>
          </a:p>
        </p:txBody>
      </p:sp>
      <p:sp>
        <p:nvSpPr>
          <p:cNvPr id="78" name="文本框 77"/>
          <p:cNvSpPr txBox="1"/>
          <p:nvPr/>
        </p:nvSpPr>
        <p:spPr>
          <a:xfrm>
            <a:off x="7843884" y="2107582"/>
            <a:ext cx="1922965" cy="9368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lnSpc>
                <a:spcPts val="1900"/>
              </a:lnSpc>
              <a:buFont typeface="Arial" panose="020B0604020202020204" pitchFamily="34" charset="0"/>
              <a:buChar char="•"/>
            </a:pPr>
            <a:r>
              <a:rPr lang="en-US" altLang="zh-CN" sz="1600" dirty="0" smtClean="0">
                <a:solidFill>
                  <a:schemeClr val="tx1"/>
                </a:solidFill>
              </a:rPr>
              <a:t>~x0</a:t>
            </a:r>
            <a:r>
              <a:rPr lang="zh-CN" altLang="en-US" sz="1600" dirty="0" smtClean="0">
                <a:solidFill>
                  <a:schemeClr val="tx1"/>
                </a:solidFill>
              </a:rPr>
              <a:t>亿元</a:t>
            </a:r>
            <a:endParaRPr lang="en-US" altLang="zh-CN" sz="1600" baseline="30000" dirty="0" smtClean="0">
              <a:solidFill>
                <a:schemeClr val="tx1"/>
              </a:solidFill>
            </a:endParaRPr>
          </a:p>
        </p:txBody>
      </p:sp>
      <p:sp>
        <p:nvSpPr>
          <p:cNvPr id="79" name="文本框 78"/>
          <p:cNvSpPr txBox="1"/>
          <p:nvPr/>
        </p:nvSpPr>
        <p:spPr>
          <a:xfrm>
            <a:off x="7843884" y="3387957"/>
            <a:ext cx="1922965" cy="9368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lnSpc>
                <a:spcPts val="1900"/>
              </a:lnSpc>
              <a:buFont typeface="Arial" panose="020B0604020202020204" pitchFamily="34" charset="0"/>
              <a:buChar char="•"/>
            </a:pPr>
            <a:r>
              <a:rPr lang="en-US" altLang="zh-CN" sz="1600" dirty="0" smtClean="0">
                <a:solidFill>
                  <a:schemeClr val="tx1"/>
                </a:solidFill>
              </a:rPr>
              <a:t>~xx</a:t>
            </a:r>
            <a:r>
              <a:rPr lang="zh-CN" altLang="en-US" sz="1600" dirty="0" smtClean="0">
                <a:solidFill>
                  <a:schemeClr val="tx1"/>
                </a:solidFill>
              </a:rPr>
              <a:t>元</a:t>
            </a:r>
            <a:endParaRPr lang="en-US" altLang="zh-CN" sz="1600" baseline="30000" dirty="0" smtClean="0">
              <a:solidFill>
                <a:schemeClr val="tx1"/>
              </a:solidFill>
            </a:endParaRPr>
          </a:p>
        </p:txBody>
      </p:sp>
      <p:sp>
        <p:nvSpPr>
          <p:cNvPr id="80" name="文本框 79"/>
          <p:cNvSpPr txBox="1"/>
          <p:nvPr/>
        </p:nvSpPr>
        <p:spPr>
          <a:xfrm>
            <a:off x="7843884" y="4529028"/>
            <a:ext cx="1922965" cy="9368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lnSpc>
                <a:spcPts val="1900"/>
              </a:lnSpc>
              <a:buFont typeface="Arial" panose="020B0604020202020204" pitchFamily="34" charset="0"/>
              <a:buChar char="•"/>
            </a:pPr>
            <a:r>
              <a:rPr lang="en-US" altLang="zh-CN" sz="1600" dirty="0" smtClean="0">
                <a:solidFill>
                  <a:schemeClr val="tx1"/>
                </a:solidFill>
              </a:rPr>
              <a:t>~xx</a:t>
            </a:r>
            <a:r>
              <a:rPr lang="zh-CN" altLang="en-US" sz="1600" dirty="0" smtClean="0">
                <a:solidFill>
                  <a:schemeClr val="tx1"/>
                </a:solidFill>
              </a:rPr>
              <a:t>元</a:t>
            </a:r>
            <a:endParaRPr lang="en-US" altLang="zh-CN" sz="1600" baseline="30000" dirty="0" smtClean="0">
              <a:solidFill>
                <a:schemeClr val="tx1"/>
              </a:solidFill>
            </a:endParaRPr>
          </a:p>
        </p:txBody>
      </p:sp>
      <p:sp>
        <p:nvSpPr>
          <p:cNvPr id="81" name="文本框 80"/>
          <p:cNvSpPr txBox="1"/>
          <p:nvPr/>
        </p:nvSpPr>
        <p:spPr>
          <a:xfrm>
            <a:off x="9927165" y="2107582"/>
            <a:ext cx="1922965" cy="9368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lnSpc>
                <a:spcPts val="1900"/>
              </a:lnSpc>
              <a:buFont typeface="Arial" panose="020B0604020202020204" pitchFamily="34" charset="0"/>
              <a:buChar char="•"/>
            </a:pPr>
            <a:r>
              <a:rPr lang="en-US" altLang="zh-CN" sz="1600" dirty="0" smtClean="0">
                <a:solidFill>
                  <a:schemeClr val="tx1"/>
                </a:solidFill>
              </a:rPr>
              <a:t>~5%</a:t>
            </a:r>
            <a:endParaRPr lang="en-US" altLang="zh-CN" sz="1600" dirty="0" smtClean="0">
              <a:solidFill>
                <a:schemeClr val="tx1"/>
              </a:solidFill>
            </a:endParaRPr>
          </a:p>
        </p:txBody>
      </p:sp>
      <p:sp>
        <p:nvSpPr>
          <p:cNvPr id="82" name="文本框 81"/>
          <p:cNvSpPr txBox="1"/>
          <p:nvPr/>
        </p:nvSpPr>
        <p:spPr>
          <a:xfrm>
            <a:off x="9927165" y="3387957"/>
            <a:ext cx="1922965" cy="9368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lnSpc>
                <a:spcPts val="1900"/>
              </a:lnSpc>
              <a:buFont typeface="Arial" panose="020B0604020202020204" pitchFamily="34" charset="0"/>
              <a:buChar char="•"/>
            </a:pPr>
            <a:r>
              <a:rPr lang="en-US" altLang="zh-CN" sz="1600" dirty="0" smtClean="0">
                <a:solidFill>
                  <a:schemeClr val="tx1"/>
                </a:solidFill>
              </a:rPr>
              <a:t>~x%</a:t>
            </a:r>
            <a:r>
              <a:rPr lang="zh-CN" altLang="en-US" sz="1600" dirty="0">
                <a:solidFill>
                  <a:schemeClr val="tx1"/>
                </a:solidFill>
              </a:rPr>
              <a:t>高</a:t>
            </a:r>
            <a:r>
              <a:rPr lang="zh-CN" altLang="en-US" sz="1600" dirty="0" smtClean="0">
                <a:solidFill>
                  <a:schemeClr val="tx1"/>
                </a:solidFill>
              </a:rPr>
              <a:t>于机构养老</a:t>
            </a:r>
            <a:endParaRPr lang="en-US" altLang="zh-CN" sz="1600" dirty="0" smtClean="0">
              <a:solidFill>
                <a:schemeClr val="tx1"/>
              </a:solidFill>
            </a:endParaRPr>
          </a:p>
        </p:txBody>
      </p:sp>
      <p:sp>
        <p:nvSpPr>
          <p:cNvPr id="83" name="文本框 82"/>
          <p:cNvSpPr txBox="1"/>
          <p:nvPr/>
        </p:nvSpPr>
        <p:spPr>
          <a:xfrm>
            <a:off x="9927165" y="4529028"/>
            <a:ext cx="1922965" cy="9368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lnSpc>
                <a:spcPts val="1900"/>
              </a:lnSpc>
              <a:buFont typeface="Arial" panose="020B0604020202020204" pitchFamily="34" charset="0"/>
              <a:buChar char="•"/>
            </a:pPr>
            <a:r>
              <a:rPr lang="en-US" altLang="zh-CN" sz="1600" dirty="0" smtClean="0">
                <a:solidFill>
                  <a:schemeClr val="tx1"/>
                </a:solidFill>
              </a:rPr>
              <a:t>&gt;x%</a:t>
            </a:r>
            <a:r>
              <a:rPr lang="zh-CN" altLang="en-US" sz="1600" dirty="0" smtClean="0">
                <a:solidFill>
                  <a:schemeClr val="tx1"/>
                </a:solidFill>
              </a:rPr>
              <a:t>高于社区养老</a:t>
            </a:r>
            <a:endParaRPr lang="en-US" altLang="zh-CN" sz="1600" dirty="0" smtClean="0">
              <a:solidFill>
                <a:schemeClr val="tx1"/>
              </a:solidFill>
            </a:endParaRPr>
          </a:p>
        </p:txBody>
      </p:sp>
      <p:sp>
        <p:nvSpPr>
          <p:cNvPr id="9" name="文本框 8"/>
          <p:cNvSpPr txBox="1"/>
          <p:nvPr/>
        </p:nvSpPr>
        <p:spPr>
          <a:xfrm>
            <a:off x="3878646" y="2265982"/>
            <a:ext cx="1814285" cy="5786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marL="285750" indent="-285750">
              <a:buFont typeface="Arial" panose="020B0604020202020204" pitchFamily="34" charset="0"/>
              <a:buChar char="•"/>
            </a:pPr>
            <a:r>
              <a:rPr lang="en-US" altLang="zh-CN" sz="1600" dirty="0" smtClean="0">
                <a:solidFill>
                  <a:schemeClr val="tx1"/>
                </a:solidFill>
              </a:rPr>
              <a:t>~xx</a:t>
            </a:r>
            <a:r>
              <a:rPr lang="zh-CN" altLang="en-US" sz="1600" dirty="0" smtClean="0">
                <a:solidFill>
                  <a:schemeClr val="tx1"/>
                </a:solidFill>
              </a:rPr>
              <a:t>万 （</a:t>
            </a:r>
            <a:r>
              <a:rPr lang="en-US" altLang="zh-CN" sz="1600" dirty="0" smtClean="0">
                <a:solidFill>
                  <a:schemeClr val="tx1"/>
                </a:solidFill>
              </a:rPr>
              <a:t>3%</a:t>
            </a:r>
            <a:r>
              <a:rPr lang="zh-CN" altLang="en-US" sz="1600" dirty="0" smtClean="0">
                <a:solidFill>
                  <a:schemeClr val="tx1"/>
                </a:solidFill>
              </a:rPr>
              <a:t>）</a:t>
            </a:r>
            <a:endParaRPr lang="zh-CN" altLang="en-US" sz="1600" dirty="0" smtClean="0">
              <a:solidFill>
                <a:schemeClr val="tx1"/>
              </a:solidFill>
            </a:endParaRPr>
          </a:p>
        </p:txBody>
      </p:sp>
      <p:sp>
        <p:nvSpPr>
          <p:cNvPr id="87" name="文本框 86"/>
          <p:cNvSpPr txBox="1"/>
          <p:nvPr/>
        </p:nvSpPr>
        <p:spPr>
          <a:xfrm>
            <a:off x="3878646" y="3556339"/>
            <a:ext cx="1814285" cy="5786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marL="285750" indent="-285750">
              <a:buFont typeface="Arial" panose="020B0604020202020204" pitchFamily="34" charset="0"/>
              <a:buChar char="•"/>
            </a:pPr>
            <a:r>
              <a:rPr lang="en-US" altLang="zh-CN" sz="1600" dirty="0" smtClean="0">
                <a:solidFill>
                  <a:schemeClr val="tx1"/>
                </a:solidFill>
              </a:rPr>
              <a:t>~xx</a:t>
            </a:r>
            <a:r>
              <a:rPr lang="zh-CN" altLang="en-US" sz="1600" dirty="0" smtClean="0">
                <a:solidFill>
                  <a:schemeClr val="tx1"/>
                </a:solidFill>
              </a:rPr>
              <a:t>（</a:t>
            </a:r>
            <a:r>
              <a:rPr lang="en-US" altLang="zh-CN" sz="1600" dirty="0">
                <a:solidFill>
                  <a:schemeClr val="tx1"/>
                </a:solidFill>
              </a:rPr>
              <a:t>7</a:t>
            </a:r>
            <a:r>
              <a:rPr lang="en-US" altLang="zh-CN" sz="1600" dirty="0" smtClean="0">
                <a:solidFill>
                  <a:schemeClr val="tx1"/>
                </a:solidFill>
              </a:rPr>
              <a:t>%</a:t>
            </a:r>
            <a:r>
              <a:rPr lang="zh-CN" altLang="en-US" sz="1600" dirty="0" smtClean="0">
                <a:solidFill>
                  <a:schemeClr val="tx1"/>
                </a:solidFill>
              </a:rPr>
              <a:t>）</a:t>
            </a:r>
            <a:endParaRPr lang="zh-CN" altLang="en-US" sz="1600" dirty="0" smtClean="0">
              <a:solidFill>
                <a:schemeClr val="tx1"/>
              </a:solidFill>
            </a:endParaRPr>
          </a:p>
        </p:txBody>
      </p:sp>
      <p:sp>
        <p:nvSpPr>
          <p:cNvPr id="88" name="文本框 87"/>
          <p:cNvSpPr txBox="1"/>
          <p:nvPr/>
        </p:nvSpPr>
        <p:spPr>
          <a:xfrm>
            <a:off x="3878646" y="4771375"/>
            <a:ext cx="1814285" cy="5786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marL="285750" indent="-285750">
              <a:buFont typeface="Arial" panose="020B0604020202020204" pitchFamily="34" charset="0"/>
              <a:buChar char="•"/>
            </a:pPr>
            <a:r>
              <a:rPr lang="en-US" altLang="zh-CN" sz="1600" dirty="0" smtClean="0">
                <a:solidFill>
                  <a:schemeClr val="tx1"/>
                </a:solidFill>
              </a:rPr>
              <a:t>~xx</a:t>
            </a:r>
            <a:r>
              <a:rPr lang="zh-CN" altLang="en-US" sz="1600" dirty="0" smtClean="0">
                <a:solidFill>
                  <a:schemeClr val="tx1"/>
                </a:solidFill>
              </a:rPr>
              <a:t>（</a:t>
            </a:r>
            <a:r>
              <a:rPr lang="en-US" altLang="zh-CN" sz="1600" dirty="0" smtClean="0">
                <a:solidFill>
                  <a:schemeClr val="tx1"/>
                </a:solidFill>
              </a:rPr>
              <a:t>x%</a:t>
            </a:r>
            <a:r>
              <a:rPr lang="zh-CN" altLang="en-US" sz="1600" dirty="0" smtClean="0">
                <a:solidFill>
                  <a:schemeClr val="tx1"/>
                </a:solidFill>
              </a:rPr>
              <a:t>）</a:t>
            </a:r>
            <a:endParaRPr lang="zh-CN" altLang="en-US" sz="1600" dirty="0" smtClean="0">
              <a:solidFill>
                <a:schemeClr val="tx1"/>
              </a:solidFill>
            </a:endParaRPr>
          </a:p>
        </p:txBody>
      </p:sp>
      <p:sp>
        <p:nvSpPr>
          <p:cNvPr id="89" name="矩形 88"/>
          <p:cNvSpPr/>
          <p:nvPr/>
        </p:nvSpPr>
        <p:spPr>
          <a:xfrm>
            <a:off x="5861265" y="1428610"/>
            <a:ext cx="1814285" cy="431800"/>
          </a:xfrm>
          <a:prstGeom prst="rect">
            <a:avLst/>
          </a:prstGeom>
          <a:solidFill>
            <a:srgbClr val="FE581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r>
              <a:rPr lang="zh-CN" altLang="en-US" sz="1600" b="1" dirty="0">
                <a:solidFill>
                  <a:schemeClr val="bg1"/>
                </a:solidFill>
              </a:rPr>
              <a:t>年费用水平</a:t>
            </a:r>
            <a:r>
              <a:rPr lang="en-US" altLang="zh-CN" sz="1600" b="1" dirty="0">
                <a:solidFill>
                  <a:schemeClr val="bg1"/>
                </a:solidFill>
              </a:rPr>
              <a:t>2</a:t>
            </a:r>
            <a:endParaRPr lang="zh-CN" altLang="en-US" sz="1600" b="1" dirty="0">
              <a:solidFill>
                <a:schemeClr val="bg1"/>
              </a:solidFill>
            </a:endParaRPr>
          </a:p>
        </p:txBody>
      </p:sp>
      <p:sp>
        <p:nvSpPr>
          <p:cNvPr id="90" name="文本框 89"/>
          <p:cNvSpPr txBox="1"/>
          <p:nvPr/>
        </p:nvSpPr>
        <p:spPr>
          <a:xfrm>
            <a:off x="5861265" y="2265982"/>
            <a:ext cx="1814285" cy="5786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buFont typeface="Arial" panose="020B0604020202020204" pitchFamily="34" charset="0"/>
              <a:buChar char="•"/>
            </a:pPr>
            <a:r>
              <a:rPr lang="zh-CN" altLang="en-US" sz="1600" dirty="0" smtClean="0">
                <a:solidFill>
                  <a:schemeClr val="tx1"/>
                </a:solidFill>
              </a:rPr>
              <a:t>按</a:t>
            </a:r>
            <a:r>
              <a:rPr lang="en-US" altLang="zh-CN" sz="1600" dirty="0" smtClean="0">
                <a:solidFill>
                  <a:schemeClr val="tx1"/>
                </a:solidFill>
              </a:rPr>
              <a:t>xx</a:t>
            </a:r>
            <a:r>
              <a:rPr lang="zh-CN" altLang="en-US" sz="1600" dirty="0" smtClean="0">
                <a:solidFill>
                  <a:schemeClr val="tx1"/>
                </a:solidFill>
              </a:rPr>
              <a:t>万</a:t>
            </a:r>
            <a:r>
              <a:rPr lang="en-US" altLang="zh-CN" sz="1600" dirty="0" smtClean="0">
                <a:solidFill>
                  <a:schemeClr val="tx1"/>
                </a:solidFill>
              </a:rPr>
              <a:t>/</a:t>
            </a:r>
            <a:r>
              <a:rPr lang="zh-CN" altLang="en-US" sz="1600" dirty="0" smtClean="0">
                <a:solidFill>
                  <a:schemeClr val="tx1"/>
                </a:solidFill>
              </a:rPr>
              <a:t>年计算</a:t>
            </a:r>
            <a:endParaRPr lang="zh-CN" altLang="en-US" sz="1600" dirty="0" smtClean="0">
              <a:solidFill>
                <a:schemeClr val="tx1"/>
              </a:solidFill>
            </a:endParaRPr>
          </a:p>
        </p:txBody>
      </p:sp>
      <p:sp>
        <p:nvSpPr>
          <p:cNvPr id="91" name="文本框 90"/>
          <p:cNvSpPr txBox="1"/>
          <p:nvPr/>
        </p:nvSpPr>
        <p:spPr>
          <a:xfrm>
            <a:off x="5861265" y="3556339"/>
            <a:ext cx="1814285" cy="5786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buFont typeface="Arial" panose="020B0604020202020204" pitchFamily="34" charset="0"/>
              <a:buChar char="•"/>
            </a:pPr>
            <a:r>
              <a:rPr lang="en-US" altLang="zh-CN" sz="1600" dirty="0" smtClean="0">
                <a:solidFill>
                  <a:schemeClr val="tx1"/>
                </a:solidFill>
              </a:rPr>
              <a:t>~xx</a:t>
            </a:r>
            <a:r>
              <a:rPr lang="zh-CN" altLang="en-US" sz="1600" dirty="0" smtClean="0">
                <a:solidFill>
                  <a:schemeClr val="tx1"/>
                </a:solidFill>
              </a:rPr>
              <a:t>元</a:t>
            </a:r>
            <a:r>
              <a:rPr lang="en-US" altLang="zh-CN" sz="1600" dirty="0" smtClean="0">
                <a:solidFill>
                  <a:schemeClr val="tx1"/>
                </a:solidFill>
              </a:rPr>
              <a:t>/</a:t>
            </a:r>
            <a:r>
              <a:rPr lang="zh-CN" altLang="en-US" sz="1600" dirty="0" smtClean="0">
                <a:solidFill>
                  <a:schemeClr val="tx1"/>
                </a:solidFill>
              </a:rPr>
              <a:t>月，</a:t>
            </a:r>
            <a:endParaRPr lang="en-US" altLang="zh-CN" sz="1600" dirty="0" smtClean="0">
              <a:solidFill>
                <a:schemeClr val="tx1"/>
              </a:solidFill>
            </a:endParaRPr>
          </a:p>
          <a:p>
            <a:pPr marL="285750" indent="-285750">
              <a:buFont typeface="Arial" panose="020B0604020202020204" pitchFamily="34" charset="0"/>
              <a:buChar char="•"/>
            </a:pPr>
            <a:r>
              <a:rPr lang="en-US" altLang="zh-CN" sz="1600" dirty="0" smtClean="0">
                <a:solidFill>
                  <a:schemeClr val="tx1"/>
                </a:solidFill>
              </a:rPr>
              <a:t>xx</a:t>
            </a:r>
            <a:r>
              <a:rPr lang="zh-CN" altLang="en-US" sz="1600" dirty="0" smtClean="0">
                <a:solidFill>
                  <a:schemeClr val="tx1"/>
                </a:solidFill>
              </a:rPr>
              <a:t>万</a:t>
            </a:r>
            <a:r>
              <a:rPr lang="en-US" altLang="zh-CN" sz="1600" dirty="0" smtClean="0">
                <a:solidFill>
                  <a:schemeClr val="tx1"/>
                </a:solidFill>
              </a:rPr>
              <a:t>/</a:t>
            </a:r>
            <a:r>
              <a:rPr lang="zh-CN" altLang="en-US" sz="1600" dirty="0" smtClean="0">
                <a:solidFill>
                  <a:schemeClr val="tx1"/>
                </a:solidFill>
              </a:rPr>
              <a:t>年</a:t>
            </a:r>
            <a:endParaRPr lang="zh-CN" altLang="en-US" sz="1600" dirty="0" smtClean="0">
              <a:solidFill>
                <a:schemeClr val="tx1"/>
              </a:solidFill>
            </a:endParaRPr>
          </a:p>
        </p:txBody>
      </p:sp>
      <p:sp>
        <p:nvSpPr>
          <p:cNvPr id="92" name="文本框 91"/>
          <p:cNvSpPr txBox="1"/>
          <p:nvPr/>
        </p:nvSpPr>
        <p:spPr>
          <a:xfrm>
            <a:off x="5861265" y="4771375"/>
            <a:ext cx="1814285" cy="5786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buFont typeface="Arial" panose="020B0604020202020204" pitchFamily="34" charset="0"/>
              <a:buChar char="•"/>
            </a:pPr>
            <a:r>
              <a:rPr lang="zh-CN" altLang="en-US" sz="1600" dirty="0" smtClean="0">
                <a:solidFill>
                  <a:schemeClr val="tx1"/>
                </a:solidFill>
              </a:rPr>
              <a:t>政府补贴</a:t>
            </a:r>
            <a:r>
              <a:rPr lang="en-US" altLang="zh-CN" sz="1600" dirty="0" smtClean="0">
                <a:solidFill>
                  <a:schemeClr val="tx1"/>
                </a:solidFill>
              </a:rPr>
              <a:t>x/</a:t>
            </a:r>
            <a:r>
              <a:rPr lang="zh-CN" altLang="en-US" sz="1600" dirty="0" smtClean="0">
                <a:solidFill>
                  <a:schemeClr val="tx1"/>
                </a:solidFill>
              </a:rPr>
              <a:t>月</a:t>
            </a:r>
            <a:endParaRPr lang="en-US" altLang="zh-CN" sz="1600" dirty="0" err="1">
              <a:solidFill>
                <a:schemeClr val="tx1"/>
              </a:solidFill>
            </a:endParaRPr>
          </a:p>
          <a:p>
            <a:pPr marL="285750" indent="-285750">
              <a:buFont typeface="Arial" panose="020B0604020202020204" pitchFamily="34" charset="0"/>
              <a:buChar char="•"/>
            </a:pPr>
            <a:r>
              <a:rPr lang="en-US" altLang="zh-CN" sz="1600" dirty="0" smtClean="0">
                <a:solidFill>
                  <a:schemeClr val="tx1"/>
                </a:solidFill>
              </a:rPr>
              <a:t>xx</a:t>
            </a:r>
            <a:r>
              <a:rPr lang="zh-CN" altLang="en-US" sz="1600" dirty="0" smtClean="0">
                <a:solidFill>
                  <a:schemeClr val="tx1"/>
                </a:solidFill>
              </a:rPr>
              <a:t>万</a:t>
            </a:r>
            <a:r>
              <a:rPr lang="en-US" altLang="zh-CN" sz="1600" dirty="0" smtClean="0">
                <a:solidFill>
                  <a:schemeClr val="tx1"/>
                </a:solidFill>
              </a:rPr>
              <a:t>/</a:t>
            </a:r>
            <a:r>
              <a:rPr lang="zh-CN" altLang="en-US" sz="1600" dirty="0" smtClean="0">
                <a:solidFill>
                  <a:schemeClr val="tx1"/>
                </a:solidFill>
              </a:rPr>
              <a:t>年</a:t>
            </a:r>
            <a:endParaRPr lang="en-US" altLang="zh-CN" sz="1600" dirty="0" smtClean="0">
              <a:solidFill>
                <a:schemeClr val="tx1"/>
              </a:solidFill>
            </a:endParaRPr>
          </a:p>
        </p:txBody>
      </p:sp>
      <p:sp>
        <p:nvSpPr>
          <p:cNvPr id="37"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行研</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趋势分析</a:t>
            </a:r>
            <a:endParaRPr lang="zh-CN" altLang="en-US" sz="2400" dirty="0">
              <a:solidFill>
                <a:prstClr val="black"/>
              </a:solidFill>
              <a:latin typeface="华文楷体" panose="02010600040101010101" charset="-122"/>
            </a:endParaRPr>
          </a:p>
        </p:txBody>
      </p:sp>
      <p:pic>
        <p:nvPicPr>
          <p:cNvPr id="36" name="图片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740664" y="1635089"/>
            <a:ext cx="7132319" cy="4835543"/>
            <a:chOff x="1756255" y="1908458"/>
            <a:chExt cx="5735743" cy="4115583"/>
          </a:xfrm>
        </p:grpSpPr>
        <p:sp>
          <p:nvSpPr>
            <p:cNvPr id="4" name="矩形 3"/>
            <p:cNvSpPr/>
            <p:nvPr/>
          </p:nvSpPr>
          <p:spPr>
            <a:xfrm>
              <a:off x="2223628" y="1908458"/>
              <a:ext cx="5121876" cy="3701701"/>
            </a:xfrm>
            <a:prstGeom prst="rect">
              <a:avLst/>
            </a:prstGeom>
            <a:solidFill>
              <a:schemeClr val="bg1"/>
            </a:solid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cxnSp>
          <p:nvCxnSpPr>
            <p:cNvPr id="6" name="直接连接符 5"/>
            <p:cNvCxnSpPr>
              <a:stCxn id="4" idx="0"/>
              <a:endCxn id="4" idx="2"/>
            </p:cNvCxnSpPr>
            <p:nvPr/>
          </p:nvCxnSpPr>
          <p:spPr>
            <a:xfrm>
              <a:off x="4784566" y="1908458"/>
              <a:ext cx="0" cy="3701701"/>
            </a:xfrm>
            <a:prstGeom prst="line">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cxnSp>
          <p:nvCxnSpPr>
            <p:cNvPr id="7" name="直接连接符 6"/>
            <p:cNvCxnSpPr>
              <a:stCxn id="4" idx="1"/>
              <a:endCxn id="4" idx="3"/>
            </p:cNvCxnSpPr>
            <p:nvPr/>
          </p:nvCxnSpPr>
          <p:spPr>
            <a:xfrm>
              <a:off x="2223628" y="3759308"/>
              <a:ext cx="5121876" cy="0"/>
            </a:xfrm>
            <a:prstGeom prst="line">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6016168" y="2041877"/>
              <a:ext cx="1226330" cy="317937"/>
            </a:xfrm>
            <a:prstGeom prst="rect">
              <a:avLst/>
            </a:prstGeom>
            <a:solidFill>
              <a:srgbClr val="FE581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prstClr val="white"/>
                </a:buClr>
                <a:buSzTx/>
                <a:buFontTx/>
                <a:buNone/>
                <a:defRPr/>
              </a:pPr>
              <a:r>
                <a:rPr kumimoji="0" lang="zh-CN" altLang="en-US"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核心业务</a:t>
              </a:r>
              <a:endParaRPr kumimoji="0" lang="zh-CN" altLang="en-US"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11" name="矩形 10"/>
            <p:cNvSpPr/>
            <p:nvPr/>
          </p:nvSpPr>
          <p:spPr>
            <a:xfrm>
              <a:off x="6016168" y="5178672"/>
              <a:ext cx="1226330" cy="317937"/>
            </a:xfrm>
            <a:prstGeom prst="rect">
              <a:avLst/>
            </a:prstGeom>
            <a:solidFill>
              <a:srgbClr val="FFC3A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prstClr val="white"/>
                </a:buClr>
                <a:buSzTx/>
                <a:buFontTx/>
                <a:buNone/>
                <a:defRPr/>
              </a:pPr>
              <a:r>
                <a:rPr kumimoji="0" lang="zh-CN" altLang="en-US" sz="1835" b="1" i="0" u="none" strike="noStrike" kern="1200" cap="none" spc="0" normalizeH="0" baseline="0" noProof="0" dirty="0">
                  <a:ln>
                    <a:noFill/>
                  </a:ln>
                  <a:solidFill>
                    <a:schemeClr val="tx1"/>
                  </a:solidFill>
                  <a:effectLst/>
                  <a:uLnTx/>
                  <a:uFillTx/>
                  <a:latin typeface="Arial" panose="020B0604020202020204"/>
                  <a:ea typeface="华文楷体" panose="02010600040101010101" charset="-122"/>
                  <a:cs typeface="+mn-cs"/>
                </a:rPr>
                <a:t>潜力业务</a:t>
              </a:r>
              <a:endParaRPr kumimoji="0" lang="zh-CN" altLang="en-US" sz="1835" b="1" i="0" u="none" strike="noStrike" kern="1200" cap="none" spc="0" normalizeH="0" baseline="0" noProof="0" dirty="0">
                <a:ln>
                  <a:noFill/>
                </a:ln>
                <a:solidFill>
                  <a:schemeClr val="tx1"/>
                </a:solidFill>
                <a:effectLst/>
                <a:uLnTx/>
                <a:uFillTx/>
                <a:latin typeface="Arial" panose="020B0604020202020204"/>
                <a:ea typeface="华文楷体" panose="02010600040101010101" charset="-122"/>
                <a:cs typeface="+mn-cs"/>
              </a:endParaRPr>
            </a:p>
          </p:txBody>
        </p:sp>
        <p:sp>
          <p:nvSpPr>
            <p:cNvPr id="14" name="矩形 13"/>
            <p:cNvSpPr/>
            <p:nvPr/>
          </p:nvSpPr>
          <p:spPr>
            <a:xfrm>
              <a:off x="2359887" y="2010652"/>
              <a:ext cx="1226330" cy="317937"/>
            </a:xfrm>
            <a:prstGeom prst="rect">
              <a:avLst/>
            </a:prstGeom>
            <a:solidFill>
              <a:srgbClr val="FF976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收获业务</a:t>
              </a:r>
              <a:endParaRPr kumimoji="0" lang="zh-CN" alt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15" name="矩形 14"/>
            <p:cNvSpPr/>
            <p:nvPr/>
          </p:nvSpPr>
          <p:spPr>
            <a:xfrm>
              <a:off x="2359887" y="5147447"/>
              <a:ext cx="1226330" cy="317937"/>
            </a:xfrm>
            <a:prstGeom prst="rect">
              <a:avLst/>
            </a:prstGeom>
            <a:solidFill>
              <a:srgbClr val="E75C0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schemeClr val="bg1"/>
                  </a:solidFill>
                  <a:effectLst/>
                  <a:uLnTx/>
                  <a:uFillTx/>
                  <a:latin typeface="Arial" panose="020B0604020202020204"/>
                  <a:ea typeface="华文楷体" panose="02010600040101010101" charset="-122"/>
                  <a:cs typeface="+mn-cs"/>
                </a:rPr>
                <a:t>退出业务</a:t>
              </a:r>
              <a:endParaRPr kumimoji="0" lang="zh-CN" altLang="en-US" sz="1835" b="1" i="0" u="none" strike="noStrike" kern="1200" cap="none" spc="0" normalizeH="0" baseline="0" noProof="0" dirty="0">
                <a:ln>
                  <a:noFill/>
                </a:ln>
                <a:solidFill>
                  <a:schemeClr val="bg1"/>
                </a:solidFill>
                <a:effectLst/>
                <a:uLnTx/>
                <a:uFillTx/>
                <a:latin typeface="Arial" panose="020B0604020202020204"/>
                <a:ea typeface="华文楷体" panose="02010600040101010101" charset="-122"/>
                <a:cs typeface="+mn-cs"/>
              </a:endParaRPr>
            </a:p>
          </p:txBody>
        </p:sp>
        <p:sp>
          <p:nvSpPr>
            <p:cNvPr id="16" name="椭圆 15"/>
            <p:cNvSpPr/>
            <p:nvPr/>
          </p:nvSpPr>
          <p:spPr>
            <a:xfrm>
              <a:off x="6121195" y="2430777"/>
              <a:ext cx="1121303" cy="1121303"/>
            </a:xfrm>
            <a:prstGeom prst="ellipse">
              <a:avLst/>
            </a:prstGeom>
            <a:solidFill>
              <a:srgbClr val="FE5817"/>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prstClr val="white"/>
                </a:buClr>
                <a:buSzTx/>
                <a:buFontTx/>
                <a:buNone/>
                <a:defRPr/>
              </a:pPr>
              <a:r>
                <a:rPr kumimoji="0" lang="en-US" altLang="zh-CN"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A</a:t>
              </a:r>
              <a:endParaRPr kumimoji="0" lang="zh-CN" altLang="en-US" sz="1835" b="1" i="0" u="none" strike="noStrike" kern="1200" cap="none" spc="0" normalizeH="0" baseline="0" noProof="0" dirty="0" err="1">
                <a:ln>
                  <a:noFill/>
                </a:ln>
                <a:solidFill>
                  <a:prstClr val="white"/>
                </a:solidFill>
                <a:effectLst/>
                <a:uLnTx/>
                <a:uFillTx/>
                <a:latin typeface="Arial" panose="020B0604020202020204"/>
                <a:ea typeface="华文楷体" panose="02010600040101010101" charset="-122"/>
                <a:cs typeface="+mn-cs"/>
              </a:endParaRPr>
            </a:p>
          </p:txBody>
        </p:sp>
        <p:sp>
          <p:nvSpPr>
            <p:cNvPr id="17" name="椭圆 16"/>
            <p:cNvSpPr/>
            <p:nvPr/>
          </p:nvSpPr>
          <p:spPr>
            <a:xfrm>
              <a:off x="5056683" y="3486793"/>
              <a:ext cx="1186588" cy="1186588"/>
            </a:xfrm>
            <a:prstGeom prst="ellipse">
              <a:avLst/>
            </a:prstGeom>
            <a:solidFill>
              <a:srgbClr val="FFC3A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prstClr val="white"/>
                </a:buClr>
                <a:buSzTx/>
                <a:buFontTx/>
                <a:buNone/>
                <a:defRPr/>
              </a:pPr>
              <a:r>
                <a:rPr kumimoji="0" lang="en-US" altLang="zh-CN" sz="1835" i="0" u="none" strike="noStrike" kern="1200" cap="none" spc="0" normalizeH="0" baseline="0" noProof="0" dirty="0">
                  <a:ln>
                    <a:noFill/>
                  </a:ln>
                  <a:solidFill>
                    <a:schemeClr val="tx1"/>
                  </a:solidFill>
                  <a:effectLst/>
                  <a:uLnTx/>
                  <a:uFillTx/>
                  <a:latin typeface="Arial" panose="020B0604020202020204"/>
                  <a:ea typeface="华文楷体" panose="02010600040101010101" charset="-122"/>
                  <a:cs typeface="+mn-cs"/>
                </a:rPr>
                <a:t>B</a:t>
              </a:r>
              <a:endParaRPr kumimoji="0" lang="zh-CN" altLang="en-US" sz="1835" i="0" u="none" strike="noStrike" kern="1200" cap="none" spc="0" normalizeH="0" baseline="0" noProof="0" dirty="0" err="1">
                <a:ln>
                  <a:noFill/>
                </a:ln>
                <a:solidFill>
                  <a:schemeClr val="tx1"/>
                </a:solidFill>
                <a:effectLst/>
                <a:uLnTx/>
                <a:uFillTx/>
                <a:latin typeface="Arial" panose="020B0604020202020204"/>
                <a:ea typeface="华文楷体" panose="02010600040101010101" charset="-122"/>
                <a:cs typeface="+mn-cs"/>
              </a:endParaRPr>
            </a:p>
          </p:txBody>
        </p:sp>
        <p:sp>
          <p:nvSpPr>
            <p:cNvPr id="18" name="椭圆 17"/>
            <p:cNvSpPr/>
            <p:nvPr/>
          </p:nvSpPr>
          <p:spPr>
            <a:xfrm>
              <a:off x="3089440" y="2842400"/>
              <a:ext cx="993553" cy="993553"/>
            </a:xfrm>
            <a:prstGeom prst="ellipse">
              <a:avLst/>
            </a:prstGeom>
            <a:solidFill>
              <a:srgbClr val="FF976D"/>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575F6D"/>
                </a:buClr>
                <a:buSzTx/>
                <a:buFontTx/>
                <a:buNone/>
                <a:defRPr/>
              </a:pPr>
              <a:r>
                <a:rPr kumimoji="0" lang="en-US" altLang="zh-CN" sz="1835"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D</a:t>
              </a: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19" name="椭圆 18"/>
            <p:cNvSpPr/>
            <p:nvPr/>
          </p:nvSpPr>
          <p:spPr>
            <a:xfrm>
              <a:off x="3816156" y="2575563"/>
              <a:ext cx="533674" cy="533674"/>
            </a:xfrm>
            <a:prstGeom prst="ellipse">
              <a:avLst/>
            </a:prstGeom>
            <a:solidFill>
              <a:srgbClr val="FF976D"/>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575F6D"/>
                </a:buClr>
                <a:buSzTx/>
                <a:buFontTx/>
                <a:buNone/>
                <a:defRPr/>
              </a:pPr>
              <a:r>
                <a:rPr kumimoji="0" lang="en-US" altLang="zh-CN" sz="1835" b="0"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C</a:t>
              </a:r>
              <a:endParaRPr kumimoji="0" lang="zh-CN" altLang="en-US" sz="1835" b="0" i="0" u="none" strike="noStrike" kern="1200" cap="none" spc="0" normalizeH="0" baseline="0" noProof="0" dirty="0" err="1">
                <a:ln>
                  <a:noFill/>
                </a:ln>
                <a:solidFill>
                  <a:prstClr val="black"/>
                </a:solidFill>
                <a:effectLst/>
                <a:uLnTx/>
                <a:uFillTx/>
                <a:latin typeface="Arial" panose="020B0604020202020204"/>
                <a:ea typeface="华文楷体" panose="02010600040101010101" charset="-122"/>
                <a:cs typeface="+mn-cs"/>
              </a:endParaRPr>
            </a:p>
          </p:txBody>
        </p:sp>
        <p:sp>
          <p:nvSpPr>
            <p:cNvPr id="20" name="椭圆 19"/>
            <p:cNvSpPr/>
            <p:nvPr/>
          </p:nvSpPr>
          <p:spPr>
            <a:xfrm>
              <a:off x="3816156" y="4552733"/>
              <a:ext cx="780651" cy="780651"/>
            </a:xfrm>
            <a:prstGeom prst="ellipse">
              <a:avLst/>
            </a:prstGeom>
            <a:solidFill>
              <a:srgbClr val="E75C01"/>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575F6D"/>
                </a:buClr>
                <a:buSzTx/>
                <a:buFontTx/>
                <a:buNone/>
                <a:defRPr/>
              </a:pPr>
              <a:r>
                <a:rPr kumimoji="0" lang="en-US" altLang="zh-CN" sz="1835" b="0" i="0" u="none" strike="noStrike" kern="1200" cap="none" spc="0" normalizeH="0" baseline="0" noProof="0" dirty="0">
                  <a:ln>
                    <a:noFill/>
                  </a:ln>
                  <a:solidFill>
                    <a:schemeClr val="bg1"/>
                  </a:solidFill>
                  <a:effectLst/>
                  <a:uLnTx/>
                  <a:uFillTx/>
                  <a:latin typeface="Arial" panose="020B0604020202020204"/>
                  <a:ea typeface="华文楷体" panose="02010600040101010101" charset="-122"/>
                  <a:cs typeface="+mn-cs"/>
                </a:rPr>
                <a:t>E</a:t>
              </a:r>
              <a:endParaRPr kumimoji="0" lang="zh-CN" altLang="en-US" sz="1835" b="0" i="0" u="none" strike="noStrike" kern="1200" cap="none" spc="0" normalizeH="0" baseline="0" noProof="0" dirty="0" err="1">
                <a:ln>
                  <a:noFill/>
                </a:ln>
                <a:solidFill>
                  <a:schemeClr val="bg1"/>
                </a:solidFill>
                <a:effectLst/>
                <a:uLnTx/>
                <a:uFillTx/>
                <a:latin typeface="Arial" panose="020B0604020202020204"/>
                <a:ea typeface="华文楷体" panose="02010600040101010101" charset="-122"/>
                <a:cs typeface="+mn-cs"/>
              </a:endParaRPr>
            </a:p>
          </p:txBody>
        </p:sp>
        <p:sp>
          <p:nvSpPr>
            <p:cNvPr id="21" name="椭圆 20"/>
            <p:cNvSpPr/>
            <p:nvPr/>
          </p:nvSpPr>
          <p:spPr>
            <a:xfrm>
              <a:off x="6166631" y="4589635"/>
              <a:ext cx="374699" cy="374699"/>
            </a:xfrm>
            <a:prstGeom prst="ellipse">
              <a:avLst/>
            </a:prstGeom>
            <a:solidFill>
              <a:srgbClr val="FFC3A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prstClr val="white"/>
                </a:buClr>
                <a:buSzTx/>
                <a:buFontTx/>
                <a:buNone/>
                <a:defRPr/>
              </a:pPr>
              <a:r>
                <a:rPr kumimoji="0" lang="en-US" altLang="zh-CN" sz="1835" i="0" u="none" strike="noStrike" kern="1200" cap="none" spc="0" normalizeH="0" baseline="0" noProof="0" dirty="0">
                  <a:ln>
                    <a:noFill/>
                  </a:ln>
                  <a:solidFill>
                    <a:schemeClr val="tx1"/>
                  </a:solidFill>
                  <a:effectLst/>
                  <a:uLnTx/>
                  <a:uFillTx/>
                  <a:latin typeface="Arial" panose="020B0604020202020204"/>
                  <a:ea typeface="华文楷体" panose="02010600040101010101" charset="-122"/>
                  <a:cs typeface="+mn-cs"/>
                </a:rPr>
                <a:t>F</a:t>
              </a:r>
              <a:endParaRPr kumimoji="0" lang="zh-CN" altLang="en-US" sz="1835" i="0" u="none" strike="noStrike" kern="1200" cap="none" spc="0" normalizeH="0" baseline="0" noProof="0" dirty="0" err="1">
                <a:ln>
                  <a:noFill/>
                </a:ln>
                <a:solidFill>
                  <a:schemeClr val="tx1"/>
                </a:solidFill>
                <a:effectLst/>
                <a:uLnTx/>
                <a:uFillTx/>
                <a:latin typeface="Arial" panose="020B0604020202020204"/>
                <a:ea typeface="华文楷体" panose="02010600040101010101" charset="-122"/>
                <a:cs typeface="+mn-cs"/>
              </a:endParaRPr>
            </a:p>
          </p:txBody>
        </p:sp>
        <p:sp>
          <p:nvSpPr>
            <p:cNvPr id="22" name="TextBox 21"/>
            <p:cNvSpPr txBox="1"/>
            <p:nvPr/>
          </p:nvSpPr>
          <p:spPr>
            <a:xfrm>
              <a:off x="6101442" y="5641384"/>
              <a:ext cx="1390556" cy="38265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市场吸引力</a:t>
              </a:r>
              <a:endParaRPr kumimoji="0" lang="zh-CN" alt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sp>
          <p:nvSpPr>
            <p:cNvPr id="23" name="TextBox 22"/>
            <p:cNvSpPr txBox="1"/>
            <p:nvPr/>
          </p:nvSpPr>
          <p:spPr>
            <a:xfrm>
              <a:off x="1756255" y="1916973"/>
              <a:ext cx="467372" cy="1635107"/>
            </a:xfrm>
            <a:prstGeom prst="rect">
              <a:avLst/>
            </a:prstGeom>
            <a:noFill/>
          </p:spPr>
          <p:txBody>
            <a:bodyPr vert="ea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rPr>
                <a:t>客户竞争力</a:t>
              </a:r>
              <a:endParaRPr kumimoji="0" lang="zh-CN" altLang="en-US" sz="1835" b="1" i="0" u="none" strike="noStrike" kern="1200" cap="none" spc="0" normalizeH="0" baseline="0" noProof="0" dirty="0">
                <a:ln>
                  <a:noFill/>
                </a:ln>
                <a:solidFill>
                  <a:prstClr val="black"/>
                </a:solidFill>
                <a:effectLst/>
                <a:uLnTx/>
                <a:uFillTx/>
                <a:latin typeface="Arial" panose="020B0604020202020204"/>
                <a:ea typeface="华文楷体" panose="02010600040101010101" charset="-122"/>
                <a:cs typeface="+mn-cs"/>
              </a:endParaRPr>
            </a:p>
          </p:txBody>
        </p:sp>
      </p:grpSp>
      <p:graphicFrame>
        <p:nvGraphicFramePr>
          <p:cNvPr id="8" name="表格 7"/>
          <p:cNvGraphicFramePr>
            <a:graphicFrameLocks noGrp="1"/>
          </p:cNvGraphicFramePr>
          <p:nvPr/>
        </p:nvGraphicFramePr>
        <p:xfrm>
          <a:off x="7991713" y="1576264"/>
          <a:ext cx="3017662" cy="4700012"/>
        </p:xfrm>
        <a:graphic>
          <a:graphicData uri="http://schemas.openxmlformats.org/drawingml/2006/table">
            <a:tbl>
              <a:tblPr firstRow="1" bandRow="1">
                <a:effectLst/>
                <a:tableStyleId>{5C22544A-7EE6-4342-B048-85BDC9FD1C3A}</a:tableStyleId>
              </a:tblPr>
              <a:tblGrid>
                <a:gridCol w="752027"/>
                <a:gridCol w="608631"/>
                <a:gridCol w="159326"/>
                <a:gridCol w="901793"/>
                <a:gridCol w="595885"/>
              </a:tblGrid>
              <a:tr h="597030">
                <a:tc>
                  <a:txBody>
                    <a:bodyPr/>
                    <a:lstStyle/>
                    <a:p>
                      <a:pPr algn="ctr"/>
                      <a:r>
                        <a:rPr lang="zh-CN" altLang="en-US" sz="1600" dirty="0" smtClean="0">
                          <a:solidFill>
                            <a:schemeClr val="tx1"/>
                          </a:solidFill>
                        </a:rPr>
                        <a:t>指标</a:t>
                      </a:r>
                      <a:endParaRPr lang="zh-CN" altLang="en-US" sz="1600" dirty="0">
                        <a:solidFill>
                          <a:schemeClr val="tx1"/>
                        </a:solidFill>
                      </a:endParaRPr>
                    </a:p>
                  </a:txBody>
                  <a:tcPr marL="93297" marR="93297" marT="46649" marB="46649"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600" dirty="0" smtClean="0">
                          <a:solidFill>
                            <a:schemeClr val="tx1"/>
                          </a:solidFill>
                        </a:rPr>
                        <a:t>权重</a:t>
                      </a:r>
                      <a:endParaRPr lang="zh-CN" altLang="en-US" sz="1600" dirty="0">
                        <a:solidFill>
                          <a:schemeClr val="tx1"/>
                        </a:solidFill>
                      </a:endParaRPr>
                    </a:p>
                  </a:txBody>
                  <a:tcPr marL="93297" marR="93297" marT="46649" marB="46649"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zh-CN" altLang="en-US" sz="1600" dirty="0" smtClean="0">
                          <a:solidFill>
                            <a:schemeClr val="tx1"/>
                          </a:solidFill>
                        </a:rPr>
                        <a:t>数值</a:t>
                      </a:r>
                      <a:endParaRPr lang="en-US" altLang="zh-CN" sz="1600" dirty="0" smtClean="0">
                        <a:solidFill>
                          <a:schemeClr val="tx1"/>
                        </a:solidFill>
                      </a:endParaRPr>
                    </a:p>
                    <a:p>
                      <a:pPr algn="ctr"/>
                      <a:r>
                        <a:rPr lang="zh-CN" altLang="en-US" sz="1600" b="0" dirty="0" smtClean="0">
                          <a:solidFill>
                            <a:schemeClr val="accent6"/>
                          </a:solidFill>
                        </a:rPr>
                        <a:t>百分比</a:t>
                      </a:r>
                      <a:endParaRPr lang="zh-CN" altLang="en-US" sz="1600" b="0" dirty="0">
                        <a:solidFill>
                          <a:schemeClr val="accent6"/>
                        </a:solidFill>
                      </a:endParaRPr>
                    </a:p>
                  </a:txBody>
                  <a:tcPr marL="93297" marR="93297" marT="46649" marB="46649"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tc>
                <a:tc>
                  <a:txBody>
                    <a:bodyPr/>
                    <a:lstStyle/>
                    <a:p>
                      <a:pPr algn="ctr"/>
                      <a:r>
                        <a:rPr lang="zh-CN" altLang="en-US" sz="1600" dirty="0" smtClean="0">
                          <a:solidFill>
                            <a:schemeClr val="tx1"/>
                          </a:solidFill>
                        </a:rPr>
                        <a:t>得分</a:t>
                      </a:r>
                      <a:endParaRPr lang="zh-CN" altLang="en-US" sz="1600" dirty="0">
                        <a:solidFill>
                          <a:schemeClr val="tx1"/>
                        </a:solidFill>
                      </a:endParaRPr>
                    </a:p>
                  </a:txBody>
                  <a:tcPr marL="93297" marR="93297" marT="46649" marB="46649"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2139">
                <a:tc gridSpan="5">
                  <a:txBody>
                    <a:bodyPr/>
                    <a:lstStyle/>
                    <a:p>
                      <a:pPr algn="ctr"/>
                      <a:r>
                        <a:rPr lang="zh-CN" altLang="en-US" sz="1600" dirty="0" smtClean="0"/>
                        <a:t>市场吸引力</a:t>
                      </a:r>
                      <a:endParaRPr lang="zh-CN" altLang="en-US" sz="1600" dirty="0"/>
                    </a:p>
                  </a:txBody>
                  <a:tcPr marL="93297" marR="93297" marT="46649" marB="466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tc>
                <a:tc hMerge="1">
                  <a:tcPr/>
                </a:tc>
                <a:tc hMerge="1">
                  <a:tcPr/>
                </a:tc>
                <a:tc hMerge="1">
                  <a:tcPr/>
                </a:tc>
              </a:tr>
              <a:tr h="839676">
                <a:tc>
                  <a:txBody>
                    <a:bodyPr/>
                    <a:lstStyle/>
                    <a:p>
                      <a:pPr algn="ctr"/>
                      <a:r>
                        <a:rPr lang="zh-CN" altLang="en-US" sz="1600" dirty="0" smtClean="0"/>
                        <a:t>市场增速</a:t>
                      </a:r>
                      <a:endParaRPr lang="zh-CN" altLang="en-US" sz="1600" dirty="0"/>
                    </a:p>
                  </a:txBody>
                  <a:tcPr marL="93297" marR="93297" marT="46649" marB="46649"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600" dirty="0" smtClean="0"/>
                        <a:t>70</a:t>
                      </a:r>
                      <a:endParaRPr lang="zh-CN" altLang="en-US" sz="1600" dirty="0"/>
                    </a:p>
                  </a:txBody>
                  <a:tcPr marL="93297" marR="93297" marT="46649" marB="4664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en-US" altLang="zh-CN" sz="1600" dirty="0" smtClean="0"/>
                        <a:t>&gt;50</a:t>
                      </a:r>
                      <a:endParaRPr lang="en-US" altLang="zh-CN" sz="1600" dirty="0" smtClean="0"/>
                    </a:p>
                    <a:p>
                      <a:pPr algn="ctr"/>
                      <a:r>
                        <a:rPr lang="en-US" altLang="zh-CN" sz="1600" dirty="0" smtClean="0"/>
                        <a:t>10-50</a:t>
                      </a:r>
                      <a:endParaRPr lang="en-US" altLang="zh-CN" sz="1600" dirty="0" smtClean="0"/>
                    </a:p>
                    <a:p>
                      <a:pPr algn="ctr"/>
                      <a:r>
                        <a:rPr lang="en-US" altLang="zh-CN" sz="1600" dirty="0" smtClean="0"/>
                        <a:t>&lt;10</a:t>
                      </a:r>
                      <a:endParaRPr lang="zh-CN" altLang="en-US" sz="1600" dirty="0"/>
                    </a:p>
                  </a:txBody>
                  <a:tcPr marL="93297" marR="93297" marT="46649" marB="4664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nchor="ctr"/>
                </a:tc>
                <a:tc>
                  <a:txBody>
                    <a:bodyPr/>
                    <a:lstStyle/>
                    <a:p>
                      <a:pPr algn="ctr"/>
                      <a:r>
                        <a:rPr lang="en-US" altLang="zh-CN" sz="1600" dirty="0" smtClean="0"/>
                        <a:t>3</a:t>
                      </a:r>
                      <a:endParaRPr lang="en-US" altLang="zh-CN" sz="1600" dirty="0" smtClean="0"/>
                    </a:p>
                    <a:p>
                      <a:pPr algn="ctr"/>
                      <a:r>
                        <a:rPr lang="en-US" altLang="zh-CN" sz="1600" dirty="0" smtClean="0"/>
                        <a:t>2</a:t>
                      </a:r>
                      <a:endParaRPr lang="en-US" altLang="zh-CN" sz="1600" dirty="0" smtClean="0"/>
                    </a:p>
                    <a:p>
                      <a:pPr algn="ctr"/>
                      <a:r>
                        <a:rPr lang="en-US" altLang="zh-CN" sz="1600" dirty="0" smtClean="0"/>
                        <a:t>1</a:t>
                      </a:r>
                      <a:endParaRPr lang="zh-CN" altLang="en-US" sz="1600" dirty="0"/>
                    </a:p>
                  </a:txBody>
                  <a:tcPr marL="93297" marR="93297" marT="46649" marB="46649"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39676">
                <a:tc>
                  <a:txBody>
                    <a:bodyPr/>
                    <a:lstStyle/>
                    <a:p>
                      <a:pPr algn="ctr"/>
                      <a:r>
                        <a:rPr lang="zh-CN" altLang="en-US" sz="1600" dirty="0" smtClean="0"/>
                        <a:t>利润率</a:t>
                      </a:r>
                      <a:endParaRPr lang="zh-CN" altLang="en-US" sz="1600" dirty="0"/>
                    </a:p>
                  </a:txBody>
                  <a:tcPr marL="93297" marR="93297" marT="46649" marB="46649"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600" dirty="0" smtClean="0"/>
                        <a:t>30</a:t>
                      </a:r>
                      <a:endParaRPr lang="zh-CN" altLang="en-US" sz="1600" dirty="0"/>
                    </a:p>
                  </a:txBody>
                  <a:tcPr marL="93297" marR="93297" marT="46649" marB="4664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en-US" altLang="zh-CN" sz="1600" dirty="0" smtClean="0"/>
                        <a:t>&gt;20</a:t>
                      </a:r>
                      <a:endParaRPr lang="en-US" altLang="zh-CN" sz="1600" dirty="0" smtClean="0"/>
                    </a:p>
                    <a:p>
                      <a:pPr algn="ctr"/>
                      <a:r>
                        <a:rPr lang="en-US" altLang="zh-CN" sz="1600" dirty="0" smtClean="0"/>
                        <a:t>10-20</a:t>
                      </a:r>
                      <a:endParaRPr lang="en-US" altLang="zh-CN" sz="1600" dirty="0" smtClean="0"/>
                    </a:p>
                    <a:p>
                      <a:pPr algn="ctr"/>
                      <a:r>
                        <a:rPr lang="en-US" altLang="zh-CN" sz="1600" dirty="0" smtClean="0"/>
                        <a:t>&lt;10</a:t>
                      </a:r>
                      <a:endParaRPr lang="zh-CN" altLang="en-US" sz="1600" dirty="0"/>
                    </a:p>
                  </a:txBody>
                  <a:tcPr marL="93297" marR="93297" marT="46649" marB="4664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nchor="ctr"/>
                </a:tc>
                <a:tc>
                  <a:txBody>
                    <a:bodyPr/>
                    <a:lstStyle/>
                    <a:p>
                      <a:pPr algn="ctr"/>
                      <a:r>
                        <a:rPr lang="en-US" altLang="zh-CN" sz="1600" dirty="0" smtClean="0"/>
                        <a:t>3</a:t>
                      </a:r>
                      <a:endParaRPr lang="en-US" altLang="zh-CN" sz="1600" dirty="0" smtClean="0"/>
                    </a:p>
                    <a:p>
                      <a:pPr algn="ctr"/>
                      <a:r>
                        <a:rPr lang="en-US" altLang="zh-CN" sz="1600" dirty="0" smtClean="0"/>
                        <a:t>2</a:t>
                      </a:r>
                      <a:endParaRPr lang="en-US" altLang="zh-CN" sz="1600" dirty="0" smtClean="0"/>
                    </a:p>
                    <a:p>
                      <a:pPr algn="ctr"/>
                      <a:r>
                        <a:rPr lang="en-US" altLang="zh-CN" sz="1600" dirty="0" smtClean="0"/>
                        <a:t>1</a:t>
                      </a:r>
                      <a:endParaRPr lang="zh-CN" altLang="en-US" sz="1600" dirty="0"/>
                    </a:p>
                  </a:txBody>
                  <a:tcPr marL="93297" marR="93297" marT="46649" marB="46649"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2139">
                <a:tc gridSpan="5">
                  <a:txBody>
                    <a:bodyPr/>
                    <a:lstStyle/>
                    <a:p>
                      <a:pPr algn="ctr"/>
                      <a:r>
                        <a:rPr lang="zh-CN" altLang="en-US" sz="1600" dirty="0" smtClean="0"/>
                        <a:t>客户竞争力</a:t>
                      </a:r>
                      <a:endParaRPr lang="zh-CN" altLang="en-US" sz="1600" dirty="0"/>
                    </a:p>
                  </a:txBody>
                  <a:tcPr marL="93297" marR="93297" marT="46649" marB="466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tc>
                <a:tc hMerge="1">
                  <a:tcPr/>
                </a:tc>
                <a:tc hMerge="1">
                  <a:tcPr/>
                </a:tc>
                <a:tc hMerge="1">
                  <a:tcPr/>
                </a:tc>
              </a:tr>
              <a:tr h="839676">
                <a:tc>
                  <a:txBody>
                    <a:bodyPr/>
                    <a:lstStyle/>
                    <a:p>
                      <a:pPr algn="ctr"/>
                      <a:r>
                        <a:rPr lang="zh-CN" altLang="en-US" sz="1600" dirty="0" smtClean="0"/>
                        <a:t>业务增速</a:t>
                      </a:r>
                      <a:endParaRPr lang="zh-CN" altLang="en-US" sz="1600" dirty="0"/>
                    </a:p>
                  </a:txBody>
                  <a:tcPr marL="93297" marR="93297" marT="46649" marB="46649"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en-US" altLang="zh-CN" sz="1600" dirty="0" smtClean="0"/>
                        <a:t>70</a:t>
                      </a:r>
                      <a:endParaRPr lang="zh-CN" altLang="en-US" sz="1600" dirty="0"/>
                    </a:p>
                  </a:txBody>
                  <a:tcPr marL="93297" marR="93297" marT="46649" marB="4664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cPr/>
                </a:tc>
                <a:tc>
                  <a:txBody>
                    <a:bodyPr/>
                    <a:lstStyle/>
                    <a:p>
                      <a:pPr algn="ctr"/>
                      <a:r>
                        <a:rPr lang="en-US" altLang="zh-CN" sz="1600" dirty="0" smtClean="0"/>
                        <a:t>&gt;50</a:t>
                      </a:r>
                      <a:endParaRPr lang="en-US" altLang="zh-CN" sz="1600" dirty="0" smtClean="0"/>
                    </a:p>
                    <a:p>
                      <a:pPr algn="ctr"/>
                      <a:r>
                        <a:rPr lang="en-US" altLang="zh-CN" sz="1600" dirty="0" smtClean="0"/>
                        <a:t>10-50</a:t>
                      </a:r>
                      <a:endParaRPr lang="en-US" altLang="zh-CN" sz="1600" dirty="0" smtClean="0"/>
                    </a:p>
                    <a:p>
                      <a:pPr algn="ctr"/>
                      <a:r>
                        <a:rPr lang="en-US" altLang="zh-CN" sz="1600" dirty="0" smtClean="0"/>
                        <a:t>&lt;10</a:t>
                      </a:r>
                      <a:endParaRPr lang="zh-CN" altLang="en-US" sz="1600" dirty="0" smtClean="0"/>
                    </a:p>
                  </a:txBody>
                  <a:tcPr marL="93297" marR="93297" marT="46649" marB="4664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600" dirty="0" smtClean="0"/>
                        <a:t>3</a:t>
                      </a:r>
                      <a:endParaRPr lang="en-US" altLang="zh-CN" sz="1600" dirty="0" smtClean="0"/>
                    </a:p>
                    <a:p>
                      <a:pPr algn="ctr"/>
                      <a:r>
                        <a:rPr lang="en-US" altLang="zh-CN" sz="1600" dirty="0" smtClean="0"/>
                        <a:t>2</a:t>
                      </a:r>
                      <a:endParaRPr lang="en-US" altLang="zh-CN" sz="1600" dirty="0" smtClean="0"/>
                    </a:p>
                    <a:p>
                      <a:pPr algn="ctr"/>
                      <a:r>
                        <a:rPr lang="en-US" altLang="zh-CN" sz="1600" dirty="0" smtClean="0"/>
                        <a:t>1</a:t>
                      </a:r>
                      <a:endParaRPr lang="zh-CN" altLang="en-US" sz="1600" dirty="0"/>
                    </a:p>
                  </a:txBody>
                  <a:tcPr marL="93297" marR="93297" marT="46649" marB="46649"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39676">
                <a:tc>
                  <a:txBody>
                    <a:bodyPr/>
                    <a:lstStyle/>
                    <a:p>
                      <a:pPr algn="ctr"/>
                      <a:r>
                        <a:rPr lang="zh-CN" altLang="en-US" sz="1600" dirty="0" smtClean="0"/>
                        <a:t>业务利润率</a:t>
                      </a:r>
                      <a:endParaRPr lang="zh-CN" altLang="en-US" sz="1600" dirty="0"/>
                    </a:p>
                  </a:txBody>
                  <a:tcPr marL="93297" marR="93297" marT="46649" marB="46649"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gridSpan="2">
                  <a:txBody>
                    <a:bodyPr/>
                    <a:lstStyle/>
                    <a:p>
                      <a:pPr algn="ctr"/>
                      <a:r>
                        <a:rPr lang="en-US" altLang="zh-CN" sz="1600" dirty="0" smtClean="0"/>
                        <a:t>30</a:t>
                      </a:r>
                      <a:endParaRPr lang="zh-CN" altLang="en-US" sz="1600" dirty="0"/>
                    </a:p>
                  </a:txBody>
                  <a:tcPr marL="93297" marR="93297" marT="46649" marB="46649"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hMerge="1">
                  <a:tcPr/>
                </a:tc>
                <a:tc>
                  <a:txBody>
                    <a:bodyPr/>
                    <a:lstStyle/>
                    <a:p>
                      <a:pPr algn="ctr"/>
                      <a:r>
                        <a:rPr lang="en-US" altLang="zh-CN" sz="1600" dirty="0" smtClean="0"/>
                        <a:t>&gt;20</a:t>
                      </a:r>
                      <a:endParaRPr lang="en-US" altLang="zh-CN" sz="1600" dirty="0" smtClean="0"/>
                    </a:p>
                    <a:p>
                      <a:pPr algn="ctr"/>
                      <a:r>
                        <a:rPr lang="en-US" altLang="zh-CN" sz="1600" dirty="0" smtClean="0"/>
                        <a:t>10-20</a:t>
                      </a:r>
                      <a:endParaRPr lang="en-US" altLang="zh-CN" sz="1600" dirty="0" smtClean="0"/>
                    </a:p>
                    <a:p>
                      <a:pPr algn="ctr"/>
                      <a:r>
                        <a:rPr lang="en-US" altLang="zh-CN" sz="1600" dirty="0" smtClean="0"/>
                        <a:t>&lt;10</a:t>
                      </a:r>
                      <a:endParaRPr lang="zh-CN" altLang="en-US" sz="1600" dirty="0" smtClean="0"/>
                    </a:p>
                  </a:txBody>
                  <a:tcPr marL="93297" marR="93297" marT="46649" marB="46649"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altLang="zh-CN" sz="1600" dirty="0" smtClean="0"/>
                        <a:t>3</a:t>
                      </a:r>
                      <a:endParaRPr lang="en-US" altLang="zh-CN" sz="1600" dirty="0" smtClean="0"/>
                    </a:p>
                    <a:p>
                      <a:pPr algn="ctr"/>
                      <a:r>
                        <a:rPr lang="en-US" altLang="zh-CN" sz="1600" dirty="0" smtClean="0"/>
                        <a:t>2</a:t>
                      </a:r>
                      <a:endParaRPr lang="en-US" altLang="zh-CN" sz="1600" dirty="0" smtClean="0"/>
                    </a:p>
                    <a:p>
                      <a:pPr algn="ctr"/>
                      <a:r>
                        <a:rPr lang="en-US" altLang="zh-CN" sz="1600" dirty="0" smtClean="0"/>
                        <a:t>1</a:t>
                      </a:r>
                      <a:endParaRPr lang="zh-CN" altLang="en-US" sz="1600" dirty="0"/>
                    </a:p>
                  </a:txBody>
                  <a:tcPr marL="93297" marR="93297" marT="46649" marB="46649"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sp>
        <p:nvSpPr>
          <p:cNvPr id="25" name="TextBox 24"/>
          <p:cNvSpPr txBox="1"/>
          <p:nvPr/>
        </p:nvSpPr>
        <p:spPr>
          <a:xfrm>
            <a:off x="1321835" y="723487"/>
            <a:ext cx="9687539" cy="713790"/>
          </a:xfrm>
          <a:prstGeom prst="rect">
            <a:avLst/>
          </a:prstGeom>
          <a:solidFill>
            <a:srgbClr val="FE5817"/>
          </a:solidFill>
          <a:ln>
            <a:noFill/>
          </a:ln>
        </p:spPr>
        <p:txBody>
          <a:bodyPr wrap="square" lIns="73472" tIns="73472" rIns="73472" bIns="73472" rtlCol="0" anchor="ctr" anchorCtr="0">
            <a:spAutoFit/>
          </a:bodyPr>
          <a:lstStyle/>
          <a:p>
            <a:pPr marL="0" marR="0" lvl="0" indent="0" algn="l" defTabSz="914400" rtl="0" eaLnBrk="1" fontAlgn="auto" latinLnBrk="0" hangingPunct="1">
              <a:lnSpc>
                <a:spcPct val="100000"/>
              </a:lnSpc>
              <a:spcBef>
                <a:spcPts val="0"/>
              </a:spcBef>
              <a:spcAft>
                <a:spcPts val="0"/>
              </a:spcAft>
              <a:buClr>
                <a:prstClr val="white"/>
              </a:buClr>
              <a:buSzTx/>
              <a:buFontTx/>
              <a:buNone/>
              <a:defRPr/>
            </a:pPr>
            <a:r>
              <a:rPr kumimoji="0" lang="zh-CN" altLang="en-US"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rPr>
              <a:t>同时，除了选用单个指标外，也可考虑通过引入取权重的方式，将一揽子指标同时纳入考量范围。如使用该种模式，则市场吸引力指标与客户竞争力指标也应形成对应关系</a:t>
            </a:r>
            <a:endParaRPr kumimoji="0" lang="zh-CN" altLang="en-US" sz="1835" b="1" i="0" u="none" strike="noStrike" kern="1200" cap="none" spc="0" normalizeH="0" baseline="0" noProof="0" dirty="0">
              <a:ln>
                <a:noFill/>
              </a:ln>
              <a:solidFill>
                <a:prstClr val="white"/>
              </a:solidFill>
              <a:effectLst/>
              <a:uLnTx/>
              <a:uFillTx/>
              <a:latin typeface="Arial" panose="020B0604020202020204"/>
              <a:ea typeface="华文楷体" panose="02010600040101010101" charset="-122"/>
              <a:cs typeface="+mn-cs"/>
            </a:endParaRPr>
          </a:p>
        </p:txBody>
      </p:sp>
      <p:sp>
        <p:nvSpPr>
          <p:cNvPr id="28" name="标题 2"/>
          <p:cNvSpPr txBox="1"/>
          <p:nvPr/>
        </p:nvSpPr>
        <p:spPr>
          <a:xfrm>
            <a:off x="172754" y="181774"/>
            <a:ext cx="10934700" cy="720000"/>
          </a:xfrm>
          <a:prstGeom prst="rect">
            <a:avLst/>
          </a:prstGeom>
        </p:spPr>
        <p:txBody>
          <a:bodyPr vert="horz" wrap="square" lIns="0" tIns="0" rIns="0" bIns="0" rtlCol="0" anchor="ctr">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a:lstStyle>
          <a:p>
            <a:r>
              <a:rPr lang="zh-CN" altLang="en-US" sz="2400" dirty="0" smtClean="0">
                <a:solidFill>
                  <a:prstClr val="black"/>
                </a:solidFill>
                <a:latin typeface="华文楷体" panose="02010600040101010101" charset="-122"/>
              </a:rPr>
              <a:t>内诊</a:t>
            </a:r>
            <a:r>
              <a:rPr lang="en-US" altLang="zh-CN" sz="2400" dirty="0" smtClean="0">
                <a:solidFill>
                  <a:prstClr val="black"/>
                </a:solidFill>
                <a:latin typeface="华文楷体" panose="02010600040101010101" charset="-122"/>
              </a:rPr>
              <a:t>-</a:t>
            </a:r>
            <a:r>
              <a:rPr lang="zh-CN" altLang="en-US" sz="2400" dirty="0" smtClean="0">
                <a:solidFill>
                  <a:prstClr val="black"/>
                </a:solidFill>
                <a:latin typeface="华文楷体" panose="02010600040101010101" charset="-122"/>
              </a:rPr>
              <a:t>竞争力吸引力</a:t>
            </a:r>
            <a:endParaRPr lang="zh-CN" altLang="en-US" sz="2400" dirty="0">
              <a:solidFill>
                <a:prstClr val="black"/>
              </a:solidFill>
              <a:latin typeface="华文楷体" panose="02010600040101010101" charset="-122"/>
            </a:endParaRPr>
          </a:p>
        </p:txBody>
      </p:sp>
      <p:pic>
        <p:nvPicPr>
          <p:cNvPr id="27" name="图片 2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3544" y="6519654"/>
            <a:ext cx="1517062" cy="2518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00.xml><?xml version="1.0" encoding="utf-8"?>
<p:tagLst xmlns:p="http://schemas.openxmlformats.org/presentationml/2006/main">
  <p:tag name="THINKCELLSHAPEDONOTDELETE" val="psqk7fqxoX0m85TQxAIBYVw"/>
</p:tagLst>
</file>

<file path=ppt/tags/tag101.xml><?xml version="1.0" encoding="utf-8"?>
<p:tagLst xmlns:p="http://schemas.openxmlformats.org/presentationml/2006/main">
  <p:tag name="THINKCELLSHAPEDONOTDELETE" val="psqk7fqxoX0m85TQxAIBYVw"/>
</p:tagLst>
</file>

<file path=ppt/tags/tag102.xml><?xml version="1.0" encoding="utf-8"?>
<p:tagLst xmlns:p="http://schemas.openxmlformats.org/presentationml/2006/main">
  <p:tag name="THINKCELLSHAPEDONOTDELETE" val="tCmSl8SmQOkKIrFrcUaaung"/>
</p:tagLst>
</file>

<file path=ppt/tags/tag103.xml><?xml version="1.0" encoding="utf-8"?>
<p:tagLst xmlns:p="http://schemas.openxmlformats.org/presentationml/2006/main">
  <p:tag name="THINKCELLSHAPEDONOTDELETE" val="t8HZTMuH_aE.BhxloXJvVEw"/>
</p:tagLst>
</file>

<file path=ppt/tags/tag104.xml><?xml version="1.0" encoding="utf-8"?>
<p:tagLst xmlns:p="http://schemas.openxmlformats.org/presentationml/2006/main">
  <p:tag name="THINKCELLSHAPEDONOTDELETE" val="t9bAnruDjJUStPxb2hzvcgg"/>
</p:tagLst>
</file>

<file path=ppt/tags/tag105.xml><?xml version="1.0" encoding="utf-8"?>
<p:tagLst xmlns:p="http://schemas.openxmlformats.org/presentationml/2006/main">
  <p:tag name="THINKCELLSHAPEDONOTDELETE" val="tlt5U9bgK10qvqpfacF7fcQ"/>
</p:tagLst>
</file>

<file path=ppt/tags/tag106.xml><?xml version="1.0" encoding="utf-8"?>
<p:tagLst xmlns:p="http://schemas.openxmlformats.org/presentationml/2006/main">
  <p:tag name="THINKCELLSHAPEDONOTDELETE" val="tgMEgoBO780Gt2awbdO22jQ"/>
</p:tagLst>
</file>

<file path=ppt/tags/tag107.xml><?xml version="1.0" encoding="utf-8"?>
<p:tagLst xmlns:p="http://schemas.openxmlformats.org/presentationml/2006/main">
  <p:tag name="THINKCELLSHAPEDONOTDELETE" val="tsRbbIostqkiohWqhFlgmzw"/>
</p:tagLst>
</file>

<file path=ppt/tags/tag108.xml><?xml version="1.0" encoding="utf-8"?>
<p:tagLst xmlns:p="http://schemas.openxmlformats.org/presentationml/2006/main">
  <p:tag name="NAME" val="SingleBoatShape"/>
</p:tagLst>
</file>

<file path=ppt/tags/tag109.xml><?xml version="1.0" encoding="utf-8"?>
<p:tagLst xmlns:p="http://schemas.openxmlformats.org/presentationml/2006/main">
  <p:tag name="NAME" val="SingleBoatText"/>
</p:tagLst>
</file>

<file path=ppt/tags/tag11.xml><?xml version="1.0" encoding="utf-8"?>
<p:tagLst xmlns:p="http://schemas.openxmlformats.org/presentationml/2006/main">
  <p:tag name="THINKCELLSHAPEDONOTDELETE" val="pN5wMqvYNCUymCkZTa9H2pQ"/>
</p:tagLst>
</file>

<file path=ppt/tags/tag110.xml><?xml version="1.0" encoding="utf-8"?>
<p:tagLst xmlns:p="http://schemas.openxmlformats.org/presentationml/2006/main">
  <p:tag name="NAME" val="SingleBoatShape"/>
</p:tagLst>
</file>

<file path=ppt/tags/tag111.xml><?xml version="1.0" encoding="utf-8"?>
<p:tagLst xmlns:p="http://schemas.openxmlformats.org/presentationml/2006/main">
  <p:tag name="NAME" val="SingleBoatText"/>
</p:tagLst>
</file>

<file path=ppt/tags/tag112.xml><?xml version="1.0" encoding="utf-8"?>
<p:tagLst xmlns:p="http://schemas.openxmlformats.org/presentationml/2006/main">
  <p:tag name="NAME" val="SingleBoatShape"/>
</p:tagLst>
</file>

<file path=ppt/tags/tag113.xml><?xml version="1.0" encoding="utf-8"?>
<p:tagLst xmlns:p="http://schemas.openxmlformats.org/presentationml/2006/main">
  <p:tag name="NAME" val="SingleBoatText"/>
</p:tagLst>
</file>

<file path=ppt/tags/tag114.xml><?xml version="1.0" encoding="utf-8"?>
<p:tagLst xmlns:p="http://schemas.openxmlformats.org/presentationml/2006/main">
  <p:tag name="NAME" val="SingleBoatShape"/>
</p:tagLst>
</file>

<file path=ppt/tags/tag115.xml><?xml version="1.0" encoding="utf-8"?>
<p:tagLst xmlns:p="http://schemas.openxmlformats.org/presentationml/2006/main">
  <p:tag name="NAME" val="SingleBoatText"/>
</p:tagLst>
</file>

<file path=ppt/tags/tag116.xml><?xml version="1.0" encoding="utf-8"?>
<p:tagLst xmlns:p="http://schemas.openxmlformats.org/presentationml/2006/main">
  <p:tag name="NAME" val="RectangleShape"/>
</p:tagLst>
</file>

<file path=ppt/tags/tag117.xml><?xml version="1.0" encoding="utf-8"?>
<p:tagLst xmlns:p="http://schemas.openxmlformats.org/presentationml/2006/main">
  <p:tag name="NAME" val="RectangleShape"/>
</p:tagLst>
</file>

<file path=ppt/tags/tag118.xml><?xml version="1.0" encoding="utf-8"?>
<p:tagLst xmlns:p="http://schemas.openxmlformats.org/presentationml/2006/main">
  <p:tag name="NAME" val="RectangleShape"/>
</p:tagLst>
</file>

<file path=ppt/tags/tag119.xml><?xml version="1.0" encoding="utf-8"?>
<p:tagLst xmlns:p="http://schemas.openxmlformats.org/presentationml/2006/main">
  <p:tag name="THINKCELLSHAPEDONOTDELETE" val="tl9T43x5.RbyjlQM3.tUa2w"/>
</p:tagLst>
</file>

<file path=ppt/tags/tag12.xml><?xml version="1.0" encoding="utf-8"?>
<p:tagLst xmlns:p="http://schemas.openxmlformats.org/presentationml/2006/main">
  <p:tag name="NAME" val="Rectangle"/>
</p:tagLst>
</file>

<file path=ppt/tags/tag120.xml><?xml version="1.0" encoding="utf-8"?>
<p:tagLst xmlns:p="http://schemas.openxmlformats.org/presentationml/2006/main">
  <p:tag name="THINKCELLSHAPEDONOTDELETE" val="tytvHMV0OTimNB4EZJYejwg"/>
</p:tagLst>
</file>

<file path=ppt/tags/tag121.xml><?xml version="1.0" encoding="utf-8"?>
<p:tagLst xmlns:p="http://schemas.openxmlformats.org/presentationml/2006/main">
  <p:tag name="THINKCELLSHAPEDONOTDELETE" val="tU_TtKolGScuYXfuMhQ810Q"/>
</p:tagLst>
</file>

<file path=ppt/tags/tag122.xml><?xml version="1.0" encoding="utf-8"?>
<p:tagLst xmlns:p="http://schemas.openxmlformats.org/presentationml/2006/main">
  <p:tag name="THINKCELLSHAPEDONOTDELETE" val="tlkVUmgC4R4.uWMRdR8bLUw"/>
</p:tagLst>
</file>

<file path=ppt/tags/tag123.xml><?xml version="1.0" encoding="utf-8"?>
<p:tagLst xmlns:p="http://schemas.openxmlformats.org/presentationml/2006/main">
  <p:tag name="THINKCELLSHAPEDONOTDELETE" val="tl9T43x5.RbyjlQM3.tUa2w"/>
</p:tagLst>
</file>

<file path=ppt/tags/tag124.xml><?xml version="1.0" encoding="utf-8"?>
<p:tagLst xmlns:p="http://schemas.openxmlformats.org/presentationml/2006/main">
  <p:tag name="THINKCELLSHAPEDONOTDELETE" val="tytvHMV0OTimNB4EZJYejwg"/>
</p:tagLst>
</file>

<file path=ppt/tags/tag125.xml><?xml version="1.0" encoding="utf-8"?>
<p:tagLst xmlns:p="http://schemas.openxmlformats.org/presentationml/2006/main">
  <p:tag name="THINKCELLSHAPEDONOTDELETE" val="tl9T43x5.RbyjlQM3.tUa2w"/>
</p:tagLst>
</file>

<file path=ppt/tags/tag126.xml><?xml version="1.0" encoding="utf-8"?>
<p:tagLst xmlns:p="http://schemas.openxmlformats.org/presentationml/2006/main">
  <p:tag name="THINKCELLSHAPEDONOTDELETE" val="tytvHMV0OTimNB4EZJYejwg"/>
</p:tagLst>
</file>

<file path=ppt/tags/tag127.xml><?xml version="1.0" encoding="utf-8"?>
<p:tagLst xmlns:p="http://schemas.openxmlformats.org/presentationml/2006/main">
  <p:tag name="THINKCELLSHAPEDONOTDELETE" val="tl9T43x5.RbyjlQM3.tUa2w"/>
</p:tagLst>
</file>

<file path=ppt/tags/tag128.xml><?xml version="1.0" encoding="utf-8"?>
<p:tagLst xmlns:p="http://schemas.openxmlformats.org/presentationml/2006/main">
  <p:tag name="THINKCELLSHAPEDONOTDELETE" val="tytvHMV0OTimNB4EZJYejwg"/>
</p:tagLst>
</file>

<file path=ppt/tags/tag129.xml><?xml version="1.0" encoding="utf-8"?>
<p:tagLst xmlns:p="http://schemas.openxmlformats.org/presentationml/2006/main">
  <p:tag name="THINKCELLSHAPEDONOTDELETE" val="tU_TtKolGScuYXfuMhQ810Q"/>
</p:tagLst>
</file>

<file path=ppt/tags/tag13.xml><?xml version="1.0" encoding="utf-8"?>
<p:tagLst xmlns:p="http://schemas.openxmlformats.org/presentationml/2006/main">
  <p:tag name="NAME" val="Rectangle"/>
</p:tagLst>
</file>

<file path=ppt/tags/tag130.xml><?xml version="1.0" encoding="utf-8"?>
<p:tagLst xmlns:p="http://schemas.openxmlformats.org/presentationml/2006/main">
  <p:tag name="THINKCELLSHAPEDONOTDELETE" val="tlkVUmgC4R4.uWMRdR8bLUw"/>
</p:tagLst>
</file>

<file path=ppt/tags/tag131.xml><?xml version="1.0" encoding="utf-8"?>
<p:tagLst xmlns:p="http://schemas.openxmlformats.org/presentationml/2006/main">
  <p:tag name="THINKCELLSHAPEDONOTDELETE" val="tU_TtKolGScuYXfuMhQ810Q"/>
</p:tagLst>
</file>

<file path=ppt/tags/tag132.xml><?xml version="1.0" encoding="utf-8"?>
<p:tagLst xmlns:p="http://schemas.openxmlformats.org/presentationml/2006/main">
  <p:tag name="THINKCELLSHAPEDONOTDELETE" val="tlkVUmgC4R4.uWMRdR8bLUw"/>
</p:tagLst>
</file>

<file path=ppt/tags/tag133.xml><?xml version="1.0" encoding="utf-8"?>
<p:tagLst xmlns:p="http://schemas.openxmlformats.org/presentationml/2006/main">
  <p:tag name="THINKCELLSHAPEDONOTDELETE" val="tU_TtKolGScuYXfuMhQ810Q"/>
</p:tagLst>
</file>

<file path=ppt/tags/tag134.xml><?xml version="1.0" encoding="utf-8"?>
<p:tagLst xmlns:p="http://schemas.openxmlformats.org/presentationml/2006/main">
  <p:tag name="THINKCELLSHAPEDONOTDELETE" val="tl9T43x5.RbyjlQM3.tUa2w"/>
</p:tagLst>
</file>

<file path=ppt/tags/tag135.xml><?xml version="1.0" encoding="utf-8"?>
<p:tagLst xmlns:p="http://schemas.openxmlformats.org/presentationml/2006/main">
  <p:tag name="THINKCELLSHAPEDONOTDELETE" val="tytvHMV0OTimNB4EZJYejwg"/>
</p:tagLst>
</file>

<file path=ppt/tags/tag136.xml><?xml version="1.0" encoding="utf-8"?>
<p:tagLst xmlns:p="http://schemas.openxmlformats.org/presentationml/2006/main">
  <p:tag name="THINKCELLSHAPEDONOTDELETE" val="tU_TtKolGScuYXfuMhQ810Q"/>
</p:tagLst>
</file>

<file path=ppt/tags/tag137.xml><?xml version="1.0" encoding="utf-8"?>
<p:tagLst xmlns:p="http://schemas.openxmlformats.org/presentationml/2006/main">
  <p:tag name="THINKCELLSHAPEDONOTDELETE" val="tlkVUmgC4R4.uWMRdR8bLUw"/>
</p:tagLst>
</file>

<file path=ppt/tags/tag138.xml><?xml version="1.0" encoding="utf-8"?>
<p:tagLst xmlns:p="http://schemas.openxmlformats.org/presentationml/2006/main">
  <p:tag name="THINKCELLSHAPEDONOTDELETE" val="tl9T43x5.RbyjlQM3.tUa2w"/>
</p:tagLst>
</file>

<file path=ppt/tags/tag139.xml><?xml version="1.0" encoding="utf-8"?>
<p:tagLst xmlns:p="http://schemas.openxmlformats.org/presentationml/2006/main">
  <p:tag name="THINKCELLSHAPEDONOTDELETE" val="tytvHMV0OTimNB4EZJYejwg"/>
</p:tagLst>
</file>

<file path=ppt/tags/tag14.xml><?xml version="1.0" encoding="utf-8"?>
<p:tagLst xmlns:p="http://schemas.openxmlformats.org/presentationml/2006/main">
  <p:tag name="THINKCELLSHAPEDONOTDELETE" val="thinkcellActiveDocDoNotDelete"/>
</p:tagLst>
</file>

<file path=ppt/tags/tag140.xml><?xml version="1.0" encoding="utf-8"?>
<p:tagLst xmlns:p="http://schemas.openxmlformats.org/presentationml/2006/main">
  <p:tag name="THINKCELLSHAPEDONOTDELETE" val="tU_TtKolGScuYXfuMhQ810Q"/>
</p:tagLst>
</file>

<file path=ppt/tags/tag141.xml><?xml version="1.0" encoding="utf-8"?>
<p:tagLst xmlns:p="http://schemas.openxmlformats.org/presentationml/2006/main">
  <p:tag name="THINKCELLSHAPEDONOTDELETE" val="tlkVUmgC4R4.uWMRdR8bLUw"/>
</p:tagLst>
</file>

<file path=ppt/tags/tag142.xml><?xml version="1.0" encoding="utf-8"?>
<p:tagLst xmlns:p="http://schemas.openxmlformats.org/presentationml/2006/main">
  <p:tag name="THINKCELLSHAPEDONOTDELETE" val="tl9T43x5.RbyjlQM3.tUa2w"/>
</p:tagLst>
</file>

<file path=ppt/tags/tag143.xml><?xml version="1.0" encoding="utf-8"?>
<p:tagLst xmlns:p="http://schemas.openxmlformats.org/presentationml/2006/main">
  <p:tag name="THINKCELLSHAPEDONOTDELETE" val="tytvHMV0OTimNB4EZJYejwg"/>
</p:tagLst>
</file>

<file path=ppt/tags/tag144.xml><?xml version="1.0" encoding="utf-8"?>
<p:tagLst xmlns:p="http://schemas.openxmlformats.org/presentationml/2006/main">
  <p:tag name="THINKCELLSHAPEDONOTDELETE" val="tU_TtKolGScuYXfuMhQ810Q"/>
</p:tagLst>
</file>

<file path=ppt/tags/tag145.xml><?xml version="1.0" encoding="utf-8"?>
<p:tagLst xmlns:p="http://schemas.openxmlformats.org/presentationml/2006/main">
  <p:tag name="THINKCELLSHAPEDONOTDELETE" val="pxs4zuYXX6U.Zm07AFgYt4Q"/>
</p:tagLst>
</file>

<file path=ppt/tags/tag146.xml><?xml version="1.0" encoding="utf-8"?>
<p:tagLst xmlns:p="http://schemas.openxmlformats.org/presentationml/2006/main">
  <p:tag name="THINKCELLSHAPEDONOTDELETE" val="thinkcellActiveDocDoNotDelete"/>
</p:tagLst>
</file>

<file path=ppt/tags/tag147.xml><?xml version="1.0" encoding="utf-8"?>
<p:tagLst xmlns:p="http://schemas.openxmlformats.org/presentationml/2006/main">
  <p:tag name="THINKCELLSHAPEDONOTDELETE" val="pxs4zuYXX6U.Zm07AFgYt4Q"/>
</p:tagLst>
</file>

<file path=ppt/tags/tag148.xml><?xml version="1.0" encoding="utf-8"?>
<p:tagLst xmlns:p="http://schemas.openxmlformats.org/presentationml/2006/main">
  <p:tag name="THINKCELLSHAPEDONOTDELETE" val="thinkcellActiveDocDoNotDelete"/>
</p:tagLst>
</file>

<file path=ppt/tags/tag149.xml><?xml version="1.0" encoding="utf-8"?>
<p:tagLst xmlns:p="http://schemas.openxmlformats.org/presentationml/2006/main">
  <p:tag name="THINKCELLSHAPEDONOTDELETE" val="tf6TyxTafMEm2wkllD6g4sw"/>
</p:tagLst>
</file>

<file path=ppt/tags/tag15.xml><?xml version="1.0" encoding="utf-8"?>
<p:tagLst xmlns:p="http://schemas.openxmlformats.org/presentationml/2006/main">
  <p:tag name="THINKCELLSHAPEDONOTDELETE" val="thinkcellActiveDocDoNotDelete"/>
</p:tagLst>
</file>

<file path=ppt/tags/tag150.xml><?xml version="1.0" encoding="utf-8"?>
<p:tagLst xmlns:p="http://schemas.openxmlformats.org/presentationml/2006/main">
  <p:tag name="THINKCELLSHAPEDONOTDELETE" val="tlaopfrHqjE2xSYcJSEsdAw"/>
</p:tagLst>
</file>

<file path=ppt/tags/tag151.xml><?xml version="1.0" encoding="utf-8"?>
<p:tagLst xmlns:p="http://schemas.openxmlformats.org/presentationml/2006/main">
  <p:tag name="THINKCELLSHAPEDONOTDELETE" val="tCmSl8SmQOkKIrFrcUaaung"/>
</p:tagLst>
</file>

<file path=ppt/tags/tag152.xml><?xml version="1.0" encoding="utf-8"?>
<p:tagLst xmlns:p="http://schemas.openxmlformats.org/presentationml/2006/main">
  <p:tag name="THINKCELLSHAPEDONOTDELETE" val="tbQH9voLW10qMLrl5s1dtiQ"/>
</p:tagLst>
</file>

<file path=ppt/tags/tag153.xml><?xml version="1.0" encoding="utf-8"?>
<p:tagLst xmlns:p="http://schemas.openxmlformats.org/presentationml/2006/main">
  <p:tag name="THINKCELLSHAPEDONOTDELETE" val="t8HZTMuH_aE.BhxloXJvVEw"/>
</p:tagLst>
</file>

<file path=ppt/tags/tag154.xml><?xml version="1.0" encoding="utf-8"?>
<p:tagLst xmlns:p="http://schemas.openxmlformats.org/presentationml/2006/main">
  <p:tag name="THINKCELLSHAPEDONOTDELETE" val="tXP_bWAy4qEeafddPme4HUg"/>
</p:tagLst>
</file>

<file path=ppt/tags/tag155.xml><?xml version="1.0" encoding="utf-8"?>
<p:tagLst xmlns:p="http://schemas.openxmlformats.org/presentationml/2006/main">
  <p:tag name="THINKCELLSHAPEDONOTDELETE" val="toM0nc55i7USos7_5DGYW.A"/>
</p:tagLst>
</file>

<file path=ppt/tags/tag156.xml><?xml version="1.0" encoding="utf-8"?>
<p:tagLst xmlns:p="http://schemas.openxmlformats.org/presentationml/2006/main">
  <p:tag name="THINKCELLSHAPEDONOTDELETE" val="tntD0LnzS40yEHY6KkiD_Eg"/>
</p:tagLst>
</file>

<file path=ppt/tags/tag157.xml><?xml version="1.0" encoding="utf-8"?>
<p:tagLst xmlns:p="http://schemas.openxmlformats.org/presentationml/2006/main">
  <p:tag name="THINKCELLSHAPEDONOTDELETE" val="tVLFxsAgFlECb88dY_5QYEA"/>
</p:tagLst>
</file>

<file path=ppt/tags/tag158.xml><?xml version="1.0" encoding="utf-8"?>
<p:tagLst xmlns:p="http://schemas.openxmlformats.org/presentationml/2006/main">
  <p:tag name="THINKCELLSHAPEDONOTDELETE" val="t9bAnruDjJUStPxb2hzvcgg"/>
</p:tagLst>
</file>

<file path=ppt/tags/tag159.xml><?xml version="1.0" encoding="utf-8"?>
<p:tagLst xmlns:p="http://schemas.openxmlformats.org/presentationml/2006/main">
  <p:tag name="THINKCELLSHAPEDONOTDELETE" val="tGKiXqcR2jkSM5BbvTxOwBg"/>
</p:tagLst>
</file>

<file path=ppt/tags/tag16.xml><?xml version="1.0" encoding="utf-8"?>
<p:tagLst xmlns:p="http://schemas.openxmlformats.org/presentationml/2006/main">
  <p:tag name="THINKCELLSHAPEDONOTDELETE" val="thinkcellActiveDocDoNotDelete"/>
</p:tagLst>
</file>

<file path=ppt/tags/tag160.xml><?xml version="1.0" encoding="utf-8"?>
<p:tagLst xmlns:p="http://schemas.openxmlformats.org/presentationml/2006/main">
  <p:tag name="THINKCELLSHAPEDONOTDELETE" val="tlt5U9bgK10qvqpfacF7fcQ"/>
</p:tagLst>
</file>

<file path=ppt/tags/tag161.xml><?xml version="1.0" encoding="utf-8"?>
<p:tagLst xmlns:p="http://schemas.openxmlformats.org/presentationml/2006/main">
  <p:tag name="THINKCELLSHAPEDONOTDELETE" val="t1m5PFYZ9xEGsG_1Z86JgPA"/>
</p:tagLst>
</file>

<file path=ppt/tags/tag162.xml><?xml version="1.0" encoding="utf-8"?>
<p:tagLst xmlns:p="http://schemas.openxmlformats.org/presentationml/2006/main">
  <p:tag name="THINKCELLSHAPEDONOTDELETE" val="tYIpeiT_arECBPhkoPDW7bw"/>
</p:tagLst>
</file>

<file path=ppt/tags/tag163.xml><?xml version="1.0" encoding="utf-8"?>
<p:tagLst xmlns:p="http://schemas.openxmlformats.org/presentationml/2006/main">
  <p:tag name="THINKCELLSHAPEDONOTDELETE" val="tTpe815IBw02RgYFsU7C1Ow"/>
</p:tagLst>
</file>

<file path=ppt/tags/tag164.xml><?xml version="1.0" encoding="utf-8"?>
<p:tagLst xmlns:p="http://schemas.openxmlformats.org/presentationml/2006/main">
  <p:tag name="THINKCELLSHAPEDONOTDELETE" val="tQToJNHn3AEqHyFTo0cZBRw"/>
</p:tagLst>
</file>

<file path=ppt/tags/tag165.xml><?xml version="1.0" encoding="utf-8"?>
<p:tagLst xmlns:p="http://schemas.openxmlformats.org/presentationml/2006/main">
  <p:tag name="THINKCELLSHAPEDONOTDELETE" val="tgMEgoBO780Gt2awbdO22jQ"/>
</p:tagLst>
</file>

<file path=ppt/tags/tag166.xml><?xml version="1.0" encoding="utf-8"?>
<p:tagLst xmlns:p="http://schemas.openxmlformats.org/presentationml/2006/main">
  <p:tag name="THINKCELLSHAPEDONOTDELETE" val="tARB9ICnTOEy780iOHCEA5w"/>
</p:tagLst>
</file>

<file path=ppt/tags/tag167.xml><?xml version="1.0" encoding="utf-8"?>
<p:tagLst xmlns:p="http://schemas.openxmlformats.org/presentationml/2006/main">
  <p:tag name="THINKCELLSHAPEDONOTDELETE" val="tsRbbIostqkiohWqhFlgmzw"/>
</p:tagLst>
</file>

<file path=ppt/tags/tag168.xml><?xml version="1.0" encoding="utf-8"?>
<p:tagLst xmlns:p="http://schemas.openxmlformats.org/presentationml/2006/main">
  <p:tag name="THINKCELLSHAPEDONOTDELETE" val="tRAm.DMn9MEmDB3NtVjqFPQ"/>
</p:tagLst>
</file>

<file path=ppt/tags/tag169.xml><?xml version="1.0" encoding="utf-8"?>
<p:tagLst xmlns:p="http://schemas.openxmlformats.org/presentationml/2006/main">
  <p:tag name="THINKCELLSHAPEDONOTDELETE" val="tEuYMF6nu60W3YiD9zIIGCQ"/>
</p:tagLst>
</file>

<file path=ppt/tags/tag17.xml><?xml version="1.0" encoding="utf-8"?>
<p:tagLst xmlns:p="http://schemas.openxmlformats.org/presentationml/2006/main">
  <p:tag name="THINKCELLSHAPEDONOTDELETE" val="thinkcellActiveDocDoNotDelete"/>
</p:tagLst>
</file>

<file path=ppt/tags/tag170.xml><?xml version="1.0" encoding="utf-8"?>
<p:tagLst xmlns:p="http://schemas.openxmlformats.org/presentationml/2006/main">
  <p:tag name="THINKCELLSHAPEDONOTDELETE" val="tE_1Me1xhI0ChvFQvLKf0wQ"/>
</p:tagLst>
</file>

<file path=ppt/tags/tag171.xml><?xml version="1.0" encoding="utf-8"?>
<p:tagLst xmlns:p="http://schemas.openxmlformats.org/presentationml/2006/main">
  <p:tag name="LLEFT" val=" 143.875"/>
  <p:tag name="LTOP" val=" 208.75"/>
</p:tagLst>
</file>

<file path=ppt/tags/tag172.xml><?xml version="1.0" encoding="utf-8"?>
<p:tagLst xmlns:p="http://schemas.openxmlformats.org/presentationml/2006/main">
  <p:tag name="LLEFT" val=" 143.875"/>
  <p:tag name="LTOP" val=" 208.75"/>
</p:tagLst>
</file>

<file path=ppt/tags/tag173.xml><?xml version="1.0" encoding="utf-8"?>
<p:tagLst xmlns:p="http://schemas.openxmlformats.org/presentationml/2006/main">
  <p:tag name="LLEFT" val=" 143.875"/>
  <p:tag name="LTOP" val=" 208.75"/>
</p:tagLst>
</file>

<file path=ppt/tags/tag174.xml><?xml version="1.0" encoding="utf-8"?>
<p:tagLst xmlns:p="http://schemas.openxmlformats.org/presentationml/2006/main">
  <p:tag name="LLEFT" val=" 143.875"/>
  <p:tag name="LTOP" val=" 208.75"/>
</p:tagLst>
</file>

<file path=ppt/tags/tag175.xml><?xml version="1.0" encoding="utf-8"?>
<p:tagLst xmlns:p="http://schemas.openxmlformats.org/presentationml/2006/main">
  <p:tag name="LTOP" val=" 244.875"/>
  <p:tag name="LLEFT" val=" 288.75"/>
</p:tagLst>
</file>

<file path=ppt/tags/tag176.xml><?xml version="1.0" encoding="utf-8"?>
<p:tagLst xmlns:p="http://schemas.openxmlformats.org/presentationml/2006/main">
  <p:tag name="RESIZE" val="Yes"/>
</p:tagLst>
</file>

<file path=ppt/tags/tag177.xml><?xml version="1.0" encoding="utf-8"?>
<p:tagLst xmlns:p="http://schemas.openxmlformats.org/presentationml/2006/main">
  <p:tag name="THINKCELLSHAPEDONOTDELETE" val="thinkcellActiveDocDoNotDelete"/>
</p:tagLst>
</file>

<file path=ppt/tags/tag178.xml><?xml version="1.0" encoding="utf-8"?>
<p:tagLst xmlns:p="http://schemas.openxmlformats.org/presentationml/2006/main">
  <p:tag name="THINKCELLSHAPEDONOTDELETE" val="tB6K7WLudCkS8uFhPbxvI8g"/>
</p:tagLst>
</file>

<file path=ppt/tags/tag179.xml><?xml version="1.0" encoding="utf-8"?>
<p:tagLst xmlns:p="http://schemas.openxmlformats.org/presentationml/2006/main">
  <p:tag name="THINKCELLSHAPEDONOTDELETE" val="t.3BSDYjlRS6mei85oyfWsA"/>
</p:tagLst>
</file>

<file path=ppt/tags/tag18.xml><?xml version="1.0" encoding="utf-8"?>
<p:tagLst xmlns:p="http://schemas.openxmlformats.org/presentationml/2006/main">
  <p:tag name="THINKCELLSHAPEDONOTDELETE" val="thinkcellActiveDocDoNotDelete"/>
</p:tagLst>
</file>

<file path=ppt/tags/tag180.xml><?xml version="1.0" encoding="utf-8"?>
<p:tagLst xmlns:p="http://schemas.openxmlformats.org/presentationml/2006/main">
  <p:tag name="THINKCELLSHAPEDONOTDELETE" val="tFBbznkYTQkKMwcV5rHoBUQ"/>
</p:tagLst>
</file>

<file path=ppt/tags/tag181.xml><?xml version="1.0" encoding="utf-8"?>
<p:tagLst xmlns:p="http://schemas.openxmlformats.org/presentationml/2006/main">
  <p:tag name="THINKCELLSHAPEDONOTDELETE" val="tZmSChYZ1TQmIh7UeWskkEA"/>
</p:tagLst>
</file>

<file path=ppt/tags/tag182.xml><?xml version="1.0" encoding="utf-8"?>
<p:tagLst xmlns:p="http://schemas.openxmlformats.org/presentationml/2006/main">
  <p:tag name="THINKCELLSHAPEDONOTDELETE" val="tP9X22yfuTjSt71vneddxOw"/>
</p:tagLst>
</file>

<file path=ppt/tags/tag183.xml><?xml version="1.0" encoding="utf-8"?>
<p:tagLst xmlns:p="http://schemas.openxmlformats.org/presentationml/2006/main">
  <p:tag name="THINKCELLSHAPEDONOTDELETE" val="ttKDZJgDbQHW8VhXJ0sWZXw"/>
</p:tagLst>
</file>

<file path=ppt/tags/tag184.xml><?xml version="1.0" encoding="utf-8"?>
<p:tagLst xmlns:p="http://schemas.openxmlformats.org/presentationml/2006/main">
  <p:tag name="THINKCELLSHAPEDONOTDELETE" val="t2.CvX_PZTFWNWhZ2r488mw"/>
</p:tagLst>
</file>

<file path=ppt/tags/tag185.xml><?xml version="1.0" encoding="utf-8"?>
<p:tagLst xmlns:p="http://schemas.openxmlformats.org/presentationml/2006/main">
  <p:tag name="THINKCELLSHAPEDONOTDELETE" val="prniaFiUBvU23QnUrUYL7LA"/>
</p:tagLst>
</file>

<file path=ppt/tags/tag186.xml><?xml version="1.0" encoding="utf-8"?>
<p:tagLst xmlns:p="http://schemas.openxmlformats.org/presentationml/2006/main">
  <p:tag name="THINKCELLSHAPEDONOTDELETE" val="pG0Hno5mEJEesj2EAdFoYew"/>
</p:tagLst>
</file>

<file path=ppt/tags/tag187.xml><?xml version="1.0" encoding="utf-8"?>
<p:tagLst xmlns:p="http://schemas.openxmlformats.org/presentationml/2006/main">
  <p:tag name="THINKCELLSHAPEDONOTDELETE" val="p1pzvRMIfPUCBzR7stoR8zQ"/>
</p:tagLst>
</file>

<file path=ppt/tags/tag188.xml><?xml version="1.0" encoding="utf-8"?>
<p:tagLst xmlns:p="http://schemas.openxmlformats.org/presentationml/2006/main">
  <p:tag name="THINKCELLSHAPEDONOTDELETE" val="pNY_MUxcd9EmBoMZ9kwWkog"/>
</p:tagLst>
</file>

<file path=ppt/tags/tag189.xml><?xml version="1.0" encoding="utf-8"?>
<p:tagLst xmlns:p="http://schemas.openxmlformats.org/presentationml/2006/main">
  <p:tag name="THINKCELLSHAPEDONOTDELETE" val="prniaFiUBvU23QnUrUYL7LA"/>
</p:tagLst>
</file>

<file path=ppt/tags/tag19.xml><?xml version="1.0" encoding="utf-8"?>
<p:tagLst xmlns:p="http://schemas.openxmlformats.org/presentationml/2006/main">
  <p:tag name="THINKCELLSHAPEDONOTDELETE" val="thinkcellActiveDocDoNotDelete"/>
</p:tagLst>
</file>

<file path=ppt/tags/tag190.xml><?xml version="1.0" encoding="utf-8"?>
<p:tagLst xmlns:p="http://schemas.openxmlformats.org/presentationml/2006/main">
  <p:tag name="THINKCELLSHAPEDONOTDELETE" val="pG0Hno5mEJEesj2EAdFoYew"/>
</p:tagLst>
</file>

<file path=ppt/tags/tag191.xml><?xml version="1.0" encoding="utf-8"?>
<p:tagLst xmlns:p="http://schemas.openxmlformats.org/presentationml/2006/main">
  <p:tag name="THINKCELLSHAPEDONOTDELETE" val="p1pzvRMIfPUCBzR7stoR8zQ"/>
</p:tagLst>
</file>

<file path=ppt/tags/tag192.xml><?xml version="1.0" encoding="utf-8"?>
<p:tagLst xmlns:p="http://schemas.openxmlformats.org/presentationml/2006/main">
  <p:tag name="THINKCELLSHAPEDONOTDELETE" val="pNY_MUxcd9EmBoMZ9kwWkog"/>
</p:tagLst>
</file>

<file path=ppt/tags/tag193.xml><?xml version="1.0" encoding="utf-8"?>
<p:tagLst xmlns:p="http://schemas.openxmlformats.org/presentationml/2006/main">
  <p:tag name="THINKCELLSHAPEDONOTDELETE" val="prniaFiUBvU23QnUrUYL7LA"/>
</p:tagLst>
</file>

<file path=ppt/tags/tag194.xml><?xml version="1.0" encoding="utf-8"?>
<p:tagLst xmlns:p="http://schemas.openxmlformats.org/presentationml/2006/main">
  <p:tag name="THINKCELLSHAPEDONOTDELETE" val="pG0Hno5mEJEesj2EAdFoYew"/>
</p:tagLst>
</file>

<file path=ppt/tags/tag195.xml><?xml version="1.0" encoding="utf-8"?>
<p:tagLst xmlns:p="http://schemas.openxmlformats.org/presentationml/2006/main">
  <p:tag name="THINKCELLSHAPEDONOTDELETE" val="pNY_MUxcd9EmBoMZ9kwWkog"/>
</p:tagLst>
</file>

<file path=ppt/tags/tag196.xml><?xml version="1.0" encoding="utf-8"?>
<p:tagLst xmlns:p="http://schemas.openxmlformats.org/presentationml/2006/main">
  <p:tag name="THINKCELLSHAPEDONOTDELETE" val="thinkcellActiveDocDoNotDelete"/>
</p:tagLst>
</file>

<file path=ppt/tags/tag197.xml><?xml version="1.0" encoding="utf-8"?>
<p:tagLst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UK+9qAALZjNtaA4uFibne5Favlo4sRvvHDxO6D2osJd/DQgiJveQhRUzl6k4xFsEXGbq6UaVXrZof/MFqC/DA6qUCifNhrugE7O/VQsrm52Kc2NdhQYFlh2Qp7noOKRi/ID4E/oP8EBunWi/ovqkvNMEDyapnMXSNYR9cpUuvxTQ7u98R34/40wgXJ2QWRUcihS+9cswpAVK6ITPJKudRuotnyrmuiQjU27A9pjs2JI5jBZoRHOgZ+aU2B/2wdA5D5IAbEm1UokxqG7gSktjysVV4QsponoPkoxFLHapbCNeP6U7uR4TI8/LGCh24F09etkpMNlf6ZsF7Ek35xcExhR7q7uxVkTgIyBsFaY6G2e2agiSP7mY7ek51zoDPP6dNMrHd0izEzpzCxiSYbo4ngBzyYRb+oDy/y2VIIAOZJktQFwupWEHusiCudGqOWU7/H+zcG91ZRTaZYY3lMs786T/NTg1tPjKQBOjJ75uB5KsapKoYRL0KAvfYCeuz3Zm5QpsheknJWixw4pZQ2kDHQwTAW2iDCLXhIJF8/KqcU31EMoS8P1OA9MayhVxXR5b0APYLoBBGGkJJCJSRUCpbcTkSv4yJ21Z3ZGiZMuo8OvE2aEcuayNKnOltJkSvtfQnCnZvctRqt/yEXG/1wLq18pzw92WNlVGaWzSmINgvsRESm/qpotVTCz+V4R+0Dso6v1Te7KbzmOYO/KEBs0folutGKmNQKAFpm7/gkCyXiGzSjsSam32eK3pFT+EqQvl53QG9OIVWNDch1r7uSAFgi5OHY4Ln+FR07Z98HGbSx41iw4B5+KtApsVszs6dmdt0F47ivnbk1CzWe9og7wBvMiBs6c2MZqTHgXb72IIvfNblTQ4VRdwyMQb24JR2nMfJp3V+/T+Lr8a6MLjeKQ0HQ1ru7gforyhWZe0JOXaDx/debT+ktWSbcEUNL/3KI106Nl3DkR6+ZZ2LJ9mTyc+qF3M9PrzozT7mPuetc1ZpryElh/Y2cnvORo5j8KKyMnyNCaeuA1NUBuQ82SsjLvRpx3oOgozF+K/8Lke1xC5f2nwKciPnKj/Q+//x1AWJFHZq1Tg3/CdGvUU3GGtj5GsK0HCo7LA9VNNUNcECQbwmrVm+w9FLRJjOG2XcSuSJk2xn8dVWJOdjDCvfrYZBnCYAiQDqvGOUmWQZ0gcr9/yg1Ea7cOcMQHqqvxzbZG3EEOWZkrVjsxM/L3yukNNmnVpZ6BgFd5+fz4+dLtwo0vhSETPVkuktlq9/P1ULKs0sl9pcBwBTJBbUnlBtmoQuA/kKlN5p7bQM3kzXlKFo1L1LC6Tz5TRKGymjq7wTUMrSdFFpl/J1i7Vm+JZG4mx79MQFIokjqMY+XeW1dGPyiCd8tn5UWXIwMxc+qrIiy9l94XkkHVN32XOAUnmN+HusMg/jxBSxoDsPOyOiQj7uKoW+10weEUkJSU84DVy+EQSzCwn8MJ7rMfvgpluwujsaJ9Ny8X/eQaBICtwOY9axd+IJjXyTxVQamE4hUrm3y4HmAg76Om3CnHDjSdHZkbctB5Nw2193L3K8YVBVRSoqn3pVRfH+ozp8RP54N5n8xOKBaoEaGXihIYNBQyjiK1eLzn8PnuZHl2gdh9IWwMGYJXeRL1QK2FmPNmwgD7m0kxoVBkVFHRYx+f1BpFkQZT1u7emJ5uxrE6lpw1Smz/+X3nSD2vl6EB2nRvZXcji7OtKIyriQcd89AkyHkcC+fZ8OoZn3sFYI4fXCXPuCoQ9NQG0gPqBaqENM93PQno5c8vWLoGm6OAvIKnkex9MWkJ2AKAllm754lt8JsO+MIP0jlJagenMMyw6z+yQ9bRsorqQ9KH3mUXyhnG8ObvvnOfkNIyzo3QE8LzPQzGfMopF5pfFm4p1gIM9mj9kir4YD6f59P3Fyezm1e+dXJlHdZS/Wj4MKKS/9H0a5e4jyjcZcwSK9/TFLsk5dr7R/SD1eKOAZD5dkjZNXlf6I+S97MmqzVibnBEybftoJazZh3EHjbDnAyM3DgOulIHa7PD0KbvhHfvjE82ENDAeJhOk8VwDcERmRa+cLQvVcmhiM+M4PUNE8slv/CkNrFmSzfJSFWPE6Nn8jtXKLAFrWl787QCInodm7KBbdVTU2RQdjDNR4lEmqymENCCkMBdYviRRelC8vQ9zqraxBLy6FUCAFqMsxYptdmPJZsMMYEzaefhCGLPy9AUMworRaS5ttpWVpLOPpdVtGsW2jknbKqXhNXsc6sXZYRK7AK0GNbIewXy/kjW257QtGLdnoCamuROVusw1eqSSmVFJGJlSBZexBRDNjg4q5TdhJYWpbKrYaA2XS1ZLZGzg2ihgMsNyqQR81jQclhNV5nhuZRGZ64LqaHYzAeI+xAMTzr9wM2/6yz/l+VxMix0l6Ae6V2ClaWjfXVPi8IRxwe4d/f/l7EFxbaAe7CWmO6wtb+7euTgjVZIq4RTPB41iq4Jmzal1/8Yx00XXCS//c+soQXtku0afQxpzwW47gbagdVy6U6M7whyRKez/Gzn49GzGyccr6lZVAVbozlmmQA/LkzynQ2Mrj2m01+KYsHz0sANS6EIU/mqqObmX+BoVDklDjlSc+qCc/SpDMxaAyuO6Wkpr5Kz5iNeeyKkl7056e248jd8jhFVCvc8oBVfQmOwnO1iNW5e4IYcqFaT79R4vGY+A7ZFAFEMr3bDpRAdyIBOUDXF3Xvta3lQWhR2fvB5tm17p4EeBwcbOOZiGLZe54B5UKaiqIYY0+U/hcGeB0ABqZoMWI11SwnLrNV4K9MtxEdm8345tMUZHgMLHTGMHTU+Ydt8YPVbU35zjbDX/Pv5ONqj7OIRTf2g4X/WW0tXWOsD2fTF0whGH2LUTSUNO/iw0e0WVypdkrX3RcekQDBavClRoe5z+9qLhUkUlFS6PVyeMM6QC8loUPMDJ1OvFnSTX7zvQxMPneSLL5lQlY12YhLWr9wI8V97+YdNCVCTUPXaHthkxTGy3BCIns4stPN4ZDBA1RZHyFZjQv+r2xez8ofWHaCDKp4RpKj58yJScjgpoRHCmDd7Y5kXbzQNC2PLJcUDhYXwls5G/5NaSM0mbPH52r92Jl/6fuKdkyrb2DvMdIdHWmoY6AUYW61hHTJkoFmumhBsJYzWR+ZZ0yZwwN5Uc3rdcJg48AclIYxyV/ON/p5/6FfCFrO0uhDM8gePoMX1J1STjy1vS8/XVP60E9VwHqxU2AkKaz4iMeziYbNoLj3dOiZ31Pz7Fc6koi+VA2PymjhVH20v6S9EffVF34+cGncAFHQ7EPoVaXgFZS3BdlGKfH5lkNUp+QybsxDWN2tiJTX66AciSnXDG9XAcSgE7fWRvpsNMI+aR6WOVk6sYLRxTUbYtJY8GYSkCamBA4mannVImCf/5AEG0CDN+iYnesSbH70O9GEMc8DxR6+T4HKaN8n/hfCh6JyOLFbo3QMVs9jrGnHs93RN5ZdxAv1wlYiMMCzgyYMPr2HoeHqj2g99bphAVnNcYaSsTUHViokIYKHrPm7bIZijohsbASdMhopXRrhpI3A7wsJGu9XAYQKNaZh0exhZCl1J/tRdcdTzZoBhCLNqUaBHUtZNTDU/bUx0/pBa+xxB9rUFRL4SbZ4MehHUs2M7B5LrHLDYInBc+cs+jb8swpAbcnj/SJtT5bN3Ax9TC5UXw4yjqEXp60jLYi1+h+TriYxFFe5qBMbSWU+nrJ7kqLCEF9cveYgi35EvZ4G7Ea1dwf/4FujMK1+lKdyM84EvcCKUgOOh6vdikEyFShCj5M+MgCS1Ogh37K6ZWp3w+RgMyGpE9kndxkmQ5DMimjR0pLQ9WPz37YgqWfyVgKhBdVtOLVfkTNd5Cj9BW5Uu0RbacADZ/gjDEpgaYZu67HGCi7p+ItDmkjO6ZhsbnNr3TnSYV+81Fau7WEDlFxYKTX1QnBW4NVQhhZH0z8dArcaNWLouRrZjSYFjrg0RXTXiBzpSSJUCNLQacx5jSxuUgNx3TLRAcdYDhfs0NuTJBR0y65ZH9SHSO5Wh7dO3u4RJNKqNIhDfgwYrqVrMvhU6v/tIBcAGZxLZzz59PjxOcuqhX0fNbC4iwudBqMT5QGCjzvZrNRkgmwMNIwMfIXZZ16SC+SRLRvAxlyeA1DsGVPcSdiNpl+V7wVHW7uUkv+tUBW5py1xTx8ONQbdqcGV9zd91Juold1YVdTr4VchF8DH8YjGcVbGeABoKdm/5YlOCov2v1CTBzBBfkXcC3E47My2aiGnL8/v11cIiabrE2Jqze8zbM9fKghLIlfmNcMvYMKhLWUgGNKCaC9Fi/riin1kgwwZIyboeHixZ6lD2LD7kO4PXOz3Lbdc57pnOe4+tJH/T3KhuB6LUj2jNd23hmbFRB0hadsXFRqHNEaIZd/vmpq/CeX9J5OOigE+ISyjk687lUwJwm3RXF3bZPezYbd/xI8G947cKrmUeN913kLeEi9ekJSF8iAuI6JDL5Rc1fzdwCMlx3Jm3Go4BSAkYlQoZ/bsJZU8QCvtPlR/n3bPXwKoKH7n68MnTUBCSeVS+XKQThhotr+DO1hc2dCKL5xzI9A/EGvctriKzWbySv8Kqf/pwWIRwdjqaNncp1cO5K4V2FOslPWydcyS2vmEu403MK6QEUDlYeMrpVCZ+WTfeTXk9Tp9yhhxhMn/xGoym1fNCQ9oQ2VoaIgIBGBsurTOl5TMfGCEBYLXaL6iNlwT9Lc6OznjfsoPDCM4IRAv6iezMDBsLAMKmaEykmMKuwWiMfK/lWvLLxZ7RdllE8DHECbdtbqgD+RSVzyR948pF5AAN3LVjHr+qfakbV2RP+6M0JpZc1aaNbx6s474OFnpoTYgnuuVaVO1Zq3XBdXlVE/Y0UXCf5b5/m0jTWM42VdUywi/g9eTudnfs9eSBHMVV05cAy3TUOvV3C42gGpCmlHZ1nOFr7hi3/pOdkVFmdJYYfZU5DzlGbqN7MOTJhyzDiPBBqfkfD+TETsqkMpuETgz246bx3yccaH1WNXU/N2+Ab3UtlSxs/Jj0JWd6K0beOO08530swajL7XjZDKPlj/1G3/ht/DZ4Q0spTUGGoEmkyNwKvtsnGKrSeXOaOd8vitVHAPPW86ybUKpNcIE4QiL0j8YcTgNkwZ9sJJ7+ZIsdDi4zrJg2jrw0l6ZTruvgmdybHqGoXTHrnTvhkfWWJG7O1i2GmzXtNFzd01UIfspjTVdm2XLQ/PfVKdgW0CqJLAK+5tiT612VhEuubMo71RLd4VIdWGyc0biO9NCKlZyR+5vtZ2RLzpWaMSETHdz5KnGRzoVGN+5M9n/bkbjcl2kgMakrL5X4Tttoiyjolc3fP6KYTJVXwZezBEfiXbKCx8INBz8uefPMGZ3haF4yoaHbSiDLFoVdiwKYwnKezmbsKGfaQfatfTtGC1A5m/RRFWqapeY5dVf9s5i0eXhFrXshiaBUiitfqn8pDhL5hNtheFe3ElIB4mpWxRloFUFBVgCZbTlrOLX9AiltwTnVtQCYRl4jFYoAeK/F2OzKaWB1yR8h3bh7+g1zeBATSQ4AHjSODUgIVKqmmGpqPzfpz+MjFTMMLf/KvTuMuq/3HaFzr9xaN/+oU7kDFanbhTZCorOSMT4v7sh/FMzeasGL+52MZLl7Li2auYLmG50kGxXSD+zAuB8pdjpE8yvPaqdeIeLoQK/zuPw8YmgOuLI1JN6qWpfvEi0r5QuTgzURRHlezw9EEE+z7m3KeJ4pCGFx3taT/yOvaH7K3ztB1LSDzSVZH+LoJ26HZXYPngp5JbNLVmHIisrQAURzIYtf1YwxxzxMqP/RKH9LszmlBzUJQZmvsJcQLVAPhINnC6MwxcmKpuQhS05gNWtm47PHJtRKBwN86izyo5llYOkqYBphvKiBByhkL2lD/JmIfMVrHvUUre1kxWw/QXBPu/qXspOHkvgiOrPj4DfN4cMJ2ghen8Wd9RXmATz+DQ+xDRJiWutNWQvVK3ggziX2aoQYzzM4POHRHj4lHbS8Eol3Jp99J48m1PobdmYu6sZq+8o4k00OYp6iSQK/YNfFYyOChoZBp2C9qy70ID/kjLyq1BS73zxLUuNOStH/Pa1LgbZA/1WZSVQK+aec+VlWQA3nxbbo2bOoJR00UgAw283hx+bcDrzRRDpqD1qTpf1m82UOvIrQIrB4XxZD+xj6XiE/+X5Aoj2WQTCs7Hf7jIdTgfNxY7hQ+UGyLco4vqjEh3cY5zc+7rkuKTlcomz97vrp/jy1aGBrAe5RyVSVqYRPlv4gv5vGQ/hQzqGXhmIibAlYcsfPDIgJmfm1Dz4JgWa1gRBY0LAF3sHBpZqRbumtuJrQE2C0qnPL7+/a41JUeRc4iTpVvN2egOdaCkD46n5qwAmhyAhNiZBQveO7zVJZyVp2g5dnSwZQRHynXgQisupxQMQZHbebqMleCBAd06x7eg/z6tz4nTOyMLcgTNcoMhZ9yvwj8WgjXb2wqDr/zhkgQt/AQfafx0PDpdhcpOWN4XTaZXWf1ceo2ZaUS0D4MSHI4BnF16kOePWLecHfhD2s6Hs/+woP/MVI6NaTzgdKn+2K+6CKahFc0khy2ZR1axMkb47D4Eg2vR/dOAVduWwPUakgqaghvOw0q7faUbxKhhGN0akdziXifHnTzC8+lm939krfcuw/y4G0og/9eU08B73OoS83BIUuPngr45n+g9BQajlJFxhpFirxr0XxMX0m137593Yp99fAS2az6Anc0HfYDqUR0z/vO0eZPLjFB4v43qSgIovSEiWVLB+611lJHj21zJW8Fp6kc+aayvzSLWN0eblZxPVWKpbC3M9kusbVBDuLBxnPJ/57d1+tefY05WrkQIlm12JLHuNV93bG4C5teUBpq4+sBYbBJIvt1hHlAF7M5ScmIir+pxRiOutnBh7fDhhqM4vjCPWq6EoKCngHdrlP8NXz80VIalNi89zQYnPRPZnNtk3r2CSu7V5JF2/0PqtNbBrSwIfFjpOeCkk32gdpi3l519neeanPjrbg1CIrJz6EyOVPUQ2Sin6lGX4EwiEIxTOPmKLrraR/aVqN9FFQSYaa8n+xqPhtb+cJM5PWQ7a/ePEUktUPMghIzutclVC+QFYbU3rfiDuT6Gj5M+WiqROAmy4TSfjbqj3ipI/9rBp3J+AM1Gbn6wTu+I8QUYz4uYGPFd+0WWN8pGOH3Pg6xTZIMz+FcrikIcvH7zS/axGuzfD5sORnfCxYJwgEjKLhOxAb08QtU+dkc1HFkNT1uu71ts75rK1pfGNiXLUAU/ByCIsTjEXgTdTxHcVAh3HeplXjVw9pUDoF2IbzYRFmmK7md81CgSGhbOYEwMPO9wgeR3UPWQPIY2liwB9BVHYUOI3tRwLjp7lDO2ZR4W0pNCQj2k24O8vz8dw8nuVatkAmTkcl6uDefiB6TV6ddeNGLMdn+z/b9IMxPTVgPPyVG10r0bP39cUdblIepeQ1as7c+yBq86KAH9FhVt0cVKeQKSKaFe1lEgu0ayOjV2GFpBrRnBszSvWgzQgdHJ50tlFJF+RcglgNrAqwPb8A+jFrz8/bzKlgG9VLWGa1BqabNB3U6xBIoUd2Wjjuc/Tqw0qBm/FZQvZuppjhV8En6609yYNpr6lzwMLW90kZv2bBt+bR4JJOx9h/EayCzE9Vu6pzYdlUU969WvQf8qVJ5CRNRKiJpr8sLWMh88I/wcySbuEb/qUZBhbJ5fChhC1a9gSV/EMfK7MmG//FWv2bvySj6INYXLPzt9r+AMpHSP8eBApMZcXVXNlbPFGK6gP6o69Bz9CRtFwkQOOugLGehfi8sG/FgAyrs7cv8pJxnSSLFhShWG3Yr1pzX6IRsYqx7asjYcxA+BoQOA/xuo1qUEllY0HZaHtz+0Wcj/7qD1qUwpiAumILjM4m3Cz5GsXX+ZX0IUG7e3+KldY8SiS8X53zX0twKBvQYDIky/dzPKEgOiUcRlV6sHMZc4zVWB8wCMzeFFghFXs/rnbusYXd6PTgnnccj1GKrSGlFSAXJJkMdMAjfD0pSI87U6gl77o2Y+HGPGwxTYnkt8ug1k51zgrjLRP9+QVgBBar+meUk1bj4/yhSBC5cugtDTeZ6BdiEw20VKxThafCEL3it3rjh5/g2TShty9Ywev+s+zHimPJFTFFggKzgSYnuXG3tP9YV9xjnyYQnyVAG7qcw9OVTKL3M5huvAsCGujZ6yefHAvvKEtMe8n4+l8VoTbsZ2IwnOtTphBGgjl2I2YobXVZsx/78N5nVPUo4YOroDORXNt1RIxX8z1IZ1f2yHSt6JC4OdsxWEqrWYLNy7qRWRF+o8YDIl83VOkgKHBTNzXDIYC8XRSCjGICCx1TkQ4BaDEYgyfbi+w1/4GDAt7DyFyXfEja1XW8mvT9z9BNX5E4jmjBZx5dOA6RB3BpsyiZB6Hw+K3c0DeT7pk7AeYZcdjg6HJNOYnwbWEifqE0jSOR0CxEj142cG+QLFPVbLeVsaT5NyBVBfUeyM5Xb5D4j61d80RrLjFKsvvnj79Xxed/J+IAj1sASMpDM7UE5qVZ+hh7VbPpmavOmpAkWNk+jrnngqcrZSqAzpH9/upftDitn0hbuNP2wrvFb1WA0uwBSXkXwIWAccZH9RFHnMb24kLkiXMtcqpTK1MgPnwy+2eIdoZd5eq0CjNzpWS/nmgsQuIf4U8tStMWq0CNJZpNihr2vFxt2zZcKyUdeBI1RO2wHbj0zswM+ZeJFDeZX9zFMf32bYiTkieFepYeXkCKFwIqq75bhmB1rIE0ZFl3ClepyzvgWo7oF35+DLfgOOrSbqnVrFcXdBPeJ5zwUrL7fEcIiZLgrYxEqg8M00kCMZmeAHegBCC0xeeiHLEf8YvSVQV3+t0517GpZezNjIe2o5/8Gxr5vwC+/+B5ydjOFPJgR5e+dUvtO/6zssbuuMtUgsHYLwsnHtOXZf8D6sxhSNffOIsTrR8F+0tKHzrcrUkIHzRjng7faLy3eydT92u2wBrriVKd+Y7kpAFus2byxjmhixCX/DiPO8BGumxyQwU129RbGd9GA+RGEFZv73lilRoiL9RmMmaOcW2AaXaS6kuSL3rAf/9FfkYl6hSKLmo9lxxITrnZ7HVcPC46L8PIPpkxIxuiucoYYcHUsgNq5ZG51ql1zoZun+PQWvrhdRIyneXXOTMvD1OY2BntZMn31kVZtoNTvNcnjHRmJeCQDUXolFuKOO38uHLVMjCvrraKgxoIhkTkpw+csGLvm95xpJ+zIfpCl4gW8lfcIOQn8qUh85Umm75KDM7mVY8dUYZIV5vHzsWyB66a3UAdOokdtFKackTMZsJODPyegccoQSJ7PzeD41SaWdqSC4sNW1Pf/AHRQfNrlPN0KV+MyF0v31GgRn8y5ETnO+D+Vnn6bWhk4DynG2HnFm1vros0SYQCr6WDFs2+ljkRv1wb9qRkfFE/1rtrd3VdeKHKHF08vYiqRuA6CdEeXgiSBpQSbUNULj8l3TSDFjzo2hqgUCMEEXOWQkAZWVM6Q2IBN1G8lVMueNKiqaNQ2Py3HcPl1ptcbWi3E2kq7V0dTwr0te4bPH1hc2eVubprqfohQbOgY571540OyGbg+3mb8Usoj1qqbBpE5n4DEd0pN3DfESPRPcojvlgQcB9acwiXFwQbS8aCHAxbZYpRW8r7cFXzROYf+cUCWkGi+gmr5MATVaUbiudOmVcImpE3HOgiKH1uNZjFibGns6ejOhq08eejoTYdp/hem+9FevuRK06KGyS5hLorDOUA/tLYdPljbqHwJTGXzFoOh4A+JixC+SDBDDreo40cCbvP4r9hT9S+9snYUjOxsAvYLH12zdJO3E+m8Wv9oIPig9CGynHF0I5gn7LM3U8GdjJpSQnvyUlqzeNsoBz6C8KHdRT+WnR39dMqBKb60qQLHgpZMHvdu2AphictzOBc6kfmusAaIhUB8dhFAE7/waCL5ZvJjwz2i4BEJtB4i6Vep7KC+qUO2y14M5cK/y2Ohdwj6N5ayoscu/nZ/HVCFrZlHWJUhNgd6bRWI03adbYMuzm+Mh2Xa4eFW0V8DqAYW4S/tWNM46nD6cmKr7O38cXPRGHjIqBtgqGWVx36uGbDtnqv4wxb1NeS+AxdBI1jNGqEvCXDMdwit9XLUYaMj1brPqaemH2zw82Urs7e4QrecI43gKzzw8jtOkogaBELHe08kr6PnodmOQ5526cAv5nY/+xHtGYHRjRAgRsEKehoFnxSgdkgiwimq99qIXoU02lU5Uj5kYq46WK9hfMzLiYatEdMOYv22qDAk7YiLZb2xjkI3QRgvTfgkvB+RyoHXqZhtlHAyEZsW8jLq0/FsbvMaz4V7mvJFTHz3M0DIbngocfK6/HONuPlhN2BYb2PmLTK7nfqVxnJpPhYQblFnSK3GSBWyA+YP59IuJnRMyLFKK15rIJUALoP+m2VSogo2O5jkYthqNPlCpuHxEay0p7U8f8qua/WAfJ4xwV/XzpXViKzH8PSh70UGTFeK5QSN6ui5mvdM24NhWU3/swgAWyVA2WbRGXLtl3Ifyr5NhPTQtsVT6ftO6mTxjQ/PDF1OWfz5yAM0s3tIVuG+FOJzyaSSTUKV90ffosOrj1B88A1tMuprn1hJwCDV9Faj3jA8749Wihl4QAdqyo5KHPqyn5xxLz04yhEW+Y8JPd5DjV/9xJOpYbBBxLE0wWpsLoPgDSPPhRyAiBLO3AsreqJlk0OeJOxHhNsq2CvWWXsVtqH/82CHKAO+anHDgGU4bVmBtleIjdZrCrizk2DUDTUDy+uxA50Ymn23eFQEexOB899mGvxvzhLbnlbszB03GtULH4MpdL9uYfX4h47DGSuPxL03zx7ysaicVl540vEi+7JLVdO9YYrKQa4HROmDY9JD1HRIVVMylpFphlCEblu/OZUBXL+iR/vmk1LXcFwzdZPXv52vlXkNx1zEDC6HQnzaCEVdk0XkHlIk+cYj6+GN73Tk7vvl146wDLgK9fxk35AI3x2g6QwCLcj/anbF0HIRZyGOoeK1tYGtTDoBq3xuNjR6GRdXCW3ySVPMR14ZZhcLazeSAZHK+RVBoaxy9M28F7sCw56YcmsoN2Hmq7P9zU+wlv6BpbguMDhajHalxo9YqN2VZjHS6PJFTRMCU1n2p7JUuB7Wjk55RsPsPL+6ONqUhUpF9jMN2zWTp2+WYw8s26yVaxhNq40YyNGO/W3FkQFhCfp0uGeVbF28tPQI3qNoYQYl+c3JIhijO40e3o2eGn/PKreX2Xo77RPFrp6DmTaRQXDIRY/EgwJoDn3RkP2ufkJ8T1Vih04uq0PkGHeq6um04fZD9snfI4eCD/KUUIXfxG5EHVDeHnLWaGwG39ul4dLvjeYyuWwG9ELGAdL2NU45sdq2oMGiyh0z+iCl+zkfKhf7bFnGrC4P8iFSudiqPcTpqEQpYhWHO4obg3z2v2wfYr6pfauHDHMH06LAATYl1fNm68AA6ghzcq+S6txoJaq0CrHWhbwJiIGaphr0FYevktcuMtHG2DiZ9g7RA+sXt9ubhkO4LnN8gItxurr6orJYYrsOw8KqxRXAZjfI9IghACN4kQFftdQjD2ljz/A24TchEYlNS0YjrhnfhnfF6EUvvUEK6AHraaP+G/f4vp6VsS+jU7XjrEoBk3ZsZ9mDjYVQpXtSZrO8thC7McffTK1Qn7kppQxh0f8X6+ZSTDApaohgHCttz+NQP0JifRYM9hssNAUdFtAIpZUBJtAglAUsUmcQ85ANIp8o3IZSlpJixBcBtHsnJ2PEp2tRNOtXVwhmAQ0QGQ0qc8tg57rrxFWZtnijhZOuF/WGtDr4lFQSMuklk9bK4oCs1HLweTlCj1LhJMuMAvAemsNIeVBeQruKb3Y8fERRu0MImL/F9SYbmOtbmHNQlWwn4Zcy63rMPTgEmcSbxlLnAY+I8gG+kqvxlp0T29bwpyGMozF66ryRUQrh3nRef1wZyivD3LEWKe3BSjt1XcFG1JpJhQW+XBZ24Rjya0Cvr4FYjbY6gHqqx5MH9jO8ng2tUlxUCqWZ/q20DBcL0HmS1TdFOuigue5uLkPVtCKJCWOEYifrUP2OTfyLIzIpGspk0K3UcUHMDOoVpi9G4kezJ2tijTCmJctWFfg05h2+4PJanm2GqvQlV1Y4EjlxG+KtuP0ABkjNSzybSycAj0xxP22KUNYJmehIFFKYMefDf0aTb+fk3iyo5yS4oHD/quCVgXhRmz7zNX3Y4Sel9n6aJkcuuFcY1dmC2I2s0F9LsTkipWzDK4svyKgr8cAQT+9XM0/Ic2RHxy06UWTCTUVMq8cL6C7BwFRuZhOwrMZ8m2mDXheSp3BJa5ovAFUwle3AA4f3i8GxfN3/NNMBxlIGHNr3SZGupNJES40wL/8TgdtTCsTV8Asy0U8ZmFv9nG0cbYKxDzflzVBrkIP2BQrTaPBs4wB+H3Hi2T7RiiB5s71c2VWyc9TILMDSRk2q1rq6BmltpZ5mHsJrCUGx0xhZZiuTFX+PS0VjLNfMAzMGpYeVwnvkxIonKh7/s5Yb15S5t+1t1JFH3gJYmyh2bi/sjkDs+lSPzs7XMGr4pZeNFKnY3wQjGLOpxP/Q2l8h80RNNbikeqA3mGRQc+ABQ0QK0P4tSGX22QyV/3+F1wjSs61RHSTSCWTRKGj9lM174h57W3YZjnKnWlH+L81TknR39WP4KLMhRz6oCW6foGLjQQIL9k4xp2DZj2mwGAdT3TKZj0lWYFdMxqWxAMxJ+6OPaiCB2sZo0wcTs1/N09Sj7bkUUBcTeJ9VeAMwzUkMOJS8KN6a2uZwCbUH/if3CM4gepa3QshCyGdUGCXpSliyHGXGgdTNVPZe/2mFDsi0fDYRVdwE92a/vqyOg+eUZ8Yr8PDcc1C5tH+DOt4rOG/6OGZhZJ+s+BNdyzVW+BF0Df8jEAbCMmljQges2JbC0t0eq24AMha75DL4Dfx5I6aQ7tslGPrAG1smfdRZxLi759zt1Grbzism/JlzxwL8fshHJWArqfg3Qstih48qJ3eD0/pHE5+WOzUEIy11yFCJRHrxYKkhXjS6c0xP4PHORdh0b59UJ9nMjByOfMNgbaGxLeOl0vX8NfORkLFfkvu+iCyewcK8hiLL9AMUTToQtWlbKjzRDU61Y+nkbi/gBFTYjyySysBlaj0ywB1eqLSjzBx/UUXBSWqRpmThUrTixoAABuMK+YL3XGOZcXAL3WUNHYlLpNf9+byVxN0VJfZEsD97WR9052RhA+C0pupY7DNhnr1nOmrRoltjW5yDA5RCktH4Fjf/7iwTgEtGNvGK+/zRzoU1pLkOYtUFdPypZFGwQXBelfdpDW8TM7UZ/2f5UxjyZWxohULndPxraCvurFHKl4NTnGPYI7QpqiBUsB5Un3RdA4HzLYP4eNVQy8Yiovs1zJGwdYww7yruO64sKE5uGVAc77hejZX2gHE9ps/em1o9jG6tjUElSWOGdhKwd5aUXwP2zF4buIkkn/nZb/RzZGYm/QjW90hY/dAi1IeZy3lR+JifQHXAQ9BlWVVfx0JllsRDG3CqHPbeBzcywcCIcIIWFdqG1naRdDZsYZSW9aeBqBnJH5loPwaBoAGjU5fChJfHsnecU5+GQhjmd854QODc8/lZGu0eGlkairCqBODlU8NZxK8XLKt+dlkzXTce9GOhN+fD0ML2IiGMezOpyff3nlmKGuX8+ShfDdRZU4qiHrzU7RfcnmFfW10s/yYXRcXdDBQBFT2ZLZY4Nglz+r80pVDIThM9iXQo8Tui1ZjUWmkxx7P1MbtORL3S7mphBlyzbieHc/OcA12rgapTnKDMFCI6UDW6mzVbMqn2zL+xgeJSJtkwQpo8o+jvHSes/J84iMR6zDKFuFDuRN+iuwFbbC7Sg8KpkrVfL/sO2loen1fhSUcKi3KJkQ3cUKk6ZZRVBke2i0pez3d2KsObbGVchexpFCwzmgceXJQHNW1Q+VUDzflHzcYi9Gh5QZrRiAQyJXcwkiTQC5xfOO3vtDL9jUKqy+U+Fp6BWzQZXnZa8xy/gXZZp9GuHSTqewlGKod4EubvkOwG9yvoK/HKk/AIgHCUPzZjFUohftLWj96ynEovQZN9noa9FBe5/ALihoCrQ/fc3RMEPIgkG4AXoS2LBNL24vK2ipSG/KhJjenyEuk7sueqmiyKpTBEQeEhTAl4jbLrtrssOaWoZQvdQ/8aZBo1BD/S2NIMnm80Fjc1LhHXuzJH7fOo5et/Xp4lHvKGkGOJJBBb+Krs8he+gqGtHy+kjPSvFT7Q19INRfqfg3x5n4szvon+dfV2cgWusA7gINPNiji2SjjcTv2/jRJmpl71bpE9puOgtVLEDhsdoq1UdFFM1EVP99T5voxsk7bjGkslIXLbTH4YUxDW3r1NJvL86xwsKbHiJP1/buFEsDmn8xQDYSzTkXIHtpSO8AehWk9CYiqYmrMLELXhSlnL1OSSE5Lws3J4OpViVSzoVffek+/0chXF+DEJqutWIgA3/p/4QzbqF9JgBcnWAaavWUGNlfACe4z0XdOjqeu3uFMHLiTb2Jk4R6BhWWhXAR9ox9A/fN0Af1clQZ1qCKoWjm8/NUYzTPKZHVE7PEk2K7+RsNlj4tnOLEqVnVa3bH0IX92zEwSO72ikxDYtCbkiE1nYdtO79GDM0Rfg9oAOLRzVzpoTCI6NC/V6G8WSODMvNHn7C/cMfmVLdMeRGjv3Q+b9PwNHfoHZ/yRml7hT2yYl1m4naIp41n07esB7RiNVWBzxrPC5kWPY/NSZha3QDya1DjBLoApe9fmNgldaFVTgP2V0D+AkieP43GOtDku7zjfNKYxtEm/sh0XEs3wscFMGrRSKP7bb3Snjvh8HTonKbwsY3yLmOAVAqfntDS/e4YrUEEdUKEPGhkkYRc9JhG4vmjkFsFWPnExNi0iBMgHmcaWNv340goKR13USrpmsurcpmRGt01JreCOHRpD2EQTru1VMm296G8tQp6A2MDcQSNEiaKunfRaiz+A7p+yFjJfZFtpw78NPHbrPLBcrH2UpH4XGG5nObvdanBiJJsZNWEBA2nmbCTg5im7YUnA6q8nHBquru+RzXF1g2zOAO/BWcIseXO4JQpop9lzb1J3MGT0aeGJVjMVDMyox/cfF7JO3v191WA9yiBiC54zqp39Hq+dXO5oQ4aihAHM2jmj+UVHbEupAA9hOrewrLWhSEPO7SqptVrNL5KW5TGLgU5IelUSJo7lot0nNpKpxFCk4heaoxn8wlNFg1PaZXdc0Hl+Xg662qi8Et7koGjcAMigfdDzBktVwtcnHzo/JCUeSKU77I1sFdvax/k9c4ELvh6xUBG6+pzOMaOwyuTyb9jwvWoraA6Abf8K+lMqDB4c1jpGYyRzt1JepVOuHP1EK3qIjSSq2WQycgHadzqJFLdKjaDH/ujx6eAG0yfFNzvj4h/8qmoCLPb/Mxjr29PzyFK08imZxxz3SL2sGA//L9/3IdKOLVxIcbdyYx6IE/7WunHWmNoFys1ytiK5qYL1QsFElxA66DSVGed1rYh8YV2kuyHwWWY3h8nKfv1I+agbFhawh1Ebnp27SX0FR4MoY6XnZEy+B2cCM9wDP3V/K0IcNaHjNM0pLsxKAurpXNkNJ5SQvxAPuf+ERi0lAMGFjumV+8xzp6NV//7/uYtuxSN/0x0YAEaj+0lm9xGR8mIKoq+nbBApXOZJiP74RfOCgBVwpw+2Au8eL31jJlTXtjXfR5euyG+b6Ugq9BloRncQw9yzCuyDgceeI/JgWl+nfwvLuzxH9ItTLNGoe44Gtvsq9w0+PPhN3pEgOYgWj3WOc5w4rVb/9taH9GmrZDUhU/+Widp5coEUhhzK73WW9tRXVw93pX7VElO/CDUP4uE+LDuqvgcYOLORhCJyQUyqIsSTjH/UcIw3oiEDEEPmfmZLiqIi5iT/iiF1J6/O37bbpwrO70GmRrKPmOjOu+6mzDifDMzGq0f5IS9gsuFOOzaWzFOdRri3fFCeWfJXMK3doU5nvkevUjtXOZyQl51fR5CKfVImezx6XNHnFDSj4I1U943YIlhpyH6CUcc1NYDSvRaEJLPm/6mwtsKIjpNL2OkJwNHhVy3kS/C/gFKo2AvyNxBgPi3vnDU1f0R4EK7WPKMkpD3QvU1dMGjyMVp7VOfKjUMtUQYzjqJjd2ZVpJnHT1YGuHRvpSATiWP1WJfT2Ty/EFJhRmqs3UA3wgudyBbXEiPWbu6ZrCkKtm+Y+TpjaSlxJRDedHanCI6yx2v4rbCsOo+QaH/RJnmWm7UjiH7AqHiPXKv/GXVCgBz3So5RIb3Oc5BR6bzQmv5C6hUgb0gV4JXNhMfqWL7Yq6lqUsJqMeZHrZ2TNVBvAsjVG4Psor0BV8p8zJM9ZTUfuaqUvL0HJc22w0pUpC5nbpBcdYAt6oOTZp0Fcn4wlCaxHdNzXvGn78SGV9CyCcTnYqQ3i1TEuT4gPtKEefE5vMvPIivbNir/se1V7zngyGKNSecHPEzrYr3uCtLFnEIdqu/8YkXP0j0MOwysho/j8tviwTtGB9hMN45GFy9gmqjUhxl6wR/x4Hne6Pthe4cgZ2C7397fYm7+G4FoYiwueM7IhzKFY6CATc4jNbrsUZhB+2wmALSjm4Nwp7KaS3Yv02brsQ6HuD9o8g9t4UhWq3B6gO/H6pihFYsQNgNG1LPFiXaTh2CNKt9C65sYkFh2OZuGrHnKHU1IjuYawIaGbgzK0saxpM016qflGAUR6+ozMnTmv9pMQdYbUkGQU3VkE3EgYpQWMX0rpkx8uNGgi1+fBcMuvNp5z9i9VWmrAtPsR1u5aPNDjxkQlnHFfxW6mYlH1oIOOQsWfr/XP4izokklR3NQ3qN2YUhc1OThen80oIO9B517SAv2HymQsMq1GuT/cZ52p496zXHSpZw4WW8AXQSDGQIAwg7MmpyOZBH0A0KpqWdKXB/XlVVIakIc8MIhVFGvwPoac+9lH8ed8mrxlz0qSMAZQ1Av1gN6dxBEy1nJUlm+3k+dX1bp05iidW1zzl9TLe63tYP3OBYuoff+zyVmQlixvyF8nPli4vq0SmjJlTvBiPSCtU6swF5wbinFPfAQdePn4umXQLC5c8Xd35V/ubbftwBCyT9EC7dNW4cluLsuLr1VoMmkvLINyeW0BJRmsj7xlwQRFybWqxYiKaGoMTsj4qYcGIQ/Lx4ZzVOdtVRygzXVqNpKaMyDmguHsqisl9Si5OKE7s6ayjVEq7k9TFIOhIoCCJa4jGrXm8CheMGBgm8YXNePBwZWtxSTOmDxfUW4LITdtVSayaK8KBsB1/fP8gt6EZgL1nzxPcPcb5N05AMq21OQs0Ba9ue5i+yPNQ9wnGYqMikw7HWkMHqhJ6LL8eCWBGdyqvw/nX6Db2tGO1VOuOQYmYrF1NgdFQRbdWwhGLuzNrUfCkQGbnLgTVotWgd5LeR0Jz8JbaABJ8HFFwyfNbVJpmNk1aZuSM2A/HEB4RpdLRcJazqHoXeGRzmTpBv3+ES2rRT8baE/z31wRMHzNYuM1ZzEBGWaXGsUKLjTzXGELgp6ZEUL0GdPY/z41kvEhnLmYBF4LMFJOwYH+5NnrAZM67rpGYsvGptJIY0DaSTPISLzJsRpxNzmY9neboWfp5IO648fuF86vH7QcgXnOIPXlYSOi1uyH3hDTej6QHrDAC8Q3ItgH4xWc8wLKuaOiK1hPekjO7XAMSO0mY8YBY/A2F1i9afyeB+zYbEWH3m9mthXrgUAI7+ptcGzcFTS4HxgVIptU+25C6G2gA/QESjd0RMy+d9RYbKNa+XX0mMMcvC40xXfJ9/9fI0XxZPNjvzXXBkMYODu3lPjZZlHJf/b4pD6ndkNZd+/cO3hckdzcG6h7drc6Xl9THNcbIO2BYmZ9EwyxE3fyV04g4UKahFqH3FGEwT7tQvVGVrlFPX3rYSSP3MkHILFyzbEhNAF5F1ageU6RFLqI+Ztmuwzt0vU9pzspAtdpoKccT/bjyiHuCdSNvP7IPcFG6nfNWtZjsLc/AcqBrrsY6pyCUYnEREGKxmWAR8aiyEyZ8FaZ0Kk9658RogEdBmIm4zyJyH0VonH1iJGjjVUUP/TZqOuzEtDoLU2QtajG8qPOPdDtUd4eEMWcQlMA0IENgXV4pWP5WNduPU4TVNQdcvNxbeATtC3HwdzaCAniGI8nnGHIkYuqAJDnhUErYctBjeaNWWhOI/YQuHM/IQBtdRQgYafqt8WA24baakO+x/0ebDUrFR1yjy7GEumbzUQiFLDdm66As8LWvlKkog/fhjiTkG4zsBT8ZSKYbYfN2FYzqX3Cs3LRZnv1EUptyDpulHSAN35AeaRTmBIQloN29a0tephW+HmYjZVV+b3vLjLWsD8BPPQ3mJ7q0c0KgQ8CaDBpL9+IRSH/dzdfZH3w57ga+6rC66DNYXjKmnHwa8gdo5GxpTQeZB72Yk57wkz7kpJeysUyszMZ1NiUw2kFV8xhedDO3AGDOKoFdNirvLvUBXFshtCqFeUgqED6h00eaZ1ewEsa9M3GqWVvojG6w/tubKq3R3YSpZd/1uz1yG4FNw4V0W97XJijw4wjvQzW2bgFz0n7RNmOq2/P6meAnHrrUs0Io9MoDTloBHhWNjZr6caPKI/8cKTR3f9oJ9GgpjVsKWfEzr78DS3VtJVxikhejA1y0NfAdEyRl4KaE3tJqhDO71Db14Dhh6unXPiMn8bbZvarf+MaRlVbU1JxV3LuxqDyBKNbQOtMOGCTcBKL3Z3Z1C+fYvy0mafYPzO9xiM8DmkEk8Pb+PoLc8TEGJrMwoOJaCP4sPNG7Cqbl52FXNWzSrggMbUVliyLcAv2d05syKe7fVlZkgTPbIZceRZBwS+gBU5yFoPdS6A4WmZ+YA/M11N4aoCFJnzgnfpCj1g+RIh1/G2CQrs41Xc9W6H/+9BudEYLoQ7/NSd3myBbYe6EUofeDTUiPWt2wcFvHeS7oKfzlZ11IyjEKlWIPf61JDI21gIvTJZZUzbCJk6hrkvszDlZTwG09d7ArbM0tco9bCfZTWVnWvFRFzIawwnUmE8K0LPXkhpLtpjWv3lXZgU+sMJ0D46AqsE2ZoEFW7zZNJJ4kktO+0NN6r1yo+YVAfHee7WO9qjIoOG8YUtM/3biYmQMKDKPbgI5ocGSLNzhnjUApFYsUUfJ6O/TZsGj83D2wFomprJPfkRYbZhwAUC7XwpJFBFQxDbJNVMIgDMHdGyd62OA9PlW9RHmBCu4IDxf4ml3CwFF4+tjUdT1ECzXT7AK5NM/ZRArtv0NsACpF482Z3O/LD5o+obgjEbt5hOK8ol0gRijhiIKzrk8d1IqfoctmOcVxsZP8Q1Amkvrb9xXByQM6UEOEZ11AR93kB/1lFI2x4V9ZnkbiAmrliMzDxmJgpDxT9Y02H8ZA0UgwoxaG1H61AMg63RkmRlsesnTJKYv+qIFzfFyvo3jn9YKW34YS2P6laSFIKpRBGrbpDaL4j8pLHD/VrQr3BCknSeHSve631zmlrnL1AuEr+yyCv4uV5wLElknPeGNOttZmN/zJ8QbwXLg7NaoYh+dufIj1CB2NV75oyUf4cZ+TQZ98qb6R5O1J5+6uOTU1g3KiQQqv9MHngjRSbFsGw5v/yqf5Kv8C4MPL+bYj7DFOrpBPm0s7UFhmShzIoHKa1D6PcPmMXMFDW5//U96ZphOo8M5kc+nN07tyzM2tUBKkclQm0eLZtxE7jGePYJcy4Cap30FXncbI6Q3Dd079XkacDw5M6T88Zxdx0hw4HwaqKCnS2Mrub742Hu7G9aZK1f8rvDo4YZs5A602UE+Od95iy9CLpkjXaBahr7H7/TG9RQV2hcUd3Gd427MWEvbpeZzCGlWeI/FHOBNq0yIR1LPzy7LgIIvSjIGkk7qgTQ5QT2/hlgvXkgtcDw0WhlewPTQ5xKp43d5iFlxRZ9OriDZ9k5GlI7FGB37Af2ESGFaZcD2IL/wMi0Cehs/FvpsonIjOAa9uieTqlqvRP9sX6Gn1Hr6hJdnO14pTAwHjz13f8zYE64mey0saOV8rvFGkqq3/TFM9vLGFCCrOCOQHYVgAWZ12ibiqDSflYOWgOdbCCDO1qxpOclLBAEfpfbYxxnDJZvzG1Qdte553YErjf8npY4T2nCgmVgU0ckGfFmXHXqHwYPX1DHuKB/p+QhgzuRrB++CATNIeQBtkk7jOUA0b83Ve8tfJ496cu2Sfkx8JfSIQmOsnXAE7lmUO81I0keXQi6FGQLj9ep6qcqxua1wyDk8zIQu5b6wDN3KfSRj8sFCSMyI3wUyutnHa6cIKiwhhq93KTB7/wg17jL2SBl2Gu/mvv6Ejis8zdyew7aV9MBT1EYWGKvklFS+SbILMTxp2b/O57ETL7HwFjA2wcP6R6KRSt8v9+vRRTWjhmvoRQjaGM1jK/gC3GR3ivAtvAJLAmtKvooMdXrohBMHYtc57E0/ra2VtnjoFXDLaqDo1Pn9YqZ8h/LdXfTu0DcGod6jlTFAQ3Z5NhTc5IVbKNte817BYWMBmJbSTmmeH/x6+ZTl+eXALtx0gTmiGWGLCIa3XAjt2tOIgdPstR3qktFJnNTJrUys1GlkrdAZIlHvr+bUecO0/Qc3yvnLasfPYuADTCDte5yPVaUbw+vcdNjeYh5MVofYwYO+KVpHSq6dr2zUWN8CzciFKL6SGjkET1SRr5UqzKVmPdlDZUj3q/8Z4SN/SjyPt7agpOiOaGQ4Fg2HV5d1OUgursDqJpFzLEGFvtvo7M576VI4IJosePLAiN2gzZw/eK3mKgeW47oTdDKVhkCphG0GF8yaqibwuvDvXfCbdEG2AxRmBSo7ObIbkjNijQUF5/uBDHXXGK9/z0px86TA4CRd0WDGUWKLx4mC5NxXUirKtX0ZhmtYJu8otGnuvgpv1jt2C4rwVYo6b14IPIGv+1yS9B8ccKGWYVk2uAfpeLybjhgl3tLeIpBXq8gz1TD9Upp3i8BvUyJbJHMJrcTC8oxkad3L0x5JBsVWZm/0r/RuGV8DWkdzH+G96SkvFBW5ad0XM4xGvbbcfHuXkG0aBI/lWMCjP52UbcofMHbrJ8d1Dp+0vic3c5t546M5sbF1m2VWfVup2wH0MRUZn+lqgLxLX0Bo1F0QCYscwY4B/8CGTTcnScnL9vnYYRIckMy5Jxkl7vEXFOLii4kj04I4qx7VtTr0oiS06IWGVR37goHW1qj9Hx2D4wJJQaEDhLJ6S5l+9ftz8mZNgSBObIgKCSDqPMJwJ0RpkdU319Wf7biSNhzBKMbUxaA0+0DFF2XeD2fmmDk8ughfOWYwUxZiRoA3WGiI5GqFFLV6YzfYnZVrT3UkT5Py7fF7IxRKug7l9ENDmttYMNIVCSRGPY8XJ8f0iFEjHU+7QOqNgHbtEcuCHTTo75um7hZaBnCJ4MLhtjcz5Bx77myjYmPtV8Rntal61T250vz2z9CC6Zmuthw1yMdfiokeT2U8CNEndYYn5ioVNP/SKPbggz+NDZmch7dOWjMw4B+auKWsc8+uT5RrPF0RYSx9uyr3QeLJtS+R/V/9YrxaAPN9G/FhvAx+PmUazebBu530KRbOF7JRZ+DxLQ7n/3KIaE0gUBR1PhonESzGVK5Pi1JMt5d30iBNiN8Xp13XX4oBzQ+bDAZL3ngs6SApyCQZ7XNP+zeYQUTF0WLVNIG3NVSP+G3MDn67mK7lfyA1lI0GrASG/u5gmBRqF1S/l5KsTQfTTklweKijBSzqzmfJJ5ddcIj+XSSY1bfyUBpFxMsjE1e+EFhCG+mCOwf0haDXuQvevUoc6FRWUa1X4cW/YMExSCdp2hROnh7powbD6Js6YOzpcFNHkhHIMegTqa5HSFdpbVJef2B/lCh1WVtFFKi1MYyY+MUrwNrIAmRm+vLav2domKVbWc+6q0+jYtaa7LdQ+zEhUOiAUwG9M3qp51b6oMbUqM3v+ly7wE4j7eCaVbiLt+ZBUWlQYNemjiX4ECNpyLsmAOTOub00Bn0MAWAhf7uhmZ1AvOUxad+mHdWxrWIQAfbL2Ek0L4TD5Jzxu4jronZhhn9RAdUCAvsMpfs3UYrhyaeOprgOIrI4ZP1560k9auDBZCYC0x8M5hR2Cn4feP59hx6rtA19m2FgMwVcEX9Qs3CAiQPYIKVLc0wwcv0Ia0/iZADsx8vEV+9d860gA9M6En/ZuBLiV58Gmv8yPbLKuclMjhJqcNV8ATGDlZmp9h14RwIUWBBYPjzhv8kPhkGgmQF/CaX8Z3T3/PwMPv5UgRnSPIeHvV3szxSRxdjeiC/nZrMKD/qiq472LYH6ZqGg/AoRibjCkItE1np5kREFfrLRilpXTa5e1W3jUJ6n9kXOwO+3hp7w6V3zdTznuxq3zWayzamgHIOIFhJHKbR8PaRJA/VyH5+NCYFyd1sHRnYTevuviXK0QplXfJKGT/VRftIAN8CKNXy1+mb8Bc1gYI48DfP1I93L6/wYFCzgkh7Oz8e7WGvO0bocV/QZUY+bX5xtt359Ry7sPegdNPQw5aZXRQbLu/an5OM9WEOhc5bU2XqFf2XrnSu3rNNUN1ASEiAnNpJ+49HMZSbShHjh5lPYcIXWQnHHow86ovpj/93zLgDOSriPVM4GLliC4NBklg4KuS7H/Y5vq0NhvlV8T8/K5Ml4X+wCkoY9eqiT3skjyO6jaBKQe5DcFFK185nSA5jv0ARv3tOIkyE9TQofp5kWtZs/IyIOOqePeGMiYcTdO65U/nh9afp+qthlEjQz3f7qUzASsNfYb964yugl3G5ezENTlBNsm0XeVXD+m4JRCxlvhPCIXtUNzS7ukt6nSzXK8yOSI9eMT6kjE5jTZhVu8MQ2NycAB6HCgX6SHd6ywYY3rSm03gxKV8YNJOoHeoFj76l3CtKLpZmmtkPlFR5F2yZgdFLsADiNFXL8ciWS4Pd3Ov5KmvrDAiPYzNKtex0wkeEV4CbwK7bhDekrVrdpkDoDxzUQYgfIwdziEfMWWDwbiSkvQfQSIKF3yRWDRXL2Sr0ksr+f7uWe/AA1iKYt41RuuBnYbcmBDyd3D0LUv6nlD5SZPsiDT+1DnDsV7ZRV5cgPqhKJsYbpb0PJVSCClpaZ3lTV8j4qMrzsSKX2RmGDeP/A3guNl4NgeFmHZ8xiVEpvdZ2HtJfnpCn0fiskMJkxytfPp5ImE1gxiemCr/vHRCrrwBxPlz5/4jJtw4it+KFhLC6CpMoBDsxmE3XMMfEGd+Va7lC8eb7A0kAcaiQ+hR0sWhuA4wgJm5GKRZ+nvouKDwsGm5QgTBSUhiW7ZNk4n5FM93riQyUZxUr4I04rL7U/r8BScun0Ix5xM8LiX1Z2uaFyPxPUb2XrOVjz2KtV1pMN1bycZ06F6eAXF7+usH7noQrdi17muf0ZzcsquS3/vOKypQPXmFc28vVLVdW+1AgFPkmAoAQrd37pXyIzARABSVgGQG3YsEPV2m9vLvnDBRnZP0ny0ZGwNcy7DhRVkOr+KT9raQhxZ9w6QN/VZ+kpuZRkGl0Ohp2zQrfdu5fNm/7TvMoe9PjcriwuKUoCOYcOQ6e/p0xh6tS2aMsi/XWt4bxFSlnzKZ4l5C2Lk7kZlvgP5O6YaLCzL1loyXYaNvov+iSD0RnE2t4E91+oG+MqXcEuzZkjA+sBhgEAYWdacVI0BFjRNMu6Uxv+Xn3nKsX/CR1PkVo46qWoTxje2LimZDXW9Pfo+emKs7PgTfEqqHLd5tGvP6yfo9aj/ZdevCnaWqlQBlXtyM0Ou8e/HJvlso7AdG8N6IXfwQWRiscOBo3j4gDuuVP7qXxnroCRlkCEE7HyJq2GWGGBEndb6xCZy+4WOsh4plqwowgCR4swSk7jl4/Z28cewd9XTlwpzA8juom2kVwbbrXEC0ND840/h10YbSo0wpgXZc6w2LNNV3evXtQpn0vzTyIqPBaiQfTDbvzyF14e0jFUCuKiOmcU9j8pZ66JaNrYYsIzfSCCJjpum4/Wst4WRVGjEDoGE/0yYQ5DKI0JoHxJ1CWR7QfFsKFRejsAQTtgc6iN/K3jJOE/mukg8PPbVHlv2Ix1LyS8zN4cMUDOJH5BoHGBslo0rx1ipGzlT55JfYZ/qy1RU3fOC20Fr3Shq/crc8+f01yFIDON9Oncg0XNKmBUj7sUxeFxhTURoZEYnoQ2VpOYGVybUHraBTkMgeGvi+YNdZPtJ7/Tt1zMScgSxP6ZoK+dRDbIoe0b2p98EIQ3pFl/yLEfzPttv2n8AO5bMVkZcycj5Li8IcI/BvCp7U4aLI7CYb4IhBCDpviHBraDIRIH1SQGbRxnEa63oTGWGG8bJWCQ4wkQL2KSx7hWwXhtbzw4nv6SogpILnmTqnnkMtInI6ymrW4VyNtNmkkSW4prWXp+eBS4tjAF6uULKabowQC4XYom1NS7TbgilreLJiNBDE/6QZ7hA0heLSAizu+2tG8zdmJ/gLIY4ssQVvciWxShI0KngQr5yn6Y2q9jxIzi1lAa+z8noAPFJ9ptBcWSs6oHOTJ7etPU+wX0peJoEbVnFKo6+Nv4amSBJGKa/dOQXvbk9cXLmOCu//vqz7J9ciT4GvKa7K8t3YjoQK/qS51RghGXrtUEAG652MHwbL8Wn3jXvQkLnuuLpoCtYTe3uHu7cSyi7sB2Z+cDvODXJUIu4WGuePjExKMbv/Z0y5nsUCa1ynQF7s3Dfeo8W+ibTCfq1S0Zq6pLd1uuK9G8m94t/u8FMkBkizHU0sZpJQs7Qsf2JUfQ/JmhGR8y8o3HgwUVLutc/8F71DSngg0KOv860TOglrhGeF4sh/+d4ollKlyewaep5vM6gUrA4gNxOIq+eWKf47QeMiK6F0wQPmnHOGUkRMMW9lKO9L+riTrM2D+jjA6vNR4GX9Xd7HPobhxi0ykiEd5bQWNj5tsjR5px+PtCZjM5YjYOxCfKxPFt+DwXJusUx7gwFXv0HElwXbvEEhUZiMv9CDP5PTdPNZ9epKtMLX7Zbjhd5eFeMv/z5IWENJBs9gd8OK2kImcFf/KXTvrqJsxHUDCfEkHOk1eMUxXW8h787Fp6ZrJM9l8rXPwqg0mlkDp2c8L3xLzXISmFjkdqoXHBJjQxICNKQE4/bFFnOJjXEKyXAxVTGfEevSQnDiWu6P+XxaPmTJq3LDFoUKvx7k3pKFUp1Ef5lPpHoZNLeT3uBeKmb0fw5B4T2fECNK5Aj301wfC+o6WoYDGKDciGgcLREcfWef1u3dU8qNtbLirJTTuNxLyhviemLSAui5VDXz/633nXymgztErd/Zpf4pQToRMgALV7mWGuDM0mBUhF/UCGZhLQZpPuorybZ93ZaZd8ol4Wytdj17unsXF2M+pBb0u733ust34jUB43829v3Ea5EkMWiTetxemMOddMJc2FSV7j9E9P1EP7jAgcLMxTQRhFBv1SNMyUzGdPV4rYdxkTs0RHryAacb1fU0nDYvO/xp3U04ApB8/DjiPs80NZBq9WPjlS3KehV9AFBYe0Y0FNevAyxfIbTUyCV2njhJfdHu8tgc/aUKGSvSpMMq6e/4O3TbOltV89WqqksnMVS+KjjS8YNRE1FCoGMRmYDciCmJPdapi3RJjsFChlrnVYgkBBE/hELYtlRHwHySunA4+Y2U/Y4Yg+A4kt7cdtfyy4Tldlhl8FQGFWPhCsqLNjSz9dU2heBpEAYX2WbBXXGmSpA7/h15QJqiNk2J8Tlks+/AaSz6GdRq0SMuunJMjW5cUwOQ/EwyUH469rFi2wgRCWDe72efM1VS3z5/hicadyBWLoSRfoOQcEDWpf89kVCsF1qgYbZLy406ShO0V5TP1yO6ansa4wax2wDscvuHxsNRZ21GSYsjLMocoaNZ/T1tCHX/b5OdiVf6S5VSm0lU4IwgLQI4dmptbxml4nc4nID6xVj1ho6wmNPcOx7wqRJXE8tFsY3KEKn9P8d1DYIqOhC73qfmOUC7uCdERLeb9RJ5TRyRdHHjx2mnlKLevK5WZwM6rozqCwlPaqzZmxWBzN4o6aSdhOWk4QN0VLuTic6lgqJHDr4gP2MdEcIWYHPlsk76uXOiPtGdB+AwEsH3nqicIQ7zppNaS7H7bQKg93WNhlBvaKVtIGIcNCXlHVgryIqeC4XXE/Yz2naRLPip44beE63EnVIUuf75eqmlONrZDyZqKJa1rRrq3SlW1XMiHpnWxQac8yUJOp3iok4pWEJwWwUP7JgRHhqzSZyFaSKEYY9pF8bKhhLoiEQ0CrhkDrO5fi63AXiCsOWGfhqq3Iam2YznOcOYk138DvIm3T9fCmomxwycFxeWgq5HQTAYwWZ9+OdltP/xIGrlog8eVFTC2ISCPJVi5YxvodRxZL+M7TG3Hbklk2IPWT0ToeUsQOocHyC8Oj343pdGsWW8yFhSqFh+CeHgxJbDbTBrzZIJ7Z/uiW0uNkwd8qgvqOxx4vxR2R2WpafLUWJ2J5lOyCTjjDEwhYw+CR3dqU2a5UOcfea+6WP5ql5yDC3sfkm/i2hirq283bFJlu7YdthZ71+q5kJB1IZvFXWN/7CuN8IITKV2a5wT6xxpTj781F4wkQ3okbJgN4QrvCY8S52dnZEqaeVil5OB0cMs5nNxi5zIboCENcbRbOmXS6fKjpL55xwwkssqq3fmI90kdkoSB/hyuaZ+2j+VjkfxIOyHrf7l0J5LIvXGgtGqS64iieySUI8NAX5Z53BJhdAWoMVuUnIH4LSIHLSpN2zXT15CeXMelvC9sw4g6ASPpduUJ3AneSbAWFGA6LDCszRCi5oA8GY6NwgD7cpw42BR/f+aIs53ik5B0GQN1KHu88J+HHp1UoDmqDcTACyN9xbqFLeFWf8503QbkAbQAL4WUiFpGQ9frAyjWCznh5fldpDFi4OGB/mWExHG7Sk3YJKyGYMuzvmQtnfOeJoZT1x8DL4N6j4Bldep4lxcX9djUosH2MP4a5COUoLe01WWSh5PSnzNUNQAfUQykmKp9s+FPAXFnGq3SJ/nB0Bf/cikzJV7yyb0RcJEbqF9i6EyhzaRTbuvSqVBicTgv86KwLI/jylEvq5/+8K41FwysUshuwjCiFhnXfYHmdywDUHzPuH4ApPo1t3GP/soHLk/WYaGaFsR4ZzxJi1XF8xUbgaaCReHom7k0+pY+CW1NHzA4eBJUZUKmQ8JPov0/lst3dtGPDCmSVNTo6pDr6/j1YRaHn96pubA/EIB3ij45EckH1/ZR5s/AzIGCahiQPwUY8Hyno54wjXJMNKk23l5OsvHJULmjHPyeW1GVME74r0APrEq/Zc4IwiX3yARrqJC71Tuvill1HWmxuLqTx9DgihRXehi2R0oDTbO3E9Du1at5SJqoZ8JGMZ8Q9sW3fbEAwDLgk1zjGYK+NMG3avScG5gmJd02D0KLfB1gcME5cRCDei245OL9Qo9Vi8G3aljNHRAn3691PVWwBJ6/bN2+aIfa2Zs0OKYe1MaN6F5vmSkolCypPo5LgqQ2V/Ze3oI8a4YXosBX65GXADYkWgagfWTdd/ontHyrRH2YeHJYsjDxW610lv1W9Wfugu3tgkEJJkgjeg61SWot3NKArM4+RDqM2hoUL4stNKYa7FlT/wjbTA2bIfzjuviVZPBsdN5tFlICiM/5fj13SYxZIoEuh5vAX0cW58mcEz4NOkq/KxBNGak+2d214EvxfCfiPIDDvA5+g1tOv9v+PpcxqXisFWcJYsxlmuHiNdC4XAaSTUccSIqMhtACpodjDvyuVmBI/SzLKIEoexObl8QISF6Pwma88EY2Qsbu7sefVLUzuShT/a82EywqwyvWKDjFTncJylqC6sfwHj6fhvQ3zW28LhKE3J5z5qOCH84oLbCdRzX6jxkoJdWUpI57iQWiQf0xAgCAG8AWD7dT5bQtTukksSBG/5DUR8Sw0abqc5NYD1OYYb5Gn323nQKTOIL1kdifd5z+0O/yIO00sNrDSsuLSM2o9IOgHgj1jU1fS1H2UM4zPdG/3bhFFMZGz9vZokOmFlT+kyow6njAy56zVkyudGZeRO0bDct6f2PGpcZ/5KC0P6dzkNq4BP2SDwpiVn04bRED5rwVUEE8bLMe5ioz0cekYKyUUcrcZ8Mb7/L5i4MYHDWslkMutfqvUIMdJu3ZiC1TRygjFuXacFg2eRYPwzxJmbqAzQ5/YxBMxJEt2u4s63fP7uZD2G3GLqlC7mdT+es/8zI+C+ICThylfN0Qdl65AliHcXBPIgvkGZOMgf7qbWHghyRwPu+yJVapFwT7F2zSmDMAVHyEWSRo8JGIwkkUnRx715s4yHZ2gzQbXlwSzWiB6xl8BpvCLfCfEOhiZJojpaDllKiNqKbGswuK7csCqOH77BJVBVKnt05Bzj83DM4aLWOhQ0cEWtlgVsaXAacEtl/57DplJ66Pcg6o+OGRMu7oZfwRwsEFJRRhcyYbHFogr7z7IExwnSh8eRgGDSnTkRxTIDeKsdoeY9tStIbuQG2oxAR/mrYLrQRm/g0OL0wrCZUI2QSn+FqN6VhuEsXs5gq96y3q3ELxUtCVbpnoU85+Vlz+iwz9Ji9LrIDNwuojnlLnxGGXFZxFQrrX/QQgLgs0gBdejwkXCt63Ih+KbY7leI3k6LQzG+iWLzHGj94Dlo6FtvC3f7OIsZ4j49ZEpr8qJHcq0RhLSxsUQOvaP8VOrMp9GYbQMAMyIOPyYEIymlyAQIQFlR0ILHP44f7WUK2WxnQ7cGdx0p07Ol3zxuVEi9yxJ698p+kTMzvyRWE2DWEr5DqghkaawclNVGBbi0MLzXcgpUEZuJmAenbbrM2mgCoUZXnKb9dqNJkzfOLgxkmpglK0hIsDTc9xfXoUqNqkRaMUnSdqN1UTtZikF8dKBwRzLkb/VPY8z8lZ7nmI0DqgjfgExdfhWFJm7r2/wWNfIoQuwZAqiJ0sON4phTk9VA/0Yw4sikl9Z0ObkCbk5eRpKa/zyncLjV2S0wm/u82jFb4iqf3n+w0pI7IkScyzbqtHliBqYixbEtGgPltf/SSvQrr84r+vpcK4vhxsCnlOwGuV6DcNoBk5ZS7QPPSKf9WqwokQ2+0WzI1NjztBsPmq7cPT1aOGQSxG03VDeFlH4L8PMlyiez7gkeljldseDUgf6AiWx4AvltiR7NuLkyVIJDObE44avH+NobVgXGzBeiTq7JXzirEHTTfrGnLEOmG1bMLnohBWDaaRaeLnrMKSOhQ8FUY3SxulrQKtRSgq7OrFo0bbl3eEiALKxOo6uEddGDytQ5sJa+U1VsMlZnHJcgKVaKPOdKWZZZYM4FfgxhEx/W4fNKsJa6KnauN2rZ8pCyzsMcJMqte6oiY10Y3WJQ1nzg7NHQyQeXEveqqojpVrQ+4KefkX2WzkoUcIx39jozuVSZK09uwVvCsSQQlHYwebJe1e/yWFkDGn1AgUUm6h21tZ5iMMTxSXrUEKJl79gp6yeL/75PkMuLLgpE8whtXzTJ7fmLW1mAcS3PMQlFnN65KVjutGCCgjqItg0rv8JxzCsGkp15QTHLcj3xi1HQO1TXWnwvb9bvJM247BHGxn0myWFS0Ag6ziRVc2GASz19YR6l6/XvP07sT9UQ4ZQLskd3ZKG6JwZd5gWB8iqHoNonkHneZTejkWTmBAXfN//qyt+xlUamWjZbEOkCYXGUrt/PbtQFWlWtvr921xSIIXBjuzsDqKnzqbL3BhY/ZJwG/3rP0upp01D45CnQN5tDgq1jScnnssI5pzidGzHNcKj5j/8R5JPN1sQqvjmGCM4hxzuqq/KflO5aPyTjLsBdVpJGPldjUzsOs1nXbmMIB+XaZKdTq4h4ucQO6YBHg5gaPxzv6IR1MF3p+sM/t7tW4X2pkAIJMqlWW8CPgxSgfntAfPkb4mBvSP4G40Mt0NspHA2CIAm2Qxv3ufXC33Y1sh8sGhSuKfQV+q0WrBXBQxvrOfHHtJ69mvxivlR55fFXMAVRP3+YlbBKqrBhasrxy+l4tsYrUUkXSKmq9Qt3VP2bfQHWLmJPPhW7aBFzcjFUaNSXIpIF1VPN4bWyIWG14L3KoQoDM2nDql0IUjYvWvHd6TsOlN+Q4Ydx7ZVxbeAFH+S+lJxm7WzTQDYnQl4xkhkNIVJfk6q0Vgb6KOUf5N/UWSe34J5DweFMuLL/ma7zniDEboQL/osQOT0YADN07V09qDCqH7I5/y5Tj4gn2iuMDJSbAtcVkYcJyGdZw97HAxgsHh52MN2J9CDFB2efdz2cridADW6jkowqjEbIGwQ0BPQzI0CLJPVpyvKETiO/n6DyxoFoGrHmrVJrxJwv6J6oqZOBVfC3gBSYq4FlD1eCQjXpizuR0ZmVqtSdhXODm0dMT2tzHbGl0VYX+VzmWbXp1E8nZKyEen55Drtob/gONX4+Cs5W6/wxSJkmbd8DlmF1FiSX0y7nExUPN8hxKSqcQ8ql9ZoPehNdV3avu7kCr6VdE2qaMQPOeSZ7wvDBN32z8wd0BuQm3iruOCL8sNzPes3nYluAi0TyBIOEoRzMTIhvRn66Of4NUGH3rJJOTbdbv/H1uU3E0rY1qbH5m/pM4sKpdOFs53xdq29BJZJZSZ5IILAtyPsEJsJtG2jZEdS2/2cccZqhZzXTaSpBzM8CrWa4WR4jSNG5Wv6jvhPZaxmhckR+K5t+oeUFs7MjD8h9DRtO8mx/z44saUwWS6UL60iUOzGzLvsxvcE8J73jfo4b3yXdNgTC6pFzc+R+xfsvGOksXZ34qUYfunXph0VOczn22GgSyunGq2bUzR39IgffKFV3rpKQoFPhJxLVJVMOE5rDOYMEapOYlZGrfO/UUzIMEV4d1g0hhWxAYqwIyqViq3RfJEN2CkrEaMcv0DqbWb3RCbBMnhEqlWW0D9Ql+EXjA4ynWU43gBIlvnCPnQEyMY/AYfFAPeJF8MfuGZDmxngFfd39U/Ej/K2HP+A0z23jXMjnPKFP4MSLNH6CMmDBXSqVqukxOWsxc+n/4bipqBjW884mQglhteF84cTyQx2+uOaL0gljT20ivZFla09U9BWvoVSaE4xDMUWW/z7h2hVgrOMp/MQ/0nk+dQc7dEbGV7AwBNLos59Y0EsIu1SUSM5si8r6CBGl0vD5IZoaq6qEK/EVO4TkJVAsjwbUDMT+0pl4O7luDc2VvoT+y4BEFbUBPNxSD0fsR/OzAbArlSTz8V3QY7O7r60GJhLvxDcUKUgdp34HxqH+SRDFPChfYBl5qujSBbFfUGGPIbmsS1uB4Xgp0/lF8uLpQnEfWILDGxBGTckn5Twt1P6QVmF2VBKeOEBvB69Xu7s2C1QfycqGv8dBg74E8+MzTZIUEy3zF+9bwRNCYK6CaLBiGJWpTihs8rwDROpITdXOMzYcN6Sgs7ZS+sNsm3ViHZ2q6BgyjqOAUe2mJwHSDiBas2+LxWdLri0MXPauLFaWroLlkTapBZ6+JF/EVHGbSe5BOeyMT/DfOS47jYISr/1LOI4uaA4+m/yliLKgm1FDs/3LoNC8xmHnPxvilUUTKXc/A6jkaYFAgvPS+M5Kc9D74n3dwcWJZKtudZnYdjH5W3GPi2nTHPIL7iQ6jBiRmtWFj6rZo1SbDjImAtWN7VrXQYtYWrxdja8eHtkuFfRlfK/GxeClWPLPc5h2iNU+j803rIcJWPJoaOt3CnQulViZQKUZjJ+twZNfZ2VSCynM5Gv2AjnYEfNqm3UqPkAViO5qOzADokWMS9r7FTMQ7E8LCiC8XNwpOksuHPS+6qPlr/haAm1davktj5Axa1N1iCxCKEGKI8+bF4BVorjTd6rVBw7RUsgiMyBoGFeqTE0jIR3Al8IzFu/ng+CdQr9Y77MzXRMO6DLdkRu01S4GI9b1j1fO6lirOtKJMAU+lkXVIf0OSLj/axv0pi/qkcg4d5j3owKG5A9H53e6yxbif2rHxHzfgPGnP9cDVBAWjOkQAUYMadLpiJWTKhxhVA4mvJn7fRDz3mTdzxZur1eqnOM0ZY8kqt3xxB4eMxtVzxa+fSxlnYYYOXvB6MDXpgt00h9ZsjaQPc8cTxt44jZJwIDmzZKQ6bH5Dzete9zV6WRQe1yusNhTEoCBrRGQ2s78bgj+9zAmWm1Pah+mf1cV7N5b2aZn390JvzG5GdXMB+sD8I6Li/1ZLZkO2w6KRK5cPgpkEBC+2/MYuH7KqSUREza6PRPwQsgYxajp8B2RcZGoeBl9UME9Qjr8wuQQ2xUFXoy3yUTBlNwfQpcBYAY8tfAyJN1KqTPw+B66l5kR/U92WIQc8kNwhtVUE9Tz7rsWRs3SsVA01356WjGbekv1Wfp84/Y4bo2c4MuNVGqWPTzAMR7P4DqkJK/q6vc1pEn+GOjqxZNXCcKeZpQ5inIeMy1NXWKXLXerXLbx9DW2vkDXkqhM8OHqAhsMQmqB2mJrzzaVUcO7DWuji27xmATw3Be4s233nHfcsmp3FpoWWY3/YhISlPreLeojQUtEwjpomZaJjKcVM8suZBPYyZisdkhA4yYjZ1DnKHA61bBSy3hdgAVsj5BC8RJEBdQJ2ZpUO8uoj4n9gYox1t4xMsYmWwPMORpsl5q7cZGmfsP0CYAD64WQZlNBWqJbOp+ldnt7AAwk5J7Lg/azdUG4vY6K0IKKFhp2e71yIDp3b1o0eqtQAMjeYbES/xFP4Cvi2IiaoL0jHXc30q+oaHV/skQDvdswTyL4rOLto29AIOk5YJnKL0e0p5QY3iVjRspadM/NQYxVop3NX3aFU0ETUYZQEKIiTzwe7GcsVahW861fpMyggiYlWlLL407gkKFmIi4fEIJgsPt+DgvIIrReCHkykC8Z66jdJYMBMCVbuzVyMcZNDX3VIIpzucoUUC3bFUC2HbT3+YoVoWKG7sz8VAgwIOs47juDskYVwD/7skqdwohTLEuaaYu6Ad47UFdnXxUaDqf/Tuh2EzMxNYt2EoJRLfvZkC8aFqpW0S2VMYtzpWGO28pnjKqNUWJzZlVCe+AMj501Kf98e438E/WhErOu7tCidUaQOBXDAEKJz5UCufmxAP+7ag9bYb+bNaQ1/ivBvlpA+2wrXJXhojUXpBc8mozyDa+tSSlg0HHYm5AgL1QxrX0mnD7dTs4oxBVY/GFOX1WZ3ZVGDm2/zMSDPQr3IxL9MvXV941wR5s+nvFdISnhP1Hd+8n1rnsESri5yWH1UjL+DCiKUxZz9nDYq4r0EjpffymK7CPImAeCR/h0jf77v1+g0lMYStmvl0rXrtxAu/LG7Baev38tcAu19yaN2kgweMtIRhooHo8UVQvsm/zTX/I1mILY6UbffDfbtgkXHZHoNgnoj0G8hr/bZlXhEhsUmYiYVbtKIR3v0o2E2KAnFne3B+NqgIHT/U34c3HZeABy80ep1EFhiIfMCmiOFMUJ5dcjBtzCEEIOgr0IqERFT9qer8krJDTZprQEHORGucVK/RRFbayJIlAMuIVIZQ/1mkuR1zNsPMjRI1HJFxx7Qg8J4E750oIDS6zoC4N0WaCsXLbxwf83nStOWncAd05MbfluaHTp6N2uL5bMET2kgm/aHHXNAVkOCcfZiRMavOxAW8KJnnr2Hy/bx/RsyXFk9Gre6LSXeF/doX7W21bSd33r3qT7dNF3v4XwaN92TAoBWi9iCpC4qj2MG2YCY90itO0ToepESMog6Y0990H7WiYjZhUjKjhKBA7AjKDbT/Q28McGfGGZArXQfli3/ivYt5zaKIgzyf+KKieTfxxcvcCCzLPVmFuqeOC4EcYhjoBqgk5UgzJMuWJKk46I6E8oALpBwBCQWjRmtfo0PKbnQFLvV6r/OZE6TWfbuv5f4R8wWSOBekdXpDFwrOXEDNq2YfWiQBqS7HD/ux4SCMAZc1W+ZuK6yt+Z/G0udM4ju3Y8mNl1bFZqUw7hHZ1R/WsE+R0j+P4oX7L4akkSL1bB3lF821lfTmdpRfzfqU2l75PmZesVL3TJ5g53TQvCjAUoOw3edAUzPO6NQBhA2vej70H4i9dLUtcrwERFHGMe+qIG1c+YL8cuXkOdufpc9Sg0aKggbAQpp+lzNC5CM6bng2kRV60+VQ/rXfy0lKuSk1FRAigKqnjQe9N9eZZPBoEJuzPmfuel/aVx3ypsfBF/gLwzexa6HCZtijprmuKN+gRgXox4KemM5OQufQHpPviQ5eUF6EllJHpyBOK3Tm6rTUUKSjq/QAev4HAXHrzGeqSQArARV+lytY053mgrz/AQdpwNxIDuxlQ+BWp57MFxbX9CGDPa8+KwT6NEr+dm9mORjcQw4xjRNlB3NW+Ogq23SmaT3l18iXdYpUYZx0m7RUrePUPhMIhgIPNrMWhf6eq/DXIDnOF1unC+Xt2w85hyp99Ll5qlKuXlZDAESdBidTpm8tYCflM0pMc4/gM1yRn0mmugn507c3B2cfZ9nKDh8QGbyiPkyZ7pIwBGk4ERMsJnhuMv9ncv2B/uV2gGCocucd96DiX/Ejyql6/NYnm+Styl5wP2xrnDs/fjbQMRGPIz3bWqKDyJFikj8tRxlF6BbHb2J+8BHqpwy7q2UgS4PsxS2tB5xo7Kfgc2T+8H3Zk9o5DojQutn+BLL4iDA3/235rwCI+aeZUSmqe8LsDfQ4Yt0Vijx55oyIa9BWq7Z5XQI29BSQH3G2O76x0yXUlz8d5IYnCUbYP7qfs0sps3L4s7E2p7b0lIkjP0JdnWMMSXQDvPhJVSdeB1pRB4C7DQkF8VwRmTFDXw3xVAdaTCnVeZEW7vuUF8BJzWgoS+AZJ/oeaWhtc89eEXRs/zN2aw7uhRgtfB9lKCgRnaCqB1TXpoaGt/eMdCB2DlVtHtHXGu6FIQzTv/bLvoQHLJig+vhdaLoEUTHodtCiAZcgUvhgQNR93EIj8gKyJXKsleFNo1uUxNfM6H51wTcAbiRQIXhAMM/96brsYkbHJKkzqWxNvJuULnbKMfwHKwFsvPMjhC9FUzf49mqjYMqycKOyHNSUUBN0mu0qyeZ3ev6pOt84CV3fgNvVMYJtk5DM4HGr3nQ2WzPWg+o/nK5Cz0GraQ1BUpC1JZlOVJtghaFVLlfZHB7mjwT+jYVnYAAb4raVXk7x3VOU6imCNUqI7ZRBIheCQkqDbizTqRkjyBTgSrGxYhnRE3GMKpoZkd/OEvgFSGN8pAaVt6/XiZA1mpBBHIx9M1T/Rkx7AIBn7GUF+E5iVc04N5rrBP+VvUtTc8pXA2iplnbcdRDIvPx4wUebYUhZBoasDDN4TXVMb15dMZu8lG+/+kFRiugdinv6m9On6gLvTqAx+XES9gXAlvhLvdeo0AgyT2ztQ1mUWWSMVVAIMfzzLegqNkRU4YozVoKWjPCKHlAJjtKCerLt2UiwZwFSHqVpHfY0QtUUYVnDl6AChOv22CnwK2vXUqlc3ypuYAQTvyNosI9Lc85IxZioxw96q3EBwoSccsfqQLKXYrlKEN8oq9VjZ4LEgxXAsq3Tn49a94MRACrtlODBSTZlKRapt+EuWcNJn+n2LHOmLSPmhDE4aUmfl6JJnYtQw+imx8vxMpPKZvKx5QIDnX9Fjlu11dt+BDdsm4NbXP7M5EIkPXZrtqPZQesSEybQC840k6uKZVNsf2pWJVXWEvQzzaVo6GVk4+3E0gkyPfVu0Gwt2i9WuRURhCQy6jz1TK+ugoHIvCRjHh3+ZupZ46UaCbKbretfRu5IDIoxnNY1lGCvfbculzAM+BU8FmR+EQLgppnpcRDRqsqxzGHvv6gI2FYBAyIosE8cJMJwpBERwu/FDQMolTqAck0GXwolSwjYBqVoHrR8AmO9Tl7QqalkhzZxta4zVJuyrnmBvrwoXkm5ryWurTVyU4RT5mrPiBcgGyiWe/zeIolzRoq57Ldz+Dz0aNZT/hwbxtKCmmVe7GGQwxYj7A4Q5TRQ4tzb2c5C6Qkb7UL06R7bTBErwT66pArEQpDd8Vb9ekkFI7ghr6bPQ+qBreOaDhaNrD1hccuAITVHfgkLV+CiAmqbGY9RfPvNtMfwwR2oop31+DJSdtgyjgVYbYuZ7w5GA7fPXTJqTg2Ycxs2HpL8u49owcvPEfOLj6OQxLIgbgVJ8ql+31YmS5j5WpGLk1K5a7BhsES0FnEywNwd42s6OCJLpmO3VpGsuA3drMe1kh1MQZUktMy7+14o5xyf56IrEiit11HexT2fPNaBkY21rcEzp2QLj42tyYZG1+V5ABlJFcHBhZKswqlfd1bSpUnhh/XhjmqXx3D1JZ/ofZFr7t3U2dsQmh5HVycutBrqwVoxImpc4nlCYpOsTphvB4033r7538MqvpXOo7wwNW4CPW081Mz/adHl5CPNo9s9kP+1OxxZkUescf8sLee4fKQb/usCSVWB/mY9OmJG31xzg+RlsvAzuttBeaPTqJqvACNNC+XYyXO+uMSGYdY0KhIEFiHMM2HiDLu9N3kUfZ3+ESLuko3uvAW38gMJdUAlSlH/0YdtWLsiRYBs7xdUIlsSxkYaoM4SwwH3L5SR/5GBfIumZ8vLFyP2QD9CE5rVKVHLurUfK/IdGhnEyUh6rMVvm36evL/f9b0Bwhadxtjg4aLRuld18g7oMQYMMoK6J/6GuNvYCIDxiUd9zjRsDcJa/A0F6w1CCBYeYsWb2kqGjLK4i3SU5/WJbh6q3XXFwCqwGhMU4/tSgo9vYqmdaRVOuQL+XtRC16UOpWrSCeoqbpcvHJ+SLH1WkdwxIie9oX8Ptu1VUk2pCUkFSbbu028cFgznbseopY/d7wSei5UOk+mLNiidpuc+ulmOCHdd6sT5wDr3Vjsc6SdRL7z9qsWEif4hTe0Pxj37EE0alhAvJgz64zkqZIgTMsobNKsJUll7b9Wc/av9REDEccUPTZSRPIFotbuRqSdZfnH5Fk/yH+Xc3x0Ge2DgUQPpAPWlbG/wlUDr+RiEc4iNikFuDIAT3jNQ8a/Se8NbMJewPa+1PlsUDLyauls7baY2K1bbravUr/mCCbyAvkTGK3/XGkz+ihsaLdiO/Uxz5yRnWwrspNRLSvg+d7a6eUEjM+JZEImXGzcBpxCJPN4nBv/jSso1f954NL03CwEVVpg08niP+5zQI8uaJykhYi7lKWIK/pwXIaubxpJdddBzdL6hljXp5/Vn3KtMkaf0mPsk0Q7zfRYD4mWMFw0GokF1Qf6bxIGErAwNyJAEVNvPTNtFKWxXKgHFkWvpdPXLmp6Adcsmb0HfjG/SDgKUtWkD91RyqeooEHcTOdMXSR10ep6iYbuLXAJjHPPpyj+zQD/+p0eorkM5r0B8foNLxH2h5X9Ilv53GwDPfOIt9hK6IhYpsOoBBVoenuU+x+Y7v84VjAF0XveY4VQimKrz2nFr76uVLLGPvERJPb7jsAcDO6+6X5trcBaOA+4/m4RTtWqxYEVBqKbW0PNvqxsd2/DE3g+B2wEoFMj1m53vBaQiLhHczvr1pZGoAibQoX7tQaLxpDShNYrlmuiNJxYl0YSwjfNnRdlRaru8cXNgrV33J2WrY/LshiXlkpovPfnnH1rSLrPiUiRVvWpRSgWKRto5EeEGJh0MHQXyJl6Jtxuyt9P7l5b2eX58Qcc+g5/ghA4kDm7KI53hHj2Mu0egfBxa61bTLCe8eB6nNTE+feyzBdvntWCqlHfcu31P4VX4UM8eHf8pfaHVgyhAa0Ek30KvRUvU4l3ao69wAT3B9gxrB99KvfIEpYQAs/l4ZideFNPzNBybht/7iVuHdTht+rCOxyE8oKBBVZxeflWkqpQJUR41CPtLCxHS0IR2WPup0Xwpvs/reU0PvI70u9SCl45joEof7fz/q/vVi+GFMutqwA0svQL24PwF5jgHWCOzXA4ufgHr2LYvNX23F/0sERWWx2r1OZ5/Gx+1RfIiA2rsnWftoPMl0Yr3ydKQWc3Nr+Zdc1zMP4cz7WHPlyQBHbffyOy4/kBACpIva9MJ6tP7pxD4SFXVfFxFdP5rFlX9Ze0Uw8IUPgIWca79TxUCaFz7bwb4OM2Yer/VBYOWPNqWFlsBmLr7AJPoVp1EnxwtvFisqW3WxDc/osjl++PXbCJBrEt+Mi3lQDdDpurrS8qM645zWat924XbyS1QMRNURG+7Kp+bJ0b9viZ6uHqv3+FtCsvnRXhHaMmsY/CpOK2Bci6ITn0AerEYM+1noxRDn6MH0Y5vxDukhQlCFploGqCN4Q2SSRGNAIRUKIdpSfWPIZWTw9sX5bY5dWG0bjdM5wikRsPnTZhx/rDblUutmDLs+aV+wuHsnkBC+NHd7xdX2pYEwjWJ11XmDaCqUS8fgbmYWdIAsJMjOEjQkVVt8cONtxw+cRLUXamJLVXfNFpNFeVcDx4GtJG6ct7i/6jnzkSP0noLUggwhhHtJxOkH7rmZn77qYx2P/phTgsI+AT4SMg9BN7lMKJMe3ZGU2XZ3hjkA1xvpqBy4klaJP2BjYSMY9icdBOsuWcdT/M/IrDHzAhB/F+DdpjWOl5bqMHinnyqffGHMET89R9LVYCuXtI+ReBv5+ZHYnFZasKMmJz5/4pHeZsp2sUITN+RBmVXFObYkXwgt7i6ZjHIF9JcXpgWgGsD3TyYvMxENet+Fe4OMlmXakAChP4z4Kdt25zJKFSI5i5DMQVHX04CBcyxsFPCTSRp0E11nM/9+eGL3ItxIH5l+asz0Fo9gw7N+Jz5NP5WPsP+D4yrwwU+I1ilaVEoWkf4TjJXvosDeqf0GIma13z1OMM6PnXYdfv8miJLEzAzIONeS2J4RSXByoA0BSlaIbSt1jEvRbt2s3tOpa9o2+NRYrBXEDOBOhn2FQDgHEY9mrUAzYkX16kL5fPpxJBLVwuvxdFoR4JMfnjWqCYzILAdqXwSt5m663th9lrtrSIm5iOv4Hy+PWfvz5m7YaX8creAO4Vw4VGP64g6mqjC3MXfWDYkTm3UmED+Qpj7/TZ5idmXz+eD6eu1P59LPSqiyX23i6vmTAQxn1s7q1iBibVI4tGyVAzxhTkwM4NI4WF0Mwg+dzx+1EAqGLSEL9thcY/pDMkJDKzTswwkhV+ff29AK6ma2xL7Fan9wwQEUQVlWBx4fLz1ZAqIHjD+GZ8KmTMs4Fgy3FOt+sd6wkgS+3Sot0AMJgHKnKaLVIatECoHabdBJsT6w56Nhnj8oPv8g7hWI+vSzYjW8usD9E2W511m9nE1EO4mZSc9mX0IKu07nzZ4TwqFrdnBg2CKTUWRDLxC4+Opv56vRuRiLC2I9z/UpWja4EQNhuV6JQ69vY5kjtnYS4Smg+lxa0JiNZdfV9UZejqbN22Hu1VL6YpgRziWNGqJK3+iwmqymwoyHXhEzjwlMqQBGAm1cFoHttutbpzL8GVReLmHKM93Yqn8g3A2AY9M7GbORqq52oU6uiyZfhS/4bwsgZfRZEjCai0kYmkm11dfgNE0VO1Mi40w9Ua36FyrQ+GJpE6lmFtCqbUhccm+14ODD3LLxm0Gi7zGVR3GLFtgA+oM9xZe3OJaO9qNAQ80jjVDfGvMRlRyzxQPm1w6E3FDyVhtiiHsLCP3gtz85oGzU8HaB/K4WsRMXx1JgzJmPrHS6AaKmds2ECpMSZAi2Rqzt3nZBIbtDzZ87rF0BZCDmseFuJ6qcwxnQngVTz0H4CFOdMwQF693sP477i3PIH06pzbNrN7TxEGXy56MH9Sl6588ZBQ88BWKqDcSZ0gy+d7ZhT1bTMbgK2gUYBg19XyqbeQldFUeUVoAm5DNjgGHV3yDyFc2yMtgZGq715rkPA4yoYMe9kH+YIATXvjjOKdtvTWQO+fk6ee1jeE5TgWGlg8A466hJ0OKkpx4p17EbCSfkpKorRBDscImvAMPqTNMeF3QvjdhweTNlMHXNnbvY9Hl4v6O4JKclfZK0hl9YWXm2dXE/tB8HtUzy1jN1l1qhmKHqFt8ZoNMyNmuny2xhTwHKJRfJ8BM6lipzcKiXP4zJbflHGedh3rQgMRCSz73DWCohepwVHLhXB4h05FlBgcyeWOHbjyBiNMLoi9rddwS6ojnKc/GHv4xUJecoDJZY/Qxq7bHYe7z+YpVOQZR7ZKPVL4W8DnfqMLX3Lm+HYCH84mMwMiPcvI7Ym9Vel3AKvV9+030EtdBtqEdLCGZor4CtQ3jS0e6HAnZWtXQn2zk2K80GMxXnHxYGlD+jNxpT0zukSIoQ6S2RaJDHAC3x9GQI+HVLwJJca+75iPORJeaaeyoaVVr0iODc8sOdJmc4SzpW7efMx3sGMvwf+TIaruODvuNUnwWYJpHLZcTq0Ce/Wxqe8U+QSJoPLOct+5abheGtuTko0fwB+A9wE+BEd6SqpxqrQKa9kLJnuAc6WG5C22W6DW2vV+s4/CbeWzQUwNw3jryM0Ne3QLe6JUdWRmQE9Mxd47LWwdFKjmMVmd4RPwuY/cxW2TcoAfZHPFQmwv8TXgBVAI3jYyK0ujPo6pNeg0gWZaFrkBQKnkn8wme3f2bw/yD9Cax0b8Vq83KYhdmSDsY5NO6A5/xZVYLuuLYDs9evALNGDgx+8L3hMhlVOu0mEkme8/mPrxktLWjWItZml0yMUqOBeVLKiUpnoj4oCogSXVIm32AZ5ccu9OwSt6TGlX1Qmt0oZdvz3RHNh9d6yla7mzQU/wG0DcId01W1XvjfbwgCLL5eD/IhaUzLbV7JUESLk/j+Ey5yCpNAzFHrEQSTHOi0VrNQ5JKv0nH6Ss6Jyzgm8HI2cI2JV0zyU5WzZi2wOYwtbLAAc/5d8hz31ENjjcstJBJjMeYi0wsqX2lSP6BOXcShx3Hk+CP/D6SWqeADPW2Lr/mOdQ8MAX+8gZV1IL56YMoquYCXyvl7unywq4h2XOc4RKbZn74BDZ2DPkV44QFRPND9yT3PsEakjgmItW4schzPmbR4U3TNMpPyrj1kSDreNKSKxdEnt7LVGCJLjd/ZMZjYqyAsk/dBfmm5DRG+DdtMjPrxNBx9o8o30WUFBBiNEMvyDUkhs9bS+D233vPGQogyM1yaw5QnWjaY1zDNuMi2vS0XdeNd7+JeXgyOCQ3N+eYsMuvw3QBsjETOzIZBS17XuYDEBu29Mm8zP0M4cZUdrMtTV+OAzuY9YptGxl9DPKR5FmFlW8ezRho9ryMlHGgmuxvC0+GAH6a/T7KeD2kC8dPd8rEz6jDRdVLzo8178YecQIDv/+gyAVZqanz/XSFd4IsZnVwyRLfcwWxg4SQZwfqbkJ06opdYw72yQz0qVkZWgSCXw8UE5HTw21Twt+5QiXunrqMvWuXFYTM3U6GXj2PXSE4jFXC6aRu9/yMYCA7H2jQSLNBnEiWq+iiso820Q0cwh1qnbfn5d81hzb15iE0jyMJ4x2CXkI81ziJgYj9kuMJBOUgOV+NPXN4vBZ4MktLHpojM44uU8k+BcXSazVkyEmDECkl8PIhNXFZ2KiN/1TKBJW5MzRN/lzgxo/svATZeFX/+2gFenoHW3c4QRwx5QrJGcABHSMQgETEnL79nLtG+4M72RpCd1uSlNyXqRurVx8AQ1Uxzj+bfVq1SY2FxAuqQtkRzYD6aiSj3q5YAnvCqNYeHxKxOBaQNvIGNwewotScTmDPa0t6kjPXj9lNJjUg3d3tResgNgY4pukwdZ9XahUDNJaElBLCHRDc4iLb7r8B6huzXjUIi6dM9xfVkvngF5I5k10Ee7DC1gJCpyNnD7Q94CmD0zvN8O0MgVGcLUUDkDJ5CKHo6E3ObSNtxzWS9dNzhLE4wVJB2CGMJRSL8RA/WjJmbERn0MHW3zlVHAIVV0QmYg2NlXyDtZaS0cPwTX9SRRepA/NnA0uQvVif1AoUG4bgTx/94aiR/f3HygFJhNCO9KJBtZcxYaV/BRJZKLEvmikDuH+hk2jH/0iVndgi0pqHF7bnuwlu1paPI1E4bs3GhSj0ZKMizr03OAKrr4lydMAcUg8MY7xTcYjmUowRtFdNJkzUQf5g8CViyKIJ2kVAjLh/pNeeqeMsNXu5E/EAMndfXPI1kslbRcFjwgMS2cBuzpPPKxsVimmlaYKQrwobeNmj0a3wrqSGR5XNrMu6jd4NAFxDh2+046QsaXd6iJcOONrzQy7O/GTf8Arlra0X1mp1djDbmWKVnC4bTLK7sx4M+pvWyZccys08fkdlBmcuR4t5eDHP83GXD5WbFQi2tF3EE9/sy7t16GQXwkvHo1I4TuSZKBYZxB3HY/iI9naa8+aZsVLLfOEWxqHrw21dDUZnsFH35XsRGSqlXtffM4uQAS+8866wIqPwb1TaWHzdMYTt72WUT7Fq6T9U9SUPldjeE4kZC+IkRmxz6ENRBGfC45Nf8G5ZDnm/NWYmZnArRViCU4gnu+Qjzo6GQ7rwNzVsLjZ5cRqMbFSmoLe42KYe1hjHqPTOb2m0UGjhQ8vjLR0DrJuFGAzIUZxg0VFAcU2jaVyDWMlBnhUU8nDaxBuSVEfjttSpzRQhOT83ArLg5RO4d7spg2AkGTJHBJRBcA9P5np8OI9RCkVG5tVn6zQQQjlFLDmuZRgxtwJdfNKvZlJubg5h2hgnEM1VTt79Aj+R6kWSyQdaSkK/t1BgJCFA8SbB3be7dDQOZKUCrrcxNPlMosZPB2FUzM7V5ZcUSfzEzSxTLi0HzKxNXU720fUuWhroVfTMvdHxRgJz/uGp1zgdq3Yx959y0000WVGdD6+KIu768acpS4vY+Yn/Mqql6K/yELEsUDIytetCk/r/3rzsb50TKrG+/NYgDXf8aksWnRjRjtG3SNgr5IoMMjF8FK6EMW5noqsa17u7qjG8iJ8HBjDot6WtbmPtsgwQ//sX930nZqfcHEE1MRzvOy1/m24s6r48jQATI5cgHN+2oJWnhtWFJMpeUZAY5AdgeZgJbgF3XdukNp+fxZdHX9QW73x5z+xyBjaJ7xMOXdf9GvSf/UkCAfND+X/teFR7B6MoV8sPChdljlNM3wOoBYwjnzWPQqLeiW1eCOSBmE38+v2VFNE5/OaeeOd+gX7BaY1S8ifldGpPJ8tqt8jNAzvKlH7m+wCvEaMPQzdKy1QPQeb8j07Hbth4SEhJvcZf19xMwHmtCz6RlZD5A3he9aqYA16Rk366cNm0j4qajhbam1y8U+BWmEUTVwRI9IQ9zuOYlQp9XN9GQuW/Dw4MShmv+osgnE8VwWIvkjo/mo/E9anUV/JpQoGM5rIAoBOH2M7X8Gm1NXPaBOEostHBN+kZ6jKjSVMOxDY4K+2sdkvPppkswYk4ADLfrWKi9VYXwhSiqreHUJ5KTvVpm1lnjIhA6yvLcRyDp6jYIQju+mAl+idRCimU1B2qq2Q4loue8iZYnOJebsCLMMrv5d0+IhSjlie2GaQUVuhAsT8ERBxn6FPp2yTiAXoTPbNdWslNyK8WXr4Ngs32ITncdhdbuS+h0Nk3/BZEYK4W3tA1Oon321QmDdSFhqXJKZQym7BFDscCaaDvnVXF4MzGto3r/jRyySIarEVGiXuFKM9ACGiJJbt2FUwVhVMh45Fm+NkK9qLKgCZmmzoBYJcrUeQHL4w3bUcFVx0Ik+3b9fQ0jkbPuZUcI7YzNVtB4B2PxO+if593ZY9vdGi+T4gTb/kXZfW7xr3v9nm2xejWZCaEHpORBYLrAbLrwDjNKO5cPgfdgDxxwUFphubwa5eAeP/vuRNFsROoOUiRB6+AzQZV8aLuLeSXZCDFYwXIl+2k6yjlut58vMutYfS7WguJaRLw7PuZaBrYHSI/9HKHo7Aow5iPHVtpdZDXUUM+Fhw3NzkTHQ2Tjn6R5JhvnlvMliOTx+dRiFMtlow0Q1W6O+0950ldgnIdJVCJ3NNzQaDPY2A9qdGo0a7O4RbRcQ77zswlEExfBQmYAtOt+L9dQQiTFYzfAGuNQLnV0h7iS4841vj/0eeCdLGZaR90Zbzs0ItbXOqatahIiDIppgCoki8THjn3840DJ2L/H5UKZ/tRgspYpnZHN6FrnpDTVLlKcDE6rVdsksDbrn8a7amFiU+QCjXkaTOZU1cHrF/H4c1My7nLrcuMMnM++RPe8U7Ekd8ab7m1s5MjuiX8sbctjLujGBQNdFNddBrquxjkJg+BS1HZUd5IO8XNGEo8vMTg+Rs2+ahp59uVQEOkPadbmcyNoo6EkbFom32F7l+Q2j9UQpHbI7iylbT9kbHUdMirRCCHQXZS7PVs4mtvUJ7dL9LsHaIdACHAOAPGYp+hikRLqTmGZF80cWkSvOXMli6CfxEbe6oQ1KdPJGDJYy5WCMHUqX6h1volHKQ9h123muQa5hd+OWOFmVZjfAEg0wZLBhrlzclYaruLO3t+J6/5gQJ4zSlW67EpDFqp2ccJ8w1i/3VYtse8g8klVzzvXPkkxVG6yXLhSf6ELXKyI0T3nQRSmnoAQQMC1uRDM3Y+z64ZSweB9hq8H81cv1Ku7dBE4PxK3+UTzJgZRq+ylKiKdK8anjFe5TGVYbCuEq6Jp1st3sYIq4UgCtIgFc++xXmmD1De1Js7haWWsbwyRgegTj0g9iF7vPrKzKW0aMvROiidm9LF2VV8fM7BVlz52HBlA6Ijj2RR0kyigtYJSRoQ1UXgWqmdqCDk3SgNEZzPEsOFDWSaMc2Y7fBpGPSz2NmP4/6McBwIcaS/3nGlM2wBY2IC8zPmW3ENQBZT0bywBvDUHroFCTqVGdLUh5tE6/N6jwr6Y3p9fbv3wTMqkpJ21ntVcTX301SAFJCRzZoVbofFyUMSEevkPqXSguxqpJ8MiYCAxq8cgJtOirwlb21OAWI4a8+GbVY5Y6jaRcUTbgPcc6RxQWT7WNzsMFJSqGVFdt4ETV0nt9MTY1R6vACC9FLyFCDO39dYxUFaRnFW/hlt2EADtZdHQejrVC+50UwszAFoabw0tmh+uTcF98xFE8YJLeblSHrxIz7wKngirKS6GJG1IdBwgqk13qj8eWjowaoosCvSRe5siP6XamzCIEWnUo2Qv7a41eAbJFusihwwzzyKjtMQIJKSRh6QXopOXosKvwihf7sg4IlM2g54aOYGO9FofC74FCAVHm46WsWkCrTMDgAeSKlNoID6puBjj5Z+tpQIyXPwMtouS2nnm36FLxzKUQwn0AyvHd3CYv3iYnDbUWDGEfWHLP8xG25XTME5wZGIm+5/Ot8UIRtZVxFpauVWTqyGKpFdRLbF0FSw/sz90bm30/m0sAz+6eMI7a2Fq3KJOje93BfLSAVMARknWRNX5s3pYJKCD8OArbHWGyOSFCHo6V8hLr+uCoTmL1BeF55+2g9tq5wjB5rk1COTcL65p3sxRx/q2lam5t+nqHvR/il/DVLNhpUYeMZEVDCjoZ8Qp0yj26AMS1rGCQRF6/AEjWUhJG4CXQdvluDMedwjgZ2rSO0HlJQiJZgOHI0XtO/4nbAQ1e0VAlrBzWpB/hVZlykYspCmr9OFcuO3F2pjgUtAyV46aqHmT6XzhaQ2O4bzqLAGBjgHPLhc0ZadzFZ3EFB5VwruAsFMSoSgLcq+Fnmd/yz+H0QB68V+dBQDQGzgLysvbWPTJWolrJbfVKtaLK4ezb0+LYglK2GOQZQwcdiLjGO3YXQCaJsu+TDCV+NZClXB9Y9uPrjEaKNQwvsqTVWy1jgNGDqldvGdgKejZiKnplOs7PfVYa9+ppVZw2k/CN3+8vwFMUQ7sy9T+Ntk0tezTigRHAeJ/YG2NCMpqRKP3Qt9cDIO/mCuNBjLV3//DFduZ3b6c8fx/2TSl/lbLRb2jEWx7skoiiSzmFT4Pa1QtrImBneTVNtDJS2kh7GRm+r+D0Oqmemxqv8I+FVzCGnDSyHoJTVfS7vfkef3AX53vXDUT2xdi3VJAwkHSw0PC0q9flPbbUTfg0KF2luJj9Q1GEvB+Pf6mtdyHXhyZSDuBcbVSMlqMhuPRhmhYN4oTnEh2J25iT1c/7jDkg57Ya6nH3GTHHb7/BFdc6DUtWjxVL49WG/g/kzIsDDdOUnQvLTREW+pCmL6kaqGF+z6gjX4ujWAfVBD25xPe492bPNbDtTtEX3a8xbEbLzqX/Vc3NiMEyCXzrSTEgEMajsyrDw9aF8cMY+DMVHAz2wCpWMX5aoIKidBzpm293zs4XhqVwWVVEpMjQwHJmTfm4Vu/cZHhhnooJGDruBHLQ66HgNgp7nJPDrZy08LATVUfpH6s7xwbsKiyjYJh14UjA8gN34/uWCDJqpXhi2yTUdE9uxt2tezWGxIFC6CMovbVANzZHQRigY+BQXCw9YWDVxHG+Mv1W3oh0FD8O4ZqFALqP7BdQGnvdcR7xbsKpdJAeV+zxuziYqwCtXAe0L21IUN/uQemuEvwftn/EPgLVANy+k1JIb7CtstqSuN18TdJveA4dtSBQaePDtnCaqjJrwYEpYaJcM5YLdlY5MXGeOcNummEn2FRq2iOYgRdOEQ7ubVpJEQxRu9MB7FLSl9F9Ld88Ej7dPQiFu8f9FjZ621VTFpbdaDGdRCWJxnd8gtvzqnltUDWA2HEgwK6lLHXaSry7jND21HQQ3xwX3Jg72mo7pgO4dZOZy+SXDWjcVdwAWgfH1ds5boC4Mq5Kx4eT5++oO64vwBZFqA42irAog5+Rs0xh0a6L5E5NyfDmQhCq1r0W5nAk1a0YcW8ZXB8+te95HU7GA3fXU6macC1RnhMLbMpf5lj0iryJivTCOFJBcmrR2vCvJUtyYvbF41p1STv/DULfUc1EYcDt9Mp3A64w21jce2tJhxud/K1l1qQ8WsfkEioel/4NeOwNSEROuJ7SA9YX9x5iKiklQBCTvCO7XF3lyApyQ3o7X//ftEjsB5kksiTKb68QZNEApC0xkeO6r3I2CuR1kOjv4L01Psa5G8WrClXitEKbZrE8JT7gLiyAoUDuD5Dzr9yKu2TnuEDkkOuy+UECyaXuXDBzNRZDS34srUtuzD0QiVFDPFGdFci972APLPfOPoUdjDbY1cqqim5A2IUzJ7TggvIwUixdicNyjhOaJlHHhaQ8jatazQtaKl1kQw5hdXUgc+HEHrRt4dz3Ai5sHCKtVpY8xb4CDt2Pj3YUQ3sb5eb8sibDEEnhoHwhm+TmddBvyDsnWgpUucIrUrZ7n5PfpHSoWBBEPg6nUuYzJCIYSufCBrbwKxKMYdEKecxEcPGAk4vIGCftSolWnDEDKEdmlrUKjlrvjkUB4grGV9auPdKpd6jyIKJZuIRu3qoKd2GmHQ/PmxewCbhJ64ZxpN58zkADDu7qBcgvR6owtZkBEmkUCgCBAiWCbWrN+eI1m8owgLvedAY6/Wyde4xWqUoob64so65L8/ENDHcfW9vxorbUQV2mYaUtSQFgzPI/XOyD6a0xTJWUh/Kk8xhkPBn9+jPAPdKdArCFqufmx0MhVsJv+kFGl5ed8Pg3nKNwuGRqjJwyBo9pyIFocX0lgJrpvb00UdLsX5nwfemYkXBzOUVCk0x1QVJxcSfReqW3eeuY96o/8iS6bJlyLqIKTdoejsr/uQeQ2TxoSPFFVOCAb3OeEHWxAbXb6arL9MpNTdJqGBVafx/8CusNOO6awJV1EIuXIhOLAmboAZWDBsT3Onmn68vBW/T5VFwIM2UalEiGo7vZ94tfkrDRTfp7i8jkfBAx87OwH4VZk5++7y4RVfY+QWublnoeaxTXGLb4q1ZvDCBJOyHchJQ8m8vnRkQqtX8sRQ84g6FIyU0ClZJWh4uwLnCcAwmM4QMz9ofk2EaufIHV1hjkvTT6aPQf6ExmfE7avG7iXeujsHPvX5BvFrS4vahlb6pAQI7hFbPL5S0gBOOr1fxxeL00w72gVIDM5ohsekWTYF2maNBHhfSeL17Z04OwXCD6Pc35wBIFkOgIOTcbq5RRGEccCWRlr20WIBnseXfPPz2l4WkZohLqIDCcw96JOLmAWnRUzj0P3pTdpNjdgD/FWxU4SkzYJhSbUxr8aAnTGspoTsMkkd3/ifiTEnfURtPrJSVGTCk6Dz1lEm9hKxkt2UkS8KNBzW+phgHvVpUIUtxVxuGAA5ZHgsVtbCzby2y8wtAqYA2GLKmFffgS5OVMX2pmGRe91hdb6nsbrnO1jQRpKfNy8NxKYX4/4SyXRXbJlCz2kjXs3npA3d/3PSm08TMB7TxLk83c1bXS4a2qCxLG6pTxJ+2KKTMt6hGXqAdlPSlxKdtVf4KXRj2QTGe6ZkMCJCzwPM1fZkzcwniHf/a3UKWkZv41Wl46pVL8LO44rdyKKNWr3cCh4eLAiJNyfrNIYj1FFj5EhZPadXfqj28xAuEkH+iImwjq83Ckk574HNjkpnDaa74KOpN8OAFs44W7sgZL/HcqHttZMHtjcKnZ415QPQ1bVhjPv5lvVJYqAY9stboMMWhPO+fs2RiX6C34C83YDIXrjlx2E/bq1ws1u5F3yMc2Vtfv7DhgcYcsiFjX1NqYDnEmWoQ2mR2uXsQY6SRhfVG+FvZmJqIz1c/D5KkROl5TocUWhYCi1ZgGXlfrZvegXHcnFTadWCOV6FFBu5cE2Vgt89VD9iPVOzF9szCtXdO6pjbizuREPex6DfZzyl/pN6ju3xXCSjLzeir5RdnjlY3pP8z7qi643UPrQNSIUwQzFl0kwlOyYttgbzPkPy59w4biu9ECUuoIbcv9aTbmGwkxT9tRSWgdbtFehYo87qVgHAKt8Wq8jx9d19LA11jMtiYq7AtXQ0VDLgJw3uBLrJl0YmKgOaaq69bp8L2oexCvqLD+cdta2QIzrGSB7MInCkpd9OECmZxRv2F8uaPU/npK96yqmqrMSZff5Dmudwp8jm2FbDFf03PLyVOPAaLyzv31Hg8An9p1KalZuuWcAO58AXX1HuymFsoOjGq2JXdDkNrpBWrs4NhPQPFpCXz0wQDWwyUXD233l/LXf12h7a7LqLza3KlV6NICnR0MjKAqGiZAnSiNM19VKjFAJiYLwKJzrStiDbugVTIpjmFesSP4IdOyKHJYRM+rT+LC3i0h6A3vDrrKzFqoeyE99DhM+d047ZKoQjfteQ3qbLMtlE7tddRbS+9i6WlRUcXhc2waVovAqCT+4g6W+suGGLw2ngnVEbZVr+j0ptitdo65Xpu/yBkKDVT8u5jHvIIaR7UwGNHBmgC1zoL8x5asU1IiVuLXO1ZjU7t/Tu/lnorxBmLkbab5feKPc2AJEt0BqppbcPRk1LnqStwfLLx1Ca95TAx1xeFXWb2A2nC2v55ocYmBFSi5BStx8zn0Lrbpk43l6TTCtDxl/lq0J4Q5SRKF7yF+c5Brhj9iS8bJwvTebx1m3zRgyYUEttpRmcFl/Mp+uMCHNeWFHGwp8uu1LYOh4ZSxG8ae/S05l79XbkBoKhqyIHQvh/8ZRzCU937I5nnPPAeFYQlViamthNa3WXrhE0Jq4U5mMBVA8OSzFRdV9Mn3yxrGrjBu5LGaqdH+7Y/AYo/YwcJIudB6FHWFXpwuQbqk3B1iMrZPgAJlcORJIipYvm94Ry7FcS5DNntqSEYmi64cozTONwtbjlAK2jOOI2MYXvwwrQFXnWirPB8Ry/CZ8nzi+Kg3dbKdiLFgGoLNpiyJboyhAX4h+d7+IV2ZsfIKKUMTxvXNRtE7dp/ojHEwtb+Eb5VLHML7eDTIfJ85KylcHaOpwRiSKOnhRbT6HHXiUKUTnHbrEZABPO6SZjS5osSlIJkExjrQrRcQ19Qrg42AQFgZ/V27YV4zYa/igd3rMP0g4GLWa51KDUn7A1qZZp9BgD5yyo+79CkcfuCwMmM6wtdr6sekhXSiFPEP9BYlW3N0nu9GvXSO/QIFw3dN58RFnkBXwxJGWLdfacucpTuGtOzMM5WrG3fzG4s724LGtsawL7Lq1s5jKzkXHrMExRT4k+QTeDYLtATaOybXJxpXGI/x1vzelr+Y/dhp04ZMEvMWdPZKKU7BcjW4wtT8TSNtcr5wtEmONxkpZl94FIdbwXWZEy2P+VWWd0cxm3/fuKqyzyXryAH5yPY2u989Ql3kqA0bksFj+khDlTBpQpzdF8fe5V0HfJ+PLevr8rxIuLvb53Hw88mLQJPwxA0qbRgsa4Gpz1gyh+sVlnQZUKg4wrCqGT2vigzf3SAR+bmd7SSdoTr9PD4YmZPeopx5fSDRVRpCVMJHJsziMZO2PteoJkncw4rJhjKHS8XQzSz6qR9hevkLErViGaEdUoYR4ZzRw246+M1yiAknJmGLvqJCpgmuVzqg0J/HMiY6zHhlz+OuQSXbz8e4eFL6S18+iTbaQA46Zc5zYKTEHvwyqXeQErW7XmSv6o2uWY7eGjvRPG0DoEDJ5msJw1zHhEXW96TVtzXuaLbIG+Wj4guEfTRsCbfMZjqpwywzdyF8zz97tYy2T+pi4Y12uvxB+CuK6bWCvgZ6NdJtm+kbXq7n8VEqmOQt1VMnwVi+oQA+0JK/2/rf2yTzN0tOjt9ixiR8iA4n3tDL9NSd09rEvA6mGWpyIbXgZaxAixKr29JoONV0wZ0hQjhf/62xZVNYsZ4MpHNEfFcnSZRY+bDbgsaqddpTMj4bMEZDiCt8PkTbd8GjKZuF04dz4DmBVywh1pAqvCvR7KQr+JeBC6Dz+6pwdJEMNu8Nh5nm6dYtOF7uDuChVSFXokdAPkASX2jueDZITvUaxf6D1Pmf0wEgYKG5bKSKSBVeuhwCk+jWbwMftHCDu1ziGPORG1T9x8AiDWqIzQRaNeOcF/icAkBTw9kIm7/IC5kZ7r5NS5tCLLI2At/tURfXrOEH/Zsi8X0jUbAzPkA3rYaESGDTAnx3UxQ9uEiqUixnnGStokKa++G6skd+hnhU6n6ZCQwn/W4HmGNrthQzD2Lw0R91dKOyiRU/B8fBj0VMuTLDW82xGt5l17EhIRfmYxLntfy+mMzSg6mMhUkyZCHrnfGAtpCQctsP4h172/+p9PyuQGt//68okpylTkZ9V6bGz0m15e6zN0M3qEUheFUetF8ZitrkNg6VQBtyOmKDuXzJAJPGaejJYC6Jj+LMXrRijUE16AbLFW4VScrTGTAV3UMhqKvO170zk8VX7IzY7PVohAW2kUm60VWUBwXgc3kymA/YghNSqwo4jPqrkKQyPsRrFlgSznV3ifEaK2bB/DBtrYQPwSoB2Se+PJR/tRy5sFKy07E3BUQi3S/eqhyx+bJHZQefiwIIo6HkkMePB0q9mMP5uWohv/74RmCGrirKX1h954eek4L+0/jX/upP7Roj/98JLWK3VdqHFQyAbpVNKPbEM+DNNHyP726oBYesJCQdhfMcPRocj6cihmW4cTBFumOIuwXPqoaCjIAwvAhRtGpBDKy20O9kk5UgIeKaIiAtonreBo88LzyR5+/pYaD8VgtZOvl6Y3q8y72thKO6cqn7j1+xX2g2/zlEQe58sIimbedsZNTI4sjfCGdwnCZZpPiPzjya16cx9n+Zh+75Hn6NFx64g4NE+AZHiPagqjP4ULijuNIf78/fDtsV5Xc+HSVO+FjxzAVBAuQGwz91xyW1+/A6Ammx6NVdtP6AptxpKk5vJiHFFs4KbbMjRCgcKFtT1da4r+oeJP9S1lEZuB/6aau3ESBaFmsRwDVGiODK/JP3V4HxWQmtgg4eFbeoOzgk6UwPle8htIspoA8cIjZtHhICfZY2dI44ovdy3ZYshqcJRLZvuo3UBzeaiy3+xSgGKpIfukwijeIP9IU41q0uvvd/BGQCgwS97vRw+bSB1Pf14VO1I8nuO3i8I3Ps3f6tmfztQWPJR/wgfBObzIUG+ngVN6lVAMG75VGqGnIMMh8AJGkolhBLpfT15/ZIwYjUeWT82EQWY0Ugl5zC9/fOTcPIjHbGYyhPi69Q8UIEBkbMdJL6s5hKEJmET3Ix/1Q9sHXn0kUPxpKu/MYXMAMprvgn8ictzlSNh5Gzj/hQ7hNqjRUTLjHPf4C2K3J99/zhIS9IyKB9OLNfdUhowyYjyltS0VJbywDcNyz8z5wCZ1nzraPtAfvJksAp2RhilXw7iPxKbiyYnzXYsitGwvvBNIzb+TqNgcHsjnAv8g+CVivmbN2RHGIaLgtyVy2WHltpVp8plsQbbYH45oAtlzxutshLjMQMWg1o/8k94Mjl7yUmol1B7SbU9sh5Qw3oFz6y4kIag3cJVbwrrf6wHKTp/+I0zdmTGl/d1hC3yT1k6t+NdBDYctr6wpEv7XWpIzL9LvDkJWrc0xJPzTBj2AX8CTZH/v4tVdcMlydbzbKLS+fngAuCxG/lCGI7aIiDEqJOBFe7G2ILiA4WRso+MqvmEVekduPaJPoPtv3aNPWnMZeqLB3aXIJxjY4c7T/6gPQqbIVLBN6ZyCGk8DTdDTtoXL03RF/4kVRp/CJIQegMWDiyrVlQtmh3zTZm0bDGY2jzM7LH1gnED6VpMaq9XmGd9RKidhxwhd8m+rJVNNVRRdMC5n9y9wHsYMX/Tu0o0pFGWWbJiVx8cTXc7X514tU4S6k/4zCSeqMGF7pRhzqQrbCBHDp0mv9XHAfVcmxBYJnh8WmDopw5HPwtdS+G+V2mbtXFAtcykrlHbt4QqzvB13HTakhzUNI0E2QMNHHvYC3HbusdD7R6Q9CaUi/QNebmGst4jDb/f52O1BkelbqkK014sqS/9tMaL2fBTu2NbiRrZBReHeg/smYdeeW7sUYSrjEVUBNiaqWZ1RZMRbMx+3ZESEbrxPxnR/yWOqg0ZBtUOEYl2LdI3rn4OgJr0VU5WpeWuVLZfUIWaem05ketMkE1o+JlzWz4opC5rY5tuSa+w7JAtziz4vrmaAMgD1P60CAhTIYC6+D+ORO2WljKPomMQ+IAEqFrMV8SdLd+GyHOmLN41btAx1TMgPJW66s0I+zYr4P+kFkr9yzNkulL4Zh91lsh0Mp/CvCHsCaM9mrFZsDUi2Z2g3rndxGTIV7W14TvPxW4qnjQL9z5uWSxCJlqRCDrAQegZJ8aE1X8pUUUv3NxLD+p9Rmyr07c/5re6ZST7ffxLcSRYTiaLKeXp7f7UWoSA3EMmrJm4cHPZeL4+O0hTXs1mSufaWNfej1sH1w5pqaTNp2AUuANnRM48J+35U3QnsmO5QYTnHGz91dva9ZaazAYsraBJpt8HzV6qHEdASpBBEftKGEvi01wwog9wGAQlwzfNH/MTAkA7LxczYIqa6kbkQDnNpPd+jvT88mhUpNa+cbONtXgGg4WeijxPPqAMYj8mU/97RftwmCohJTAO5dYtZ+OfPHKYPzSFSfiSqKK3iBuOuOazGa3l5R4VhWdZpRCIv//kdcpzZqotwzJHTyVRwkpWB/awXa01/gEHoBhdWNIfbXdCTbR8wz802AbNUPX5rVzKVx5+RadaJS/7lI7P1Ta9duZSGGyX0ERuxcFrXMrjaakTwn/H+9DnXBkilTJnWBdmHbhBlKOUcSWIv/PtmWJn1KPX94/FV7WTpB9Dxm8X4eF1o4ISAwrxuG7HlQtLFXi0PljGnrNUSZT4ZsHuLmtU8q7VITKxWLKSN9igZvmR280BG8fKb6UwfjCt89I3jxcUiTckfW8sMmEi6474OrP2vim2/V7HHNhG5tZkM+U50nvAFSxgHtncpydIVaRzsm2OhVY4LqqI844CllRqidqw92nSJtQdBtfBIxWqF3lpd/sAHxsn+viA7lxIpwM6A1D7IUMRO6As2TnulTl3Dx4xR3mE3dVtTKT55jLrANbNOcIVRti0JNwDsswAoZO8bQdNgO71UiAlAIB0VVXfWv4dxCNgRyYzpf6ObOy3SlTdxZfSP/haabb03mxHhK3VeQLMh0z+dM7kkX5MpSxA85GQ+36hQEsruGrHzudnXWw6+t1IU64/yEAgEK+r7zZ7nHbNh2trQjEKK0FnelbYPrG9wCEgdGVr9R6LniscJNxgn2QiumfWqAqTtoj9An3M8zY5Z4PMxy4x3NQMKTtt8uMgAa+5O2nxE+eBRGV6dDgUE1g1mXKucWgygssWCtB4RC9yXXMafqz8JuplI/MJcAE8S8KaN8aCMUgAAxn6ffEgSojT4oUTlWnJPJ0uw31TwjiglQS/EZo7Nwu/vbuidu7jJc92BMby1X+zBVmP0CenjVHAfWy/9UVBJT2y5L59x1yP+w2qjeJ4jPZ5sV7lah+xLFvo+UDv0KqS28nvPnOeUsCjuP/CXGEgN78leVgJ1HnpTf06IP+/i1861Ce89CKVMb0ZLdeQPKlJjqnng0TS+a6921YVPBVvfgH2vqFukuebk1WkG+HnIzREoiiohrYjp7he8tktTX5jaDMkpExNp+Pc0Z0hrxxhPgmAn5sCwzXudZuXdy37GLgTLrPJpVDTj64oVkiyY8rmT+XFXX310mLwkFFTWV9RkCSldvVG+wTr1xlRGTX3OfpoeEMQq9pg7D3bMMlVCYxXDaOm3LQOvRyjHuXy6q16AC1grXtbY3P1z9ymuauRO1cLSduQ3W//dVwyUh0VakDo7AiD2J6yiIzykrLZT/ad6kGMgF426rlrZKRO3kKqmobST8GW0OjqsbbgaZ/dqZvuiW/DcyM+Nc9n1KqVkOctzhJePXXRAid7A3Dm96RUvLcgEXv2zSnyIw8PNPtKoTKc3liPHB4CbUXRHQ6xTsjV/0QmRm7aZTZ1CR+7LASZF1tHW3HAqWnLrFcjZyzbneyoPhM3q/MXwg4voAhTljLIqNr5KTDyCf9C1yuzL58xn0W9R8DvvW1jCWHNW+1ftV+3XSLuTYY61BA2SAkuL0R13hSgtCAXL9nAojxf7y2gohkKCal4uxGxzaR5fIcdPnxYY1cxUkSV5PSGYwJUybMmiiY8vcGgnHq6gKNsvFpWm8wNv+1bjf9b6bbSzD4nXQNQFtu7y0md3GS+JeJlE6XYx/rjJhfio+7cBTsHAr4SGjsmAvZpiF+0pVbiwiNPeitGYF6EKBBMyJMUJiszdETi0YpHXuaX9NmKsol1PTVwU1pv2WScO3UnD5Co7kP4O7ydKZGtzOpVMw+T91YnbnJcG4uLkkFCvM1pzIA1vRAKsfag82HLYSstK63nWrdCR8srM6ou2zAnRlrdME2a+2LA7DMVqaw6qxre6iXXeHmFLm+v2DPASOLrSfmDsW5wHWqf4SQd95j9T6d1VwCpRS+BcahJi/BkyLuI3D8Z1pnAdidDRymiz7cLsO7HS7JAgthTaQSf2/aRYEYdr0Zr2feBGr5FqjVK5RnVPzNvEX01H16yzNPWY7M2hiN0h5d5DXsU3LdhnwPn5KvWMTmBVrfka1D9dWq3kmHWh4DYpEH29VL95Bi6Rg4VGqvXlCkg6fDMe+Xl1vI2Yn2fBhLNThRIznjSdn3k6XrzYgUxNvBOEFBOuWqICXygcC70HJ7PXoUcfvcXsOsgOAeWMaFvZxELJ9Cdf5mkSGUzRmt8DpAaG1/EblutUl7Wga4nY8debaslKrCXh0aGow5ZM+7XbiVamboBJvMuyXDJRHLsaU5a6dQDdNtuJq+sjHTTppDuJXyvB03cNHKxRx3e2n08qxpPn4ElavokUKulGwILO6EwBJctCt70hB8QQ1jso4813y+DFwBkm41eqwk589UwcFFXbFRy9A75iRs+VGfTUFGhHqlqjzJFyYItCvZyg7pVYDscw5l0Eojn1sQyvShLTgHukGt7AkanXmbRs+mjoXxf1QQhqqaVrbqUeUjWiV8IlXNz7JZqUOumxC/FCwttekvhh7IkzamYEHKkgILrBu+hTQ36hvip81f4R3GT8hO5m6k+J/Zh3May6O6tInN7Irm3vGMm25XeFPRmkhH2bACAComDRgqnSLCSkqOQjEH0VcZ6DS6oPmQv9UY3k2INpvtTXxWO//BTV+0wRMhxkS4jvSiJGSD+IwOum4Yd79id+V0yBW75FNJhbtrdDosut7oA4AQYSzR/xc0/IuYIvFw8LxxBZp506LqXMbxDrLi0vzYMRH5BaDwDYBTczSuaQMHrSE9PBXINPtQ1M3bGu2yNuAWBB6kD4mYFeTqMCD4WHP71qknsZTSjWdebhVmu1H1COQji3vaSRFV7M24s4HoHm5jYFXS8g7dshc4QCE7mK5jTYF3jPbzCYys49/mF1QHx2NwvldRcL6tOUCcr1mMTV4/sA9x2bVOAwYEv8f66NPLjfyo7veaI5gqAs5rITG8+RC71/1Zu8E+Srg0sNG80CzsaMW1Onq7R5ekQ1dVrUt4vEQgD3yUlsddUwikgfrqwiAdCX3jQ4otJY8aBhT17Ixx2c7ZiKApny5cAkW2LTogzB+cX/sRkWlPBzz0l0VFrytUYYK5uSajbegyRjdBz8NX/amHBG2DHJ9Ndjl0nZBRLcvgW/fkSqTxkMszONi8rBbprClaDoYk+KRAhm5+ATmCJnt3nCQgx1hcpksoY61H3t3K3LqOvRcyTs1A+oBh19R04T3nXEi/D1FWldprUYaC7Ozum/K2+HpkFZzFigYuw5AJsmskIKRfV82NR833yCATQ4YEI6SGjY6clqxUepx9cGB4Xzc71v/nea3+ITjXlJwavmwErvACK/rZbzITRqY+LorPfDfZKKHExUlBs675WwhQ3tTW6dZhipMpEeszxdMZ96/0Q9wFQS/PsOXXQu+tRB4sAg7e4akStkKPDjWcTGAsRr9jLgODQVPV4tSz3yYW+pSNVd+dnEiudHKM2OmxS1sZhGZohoskpCeRcr5lMmMo15lXPdgRZSwMCAqle/OxFJf/YpiyvmPFBJQHVjVZ5TB6hQfR/UCiOo7yYT2T6pzMbemGObBq6fJZeA6ZJjIhCimcuB43H9P1nUSc1vGZfOcEw0k0XRw0qcEz7IpTQl/1/fAF7NQRmUP7qDrZs0UJ/9WsNVUmVoAgDVJeOZe6Sj4OngYQNCR8/xPhXLpi7wcCnY2yp3aOAgb7qvaOlP5jn+ywHZX/gzd1IKHG2kwr7jkfiaRI63O9bVna82RGMj/w1Z0Nc4PlCIcVy33Jjz201u+1BjWBLbaYzFlSPUvZYwHZXZiK1tlJbMuH2Inl/Ym6VFkrr0hJtdul8Ka+uD7r7g4E6COkq3UFlDeHmzqAlNyVPe+4G8MROsi/VT9OlnmozIpmM4PqbpCA7AbStRJqb4j23FvmfRfN6z/lEoDMj7uJbl8TpX78ohkK5kmKDxSmGnYVm/p98yeiV8yjVx/XwbXAEMn+qlyEMRVklYDCrrVW2S6LqGJ64ZMgFRD+Ml5tqiwTHl3BEZTP6aUJAv+1/94bKYzAZdodibJjbyj0Dpi4jO2R2iX+QIzat3XWW9RowlWFtF7ERH+gzqZPBu2oMwmsdASbQP+MrPNaV9YcV/DfmCFXYI0+wbh7Xh6X8bY9P5pS9ABtXOZT5l4mrT+5bw75R8I28RXyy2bJgoetMfkmnbLaMLcae5fYVIiFdjJ4pQfhOgGHAMY3lqRBf5oMjJBGum8MMh5cblvQifvr/n1vYBqlqGmNzVzEcQOo7qno7ElyGxT5L8J4+4AI5NNd386V8akNETmtmTvD+Ibe4xUm2nFllHHekqIuOBU1YVgXV3LgNGjBQoxGCcfgEv25NKpLR/LZ2k9IihH5uTQXy6Hz5ClydJzZmnGea9nvQ0GLHbFecQ6sdtYSz974maik54+P5YgXxHgOSh7TZWzC/kAq+Nw/lovsBpBGJ+YowzeuE+GPXP9CgvkY29jaAa+P1WbDpGyJfCvWfu/ZQ4lVynx6jz1MiC/NZAKTDdEwkz8losigUx76j4ADcR66hCPqdIBEhtstXvuqrg6DgXJYz9V8CXBMQ51HHuCKy3DS4w+WZzQHN6BMOpKe+skTlIRuXHnLwVWIfQuA2Oauo7QfgUxWAcAKhYiypvbYtn9AxgfrtOfDkAbuh3vUEXtjlSItAlmRavJR2tSXwJaBkXlVLG2iFHrn6Rfnv2/rt3qhIGPeMB7OLl3CHfDAB4ZvpKvlpqFdUaeMHKRfpVh8SlDJDieXSab9+L6jRrkkYUEtzZ1Stt8YXdumA6GCBKvF4NgXfTNscxru/up9kLHjfdi5zhsIMnUwVv/OrB9Iu2ShPm06uAtztzpn+zkwEsrMfuimn5dqSvyQxQ4mwtd6KuJ6CkLXHBeaup3EU4J8AmYCDIVgMkS8WXk7vxalrKW5V8eekMG27ldk5VQS09AxCrblhuQuwB0l9D1waEJV7SNzMXE+fJwb4JZP19I2kx0Z1gADAGa4zPm8t8VIGIXqxM8kJ+T7hdwA1wkHfKqMMPeuWKDKW1hSScX6Kv+tq0RJnKt7wvwUEtm6Va1DwGyFsNCu/LXwU35JqAF6whHHR9EGg1M3SrgQ0nOJaLtJoKfbw8SRVkabfpHGzXd9dBm+wJXORr+FFrZ1a2Alc18HdQvvIXKNalPL5dw+7LtJgLIfNRiu6ASQMlo/DfoGj1eq4+9c5FldKkA83BVbyK6nAT/NKhg3JZDvGz2HOCExmwEVJ7lASWFTr/xCMhiUQAlxn5+sin9ze6a1PAAEy3PfHntq5vG2CrmElfL3ki7WIVCikzVx05ea4CkTphqycLvq2emqMDXNNr5UkhBvEGqI21x9tigkzYMby2U+zhXN8kW8YVEeXTj1jcal9Mw6CJ4/P+VMFMEG2ks7V9cDQfqhg1AUFXtk0V8VTeUCYkhAI4nJmPfJeoOAz/2sn/1N2Et4rqdZUvIv72SVsXA2TvWLr0YDbymyuFfWA89H7Q3sUhYnr/LL6jNAI/66ptRTgZOcx91cJNO90qO2VGDfFvUbDsRlJBzasvw/B5WN6+6hBnQi2eWcb6aLPyN+hj7c6/QSvAF6X00NukAzmnjpXgbcWA5Szk7VPw6nTBVUUXODImiIDz8bIeTAanNcg8xvhRtz/+UqD2+U3jP/jeIvPJskDlrKfyKmvghwM2mKKVraJQVckiK9LM8zi4h3R7woxlzaZDiv9lqOIyKBcQDxxuxHtPLYK8BYKhIZdOiGkfexPaJlqI7J+SEMogcvn8+3W8ZuFsat7IPuo8uZfvK9dujA3/tDbguKcVa20HbmXQjAKo6X6Ew+55ZAamlSlTeun3Br6HvIT/0s8UBv+4sWIlhJvrneWo5RUPGdYNZODrES4Vn2j9pMqLTzhYO6vYcy9UbTAETwbCBdrwNTlTBIjMmtW0DfUZyhmVErFqneUuY6QYBM7Jyxd+4KAiaZLl992DO53lhMqoI4Rmum2DBUBdcPqBUkm7m/tzcw0n5q1bQzDBCUWNWV5rz2k/GBTCW3yRudquP2sUQ+23TAItj1kgPkvZT9zNh9bUKu9BvMEcP2mrWSeH6o9IVfwTn3SAXaDDeJT4zqw3A2pjDYVeemgrGkSw++dm3XxDzlSR6R5ceoRVzQQus54tH7Ot9h4Hh6kyPHEoMEB0tOabBVqNJAmmCgc2xXSOPvQ7dQo+UFyuqVayIyWmwQuCc2Wj7p3uYmUummidtNcAblQ34VnuOb5BIc24+vQBVGCcLiYxPA6pmEYoWGjBTO0tyQPA5GUXfPOUUIW8VPrALSYjR985OG/P9rjWvIdd/jSow2JUsyqdjHiufWfplcpEWXaVs3UcstnTP/AiTM9KVEkO2YdgPC1OGsIel0FShMDr9TvXPL8uHjbqv7kngEeeWlKLmOIUWuXautO3hL6q8PLzSTkEdi6qjlehTT3ibtmL6TnrQrotqqehnYSRgMdFiHdxNDVjlfsW2h0U31bvLSeupSKDr4ZppJ/emsRNpb5C+3kT1GklFKQu8o/xz3mKGsHufq8ZE3TUmkhRLvUTqZuzrVczjc3SFcVlnbyiDce8/IjPrnW1T3Hi1GhJI9LFJIippdQQXJoO0eGk2Vm9N0IL/fEIziDId0BRMTSyKeOwoyLJhSfx7M5OKLL1LUDDcCgFtQly1M/FMoGPQxzmbzfSPQCM8dVH7CkZ5C7ledImZIz7pYO3wUAyx5l2l2aql4IlS1ZITQmctqa7rKs0TPcB2gd+H0LWcFn5xBfEi06zSjOTnQXmxjpS5tGKnfuTJzOhXOwIQKio0KisQFZHv7y3fg3dZz3epptS8ngELJn5A0k1sLNkil8dZieKu+eAGGu58NhTwPg5r8MI+UBet7nP+14g1++UucLV9mrKMPUXrTWMs7xXvc78EBAWPWaPoigkkPbR4tZ47tsc/Mi4Uqz32Ipxlnz/39VE+nW3GKRfV3eDhX9IcMa8n1itz8bO4eoAk35txn/K7SqVOeLqygbOntn/SAUKpOs01Sz2PjjsnfXh8CmeZFRSPQBwHnG73SB7E+Uk+0SqBdp4LYHzQr9dHbYaMd/ERYuqxoCf8521hBnFumXnmiujolgZCiEMjFzmu18xq0teuFHhBQyW+KsIQs7jgCVRGotDkYWpf+aRJMkrIB1hG9HPPS6YUwEL+yZBj8fVaVJD6UyMPP1dXCS0nsC6QWycOxW95nhdG2zVu0bhPp2FQRDSRYNGEsNozBXmXEdfHHOi+fxILtUerah6bkDJYGJ+R2ux2/jkSTJ7DirKmNB4BHLM6+qFgaLghToPGaUiJub3ZbiI3iwTw9ko9T3s41Gn8oo5Fwm2C/u8S/fbwNB6QnwmYZPzoMpND0CRbkbJYoRjC8RaE409YnXfmrr20VBnkZaSs0JfNLEls4pJjUd/ose3fDTftw1GTzlR1PTo7YBNokrwD5vZuwBp7pK1Y6W2kh841cQpeKrE1p6iQ6fCx/lnrMignJBj/g+CIyV61dQX5JnyID0l5MroCPybvfoe1/94M+DN1NutDs73PcHLXfOILGMFeoMdkC65vq7azdzZSn0OQhrWtaAQuO96BXBzPpYseYGDgy83aXHoQoL76XBoAV+ifPc1ZYirMoDDMm9k+tWBRmka1dKgnjF1pRRsf3GO3lXVtcPavaKz19zSzi/uX0+Mo7GcN02zjbM6Gkq13TIFZRbDMg5tyda/sD9fwbdIm/S7U3QkzN2jXbVgg41HPXNvmqDCucu0LrD1LkP9LXeY8LHGnL5pqrdPB5vn8vRecoN0zFzYeguQGvRQicLapigtA1HdH8O1e2pDuDA/PUhjw/iStK2w18MD/aBvQVBmUQvDwog5Sb9epd61S37qSOJXihnw6Viit3r1Zncgim7RfNE9IS3GObsrzysL+w9KYomfPNs4OpOSndew4NAkyCL1Nm4bIheav2wvHlce99rfumh5tAQ37YC1FEuJg+IBdUNXG9BG9x+j5GbDZg7Q2aWiBTfOf8n29XpOn/7u821ztx+M6mQgxx4+tToJ5jEDAOrp3mRa9aMwBX2L27ceaKG1Sk79KDRqMrPPVg+pFML6eDxz5SL5stz6L8JC91ec1Sn4U1/NjfBklC4PSv5fhOy4X4uA0B0XNT3QQrkJ/pwS7PWsNArCNswd4QBMxVn7vSmJoEjXHyFHEHJIYOWxe+cS7MDf/36VGZDGgAVXkWkmHsegqWeCZNtfEiA/69qbjhKE9qkWq6btz8VM2InLOMQIBaCIA05HWuSI/7xbVn2yE2Vv2AmUcNQ9l3b3vGPt5pTf/6lH5Io5aAnQfIWPwgr1H6urUlkf6ss1blFmvz6MkI7FBo/z1XnwY1SsNPhD4BalZDuw201Y1vIZ5Oir8DZwRaoUTsJuDAm3/3Dg9XTzCAumGW0KWdmi+t3fhhU4NmmKXrj2GQSfQ7Gly5up4+Skh2Xwe81FIf9WAk/Jefkb/0v1LR/OYObZKayN1qwXQ1SekNSWAQf9rxc0bKQGbi6ymn8axMOf8aQuH4Da+fcS32Rip5DbEGx8ItDJs3KdpcgvWWaoADDKxvN3vnIadZofmzTFvp6/90+NGvCJT25CXrsNivbJ824cnMSxkE1UIxMQZOF0WyDIVysmRku+2ECB6wuMfKHtZDzJOhdwsHSbIS10lWpDL7CGhYVI+3Miy0/+nz272m77ibez1rD1+/njL56OcC93PsxAYJnXAsp8YmKMXgGpygEqeRd0Tl8FRAQE6ZTMvdU1YTA3zc3qd+TtqDzX/KP2EIp91ASCWVPtETZ08KykmzPrThpFAPgAabt4lJ0Vtj3lKmfxvi7Qltp5U8rf0bhppsP57D1SonuMt67EYQveGn0Y8lT3a0AjsZrUnYZzsbOAMCukThRlz5sDqRncq5JI3BWhhhf6H97ChBtgtnPoRKclZJBKiW8ciWflOAzGVtnhvMEKrlw48N3Y7n8woJPjHkcVHm5wc2vpOWEFrJhNaPlZxLYjie0l1/Ms/rCG+aUXiuchLIE7FRNepFWmdvkjUhWt0XEIDzw0CAl1ETCKcAVuMPfwKLHyete4VBaO5sIzM0kbnd/jSvKDgcuT6Jmk5BbeFT14fMcOAlar9s9JQPqsQau6BiUFpubvjhIeCHBCCzLFKpEJtsxg1HJK14SlcSEiWxG1AQTRKgGNiRHcmf2EY2AdNmy7jWVcxMZTBnZu72A79X7uY3leSYBM4k+TmObsR2Om3Rnn8ygmMKLqCwMCytQOi0TUfWO17/RftZxDQV2StdtzEWpiS/xhPf4y6FZx45FNwX1/EEGi0R78it+icdieNFx2yD++GMMnQ8XowfjIssk4sqcczQukvqY16gSj3aiSA2TaMFYNS188h9Lg+YEMFNRJUnmGVleecXZnEz753FtjWqJZHSJEMtwqesV/OHPiIlGYOht3U23VfFPh8b7wwXQMwPP9fWlG+QOx/SJKAG8Ob3/rWtBOjVEvsJcZiauthgDZjdArbNr0PGs+5e5xSbNXFQ3TM/19cxcrEzSXe7whmd6RvXjH+3Htu5DOkSk6ZweDvrTEOBbQWVGLOqHrjAHZAeCyVR8ru5lP2FhlE0wYUyAcUy5qNzDnJOtXV5EoNpY5baX1QUUKDlsyJNkGbs/AIp9TXqujf9MlqlxSkTOnNrmpihnpURyb5DX4wL18yrbxXfFJpk30yjoMIs4A3LlDZe9Y+YqE9RbWRqRS7To0obFFL25crUoA0YbDqTDeFz38EebHJ/LQH+hmxJFJHNd+fJ56BB+XbUJSGHtoJG8voyHhtGkJGPCBwqxXZiJePm+WQKxcRpfHA+q7h7BaEpgvcrq+PwttFq3qbqIEB5NKSo2NsaIqLqeC8R4b0NIKJuoGQAqv1owmKY9qGJBol9sSljznHPAvTAoyOThINLkUN5KlyVAhsiOD0F/VCl0SwzVYF4Q2/KCJH9868ZLui6ukpttdPStrWJB97WoacDiVXvlXrs8DFI+bbUvTy2tC81aLDo3NGycmbp35hJugnD+Ufe32W/JZWB2DVqSJKS2Y75HXEtlg2of9KZ7AuggtCGd/ybhfWiFoye6IDjG+J/6vd3ox90dX7rzmRJqlaWvETetct1CE/L4ncZv+zE9aH2p28ry5DCmxI/0SDz8SEqe98jAZh97AmyFvgY3QsSfKbihx/AAFl76VC4R+d/rWfK2xZuYNRDgH/mEx/Ka3dLiEDcG1MW9vFNy3/k7WkVYyo8edsEDXdrcWjiHZNSi3fhGsP3s+7D775MZ2+mi0QMYuedMzt6GmYpRpRQK1EV5tC6zKy7UxU0jIMnlRa7H59Tsmvd4lKnpSFvymeHNbcM7oMZSVivEYcCBn2K/2tXmfi4pcgHaJVjnjy2dQTKq0jAdxulteHcgNOLzCkk0VYChWabT0cqyakvBOL/KoO4tGJqPqfWdI3KQVo/eTx0r+21MXcQ5BnpZOhr/zGyoSTnjUiyFFdGx77jPLR/sszDYX10tl9Rrhuj9oVSCmX7+r+yeh1JTVqwhLReH4rmMpEjKYz9tdq4R/aXorTonFYjW62JbteWGncxBDa3tNm/3HsYtUh6WLk5NNGr4mVq4bcI08qkivSgUQ5LhpfR2v8UKwPLNt3PMN0RIz1Kq8F5lYMELcd4pl/SHDgIz98XFgbffLlZC8WSpcwXefj1RoeHzsNikmLFWRFNF8fhhSQw4G/8FBNOiv8AZvTYkPR2PmGsqiA8k7JkVfCzamxoy5JZ9OTK/erJ+uvZvy8+Bh70m5TUQrg6JbTEOpTababUvWSsW9pA1l/4bwe1Y5B8T4Q9in1Fbzirtj6Iv6aW/IiHfAvvQBolbAIFRedDjowVkUT4I33E7Dru784rXMoUUSiocl9aBmUUqlLJDdUHnGrlTkzN+b98tsJ5RG2Lmgxqingwo5s+DQ2xZQpX1R3JFfkqkDz6OuMoNA4JxmXWIxfblBbhwPVnaCiDhdqHNU5cc2bk+9zGmOJK+auVn4sOHOKdPYIc2vH8dYXufXJiVDIrfhpUCZXIPSPyn6x5XAnZFoUu1IngywhHWbNXMl6hEY0sD61uQhZD3Gp1KuuYRSGohxnYPlHn/Xui3TUgvzAK6lRxwjTUEAz1H/0V3JszyLWPBG1/xzquhD+dY+PvN7E9y5YnO4DAMRj+oQzLzrBXSffzkxYCcvLhDggNcvICH7d23PUDmWphcfj/jExJlIQmOFFx2LCpw5r6bO/kNxcVf2vyIxby6an+en1XFGO9C2jt3BvGQ8LMrWn6u93hmvCMz9jLWImLzCGctJbuBwx4py4u6t4p3Ml3JVP7rTGkK6zE0aUrxccPyByToDy4HZX+9Zze0hFeuS/pjOkZYTK7GsPhixGAJQ+NuL5F0/b5DTOjRUmgge9n4B7nMPWtQIQgeeJShJBQiqcA06LMIJd7S15ovNH0vwRLBOvfWQckSXVeVUUQrdVPGOidRoTaKbR0H/jMtFx4ndLZNYyT5wF55GZkn0e6XMT3NsbMag2mhuOjRrcfgvbF5rccpitxO0hzT3cgdJ+zOzeP3KWcueeop26LsXNjXPVSq58HimuXZdCoqPl2544AHyj4RMxNoMQxtCdrVjGYeRcSiBHNWZcHJ9JYsOBxRtOPPRYuoA8Cv88kYP3VcSLy/2n9V7470qf+wZye4v+cUVj4yFnvwHiPaahqHjVNYAGYQaVw9fPUrd/zJyiew2oEB9mjPFQ1qPV1SAjDBbeeZdAcsbA0z3jU3cY5vMJ+sp0jstfVupHmL/PrafKlF7QSLSLJmWu0fqv6e6LdpBYFc6Qa2t+5QskKs5BYzp1UmqG2Af1ykmTLVeSrAkmHPItNADR7kLq76lnMhiWkmQlrDUFUFxJJJWx0B0VImFGzq8HHKpIm3JIZdak4MPC2sMznFyUucNwbTqjqO+NASJWjkqXa0JmTAsUmx/bBuzh5Xuf0abxmMJEaAKCDU7IJHBHNEso1UZneWpEC9gAIwz5sBVRAWFQWGVwSyXz2LCFE/zGMqCDS0XBNGEQLjln2FdVSV2LArQPgTuKcBlyK7AGZsAsJHqhPT3CwxMHWqPvmON4W2s2d5ifolS/C26JNJoYGL/cVWRG4FpsxKW29NLiKZnBMxsYytracSC0T05OjjkTU2sBVDnppPVymtJOphEHGUx1Q0LrVDozXoOA+8wKdZo6BpEQQAF+sUdRVl7NYshVur2jM0UE77PYLPLB2RHgBZrIarp438Gmgu5Hwl8XYXwU+haM42U+rpMzjwWEkTrFCu6HK5M1sFP5Kilw4YPgeE/QvW7yHisOWhDYY3WdGBX/jQxKxTEFW1b2tSiMDtYFPxSSdA6BwoWtBwnVe/srTWmGjxmEOuQhEcvvMuNdVN6rvXh/jGNMa5cZ128HnGlcDWISbRf1GRZwmNDe4U13RxKpWC0YQEO3v1wIRZTPpbxPoowDzqylGVzoNd48+kWqOqyeP6V4R8yIXJ/WLMem7arZ/P8wRMC2gOFox92ac5pEUao2blwoTYJjMqVrfCT4XvZi4WPwnjGt/vJHCduElu5nGImCfZgdVVzvcLBAjxtf5gTV+8cBZ4/QNRU4KrCS4LmNX6LOchgpDMIj+k3nV4LiKKqcwLZAiUtiyAAXBjYnXx/z7NjYbYEfdhkOVb/No76bL48ZwrwtwK3DUdn/5EzDKIAJx7IZNJnroSmsiUID0Kw5uAlFtxnzmO49GP/O2Naptkpbbage+DBFWSMUdpZPpCkAH7jI1LWXk8VOMvXoKNUdEnGdMnfWgMCdoPpDJ2GfGy7qhtCKqsPf1zCwzzsoALnPDj3ulHGgogQmgivogk7KeyN8qbYKMeEfeNfPDM7oKJwx/QInoNnFEyHQfhGNpzvD8nxL0feYXGnhEE3BRykWpk2z+M1ANVrZANL7PLFi1flocn+R73q9POisHo8jZvfY5gv4xGdnnidxSSNJ/tx2GDoxyeAzOquw8Mw5VkX49ph24EqZkJqj2DLb+A18CVAO4U7JEj/JRntRXgaITugII5/0QGsi9hM9ScOJl6y33T3ULvuDpUyFKSXzoHTHRLjh1nmfLPZocorFFrwzfUZGVRkNcsOggOYc72OJCJ9Q0Wz2iWQSyWckYAGhYCsouZsmvGMbR6eX8U622Ht5EvQoMMBro1yaCm/td6c/j6ymW1x2+58vdAqeU6gmQ/IqsM3P6cmFhC7rPZ19PkCMf7964Bf1yMPzCUYDACc84K1uDYoNDN15ZQ+a4iuxWlp1f+4fJ2Hh5YthJRU24lxnmHtxhAprX2ZblkEJ9h0AiMkOEVX48eF38z2rgedgP0mKD56NW7j9Yv9O5kwSl/Gx3YcypqqAdS3eAWBtuChgik9TtiEnNqGAhM2rLY+/Khce5EaKvnU2AeHRuKO4GI/tltC7+vjyLeQK9bzZSCE0m0YJJ5LNT9dwEBn1iH10SMJTdv/waYRFDQ+QFJ7dw8M9fEBzyJDFngIAlJp5brXExVGGCkL8Hy/BE+piHqTC0NTMvE2VObc7K2FtDGxhk8y2sItP3yt15dBYpCjaol6M1lTIi4li5ss4B0vDtDljgMQiieX2VI/x7e/h2XFw/SVncMbIjB4vzNOblZCFeTw/k36pW6vgXUaXl6FdBQAE+iUflaKtPwHQ6Lu0UowKENpDa85HMZTIeHZcFv6WLfaqUEkqVLRz30l7i+IgEWYb/PrLX87mjHWYUt5whsesSiccIv3g/h5laHXUvenSpsM6Lx4iaDmPLsNq+wPoNfPdt168C0MHWvirIrs3dKy46we2HNu6psIS6uN+POsz8Q5+jkX5sLAT/Udqdj6tIsXpGDK/Bj9JRdn7wSN0Pr0E2QnVpIQACPQOCCIeLmwei+oDKohg/FnpdO2VPtmJAiMP7mE7lKI8x04JJULoSAFD5jcvGh4F4VSlybJNnqmleBJta22Ns4rsHpwoVX5O4F2G9U+agSGBELil8XSVMv73K6oUVk++P5b2+7vHPdPbe84rGNl72De/OprkoELQLpykhidymTpgIsukmDyV+F04V8C0IohpiYYByrFnJdUzwktrCmh9uDvQ6BSFUZ2h0yq1miHIZ4EfuEt/7Xl5oe29GuYLXyR6gWo+jx7C3CqRtf1ksUsl6gujfTPxBmG/vRURZL6ZjmZbBng3tMrY0b1w2NGo4Cq2MvSiANCETFp20Lj+hOt7nIoQ0Gdm7rGIGbQP3mgjkuENDh9nkUbmnDTbwYsGCXGMC6bB/kOgttu2chOwyN0Hc9IEoPuvEov4wrW5ByjIMOFHtj4Knoan45voQ7ON9cq19DZa0sxinIX1R1CvIfrwRhhgmtskemJrcTiWD/9bTiKDNbHYWTmOV+S33gIBxunk9TwKSrFJfYDn48yjaB8BXMX7Kmezs6edq1SnKokC5EC7oVKKoHIN8EHpaoQxvzYis8C4LB7b+H5G7axRdJM0BCsTmfSgIcvYnucDdxLIqseeBJV76TIQwRvSkQzxm3TGrMLYjJLqTxrCqyO1UXpeDLHmpQkUKIGxci/1b9oA=="/>
  <p:tag name="MEKKOXMLTAGS" val="1"/>
</p:tagLst>
</file>

<file path=ppt/tags/tag198.xml><?xml version="1.0" encoding="utf-8"?>
<p:tagLst xmlns:p="http://schemas.openxmlformats.org/presentationml/2006/main">
  <p:tag name="THINKCELLSHAPEDONOTDELETE" val="thinkcellActiveDocDoNotDelete"/>
</p:tagLst>
</file>

<file path=ppt/tags/tag19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00.xml><?xml version="1.0" encoding="utf-8"?>
<p:tagLst xmlns:p="http://schemas.openxmlformats.org/presentationml/2006/main">
  <p:tag name="NAME" val="SingleBoatText"/>
</p:tagLst>
</file>

<file path=ppt/tags/tag201.xml><?xml version="1.0" encoding="utf-8"?>
<p:tagLst xmlns:p="http://schemas.openxmlformats.org/presentationml/2006/main">
  <p:tag name="THINKCELLSHAPEDONOTDELETE" val="thinkcellActiveDocDoNotDelete"/>
</p:tagLst>
</file>

<file path=ppt/tags/tag202.xml><?xml version="1.0" encoding="utf-8"?>
<p:tagLst xmlns:p="http://schemas.openxmlformats.org/presentationml/2006/main">
  <p:tag name="NAME" val="SingleBoat"/>
</p:tagLst>
</file>

<file path=ppt/tags/tag203.xml><?xml version="1.0" encoding="utf-8"?>
<p:tagLst xmlns:p="http://schemas.openxmlformats.org/presentationml/2006/main">
  <p:tag name="NAME" val="SingleBoatShape"/>
</p:tagLst>
</file>

<file path=ppt/tags/tag204.xml><?xml version="1.0" encoding="utf-8"?>
<p:tagLst xmlns:p="http://schemas.openxmlformats.org/presentationml/2006/main">
  <p:tag name="NAME" val="SingleBoatText"/>
</p:tagLst>
</file>

<file path=ppt/tags/tag205.xml><?xml version="1.0" encoding="utf-8"?>
<p:tagLst xmlns:p="http://schemas.openxmlformats.org/presentationml/2006/main">
  <p:tag name="NAME" val="SingleBoat"/>
</p:tagLst>
</file>

<file path=ppt/tags/tag206.xml><?xml version="1.0" encoding="utf-8"?>
<p:tagLst xmlns:p="http://schemas.openxmlformats.org/presentationml/2006/main">
  <p:tag name="NAME" val="SingleBoatShape"/>
</p:tagLst>
</file>

<file path=ppt/tags/tag207.xml><?xml version="1.0" encoding="utf-8"?>
<p:tagLst xmlns:p="http://schemas.openxmlformats.org/presentationml/2006/main">
  <p:tag name="NAME" val="SingleBoatText"/>
</p:tagLst>
</file>

<file path=ppt/tags/tag208.xml><?xml version="1.0" encoding="utf-8"?>
<p:tagLst xmlns:p="http://schemas.openxmlformats.org/presentationml/2006/main">
  <p:tag name="NAME" val="SingleBoat"/>
</p:tagLst>
</file>

<file path=ppt/tags/tag209.xml><?xml version="1.0" encoding="utf-8"?>
<p:tagLst xmlns:p="http://schemas.openxmlformats.org/presentationml/2006/main">
  <p:tag name="NAME" val="SingleBoatShape"/>
</p:tagLst>
</file>

<file path=ppt/tags/tag21.xml><?xml version="1.0" encoding="utf-8"?>
<p:tagLst xmlns:p="http://schemas.openxmlformats.org/presentationml/2006/main">
  <p:tag name="THINKCELLSHAPEDONOTDELETE" val="thinkcellActiveDocDoNotDelete"/>
</p:tagLst>
</file>

<file path=ppt/tags/tag210.xml><?xml version="1.0" encoding="utf-8"?>
<p:tagLst xmlns:p="http://schemas.openxmlformats.org/presentationml/2006/main">
  <p:tag name="NAME" val="SingleBoatText"/>
</p:tagLst>
</file>

<file path=ppt/tags/tag211.xml><?xml version="1.0" encoding="utf-8"?>
<p:tagLst xmlns:p="http://schemas.openxmlformats.org/presentationml/2006/main">
  <p:tag name="NAME" val="SingleBoatText"/>
</p:tagLst>
</file>

<file path=ppt/tags/tag212.xml><?xml version="1.0" encoding="utf-8"?>
<p:tagLst xmlns:p="http://schemas.openxmlformats.org/presentationml/2006/main">
  <p:tag name="NAME" val="SingleBoatText"/>
</p:tagLst>
</file>

<file path=ppt/tags/tag213.xml><?xml version="1.0" encoding="utf-8"?>
<p:tagLst xmlns:p="http://schemas.openxmlformats.org/presentationml/2006/main">
  <p:tag name="NAME" val="SingleBoatText"/>
</p:tagLst>
</file>

<file path=ppt/tags/tag214.xml><?xml version="1.0" encoding="utf-8"?>
<p:tagLst xmlns:p="http://schemas.openxmlformats.org/presentationml/2006/main">
  <p:tag name="NAME" val="SingleBoat"/>
</p:tagLst>
</file>

<file path=ppt/tags/tag215.xml><?xml version="1.0" encoding="utf-8"?>
<p:tagLst xmlns:p="http://schemas.openxmlformats.org/presentationml/2006/main">
  <p:tag name="NAME" val="SingleBoatShape"/>
</p:tagLst>
</file>

<file path=ppt/tags/tag216.xml><?xml version="1.0" encoding="utf-8"?>
<p:tagLst xmlns:p="http://schemas.openxmlformats.org/presentationml/2006/main">
  <p:tag name="NAME" val="SingleBoatText"/>
</p:tagLst>
</file>

<file path=ppt/tags/tag217.xml><?xml version="1.0" encoding="utf-8"?>
<p:tagLst xmlns:p="http://schemas.openxmlformats.org/presentationml/2006/main">
  <p:tag name="THINKCELLSHAPEDONOTDELETE" val="p1j1gkF4NTUORk8o_GJWdqQ"/>
</p:tagLst>
</file>

<file path=ppt/tags/tag218.xml><?xml version="1.0" encoding="utf-8"?>
<p:tagLst xmlns:p="http://schemas.openxmlformats.org/presentationml/2006/main">
  <p:tag name="THINKCELLSHAPEDONOTDELETE" val="pygmcpBSvz0qY8IVnsRPkHA"/>
</p:tagLst>
</file>

<file path=ppt/tags/tag219.xml><?xml version="1.0" encoding="utf-8"?>
<p:tagLst xmlns:p="http://schemas.openxmlformats.org/presentationml/2006/main">
  <p:tag name="THINKCELLSHAPEDONOTDELETE" val="p862DHhcZe0qICkosmNSuRQ"/>
</p:tagLst>
</file>

<file path=ppt/tags/tag22.xml><?xml version="1.0" encoding="utf-8"?>
<p:tagLst xmlns:p="http://schemas.openxmlformats.org/presentationml/2006/main">
  <p:tag name="THINKCELLSHAPEDONOTDELETE" val="thinkcellActiveDocDoNotDelete"/>
</p:tagLst>
</file>

<file path=ppt/tags/tag220.xml><?xml version="1.0" encoding="utf-8"?>
<p:tagLst xmlns:p="http://schemas.openxmlformats.org/presentationml/2006/main">
  <p:tag name="THINKCELLSHAPEDONOTDELETE" val="pogBdzfcxS0WImtqfnGzojQ"/>
</p:tagLst>
</file>

<file path=ppt/tags/tag221.xml><?xml version="1.0" encoding="utf-8"?>
<p:tagLst xmlns:p="http://schemas.openxmlformats.org/presentationml/2006/main">
  <p:tag name="THINKCELLSHAPEDONOTDELETE" val="pp.V7gnY4mEiQWDVwcBaGWg"/>
</p:tagLst>
</file>

<file path=ppt/tags/tag222.xml><?xml version="1.0" encoding="utf-8"?>
<p:tagLst xmlns:p="http://schemas.openxmlformats.org/presentationml/2006/main">
  <p:tag name="THINKCELLSHAPEDONOTDELETE" val="pcmOIJCBBJ0SCIE9Hc4Njmg"/>
</p:tagLst>
</file>

<file path=ppt/tags/tag223.xml><?xml version="1.0" encoding="utf-8"?>
<p:tagLst xmlns:p="http://schemas.openxmlformats.org/presentationml/2006/main">
  <p:tag name="THINKCELLSHAPEDONOTDELETE" val="p6Pxf3.Mdok.1CW6ShraJ5w"/>
</p:tagLst>
</file>

<file path=ppt/tags/tag224.xml><?xml version="1.0" encoding="utf-8"?>
<p:tagLst xmlns:p="http://schemas.openxmlformats.org/presentationml/2006/main">
  <p:tag name="THINKCELLSHAPEDONOTDELETE" val="prTWQ8FlfWked1protDgyoQ"/>
</p:tagLst>
</file>

<file path=ppt/tags/tag225.xml><?xml version="1.0" encoding="utf-8"?>
<p:tagLst xmlns:p="http://schemas.openxmlformats.org/presentationml/2006/main">
  <p:tag name="THINKCELLSHAPEDONOTDELETE" val="pWJ0ztZEDmUqUz.WOBcYSEw"/>
</p:tagLst>
</file>

<file path=ppt/tags/tag226.xml><?xml version="1.0" encoding="utf-8"?>
<p:tagLst xmlns:p="http://schemas.openxmlformats.org/presentationml/2006/main">
  <p:tag name="THINKCELLSHAPEDONOTDELETE" val="pVesp1IM2BkCx5W6yW60..Q"/>
</p:tagLst>
</file>

<file path=ppt/tags/tag227.xml><?xml version="1.0" encoding="utf-8"?>
<p:tagLst xmlns:p="http://schemas.openxmlformats.org/presentationml/2006/main">
  <p:tag name="THINKCELLSHAPEDONOTDELETE" val="pnhFlVxgot0uh2nz.fqRPuA"/>
</p:tagLst>
</file>

<file path=ppt/tags/tag228.xml><?xml version="1.0" encoding="utf-8"?>
<p:tagLst xmlns:p="http://schemas.openxmlformats.org/presentationml/2006/main">
  <p:tag name="THINKCELLSHAPEDONOTDELETE" val="phsEJ8iQcCky6eNepnyjxrw"/>
</p:tagLst>
</file>

<file path=ppt/tags/tag229.xml><?xml version="1.0" encoding="utf-8"?>
<p:tagLst xmlns:p="http://schemas.openxmlformats.org/presentationml/2006/main">
  <p:tag name="NAME" val="Rectangle"/>
</p:tagLst>
</file>

<file path=ppt/tags/tag23.xml><?xml version="1.0" encoding="utf-8"?>
<p:tagLst xmlns:p="http://schemas.openxmlformats.org/presentationml/2006/main">
  <p:tag name="THINKCELLSHAPEDONOTDELETE" val="thinkcellActiveDocDoNotDelete"/>
</p:tagLst>
</file>

<file path=ppt/tags/tag230.xml><?xml version="1.0" encoding="utf-8"?>
<p:tagLst xmlns:p="http://schemas.openxmlformats.org/presentationml/2006/main">
  <p:tag name="NAME" val="Rectangle"/>
</p:tagLst>
</file>

<file path=ppt/tags/tag231.xml><?xml version="1.0" encoding="utf-8"?>
<p:tagLst xmlns:p="http://schemas.openxmlformats.org/presentationml/2006/main">
  <p:tag name="NAME" val="Rectangle"/>
</p:tagLst>
</file>

<file path=ppt/tags/tag232.xml><?xml version="1.0" encoding="utf-8"?>
<p:tagLst xmlns:p="http://schemas.openxmlformats.org/presentationml/2006/main">
  <p:tag name="NAME" val="Rectangle"/>
</p:tagLst>
</file>

<file path=ppt/tags/tag233.xml><?xml version="1.0" encoding="utf-8"?>
<p:tagLst xmlns:p="http://schemas.openxmlformats.org/presentationml/2006/main">
  <p:tag name="NAME" val="Rectangle"/>
</p:tagLst>
</file>

<file path=ppt/tags/tag234.xml><?xml version="1.0" encoding="utf-8"?>
<p:tagLst xmlns:p="http://schemas.openxmlformats.org/presentationml/2006/main">
  <p:tag name="NAME" val="Rectangle"/>
</p:tagLst>
</file>

<file path=ppt/tags/tag235.xml><?xml version="1.0" encoding="utf-8"?>
<p:tagLst xmlns:p="http://schemas.openxmlformats.org/presentationml/2006/main">
  <p:tag name="NAME" val="Rectangle"/>
</p:tagLst>
</file>

<file path=ppt/tags/tag236.xml><?xml version="1.0" encoding="utf-8"?>
<p:tagLst xmlns:p="http://schemas.openxmlformats.org/presentationml/2006/main">
  <p:tag name="NAME" val="Rectangle"/>
</p:tagLst>
</file>

<file path=ppt/tags/tag237.xml><?xml version="1.0" encoding="utf-8"?>
<p:tagLst xmlns:p="http://schemas.openxmlformats.org/presentationml/2006/main">
  <p:tag name="NAME" val="Rectangle"/>
</p:tagLst>
</file>

<file path=ppt/tags/tag238.xml><?xml version="1.0" encoding="utf-8"?>
<p:tagLst xmlns:p="http://schemas.openxmlformats.org/presentationml/2006/main">
  <p:tag name="NAME" val="Rectangle"/>
</p:tagLst>
</file>

<file path=ppt/tags/tag239.xml><?xml version="1.0" encoding="utf-8"?>
<p:tagLst xmlns:p="http://schemas.openxmlformats.org/presentationml/2006/main">
  <p:tag name="NAME" val="Rectangle"/>
</p:tagLst>
</file>

<file path=ppt/tags/tag24.xml><?xml version="1.0" encoding="utf-8"?>
<p:tagLst xmlns:p="http://schemas.openxmlformats.org/presentationml/2006/main">
  <p:tag name="THINKCELLSHAPEDONOTDELETE" val="thinkcellActiveDocDoNotDelete"/>
</p:tagLst>
</file>

<file path=ppt/tags/tag240.xml><?xml version="1.0" encoding="utf-8"?>
<p:tagLst xmlns:p="http://schemas.openxmlformats.org/presentationml/2006/main">
  <p:tag name="NAME" val="Rectangle"/>
</p:tagLst>
</file>

<file path=ppt/tags/tag241.xml><?xml version="1.0" encoding="utf-8"?>
<p:tagLst xmlns:p="http://schemas.openxmlformats.org/presentationml/2006/main">
  <p:tag name="NAME" val="Rectangle"/>
</p:tagLst>
</file>

<file path=ppt/tags/tag242.xml><?xml version="1.0" encoding="utf-8"?>
<p:tagLst xmlns:p="http://schemas.openxmlformats.org/presentationml/2006/main">
  <p:tag name="NAME" val="Rectangle"/>
</p:tagLst>
</file>

<file path=ppt/tags/tag243.xml><?xml version="1.0" encoding="utf-8"?>
<p:tagLst xmlns:p="http://schemas.openxmlformats.org/presentationml/2006/main">
  <p:tag name="NAME" val="Rectangle"/>
</p:tagLst>
</file>

<file path=ppt/tags/tag244.xml><?xml version="1.0" encoding="utf-8"?>
<p:tagLst xmlns:p="http://schemas.openxmlformats.org/presentationml/2006/main">
  <p:tag name="NAME" val="Rectangle"/>
</p:tagLst>
</file>

<file path=ppt/tags/tag245.xml><?xml version="1.0" encoding="utf-8"?>
<p:tagLst xmlns:p="http://schemas.openxmlformats.org/presentationml/2006/main">
  <p:tag name="NAME" val="Rectangle"/>
</p:tagLst>
</file>

<file path=ppt/tags/tag246.xml><?xml version="1.0" encoding="utf-8"?>
<p:tagLst xmlns:p="http://schemas.openxmlformats.org/presentationml/2006/main">
  <p:tag name="NAME" val="Rectangle"/>
</p:tagLst>
</file>

<file path=ppt/tags/tag247.xml><?xml version="1.0" encoding="utf-8"?>
<p:tagLst xmlns:p="http://schemas.openxmlformats.org/presentationml/2006/main">
  <p:tag name="NAME" val="Rectangle"/>
</p:tagLst>
</file>

<file path=ppt/tags/tag248.xml><?xml version="1.0" encoding="utf-8"?>
<p:tagLst xmlns:p="http://schemas.openxmlformats.org/presentationml/2006/main">
  <p:tag name="NAME" val="Rectangle"/>
</p:tagLst>
</file>

<file path=ppt/tags/tag249.xml><?xml version="1.0" encoding="utf-8"?>
<p:tagLst xmlns:p="http://schemas.openxmlformats.org/presentationml/2006/main">
  <p:tag name="NAME" val="Rectangle"/>
</p:tagLst>
</file>

<file path=ppt/tags/tag25.xml><?xml version="1.0" encoding="utf-8"?>
<p:tagLst xmlns:p="http://schemas.openxmlformats.org/presentationml/2006/main">
  <p:tag name="THINKCELLSHAPEDONOTDELETE" val="thinkcellActiveDocDoNotDelete"/>
</p:tagLst>
</file>

<file path=ppt/tags/tag250.xml><?xml version="1.0" encoding="utf-8"?>
<p:tagLst xmlns:p="http://schemas.openxmlformats.org/presentationml/2006/main">
  <p:tag name="NAME" val="Rectangle"/>
</p:tagLst>
</file>

<file path=ppt/tags/tag251.xml><?xml version="1.0" encoding="utf-8"?>
<p:tagLst xmlns:p="http://schemas.openxmlformats.org/presentationml/2006/main">
  <p:tag name="NAME" val="Rectangle"/>
</p:tagLst>
</file>

<file path=ppt/tags/tag252.xml><?xml version="1.0" encoding="utf-8"?>
<p:tagLst xmlns:p="http://schemas.openxmlformats.org/presentationml/2006/main">
  <p:tag name="NAME" val="Rectangle"/>
</p:tagLst>
</file>

<file path=ppt/tags/tag253.xml><?xml version="1.0" encoding="utf-8"?>
<p:tagLst xmlns:p="http://schemas.openxmlformats.org/presentationml/2006/main">
  <p:tag name="THINKCELLSHAPEDONOTDELETE" val="thinkcellActiveDocDoNotDelete"/>
</p:tagLst>
</file>

<file path=ppt/tags/tag254.xml><?xml version="1.0" encoding="utf-8"?>
<p:tagLst xmlns:p="http://schemas.openxmlformats.org/presentationml/2006/main">
  <p:tag name="THINKCELLSHAPEDONOTDELETE" val="p2m58yfsSNEC4yPKwOyQ1ZQ"/>
</p:tagLst>
</file>

<file path=ppt/tags/tag255.xml><?xml version="1.0" encoding="utf-8"?>
<p:tagLst xmlns:p="http://schemas.openxmlformats.org/presentationml/2006/main">
  <p:tag name="THINKCELLSHAPEDONOTDELETE" val="p2m58yfsSNEC4yPKwOyQ1ZQ"/>
</p:tagLst>
</file>

<file path=ppt/tags/tag256.xml><?xml version="1.0" encoding="utf-8"?>
<p:tagLst xmlns:p="http://schemas.openxmlformats.org/presentationml/2006/main">
  <p:tag name="THINKCELLSHAPEDONOTDELETE" val="p2m58yfsSNEC4yPKwOyQ1ZQ"/>
</p:tagLst>
</file>

<file path=ppt/tags/tag257.xml><?xml version="1.0" encoding="utf-8"?>
<p:tagLst xmlns:p="http://schemas.openxmlformats.org/presentationml/2006/main">
  <p:tag name="THINKCELLSHAPEDONOTDELETE" val="p2m58yfsSNEC4yPKwOyQ1ZQ"/>
</p:tagLst>
</file>

<file path=ppt/tags/tag258.xml><?xml version="1.0" encoding="utf-8"?>
<p:tagLst xmlns:p="http://schemas.openxmlformats.org/presentationml/2006/main">
  <p:tag name="THINKCELLSHAPEDONOTDELETE" val="p2m58yfsSNEC4yPKwOyQ1ZQ"/>
</p:tagLst>
</file>

<file path=ppt/tags/tag259.xml><?xml version="1.0" encoding="utf-8"?>
<p:tagLst xmlns:p="http://schemas.openxmlformats.org/presentationml/2006/main">
  <p:tag name="THINKCELLSHAPEDONOTDELETE" val="p2m58yfsSNEC4yPKwOyQ1ZQ"/>
</p:tagLst>
</file>

<file path=ppt/tags/tag26.xml><?xml version="1.0" encoding="utf-8"?>
<p:tagLst xmlns:p="http://schemas.openxmlformats.org/presentationml/2006/main">
  <p:tag name="THINKCELLSHAPEDONOTDELETE" val="thinkcellActiveDocDoNotDelete"/>
</p:tagLst>
</file>

<file path=ppt/tags/tag260.xml><?xml version="1.0" encoding="utf-8"?>
<p:tagLst xmlns:p="http://schemas.openxmlformats.org/presentationml/2006/main">
  <p:tag name="THINKCELLSHAPEDONOTDELETE" val="p2m58yfsSNEC4yPKwOyQ1ZQ"/>
</p:tagLst>
</file>

<file path=ppt/tags/tag261.xml><?xml version="1.0" encoding="utf-8"?>
<p:tagLst xmlns:p="http://schemas.openxmlformats.org/presentationml/2006/main">
  <p:tag name="THINKCELLSHAPEDONOTDELETE" val="p2m58yfsSNEC4yPKwOyQ1ZQ"/>
</p:tagLst>
</file>

<file path=ppt/tags/tag262.xml><?xml version="1.0" encoding="utf-8"?>
<p:tagLst xmlns:p="http://schemas.openxmlformats.org/presentationml/2006/main">
  <p:tag name="THINKCELLSHAPEDONOTDELETE" val="thinkcellActiveDocDoNotDelete"/>
</p:tagLst>
</file>

<file path=ppt/tags/tag263.xml><?xml version="1.0" encoding="utf-8"?>
<p:tagLst xmlns:p="http://schemas.openxmlformats.org/presentationml/2006/main">
  <p:tag name="LLEFT" val=" 143.875"/>
  <p:tag name="LTOP" val=" 208.75"/>
</p:tagLst>
</file>

<file path=ppt/tags/tag264.xml><?xml version="1.0" encoding="utf-8"?>
<p:tagLst xmlns:p="http://schemas.openxmlformats.org/presentationml/2006/main">
  <p:tag name="LLEFT" val=" 143.875"/>
  <p:tag name="LTOP" val=" 208.75"/>
</p:tagLst>
</file>

<file path=ppt/tags/tag265.xml><?xml version="1.0" encoding="utf-8"?>
<p:tagLst xmlns:p="http://schemas.openxmlformats.org/presentationml/2006/main">
  <p:tag name="LTOP" val=" 208.75"/>
  <p:tag name="LLEFT" val=" 143.875"/>
</p:tagLst>
</file>

<file path=ppt/tags/tag266.xml><?xml version="1.0" encoding="utf-8"?>
<p:tagLst xmlns:p="http://schemas.openxmlformats.org/presentationml/2006/main">
  <p:tag name="LLEFT" val=" 143.875"/>
  <p:tag name="LTOP" val=" 208.75"/>
</p:tagLst>
</file>

<file path=ppt/tags/tag267.xml><?xml version="1.0" encoding="utf-8"?>
<p:tagLst xmlns:p="http://schemas.openxmlformats.org/presentationml/2006/main">
  <p:tag name="LTOP" val=" 208.75"/>
  <p:tag name="LLEFT" val=" 143.875"/>
</p:tagLst>
</file>

<file path=ppt/tags/tag268.xml><?xml version="1.0" encoding="utf-8"?>
<p:tagLst xmlns:p="http://schemas.openxmlformats.org/presentationml/2006/main">
  <p:tag name="NAME" val="Oval"/>
</p:tagLst>
</file>

<file path=ppt/tags/tag269.xml><?xml version="1.0" encoding="utf-8"?>
<p:tagLst xmlns:p="http://schemas.openxmlformats.org/presentationml/2006/main">
  <p:tag name="NAME" val="Oval"/>
</p:tagLst>
</file>

<file path=ppt/tags/tag27.xml><?xml version="1.0" encoding="utf-8"?>
<p:tagLst xmlns:p="http://schemas.openxmlformats.org/presentationml/2006/main">
  <p:tag name="THINKCELLSHAPEDONOTDELETE" val="thinkcellActiveDocDoNotDelete"/>
</p:tagLst>
</file>

<file path=ppt/tags/tag270.xml><?xml version="1.0" encoding="utf-8"?>
<p:tagLst xmlns:p="http://schemas.openxmlformats.org/presentationml/2006/main">
  <p:tag name="NAME" val="Oval"/>
</p:tagLst>
</file>

<file path=ppt/tags/tag271.xml><?xml version="1.0" encoding="utf-8"?>
<p:tagLst xmlns:p="http://schemas.openxmlformats.org/presentationml/2006/main">
  <p:tag name="NAME" val="Oval"/>
</p:tagLst>
</file>

<file path=ppt/tags/tag272.xml><?xml version="1.0" encoding="utf-8"?>
<p:tagLst xmlns:p="http://schemas.openxmlformats.org/presentationml/2006/main">
  <p:tag name="NAME" val="Oval"/>
</p:tagLst>
</file>

<file path=ppt/tags/tag273.xml><?xml version="1.0" encoding="utf-8"?>
<p:tagLst xmlns:p="http://schemas.openxmlformats.org/presentationml/2006/main">
  <p:tag name="NAME" val="DirArrow"/>
  <p:tag name="TYPE" val="McK DirArrow"/>
</p:tagLst>
</file>

<file path=ppt/tags/tag274.xml><?xml version="1.0" encoding="utf-8"?>
<p:tagLst xmlns:p="http://schemas.openxmlformats.org/presentationml/2006/main">
  <p:tag name="NAME" val="Oval"/>
</p:tagLst>
</file>

<file path=ppt/tags/tag275.xml><?xml version="1.0" encoding="utf-8"?>
<p:tagLst xmlns:p="http://schemas.openxmlformats.org/presentationml/2006/main">
  <p:tag name="NAME" val="Oval"/>
</p:tagLst>
</file>

<file path=ppt/tags/tag276.xml><?xml version="1.0" encoding="utf-8"?>
<p:tagLst xmlns:p="http://schemas.openxmlformats.org/presentationml/2006/main">
  <p:tag name="NAME" val="Oval"/>
</p:tagLst>
</file>

<file path=ppt/tags/tag277.xml><?xml version="1.0" encoding="utf-8"?>
<p:tagLst xmlns:p="http://schemas.openxmlformats.org/presentationml/2006/main">
  <p:tag name="NAME" val="Oval"/>
</p:tagLst>
</file>

<file path=ppt/tags/tag278.xml><?xml version="1.0" encoding="utf-8"?>
<p:tagLst xmlns:p="http://schemas.openxmlformats.org/presentationml/2006/main">
  <p:tag name="NAME" val="Oval"/>
</p:tagLst>
</file>

<file path=ppt/tags/tag279.xml><?xml version="1.0" encoding="utf-8"?>
<p:tagLst xmlns:p="http://schemas.openxmlformats.org/presentationml/2006/main">
  <p:tag name="NAME" val="Oval"/>
</p:tagLst>
</file>

<file path=ppt/tags/tag28.xml><?xml version="1.0" encoding="utf-8"?>
<p:tagLst xmlns:p="http://schemas.openxmlformats.org/presentationml/2006/main">
  <p:tag name="THINKCELLSHAPEDONOTDELETE" val="thinkcellActiveDocDoNotDelete"/>
</p:tagLst>
</file>

<file path=ppt/tags/tag280.xml><?xml version="1.0" encoding="utf-8"?>
<p:tagLst xmlns:p="http://schemas.openxmlformats.org/presentationml/2006/main">
  <p:tag name="NAME" val="Oval"/>
</p:tagLst>
</file>

<file path=ppt/tags/tag281.xml><?xml version="1.0" encoding="utf-8"?>
<p:tagLst xmlns:p="http://schemas.openxmlformats.org/presentationml/2006/main">
  <p:tag name="NAME" val="OvalShape"/>
</p:tagLst>
</file>

<file path=ppt/tags/tag282.xml><?xml version="1.0" encoding="utf-8"?>
<p:tagLst xmlns:p="http://schemas.openxmlformats.org/presentationml/2006/main">
  <p:tag name="NAME" val="OvalText"/>
</p:tagLst>
</file>

<file path=ppt/tags/tag283.xml><?xml version="1.0" encoding="utf-8"?>
<p:tagLst xmlns:p="http://schemas.openxmlformats.org/presentationml/2006/main">
  <p:tag name="NAME" val="OvalShape"/>
</p:tagLst>
</file>

<file path=ppt/tags/tag284.xml><?xml version="1.0" encoding="utf-8"?>
<p:tagLst xmlns:p="http://schemas.openxmlformats.org/presentationml/2006/main">
  <p:tag name="NAME" val="OvalText"/>
</p:tagLst>
</file>

<file path=ppt/tags/tag285.xml><?xml version="1.0" encoding="utf-8"?>
<p:tagLst xmlns:p="http://schemas.openxmlformats.org/presentationml/2006/main">
  <p:tag name="NAME" val="OvalShape"/>
</p:tagLst>
</file>

<file path=ppt/tags/tag286.xml><?xml version="1.0" encoding="utf-8"?>
<p:tagLst xmlns:p="http://schemas.openxmlformats.org/presentationml/2006/main">
  <p:tag name="NAME" val="OvalText"/>
</p:tagLst>
</file>

<file path=ppt/tags/tag287.xml><?xml version="1.0" encoding="utf-8"?>
<p:tagLst xmlns:p="http://schemas.openxmlformats.org/presentationml/2006/main">
  <p:tag name="THINKCELLSHAPEDONOTDELETE" val="p2m58yfsSNEC4yPKwOyQ1ZQ"/>
</p:tagLst>
</file>

<file path=ppt/tags/tag288.xml><?xml version="1.0" encoding="utf-8"?>
<p:tagLst xmlns:p="http://schemas.openxmlformats.org/presentationml/2006/main">
  <p:tag name="THINKCELLSHAPEDONOTDELETE" val="p2m58yfsSNEC4yPKwOyQ1ZQ"/>
</p:tagLst>
</file>

<file path=ppt/tags/tag289.xml><?xml version="1.0" encoding="utf-8"?>
<p:tagLst xmlns:p="http://schemas.openxmlformats.org/presentationml/2006/main">
  <p:tag name="THINKCELLSHAPEDONOTDELETE" val="p2m58yfsSNEC4yPKwOyQ1ZQ"/>
</p:tagLst>
</file>

<file path=ppt/tags/tag29.xml><?xml version="1.0" encoding="utf-8"?>
<p:tagLst xmlns:p="http://schemas.openxmlformats.org/presentationml/2006/main">
  <p:tag name="THINKCELLSHAPEDONOTDELETE" val="thinkcellActiveDocDoNotDelete"/>
</p:tagLst>
</file>

<file path=ppt/tags/tag290.xml><?xml version="1.0" encoding="utf-8"?>
<p:tagLst xmlns:p="http://schemas.openxmlformats.org/presentationml/2006/main">
  <p:tag name="THINKCELLSHAPEDONOTDELETE" val="p2m58yfsSNEC4yPKwOyQ1ZQ"/>
</p:tagLst>
</file>

<file path=ppt/tags/tag291.xml><?xml version="1.0" encoding="utf-8"?>
<p:tagLst xmlns:p="http://schemas.openxmlformats.org/presentationml/2006/main">
  <p:tag name="THINKCELLSHAPEDONOTDELETE" val="p2m58yfsSNEC4yPKwOyQ1ZQ"/>
</p:tagLst>
</file>

<file path=ppt/tags/tag292.xml><?xml version="1.0" encoding="utf-8"?>
<p:tagLst xmlns:p="http://schemas.openxmlformats.org/presentationml/2006/main">
  <p:tag name="THINKCELLSHAPEDONOTDELETE" val="p2m58yfsSNEC4yPKwOyQ1ZQ"/>
</p:tagLst>
</file>

<file path=ppt/tags/tag293.xml><?xml version="1.0" encoding="utf-8"?>
<p:tagLst xmlns:p="http://schemas.openxmlformats.org/presentationml/2006/main">
  <p:tag name="THINKCELLSHAPEDONOTDELETE" val="p2m58yfsSNEC4yPKwOyQ1ZQ"/>
</p:tagLst>
</file>

<file path=ppt/tags/tag294.xml><?xml version="1.0" encoding="utf-8"?>
<p:tagLst xmlns:p="http://schemas.openxmlformats.org/presentationml/2006/main">
  <p:tag name="THINKCELLSHAPEDONOTDELETE" val="p2m58yfsSNEC4yPKwOyQ1ZQ"/>
</p:tagLst>
</file>

<file path=ppt/tags/tag295.xml><?xml version="1.0" encoding="utf-8"?>
<p:tagLst xmlns:p="http://schemas.openxmlformats.org/presentationml/2006/main">
  <p:tag name="THINKCELLSHAPEDONOTDELETE" val="p2m58yfsSNEC4yPKwOyQ1ZQ"/>
</p:tagLst>
</file>

<file path=ppt/tags/tag296.xml><?xml version="1.0" encoding="utf-8"?>
<p:tagLst xmlns:p="http://schemas.openxmlformats.org/presentationml/2006/main">
  <p:tag name="THINKCELLSHAPEDONOTDELETE" val="p2m58yfsSNEC4yPKwOyQ1ZQ"/>
</p:tagLst>
</file>

<file path=ppt/tags/tag297.xml><?xml version="1.0" encoding="utf-8"?>
<p:tagLst xmlns:p="http://schemas.openxmlformats.org/presentationml/2006/main">
  <p:tag name="THINKCELLSHAPEDONOTDELETE" val="p2m58yfsSNEC4yPKwOyQ1ZQ"/>
</p:tagLst>
</file>

<file path=ppt/tags/tag298.xml><?xml version="1.0" encoding="utf-8"?>
<p:tagLst xmlns:p="http://schemas.openxmlformats.org/presentationml/2006/main">
  <p:tag name="THINKCELLSHAPEDONOTDELETE" val="p2m58yfsSNEC4yPKwOyQ1ZQ"/>
</p:tagLst>
</file>

<file path=ppt/tags/tag299.xml><?xml version="1.0" encoding="utf-8"?>
<p:tagLst xmlns:p="http://schemas.openxmlformats.org/presentationml/2006/main">
  <p:tag name="THINKCELLSHAPEDONOTDELETE" val="p2m58yfsSNEC4yPKwOyQ1ZQ"/>
</p:tagLst>
</file>

<file path=ppt/tags/tag3.xml><?xml version="1.0" encoding="utf-8"?>
<p:tagLst xmlns:p="http://schemas.openxmlformats.org/presentationml/2006/main">
  <p:tag name="EE4P_INTELLIGENT_ELEMENT" val="{Name}"/>
</p:tagLst>
</file>

<file path=ppt/tags/tag30.xml><?xml version="1.0" encoding="utf-8"?>
<p:tagLst xmlns:p="http://schemas.openxmlformats.org/presentationml/2006/main">
  <p:tag name="THINKCELLSHAPEDONOTDELETE" val="thinkcellActiveDocDoNotDelete"/>
</p:tagLst>
</file>

<file path=ppt/tags/tag300.xml><?xml version="1.0" encoding="utf-8"?>
<p:tagLst xmlns:p="http://schemas.openxmlformats.org/presentationml/2006/main">
  <p:tag name="THINKCELLSHAPEDONOTDELETE" val="p2m58yfsSNEC4yPKwOyQ1ZQ"/>
</p:tagLst>
</file>

<file path=ppt/tags/tag301.xml><?xml version="1.0" encoding="utf-8"?>
<p:tagLst xmlns:p="http://schemas.openxmlformats.org/presentationml/2006/main">
  <p:tag name="THINKCELLSHAPEDONOTDELETE" val="p2m58yfsSNEC4yPKwOyQ1ZQ"/>
</p:tagLst>
</file>

<file path=ppt/tags/tag302.xml><?xml version="1.0" encoding="utf-8"?>
<p:tagLst xmlns:p="http://schemas.openxmlformats.org/presentationml/2006/main">
  <p:tag name="THINKCELLSHAPEDONOTDELETE" val="p2m58yfsSNEC4yPKwOyQ1ZQ"/>
</p:tagLst>
</file>

<file path=ppt/tags/tag303.xml><?xml version="1.0" encoding="utf-8"?>
<p:tagLst xmlns:p="http://schemas.openxmlformats.org/presentationml/2006/main">
  <p:tag name="THINKCELLSHAPEDONOTDELETE" val="thinkcellActiveDocDoNotDelete"/>
</p:tagLst>
</file>

<file path=ppt/tags/tag304.xml><?xml version="1.0" encoding="utf-8"?>
<p:tagLst xmlns:p="http://schemas.openxmlformats.org/presentationml/2006/main">
  <p:tag name="THINKCELLSHAPEDONOTDELETE" val="pu3Beew5xl0G.9wXMoZz_CA"/>
</p:tagLst>
</file>

<file path=ppt/tags/tag305.xml><?xml version="1.0" encoding="utf-8"?>
<p:tagLst xmlns:p="http://schemas.openxmlformats.org/presentationml/2006/main">
  <p:tag name="THINKCELLSHAPEDONOTDELETE" val="pfNX84f0Gk02cBNEtOE_GRg"/>
</p:tagLst>
</file>

<file path=ppt/tags/tag306.xml><?xml version="1.0" encoding="utf-8"?>
<p:tagLst xmlns:p="http://schemas.openxmlformats.org/presentationml/2006/main">
  <p:tag name="THINKCELLSHAPEDONOTDELETE" val="pgsmKy5NHHE21uXtaoJPLuQ"/>
</p:tagLst>
</file>

<file path=ppt/tags/tag307.xml><?xml version="1.0" encoding="utf-8"?>
<p:tagLst xmlns:p="http://schemas.openxmlformats.org/presentationml/2006/main">
  <p:tag name="THINKCELLSHAPEDONOTDELETE" val="plgE9Pm3wk0KYnVSn3jnEsA"/>
</p:tagLst>
</file>

<file path=ppt/tags/tag308.xml><?xml version="1.0" encoding="utf-8"?>
<p:tagLst xmlns:p="http://schemas.openxmlformats.org/presentationml/2006/main">
  <p:tag name="THINKCELLSHAPEDONOTDELETE" val="pwWUGf08fSUaxUbHlYcjT9g"/>
</p:tagLst>
</file>

<file path=ppt/tags/tag309.xml><?xml version="1.0" encoding="utf-8"?>
<p:tagLst xmlns:p="http://schemas.openxmlformats.org/presentationml/2006/main">
  <p:tag name="THINKCELLSHAPEDONOTDELETE" val="pW_YVKtGp8keFo6Ho2l2ycw"/>
</p:tagLst>
</file>

<file path=ppt/tags/tag31.xml><?xml version="1.0" encoding="utf-8"?>
<p:tagLst xmlns:p="http://schemas.openxmlformats.org/presentationml/2006/main">
  <p:tag name="THINKCELLSHAPEDONOTDELETE" val="thinkcellActiveDocDoNotDelete"/>
</p:tagLst>
</file>

<file path=ppt/tags/tag310.xml><?xml version="1.0" encoding="utf-8"?>
<p:tagLst xmlns:p="http://schemas.openxmlformats.org/presentationml/2006/main">
  <p:tag name="THINKCELLSHAPEDONOTDELETE" val="pw9Rhib0sKEO_4HtQcxwLaQ"/>
</p:tagLst>
</file>

<file path=ppt/tags/tag311.xml><?xml version="1.0" encoding="utf-8"?>
<p:tagLst xmlns:p="http://schemas.openxmlformats.org/presentationml/2006/main">
  <p:tag name="THINKCELLSHAPEDONOTDELETE" val="pKoF.BCnaTE2ppikTbVJobQ"/>
</p:tagLst>
</file>

<file path=ppt/tags/tag312.xml><?xml version="1.0" encoding="utf-8"?>
<p:tagLst xmlns:p="http://schemas.openxmlformats.org/presentationml/2006/main">
  <p:tag name="THINKCELLSHAPEDONOTDELETE" val="pG5PeXkzC90.gRALvPyyzvg"/>
</p:tagLst>
</file>

<file path=ppt/tags/tag313.xml><?xml version="1.0" encoding="utf-8"?>
<p:tagLst xmlns:p="http://schemas.openxmlformats.org/presentationml/2006/main">
  <p:tag name="THINKCELLSHAPEDONOTDELETE" val="pG5PeXkzC90.gRALvPyyzvg"/>
</p:tagLst>
</file>

<file path=ppt/tags/tag314.xml><?xml version="1.0" encoding="utf-8"?>
<p:tagLst xmlns:p="http://schemas.openxmlformats.org/presentationml/2006/main">
  <p:tag name="THINKCELLSHAPEDONOTDELETE" val="pG5PeXkzC90.gRALvPyyzvg"/>
</p:tagLst>
</file>

<file path=ppt/tags/tag315.xml><?xml version="1.0" encoding="utf-8"?>
<p:tagLst xmlns:p="http://schemas.openxmlformats.org/presentationml/2006/main">
  <p:tag name="THINKCELLSHAPEDONOTDELETE" val="pbY1Ao.7FgE.uJeGEyLa5hQ"/>
</p:tagLst>
</file>

<file path=ppt/tags/tag316.xml><?xml version="1.0" encoding="utf-8"?>
<p:tagLst xmlns:p="http://schemas.openxmlformats.org/presentationml/2006/main">
  <p:tag name="THINKCELLSHAPEDONOTDELETE" val="pbY1Ao.7FgE.uJeGEyLa5hQ"/>
</p:tagLst>
</file>

<file path=ppt/tags/tag317.xml><?xml version="1.0" encoding="utf-8"?>
<p:tagLst xmlns:p="http://schemas.openxmlformats.org/presentationml/2006/main">
  <p:tag name="THINKCELLSHAPEDONOTDELETE" val="pLNIVJ7rD1kqqRbOS1NsHog"/>
</p:tagLst>
</file>

<file path=ppt/tags/tag318.xml><?xml version="1.0" encoding="utf-8"?>
<p:tagLst xmlns:p="http://schemas.openxmlformats.org/presentationml/2006/main">
  <p:tag name="THINKCELLSHAPEDONOTDELETE" val="pLNIVJ7rD1kqqRbOS1NsHog"/>
</p:tagLst>
</file>

<file path=ppt/tags/tag319.xml><?xml version="1.0" encoding="utf-8"?>
<p:tagLst xmlns:p="http://schemas.openxmlformats.org/presentationml/2006/main">
  <p:tag name="THINKCELLSHAPEDONOTDELETE" val="pbY1Ao.7FgE.uJeGEyLa5hQ"/>
</p:tagLst>
</file>

<file path=ppt/tags/tag32.xml><?xml version="1.0" encoding="utf-8"?>
<p:tagLst xmlns:p="http://schemas.openxmlformats.org/presentationml/2006/main">
  <p:tag name="THINKCELLSHAPEDONOTDELETE" val="pzG4ZclG180uTzWKGrka48A"/>
</p:tagLst>
</file>

<file path=ppt/tags/tag320.xml><?xml version="1.0" encoding="utf-8"?>
<p:tagLst xmlns:p="http://schemas.openxmlformats.org/presentationml/2006/main">
  <p:tag name="THINKCELLSHAPEDONOTDELETE" val="pFhxPMCdOZUubBhEp_f94Ag"/>
</p:tagLst>
</file>

<file path=ppt/tags/tag321.xml><?xml version="1.0" encoding="utf-8"?>
<p:tagLst xmlns:p="http://schemas.openxmlformats.org/presentationml/2006/main">
  <p:tag name="THINKCELLSHAPEDONOTDELETE" val="pxpFa2Emf4kaqi6B80DGmNQ"/>
</p:tagLst>
</file>

<file path=ppt/tags/tag322.xml><?xml version="1.0" encoding="utf-8"?>
<p:tagLst xmlns:p="http://schemas.openxmlformats.org/presentationml/2006/main">
  <p:tag name="THINKCELLSHAPEDONOTDELETE" val="pZNi9kxxQmkO6eJftZpG4HA"/>
</p:tagLst>
</file>

<file path=ppt/tags/tag323.xml><?xml version="1.0" encoding="utf-8"?>
<p:tagLst xmlns:p="http://schemas.openxmlformats.org/presentationml/2006/main">
  <p:tag name="THINKCELLSHAPEDONOTDELETE" val="plSVwmQcG2k..ApSfrsBTJw"/>
</p:tagLst>
</file>

<file path=ppt/tags/tag324.xml><?xml version="1.0" encoding="utf-8"?>
<p:tagLst xmlns:p="http://schemas.openxmlformats.org/presentationml/2006/main">
  <p:tag name="THINKCELLSHAPEDONOTDELETE" val="pBlwLAK.JzUWlxxbbBcPSXg"/>
</p:tagLst>
</file>

<file path=ppt/tags/tag325.xml><?xml version="1.0" encoding="utf-8"?>
<p:tagLst xmlns:p="http://schemas.openxmlformats.org/presentationml/2006/main">
  <p:tag name="THINKCELLSHAPEDONOTDELETE" val="pZNi9kxxQmkO6eJftZpG4HA"/>
</p:tagLst>
</file>

<file path=ppt/tags/tag326.xml><?xml version="1.0" encoding="utf-8"?>
<p:tagLst xmlns:p="http://schemas.openxmlformats.org/presentationml/2006/main">
  <p:tag name="THINKCELLSHAPEDONOTDELETE" val="plSVwmQcG2k..ApSfrsBTJw"/>
</p:tagLst>
</file>

<file path=ppt/tags/tag327.xml><?xml version="1.0" encoding="utf-8"?>
<p:tagLst xmlns:p="http://schemas.openxmlformats.org/presentationml/2006/main">
  <p:tag name="THINKCELLSHAPEDONOTDELETE" val="pBlwLAK.JzUWlxxbbBcPSXg"/>
</p:tagLst>
</file>

<file path=ppt/tags/tag328.xml><?xml version="1.0" encoding="utf-8"?>
<p:tagLst xmlns:p="http://schemas.openxmlformats.org/presentationml/2006/main">
  <p:tag name="THINKCELLSHAPEDONOTDELETE" val="pxpFa2Emf4kaqi6B80DGmNQ"/>
</p:tagLst>
</file>

<file path=ppt/tags/tag329.xml><?xml version="1.0" encoding="utf-8"?>
<p:tagLst xmlns:p="http://schemas.openxmlformats.org/presentationml/2006/main">
  <p:tag name="THINKCELLSHAPEDONOTDELETE" val="pFhxPMCdOZUubBhEp_f94Ag"/>
</p:tagLst>
</file>

<file path=ppt/tags/tag33.xml><?xml version="1.0" encoding="utf-8"?>
<p:tagLst xmlns:p="http://schemas.openxmlformats.org/presentationml/2006/main">
  <p:tag name="THINKCELLSHAPEDONOTDELETE" val="pGNaKLEXGtkS4LVv9A4TAcw"/>
</p:tagLst>
</file>

<file path=ppt/tags/tag330.xml><?xml version="1.0" encoding="utf-8"?>
<p:tagLst xmlns:p="http://schemas.openxmlformats.org/presentationml/2006/main">
  <p:tag name="THINKCELLSHAPEDONOTDELETE" val="piU97iGJI8E..1gNtRrZnjQ"/>
</p:tagLst>
</file>

<file path=ppt/tags/tag331.xml><?xml version="1.0" encoding="utf-8"?>
<p:tagLst xmlns:p="http://schemas.openxmlformats.org/presentationml/2006/main">
  <p:tag name="THINKCELLSHAPEDONOTDELETE" val="pBlwLAK.JzUWlxxbbBcPSXg"/>
</p:tagLst>
</file>

<file path=ppt/tags/tag332.xml><?xml version="1.0" encoding="utf-8"?>
<p:tagLst xmlns:p="http://schemas.openxmlformats.org/presentationml/2006/main">
  <p:tag name="THINKCELLSHAPEDONOTDELETE" val="pNaIc3IpW202QlhN89b2sVw"/>
</p:tagLst>
</file>

<file path=ppt/tags/tag333.xml><?xml version="1.0" encoding="utf-8"?>
<p:tagLst xmlns:p="http://schemas.openxmlformats.org/presentationml/2006/main">
  <p:tag name="THINKCELLSHAPEDONOTDELETE" val="pntD1PYY8wkmI0IUdlbSCng"/>
</p:tagLst>
</file>

<file path=ppt/tags/tag334.xml><?xml version="1.0" encoding="utf-8"?>
<p:tagLst xmlns:p="http://schemas.openxmlformats.org/presentationml/2006/main">
  <p:tag name="THINKCELLSHAPEDONOTDELETE" val="pemj4xLW79E2fHzhl9gZEhA"/>
</p:tagLst>
</file>

<file path=ppt/tags/tag335.xml><?xml version="1.0" encoding="utf-8"?>
<p:tagLst xmlns:p="http://schemas.openxmlformats.org/presentationml/2006/main">
  <p:tag name="THINKCELLSHAPEDONOTDELETE" val="pfnYC4k3xoky.K5xsEg9qIw"/>
</p:tagLst>
</file>

<file path=ppt/tags/tag336.xml><?xml version="1.0" encoding="utf-8"?>
<p:tagLst xmlns:p="http://schemas.openxmlformats.org/presentationml/2006/main">
  <p:tag name="THINKCELLSHAPEDONOTDELETE" val="plSVwmQcG2k..ApSfrsBTJw"/>
</p:tagLst>
</file>

<file path=ppt/tags/tag337.xml><?xml version="1.0" encoding="utf-8"?>
<p:tagLst xmlns:p="http://schemas.openxmlformats.org/presentationml/2006/main">
  <p:tag name="THINKCELLSHAPEDONOTDELETE" val="pfnYC4k3xoky.K5xsEg9qIw"/>
</p:tagLst>
</file>

<file path=ppt/tags/tag338.xml><?xml version="1.0" encoding="utf-8"?>
<p:tagLst xmlns:p="http://schemas.openxmlformats.org/presentationml/2006/main">
  <p:tag name="THINKCELLSHAPEDONOTDELETE" val="plSVwmQcG2k..ApSfrsBTJw"/>
</p:tagLst>
</file>

<file path=ppt/tags/tag339.xml><?xml version="1.0" encoding="utf-8"?>
<p:tagLst xmlns:p="http://schemas.openxmlformats.org/presentationml/2006/main">
  <p:tag name="THINKCELLSHAPEDONOTDELETE" val="pBlwLAK.JzUWlxxbbBcPSXg"/>
</p:tagLst>
</file>

<file path=ppt/tags/tag34.xml><?xml version="1.0" encoding="utf-8"?>
<p:tagLst xmlns:p="http://schemas.openxmlformats.org/presentationml/2006/main">
  <p:tag name="THINKCELLSHAPEDONOTDELETE" val="pRxFTN3ooI0CuKpQnbom4KA"/>
</p:tagLst>
</file>

<file path=ppt/tags/tag340.xml><?xml version="1.0" encoding="utf-8"?>
<p:tagLst xmlns:p="http://schemas.openxmlformats.org/presentationml/2006/main">
  <p:tag name="THINKCELLSHAPEDONOTDELETE" val="pFhxPMCdOZUubBhEp_f94Ag"/>
</p:tagLst>
</file>

<file path=ppt/tags/tag341.xml><?xml version="1.0" encoding="utf-8"?>
<p:tagLst xmlns:p="http://schemas.openxmlformats.org/presentationml/2006/main">
  <p:tag name="THINKCELLSHAPEDONOTDELETE" val="pFhxPMCdOZUubBhEp_f94Ag"/>
</p:tagLst>
</file>

<file path=ppt/tags/tag342.xml><?xml version="1.0" encoding="utf-8"?>
<p:tagLst xmlns:p="http://schemas.openxmlformats.org/presentationml/2006/main">
  <p:tag name="THINKCELLSHAPEDONOTDELETE" val="p101xP_zzt0K4cfsn_UecNw"/>
</p:tagLst>
</file>

<file path=ppt/tags/tag343.xml><?xml version="1.0" encoding="utf-8"?>
<p:tagLst xmlns:p="http://schemas.openxmlformats.org/presentationml/2006/main">
  <p:tag name="THINKCELLSHAPEDONOTDELETE" val="pFhxPMCdOZUubBhEp_f94Ag"/>
</p:tagLst>
</file>

<file path=ppt/tags/tag344.xml><?xml version="1.0" encoding="utf-8"?>
<p:tagLst xmlns:p="http://schemas.openxmlformats.org/presentationml/2006/main">
  <p:tag name="THINKCELLSHAPEDONOTDELETE" val="p101xP_zzt0K4cfsn_UecNw"/>
</p:tagLst>
</file>

<file path=ppt/tags/tag345.xml><?xml version="1.0" encoding="utf-8"?>
<p:tagLst xmlns:p="http://schemas.openxmlformats.org/presentationml/2006/main">
  <p:tag name="THINKCELLSHAPEDONOTDELETE" val="pFhxPMCdOZUubBhEp_f94Ag"/>
</p:tagLst>
</file>

<file path=ppt/tags/tag346.xml><?xml version="1.0" encoding="utf-8"?>
<p:tagLst xmlns:p="http://schemas.openxmlformats.org/presentationml/2006/main">
  <p:tag name="THINKCELLSHAPEDONOTDELETE" val="p101xP_zzt0K4cfsn_UecNw"/>
</p:tagLst>
</file>

<file path=ppt/tags/tag347.xml><?xml version="1.0" encoding="utf-8"?>
<p:tagLst xmlns:p="http://schemas.openxmlformats.org/presentationml/2006/main">
  <p:tag name="THINKCELLSHAPEDONOTDELETE" val="pFhxPMCdOZUubBhEp_f94Ag"/>
</p:tagLst>
</file>

<file path=ppt/tags/tag348.xml><?xml version="1.0" encoding="utf-8"?>
<p:tagLst xmlns:p="http://schemas.openxmlformats.org/presentationml/2006/main">
  <p:tag name="THINKCELLSHAPEDONOTDELETE" val="p101xP_zzt0K4cfsn_UecNw"/>
</p:tagLst>
</file>

<file path=ppt/tags/tag349.xml><?xml version="1.0" encoding="utf-8"?>
<p:tagLst xmlns:p="http://schemas.openxmlformats.org/presentationml/2006/main">
  <p:tag name="THINKCELLSHAPEDONOTDELETE" val="thinkcellActiveDocDoNotDelete"/>
</p:tagLst>
</file>

<file path=ppt/tags/tag35.xml><?xml version="1.0" encoding="utf-8"?>
<p:tagLst xmlns:p="http://schemas.openxmlformats.org/presentationml/2006/main">
  <p:tag name="THINKCELLSHAPEDONOTDELETE" val="pc63azItdM0ele_h4SVi97A"/>
</p:tagLst>
</file>

<file path=ppt/tags/tag350.xml><?xml version="1.0" encoding="utf-8"?>
<p:tagLst xmlns:p="http://schemas.openxmlformats.org/presentationml/2006/main">
  <p:tag name="THINKCELLSHAPEDONOTDELETE" val="thinkcellActiveDocDoNotDelete"/>
</p:tagLst>
</file>

<file path=ppt/tags/tag351.xml><?xml version="1.0" encoding="utf-8"?>
<p:tagLst xmlns:p="http://schemas.openxmlformats.org/presentationml/2006/main">
  <p:tag name="EE4P_FORMATWIZARD_TAG" val="White"/>
</p:tagLst>
</file>

<file path=ppt/tags/tag352.xml><?xml version="1.0" encoding="utf-8"?>
<p:tagLst xmlns:p="http://schemas.openxmlformats.org/presentationml/2006/main">
  <p:tag name="THINKCELLSHAPEDONOTDELETE" val="tyiflc22eRUCIB.OLZPzAYw"/>
</p:tagLst>
</file>

<file path=ppt/tags/tag353.xml><?xml version="1.0" encoding="utf-8"?>
<p:tagLst xmlns:p="http://schemas.openxmlformats.org/presentationml/2006/main">
  <p:tag name="THINKCELLSHAPEDONOTDELETE" val="t_lATqysWTA6wgk84tHHcrA"/>
</p:tagLst>
</file>

<file path=ppt/tags/tag354.xml><?xml version="1.0" encoding="utf-8"?>
<p:tagLst xmlns:p="http://schemas.openxmlformats.org/presentationml/2006/main">
  <p:tag name="HIDDEN" val="False"/>
</p:tagLst>
</file>

<file path=ppt/tags/tag355.xml><?xml version="1.0" encoding="utf-8"?>
<p:tagLst xmlns:p="http://schemas.openxmlformats.org/presentationml/2006/main">
  <p:tag name="THINKCELLSHAPEDONOTDELETE" val="thinkcellActiveDocDoNotDelete"/>
</p:tagLst>
</file>

<file path=ppt/tags/tag356.xml><?xml version="1.0" encoding="utf-8"?>
<p:tagLst xmlns:p="http://schemas.openxmlformats.org/presentationml/2006/main">
  <p:tag name="THINKCELLSHAPEDONOTDELETE" val="ptlXNl.xunkCOrrTIxMQ0tA"/>
</p:tagLst>
</file>

<file path=ppt/tags/tag357.xml><?xml version="1.0" encoding="utf-8"?>
<p:tagLst xmlns:p="http://schemas.openxmlformats.org/presentationml/2006/main">
  <p:tag name="THINKCELLSHAPEDONOTDELETE" val="pMx8FoFjLUkCr.0W5jmd0Sg"/>
</p:tagLst>
</file>

<file path=ppt/tags/tag358.xml><?xml version="1.0" encoding="utf-8"?>
<p:tagLst xmlns:p="http://schemas.openxmlformats.org/presentationml/2006/main">
  <p:tag name="THINKCELLSHAPEDONOTDELETE" val="pfghdSZQ5ZEmLcyP11v2oxQ"/>
</p:tagLst>
</file>

<file path=ppt/tags/tag359.xml><?xml version="1.0" encoding="utf-8"?>
<p:tagLst xmlns:p="http://schemas.openxmlformats.org/presentationml/2006/main">
  <p:tag name="THINKCELLSHAPEDONOTDELETE" val="pQ_ARS9QoYUuz2.MhnxUnNA"/>
</p:tagLst>
</file>

<file path=ppt/tags/tag36.xml><?xml version="1.0" encoding="utf-8"?>
<p:tagLst xmlns:p="http://schemas.openxmlformats.org/presentationml/2006/main">
  <p:tag name="THINKCELLSHAPEDONOTDELETE" val="pZhVDDPEyE025qwTasikGEg"/>
</p:tagLst>
</file>

<file path=ppt/tags/tag360.xml><?xml version="1.0" encoding="utf-8"?>
<p:tagLst xmlns:p="http://schemas.openxmlformats.org/presentationml/2006/main">
  <p:tag name="THINKCELLSHAPEDONOTDELETE" val="p7cV8cwtHW0G2xvexcIljgQ"/>
</p:tagLst>
</file>

<file path=ppt/tags/tag361.xml><?xml version="1.0" encoding="utf-8"?>
<p:tagLst xmlns:p="http://schemas.openxmlformats.org/presentationml/2006/main">
  <p:tag name="THINKCELLSHAPEDONOTDELETE" val="pZl5CY.OcuUqBAgBa6mbfNg"/>
</p:tagLst>
</file>

<file path=ppt/tags/tag362.xml><?xml version="1.0" encoding="utf-8"?>
<p:tagLst xmlns:p="http://schemas.openxmlformats.org/presentationml/2006/main">
  <p:tag name="THINKCELLSHAPEDONOTDELETE" val="ptlXNl.xunkCOrrTIxMQ0tA"/>
</p:tagLst>
</file>

<file path=ppt/tags/tag363.xml><?xml version="1.0" encoding="utf-8"?>
<p:tagLst xmlns:p="http://schemas.openxmlformats.org/presentationml/2006/main">
  <p:tag name="THINKCELLSHAPEDONOTDELETE" val="thinkcellActiveDocDoNotDelete"/>
</p:tagLst>
</file>

<file path=ppt/tags/tag364.xml><?xml version="1.0" encoding="utf-8"?>
<p:tagLst xmlns:p="http://schemas.openxmlformats.org/presentationml/2006/main">
  <p:tag name="THINKCELLSHAPEDONOTDELETE" val="thinkcellActiveDocDoNotDelete"/>
</p:tagLst>
</file>

<file path=ppt/tags/tag365.xml><?xml version="1.0" encoding="utf-8"?>
<p:tagLst xmlns:p="http://schemas.openxmlformats.org/presentationml/2006/main">
  <p:tag name="NAME" val="Rectangle"/>
</p:tagLst>
</file>

<file path=ppt/tags/tag366.xml><?xml version="1.0" encoding="utf-8"?>
<p:tagLst xmlns:p="http://schemas.openxmlformats.org/presentationml/2006/main">
  <p:tag name="NAME" val="Rectangle"/>
</p:tagLst>
</file>

<file path=ppt/tags/tag367.xml><?xml version="1.0" encoding="utf-8"?>
<p:tagLst xmlns:p="http://schemas.openxmlformats.org/presentationml/2006/main">
  <p:tag name="NAME" val="Rectangle"/>
</p:tagLst>
</file>

<file path=ppt/tags/tag368.xml><?xml version="1.0" encoding="utf-8"?>
<p:tagLst xmlns:p="http://schemas.openxmlformats.org/presentationml/2006/main">
  <p:tag name="NAME" val="Rectangle"/>
</p:tagLst>
</file>

<file path=ppt/tags/tag369.xml><?xml version="1.0" encoding="utf-8"?>
<p:tagLst xmlns:p="http://schemas.openxmlformats.org/presentationml/2006/main">
  <p:tag name="THINKCELLSHAPEDONOTDELETE" val="thinkcellActiveDocDoNotDelete"/>
</p:tagLst>
</file>

<file path=ppt/tags/tag37.xml><?xml version="1.0" encoding="utf-8"?>
<p:tagLst xmlns:p="http://schemas.openxmlformats.org/presentationml/2006/main">
  <p:tag name="THINKCELLSHAPEDONOTDELETE" val="pmsNB0RrRdEuVPmLMRyXN_A"/>
</p:tagLst>
</file>

<file path=ppt/tags/tag370.xml><?xml version="1.0" encoding="utf-8"?>
<p:tagLst xmlns:p="http://schemas.openxmlformats.org/presentationml/2006/main">
  <p:tag name="THINKCELLSHAPEDONOTDELETE" val="thinkcellActiveDocDoNotDelete"/>
</p:tagLst>
</file>

<file path=ppt/tags/tag371.xml><?xml version="1.0" encoding="utf-8"?>
<p:tagLst xmlns:p="http://schemas.openxmlformats.org/presentationml/2006/main">
  <p:tag name="THINKCELLSHAPEDONOTDELETE" val="thinkcellActiveDocDoNotDelete"/>
</p:tagLst>
</file>

<file path=ppt/tags/tag372.xml><?xml version="1.0" encoding="utf-8"?>
<p:tagLst xmlns:p="http://schemas.openxmlformats.org/presentationml/2006/main">
  <p:tag name="THINKCELLSHAPEDONOTDELETE" val="thinkcellActiveDocDoNotDelete"/>
</p:tagLst>
</file>

<file path=ppt/tags/tag373.xml><?xml version="1.0" encoding="utf-8"?>
<p:tagLst xmlns:p="http://schemas.openxmlformats.org/presentationml/2006/main">
  <p:tag name="THINKCELLSHAPEDONOTDELETE" val="twAh7EK6CTQ2mh8NX3JkFQg"/>
</p:tagLst>
</file>

<file path=ppt/tags/tag374.xml><?xml version="1.0" encoding="utf-8"?>
<p:tagLst xmlns:p="http://schemas.openxmlformats.org/presentationml/2006/main">
  <p:tag name="THINKCELLSHAPEDONOTDELETE" val="thinkcellActiveDocDoNotDelete"/>
</p:tagLst>
</file>

<file path=ppt/tags/tag375.xml><?xml version="1.0" encoding="utf-8"?>
<p:tagLst xmlns:p="http://schemas.openxmlformats.org/presentationml/2006/main">
  <p:tag name="THINKCELLSHAPEDONOTDELETE" val="thinkcellActiveDocDoNotDelete"/>
</p:tagLst>
</file>

<file path=ppt/tags/tag376.xml><?xml version="1.0" encoding="utf-8"?>
<p:tagLst xmlns:p="http://schemas.openxmlformats.org/presentationml/2006/main">
  <p:tag name="THINKCELLSHAPEDONOTDELETE" val="thinkcellActiveDocDoNotDelete"/>
</p:tagLst>
</file>

<file path=ppt/tags/tag377.xml><?xml version="1.0" encoding="utf-8"?>
<p:tagLst xmlns:p="http://schemas.openxmlformats.org/presentationml/2006/main">
  <p:tag name="THINKCELLSHAPEDONOTDELETE" val="thinkcellActiveDocDoNotDelete"/>
</p:tagLst>
</file>

<file path=ppt/tags/tag378.xml><?xml version="1.0" encoding="utf-8"?>
<p:tagLst xmlns:p="http://schemas.openxmlformats.org/presentationml/2006/main">
  <p:tag name="THINKCELLSHAPEDONOTDELETE" val="tZvq7xcoTTdqHhN2lpedsxg"/>
</p:tagLst>
</file>

<file path=ppt/tags/tag379.xml><?xml version="1.0" encoding="utf-8"?>
<p:tagLst xmlns:p="http://schemas.openxmlformats.org/presentationml/2006/main">
  <p:tag name="THINKCELLSHAPEDONOTDELETE" val="tZvq7xcoTTdqHhN2lpedsxg"/>
</p:tagLst>
</file>

<file path=ppt/tags/tag38.xml><?xml version="1.0" encoding="utf-8"?>
<p:tagLst xmlns:p="http://schemas.openxmlformats.org/presentationml/2006/main">
  <p:tag name="THINKCELLSHAPEDONOTDELETE" val="pyUlSHlyCjkSiwAa_5p2edA"/>
</p:tagLst>
</file>

<file path=ppt/tags/tag380.xml><?xml version="1.0" encoding="utf-8"?>
<p:tagLst xmlns:p="http://schemas.openxmlformats.org/presentationml/2006/main">
  <p:tag name="THINKCELLSHAPEDONOTDELETE" val="tZvq7xcoTTdqHhN2lpedsxg"/>
</p:tagLst>
</file>

<file path=ppt/tags/tag381.xml><?xml version="1.0" encoding="utf-8"?>
<p:tagLst xmlns:p="http://schemas.openxmlformats.org/presentationml/2006/main">
  <p:tag name="THINKCELLSHAPEDONOTDELETE" val="tZvq7xcoTTdqHhN2lpedsxg"/>
</p:tagLst>
</file>

<file path=ppt/tags/tag382.xml><?xml version="1.0" encoding="utf-8"?>
<p:tagLst xmlns:p="http://schemas.openxmlformats.org/presentationml/2006/main">
  <p:tag name="THINKCELLSHAPEDONOTDELETE" val="tZvq7xcoTTdqHhN2lpedsxg"/>
</p:tagLst>
</file>

<file path=ppt/tags/tag383.xml><?xml version="1.0" encoding="utf-8"?>
<p:tagLst xmlns:p="http://schemas.openxmlformats.org/presentationml/2006/main">
  <p:tag name="THINKCELLSHAPEDONOTDELETE" val="tZvq7xcoTTdqHhN2lpedsxg"/>
</p:tagLst>
</file>

<file path=ppt/tags/tag384.xml><?xml version="1.0" encoding="utf-8"?>
<p:tagLst xmlns:p="http://schemas.openxmlformats.org/presentationml/2006/main">
  <p:tag name="THINKCELLSHAPEDONOTDELETE" val="tHQo510tTRsy7YBWCgQEqXQ"/>
</p:tagLst>
</file>

<file path=ppt/tags/tag385.xml><?xml version="1.0" encoding="utf-8"?>
<p:tagLst xmlns:p="http://schemas.openxmlformats.org/presentationml/2006/main">
  <p:tag name="THINKCELLSHAPEDONOTDELETE" val="tHQo510tTRsy7YBWCgQEqXQ"/>
</p:tagLst>
</file>

<file path=ppt/tags/tag386.xml><?xml version="1.0" encoding="utf-8"?>
<p:tagLst xmlns:p="http://schemas.openxmlformats.org/presentationml/2006/main">
  <p:tag name="THINKCELLSHAPEDONOTDELETE" val="tHQo510tTRsy7YBWCgQEqXQ"/>
</p:tagLst>
</file>

<file path=ppt/tags/tag387.xml><?xml version="1.0" encoding="utf-8"?>
<p:tagLst xmlns:p="http://schemas.openxmlformats.org/presentationml/2006/main">
  <p:tag name="THINKCELLSHAPEDONOTDELETE" val="tHQo510tTRsy7YBWCgQEqXQ"/>
</p:tagLst>
</file>

<file path=ppt/tags/tag388.xml><?xml version="1.0" encoding="utf-8"?>
<p:tagLst xmlns:p="http://schemas.openxmlformats.org/presentationml/2006/main">
  <p:tag name="THINKCELLSHAPEDONOTDELETE" val="thinkcellActiveDocDoNotDelete"/>
</p:tagLst>
</file>

<file path=ppt/tags/tag389.xml><?xml version="1.0" encoding="utf-8"?>
<p:tagLst xmlns:p="http://schemas.openxmlformats.org/presentationml/2006/main">
  <p:tag name="NAME" val="SingleBoatShape"/>
</p:tagLst>
</file>

<file path=ppt/tags/tag39.xml><?xml version="1.0" encoding="utf-8"?>
<p:tagLst xmlns:p="http://schemas.openxmlformats.org/presentationml/2006/main">
  <p:tag name="THINKCELLSHAPEDONOTDELETE" val="pCfUaj2yT0UWKN7cuDyF1Nw"/>
</p:tagLst>
</file>

<file path=ppt/tags/tag390.xml><?xml version="1.0" encoding="utf-8"?>
<p:tagLst xmlns:p="http://schemas.openxmlformats.org/presentationml/2006/main">
  <p:tag name="NAME" val="SingleBoatText"/>
</p:tagLst>
</file>

<file path=ppt/tags/tag391.xml><?xml version="1.0" encoding="utf-8"?>
<p:tagLst xmlns:p="http://schemas.openxmlformats.org/presentationml/2006/main">
  <p:tag name="NAME" val="SingleBoatShape"/>
</p:tagLst>
</file>

<file path=ppt/tags/tag392.xml><?xml version="1.0" encoding="utf-8"?>
<p:tagLst xmlns:p="http://schemas.openxmlformats.org/presentationml/2006/main">
  <p:tag name="NAME" val="SingleBoatText"/>
</p:tagLst>
</file>

<file path=ppt/tags/tag393.xml><?xml version="1.0" encoding="utf-8"?>
<p:tagLst xmlns:p="http://schemas.openxmlformats.org/presentationml/2006/main">
  <p:tag name="NAME" val="SingleBoatShape"/>
</p:tagLst>
</file>

<file path=ppt/tags/tag394.xml><?xml version="1.0" encoding="utf-8"?>
<p:tagLst xmlns:p="http://schemas.openxmlformats.org/presentationml/2006/main">
  <p:tag name="NAME" val="SingleBoatText"/>
</p:tagLst>
</file>

<file path=ppt/tags/tag395.xml><?xml version="1.0" encoding="utf-8"?>
<p:tagLst xmlns:p="http://schemas.openxmlformats.org/presentationml/2006/main">
  <p:tag name="NAME" val="SingleBoatShape"/>
</p:tagLst>
</file>

<file path=ppt/tags/tag396.xml><?xml version="1.0" encoding="utf-8"?>
<p:tagLst xmlns:p="http://schemas.openxmlformats.org/presentationml/2006/main">
  <p:tag name="NAME" val="SingleBoatText"/>
</p:tagLst>
</file>

<file path=ppt/tags/tag397.xml><?xml version="1.0" encoding="utf-8"?>
<p:tagLst xmlns:p="http://schemas.openxmlformats.org/presentationml/2006/main">
  <p:tag name="RESIZE" val="Yes"/>
</p:tagLst>
</file>

<file path=ppt/tags/tag398.xml><?xml version="1.0" encoding="utf-8"?>
<p:tagLst xmlns:p="http://schemas.openxmlformats.org/presentationml/2006/main">
  <p:tag name="RESIZE" val="Yes"/>
</p:tagLst>
</file>

<file path=ppt/tags/tag399.xml><?xml version="1.0" encoding="utf-8"?>
<p:tagLst xmlns:p="http://schemas.openxmlformats.org/presentationml/2006/main">
  <p:tag name="RESIZE" val="Yes"/>
</p:tagLst>
</file>

<file path=ppt/tags/tag4.xml><?xml version="1.0" encoding="utf-8"?>
<p:tagLst xmlns:p="http://schemas.openxmlformats.org/presentationml/2006/main">
  <p:tag name="THINKCELLSHAPEDONOTDELETE" val="thinkcellActiveDocDoNotDelete"/>
</p:tagLst>
</file>

<file path=ppt/tags/tag40.xml><?xml version="1.0" encoding="utf-8"?>
<p:tagLst xmlns:p="http://schemas.openxmlformats.org/presentationml/2006/main">
  <p:tag name="THINKCELLSHAPEDONOTDELETE" val="thinkcellActiveDocDoNotDelete"/>
</p:tagLst>
</file>

<file path=ppt/tags/tag400.xml><?xml version="1.0" encoding="utf-8"?>
<p:tagLst xmlns:p="http://schemas.openxmlformats.org/presentationml/2006/main">
  <p:tag name="RESIZE" val="Yes"/>
</p:tagLst>
</file>

<file path=ppt/tags/tag401.xml><?xml version="1.0" encoding="utf-8"?>
<p:tagLst xmlns:p="http://schemas.openxmlformats.org/presentationml/2006/main">
  <p:tag name="RESIZE" val="Yes"/>
</p:tagLst>
</file>

<file path=ppt/tags/tag402.xml><?xml version="1.0" encoding="utf-8"?>
<p:tagLst xmlns:p="http://schemas.openxmlformats.org/presentationml/2006/main">
  <p:tag name="THINKCELLSHAPEDONOTDELETE" val="thinkcellActiveDocDoNotDelete"/>
</p:tagLst>
</file>

<file path=ppt/tags/tag403.xml><?xml version="1.0" encoding="utf-8"?>
<p:tagLst xmlns:p="http://schemas.openxmlformats.org/presentationml/2006/main">
  <p:tag name="THINKCELLSHAPEDONOTDELETE" val="thinkcellActiveDocDoNotDelete"/>
</p:tagLst>
</file>

<file path=ppt/tags/tag404.xml><?xml version="1.0" encoding="utf-8"?>
<p:tagLst xmlns:p="http://schemas.openxmlformats.org/presentationml/2006/main">
  <p:tag name="NAME" val="RectangleText"/>
</p:tagLst>
</file>

<file path=ppt/tags/tag405.xml><?xml version="1.0" encoding="utf-8"?>
<p:tagLst xmlns:p="http://schemas.openxmlformats.org/presentationml/2006/main">
  <p:tag name="NAME" val="RectangleText"/>
</p:tagLst>
</file>

<file path=ppt/tags/tag406.xml><?xml version="1.0" encoding="utf-8"?>
<p:tagLst xmlns:p="http://schemas.openxmlformats.org/presentationml/2006/main">
  <p:tag name="THINKCELLSHAPEDONOTDELETE" val="p45pRUQAzV065phMdbTftMw"/>
</p:tagLst>
</file>

<file path=ppt/tags/tag407.xml><?xml version="1.0" encoding="utf-8"?>
<p:tagLst xmlns:p="http://schemas.openxmlformats.org/presentationml/2006/main">
  <p:tag name="THINKCELLSHAPEDONOTDELETE" val="pFTRK75lDCECrigCvXP3ncQ"/>
</p:tagLst>
</file>

<file path=ppt/tags/tag408.xml><?xml version="1.0" encoding="utf-8"?>
<p:tagLst xmlns:p="http://schemas.openxmlformats.org/presentationml/2006/main">
  <p:tag name="THINKCELLSHAPEDONOTDELETE" val="p45pRUQAzV065phMdbTftMw"/>
</p:tagLst>
</file>

<file path=ppt/tags/tag409.xml><?xml version="1.0" encoding="utf-8"?>
<p:tagLst xmlns:p="http://schemas.openxmlformats.org/presentationml/2006/main">
  <p:tag name="THINKCELLSHAPEDONOTDELETE" val="p45pRUQAzV065phMdbTftMw"/>
</p:tagLst>
</file>

<file path=ppt/tags/tag41.xml><?xml version="1.0" encoding="utf-8"?>
<p:tagLst xmlns:p="http://schemas.openxmlformats.org/presentationml/2006/main">
  <p:tag name="THINKCELLSHAPEDONOTDELETE" val="thinkcellActiveDocDoNotDelete"/>
</p:tagLst>
</file>

<file path=ppt/tags/tag410.xml><?xml version="1.0" encoding="utf-8"?>
<p:tagLst xmlns:p="http://schemas.openxmlformats.org/presentationml/2006/main">
  <p:tag name="THINKCELLSHAPEDONOTDELETE" val="p45pRUQAzV065phMdbTftMw"/>
</p:tagLst>
</file>

<file path=ppt/tags/tag411.xml><?xml version="1.0" encoding="utf-8"?>
<p:tagLst xmlns:p="http://schemas.openxmlformats.org/presentationml/2006/main">
  <p:tag name="THINKCELLSHAPEDONOTDELETE" val="p45pRUQAzV065phMdbTftMw"/>
</p:tagLst>
</file>

<file path=ppt/tags/tag412.xml><?xml version="1.0" encoding="utf-8"?>
<p:tagLst xmlns:p="http://schemas.openxmlformats.org/presentationml/2006/main">
  <p:tag name="THINKCELLSHAPEDONOTDELETE" val="p45pRUQAzV065phMdbTftMw"/>
</p:tagLst>
</file>

<file path=ppt/tags/tag413.xml><?xml version="1.0" encoding="utf-8"?>
<p:tagLst xmlns:p="http://schemas.openxmlformats.org/presentationml/2006/main">
  <p:tag name="THINKCELLSHAPEDONOTDELETE" val="p45pRUQAzV065phMdbTftMw"/>
</p:tagLst>
</file>

<file path=ppt/tags/tag414.xml><?xml version="1.0" encoding="utf-8"?>
<p:tagLst xmlns:p="http://schemas.openxmlformats.org/presentationml/2006/main">
  <p:tag name="THINKCELLSHAPEDONOTDELETE" val="p45pRUQAzV065phMdbTftMw"/>
</p:tagLst>
</file>

<file path=ppt/tags/tag415.xml><?xml version="1.0" encoding="utf-8"?>
<p:tagLst xmlns:p="http://schemas.openxmlformats.org/presentationml/2006/main">
  <p:tag name="THINKCELLSHAPEDONOTDELETE" val="pFTRK75lDCECrigCvXP3ncQ"/>
</p:tagLst>
</file>

<file path=ppt/tags/tag416.xml><?xml version="1.0" encoding="utf-8"?>
<p:tagLst xmlns:p="http://schemas.openxmlformats.org/presentationml/2006/main">
  <p:tag name="THINKCELLSHAPEDONOTDELETE" val="pFTRK75lDCECrigCvXP3ncQ"/>
</p:tagLst>
</file>

<file path=ppt/tags/tag417.xml><?xml version="1.0" encoding="utf-8"?>
<p:tagLst xmlns:p="http://schemas.openxmlformats.org/presentationml/2006/main">
  <p:tag name="THINKCELLSHAPEDONOTDELETE" val="pFTRK75lDCECrigCvXP3ncQ"/>
</p:tagLst>
</file>

<file path=ppt/tags/tag418.xml><?xml version="1.0" encoding="utf-8"?>
<p:tagLst xmlns:p="http://schemas.openxmlformats.org/presentationml/2006/main">
  <p:tag name="THINKCELLSHAPEDONOTDELETE" val="pFTRK75lDCECrigCvXP3ncQ"/>
</p:tagLst>
</file>

<file path=ppt/tags/tag419.xml><?xml version="1.0" encoding="utf-8"?>
<p:tagLst xmlns:p="http://schemas.openxmlformats.org/presentationml/2006/main">
  <p:tag name="THINKCELLSHAPEDONOTDELETE" val="pFTRK75lDCECrigCvXP3ncQ"/>
</p:tagLst>
</file>

<file path=ppt/tags/tag42.xml><?xml version="1.0" encoding="utf-8"?>
<p:tagLst xmlns:p="http://schemas.openxmlformats.org/presentationml/2006/main">
  <p:tag name="THINKCELLSHAPEDONOTDELETE" val="thinkcellActiveDocDoNotDelete"/>
</p:tagLst>
</file>

<file path=ppt/tags/tag420.xml><?xml version="1.0" encoding="utf-8"?>
<p:tagLst xmlns:p="http://schemas.openxmlformats.org/presentationml/2006/main">
  <p:tag name="THINKCELLSHAPEDONOTDELETE" val="pFTRK75lDCECrigCvXP3ncQ"/>
</p:tagLst>
</file>

<file path=ppt/tags/tag421.xml><?xml version="1.0" encoding="utf-8"?>
<p:tagLst xmlns:p="http://schemas.openxmlformats.org/presentationml/2006/main">
  <p:tag name="THINKCELLSHAPEDONOTDELETE" val="p45pRUQAzV065phMdbTftMw"/>
</p:tagLst>
</file>

<file path=ppt/tags/tag422.xml><?xml version="1.0" encoding="utf-8"?>
<p:tagLst xmlns:p="http://schemas.openxmlformats.org/presentationml/2006/main">
  <p:tag name="THINKCELLSHAPEDONOTDELETE" val="p45pRUQAzV065phMdbTftMw"/>
</p:tagLst>
</file>

<file path=ppt/tags/tag423.xml><?xml version="1.0" encoding="utf-8"?>
<p:tagLst xmlns:p="http://schemas.openxmlformats.org/presentationml/2006/main">
  <p:tag name="THINKCELLSHAPEDONOTDELETE" val="p45pRUQAzV065phMdbTftMw"/>
</p:tagLst>
</file>

<file path=ppt/tags/tag424.xml><?xml version="1.0" encoding="utf-8"?>
<p:tagLst xmlns:p="http://schemas.openxmlformats.org/presentationml/2006/main">
  <p:tag name="THINKCELLSHAPEDONOTDELETE" val="p45pRUQAzV065phMdbTftMw"/>
</p:tagLst>
</file>

<file path=ppt/tags/tag425.xml><?xml version="1.0" encoding="utf-8"?>
<p:tagLst xmlns:p="http://schemas.openxmlformats.org/presentationml/2006/main">
  <p:tag name="THINKCELLSHAPEDONOTDELETE" val="p45pRUQAzV065phMdbTftMw"/>
</p:tagLst>
</file>

<file path=ppt/tags/tag426.xml><?xml version="1.0" encoding="utf-8"?>
<p:tagLst xmlns:p="http://schemas.openxmlformats.org/presentationml/2006/main">
  <p:tag name="THINKCELLSHAPEDONOTDELETE" val="p45pRUQAzV065phMdbTftMw"/>
</p:tagLst>
</file>

<file path=ppt/tags/tag427.xml><?xml version="1.0" encoding="utf-8"?>
<p:tagLst xmlns:p="http://schemas.openxmlformats.org/presentationml/2006/main">
  <p:tag name="THINKCELLSHAPEDONOTDELETE" val="p45pRUQAzV065phMdbTftMw"/>
</p:tagLst>
</file>

<file path=ppt/tags/tag428.xml><?xml version="1.0" encoding="utf-8"?>
<p:tagLst xmlns:p="http://schemas.openxmlformats.org/presentationml/2006/main">
  <p:tag name="THINKCELLSHAPEDONOTDELETE" val="p45pRUQAzV065phMdbTftMw"/>
</p:tagLst>
</file>

<file path=ppt/tags/tag429.xml><?xml version="1.0" encoding="utf-8"?>
<p:tagLst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MARGINS" val="0"/>
  <p:tag name="EE4P_MASTERWIZARD_DRAFT" val="0"/>
  <p:tag name="THINKCELLUNDODONOTDELETE" val="0"/>
</p:tagLst>
</file>

<file path=ppt/tags/tag43.xml><?xml version="1.0" encoding="utf-8"?>
<p:tagLst xmlns:p="http://schemas.openxmlformats.org/presentationml/2006/main">
  <p:tag name="THINKCELLSHAPEDONOTDELETE" val="thinkcellActiveDocDoNotDelete"/>
</p:tagLst>
</file>

<file path=ppt/tags/tag44.xml><?xml version="1.0" encoding="utf-8"?>
<p:tagLst xmlns:p="http://schemas.openxmlformats.org/presentationml/2006/main">
  <p:tag name="THINKCELLSHAPEDONOTDELETE" val="thinkcellActiveDocDoNotDelete"/>
</p:tagLst>
</file>

<file path=ppt/tags/tag45.xml><?xml version="1.0" encoding="utf-8"?>
<p:tagLst xmlns:p="http://schemas.openxmlformats.org/presentationml/2006/main">
  <p:tag name="THINKCELLSHAPEDONOTDELETE" val="thinkcellActiveDocDoNotDelete"/>
</p:tagLst>
</file>

<file path=ppt/tags/tag46.xml><?xml version="1.0" encoding="utf-8"?>
<p:tagLst xmlns:p="http://schemas.openxmlformats.org/presentationml/2006/main">
  <p:tag name="THINKCELLSHAPEDONOTDELETE" val="thinkcellActiveDocDoNotDelete"/>
</p:tagLst>
</file>

<file path=ppt/tags/tag47.xml><?xml version="1.0" encoding="utf-8"?>
<p:tagLst xmlns:p="http://schemas.openxmlformats.org/presentationml/2006/main">
  <p:tag name="THINKCELLSHAPEDONOTDELETE" val="thinkcellActiveDocDoNotDelete"/>
</p:tagLst>
</file>

<file path=ppt/tags/tag48.xml><?xml version="1.0" encoding="utf-8"?>
<p:tagLst xmlns:p="http://schemas.openxmlformats.org/presentationml/2006/main">
  <p:tag name="THINKCELLSHAPEDONOTDELETE" val="thinkcellActiveDocDoNotDelete"/>
</p:tagLst>
</file>

<file path=ppt/tags/tag49.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EE4P_INTELLIGENT_ELEMENT" val="{Name}"/>
</p:tagLst>
</file>

<file path=ppt/tags/tag50.xml><?xml version="1.0" encoding="utf-8"?>
<p:tagLst xmlns:p="http://schemas.openxmlformats.org/presentationml/2006/main">
  <p:tag name="THINKCELLSHAPEDONOTDELETE" val="thinkcellActiveDocDoNotDelete"/>
</p:tagLst>
</file>

<file path=ppt/tags/tag51.xml><?xml version="1.0" encoding="utf-8"?>
<p:tagLst xmlns:p="http://schemas.openxmlformats.org/presentationml/2006/main">
  <p:tag name="THINKCELLSHAPEDONOTDELETE" val="thinkcellActiveDocDoNotDelete"/>
</p:tagLst>
</file>

<file path=ppt/tags/tag52.xml><?xml version="1.0" encoding="utf-8"?>
<p:tagLst xmlns:p="http://schemas.openxmlformats.org/presentationml/2006/main">
  <p:tag name="THINKCELLSHAPEDONOTDELETE" val="thinkcellActiveDocDoNotDelete"/>
</p:tagLst>
</file>

<file path=ppt/tags/tag53.xml><?xml version="1.0" encoding="utf-8"?>
<p:tagLst xmlns:p="http://schemas.openxmlformats.org/presentationml/2006/main">
  <p:tag name="THINKCELLSHAPEDONOTDELETE" val="thinkcellActiveDocDoNotDelete"/>
</p:tagLst>
</file>

<file path=ppt/tags/tag54.xml><?xml version="1.0" encoding="utf-8"?>
<p:tagLst xmlns:p="http://schemas.openxmlformats.org/presentationml/2006/main">
  <p:tag name="THINKCELLSHAPEDONOTDELETE" val="thinkcellActiveDocDoNotDelete"/>
</p:tagLst>
</file>

<file path=ppt/tags/tag55.xml><?xml version="1.0" encoding="utf-8"?>
<p:tagLst xmlns:p="http://schemas.openxmlformats.org/presentationml/2006/main">
  <p:tag name="THINKCELLSHAPEDONOTDELETE" val="thinkcellActiveDocDoNotDelete"/>
</p:tagLst>
</file>

<file path=ppt/tags/tag56.xml><?xml version="1.0" encoding="utf-8"?>
<p:tagLst xmlns:p="http://schemas.openxmlformats.org/presentationml/2006/main">
  <p:tag name="ISLIDE.VECTOR" val="c18c74ab-84c2-4156-bcd2-7efce9ecc08f"/>
</p:tagLst>
</file>

<file path=ppt/tags/tag57.xml><?xml version="1.0" encoding="utf-8"?>
<p:tagLst xmlns:p="http://schemas.openxmlformats.org/presentationml/2006/main">
  <p:tag name="THINKCELLSHAPEDONOTDELETE" val="thinkcellActiveDocDoNotDelete"/>
</p:tagLst>
</file>

<file path=ppt/tags/tag58.xml><?xml version="1.0" encoding="utf-8"?>
<p:tagLst xmlns:p="http://schemas.openxmlformats.org/presentationml/2006/main">
  <p:tag name="THINKCELLSHAPEDONOTDELETE" val="thinkcellActiveDocDoNotDelete"/>
</p:tagLst>
</file>

<file path=ppt/tags/tag59.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60.xml><?xml version="1.0" encoding="utf-8"?>
<p:tagLst xmlns:p="http://schemas.openxmlformats.org/presentationml/2006/main">
  <p:tag name="THINKCELLSHAPEDONOTDELETE" val="thinkcellActiveDocDoNotDelete"/>
</p:tagLst>
</file>

<file path=ppt/tags/tag61.xml><?xml version="1.0" encoding="utf-8"?>
<p:tagLst xmlns:p="http://schemas.openxmlformats.org/presentationml/2006/main">
  <p:tag name="MH" val="20161201121716"/>
  <p:tag name="MH_LIBRARY" val="GRAPHIC"/>
  <p:tag name="MH_TYPE" val="Other"/>
  <p:tag name="MH_ORDER" val="1"/>
</p:tagLst>
</file>

<file path=ppt/tags/tag62.xml><?xml version="1.0" encoding="utf-8"?>
<p:tagLst xmlns:p="http://schemas.openxmlformats.org/presentationml/2006/main">
  <p:tag name="MH" val="20161201121716"/>
  <p:tag name="MH_LIBRARY" val="GRAPHIC"/>
  <p:tag name="MH_TYPE" val="Other"/>
  <p:tag name="MH_ORDER" val="1"/>
</p:tagLst>
</file>

<file path=ppt/tags/tag63.xml><?xml version="1.0" encoding="utf-8"?>
<p:tagLst xmlns:p="http://schemas.openxmlformats.org/presentationml/2006/main">
  <p:tag name="MH" val="20161201121716"/>
  <p:tag name="MH_LIBRARY" val="GRAPHIC"/>
  <p:tag name="MH_TYPE" val="Other"/>
  <p:tag name="MH_ORDER" val="1"/>
</p:tagLst>
</file>

<file path=ppt/tags/tag64.xml><?xml version="1.0" encoding="utf-8"?>
<p:tagLst xmlns:p="http://schemas.openxmlformats.org/presentationml/2006/main">
  <p:tag name="MH" val="20161201121716"/>
  <p:tag name="MH_LIBRARY" val="GRAPHIC"/>
  <p:tag name="MH_TYPE" val="Other"/>
  <p:tag name="MH_ORDER" val="1"/>
</p:tagLst>
</file>

<file path=ppt/tags/tag65.xml><?xml version="1.0" encoding="utf-8"?>
<p:tagLst xmlns:p="http://schemas.openxmlformats.org/presentationml/2006/main">
  <p:tag name="MH" val="20161201121716"/>
  <p:tag name="MH_LIBRARY" val="GRAPHIC"/>
  <p:tag name="MH_TYPE" val="Other"/>
  <p:tag name="MH_ORDER" val="1"/>
</p:tagLst>
</file>

<file path=ppt/tags/tag66.xml><?xml version="1.0" encoding="utf-8"?>
<p:tagLst xmlns:p="http://schemas.openxmlformats.org/presentationml/2006/main">
  <p:tag name="MH" val="20161201121716"/>
  <p:tag name="MH_LIBRARY" val="GRAPHIC"/>
  <p:tag name="MH_TYPE" val="Other"/>
  <p:tag name="MH_ORDER" val="1"/>
</p:tagLst>
</file>

<file path=ppt/tags/tag67.xml><?xml version="1.0" encoding="utf-8"?>
<p:tagLst xmlns:p="http://schemas.openxmlformats.org/presentationml/2006/main">
  <p:tag name="THINKCELLSHAPEDONOTDELETE" val="thinkcellActiveDocDoNotDelete"/>
</p:tagLst>
</file>

<file path=ppt/tags/tag68.xml><?xml version="1.0" encoding="utf-8"?>
<p:tagLst xmlns:p="http://schemas.openxmlformats.org/presentationml/2006/main">
  <p:tag name="THINKCELLSHAPEDONOTDELETE" val="thinkcellActiveDocDoNotDelete"/>
</p:tagLst>
</file>

<file path=ppt/tags/tag69.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70.xml><?xml version="1.0" encoding="utf-8"?>
<p:tagLst xmlns:p="http://schemas.openxmlformats.org/presentationml/2006/main">
  <p:tag name="THINKCELLSHAPEDONOTDELETE" val="thinkcellActiveDocDoNotDelete"/>
</p:tagLst>
</file>

<file path=ppt/tags/tag71.xml><?xml version="1.0" encoding="utf-8"?>
<p:tagLst xmlns:p="http://schemas.openxmlformats.org/presentationml/2006/main">
  <p:tag name="THINKCELLSHAPEDONOTDELETE" val="p99TyniQ.rEG7QFsLWUgSqg"/>
</p:tagLst>
</file>

<file path=ppt/tags/tag72.xml><?xml version="1.0" encoding="utf-8"?>
<p:tagLst xmlns:p="http://schemas.openxmlformats.org/presentationml/2006/main">
  <p:tag name="THINKCELLSHAPEDONOTDELETE" val="p99TyniQ.rEG7QFsLWUgSqg"/>
</p:tagLst>
</file>

<file path=ppt/tags/tag73.xml><?xml version="1.0" encoding="utf-8"?>
<p:tagLst xmlns:p="http://schemas.openxmlformats.org/presentationml/2006/main">
  <p:tag name="THINKCELLSHAPEDONOTDELETE" val="p99TyniQ.rEG7QFsLWUgSqg"/>
</p:tagLst>
</file>

<file path=ppt/tags/tag74.xml><?xml version="1.0" encoding="utf-8"?>
<p:tagLst xmlns:p="http://schemas.openxmlformats.org/presentationml/2006/main">
  <p:tag name="THINKCELLSHAPEDONOTDELETE" val="thinkcellActiveDocDoNotDelete"/>
</p:tagLst>
</file>

<file path=ppt/tags/tag75.xml><?xml version="1.0" encoding="utf-8"?>
<p:tagLst xmlns:p="http://schemas.openxmlformats.org/presentationml/2006/main">
  <p:tag name="THINKCELLSHAPEDONOTDELETE" val="thinkcellActiveDocDoNotDelete"/>
</p:tagLst>
</file>

<file path=ppt/tags/tag76.xml><?xml version="1.0" encoding="utf-8"?>
<p:tagLst xmlns:p="http://schemas.openxmlformats.org/presentationml/2006/main">
  <p:tag name="THINKCELLSHAPEDONOTDELETE" val="thinkcellActiveDocDoNotDelete"/>
</p:tagLst>
</file>

<file path=ppt/tags/tag77.xml><?xml version="1.0" encoding="utf-8"?>
<p:tagLst xmlns:p="http://schemas.openxmlformats.org/presentationml/2006/main">
  <p:tag name="THINKCELLSHAPEDONOTDELETE" val="psexaSnhZtUGHt_7sOKPbaQ"/>
</p:tagLst>
</file>

<file path=ppt/tags/tag78.xml><?xml version="1.0" encoding="utf-8"?>
<p:tagLst xmlns:p="http://schemas.openxmlformats.org/presentationml/2006/main">
  <p:tag name="THINKCELLSHAPEDONOTDELETE" val="psexaSnhZtUGHt_7sOKPbaQ"/>
</p:tagLst>
</file>

<file path=ppt/tags/tag79.xml><?xml version="1.0" encoding="utf-8"?>
<p:tagLst xmlns:p="http://schemas.openxmlformats.org/presentationml/2006/main">
  <p:tag name="THINKCELLSHAPEDONOTDELETE" val="pzG4ZclG180uTzWKGrka48A"/>
</p:tagLst>
</file>

<file path=ppt/tags/tag8.xml><?xml version="1.0" encoding="utf-8"?>
<p:tagLst xmlns:p="http://schemas.openxmlformats.org/presentationml/2006/main">
  <p:tag name="THINKCELLSHAPEDONOTDELETE" val="thinkcellActiveDocDoNotDelete"/>
</p:tagLst>
</file>

<file path=ppt/tags/tag80.xml><?xml version="1.0" encoding="utf-8"?>
<p:tagLst xmlns:p="http://schemas.openxmlformats.org/presentationml/2006/main">
  <p:tag name="THINKCELLSHAPEDONOTDELETE" val="pGNaKLEXGtkS4LVv9A4TAcw"/>
</p:tagLst>
</file>

<file path=ppt/tags/tag81.xml><?xml version="1.0" encoding="utf-8"?>
<p:tagLst xmlns:p="http://schemas.openxmlformats.org/presentationml/2006/main">
  <p:tag name="THINKCELLSHAPEDONOTDELETE" val="pRxFTN3ooI0CuKpQnbom4KA"/>
</p:tagLst>
</file>

<file path=ppt/tags/tag82.xml><?xml version="1.0" encoding="utf-8"?>
<p:tagLst xmlns:p="http://schemas.openxmlformats.org/presentationml/2006/main">
  <p:tag name="THINKCELLSHAPEDONOTDELETE" val="pc63azItdM0ele_h4SVi97A"/>
</p:tagLst>
</file>

<file path=ppt/tags/tag83.xml><?xml version="1.0" encoding="utf-8"?>
<p:tagLst xmlns:p="http://schemas.openxmlformats.org/presentationml/2006/main">
  <p:tag name="THINKCELLSHAPEDONOTDELETE" val="pZhVDDPEyE025qwTasikGEg"/>
</p:tagLst>
</file>

<file path=ppt/tags/tag84.xml><?xml version="1.0" encoding="utf-8"?>
<p:tagLst xmlns:p="http://schemas.openxmlformats.org/presentationml/2006/main">
  <p:tag name="THINKCELLSHAPEDONOTDELETE" val="pmsNB0RrRdEuVPmLMRyXN_A"/>
</p:tagLst>
</file>

<file path=ppt/tags/tag85.xml><?xml version="1.0" encoding="utf-8"?>
<p:tagLst xmlns:p="http://schemas.openxmlformats.org/presentationml/2006/main">
  <p:tag name="THINKCELLSHAPEDONOTDELETE" val="pyUlSHlyCjkSiwAa_5p2edA"/>
</p:tagLst>
</file>

<file path=ppt/tags/tag86.xml><?xml version="1.0" encoding="utf-8"?>
<p:tagLst xmlns:p="http://schemas.openxmlformats.org/presentationml/2006/main">
  <p:tag name="THINKCELLSHAPEDONOTDELETE" val="pCfUaj2yT0UWKN7cuDyF1Nw"/>
</p:tagLst>
</file>

<file path=ppt/tags/tag87.xml><?xml version="1.0" encoding="utf-8"?>
<p:tagLst xmlns:p="http://schemas.openxmlformats.org/presentationml/2006/main">
  <p:tag name="THINKCELLSHAPEDONOTDELETE" val="puh4tsQu2v0a7eE8zBGr6gA"/>
</p:tagLst>
</file>

<file path=ppt/tags/tag88.xml><?xml version="1.0" encoding="utf-8"?>
<p:tagLst xmlns:p="http://schemas.openxmlformats.org/presentationml/2006/main">
  <p:tag name="THINKCELLSHAPEDONOTDELETE" val="puh4tsQu2v0a7eE8zBGr6gA"/>
</p:tagLst>
</file>

<file path=ppt/tags/tag89.xml><?xml version="1.0" encoding="utf-8"?>
<p:tagLst xmlns:p="http://schemas.openxmlformats.org/presentationml/2006/main">
  <p:tag name="MH" val="20161201121716"/>
  <p:tag name="MH_LIBRARY" val="GRAPHIC"/>
  <p:tag name="MH_TYPE" val="Other"/>
  <p:tag name="MH_ORDER" val="1"/>
</p:tagLst>
</file>

<file path=ppt/tags/tag9.xml><?xml version="1.0" encoding="utf-8"?>
<p:tagLst xmlns:p="http://schemas.openxmlformats.org/presentationml/2006/main">
  <p:tag name="EE4P_INTELLIGENT_ELEMENT" val="{Name}"/>
</p:tagLst>
</file>

<file path=ppt/tags/tag90.xml><?xml version="1.0" encoding="utf-8"?>
<p:tagLst xmlns:p="http://schemas.openxmlformats.org/presentationml/2006/main">
  <p:tag name="MH" val="20161201121716"/>
  <p:tag name="MH_LIBRARY" val="GRAPHIC"/>
  <p:tag name="MH_TYPE" val="Other"/>
  <p:tag name="MH_ORDER" val="1"/>
</p:tagLst>
</file>

<file path=ppt/tags/tag91.xml><?xml version="1.0" encoding="utf-8"?>
<p:tagLst xmlns:p="http://schemas.openxmlformats.org/presentationml/2006/main">
  <p:tag name="MH" val="20161201121716"/>
  <p:tag name="MH_LIBRARY" val="GRAPHIC"/>
  <p:tag name="MH_TYPE" val="Other"/>
  <p:tag name="MH_ORDER" val="1"/>
</p:tagLst>
</file>

<file path=ppt/tags/tag92.xml><?xml version="1.0" encoding="utf-8"?>
<p:tagLst xmlns:p="http://schemas.openxmlformats.org/presentationml/2006/main">
  <p:tag name="THINKCELLSHAPEDONOTDELETE" val="thinkcellActiveDocDoNotDelete"/>
</p:tagLst>
</file>

<file path=ppt/tags/tag93.xml><?xml version="1.0" encoding="utf-8"?>
<p:tagLst xmlns:p="http://schemas.openxmlformats.org/presentationml/2006/main">
  <p:tag name="THINKCELLSHAPEDONOTDELETE" val="thinkcellActiveDocDoNotDelete"/>
</p:tagLst>
</file>

<file path=ppt/tags/tag94.xml><?xml version="1.0" encoding="utf-8"?>
<p:tagLst xmlns:p="http://schemas.openxmlformats.org/presentationml/2006/main">
  <p:tag name="THINKCELLSHAPEDONOTDELETE" val="thinkcellActiveDocDoNotDelete"/>
</p:tagLst>
</file>

<file path=ppt/tags/tag95.xml><?xml version="1.0" encoding="utf-8"?>
<p:tagLst xmlns:p="http://schemas.openxmlformats.org/presentationml/2006/main">
  <p:tag name="THINKCELLSHAPEDONOTDELETE" val="thinkcellActiveDocDoNotDelete"/>
</p:tagLst>
</file>

<file path=ppt/tags/tag96.xml><?xml version="1.0" encoding="utf-8"?>
<p:tagLst xmlns:p="http://schemas.openxmlformats.org/presentationml/2006/main">
  <p:tag name="THINKCELLSHAPEDONOTDELETE" val="tkWTFrn1dQpyI1WtjAeDPSg"/>
</p:tagLst>
</file>

<file path=ppt/tags/tag97.xml><?xml version="1.0" encoding="utf-8"?>
<p:tagLst xmlns:p="http://schemas.openxmlformats.org/presentationml/2006/main">
  <p:tag name="THINKCELLSHAPEDONOTDELETE" val="thinkcellActiveDocDoNotDelete"/>
</p:tagLst>
</file>

<file path=ppt/tags/tag98.xml><?xml version="1.0" encoding="utf-8"?>
<p:tagLst xmlns:p="http://schemas.openxmlformats.org/presentationml/2006/main">
  <p:tag name="THINKCELLSHAPEDONOTDELETE" val="psqk7fqxoX0m85TQxAIBYVw"/>
</p:tagLst>
</file>

<file path=ppt/tags/tag99.xml><?xml version="1.0" encoding="utf-8"?>
<p:tagLst xmlns:p="http://schemas.openxmlformats.org/presentationml/2006/main">
  <p:tag name="THINKCELLSHAPEDONOTDELETE" val="psqk7fqxoX0m85TQxAIBYVw"/>
</p:tagLst>
</file>

<file path=ppt/theme/theme1.xml><?xml version="1.0" encoding="utf-8"?>
<a:theme xmlns:a="http://schemas.openxmlformats.org/drawingml/2006/main" name="PingAn 16:9">
  <a:themeElements>
    <a:clrScheme name="PingAn">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PingAn">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nSpc>
            <a:spcPct val="90000"/>
          </a:lnSpc>
          <a:spcAft>
            <a:spcPts val="1000"/>
          </a:spcAft>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0</TotalTime>
  <Words>26252</Words>
  <Application>WPS 演示</Application>
  <PresentationFormat>宽屏</PresentationFormat>
  <Paragraphs>9240</Paragraphs>
  <Slides>161</Slides>
  <Notes>63</Notes>
  <HiddenSlides>0</HiddenSlides>
  <MMClips>0</MMClips>
  <ScaleCrop>false</ScaleCrop>
  <HeadingPairs>
    <vt:vector size="10" baseType="variant">
      <vt:variant>
        <vt:lpstr>已用的字体</vt:lpstr>
      </vt:variant>
      <vt:variant>
        <vt:i4>27</vt:i4>
      </vt:variant>
      <vt:variant>
        <vt:lpstr>主题</vt:lpstr>
      </vt:variant>
      <vt:variant>
        <vt:i4>1</vt:i4>
      </vt:variant>
      <vt:variant>
        <vt:lpstr>嵌入 OLE 服务器</vt:lpstr>
      </vt:variant>
      <vt:variant>
        <vt:i4>83</vt:i4>
      </vt:variant>
      <vt:variant>
        <vt:lpstr>幻灯片标题</vt:lpstr>
      </vt:variant>
      <vt:variant>
        <vt:i4>161</vt:i4>
      </vt:variant>
      <vt:variant>
        <vt:lpstr>自定义放映</vt:lpstr>
      </vt:variant>
      <vt:variant>
        <vt:i4>1</vt:i4>
      </vt:variant>
    </vt:vector>
  </HeadingPairs>
  <TitlesOfParts>
    <vt:vector size="273" baseType="lpstr">
      <vt:lpstr>Arial</vt:lpstr>
      <vt:lpstr>宋体</vt:lpstr>
      <vt:lpstr>Wingdings</vt:lpstr>
      <vt:lpstr>Trebuchet MS</vt:lpstr>
      <vt:lpstr>微软雅黑</vt:lpstr>
      <vt:lpstr>华文楷体</vt:lpstr>
      <vt:lpstr>Arial</vt:lpstr>
      <vt:lpstr>Arial Unicode MS</vt:lpstr>
      <vt:lpstr>Impact</vt:lpstr>
      <vt:lpstr>Calibri</vt:lpstr>
      <vt:lpstr>Agency FB</vt:lpstr>
      <vt:lpstr>Times New Roman</vt:lpstr>
      <vt:lpstr>Century Gothic</vt:lpstr>
      <vt:lpstr>Gill Sans</vt:lpstr>
      <vt:lpstr>楷体</vt:lpstr>
      <vt:lpstr>黑体</vt:lpstr>
      <vt:lpstr>Helvetica Light</vt:lpstr>
      <vt:lpstr>等线</vt:lpstr>
      <vt:lpstr>Microsoft JhengHei UI</vt:lpstr>
      <vt:lpstr>微软雅黑 Light</vt:lpstr>
      <vt:lpstr>-윤고딕130</vt:lpstr>
      <vt:lpstr>Malgun Gothic</vt:lpstr>
      <vt:lpstr>Arial Narrow</vt:lpstr>
      <vt:lpstr>Calibri</vt:lpstr>
      <vt:lpstr>Trebuchet MS</vt:lpstr>
      <vt:lpstr>Arial Unicode MS</vt:lpstr>
      <vt:lpstr>Gill Sans MT</vt:lpstr>
      <vt:lpstr>PingAn 16:9</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Format Guide Workshop</vt:lpstr>
    </vt:vector>
  </TitlesOfParts>
  <Company>中国平安保险(集团)股份有限公司</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张敖</dc:creator>
  <cp:lastModifiedBy>ZHANGYANGYAN749</cp:lastModifiedBy>
  <cp:revision>255</cp:revision>
  <cp:lastPrinted>2016-04-06T18:59:00Z</cp:lastPrinted>
  <dcterms:created xsi:type="dcterms:W3CDTF">2018-05-17T02:31:00Z</dcterms:created>
  <dcterms:modified xsi:type="dcterms:W3CDTF">2024-04-24T03:2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Template Name">
    <vt:lpwstr>16x9</vt:lpwstr>
  </property>
  <property fmtid="{D5CDD505-2E9C-101B-9397-08002B2CF9AE}" pid="4" name="ICV">
    <vt:lpwstr>FB0C0083426E44389F7EF61DD55AE0B6</vt:lpwstr>
  </property>
  <property fmtid="{D5CDD505-2E9C-101B-9397-08002B2CF9AE}" pid="5" name="KSOProductBuildVer">
    <vt:lpwstr>2052-11.8.2.12203</vt:lpwstr>
  </property>
</Properties>
</file>